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01.xml" ContentType="application/vnd.openxmlformats-officedocument.presentationml.notesSlide+xml"/>
  <Override PartName="/ppt/notesSlides/notesSlide502.xml" ContentType="application/vnd.openxmlformats-officedocument.presentationml.notesSlide+xml"/>
  <Override PartName="/ppt/notesSlides/notesSlide503.xml" ContentType="application/vnd.openxmlformats-officedocument.presentationml.notesSlide+xml"/>
  <Override PartName="/ppt/notesSlides/notesSlide504.xml" ContentType="application/vnd.openxmlformats-officedocument.presentationml.notesSlide+xml"/>
  <Override PartName="/ppt/notesSlides/notesSlide505.xml" ContentType="application/vnd.openxmlformats-officedocument.presentationml.notesSlide+xml"/>
  <Override PartName="/ppt/notesSlides/notesSlide506.xml" ContentType="application/vnd.openxmlformats-officedocument.presentationml.notesSlide+xml"/>
  <Override PartName="/ppt/notesSlides/notesSlide507.xml" ContentType="application/vnd.openxmlformats-officedocument.presentationml.notesSlide+xml"/>
  <Override PartName="/ppt/notesSlides/notesSlide508.xml" ContentType="application/vnd.openxmlformats-officedocument.presentationml.notesSlide+xml"/>
  <Override PartName="/ppt/notesSlides/notesSlide509.xml" ContentType="application/vnd.openxmlformats-officedocument.presentationml.notesSlide+xml"/>
  <Override PartName="/ppt/notesSlides/notesSlide51.xml" ContentType="application/vnd.openxmlformats-officedocument.presentationml.notesSlide+xml"/>
  <Override PartName="/ppt/notesSlides/notesSlide510.xml" ContentType="application/vnd.openxmlformats-officedocument.presentationml.notesSlide+xml"/>
  <Override PartName="/ppt/notesSlides/notesSlide511.xml" ContentType="application/vnd.openxmlformats-officedocument.presentationml.notesSlide+xml"/>
  <Override PartName="/ppt/notesSlides/notesSlide512.xml" ContentType="application/vnd.openxmlformats-officedocument.presentationml.notesSlide+xml"/>
  <Override PartName="/ppt/notesSlides/notesSlide513.xml" ContentType="application/vnd.openxmlformats-officedocument.presentationml.notesSlide+xml"/>
  <Override PartName="/ppt/notesSlides/notesSlide514.xml" ContentType="application/vnd.openxmlformats-officedocument.presentationml.notesSlide+xml"/>
  <Override PartName="/ppt/notesSlides/notesSlide515.xml" ContentType="application/vnd.openxmlformats-officedocument.presentationml.notesSlide+xml"/>
  <Override PartName="/ppt/notesSlides/notesSlide516.xml" ContentType="application/vnd.openxmlformats-officedocument.presentationml.notesSlide+xml"/>
  <Override PartName="/ppt/notesSlides/notesSlide517.xml" ContentType="application/vnd.openxmlformats-officedocument.presentationml.notesSlide+xml"/>
  <Override PartName="/ppt/notesSlides/notesSlide518.xml" ContentType="application/vnd.openxmlformats-officedocument.presentationml.notesSlide+xml"/>
  <Override PartName="/ppt/notesSlides/notesSlide519.xml" ContentType="application/vnd.openxmlformats-officedocument.presentationml.notesSlide+xml"/>
  <Override PartName="/ppt/notesSlides/notesSlide52.xml" ContentType="application/vnd.openxmlformats-officedocument.presentationml.notesSlide+xml"/>
  <Override PartName="/ppt/notesSlides/notesSlide520.xml" ContentType="application/vnd.openxmlformats-officedocument.presentationml.notesSlide+xml"/>
  <Override PartName="/ppt/notesSlides/notesSlide521.xml" ContentType="application/vnd.openxmlformats-officedocument.presentationml.notesSlide+xml"/>
  <Override PartName="/ppt/notesSlides/notesSlide522.xml" ContentType="application/vnd.openxmlformats-officedocument.presentationml.notesSlide+xml"/>
  <Override PartName="/ppt/notesSlides/notesSlide523.xml" ContentType="application/vnd.openxmlformats-officedocument.presentationml.notesSlide+xml"/>
  <Override PartName="/ppt/notesSlides/notesSlide524.xml" ContentType="application/vnd.openxmlformats-officedocument.presentationml.notesSlide+xml"/>
  <Override PartName="/ppt/notesSlides/notesSlide525.xml" ContentType="application/vnd.openxmlformats-officedocument.presentationml.notesSlide+xml"/>
  <Override PartName="/ppt/notesSlides/notesSlide526.xml" ContentType="application/vnd.openxmlformats-officedocument.presentationml.notesSlide+xml"/>
  <Override PartName="/ppt/notesSlides/notesSlide527.xml" ContentType="application/vnd.openxmlformats-officedocument.presentationml.notesSlide+xml"/>
  <Override PartName="/ppt/notesSlides/notesSlide528.xml" ContentType="application/vnd.openxmlformats-officedocument.presentationml.notesSlide+xml"/>
  <Override PartName="/ppt/notesSlides/notesSlide529.xml" ContentType="application/vnd.openxmlformats-officedocument.presentationml.notesSlide+xml"/>
  <Override PartName="/ppt/notesSlides/notesSlide53.xml" ContentType="application/vnd.openxmlformats-officedocument.presentationml.notesSlide+xml"/>
  <Override PartName="/ppt/notesSlides/notesSlide530.xml" ContentType="application/vnd.openxmlformats-officedocument.presentationml.notesSlide+xml"/>
  <Override PartName="/ppt/notesSlides/notesSlide531.xml" ContentType="application/vnd.openxmlformats-officedocument.presentationml.notesSlide+xml"/>
  <Override PartName="/ppt/notesSlides/notesSlide532.xml" ContentType="application/vnd.openxmlformats-officedocument.presentationml.notesSlide+xml"/>
  <Override PartName="/ppt/notesSlides/notesSlide533.xml" ContentType="application/vnd.openxmlformats-officedocument.presentationml.notesSlide+xml"/>
  <Override PartName="/ppt/notesSlides/notesSlide534.xml" ContentType="application/vnd.openxmlformats-officedocument.presentationml.notesSlide+xml"/>
  <Override PartName="/ppt/notesSlides/notesSlide535.xml" ContentType="application/vnd.openxmlformats-officedocument.presentationml.notesSlide+xml"/>
  <Override PartName="/ppt/notesSlides/notesSlide536.xml" ContentType="application/vnd.openxmlformats-officedocument.presentationml.notesSlide+xml"/>
  <Override PartName="/ppt/notesSlides/notesSlide537.xml" ContentType="application/vnd.openxmlformats-officedocument.presentationml.notesSlide+xml"/>
  <Override PartName="/ppt/notesSlides/notesSlide538.xml" ContentType="application/vnd.openxmlformats-officedocument.presentationml.notesSlide+xml"/>
  <Override PartName="/ppt/notesSlides/notesSlide539.xml" ContentType="application/vnd.openxmlformats-officedocument.presentationml.notesSlide+xml"/>
  <Override PartName="/ppt/notesSlides/notesSlide54.xml" ContentType="application/vnd.openxmlformats-officedocument.presentationml.notesSlide+xml"/>
  <Override PartName="/ppt/notesSlides/notesSlide540.xml" ContentType="application/vnd.openxmlformats-officedocument.presentationml.notesSlide+xml"/>
  <Override PartName="/ppt/notesSlides/notesSlide541.xml" ContentType="application/vnd.openxmlformats-officedocument.presentationml.notesSlide+xml"/>
  <Override PartName="/ppt/notesSlides/notesSlide542.xml" ContentType="application/vnd.openxmlformats-officedocument.presentationml.notesSlide+xml"/>
  <Override PartName="/ppt/notesSlides/notesSlide543.xml" ContentType="application/vnd.openxmlformats-officedocument.presentationml.notesSlide+xml"/>
  <Override PartName="/ppt/notesSlides/notesSlide544.xml" ContentType="application/vnd.openxmlformats-officedocument.presentationml.notesSlide+xml"/>
  <Override PartName="/ppt/notesSlides/notesSlide545.xml" ContentType="application/vnd.openxmlformats-officedocument.presentationml.notesSlide+xml"/>
  <Override PartName="/ppt/notesSlides/notesSlide546.xml" ContentType="application/vnd.openxmlformats-officedocument.presentationml.notesSlide+xml"/>
  <Override PartName="/ppt/notesSlides/notesSlide547.xml" ContentType="application/vnd.openxmlformats-officedocument.presentationml.notesSlide+xml"/>
  <Override PartName="/ppt/notesSlides/notesSlide548.xml" ContentType="application/vnd.openxmlformats-officedocument.presentationml.notesSlide+xml"/>
  <Override PartName="/ppt/notesSlides/notesSlide549.xml" ContentType="application/vnd.openxmlformats-officedocument.presentationml.notesSlide+xml"/>
  <Override PartName="/ppt/notesSlides/notesSlide55.xml" ContentType="application/vnd.openxmlformats-officedocument.presentationml.notesSlide+xml"/>
  <Override PartName="/ppt/notesSlides/notesSlide550.xml" ContentType="application/vnd.openxmlformats-officedocument.presentationml.notesSlide+xml"/>
  <Override PartName="/ppt/notesSlides/notesSlide551.xml" ContentType="application/vnd.openxmlformats-officedocument.presentationml.notesSlide+xml"/>
  <Override PartName="/ppt/notesSlides/notesSlide552.xml" ContentType="application/vnd.openxmlformats-officedocument.presentationml.notesSlide+xml"/>
  <Override PartName="/ppt/notesSlides/notesSlide553.xml" ContentType="application/vnd.openxmlformats-officedocument.presentationml.notesSlide+xml"/>
  <Override PartName="/ppt/notesSlides/notesSlide554.xml" ContentType="application/vnd.openxmlformats-officedocument.presentationml.notesSlide+xml"/>
  <Override PartName="/ppt/notesSlides/notesSlide555.xml" ContentType="application/vnd.openxmlformats-officedocument.presentationml.notesSlide+xml"/>
  <Override PartName="/ppt/notesSlides/notesSlide556.xml" ContentType="application/vnd.openxmlformats-officedocument.presentationml.notesSlide+xml"/>
  <Override PartName="/ppt/notesSlides/notesSlide557.xml" ContentType="application/vnd.openxmlformats-officedocument.presentationml.notesSlide+xml"/>
  <Override PartName="/ppt/notesSlides/notesSlide558.xml" ContentType="application/vnd.openxmlformats-officedocument.presentationml.notesSlide+xml"/>
  <Override PartName="/ppt/notesSlides/notesSlide559.xml" ContentType="application/vnd.openxmlformats-officedocument.presentationml.notesSlide+xml"/>
  <Override PartName="/ppt/notesSlides/notesSlide56.xml" ContentType="application/vnd.openxmlformats-officedocument.presentationml.notesSlide+xml"/>
  <Override PartName="/ppt/notesSlides/notesSlide560.xml" ContentType="application/vnd.openxmlformats-officedocument.presentationml.notesSlide+xml"/>
  <Override PartName="/ppt/notesSlides/notesSlide561.xml" ContentType="application/vnd.openxmlformats-officedocument.presentationml.notesSlide+xml"/>
  <Override PartName="/ppt/notesSlides/notesSlide562.xml" ContentType="application/vnd.openxmlformats-officedocument.presentationml.notesSlide+xml"/>
  <Override PartName="/ppt/notesSlides/notesSlide563.xml" ContentType="application/vnd.openxmlformats-officedocument.presentationml.notesSlide+xml"/>
  <Override PartName="/ppt/notesSlides/notesSlide564.xml" ContentType="application/vnd.openxmlformats-officedocument.presentationml.notesSlide+xml"/>
  <Override PartName="/ppt/notesSlides/notesSlide565.xml" ContentType="application/vnd.openxmlformats-officedocument.presentationml.notesSlide+xml"/>
  <Override PartName="/ppt/notesSlides/notesSlide566.xml" ContentType="application/vnd.openxmlformats-officedocument.presentationml.notesSlide+xml"/>
  <Override PartName="/ppt/notesSlides/notesSlide567.xml" ContentType="application/vnd.openxmlformats-officedocument.presentationml.notesSlide+xml"/>
  <Override PartName="/ppt/notesSlides/notesSlide568.xml" ContentType="application/vnd.openxmlformats-officedocument.presentationml.notesSlide+xml"/>
  <Override PartName="/ppt/notesSlides/notesSlide569.xml" ContentType="application/vnd.openxmlformats-officedocument.presentationml.notesSlide+xml"/>
  <Override PartName="/ppt/notesSlides/notesSlide57.xml" ContentType="application/vnd.openxmlformats-officedocument.presentationml.notesSlide+xml"/>
  <Override PartName="/ppt/notesSlides/notesSlide570.xml" ContentType="application/vnd.openxmlformats-officedocument.presentationml.notesSlide+xml"/>
  <Override PartName="/ppt/notesSlides/notesSlide571.xml" ContentType="application/vnd.openxmlformats-officedocument.presentationml.notesSlide+xml"/>
  <Override PartName="/ppt/notesSlides/notesSlide572.xml" ContentType="application/vnd.openxmlformats-officedocument.presentationml.notesSlide+xml"/>
  <Override PartName="/ppt/notesSlides/notesSlide573.xml" ContentType="application/vnd.openxmlformats-officedocument.presentationml.notesSlide+xml"/>
  <Override PartName="/ppt/notesSlides/notesSlide574.xml" ContentType="application/vnd.openxmlformats-officedocument.presentationml.notesSlide+xml"/>
  <Override PartName="/ppt/notesSlides/notesSlide575.xml" ContentType="application/vnd.openxmlformats-officedocument.presentationml.notesSlide+xml"/>
  <Override PartName="/ppt/notesSlides/notesSlide576.xml" ContentType="application/vnd.openxmlformats-officedocument.presentationml.notesSlide+xml"/>
  <Override PartName="/ppt/notesSlides/notesSlide577.xml" ContentType="application/vnd.openxmlformats-officedocument.presentationml.notesSlide+xml"/>
  <Override PartName="/ppt/notesSlides/notesSlide578.xml" ContentType="application/vnd.openxmlformats-officedocument.presentationml.notesSlide+xml"/>
  <Override PartName="/ppt/notesSlides/notesSlide579.xml" ContentType="application/vnd.openxmlformats-officedocument.presentationml.notesSlide+xml"/>
  <Override PartName="/ppt/notesSlides/notesSlide58.xml" ContentType="application/vnd.openxmlformats-officedocument.presentationml.notesSlide+xml"/>
  <Override PartName="/ppt/notesSlides/notesSlide580.xml" ContentType="application/vnd.openxmlformats-officedocument.presentationml.notesSlide+xml"/>
  <Override PartName="/ppt/notesSlides/notesSlide581.xml" ContentType="application/vnd.openxmlformats-officedocument.presentationml.notesSlide+xml"/>
  <Override PartName="/ppt/notesSlides/notesSlide582.xml" ContentType="application/vnd.openxmlformats-officedocument.presentationml.notesSlide+xml"/>
  <Override PartName="/ppt/notesSlides/notesSlide583.xml" ContentType="application/vnd.openxmlformats-officedocument.presentationml.notesSlide+xml"/>
  <Override PartName="/ppt/notesSlides/notesSlide584.xml" ContentType="application/vnd.openxmlformats-officedocument.presentationml.notesSlide+xml"/>
  <Override PartName="/ppt/notesSlides/notesSlide585.xml" ContentType="application/vnd.openxmlformats-officedocument.presentationml.notesSlide+xml"/>
  <Override PartName="/ppt/notesSlides/notesSlide586.xml" ContentType="application/vnd.openxmlformats-officedocument.presentationml.notesSlide+xml"/>
  <Override PartName="/ppt/notesSlides/notesSlide587.xml" ContentType="application/vnd.openxmlformats-officedocument.presentationml.notesSlide+xml"/>
  <Override PartName="/ppt/notesSlides/notesSlide588.xml" ContentType="application/vnd.openxmlformats-officedocument.presentationml.notesSlide+xml"/>
  <Override PartName="/ppt/notesSlides/notesSlide589.xml" ContentType="application/vnd.openxmlformats-officedocument.presentationml.notesSlide+xml"/>
  <Override PartName="/ppt/notesSlides/notesSlide59.xml" ContentType="application/vnd.openxmlformats-officedocument.presentationml.notesSlide+xml"/>
  <Override PartName="/ppt/notesSlides/notesSlide590.xml" ContentType="application/vnd.openxmlformats-officedocument.presentationml.notesSlide+xml"/>
  <Override PartName="/ppt/notesSlides/notesSlide591.xml" ContentType="application/vnd.openxmlformats-officedocument.presentationml.notesSlide+xml"/>
  <Override PartName="/ppt/notesSlides/notesSlide592.xml" ContentType="application/vnd.openxmlformats-officedocument.presentationml.notesSlide+xml"/>
  <Override PartName="/ppt/notesSlides/notesSlide593.xml" ContentType="application/vnd.openxmlformats-officedocument.presentationml.notesSlide+xml"/>
  <Override PartName="/ppt/notesSlides/notesSlide594.xml" ContentType="application/vnd.openxmlformats-officedocument.presentationml.notesSlide+xml"/>
  <Override PartName="/ppt/notesSlides/notesSlide595.xml" ContentType="application/vnd.openxmlformats-officedocument.presentationml.notesSlide+xml"/>
  <Override PartName="/ppt/notesSlides/notesSlide596.xml" ContentType="application/vnd.openxmlformats-officedocument.presentationml.notesSlide+xml"/>
  <Override PartName="/ppt/notesSlides/notesSlide597.xml" ContentType="application/vnd.openxmlformats-officedocument.presentationml.notesSlide+xml"/>
  <Override PartName="/ppt/notesSlides/notesSlide598.xml" ContentType="application/vnd.openxmlformats-officedocument.presentationml.notesSlide+xml"/>
  <Override PartName="/ppt/notesSlides/notesSlide59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00.xml" ContentType="application/vnd.openxmlformats-officedocument.presentationml.notesSlide+xml"/>
  <Override PartName="/ppt/notesSlides/notesSlide601.xml" ContentType="application/vnd.openxmlformats-officedocument.presentationml.notesSlide+xml"/>
  <Override PartName="/ppt/notesSlides/notesSlide602.xml" ContentType="application/vnd.openxmlformats-officedocument.presentationml.notesSlide+xml"/>
  <Override PartName="/ppt/notesSlides/notesSlide603.xml" ContentType="application/vnd.openxmlformats-officedocument.presentationml.notesSlide+xml"/>
  <Override PartName="/ppt/notesSlides/notesSlide604.xml" ContentType="application/vnd.openxmlformats-officedocument.presentationml.notesSlide+xml"/>
  <Override PartName="/ppt/notesSlides/notesSlide605.xml" ContentType="application/vnd.openxmlformats-officedocument.presentationml.notesSlide+xml"/>
  <Override PartName="/ppt/notesSlides/notesSlide606.xml" ContentType="application/vnd.openxmlformats-officedocument.presentationml.notesSlide+xml"/>
  <Override PartName="/ppt/notesSlides/notesSlide607.xml" ContentType="application/vnd.openxmlformats-officedocument.presentationml.notesSlide+xml"/>
  <Override PartName="/ppt/notesSlides/notesSlide608.xml" ContentType="application/vnd.openxmlformats-officedocument.presentationml.notesSlide+xml"/>
  <Override PartName="/ppt/notesSlides/notesSlide609.xml" ContentType="application/vnd.openxmlformats-officedocument.presentationml.notesSlide+xml"/>
  <Override PartName="/ppt/notesSlides/notesSlide61.xml" ContentType="application/vnd.openxmlformats-officedocument.presentationml.notesSlide+xml"/>
  <Override PartName="/ppt/notesSlides/notesSlide610.xml" ContentType="application/vnd.openxmlformats-officedocument.presentationml.notesSlide+xml"/>
  <Override PartName="/ppt/notesSlides/notesSlide611.xml" ContentType="application/vnd.openxmlformats-officedocument.presentationml.notesSlide+xml"/>
  <Override PartName="/ppt/notesSlides/notesSlide612.xml" ContentType="application/vnd.openxmlformats-officedocument.presentationml.notesSlide+xml"/>
  <Override PartName="/ppt/notesSlides/notesSlide613.xml" ContentType="application/vnd.openxmlformats-officedocument.presentationml.notesSlide+xml"/>
  <Override PartName="/ppt/notesSlides/notesSlide614.xml" ContentType="application/vnd.openxmlformats-officedocument.presentationml.notesSlide+xml"/>
  <Override PartName="/ppt/notesSlides/notesSlide615.xml" ContentType="application/vnd.openxmlformats-officedocument.presentationml.notesSlide+xml"/>
  <Override PartName="/ppt/notesSlides/notesSlide616.xml" ContentType="application/vnd.openxmlformats-officedocument.presentationml.notesSlide+xml"/>
  <Override PartName="/ppt/notesSlides/notesSlide617.xml" ContentType="application/vnd.openxmlformats-officedocument.presentationml.notesSlide+xml"/>
  <Override PartName="/ppt/notesSlides/notesSlide618.xml" ContentType="application/vnd.openxmlformats-officedocument.presentationml.notesSlide+xml"/>
  <Override PartName="/ppt/notesSlides/notesSlide619.xml" ContentType="application/vnd.openxmlformats-officedocument.presentationml.notesSlide+xml"/>
  <Override PartName="/ppt/notesSlides/notesSlide62.xml" ContentType="application/vnd.openxmlformats-officedocument.presentationml.notesSlide+xml"/>
  <Override PartName="/ppt/notesSlides/notesSlide620.xml" ContentType="application/vnd.openxmlformats-officedocument.presentationml.notesSlide+xml"/>
  <Override PartName="/ppt/notesSlides/notesSlide621.xml" ContentType="application/vnd.openxmlformats-officedocument.presentationml.notesSlide+xml"/>
  <Override PartName="/ppt/notesSlides/notesSlide622.xml" ContentType="application/vnd.openxmlformats-officedocument.presentationml.notesSlide+xml"/>
  <Override PartName="/ppt/notesSlides/notesSlide623.xml" ContentType="application/vnd.openxmlformats-officedocument.presentationml.notesSlide+xml"/>
  <Override PartName="/ppt/notesSlides/notesSlide624.xml" ContentType="application/vnd.openxmlformats-officedocument.presentationml.notesSlide+xml"/>
  <Override PartName="/ppt/notesSlides/notesSlide625.xml" ContentType="application/vnd.openxmlformats-officedocument.presentationml.notesSlide+xml"/>
  <Override PartName="/ppt/notesSlides/notesSlide626.xml" ContentType="application/vnd.openxmlformats-officedocument.presentationml.notesSlide+xml"/>
  <Override PartName="/ppt/notesSlides/notesSlide627.xml" ContentType="application/vnd.openxmlformats-officedocument.presentationml.notesSlide+xml"/>
  <Override PartName="/ppt/notesSlides/notesSlide628.xml" ContentType="application/vnd.openxmlformats-officedocument.presentationml.notesSlide+xml"/>
  <Override PartName="/ppt/notesSlides/notesSlide629.xml" ContentType="application/vnd.openxmlformats-officedocument.presentationml.notesSlide+xml"/>
  <Override PartName="/ppt/notesSlides/notesSlide63.xml" ContentType="application/vnd.openxmlformats-officedocument.presentationml.notesSlide+xml"/>
  <Override PartName="/ppt/notesSlides/notesSlide630.xml" ContentType="application/vnd.openxmlformats-officedocument.presentationml.notesSlide+xml"/>
  <Override PartName="/ppt/notesSlides/notesSlide631.xml" ContentType="application/vnd.openxmlformats-officedocument.presentationml.notesSlide+xml"/>
  <Override PartName="/ppt/notesSlides/notesSlide632.xml" ContentType="application/vnd.openxmlformats-officedocument.presentationml.notesSlide+xml"/>
  <Override PartName="/ppt/notesSlides/notesSlide633.xml" ContentType="application/vnd.openxmlformats-officedocument.presentationml.notesSlide+xml"/>
  <Override PartName="/ppt/notesSlides/notesSlide634.xml" ContentType="application/vnd.openxmlformats-officedocument.presentationml.notesSlide+xml"/>
  <Override PartName="/ppt/notesSlides/notesSlide635.xml" ContentType="application/vnd.openxmlformats-officedocument.presentationml.notesSlide+xml"/>
  <Override PartName="/ppt/notesSlides/notesSlide636.xml" ContentType="application/vnd.openxmlformats-officedocument.presentationml.notesSlide+xml"/>
  <Override PartName="/ppt/notesSlides/notesSlide637.xml" ContentType="application/vnd.openxmlformats-officedocument.presentationml.notesSlide+xml"/>
  <Override PartName="/ppt/notesSlides/notesSlide638.xml" ContentType="application/vnd.openxmlformats-officedocument.presentationml.notesSlide+xml"/>
  <Override PartName="/ppt/notesSlides/notesSlide639.xml" ContentType="application/vnd.openxmlformats-officedocument.presentationml.notesSlide+xml"/>
  <Override PartName="/ppt/notesSlides/notesSlide64.xml" ContentType="application/vnd.openxmlformats-officedocument.presentationml.notesSlide+xml"/>
  <Override PartName="/ppt/notesSlides/notesSlide640.xml" ContentType="application/vnd.openxmlformats-officedocument.presentationml.notesSlide+xml"/>
  <Override PartName="/ppt/notesSlides/notesSlide641.xml" ContentType="application/vnd.openxmlformats-officedocument.presentationml.notesSlide+xml"/>
  <Override PartName="/ppt/notesSlides/notesSlide642.xml" ContentType="application/vnd.openxmlformats-officedocument.presentationml.notesSlide+xml"/>
  <Override PartName="/ppt/notesSlides/notesSlide643.xml" ContentType="application/vnd.openxmlformats-officedocument.presentationml.notesSlide+xml"/>
  <Override PartName="/ppt/notesSlides/notesSlide644.xml" ContentType="application/vnd.openxmlformats-officedocument.presentationml.notesSlide+xml"/>
  <Override PartName="/ppt/notesSlides/notesSlide645.xml" ContentType="application/vnd.openxmlformats-officedocument.presentationml.notesSlide+xml"/>
  <Override PartName="/ppt/notesSlides/notesSlide646.xml" ContentType="application/vnd.openxmlformats-officedocument.presentationml.notesSlide+xml"/>
  <Override PartName="/ppt/notesSlides/notesSlide647.xml" ContentType="application/vnd.openxmlformats-officedocument.presentationml.notesSlide+xml"/>
  <Override PartName="/ppt/notesSlides/notesSlide648.xml" ContentType="application/vnd.openxmlformats-officedocument.presentationml.notesSlide+xml"/>
  <Override PartName="/ppt/notesSlides/notesSlide649.xml" ContentType="application/vnd.openxmlformats-officedocument.presentationml.notesSlide+xml"/>
  <Override PartName="/ppt/notesSlides/notesSlide65.xml" ContentType="application/vnd.openxmlformats-officedocument.presentationml.notesSlide+xml"/>
  <Override PartName="/ppt/notesSlides/notesSlide650.xml" ContentType="application/vnd.openxmlformats-officedocument.presentationml.notesSlide+xml"/>
  <Override PartName="/ppt/notesSlides/notesSlide651.xml" ContentType="application/vnd.openxmlformats-officedocument.presentationml.notesSlide+xml"/>
  <Override PartName="/ppt/notesSlides/notesSlide652.xml" ContentType="application/vnd.openxmlformats-officedocument.presentationml.notesSlide+xml"/>
  <Override PartName="/ppt/notesSlides/notesSlide653.xml" ContentType="application/vnd.openxmlformats-officedocument.presentationml.notesSlide+xml"/>
  <Override PartName="/ppt/notesSlides/notesSlide654.xml" ContentType="application/vnd.openxmlformats-officedocument.presentationml.notesSlide+xml"/>
  <Override PartName="/ppt/notesSlides/notesSlide655.xml" ContentType="application/vnd.openxmlformats-officedocument.presentationml.notesSlide+xml"/>
  <Override PartName="/ppt/notesSlides/notesSlide656.xml" ContentType="application/vnd.openxmlformats-officedocument.presentationml.notesSlide+xml"/>
  <Override PartName="/ppt/notesSlides/notesSlide657.xml" ContentType="application/vnd.openxmlformats-officedocument.presentationml.notesSlide+xml"/>
  <Override PartName="/ppt/notesSlides/notesSlide658.xml" ContentType="application/vnd.openxmlformats-officedocument.presentationml.notesSlide+xml"/>
  <Override PartName="/ppt/notesSlides/notesSlide659.xml" ContentType="application/vnd.openxmlformats-officedocument.presentationml.notesSlide+xml"/>
  <Override PartName="/ppt/notesSlides/notesSlide66.xml" ContentType="application/vnd.openxmlformats-officedocument.presentationml.notesSlide+xml"/>
  <Override PartName="/ppt/notesSlides/notesSlide660.xml" ContentType="application/vnd.openxmlformats-officedocument.presentationml.notesSlide+xml"/>
  <Override PartName="/ppt/notesSlides/notesSlide661.xml" ContentType="application/vnd.openxmlformats-officedocument.presentationml.notesSlide+xml"/>
  <Override PartName="/ppt/notesSlides/notesSlide662.xml" ContentType="application/vnd.openxmlformats-officedocument.presentationml.notesSlide+xml"/>
  <Override PartName="/ppt/notesSlides/notesSlide663.xml" ContentType="application/vnd.openxmlformats-officedocument.presentationml.notesSlide+xml"/>
  <Override PartName="/ppt/notesSlides/notesSlide664.xml" ContentType="application/vnd.openxmlformats-officedocument.presentationml.notesSlide+xml"/>
  <Override PartName="/ppt/notesSlides/notesSlide665.xml" ContentType="application/vnd.openxmlformats-officedocument.presentationml.notesSlide+xml"/>
  <Override PartName="/ppt/notesSlides/notesSlide666.xml" ContentType="application/vnd.openxmlformats-officedocument.presentationml.notesSlide+xml"/>
  <Override PartName="/ppt/notesSlides/notesSlide667.xml" ContentType="application/vnd.openxmlformats-officedocument.presentationml.notesSlide+xml"/>
  <Override PartName="/ppt/notesSlides/notesSlide668.xml" ContentType="application/vnd.openxmlformats-officedocument.presentationml.notesSlide+xml"/>
  <Override PartName="/ppt/notesSlides/notesSlide669.xml" ContentType="application/vnd.openxmlformats-officedocument.presentationml.notesSlide+xml"/>
  <Override PartName="/ppt/notesSlides/notesSlide67.xml" ContentType="application/vnd.openxmlformats-officedocument.presentationml.notesSlide+xml"/>
  <Override PartName="/ppt/notesSlides/notesSlide670.xml" ContentType="application/vnd.openxmlformats-officedocument.presentationml.notesSlide+xml"/>
  <Override PartName="/ppt/notesSlides/notesSlide671.xml" ContentType="application/vnd.openxmlformats-officedocument.presentationml.notesSlide+xml"/>
  <Override PartName="/ppt/notesSlides/notesSlide672.xml" ContentType="application/vnd.openxmlformats-officedocument.presentationml.notesSlide+xml"/>
  <Override PartName="/ppt/notesSlides/notesSlide673.xml" ContentType="application/vnd.openxmlformats-officedocument.presentationml.notesSlide+xml"/>
  <Override PartName="/ppt/notesSlides/notesSlide674.xml" ContentType="application/vnd.openxmlformats-officedocument.presentationml.notesSlide+xml"/>
  <Override PartName="/ppt/notesSlides/notesSlide675.xml" ContentType="application/vnd.openxmlformats-officedocument.presentationml.notesSlide+xml"/>
  <Override PartName="/ppt/notesSlides/notesSlide676.xml" ContentType="application/vnd.openxmlformats-officedocument.presentationml.notesSlide+xml"/>
  <Override PartName="/ppt/notesSlides/notesSlide677.xml" ContentType="application/vnd.openxmlformats-officedocument.presentationml.notesSlide+xml"/>
  <Override PartName="/ppt/notesSlides/notesSlide678.xml" ContentType="application/vnd.openxmlformats-officedocument.presentationml.notesSlide+xml"/>
  <Override PartName="/ppt/notesSlides/notesSlide679.xml" ContentType="application/vnd.openxmlformats-officedocument.presentationml.notesSlide+xml"/>
  <Override PartName="/ppt/notesSlides/notesSlide68.xml" ContentType="application/vnd.openxmlformats-officedocument.presentationml.notesSlide+xml"/>
  <Override PartName="/ppt/notesSlides/notesSlide680.xml" ContentType="application/vnd.openxmlformats-officedocument.presentationml.notesSlide+xml"/>
  <Override PartName="/ppt/notesSlides/notesSlide681.xml" ContentType="application/vnd.openxmlformats-officedocument.presentationml.notesSlide+xml"/>
  <Override PartName="/ppt/notesSlides/notesSlide682.xml" ContentType="application/vnd.openxmlformats-officedocument.presentationml.notesSlide+xml"/>
  <Override PartName="/ppt/notesSlides/notesSlide683.xml" ContentType="application/vnd.openxmlformats-officedocument.presentationml.notesSlide+xml"/>
  <Override PartName="/ppt/notesSlides/notesSlide684.xml" ContentType="application/vnd.openxmlformats-officedocument.presentationml.notesSlide+xml"/>
  <Override PartName="/ppt/notesSlides/notesSlide685.xml" ContentType="application/vnd.openxmlformats-officedocument.presentationml.notesSlide+xml"/>
  <Override PartName="/ppt/notesSlides/notesSlide686.xml" ContentType="application/vnd.openxmlformats-officedocument.presentationml.notesSlide+xml"/>
  <Override PartName="/ppt/notesSlides/notesSlide687.xml" ContentType="application/vnd.openxmlformats-officedocument.presentationml.notesSlide+xml"/>
  <Override PartName="/ppt/notesSlides/notesSlide688.xml" ContentType="application/vnd.openxmlformats-officedocument.presentationml.notesSlide+xml"/>
  <Override PartName="/ppt/notesSlides/notesSlide689.xml" ContentType="application/vnd.openxmlformats-officedocument.presentationml.notesSlide+xml"/>
  <Override PartName="/ppt/notesSlides/notesSlide69.xml" ContentType="application/vnd.openxmlformats-officedocument.presentationml.notesSlide+xml"/>
  <Override PartName="/ppt/notesSlides/notesSlide690.xml" ContentType="application/vnd.openxmlformats-officedocument.presentationml.notesSlide+xml"/>
  <Override PartName="/ppt/notesSlides/notesSlide691.xml" ContentType="application/vnd.openxmlformats-officedocument.presentationml.notesSlide+xml"/>
  <Override PartName="/ppt/notesSlides/notesSlide692.xml" ContentType="application/vnd.openxmlformats-officedocument.presentationml.notesSlide+xml"/>
  <Override PartName="/ppt/notesSlides/notesSlide693.xml" ContentType="application/vnd.openxmlformats-officedocument.presentationml.notesSlide+xml"/>
  <Override PartName="/ppt/notesSlides/notesSlide694.xml" ContentType="application/vnd.openxmlformats-officedocument.presentationml.notesSlide+xml"/>
  <Override PartName="/ppt/notesSlides/notesSlide695.xml" ContentType="application/vnd.openxmlformats-officedocument.presentationml.notesSlide+xml"/>
  <Override PartName="/ppt/notesSlides/notesSlide696.xml" ContentType="application/vnd.openxmlformats-officedocument.presentationml.notesSlide+xml"/>
  <Override PartName="/ppt/notesSlides/notesSlide697.xml" ContentType="application/vnd.openxmlformats-officedocument.presentationml.notesSlide+xml"/>
  <Override PartName="/ppt/notesSlides/notesSlide698.xml" ContentType="application/vnd.openxmlformats-officedocument.presentationml.notesSlide+xml"/>
  <Override PartName="/ppt/notesSlides/notesSlide69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00.xml" ContentType="application/vnd.openxmlformats-officedocument.presentationml.notesSlide+xml"/>
  <Override PartName="/ppt/notesSlides/notesSlide701.xml" ContentType="application/vnd.openxmlformats-officedocument.presentationml.notesSlide+xml"/>
  <Override PartName="/ppt/notesSlides/notesSlide702.xml" ContentType="application/vnd.openxmlformats-officedocument.presentationml.notesSlide+xml"/>
  <Override PartName="/ppt/notesSlides/notesSlide703.xml" ContentType="application/vnd.openxmlformats-officedocument.presentationml.notesSlide+xml"/>
  <Override PartName="/ppt/notesSlides/notesSlide704.xml" ContentType="application/vnd.openxmlformats-officedocument.presentationml.notesSlide+xml"/>
  <Override PartName="/ppt/notesSlides/notesSlide705.xml" ContentType="application/vnd.openxmlformats-officedocument.presentationml.notesSlide+xml"/>
  <Override PartName="/ppt/notesSlides/notesSlide706.xml" ContentType="application/vnd.openxmlformats-officedocument.presentationml.notesSlide+xml"/>
  <Override PartName="/ppt/notesSlides/notesSlide707.xml" ContentType="application/vnd.openxmlformats-officedocument.presentationml.notesSlide+xml"/>
  <Override PartName="/ppt/notesSlides/notesSlide708.xml" ContentType="application/vnd.openxmlformats-officedocument.presentationml.notesSlide+xml"/>
  <Override PartName="/ppt/notesSlides/notesSlide709.xml" ContentType="application/vnd.openxmlformats-officedocument.presentationml.notesSlide+xml"/>
  <Override PartName="/ppt/notesSlides/notesSlide71.xml" ContentType="application/vnd.openxmlformats-officedocument.presentationml.notesSlide+xml"/>
  <Override PartName="/ppt/notesSlides/notesSlide710.xml" ContentType="application/vnd.openxmlformats-officedocument.presentationml.notesSlide+xml"/>
  <Override PartName="/ppt/notesSlides/notesSlide711.xml" ContentType="application/vnd.openxmlformats-officedocument.presentationml.notesSlide+xml"/>
  <Override PartName="/ppt/notesSlides/notesSlide712.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1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 id="2147478064" r:id="rId704"/>
    <p:sldId id="2147478065" r:id="rId705"/>
    <p:sldId id="2147478066" r:id="rId706"/>
    <p:sldId id="2147478067" r:id="rId707"/>
    <p:sldId id="2147478068" r:id="rId708"/>
    <p:sldId id="2147478069" r:id="rId709"/>
    <p:sldId id="2147478070" r:id="rId710"/>
    <p:sldId id="2147478071" r:id="rId711"/>
    <p:sldId id="2147478072" r:id="rId712"/>
    <p:sldId id="2147478073" r:id="rId713"/>
    <p:sldId id="2147478074" r:id="rId714"/>
    <p:sldId id="2147478075" r:id="rId715"/>
    <p:sldId id="2147478076" r:id="rId71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71C26998-3C7A-4EB8-968A-7BD372BC6173}">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Lst>
        </p14:section>
        <p14:section name="Sectors Price Correlation Analysis P3Y" id="{9777A07B-AB07-45EA-A424-9156F7CCD9F9}">
          <p14:sldIdLst>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Lst>
        </p14:section>
        <p14:section name="Segments Price Correlation Analysis P3Y" id="{B3BB2F31-FF34-4598-BD84-256E6D26A256}">
          <p14:sldIdLst>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Lst>
        </p14:section>
        <p14:section name="SubSegment Price Correlation Analysis P3Y" id="{AAE1DACE-4ADB-44A9-AD2D-87B433AFA3EE}">
          <p14:sldIdLst>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Lst>
        </p14:section>
        <p14:section name="SubCategory Price Correlation Analysis P3Y" id="{F2CC9697-13F7-4B3A-AE86-73E96A90C79D}">
          <p14:sldIdLst>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notesMaster" Target="notesMasters/notesMaster1.xml"/><Relationship Id="rId718" Type="http://schemas.openxmlformats.org/officeDocument/2006/relationships/presProps" Target="presProps.xml"/><Relationship Id="rId719" Type="http://schemas.openxmlformats.org/officeDocument/2006/relationships/viewProps" Target="viewProps.xml"/><Relationship Id="rId720" Type="http://schemas.openxmlformats.org/officeDocument/2006/relationships/theme" Target="theme/theme1.xml"/><Relationship Id="rId721" Type="http://schemas.openxmlformats.org/officeDocument/2006/relationships/tableStyles" Target="tableStyles.xml"/><Relationship Id="rId722" Type="http://schemas.microsoft.com/office/2015/10/relationships/revisionInfo" Target="revisionInfo.xml"/></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7.xml.rels><?xml version='1.0' encoding='UTF-8' standalone='yes'?>
<Relationships xmlns="http://schemas.openxmlformats.org/package/2006/relationships"><Relationship Id="rId1" Type="http://schemas.openxmlformats.org/officeDocument/2006/relationships/package" Target="../embeddings/Microsoft_Excel_Worksheet1156.xlsx"/></Relationships>
</file>

<file path=ppt/charts/_rels/chart1158.xml.rels><?xml version='1.0' encoding='UTF-8' standalone='yes'?>
<Relationships xmlns="http://schemas.openxmlformats.org/package/2006/relationships"><Relationship Id="rId1" Type="http://schemas.openxmlformats.org/officeDocument/2006/relationships/package" Target="../embeddings/Microsoft_Excel_Worksheet1157.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package" Target="../embeddings/Microsoft_Excel_Worksheet1165.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0.xml.rels><?xml version='1.0' encoding='UTF-8' standalone='yes'?>
<Relationships xmlns="http://schemas.openxmlformats.org/package/2006/relationships"><Relationship Id="rId1" Type="http://schemas.openxmlformats.org/officeDocument/2006/relationships/package" Target="../embeddings/Microsoft_Excel_Worksheet1169.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79.xml.rels><?xml version='1.0' encoding='UTF-8' standalone='yes'?>
<Relationships xmlns="http://schemas.openxmlformats.org/package/2006/relationships"><Relationship Id="rId1" Type="http://schemas.openxmlformats.org/officeDocument/2006/relationships/package" Target="../embeddings/Microsoft_Excel_Worksheet1178.xlsx"/></Relationships>
</file>

<file path=ppt/charts/_rels/chart1180.xml.rels><?xml version='1.0' encoding='UTF-8' standalone='yes'?>
<Relationships xmlns="http://schemas.openxmlformats.org/package/2006/relationships"><Relationship Id="rId1" Type="http://schemas.openxmlformats.org/officeDocument/2006/relationships/package" Target="../embeddings/Microsoft_Excel_Worksheet1179.xlsx"/></Relationships>
</file>

<file path=ppt/charts/_rels/chart1183.xml.rels><?xml version='1.0' encoding='UTF-8' standalone='yes'?>
<Relationships xmlns="http://schemas.openxmlformats.org/package/2006/relationships"><Relationship Id="rId1" Type="http://schemas.openxmlformats.org/officeDocument/2006/relationships/package" Target="../embeddings/Microsoft_Excel_Worksheet1182.xlsx"/></Relationships>
</file>

<file path=ppt/charts/_rels/chart1184.xml.rels><?xml version='1.0' encoding='UTF-8' standalone='yes'?>
<Relationships xmlns="http://schemas.openxmlformats.org/package/2006/relationships"><Relationship Id="rId1" Type="http://schemas.openxmlformats.org/officeDocument/2006/relationships/package" Target="../embeddings/Microsoft_Excel_Worksheet1183.xlsx"/></Relationships>
</file>

<file path=ppt/charts/_rels/chart1185.xml.rels><?xml version='1.0' encoding='UTF-8' standalone='yes'?>
<Relationships xmlns="http://schemas.openxmlformats.org/package/2006/relationships"><Relationship Id="rId1" Type="http://schemas.openxmlformats.org/officeDocument/2006/relationships/package" Target="../embeddings/Microsoft_Excel_Worksheet1184.xlsx"/></Relationships>
</file>

<file path=ppt/charts/_rels/chart1186.xml.rels><?xml version='1.0' encoding='UTF-8' standalone='yes'?>
<Relationships xmlns="http://schemas.openxmlformats.org/package/2006/relationships"><Relationship Id="rId1" Type="http://schemas.openxmlformats.org/officeDocument/2006/relationships/package" Target="../embeddings/Microsoft_Excel_Worksheet1185.xlsx"/></Relationships>
</file>

<file path=ppt/charts/_rels/chart1187.xml.rels><?xml version='1.0' encoding='UTF-8' standalone='yes'?>
<Relationships xmlns="http://schemas.openxmlformats.org/package/2006/relationships"><Relationship Id="rId1" Type="http://schemas.openxmlformats.org/officeDocument/2006/relationships/package" Target="../embeddings/Microsoft_Excel_Worksheet1186.xlsx"/></Relationships>
</file>

<file path=ppt/charts/_rels/chart1188.xml.rels><?xml version='1.0' encoding='UTF-8' standalone='yes'?>
<Relationships xmlns="http://schemas.openxmlformats.org/package/2006/relationships"><Relationship Id="rId1" Type="http://schemas.openxmlformats.org/officeDocument/2006/relationships/package" Target="../embeddings/Microsoft_Excel_Worksheet118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3.xml.rels><?xml version='1.0' encoding='UTF-8' standalone='yes'?>
<Relationships xmlns="http://schemas.openxmlformats.org/package/2006/relationships"><Relationship Id="rId1"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package" Target="../embeddings/Microsoft_Excel_Worksheet1203.xlsx"/></Relationships>
</file>

<file path=ppt/charts/_rels/chart1207.xml.rels><?xml version='1.0' encoding='UTF-8' standalone='yes'?>
<Relationships xmlns="http://schemas.openxmlformats.org/package/2006/relationships"><Relationship Id="rId1" Type="http://schemas.openxmlformats.org/officeDocument/2006/relationships/package" Target="../embeddings/Microsoft_Excel_Worksheet1206.xlsx"/></Relationships>
</file>

<file path=ppt/charts/_rels/chart1208.xml.rels><?xml version='1.0' encoding='UTF-8' standalone='yes'?>
<Relationships xmlns="http://schemas.openxmlformats.org/package/2006/relationships"><Relationship Id="rId1" Type="http://schemas.openxmlformats.org/officeDocument/2006/relationships/package" Target="../embeddings/Microsoft_Excel_Worksheet1207.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11.xml.rels><?xml version='1.0' encoding='UTF-8' standalone='yes'?>
<Relationships xmlns="http://schemas.openxmlformats.org/package/2006/relationships"><Relationship Id="rId1" Type="http://schemas.openxmlformats.org/officeDocument/2006/relationships/package" Target="../embeddings/Microsoft_Excel_Worksheet1210.xlsx"/></Relationships>
</file>

<file path=ppt/charts/_rels/chart1212.xml.rels><?xml version='1.0' encoding='UTF-8' standalone='yes'?>
<Relationships xmlns="http://schemas.openxmlformats.org/package/2006/relationships"><Relationship Id="rId1" Type="http://schemas.openxmlformats.org/officeDocument/2006/relationships/package" Target="../embeddings/Microsoft_Excel_Worksheet1211.xlsx"/></Relationships>
</file>

<file path=ppt/charts/_rels/chart1215.xml.rels><?xml version='1.0' encoding='UTF-8' standalone='yes'?>
<Relationships xmlns="http://schemas.openxmlformats.org/package/2006/relationships"><Relationship Id="rId1" Type="http://schemas.openxmlformats.org/officeDocument/2006/relationships/package" Target="../embeddings/Microsoft_Excel_Worksheet1214.xlsx"/></Relationships>
</file>

<file path=ppt/charts/_rels/chart1216.xml.rels><?xml version='1.0' encoding='UTF-8' standalone='yes'?>
<Relationships xmlns="http://schemas.openxmlformats.org/package/2006/relationships"><Relationship Id="rId1" Type="http://schemas.openxmlformats.org/officeDocument/2006/relationships/package" Target="../embeddings/Microsoft_Excel_Worksheet1215.xlsx"/></Relationships>
</file>

<file path=ppt/charts/_rels/chart1217.xml.rels><?xml version='1.0' encoding='UTF-8' standalone='yes'?>
<Relationships xmlns="http://schemas.openxmlformats.org/package/2006/relationships"><Relationship Id="rId1" Type="http://schemas.openxmlformats.org/officeDocument/2006/relationships/package" Target="../embeddings/Microsoft_Excel_Worksheet1216.xlsx"/></Relationships>
</file>

<file path=ppt/charts/_rels/chart1218.xml.rels><?xml version='1.0' encoding='UTF-8' standalone='yes'?>
<Relationships xmlns="http://schemas.openxmlformats.org/package/2006/relationships"><Relationship Id="rId1" Type="http://schemas.openxmlformats.org/officeDocument/2006/relationships/package" Target="../embeddings/Microsoft_Excel_Worksheet1217.xlsx"/></Relationships>
</file>

<file path=ppt/charts/_rels/chart1219.xml.rels><?xml version='1.0' encoding='UTF-8' standalone='yes'?>
<Relationships xmlns="http://schemas.openxmlformats.org/package/2006/relationships"><Relationship Id="rId1" Type="http://schemas.openxmlformats.org/officeDocument/2006/relationships/package" Target="../embeddings/Microsoft_Excel_Worksheet1218.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0.xml.rels><?xml version='1.0' encoding='UTF-8' standalone='yes'?>
<Relationships xmlns="http://schemas.openxmlformats.org/package/2006/relationships"><Relationship Id="rId1" Type="http://schemas.openxmlformats.org/officeDocument/2006/relationships/package" Target="../embeddings/Microsoft_Excel_Worksheet1219.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29.xml.rels><?xml version='1.0' encoding='UTF-8' standalone='yes'?>
<Relationships xmlns="http://schemas.openxmlformats.org/package/2006/relationships"><Relationship Id="rId1" Type="http://schemas.openxmlformats.org/officeDocument/2006/relationships/package" Target="../embeddings/Microsoft_Excel_Worksheet1228.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30.xml.rels><?xml version='1.0' encoding='UTF-8' standalone='yes'?>
<Relationships xmlns="http://schemas.openxmlformats.org/package/2006/relationships"><Relationship Id="rId1" Type="http://schemas.openxmlformats.org/officeDocument/2006/relationships/package" Target="../embeddings/Microsoft_Excel_Worksheet1229.xlsx"/></Relationships>
</file>

<file path=ppt/charts/_rels/chart1231.xml.rels><?xml version='1.0' encoding='UTF-8' standalone='yes'?>
<Relationships xmlns="http://schemas.openxmlformats.org/package/2006/relationships"><Relationship Id="rId1" Type="http://schemas.openxmlformats.org/officeDocument/2006/relationships/package" Target="../embeddings/Microsoft_Excel_Worksheet1230.xlsx"/></Relationships>
</file>

<file path=ppt/charts/_rels/chart1232.xml.rels><?xml version='1.0' encoding='UTF-8' standalone='yes'?>
<Relationships xmlns="http://schemas.openxmlformats.org/package/2006/relationships"><Relationship Id="rId1" Type="http://schemas.openxmlformats.org/officeDocument/2006/relationships/package" Target="../embeddings/Microsoft_Excel_Worksheet1231.xlsx"/></Relationships>
</file>

<file path=ppt/charts/_rels/chart1233.xml.rels><?xml version='1.0' encoding='UTF-8' standalone='yes'?>
<Relationships xmlns="http://schemas.openxmlformats.org/package/2006/relationships"><Relationship Id="rId1"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package" Target="../embeddings/Microsoft_Excel_Worksheet1233.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1.xml.rels><?xml version='1.0' encoding='UTF-8' standalone='yes'?>
<Relationships xmlns="http://schemas.openxmlformats.org/package/2006/relationships"><Relationship Id="rId1" Type="http://schemas.openxmlformats.org/officeDocument/2006/relationships/package" Target="../embeddings/Microsoft_Excel_Worksheet1240.xlsx"/></Relationships>
</file>

<file path=ppt/charts/_rels/chart1242.xml.rels><?xml version='1.0' encoding='UTF-8' standalone='yes'?>
<Relationships xmlns="http://schemas.openxmlformats.org/package/2006/relationships"><Relationship Id="rId1" Type="http://schemas.openxmlformats.org/officeDocument/2006/relationships/package" Target="../embeddings/Microsoft_Excel_Worksheet1241.xlsx"/></Relationships>
</file>

<file path=ppt/charts/_rels/chart1247.xml.rels><?xml version='1.0' encoding='UTF-8' standalone='yes'?>
<Relationships xmlns="http://schemas.openxmlformats.org/package/2006/relationships"><Relationship Id="rId1" Type="http://schemas.openxmlformats.org/officeDocument/2006/relationships/package" Target="../embeddings/Microsoft_Excel_Worksheet1246.xlsx"/></Relationships>
</file>

<file path=ppt/charts/_rels/chart1248.xml.rels><?xml version='1.0' encoding='UTF-8' standalone='yes'?>
<Relationships xmlns="http://schemas.openxmlformats.org/package/2006/relationships"><Relationship Id="rId1" Type="http://schemas.openxmlformats.org/officeDocument/2006/relationships/package" Target="../embeddings/Microsoft_Excel_Worksheet1247.xlsx"/></Relationships>
</file>

<file path=ppt/charts/_rels/chart1249.xml.rels><?xml version='1.0' encoding='UTF-8' standalone='yes'?>
<Relationships xmlns="http://schemas.openxmlformats.org/package/2006/relationships"><Relationship Id="rId1" Type="http://schemas.openxmlformats.org/officeDocument/2006/relationships/package" Target="../embeddings/Microsoft_Excel_Worksheet1248.xlsx"/></Relationships>
</file>

<file path=ppt/charts/_rels/chart1250.xml.rels><?xml version='1.0' encoding='UTF-8' standalone='yes'?>
<Relationships xmlns="http://schemas.openxmlformats.org/package/2006/relationships"><Relationship Id="rId1"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55.xml.rels><?xml version='1.0' encoding='UTF-8' standalone='yes'?>
<Relationships xmlns="http://schemas.openxmlformats.org/package/2006/relationships"><Relationship Id="rId1" Type="http://schemas.openxmlformats.org/officeDocument/2006/relationships/package" Target="../embeddings/Microsoft_Excel_Worksheet1254.xlsx"/></Relationships>
</file>

<file path=ppt/charts/_rels/chart1256.xml.rels><?xml version='1.0' encoding='UTF-8' standalone='yes'?>
<Relationships xmlns="http://schemas.openxmlformats.org/package/2006/relationships"><Relationship Id="rId1" Type="http://schemas.openxmlformats.org/officeDocument/2006/relationships/package" Target="../embeddings/Microsoft_Excel_Worksheet1255.xlsx"/></Relationships>
</file>

<file path=ppt/charts/_rels/chart1259.xml.rels><?xml version='1.0' encoding='UTF-8' standalone='yes'?>
<Relationships xmlns="http://schemas.openxmlformats.org/package/2006/relationships"><Relationship Id="rId1" Type="http://schemas.openxmlformats.org/officeDocument/2006/relationships/package" Target="../embeddings/Microsoft_Excel_Worksheet1258.xlsx"/></Relationships>
</file>

<file path=ppt/charts/_rels/chart1260.xml.rels><?xml version='1.0' encoding='UTF-8' standalone='yes'?>
<Relationships xmlns="http://schemas.openxmlformats.org/package/2006/relationships"><Relationship Id="rId1"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package" Target="../embeddings/Microsoft_Excel_Worksheet1261.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73.xml.rels><?xml version='1.0' encoding='UTF-8' standalone='yes'?>
<Relationships xmlns="http://schemas.openxmlformats.org/package/2006/relationships"><Relationship Id="rId1" Type="http://schemas.openxmlformats.org/officeDocument/2006/relationships/package" Target="../embeddings/Microsoft_Excel_Worksheet1272.xlsx"/></Relationships>
</file>

<file path=ppt/charts/_rels/chart1274.xml.rels><?xml version='1.0' encoding='UTF-8' standalone='yes'?>
<Relationships xmlns="http://schemas.openxmlformats.org/package/2006/relationships"><Relationship Id="rId1" Type="http://schemas.openxmlformats.org/officeDocument/2006/relationships/package" Target="../embeddings/Microsoft_Excel_Worksheet1273.xlsx"/></Relationships>
</file>

<file path=ppt/charts/_rels/chart1275.xml.rels><?xml version='1.0' encoding='UTF-8' standalone='yes'?>
<Relationships xmlns="http://schemas.openxmlformats.org/package/2006/relationships"><Relationship Id="rId1" Type="http://schemas.openxmlformats.org/officeDocument/2006/relationships/package" Target="../embeddings/Microsoft_Excel_Worksheet1274.xlsx"/></Relationships>
</file>

<file path=ppt/charts/_rels/chart1276.xml.rels><?xml version='1.0' encoding='UTF-8' standalone='yes'?>
<Relationships xmlns="http://schemas.openxmlformats.org/package/2006/relationships"><Relationship Id="rId1"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package" Target="../embeddings/Microsoft_Excel_Worksheet1277.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87.xml.rels><?xml version='1.0' encoding='UTF-8' standalone='yes'?>
<Relationships xmlns="http://schemas.openxmlformats.org/package/2006/relationships"><Relationship Id="rId1"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package" Target="../embeddings/Microsoft_Excel_Worksheet128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291.xml.rels><?xml version='1.0' encoding='UTF-8' standalone='yes'?>
<Relationships xmlns="http://schemas.openxmlformats.org/package/2006/relationships"><Relationship Id="rId1"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package" Target="../embeddings/Microsoft_Excel_Worksheet1291.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299.xml.rels><?xml version='1.0' encoding='UTF-8' standalone='yes'?>
<Relationships xmlns="http://schemas.openxmlformats.org/package/2006/relationships"><Relationship Id="rId1" Type="http://schemas.openxmlformats.org/officeDocument/2006/relationships/package" Target="../embeddings/Microsoft_Excel_Worksheet129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00.xml.rels><?xml version='1.0' encoding='UTF-8' standalone='yes'?>
<Relationships xmlns="http://schemas.openxmlformats.org/package/2006/relationships"><Relationship Id="rId1" Type="http://schemas.openxmlformats.org/officeDocument/2006/relationships/package" Target="../embeddings/Microsoft_Excel_Worksheet1299.xlsx"/></Relationships>
</file>

<file path=ppt/charts/_rels/chart1303.xml.rels><?xml version='1.0' encoding='UTF-8' standalone='yes'?>
<Relationships xmlns="http://schemas.openxmlformats.org/package/2006/relationships"><Relationship Id="rId1"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package" Target="../embeddings/Microsoft_Excel_Worksheet1303.xlsx"/></Relationships>
</file>

<file path=ppt/charts/_rels/chart1305.xml.rels><?xml version='1.0' encoding='UTF-8' standalone='yes'?>
<Relationships xmlns="http://schemas.openxmlformats.org/package/2006/relationships"><Relationship Id="rId1" Type="http://schemas.openxmlformats.org/officeDocument/2006/relationships/package" Target="../embeddings/Microsoft_Excel_Worksheet1304.xlsx"/></Relationships>
</file>

<file path=ppt/charts/_rels/chart1306.xml.rels><?xml version='1.0' encoding='UTF-8' standalone='yes'?>
<Relationships xmlns="http://schemas.openxmlformats.org/package/2006/relationships"><Relationship Id="rId1" Type="http://schemas.openxmlformats.org/officeDocument/2006/relationships/package" Target="../embeddings/Microsoft_Excel_Worksheet1305.xlsx"/></Relationships>
</file>

<file path=ppt/charts/_rels/chart1309.xml.rels><?xml version='1.0' encoding='UTF-8' standalone='yes'?>
<Relationships xmlns="http://schemas.openxmlformats.org/package/2006/relationships"><Relationship Id="rId1" Type="http://schemas.openxmlformats.org/officeDocument/2006/relationships/package" Target="../embeddings/Microsoft_Excel_Worksheet1308.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0.xml.rels><?xml version='1.0' encoding='UTF-8' standalone='yes'?>
<Relationships xmlns="http://schemas.openxmlformats.org/package/2006/relationships"><Relationship Id="rId1" Type="http://schemas.openxmlformats.org/officeDocument/2006/relationships/package" Target="../embeddings/Microsoft_Excel_Worksheet1309.xlsx"/></Relationships>
</file>

<file path=ppt/charts/_rels/chart1313.xml.rels><?xml version='1.0' encoding='UTF-8' standalone='yes'?>
<Relationships xmlns="http://schemas.openxmlformats.org/package/2006/relationships"><Relationship Id="rId1"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package" Target="../embeddings/Microsoft_Excel_Worksheet1313.xlsx"/></Relationships>
</file>

<file path=ppt/charts/_rels/chart1317.xml.rels><?xml version='1.0' encoding='UTF-8' standalone='yes'?>
<Relationships xmlns="http://schemas.openxmlformats.org/package/2006/relationships"><Relationship Id="rId1"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0.xml.rels><?xml version='1.0' encoding='UTF-8' standalone='yes'?>
<Relationships xmlns="http://schemas.openxmlformats.org/package/2006/relationships"><Relationship Id="rId1" Type="http://schemas.openxmlformats.org/officeDocument/2006/relationships/package" Target="../embeddings/Microsoft_Excel_Worksheet1319.xlsx"/></Relationships>
</file>

<file path=ppt/charts/_rels/chart1321.xml.rels><?xml version='1.0' encoding='UTF-8' standalone='yes'?>
<Relationships xmlns="http://schemas.openxmlformats.org/package/2006/relationships"><Relationship Id="rId1" Type="http://schemas.openxmlformats.org/officeDocument/2006/relationships/package" Target="../embeddings/Microsoft_Excel_Worksheet1320.xlsx"/></Relationships>
</file>

<file path=ppt/charts/_rels/chart1322.xml.rels><?xml version='1.0' encoding='UTF-8' standalone='yes'?>
<Relationships xmlns="http://schemas.openxmlformats.org/package/2006/relationships"><Relationship Id="rId1" Type="http://schemas.openxmlformats.org/officeDocument/2006/relationships/package" Target="../embeddings/Microsoft_Excel_Worksheet132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1.xml.rels><?xml version='1.0' encoding='UTF-8' standalone='yes'?>
<Relationships xmlns="http://schemas.openxmlformats.org/package/2006/relationships"><Relationship Id="rId1"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openxmlformats.org/officeDocument/2006/relationships/package" Target="../embeddings/Microsoft_Excel_Worksheet1331.xlsx"/></Relationships>
</file>

<file path=ppt/charts/_rels/chart1333.xml.rels><?xml version='1.0' encoding='UTF-8' standalone='yes'?>
<Relationships xmlns="http://schemas.openxmlformats.org/package/2006/relationships"><Relationship Id="rId1" Type="http://schemas.openxmlformats.org/officeDocument/2006/relationships/package" Target="../embeddings/Microsoft_Excel_Worksheet1332.xlsx"/></Relationships>
</file>

<file path=ppt/charts/_rels/chart1334.xml.rels><?xml version='1.0' encoding='UTF-8' standalone='yes'?>
<Relationships xmlns="http://schemas.openxmlformats.org/package/2006/relationships"><Relationship Id="rId1" Type="http://schemas.openxmlformats.org/officeDocument/2006/relationships/package" Target="../embeddings/Microsoft_Excel_Worksheet1333.xlsx"/></Relationships>
</file>

<file path=ppt/charts/_rels/chart1335.xml.rels><?xml version='1.0' encoding='UTF-8' standalone='yes'?>
<Relationships xmlns="http://schemas.openxmlformats.org/package/2006/relationships"><Relationship Id="rId1" Type="http://schemas.openxmlformats.org/officeDocument/2006/relationships/package" Target="../embeddings/Microsoft_Excel_Worksheet1334.xlsx"/></Relationships>
</file>

<file path=ppt/charts/_rels/chart1336.xml.rels><?xml version='1.0' encoding='UTF-8' standalone='yes'?>
<Relationships xmlns="http://schemas.openxmlformats.org/package/2006/relationships"><Relationship Id="rId1" Type="http://schemas.openxmlformats.org/officeDocument/2006/relationships/package" Target="../embeddings/Microsoft_Excel_Worksheet1335.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43.xml.rels><?xml version='1.0' encoding='UTF-8' standalone='yes'?>
<Relationships xmlns="http://schemas.openxmlformats.org/package/2006/relationships"><Relationship Id="rId1" Type="http://schemas.openxmlformats.org/officeDocument/2006/relationships/package" Target="../embeddings/Microsoft_Excel_Worksheet1342.xlsx"/></Relationships>
</file>

<file path=ppt/charts/_rels/chart1344.xml.rels><?xml version='1.0' encoding='UTF-8' standalone='yes'?>
<Relationships xmlns="http://schemas.openxmlformats.org/package/2006/relationships"><Relationship Id="rId1" Type="http://schemas.openxmlformats.org/officeDocument/2006/relationships/package" Target="../embeddings/Microsoft_Excel_Worksheet1343.xlsx"/></Relationships>
</file>

<file path=ppt/charts/_rels/chart1349.xml.rels><?xml version='1.0' encoding='UTF-8' standalone='yes'?>
<Relationships xmlns="http://schemas.openxmlformats.org/package/2006/relationships"><Relationship Id="rId1" Type="http://schemas.openxmlformats.org/officeDocument/2006/relationships/package" Target="../embeddings/Microsoft_Excel_Worksheet1348.xlsx"/></Relationships>
</file>

<file path=ppt/charts/_rels/chart1350.xml.rels><?xml version='1.0' encoding='UTF-8' standalone='yes'?>
<Relationships xmlns="http://schemas.openxmlformats.org/package/2006/relationships"><Relationship Id="rId1" Type="http://schemas.openxmlformats.org/officeDocument/2006/relationships/package" Target="../embeddings/Microsoft_Excel_Worksheet1349.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package" Target="../embeddings/Microsoft_Excel_Worksheet1357.xlsx"/></Relationships>
</file>

<file path=ppt/charts/_rels/chart1361.xml.rels><?xml version='1.0' encoding='UTF-8' standalone='yes'?>
<Relationships xmlns="http://schemas.openxmlformats.org/package/2006/relationships"><Relationship Id="rId1" Type="http://schemas.openxmlformats.org/officeDocument/2006/relationships/package" Target="../embeddings/Microsoft_Excel_Worksheet1360.xlsx"/></Relationships>
</file>

<file path=ppt/charts/_rels/chart1362.xml.rels><?xml version='1.0' encoding='UTF-8' standalone='yes'?>
<Relationships xmlns="http://schemas.openxmlformats.org/package/2006/relationships"><Relationship Id="rId1" Type="http://schemas.openxmlformats.org/officeDocument/2006/relationships/package" Target="../embeddings/Microsoft_Excel_Worksheet1361.xlsx"/></Relationships>
</file>

<file path=ppt/charts/_rels/chart1363.xml.rels><?xml version='1.0' encoding='UTF-8' standalone='yes'?>
<Relationships xmlns="http://schemas.openxmlformats.org/package/2006/relationships"><Relationship Id="rId1" Type="http://schemas.openxmlformats.org/officeDocument/2006/relationships/package" Target="../embeddings/Microsoft_Excel_Worksheet1362.xlsx"/></Relationships>
</file>

<file path=ppt/charts/_rels/chart1364.xml.rels><?xml version='1.0' encoding='UTF-8' standalone='yes'?>
<Relationships xmlns="http://schemas.openxmlformats.org/package/2006/relationships"><Relationship Id="rId1" Type="http://schemas.openxmlformats.org/officeDocument/2006/relationships/package" Target="../embeddings/Microsoft_Excel_Worksheet1363.xlsx"/></Relationships>
</file>

<file path=ppt/charts/_rels/chart1365.xml.rels><?xml version='1.0' encoding='UTF-8' standalone='yes'?>
<Relationships xmlns="http://schemas.openxmlformats.org/package/2006/relationships"><Relationship Id="rId1" Type="http://schemas.openxmlformats.org/officeDocument/2006/relationships/package" Target="../embeddings/Microsoft_Excel_Worksheet1364.xlsx"/></Relationships>
</file>

<file path=ppt/charts/_rels/chart1366.xml.rels><?xml version='1.0' encoding='UTF-8' standalone='yes'?>
<Relationships xmlns="http://schemas.openxmlformats.org/package/2006/relationships"><Relationship Id="rId1" Type="http://schemas.openxmlformats.org/officeDocument/2006/relationships/package" Target="../embeddings/Microsoft_Excel_Worksheet136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75.xml.rels><?xml version='1.0' encoding='UTF-8' standalone='yes'?>
<Relationships xmlns="http://schemas.openxmlformats.org/package/2006/relationships"><Relationship Id="rId1" Type="http://schemas.openxmlformats.org/officeDocument/2006/relationships/package" Target="../embeddings/Microsoft_Excel_Worksheet1374.xlsx"/></Relationships>
</file>

<file path=ppt/charts/_rels/chart1376.xml.rels><?xml version='1.0' encoding='UTF-8' standalone='yes'?>
<Relationships xmlns="http://schemas.openxmlformats.org/package/2006/relationships"><Relationship Id="rId1"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openxmlformats.org/officeDocument/2006/relationships/package" Target="../embeddings/Microsoft_Excel_Worksheet1376.xlsx"/></Relationships>
</file>

<file path=ppt/charts/_rels/chart1378.xml.rels><?xml version='1.0' encoding='UTF-8' standalone='yes'?>
<Relationships xmlns="http://schemas.openxmlformats.org/package/2006/relationships"><Relationship Id="rId1" Type="http://schemas.openxmlformats.org/officeDocument/2006/relationships/package" Target="../embeddings/Microsoft_Excel_Worksheet1377.xlsx"/></Relationships>
</file>

<file path=ppt/charts/_rels/chart1379.xml.rels><?xml version='1.0' encoding='UTF-8' standalone='yes'?>
<Relationships xmlns="http://schemas.openxmlformats.org/package/2006/relationships"><Relationship Id="rId1" Type="http://schemas.openxmlformats.org/officeDocument/2006/relationships/package" Target="../embeddings/Microsoft_Excel_Worksheet1378.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80.xml.rels><?xml version='1.0' encoding='UTF-8' standalone='yes'?>
<Relationships xmlns="http://schemas.openxmlformats.org/package/2006/relationships"><Relationship Id="rId1" Type="http://schemas.openxmlformats.org/officeDocument/2006/relationships/package" Target="../embeddings/Microsoft_Excel_Worksheet1379.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package" Target="../embeddings/Microsoft_Excel_Worksheet1387.xlsx"/></Relationships>
</file>

<file path=ppt/charts/_rels/chart1393.xml.rels><?xml version='1.0' encoding='UTF-8' standalone='yes'?>
<Relationships xmlns="http://schemas.openxmlformats.org/package/2006/relationships"><Relationship Id="rId1" Type="http://schemas.openxmlformats.org/officeDocument/2006/relationships/package" Target="../embeddings/Microsoft_Excel_Worksheet1392.xlsx"/></Relationships>
</file>

<file path=ppt/charts/_rels/chart1394.xml.rels><?xml version='1.0' encoding='UTF-8' standalone='yes'?>
<Relationships xmlns="http://schemas.openxmlformats.org/package/2006/relationships"><Relationship Id="rId1" Type="http://schemas.openxmlformats.org/officeDocument/2006/relationships/package" Target="../embeddings/Microsoft_Excel_Worksheet1393.xlsx"/></Relationships>
</file>

<file path=ppt/charts/_rels/chart1395.xml.rels><?xml version='1.0' encoding='UTF-8' standalone='yes'?>
<Relationships xmlns="http://schemas.openxmlformats.org/package/2006/relationships"><Relationship Id="rId1" Type="http://schemas.openxmlformats.org/officeDocument/2006/relationships/package" Target="../embeddings/Microsoft_Excel_Worksheet1394.xlsx"/></Relationships>
</file>

<file path=ppt/charts/_rels/chart1396.xml.rels><?xml version='1.0' encoding='UTF-8' standalone='yes'?>
<Relationships xmlns="http://schemas.openxmlformats.org/package/2006/relationships"><Relationship Id="rId1" Type="http://schemas.openxmlformats.org/officeDocument/2006/relationships/package" Target="../embeddings/Microsoft_Excel_Worksheet1395.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07.xml.rels><?xml version='1.0' encoding='UTF-8' standalone='yes'?>
<Relationships xmlns="http://schemas.openxmlformats.org/package/2006/relationships"><Relationship Id="rId1" Type="http://schemas.openxmlformats.org/officeDocument/2006/relationships/package" Target="../embeddings/Microsoft_Excel_Worksheet1406.xlsx"/></Relationships>
</file>

<file path=ppt/charts/_rels/chart1408.xml.rels><?xml version='1.0' encoding='UTF-8' standalone='yes'?>
<Relationships xmlns="http://schemas.openxmlformats.org/package/2006/relationships"><Relationship Id="rId1" Type="http://schemas.openxmlformats.org/officeDocument/2006/relationships/package" Target="../embeddings/Microsoft_Excel_Worksheet1407.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11.xml.rels><?xml version='1.0' encoding='UTF-8' standalone='yes'?>
<Relationships xmlns="http://schemas.openxmlformats.org/package/2006/relationships"><Relationship Id="rId1"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package" Target="../embeddings/Microsoft_Excel_Worksheet1411.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21.xml.rels><?xml version='1.0' encoding='UTF-8' standalone='yes'?>
<Relationships xmlns="http://schemas.openxmlformats.org/package/2006/relationships"><Relationship Id="rId1" Type="http://schemas.openxmlformats.org/officeDocument/2006/relationships/package" Target="../embeddings/Microsoft_Excel_Worksheet1420.xlsx"/></Relationships>
</file>

<file path=ppt/charts/_rels/chart1422.xml.rels><?xml version='1.0' encoding='UTF-8' standalone='yes'?>
<Relationships xmlns="http://schemas.openxmlformats.org/package/2006/relationships"><Relationship Id="rId1" Type="http://schemas.openxmlformats.org/officeDocument/2006/relationships/package" Target="../embeddings/Microsoft_Excel_Worksheet142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4.6747</c:v>
                </c:pt>
                <c:pt idx="1">
                  <c:v>873.2345</c:v>
                </c:pt>
                <c:pt idx="2">
                  <c:v>944.4559</c:v>
                </c:pt>
                <c:pt idx="3">
                  <c:v>964.3921</c:v>
                </c:pt>
                <c:pt idx="4">
                  <c:v>983.3419</c:v>
                </c:pt>
                <c:pt idx="5">
                  <c:v>946.3934</c:v>
                </c:pt>
                <c:pt idx="6">
                  <c:v>884.2841</c:v>
                </c:pt>
                <c:pt idx="7">
                  <c:v>920.7571</c:v>
                </c:pt>
                <c:pt idx="8">
                  <c:v>927.9735</c:v>
                </c:pt>
                <c:pt idx="9">
                  <c:v>897.3015</c:v>
                </c:pt>
                <c:pt idx="10">
                  <c:v>872.3361</c:v>
                </c:pt>
                <c:pt idx="11">
                  <c:v>927.9977</c:v>
                </c:pt>
                <c:pt idx="12">
                  <c:v>922.6916</c:v>
                </c:pt>
                <c:pt idx="13">
                  <c:v>914.3705</c:v>
                </c:pt>
                <c:pt idx="14">
                  <c:v>906.8643</c:v>
                </c:pt>
                <c:pt idx="15">
                  <c:v>908.7989</c:v>
                </c:pt>
                <c:pt idx="16">
                  <c:v>916.1759</c:v>
                </c:pt>
                <c:pt idx="17">
                  <c:v>922.4381</c:v>
                </c:pt>
                <c:pt idx="18">
                  <c:v>969.5879</c:v>
                </c:pt>
                <c:pt idx="19">
                  <c:v>981.169</c:v>
                </c:pt>
                <c:pt idx="20">
                  <c:v>976.6052</c:v>
                </c:pt>
                <c:pt idx="21">
                  <c:v>987.6091</c:v>
                </c:pt>
                <c:pt idx="22">
                  <c:v>956.8037</c:v>
                </c:pt>
                <c:pt idx="23">
                  <c:v>946.0401</c:v>
                </c:pt>
                <c:pt idx="24">
                  <c:v>937.031</c:v>
                </c:pt>
                <c:pt idx="25">
                  <c:v>925.3525</c:v>
                </c:pt>
                <c:pt idx="26">
                  <c:v>946.6767</c:v>
                </c:pt>
                <c:pt idx="27">
                  <c:v>958.2145</c:v>
                </c:pt>
                <c:pt idx="28">
                  <c:v>960.181</c:v>
                </c:pt>
                <c:pt idx="29">
                  <c:v>875.6634</c:v>
                </c:pt>
                <c:pt idx="30">
                  <c:v>877.4457</c:v>
                </c:pt>
                <c:pt idx="31">
                  <c:v>942.4082</c:v>
                </c:pt>
                <c:pt idx="32">
                  <c:v>908.0839</c:v>
                </c:pt>
                <c:pt idx="33">
                  <c:v>885.4845</c:v>
                </c:pt>
                <c:pt idx="34">
                  <c:v>925.6587</c:v>
                </c:pt>
                <c:pt idx="35">
                  <c:v>994.6321</c:v>
                </c:pt>
                <c:pt idx="36">
                  <c:v>1044.3993</c:v>
                </c:pt>
                <c:pt idx="37">
                  <c:v>1044.0913</c:v>
                </c:pt>
                <c:pt idx="38">
                  <c:v>1074.7959</c:v>
                </c:pt>
                <c:pt idx="39">
                  <c:v>1071.3565</c:v>
                </c:pt>
                <c:pt idx="40">
                  <c:v>1097.5835</c:v>
                </c:pt>
                <c:pt idx="41">
                  <c:v>1139.2722</c:v>
                </c:pt>
                <c:pt idx="42">
                  <c:v>1197.9273</c:v>
                </c:pt>
                <c:pt idx="43">
                  <c:v>1189.0713</c:v>
                </c:pt>
                <c:pt idx="44">
                  <c:v>1071.2777</c:v>
                </c:pt>
                <c:pt idx="45">
                  <c:v>1013.3726</c:v>
                </c:pt>
                <c:pt idx="46">
                  <c:v>1009.8745</c:v>
                </c:pt>
                <c:pt idx="47">
                  <c:v>992.1066</c:v>
                </c:pt>
                <c:pt idx="48">
                  <c:v>987.4796</c:v>
                </c:pt>
                <c:pt idx="49">
                  <c:v>960.1606</c:v>
                </c:pt>
                <c:pt idx="50">
                  <c:v>961.9215</c:v>
                </c:pt>
                <c:pt idx="51">
                  <c:v>968.5223</c:v>
                </c:pt>
                <c:pt idx="52">
                  <c:v>1003.1715</c:v>
                </c:pt>
                <c:pt idx="53">
                  <c:v>1057.0923</c:v>
                </c:pt>
                <c:pt idx="54">
                  <c:v>1044.77</c:v>
                </c:pt>
                <c:pt idx="55">
                  <c:v>1050.555</c:v>
                </c:pt>
                <c:pt idx="56">
                  <c:v>1073.7634</c:v>
                </c:pt>
                <c:pt idx="57">
                  <c:v>1063.2893</c:v>
                </c:pt>
                <c:pt idx="58">
                  <c:v>1029.9457</c:v>
                </c:pt>
                <c:pt idx="59">
                  <c:v>1036.1278</c:v>
                </c:pt>
                <c:pt idx="60">
                  <c:v>1085.9117</c:v>
                </c:pt>
                <c:pt idx="61">
                  <c:v>1084.3718</c:v>
                </c:pt>
                <c:pt idx="62">
                  <c:v>1030.574</c:v>
                </c:pt>
                <c:pt idx="63">
                  <c:v>1062.6529</c:v>
                </c:pt>
                <c:pt idx="64">
                  <c:v>1053.3802</c:v>
                </c:pt>
                <c:pt idx="65">
                  <c:v>1052.3124</c:v>
                </c:pt>
                <c:pt idx="66">
                  <c:v>987.3693</c:v>
                </c:pt>
                <c:pt idx="67">
                  <c:v>976.83</c:v>
                </c:pt>
                <c:pt idx="68">
                  <c:v>954.779</c:v>
                </c:pt>
                <c:pt idx="69">
                  <c:v>954.3742</c:v>
                </c:pt>
                <c:pt idx="70">
                  <c:v>937.7985</c:v>
                </c:pt>
                <c:pt idx="71">
                  <c:v>1003.5908</c:v>
                </c:pt>
                <c:pt idx="72">
                  <c:v>990.9622</c:v>
                </c:pt>
                <c:pt idx="73">
                  <c:v>1044.6282</c:v>
                </c:pt>
                <c:pt idx="74">
                  <c:v>996.2414</c:v>
                </c:pt>
                <c:pt idx="75">
                  <c:v>1022.0231</c:v>
                </c:pt>
                <c:pt idx="76">
                  <c:v>1055.5865</c:v>
                </c:pt>
                <c:pt idx="77">
                  <c:v>1048.2287</c:v>
                </c:pt>
                <c:pt idx="78">
                  <c:v>1106.9083</c:v>
                </c:pt>
                <c:pt idx="79">
                  <c:v>667.8491</c:v>
                </c:pt>
                <c:pt idx="80">
                  <c:v>672.2</c:v>
                </c:pt>
                <c:pt idx="81">
                  <c:v>889.1177</c:v>
                </c:pt>
                <c:pt idx="82">
                  <c:v>807.2941</c:v>
                </c:pt>
                <c:pt idx="83">
                  <c:v>916.839</c:v>
                </c:pt>
                <c:pt idx="84">
                  <c:v>936.3079</c:v>
                </c:pt>
                <c:pt idx="85">
                  <c:v>973.6623</c:v>
                </c:pt>
                <c:pt idx="86">
                  <c:v>1114.4921</c:v>
                </c:pt>
                <c:pt idx="87">
                  <c:v>1168.8906</c:v>
                </c:pt>
                <c:pt idx="88">
                  <c:v>1108.883</c:v>
                </c:pt>
                <c:pt idx="89">
                  <c:v>1026.0949</c:v>
                </c:pt>
                <c:pt idx="90">
                  <c:v>1151.4884</c:v>
                </c:pt>
                <c:pt idx="91">
                  <c:v>1052.1839</c:v>
                </c:pt>
                <c:pt idx="92">
                  <c:v>1154.6825</c:v>
                </c:pt>
                <c:pt idx="93">
                  <c:v>1208.7421</c:v>
                </c:pt>
                <c:pt idx="94">
                  <c:v>1147.6851</c:v>
                </c:pt>
                <c:pt idx="95">
                  <c:v>1182.6595</c:v>
                </c:pt>
                <c:pt idx="96">
                  <c:v>1163.5848</c:v>
                </c:pt>
                <c:pt idx="97">
                  <c:v>1146.7791</c:v>
                </c:pt>
                <c:pt idx="98">
                  <c:v>1146.8242</c:v>
                </c:pt>
                <c:pt idx="99">
                  <c:v>1068.0963</c:v>
                </c:pt>
                <c:pt idx="100">
                  <c:v>1103.9488</c:v>
                </c:pt>
                <c:pt idx="101">
                  <c:v>1081.941</c:v>
                </c:pt>
                <c:pt idx="102">
                  <c:v>1097.0865</c:v>
                </c:pt>
                <c:pt idx="103">
                  <c:v>1022.4734</c:v>
                </c:pt>
                <c:pt idx="104">
                  <c:v>1105.4056</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3.9756561239888</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3.9756561239888</c:v>
                </c:pt>
                <c:pt idx="1">
                  <c:v>963.9756561239888</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7200323217953</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7200323217953</c:v>
                </c:pt>
                <c:pt idx="1">
                  <c:v>1134.7200323217953</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8520505321808</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8520505321808</c:v>
                </c:pt>
                <c:pt idx="1">
                  <c:v>1266.8520505321808</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pt idx="52">
                  <c:v>1134.7200323217953</c:v>
                </c:pt>
                <c:pt idx="53">
                  <c:v>963.9756561239888</c:v>
                </c:pt>
                <c:pt idx="54">
                  <c:v>1266.8520505321808</c:v>
                </c:pt>
              </c:numCache>
            </c:numRef>
          </c:xVal>
          <c:yVal>
            <c:numRef>
              <c:f>Sheet1!$B$187:$B$241</c:f>
              <c:numCache>
                <c:formatCode>General</c:formatCode>
                <c:ptCount val="55"/>
                <c:pt idx="0">
                  <c:v>0.21384703597534188</c:v>
                </c:pt>
                <c:pt idx="1">
                  <c:v>0.21832730588660762</c:v>
                </c:pt>
                <c:pt idx="2">
                  <c:v>0.21914278414380614</c:v>
                </c:pt>
                <c:pt idx="3">
                  <c:v>0.21627475293470136</c:v>
                </c:pt>
                <c:pt idx="4">
                  <c:v>0.21588350330735775</c:v>
                </c:pt>
                <c:pt idx="5">
                  <c:v>0.21405474241261108</c:v>
                </c:pt>
                <c:pt idx="6">
                  <c:v>0.22287560891749653</c:v>
                </c:pt>
                <c:pt idx="7">
                  <c:v>0.21667098840786383</c:v>
                </c:pt>
                <c:pt idx="8">
                  <c:v>0.20631450924465916</c:v>
                </c:pt>
                <c:pt idx="9">
                  <c:v>0.21283045265215392</c:v>
                </c:pt>
                <c:pt idx="10">
                  <c:v>0.21007596781444884</c:v>
                </c:pt>
                <c:pt idx="11">
                  <c:v>0.2297206181490355</c:v>
                </c:pt>
                <c:pt idx="12">
                  <c:v>0.22221497041955496</c:v>
                </c:pt>
                <c:pt idx="13">
                  <c:v>0.21633342714820644</c:v>
                </c:pt>
                <c:pt idx="14">
                  <c:v>0.21611079102736797</c:v>
                </c:pt>
                <c:pt idx="15">
                  <c:v>0.21020291190561877</c:v>
                </c:pt>
                <c:pt idx="16">
                  <c:v>0.20627577841442946</c:v>
                </c:pt>
                <c:pt idx="17">
                  <c:v>0.21299863442340658</c:v>
                </c:pt>
                <c:pt idx="18">
                  <c:v>0.20696932628016418</c:v>
                </c:pt>
                <c:pt idx="19">
                  <c:v>0.19407332465415386</c:v>
                </c:pt>
                <c:pt idx="20">
                  <c:v>0.19774599895831452</c:v>
                </c:pt>
                <c:pt idx="21">
                  <c:v>0.19659084254602713</c:v>
                </c:pt>
                <c:pt idx="22">
                  <c:v>0.19805308806531363</c:v>
                </c:pt>
                <c:pt idx="23">
                  <c:v>0.20324106954398383</c:v>
                </c:pt>
                <c:pt idx="24">
                  <c:v>0.20581423950259495</c:v>
                </c:pt>
                <c:pt idx="25">
                  <c:v>0.2133980730936035</c:v>
                </c:pt>
                <c:pt idx="26">
                  <c:v>0.2028167434255235</c:v>
                </c:pt>
                <c:pt idx="27">
                  <c:v>0.20087929666270332</c:v>
                </c:pt>
                <c:pt idx="28">
                  <c:v>0.2045829723433801</c:v>
                </c:pt>
                <c:pt idx="29">
                  <c:v>0.20491720506351038</c:v>
                </c:pt>
                <c:pt idx="30">
                  <c:v>0.20092543662694315</c:v>
                </c:pt>
                <c:pt idx="31">
                  <c:v>0.2088364559046062</c:v>
                </c:pt>
                <c:pt idx="32">
                  <c:v>0.20953381975289498</c:v>
                </c:pt>
                <c:pt idx="33">
                  <c:v>0.20263318630850544</c:v>
                </c:pt>
                <c:pt idx="34">
                  <c:v>0.1974409571120287</c:v>
                </c:pt>
                <c:pt idx="35">
                  <c:v>0.20035940385706716</c:v>
                </c:pt>
                <c:pt idx="36">
                  <c:v>0.19840784910035172</c:v>
                </c:pt>
                <c:pt idx="37">
                  <c:v>0.18723089190718603</c:v>
                </c:pt>
                <c:pt idx="38">
                  <c:v>0.19263954580764311</c:v>
                </c:pt>
                <c:pt idx="39">
                  <c:v>0.19836183447860453</c:v>
                </c:pt>
                <c:pt idx="40">
                  <c:v>0.18738297413160465</c:v>
                </c:pt>
                <c:pt idx="41">
                  <c:v>0.18230802372741997</c:v>
                </c:pt>
                <c:pt idx="42">
                  <c:v>0.18275718158636914</c:v>
                </c:pt>
                <c:pt idx="43">
                  <c:v>0.18681376601858143</c:v>
                </c:pt>
                <c:pt idx="44">
                  <c:v>0.19903938028611057</c:v>
                </c:pt>
                <c:pt idx="45">
                  <c:v>0.207777492891958</c:v>
                </c:pt>
                <c:pt idx="46">
                  <c:v>0.21244630576606063</c:v>
                </c:pt>
                <c:pt idx="47">
                  <c:v>0.21518875772447102</c:v>
                </c:pt>
                <c:pt idx="48">
                  <c:v>0.21820960928600674</c:v>
                </c:pt>
                <c:pt idx="49">
                  <c:v>0.2103660660502217</c:v>
                </c:pt>
                <c:pt idx="50">
                  <c:v>0.22582112964094794</c:v>
                </c:pt>
                <c:pt idx="51">
                  <c:v>0.23253533701793203</c:v>
                </c:pt>
                <c:pt idx="52">
                  <c:v>0.21686084992890722</c:v>
                </c:pt>
                <c:pt idx="53">
                  <c:v>0.24064032295009066</c:v>
                </c:pt>
                <c:pt idx="54">
                  <c:v>0.19845889823810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53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610844460748349</c:v>
                </c:pt>
                <c:pt idx="1">
                  <c:v>0.581253711474461</c:v>
                </c:pt>
                <c:pt idx="2">
                  <c:v>0.8737412248345146</c:v>
                </c:pt>
                <c:pt idx="3">
                  <c:v>0.5974271070302863</c:v>
                </c:pt>
                <c:pt idx="4">
                  <c:v>0.5491751147373789</c:v>
                </c:pt>
                <c:pt idx="5">
                  <c:v>0.6133089057123193</c:v>
                </c:pt>
                <c:pt idx="6">
                  <c:v>0.7685116379310345</c:v>
                </c:pt>
                <c:pt idx="7">
                  <c:v>0.6279701035781544</c:v>
                </c:pt>
                <c:pt idx="8">
                  <c:v>0.8905048177628824</c:v>
                </c:pt>
                <c:pt idx="9">
                  <c:v>0.6232321645861345</c:v>
                </c:pt>
                <c:pt idx="10">
                  <c:v>0.9106482020821594</c:v>
                </c:pt>
                <c:pt idx="11">
                  <c:v>0.7884899614474467</c:v>
                </c:pt>
                <c:pt idx="12">
                  <c:v>0.774978277956413</c:v>
                </c:pt>
                <c:pt idx="13">
                  <c:v>0.722365308825459</c:v>
                </c:pt>
                <c:pt idx="14">
                  <c:v>0.6287255852949714</c:v>
                </c:pt>
                <c:pt idx="15">
                  <c:v>0.8895719387222305</c:v>
                </c:pt>
                <c:pt idx="16">
                  <c:v>0.47070684807256236</c:v>
                </c:pt>
                <c:pt idx="17">
                  <c:v>0.6965847826086956</c:v>
                </c:pt>
                <c:pt idx="18">
                  <c:v>0.7213529173693086</c:v>
                </c:pt>
                <c:pt idx="19">
                  <c:v>0.8692233826968044</c:v>
                </c:pt>
                <c:pt idx="20">
                  <c:v>1.1021683922641141</c:v>
                </c:pt>
                <c:pt idx="21">
                  <c:v>0.8463492510751892</c:v>
                </c:pt>
                <c:pt idx="22">
                  <c:v>0.7525931602279924</c:v>
                </c:pt>
                <c:pt idx="23">
                  <c:v>0.6481145102441762</c:v>
                </c:pt>
                <c:pt idx="24">
                  <c:v>0.6808125302663438</c:v>
                </c:pt>
                <c:pt idx="25">
                  <c:v>0.8515228830248129</c:v>
                </c:pt>
                <c:pt idx="26">
                  <c:v>0.6713455542725174</c:v>
                </c:pt>
                <c:pt idx="27">
                  <c:v>0.6678748696656785</c:v>
                </c:pt>
                <c:pt idx="28">
                  <c:v>0.45311282261368285</c:v>
                </c:pt>
                <c:pt idx="29">
                  <c:v>0.4979949630916196</c:v>
                </c:pt>
                <c:pt idx="30">
                  <c:v>0.9380902527075813</c:v>
                </c:pt>
                <c:pt idx="31">
                  <c:v>1.1265800861656294</c:v>
                </c:pt>
                <c:pt idx="32">
                  <c:v>0.8665870967741935</c:v>
                </c:pt>
                <c:pt idx="33">
                  <c:v>0.8781802583025831</c:v>
                </c:pt>
                <c:pt idx="34">
                  <c:v>1.1461042328042328</c:v>
                </c:pt>
                <c:pt idx="35">
                  <c:v>1.0129726252158895</c:v>
                </c:pt>
                <c:pt idx="36">
                  <c:v>1.112140077439583</c:v>
                </c:pt>
                <c:pt idx="37">
                  <c:v>0.9926331789473684</c:v>
                </c:pt>
                <c:pt idx="38">
                  <c:v>1.6269169788519637</c:v>
                </c:pt>
                <c:pt idx="39">
                  <c:v>1.7676959468438538</c:v>
                </c:pt>
                <c:pt idx="40">
                  <c:v>1.013033033033033</c:v>
                </c:pt>
                <c:pt idx="41">
                  <c:v>0.5894325110132158</c:v>
                </c:pt>
                <c:pt idx="42">
                  <c:v>1.5089211298207497</c:v>
                </c:pt>
                <c:pt idx="43">
                  <c:v>0.9012686761963953</c:v>
                </c:pt>
                <c:pt idx="44">
                  <c:v>1.002200843558282</c:v>
                </c:pt>
                <c:pt idx="45">
                  <c:v>1.0067642828282828</c:v>
                </c:pt>
                <c:pt idx="46">
                  <c:v>0.9065594343133607</c:v>
                </c:pt>
                <c:pt idx="47">
                  <c:v>0.7840541668338641</c:v>
                </c:pt>
                <c:pt idx="48">
                  <c:v>0.6917449207281269</c:v>
                </c:pt>
                <c:pt idx="49">
                  <c:v>0.77642645374067</c:v>
                </c:pt>
                <c:pt idx="50">
                  <c:v>0.7583031786503485</c:v>
                </c:pt>
                <c:pt idx="51">
                  <c:v>0.5403092428946741</c:v>
                </c:pt>
                <c:pt idx="52">
                  <c:v>1.1435566969577242</c:v>
                </c:pt>
                <c:pt idx="53">
                  <c:v>0.8255371010638298</c:v>
                </c:pt>
                <c:pt idx="54">
                  <c:v>0.9091748657746888</c:v>
                </c:pt>
                <c:pt idx="55">
                  <c:v>0.8320700966667449</c:v>
                </c:pt>
                <c:pt idx="56">
                  <c:v>1.2847016508254125</c:v>
                </c:pt>
                <c:pt idx="57">
                  <c:v>1.2730965741435358</c:v>
                </c:pt>
                <c:pt idx="58">
                  <c:v>1.0432208469055375</c:v>
                </c:pt>
                <c:pt idx="59">
                  <c:v>0.7771264228934818</c:v>
                </c:pt>
                <c:pt idx="60">
                  <c:v>0.7660734004220844</c:v>
                </c:pt>
                <c:pt idx="61">
                  <c:v>0.7448969781893505</c:v>
                </c:pt>
                <c:pt idx="62">
                  <c:v>0.8140876675684964</c:v>
                </c:pt>
                <c:pt idx="63">
                  <c:v>0.8463216984526808</c:v>
                </c:pt>
                <c:pt idx="64">
                  <c:v>0.7869604175138946</c:v>
                </c:pt>
                <c:pt idx="65">
                  <c:v>0.6958611609814483</c:v>
                </c:pt>
                <c:pt idx="66">
                  <c:v>0.43900007621951226</c:v>
                </c:pt>
                <c:pt idx="67">
                  <c:v>0.5427724677716391</c:v>
                </c:pt>
                <c:pt idx="68">
                  <c:v>0.0</c:v>
                </c:pt>
                <c:pt idx="69">
                  <c:v>0.0</c:v>
                </c:pt>
                <c:pt idx="70">
                  <c:v>0.0</c:v>
                </c:pt>
                <c:pt idx="71">
                  <c:v>0.4901715844785772</c:v>
                </c:pt>
                <c:pt idx="72">
                  <c:v>0.6487383315733897</c:v>
                </c:pt>
                <c:pt idx="73">
                  <c:v>0.0</c:v>
                </c:pt>
                <c:pt idx="74">
                  <c:v>0.0</c:v>
                </c:pt>
                <c:pt idx="75">
                  <c:v>0.0</c:v>
                </c:pt>
                <c:pt idx="76">
                  <c:v>0.5542441860465116</c:v>
                </c:pt>
                <c:pt idx="77">
                  <c:v>0.0</c:v>
                </c:pt>
                <c:pt idx="78">
                  <c:v>0.0</c:v>
                </c:pt>
                <c:pt idx="79">
                  <c:v>0.0</c:v>
                </c:pt>
                <c:pt idx="80">
                  <c:v>0.0</c:v>
                </c:pt>
                <c:pt idx="81">
                  <c:v>0.44542233676975945</c:v>
                </c:pt>
                <c:pt idx="82">
                  <c:v>0.0</c:v>
                </c:pt>
                <c:pt idx="83">
                  <c:v>0.0</c:v>
                </c:pt>
                <c:pt idx="84">
                  <c:v>0.0</c:v>
                </c:pt>
                <c:pt idx="85">
                  <c:v>0.0</c:v>
                </c:pt>
                <c:pt idx="86">
                  <c:v>0.3767776293348493</c:v>
                </c:pt>
                <c:pt idx="87">
                  <c:v>0.0</c:v>
                </c:pt>
                <c:pt idx="88">
                  <c:v>0.0</c:v>
                </c:pt>
                <c:pt idx="89">
                  <c:v>0.0</c:v>
                </c:pt>
                <c:pt idx="90">
                  <c:v>0.0</c:v>
                </c:pt>
                <c:pt idx="91">
                  <c:v>0.0</c:v>
                </c:pt>
                <c:pt idx="92">
                  <c:v>0.0</c:v>
                </c:pt>
                <c:pt idx="93">
                  <c:v>0.0</c:v>
                </c:pt>
                <c:pt idx="94">
                  <c:v>0.0</c:v>
                </c:pt>
                <c:pt idx="95">
                  <c:v>0.41783989607390304</c:v>
                </c:pt>
                <c:pt idx="96">
                  <c:v>0.8766361074705111</c:v>
                </c:pt>
                <c:pt idx="97">
                  <c:v>0.822661114589856</c:v>
                </c:pt>
                <c:pt idx="98">
                  <c:v>0.9436387807542446</c:v>
                </c:pt>
                <c:pt idx="99">
                  <c:v>0.9815813322674439</c:v>
                </c:pt>
                <c:pt idx="100">
                  <c:v>1.097558272523234</c:v>
                </c:pt>
                <c:pt idx="101">
                  <c:v>1.1206079244829612</c:v>
                </c:pt>
                <c:pt idx="102">
                  <c:v>1.1165058818002955</c:v>
                </c:pt>
                <c:pt idx="103">
                  <c:v>1.105920993227991</c:v>
                </c:pt>
                <c:pt idx="104">
                  <c:v>1.085357055749129</c:v>
                </c:pt>
              </c:numCache>
            </c:numRef>
          </c:xVal>
          <c:yVal>
            <c:numRef>
              <c:f>Sheet1!$B$2:$B$106</c:f>
              <c:numCache>
                <c:formatCode>General</c:formatCode>
                <c:ptCount val="105"/>
                <c:pt idx="0">
                  <c:v>0.5906862745098039</c:v>
                </c:pt>
                <c:pt idx="1">
                  <c:v>0.6174863387978142</c:v>
                </c:pt>
                <c:pt idx="2">
                  <c:v>0.6014492753623188</c:v>
                </c:pt>
                <c:pt idx="3">
                  <c:v>0.5186246418338109</c:v>
                </c:pt>
                <c:pt idx="4">
                  <c:v>0.5814606741573034</c:v>
                </c:pt>
                <c:pt idx="5">
                  <c:v>0.516042780748663</c:v>
                </c:pt>
                <c:pt idx="6">
                  <c:v>0.544392523364486</c:v>
                </c:pt>
                <c:pt idx="7">
                  <c:v>0.5280898876404494</c:v>
                </c:pt>
                <c:pt idx="8">
                  <c:v>0.5550660792951542</c:v>
                </c:pt>
                <c:pt idx="9">
                  <c:v>0.5620437956204379</c:v>
                </c:pt>
                <c:pt idx="10">
                  <c:v>0.5693581780538303</c:v>
                </c:pt>
                <c:pt idx="11">
                  <c:v>0.6498855835240275</c:v>
                </c:pt>
                <c:pt idx="12">
                  <c:v>0.6442307692307693</c:v>
                </c:pt>
                <c:pt idx="13">
                  <c:v>0.713953488372093</c:v>
                </c:pt>
                <c:pt idx="14">
                  <c:v>0.69</c:v>
                </c:pt>
                <c:pt idx="15">
                  <c:v>0.68125</c:v>
                </c:pt>
                <c:pt idx="16">
                  <c:v>0.6340579710144928</c:v>
                </c:pt>
                <c:pt idx="17">
                  <c:v>0.6509803921568628</c:v>
                </c:pt>
                <c:pt idx="18">
                  <c:v>0.6227758007117438</c:v>
                </c:pt>
                <c:pt idx="19">
                  <c:v>0.5885714285714285</c:v>
                </c:pt>
                <c:pt idx="20">
                  <c:v>0.5487804878048781</c:v>
                </c:pt>
                <c:pt idx="21">
                  <c:v>0.5639810426540285</c:v>
                </c:pt>
                <c:pt idx="22">
                  <c:v>0.6141078838174274</c:v>
                </c:pt>
                <c:pt idx="23">
                  <c:v>0.6067961165048543</c:v>
                </c:pt>
                <c:pt idx="24">
                  <c:v>0.6093023255813953</c:v>
                </c:pt>
                <c:pt idx="25">
                  <c:v>0.6382978723404256</c:v>
                </c:pt>
                <c:pt idx="26">
                  <c:v>0.7011494252873564</c:v>
                </c:pt>
                <c:pt idx="27">
                  <c:v>0.6797385620915033</c:v>
                </c:pt>
                <c:pt idx="28">
                  <c:v>0.4696969696969697</c:v>
                </c:pt>
                <c:pt idx="29">
                  <c:v>0.5944055944055944</c:v>
                </c:pt>
                <c:pt idx="30">
                  <c:v>0.6027397260273972</c:v>
                </c:pt>
                <c:pt idx="31">
                  <c:v>0.6392405063291139</c:v>
                </c:pt>
                <c:pt idx="32">
                  <c:v>0.7102272727272727</c:v>
                </c:pt>
                <c:pt idx="33">
                  <c:v>0.6291390728476821</c:v>
                </c:pt>
                <c:pt idx="34">
                  <c:v>0.6186440677966102</c:v>
                </c:pt>
                <c:pt idx="35">
                  <c:v>0.6415770609318996</c:v>
                </c:pt>
                <c:pt idx="36">
                  <c:v>0.531578947368421</c:v>
                </c:pt>
                <c:pt idx="37">
                  <c:v>0.591743119266055</c:v>
                </c:pt>
                <c:pt idx="38">
                  <c:v>0.56</c:v>
                </c:pt>
                <c:pt idx="39">
                  <c:v>0.5528455284552846</c:v>
                </c:pt>
                <c:pt idx="40">
                  <c:v>0.5617977528089888</c:v>
                </c:pt>
                <c:pt idx="41">
                  <c:v>0.5379746835443038</c:v>
                </c:pt>
                <c:pt idx="42">
                  <c:v>0.5865921787709497</c:v>
                </c:pt>
                <c:pt idx="43">
                  <c:v>0.5168539325842697</c:v>
                </c:pt>
                <c:pt idx="44">
                  <c:v>0.5816733067729084</c:v>
                </c:pt>
                <c:pt idx="45">
                  <c:v>0.5694822888283378</c:v>
                </c:pt>
                <c:pt idx="46">
                  <c:v>0.5933456561922366</c:v>
                </c:pt>
                <c:pt idx="47">
                  <c:v>0.610655737704918</c:v>
                </c:pt>
                <c:pt idx="48">
                  <c:v>0.5898692810457516</c:v>
                </c:pt>
                <c:pt idx="49">
                  <c:v>0.6309734513274337</c:v>
                </c:pt>
                <c:pt idx="50">
                  <c:v>0.5742753623188406</c:v>
                </c:pt>
                <c:pt idx="51">
                  <c:v>0.5927601809954751</c:v>
                </c:pt>
                <c:pt idx="52">
                  <c:v>0.596078431372549</c:v>
                </c:pt>
                <c:pt idx="53">
                  <c:v>0.5895953757225434</c:v>
                </c:pt>
                <c:pt idx="54">
                  <c:v>0.5819209039548022</c:v>
                </c:pt>
                <c:pt idx="55">
                  <c:v>0.56951871657754</c:v>
                </c:pt>
                <c:pt idx="56">
                  <c:v>0.592964824120603</c:v>
                </c:pt>
                <c:pt idx="57">
                  <c:v>0.5549738219895288</c:v>
                </c:pt>
                <c:pt idx="58">
                  <c:v>0.6009615384615384</c:v>
                </c:pt>
                <c:pt idx="59">
                  <c:v>0.6170212765957447</c:v>
                </c:pt>
                <c:pt idx="60">
                  <c:v>0.6262975778546713</c:v>
                </c:pt>
                <c:pt idx="61">
                  <c:v>0.6288135593220339</c:v>
                </c:pt>
                <c:pt idx="62">
                  <c:v>0.6374622356495468</c:v>
                </c:pt>
                <c:pt idx="63">
                  <c:v>0.6872682323856613</c:v>
                </c:pt>
                <c:pt idx="64">
                  <c:v>0.6804123711340206</c:v>
                </c:pt>
                <c:pt idx="65">
                  <c:v>0.7004680187207488</c:v>
                </c:pt>
                <c:pt idx="66">
                  <c:v>0.6722817764165391</c:v>
                </c:pt>
                <c:pt idx="67">
                  <c:v>0.6575342465753424</c:v>
                </c:pt>
                <c:pt idx="68">
                  <c:v>0.6368715083798883</c:v>
                </c:pt>
                <c:pt idx="69">
                  <c:v>0.6198830409356725</c:v>
                </c:pt>
                <c:pt idx="70">
                  <c:v>0.6145833333333334</c:v>
                </c:pt>
                <c:pt idx="71">
                  <c:v>0.6268656716417911</c:v>
                </c:pt>
                <c:pt idx="72">
                  <c:v>0.6120401337792643</c:v>
                </c:pt>
                <c:pt idx="73">
                  <c:v>0.624561403508772</c:v>
                </c:pt>
                <c:pt idx="74">
                  <c:v>0.6526946107784432</c:v>
                </c:pt>
                <c:pt idx="75">
                  <c:v>0.625531914893617</c:v>
                </c:pt>
                <c:pt idx="76">
                  <c:v>0.5647058823529412</c:v>
                </c:pt>
                <c:pt idx="77">
                  <c:v>0.553763440860215</c:v>
                </c:pt>
                <c:pt idx="78">
                  <c:v>0.5421686746987951</c:v>
                </c:pt>
                <c:pt idx="79">
                  <c:v>0.5272727272727272</c:v>
                </c:pt>
                <c:pt idx="80">
                  <c:v>0.5146198830409356</c:v>
                </c:pt>
                <c:pt idx="81">
                  <c:v>0.5355648535564853</c:v>
                </c:pt>
                <c:pt idx="82">
                  <c:v>0.5531914893617021</c:v>
                </c:pt>
                <c:pt idx="83">
                  <c:v>0.5606936416184971</c:v>
                </c:pt>
                <c:pt idx="84">
                  <c:v>0.5301204819277109</c:v>
                </c:pt>
                <c:pt idx="85">
                  <c:v>0.5393258426966292</c:v>
                </c:pt>
                <c:pt idx="86">
                  <c:v>0.569620253164557</c:v>
                </c:pt>
                <c:pt idx="87">
                  <c:v>0.6060606060606061</c:v>
                </c:pt>
                <c:pt idx="88">
                  <c:v>0.5777777777777777</c:v>
                </c:pt>
                <c:pt idx="89">
                  <c:v>0.5352941176470588</c:v>
                </c:pt>
                <c:pt idx="90">
                  <c:v>0.49710982658959535</c:v>
                </c:pt>
                <c:pt idx="91">
                  <c:v>0.4936708860759494</c:v>
                </c:pt>
                <c:pt idx="92">
                  <c:v>0.5513513513513514</c:v>
                </c:pt>
                <c:pt idx="93">
                  <c:v>0.5921787709497207</c:v>
                </c:pt>
                <c:pt idx="94">
                  <c:v>0.5780346820809249</c:v>
                </c:pt>
                <c:pt idx="95">
                  <c:v>0.582089552238806</c:v>
                </c:pt>
                <c:pt idx="96">
                  <c:v>0.5747126436781609</c:v>
                </c:pt>
                <c:pt idx="97">
                  <c:v>0.5906040268456376</c:v>
                </c:pt>
                <c:pt idx="98">
                  <c:v>0.5824175824175825</c:v>
                </c:pt>
                <c:pt idx="99">
                  <c:v>0.5816135084427767</c:v>
                </c:pt>
                <c:pt idx="100">
                  <c:v>0.6217105263157895</c:v>
                </c:pt>
                <c:pt idx="101">
                  <c:v>0.582995951417004</c:v>
                </c:pt>
                <c:pt idx="102">
                  <c:v>0.541033434650456</c:v>
                </c:pt>
                <c:pt idx="103">
                  <c:v>0.5475578406169666</c:v>
                </c:pt>
                <c:pt idx="104">
                  <c:v>0.546961325966850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145844011379193</c:v>
                </c:pt>
                <c:pt idx="1">
                  <c:v>1.345994870802284</c:v>
                </c:pt>
                <c:pt idx="2">
                  <c:v>1.1226335548172757</c:v>
                </c:pt>
                <c:pt idx="3">
                  <c:v>1.3406978678175852</c:v>
                </c:pt>
                <c:pt idx="4">
                  <c:v>1.3799460476537468</c:v>
                </c:pt>
                <c:pt idx="5">
                  <c:v>1.8146044191919193</c:v>
                </c:pt>
                <c:pt idx="6">
                  <c:v>1.712563519111988</c:v>
                </c:pt>
                <c:pt idx="7">
                  <c:v>1.9283667959427209</c:v>
                </c:pt>
                <c:pt idx="8">
                  <c:v>1.7401390712586469</c:v>
                </c:pt>
                <c:pt idx="9">
                  <c:v>1.659546649027151</c:v>
                </c:pt>
                <c:pt idx="10">
                  <c:v>1.7588221032819493</c:v>
                </c:pt>
                <c:pt idx="11">
                  <c:v>1.6878057246183833</c:v>
                </c:pt>
                <c:pt idx="12">
                  <c:v>1.6073683990233694</c:v>
                </c:pt>
                <c:pt idx="13">
                  <c:v>1.9708407433433806</c:v>
                </c:pt>
                <c:pt idx="14">
                  <c:v>1.5910916742142656</c:v>
                </c:pt>
                <c:pt idx="15">
                  <c:v>2.0107205457463886</c:v>
                </c:pt>
                <c:pt idx="16">
                  <c:v>1.659115464452517</c:v>
                </c:pt>
                <c:pt idx="17">
                  <c:v>1.8609794717197818</c:v>
                </c:pt>
                <c:pt idx="18">
                  <c:v>2.5402504121678793</c:v>
                </c:pt>
                <c:pt idx="19">
                  <c:v>2.5384965280754392</c:v>
                </c:pt>
                <c:pt idx="20">
                  <c:v>2.9846731420008354</c:v>
                </c:pt>
                <c:pt idx="21">
                  <c:v>3.2973825925638804</c:v>
                </c:pt>
                <c:pt idx="22">
                  <c:v>2.117323177464789</c:v>
                </c:pt>
                <c:pt idx="23">
                  <c:v>2.1964043926031556</c:v>
                </c:pt>
                <c:pt idx="24">
                  <c:v>2.544475543478261</c:v>
                </c:pt>
                <c:pt idx="25">
                  <c:v>2.408531555811418</c:v>
                </c:pt>
                <c:pt idx="26">
                  <c:v>2.1454547867668587</c:v>
                </c:pt>
                <c:pt idx="27">
                  <c:v>2.220123686681265</c:v>
                </c:pt>
                <c:pt idx="28">
                  <c:v>1.9898736679925917</c:v>
                </c:pt>
                <c:pt idx="29">
                  <c:v>1.6111014096943261</c:v>
                </c:pt>
                <c:pt idx="30">
                  <c:v>1.7820103734439834</c:v>
                </c:pt>
                <c:pt idx="31">
                  <c:v>2.070025438100622</c:v>
                </c:pt>
                <c:pt idx="32">
                  <c:v>2.469859645033405</c:v>
                </c:pt>
                <c:pt idx="33">
                  <c:v>1.7948588026943832</c:v>
                </c:pt>
                <c:pt idx="34">
                  <c:v>2.4241999768069995</c:v>
                </c:pt>
                <c:pt idx="35">
                  <c:v>2.089056580370043</c:v>
                </c:pt>
                <c:pt idx="36">
                  <c:v>2.1199758205575976</c:v>
                </c:pt>
                <c:pt idx="37">
                  <c:v>2.413755576500157</c:v>
                </c:pt>
                <c:pt idx="38">
                  <c:v>2.56167063897401</c:v>
                </c:pt>
                <c:pt idx="39">
                  <c:v>3.0784410798122064</c:v>
                </c:pt>
                <c:pt idx="40">
                  <c:v>2.427075702848897</c:v>
                </c:pt>
                <c:pt idx="41">
                  <c:v>2.210875385026262</c:v>
                </c:pt>
                <c:pt idx="42">
                  <c:v>2.4252784961768046</c:v>
                </c:pt>
                <c:pt idx="43">
                  <c:v>2.515789657658294</c:v>
                </c:pt>
                <c:pt idx="44">
                  <c:v>2.7739192903428074</c:v>
                </c:pt>
                <c:pt idx="45">
                  <c:v>1.7513451005840364</c:v>
                </c:pt>
                <c:pt idx="46">
                  <c:v>2.1369016988273364</c:v>
                </c:pt>
                <c:pt idx="47">
                  <c:v>1.5359591662603607</c:v>
                </c:pt>
                <c:pt idx="48">
                  <c:v>1.672666081069337</c:v>
                </c:pt>
                <c:pt idx="49">
                  <c:v>1.6559996177065577</c:v>
                </c:pt>
                <c:pt idx="50">
                  <c:v>1.6615020529666573</c:v>
                </c:pt>
                <c:pt idx="51">
                  <c:v>1.7518208425213313</c:v>
                </c:pt>
              </c:numCache>
            </c:numRef>
          </c:xVal>
          <c:yVal>
            <c:numRef>
              <c:f>Sheet1!$B$109:$B$160</c:f>
              <c:numCache>
                <c:formatCode>General</c:formatCode>
                <c:ptCount val="52"/>
                <c:pt idx="0">
                  <c:v>0.5685279187817259</c:v>
                </c:pt>
                <c:pt idx="1">
                  <c:v>0.5266666666666666</c:v>
                </c:pt>
                <c:pt idx="2">
                  <c:v>0.5369318181818182</c:v>
                </c:pt>
                <c:pt idx="3">
                  <c:v>0.594059405940594</c:v>
                </c:pt>
                <c:pt idx="4">
                  <c:v>0.542528735632184</c:v>
                </c:pt>
                <c:pt idx="5">
                  <c:v>0.5642201834862385</c:v>
                </c:pt>
                <c:pt idx="6">
                  <c:v>0.5463137996219282</c:v>
                </c:pt>
                <c:pt idx="7">
                  <c:v>0.5794066317626527</c:v>
                </c:pt>
                <c:pt idx="8">
                  <c:v>0.5922165820642978</c:v>
                </c:pt>
                <c:pt idx="9">
                  <c:v>0.6134328358208955</c:v>
                </c:pt>
                <c:pt idx="10">
                  <c:v>0.6142625607779578</c:v>
                </c:pt>
                <c:pt idx="11">
                  <c:v>0.6231292517006802</c:v>
                </c:pt>
                <c:pt idx="12">
                  <c:v>0.6509298998569385</c:v>
                </c:pt>
                <c:pt idx="13">
                  <c:v>0.5930434782608696</c:v>
                </c:pt>
                <c:pt idx="14">
                  <c:v>0.6257425742574257</c:v>
                </c:pt>
                <c:pt idx="15">
                  <c:v>0.5681293302540416</c:v>
                </c:pt>
                <c:pt idx="16">
                  <c:v>0.5185185185185185</c:v>
                </c:pt>
                <c:pt idx="17">
                  <c:v>0.5297450424929179</c:v>
                </c:pt>
                <c:pt idx="18">
                  <c:v>0.5329153605015674</c:v>
                </c:pt>
                <c:pt idx="19">
                  <c:v>0.49230769230769234</c:v>
                </c:pt>
                <c:pt idx="20">
                  <c:v>0.47804878048780486</c:v>
                </c:pt>
                <c:pt idx="21">
                  <c:v>0.46511627906976744</c:v>
                </c:pt>
                <c:pt idx="22">
                  <c:v>0.5627376425855514</c:v>
                </c:pt>
                <c:pt idx="23">
                  <c:v>0.5761589403973509</c:v>
                </c:pt>
                <c:pt idx="24">
                  <c:v>0.6020761245674741</c:v>
                </c:pt>
                <c:pt idx="25">
                  <c:v>0.556420233463035</c:v>
                </c:pt>
                <c:pt idx="26">
                  <c:v>0.5024875621890548</c:v>
                </c:pt>
                <c:pt idx="27">
                  <c:v>0.49504950495049505</c:v>
                </c:pt>
                <c:pt idx="28">
                  <c:v>0.5343915343915344</c:v>
                </c:pt>
                <c:pt idx="29">
                  <c:v>0.5722222222222222</c:v>
                </c:pt>
                <c:pt idx="30">
                  <c:v>0.5672514619883041</c:v>
                </c:pt>
                <c:pt idx="31">
                  <c:v>0.5037037037037037</c:v>
                </c:pt>
                <c:pt idx="32">
                  <c:v>0.5165562913907285</c:v>
                </c:pt>
                <c:pt idx="33">
                  <c:v>0.583732057416268</c:v>
                </c:pt>
                <c:pt idx="34">
                  <c:v>0.6062717770034843</c:v>
                </c:pt>
                <c:pt idx="35">
                  <c:v>0.5866666666666667</c:v>
                </c:pt>
                <c:pt idx="36">
                  <c:v>0.5679012345679012</c:v>
                </c:pt>
                <c:pt idx="37">
                  <c:v>0.4397163120567376</c:v>
                </c:pt>
                <c:pt idx="38">
                  <c:v>0.4934210526315789</c:v>
                </c:pt>
                <c:pt idx="39">
                  <c:v>0.5113122171945701</c:v>
                </c:pt>
                <c:pt idx="40">
                  <c:v>0.5121951219512195</c:v>
                </c:pt>
                <c:pt idx="41">
                  <c:v>0.5069124423963134</c:v>
                </c:pt>
                <c:pt idx="42">
                  <c:v>0.5</c:v>
                </c:pt>
                <c:pt idx="43">
                  <c:v>0.4552238805970149</c:v>
                </c:pt>
                <c:pt idx="44">
                  <c:v>0.47843137254901963</c:v>
                </c:pt>
                <c:pt idx="45">
                  <c:v>0.5384615384615384</c:v>
                </c:pt>
                <c:pt idx="46">
                  <c:v>0.5443645083932853</c:v>
                </c:pt>
                <c:pt idx="47">
                  <c:v>0.5229357798165137</c:v>
                </c:pt>
                <c:pt idx="48">
                  <c:v>0.516629711751663</c:v>
                </c:pt>
                <c:pt idx="49">
                  <c:v>0.4905982905982906</c:v>
                </c:pt>
                <c:pt idx="50">
                  <c:v>0.5436170212765957</c:v>
                </c:pt>
                <c:pt idx="51">
                  <c:v>0.52283105022831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7125589864661484</c:v>
                </c:pt>
              </c:numCache>
            </c:numRef>
          </c:xVal>
          <c:yVal>
            <c:numRef>
              <c:f>Sheet1!$B$163:$B$164</c:f>
              <c:numCache>
                <c:formatCode>General</c:formatCode>
                <c:ptCount val="2"/>
                <c:pt idx="0">
                  <c:v>0.6460804255217395</c:v>
                </c:pt>
                <c:pt idx="1">
                  <c:v>0.646080425521739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7125589864661484</c:v>
                </c:pt>
                <c:pt idx="1">
                  <c:v>-0.07125589864661484</c:v>
                </c:pt>
              </c:numCache>
            </c:numRef>
          </c:xVal>
          <c:yVal>
            <c:numRef>
              <c:f>Sheet1!$B$167:$B$168</c:f>
              <c:numCache>
                <c:formatCode>General</c:formatCode>
                <c:ptCount val="2"/>
                <c:pt idx="0">
                  <c:v>0.64608042552173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513965810945483</c:v>
                </c:pt>
              </c:numCache>
            </c:numRef>
          </c:xVal>
          <c:yVal>
            <c:numRef>
              <c:f>Sheet1!$B$171:$B$172</c:f>
              <c:numCache>
                <c:formatCode>General</c:formatCode>
                <c:ptCount val="2"/>
                <c:pt idx="0">
                  <c:v>0.561947815715929</c:v>
                </c:pt>
                <c:pt idx="1">
                  <c:v>0.56194781571592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513965810945483</c:v>
                </c:pt>
                <c:pt idx="1">
                  <c:v>1.6513965810945483</c:v>
                </c:pt>
              </c:numCache>
            </c:numRef>
          </c:xVal>
          <c:yVal>
            <c:numRef>
              <c:f>Sheet1!$B$175:$B$176</c:f>
              <c:numCache>
                <c:formatCode>General</c:formatCode>
                <c:ptCount val="2"/>
                <c:pt idx="0">
                  <c:v>0.56194781571592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6937678013697037</c:v>
                </c:pt>
              </c:numCache>
            </c:numRef>
          </c:xVal>
          <c:yVal>
            <c:numRef>
              <c:f>Sheet1!$B$179:$B$180</c:f>
              <c:numCache>
                <c:formatCode>General</c:formatCode>
                <c:ptCount val="2"/>
                <c:pt idx="0">
                  <c:v>0.5110394565549489</c:v>
                </c:pt>
                <c:pt idx="1">
                  <c:v>0.511039456554948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6937678013697037</c:v>
                </c:pt>
                <c:pt idx="1">
                  <c:v>2.6937678013697037</c:v>
                </c:pt>
              </c:numCache>
            </c:numRef>
          </c:xVal>
          <c:yVal>
            <c:numRef>
              <c:f>Sheet1!$B$183:$B$184</c:f>
              <c:numCache>
                <c:formatCode>General</c:formatCode>
                <c:ptCount val="2"/>
                <c:pt idx="0">
                  <c:v>0.511039456554948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145844011379193</c:v>
                </c:pt>
                <c:pt idx="1">
                  <c:v>1.345994870802284</c:v>
                </c:pt>
                <c:pt idx="2">
                  <c:v>1.1226335548172757</c:v>
                </c:pt>
                <c:pt idx="3">
                  <c:v>1.3406978678175852</c:v>
                </c:pt>
                <c:pt idx="4">
                  <c:v>1.3799460476537468</c:v>
                </c:pt>
                <c:pt idx="5">
                  <c:v>1.8146044191919193</c:v>
                </c:pt>
                <c:pt idx="6">
                  <c:v>1.712563519111988</c:v>
                </c:pt>
                <c:pt idx="7">
                  <c:v>1.9283667959427209</c:v>
                </c:pt>
                <c:pt idx="8">
                  <c:v>1.7401390712586469</c:v>
                </c:pt>
                <c:pt idx="9">
                  <c:v>1.659546649027151</c:v>
                </c:pt>
                <c:pt idx="10">
                  <c:v>1.7588221032819493</c:v>
                </c:pt>
                <c:pt idx="11">
                  <c:v>1.6878057246183833</c:v>
                </c:pt>
                <c:pt idx="12">
                  <c:v>1.6073683990233694</c:v>
                </c:pt>
                <c:pt idx="13">
                  <c:v>1.9708407433433806</c:v>
                </c:pt>
                <c:pt idx="14">
                  <c:v>1.5910916742142656</c:v>
                </c:pt>
                <c:pt idx="15">
                  <c:v>2.0107205457463886</c:v>
                </c:pt>
                <c:pt idx="16">
                  <c:v>1.659115464452517</c:v>
                </c:pt>
                <c:pt idx="17">
                  <c:v>1.8609794717197818</c:v>
                </c:pt>
                <c:pt idx="18">
                  <c:v>2.5402504121678793</c:v>
                </c:pt>
                <c:pt idx="19">
                  <c:v>2.5384965280754392</c:v>
                </c:pt>
                <c:pt idx="20">
                  <c:v>2.9846731420008354</c:v>
                </c:pt>
                <c:pt idx="21">
                  <c:v>3.2973825925638804</c:v>
                </c:pt>
                <c:pt idx="22">
                  <c:v>2.117323177464789</c:v>
                </c:pt>
                <c:pt idx="23">
                  <c:v>2.1964043926031556</c:v>
                </c:pt>
                <c:pt idx="24">
                  <c:v>2.544475543478261</c:v>
                </c:pt>
                <c:pt idx="25">
                  <c:v>2.408531555811418</c:v>
                </c:pt>
                <c:pt idx="26">
                  <c:v>2.1454547867668587</c:v>
                </c:pt>
                <c:pt idx="27">
                  <c:v>2.220123686681265</c:v>
                </c:pt>
                <c:pt idx="28">
                  <c:v>1.9898736679925917</c:v>
                </c:pt>
                <c:pt idx="29">
                  <c:v>1.6111014096943261</c:v>
                </c:pt>
                <c:pt idx="30">
                  <c:v>1.7820103734439834</c:v>
                </c:pt>
                <c:pt idx="31">
                  <c:v>2.070025438100622</c:v>
                </c:pt>
                <c:pt idx="32">
                  <c:v>2.469859645033405</c:v>
                </c:pt>
                <c:pt idx="33">
                  <c:v>1.7948588026943832</c:v>
                </c:pt>
                <c:pt idx="34">
                  <c:v>2.4241999768069995</c:v>
                </c:pt>
                <c:pt idx="35">
                  <c:v>2.089056580370043</c:v>
                </c:pt>
                <c:pt idx="36">
                  <c:v>2.1199758205575976</c:v>
                </c:pt>
                <c:pt idx="37">
                  <c:v>2.413755576500157</c:v>
                </c:pt>
                <c:pt idx="38">
                  <c:v>2.56167063897401</c:v>
                </c:pt>
                <c:pt idx="39">
                  <c:v>3.0784410798122064</c:v>
                </c:pt>
                <c:pt idx="40">
                  <c:v>2.427075702848897</c:v>
                </c:pt>
                <c:pt idx="41">
                  <c:v>2.210875385026262</c:v>
                </c:pt>
                <c:pt idx="42">
                  <c:v>2.4252784961768046</c:v>
                </c:pt>
                <c:pt idx="43">
                  <c:v>2.515789657658294</c:v>
                </c:pt>
                <c:pt idx="44">
                  <c:v>2.7739192903428074</c:v>
                </c:pt>
                <c:pt idx="45">
                  <c:v>1.7513451005840364</c:v>
                </c:pt>
                <c:pt idx="46">
                  <c:v>2.1369016988273364</c:v>
                </c:pt>
                <c:pt idx="47">
                  <c:v>1.5359591662603607</c:v>
                </c:pt>
                <c:pt idx="48">
                  <c:v>1.672666081069337</c:v>
                </c:pt>
                <c:pt idx="49">
                  <c:v>1.6559996177065577</c:v>
                </c:pt>
                <c:pt idx="50">
                  <c:v>1.6615020529666573</c:v>
                </c:pt>
                <c:pt idx="51">
                  <c:v>1.7518208425213313</c:v>
                </c:pt>
                <c:pt idx="52">
                  <c:v>1.6513965810945483</c:v>
                </c:pt>
                <c:pt idx="53">
                  <c:v>-0.07125589864661484</c:v>
                </c:pt>
                <c:pt idx="54">
                  <c:v>2.6937678013697037</c:v>
                </c:pt>
              </c:numCache>
            </c:numRef>
          </c:xVal>
          <c:yVal>
            <c:numRef>
              <c:f>Sheet1!$B$187:$B$241</c:f>
              <c:numCache>
                <c:formatCode>General</c:formatCode>
                <c:ptCount val="55"/>
                <c:pt idx="0">
                  <c:v>0.5783973829080264</c:v>
                </c:pt>
                <c:pt idx="1">
                  <c:v>0.5768633272472548</c:v>
                </c:pt>
                <c:pt idx="2">
                  <c:v>0.5877720686588148</c:v>
                </c:pt>
                <c:pt idx="3">
                  <c:v>0.5771220275309701</c:v>
                </c:pt>
                <c:pt idx="4">
                  <c:v>0.5752051860097828</c:v>
                </c:pt>
                <c:pt idx="5">
                  <c:v>0.5539769094992792</c:v>
                </c:pt>
                <c:pt idx="6">
                  <c:v>0.5589604841503595</c:v>
                </c:pt>
                <c:pt idx="7">
                  <c:v>0.548420869748769</c:v>
                </c:pt>
                <c:pt idx="8">
                  <c:v>0.5576137219936166</c:v>
                </c:pt>
                <c:pt idx="9">
                  <c:v>0.5615497746174902</c:v>
                </c:pt>
                <c:pt idx="10">
                  <c:v>0.5567012615515418</c:v>
                </c:pt>
                <c:pt idx="11">
                  <c:v>0.5601696298650516</c:v>
                </c:pt>
                <c:pt idx="12">
                  <c:v>0.5640981077256153</c:v>
                </c:pt>
                <c:pt idx="13">
                  <c:v>0.5463464849929365</c:v>
                </c:pt>
                <c:pt idx="14">
                  <c:v>0.5648930465501231</c:v>
                </c:pt>
                <c:pt idx="15">
                  <c:v>0.5443987956625794</c:v>
                </c:pt>
                <c:pt idx="16">
                  <c:v>0.5615708332372632</c:v>
                </c:pt>
                <c:pt idx="17">
                  <c:v>0.5517119987033205</c:v>
                </c:pt>
                <c:pt idx="18">
                  <c:v>0.5185370910204126</c:v>
                </c:pt>
                <c:pt idx="19">
                  <c:v>0.5186227489506853</c:v>
                </c:pt>
                <c:pt idx="20">
                  <c:v>0.49683193309820217</c:v>
                </c:pt>
                <c:pt idx="21">
                  <c:v>0.4815595189019488</c:v>
                </c:pt>
                <c:pt idx="22">
                  <c:v>0.5391924306388084</c:v>
                </c:pt>
                <c:pt idx="23">
                  <c:v>0.5353301838453024</c:v>
                </c:pt>
                <c:pt idx="24">
                  <c:v>0.5183307398682823</c:v>
                </c:pt>
                <c:pt idx="25">
                  <c:v>0.5249701071256521</c:v>
                </c:pt>
                <c:pt idx="26">
                  <c:v>0.537818511211382</c:v>
                </c:pt>
                <c:pt idx="27">
                  <c:v>0.5341717574435695</c:v>
                </c:pt>
                <c:pt idx="28">
                  <c:v>0.5454169361478809</c:v>
                </c:pt>
                <c:pt idx="29">
                  <c:v>0.5639157912492081</c:v>
                </c:pt>
                <c:pt idx="30">
                  <c:v>0.5555687698223293</c:v>
                </c:pt>
                <c:pt idx="31">
                  <c:v>0.5415024045293173</c:v>
                </c:pt>
                <c:pt idx="32">
                  <c:v>0.5219749050977743</c:v>
                </c:pt>
                <c:pt idx="33">
                  <c:v>0.5549412654954532</c:v>
                </c:pt>
                <c:pt idx="34">
                  <c:v>0.5242048772459189</c:v>
                </c:pt>
                <c:pt idx="35">
                  <c:v>0.5405729427338931</c:v>
                </c:pt>
                <c:pt idx="36">
                  <c:v>0.5390628782253611</c:v>
                </c:pt>
                <c:pt idx="37">
                  <c:v>0.5247149712236685</c:v>
                </c:pt>
                <c:pt idx="38">
                  <c:v>0.5174909487456207</c:v>
                </c:pt>
                <c:pt idx="39">
                  <c:v>0.4922524015809893</c:v>
                </c:pt>
                <c:pt idx="40">
                  <c:v>0.5240644296862186</c:v>
                </c:pt>
                <c:pt idx="41">
                  <c:v>0.5346234351694353</c:v>
                </c:pt>
                <c:pt idx="42">
                  <c:v>0.5241522034475905</c:v>
                </c:pt>
                <c:pt idx="43">
                  <c:v>0.5197317296018518</c:v>
                </c:pt>
                <c:pt idx="44">
                  <c:v>0.5071249386667315</c:v>
                </c:pt>
                <c:pt idx="45">
                  <c:v>0.5570664308227083</c:v>
                </c:pt>
                <c:pt idx="46">
                  <c:v>0.5382362354005109</c:v>
                </c:pt>
                <c:pt idx="47">
                  <c:v>0.5675856626371464</c:v>
                </c:pt>
                <c:pt idx="48">
                  <c:v>0.560909034787571</c:v>
                </c:pt>
                <c:pt idx="49">
                  <c:v>0.5617230080499869</c:v>
                </c:pt>
                <c:pt idx="50">
                  <c:v>0.5614542746611206</c:v>
                </c:pt>
                <c:pt idx="51">
                  <c:v>0.5570431960662794</c:v>
                </c:pt>
                <c:pt idx="52">
                  <c:v>0.561947815715929</c:v>
                </c:pt>
                <c:pt idx="53">
                  <c:v>0.6460804255217395</c:v>
                </c:pt>
                <c:pt idx="54">
                  <c:v>0.511039456554948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67441860465116"/>
          <c:min val="0.351773049645390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1.0581</c:v>
                </c:pt>
                <c:pt idx="1">
                  <c:v>1004.2611</c:v>
                </c:pt>
                <c:pt idx="2">
                  <c:v>1057.5181</c:v>
                </c:pt>
                <c:pt idx="3">
                  <c:v>1089.8564</c:v>
                </c:pt>
                <c:pt idx="4">
                  <c:v>1076.9324</c:v>
                </c:pt>
                <c:pt idx="5">
                  <c:v>1113.9223</c:v>
                </c:pt>
                <c:pt idx="6">
                  <c:v>1069.7682</c:v>
                </c:pt>
                <c:pt idx="7">
                  <c:v>1067.0468</c:v>
                </c:pt>
                <c:pt idx="8">
                  <c:v>1062.8175</c:v>
                </c:pt>
                <c:pt idx="9">
                  <c:v>1040.4416</c:v>
                </c:pt>
                <c:pt idx="10">
                  <c:v>1036.52</c:v>
                </c:pt>
                <c:pt idx="11">
                  <c:v>1087.7782</c:v>
                </c:pt>
                <c:pt idx="12">
                  <c:v>1084.5821</c:v>
                </c:pt>
                <c:pt idx="13">
                  <c:v>1071.8697</c:v>
                </c:pt>
                <c:pt idx="14">
                  <c:v>1044.4529</c:v>
                </c:pt>
                <c:pt idx="15">
                  <c:v>1011.1468</c:v>
                </c:pt>
                <c:pt idx="16">
                  <c:v>1037.9086</c:v>
                </c:pt>
                <c:pt idx="17">
                  <c:v>1057.4157</c:v>
                </c:pt>
                <c:pt idx="18">
                  <c:v>1069.4057</c:v>
                </c:pt>
                <c:pt idx="19">
                  <c:v>1115.2136</c:v>
                </c:pt>
                <c:pt idx="20">
                  <c:v>1128.4</c:v>
                </c:pt>
                <c:pt idx="21">
                  <c:v>1141.3866</c:v>
                </c:pt>
                <c:pt idx="22">
                  <c:v>1188.3446</c:v>
                </c:pt>
                <c:pt idx="23">
                  <c:v>1154.616</c:v>
                </c:pt>
                <c:pt idx="24">
                  <c:v>1124.7023</c:v>
                </c:pt>
                <c:pt idx="25">
                  <c:v>1081.0083</c:v>
                </c:pt>
                <c:pt idx="26">
                  <c:v>1162.7705</c:v>
                </c:pt>
                <c:pt idx="27">
                  <c:v>1167.0</c:v>
                </c:pt>
                <c:pt idx="28">
                  <c:v>1106.0484</c:v>
                </c:pt>
                <c:pt idx="29">
                  <c:v>1146.8824</c:v>
                </c:pt>
                <c:pt idx="30">
                  <c:v>1169.3295</c:v>
                </c:pt>
                <c:pt idx="31">
                  <c:v>1176.7129</c:v>
                </c:pt>
                <c:pt idx="32">
                  <c:v>1074.568</c:v>
                </c:pt>
                <c:pt idx="33">
                  <c:v>951.9474</c:v>
                </c:pt>
                <c:pt idx="34">
                  <c:v>1083.0685</c:v>
                </c:pt>
                <c:pt idx="35">
                  <c:v>1173.0223</c:v>
                </c:pt>
                <c:pt idx="36">
                  <c:v>1202.5941</c:v>
                </c:pt>
                <c:pt idx="37">
                  <c:v>1178.7519</c:v>
                </c:pt>
                <c:pt idx="38">
                  <c:v>1346.2738</c:v>
                </c:pt>
                <c:pt idx="39">
                  <c:v>1330.1912</c:v>
                </c:pt>
                <c:pt idx="40">
                  <c:v>1349.36</c:v>
                </c:pt>
                <c:pt idx="41">
                  <c:v>1338.0118</c:v>
                </c:pt>
                <c:pt idx="42">
                  <c:v>1388.9619</c:v>
                </c:pt>
                <c:pt idx="43">
                  <c:v>1450.1413</c:v>
                </c:pt>
                <c:pt idx="44">
                  <c:v>1306.8699</c:v>
                </c:pt>
                <c:pt idx="45">
                  <c:v>1245.8708</c:v>
                </c:pt>
                <c:pt idx="46">
                  <c:v>1217.9626</c:v>
                </c:pt>
                <c:pt idx="47">
                  <c:v>1189.9329</c:v>
                </c:pt>
                <c:pt idx="48">
                  <c:v>1178.0416</c:v>
                </c:pt>
                <c:pt idx="49">
                  <c:v>1118.2482</c:v>
                </c:pt>
                <c:pt idx="50">
                  <c:v>1115.2744</c:v>
                </c:pt>
                <c:pt idx="51">
                  <c:v>1131.1374</c:v>
                </c:pt>
                <c:pt idx="52">
                  <c:v>1157.7368</c:v>
                </c:pt>
                <c:pt idx="53">
                  <c:v>1241.6078</c:v>
                </c:pt>
                <c:pt idx="54">
                  <c:v>1205.8689</c:v>
                </c:pt>
                <c:pt idx="55">
                  <c:v>1214.2676</c:v>
                </c:pt>
                <c:pt idx="56">
                  <c:v>1284.0593</c:v>
                </c:pt>
                <c:pt idx="57">
                  <c:v>1272.7783</c:v>
                </c:pt>
                <c:pt idx="58">
                  <c:v>1201.008</c:v>
                </c:pt>
                <c:pt idx="59">
                  <c:v>1222.0313</c:v>
                </c:pt>
                <c:pt idx="60">
                  <c:v>1205.5442</c:v>
                </c:pt>
                <c:pt idx="61">
                  <c:v>1222.6739</c:v>
                </c:pt>
                <c:pt idx="62">
                  <c:v>1180.0782</c:v>
                </c:pt>
                <c:pt idx="63">
                  <c:v>1175.964</c:v>
                </c:pt>
                <c:pt idx="64">
                  <c:v>1161.0814</c:v>
                </c:pt>
                <c:pt idx="65">
                  <c:v>1162.784</c:v>
                </c:pt>
                <c:pt idx="66">
                  <c:v>1151.9362</c:v>
                </c:pt>
                <c:pt idx="67">
                  <c:v>1178.9018</c:v>
                </c:pt>
                <c:pt idx="68">
                  <c:v>1152.8377</c:v>
                </c:pt>
                <c:pt idx="69">
                  <c:v>1193.5519</c:v>
                </c:pt>
                <c:pt idx="70">
                  <c:v>1178.5593</c:v>
                </c:pt>
                <c:pt idx="71">
                  <c:v>1212.6845</c:v>
                </c:pt>
                <c:pt idx="72">
                  <c:v>1228.7104</c:v>
                </c:pt>
                <c:pt idx="73">
                  <c:v>1136.6854</c:v>
                </c:pt>
                <c:pt idx="74">
                  <c:v>921.5826</c:v>
                </c:pt>
                <c:pt idx="75">
                  <c:v>1206.2517</c:v>
                </c:pt>
                <c:pt idx="76">
                  <c:v>1191.625</c:v>
                </c:pt>
                <c:pt idx="77">
                  <c:v>1265.6699</c:v>
                </c:pt>
                <c:pt idx="78">
                  <c:v>1441.8444</c:v>
                </c:pt>
                <c:pt idx="79">
                  <c:v>1406.7241</c:v>
                </c:pt>
                <c:pt idx="80">
                  <c:v>1425.875</c:v>
                </c:pt>
                <c:pt idx="81">
                  <c:v>1425.7969</c:v>
                </c:pt>
                <c:pt idx="82">
                  <c:v>1414.7019</c:v>
                </c:pt>
                <c:pt idx="83">
                  <c:v>1419.134</c:v>
                </c:pt>
                <c:pt idx="84">
                  <c:v>1385.4886</c:v>
                </c:pt>
                <c:pt idx="85">
                  <c:v>1336.2708</c:v>
                </c:pt>
                <c:pt idx="86">
                  <c:v>1325.5037</c:v>
                </c:pt>
                <c:pt idx="87">
                  <c:v>1365.6625</c:v>
                </c:pt>
                <c:pt idx="88">
                  <c:v>1402.875</c:v>
                </c:pt>
                <c:pt idx="89">
                  <c:v>1432.7912</c:v>
                </c:pt>
                <c:pt idx="90">
                  <c:v>1466.3953</c:v>
                </c:pt>
                <c:pt idx="91">
                  <c:v>1496.359</c:v>
                </c:pt>
                <c:pt idx="92">
                  <c:v>1450.6078</c:v>
                </c:pt>
                <c:pt idx="93">
                  <c:v>1517.8396</c:v>
                </c:pt>
                <c:pt idx="94">
                  <c:v>1576.5</c:v>
                </c:pt>
                <c:pt idx="95">
                  <c:v>1447.3974</c:v>
                </c:pt>
                <c:pt idx="96">
                  <c:v>1337.7467</c:v>
                </c:pt>
                <c:pt idx="97">
                  <c:v>1313.7898</c:v>
                </c:pt>
                <c:pt idx="98">
                  <c:v>1274.0472</c:v>
                </c:pt>
                <c:pt idx="99">
                  <c:v>1202.5774</c:v>
                </c:pt>
                <c:pt idx="100">
                  <c:v>1164.6384</c:v>
                </c:pt>
                <c:pt idx="101">
                  <c:v>1280.5347</c:v>
                </c:pt>
                <c:pt idx="102">
                  <c:v>1269.2191</c:v>
                </c:pt>
                <c:pt idx="103">
                  <c:v>1224.8075</c:v>
                </c:pt>
                <c:pt idx="104">
                  <c:v>1245.9899</c:v>
                </c:pt>
              </c:numCache>
            </c:numRef>
          </c:xVal>
          <c:yVal>
            <c:numRef>
              <c:f>Sheet1!$B$2:$B$106</c:f>
              <c:numCache>
                <c:formatCode>General</c:formatCode>
                <c:ptCount val="105"/>
                <c:pt idx="0">
                  <c:v>0.5906862745098039</c:v>
                </c:pt>
                <c:pt idx="1">
                  <c:v>0.6174863387978142</c:v>
                </c:pt>
                <c:pt idx="2">
                  <c:v>0.6014492753623188</c:v>
                </c:pt>
                <c:pt idx="3">
                  <c:v>0.5186246418338109</c:v>
                </c:pt>
                <c:pt idx="4">
                  <c:v>0.5814606741573034</c:v>
                </c:pt>
                <c:pt idx="5">
                  <c:v>0.516042780748663</c:v>
                </c:pt>
                <c:pt idx="6">
                  <c:v>0.544392523364486</c:v>
                </c:pt>
                <c:pt idx="7">
                  <c:v>0.5280898876404494</c:v>
                </c:pt>
                <c:pt idx="8">
                  <c:v>0.5550660792951542</c:v>
                </c:pt>
                <c:pt idx="9">
                  <c:v>0.5620437956204379</c:v>
                </c:pt>
                <c:pt idx="10">
                  <c:v>0.5693581780538303</c:v>
                </c:pt>
                <c:pt idx="11">
                  <c:v>0.6498855835240275</c:v>
                </c:pt>
                <c:pt idx="12">
                  <c:v>0.6442307692307693</c:v>
                </c:pt>
                <c:pt idx="13">
                  <c:v>0.713953488372093</c:v>
                </c:pt>
                <c:pt idx="14">
                  <c:v>0.69</c:v>
                </c:pt>
                <c:pt idx="15">
                  <c:v>0.68125</c:v>
                </c:pt>
                <c:pt idx="16">
                  <c:v>0.6340579710144928</c:v>
                </c:pt>
                <c:pt idx="17">
                  <c:v>0.6509803921568628</c:v>
                </c:pt>
                <c:pt idx="18">
                  <c:v>0.6227758007117438</c:v>
                </c:pt>
                <c:pt idx="19">
                  <c:v>0.5885714285714285</c:v>
                </c:pt>
                <c:pt idx="20">
                  <c:v>0.5487804878048781</c:v>
                </c:pt>
                <c:pt idx="21">
                  <c:v>0.5639810426540285</c:v>
                </c:pt>
                <c:pt idx="22">
                  <c:v>0.6141078838174274</c:v>
                </c:pt>
                <c:pt idx="23">
                  <c:v>0.6067961165048543</c:v>
                </c:pt>
                <c:pt idx="24">
                  <c:v>0.6093023255813953</c:v>
                </c:pt>
                <c:pt idx="25">
                  <c:v>0.6382978723404256</c:v>
                </c:pt>
                <c:pt idx="26">
                  <c:v>0.7011494252873564</c:v>
                </c:pt>
                <c:pt idx="27">
                  <c:v>0.6797385620915033</c:v>
                </c:pt>
                <c:pt idx="28">
                  <c:v>0.4696969696969697</c:v>
                </c:pt>
                <c:pt idx="29">
                  <c:v>0.5944055944055944</c:v>
                </c:pt>
                <c:pt idx="30">
                  <c:v>0.6027397260273972</c:v>
                </c:pt>
                <c:pt idx="31">
                  <c:v>0.6392405063291139</c:v>
                </c:pt>
                <c:pt idx="32">
                  <c:v>0.7102272727272727</c:v>
                </c:pt>
                <c:pt idx="33">
                  <c:v>0.6291390728476821</c:v>
                </c:pt>
                <c:pt idx="34">
                  <c:v>0.6186440677966102</c:v>
                </c:pt>
                <c:pt idx="35">
                  <c:v>0.6415770609318996</c:v>
                </c:pt>
                <c:pt idx="36">
                  <c:v>0.531578947368421</c:v>
                </c:pt>
                <c:pt idx="37">
                  <c:v>0.591743119266055</c:v>
                </c:pt>
                <c:pt idx="38">
                  <c:v>0.56</c:v>
                </c:pt>
                <c:pt idx="39">
                  <c:v>0.5528455284552846</c:v>
                </c:pt>
                <c:pt idx="40">
                  <c:v>0.5617977528089888</c:v>
                </c:pt>
                <c:pt idx="41">
                  <c:v>0.5379746835443038</c:v>
                </c:pt>
                <c:pt idx="42">
                  <c:v>0.5865921787709497</c:v>
                </c:pt>
                <c:pt idx="43">
                  <c:v>0.5168539325842697</c:v>
                </c:pt>
                <c:pt idx="44">
                  <c:v>0.5816733067729084</c:v>
                </c:pt>
                <c:pt idx="45">
                  <c:v>0.5694822888283378</c:v>
                </c:pt>
                <c:pt idx="46">
                  <c:v>0.5933456561922366</c:v>
                </c:pt>
                <c:pt idx="47">
                  <c:v>0.610655737704918</c:v>
                </c:pt>
                <c:pt idx="48">
                  <c:v>0.5898692810457516</c:v>
                </c:pt>
                <c:pt idx="49">
                  <c:v>0.6309734513274337</c:v>
                </c:pt>
                <c:pt idx="50">
                  <c:v>0.5742753623188406</c:v>
                </c:pt>
                <c:pt idx="51">
                  <c:v>0.5927601809954751</c:v>
                </c:pt>
                <c:pt idx="52">
                  <c:v>0.596078431372549</c:v>
                </c:pt>
                <c:pt idx="53">
                  <c:v>0.5895953757225434</c:v>
                </c:pt>
                <c:pt idx="54">
                  <c:v>0.5819209039548022</c:v>
                </c:pt>
                <c:pt idx="55">
                  <c:v>0.56951871657754</c:v>
                </c:pt>
                <c:pt idx="56">
                  <c:v>0.592964824120603</c:v>
                </c:pt>
                <c:pt idx="57">
                  <c:v>0.5549738219895288</c:v>
                </c:pt>
                <c:pt idx="58">
                  <c:v>0.6009615384615384</c:v>
                </c:pt>
                <c:pt idx="59">
                  <c:v>0.6170212765957447</c:v>
                </c:pt>
                <c:pt idx="60">
                  <c:v>0.6262975778546713</c:v>
                </c:pt>
                <c:pt idx="61">
                  <c:v>0.6288135593220339</c:v>
                </c:pt>
                <c:pt idx="62">
                  <c:v>0.6374622356495468</c:v>
                </c:pt>
                <c:pt idx="63">
                  <c:v>0.6872682323856613</c:v>
                </c:pt>
                <c:pt idx="64">
                  <c:v>0.6804123711340206</c:v>
                </c:pt>
                <c:pt idx="65">
                  <c:v>0.7004680187207488</c:v>
                </c:pt>
                <c:pt idx="66">
                  <c:v>0.6722817764165391</c:v>
                </c:pt>
                <c:pt idx="67">
                  <c:v>0.6575342465753424</c:v>
                </c:pt>
                <c:pt idx="68">
                  <c:v>0.6368715083798883</c:v>
                </c:pt>
                <c:pt idx="69">
                  <c:v>0.6198830409356725</c:v>
                </c:pt>
                <c:pt idx="70">
                  <c:v>0.6145833333333334</c:v>
                </c:pt>
                <c:pt idx="71">
                  <c:v>0.6268656716417911</c:v>
                </c:pt>
                <c:pt idx="72">
                  <c:v>0.6120401337792643</c:v>
                </c:pt>
                <c:pt idx="73">
                  <c:v>0.624561403508772</c:v>
                </c:pt>
                <c:pt idx="74">
                  <c:v>0.6526946107784432</c:v>
                </c:pt>
                <c:pt idx="75">
                  <c:v>0.625531914893617</c:v>
                </c:pt>
                <c:pt idx="76">
                  <c:v>0.5647058823529412</c:v>
                </c:pt>
                <c:pt idx="77">
                  <c:v>0.553763440860215</c:v>
                </c:pt>
                <c:pt idx="78">
                  <c:v>0.5421686746987951</c:v>
                </c:pt>
                <c:pt idx="79">
                  <c:v>0.5272727272727272</c:v>
                </c:pt>
                <c:pt idx="80">
                  <c:v>0.5146198830409356</c:v>
                </c:pt>
                <c:pt idx="81">
                  <c:v>0.5355648535564853</c:v>
                </c:pt>
                <c:pt idx="82">
                  <c:v>0.5531914893617021</c:v>
                </c:pt>
                <c:pt idx="83">
                  <c:v>0.5606936416184971</c:v>
                </c:pt>
                <c:pt idx="84">
                  <c:v>0.5301204819277109</c:v>
                </c:pt>
                <c:pt idx="85">
                  <c:v>0.5393258426966292</c:v>
                </c:pt>
                <c:pt idx="86">
                  <c:v>0.569620253164557</c:v>
                </c:pt>
                <c:pt idx="87">
                  <c:v>0.6060606060606061</c:v>
                </c:pt>
                <c:pt idx="88">
                  <c:v>0.5777777777777777</c:v>
                </c:pt>
                <c:pt idx="89">
                  <c:v>0.5352941176470588</c:v>
                </c:pt>
                <c:pt idx="90">
                  <c:v>0.49710982658959535</c:v>
                </c:pt>
                <c:pt idx="91">
                  <c:v>0.4936708860759494</c:v>
                </c:pt>
                <c:pt idx="92">
                  <c:v>0.5513513513513514</c:v>
                </c:pt>
                <c:pt idx="93">
                  <c:v>0.5921787709497207</c:v>
                </c:pt>
                <c:pt idx="94">
                  <c:v>0.5780346820809249</c:v>
                </c:pt>
                <c:pt idx="95">
                  <c:v>0.582089552238806</c:v>
                </c:pt>
                <c:pt idx="96">
                  <c:v>0.5747126436781609</c:v>
                </c:pt>
                <c:pt idx="97">
                  <c:v>0.5906040268456376</c:v>
                </c:pt>
                <c:pt idx="98">
                  <c:v>0.5824175824175825</c:v>
                </c:pt>
                <c:pt idx="99">
                  <c:v>0.5816135084427767</c:v>
                </c:pt>
                <c:pt idx="100">
                  <c:v>0.6217105263157895</c:v>
                </c:pt>
                <c:pt idx="101">
                  <c:v>0.582995951417004</c:v>
                </c:pt>
                <c:pt idx="102">
                  <c:v>0.541033434650456</c:v>
                </c:pt>
                <c:pt idx="103">
                  <c:v>0.5475578406169666</c:v>
                </c:pt>
                <c:pt idx="104">
                  <c:v>0.546961325966850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40.3705</c:v>
                </c:pt>
                <c:pt idx="1">
                  <c:v>1390.8165</c:v>
                </c:pt>
                <c:pt idx="2">
                  <c:v>1351.6508</c:v>
                </c:pt>
                <c:pt idx="3">
                  <c:v>1474.3208</c:v>
                </c:pt>
                <c:pt idx="4">
                  <c:v>1437.7415</c:v>
                </c:pt>
                <c:pt idx="5">
                  <c:v>1437.1667</c:v>
                </c:pt>
                <c:pt idx="6">
                  <c:v>1313.6263</c:v>
                </c:pt>
                <c:pt idx="7">
                  <c:v>1292.7771</c:v>
                </c:pt>
                <c:pt idx="8">
                  <c:v>1298.88</c:v>
                </c:pt>
                <c:pt idx="9">
                  <c:v>1276.7445</c:v>
                </c:pt>
                <c:pt idx="10">
                  <c:v>1296.3984</c:v>
                </c:pt>
                <c:pt idx="11">
                  <c:v>1155.3734</c:v>
                </c:pt>
                <c:pt idx="12">
                  <c:v>1152.0813</c:v>
                </c:pt>
                <c:pt idx="13">
                  <c:v>1216.9238</c:v>
                </c:pt>
                <c:pt idx="14">
                  <c:v>1225.6709</c:v>
                </c:pt>
                <c:pt idx="15">
                  <c:v>1252.6789</c:v>
                </c:pt>
                <c:pt idx="16">
                  <c:v>1278.8462</c:v>
                </c:pt>
                <c:pt idx="17">
                  <c:v>1296.3583</c:v>
                </c:pt>
                <c:pt idx="18">
                  <c:v>1360.9765</c:v>
                </c:pt>
                <c:pt idx="19">
                  <c:v>1480.5781</c:v>
                </c:pt>
                <c:pt idx="20">
                  <c:v>1476.2653</c:v>
                </c:pt>
                <c:pt idx="21">
                  <c:v>1463.17</c:v>
                </c:pt>
                <c:pt idx="22">
                  <c:v>1174.4527</c:v>
                </c:pt>
                <c:pt idx="23">
                  <c:v>1159.9943</c:v>
                </c:pt>
                <c:pt idx="24">
                  <c:v>1310.9138</c:v>
                </c:pt>
                <c:pt idx="25">
                  <c:v>1245.0769</c:v>
                </c:pt>
                <c:pt idx="26">
                  <c:v>1374.0297</c:v>
                </c:pt>
                <c:pt idx="27">
                  <c:v>1504.39</c:v>
                </c:pt>
                <c:pt idx="28">
                  <c:v>1465.3762</c:v>
                </c:pt>
                <c:pt idx="29">
                  <c:v>1505.6893</c:v>
                </c:pt>
                <c:pt idx="30">
                  <c:v>1546.0722</c:v>
                </c:pt>
                <c:pt idx="31">
                  <c:v>1464.75</c:v>
                </c:pt>
                <c:pt idx="32">
                  <c:v>1360.5128</c:v>
                </c:pt>
                <c:pt idx="33">
                  <c:v>1425.7705</c:v>
                </c:pt>
                <c:pt idx="34">
                  <c:v>1477.954</c:v>
                </c:pt>
                <c:pt idx="35">
                  <c:v>1475.3561</c:v>
                </c:pt>
                <c:pt idx="36">
                  <c:v>1496.4674</c:v>
                </c:pt>
                <c:pt idx="37">
                  <c:v>1536.5968</c:v>
                </c:pt>
                <c:pt idx="38">
                  <c:v>1410.68</c:v>
                </c:pt>
                <c:pt idx="39">
                  <c:v>1311.4159</c:v>
                </c:pt>
                <c:pt idx="40">
                  <c:v>1427.6984</c:v>
                </c:pt>
                <c:pt idx="41">
                  <c:v>1552.1727</c:v>
                </c:pt>
                <c:pt idx="42">
                  <c:v>1511.4874</c:v>
                </c:pt>
                <c:pt idx="43">
                  <c:v>1453.8361</c:v>
                </c:pt>
                <c:pt idx="44">
                  <c:v>1442.1967</c:v>
                </c:pt>
                <c:pt idx="45">
                  <c:v>1349.4114</c:v>
                </c:pt>
                <c:pt idx="46">
                  <c:v>1300.5859</c:v>
                </c:pt>
                <c:pt idx="47">
                  <c:v>1260.1009</c:v>
                </c:pt>
                <c:pt idx="48">
                  <c:v>1272.2146</c:v>
                </c:pt>
                <c:pt idx="49">
                  <c:v>1216.3554</c:v>
                </c:pt>
                <c:pt idx="50">
                  <c:v>1130.1311</c:v>
                </c:pt>
                <c:pt idx="51">
                  <c:v>1182.1965</c:v>
                </c:pt>
              </c:numCache>
            </c:numRef>
          </c:xVal>
          <c:yVal>
            <c:numRef>
              <c:f>Sheet1!$B$109:$B$160</c:f>
              <c:numCache>
                <c:formatCode>General</c:formatCode>
                <c:ptCount val="52"/>
                <c:pt idx="0">
                  <c:v>0.5685279187817259</c:v>
                </c:pt>
                <c:pt idx="1">
                  <c:v>0.5266666666666666</c:v>
                </c:pt>
                <c:pt idx="2">
                  <c:v>0.5369318181818182</c:v>
                </c:pt>
                <c:pt idx="3">
                  <c:v>0.594059405940594</c:v>
                </c:pt>
                <c:pt idx="4">
                  <c:v>0.542528735632184</c:v>
                </c:pt>
                <c:pt idx="5">
                  <c:v>0.5642201834862385</c:v>
                </c:pt>
                <c:pt idx="6">
                  <c:v>0.5463137996219282</c:v>
                </c:pt>
                <c:pt idx="7">
                  <c:v>0.5794066317626527</c:v>
                </c:pt>
                <c:pt idx="8">
                  <c:v>0.5922165820642978</c:v>
                </c:pt>
                <c:pt idx="9">
                  <c:v>0.6134328358208955</c:v>
                </c:pt>
                <c:pt idx="10">
                  <c:v>0.6142625607779578</c:v>
                </c:pt>
                <c:pt idx="11">
                  <c:v>0.6231292517006802</c:v>
                </c:pt>
                <c:pt idx="12">
                  <c:v>0.6509298998569385</c:v>
                </c:pt>
                <c:pt idx="13">
                  <c:v>0.5930434782608696</c:v>
                </c:pt>
                <c:pt idx="14">
                  <c:v>0.6257425742574257</c:v>
                </c:pt>
                <c:pt idx="15">
                  <c:v>0.5681293302540416</c:v>
                </c:pt>
                <c:pt idx="16">
                  <c:v>0.5185185185185185</c:v>
                </c:pt>
                <c:pt idx="17">
                  <c:v>0.5297450424929179</c:v>
                </c:pt>
                <c:pt idx="18">
                  <c:v>0.5329153605015674</c:v>
                </c:pt>
                <c:pt idx="19">
                  <c:v>0.49230769230769234</c:v>
                </c:pt>
                <c:pt idx="20">
                  <c:v>0.47804878048780486</c:v>
                </c:pt>
                <c:pt idx="21">
                  <c:v>0.46511627906976744</c:v>
                </c:pt>
                <c:pt idx="22">
                  <c:v>0.5627376425855514</c:v>
                </c:pt>
                <c:pt idx="23">
                  <c:v>0.5761589403973509</c:v>
                </c:pt>
                <c:pt idx="24">
                  <c:v>0.6020761245674741</c:v>
                </c:pt>
                <c:pt idx="25">
                  <c:v>0.556420233463035</c:v>
                </c:pt>
                <c:pt idx="26">
                  <c:v>0.5024875621890548</c:v>
                </c:pt>
                <c:pt idx="27">
                  <c:v>0.49504950495049505</c:v>
                </c:pt>
                <c:pt idx="28">
                  <c:v>0.5343915343915344</c:v>
                </c:pt>
                <c:pt idx="29">
                  <c:v>0.5722222222222222</c:v>
                </c:pt>
                <c:pt idx="30">
                  <c:v>0.5672514619883041</c:v>
                </c:pt>
                <c:pt idx="31">
                  <c:v>0.5037037037037037</c:v>
                </c:pt>
                <c:pt idx="32">
                  <c:v>0.5165562913907285</c:v>
                </c:pt>
                <c:pt idx="33">
                  <c:v>0.583732057416268</c:v>
                </c:pt>
                <c:pt idx="34">
                  <c:v>0.6062717770034843</c:v>
                </c:pt>
                <c:pt idx="35">
                  <c:v>0.5866666666666667</c:v>
                </c:pt>
                <c:pt idx="36">
                  <c:v>0.5679012345679012</c:v>
                </c:pt>
                <c:pt idx="37">
                  <c:v>0.4397163120567376</c:v>
                </c:pt>
                <c:pt idx="38">
                  <c:v>0.4934210526315789</c:v>
                </c:pt>
                <c:pt idx="39">
                  <c:v>0.5113122171945701</c:v>
                </c:pt>
                <c:pt idx="40">
                  <c:v>0.5121951219512195</c:v>
                </c:pt>
                <c:pt idx="41">
                  <c:v>0.5069124423963134</c:v>
                </c:pt>
                <c:pt idx="42">
                  <c:v>0.5</c:v>
                </c:pt>
                <c:pt idx="43">
                  <c:v>0.4552238805970149</c:v>
                </c:pt>
                <c:pt idx="44">
                  <c:v>0.47843137254901963</c:v>
                </c:pt>
                <c:pt idx="45">
                  <c:v>0.5384615384615384</c:v>
                </c:pt>
                <c:pt idx="46">
                  <c:v>0.5443645083932853</c:v>
                </c:pt>
                <c:pt idx="47">
                  <c:v>0.5229357798165137</c:v>
                </c:pt>
                <c:pt idx="48">
                  <c:v>0.516629711751663</c:v>
                </c:pt>
                <c:pt idx="49">
                  <c:v>0.4905982905982906</c:v>
                </c:pt>
                <c:pt idx="50">
                  <c:v>0.5436170212765957</c:v>
                </c:pt>
                <c:pt idx="51">
                  <c:v>0.52283105022831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3.760263551794</c:v>
                </c:pt>
              </c:numCache>
            </c:numRef>
          </c:xVal>
          <c:yVal>
            <c:numRef>
              <c:f>Sheet1!$B$163:$B$164</c:f>
              <c:numCache>
                <c:formatCode>General</c:formatCode>
                <c:ptCount val="2"/>
                <c:pt idx="0">
                  <c:v>0.6460804255217395</c:v>
                </c:pt>
                <c:pt idx="1">
                  <c:v>0.646080425521739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3.760263551794</c:v>
                </c:pt>
                <c:pt idx="1">
                  <c:v>753.760263551794</c:v>
                </c:pt>
              </c:numCache>
            </c:numRef>
          </c:xVal>
          <c:yVal>
            <c:numRef>
              <c:f>Sheet1!$B$167:$B$168</c:f>
              <c:numCache>
                <c:formatCode>General</c:formatCode>
                <c:ptCount val="2"/>
                <c:pt idx="0">
                  <c:v>0.64608042552173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49.7080812426777</c:v>
                </c:pt>
              </c:numCache>
            </c:numRef>
          </c:xVal>
          <c:yVal>
            <c:numRef>
              <c:f>Sheet1!$B$171:$B$172</c:f>
              <c:numCache>
                <c:formatCode>General</c:formatCode>
                <c:ptCount val="2"/>
                <c:pt idx="0">
                  <c:v>0.561947815715929</c:v>
                </c:pt>
                <c:pt idx="1">
                  <c:v>0.56194781571592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49.7080812426777</c:v>
                </c:pt>
                <c:pt idx="1">
                  <c:v>1249.7080812426777</c:v>
                </c:pt>
              </c:numCache>
            </c:numRef>
          </c:xVal>
          <c:yVal>
            <c:numRef>
              <c:f>Sheet1!$B$175:$B$176</c:f>
              <c:numCache>
                <c:formatCode>General</c:formatCode>
                <c:ptCount val="2"/>
                <c:pt idx="0">
                  <c:v>0.56194781571592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49.8044372975696</c:v>
                </c:pt>
              </c:numCache>
            </c:numRef>
          </c:xVal>
          <c:yVal>
            <c:numRef>
              <c:f>Sheet1!$B$179:$B$180</c:f>
              <c:numCache>
                <c:formatCode>General</c:formatCode>
                <c:ptCount val="2"/>
                <c:pt idx="0">
                  <c:v>0.5110394565549489</c:v>
                </c:pt>
                <c:pt idx="1">
                  <c:v>0.511039456554948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49.8044372975696</c:v>
                </c:pt>
                <c:pt idx="1">
                  <c:v>1549.8044372975696</c:v>
                </c:pt>
              </c:numCache>
            </c:numRef>
          </c:xVal>
          <c:yVal>
            <c:numRef>
              <c:f>Sheet1!$B$183:$B$184</c:f>
              <c:numCache>
                <c:formatCode>General</c:formatCode>
                <c:ptCount val="2"/>
                <c:pt idx="0">
                  <c:v>0.511039456554948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40.3705</c:v>
                </c:pt>
                <c:pt idx="1">
                  <c:v>1390.8165</c:v>
                </c:pt>
                <c:pt idx="2">
                  <c:v>1351.6508</c:v>
                </c:pt>
                <c:pt idx="3">
                  <c:v>1474.3208</c:v>
                </c:pt>
                <c:pt idx="4">
                  <c:v>1437.7415</c:v>
                </c:pt>
                <c:pt idx="5">
                  <c:v>1437.1667</c:v>
                </c:pt>
                <c:pt idx="6">
                  <c:v>1313.6263</c:v>
                </c:pt>
                <c:pt idx="7">
                  <c:v>1292.7771</c:v>
                </c:pt>
                <c:pt idx="8">
                  <c:v>1298.88</c:v>
                </c:pt>
                <c:pt idx="9">
                  <c:v>1276.7445</c:v>
                </c:pt>
                <c:pt idx="10">
                  <c:v>1296.3984</c:v>
                </c:pt>
                <c:pt idx="11">
                  <c:v>1155.3734</c:v>
                </c:pt>
                <c:pt idx="12">
                  <c:v>1152.0813</c:v>
                </c:pt>
                <c:pt idx="13">
                  <c:v>1216.9238</c:v>
                </c:pt>
                <c:pt idx="14">
                  <c:v>1225.6709</c:v>
                </c:pt>
                <c:pt idx="15">
                  <c:v>1252.6789</c:v>
                </c:pt>
                <c:pt idx="16">
                  <c:v>1278.8462</c:v>
                </c:pt>
                <c:pt idx="17">
                  <c:v>1296.3583</c:v>
                </c:pt>
                <c:pt idx="18">
                  <c:v>1360.9765</c:v>
                </c:pt>
                <c:pt idx="19">
                  <c:v>1480.5781</c:v>
                </c:pt>
                <c:pt idx="20">
                  <c:v>1476.2653</c:v>
                </c:pt>
                <c:pt idx="21">
                  <c:v>1463.17</c:v>
                </c:pt>
                <c:pt idx="22">
                  <c:v>1174.4527</c:v>
                </c:pt>
                <c:pt idx="23">
                  <c:v>1159.9943</c:v>
                </c:pt>
                <c:pt idx="24">
                  <c:v>1310.9138</c:v>
                </c:pt>
                <c:pt idx="25">
                  <c:v>1245.0769</c:v>
                </c:pt>
                <c:pt idx="26">
                  <c:v>1374.0297</c:v>
                </c:pt>
                <c:pt idx="27">
                  <c:v>1504.39</c:v>
                </c:pt>
                <c:pt idx="28">
                  <c:v>1465.3762</c:v>
                </c:pt>
                <c:pt idx="29">
                  <c:v>1505.6893</c:v>
                </c:pt>
                <c:pt idx="30">
                  <c:v>1546.0722</c:v>
                </c:pt>
                <c:pt idx="31">
                  <c:v>1464.75</c:v>
                </c:pt>
                <c:pt idx="32">
                  <c:v>1360.5128</c:v>
                </c:pt>
                <c:pt idx="33">
                  <c:v>1425.7705</c:v>
                </c:pt>
                <c:pt idx="34">
                  <c:v>1477.954</c:v>
                </c:pt>
                <c:pt idx="35">
                  <c:v>1475.3561</c:v>
                </c:pt>
                <c:pt idx="36">
                  <c:v>1496.4674</c:v>
                </c:pt>
                <c:pt idx="37">
                  <c:v>1536.5968</c:v>
                </c:pt>
                <c:pt idx="38">
                  <c:v>1410.68</c:v>
                </c:pt>
                <c:pt idx="39">
                  <c:v>1311.4159</c:v>
                </c:pt>
                <c:pt idx="40">
                  <c:v>1427.6984</c:v>
                </c:pt>
                <c:pt idx="41">
                  <c:v>1552.1727</c:v>
                </c:pt>
                <c:pt idx="42">
                  <c:v>1511.4874</c:v>
                </c:pt>
                <c:pt idx="43">
                  <c:v>1453.8361</c:v>
                </c:pt>
                <c:pt idx="44">
                  <c:v>1442.1967</c:v>
                </c:pt>
                <c:pt idx="45">
                  <c:v>1349.4114</c:v>
                </c:pt>
                <c:pt idx="46">
                  <c:v>1300.5859</c:v>
                </c:pt>
                <c:pt idx="47">
                  <c:v>1260.1009</c:v>
                </c:pt>
                <c:pt idx="48">
                  <c:v>1272.2146</c:v>
                </c:pt>
                <c:pt idx="49">
                  <c:v>1216.3554</c:v>
                </c:pt>
                <c:pt idx="50">
                  <c:v>1130.1311</c:v>
                </c:pt>
                <c:pt idx="51">
                  <c:v>1182.1965</c:v>
                </c:pt>
                <c:pt idx="52">
                  <c:v>1249.7080812426777</c:v>
                </c:pt>
                <c:pt idx="53">
                  <c:v>753.760263551794</c:v>
                </c:pt>
                <c:pt idx="54">
                  <c:v>1549.8044372975696</c:v>
                </c:pt>
              </c:numCache>
            </c:numRef>
          </c:xVal>
          <c:yVal>
            <c:numRef>
              <c:f>Sheet1!$B$187:$B$241</c:f>
              <c:numCache>
                <c:formatCode>General</c:formatCode>
                <c:ptCount val="55"/>
                <c:pt idx="0">
                  <c:v>0.5465678389738698</c:v>
                </c:pt>
                <c:pt idx="1">
                  <c:v>0.5380101772948155</c:v>
                </c:pt>
                <c:pt idx="2">
                  <c:v>0.5446542483811918</c:v>
                </c:pt>
                <c:pt idx="3">
                  <c:v>0.5238445041364628</c:v>
                </c:pt>
                <c:pt idx="4">
                  <c:v>0.5300498182120412</c:v>
                </c:pt>
                <c:pt idx="5">
                  <c:v>0.5301473273095538</c:v>
                </c:pt>
                <c:pt idx="6">
                  <c:v>0.5511047262489157</c:v>
                </c:pt>
                <c:pt idx="7">
                  <c:v>0.554641585462311</c:v>
                </c:pt>
                <c:pt idx="8">
                  <c:v>0.5536062892354328</c:v>
                </c:pt>
                <c:pt idx="9">
                  <c:v>0.5573613564379207</c:v>
                </c:pt>
                <c:pt idx="10">
                  <c:v>0.554027267969579</c:v>
                </c:pt>
                <c:pt idx="11">
                  <c:v>0.5779507552289979</c:v>
                </c:pt>
                <c:pt idx="12">
                  <c:v>0.5785092272191182</c:v>
                </c:pt>
                <c:pt idx="13">
                  <c:v>0.5675093426410728</c:v>
                </c:pt>
                <c:pt idx="14">
                  <c:v>0.5660254842088313</c:v>
                </c:pt>
                <c:pt idx="15">
                  <c:v>0.5614438458900766</c:v>
                </c:pt>
                <c:pt idx="16">
                  <c:v>0.5570048239566364</c:v>
                </c:pt>
                <c:pt idx="17">
                  <c:v>0.5540340705353588</c:v>
                </c:pt>
                <c:pt idx="18">
                  <c:v>0.543072236219269</c:v>
                </c:pt>
                <c:pt idx="19">
                  <c:v>0.5227830154867315</c:v>
                </c:pt>
                <c:pt idx="20">
                  <c:v>0.5235146390701557</c:v>
                </c:pt>
                <c:pt idx="21">
                  <c:v>0.525736126343393</c:v>
                </c:pt>
                <c:pt idx="22">
                  <c:v>0.5747141419301598</c:v>
                </c:pt>
                <c:pt idx="23">
                  <c:v>0.5771668655478984</c:v>
                </c:pt>
                <c:pt idx="24">
                  <c:v>0.5515648748693105</c:v>
                </c:pt>
                <c:pt idx="25">
                  <c:v>0.5627334495074926</c:v>
                </c:pt>
                <c:pt idx="26">
                  <c:v>0.5408578907919004</c:v>
                </c:pt>
                <c:pt idx="27">
                  <c:v>0.5187435637138362</c:v>
                </c:pt>
                <c:pt idx="28">
                  <c:v>0.5253618664774704</c:v>
                </c:pt>
                <c:pt idx="29">
                  <c:v>0.5185231504041665</c:v>
                </c:pt>
                <c:pt idx="30">
                  <c:v>0.5116725934557645</c:v>
                </c:pt>
                <c:pt idx="31">
                  <c:v>0.5254680950732644</c:v>
                </c:pt>
                <c:pt idx="32">
                  <c:v>0.5431508983078503</c:v>
                </c:pt>
                <c:pt idx="33">
                  <c:v>0.5320805791833761</c:v>
                </c:pt>
                <c:pt idx="34">
                  <c:v>0.5232281679272026</c:v>
                </c:pt>
                <c:pt idx="35">
                  <c:v>0.5236688757985108</c:v>
                </c:pt>
                <c:pt idx="36">
                  <c:v>0.5200875539294821</c:v>
                </c:pt>
                <c:pt idx="37">
                  <c:v>0.5132800007323318</c:v>
                </c:pt>
                <c:pt idx="38">
                  <c:v>0.5346405322731707</c:v>
                </c:pt>
                <c:pt idx="39">
                  <c:v>0.5514796986030247</c:v>
                </c:pt>
                <c:pt idx="40">
                  <c:v>0.5317535301418059</c:v>
                </c:pt>
                <c:pt idx="41">
                  <c:v>0.5106377043649928</c:v>
                </c:pt>
                <c:pt idx="42">
                  <c:v>0.5175395604628168</c:v>
                </c:pt>
                <c:pt idx="43">
                  <c:v>0.5273195295536797</c:v>
                </c:pt>
                <c:pt idx="44">
                  <c:v>0.5292940378862965</c:v>
                </c:pt>
                <c:pt idx="45">
                  <c:v>0.5450341402965879</c:v>
                </c:pt>
                <c:pt idx="46">
                  <c:v>0.5533169002837162</c:v>
                </c:pt>
                <c:pt idx="47">
                  <c:v>0.5601847774806498</c:v>
                </c:pt>
                <c:pt idx="48">
                  <c:v>0.5581298088749811</c:v>
                </c:pt>
                <c:pt idx="49">
                  <c:v>0.5676057660423013</c:v>
                </c:pt>
                <c:pt idx="50">
                  <c:v>0.5822328601213816</c:v>
                </c:pt>
                <c:pt idx="51">
                  <c:v>0.5734004833544499</c:v>
                </c:pt>
                <c:pt idx="52">
                  <c:v>0.561947815715929</c:v>
                </c:pt>
                <c:pt idx="53">
                  <c:v>0.6460804255217395</c:v>
                </c:pt>
                <c:pt idx="54">
                  <c:v>0.511039456554948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92.0"/>
          <c:min val="60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67441860465116"/>
          <c:min val="0.351773049645390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numCache>
            </c:numRef>
          </c:xVal>
          <c:yVal>
            <c:numRef>
              <c:f>Sheet1!$B$2:$B$16</c:f>
              <c:numCache>
                <c:formatCode>General</c:formatCode>
                <c:ptCount val="15"/>
                <c:pt idx="0">
                  <c:v>0.5475578406169666</c:v>
                </c:pt>
                <c:pt idx="1">
                  <c:v>0.5685279187817259</c:v>
                </c:pt>
                <c:pt idx="2">
                  <c:v>0.5369318181818182</c:v>
                </c:pt>
                <c:pt idx="3">
                  <c:v>0.542528735632184</c:v>
                </c:pt>
                <c:pt idx="4">
                  <c:v>0.5794066317626527</c:v>
                </c:pt>
                <c:pt idx="5">
                  <c:v>0.6134328358208955</c:v>
                </c:pt>
                <c:pt idx="6">
                  <c:v>0.5681293302540416</c:v>
                </c:pt>
                <c:pt idx="7">
                  <c:v>0.5297450424929179</c:v>
                </c:pt>
                <c:pt idx="8">
                  <c:v>0.49230769230769234</c:v>
                </c:pt>
                <c:pt idx="9">
                  <c:v>0.5627376425855514</c:v>
                </c:pt>
                <c:pt idx="10">
                  <c:v>0.5761589403973509</c:v>
                </c:pt>
                <c:pt idx="11">
                  <c:v>0.556420233463035</c:v>
                </c:pt>
                <c:pt idx="12">
                  <c:v>0.5024875621890548</c:v>
                </c:pt>
                <c:pt idx="13">
                  <c:v>0.49504950495049505</c:v>
                </c:pt>
                <c:pt idx="14">
                  <c:v>0.6062717770034843</c:v>
                </c:pt>
              </c:numCache>
            </c:numRef>
          </c:yVal>
          <c:smooth val="0"/>
          <c:extLst>
            <c:ext xmlns:c16="http://schemas.microsoft.com/office/drawing/2014/chart" uri="{C3380CC4-5D6E-409C-BE32-E72D297353CC}">
              <c16:uniqueId val="{00000000-096C-4121-9522-6AB7243CCAAE}"/>
            </c:ext>
          </c:extLst>
        </c:ser>
        <c:ser>
          <c:idx val="1"/>
          <c:order val="1"/>
          <c:tx>
            <c:strRef>
              <c:f>Sheet1!$B$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9:$A$51</c:f>
              <c:numCache>
                <c:formatCode>General</c:formatCode>
                <c:ptCount val="33"/>
                <c:pt idx="0">
                  <c:v>1.2136269633507852</c:v>
                </c:pt>
                <c:pt idx="1">
                  <c:v>0.8273405162738496</c:v>
                </c:pt>
                <c:pt idx="2">
                  <c:v>0.9823422419685578</c:v>
                </c:pt>
                <c:pt idx="3">
                  <c:v>0.9259988571428571</c:v>
                </c:pt>
                <c:pt idx="4">
                  <c:v>0.43207681376215407</c:v>
                </c:pt>
                <c:pt idx="5">
                  <c:v>0.6965425030229746</c:v>
                </c:pt>
                <c:pt idx="6">
                  <c:v>0.7964160994764398</c:v>
                </c:pt>
                <c:pt idx="7">
                  <c:v>0.8021406413612566</c:v>
                </c:pt>
                <c:pt idx="8">
                  <c:v>0.7660575916230367</c:v>
                </c:pt>
                <c:pt idx="9">
                  <c:v>0.7356418630751964</c:v>
                </c:pt>
                <c:pt idx="10">
                  <c:v>0.9602727391874181</c:v>
                </c:pt>
                <c:pt idx="11">
                  <c:v>0.7899733997901364</c:v>
                </c:pt>
                <c:pt idx="12">
                  <c:v>0.7157741666666667</c:v>
                </c:pt>
                <c:pt idx="13">
                  <c:v>0.7201327433628318</c:v>
                </c:pt>
                <c:pt idx="14">
                  <c:v>0.5626603804797353</c:v>
                </c:pt>
                <c:pt idx="15">
                  <c:v>1.4945183438155136</c:v>
                </c:pt>
                <c:pt idx="16">
                  <c:v>0.6830352314814815</c:v>
                </c:pt>
                <c:pt idx="17">
                  <c:v>0.8019653804930332</c:v>
                </c:pt>
                <c:pt idx="18">
                  <c:v>0.7244680810938237</c:v>
                </c:pt>
                <c:pt idx="19">
                  <c:v>0.9505929919137467</c:v>
                </c:pt>
                <c:pt idx="20">
                  <c:v>0.6861661087863044</c:v>
                </c:pt>
                <c:pt idx="21">
                  <c:v>0.8183662760950913</c:v>
                </c:pt>
                <c:pt idx="22">
                  <c:v>0.862557766046124</c:v>
                </c:pt>
                <c:pt idx="23">
                  <c:v>1.015528613420677</c:v>
                </c:pt>
                <c:pt idx="24">
                  <c:v>0.9180576534478404</c:v>
                </c:pt>
                <c:pt idx="25">
                  <c:v>0.7826682383743082</c:v>
                </c:pt>
                <c:pt idx="26">
                  <c:v>0.5986740905057675</c:v>
                </c:pt>
                <c:pt idx="27">
                  <c:v>0.5737541468148932</c:v>
                </c:pt>
                <c:pt idx="28">
                  <c:v>0.6235036615536862</c:v>
                </c:pt>
                <c:pt idx="29">
                  <c:v>0.47470694029850746</c:v>
                </c:pt>
                <c:pt idx="30">
                  <c:v>0.542289522960321</c:v>
                </c:pt>
                <c:pt idx="31">
                  <c:v>0.5962965835641736</c:v>
                </c:pt>
                <c:pt idx="32">
                  <c:v>0.7182238760631835</c:v>
                </c:pt>
              </c:numCache>
            </c:numRef>
          </c:xVal>
          <c:yVal>
            <c:numRef>
              <c:f>Sheet1!$B$19:$B$51</c:f>
              <c:numCache>
                <c:formatCode>General</c:formatCode>
                <c:ptCount val="33"/>
                <c:pt idx="0">
                  <c:v>0.5266666666666666</c:v>
                </c:pt>
                <c:pt idx="1">
                  <c:v>0.594059405940594</c:v>
                </c:pt>
                <c:pt idx="2">
                  <c:v>0.5642201834862385</c:v>
                </c:pt>
                <c:pt idx="3">
                  <c:v>0.6142625607779578</c:v>
                </c:pt>
                <c:pt idx="4">
                  <c:v>0.6231292517006802</c:v>
                </c:pt>
                <c:pt idx="5">
                  <c:v>0.6509298998569385</c:v>
                </c:pt>
                <c:pt idx="6">
                  <c:v>0.5930434782608696</c:v>
                </c:pt>
                <c:pt idx="7">
                  <c:v>0.6257425742574257</c:v>
                </c:pt>
                <c:pt idx="8">
                  <c:v>0.46511627906976744</c:v>
                </c:pt>
                <c:pt idx="9">
                  <c:v>0.6020761245674741</c:v>
                </c:pt>
                <c:pt idx="10">
                  <c:v>0.5343915343915344</c:v>
                </c:pt>
                <c:pt idx="11">
                  <c:v>0.5722222222222222</c:v>
                </c:pt>
                <c:pt idx="12">
                  <c:v>0.5672514619883041</c:v>
                </c:pt>
                <c:pt idx="13">
                  <c:v>0.5037037037037037</c:v>
                </c:pt>
                <c:pt idx="14">
                  <c:v>0.5165562913907285</c:v>
                </c:pt>
                <c:pt idx="15">
                  <c:v>0.583732057416268</c:v>
                </c:pt>
                <c:pt idx="16">
                  <c:v>0.5866666666666667</c:v>
                </c:pt>
                <c:pt idx="17">
                  <c:v>0.5679012345679012</c:v>
                </c:pt>
                <c:pt idx="18">
                  <c:v>0.4397163120567376</c:v>
                </c:pt>
                <c:pt idx="19">
                  <c:v>0.4934210526315789</c:v>
                </c:pt>
                <c:pt idx="20">
                  <c:v>0.5113122171945701</c:v>
                </c:pt>
                <c:pt idx="21">
                  <c:v>0.5121951219512195</c:v>
                </c:pt>
                <c:pt idx="22">
                  <c:v>0.5069124423963134</c:v>
                </c:pt>
                <c:pt idx="23">
                  <c:v>0.5</c:v>
                </c:pt>
                <c:pt idx="24">
                  <c:v>0.4552238805970149</c:v>
                </c:pt>
                <c:pt idx="25">
                  <c:v>0.47843137254901963</c:v>
                </c:pt>
                <c:pt idx="26">
                  <c:v>0.5384615384615384</c:v>
                </c:pt>
                <c:pt idx="27">
                  <c:v>0.5443645083932853</c:v>
                </c:pt>
                <c:pt idx="28">
                  <c:v>0.5229357798165137</c:v>
                </c:pt>
                <c:pt idx="29">
                  <c:v>0.516629711751663</c:v>
                </c:pt>
                <c:pt idx="30">
                  <c:v>0.4905982905982906</c:v>
                </c:pt>
                <c:pt idx="31">
                  <c:v>0.5436170212765957</c:v>
                </c:pt>
                <c:pt idx="32">
                  <c:v>0.5228310502283106</c:v>
                </c:pt>
              </c:numCache>
            </c:numRef>
          </c:yVal>
          <c:smooth val="0"/>
          <c:extLst>
            <c:ext xmlns:c16="http://schemas.microsoft.com/office/drawing/2014/chart" uri="{C3380CC4-5D6E-409C-BE32-E72D297353CC}">
              <c16:uniqueId val="{00000002-096C-4121-9522-6AB7243CCAAE}"/>
            </c:ext>
          </c:extLst>
        </c:ser>
        <c:ser>
          <c:idx val="2"/>
          <c:order val="2"/>
          <c:tx>
            <c:strRef>
              <c:f>Sheet1!$B$5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4:$A$55</c:f>
              <c:numCache>
                <c:formatCode>General</c:formatCode>
                <c:ptCount val="2"/>
                <c:pt idx="0">
                  <c:v>0</c:v>
                </c:pt>
                <c:pt idx="1">
                  <c:v>13.328801240726067</c:v>
                </c:pt>
              </c:numCache>
            </c:numRef>
          </c:xVal>
          <c:yVal>
            <c:numRef>
              <c:f>Sheet1!$B$54:$B$55</c:f>
              <c:numCache>
                <c:formatCode>General</c:formatCode>
                <c:ptCount val="2"/>
                <c:pt idx="0">
                  <c:v>0.5775838944799186</c:v>
                </c:pt>
                <c:pt idx="1">
                  <c:v>0.5775838944799186</c:v>
                </c:pt>
              </c:numCache>
            </c:numRef>
          </c:yVal>
          <c:smooth val="0"/>
          <c:extLst>
            <c:ext xmlns:c16="http://schemas.microsoft.com/office/drawing/2014/chart" uri="{C3380CC4-5D6E-409C-BE32-E72D297353CC}">
              <c16:uniqueId val="{00000005-096C-4121-9522-6AB7243CCAAE}"/>
            </c:ext>
          </c:extLst>
        </c:ser>
        <c:ser>
          <c:idx val="3"/>
          <c:order val="3"/>
          <c:tx>
            <c:strRef>
              <c:f>Sheet1!$B$5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8:$A$59</c:f>
              <c:numCache>
                <c:formatCode>General</c:formatCode>
                <c:ptCount val="2"/>
                <c:pt idx="0">
                  <c:v>13.328801240726067</c:v>
                </c:pt>
                <c:pt idx="1">
                  <c:v>13.328801240726067</c:v>
                </c:pt>
              </c:numCache>
            </c:numRef>
          </c:xVal>
          <c:yVal>
            <c:numRef>
              <c:f>Sheet1!$B$58:$B$59</c:f>
              <c:numCache>
                <c:formatCode>General</c:formatCode>
                <c:ptCount val="2"/>
                <c:pt idx="0">
                  <c:v>0.57758389447991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2:$A$63</c:f>
              <c:numCache>
                <c:formatCode>General</c:formatCode>
                <c:ptCount val="2"/>
                <c:pt idx="0">
                  <c:v>0</c:v>
                </c:pt>
                <c:pt idx="1">
                  <c:v>13.328801240726067</c:v>
                </c:pt>
              </c:numCache>
            </c:numRef>
          </c:xVal>
          <c:yVal>
            <c:numRef>
              <c:f>Sheet1!$B$62:$B$63</c:f>
              <c:numCache>
                <c:formatCode>General</c:formatCode>
                <c:ptCount val="2"/>
                <c:pt idx="0">
                  <c:v>0.5775838944799186</c:v>
                </c:pt>
                <c:pt idx="1">
                  <c:v>0.5775838944799186</c:v>
                </c:pt>
              </c:numCache>
            </c:numRef>
          </c:yVal>
          <c:smooth val="0"/>
          <c:extLst>
            <c:ext xmlns:c16="http://schemas.microsoft.com/office/drawing/2014/chart" uri="{C3380CC4-5D6E-409C-BE32-E72D297353CC}">
              <c16:uniqueId val="{0000000D-096C-4121-9522-6AB7243CCAAE}"/>
            </c:ext>
          </c:extLst>
        </c:ser>
        <c:ser>
          <c:idx val="5"/>
          <c:order val="5"/>
          <c:tx>
            <c:strRef>
              <c:f>Sheet1!$B$6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13.328801240726067</c:v>
                </c:pt>
                <c:pt idx="1">
                  <c:v>13.328801240726067</c:v>
                </c:pt>
              </c:numCache>
            </c:numRef>
          </c:xVal>
          <c:yVal>
            <c:numRef>
              <c:f>Sheet1!$B$66:$B$67</c:f>
              <c:numCache>
                <c:formatCode>General</c:formatCode>
                <c:ptCount val="2"/>
                <c:pt idx="0">
                  <c:v>0.57758389447991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0:$A$71</c:f>
              <c:numCache>
                <c:formatCode>General</c:formatCode>
                <c:ptCount val="2"/>
                <c:pt idx="0">
                  <c:v>0</c:v>
                </c:pt>
                <c:pt idx="1">
                  <c:v>-9.787386217169127</c:v>
                </c:pt>
              </c:numCache>
            </c:numRef>
          </c:xVal>
          <c:yVal>
            <c:numRef>
              <c:f>Sheet1!$B$70:$B$71</c:f>
              <c:numCache>
                <c:formatCode>General</c:formatCode>
                <c:ptCount val="2"/>
                <c:pt idx="0">
                  <c:v>0.5110394565549489</c:v>
                </c:pt>
                <c:pt idx="1">
                  <c:v>0.5110394565549489</c:v>
                </c:pt>
              </c:numCache>
            </c:numRef>
          </c:yVal>
          <c:smooth val="0"/>
          <c:extLst>
            <c:ext xmlns:c16="http://schemas.microsoft.com/office/drawing/2014/chart" uri="{C3380CC4-5D6E-409C-BE32-E72D297353CC}">
              <c16:uniqueId val="{00000015-096C-4121-9522-6AB7243CCAAE}"/>
            </c:ext>
          </c:extLst>
        </c:ser>
        <c:ser>
          <c:idx val="7"/>
          <c:order val="7"/>
          <c:tx>
            <c:strRef>
              <c:f>Sheet1!$B$7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9.787386217169127</c:v>
                </c:pt>
                <c:pt idx="1">
                  <c:v>-9.787386217169127</c:v>
                </c:pt>
              </c:numCache>
            </c:numRef>
          </c:xVal>
          <c:yVal>
            <c:numRef>
              <c:f>Sheet1!$B$74:$B$75</c:f>
              <c:numCache>
                <c:formatCode>General</c:formatCode>
                <c:ptCount val="2"/>
                <c:pt idx="0">
                  <c:v>0.511039456554948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8:$A$113</c:f>
              <c:numCache>
                <c:formatCode>General</c:formatCode>
                <c:ptCount val="36"/>
                <c:pt idx="0">
                  <c:v>1.2136269633507852</c:v>
                </c:pt>
                <c:pt idx="1">
                  <c:v>0.8273405162738496</c:v>
                </c:pt>
                <c:pt idx="2">
                  <c:v>0.9823422419685578</c:v>
                </c:pt>
                <c:pt idx="3">
                  <c:v>0.9259988571428571</c:v>
                </c:pt>
                <c:pt idx="4">
                  <c:v>0.43207681376215407</c:v>
                </c:pt>
                <c:pt idx="5">
                  <c:v>0.6965425030229746</c:v>
                </c:pt>
                <c:pt idx="6">
                  <c:v>0.7964160994764398</c:v>
                </c:pt>
                <c:pt idx="7">
                  <c:v>0.8021406413612566</c:v>
                </c:pt>
                <c:pt idx="8">
                  <c:v>0.7660575916230367</c:v>
                </c:pt>
                <c:pt idx="9">
                  <c:v>0.7356418630751964</c:v>
                </c:pt>
                <c:pt idx="10">
                  <c:v>0.9602727391874181</c:v>
                </c:pt>
                <c:pt idx="11">
                  <c:v>0.7899733997901364</c:v>
                </c:pt>
                <c:pt idx="12">
                  <c:v>0.7157741666666667</c:v>
                </c:pt>
                <c:pt idx="13">
                  <c:v>0.7201327433628318</c:v>
                </c:pt>
                <c:pt idx="14">
                  <c:v>0.5626603804797353</c:v>
                </c:pt>
                <c:pt idx="15">
                  <c:v>1.4945183438155136</c:v>
                </c:pt>
                <c:pt idx="16">
                  <c:v>0.6830352314814815</c:v>
                </c:pt>
                <c:pt idx="17">
                  <c:v>0.8019653804930332</c:v>
                </c:pt>
                <c:pt idx="18">
                  <c:v>0.7244680810938237</c:v>
                </c:pt>
                <c:pt idx="19">
                  <c:v>0.9505929919137467</c:v>
                </c:pt>
                <c:pt idx="20">
                  <c:v>0.6861661087863044</c:v>
                </c:pt>
                <c:pt idx="21">
                  <c:v>0.8183662760950913</c:v>
                </c:pt>
                <c:pt idx="22">
                  <c:v>0.862557766046124</c:v>
                </c:pt>
                <c:pt idx="23">
                  <c:v>1.015528613420677</c:v>
                </c:pt>
                <c:pt idx="24">
                  <c:v>0.9180576534478404</c:v>
                </c:pt>
                <c:pt idx="25">
                  <c:v>0.7826682383743082</c:v>
                </c:pt>
                <c:pt idx="26">
                  <c:v>0.5986740905057675</c:v>
                </c:pt>
                <c:pt idx="27">
                  <c:v>0.5737541468148932</c:v>
                </c:pt>
                <c:pt idx="28">
                  <c:v>0.6235036615536862</c:v>
                </c:pt>
                <c:pt idx="29">
                  <c:v>0.47470694029850746</c:v>
                </c:pt>
                <c:pt idx="30">
                  <c:v>0.542289522960321</c:v>
                </c:pt>
                <c:pt idx="31">
                  <c:v>0.5962965835641736</c:v>
                </c:pt>
                <c:pt idx="32">
                  <c:v>0.7182238760631835</c:v>
                </c:pt>
                <c:pt idx="33">
                  <c:v>13.328801240726067</c:v>
                </c:pt>
                <c:pt idx="34">
                  <c:v>13.328801240726067</c:v>
                </c:pt>
                <c:pt idx="35">
                  <c:v>-9.787386217169127</c:v>
                </c:pt>
              </c:numCache>
            </c:numRef>
          </c:xVal>
          <c:yVal>
            <c:numRef>
              <c:f>Sheet1!$B$78:$B$113</c:f>
              <c:numCache>
                <c:formatCode>General</c:formatCode>
                <c:ptCount val="36"/>
                <c:pt idx="0">
                  <c:v>0.5427080108974969</c:v>
                </c:pt>
                <c:pt idx="1">
                  <c:v>0.5415960102898886</c:v>
                </c:pt>
                <c:pt idx="2">
                  <c:v>0.5420422128798503</c:v>
                </c:pt>
                <c:pt idx="3">
                  <c:v>0.5418800174970327</c:v>
                </c:pt>
                <c:pt idx="4">
                  <c:v>0.5404581669078996</c:v>
                </c:pt>
                <c:pt idx="5">
                  <c:v>0.54121948278987</c:v>
                </c:pt>
                <c:pt idx="6">
                  <c:v>0.541506988346383</c:v>
                </c:pt>
                <c:pt idx="7">
                  <c:v>0.541523467552688</c:v>
                </c:pt>
                <c:pt idx="8">
                  <c:v>0.5414195954817497</c:v>
                </c:pt>
                <c:pt idx="9">
                  <c:v>0.5413320378962274</c:v>
                </c:pt>
                <c:pt idx="10">
                  <c:v>0.5419786815271769</c:v>
                </c:pt>
                <c:pt idx="11">
                  <c:v>0.5414884417832819</c:v>
                </c:pt>
                <c:pt idx="12">
                  <c:v>0.5412748448710896</c:v>
                </c:pt>
                <c:pt idx="13">
                  <c:v>0.5412873918811416</c:v>
                </c:pt>
                <c:pt idx="14">
                  <c:v>0.5408340770818972</c:v>
                </c:pt>
                <c:pt idx="15">
                  <c:v>0.5435166113237151</c:v>
                </c:pt>
                <c:pt idx="16">
                  <c:v>0.541180599483777</c:v>
                </c:pt>
                <c:pt idx="17">
                  <c:v>0.5415229630302191</c:v>
                </c:pt>
                <c:pt idx="18">
                  <c:v>0.5412998719933162</c:v>
                </c:pt>
                <c:pt idx="19">
                  <c:v>0.5419508164935178</c:v>
                </c:pt>
                <c:pt idx="20">
                  <c:v>0.5411896123225438</c:v>
                </c:pt>
                <c:pt idx="21">
                  <c:v>0.5415701761955083</c:v>
                </c:pt>
                <c:pt idx="22">
                  <c:v>0.5416973899873679</c:v>
                </c:pt>
                <c:pt idx="23">
                  <c:v>0.5421377462994107</c:v>
                </c:pt>
                <c:pt idx="24">
                  <c:v>0.541857157198928</c:v>
                </c:pt>
                <c:pt idx="25">
                  <c:v>0.5414674124564842</c:v>
                </c:pt>
                <c:pt idx="26">
                  <c:v>0.5409377495449986</c:v>
                </c:pt>
                <c:pt idx="27">
                  <c:v>0.5408660126442207</c:v>
                </c:pt>
                <c:pt idx="28">
                  <c:v>0.5410092262905611</c:v>
                </c:pt>
                <c:pt idx="29">
                  <c:v>0.5405808860117396</c:v>
                </c:pt>
                <c:pt idx="30">
                  <c:v>0.540775435609719</c:v>
                </c:pt>
                <c:pt idx="31">
                  <c:v>0.5409309054292301</c:v>
                </c:pt>
                <c:pt idx="32">
                  <c:v>0.5412818968356563</c:v>
                </c:pt>
                <c:pt idx="33">
                  <c:v>0.5775838944799186</c:v>
                </c:pt>
                <c:pt idx="34">
                  <c:v>0.5775838944799186</c:v>
                </c:pt>
                <c:pt idx="35">
                  <c:v>0.511039456554948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11158798283262"/>
          <c:min val="0.351773049645390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224.8075</c:v>
                </c:pt>
              </c:numCache>
            </c:numRef>
          </c:xVal>
          <c:yVal>
            <c:numRef>
              <c:f>Sheet1!$B$2:$B$2</c:f>
              <c:numCache>
                <c:formatCode>General</c:formatCode>
                <c:ptCount val="1"/>
                <c:pt idx="0">
                  <c:v>0.5475578406169666</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51</c:f>
              <c:numCache>
                <c:formatCode>General</c:formatCode>
                <c:ptCount val="47"/>
                <c:pt idx="0">
                  <c:v>1340.3705</c:v>
                </c:pt>
                <c:pt idx="1">
                  <c:v>1390.8165</c:v>
                </c:pt>
                <c:pt idx="2">
                  <c:v>1351.6508</c:v>
                </c:pt>
                <c:pt idx="3">
                  <c:v>1474.3208</c:v>
                </c:pt>
                <c:pt idx="4">
                  <c:v>1437.7415</c:v>
                </c:pt>
                <c:pt idx="5">
                  <c:v>1437.1667</c:v>
                </c:pt>
                <c:pt idx="6">
                  <c:v>1292.7771</c:v>
                </c:pt>
                <c:pt idx="7">
                  <c:v>1276.7445</c:v>
                </c:pt>
                <c:pt idx="8">
                  <c:v>1296.3984</c:v>
                </c:pt>
                <c:pt idx="9">
                  <c:v>1155.3734</c:v>
                </c:pt>
                <c:pt idx="10">
                  <c:v>1152.0813</c:v>
                </c:pt>
                <c:pt idx="11">
                  <c:v>1216.9238</c:v>
                </c:pt>
                <c:pt idx="12">
                  <c:v>1225.6709</c:v>
                </c:pt>
                <c:pt idx="13">
                  <c:v>1252.6789</c:v>
                </c:pt>
                <c:pt idx="14">
                  <c:v>1296.3583</c:v>
                </c:pt>
                <c:pt idx="15">
                  <c:v>1480.5781</c:v>
                </c:pt>
                <c:pt idx="16">
                  <c:v>1463.17</c:v>
                </c:pt>
                <c:pt idx="17">
                  <c:v>1174.4527</c:v>
                </c:pt>
                <c:pt idx="18">
                  <c:v>1159.9943</c:v>
                </c:pt>
                <c:pt idx="19">
                  <c:v>1310.9138</c:v>
                </c:pt>
                <c:pt idx="20">
                  <c:v>1245.0769</c:v>
                </c:pt>
                <c:pt idx="21">
                  <c:v>1374.0297</c:v>
                </c:pt>
                <c:pt idx="22">
                  <c:v>1504.39</c:v>
                </c:pt>
                <c:pt idx="23">
                  <c:v>1465.3762</c:v>
                </c:pt>
                <c:pt idx="24">
                  <c:v>1505.6893</c:v>
                </c:pt>
                <c:pt idx="25">
                  <c:v>1546.0722</c:v>
                </c:pt>
                <c:pt idx="26">
                  <c:v>1464.75</c:v>
                </c:pt>
                <c:pt idx="27">
                  <c:v>1360.5128</c:v>
                </c:pt>
                <c:pt idx="28">
                  <c:v>1425.7705</c:v>
                </c:pt>
                <c:pt idx="29">
                  <c:v>1477.954</c:v>
                </c:pt>
                <c:pt idx="30">
                  <c:v>1475.3561</c:v>
                </c:pt>
                <c:pt idx="31">
                  <c:v>1496.4674</c:v>
                </c:pt>
                <c:pt idx="32">
                  <c:v>1536.5968</c:v>
                </c:pt>
                <c:pt idx="33">
                  <c:v>1410.68</c:v>
                </c:pt>
                <c:pt idx="34">
                  <c:v>1311.4159</c:v>
                </c:pt>
                <c:pt idx="35">
                  <c:v>1427.6984</c:v>
                </c:pt>
                <c:pt idx="36">
                  <c:v>1552.1727</c:v>
                </c:pt>
                <c:pt idx="37">
                  <c:v>1511.4874</c:v>
                </c:pt>
                <c:pt idx="38">
                  <c:v>1453.8361</c:v>
                </c:pt>
                <c:pt idx="39">
                  <c:v>1442.1967</c:v>
                </c:pt>
                <c:pt idx="40">
                  <c:v>1349.4114</c:v>
                </c:pt>
                <c:pt idx="41">
                  <c:v>1300.5859</c:v>
                </c:pt>
                <c:pt idx="42">
                  <c:v>1260.1009</c:v>
                </c:pt>
                <c:pt idx="43">
                  <c:v>1272.2146</c:v>
                </c:pt>
                <c:pt idx="44">
                  <c:v>1216.3554</c:v>
                </c:pt>
                <c:pt idx="45">
                  <c:v>1130.1311</c:v>
                </c:pt>
                <c:pt idx="46">
                  <c:v>1182.1965</c:v>
                </c:pt>
              </c:numCache>
            </c:numRef>
          </c:xVal>
          <c:yVal>
            <c:numRef>
              <c:f>Sheet1!$B$5:$B$51</c:f>
              <c:numCache>
                <c:formatCode>General</c:formatCode>
                <c:ptCount val="47"/>
                <c:pt idx="0">
                  <c:v>0.5685279187817259</c:v>
                </c:pt>
                <c:pt idx="1">
                  <c:v>0.5266666666666666</c:v>
                </c:pt>
                <c:pt idx="2">
                  <c:v>0.5369318181818182</c:v>
                </c:pt>
                <c:pt idx="3">
                  <c:v>0.594059405940594</c:v>
                </c:pt>
                <c:pt idx="4">
                  <c:v>0.542528735632184</c:v>
                </c:pt>
                <c:pt idx="5">
                  <c:v>0.5642201834862385</c:v>
                </c:pt>
                <c:pt idx="6">
                  <c:v>0.5794066317626527</c:v>
                </c:pt>
                <c:pt idx="7">
                  <c:v>0.6134328358208955</c:v>
                </c:pt>
                <c:pt idx="8">
                  <c:v>0.6142625607779578</c:v>
                </c:pt>
                <c:pt idx="9">
                  <c:v>0.6231292517006802</c:v>
                </c:pt>
                <c:pt idx="10">
                  <c:v>0.6509298998569385</c:v>
                </c:pt>
                <c:pt idx="11">
                  <c:v>0.5930434782608696</c:v>
                </c:pt>
                <c:pt idx="12">
                  <c:v>0.6257425742574257</c:v>
                </c:pt>
                <c:pt idx="13">
                  <c:v>0.5681293302540416</c:v>
                </c:pt>
                <c:pt idx="14">
                  <c:v>0.5297450424929179</c:v>
                </c:pt>
                <c:pt idx="15">
                  <c:v>0.49230769230769234</c:v>
                </c:pt>
                <c:pt idx="16">
                  <c:v>0.46511627906976744</c:v>
                </c:pt>
                <c:pt idx="17">
                  <c:v>0.5627376425855514</c:v>
                </c:pt>
                <c:pt idx="18">
                  <c:v>0.5761589403973509</c:v>
                </c:pt>
                <c:pt idx="19">
                  <c:v>0.6020761245674741</c:v>
                </c:pt>
                <c:pt idx="20">
                  <c:v>0.556420233463035</c:v>
                </c:pt>
                <c:pt idx="21">
                  <c:v>0.5024875621890548</c:v>
                </c:pt>
                <c:pt idx="22">
                  <c:v>0.49504950495049505</c:v>
                </c:pt>
                <c:pt idx="23">
                  <c:v>0.5343915343915344</c:v>
                </c:pt>
                <c:pt idx="24">
                  <c:v>0.5722222222222222</c:v>
                </c:pt>
                <c:pt idx="25">
                  <c:v>0.5672514619883041</c:v>
                </c:pt>
                <c:pt idx="26">
                  <c:v>0.5037037037037037</c:v>
                </c:pt>
                <c:pt idx="27">
                  <c:v>0.5165562913907285</c:v>
                </c:pt>
                <c:pt idx="28">
                  <c:v>0.583732057416268</c:v>
                </c:pt>
                <c:pt idx="29">
                  <c:v>0.6062717770034843</c:v>
                </c:pt>
                <c:pt idx="30">
                  <c:v>0.5866666666666667</c:v>
                </c:pt>
                <c:pt idx="31">
                  <c:v>0.5679012345679012</c:v>
                </c:pt>
                <c:pt idx="32">
                  <c:v>0.4397163120567376</c:v>
                </c:pt>
                <c:pt idx="33">
                  <c:v>0.4934210526315789</c:v>
                </c:pt>
                <c:pt idx="34">
                  <c:v>0.5113122171945701</c:v>
                </c:pt>
                <c:pt idx="35">
                  <c:v>0.5121951219512195</c:v>
                </c:pt>
                <c:pt idx="36">
                  <c:v>0.5069124423963134</c:v>
                </c:pt>
                <c:pt idx="37">
                  <c:v>0.5</c:v>
                </c:pt>
                <c:pt idx="38">
                  <c:v>0.4552238805970149</c:v>
                </c:pt>
                <c:pt idx="39">
                  <c:v>0.47843137254901963</c:v>
                </c:pt>
                <c:pt idx="40">
                  <c:v>0.5384615384615384</c:v>
                </c:pt>
                <c:pt idx="41">
                  <c:v>0.5443645083932853</c:v>
                </c:pt>
                <c:pt idx="42">
                  <c:v>0.5229357798165137</c:v>
                </c:pt>
                <c:pt idx="43">
                  <c:v>0.516629711751663</c:v>
                </c:pt>
                <c:pt idx="44">
                  <c:v>0.4905982905982906</c:v>
                </c:pt>
                <c:pt idx="45">
                  <c:v>0.5436170212765957</c:v>
                </c:pt>
                <c:pt idx="46">
                  <c:v>0.5228310502283106</c:v>
                </c:pt>
              </c:numCache>
            </c:numRef>
          </c:yVal>
          <c:smooth val="0"/>
          <c:extLst>
            <c:ext xmlns:c16="http://schemas.microsoft.com/office/drawing/2014/chart" uri="{C3380CC4-5D6E-409C-BE32-E72D297353CC}">
              <c16:uniqueId val="{00000002-F32D-48B7-BC20-E66FC6253BAD}"/>
            </c:ext>
          </c:extLst>
        </c:ser>
        <c:ser>
          <c:idx val="2"/>
          <c:order val="2"/>
          <c:tx>
            <c:strRef>
              <c:f>Sheet1!$B$53</c:f>
              <c:strCache>
                <c:ptCount val="1"/>
                <c:pt idx="0">
                  <c:v>Custom Linep3yQ</c:v>
                </c:pt>
              </c:strCache>
            </c:strRef>
          </c:tx>
          <c:spPr>
            <a:ln w="19050" cap="rnd">
              <a:solidFill>
                <a:srgbClr val="C00000"/>
              </a:solidFill>
              <a:prstDash val="sysDot"/>
              <a:round/>
            </a:ln>
            <a:effectLst/>
          </c:spPr>
          <c:marker>
            <c:symbol val="none"/>
          </c:marker>
          <c:xVal>
            <c:numRef>
              <c:f>Sheet1!$A$54:$A$55</c:f>
              <c:numCache>
                <c:formatCode>General</c:formatCode>
                <c:ptCount val="2"/>
                <c:pt idx="0">
                  <c:v>0</c:v>
                </c:pt>
                <c:pt idx="1">
                  <c:v>1157.5716529110327</c:v>
                </c:pt>
              </c:numCache>
            </c:numRef>
          </c:xVal>
          <c:yVal>
            <c:numRef>
              <c:f>Sheet1!$B$54:$B$55</c:f>
              <c:numCache>
                <c:formatCode>General</c:formatCode>
                <c:ptCount val="2"/>
                <c:pt idx="0">
                  <c:v>0.5775838944799186</c:v>
                </c:pt>
                <c:pt idx="1">
                  <c:v>0.5775838944799186</c:v>
                </c:pt>
              </c:numCache>
            </c:numRef>
          </c:yVal>
          <c:smooth val="0"/>
          <c:extLst>
            <c:ext xmlns:c16="http://schemas.microsoft.com/office/drawing/2014/chart" uri="{C3380CC4-5D6E-409C-BE32-E72D297353CC}">
              <c16:uniqueId val="{00000003-F32D-48B7-BC20-E66FC6253BAD}"/>
            </c:ext>
          </c:extLst>
        </c:ser>
        <c:ser>
          <c:idx val="3"/>
          <c:order val="3"/>
          <c:tx>
            <c:strRef>
              <c:f>Sheet1!$B$5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8:$A$59</c:f>
              <c:numCache>
                <c:formatCode>General</c:formatCode>
                <c:ptCount val="2"/>
                <c:pt idx="0">
                  <c:v>1157.5716529110327</c:v>
                </c:pt>
                <c:pt idx="1">
                  <c:v>1157.5716529110327</c:v>
                </c:pt>
              </c:numCache>
            </c:numRef>
          </c:xVal>
          <c:yVal>
            <c:numRef>
              <c:f>Sheet1!$B$58:$B$59</c:f>
              <c:numCache>
                <c:formatCode>General</c:formatCode>
                <c:ptCount val="2"/>
                <c:pt idx="0">
                  <c:v>0.57758389447991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2:$A$63</c:f>
              <c:numCache>
                <c:formatCode>General</c:formatCode>
                <c:ptCount val="2"/>
                <c:pt idx="0">
                  <c:v>0</c:v>
                </c:pt>
                <c:pt idx="1">
                  <c:v>1157.5716529110327</c:v>
                </c:pt>
              </c:numCache>
            </c:numRef>
          </c:xVal>
          <c:yVal>
            <c:numRef>
              <c:f>Sheet1!$B$62:$B$63</c:f>
              <c:numCache>
                <c:formatCode>General</c:formatCode>
                <c:ptCount val="2"/>
                <c:pt idx="0">
                  <c:v>0.5775838944799186</c:v>
                </c:pt>
                <c:pt idx="1">
                  <c:v>0.5775838944799186</c:v>
                </c:pt>
              </c:numCache>
            </c:numRef>
          </c:yVal>
          <c:smooth val="0"/>
          <c:extLst>
            <c:ext xmlns:c16="http://schemas.microsoft.com/office/drawing/2014/chart" uri="{C3380CC4-5D6E-409C-BE32-E72D297353CC}">
              <c16:uniqueId val="{0000000A-F32D-48B7-BC20-E66FC6253BAD}"/>
            </c:ext>
          </c:extLst>
        </c:ser>
        <c:ser>
          <c:idx val="5"/>
          <c:order val="5"/>
          <c:tx>
            <c:strRef>
              <c:f>Sheet1!$B$6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1157.5716529110327</c:v>
                </c:pt>
                <c:pt idx="1">
                  <c:v>1157.5716529110327</c:v>
                </c:pt>
              </c:numCache>
            </c:numRef>
          </c:xVal>
          <c:yVal>
            <c:numRef>
              <c:f>Sheet1!$B$66:$B$67</c:f>
              <c:numCache>
                <c:formatCode>General</c:formatCode>
                <c:ptCount val="2"/>
                <c:pt idx="0">
                  <c:v>0.57758389447991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0:$A$71</c:f>
              <c:numCache>
                <c:formatCode>General</c:formatCode>
                <c:ptCount val="2"/>
                <c:pt idx="0">
                  <c:v>0</c:v>
                </c:pt>
                <c:pt idx="1">
                  <c:v>1565.0457904862023</c:v>
                </c:pt>
              </c:numCache>
            </c:numRef>
          </c:xVal>
          <c:yVal>
            <c:numRef>
              <c:f>Sheet1!$B$70:$B$71</c:f>
              <c:numCache>
                <c:formatCode>General</c:formatCode>
                <c:ptCount val="2"/>
                <c:pt idx="0">
                  <c:v>0.5110394565549489</c:v>
                </c:pt>
                <c:pt idx="1">
                  <c:v>0.5110394565549489</c:v>
                </c:pt>
              </c:numCache>
            </c:numRef>
          </c:yVal>
          <c:smooth val="0"/>
          <c:extLst>
            <c:ext xmlns:c16="http://schemas.microsoft.com/office/drawing/2014/chart" uri="{C3380CC4-5D6E-409C-BE32-E72D297353CC}">
              <c16:uniqueId val="{00000011-F32D-48B7-BC20-E66FC6253BAD}"/>
            </c:ext>
          </c:extLst>
        </c:ser>
        <c:ser>
          <c:idx val="7"/>
          <c:order val="7"/>
          <c:tx>
            <c:strRef>
              <c:f>Sheet1!$B$7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1565.0457904862023</c:v>
                </c:pt>
                <c:pt idx="1">
                  <c:v>1565.0457904862023</c:v>
                </c:pt>
              </c:numCache>
            </c:numRef>
          </c:xVal>
          <c:yVal>
            <c:numRef>
              <c:f>Sheet1!$B$74:$B$75</c:f>
              <c:numCache>
                <c:formatCode>General</c:formatCode>
                <c:ptCount val="2"/>
                <c:pt idx="0">
                  <c:v>0.511039456554948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8:$A$127</c:f>
              <c:numCache>
                <c:formatCode>General</c:formatCode>
                <c:ptCount val="50"/>
                <c:pt idx="0">
                  <c:v>1340.3705</c:v>
                </c:pt>
                <c:pt idx="1">
                  <c:v>1390.8165</c:v>
                </c:pt>
                <c:pt idx="2">
                  <c:v>1351.6508</c:v>
                </c:pt>
                <c:pt idx="3">
                  <c:v>1474.3208</c:v>
                </c:pt>
                <c:pt idx="4">
                  <c:v>1437.7415</c:v>
                </c:pt>
                <c:pt idx="5">
                  <c:v>1437.1667</c:v>
                </c:pt>
                <c:pt idx="6">
                  <c:v>1292.7771</c:v>
                </c:pt>
                <c:pt idx="7">
                  <c:v>1276.7445</c:v>
                </c:pt>
                <c:pt idx="8">
                  <c:v>1296.3984</c:v>
                </c:pt>
                <c:pt idx="9">
                  <c:v>1155.3734</c:v>
                </c:pt>
                <c:pt idx="10">
                  <c:v>1152.0813</c:v>
                </c:pt>
                <c:pt idx="11">
                  <c:v>1216.9238</c:v>
                </c:pt>
                <c:pt idx="12">
                  <c:v>1225.6709</c:v>
                </c:pt>
                <c:pt idx="13">
                  <c:v>1252.6789</c:v>
                </c:pt>
                <c:pt idx="14">
                  <c:v>1296.3583</c:v>
                </c:pt>
                <c:pt idx="15">
                  <c:v>1480.5781</c:v>
                </c:pt>
                <c:pt idx="16">
                  <c:v>1463.17</c:v>
                </c:pt>
                <c:pt idx="17">
                  <c:v>1174.4527</c:v>
                </c:pt>
                <c:pt idx="18">
                  <c:v>1159.9943</c:v>
                </c:pt>
                <c:pt idx="19">
                  <c:v>1310.9138</c:v>
                </c:pt>
                <c:pt idx="20">
                  <c:v>1245.0769</c:v>
                </c:pt>
                <c:pt idx="21">
                  <c:v>1374.0297</c:v>
                </c:pt>
                <c:pt idx="22">
                  <c:v>1504.39</c:v>
                </c:pt>
                <c:pt idx="23">
                  <c:v>1465.3762</c:v>
                </c:pt>
                <c:pt idx="24">
                  <c:v>1505.6893</c:v>
                </c:pt>
                <c:pt idx="25">
                  <c:v>1546.0722</c:v>
                </c:pt>
                <c:pt idx="26">
                  <c:v>1464.75</c:v>
                </c:pt>
                <c:pt idx="27">
                  <c:v>1360.5128</c:v>
                </c:pt>
                <c:pt idx="28">
                  <c:v>1425.7705</c:v>
                </c:pt>
                <c:pt idx="29">
                  <c:v>1477.954</c:v>
                </c:pt>
                <c:pt idx="30">
                  <c:v>1475.3561</c:v>
                </c:pt>
                <c:pt idx="31">
                  <c:v>1496.4674</c:v>
                </c:pt>
                <c:pt idx="32">
                  <c:v>1536.5968</c:v>
                </c:pt>
                <c:pt idx="33">
                  <c:v>1410.68</c:v>
                </c:pt>
                <c:pt idx="34">
                  <c:v>1311.4159</c:v>
                </c:pt>
                <c:pt idx="35">
                  <c:v>1427.6984</c:v>
                </c:pt>
                <c:pt idx="36">
                  <c:v>1552.1727</c:v>
                </c:pt>
                <c:pt idx="37">
                  <c:v>1511.4874</c:v>
                </c:pt>
                <c:pt idx="38">
                  <c:v>1453.8361</c:v>
                </c:pt>
                <c:pt idx="39">
                  <c:v>1442.1967</c:v>
                </c:pt>
                <c:pt idx="40">
                  <c:v>1349.4114</c:v>
                </c:pt>
                <c:pt idx="41">
                  <c:v>1300.5859</c:v>
                </c:pt>
                <c:pt idx="42">
                  <c:v>1260.1009</c:v>
                </c:pt>
                <c:pt idx="43">
                  <c:v>1272.2146</c:v>
                </c:pt>
                <c:pt idx="44">
                  <c:v>1216.3554</c:v>
                </c:pt>
                <c:pt idx="45">
                  <c:v>1130.1311</c:v>
                </c:pt>
                <c:pt idx="46">
                  <c:v>1182.1965</c:v>
                </c:pt>
                <c:pt idx="47">
                  <c:v>1157.5716529110327</c:v>
                </c:pt>
                <c:pt idx="48">
                  <c:v>1157.5716529110327</c:v>
                </c:pt>
                <c:pt idx="49">
                  <c:v>1565.0457904862023</c:v>
                </c:pt>
              </c:numCache>
            </c:numRef>
          </c:xVal>
          <c:yVal>
            <c:numRef>
              <c:f>Sheet1!$B$78:$B$127</c:f>
              <c:numCache>
                <c:formatCode>General</c:formatCode>
                <c:ptCount val="50"/>
                <c:pt idx="0">
                  <c:v>0.5477310881024248</c:v>
                </c:pt>
                <c:pt idx="1">
                  <c:v>0.5394927720818313</c:v>
                </c:pt>
                <c:pt idx="2">
                  <c:v>0.5458889068351866</c:v>
                </c:pt>
                <c:pt idx="3">
                  <c:v>0.5258557183515367</c:v>
                </c:pt>
                <c:pt idx="4">
                  <c:v>0.5318294691585798</c:v>
                </c:pt>
                <c:pt idx="5">
                  <c:v>0.5319233395159646</c:v>
                </c:pt>
                <c:pt idx="6">
                  <c:v>0.5555035471615081</c:v>
                </c:pt>
                <c:pt idx="7">
                  <c:v>0.5581218246350791</c:v>
                </c:pt>
                <c:pt idx="8">
                  <c:v>0.5549121541114075</c:v>
                </c:pt>
                <c:pt idx="9">
                  <c:v>0.5779428902808598</c:v>
                </c:pt>
                <c:pt idx="10">
                  <c:v>0.5784805218110385</c:v>
                </c:pt>
                <c:pt idx="11">
                  <c:v>0.5678911191514553</c:v>
                </c:pt>
                <c:pt idx="12">
                  <c:v>0.5664626337598736</c:v>
                </c:pt>
                <c:pt idx="13">
                  <c:v>0.5620519681157355</c:v>
                </c:pt>
                <c:pt idx="14">
                  <c:v>0.5549187028263189</c:v>
                </c:pt>
                <c:pt idx="15">
                  <c:v>0.524833841199024</c:v>
                </c:pt>
                <c:pt idx="16">
                  <c:v>0.5276767510257315</c:v>
                </c:pt>
                <c:pt idx="17">
                  <c:v>0.5748270574526532</c:v>
                </c:pt>
                <c:pt idx="18">
                  <c:v>0.577188252955808</c:v>
                </c:pt>
                <c:pt idx="19">
                  <c:v>0.5525416499611215</c:v>
                </c:pt>
                <c:pt idx="20">
                  <c:v>0.5632934476857421</c:v>
                </c:pt>
                <c:pt idx="21">
                  <c:v>0.5422342176548103</c:v>
                </c:pt>
                <c:pt idx="22">
                  <c:v>0.5209451293635807</c:v>
                </c:pt>
                <c:pt idx="23">
                  <c:v>0.5273164573888797</c:v>
                </c:pt>
                <c:pt idx="24">
                  <c:v>0.520732941201872</c:v>
                </c:pt>
                <c:pt idx="25">
                  <c:v>0.5141380260048688</c:v>
                </c:pt>
                <c:pt idx="26">
                  <c:v>0.5274187218596423</c:v>
                </c:pt>
                <c:pt idx="27">
                  <c:v>0.5444416571707038</c:v>
                </c:pt>
                <c:pt idx="28">
                  <c:v>0.5337844483657027</c:v>
                </c:pt>
                <c:pt idx="29">
                  <c:v>0.5252623819172105</c:v>
                </c:pt>
                <c:pt idx="30">
                  <c:v>0.5256866439239087</c:v>
                </c:pt>
                <c:pt idx="31">
                  <c:v>0.5222389659909595</c:v>
                </c:pt>
                <c:pt idx="32">
                  <c:v>0.5156854497772498</c:v>
                </c:pt>
                <c:pt idx="33">
                  <c:v>0.5362488718662531</c:v>
                </c:pt>
                <c:pt idx="34">
                  <c:v>0.5524596522115688</c:v>
                </c:pt>
                <c:pt idx="35">
                  <c:v>0.5334696037901943</c:v>
                </c:pt>
                <c:pt idx="36">
                  <c:v>0.5131417557974464</c:v>
                </c:pt>
                <c:pt idx="37">
                  <c:v>0.5197860558171239</c:v>
                </c:pt>
                <c:pt idx="38">
                  <c:v>0.5292010664898836</c:v>
                </c:pt>
                <c:pt idx="39">
                  <c:v>0.5311018922340477</c:v>
                </c:pt>
                <c:pt idx="40">
                  <c:v>0.5462546223507183</c:v>
                </c:pt>
                <c:pt idx="41">
                  <c:v>0.5542282951664715</c:v>
                </c:pt>
                <c:pt idx="42">
                  <c:v>0.5608398842735113</c:v>
                </c:pt>
                <c:pt idx="43">
                  <c:v>0.5588616007866409</c:v>
                </c:pt>
                <c:pt idx="44">
                  <c:v>0.567983944327408</c:v>
                </c:pt>
                <c:pt idx="45">
                  <c:v>0.5820652001664132</c:v>
                </c:pt>
                <c:pt idx="46">
                  <c:v>0.5735624205815382</c:v>
                </c:pt>
                <c:pt idx="47">
                  <c:v>0.5775838944799186</c:v>
                </c:pt>
                <c:pt idx="48">
                  <c:v>0.5775838944799186</c:v>
                </c:pt>
                <c:pt idx="49">
                  <c:v>0.511039456554948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78.0"/>
          <c:min val="90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11158798283262"/>
          <c:min val="0.351773049645390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598224620531954</c:v>
                </c:pt>
                <c:pt idx="1">
                  <c:v>2.2014033807244577</c:v>
                </c:pt>
                <c:pt idx="2">
                  <c:v>2.294037519164646</c:v>
                </c:pt>
                <c:pt idx="3">
                  <c:v>2.314231146316798</c:v>
                </c:pt>
                <c:pt idx="4">
                  <c:v>2.3581674091848255</c:v>
                </c:pt>
                <c:pt idx="5">
                  <c:v>1.9314331077942035</c:v>
                </c:pt>
                <c:pt idx="6">
                  <c:v>1.6790086289168364</c:v>
                </c:pt>
                <c:pt idx="7">
                  <c:v>1.705737913572437</c:v>
                </c:pt>
                <c:pt idx="8">
                  <c:v>1.6958963282067556</c:v>
                </c:pt>
                <c:pt idx="9">
                  <c:v>1.8193585742944718</c:v>
                </c:pt>
                <c:pt idx="10">
                  <c:v>1.7175120717597896</c:v>
                </c:pt>
                <c:pt idx="11">
                  <c:v>1.7393374903929948</c:v>
                </c:pt>
                <c:pt idx="12">
                  <c:v>1.7385936187560045</c:v>
                </c:pt>
                <c:pt idx="13">
                  <c:v>1.7305712305216323</c:v>
                </c:pt>
                <c:pt idx="14">
                  <c:v>1.8216428288934976</c:v>
                </c:pt>
                <c:pt idx="15">
                  <c:v>1.8452297201226229</c:v>
                </c:pt>
                <c:pt idx="16">
                  <c:v>1.8163225740027187</c:v>
                </c:pt>
                <c:pt idx="17">
                  <c:v>2.1949038168299064</c:v>
                </c:pt>
                <c:pt idx="18">
                  <c:v>2.5837354115755358</c:v>
                </c:pt>
                <c:pt idx="19">
                  <c:v>2.423643441399046</c:v>
                </c:pt>
                <c:pt idx="20">
                  <c:v>2.482655181121603</c:v>
                </c:pt>
                <c:pt idx="21">
                  <c:v>2.552446310862936</c:v>
                </c:pt>
                <c:pt idx="22">
                  <c:v>2.5710008371632127</c:v>
                </c:pt>
                <c:pt idx="23">
                  <c:v>2.7996472710454903</c:v>
                </c:pt>
                <c:pt idx="24">
                  <c:v>2.7351624366357745</c:v>
                </c:pt>
                <c:pt idx="25">
                  <c:v>2.701990013976837</c:v>
                </c:pt>
                <c:pt idx="26">
                  <c:v>1.9845089077807967</c:v>
                </c:pt>
                <c:pt idx="27">
                  <c:v>1.9966139549966306</c:v>
                </c:pt>
                <c:pt idx="28">
                  <c:v>1.9245861983831918</c:v>
                </c:pt>
                <c:pt idx="29">
                  <c:v>1.866034143987674</c:v>
                </c:pt>
                <c:pt idx="30">
                  <c:v>1.8514995139294166</c:v>
                </c:pt>
                <c:pt idx="31">
                  <c:v>1.828876936292645</c:v>
                </c:pt>
                <c:pt idx="32">
                  <c:v>1.7755226911661894</c:v>
                </c:pt>
                <c:pt idx="33">
                  <c:v>1.745798203914743</c:v>
                </c:pt>
                <c:pt idx="34">
                  <c:v>1.758080029140962</c:v>
                </c:pt>
                <c:pt idx="35">
                  <c:v>1.8887956660735061</c:v>
                </c:pt>
                <c:pt idx="36">
                  <c:v>2.0745527692848156</c:v>
                </c:pt>
                <c:pt idx="37">
                  <c:v>2.15076914777637</c:v>
                </c:pt>
                <c:pt idx="38">
                  <c:v>2.201911649086679</c:v>
                </c:pt>
                <c:pt idx="39">
                  <c:v>2.2080457630402184</c:v>
                </c:pt>
                <c:pt idx="40">
                  <c:v>2.1778440393262026</c:v>
                </c:pt>
                <c:pt idx="41">
                  <c:v>2.2454072654426276</c:v>
                </c:pt>
                <c:pt idx="42">
                  <c:v>2.278423997359595</c:v>
                </c:pt>
                <c:pt idx="43">
                  <c:v>2.2671014445714572</c:v>
                </c:pt>
                <c:pt idx="44">
                  <c:v>2.135252644740479</c:v>
                </c:pt>
                <c:pt idx="45">
                  <c:v>2.085536850085513</c:v>
                </c:pt>
                <c:pt idx="46">
                  <c:v>2.1200015098741507</c:v>
                </c:pt>
                <c:pt idx="47">
                  <c:v>2.0895585294557497</c:v>
                </c:pt>
                <c:pt idx="48">
                  <c:v>2.0848996478656434</c:v>
                </c:pt>
                <c:pt idx="49">
                  <c:v>2.0291246465285933</c:v>
                </c:pt>
                <c:pt idx="50">
                  <c:v>1.9668605055135042</c:v>
                </c:pt>
                <c:pt idx="51">
                  <c:v>2.010309841452327</c:v>
                </c:pt>
                <c:pt idx="52">
                  <c:v>2.033934440128875</c:v>
                </c:pt>
                <c:pt idx="53">
                  <c:v>2.1712589439500434</c:v>
                </c:pt>
                <c:pt idx="54">
                  <c:v>2.226085545181009</c:v>
                </c:pt>
                <c:pt idx="55">
                  <c:v>2.2461923130403245</c:v>
                </c:pt>
                <c:pt idx="56">
                  <c:v>2.2874291908717113</c:v>
                </c:pt>
                <c:pt idx="57">
                  <c:v>2.2530353706058204</c:v>
                </c:pt>
                <c:pt idx="58">
                  <c:v>2.1093194048044857</c:v>
                </c:pt>
                <c:pt idx="59">
                  <c:v>2.21721494900256</c:v>
                </c:pt>
                <c:pt idx="60">
                  <c:v>2.2309093526418216</c:v>
                </c:pt>
                <c:pt idx="61">
                  <c:v>2.1584741978508735</c:v>
                </c:pt>
                <c:pt idx="62">
                  <c:v>2.078241013173411</c:v>
                </c:pt>
                <c:pt idx="63">
                  <c:v>2.172822960286229</c:v>
                </c:pt>
                <c:pt idx="64">
                  <c:v>2.121118845282625</c:v>
                </c:pt>
                <c:pt idx="65">
                  <c:v>2.077767908744993</c:v>
                </c:pt>
                <c:pt idx="66">
                  <c:v>2.0748835642990886</c:v>
                </c:pt>
                <c:pt idx="67">
                  <c:v>2.137085985937315</c:v>
                </c:pt>
                <c:pt idx="68">
                  <c:v>2.1369022765620795</c:v>
                </c:pt>
                <c:pt idx="69">
                  <c:v>2.1806648133242246</c:v>
                </c:pt>
                <c:pt idx="70">
                  <c:v>2.137680162075359</c:v>
                </c:pt>
                <c:pt idx="71">
                  <c:v>2.280991402293063</c:v>
                </c:pt>
                <c:pt idx="72">
                  <c:v>2.5091027110836746</c:v>
                </c:pt>
                <c:pt idx="73">
                  <c:v>2.4073520333124305</c:v>
                </c:pt>
                <c:pt idx="74">
                  <c:v>2.389259956102286</c:v>
                </c:pt>
                <c:pt idx="75">
                  <c:v>2.3850435069827935</c:v>
                </c:pt>
                <c:pt idx="76">
                  <c:v>2.388634078033544</c:v>
                </c:pt>
                <c:pt idx="77">
                  <c:v>2.4547347129847994</c:v>
                </c:pt>
                <c:pt idx="78">
                  <c:v>2.479732956290918</c:v>
                </c:pt>
                <c:pt idx="79">
                  <c:v>2.6043715525457336</c:v>
                </c:pt>
                <c:pt idx="80">
                  <c:v>2.522133092438376</c:v>
                </c:pt>
                <c:pt idx="81">
                  <c:v>2.53687634510701</c:v>
                </c:pt>
                <c:pt idx="82">
                  <c:v>2.471931059491972</c:v>
                </c:pt>
                <c:pt idx="83">
                  <c:v>2.4083112968875557</c:v>
                </c:pt>
                <c:pt idx="84">
                  <c:v>2.474507076932714</c:v>
                </c:pt>
                <c:pt idx="85">
                  <c:v>2.3655170388641737</c:v>
                </c:pt>
                <c:pt idx="86">
                  <c:v>2.314279395009429</c:v>
                </c:pt>
                <c:pt idx="87">
                  <c:v>2.3507236969178704</c:v>
                </c:pt>
                <c:pt idx="88">
                  <c:v>2.433508177862008</c:v>
                </c:pt>
                <c:pt idx="89">
                  <c:v>2.3920831707805696</c:v>
                </c:pt>
                <c:pt idx="90">
                  <c:v>2.5830882760916607</c:v>
                </c:pt>
                <c:pt idx="91">
                  <c:v>2.6149102597853857</c:v>
                </c:pt>
                <c:pt idx="92">
                  <c:v>2.433702570619458</c:v>
                </c:pt>
                <c:pt idx="93">
                  <c:v>2.2189752604471153</c:v>
                </c:pt>
                <c:pt idx="94">
                  <c:v>2.1443899086541487</c:v>
                </c:pt>
                <c:pt idx="95">
                  <c:v>2.064292736294229</c:v>
                </c:pt>
                <c:pt idx="96">
                  <c:v>1.8814232290057256</c:v>
                </c:pt>
                <c:pt idx="97">
                  <c:v>1.9001006786734014</c:v>
                </c:pt>
                <c:pt idx="98">
                  <c:v>1.9698336655676678</c:v>
                </c:pt>
                <c:pt idx="99">
                  <c:v>2.1717648294247485</c:v>
                </c:pt>
                <c:pt idx="100">
                  <c:v>1.9254893248736624</c:v>
                </c:pt>
                <c:pt idx="101">
                  <c:v>1.791338275471239</c:v>
                </c:pt>
                <c:pt idx="102">
                  <c:v>1.7591420527673631</c:v>
                </c:pt>
                <c:pt idx="103">
                  <c:v>1.7353156368064955</c:v>
                </c:pt>
                <c:pt idx="104">
                  <c:v>1.7606811598724263</c:v>
                </c:pt>
              </c:numCache>
            </c:numRef>
          </c:xVal>
          <c:yVal>
            <c:numRef>
              <c:f>Sheet1!$B$2:$B$106</c:f>
              <c:numCache>
                <c:formatCode>General</c:formatCode>
                <c:ptCount val="105"/>
                <c:pt idx="0">
                  <c:v>0.11734889793410644</c:v>
                </c:pt>
                <c:pt idx="1">
                  <c:v>0.10166200683442063</c:v>
                </c:pt>
                <c:pt idx="2">
                  <c:v>0.1039679247891608</c:v>
                </c:pt>
                <c:pt idx="3">
                  <c:v>0.1056060606060606</c:v>
                </c:pt>
                <c:pt idx="4">
                  <c:v>0.10190306552920221</c:v>
                </c:pt>
                <c:pt idx="5">
                  <c:v>0.11498708010335917</c:v>
                </c:pt>
                <c:pt idx="6">
                  <c:v>0.13601552129071787</c:v>
                </c:pt>
                <c:pt idx="7">
                  <c:v>0.14155360787609558</c:v>
                </c:pt>
                <c:pt idx="8">
                  <c:v>0.14000782166601486</c:v>
                </c:pt>
                <c:pt idx="9">
                  <c:v>0.11914385449200808</c:v>
                </c:pt>
                <c:pt idx="10">
                  <c:v>0.13145029875067898</c:v>
                </c:pt>
                <c:pt idx="11">
                  <c:v>0.12369515011547344</c:v>
                </c:pt>
                <c:pt idx="12">
                  <c:v>0.11059203261700501</c:v>
                </c:pt>
                <c:pt idx="13">
                  <c:v>0.10240811153358682</c:v>
                </c:pt>
                <c:pt idx="14">
                  <c:v>0.08423219431864964</c:v>
                </c:pt>
                <c:pt idx="15">
                  <c:v>0.07318062031218325</c:v>
                </c:pt>
                <c:pt idx="16">
                  <c:v>0.0757201646090535</c:v>
                </c:pt>
                <c:pt idx="17">
                  <c:v>0.06993263931414574</c:v>
                </c:pt>
                <c:pt idx="18">
                  <c:v>0.06133709739509816</c:v>
                </c:pt>
                <c:pt idx="19">
                  <c:v>0.058422439175577254</c:v>
                </c:pt>
                <c:pt idx="20">
                  <c:v>0.056515113030226063</c:v>
                </c:pt>
                <c:pt idx="21">
                  <c:v>0.055955235811350916</c:v>
                </c:pt>
                <c:pt idx="22">
                  <c:v>0.06505660377358491</c:v>
                </c:pt>
                <c:pt idx="23">
                  <c:v>0.07182233422586234</c:v>
                </c:pt>
                <c:pt idx="24">
                  <c:v>0.07223837209302325</c:v>
                </c:pt>
                <c:pt idx="25">
                  <c:v>0.08145491803278689</c:v>
                </c:pt>
                <c:pt idx="26">
                  <c:v>0.102803738317757</c:v>
                </c:pt>
                <c:pt idx="27">
                  <c:v>0.10003279763857002</c:v>
                </c:pt>
                <c:pt idx="28">
                  <c:v>0.1298932384341637</c:v>
                </c:pt>
                <c:pt idx="29">
                  <c:v>0.12411100264956074</c:v>
                </c:pt>
                <c:pt idx="30">
                  <c:v>0.11757009345794392</c:v>
                </c:pt>
                <c:pt idx="31">
                  <c:v>0.13167134831460675</c:v>
                </c:pt>
                <c:pt idx="32">
                  <c:v>0.13605777121286722</c:v>
                </c:pt>
                <c:pt idx="33">
                  <c:v>0.12606303151575787</c:v>
                </c:pt>
                <c:pt idx="34">
                  <c:v>0.12991894749207095</c:v>
                </c:pt>
                <c:pt idx="35">
                  <c:v>0.13161290322580646</c:v>
                </c:pt>
                <c:pt idx="36">
                  <c:v>0.11778105319576578</c:v>
                </c:pt>
                <c:pt idx="37">
                  <c:v>0.11346998535871157</c:v>
                </c:pt>
                <c:pt idx="38">
                  <c:v>0.11051015933343078</c:v>
                </c:pt>
                <c:pt idx="39">
                  <c:v>0.10288315629742033</c:v>
                </c:pt>
                <c:pt idx="40">
                  <c:v>0.10384805130735077</c:v>
                </c:pt>
                <c:pt idx="41">
                  <c:v>0.10565535595475715</c:v>
                </c:pt>
                <c:pt idx="42">
                  <c:v>0.10028818443804034</c:v>
                </c:pt>
                <c:pt idx="43">
                  <c:v>0.09358895073180787</c:v>
                </c:pt>
                <c:pt idx="44">
                  <c:v>0.10246586792978546</c:v>
                </c:pt>
                <c:pt idx="45">
                  <c:v>0.12215647600262985</c:v>
                </c:pt>
                <c:pt idx="46">
                  <c:v>0.1265981448984708</c:v>
                </c:pt>
                <c:pt idx="47">
                  <c:v>0.12149122807017544</c:v>
                </c:pt>
                <c:pt idx="48">
                  <c:v>0.11892867055231751</c:v>
                </c:pt>
                <c:pt idx="49">
                  <c:v>0.12166011121660111</c:v>
                </c:pt>
                <c:pt idx="50">
                  <c:v>0.11970546510842396</c:v>
                </c:pt>
                <c:pt idx="51">
                  <c:v>0.11117450484962099</c:v>
                </c:pt>
                <c:pt idx="52">
                  <c:v>0.11139327385037749</c:v>
                </c:pt>
                <c:pt idx="53">
                  <c:v>0.10292914416625756</c:v>
                </c:pt>
                <c:pt idx="54">
                  <c:v>0.10382272446367087</c:v>
                </c:pt>
                <c:pt idx="55">
                  <c:v>0.10075908187240196</c:v>
                </c:pt>
                <c:pt idx="56">
                  <c:v>0.10233208955223881</c:v>
                </c:pt>
                <c:pt idx="57">
                  <c:v>0.0992521034590215</c:v>
                </c:pt>
                <c:pt idx="58">
                  <c:v>0.11625452352231605</c:v>
                </c:pt>
                <c:pt idx="59">
                  <c:v>0.10804609168454132</c:v>
                </c:pt>
                <c:pt idx="60">
                  <c:v>0.1112329083251601</c:v>
                </c:pt>
                <c:pt idx="61">
                  <c:v>0.119412619009198</c:v>
                </c:pt>
                <c:pt idx="62">
                  <c:v>0.1321979532610356</c:v>
                </c:pt>
                <c:pt idx="63">
                  <c:v>0.1341941099666328</c:v>
                </c:pt>
                <c:pt idx="64">
                  <c:v>0.12976639035418236</c:v>
                </c:pt>
                <c:pt idx="65">
                  <c:v>0.1307698419003734</c:v>
                </c:pt>
                <c:pt idx="66">
                  <c:v>0.13110329598429704</c:v>
                </c:pt>
                <c:pt idx="67">
                  <c:v>0.12329829398586938</c:v>
                </c:pt>
                <c:pt idx="68">
                  <c:v>0.11237185229421717</c:v>
                </c:pt>
                <c:pt idx="69">
                  <c:v>0.1058421851289833</c:v>
                </c:pt>
                <c:pt idx="70">
                  <c:v>0.10486358244365362</c:v>
                </c:pt>
                <c:pt idx="71">
                  <c:v>0.10387919812548815</c:v>
                </c:pt>
                <c:pt idx="72">
                  <c:v>0.09749784296807593</c:v>
                </c:pt>
                <c:pt idx="73">
                  <c:v>0.10155222309918442</c:v>
                </c:pt>
                <c:pt idx="74">
                  <c:v>0.10538470888537742</c:v>
                </c:pt>
                <c:pt idx="75">
                  <c:v>0.11568684516880093</c:v>
                </c:pt>
                <c:pt idx="76">
                  <c:v>0.12291893573984752</c:v>
                </c:pt>
                <c:pt idx="77">
                  <c:v>0.11483253588516747</c:v>
                </c:pt>
                <c:pt idx="78">
                  <c:v>0.12341446691806651</c:v>
                </c:pt>
                <c:pt idx="79">
                  <c:v>0.11061192873741287</c:v>
                </c:pt>
                <c:pt idx="80">
                  <c:v>0.10577374432796119</c:v>
                </c:pt>
                <c:pt idx="81">
                  <c:v>0.1067401332649923</c:v>
                </c:pt>
                <c:pt idx="82">
                  <c:v>0.11244911804613297</c:v>
                </c:pt>
                <c:pt idx="83">
                  <c:v>0.1130820399113082</c:v>
                </c:pt>
                <c:pt idx="84">
                  <c:v>0.1130188679245283</c:v>
                </c:pt>
                <c:pt idx="85">
                  <c:v>0.11717469682071452</c:v>
                </c:pt>
                <c:pt idx="86">
                  <c:v>0.1330030487804878</c:v>
                </c:pt>
                <c:pt idx="87">
                  <c:v>0.13442830069488312</c:v>
                </c:pt>
                <c:pt idx="88">
                  <c:v>0.12185138539042821</c:v>
                </c:pt>
                <c:pt idx="89">
                  <c:v>0.13582512931753712</c:v>
                </c:pt>
                <c:pt idx="90">
                  <c:v>0.1157179269328802</c:v>
                </c:pt>
                <c:pt idx="91">
                  <c:v>0.11096541550565481</c:v>
                </c:pt>
                <c:pt idx="92">
                  <c:v>0.11903802230283488</c:v>
                </c:pt>
                <c:pt idx="93">
                  <c:v>0.11912928759894459</c:v>
                </c:pt>
                <c:pt idx="94">
                  <c:v>0.12270590019717882</c:v>
                </c:pt>
                <c:pt idx="95">
                  <c:v>0.12288600922468702</c:v>
                </c:pt>
                <c:pt idx="96">
                  <c:v>0.12080193166020341</c:v>
                </c:pt>
                <c:pt idx="97">
                  <c:v>0.12121008403361344</c:v>
                </c:pt>
                <c:pt idx="98">
                  <c:v>0.11641409742785809</c:v>
                </c:pt>
                <c:pt idx="99">
                  <c:v>0.11687161829808165</c:v>
                </c:pt>
                <c:pt idx="100">
                  <c:v>0.11851740583574298</c:v>
                </c:pt>
                <c:pt idx="101">
                  <c:v>0.11689568414940972</c:v>
                </c:pt>
                <c:pt idx="102">
                  <c:v>0.118042226487524</c:v>
                </c:pt>
                <c:pt idx="103">
                  <c:v>0.11503018748013981</c:v>
                </c:pt>
                <c:pt idx="104">
                  <c:v>0.113671128107074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46039075661685</c:v>
                </c:pt>
                <c:pt idx="1">
                  <c:v>1.7636751171881933</c:v>
                </c:pt>
                <c:pt idx="2">
                  <c:v>1.7265396793417145</c:v>
                </c:pt>
                <c:pt idx="3">
                  <c:v>1.6143075658786272</c:v>
                </c:pt>
                <c:pt idx="4">
                  <c:v>1.6884246371267162</c:v>
                </c:pt>
                <c:pt idx="5">
                  <c:v>1.6996703075385546</c:v>
                </c:pt>
                <c:pt idx="6">
                  <c:v>1.705189680217805</c:v>
                </c:pt>
                <c:pt idx="7">
                  <c:v>1.6013494387165434</c:v>
                </c:pt>
                <c:pt idx="8">
                  <c:v>1.7129693356161286</c:v>
                </c:pt>
                <c:pt idx="9">
                  <c:v>1.71898942921891</c:v>
                </c:pt>
                <c:pt idx="10">
                  <c:v>1.674012492473243</c:v>
                </c:pt>
                <c:pt idx="11">
                  <c:v>1.7595614726658986</c:v>
                </c:pt>
                <c:pt idx="12">
                  <c:v>1.7404698614348215</c:v>
                </c:pt>
                <c:pt idx="13">
                  <c:v>1.6810790314767587</c:v>
                </c:pt>
                <c:pt idx="14">
                  <c:v>1.673957030336763</c:v>
                </c:pt>
                <c:pt idx="15">
                  <c:v>1.7573697006232163</c:v>
                </c:pt>
                <c:pt idx="16">
                  <c:v>1.731016141714776</c:v>
                </c:pt>
                <c:pt idx="17">
                  <c:v>1.619647111839917</c:v>
                </c:pt>
                <c:pt idx="18">
                  <c:v>1.7180420829605427</c:v>
                </c:pt>
                <c:pt idx="19">
                  <c:v>1.971397945437388</c:v>
                </c:pt>
                <c:pt idx="20">
                  <c:v>1.9126255943466184</c:v>
                </c:pt>
                <c:pt idx="21">
                  <c:v>1.8646483940559604</c:v>
                </c:pt>
                <c:pt idx="22">
                  <c:v>1.8111631476606025</c:v>
                </c:pt>
                <c:pt idx="23">
                  <c:v>1.7826434647156495</c:v>
                </c:pt>
                <c:pt idx="24">
                  <c:v>1.7946407727702345</c:v>
                </c:pt>
                <c:pt idx="25">
                  <c:v>1.7668238406806236</c:v>
                </c:pt>
                <c:pt idx="26">
                  <c:v>1.6906408704457794</c:v>
                </c:pt>
                <c:pt idx="27">
                  <c:v>1.6966566610616163</c:v>
                </c:pt>
                <c:pt idx="28">
                  <c:v>1.7553666806945076</c:v>
                </c:pt>
                <c:pt idx="29">
                  <c:v>1.7568505145231796</c:v>
                </c:pt>
                <c:pt idx="30">
                  <c:v>1.7733083096334001</c:v>
                </c:pt>
                <c:pt idx="31">
                  <c:v>1.7505410955907048</c:v>
                </c:pt>
                <c:pt idx="32">
                  <c:v>1.7419279865427586</c:v>
                </c:pt>
                <c:pt idx="33">
                  <c:v>1.6910946860778635</c:v>
                </c:pt>
                <c:pt idx="34">
                  <c:v>1.7234291107907314</c:v>
                </c:pt>
                <c:pt idx="35">
                  <c:v>1.7224450904521873</c:v>
                </c:pt>
                <c:pt idx="36">
                  <c:v>1.8096772967563175</c:v>
                </c:pt>
                <c:pt idx="37">
                  <c:v>1.8104079133784712</c:v>
                </c:pt>
                <c:pt idx="38">
                  <c:v>1.8286622705878257</c:v>
                </c:pt>
                <c:pt idx="39">
                  <c:v>1.8427218189242092</c:v>
                </c:pt>
                <c:pt idx="40">
                  <c:v>1.8062585928269907</c:v>
                </c:pt>
                <c:pt idx="41">
                  <c:v>1.8515984320902783</c:v>
                </c:pt>
                <c:pt idx="42">
                  <c:v>1.8652729081213582</c:v>
                </c:pt>
                <c:pt idx="43">
                  <c:v>1.9066319547274435</c:v>
                </c:pt>
                <c:pt idx="44">
                  <c:v>1.8063937132388845</c:v>
                </c:pt>
                <c:pt idx="45">
                  <c:v>1.807429995700517</c:v>
                </c:pt>
                <c:pt idx="46">
                  <c:v>1.7530417516959902</c:v>
                </c:pt>
                <c:pt idx="47">
                  <c:v>1.7753953351187899</c:v>
                </c:pt>
                <c:pt idx="48">
                  <c:v>1.7518620990345308</c:v>
                </c:pt>
                <c:pt idx="49">
                  <c:v>1.8145052716786276</c:v>
                </c:pt>
                <c:pt idx="50">
                  <c:v>1.8023388191900411</c:v>
                </c:pt>
                <c:pt idx="51">
                  <c:v>1.8320829988574971</c:v>
                </c:pt>
              </c:numCache>
            </c:numRef>
          </c:xVal>
          <c:yVal>
            <c:numRef>
              <c:f>Sheet1!$B$109:$B$160</c:f>
              <c:numCache>
                <c:formatCode>General</c:formatCode>
                <c:ptCount val="52"/>
                <c:pt idx="0">
                  <c:v>0.11391145746973967</c:v>
                </c:pt>
                <c:pt idx="1">
                  <c:v>0.1111207494795281</c:v>
                </c:pt>
                <c:pt idx="2">
                  <c:v>0.13236201048411964</c:v>
                </c:pt>
                <c:pt idx="3">
                  <c:v>0.14968</c:v>
                </c:pt>
                <c:pt idx="4">
                  <c:v>0.1268020708880924</c:v>
                </c:pt>
                <c:pt idx="5">
                  <c:v>0.13140425531914893</c:v>
                </c:pt>
                <c:pt idx="6">
                  <c:v>0.14794738363688928</c:v>
                </c:pt>
                <c:pt idx="7">
                  <c:v>0.1592727991305207</c:v>
                </c:pt>
                <c:pt idx="8">
                  <c:v>0.13632276916160935</c:v>
                </c:pt>
                <c:pt idx="9">
                  <c:v>0.14220135628586333</c:v>
                </c:pt>
                <c:pt idx="10">
                  <c:v>0.15210751374465487</c:v>
                </c:pt>
                <c:pt idx="11">
                  <c:v>0.14413818449099597</c:v>
                </c:pt>
                <c:pt idx="12">
                  <c:v>0.14162939577304218</c:v>
                </c:pt>
                <c:pt idx="13">
                  <c:v>0.135122838944495</c:v>
                </c:pt>
                <c:pt idx="14">
                  <c:v>0.1409895414320193</c:v>
                </c:pt>
                <c:pt idx="15">
                  <c:v>0.13908488347231132</c:v>
                </c:pt>
                <c:pt idx="16">
                  <c:v>0.1376365691322366</c:v>
                </c:pt>
                <c:pt idx="17">
                  <c:v>0.15625</c:v>
                </c:pt>
                <c:pt idx="18">
                  <c:v>0.13952068386505878</c:v>
                </c:pt>
                <c:pt idx="19">
                  <c:v>0.12077864621737207</c:v>
                </c:pt>
                <c:pt idx="20">
                  <c:v>0.11104090980887696</c:v>
                </c:pt>
                <c:pt idx="21">
                  <c:v>0.11773940345368916</c:v>
                </c:pt>
                <c:pt idx="22">
                  <c:v>0.12151509325129782</c:v>
                </c:pt>
                <c:pt idx="23">
                  <c:v>0.12369057211925866</c:v>
                </c:pt>
                <c:pt idx="24">
                  <c:v>0.12484053216694004</c:v>
                </c:pt>
                <c:pt idx="25">
                  <c:v>0.1319458079717259</c:v>
                </c:pt>
                <c:pt idx="26">
                  <c:v>0.1265007830172264</c:v>
                </c:pt>
                <c:pt idx="27">
                  <c:v>0.13001426985888695</c:v>
                </c:pt>
                <c:pt idx="28">
                  <c:v>0.12080250426863973</c:v>
                </c:pt>
                <c:pt idx="29">
                  <c:v>0.12397820163487738</c:v>
                </c:pt>
                <c:pt idx="30">
                  <c:v>0.12637557685481007</c:v>
                </c:pt>
                <c:pt idx="31">
                  <c:v>0.12935417058934287</c:v>
                </c:pt>
                <c:pt idx="32">
                  <c:v>0.125</c:v>
                </c:pt>
                <c:pt idx="33">
                  <c:v>0.1454401478157582</c:v>
                </c:pt>
                <c:pt idx="34">
                  <c:v>0.15583970772919284</c:v>
                </c:pt>
                <c:pt idx="35">
                  <c:v>0.14909659980082515</c:v>
                </c:pt>
                <c:pt idx="36">
                  <c:v>0.1425282544997907</c:v>
                </c:pt>
                <c:pt idx="37">
                  <c:v>0.13704256908140403</c:v>
                </c:pt>
                <c:pt idx="38">
                  <c:v>0.1324163416136317</c:v>
                </c:pt>
                <c:pt idx="39">
                  <c:v>0.13436055469953775</c:v>
                </c:pt>
                <c:pt idx="40">
                  <c:v>0.12755408653846154</c:v>
                </c:pt>
                <c:pt idx="41">
                  <c:v>0.1338369441277081</c:v>
                </c:pt>
                <c:pt idx="42">
                  <c:v>0.12916733773554517</c:v>
                </c:pt>
                <c:pt idx="43">
                  <c:v>0.11784016300656554</c:v>
                </c:pt>
                <c:pt idx="44">
                  <c:v>0.11685586187160164</c:v>
                </c:pt>
                <c:pt idx="45">
                  <c:v>0.1310514509009335</c:v>
                </c:pt>
                <c:pt idx="46">
                  <c:v>0.15558820987120753</c:v>
                </c:pt>
                <c:pt idx="47">
                  <c:v>0.15048582670842367</c:v>
                </c:pt>
                <c:pt idx="48">
                  <c:v>0.14984355869949667</c:v>
                </c:pt>
                <c:pt idx="49">
                  <c:v>0.15304133090720043</c:v>
                </c:pt>
                <c:pt idx="50">
                  <c:v>0.14304928844151335</c:v>
                </c:pt>
                <c:pt idx="51">
                  <c:v>0.137408688965782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376456021198482</c:v>
                </c:pt>
              </c:numCache>
            </c:numRef>
          </c:xVal>
          <c:yVal>
            <c:numRef>
              <c:f>Sheet1!$B$163:$B$164</c:f>
              <c:numCache>
                <c:formatCode>General</c:formatCode>
                <c:ptCount val="2"/>
                <c:pt idx="0">
                  <c:v>0.1458357167534982</c:v>
                </c:pt>
                <c:pt idx="1">
                  <c:v>0.14583571675349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376456021198482</c:v>
                </c:pt>
                <c:pt idx="1">
                  <c:v>1.6376456021198482</c:v>
                </c:pt>
              </c:numCache>
            </c:numRef>
          </c:xVal>
          <c:yVal>
            <c:numRef>
              <c:f>Sheet1!$B$167:$B$168</c:f>
              <c:numCache>
                <c:formatCode>General</c:formatCode>
                <c:ptCount val="2"/>
                <c:pt idx="0">
                  <c:v>0.14583571675349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376456021198482</c:v>
                </c:pt>
              </c:numCache>
            </c:numRef>
          </c:xVal>
          <c:yVal>
            <c:numRef>
              <c:f>Sheet1!$B$171:$B$172</c:f>
              <c:numCache>
                <c:formatCode>General</c:formatCode>
                <c:ptCount val="2"/>
                <c:pt idx="0">
                  <c:v>0.1458357167534982</c:v>
                </c:pt>
                <c:pt idx="1">
                  <c:v>0.14583571675349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376456021198482</c:v>
                </c:pt>
                <c:pt idx="1">
                  <c:v>1.6376456021198482</c:v>
                </c:pt>
              </c:numCache>
            </c:numRef>
          </c:xVal>
          <c:yVal>
            <c:numRef>
              <c:f>Sheet1!$B$175:$B$176</c:f>
              <c:numCache>
                <c:formatCode>General</c:formatCode>
                <c:ptCount val="2"/>
                <c:pt idx="0">
                  <c:v>0.14583571675349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383644832847804</c:v>
                </c:pt>
              </c:numCache>
            </c:numRef>
          </c:xVal>
          <c:yVal>
            <c:numRef>
              <c:f>Sheet1!$B$179:$B$180</c:f>
              <c:numCache>
                <c:formatCode>General</c:formatCode>
                <c:ptCount val="2"/>
                <c:pt idx="0">
                  <c:v>0.13692948480569056</c:v>
                </c:pt>
                <c:pt idx="1">
                  <c:v>0.136929484805690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383644832847804</c:v>
                </c:pt>
                <c:pt idx="1">
                  <c:v>1.7383644832847804</c:v>
                </c:pt>
              </c:numCache>
            </c:numRef>
          </c:xVal>
          <c:yVal>
            <c:numRef>
              <c:f>Sheet1!$B$183:$B$184</c:f>
              <c:numCache>
                <c:formatCode>General</c:formatCode>
                <c:ptCount val="2"/>
                <c:pt idx="0">
                  <c:v>0.136929484805690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46039075661685</c:v>
                </c:pt>
                <c:pt idx="1">
                  <c:v>1.7636751171881933</c:v>
                </c:pt>
                <c:pt idx="2">
                  <c:v>1.7265396793417145</c:v>
                </c:pt>
                <c:pt idx="3">
                  <c:v>1.6143075658786272</c:v>
                </c:pt>
                <c:pt idx="4">
                  <c:v>1.6884246371267162</c:v>
                </c:pt>
                <c:pt idx="5">
                  <c:v>1.6996703075385546</c:v>
                </c:pt>
                <c:pt idx="6">
                  <c:v>1.705189680217805</c:v>
                </c:pt>
                <c:pt idx="7">
                  <c:v>1.6013494387165434</c:v>
                </c:pt>
                <c:pt idx="8">
                  <c:v>1.7129693356161286</c:v>
                </c:pt>
                <c:pt idx="9">
                  <c:v>1.71898942921891</c:v>
                </c:pt>
                <c:pt idx="10">
                  <c:v>1.674012492473243</c:v>
                </c:pt>
                <c:pt idx="11">
                  <c:v>1.7595614726658986</c:v>
                </c:pt>
                <c:pt idx="12">
                  <c:v>1.7404698614348215</c:v>
                </c:pt>
                <c:pt idx="13">
                  <c:v>1.6810790314767587</c:v>
                </c:pt>
                <c:pt idx="14">
                  <c:v>1.673957030336763</c:v>
                </c:pt>
                <c:pt idx="15">
                  <c:v>1.7573697006232163</c:v>
                </c:pt>
                <c:pt idx="16">
                  <c:v>1.731016141714776</c:v>
                </c:pt>
                <c:pt idx="17">
                  <c:v>1.619647111839917</c:v>
                </c:pt>
                <c:pt idx="18">
                  <c:v>1.7180420829605427</c:v>
                </c:pt>
                <c:pt idx="19">
                  <c:v>1.971397945437388</c:v>
                </c:pt>
                <c:pt idx="20">
                  <c:v>1.9126255943466184</c:v>
                </c:pt>
                <c:pt idx="21">
                  <c:v>1.8646483940559604</c:v>
                </c:pt>
                <c:pt idx="22">
                  <c:v>1.8111631476606025</c:v>
                </c:pt>
                <c:pt idx="23">
                  <c:v>1.7826434647156495</c:v>
                </c:pt>
                <c:pt idx="24">
                  <c:v>1.7946407727702345</c:v>
                </c:pt>
                <c:pt idx="25">
                  <c:v>1.7668238406806236</c:v>
                </c:pt>
                <c:pt idx="26">
                  <c:v>1.6906408704457794</c:v>
                </c:pt>
                <c:pt idx="27">
                  <c:v>1.6966566610616163</c:v>
                </c:pt>
                <c:pt idx="28">
                  <c:v>1.7553666806945076</c:v>
                </c:pt>
                <c:pt idx="29">
                  <c:v>1.7568505145231796</c:v>
                </c:pt>
                <c:pt idx="30">
                  <c:v>1.7733083096334001</c:v>
                </c:pt>
                <c:pt idx="31">
                  <c:v>1.7505410955907048</c:v>
                </c:pt>
                <c:pt idx="32">
                  <c:v>1.7419279865427586</c:v>
                </c:pt>
                <c:pt idx="33">
                  <c:v>1.6910946860778635</c:v>
                </c:pt>
                <c:pt idx="34">
                  <c:v>1.7234291107907314</c:v>
                </c:pt>
                <c:pt idx="35">
                  <c:v>1.7224450904521873</c:v>
                </c:pt>
                <c:pt idx="36">
                  <c:v>1.8096772967563175</c:v>
                </c:pt>
                <c:pt idx="37">
                  <c:v>1.8104079133784712</c:v>
                </c:pt>
                <c:pt idx="38">
                  <c:v>1.8286622705878257</c:v>
                </c:pt>
                <c:pt idx="39">
                  <c:v>1.8427218189242092</c:v>
                </c:pt>
                <c:pt idx="40">
                  <c:v>1.8062585928269907</c:v>
                </c:pt>
                <c:pt idx="41">
                  <c:v>1.8515984320902783</c:v>
                </c:pt>
                <c:pt idx="42">
                  <c:v>1.8652729081213582</c:v>
                </c:pt>
                <c:pt idx="43">
                  <c:v>1.9066319547274435</c:v>
                </c:pt>
                <c:pt idx="44">
                  <c:v>1.8063937132388845</c:v>
                </c:pt>
                <c:pt idx="45">
                  <c:v>1.807429995700517</c:v>
                </c:pt>
                <c:pt idx="46">
                  <c:v>1.7530417516959902</c:v>
                </c:pt>
                <c:pt idx="47">
                  <c:v>1.7753953351187899</c:v>
                </c:pt>
                <c:pt idx="48">
                  <c:v>1.7518620990345308</c:v>
                </c:pt>
                <c:pt idx="49">
                  <c:v>1.8145052716786276</c:v>
                </c:pt>
                <c:pt idx="50">
                  <c:v>1.8023388191900411</c:v>
                </c:pt>
                <c:pt idx="51">
                  <c:v>1.8320829988574971</c:v>
                </c:pt>
                <c:pt idx="52">
                  <c:v>1.6376456021198482</c:v>
                </c:pt>
                <c:pt idx="53">
                  <c:v>1.6376456021198482</c:v>
                </c:pt>
                <c:pt idx="54">
                  <c:v>1.7383644832847804</c:v>
                </c:pt>
              </c:numCache>
            </c:numRef>
          </c:xVal>
          <c:yVal>
            <c:numRef>
              <c:f>Sheet1!$B$187:$B$241</c:f>
              <c:numCache>
                <c:formatCode>General</c:formatCode>
                <c:ptCount val="55"/>
                <c:pt idx="0">
                  <c:v>0.136250846411151</c:v>
                </c:pt>
                <c:pt idx="1">
                  <c:v>0.1346913505682709</c:v>
                </c:pt>
                <c:pt idx="2">
                  <c:v>0.13797511245202868</c:v>
                </c:pt>
                <c:pt idx="3">
                  <c:v>0.14789942081341806</c:v>
                </c:pt>
                <c:pt idx="4">
                  <c:v>0.14134549745572395</c:v>
                </c:pt>
                <c:pt idx="5">
                  <c:v>0.14035108063994917</c:v>
                </c:pt>
                <c:pt idx="6">
                  <c:v>0.13986302107535473</c:v>
                </c:pt>
                <c:pt idx="7">
                  <c:v>0.14904526442069282</c:v>
                </c:pt>
                <c:pt idx="8">
                  <c:v>0.13917509231115388</c:v>
                </c:pt>
                <c:pt idx="9">
                  <c:v>0.1386427556791962</c:v>
                </c:pt>
                <c:pt idx="10">
                  <c:v>0.14261991493995907</c:v>
                </c:pt>
                <c:pt idx="11">
                  <c:v>0.13505510631935383</c:v>
                </c:pt>
                <c:pt idx="12">
                  <c:v>0.13674331329618575</c:v>
                </c:pt>
                <c:pt idx="13">
                  <c:v>0.14199504466036889</c:v>
                </c:pt>
                <c:pt idx="14">
                  <c:v>0.14262481927017104</c:v>
                </c:pt>
                <c:pt idx="15">
                  <c:v>0.1352489173502457</c:v>
                </c:pt>
                <c:pt idx="16">
                  <c:v>0.13757927393854447</c:v>
                </c:pt>
                <c:pt idx="17">
                  <c:v>0.14742726272074275</c:v>
                </c:pt>
                <c:pt idx="18">
                  <c:v>0.1387265263229357</c:v>
                </c:pt>
                <c:pt idx="19">
                  <c:v>0.11632311942983689</c:v>
                </c:pt>
                <c:pt idx="20">
                  <c:v>0.12152016078770525</c:v>
                </c:pt>
                <c:pt idx="21">
                  <c:v>0.1257626232639842</c:v>
                </c:pt>
                <c:pt idx="22">
                  <c:v>0.13049214373396095</c:v>
                </c:pt>
                <c:pt idx="23">
                  <c:v>0.13301404338621922</c:v>
                </c:pt>
                <c:pt idx="24">
                  <c:v>0.13195316178142397</c:v>
                </c:pt>
                <c:pt idx="25">
                  <c:v>0.13441291953886764</c:v>
                </c:pt>
                <c:pt idx="26">
                  <c:v>0.14114952339642406</c:v>
                </c:pt>
                <c:pt idx="27">
                  <c:v>0.14061756726313113</c:v>
                </c:pt>
                <c:pt idx="28">
                  <c:v>0.13542603766646472</c:v>
                </c:pt>
                <c:pt idx="29">
                  <c:v>0.13529482723106964</c:v>
                </c:pt>
                <c:pt idx="30">
                  <c:v>0.1338395197563858</c:v>
                </c:pt>
                <c:pt idx="31">
                  <c:v>0.13585274792894247</c:v>
                </c:pt>
                <c:pt idx="32">
                  <c:v>0.13661437619650785</c:v>
                </c:pt>
                <c:pt idx="33">
                  <c:v>0.14110939400624284</c:v>
                </c:pt>
                <c:pt idx="34">
                  <c:v>0.1382501695682733</c:v>
                </c:pt>
                <c:pt idx="35">
                  <c:v>0.13833718317758933</c:v>
                </c:pt>
                <c:pt idx="36">
                  <c:v>0.13062353253256914</c:v>
                </c:pt>
                <c:pt idx="37">
                  <c:v>0.13055892656170684</c:v>
                </c:pt>
                <c:pt idx="38">
                  <c:v>0.12894475514236375</c:v>
                </c:pt>
                <c:pt idx="39">
                  <c:v>0.12770151656468143</c:v>
                </c:pt>
                <c:pt idx="40">
                  <c:v>0.13092583702407362</c:v>
                </c:pt>
                <c:pt idx="41">
                  <c:v>0.12691658751410437</c:v>
                </c:pt>
                <c:pt idx="42">
                  <c:v>0.12570739958539714</c:v>
                </c:pt>
                <c:pt idx="43">
                  <c:v>0.12205015818285628</c:v>
                </c:pt>
                <c:pt idx="44">
                  <c:v>0.13091388878045443</c:v>
                </c:pt>
                <c:pt idx="45">
                  <c:v>0.13082225380734913</c:v>
                </c:pt>
                <c:pt idx="46">
                  <c:v>0.1356316233191595</c:v>
                </c:pt>
                <c:pt idx="47">
                  <c:v>0.13365497111129682</c:v>
                </c:pt>
                <c:pt idx="48">
                  <c:v>0.1357359360368872</c:v>
                </c:pt>
                <c:pt idx="49">
                  <c:v>0.13019661094647764</c:v>
                </c:pt>
                <c:pt idx="50">
                  <c:v>0.1312724494247456</c:v>
                </c:pt>
                <c:pt idx="51">
                  <c:v>0.12864227164525036</c:v>
                </c:pt>
                <c:pt idx="52">
                  <c:v>0.1458357167534982</c:v>
                </c:pt>
                <c:pt idx="53">
                  <c:v>0.1458357167534982</c:v>
                </c:pt>
                <c:pt idx="54">
                  <c:v>0.136929484805690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12735895662483"/>
          <c:min val="0.044764188649080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7539</c:v>
                </c:pt>
                <c:pt idx="1">
                  <c:v>828.8396</c:v>
                </c:pt>
                <c:pt idx="2">
                  <c:v>869.3324</c:v>
                </c:pt>
                <c:pt idx="3">
                  <c:v>885.401</c:v>
                </c:pt>
                <c:pt idx="4">
                  <c:v>892.747</c:v>
                </c:pt>
                <c:pt idx="5">
                  <c:v>885.108</c:v>
                </c:pt>
                <c:pt idx="6">
                  <c:v>836.5548</c:v>
                </c:pt>
                <c:pt idx="7">
                  <c:v>853.6785</c:v>
                </c:pt>
                <c:pt idx="8">
                  <c:v>842.2179</c:v>
                </c:pt>
                <c:pt idx="9">
                  <c:v>841.7841</c:v>
                </c:pt>
                <c:pt idx="10">
                  <c:v>824.4848</c:v>
                </c:pt>
                <c:pt idx="11">
                  <c:v>858.6243</c:v>
                </c:pt>
                <c:pt idx="12">
                  <c:v>860.8502</c:v>
                </c:pt>
                <c:pt idx="13">
                  <c:v>863.5701</c:v>
                </c:pt>
                <c:pt idx="14">
                  <c:v>882.9756</c:v>
                </c:pt>
                <c:pt idx="15">
                  <c:v>895.7175</c:v>
                </c:pt>
                <c:pt idx="16">
                  <c:v>905.0047</c:v>
                </c:pt>
                <c:pt idx="17">
                  <c:v>911.8774</c:v>
                </c:pt>
                <c:pt idx="18">
                  <c:v>933.5837</c:v>
                </c:pt>
                <c:pt idx="19">
                  <c:v>919.5199</c:v>
                </c:pt>
                <c:pt idx="20">
                  <c:v>966.4135</c:v>
                </c:pt>
                <c:pt idx="21">
                  <c:v>989.0829</c:v>
                </c:pt>
                <c:pt idx="22">
                  <c:v>963.0928</c:v>
                </c:pt>
                <c:pt idx="23">
                  <c:v>960.0724</c:v>
                </c:pt>
                <c:pt idx="24">
                  <c:v>983.2072</c:v>
                </c:pt>
                <c:pt idx="25">
                  <c:v>961.956</c:v>
                </c:pt>
                <c:pt idx="26">
                  <c:v>923.8397</c:v>
                </c:pt>
                <c:pt idx="27">
                  <c:v>985.1443</c:v>
                </c:pt>
                <c:pt idx="28">
                  <c:v>979.8817</c:v>
                </c:pt>
                <c:pt idx="29">
                  <c:v>939.3461</c:v>
                </c:pt>
                <c:pt idx="30">
                  <c:v>937.8045</c:v>
                </c:pt>
                <c:pt idx="31">
                  <c:v>948.9053</c:v>
                </c:pt>
                <c:pt idx="32">
                  <c:v>934.0929</c:v>
                </c:pt>
                <c:pt idx="33">
                  <c:v>921.5744</c:v>
                </c:pt>
                <c:pt idx="34">
                  <c:v>907.3662</c:v>
                </c:pt>
                <c:pt idx="35">
                  <c:v>956.7736</c:v>
                </c:pt>
                <c:pt idx="36">
                  <c:v>1050.5529</c:v>
                </c:pt>
                <c:pt idx="37">
                  <c:v>1084.4477</c:v>
                </c:pt>
                <c:pt idx="38">
                  <c:v>1103.4616</c:v>
                </c:pt>
                <c:pt idx="39">
                  <c:v>1107.8481</c:v>
                </c:pt>
                <c:pt idx="40">
                  <c:v>1098.209</c:v>
                </c:pt>
                <c:pt idx="41">
                  <c:v>1128.4887</c:v>
                </c:pt>
                <c:pt idx="42">
                  <c:v>1148.0115</c:v>
                </c:pt>
                <c:pt idx="43">
                  <c:v>1145.5319</c:v>
                </c:pt>
                <c:pt idx="44">
                  <c:v>1076.8946</c:v>
                </c:pt>
                <c:pt idx="45">
                  <c:v>1048.1001</c:v>
                </c:pt>
                <c:pt idx="46">
                  <c:v>1044.6441</c:v>
                </c:pt>
                <c:pt idx="47">
                  <c:v>1022.7829</c:v>
                </c:pt>
                <c:pt idx="48">
                  <c:v>1032.7565</c:v>
                </c:pt>
                <c:pt idx="49">
                  <c:v>1001.9434</c:v>
                </c:pt>
                <c:pt idx="50">
                  <c:v>982.2523</c:v>
                </c:pt>
                <c:pt idx="51">
                  <c:v>997.4098</c:v>
                </c:pt>
                <c:pt idx="52">
                  <c:v>1007.5379</c:v>
                </c:pt>
                <c:pt idx="53">
                  <c:v>1082.601</c:v>
                </c:pt>
                <c:pt idx="54">
                  <c:v>1064.324</c:v>
                </c:pt>
                <c:pt idx="55">
                  <c:v>1067.7812</c:v>
                </c:pt>
                <c:pt idx="56">
                  <c:v>1082.9161</c:v>
                </c:pt>
                <c:pt idx="57">
                  <c:v>1070.6735</c:v>
                </c:pt>
                <c:pt idx="58">
                  <c:v>1004.3016</c:v>
                </c:pt>
                <c:pt idx="59">
                  <c:v>1015.5789</c:v>
                </c:pt>
                <c:pt idx="60">
                  <c:v>1021.2842</c:v>
                </c:pt>
                <c:pt idx="61">
                  <c:v>1035.4041</c:v>
                </c:pt>
                <c:pt idx="62">
                  <c:v>975.1005</c:v>
                </c:pt>
                <c:pt idx="63">
                  <c:v>1009.3886</c:v>
                </c:pt>
                <c:pt idx="64">
                  <c:v>1011.597</c:v>
                </c:pt>
                <c:pt idx="65">
                  <c:v>995.1245</c:v>
                </c:pt>
                <c:pt idx="66">
                  <c:v>994.4448</c:v>
                </c:pt>
                <c:pt idx="67">
                  <c:v>1017.9462</c:v>
                </c:pt>
                <c:pt idx="68">
                  <c:v>1033.2976</c:v>
                </c:pt>
                <c:pt idx="69">
                  <c:v>1063.8925</c:v>
                </c:pt>
                <c:pt idx="70">
                  <c:v>1042.1753</c:v>
                </c:pt>
                <c:pt idx="71">
                  <c:v>1114.4023</c:v>
                </c:pt>
                <c:pt idx="72">
                  <c:v>1223.4159</c:v>
                </c:pt>
                <c:pt idx="73">
                  <c:v>1187.0104</c:v>
                </c:pt>
                <c:pt idx="74">
                  <c:v>1172.4856</c:v>
                </c:pt>
                <c:pt idx="75">
                  <c:v>1155.327</c:v>
                </c:pt>
                <c:pt idx="76">
                  <c:v>1116.0962</c:v>
                </c:pt>
                <c:pt idx="77">
                  <c:v>1111.6708</c:v>
                </c:pt>
                <c:pt idx="78">
                  <c:v>1141.3819</c:v>
                </c:pt>
                <c:pt idx="79">
                  <c:v>1168.4888</c:v>
                </c:pt>
                <c:pt idx="80">
                  <c:v>1162.0133</c:v>
                </c:pt>
                <c:pt idx="81">
                  <c:v>1163.5462</c:v>
                </c:pt>
                <c:pt idx="82">
                  <c:v>1145.8718</c:v>
                </c:pt>
                <c:pt idx="83">
                  <c:v>1111.0</c:v>
                </c:pt>
                <c:pt idx="84">
                  <c:v>1137.6477</c:v>
                </c:pt>
                <c:pt idx="85">
                  <c:v>1111.6797</c:v>
                </c:pt>
                <c:pt idx="86">
                  <c:v>1085.0735</c:v>
                </c:pt>
                <c:pt idx="87">
                  <c:v>1096.5489</c:v>
                </c:pt>
                <c:pt idx="88">
                  <c:v>1148.199</c:v>
                </c:pt>
                <c:pt idx="89">
                  <c:v>1134.3378</c:v>
                </c:pt>
                <c:pt idx="90">
                  <c:v>1224.3965</c:v>
                </c:pt>
                <c:pt idx="91">
                  <c:v>1229.6809</c:v>
                </c:pt>
                <c:pt idx="92">
                  <c:v>1172.8093</c:v>
                </c:pt>
                <c:pt idx="93">
                  <c:v>1214.5925</c:v>
                </c:pt>
                <c:pt idx="94">
                  <c:v>1230.6094</c:v>
                </c:pt>
                <c:pt idx="95">
                  <c:v>1174.0089</c:v>
                </c:pt>
                <c:pt idx="96">
                  <c:v>1080.8498</c:v>
                </c:pt>
                <c:pt idx="97">
                  <c:v>1088.5901</c:v>
                </c:pt>
                <c:pt idx="98">
                  <c:v>1087.9805</c:v>
                </c:pt>
                <c:pt idx="99">
                  <c:v>1058.8826</c:v>
                </c:pt>
                <c:pt idx="100">
                  <c:v>1080.8045</c:v>
                </c:pt>
                <c:pt idx="101">
                  <c:v>1092.7511</c:v>
                </c:pt>
                <c:pt idx="102">
                  <c:v>1093.983</c:v>
                </c:pt>
                <c:pt idx="103">
                  <c:v>1077.4993</c:v>
                </c:pt>
                <c:pt idx="104">
                  <c:v>1100.5164</c:v>
                </c:pt>
              </c:numCache>
            </c:numRef>
          </c:xVal>
          <c:yVal>
            <c:numRef>
              <c:f>Sheet1!$B$2:$B$106</c:f>
              <c:numCache>
                <c:formatCode>General</c:formatCode>
                <c:ptCount val="105"/>
                <c:pt idx="0">
                  <c:v>0.11734889793410644</c:v>
                </c:pt>
                <c:pt idx="1">
                  <c:v>0.10166200683442063</c:v>
                </c:pt>
                <c:pt idx="2">
                  <c:v>0.1039679247891608</c:v>
                </c:pt>
                <c:pt idx="3">
                  <c:v>0.1056060606060606</c:v>
                </c:pt>
                <c:pt idx="4">
                  <c:v>0.10190306552920221</c:v>
                </c:pt>
                <c:pt idx="5">
                  <c:v>0.11498708010335917</c:v>
                </c:pt>
                <c:pt idx="6">
                  <c:v>0.13601552129071787</c:v>
                </c:pt>
                <c:pt idx="7">
                  <c:v>0.14155360787609558</c:v>
                </c:pt>
                <c:pt idx="8">
                  <c:v>0.14000782166601486</c:v>
                </c:pt>
                <c:pt idx="9">
                  <c:v>0.11914385449200808</c:v>
                </c:pt>
                <c:pt idx="10">
                  <c:v>0.13145029875067898</c:v>
                </c:pt>
                <c:pt idx="11">
                  <c:v>0.12369515011547344</c:v>
                </c:pt>
                <c:pt idx="12">
                  <c:v>0.11059203261700501</c:v>
                </c:pt>
                <c:pt idx="13">
                  <c:v>0.10240811153358682</c:v>
                </c:pt>
                <c:pt idx="14">
                  <c:v>0.08423219431864964</c:v>
                </c:pt>
                <c:pt idx="15">
                  <c:v>0.07318062031218325</c:v>
                </c:pt>
                <c:pt idx="16">
                  <c:v>0.0757201646090535</c:v>
                </c:pt>
                <c:pt idx="17">
                  <c:v>0.06993263931414574</c:v>
                </c:pt>
                <c:pt idx="18">
                  <c:v>0.06133709739509816</c:v>
                </c:pt>
                <c:pt idx="19">
                  <c:v>0.058422439175577254</c:v>
                </c:pt>
                <c:pt idx="20">
                  <c:v>0.056515113030226063</c:v>
                </c:pt>
                <c:pt idx="21">
                  <c:v>0.055955235811350916</c:v>
                </c:pt>
                <c:pt idx="22">
                  <c:v>0.06505660377358491</c:v>
                </c:pt>
                <c:pt idx="23">
                  <c:v>0.07182233422586234</c:v>
                </c:pt>
                <c:pt idx="24">
                  <c:v>0.07223837209302325</c:v>
                </c:pt>
                <c:pt idx="25">
                  <c:v>0.08145491803278689</c:v>
                </c:pt>
                <c:pt idx="26">
                  <c:v>0.102803738317757</c:v>
                </c:pt>
                <c:pt idx="27">
                  <c:v>0.10003279763857002</c:v>
                </c:pt>
                <c:pt idx="28">
                  <c:v>0.1298932384341637</c:v>
                </c:pt>
                <c:pt idx="29">
                  <c:v>0.12411100264956074</c:v>
                </c:pt>
                <c:pt idx="30">
                  <c:v>0.11757009345794392</c:v>
                </c:pt>
                <c:pt idx="31">
                  <c:v>0.13167134831460675</c:v>
                </c:pt>
                <c:pt idx="32">
                  <c:v>0.13605777121286722</c:v>
                </c:pt>
                <c:pt idx="33">
                  <c:v>0.12606303151575787</c:v>
                </c:pt>
                <c:pt idx="34">
                  <c:v>0.12991894749207095</c:v>
                </c:pt>
                <c:pt idx="35">
                  <c:v>0.13161290322580646</c:v>
                </c:pt>
                <c:pt idx="36">
                  <c:v>0.11778105319576578</c:v>
                </c:pt>
                <c:pt idx="37">
                  <c:v>0.11346998535871157</c:v>
                </c:pt>
                <c:pt idx="38">
                  <c:v>0.11051015933343078</c:v>
                </c:pt>
                <c:pt idx="39">
                  <c:v>0.10288315629742033</c:v>
                </c:pt>
                <c:pt idx="40">
                  <c:v>0.10384805130735077</c:v>
                </c:pt>
                <c:pt idx="41">
                  <c:v>0.10565535595475715</c:v>
                </c:pt>
                <c:pt idx="42">
                  <c:v>0.10028818443804034</c:v>
                </c:pt>
                <c:pt idx="43">
                  <c:v>0.09358895073180787</c:v>
                </c:pt>
                <c:pt idx="44">
                  <c:v>0.10246586792978546</c:v>
                </c:pt>
                <c:pt idx="45">
                  <c:v>0.12215647600262985</c:v>
                </c:pt>
                <c:pt idx="46">
                  <c:v>0.1265981448984708</c:v>
                </c:pt>
                <c:pt idx="47">
                  <c:v>0.12149122807017544</c:v>
                </c:pt>
                <c:pt idx="48">
                  <c:v>0.11892867055231751</c:v>
                </c:pt>
                <c:pt idx="49">
                  <c:v>0.12166011121660111</c:v>
                </c:pt>
                <c:pt idx="50">
                  <c:v>0.11970546510842396</c:v>
                </c:pt>
                <c:pt idx="51">
                  <c:v>0.11117450484962099</c:v>
                </c:pt>
                <c:pt idx="52">
                  <c:v>0.11139327385037749</c:v>
                </c:pt>
                <c:pt idx="53">
                  <c:v>0.10292914416625756</c:v>
                </c:pt>
                <c:pt idx="54">
                  <c:v>0.10382272446367087</c:v>
                </c:pt>
                <c:pt idx="55">
                  <c:v>0.10075908187240196</c:v>
                </c:pt>
                <c:pt idx="56">
                  <c:v>0.10233208955223881</c:v>
                </c:pt>
                <c:pt idx="57">
                  <c:v>0.0992521034590215</c:v>
                </c:pt>
                <c:pt idx="58">
                  <c:v>0.11625452352231605</c:v>
                </c:pt>
                <c:pt idx="59">
                  <c:v>0.10804609168454132</c:v>
                </c:pt>
                <c:pt idx="60">
                  <c:v>0.1112329083251601</c:v>
                </c:pt>
                <c:pt idx="61">
                  <c:v>0.119412619009198</c:v>
                </c:pt>
                <c:pt idx="62">
                  <c:v>0.1321979532610356</c:v>
                </c:pt>
                <c:pt idx="63">
                  <c:v>0.1341941099666328</c:v>
                </c:pt>
                <c:pt idx="64">
                  <c:v>0.12976639035418236</c:v>
                </c:pt>
                <c:pt idx="65">
                  <c:v>0.1307698419003734</c:v>
                </c:pt>
                <c:pt idx="66">
                  <c:v>0.13110329598429704</c:v>
                </c:pt>
                <c:pt idx="67">
                  <c:v>0.12329829398586938</c:v>
                </c:pt>
                <c:pt idx="68">
                  <c:v>0.11237185229421717</c:v>
                </c:pt>
                <c:pt idx="69">
                  <c:v>0.1058421851289833</c:v>
                </c:pt>
                <c:pt idx="70">
                  <c:v>0.10486358244365362</c:v>
                </c:pt>
                <c:pt idx="71">
                  <c:v>0.10387919812548815</c:v>
                </c:pt>
                <c:pt idx="72">
                  <c:v>0.09749784296807593</c:v>
                </c:pt>
                <c:pt idx="73">
                  <c:v>0.10155222309918442</c:v>
                </c:pt>
                <c:pt idx="74">
                  <c:v>0.10538470888537742</c:v>
                </c:pt>
                <c:pt idx="75">
                  <c:v>0.11568684516880093</c:v>
                </c:pt>
                <c:pt idx="76">
                  <c:v>0.12291893573984752</c:v>
                </c:pt>
                <c:pt idx="77">
                  <c:v>0.11483253588516747</c:v>
                </c:pt>
                <c:pt idx="78">
                  <c:v>0.12341446691806651</c:v>
                </c:pt>
                <c:pt idx="79">
                  <c:v>0.11061192873741287</c:v>
                </c:pt>
                <c:pt idx="80">
                  <c:v>0.10577374432796119</c:v>
                </c:pt>
                <c:pt idx="81">
                  <c:v>0.1067401332649923</c:v>
                </c:pt>
                <c:pt idx="82">
                  <c:v>0.11244911804613297</c:v>
                </c:pt>
                <c:pt idx="83">
                  <c:v>0.1130820399113082</c:v>
                </c:pt>
                <c:pt idx="84">
                  <c:v>0.1130188679245283</c:v>
                </c:pt>
                <c:pt idx="85">
                  <c:v>0.11717469682071452</c:v>
                </c:pt>
                <c:pt idx="86">
                  <c:v>0.1330030487804878</c:v>
                </c:pt>
                <c:pt idx="87">
                  <c:v>0.13442830069488312</c:v>
                </c:pt>
                <c:pt idx="88">
                  <c:v>0.12185138539042821</c:v>
                </c:pt>
                <c:pt idx="89">
                  <c:v>0.13582512931753712</c:v>
                </c:pt>
                <c:pt idx="90">
                  <c:v>0.1157179269328802</c:v>
                </c:pt>
                <c:pt idx="91">
                  <c:v>0.11096541550565481</c:v>
                </c:pt>
                <c:pt idx="92">
                  <c:v>0.11903802230283488</c:v>
                </c:pt>
                <c:pt idx="93">
                  <c:v>0.11912928759894459</c:v>
                </c:pt>
                <c:pt idx="94">
                  <c:v>0.12270590019717882</c:v>
                </c:pt>
                <c:pt idx="95">
                  <c:v>0.12288600922468702</c:v>
                </c:pt>
                <c:pt idx="96">
                  <c:v>0.12080193166020341</c:v>
                </c:pt>
                <c:pt idx="97">
                  <c:v>0.12121008403361344</c:v>
                </c:pt>
                <c:pt idx="98">
                  <c:v>0.11641409742785809</c:v>
                </c:pt>
                <c:pt idx="99">
                  <c:v>0.11687161829808165</c:v>
                </c:pt>
                <c:pt idx="100">
                  <c:v>0.11851740583574298</c:v>
                </c:pt>
                <c:pt idx="101">
                  <c:v>0.11689568414940972</c:v>
                </c:pt>
                <c:pt idx="102">
                  <c:v>0.118042226487524</c:v>
                </c:pt>
                <c:pt idx="103">
                  <c:v>0.11503018748013981</c:v>
                </c:pt>
                <c:pt idx="104">
                  <c:v>0.113671128107074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6.6332</c:v>
                </c:pt>
                <c:pt idx="1">
                  <c:v>1152.9758</c:v>
                </c:pt>
                <c:pt idx="2">
                  <c:v>1151.7577</c:v>
                </c:pt>
                <c:pt idx="3">
                  <c:v>1075.1064</c:v>
                </c:pt>
                <c:pt idx="4">
                  <c:v>1129.3945</c:v>
                </c:pt>
                <c:pt idx="5">
                  <c:v>1162.9372</c:v>
                </c:pt>
                <c:pt idx="6">
                  <c:v>1083.5916</c:v>
                </c:pt>
                <c:pt idx="7">
                  <c:v>1078.2395</c:v>
                </c:pt>
                <c:pt idx="8">
                  <c:v>1156.089</c:v>
                </c:pt>
                <c:pt idx="9">
                  <c:v>1121.1959</c:v>
                </c:pt>
                <c:pt idx="10">
                  <c:v>1119.8253</c:v>
                </c:pt>
                <c:pt idx="11">
                  <c:v>1006.5589</c:v>
                </c:pt>
                <c:pt idx="12">
                  <c:v>1035.2997</c:v>
                </c:pt>
                <c:pt idx="13">
                  <c:v>1091.0835</c:v>
                </c:pt>
                <c:pt idx="14">
                  <c:v>1086.908</c:v>
                </c:pt>
                <c:pt idx="15">
                  <c:v>1106.0254</c:v>
                </c:pt>
                <c:pt idx="16">
                  <c:v>1140.5584</c:v>
                </c:pt>
                <c:pt idx="17">
                  <c:v>1021.0866</c:v>
                </c:pt>
                <c:pt idx="18">
                  <c:v>1122.5766</c:v>
                </c:pt>
                <c:pt idx="19">
                  <c:v>1285.011</c:v>
                </c:pt>
                <c:pt idx="20">
                  <c:v>1289.0626</c:v>
                </c:pt>
                <c:pt idx="21">
                  <c:v>1233.1317</c:v>
                </c:pt>
                <c:pt idx="22">
                  <c:v>1221.019</c:v>
                </c:pt>
                <c:pt idx="23">
                  <c:v>1206.2052</c:v>
                </c:pt>
                <c:pt idx="24">
                  <c:v>1216.9285</c:v>
                </c:pt>
                <c:pt idx="25">
                  <c:v>1165.8244</c:v>
                </c:pt>
                <c:pt idx="26">
                  <c:v>1148.3012</c:v>
                </c:pt>
                <c:pt idx="27">
                  <c:v>1159.75</c:v>
                </c:pt>
                <c:pt idx="28">
                  <c:v>1191.2803</c:v>
                </c:pt>
                <c:pt idx="29">
                  <c:v>1189.8242</c:v>
                </c:pt>
                <c:pt idx="30">
                  <c:v>1199.6053</c:v>
                </c:pt>
                <c:pt idx="31">
                  <c:v>1208.1776</c:v>
                </c:pt>
                <c:pt idx="32">
                  <c:v>1214.163</c:v>
                </c:pt>
                <c:pt idx="33">
                  <c:v>1192.8757</c:v>
                </c:pt>
                <c:pt idx="34">
                  <c:v>1198.515</c:v>
                </c:pt>
                <c:pt idx="35">
                  <c:v>1249.6613</c:v>
                </c:pt>
                <c:pt idx="36">
                  <c:v>1299.9207</c:v>
                </c:pt>
                <c:pt idx="37">
                  <c:v>1285.8978</c:v>
                </c:pt>
                <c:pt idx="38">
                  <c:v>1297.7612</c:v>
                </c:pt>
                <c:pt idx="39">
                  <c:v>1244.6823</c:v>
                </c:pt>
                <c:pt idx="40">
                  <c:v>1270.1661</c:v>
                </c:pt>
                <c:pt idx="41">
                  <c:v>1307.9084</c:v>
                </c:pt>
                <c:pt idx="42">
                  <c:v>1300.3142</c:v>
                </c:pt>
                <c:pt idx="43">
                  <c:v>1314.0067</c:v>
                </c:pt>
                <c:pt idx="44">
                  <c:v>1228.222</c:v>
                </c:pt>
                <c:pt idx="45">
                  <c:v>1181.2766</c:v>
                </c:pt>
                <c:pt idx="46">
                  <c:v>1160.1306</c:v>
                </c:pt>
                <c:pt idx="47">
                  <c:v>1140.0726</c:v>
                </c:pt>
                <c:pt idx="48">
                  <c:v>1145.941</c:v>
                </c:pt>
                <c:pt idx="49">
                  <c:v>1164.7342</c:v>
                </c:pt>
                <c:pt idx="50">
                  <c:v>1136.3858</c:v>
                </c:pt>
                <c:pt idx="51">
                  <c:v>1115.1226</c:v>
                </c:pt>
              </c:numCache>
            </c:numRef>
          </c:xVal>
          <c:yVal>
            <c:numRef>
              <c:f>Sheet1!$B$109:$B$160</c:f>
              <c:numCache>
                <c:formatCode>General</c:formatCode>
                <c:ptCount val="52"/>
                <c:pt idx="0">
                  <c:v>0.11391145746973967</c:v>
                </c:pt>
                <c:pt idx="1">
                  <c:v>0.1111207494795281</c:v>
                </c:pt>
                <c:pt idx="2">
                  <c:v>0.13236201048411964</c:v>
                </c:pt>
                <c:pt idx="3">
                  <c:v>0.14968</c:v>
                </c:pt>
                <c:pt idx="4">
                  <c:v>0.1268020708880924</c:v>
                </c:pt>
                <c:pt idx="5">
                  <c:v>0.13140425531914893</c:v>
                </c:pt>
                <c:pt idx="6">
                  <c:v>0.14794738363688928</c:v>
                </c:pt>
                <c:pt idx="7">
                  <c:v>0.1592727991305207</c:v>
                </c:pt>
                <c:pt idx="8">
                  <c:v>0.13632276916160935</c:v>
                </c:pt>
                <c:pt idx="9">
                  <c:v>0.14220135628586333</c:v>
                </c:pt>
                <c:pt idx="10">
                  <c:v>0.15210751374465487</c:v>
                </c:pt>
                <c:pt idx="11">
                  <c:v>0.14413818449099597</c:v>
                </c:pt>
                <c:pt idx="12">
                  <c:v>0.14162939577304218</c:v>
                </c:pt>
                <c:pt idx="13">
                  <c:v>0.135122838944495</c:v>
                </c:pt>
                <c:pt idx="14">
                  <c:v>0.1409895414320193</c:v>
                </c:pt>
                <c:pt idx="15">
                  <c:v>0.13908488347231132</c:v>
                </c:pt>
                <c:pt idx="16">
                  <c:v>0.1376365691322366</c:v>
                </c:pt>
                <c:pt idx="17">
                  <c:v>0.15625</c:v>
                </c:pt>
                <c:pt idx="18">
                  <c:v>0.13952068386505878</c:v>
                </c:pt>
                <c:pt idx="19">
                  <c:v>0.12077864621737207</c:v>
                </c:pt>
                <c:pt idx="20">
                  <c:v>0.11104090980887696</c:v>
                </c:pt>
                <c:pt idx="21">
                  <c:v>0.11773940345368916</c:v>
                </c:pt>
                <c:pt idx="22">
                  <c:v>0.12151509325129782</c:v>
                </c:pt>
                <c:pt idx="23">
                  <c:v>0.12369057211925866</c:v>
                </c:pt>
                <c:pt idx="24">
                  <c:v>0.12484053216694004</c:v>
                </c:pt>
                <c:pt idx="25">
                  <c:v>0.1319458079717259</c:v>
                </c:pt>
                <c:pt idx="26">
                  <c:v>0.1265007830172264</c:v>
                </c:pt>
                <c:pt idx="27">
                  <c:v>0.13001426985888695</c:v>
                </c:pt>
                <c:pt idx="28">
                  <c:v>0.12080250426863973</c:v>
                </c:pt>
                <c:pt idx="29">
                  <c:v>0.12397820163487738</c:v>
                </c:pt>
                <c:pt idx="30">
                  <c:v>0.12637557685481007</c:v>
                </c:pt>
                <c:pt idx="31">
                  <c:v>0.12935417058934287</c:v>
                </c:pt>
                <c:pt idx="32">
                  <c:v>0.125</c:v>
                </c:pt>
                <c:pt idx="33">
                  <c:v>0.1454401478157582</c:v>
                </c:pt>
                <c:pt idx="34">
                  <c:v>0.15583970772919284</c:v>
                </c:pt>
                <c:pt idx="35">
                  <c:v>0.14909659980082515</c:v>
                </c:pt>
                <c:pt idx="36">
                  <c:v>0.1425282544997907</c:v>
                </c:pt>
                <c:pt idx="37">
                  <c:v>0.13704256908140403</c:v>
                </c:pt>
                <c:pt idx="38">
                  <c:v>0.1324163416136317</c:v>
                </c:pt>
                <c:pt idx="39">
                  <c:v>0.13436055469953775</c:v>
                </c:pt>
                <c:pt idx="40">
                  <c:v>0.12755408653846154</c:v>
                </c:pt>
                <c:pt idx="41">
                  <c:v>0.1338369441277081</c:v>
                </c:pt>
                <c:pt idx="42">
                  <c:v>0.12916733773554517</c:v>
                </c:pt>
                <c:pt idx="43">
                  <c:v>0.11784016300656554</c:v>
                </c:pt>
                <c:pt idx="44">
                  <c:v>0.11685586187160164</c:v>
                </c:pt>
                <c:pt idx="45">
                  <c:v>0.1310514509009335</c:v>
                </c:pt>
                <c:pt idx="46">
                  <c:v>0.15558820987120753</c:v>
                </c:pt>
                <c:pt idx="47">
                  <c:v>0.15048582670842367</c:v>
                </c:pt>
                <c:pt idx="48">
                  <c:v>0.14984355869949667</c:v>
                </c:pt>
                <c:pt idx="49">
                  <c:v>0.15304133090720043</c:v>
                </c:pt>
                <c:pt idx="50">
                  <c:v>0.14304928844151335</c:v>
                </c:pt>
                <c:pt idx="51">
                  <c:v>0.137408688965782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5.6586215310317</c:v>
                </c:pt>
              </c:numCache>
            </c:numRef>
          </c:xVal>
          <c:yVal>
            <c:numRef>
              <c:f>Sheet1!$B$163:$B$164</c:f>
              <c:numCache>
                <c:formatCode>General</c:formatCode>
                <c:ptCount val="2"/>
                <c:pt idx="0">
                  <c:v>0.1458357167534982</c:v>
                </c:pt>
                <c:pt idx="1">
                  <c:v>0.14583571675349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5.6586215310317</c:v>
                </c:pt>
                <c:pt idx="1">
                  <c:v>1035.6586215310317</c:v>
                </c:pt>
              </c:numCache>
            </c:numRef>
          </c:xVal>
          <c:yVal>
            <c:numRef>
              <c:f>Sheet1!$B$167:$B$168</c:f>
              <c:numCache>
                <c:formatCode>General</c:formatCode>
                <c:ptCount val="2"/>
                <c:pt idx="0">
                  <c:v>0.14583571675349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5.6586215310317</c:v>
                </c:pt>
              </c:numCache>
            </c:numRef>
          </c:xVal>
          <c:yVal>
            <c:numRef>
              <c:f>Sheet1!$B$171:$B$172</c:f>
              <c:numCache>
                <c:formatCode>General</c:formatCode>
                <c:ptCount val="2"/>
                <c:pt idx="0">
                  <c:v>0.1458357167534982</c:v>
                </c:pt>
                <c:pt idx="1">
                  <c:v>0.14583571675349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5.6586215310317</c:v>
                </c:pt>
                <c:pt idx="1">
                  <c:v>1035.6586215310317</c:v>
                </c:pt>
              </c:numCache>
            </c:numRef>
          </c:xVal>
          <c:yVal>
            <c:numRef>
              <c:f>Sheet1!$B$175:$B$176</c:f>
              <c:numCache>
                <c:formatCode>General</c:formatCode>
                <c:ptCount val="2"/>
                <c:pt idx="0">
                  <c:v>0.14583571675349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9.5080155533285</c:v>
                </c:pt>
              </c:numCache>
            </c:numRef>
          </c:xVal>
          <c:yVal>
            <c:numRef>
              <c:f>Sheet1!$B$179:$B$180</c:f>
              <c:numCache>
                <c:formatCode>General</c:formatCode>
                <c:ptCount val="2"/>
                <c:pt idx="0">
                  <c:v>0.13692948480569056</c:v>
                </c:pt>
                <c:pt idx="1">
                  <c:v>0.136929484805690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9.5080155533285</c:v>
                </c:pt>
                <c:pt idx="1">
                  <c:v>1149.5080155533285</c:v>
                </c:pt>
              </c:numCache>
            </c:numRef>
          </c:xVal>
          <c:yVal>
            <c:numRef>
              <c:f>Sheet1!$B$183:$B$184</c:f>
              <c:numCache>
                <c:formatCode>General</c:formatCode>
                <c:ptCount val="2"/>
                <c:pt idx="0">
                  <c:v>0.136929484805690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6.6332</c:v>
                </c:pt>
                <c:pt idx="1">
                  <c:v>1152.9758</c:v>
                </c:pt>
                <c:pt idx="2">
                  <c:v>1151.7577</c:v>
                </c:pt>
                <c:pt idx="3">
                  <c:v>1075.1064</c:v>
                </c:pt>
                <c:pt idx="4">
                  <c:v>1129.3945</c:v>
                </c:pt>
                <c:pt idx="5">
                  <c:v>1162.9372</c:v>
                </c:pt>
                <c:pt idx="6">
                  <c:v>1083.5916</c:v>
                </c:pt>
                <c:pt idx="7">
                  <c:v>1078.2395</c:v>
                </c:pt>
                <c:pt idx="8">
                  <c:v>1156.089</c:v>
                </c:pt>
                <c:pt idx="9">
                  <c:v>1121.1959</c:v>
                </c:pt>
                <c:pt idx="10">
                  <c:v>1119.8253</c:v>
                </c:pt>
                <c:pt idx="11">
                  <c:v>1006.5589</c:v>
                </c:pt>
                <c:pt idx="12">
                  <c:v>1035.2997</c:v>
                </c:pt>
                <c:pt idx="13">
                  <c:v>1091.0835</c:v>
                </c:pt>
                <c:pt idx="14">
                  <c:v>1086.908</c:v>
                </c:pt>
                <c:pt idx="15">
                  <c:v>1106.0254</c:v>
                </c:pt>
                <c:pt idx="16">
                  <c:v>1140.5584</c:v>
                </c:pt>
                <c:pt idx="17">
                  <c:v>1021.0866</c:v>
                </c:pt>
                <c:pt idx="18">
                  <c:v>1122.5766</c:v>
                </c:pt>
                <c:pt idx="19">
                  <c:v>1285.011</c:v>
                </c:pt>
                <c:pt idx="20">
                  <c:v>1289.0626</c:v>
                </c:pt>
                <c:pt idx="21">
                  <c:v>1233.1317</c:v>
                </c:pt>
                <c:pt idx="22">
                  <c:v>1221.019</c:v>
                </c:pt>
                <c:pt idx="23">
                  <c:v>1206.2052</c:v>
                </c:pt>
                <c:pt idx="24">
                  <c:v>1216.9285</c:v>
                </c:pt>
                <c:pt idx="25">
                  <c:v>1165.8244</c:v>
                </c:pt>
                <c:pt idx="26">
                  <c:v>1148.3012</c:v>
                </c:pt>
                <c:pt idx="27">
                  <c:v>1159.75</c:v>
                </c:pt>
                <c:pt idx="28">
                  <c:v>1191.2803</c:v>
                </c:pt>
                <c:pt idx="29">
                  <c:v>1189.8242</c:v>
                </c:pt>
                <c:pt idx="30">
                  <c:v>1199.6053</c:v>
                </c:pt>
                <c:pt idx="31">
                  <c:v>1208.1776</c:v>
                </c:pt>
                <c:pt idx="32">
                  <c:v>1214.163</c:v>
                </c:pt>
                <c:pt idx="33">
                  <c:v>1192.8757</c:v>
                </c:pt>
                <c:pt idx="34">
                  <c:v>1198.515</c:v>
                </c:pt>
                <c:pt idx="35">
                  <c:v>1249.6613</c:v>
                </c:pt>
                <c:pt idx="36">
                  <c:v>1299.9207</c:v>
                </c:pt>
                <c:pt idx="37">
                  <c:v>1285.8978</c:v>
                </c:pt>
                <c:pt idx="38">
                  <c:v>1297.7612</c:v>
                </c:pt>
                <c:pt idx="39">
                  <c:v>1244.6823</c:v>
                </c:pt>
                <c:pt idx="40">
                  <c:v>1270.1661</c:v>
                </c:pt>
                <c:pt idx="41">
                  <c:v>1307.9084</c:v>
                </c:pt>
                <c:pt idx="42">
                  <c:v>1300.3142</c:v>
                </c:pt>
                <c:pt idx="43">
                  <c:v>1314.0067</c:v>
                </c:pt>
                <c:pt idx="44">
                  <c:v>1228.222</c:v>
                </c:pt>
                <c:pt idx="45">
                  <c:v>1181.2766</c:v>
                </c:pt>
                <c:pt idx="46">
                  <c:v>1160.1306</c:v>
                </c:pt>
                <c:pt idx="47">
                  <c:v>1140.0726</c:v>
                </c:pt>
                <c:pt idx="48">
                  <c:v>1145.941</c:v>
                </c:pt>
                <c:pt idx="49">
                  <c:v>1164.7342</c:v>
                </c:pt>
                <c:pt idx="50">
                  <c:v>1136.3858</c:v>
                </c:pt>
                <c:pt idx="51">
                  <c:v>1115.1226</c:v>
                </c:pt>
                <c:pt idx="52">
                  <c:v>1035.6586215310317</c:v>
                </c:pt>
                <c:pt idx="53">
                  <c:v>1035.6586215310317</c:v>
                </c:pt>
                <c:pt idx="54">
                  <c:v>1149.5080155533285</c:v>
                </c:pt>
              </c:numCache>
            </c:numRef>
          </c:xVal>
          <c:yVal>
            <c:numRef>
              <c:f>Sheet1!$B$187:$B$241</c:f>
              <c:numCache>
                <c:formatCode>General</c:formatCode>
                <c:ptCount val="55"/>
                <c:pt idx="0">
                  <c:v>0.13793665831406013</c:v>
                </c:pt>
                <c:pt idx="1">
                  <c:v>0.13665820630752828</c:v>
                </c:pt>
                <c:pt idx="2">
                  <c:v>0.13675349606492038</c:v>
                </c:pt>
                <c:pt idx="3">
                  <c:v>0.14274978847177583</c:v>
                </c:pt>
                <c:pt idx="4">
                  <c:v>0.13850292870798042</c:v>
                </c:pt>
                <c:pt idx="5">
                  <c:v>0.1358789440225879</c:v>
                </c:pt>
                <c:pt idx="6">
                  <c:v>0.14208600663988713</c:v>
                </c:pt>
                <c:pt idx="7">
                  <c:v>0.14250469173186509</c:v>
                </c:pt>
                <c:pt idx="8">
                  <c:v>0.13641466630858473</c:v>
                </c:pt>
                <c:pt idx="9">
                  <c:v>0.13914429034081438</c:v>
                </c:pt>
                <c:pt idx="10">
                  <c:v>0.1392515098970755</c:v>
                </c:pt>
                <c:pt idx="11">
                  <c:v>0.14811213527814335</c:v>
                </c:pt>
                <c:pt idx="12">
                  <c:v>0.1458637945349733</c:v>
                </c:pt>
                <c:pt idx="13">
                  <c:v>0.14149992886843482</c:v>
                </c:pt>
                <c:pt idx="14">
                  <c:v>0.14182657067287685</c:v>
                </c:pt>
                <c:pt idx="15">
                  <c:v>0.14033105108666216</c:v>
                </c:pt>
                <c:pt idx="16">
                  <c:v>0.13762959702540112</c:v>
                </c:pt>
                <c:pt idx="17">
                  <c:v>0.14697565961238068</c:v>
                </c:pt>
                <c:pt idx="18">
                  <c:v>0.1390362806798413</c:v>
                </c:pt>
                <c:pt idx="19">
                  <c:v>0.12632933168703736</c:v>
                </c:pt>
                <c:pt idx="20">
                  <c:v>0.12601238235525022</c:v>
                </c:pt>
                <c:pt idx="21">
                  <c:v>0.13038775538843544</c:v>
                </c:pt>
                <c:pt idx="22">
                  <c:v>0.1313353099770271</c:v>
                </c:pt>
                <c:pt idx="23">
                  <c:v>0.13249416672774983</c:v>
                </c:pt>
                <c:pt idx="24">
                  <c:v>0.1316553023853782</c:v>
                </c:pt>
                <c:pt idx="25">
                  <c:v>0.13565308359442724</c:v>
                </c:pt>
                <c:pt idx="26">
                  <c:v>0.13702389180125224</c:v>
                </c:pt>
                <c:pt idx="27">
                  <c:v>0.13612827290754</c:v>
                </c:pt>
                <c:pt idx="28">
                  <c:v>0.13366171463030435</c:v>
                </c:pt>
                <c:pt idx="29">
                  <c:v>0.13377562269675103</c:v>
                </c:pt>
                <c:pt idx="30">
                  <c:v>0.1330104649543423</c:v>
                </c:pt>
                <c:pt idx="31">
                  <c:v>0.13233986944716516</c:v>
                </c:pt>
                <c:pt idx="32">
                  <c:v>0.1318716424429005</c:v>
                </c:pt>
                <c:pt idx="33">
                  <c:v>0.13353690937708756</c:v>
                </c:pt>
                <c:pt idx="34">
                  <c:v>0.13309575714914126</c:v>
                </c:pt>
                <c:pt idx="35">
                  <c:v>0.12909467471050357</c:v>
                </c:pt>
                <c:pt idx="36">
                  <c:v>0.1251629728529603</c:v>
                </c:pt>
                <c:pt idx="37">
                  <c:v>0.1262599589287619</c:v>
                </c:pt>
                <c:pt idx="38">
                  <c:v>0.1253319066277639</c:v>
                </c:pt>
                <c:pt idx="39">
                  <c:v>0.12948417286505196</c:v>
                </c:pt>
                <c:pt idx="40">
                  <c:v>0.1274906213344475</c:v>
                </c:pt>
                <c:pt idx="41">
                  <c:v>0.1245381095452507</c:v>
                </c:pt>
                <c:pt idx="42">
                  <c:v>0.12513219006046886</c:v>
                </c:pt>
                <c:pt idx="43">
                  <c:v>0.12406105057841353</c:v>
                </c:pt>
                <c:pt idx="44">
                  <c:v>0.130771832329465</c:v>
                </c:pt>
                <c:pt idx="45">
                  <c:v>0.13444428596765234</c:v>
                </c:pt>
                <c:pt idx="46">
                  <c:v>0.1360984992586906</c:v>
                </c:pt>
                <c:pt idx="47">
                  <c:v>0.13766760027976538</c:v>
                </c:pt>
                <c:pt idx="48">
                  <c:v>0.13720852597364935</c:v>
                </c:pt>
                <c:pt idx="49">
                  <c:v>0.13573836796640726</c:v>
                </c:pt>
                <c:pt idx="50">
                  <c:v>0.13795601196809412</c:v>
                </c:pt>
                <c:pt idx="51">
                  <c:v>0.13961939360291895</c:v>
                </c:pt>
                <c:pt idx="52">
                  <c:v>0.1458357167534982</c:v>
                </c:pt>
                <c:pt idx="53">
                  <c:v>0.1458357167534982</c:v>
                </c:pt>
                <c:pt idx="54">
                  <c:v>0.136929484805690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7.0"/>
          <c:min val="59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12735895662483"/>
          <c:min val="0.044764188649080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57249818354869</c:v>
                </c:pt>
                <c:pt idx="1">
                  <c:v>2.3422333970725386</c:v>
                </c:pt>
                <c:pt idx="2">
                  <c:v>2.5164567167885474</c:v>
                </c:pt>
                <c:pt idx="3">
                  <c:v>2.577050540960582</c:v>
                </c:pt>
                <c:pt idx="4">
                  <c:v>2.609650545182211</c:v>
                </c:pt>
                <c:pt idx="5">
                  <c:v>2.0684250442034955</c:v>
                </c:pt>
                <c:pt idx="6">
                  <c:v>1.7757714392662396</c:v>
                </c:pt>
                <c:pt idx="7">
                  <c:v>1.8286449284515296</c:v>
                </c:pt>
                <c:pt idx="8">
                  <c:v>1.8976315123798428</c:v>
                </c:pt>
                <c:pt idx="9">
                  <c:v>2.016138291621682</c:v>
                </c:pt>
                <c:pt idx="10">
                  <c:v>1.852301670399924</c:v>
                </c:pt>
                <c:pt idx="11">
                  <c:v>1.897268580704649</c:v>
                </c:pt>
                <c:pt idx="12">
                  <c:v>1.896715919649391</c:v>
                </c:pt>
                <c:pt idx="13">
                  <c:v>1.8813801347913266</c:v>
                </c:pt>
                <c:pt idx="14">
                  <c:v>1.8896533602939216</c:v>
                </c:pt>
                <c:pt idx="15">
                  <c:v>1.9250266047132707</c:v>
                </c:pt>
                <c:pt idx="16">
                  <c:v>1.9057609494691725</c:v>
                </c:pt>
                <c:pt idx="17">
                  <c:v>2.2595291780518245</c:v>
                </c:pt>
                <c:pt idx="18">
                  <c:v>2.6941446359149857</c:v>
                </c:pt>
                <c:pt idx="19">
                  <c:v>2.5869204523193505</c:v>
                </c:pt>
                <c:pt idx="20">
                  <c:v>2.5667289466138463</c:v>
                </c:pt>
                <c:pt idx="21">
                  <c:v>2.4313047044672476</c:v>
                </c:pt>
                <c:pt idx="22">
                  <c:v>2.485805528557685</c:v>
                </c:pt>
                <c:pt idx="23">
                  <c:v>2.443200829310143</c:v>
                </c:pt>
                <c:pt idx="24">
                  <c:v>2.507095621798007</c:v>
                </c:pt>
                <c:pt idx="25">
                  <c:v>2.5109449061617095</c:v>
                </c:pt>
                <c:pt idx="26">
                  <c:v>2.0977381230687073</c:v>
                </c:pt>
                <c:pt idx="27">
                  <c:v>2.0029584054836165</c:v>
                </c:pt>
                <c:pt idx="28">
                  <c:v>1.9643673648335278</c:v>
                </c:pt>
                <c:pt idx="29">
                  <c:v>1.818883403599824</c:v>
                </c:pt>
                <c:pt idx="30">
                  <c:v>1.8107785446919547</c:v>
                </c:pt>
                <c:pt idx="31">
                  <c:v>1.8939417903341882</c:v>
                </c:pt>
                <c:pt idx="32">
                  <c:v>1.7631967842883391</c:v>
                </c:pt>
                <c:pt idx="33">
                  <c:v>1.739435811828842</c:v>
                </c:pt>
                <c:pt idx="34">
                  <c:v>1.8645031663927294</c:v>
                </c:pt>
                <c:pt idx="35">
                  <c:v>2.0170666397354577</c:v>
                </c:pt>
                <c:pt idx="36">
                  <c:v>2.101545312941113</c:v>
                </c:pt>
                <c:pt idx="37">
                  <c:v>2.1141866732435615</c:v>
                </c:pt>
                <c:pt idx="38">
                  <c:v>2.1757631850476646</c:v>
                </c:pt>
                <c:pt idx="39">
                  <c:v>2.1620394708297472</c:v>
                </c:pt>
                <c:pt idx="40">
                  <c:v>2.2213851200175188</c:v>
                </c:pt>
                <c:pt idx="41">
                  <c:v>2.2976085774102035</c:v>
                </c:pt>
                <c:pt idx="42">
                  <c:v>2.4336363170956465</c:v>
                </c:pt>
                <c:pt idx="43">
                  <c:v>2.4125973857858853</c:v>
                </c:pt>
                <c:pt idx="44">
                  <c:v>2.1657348267032397</c:v>
                </c:pt>
                <c:pt idx="45">
                  <c:v>2.0540655036376836</c:v>
                </c:pt>
                <c:pt idx="46">
                  <c:v>2.1013713047683336</c:v>
                </c:pt>
                <c:pt idx="47">
                  <c:v>2.082623840877765</c:v>
                </c:pt>
                <c:pt idx="48">
                  <c:v>2.033189754570911</c:v>
                </c:pt>
                <c:pt idx="49">
                  <c:v>1.997130852590636</c:v>
                </c:pt>
                <c:pt idx="50">
                  <c:v>1.996090704617343</c:v>
                </c:pt>
                <c:pt idx="51">
                  <c:v>2.0083744278545685</c:v>
                </c:pt>
                <c:pt idx="52">
                  <c:v>2.062762864772101</c:v>
                </c:pt>
                <c:pt idx="53">
                  <c:v>2.1706826950502283</c:v>
                </c:pt>
                <c:pt idx="54">
                  <c:v>2.2351659810292115</c:v>
                </c:pt>
                <c:pt idx="55">
                  <c:v>2.264036886460346</c:v>
                </c:pt>
                <c:pt idx="56">
                  <c:v>2.3391178624029867</c:v>
                </c:pt>
                <c:pt idx="57">
                  <c:v>2.2984398423305845</c:v>
                </c:pt>
                <c:pt idx="58">
                  <c:v>2.228788068300591</c:v>
                </c:pt>
                <c:pt idx="59">
                  <c:v>2.3564055965462445</c:v>
                </c:pt>
                <c:pt idx="60">
                  <c:v>2.46345733289777</c:v>
                </c:pt>
                <c:pt idx="61">
                  <c:v>2.3646295084827074</c:v>
                </c:pt>
                <c:pt idx="62">
                  <c:v>2.2962070408394712</c:v>
                </c:pt>
                <c:pt idx="63">
                  <c:v>2.3824754404927573</c:v>
                </c:pt>
                <c:pt idx="64">
                  <c:v>2.2611727193635285</c:v>
                </c:pt>
                <c:pt idx="65">
                  <c:v>2.2706683298905808</c:v>
                </c:pt>
                <c:pt idx="66">
                  <c:v>2.128547896727078</c:v>
                </c:pt>
                <c:pt idx="67">
                  <c:v>2.1335731272398775</c:v>
                </c:pt>
                <c:pt idx="68">
                  <c:v>2.0654431941955185</c:v>
                </c:pt>
                <c:pt idx="69">
                  <c:v>2.0363071604034233</c:v>
                </c:pt>
                <c:pt idx="70">
                  <c:v>2.0144411474213264</c:v>
                </c:pt>
                <c:pt idx="71">
                  <c:v>2.131429442794721</c:v>
                </c:pt>
                <c:pt idx="72">
                  <c:v>2.0758743199733543</c:v>
                </c:pt>
                <c:pt idx="73">
                  <c:v>2.214769138917782</c:v>
                </c:pt>
                <c:pt idx="74">
                  <c:v>2.066049449155873</c:v>
                </c:pt>
                <c:pt idx="75">
                  <c:v>2.182361197384557</c:v>
                </c:pt>
                <c:pt idx="76">
                  <c:v>2.3379545957918046</c:v>
                </c:pt>
                <c:pt idx="77">
                  <c:v>2.489225879546328</c:v>
                </c:pt>
                <c:pt idx="78">
                  <c:v>2.6017604118408477</c:v>
                </c:pt>
                <c:pt idx="79">
                  <c:v>1.5407558561374814</c:v>
                </c:pt>
                <c:pt idx="80">
                  <c:v>1.5098760765054793</c:v>
                </c:pt>
                <c:pt idx="81">
                  <c:v>1.969961946436979</c:v>
                </c:pt>
                <c:pt idx="82">
                  <c:v>1.792655145299836</c:v>
                </c:pt>
                <c:pt idx="83">
                  <c:v>2.0430647609272463</c:v>
                </c:pt>
                <c:pt idx="84">
                  <c:v>2.071546400876135</c:v>
                </c:pt>
                <c:pt idx="85">
                  <c:v>2.128305482352982</c:v>
                </c:pt>
                <c:pt idx="86">
                  <c:v>2.3400121610107747</c:v>
                </c:pt>
                <c:pt idx="87">
                  <c:v>2.507186797535906</c:v>
                </c:pt>
                <c:pt idx="88">
                  <c:v>2.366364206725537</c:v>
                </c:pt>
                <c:pt idx="89">
                  <c:v>2.1280315682743574</c:v>
                </c:pt>
                <c:pt idx="90">
                  <c:v>2.384909902726177</c:v>
                </c:pt>
                <c:pt idx="91">
                  <c:v>2.2429340208756785</c:v>
                </c:pt>
                <c:pt idx="92">
                  <c:v>2.3816170696900136</c:v>
                </c:pt>
                <c:pt idx="93">
                  <c:v>2.23693947297269</c:v>
                </c:pt>
                <c:pt idx="94">
                  <c:v>2.027281303991395</c:v>
                </c:pt>
                <c:pt idx="95">
                  <c:v>2.0994165562957403</c:v>
                </c:pt>
                <c:pt idx="96">
                  <c:v>2.0558162462135368</c:v>
                </c:pt>
                <c:pt idx="97">
                  <c:v>2.0351925419872594</c:v>
                </c:pt>
                <c:pt idx="98">
                  <c:v>2.10951864331456</c:v>
                </c:pt>
                <c:pt idx="99">
                  <c:v>2.3031810574831217</c:v>
                </c:pt>
                <c:pt idx="100">
                  <c:v>2.0498751820648398</c:v>
                </c:pt>
                <c:pt idx="101">
                  <c:v>1.904888082602705</c:v>
                </c:pt>
                <c:pt idx="102">
                  <c:v>1.8556017587079126</c:v>
                </c:pt>
                <c:pt idx="103">
                  <c:v>1.7730115136900857</c:v>
                </c:pt>
                <c:pt idx="104">
                  <c:v>1.8292534436506245</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47656707501115</c:v>
                </c:pt>
                <c:pt idx="1">
                  <c:v>1.7710920399115109</c:v>
                </c:pt>
                <c:pt idx="2">
                  <c:v>1.769932443019075</c:v>
                </c:pt>
                <c:pt idx="3">
                  <c:v>1.7915028350466409</c:v>
                </c:pt>
                <c:pt idx="4">
                  <c:v>1.7168461298330095</c:v>
                </c:pt>
                <c:pt idx="5">
                  <c:v>1.7471833490698558</c:v>
                </c:pt>
                <c:pt idx="6">
                  <c:v>1.753939700314109</c:v>
                </c:pt>
                <c:pt idx="7">
                  <c:v>1.7126019873168208</c:v>
                </c:pt>
                <c:pt idx="8">
                  <c:v>1.817957381159928</c:v>
                </c:pt>
                <c:pt idx="9">
                  <c:v>1.8070000428589263</c:v>
                </c:pt>
                <c:pt idx="10">
                  <c:v>1.7699586240109357</c:v>
                </c:pt>
                <c:pt idx="11">
                  <c:v>1.9184058489528468</c:v>
                </c:pt>
                <c:pt idx="12">
                  <c:v>1.8082188278629223</c:v>
                </c:pt>
                <c:pt idx="13">
                  <c:v>1.7342030849582086</c:v>
                </c:pt>
                <c:pt idx="14">
                  <c:v>1.7648421851054938</c:v>
                </c:pt>
                <c:pt idx="15">
                  <c:v>1.836550759196955</c:v>
                </c:pt>
                <c:pt idx="16">
                  <c:v>1.7944642326748081</c:v>
                </c:pt>
                <c:pt idx="17">
                  <c:v>1.770702730681064</c:v>
                </c:pt>
                <c:pt idx="18">
                  <c:v>1.8750393048629796</c:v>
                </c:pt>
                <c:pt idx="19">
                  <c:v>2.000762339357052</c:v>
                </c:pt>
                <c:pt idx="20">
                  <c:v>1.9322102256362768</c:v>
                </c:pt>
                <c:pt idx="21">
                  <c:v>1.975447955727041</c:v>
                </c:pt>
                <c:pt idx="22">
                  <c:v>1.9332837793622126</c:v>
                </c:pt>
                <c:pt idx="23">
                  <c:v>1.824763068592074</c:v>
                </c:pt>
                <c:pt idx="24">
                  <c:v>1.823786746866686</c:v>
                </c:pt>
                <c:pt idx="25">
                  <c:v>1.7353351221680318</c:v>
                </c:pt>
                <c:pt idx="26">
                  <c:v>1.8060838691749743</c:v>
                </c:pt>
                <c:pt idx="27">
                  <c:v>1.8618685490699096</c:v>
                </c:pt>
                <c:pt idx="28">
                  <c:v>1.8081703958628288</c:v>
                </c:pt>
                <c:pt idx="29">
                  <c:v>1.8117726993510759</c:v>
                </c:pt>
                <c:pt idx="30">
                  <c:v>1.813201456377268</c:v>
                </c:pt>
                <c:pt idx="31">
                  <c:v>1.7812495331520322</c:v>
                </c:pt>
                <c:pt idx="32">
                  <c:v>1.727558646803284</c:v>
                </c:pt>
                <c:pt idx="33">
                  <c:v>1.7828114725672481</c:v>
                </c:pt>
                <c:pt idx="34">
                  <c:v>1.8418722850637852</c:v>
                </c:pt>
                <c:pt idx="35">
                  <c:v>1.7148501476677283</c:v>
                </c:pt>
                <c:pt idx="36">
                  <c:v>1.8143645393153793</c:v>
                </c:pt>
                <c:pt idx="37">
                  <c:v>1.9261746328758547</c:v>
                </c:pt>
                <c:pt idx="38">
                  <c:v>1.8810037774251414</c:v>
                </c:pt>
                <c:pt idx="39">
                  <c:v>1.855933853706819</c:v>
                </c:pt>
                <c:pt idx="40">
                  <c:v>1.920748315041454</c:v>
                </c:pt>
                <c:pt idx="41">
                  <c:v>1.9970864462124813</c:v>
                </c:pt>
                <c:pt idx="42">
                  <c:v>2.026658818161425</c:v>
                </c:pt>
                <c:pt idx="43">
                  <c:v>2.0042247777045956</c:v>
                </c:pt>
                <c:pt idx="44">
                  <c:v>1.913193810488835</c:v>
                </c:pt>
                <c:pt idx="45">
                  <c:v>1.835701733491762</c:v>
                </c:pt>
                <c:pt idx="46">
                  <c:v>1.7763982372746716</c:v>
                </c:pt>
                <c:pt idx="47">
                  <c:v>1.8099573950782974</c:v>
                </c:pt>
                <c:pt idx="48">
                  <c:v>1.7485066281851926</c:v>
                </c:pt>
                <c:pt idx="49">
                  <c:v>1.8645645134229647</c:v>
                </c:pt>
                <c:pt idx="50">
                  <c:v>1.7242052360069104</c:v>
                </c:pt>
                <c:pt idx="51">
                  <c:v>1.735367559251466</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836543696566847</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836543696566847</c:v>
                </c:pt>
                <c:pt idx="1">
                  <c:v>1.5836543696566847</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560707593240201</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560707593240201</c:v>
                </c:pt>
                <c:pt idx="1">
                  <c:v>1.7560707593240201</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894966796770325</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894966796770325</c:v>
                </c:pt>
                <c:pt idx="1">
                  <c:v>1.8894966796770325</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47656707501115</c:v>
                </c:pt>
                <c:pt idx="1">
                  <c:v>1.7710920399115109</c:v>
                </c:pt>
                <c:pt idx="2">
                  <c:v>1.769932443019075</c:v>
                </c:pt>
                <c:pt idx="3">
                  <c:v>1.7915028350466409</c:v>
                </c:pt>
                <c:pt idx="4">
                  <c:v>1.7168461298330095</c:v>
                </c:pt>
                <c:pt idx="5">
                  <c:v>1.7471833490698558</c:v>
                </c:pt>
                <c:pt idx="6">
                  <c:v>1.753939700314109</c:v>
                </c:pt>
                <c:pt idx="7">
                  <c:v>1.7126019873168208</c:v>
                </c:pt>
                <c:pt idx="8">
                  <c:v>1.817957381159928</c:v>
                </c:pt>
                <c:pt idx="9">
                  <c:v>1.8070000428589263</c:v>
                </c:pt>
                <c:pt idx="10">
                  <c:v>1.7699586240109357</c:v>
                </c:pt>
                <c:pt idx="11">
                  <c:v>1.9184058489528468</c:v>
                </c:pt>
                <c:pt idx="12">
                  <c:v>1.8082188278629223</c:v>
                </c:pt>
                <c:pt idx="13">
                  <c:v>1.7342030849582086</c:v>
                </c:pt>
                <c:pt idx="14">
                  <c:v>1.7648421851054938</c:v>
                </c:pt>
                <c:pt idx="15">
                  <c:v>1.836550759196955</c:v>
                </c:pt>
                <c:pt idx="16">
                  <c:v>1.7944642326748081</c:v>
                </c:pt>
                <c:pt idx="17">
                  <c:v>1.770702730681064</c:v>
                </c:pt>
                <c:pt idx="18">
                  <c:v>1.8750393048629796</c:v>
                </c:pt>
                <c:pt idx="19">
                  <c:v>2.000762339357052</c:v>
                </c:pt>
                <c:pt idx="20">
                  <c:v>1.9322102256362768</c:v>
                </c:pt>
                <c:pt idx="21">
                  <c:v>1.975447955727041</c:v>
                </c:pt>
                <c:pt idx="22">
                  <c:v>1.9332837793622126</c:v>
                </c:pt>
                <c:pt idx="23">
                  <c:v>1.824763068592074</c:v>
                </c:pt>
                <c:pt idx="24">
                  <c:v>1.823786746866686</c:v>
                </c:pt>
                <c:pt idx="25">
                  <c:v>1.7353351221680318</c:v>
                </c:pt>
                <c:pt idx="26">
                  <c:v>1.8060838691749743</c:v>
                </c:pt>
                <c:pt idx="27">
                  <c:v>1.8618685490699096</c:v>
                </c:pt>
                <c:pt idx="28">
                  <c:v>1.8081703958628288</c:v>
                </c:pt>
                <c:pt idx="29">
                  <c:v>1.8117726993510759</c:v>
                </c:pt>
                <c:pt idx="30">
                  <c:v>1.813201456377268</c:v>
                </c:pt>
                <c:pt idx="31">
                  <c:v>1.7812495331520322</c:v>
                </c:pt>
                <c:pt idx="32">
                  <c:v>1.727558646803284</c:v>
                </c:pt>
                <c:pt idx="33">
                  <c:v>1.7828114725672481</c:v>
                </c:pt>
                <c:pt idx="34">
                  <c:v>1.8418722850637852</c:v>
                </c:pt>
                <c:pt idx="35">
                  <c:v>1.7148501476677283</c:v>
                </c:pt>
                <c:pt idx="36">
                  <c:v>1.8143645393153793</c:v>
                </c:pt>
                <c:pt idx="37">
                  <c:v>1.9261746328758547</c:v>
                </c:pt>
                <c:pt idx="38">
                  <c:v>1.8810037774251414</c:v>
                </c:pt>
                <c:pt idx="39">
                  <c:v>1.855933853706819</c:v>
                </c:pt>
                <c:pt idx="40">
                  <c:v>1.920748315041454</c:v>
                </c:pt>
                <c:pt idx="41">
                  <c:v>1.9970864462124813</c:v>
                </c:pt>
                <c:pt idx="42">
                  <c:v>2.026658818161425</c:v>
                </c:pt>
                <c:pt idx="43">
                  <c:v>2.0042247777045956</c:v>
                </c:pt>
                <c:pt idx="44">
                  <c:v>1.913193810488835</c:v>
                </c:pt>
                <c:pt idx="45">
                  <c:v>1.835701733491762</c:v>
                </c:pt>
                <c:pt idx="46">
                  <c:v>1.7763982372746716</c:v>
                </c:pt>
                <c:pt idx="47">
                  <c:v>1.8099573950782974</c:v>
                </c:pt>
                <c:pt idx="48">
                  <c:v>1.7485066281851926</c:v>
                </c:pt>
                <c:pt idx="49">
                  <c:v>1.8645645134229647</c:v>
                </c:pt>
                <c:pt idx="50">
                  <c:v>1.7242052360069104</c:v>
                </c:pt>
                <c:pt idx="51">
                  <c:v>1.735367559251466</c:v>
                </c:pt>
                <c:pt idx="52">
                  <c:v>1.7560707593240201</c:v>
                </c:pt>
                <c:pt idx="53">
                  <c:v>1.5836543696566847</c:v>
                </c:pt>
                <c:pt idx="54">
                  <c:v>1.8894966796770325</c:v>
                </c:pt>
              </c:numCache>
            </c:numRef>
          </c:xVal>
          <c:yVal>
            <c:numRef>
              <c:f>Sheet1!$B$187:$B$241</c:f>
              <c:numCache>
                <c:formatCode>General</c:formatCode>
                <c:ptCount val="55"/>
                <c:pt idx="0">
                  <c:v>0.20422941977311543</c:v>
                </c:pt>
                <c:pt idx="1">
                  <c:v>0.21478913193757793</c:v>
                </c:pt>
                <c:pt idx="2">
                  <c:v>0.21494906222652743</c:v>
                </c:pt>
                <c:pt idx="3">
                  <c:v>0.21197409820909546</c:v>
                </c:pt>
                <c:pt idx="4">
                  <c:v>0.222270666365425</c:v>
                </c:pt>
                <c:pt idx="5">
                  <c:v>0.21808659147688217</c:v>
                </c:pt>
                <c:pt idx="6">
                  <c:v>0.2171547631719029</c:v>
                </c:pt>
                <c:pt idx="7">
                  <c:v>0.22285601369033126</c:v>
                </c:pt>
                <c:pt idx="8">
                  <c:v>0.20832551719656922</c:v>
                </c:pt>
                <c:pt idx="9">
                  <c:v>0.2098367408744074</c:v>
                </c:pt>
                <c:pt idx="10">
                  <c:v>0.21494545137380733</c:v>
                </c:pt>
                <c:pt idx="11">
                  <c:v>0.1944717783814277</c:v>
                </c:pt>
                <c:pt idx="12">
                  <c:v>0.2096686474282039</c:v>
                </c:pt>
                <c:pt idx="13">
                  <c:v>0.21987681478944715</c:v>
                </c:pt>
                <c:pt idx="14">
                  <c:v>0.21565110482793218</c:v>
                </c:pt>
                <c:pt idx="15">
                  <c:v>0.20576113957413306</c:v>
                </c:pt>
                <c:pt idx="16">
                  <c:v>0.2115656656050961</c:v>
                </c:pt>
                <c:pt idx="17">
                  <c:v>0.21484282502534163</c:v>
                </c:pt>
                <c:pt idx="18">
                  <c:v>0.20045284298437321</c:v>
                </c:pt>
                <c:pt idx="19">
                  <c:v>0.1831132645796672</c:v>
                </c:pt>
                <c:pt idx="20">
                  <c:v>0.19256789439713118</c:v>
                </c:pt>
                <c:pt idx="21">
                  <c:v>0.1866045956749255</c:v>
                </c:pt>
                <c:pt idx="22">
                  <c:v>0.19241983108417154</c:v>
                </c:pt>
                <c:pt idx="23">
                  <c:v>0.2073868845004806</c:v>
                </c:pt>
                <c:pt idx="24">
                  <c:v>0.2075215376861415</c:v>
                </c:pt>
                <c:pt idx="25">
                  <c:v>0.21972068550068344</c:v>
                </c:pt>
                <c:pt idx="26">
                  <c:v>0.20996309851037395</c:v>
                </c:pt>
                <c:pt idx="27">
                  <c:v>0.20226933869370917</c:v>
                </c:pt>
                <c:pt idx="28">
                  <c:v>0.20967532711475695</c:v>
                </c:pt>
                <c:pt idx="29">
                  <c:v>0.209178501501031</c:v>
                </c:pt>
                <c:pt idx="30">
                  <c:v>0.20898144895153897</c:v>
                </c:pt>
                <c:pt idx="31">
                  <c:v>0.21338822198382085</c:v>
                </c:pt>
                <c:pt idx="32">
                  <c:v>0.22079320816800474</c:v>
                </c:pt>
                <c:pt idx="33">
                  <c:v>0.21317280107020287</c:v>
                </c:pt>
                <c:pt idx="34">
                  <c:v>0.20502720075876885</c:v>
                </c:pt>
                <c:pt idx="35">
                  <c:v>0.222545949963125</c:v>
                </c:pt>
                <c:pt idx="36">
                  <c:v>0.2088210378711215</c:v>
                </c:pt>
                <c:pt idx="37">
                  <c:v>0.1934003165090326</c:v>
                </c:pt>
                <c:pt idx="38">
                  <c:v>0.19963022968959793</c:v>
                </c:pt>
                <c:pt idx="39">
                  <c:v>0.20308784515094236</c:v>
                </c:pt>
                <c:pt idx="40">
                  <c:v>0.19414870811377777</c:v>
                </c:pt>
                <c:pt idx="41">
                  <c:v>0.1836202395953761</c:v>
                </c:pt>
                <c:pt idx="42">
                  <c:v>0.179541651577792</c:v>
                </c:pt>
                <c:pt idx="43">
                  <c:v>0.18263572900760366</c:v>
                </c:pt>
                <c:pt idx="44">
                  <c:v>0.19519061681830413</c:v>
                </c:pt>
                <c:pt idx="45">
                  <c:v>0.20587823623698442</c:v>
                </c:pt>
                <c:pt idx="46">
                  <c:v>0.21405730721206426</c:v>
                </c:pt>
                <c:pt idx="47">
                  <c:v>0.20942886620860354</c:v>
                </c:pt>
                <c:pt idx="48">
                  <c:v>0.21790408632129132</c:v>
                </c:pt>
                <c:pt idx="49">
                  <c:v>0.20189751434613268</c:v>
                </c:pt>
                <c:pt idx="50">
                  <c:v>0.22125570678379855</c:v>
                </c:pt>
                <c:pt idx="51">
                  <c:v>0.2197162118149051</c:v>
                </c:pt>
                <c:pt idx="52">
                  <c:v>0.21686084992890725</c:v>
                </c:pt>
                <c:pt idx="53">
                  <c:v>0.24064032295009066</c:v>
                </c:pt>
                <c:pt idx="54">
                  <c:v>0.19845889823810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787354297130682</c:v>
                </c:pt>
                <c:pt idx="1">
                  <c:v>0.47845980916574304</c:v>
                </c:pt>
                <c:pt idx="2">
                  <c:v>0.5209095029589016</c:v>
                </c:pt>
                <c:pt idx="3">
                  <c:v>0.5061713161834042</c:v>
                </c:pt>
                <c:pt idx="4">
                  <c:v>0.46715431834765025</c:v>
                </c:pt>
                <c:pt idx="5">
                  <c:v>0.4824384092156738</c:v>
                </c:pt>
                <c:pt idx="6">
                  <c:v>0.4439092935611442</c:v>
                </c:pt>
                <c:pt idx="7">
                  <c:v>0.4478707840554833</c:v>
                </c:pt>
                <c:pt idx="8">
                  <c:v>0.4321265103040562</c:v>
                </c:pt>
                <c:pt idx="9">
                  <c:v>0.42832443649376145</c:v>
                </c:pt>
                <c:pt idx="10">
                  <c:v>0.4699101821618352</c:v>
                </c:pt>
                <c:pt idx="11">
                  <c:v>0.5136323531521608</c:v>
                </c:pt>
                <c:pt idx="12">
                  <c:v>0.547048118471571</c:v>
                </c:pt>
                <c:pt idx="13">
                  <c:v>0.5379362457383653</c:v>
                </c:pt>
                <c:pt idx="14">
                  <c:v>0.5336826160567564</c:v>
                </c:pt>
                <c:pt idx="15">
                  <c:v>0.5259301436484617</c:v>
                </c:pt>
                <c:pt idx="16">
                  <c:v>0.5116096811777171</c:v>
                </c:pt>
                <c:pt idx="17">
                  <c:v>0.4912160562543692</c:v>
                </c:pt>
                <c:pt idx="18">
                  <c:v>0.49462077447792396</c:v>
                </c:pt>
                <c:pt idx="19">
                  <c:v>0.5079391938124778</c:v>
                </c:pt>
                <c:pt idx="20">
                  <c:v>0.5245576545174635</c:v>
                </c:pt>
                <c:pt idx="21">
                  <c:v>0.47473717933092596</c:v>
                </c:pt>
                <c:pt idx="22">
                  <c:v>0.4395018791641237</c:v>
                </c:pt>
                <c:pt idx="23">
                  <c:v>0.4256558347724364</c:v>
                </c:pt>
                <c:pt idx="24">
                  <c:v>0.40413059164675985</c:v>
                </c:pt>
                <c:pt idx="25">
                  <c:v>0.38266937188583766</c:v>
                </c:pt>
                <c:pt idx="26">
                  <c:v>0.3836143859608317</c:v>
                </c:pt>
                <c:pt idx="27">
                  <c:v>0.4006874432706258</c:v>
                </c:pt>
                <c:pt idx="28">
                  <c:v>0.4050557539160784</c:v>
                </c:pt>
                <c:pt idx="29">
                  <c:v>0.3206803667659701</c:v>
                </c:pt>
                <c:pt idx="30">
                  <c:v>0.341534313096467</c:v>
                </c:pt>
                <c:pt idx="31">
                  <c:v>0.35769425428882273</c:v>
                </c:pt>
                <c:pt idx="32">
                  <c:v>0.34577027012765776</c:v>
                </c:pt>
                <c:pt idx="33">
                  <c:v>0.3292638692199637</c:v>
                </c:pt>
                <c:pt idx="34">
                  <c:v>0.39710908296889535</c:v>
                </c:pt>
                <c:pt idx="35">
                  <c:v>0.4339683585162752</c:v>
                </c:pt>
                <c:pt idx="36">
                  <c:v>0.4553779184782089</c:v>
                </c:pt>
                <c:pt idx="37">
                  <c:v>0.42936841854270114</c:v>
                </c:pt>
                <c:pt idx="38">
                  <c:v>0.4606633375563013</c:v>
                </c:pt>
                <c:pt idx="39">
                  <c:v>0.46475587889142533</c:v>
                </c:pt>
                <c:pt idx="40">
                  <c:v>0.4737937498050388</c:v>
                </c:pt>
                <c:pt idx="41">
                  <c:v>0.4672321765542598</c:v>
                </c:pt>
                <c:pt idx="42">
                  <c:v>0.48696748981485094</c:v>
                </c:pt>
                <c:pt idx="43">
                  <c:v>0.4834650583526534</c:v>
                </c:pt>
                <c:pt idx="44">
                  <c:v>0.4667474579823964</c:v>
                </c:pt>
                <c:pt idx="45">
                  <c:v>0.47387350511174686</c:v>
                </c:pt>
                <c:pt idx="46">
                  <c:v>0.48371389220114086</c:v>
                </c:pt>
                <c:pt idx="47">
                  <c:v>0.4721432684716251</c:v>
                </c:pt>
                <c:pt idx="48">
                  <c:v>0.5111472892976775</c:v>
                </c:pt>
                <c:pt idx="49">
                  <c:v>0.5653530911156015</c:v>
                </c:pt>
                <c:pt idx="50">
                  <c:v>0.47809281913355167</c:v>
                </c:pt>
                <c:pt idx="51">
                  <c:v>0.466995031961879</c:v>
                </c:pt>
                <c:pt idx="52">
                  <c:v>0.49361691713196443</c:v>
                </c:pt>
                <c:pt idx="53">
                  <c:v>0.4685119039201226</c:v>
                </c:pt>
                <c:pt idx="54">
                  <c:v>0.45095836600135397</c:v>
                </c:pt>
                <c:pt idx="55">
                  <c:v>0.44929882620269634</c:v>
                </c:pt>
                <c:pt idx="56">
                  <c:v>0.46608123629316334</c:v>
                </c:pt>
                <c:pt idx="57">
                  <c:v>0.47285765421246745</c:v>
                </c:pt>
                <c:pt idx="58">
                  <c:v>0.44022553379692386</c:v>
                </c:pt>
                <c:pt idx="59">
                  <c:v>0.4498386146077607</c:v>
                </c:pt>
                <c:pt idx="60">
                  <c:v>0.4514966617706295</c:v>
                </c:pt>
                <c:pt idx="61">
                  <c:v>0.4429709634071305</c:v>
                </c:pt>
                <c:pt idx="62">
                  <c:v>0.4327432368402733</c:v>
                </c:pt>
                <c:pt idx="63">
                  <c:v>0.44960645096715063</c:v>
                </c:pt>
                <c:pt idx="64">
                  <c:v>0.46359226043126894</c:v>
                </c:pt>
                <c:pt idx="65">
                  <c:v>0.5108087786985696</c:v>
                </c:pt>
                <c:pt idx="66">
                  <c:v>0.5140048269019859</c:v>
                </c:pt>
                <c:pt idx="67">
                  <c:v>0.5301132831416567</c:v>
                </c:pt>
                <c:pt idx="68">
                  <c:v>0.510717726508248</c:v>
                </c:pt>
                <c:pt idx="69">
                  <c:v>0.48796088143136973</c:v>
                </c:pt>
                <c:pt idx="70">
                  <c:v>0.48162326289293506</c:v>
                </c:pt>
                <c:pt idx="71">
                  <c:v>0.483241907774442</c:v>
                </c:pt>
                <c:pt idx="72">
                  <c:v>0.4910085489753946</c:v>
                </c:pt>
                <c:pt idx="73">
                  <c:v>0.5151144220754358</c:v>
                </c:pt>
                <c:pt idx="74">
                  <c:v>0.4894322411630352</c:v>
                </c:pt>
                <c:pt idx="75">
                  <c:v>0.46276464289518326</c:v>
                </c:pt>
                <c:pt idx="76">
                  <c:v>0.4872191386813073</c:v>
                </c:pt>
                <c:pt idx="77">
                  <c:v>0.4849206364210066</c:v>
                </c:pt>
                <c:pt idx="78">
                  <c:v>0.47894979504182217</c:v>
                </c:pt>
                <c:pt idx="79">
                  <c:v>0.47775390284097685</c:v>
                </c:pt>
                <c:pt idx="80">
                  <c:v>0.49294255083678656</c:v>
                </c:pt>
                <c:pt idx="81">
                  <c:v>0.5017079873077566</c:v>
                </c:pt>
                <c:pt idx="82">
                  <c:v>0.494795873950221</c:v>
                </c:pt>
                <c:pt idx="83">
                  <c:v>0.4763364040947499</c:v>
                </c:pt>
                <c:pt idx="84">
                  <c:v>0.45973696771503747</c:v>
                </c:pt>
                <c:pt idx="85">
                  <c:v>0.4650184046671497</c:v>
                </c:pt>
                <c:pt idx="86">
                  <c:v>0.4893502329292106</c:v>
                </c:pt>
                <c:pt idx="87">
                  <c:v>0.5158120275327709</c:v>
                </c:pt>
                <c:pt idx="88">
                  <c:v>0.46973924618091023</c:v>
                </c:pt>
                <c:pt idx="89">
                  <c:v>0.4372474912392371</c:v>
                </c:pt>
                <c:pt idx="90">
                  <c:v>0.4541808511924754</c:v>
                </c:pt>
                <c:pt idx="91">
                  <c:v>0.48440661386033884</c:v>
                </c:pt>
                <c:pt idx="92">
                  <c:v>0.4663256251050506</c:v>
                </c:pt>
                <c:pt idx="93">
                  <c:v>0.4986125000819126</c:v>
                </c:pt>
                <c:pt idx="94">
                  <c:v>0.5044640106081968</c:v>
                </c:pt>
                <c:pt idx="95">
                  <c:v>0.5309581536542749</c:v>
                </c:pt>
                <c:pt idx="96">
                  <c:v>0.5420633152391517</c:v>
                </c:pt>
                <c:pt idx="97">
                  <c:v>0.5746552895608267</c:v>
                </c:pt>
                <c:pt idx="98">
                  <c:v>0.5933937507680851</c:v>
                </c:pt>
                <c:pt idx="99">
                  <c:v>0.5708664509533612</c:v>
                </c:pt>
                <c:pt idx="100">
                  <c:v>0.579264334864272</c:v>
                </c:pt>
                <c:pt idx="101">
                  <c:v>0.5195976324409667</c:v>
                </c:pt>
                <c:pt idx="102">
                  <c:v>0.4964315863591069</c:v>
                </c:pt>
                <c:pt idx="103">
                  <c:v>0.5072729600103257</c:v>
                </c:pt>
                <c:pt idx="104">
                  <c:v>0.5145124098454366</c:v>
                </c:pt>
              </c:numCache>
            </c:numRef>
          </c:xVal>
          <c:yVal>
            <c:numRef>
              <c:f>Sheet1!$B$2:$B$106</c:f>
              <c:numCache>
                <c:formatCode>General</c:formatCode>
                <c:ptCount val="105"/>
                <c:pt idx="0">
                  <c:v>0.20820213501267185</c:v>
                </c:pt>
                <c:pt idx="1">
                  <c:v>0.19276172724448587</c:v>
                </c:pt>
                <c:pt idx="2">
                  <c:v>0.16175860638739112</c:v>
                </c:pt>
                <c:pt idx="3">
                  <c:v>0.1568939393939394</c:v>
                </c:pt>
                <c:pt idx="4">
                  <c:v>0.146620418111934</c:v>
                </c:pt>
                <c:pt idx="5">
                  <c:v>0.13317431922083084</c:v>
                </c:pt>
                <c:pt idx="6">
                  <c:v>0.15602981721637904</c:v>
                </c:pt>
                <c:pt idx="7">
                  <c:v>0.15211910193300515</c:v>
                </c:pt>
                <c:pt idx="8">
                  <c:v>0.16764437491852432</c:v>
                </c:pt>
                <c:pt idx="9">
                  <c:v>0.20007348888480617</c:v>
                </c:pt>
                <c:pt idx="10">
                  <c:v>0.2060474379866015</c:v>
                </c:pt>
                <c:pt idx="11">
                  <c:v>0.1930715935334873</c:v>
                </c:pt>
                <c:pt idx="12">
                  <c:v>0.20071349698462584</c:v>
                </c:pt>
                <c:pt idx="13">
                  <c:v>0.21301225179552175</c:v>
                </c:pt>
                <c:pt idx="14">
                  <c:v>0.20839851790860436</c:v>
                </c:pt>
                <c:pt idx="15">
                  <c:v>0.20707480235151024</c:v>
                </c:pt>
                <c:pt idx="16">
                  <c:v>0.200352733686067</c:v>
                </c:pt>
                <c:pt idx="17">
                  <c:v>0.18456827924066135</c:v>
                </c:pt>
                <c:pt idx="18">
                  <c:v>0.16720133453098934</c:v>
                </c:pt>
                <c:pt idx="19">
                  <c:v>0.1585309158530916</c:v>
                </c:pt>
                <c:pt idx="20">
                  <c:v>0.18110236220472442</c:v>
                </c:pt>
                <c:pt idx="21">
                  <c:v>0.17234212629896084</c:v>
                </c:pt>
                <c:pt idx="22">
                  <c:v>0.1722264150943396</c:v>
                </c:pt>
                <c:pt idx="23">
                  <c:v>0.17640573318632854</c:v>
                </c:pt>
                <c:pt idx="24">
                  <c:v>0.17587209302325582</c:v>
                </c:pt>
                <c:pt idx="25">
                  <c:v>0.1758879781420765</c:v>
                </c:pt>
                <c:pt idx="26">
                  <c:v>0.18419711129991503</c:v>
                </c:pt>
                <c:pt idx="27">
                  <c:v>0.1618563463430633</c:v>
                </c:pt>
                <c:pt idx="28">
                  <c:v>0.15706890973794888</c:v>
                </c:pt>
                <c:pt idx="29">
                  <c:v>0.19202342769488218</c:v>
                </c:pt>
                <c:pt idx="30">
                  <c:v>0.17327102803738317</c:v>
                </c:pt>
                <c:pt idx="31">
                  <c:v>0.16853932584269662</c:v>
                </c:pt>
                <c:pt idx="32">
                  <c:v>0.18266863613983259</c:v>
                </c:pt>
                <c:pt idx="33">
                  <c:v>0.21135567783891945</c:v>
                </c:pt>
                <c:pt idx="34">
                  <c:v>0.1888875836955245</c:v>
                </c:pt>
                <c:pt idx="35">
                  <c:v>0.18052785923753667</c:v>
                </c:pt>
                <c:pt idx="36">
                  <c:v>0.13292241725847515</c:v>
                </c:pt>
                <c:pt idx="37">
                  <c:v>0.12386530014641288</c:v>
                </c:pt>
                <c:pt idx="38">
                  <c:v>0.12001169419675486</c:v>
                </c:pt>
                <c:pt idx="39">
                  <c:v>0.11638846737481032</c:v>
                </c:pt>
                <c:pt idx="40">
                  <c:v>0.11309817464232856</c:v>
                </c:pt>
                <c:pt idx="41">
                  <c:v>0.09314703925482369</c:v>
                </c:pt>
                <c:pt idx="42">
                  <c:v>0.0968299711815562</c:v>
                </c:pt>
                <c:pt idx="43">
                  <c:v>0.1044114615543187</c:v>
                </c:pt>
                <c:pt idx="44">
                  <c:v>0.12461688492616328</c:v>
                </c:pt>
                <c:pt idx="45">
                  <c:v>0.14497041420118342</c:v>
                </c:pt>
                <c:pt idx="46">
                  <c:v>0.14596390072699925</c:v>
                </c:pt>
                <c:pt idx="47">
                  <c:v>0.1430451127819549</c:v>
                </c:pt>
                <c:pt idx="48">
                  <c:v>0.15343695068924046</c:v>
                </c:pt>
                <c:pt idx="49">
                  <c:v>0.18042180930421808</c:v>
                </c:pt>
                <c:pt idx="50">
                  <c:v>0.145105721813146</c:v>
                </c:pt>
                <c:pt idx="51">
                  <c:v>0.12617165213138806</c:v>
                </c:pt>
                <c:pt idx="52">
                  <c:v>0.1383665065202471</c:v>
                </c:pt>
                <c:pt idx="53">
                  <c:v>0.12174766813942071</c:v>
                </c:pt>
                <c:pt idx="54">
                  <c:v>0.11953738854065507</c:v>
                </c:pt>
                <c:pt idx="55">
                  <c:v>0.110609072835713</c:v>
                </c:pt>
                <c:pt idx="56">
                  <c:v>0.11240671641791045</c:v>
                </c:pt>
                <c:pt idx="57">
                  <c:v>0.10587410408226862</c:v>
                </c:pt>
                <c:pt idx="58">
                  <c:v>0.12522617611580217</c:v>
                </c:pt>
                <c:pt idx="59">
                  <c:v>0.13488302489150497</c:v>
                </c:pt>
                <c:pt idx="60">
                  <c:v>0.1444066232042924</c:v>
                </c:pt>
                <c:pt idx="61">
                  <c:v>0.1419235113764725</c:v>
                </c:pt>
                <c:pt idx="62">
                  <c:v>0.15923323659691463</c:v>
                </c:pt>
                <c:pt idx="63">
                  <c:v>0.17938488321485566</c:v>
                </c:pt>
                <c:pt idx="64">
                  <c:v>0.18605877920120573</c:v>
                </c:pt>
                <c:pt idx="65">
                  <c:v>0.16787161356955588</c:v>
                </c:pt>
                <c:pt idx="66">
                  <c:v>0.16226384231618549</c:v>
                </c:pt>
                <c:pt idx="67">
                  <c:v>0.14819920730656558</c:v>
                </c:pt>
                <c:pt idx="68">
                  <c:v>0.13357221061013239</c:v>
                </c:pt>
                <c:pt idx="69">
                  <c:v>0.12051087506322711</c:v>
                </c:pt>
                <c:pt idx="70">
                  <c:v>0.10948991696322657</c:v>
                </c:pt>
                <c:pt idx="71">
                  <c:v>0.11155948971621973</c:v>
                </c:pt>
                <c:pt idx="72">
                  <c:v>0.11561691113028473</c:v>
                </c:pt>
                <c:pt idx="73">
                  <c:v>0.11062878189950014</c:v>
                </c:pt>
                <c:pt idx="74">
                  <c:v>0.10793727968882946</c:v>
                </c:pt>
                <c:pt idx="75">
                  <c:v>0.11423166472642608</c:v>
                </c:pt>
                <c:pt idx="76">
                  <c:v>0.10627042165862767</c:v>
                </c:pt>
                <c:pt idx="77">
                  <c:v>0.10781499202551834</c:v>
                </c:pt>
                <c:pt idx="78">
                  <c:v>0.09770311964346932</c:v>
                </c:pt>
                <c:pt idx="79">
                  <c:v>0.09202168861347793</c:v>
                </c:pt>
                <c:pt idx="80">
                  <c:v>0.08574557972148333</c:v>
                </c:pt>
                <c:pt idx="81">
                  <c:v>0.10161455663762173</c:v>
                </c:pt>
                <c:pt idx="82">
                  <c:v>0.08989145183175033</c:v>
                </c:pt>
                <c:pt idx="83">
                  <c:v>0.08388765705838877</c:v>
                </c:pt>
                <c:pt idx="84">
                  <c:v>0.09150943396226414</c:v>
                </c:pt>
                <c:pt idx="85">
                  <c:v>0.1071779744346116</c:v>
                </c:pt>
                <c:pt idx="86">
                  <c:v>0.11445630081300813</c:v>
                </c:pt>
                <c:pt idx="87">
                  <c:v>0.13038534428300694</c:v>
                </c:pt>
                <c:pt idx="88">
                  <c:v>0.10500629722921914</c:v>
                </c:pt>
                <c:pt idx="89">
                  <c:v>0.09544468546637744</c:v>
                </c:pt>
                <c:pt idx="90">
                  <c:v>0.09447748513169074</c:v>
                </c:pt>
                <c:pt idx="91">
                  <c:v>0.09375512211112932</c:v>
                </c:pt>
                <c:pt idx="92">
                  <c:v>0.10372161762730082</c:v>
                </c:pt>
                <c:pt idx="93">
                  <c:v>0.09947229551451188</c:v>
                </c:pt>
                <c:pt idx="94">
                  <c:v>0.10344304565448202</c:v>
                </c:pt>
                <c:pt idx="95">
                  <c:v>0.11003733801888864</c:v>
                </c:pt>
                <c:pt idx="96">
                  <c:v>0.11253384063803322</c:v>
                </c:pt>
                <c:pt idx="97">
                  <c:v>0.12611764705882353</c:v>
                </c:pt>
                <c:pt idx="98">
                  <c:v>0.1434709400220635</c:v>
                </c:pt>
                <c:pt idx="99">
                  <c:v>0.15150024594195768</c:v>
                </c:pt>
                <c:pt idx="100">
                  <c:v>0.17330729655638588</c:v>
                </c:pt>
                <c:pt idx="101">
                  <c:v>0.150248371072834</c:v>
                </c:pt>
                <c:pt idx="102">
                  <c:v>0.12048508113767231</c:v>
                </c:pt>
                <c:pt idx="103">
                  <c:v>0.12718462027327612</c:v>
                </c:pt>
                <c:pt idx="104">
                  <c:v>0.13001912045889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993594145040641</c:v>
                </c:pt>
                <c:pt idx="1">
                  <c:v>0.47583330111029604</c:v>
                </c:pt>
                <c:pt idx="2">
                  <c:v>0.4839533082741002</c:v>
                </c:pt>
                <c:pt idx="3">
                  <c:v>0.4608776953528519</c:v>
                </c:pt>
                <c:pt idx="4">
                  <c:v>0.4622892276184589</c:v>
                </c:pt>
                <c:pt idx="5">
                  <c:v>0.4693621990584703</c:v>
                </c:pt>
                <c:pt idx="6">
                  <c:v>0.4804348112427464</c:v>
                </c:pt>
                <c:pt idx="7">
                  <c:v>0.48199540791270423</c:v>
                </c:pt>
                <c:pt idx="8">
                  <c:v>0.5050881006203939</c:v>
                </c:pt>
                <c:pt idx="9">
                  <c:v>0.4942268226707557</c:v>
                </c:pt>
                <c:pt idx="10">
                  <c:v>0.508409453568173</c:v>
                </c:pt>
                <c:pt idx="11">
                  <c:v>0.4843186508076572</c:v>
                </c:pt>
                <c:pt idx="12">
                  <c:v>0.49875776021683177</c:v>
                </c:pt>
                <c:pt idx="13">
                  <c:v>0.4883523177700359</c:v>
                </c:pt>
                <c:pt idx="14">
                  <c:v>0.47639479735998363</c:v>
                </c:pt>
                <c:pt idx="15">
                  <c:v>0.47744444646002443</c:v>
                </c:pt>
                <c:pt idx="16">
                  <c:v>0.487966003651609</c:v>
                </c:pt>
                <c:pt idx="17">
                  <c:v>0.4711883642665154</c:v>
                </c:pt>
                <c:pt idx="18">
                  <c:v>0.44332920196107656</c:v>
                </c:pt>
                <c:pt idx="19">
                  <c:v>0.48184957649453275</c:v>
                </c:pt>
                <c:pt idx="20">
                  <c:v>0.4642397482447652</c:v>
                </c:pt>
                <c:pt idx="21">
                  <c:v>0.42799786497661657</c:v>
                </c:pt>
                <c:pt idx="22">
                  <c:v>0.4340738059156812</c:v>
                </c:pt>
                <c:pt idx="23">
                  <c:v>0.43235514659240026</c:v>
                </c:pt>
                <c:pt idx="24">
                  <c:v>0.430617468290692</c:v>
                </c:pt>
                <c:pt idx="25">
                  <c:v>0.4394388618532412</c:v>
                </c:pt>
                <c:pt idx="26">
                  <c:v>0.44206144354470406</c:v>
                </c:pt>
                <c:pt idx="27">
                  <c:v>0.4562014661370732</c:v>
                </c:pt>
                <c:pt idx="28">
                  <c:v>0.43637091421070456</c:v>
                </c:pt>
                <c:pt idx="29">
                  <c:v>0.40650208921265707</c:v>
                </c:pt>
                <c:pt idx="30">
                  <c:v>0.39184747485262755</c:v>
                </c:pt>
                <c:pt idx="31">
                  <c:v>0.3941486160932767</c:v>
                </c:pt>
                <c:pt idx="32">
                  <c:v>0.39523312752338136</c:v>
                </c:pt>
                <c:pt idx="33">
                  <c:v>0.42640443218589824</c:v>
                </c:pt>
                <c:pt idx="34">
                  <c:v>0.45078750415744756</c:v>
                </c:pt>
                <c:pt idx="35">
                  <c:v>0.4242337184236079</c:v>
                </c:pt>
                <c:pt idx="36">
                  <c:v>0.3738973000300616</c:v>
                </c:pt>
                <c:pt idx="37">
                  <c:v>0.4164619413163026</c:v>
                </c:pt>
                <c:pt idx="38">
                  <c:v>0.4227724888669696</c:v>
                </c:pt>
                <c:pt idx="39">
                  <c:v>0.4392988334930188</c:v>
                </c:pt>
                <c:pt idx="40">
                  <c:v>0.45962444240906536</c:v>
                </c:pt>
                <c:pt idx="41">
                  <c:v>0.485647202062338</c:v>
                </c:pt>
                <c:pt idx="42">
                  <c:v>0.472956271934435</c:v>
                </c:pt>
                <c:pt idx="43">
                  <c:v>0.5293860699593005</c:v>
                </c:pt>
                <c:pt idx="44">
                  <c:v>0.5633362580456144</c:v>
                </c:pt>
                <c:pt idx="45">
                  <c:v>0.5890513855842257</c:v>
                </c:pt>
                <c:pt idx="46">
                  <c:v>0.5616184541749041</c:v>
                </c:pt>
                <c:pt idx="47">
                  <c:v>0.5681984821190365</c:v>
                </c:pt>
                <c:pt idx="48">
                  <c:v>0.5932358126621697</c:v>
                </c:pt>
                <c:pt idx="49">
                  <c:v>0.6314859751349263</c:v>
                </c:pt>
                <c:pt idx="50">
                  <c:v>0.5936994067128856</c:v>
                </c:pt>
                <c:pt idx="51">
                  <c:v>0.5372335614959053</c:v>
                </c:pt>
              </c:numCache>
            </c:numRef>
          </c:xVal>
          <c:yVal>
            <c:numRef>
              <c:f>Sheet1!$B$109:$B$160</c:f>
              <c:numCache>
                <c:formatCode>General</c:formatCode>
                <c:ptCount val="52"/>
                <c:pt idx="0">
                  <c:v>0.12999502570054716</c:v>
                </c:pt>
                <c:pt idx="1">
                  <c:v>0.1313324080499653</c:v>
                </c:pt>
                <c:pt idx="2">
                  <c:v>0.13660191181005243</c:v>
                </c:pt>
                <c:pt idx="3">
                  <c:v>0.15032</c:v>
                </c:pt>
                <c:pt idx="4">
                  <c:v>0.13078454798884906</c:v>
                </c:pt>
                <c:pt idx="5">
                  <c:v>0.13761702127659575</c:v>
                </c:pt>
                <c:pt idx="6">
                  <c:v>0.14267129228100608</c:v>
                </c:pt>
                <c:pt idx="7">
                  <c:v>0.13190396205908508</c:v>
                </c:pt>
                <c:pt idx="8">
                  <c:v>0.1375590020229265</c:v>
                </c:pt>
                <c:pt idx="9">
                  <c:v>0.14637454355764215</c:v>
                </c:pt>
                <c:pt idx="10">
                  <c:v>0.15709631439625332</c:v>
                </c:pt>
                <c:pt idx="11">
                  <c:v>0.17545020213156928</c:v>
                </c:pt>
                <c:pt idx="12">
                  <c:v>0.17328773129878103</c:v>
                </c:pt>
                <c:pt idx="13">
                  <c:v>0.16060054595086443</c:v>
                </c:pt>
                <c:pt idx="14">
                  <c:v>0.15637570394207562</c:v>
                </c:pt>
                <c:pt idx="15">
                  <c:v>0.1485995296129998</c:v>
                </c:pt>
                <c:pt idx="16">
                  <c:v>0.13022730126836618</c:v>
                </c:pt>
                <c:pt idx="17">
                  <c:v>0.11423319327731092</c:v>
                </c:pt>
                <c:pt idx="18">
                  <c:v>0.1210502213402534</c:v>
                </c:pt>
                <c:pt idx="19">
                  <c:v>0.11974635009585607</c:v>
                </c:pt>
                <c:pt idx="20">
                  <c:v>0.10045806349707787</c:v>
                </c:pt>
                <c:pt idx="21">
                  <c:v>0.10596546310832025</c:v>
                </c:pt>
                <c:pt idx="22">
                  <c:v>0.101711209382811</c:v>
                </c:pt>
                <c:pt idx="23">
                  <c:v>0.10938759065269943</c:v>
                </c:pt>
                <c:pt idx="24">
                  <c:v>0.1016949152542373</c:v>
                </c:pt>
                <c:pt idx="25">
                  <c:v>0.11427449440408403</c:v>
                </c:pt>
                <c:pt idx="26">
                  <c:v>0.09500609013398295</c:v>
                </c:pt>
                <c:pt idx="27">
                  <c:v>0.0990962422704931</c:v>
                </c:pt>
                <c:pt idx="28">
                  <c:v>0.11553784860557768</c:v>
                </c:pt>
                <c:pt idx="29">
                  <c:v>0.11103542234332425</c:v>
                </c:pt>
                <c:pt idx="30">
                  <c:v>0.1187433439829606</c:v>
                </c:pt>
                <c:pt idx="31">
                  <c:v>0.12219920918847675</c:v>
                </c:pt>
                <c:pt idx="32">
                  <c:v>0.13054106910039112</c:v>
                </c:pt>
                <c:pt idx="33">
                  <c:v>0.1433284941269632</c:v>
                </c:pt>
                <c:pt idx="34">
                  <c:v>0.166114853293755</c:v>
                </c:pt>
                <c:pt idx="35">
                  <c:v>0.15080381277564375</c:v>
                </c:pt>
                <c:pt idx="36">
                  <c:v>0.11992465466722478</c:v>
                </c:pt>
                <c:pt idx="37">
                  <c:v>0.10306198655713218</c:v>
                </c:pt>
                <c:pt idx="38">
                  <c:v>0.10100595360295628</c:v>
                </c:pt>
                <c:pt idx="39">
                  <c:v>0.1189522342064715</c:v>
                </c:pt>
                <c:pt idx="40">
                  <c:v>0.10111177884615384</c:v>
                </c:pt>
                <c:pt idx="41">
                  <c:v>0.10005701254275941</c:v>
                </c:pt>
                <c:pt idx="42">
                  <c:v>0.10146561443066517</c:v>
                </c:pt>
                <c:pt idx="43">
                  <c:v>0.09938872537921667</c:v>
                </c:pt>
                <c:pt idx="44">
                  <c:v>0.1001621673185157</c:v>
                </c:pt>
                <c:pt idx="45">
                  <c:v>0.121137564223171</c:v>
                </c:pt>
                <c:pt idx="46">
                  <c:v>0.11159132163540496</c:v>
                </c:pt>
                <c:pt idx="47">
                  <c:v>0.11523327712197864</c:v>
                </c:pt>
                <c:pt idx="48">
                  <c:v>0.11399809549721127</c:v>
                </c:pt>
                <c:pt idx="49">
                  <c:v>0.1334806342604627</c:v>
                </c:pt>
                <c:pt idx="50">
                  <c:v>0.16695591808399862</c:v>
                </c:pt>
                <c:pt idx="51">
                  <c:v>0.1523260284505959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40545454134787</c:v>
                </c:pt>
              </c:numCache>
            </c:numRef>
          </c:xVal>
          <c:yVal>
            <c:numRef>
              <c:f>Sheet1!$B$163:$B$164</c:f>
              <c:numCache>
                <c:formatCode>General</c:formatCode>
                <c:ptCount val="2"/>
                <c:pt idx="0">
                  <c:v>0.19172994932766552</c:v>
                </c:pt>
                <c:pt idx="1">
                  <c:v>0.191729949327665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40545454134787</c:v>
                </c:pt>
                <c:pt idx="1">
                  <c:v>1.340545454134787</c:v>
                </c:pt>
              </c:numCache>
            </c:numRef>
          </c:xVal>
          <c:yVal>
            <c:numRef>
              <c:f>Sheet1!$B$167:$B$168</c:f>
              <c:numCache>
                <c:formatCode>General</c:formatCode>
                <c:ptCount val="2"/>
                <c:pt idx="0">
                  <c:v>0.19172994932766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769654049292338</c:v>
                </c:pt>
              </c:numCache>
            </c:numRef>
          </c:xVal>
          <c:yVal>
            <c:numRef>
              <c:f>Sheet1!$B$171:$B$172</c:f>
              <c:numCache>
                <c:formatCode>General</c:formatCode>
                <c:ptCount val="2"/>
                <c:pt idx="0">
                  <c:v>0.14169016907306714</c:v>
                </c:pt>
                <c:pt idx="1">
                  <c:v>0.141690169073067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769654049292338</c:v>
                </c:pt>
                <c:pt idx="1">
                  <c:v>0.6769654049292338</c:v>
                </c:pt>
              </c:numCache>
            </c:numRef>
          </c:xVal>
          <c:yVal>
            <c:numRef>
              <c:f>Sheet1!$B$175:$B$176</c:f>
              <c:numCache>
                <c:formatCode>General</c:formatCode>
                <c:ptCount val="2"/>
                <c:pt idx="0">
                  <c:v>0.141690169073067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647066080357905</c:v>
                </c:pt>
              </c:numCache>
            </c:numRef>
          </c:xVal>
          <c:yVal>
            <c:numRef>
              <c:f>Sheet1!$B$179:$B$180</c:f>
              <c:numCache>
                <c:formatCode>General</c:formatCode>
                <c:ptCount val="2"/>
                <c:pt idx="0">
                  <c:v>0.11814310553820039</c:v>
                </c:pt>
                <c:pt idx="1">
                  <c:v>0.118143105538200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647066080357905</c:v>
                </c:pt>
                <c:pt idx="1">
                  <c:v>0.3647066080357905</c:v>
                </c:pt>
              </c:numCache>
            </c:numRef>
          </c:xVal>
          <c:yVal>
            <c:numRef>
              <c:f>Sheet1!$B$183:$B$184</c:f>
              <c:numCache>
                <c:formatCode>General</c:formatCode>
                <c:ptCount val="2"/>
                <c:pt idx="0">
                  <c:v>0.118143105538200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993594145040641</c:v>
                </c:pt>
                <c:pt idx="1">
                  <c:v>0.47583330111029604</c:v>
                </c:pt>
                <c:pt idx="2">
                  <c:v>0.4839533082741002</c:v>
                </c:pt>
                <c:pt idx="3">
                  <c:v>0.4608776953528519</c:v>
                </c:pt>
                <c:pt idx="4">
                  <c:v>0.4622892276184589</c:v>
                </c:pt>
                <c:pt idx="5">
                  <c:v>0.4693621990584703</c:v>
                </c:pt>
                <c:pt idx="6">
                  <c:v>0.4804348112427464</c:v>
                </c:pt>
                <c:pt idx="7">
                  <c:v>0.48199540791270423</c:v>
                </c:pt>
                <c:pt idx="8">
                  <c:v>0.5050881006203939</c:v>
                </c:pt>
                <c:pt idx="9">
                  <c:v>0.4942268226707557</c:v>
                </c:pt>
                <c:pt idx="10">
                  <c:v>0.508409453568173</c:v>
                </c:pt>
                <c:pt idx="11">
                  <c:v>0.4843186508076572</c:v>
                </c:pt>
                <c:pt idx="12">
                  <c:v>0.49875776021683177</c:v>
                </c:pt>
                <c:pt idx="13">
                  <c:v>0.4883523177700359</c:v>
                </c:pt>
                <c:pt idx="14">
                  <c:v>0.47639479735998363</c:v>
                </c:pt>
                <c:pt idx="15">
                  <c:v>0.47744444646002443</c:v>
                </c:pt>
                <c:pt idx="16">
                  <c:v>0.487966003651609</c:v>
                </c:pt>
                <c:pt idx="17">
                  <c:v>0.4711883642665154</c:v>
                </c:pt>
                <c:pt idx="18">
                  <c:v>0.44332920196107656</c:v>
                </c:pt>
                <c:pt idx="19">
                  <c:v>0.48184957649453275</c:v>
                </c:pt>
                <c:pt idx="20">
                  <c:v>0.4642397482447652</c:v>
                </c:pt>
                <c:pt idx="21">
                  <c:v>0.42799786497661657</c:v>
                </c:pt>
                <c:pt idx="22">
                  <c:v>0.4340738059156812</c:v>
                </c:pt>
                <c:pt idx="23">
                  <c:v>0.43235514659240026</c:v>
                </c:pt>
                <c:pt idx="24">
                  <c:v>0.430617468290692</c:v>
                </c:pt>
                <c:pt idx="25">
                  <c:v>0.4394388618532412</c:v>
                </c:pt>
                <c:pt idx="26">
                  <c:v>0.44206144354470406</c:v>
                </c:pt>
                <c:pt idx="27">
                  <c:v>0.4562014661370732</c:v>
                </c:pt>
                <c:pt idx="28">
                  <c:v>0.43637091421070456</c:v>
                </c:pt>
                <c:pt idx="29">
                  <c:v>0.40650208921265707</c:v>
                </c:pt>
                <c:pt idx="30">
                  <c:v>0.39184747485262755</c:v>
                </c:pt>
                <c:pt idx="31">
                  <c:v>0.3941486160932767</c:v>
                </c:pt>
                <c:pt idx="32">
                  <c:v>0.39523312752338136</c:v>
                </c:pt>
                <c:pt idx="33">
                  <c:v>0.42640443218589824</c:v>
                </c:pt>
                <c:pt idx="34">
                  <c:v>0.45078750415744756</c:v>
                </c:pt>
                <c:pt idx="35">
                  <c:v>0.4242337184236079</c:v>
                </c:pt>
                <c:pt idx="36">
                  <c:v>0.3738973000300616</c:v>
                </c:pt>
                <c:pt idx="37">
                  <c:v>0.4164619413163026</c:v>
                </c:pt>
                <c:pt idx="38">
                  <c:v>0.4227724888669696</c:v>
                </c:pt>
                <c:pt idx="39">
                  <c:v>0.4392988334930188</c:v>
                </c:pt>
                <c:pt idx="40">
                  <c:v>0.45962444240906536</c:v>
                </c:pt>
                <c:pt idx="41">
                  <c:v>0.485647202062338</c:v>
                </c:pt>
                <c:pt idx="42">
                  <c:v>0.472956271934435</c:v>
                </c:pt>
                <c:pt idx="43">
                  <c:v>0.5293860699593005</c:v>
                </c:pt>
                <c:pt idx="44">
                  <c:v>0.5633362580456144</c:v>
                </c:pt>
                <c:pt idx="45">
                  <c:v>0.5890513855842257</c:v>
                </c:pt>
                <c:pt idx="46">
                  <c:v>0.5616184541749041</c:v>
                </c:pt>
                <c:pt idx="47">
                  <c:v>0.5681984821190365</c:v>
                </c:pt>
                <c:pt idx="48">
                  <c:v>0.5932358126621697</c:v>
                </c:pt>
                <c:pt idx="49">
                  <c:v>0.6314859751349263</c:v>
                </c:pt>
                <c:pt idx="50">
                  <c:v>0.5936994067128856</c:v>
                </c:pt>
                <c:pt idx="51">
                  <c:v>0.5372335614959053</c:v>
                </c:pt>
                <c:pt idx="52">
                  <c:v>0.6769654049292338</c:v>
                </c:pt>
                <c:pt idx="53">
                  <c:v>1.340545454134787</c:v>
                </c:pt>
                <c:pt idx="54">
                  <c:v>0.3647066080357905</c:v>
                </c:pt>
              </c:numCache>
            </c:numRef>
          </c:xVal>
          <c:yVal>
            <c:numRef>
              <c:f>Sheet1!$B$187:$B$241</c:f>
              <c:numCache>
                <c:formatCode>General</c:formatCode>
                <c:ptCount val="55"/>
                <c:pt idx="0">
                  <c:v>0.12829711311332895</c:v>
                </c:pt>
                <c:pt idx="1">
                  <c:v>0.1265230369549539</c:v>
                </c:pt>
                <c:pt idx="2">
                  <c:v>0.12713535701284137</c:v>
                </c:pt>
                <c:pt idx="3">
                  <c:v>0.12539525255792014</c:v>
                </c:pt>
                <c:pt idx="4">
                  <c:v>0.12550169452295182</c:v>
                </c:pt>
                <c:pt idx="5">
                  <c:v>0.12603505886539845</c:v>
                </c:pt>
                <c:pt idx="6">
                  <c:v>0.1268700313471795</c:v>
                </c:pt>
                <c:pt idx="7">
                  <c:v>0.12698771408119816</c:v>
                </c:pt>
                <c:pt idx="8">
                  <c:v>0.12872910650244893</c:v>
                </c:pt>
                <c:pt idx="9">
                  <c:v>0.12791007048330597</c:v>
                </c:pt>
                <c:pt idx="10">
                  <c:v>0.12897956576784397</c:v>
                </c:pt>
                <c:pt idx="11">
                  <c:v>0.12716290705766076</c:v>
                </c:pt>
                <c:pt idx="12">
                  <c:v>0.12825174308094417</c:v>
                </c:pt>
                <c:pt idx="13">
                  <c:v>0.12746708107353014</c:v>
                </c:pt>
                <c:pt idx="14">
                  <c:v>0.12656537871761206</c:v>
                </c:pt>
                <c:pt idx="15">
                  <c:v>0.12664453150463956</c:v>
                </c:pt>
                <c:pt idx="16">
                  <c:v>0.12743794958650234</c:v>
                </c:pt>
                <c:pt idx="17">
                  <c:v>0.12617276780620906</c:v>
                </c:pt>
                <c:pt idx="18">
                  <c:v>0.12407194159615298</c:v>
                </c:pt>
                <c:pt idx="19">
                  <c:v>0.12697671710784392</c:v>
                </c:pt>
                <c:pt idx="20">
                  <c:v>0.12564878095757154</c:v>
                </c:pt>
                <c:pt idx="21">
                  <c:v>0.12291582375531365</c:v>
                </c:pt>
                <c:pt idx="22">
                  <c:v>0.12337400321654776</c:v>
                </c:pt>
                <c:pt idx="23">
                  <c:v>0.12324440116631666</c:v>
                </c:pt>
                <c:pt idx="24">
                  <c:v>0.12311336491760068</c:v>
                </c:pt>
                <c:pt idx="25">
                  <c:v>0.12377857568748107</c:v>
                </c:pt>
                <c:pt idx="26">
                  <c:v>0.12397634144565545</c:v>
                </c:pt>
                <c:pt idx="27">
                  <c:v>0.12504262368871613</c:v>
                </c:pt>
                <c:pt idx="28">
                  <c:v>0.12354722541399268</c:v>
                </c:pt>
                <c:pt idx="29">
                  <c:v>0.12129485293661825</c:v>
                </c:pt>
                <c:pt idx="30">
                  <c:v>0.12018976594195997</c:v>
                </c:pt>
                <c:pt idx="31">
                  <c:v>0.12036329225902562</c:v>
                </c:pt>
                <c:pt idx="32">
                  <c:v>0.12044507397279325</c:v>
                </c:pt>
                <c:pt idx="33">
                  <c:v>0.12279566488858237</c:v>
                </c:pt>
                <c:pt idx="34">
                  <c:v>0.12463436327146646</c:v>
                </c:pt>
                <c:pt idx="35">
                  <c:v>0.12263197395213743</c:v>
                </c:pt>
                <c:pt idx="36">
                  <c:v>0.11883616466246372</c:v>
                </c:pt>
                <c:pt idx="37">
                  <c:v>0.12204591350757936</c:v>
                </c:pt>
                <c:pt idx="38">
                  <c:v>0.12252178437364838</c:v>
                </c:pt>
                <c:pt idx="39">
                  <c:v>0.12376801631580717</c:v>
                </c:pt>
                <c:pt idx="40">
                  <c:v>0.12530074624781395</c:v>
                </c:pt>
                <c:pt idx="41">
                  <c:v>0.12726309152360543</c:v>
                </c:pt>
                <c:pt idx="42">
                  <c:v>0.12630608361538542</c:v>
                </c:pt>
                <c:pt idx="43">
                  <c:v>0.1305613873972822</c:v>
                </c:pt>
                <c:pt idx="44">
                  <c:v>0.13312153059850612</c:v>
                </c:pt>
                <c:pt idx="45">
                  <c:v>0.13506067770335298</c:v>
                </c:pt>
                <c:pt idx="46">
                  <c:v>0.13299199305693332</c:v>
                </c:pt>
                <c:pt idx="47">
                  <c:v>0.13348818511814387</c:v>
                </c:pt>
                <c:pt idx="48">
                  <c:v>0.13537622035977007</c:v>
                </c:pt>
                <c:pt idx="49">
                  <c:v>0.1382606195021658</c:v>
                </c:pt>
                <c:pt idx="50">
                  <c:v>0.1354111794343428</c:v>
                </c:pt>
                <c:pt idx="51">
                  <c:v>0.1311531573766715</c:v>
                </c:pt>
                <c:pt idx="52">
                  <c:v>0.14169016907306714</c:v>
                </c:pt>
                <c:pt idx="53">
                  <c:v>0.19172994932766552</c:v>
                </c:pt>
                <c:pt idx="54">
                  <c:v>0.118143105538200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61470215462606"/>
          <c:min val="0.067110125646711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1.2737</c:v>
                </c:pt>
                <c:pt idx="1">
                  <c:v>819.0975</c:v>
                </c:pt>
                <c:pt idx="2">
                  <c:v>858.2705</c:v>
                </c:pt>
                <c:pt idx="3">
                  <c:v>871.3148</c:v>
                </c:pt>
                <c:pt idx="4">
                  <c:v>871.8715</c:v>
                </c:pt>
                <c:pt idx="5">
                  <c:v>868.6209</c:v>
                </c:pt>
                <c:pt idx="6">
                  <c:v>827.6505</c:v>
                </c:pt>
                <c:pt idx="7">
                  <c:v>840.7979</c:v>
                </c:pt>
                <c:pt idx="8">
                  <c:v>827.6096</c:v>
                </c:pt>
                <c:pt idx="9">
                  <c:v>811.5138</c:v>
                </c:pt>
                <c:pt idx="10">
                  <c:v>820.3379</c:v>
                </c:pt>
                <c:pt idx="11">
                  <c:v>862.8005</c:v>
                </c:pt>
                <c:pt idx="12">
                  <c:v>864.102</c:v>
                </c:pt>
                <c:pt idx="13">
                  <c:v>855.2083</c:v>
                </c:pt>
                <c:pt idx="14">
                  <c:v>857.8052</c:v>
                </c:pt>
                <c:pt idx="15">
                  <c:v>867.9716</c:v>
                </c:pt>
                <c:pt idx="16">
                  <c:v>872.0827</c:v>
                </c:pt>
                <c:pt idx="17">
                  <c:v>880.582</c:v>
                </c:pt>
                <c:pt idx="18">
                  <c:v>921.4144</c:v>
                </c:pt>
                <c:pt idx="19">
                  <c:v>946.4751</c:v>
                </c:pt>
                <c:pt idx="20">
                  <c:v>945.1206</c:v>
                </c:pt>
                <c:pt idx="21">
                  <c:v>954.3219</c:v>
                </c:pt>
                <c:pt idx="22">
                  <c:v>934.0061</c:v>
                </c:pt>
                <c:pt idx="23">
                  <c:v>921.7446</c:v>
                </c:pt>
                <c:pt idx="24">
                  <c:v>901.7083</c:v>
                </c:pt>
                <c:pt idx="25">
                  <c:v>884.0243</c:v>
                </c:pt>
                <c:pt idx="26">
                  <c:v>877.4207</c:v>
                </c:pt>
                <c:pt idx="27">
                  <c:v>918.9585</c:v>
                </c:pt>
                <c:pt idx="28">
                  <c:v>921.2791</c:v>
                </c:pt>
                <c:pt idx="29">
                  <c:v>711.5323</c:v>
                </c:pt>
                <c:pt idx="30">
                  <c:v>779.8393</c:v>
                </c:pt>
                <c:pt idx="31">
                  <c:v>836.0792</c:v>
                </c:pt>
                <c:pt idx="32">
                  <c:v>812.5499</c:v>
                </c:pt>
                <c:pt idx="33">
                  <c:v>725.2041</c:v>
                </c:pt>
                <c:pt idx="34">
                  <c:v>859.033</c:v>
                </c:pt>
                <c:pt idx="35">
                  <c:v>905.6868</c:v>
                </c:pt>
                <c:pt idx="36">
                  <c:v>981.7692</c:v>
                </c:pt>
                <c:pt idx="37">
                  <c:v>997.5957</c:v>
                </c:pt>
                <c:pt idx="38">
                  <c:v>1037.3276</c:v>
                </c:pt>
                <c:pt idx="39">
                  <c:v>1046.309</c:v>
                </c:pt>
                <c:pt idx="40">
                  <c:v>1046.5027</c:v>
                </c:pt>
                <c:pt idx="41">
                  <c:v>1076.8157</c:v>
                </c:pt>
                <c:pt idx="42">
                  <c:v>1091.2024</c:v>
                </c:pt>
                <c:pt idx="43">
                  <c:v>1080.0168</c:v>
                </c:pt>
                <c:pt idx="44">
                  <c:v>1000.4567</c:v>
                </c:pt>
                <c:pt idx="45">
                  <c:v>971.7669</c:v>
                </c:pt>
                <c:pt idx="46">
                  <c:v>973.2606</c:v>
                </c:pt>
                <c:pt idx="47">
                  <c:v>950.2549</c:v>
                </c:pt>
                <c:pt idx="48">
                  <c:v>973.9632</c:v>
                </c:pt>
                <c:pt idx="49">
                  <c:v>963.1539</c:v>
                </c:pt>
                <c:pt idx="50">
                  <c:v>937.2458</c:v>
                </c:pt>
                <c:pt idx="51">
                  <c:v>931.6047</c:v>
                </c:pt>
                <c:pt idx="52">
                  <c:v>943.9112</c:v>
                </c:pt>
                <c:pt idx="53">
                  <c:v>1010.4422</c:v>
                </c:pt>
                <c:pt idx="54">
                  <c:v>1011.1632</c:v>
                </c:pt>
                <c:pt idx="55">
                  <c:v>1020.2835</c:v>
                </c:pt>
                <c:pt idx="56">
                  <c:v>1052.2614</c:v>
                </c:pt>
                <c:pt idx="57">
                  <c:v>1043.6063</c:v>
                </c:pt>
                <c:pt idx="58">
                  <c:v>1007.4052</c:v>
                </c:pt>
                <c:pt idx="59">
                  <c:v>995.4068</c:v>
                </c:pt>
                <c:pt idx="60">
                  <c:v>1015.3987</c:v>
                </c:pt>
                <c:pt idx="61">
                  <c:v>1000.7635</c:v>
                </c:pt>
                <c:pt idx="62">
                  <c:v>963.5396</c:v>
                </c:pt>
                <c:pt idx="63">
                  <c:v>1019.2228</c:v>
                </c:pt>
                <c:pt idx="64">
                  <c:v>1017.6501</c:v>
                </c:pt>
                <c:pt idx="65">
                  <c:v>1007.3758</c:v>
                </c:pt>
                <c:pt idx="66">
                  <c:v>998.4057</c:v>
                </c:pt>
                <c:pt idx="67">
                  <c:v>1015.4233</c:v>
                </c:pt>
                <c:pt idx="68">
                  <c:v>994.3763</c:v>
                </c:pt>
                <c:pt idx="69">
                  <c:v>993.2413</c:v>
                </c:pt>
                <c:pt idx="70">
                  <c:v>993.6056</c:v>
                </c:pt>
                <c:pt idx="71">
                  <c:v>1068.8518</c:v>
                </c:pt>
                <c:pt idx="72">
                  <c:v>1131.7122</c:v>
                </c:pt>
                <c:pt idx="73">
                  <c:v>1181.0749</c:v>
                </c:pt>
                <c:pt idx="74">
                  <c:v>1132.9471</c:v>
                </c:pt>
                <c:pt idx="75">
                  <c:v>1105.7185</c:v>
                </c:pt>
                <c:pt idx="76">
                  <c:v>1143.8433</c:v>
                </c:pt>
                <c:pt idx="77">
                  <c:v>1128.6361</c:v>
                </c:pt>
                <c:pt idx="78">
                  <c:v>1118.4825</c:v>
                </c:pt>
                <c:pt idx="79">
                  <c:v>1139.7643</c:v>
                </c:pt>
                <c:pt idx="80">
                  <c:v>1126.938</c:v>
                </c:pt>
                <c:pt idx="81">
                  <c:v>1103.7364</c:v>
                </c:pt>
                <c:pt idx="82">
                  <c:v>1120.0</c:v>
                </c:pt>
                <c:pt idx="83">
                  <c:v>1123.3943</c:v>
                </c:pt>
                <c:pt idx="84">
                  <c:v>1080.868</c:v>
                </c:pt>
                <c:pt idx="85">
                  <c:v>1085.1131</c:v>
                </c:pt>
                <c:pt idx="86">
                  <c:v>1092.1709</c:v>
                </c:pt>
                <c:pt idx="87">
                  <c:v>1110.3624</c:v>
                </c:pt>
                <c:pt idx="88">
                  <c:v>1118.907</c:v>
                </c:pt>
                <c:pt idx="89">
                  <c:v>1098.3514</c:v>
                </c:pt>
                <c:pt idx="90">
                  <c:v>1164.3076</c:v>
                </c:pt>
                <c:pt idx="91">
                  <c:v>1163.201</c:v>
                </c:pt>
                <c:pt idx="92">
                  <c:v>1085.6269</c:v>
                </c:pt>
                <c:pt idx="93">
                  <c:v>1133.7281</c:v>
                </c:pt>
                <c:pt idx="94">
                  <c:v>1155.0718</c:v>
                </c:pt>
                <c:pt idx="95">
                  <c:v>1128.1467</c:v>
                </c:pt>
                <c:pt idx="96">
                  <c:v>1075.6177</c:v>
                </c:pt>
                <c:pt idx="97">
                  <c:v>1076.3166</c:v>
                </c:pt>
                <c:pt idx="98">
                  <c:v>1071.4476</c:v>
                </c:pt>
                <c:pt idx="99">
                  <c:v>1011.0179</c:v>
                </c:pt>
                <c:pt idx="100">
                  <c:v>1021.1252</c:v>
                </c:pt>
                <c:pt idx="101">
                  <c:v>1026.1331</c:v>
                </c:pt>
                <c:pt idx="102">
                  <c:v>1022.1716</c:v>
                </c:pt>
                <c:pt idx="103">
                  <c:v>999.8382</c:v>
                </c:pt>
                <c:pt idx="104">
                  <c:v>1059.4838</c:v>
                </c:pt>
              </c:numCache>
            </c:numRef>
          </c:xVal>
          <c:yVal>
            <c:numRef>
              <c:f>Sheet1!$B$2:$B$106</c:f>
              <c:numCache>
                <c:formatCode>General</c:formatCode>
                <c:ptCount val="105"/>
                <c:pt idx="0">
                  <c:v>0.20820213501267185</c:v>
                </c:pt>
                <c:pt idx="1">
                  <c:v>0.19276172724448587</c:v>
                </c:pt>
                <c:pt idx="2">
                  <c:v>0.16175860638739112</c:v>
                </c:pt>
                <c:pt idx="3">
                  <c:v>0.1568939393939394</c:v>
                </c:pt>
                <c:pt idx="4">
                  <c:v>0.146620418111934</c:v>
                </c:pt>
                <c:pt idx="5">
                  <c:v>0.13317431922083084</c:v>
                </c:pt>
                <c:pt idx="6">
                  <c:v>0.15602981721637904</c:v>
                </c:pt>
                <c:pt idx="7">
                  <c:v>0.15211910193300515</c:v>
                </c:pt>
                <c:pt idx="8">
                  <c:v>0.16764437491852432</c:v>
                </c:pt>
                <c:pt idx="9">
                  <c:v>0.20007348888480617</c:v>
                </c:pt>
                <c:pt idx="10">
                  <c:v>0.2060474379866015</c:v>
                </c:pt>
                <c:pt idx="11">
                  <c:v>0.1930715935334873</c:v>
                </c:pt>
                <c:pt idx="12">
                  <c:v>0.20071349698462584</c:v>
                </c:pt>
                <c:pt idx="13">
                  <c:v>0.21301225179552175</c:v>
                </c:pt>
                <c:pt idx="14">
                  <c:v>0.20839851790860436</c:v>
                </c:pt>
                <c:pt idx="15">
                  <c:v>0.20707480235151024</c:v>
                </c:pt>
                <c:pt idx="16">
                  <c:v>0.200352733686067</c:v>
                </c:pt>
                <c:pt idx="17">
                  <c:v>0.18456827924066135</c:v>
                </c:pt>
                <c:pt idx="18">
                  <c:v>0.16720133453098934</c:v>
                </c:pt>
                <c:pt idx="19">
                  <c:v>0.1585309158530916</c:v>
                </c:pt>
                <c:pt idx="20">
                  <c:v>0.18110236220472442</c:v>
                </c:pt>
                <c:pt idx="21">
                  <c:v>0.17234212629896084</c:v>
                </c:pt>
                <c:pt idx="22">
                  <c:v>0.1722264150943396</c:v>
                </c:pt>
                <c:pt idx="23">
                  <c:v>0.17640573318632854</c:v>
                </c:pt>
                <c:pt idx="24">
                  <c:v>0.17587209302325582</c:v>
                </c:pt>
                <c:pt idx="25">
                  <c:v>0.1758879781420765</c:v>
                </c:pt>
                <c:pt idx="26">
                  <c:v>0.18419711129991503</c:v>
                </c:pt>
                <c:pt idx="27">
                  <c:v>0.1618563463430633</c:v>
                </c:pt>
                <c:pt idx="28">
                  <c:v>0.15706890973794888</c:v>
                </c:pt>
                <c:pt idx="29">
                  <c:v>0.19202342769488218</c:v>
                </c:pt>
                <c:pt idx="30">
                  <c:v>0.17327102803738317</c:v>
                </c:pt>
                <c:pt idx="31">
                  <c:v>0.16853932584269662</c:v>
                </c:pt>
                <c:pt idx="32">
                  <c:v>0.18266863613983259</c:v>
                </c:pt>
                <c:pt idx="33">
                  <c:v>0.21135567783891945</c:v>
                </c:pt>
                <c:pt idx="34">
                  <c:v>0.1888875836955245</c:v>
                </c:pt>
                <c:pt idx="35">
                  <c:v>0.18052785923753667</c:v>
                </c:pt>
                <c:pt idx="36">
                  <c:v>0.13292241725847515</c:v>
                </c:pt>
                <c:pt idx="37">
                  <c:v>0.12386530014641288</c:v>
                </c:pt>
                <c:pt idx="38">
                  <c:v>0.12001169419675486</c:v>
                </c:pt>
                <c:pt idx="39">
                  <c:v>0.11638846737481032</c:v>
                </c:pt>
                <c:pt idx="40">
                  <c:v>0.11309817464232856</c:v>
                </c:pt>
                <c:pt idx="41">
                  <c:v>0.09314703925482369</c:v>
                </c:pt>
                <c:pt idx="42">
                  <c:v>0.0968299711815562</c:v>
                </c:pt>
                <c:pt idx="43">
                  <c:v>0.1044114615543187</c:v>
                </c:pt>
                <c:pt idx="44">
                  <c:v>0.12461688492616328</c:v>
                </c:pt>
                <c:pt idx="45">
                  <c:v>0.14497041420118342</c:v>
                </c:pt>
                <c:pt idx="46">
                  <c:v>0.14596390072699925</c:v>
                </c:pt>
                <c:pt idx="47">
                  <c:v>0.1430451127819549</c:v>
                </c:pt>
                <c:pt idx="48">
                  <c:v>0.15343695068924046</c:v>
                </c:pt>
                <c:pt idx="49">
                  <c:v>0.18042180930421808</c:v>
                </c:pt>
                <c:pt idx="50">
                  <c:v>0.145105721813146</c:v>
                </c:pt>
                <c:pt idx="51">
                  <c:v>0.12617165213138806</c:v>
                </c:pt>
                <c:pt idx="52">
                  <c:v>0.1383665065202471</c:v>
                </c:pt>
                <c:pt idx="53">
                  <c:v>0.12174766813942071</c:v>
                </c:pt>
                <c:pt idx="54">
                  <c:v>0.11953738854065507</c:v>
                </c:pt>
                <c:pt idx="55">
                  <c:v>0.110609072835713</c:v>
                </c:pt>
                <c:pt idx="56">
                  <c:v>0.11240671641791045</c:v>
                </c:pt>
                <c:pt idx="57">
                  <c:v>0.10587410408226862</c:v>
                </c:pt>
                <c:pt idx="58">
                  <c:v>0.12522617611580217</c:v>
                </c:pt>
                <c:pt idx="59">
                  <c:v>0.13488302489150497</c:v>
                </c:pt>
                <c:pt idx="60">
                  <c:v>0.1444066232042924</c:v>
                </c:pt>
                <c:pt idx="61">
                  <c:v>0.1419235113764725</c:v>
                </c:pt>
                <c:pt idx="62">
                  <c:v>0.15923323659691463</c:v>
                </c:pt>
                <c:pt idx="63">
                  <c:v>0.17938488321485566</c:v>
                </c:pt>
                <c:pt idx="64">
                  <c:v>0.18605877920120573</c:v>
                </c:pt>
                <c:pt idx="65">
                  <c:v>0.16787161356955588</c:v>
                </c:pt>
                <c:pt idx="66">
                  <c:v>0.16226384231618549</c:v>
                </c:pt>
                <c:pt idx="67">
                  <c:v>0.14819920730656558</c:v>
                </c:pt>
                <c:pt idx="68">
                  <c:v>0.13357221061013239</c:v>
                </c:pt>
                <c:pt idx="69">
                  <c:v>0.12051087506322711</c:v>
                </c:pt>
                <c:pt idx="70">
                  <c:v>0.10948991696322657</c:v>
                </c:pt>
                <c:pt idx="71">
                  <c:v>0.11155948971621973</c:v>
                </c:pt>
                <c:pt idx="72">
                  <c:v>0.11561691113028473</c:v>
                </c:pt>
                <c:pt idx="73">
                  <c:v>0.11062878189950014</c:v>
                </c:pt>
                <c:pt idx="74">
                  <c:v>0.10793727968882946</c:v>
                </c:pt>
                <c:pt idx="75">
                  <c:v>0.11423166472642608</c:v>
                </c:pt>
                <c:pt idx="76">
                  <c:v>0.10627042165862767</c:v>
                </c:pt>
                <c:pt idx="77">
                  <c:v>0.10781499202551834</c:v>
                </c:pt>
                <c:pt idx="78">
                  <c:v>0.09770311964346932</c:v>
                </c:pt>
                <c:pt idx="79">
                  <c:v>0.09202168861347793</c:v>
                </c:pt>
                <c:pt idx="80">
                  <c:v>0.08574557972148333</c:v>
                </c:pt>
                <c:pt idx="81">
                  <c:v>0.10161455663762173</c:v>
                </c:pt>
                <c:pt idx="82">
                  <c:v>0.08989145183175033</c:v>
                </c:pt>
                <c:pt idx="83">
                  <c:v>0.08388765705838877</c:v>
                </c:pt>
                <c:pt idx="84">
                  <c:v>0.09150943396226414</c:v>
                </c:pt>
                <c:pt idx="85">
                  <c:v>0.1071779744346116</c:v>
                </c:pt>
                <c:pt idx="86">
                  <c:v>0.11445630081300813</c:v>
                </c:pt>
                <c:pt idx="87">
                  <c:v>0.13038534428300694</c:v>
                </c:pt>
                <c:pt idx="88">
                  <c:v>0.10500629722921914</c:v>
                </c:pt>
                <c:pt idx="89">
                  <c:v>0.09544468546637744</c:v>
                </c:pt>
                <c:pt idx="90">
                  <c:v>0.09447748513169074</c:v>
                </c:pt>
                <c:pt idx="91">
                  <c:v>0.09375512211112932</c:v>
                </c:pt>
                <c:pt idx="92">
                  <c:v>0.10372161762730082</c:v>
                </c:pt>
                <c:pt idx="93">
                  <c:v>0.09947229551451188</c:v>
                </c:pt>
                <c:pt idx="94">
                  <c:v>0.10344304565448202</c:v>
                </c:pt>
                <c:pt idx="95">
                  <c:v>0.11003733801888864</c:v>
                </c:pt>
                <c:pt idx="96">
                  <c:v>0.11253384063803322</c:v>
                </c:pt>
                <c:pt idx="97">
                  <c:v>0.12611764705882353</c:v>
                </c:pt>
                <c:pt idx="98">
                  <c:v>0.1434709400220635</c:v>
                </c:pt>
                <c:pt idx="99">
                  <c:v>0.15150024594195768</c:v>
                </c:pt>
                <c:pt idx="100">
                  <c:v>0.17330729655638588</c:v>
                </c:pt>
                <c:pt idx="101">
                  <c:v>0.150248371072834</c:v>
                </c:pt>
                <c:pt idx="102">
                  <c:v>0.12048508113767231</c:v>
                </c:pt>
                <c:pt idx="103">
                  <c:v>0.12718462027327612</c:v>
                </c:pt>
                <c:pt idx="104">
                  <c:v>0.13001912045889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1.0434</c:v>
                </c:pt>
                <c:pt idx="1">
                  <c:v>1068.1367</c:v>
                </c:pt>
                <c:pt idx="2">
                  <c:v>1070.3047</c:v>
                </c:pt>
                <c:pt idx="3">
                  <c:v>1044.9739</c:v>
                </c:pt>
                <c:pt idx="4">
                  <c:v>1057.6663</c:v>
                </c:pt>
                <c:pt idx="5">
                  <c:v>1064.778</c:v>
                </c:pt>
                <c:pt idx="6">
                  <c:v>984.8217</c:v>
                </c:pt>
                <c:pt idx="7">
                  <c:v>1044.6674</c:v>
                </c:pt>
                <c:pt idx="8">
                  <c:v>1105.0172</c:v>
                </c:pt>
                <c:pt idx="9">
                  <c:v>1058.7455</c:v>
                </c:pt>
                <c:pt idx="10">
                  <c:v>1089.7174</c:v>
                </c:pt>
                <c:pt idx="11">
                  <c:v>937.1856</c:v>
                </c:pt>
                <c:pt idx="12">
                  <c:v>980.8816</c:v>
                </c:pt>
                <c:pt idx="13">
                  <c:v>1055.8601</c:v>
                </c:pt>
                <c:pt idx="14">
                  <c:v>1045.2109</c:v>
                </c:pt>
                <c:pt idx="15">
                  <c:v>1081.7381</c:v>
                </c:pt>
                <c:pt idx="16">
                  <c:v>1122.2816</c:v>
                </c:pt>
                <c:pt idx="17">
                  <c:v>1101.5402</c:v>
                </c:pt>
                <c:pt idx="18">
                  <c:v>1032.5889</c:v>
                </c:pt>
                <c:pt idx="19">
                  <c:v>1182.4618</c:v>
                </c:pt>
                <c:pt idx="20">
                  <c:v>1188.4733</c:v>
                </c:pt>
                <c:pt idx="21">
                  <c:v>1097.587</c:v>
                </c:pt>
                <c:pt idx="22">
                  <c:v>1129.0284</c:v>
                </c:pt>
                <c:pt idx="23">
                  <c:v>1096.7422</c:v>
                </c:pt>
                <c:pt idx="24">
                  <c:v>1091.0538</c:v>
                </c:pt>
                <c:pt idx="25">
                  <c:v>1046.8694</c:v>
                </c:pt>
                <c:pt idx="26">
                  <c:v>1093.6044</c:v>
                </c:pt>
                <c:pt idx="27">
                  <c:v>1102.9024</c:v>
                </c:pt>
                <c:pt idx="28">
                  <c:v>1059.8534</c:v>
                </c:pt>
                <c:pt idx="29">
                  <c:v>1053.2761</c:v>
                </c:pt>
                <c:pt idx="30">
                  <c:v>1003.8849</c:v>
                </c:pt>
                <c:pt idx="31">
                  <c:v>985.8552</c:v>
                </c:pt>
                <c:pt idx="32">
                  <c:v>993.4057</c:v>
                </c:pt>
                <c:pt idx="33">
                  <c:v>1026.4448</c:v>
                </c:pt>
                <c:pt idx="34">
                  <c:v>1047.5588</c:v>
                </c:pt>
                <c:pt idx="35">
                  <c:v>1053.1566</c:v>
                </c:pt>
                <c:pt idx="36">
                  <c:v>1055.2164</c:v>
                </c:pt>
                <c:pt idx="37">
                  <c:v>1158.9275</c:v>
                </c:pt>
                <c:pt idx="38">
                  <c:v>1161.9756</c:v>
                </c:pt>
                <c:pt idx="39">
                  <c:v>1096.9262</c:v>
                </c:pt>
                <c:pt idx="40">
                  <c:v>1143.6909</c:v>
                </c:pt>
                <c:pt idx="41">
                  <c:v>1215.6239</c:v>
                </c:pt>
                <c:pt idx="42">
                  <c:v>1202.6762</c:v>
                </c:pt>
                <c:pt idx="43">
                  <c:v>1200.4214</c:v>
                </c:pt>
                <c:pt idx="44">
                  <c:v>1113.6857</c:v>
                </c:pt>
                <c:pt idx="45">
                  <c:v>1085.8059</c:v>
                </c:pt>
                <c:pt idx="46">
                  <c:v>1098.4756</c:v>
                </c:pt>
                <c:pt idx="47">
                  <c:v>1074.4585</c:v>
                </c:pt>
                <c:pt idx="48">
                  <c:v>1064.8323</c:v>
                </c:pt>
                <c:pt idx="49">
                  <c:v>1092.4002</c:v>
                </c:pt>
                <c:pt idx="50">
                  <c:v>975.5975</c:v>
                </c:pt>
                <c:pt idx="51">
                  <c:v>939.7557</c:v>
                </c:pt>
              </c:numCache>
            </c:numRef>
          </c:xVal>
          <c:yVal>
            <c:numRef>
              <c:f>Sheet1!$B$109:$B$160</c:f>
              <c:numCache>
                <c:formatCode>General</c:formatCode>
                <c:ptCount val="52"/>
                <c:pt idx="0">
                  <c:v>0.12999502570054716</c:v>
                </c:pt>
                <c:pt idx="1">
                  <c:v>0.1313324080499653</c:v>
                </c:pt>
                <c:pt idx="2">
                  <c:v>0.13660191181005243</c:v>
                </c:pt>
                <c:pt idx="3">
                  <c:v>0.15032</c:v>
                </c:pt>
                <c:pt idx="4">
                  <c:v>0.13078454798884906</c:v>
                </c:pt>
                <c:pt idx="5">
                  <c:v>0.13761702127659575</c:v>
                </c:pt>
                <c:pt idx="6">
                  <c:v>0.14267129228100608</c:v>
                </c:pt>
                <c:pt idx="7">
                  <c:v>0.13190396205908508</c:v>
                </c:pt>
                <c:pt idx="8">
                  <c:v>0.1375590020229265</c:v>
                </c:pt>
                <c:pt idx="9">
                  <c:v>0.14637454355764215</c:v>
                </c:pt>
                <c:pt idx="10">
                  <c:v>0.15709631439625332</c:v>
                </c:pt>
                <c:pt idx="11">
                  <c:v>0.17545020213156928</c:v>
                </c:pt>
                <c:pt idx="12">
                  <c:v>0.17328773129878103</c:v>
                </c:pt>
                <c:pt idx="13">
                  <c:v>0.16060054595086443</c:v>
                </c:pt>
                <c:pt idx="14">
                  <c:v>0.15637570394207562</c:v>
                </c:pt>
                <c:pt idx="15">
                  <c:v>0.1485995296129998</c:v>
                </c:pt>
                <c:pt idx="16">
                  <c:v>0.13022730126836618</c:v>
                </c:pt>
                <c:pt idx="17">
                  <c:v>0.11423319327731092</c:v>
                </c:pt>
                <c:pt idx="18">
                  <c:v>0.1210502213402534</c:v>
                </c:pt>
                <c:pt idx="19">
                  <c:v>0.11974635009585607</c:v>
                </c:pt>
                <c:pt idx="20">
                  <c:v>0.10045806349707787</c:v>
                </c:pt>
                <c:pt idx="21">
                  <c:v>0.10596546310832025</c:v>
                </c:pt>
                <c:pt idx="22">
                  <c:v>0.101711209382811</c:v>
                </c:pt>
                <c:pt idx="23">
                  <c:v>0.10938759065269943</c:v>
                </c:pt>
                <c:pt idx="24">
                  <c:v>0.1016949152542373</c:v>
                </c:pt>
                <c:pt idx="25">
                  <c:v>0.11427449440408403</c:v>
                </c:pt>
                <c:pt idx="26">
                  <c:v>0.09500609013398295</c:v>
                </c:pt>
                <c:pt idx="27">
                  <c:v>0.0990962422704931</c:v>
                </c:pt>
                <c:pt idx="28">
                  <c:v>0.11553784860557768</c:v>
                </c:pt>
                <c:pt idx="29">
                  <c:v>0.11103542234332425</c:v>
                </c:pt>
                <c:pt idx="30">
                  <c:v>0.1187433439829606</c:v>
                </c:pt>
                <c:pt idx="31">
                  <c:v>0.12219920918847675</c:v>
                </c:pt>
                <c:pt idx="32">
                  <c:v>0.13054106910039112</c:v>
                </c:pt>
                <c:pt idx="33">
                  <c:v>0.1433284941269632</c:v>
                </c:pt>
                <c:pt idx="34">
                  <c:v>0.166114853293755</c:v>
                </c:pt>
                <c:pt idx="35">
                  <c:v>0.15080381277564375</c:v>
                </c:pt>
                <c:pt idx="36">
                  <c:v>0.11992465466722478</c:v>
                </c:pt>
                <c:pt idx="37">
                  <c:v>0.10306198655713218</c:v>
                </c:pt>
                <c:pt idx="38">
                  <c:v>0.10100595360295628</c:v>
                </c:pt>
                <c:pt idx="39">
                  <c:v>0.1189522342064715</c:v>
                </c:pt>
                <c:pt idx="40">
                  <c:v>0.10111177884615384</c:v>
                </c:pt>
                <c:pt idx="41">
                  <c:v>0.10005701254275941</c:v>
                </c:pt>
                <c:pt idx="42">
                  <c:v>0.10146561443066517</c:v>
                </c:pt>
                <c:pt idx="43">
                  <c:v>0.09938872537921667</c:v>
                </c:pt>
                <c:pt idx="44">
                  <c:v>0.1001621673185157</c:v>
                </c:pt>
                <c:pt idx="45">
                  <c:v>0.121137564223171</c:v>
                </c:pt>
                <c:pt idx="46">
                  <c:v>0.11159132163540496</c:v>
                </c:pt>
                <c:pt idx="47">
                  <c:v>0.11523327712197864</c:v>
                </c:pt>
                <c:pt idx="48">
                  <c:v>0.11399809549721127</c:v>
                </c:pt>
                <c:pt idx="49">
                  <c:v>0.1334806342604627</c:v>
                </c:pt>
                <c:pt idx="50">
                  <c:v>0.16695591808399862</c:v>
                </c:pt>
                <c:pt idx="51">
                  <c:v>0.1523260284505959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1.2425030902951</c:v>
                </c:pt>
              </c:numCache>
            </c:numRef>
          </c:xVal>
          <c:yVal>
            <c:numRef>
              <c:f>Sheet1!$B$163:$B$164</c:f>
              <c:numCache>
                <c:formatCode>General</c:formatCode>
                <c:ptCount val="2"/>
                <c:pt idx="0">
                  <c:v>0.19172994932766552</c:v>
                </c:pt>
                <c:pt idx="1">
                  <c:v>0.191729949327665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1.2425030902951</c:v>
                </c:pt>
                <c:pt idx="1">
                  <c:v>801.2425030902951</c:v>
                </c:pt>
              </c:numCache>
            </c:numRef>
          </c:xVal>
          <c:yVal>
            <c:numRef>
              <c:f>Sheet1!$B$167:$B$168</c:f>
              <c:numCache>
                <c:formatCode>General</c:formatCode>
                <c:ptCount val="2"/>
                <c:pt idx="0">
                  <c:v>0.19172994932766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1.9580529481085</c:v>
                </c:pt>
              </c:numCache>
            </c:numRef>
          </c:xVal>
          <c:yVal>
            <c:numRef>
              <c:f>Sheet1!$B$171:$B$172</c:f>
              <c:numCache>
                <c:formatCode>General</c:formatCode>
                <c:ptCount val="2"/>
                <c:pt idx="0">
                  <c:v>0.14169016907306714</c:v>
                </c:pt>
                <c:pt idx="1">
                  <c:v>0.141690169073067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1.9580529481085</c:v>
                </c:pt>
                <c:pt idx="1">
                  <c:v>1011.9580529481085</c:v>
                </c:pt>
              </c:numCache>
            </c:numRef>
          </c:xVal>
          <c:yVal>
            <c:numRef>
              <c:f>Sheet1!$B$175:$B$176</c:f>
              <c:numCache>
                <c:formatCode>General</c:formatCode>
                <c:ptCount val="2"/>
                <c:pt idx="0">
                  <c:v>0.141690169073067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1.1138129262981</c:v>
                </c:pt>
              </c:numCache>
            </c:numRef>
          </c:xVal>
          <c:yVal>
            <c:numRef>
              <c:f>Sheet1!$B$179:$B$180</c:f>
              <c:numCache>
                <c:formatCode>General</c:formatCode>
                <c:ptCount val="2"/>
                <c:pt idx="0">
                  <c:v>0.11814310553820039</c:v>
                </c:pt>
                <c:pt idx="1">
                  <c:v>0.118143105538200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1.1138129262981</c:v>
                </c:pt>
                <c:pt idx="1">
                  <c:v>1111.1138129262981</c:v>
                </c:pt>
              </c:numCache>
            </c:numRef>
          </c:xVal>
          <c:yVal>
            <c:numRef>
              <c:f>Sheet1!$B$183:$B$184</c:f>
              <c:numCache>
                <c:formatCode>General</c:formatCode>
                <c:ptCount val="2"/>
                <c:pt idx="0">
                  <c:v>0.118143105538200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1.0434</c:v>
                </c:pt>
                <c:pt idx="1">
                  <c:v>1068.1367</c:v>
                </c:pt>
                <c:pt idx="2">
                  <c:v>1070.3047</c:v>
                </c:pt>
                <c:pt idx="3">
                  <c:v>1044.9739</c:v>
                </c:pt>
                <c:pt idx="4">
                  <c:v>1057.6663</c:v>
                </c:pt>
                <c:pt idx="5">
                  <c:v>1064.778</c:v>
                </c:pt>
                <c:pt idx="6">
                  <c:v>984.8217</c:v>
                </c:pt>
                <c:pt idx="7">
                  <c:v>1044.6674</c:v>
                </c:pt>
                <c:pt idx="8">
                  <c:v>1105.0172</c:v>
                </c:pt>
                <c:pt idx="9">
                  <c:v>1058.7455</c:v>
                </c:pt>
                <c:pt idx="10">
                  <c:v>1089.7174</c:v>
                </c:pt>
                <c:pt idx="11">
                  <c:v>937.1856</c:v>
                </c:pt>
                <c:pt idx="12">
                  <c:v>980.8816</c:v>
                </c:pt>
                <c:pt idx="13">
                  <c:v>1055.8601</c:v>
                </c:pt>
                <c:pt idx="14">
                  <c:v>1045.2109</c:v>
                </c:pt>
                <c:pt idx="15">
                  <c:v>1081.7381</c:v>
                </c:pt>
                <c:pt idx="16">
                  <c:v>1122.2816</c:v>
                </c:pt>
                <c:pt idx="17">
                  <c:v>1101.5402</c:v>
                </c:pt>
                <c:pt idx="18">
                  <c:v>1032.5889</c:v>
                </c:pt>
                <c:pt idx="19">
                  <c:v>1182.4618</c:v>
                </c:pt>
                <c:pt idx="20">
                  <c:v>1188.4733</c:v>
                </c:pt>
                <c:pt idx="21">
                  <c:v>1097.587</c:v>
                </c:pt>
                <c:pt idx="22">
                  <c:v>1129.0284</c:v>
                </c:pt>
                <c:pt idx="23">
                  <c:v>1096.7422</c:v>
                </c:pt>
                <c:pt idx="24">
                  <c:v>1091.0538</c:v>
                </c:pt>
                <c:pt idx="25">
                  <c:v>1046.8694</c:v>
                </c:pt>
                <c:pt idx="26">
                  <c:v>1093.6044</c:v>
                </c:pt>
                <c:pt idx="27">
                  <c:v>1102.9024</c:v>
                </c:pt>
                <c:pt idx="28">
                  <c:v>1059.8534</c:v>
                </c:pt>
                <c:pt idx="29">
                  <c:v>1053.2761</c:v>
                </c:pt>
                <c:pt idx="30">
                  <c:v>1003.8849</c:v>
                </c:pt>
                <c:pt idx="31">
                  <c:v>985.8552</c:v>
                </c:pt>
                <c:pt idx="32">
                  <c:v>993.4057</c:v>
                </c:pt>
                <c:pt idx="33">
                  <c:v>1026.4448</c:v>
                </c:pt>
                <c:pt idx="34">
                  <c:v>1047.5588</c:v>
                </c:pt>
                <c:pt idx="35">
                  <c:v>1053.1566</c:v>
                </c:pt>
                <c:pt idx="36">
                  <c:v>1055.2164</c:v>
                </c:pt>
                <c:pt idx="37">
                  <c:v>1158.9275</c:v>
                </c:pt>
                <c:pt idx="38">
                  <c:v>1161.9756</c:v>
                </c:pt>
                <c:pt idx="39">
                  <c:v>1096.9262</c:v>
                </c:pt>
                <c:pt idx="40">
                  <c:v>1143.6909</c:v>
                </c:pt>
                <c:pt idx="41">
                  <c:v>1215.6239</c:v>
                </c:pt>
                <c:pt idx="42">
                  <c:v>1202.6762</c:v>
                </c:pt>
                <c:pt idx="43">
                  <c:v>1200.4214</c:v>
                </c:pt>
                <c:pt idx="44">
                  <c:v>1113.6857</c:v>
                </c:pt>
                <c:pt idx="45">
                  <c:v>1085.8059</c:v>
                </c:pt>
                <c:pt idx="46">
                  <c:v>1098.4756</c:v>
                </c:pt>
                <c:pt idx="47">
                  <c:v>1074.4585</c:v>
                </c:pt>
                <c:pt idx="48">
                  <c:v>1064.8323</c:v>
                </c:pt>
                <c:pt idx="49">
                  <c:v>1092.4002</c:v>
                </c:pt>
                <c:pt idx="50">
                  <c:v>975.5975</c:v>
                </c:pt>
                <c:pt idx="51">
                  <c:v>939.7557</c:v>
                </c:pt>
                <c:pt idx="52">
                  <c:v>1011.9580529481085</c:v>
                </c:pt>
                <c:pt idx="53">
                  <c:v>801.2425030902951</c:v>
                </c:pt>
                <c:pt idx="54">
                  <c:v>1111.1138129262981</c:v>
                </c:pt>
              </c:numCache>
            </c:numRef>
          </c:xVal>
          <c:yVal>
            <c:numRef>
              <c:f>Sheet1!$B$187:$B$241</c:f>
              <c:numCache>
                <c:formatCode>General</c:formatCode>
                <c:ptCount val="55"/>
                <c:pt idx="0">
                  <c:v>0.127658846824954</c:v>
                </c:pt>
                <c:pt idx="1">
                  <c:v>0.12834911685658756</c:v>
                </c:pt>
                <c:pt idx="2">
                  <c:v>0.12783426997573244</c:v>
                </c:pt>
                <c:pt idx="3">
                  <c:v>0.13384971433438797</c:v>
                </c:pt>
                <c:pt idx="4">
                  <c:v>0.13083558031659936</c:v>
                </c:pt>
                <c:pt idx="5">
                  <c:v>0.1291467258135655</c:v>
                </c:pt>
                <c:pt idx="6">
                  <c:v>0.14813438801823212</c:v>
                </c:pt>
                <c:pt idx="7">
                  <c:v>0.13392250057469335</c:v>
                </c:pt>
                <c:pt idx="8">
                  <c:v>0.11959090173233589</c:v>
                </c:pt>
                <c:pt idx="9">
                  <c:v>0.13057929675856483</c:v>
                </c:pt>
                <c:pt idx="10">
                  <c:v>0.12322422936504224</c:v>
                </c:pt>
                <c:pt idx="11">
                  <c:v>0.1594467946146819</c:v>
                </c:pt>
                <c:pt idx="12">
                  <c:v>0.14907006523006663</c:v>
                </c:pt>
                <c:pt idx="13">
                  <c:v>0.13126450856207927</c:v>
                </c:pt>
                <c:pt idx="14">
                  <c:v>0.13379343264123175</c:v>
                </c:pt>
                <c:pt idx="15">
                  <c:v>0.12511911761061756</c:v>
                </c:pt>
                <c:pt idx="16">
                  <c:v>0.11549102973517933</c:v>
                </c:pt>
                <c:pt idx="17">
                  <c:v>0.12041660404079219</c:v>
                </c:pt>
                <c:pt idx="18">
                  <c:v>0.13679084838392247</c:v>
                </c:pt>
                <c:pt idx="19">
                  <c:v>0.10119970673737583</c:v>
                </c:pt>
                <c:pt idx="20">
                  <c:v>0.09977212277784597</c:v>
                </c:pt>
                <c:pt idx="21">
                  <c:v>0.12135539218165775</c:v>
                </c:pt>
                <c:pt idx="22">
                  <c:v>0.11388883004156619</c:v>
                </c:pt>
                <c:pt idx="23">
                  <c:v>0.1215560114828323</c:v>
                </c:pt>
                <c:pt idx="24">
                  <c:v>0.12290686710878079</c:v>
                </c:pt>
                <c:pt idx="25">
                  <c:v>0.13339957952688755</c:v>
                </c:pt>
                <c:pt idx="26">
                  <c:v>0.12230116210218067</c:v>
                </c:pt>
                <c:pt idx="27">
                  <c:v>0.12009311491666819</c:v>
                </c:pt>
                <c:pt idx="28">
                  <c:v>0.13031619765372193</c:v>
                </c:pt>
                <c:pt idx="29">
                  <c:v>0.13187814525033098</c:v>
                </c:pt>
                <c:pt idx="30">
                  <c:v>0.14360734509428488</c:v>
                </c:pt>
                <c:pt idx="31">
                  <c:v>0.14788895709048128</c:v>
                </c:pt>
                <c:pt idx="32">
                  <c:v>0.14609589833868392</c:v>
                </c:pt>
                <c:pt idx="33">
                  <c:v>0.13824992159455993</c:v>
                </c:pt>
                <c:pt idx="34">
                  <c:v>0.1332358639181876</c:v>
                </c:pt>
                <c:pt idx="35">
                  <c:v>0.13190652357240767</c:v>
                </c:pt>
                <c:pt idx="36">
                  <c:v>0.1314173715404956</c:v>
                </c:pt>
                <c:pt idx="37">
                  <c:v>0.10678852636288733</c:v>
                </c:pt>
                <c:pt idx="38">
                  <c:v>0.10606467729575886</c:v>
                </c:pt>
                <c:pt idx="39">
                  <c:v>0.12151231599109918</c:v>
                </c:pt>
                <c:pt idx="40">
                  <c:v>0.11040684554408536</c:v>
                </c:pt>
                <c:pt idx="41">
                  <c:v>0.09332452050693024</c:v>
                </c:pt>
                <c:pt idx="42">
                  <c:v>0.09639928201949849</c:v>
                </c:pt>
                <c:pt idx="43">
                  <c:v>0.09693474177362776</c:v>
                </c:pt>
                <c:pt idx="44">
                  <c:v>0.11753234537316026</c:v>
                </c:pt>
                <c:pt idx="45">
                  <c:v>0.12415311477761826</c:v>
                </c:pt>
                <c:pt idx="46">
                  <c:v>0.1211443714536467</c:v>
                </c:pt>
                <c:pt idx="47">
                  <c:v>0.1268478442498579</c:v>
                </c:pt>
                <c:pt idx="48">
                  <c:v>0.12913383089399427</c:v>
                </c:pt>
                <c:pt idx="49">
                  <c:v>0.1225871300975338</c:v>
                </c:pt>
                <c:pt idx="50">
                  <c:v>0.15032490951195163</c:v>
                </c:pt>
                <c:pt idx="51">
                  <c:v>0.15883645883586003</c:v>
                </c:pt>
                <c:pt idx="52">
                  <c:v>0.14169016907306714</c:v>
                </c:pt>
                <c:pt idx="53">
                  <c:v>0.19172994932766552</c:v>
                </c:pt>
                <c:pt idx="54">
                  <c:v>0.11814310553820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9.0"/>
          <c:min val="5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61470215462606"/>
          <c:min val="0.067110125646711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46129395753718</c:v>
                </c:pt>
                <c:pt idx="1">
                  <c:v>0.3887800977397383</c:v>
                </c:pt>
                <c:pt idx="2">
                  <c:v>0.4123249870564513</c:v>
                </c:pt>
                <c:pt idx="3">
                  <c:v>0.40955931780506444</c:v>
                </c:pt>
                <c:pt idx="4">
                  <c:v>0.4487846335730498</c:v>
                </c:pt>
                <c:pt idx="5">
                  <c:v>0.4331933094339662</c:v>
                </c:pt>
                <c:pt idx="6">
                  <c:v>0.4016295089029802</c:v>
                </c:pt>
                <c:pt idx="7">
                  <c:v>0.37616544807040475</c:v>
                </c:pt>
                <c:pt idx="8">
                  <c:v>0.3745297728256188</c:v>
                </c:pt>
                <c:pt idx="9">
                  <c:v>0.4050191373902867</c:v>
                </c:pt>
                <c:pt idx="10">
                  <c:v>0.4274205183319396</c:v>
                </c:pt>
                <c:pt idx="11">
                  <c:v>0.4186408716497711</c:v>
                </c:pt>
                <c:pt idx="12">
                  <c:v>0.3961615378055791</c:v>
                </c:pt>
                <c:pt idx="13">
                  <c:v>0.36159229460725334</c:v>
                </c:pt>
                <c:pt idx="14">
                  <c:v>0.291645614171919</c:v>
                </c:pt>
                <c:pt idx="15">
                  <c:v>0.30557875147068986</c:v>
                </c:pt>
                <c:pt idx="16">
                  <c:v>0.32794915946365694</c:v>
                </c:pt>
                <c:pt idx="17">
                  <c:v>0.34475324054507833</c:v>
                </c:pt>
                <c:pt idx="18">
                  <c:v>0.3336721183459363</c:v>
                </c:pt>
                <c:pt idx="19">
                  <c:v>0.3699820379060772</c:v>
                </c:pt>
                <c:pt idx="20">
                  <c:v>0.40527253608802305</c:v>
                </c:pt>
                <c:pt idx="21">
                  <c:v>0.3868135321884056</c:v>
                </c:pt>
                <c:pt idx="22">
                  <c:v>0.33536037126951274</c:v>
                </c:pt>
                <c:pt idx="23">
                  <c:v>0.3150413462787631</c:v>
                </c:pt>
                <c:pt idx="24">
                  <c:v>0.31024630515431456</c:v>
                </c:pt>
                <c:pt idx="25">
                  <c:v>0.29521350178607614</c:v>
                </c:pt>
                <c:pt idx="26">
                  <c:v>0.2864884317923347</c:v>
                </c:pt>
                <c:pt idx="27">
                  <c:v>0.28718344291121284</c:v>
                </c:pt>
                <c:pt idx="28">
                  <c:v>0.30345691146782205</c:v>
                </c:pt>
                <c:pt idx="29">
                  <c:v>0.22189023184683498</c:v>
                </c:pt>
                <c:pt idx="30">
                  <c:v>0.23456661489998046</c:v>
                </c:pt>
                <c:pt idx="31">
                  <c:v>0.2655309202267915</c:v>
                </c:pt>
                <c:pt idx="32">
                  <c:v>0.2650412692025693</c:v>
                </c:pt>
                <c:pt idx="33">
                  <c:v>0.24781893573372343</c:v>
                </c:pt>
                <c:pt idx="34">
                  <c:v>0.3057994797123189</c:v>
                </c:pt>
                <c:pt idx="35">
                  <c:v>0.3411454533277817</c:v>
                </c:pt>
                <c:pt idx="36">
                  <c:v>0.3244571888640341</c:v>
                </c:pt>
                <c:pt idx="37">
                  <c:v>0.3772776021015693</c:v>
                </c:pt>
                <c:pt idx="38">
                  <c:v>0.3587218264925326</c:v>
                </c:pt>
                <c:pt idx="39">
                  <c:v>0.3568428921535108</c:v>
                </c:pt>
                <c:pt idx="40">
                  <c:v>0.3633830993855942</c:v>
                </c:pt>
                <c:pt idx="41">
                  <c:v>0.3904654924081351</c:v>
                </c:pt>
                <c:pt idx="42">
                  <c:v>0.38981288843891887</c:v>
                </c:pt>
                <c:pt idx="43">
                  <c:v>0.4095019506208238</c:v>
                </c:pt>
                <c:pt idx="44">
                  <c:v>0.3945480602420709</c:v>
                </c:pt>
                <c:pt idx="45">
                  <c:v>0.4147721537297494</c:v>
                </c:pt>
                <c:pt idx="46">
                  <c:v>0.4307293415252375</c:v>
                </c:pt>
                <c:pt idx="47">
                  <c:v>0.4401735133966077</c:v>
                </c:pt>
                <c:pt idx="48">
                  <c:v>0.44008151846692944</c:v>
                </c:pt>
                <c:pt idx="49">
                  <c:v>0.3809861637492985</c:v>
                </c:pt>
                <c:pt idx="50">
                  <c:v>0.28147488153150413</c:v>
                </c:pt>
                <c:pt idx="51">
                  <c:v>0.2560442251778318</c:v>
                </c:pt>
                <c:pt idx="52">
                  <c:v>0.24470493223265208</c:v>
                </c:pt>
                <c:pt idx="53">
                  <c:v>0.23022552637851917</c:v>
                </c:pt>
                <c:pt idx="54">
                  <c:v>0.2100433061828493</c:v>
                </c:pt>
                <c:pt idx="55">
                  <c:v>0.2465639025769015</c:v>
                </c:pt>
                <c:pt idx="56">
                  <c:v>0.33084115464057035</c:v>
                </c:pt>
                <c:pt idx="57">
                  <c:v>0.45982987719100277</c:v>
                </c:pt>
                <c:pt idx="58">
                  <c:v>0.4106983221547649</c:v>
                </c:pt>
                <c:pt idx="59">
                  <c:v>0.3611999317955843</c:v>
                </c:pt>
                <c:pt idx="60">
                  <c:v>0.32437384411321896</c:v>
                </c:pt>
                <c:pt idx="61">
                  <c:v>0.2972022266152816</c:v>
                </c:pt>
                <c:pt idx="62">
                  <c:v>0.3653817953907359</c:v>
                </c:pt>
                <c:pt idx="63">
                  <c:v>0.37185441714455686</c:v>
                </c:pt>
                <c:pt idx="64">
                  <c:v>0.3700413545217638</c:v>
                </c:pt>
                <c:pt idx="65">
                  <c:v>0.3448727902696841</c:v>
                </c:pt>
                <c:pt idx="66">
                  <c:v>0.34906784488512066</c:v>
                </c:pt>
                <c:pt idx="67">
                  <c:v>0.3882725491450419</c:v>
                </c:pt>
                <c:pt idx="68">
                  <c:v>0.3456423983468556</c:v>
                </c:pt>
                <c:pt idx="69">
                  <c:v>0.341599982005872</c:v>
                </c:pt>
                <c:pt idx="70">
                  <c:v>0.33857799135513306</c:v>
                </c:pt>
                <c:pt idx="71">
                  <c:v>0.34558597392452567</c:v>
                </c:pt>
                <c:pt idx="72">
                  <c:v>0.37264207727427423</c:v>
                </c:pt>
                <c:pt idx="73">
                  <c:v>0.3721520905838258</c:v>
                </c:pt>
                <c:pt idx="74">
                  <c:v>0.35105904865806453</c:v>
                </c:pt>
                <c:pt idx="75">
                  <c:v>0.3292671196979262</c:v>
                </c:pt>
                <c:pt idx="76">
                  <c:v>0.35158054801027483</c:v>
                </c:pt>
                <c:pt idx="77">
                  <c:v>0.3545963704832312</c:v>
                </c:pt>
                <c:pt idx="78">
                  <c:v>0.36452813009982754</c:v>
                </c:pt>
                <c:pt idx="79">
                  <c:v>0.36373852450867994</c:v>
                </c:pt>
                <c:pt idx="80">
                  <c:v>0.35628620341242323</c:v>
                </c:pt>
                <c:pt idx="81">
                  <c:v>0.3722464468786393</c:v>
                </c:pt>
                <c:pt idx="82">
                  <c:v>0.4010492163659448</c:v>
                </c:pt>
                <c:pt idx="83">
                  <c:v>0.3577175175704865</c:v>
                </c:pt>
                <c:pt idx="84">
                  <c:v>0.3223047130162656</c:v>
                </c:pt>
                <c:pt idx="85">
                  <c:v>0.3058257768419263</c:v>
                </c:pt>
                <c:pt idx="86">
                  <c:v>0.2999133984539687</c:v>
                </c:pt>
                <c:pt idx="87">
                  <c:v>0.2965475979552265</c:v>
                </c:pt>
                <c:pt idx="88">
                  <c:v>0.27111379022122006</c:v>
                </c:pt>
                <c:pt idx="89">
                  <c:v>0.26867113398667536</c:v>
                </c:pt>
                <c:pt idx="90">
                  <c:v>0.2726754963801001</c:v>
                </c:pt>
                <c:pt idx="91">
                  <c:v>0.28431043084261043</c:v>
                </c:pt>
                <c:pt idx="92">
                  <c:v>0.2740645827688486</c:v>
                </c:pt>
                <c:pt idx="93">
                  <c:v>0.29160015354089547</c:v>
                </c:pt>
                <c:pt idx="94">
                  <c:v>0.28861968606726723</c:v>
                </c:pt>
                <c:pt idx="95">
                  <c:v>0.37134795670303533</c:v>
                </c:pt>
                <c:pt idx="96">
                  <c:v>0.34587545325065</c:v>
                </c:pt>
                <c:pt idx="97">
                  <c:v>0.33607281167610664</c:v>
                </c:pt>
                <c:pt idx="98">
                  <c:v>0.3694733659090408</c:v>
                </c:pt>
                <c:pt idx="99">
                  <c:v>0.40159177675356256</c:v>
                </c:pt>
                <c:pt idx="100">
                  <c:v>0.3878141184554327</c:v>
                </c:pt>
                <c:pt idx="101">
                  <c:v>0.35630981196122724</c:v>
                </c:pt>
                <c:pt idx="102">
                  <c:v>0.34407160308127344</c:v>
                </c:pt>
                <c:pt idx="103">
                  <c:v>0.3200607522395154</c:v>
                </c:pt>
                <c:pt idx="104">
                  <c:v>0.31640987002448323</c:v>
                </c:pt>
              </c:numCache>
            </c:numRef>
          </c:xVal>
          <c:yVal>
            <c:numRef>
              <c:f>Sheet1!$B$2:$B$106</c:f>
              <c:numCache>
                <c:formatCode>General</c:formatCode>
                <c:ptCount val="105"/>
                <c:pt idx="0">
                  <c:v>0.20820213501267185</c:v>
                </c:pt>
                <c:pt idx="1">
                  <c:v>0.19276172724448587</c:v>
                </c:pt>
                <c:pt idx="2">
                  <c:v>0.16175860638739112</c:v>
                </c:pt>
                <c:pt idx="3">
                  <c:v>0.1568939393939394</c:v>
                </c:pt>
                <c:pt idx="4">
                  <c:v>0.146620418111934</c:v>
                </c:pt>
                <c:pt idx="5">
                  <c:v>0.13317431922083084</c:v>
                </c:pt>
                <c:pt idx="6">
                  <c:v>0.15602981721637904</c:v>
                </c:pt>
                <c:pt idx="7">
                  <c:v>0.15211910193300515</c:v>
                </c:pt>
                <c:pt idx="8">
                  <c:v>0.16764437491852432</c:v>
                </c:pt>
                <c:pt idx="9">
                  <c:v>0.20007348888480617</c:v>
                </c:pt>
                <c:pt idx="10">
                  <c:v>0.2060474379866015</c:v>
                </c:pt>
                <c:pt idx="11">
                  <c:v>0.1930715935334873</c:v>
                </c:pt>
                <c:pt idx="12">
                  <c:v>0.20071349698462584</c:v>
                </c:pt>
                <c:pt idx="13">
                  <c:v>0.21301225179552175</c:v>
                </c:pt>
                <c:pt idx="14">
                  <c:v>0.20839851790860436</c:v>
                </c:pt>
                <c:pt idx="15">
                  <c:v>0.20707480235151024</c:v>
                </c:pt>
                <c:pt idx="16">
                  <c:v>0.200352733686067</c:v>
                </c:pt>
                <c:pt idx="17">
                  <c:v>0.18456827924066135</c:v>
                </c:pt>
                <c:pt idx="18">
                  <c:v>0.16720133453098934</c:v>
                </c:pt>
                <c:pt idx="19">
                  <c:v>0.1585309158530916</c:v>
                </c:pt>
                <c:pt idx="20">
                  <c:v>0.18110236220472442</c:v>
                </c:pt>
                <c:pt idx="21">
                  <c:v>0.17234212629896084</c:v>
                </c:pt>
                <c:pt idx="22">
                  <c:v>0.1722264150943396</c:v>
                </c:pt>
                <c:pt idx="23">
                  <c:v>0.17640573318632854</c:v>
                </c:pt>
                <c:pt idx="24">
                  <c:v>0.17587209302325582</c:v>
                </c:pt>
                <c:pt idx="25">
                  <c:v>0.1758879781420765</c:v>
                </c:pt>
                <c:pt idx="26">
                  <c:v>0.18419711129991503</c:v>
                </c:pt>
                <c:pt idx="27">
                  <c:v>0.1618563463430633</c:v>
                </c:pt>
                <c:pt idx="28">
                  <c:v>0.15706890973794888</c:v>
                </c:pt>
                <c:pt idx="29">
                  <c:v>0.19202342769488218</c:v>
                </c:pt>
                <c:pt idx="30">
                  <c:v>0.17327102803738317</c:v>
                </c:pt>
                <c:pt idx="31">
                  <c:v>0.16853932584269662</c:v>
                </c:pt>
                <c:pt idx="32">
                  <c:v>0.18266863613983259</c:v>
                </c:pt>
                <c:pt idx="33">
                  <c:v>0.21135567783891945</c:v>
                </c:pt>
                <c:pt idx="34">
                  <c:v>0.1888875836955245</c:v>
                </c:pt>
                <c:pt idx="35">
                  <c:v>0.18052785923753667</c:v>
                </c:pt>
                <c:pt idx="36">
                  <c:v>0.13292241725847515</c:v>
                </c:pt>
                <c:pt idx="37">
                  <c:v>0.12386530014641288</c:v>
                </c:pt>
                <c:pt idx="38">
                  <c:v>0.12001169419675486</c:v>
                </c:pt>
                <c:pt idx="39">
                  <c:v>0.11638846737481032</c:v>
                </c:pt>
                <c:pt idx="40">
                  <c:v>0.11309817464232856</c:v>
                </c:pt>
                <c:pt idx="41">
                  <c:v>0.09314703925482369</c:v>
                </c:pt>
                <c:pt idx="42">
                  <c:v>0.0968299711815562</c:v>
                </c:pt>
                <c:pt idx="43">
                  <c:v>0.1044114615543187</c:v>
                </c:pt>
                <c:pt idx="44">
                  <c:v>0.12461688492616328</c:v>
                </c:pt>
                <c:pt idx="45">
                  <c:v>0.14497041420118342</c:v>
                </c:pt>
                <c:pt idx="46">
                  <c:v>0.14596390072699925</c:v>
                </c:pt>
                <c:pt idx="47">
                  <c:v>0.1430451127819549</c:v>
                </c:pt>
                <c:pt idx="48">
                  <c:v>0.15343695068924046</c:v>
                </c:pt>
                <c:pt idx="49">
                  <c:v>0.18042180930421808</c:v>
                </c:pt>
                <c:pt idx="50">
                  <c:v>0.145105721813146</c:v>
                </c:pt>
                <c:pt idx="51">
                  <c:v>0.12617165213138806</c:v>
                </c:pt>
                <c:pt idx="52">
                  <c:v>0.1383665065202471</c:v>
                </c:pt>
                <c:pt idx="53">
                  <c:v>0.12174766813942071</c:v>
                </c:pt>
                <c:pt idx="54">
                  <c:v>0.11953738854065507</c:v>
                </c:pt>
                <c:pt idx="55">
                  <c:v>0.110609072835713</c:v>
                </c:pt>
                <c:pt idx="56">
                  <c:v>0.11240671641791045</c:v>
                </c:pt>
                <c:pt idx="57">
                  <c:v>0.10587410408226862</c:v>
                </c:pt>
                <c:pt idx="58">
                  <c:v>0.12522617611580217</c:v>
                </c:pt>
                <c:pt idx="59">
                  <c:v>0.13488302489150497</c:v>
                </c:pt>
                <c:pt idx="60">
                  <c:v>0.1444066232042924</c:v>
                </c:pt>
                <c:pt idx="61">
                  <c:v>0.1419235113764725</c:v>
                </c:pt>
                <c:pt idx="62">
                  <c:v>0.15923323659691463</c:v>
                </c:pt>
                <c:pt idx="63">
                  <c:v>0.17938488321485566</c:v>
                </c:pt>
                <c:pt idx="64">
                  <c:v>0.18605877920120573</c:v>
                </c:pt>
                <c:pt idx="65">
                  <c:v>0.16787161356955588</c:v>
                </c:pt>
                <c:pt idx="66">
                  <c:v>0.16226384231618549</c:v>
                </c:pt>
                <c:pt idx="67">
                  <c:v>0.14819920730656558</c:v>
                </c:pt>
                <c:pt idx="68">
                  <c:v>0.13357221061013239</c:v>
                </c:pt>
                <c:pt idx="69">
                  <c:v>0.12051087506322711</c:v>
                </c:pt>
                <c:pt idx="70">
                  <c:v>0.10948991696322657</c:v>
                </c:pt>
                <c:pt idx="71">
                  <c:v>0.11155948971621973</c:v>
                </c:pt>
                <c:pt idx="72">
                  <c:v>0.11561691113028473</c:v>
                </c:pt>
                <c:pt idx="73">
                  <c:v>0.11062878189950014</c:v>
                </c:pt>
                <c:pt idx="74">
                  <c:v>0.10793727968882946</c:v>
                </c:pt>
                <c:pt idx="75">
                  <c:v>0.11423166472642608</c:v>
                </c:pt>
                <c:pt idx="76">
                  <c:v>0.10627042165862767</c:v>
                </c:pt>
                <c:pt idx="77">
                  <c:v>0.10781499202551834</c:v>
                </c:pt>
                <c:pt idx="78">
                  <c:v>0.09770311964346932</c:v>
                </c:pt>
                <c:pt idx="79">
                  <c:v>0.09202168861347793</c:v>
                </c:pt>
                <c:pt idx="80">
                  <c:v>0.08574557972148333</c:v>
                </c:pt>
                <c:pt idx="81">
                  <c:v>0.10161455663762173</c:v>
                </c:pt>
                <c:pt idx="82">
                  <c:v>0.08989145183175033</c:v>
                </c:pt>
                <c:pt idx="83">
                  <c:v>0.08388765705838877</c:v>
                </c:pt>
                <c:pt idx="84">
                  <c:v>0.09150943396226414</c:v>
                </c:pt>
                <c:pt idx="85">
                  <c:v>0.1071779744346116</c:v>
                </c:pt>
                <c:pt idx="86">
                  <c:v>0.11445630081300813</c:v>
                </c:pt>
                <c:pt idx="87">
                  <c:v>0.13038534428300694</c:v>
                </c:pt>
                <c:pt idx="88">
                  <c:v>0.10500629722921914</c:v>
                </c:pt>
                <c:pt idx="89">
                  <c:v>0.09544468546637744</c:v>
                </c:pt>
                <c:pt idx="90">
                  <c:v>0.09447748513169074</c:v>
                </c:pt>
                <c:pt idx="91">
                  <c:v>0.09375512211112932</c:v>
                </c:pt>
                <c:pt idx="92">
                  <c:v>0.10372161762730082</c:v>
                </c:pt>
                <c:pt idx="93">
                  <c:v>0.09947229551451188</c:v>
                </c:pt>
                <c:pt idx="94">
                  <c:v>0.10344304565448202</c:v>
                </c:pt>
                <c:pt idx="95">
                  <c:v>0.11003733801888864</c:v>
                </c:pt>
                <c:pt idx="96">
                  <c:v>0.11253384063803322</c:v>
                </c:pt>
                <c:pt idx="97">
                  <c:v>0.12611764705882353</c:v>
                </c:pt>
                <c:pt idx="98">
                  <c:v>0.1434709400220635</c:v>
                </c:pt>
                <c:pt idx="99">
                  <c:v>0.15150024594195768</c:v>
                </c:pt>
                <c:pt idx="100">
                  <c:v>0.17330729655638588</c:v>
                </c:pt>
                <c:pt idx="101">
                  <c:v>0.150248371072834</c:v>
                </c:pt>
                <c:pt idx="102">
                  <c:v>0.12048508113767231</c:v>
                </c:pt>
                <c:pt idx="103">
                  <c:v>0.12718462027327612</c:v>
                </c:pt>
                <c:pt idx="104">
                  <c:v>0.13001912045889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1623669372137636</c:v>
                </c:pt>
                <c:pt idx="1">
                  <c:v>0.33815963834719476</c:v>
                </c:pt>
                <c:pt idx="2">
                  <c:v>0.3341174742265853</c:v>
                </c:pt>
                <c:pt idx="3">
                  <c:v>0.34162743737649204</c:v>
                </c:pt>
                <c:pt idx="4">
                  <c:v>0.32383221729567757</c:v>
                </c:pt>
                <c:pt idx="5">
                  <c:v>0.2990755039124704</c:v>
                </c:pt>
                <c:pt idx="6">
                  <c:v>0.3333028850302988</c:v>
                </c:pt>
                <c:pt idx="7">
                  <c:v>0.36264523011351113</c:v>
                </c:pt>
                <c:pt idx="8">
                  <c:v>0.34545789340241967</c:v>
                </c:pt>
                <c:pt idx="9">
                  <c:v>0.33455714620577565</c:v>
                </c:pt>
                <c:pt idx="10">
                  <c:v>0.3660535851297481</c:v>
                </c:pt>
                <c:pt idx="11">
                  <c:v>0.3472345374884939</c:v>
                </c:pt>
                <c:pt idx="12">
                  <c:v>0.38167980397734236</c:v>
                </c:pt>
                <c:pt idx="13">
                  <c:v>0.4180794125902846</c:v>
                </c:pt>
                <c:pt idx="14">
                  <c:v>0.4185167212543935</c:v>
                </c:pt>
                <c:pt idx="15">
                  <c:v>0.38279230658796787</c:v>
                </c:pt>
                <c:pt idx="16">
                  <c:v>0.3776105791644639</c:v>
                </c:pt>
                <c:pt idx="17">
                  <c:v>0.34582087816649226</c:v>
                </c:pt>
                <c:pt idx="18">
                  <c:v>0.30370398431498824</c:v>
                </c:pt>
                <c:pt idx="19">
                  <c:v>0.34116010184181633</c:v>
                </c:pt>
                <c:pt idx="20">
                  <c:v>0.3377403303069491</c:v>
                </c:pt>
                <c:pt idx="21">
                  <c:v>0.3025185074283285</c:v>
                </c:pt>
                <c:pt idx="22">
                  <c:v>0.3210496769366045</c:v>
                </c:pt>
                <c:pt idx="23">
                  <c:v>0.3105520137760069</c:v>
                </c:pt>
                <c:pt idx="24">
                  <c:v>0.3138670739814092</c:v>
                </c:pt>
                <c:pt idx="25">
                  <c:v>0.3004914868637982</c:v>
                </c:pt>
                <c:pt idx="26">
                  <c:v>0.3050689756895651</c:v>
                </c:pt>
                <c:pt idx="27">
                  <c:v>0.3173011308916821</c:v>
                </c:pt>
                <c:pt idx="28">
                  <c:v>0.34539154455142307</c:v>
                </c:pt>
                <c:pt idx="29">
                  <c:v>0.34285388308817677</c:v>
                </c:pt>
                <c:pt idx="30">
                  <c:v>0.32236149935578107</c:v>
                </c:pt>
                <c:pt idx="31">
                  <c:v>0.2561938170000729</c:v>
                </c:pt>
                <c:pt idx="32">
                  <c:v>0.24255038385197003</c:v>
                </c:pt>
                <c:pt idx="33">
                  <c:v>0.24346969207409333</c:v>
                </c:pt>
                <c:pt idx="34">
                  <c:v>0.2609575465956829</c:v>
                </c:pt>
                <c:pt idx="35">
                  <c:v>0.2638896440795853</c:v>
                </c:pt>
                <c:pt idx="36">
                  <c:v>0.257249090896281</c:v>
                </c:pt>
                <c:pt idx="37">
                  <c:v>0.2843389252322175</c:v>
                </c:pt>
                <c:pt idx="38">
                  <c:v>0.2949000009136509</c:v>
                </c:pt>
                <c:pt idx="39">
                  <c:v>0.29557111981567197</c:v>
                </c:pt>
                <c:pt idx="40">
                  <c:v>0.3012500885029598</c:v>
                </c:pt>
                <c:pt idx="41">
                  <c:v>0.32463372470031127</c:v>
                </c:pt>
                <c:pt idx="42">
                  <c:v>0.30826568757885897</c:v>
                </c:pt>
                <c:pt idx="43">
                  <c:v>0.34068515035132035</c:v>
                </c:pt>
                <c:pt idx="44">
                  <c:v>0.36067901797925567</c:v>
                </c:pt>
                <c:pt idx="45">
                  <c:v>0.37853140374704314</c:v>
                </c:pt>
                <c:pt idx="46">
                  <c:v>0.3545708277497005</c:v>
                </c:pt>
                <c:pt idx="47">
                  <c:v>0.38327764088761895</c:v>
                </c:pt>
                <c:pt idx="48">
                  <c:v>0.391683834806836</c:v>
                </c:pt>
                <c:pt idx="49">
                  <c:v>0.42684538111104037</c:v>
                </c:pt>
                <c:pt idx="50">
                  <c:v>0.3995065450895847</c:v>
                </c:pt>
                <c:pt idx="51">
                  <c:v>0.33688857514258125</c:v>
                </c:pt>
              </c:numCache>
            </c:numRef>
          </c:xVal>
          <c:yVal>
            <c:numRef>
              <c:f>Sheet1!$B$109:$B$160</c:f>
              <c:numCache>
                <c:formatCode>General</c:formatCode>
                <c:ptCount val="52"/>
                <c:pt idx="0">
                  <c:v>0.12999502570054716</c:v>
                </c:pt>
                <c:pt idx="1">
                  <c:v>0.1313324080499653</c:v>
                </c:pt>
                <c:pt idx="2">
                  <c:v>0.13660191181005243</c:v>
                </c:pt>
                <c:pt idx="3">
                  <c:v>0.15032</c:v>
                </c:pt>
                <c:pt idx="4">
                  <c:v>0.13078454798884906</c:v>
                </c:pt>
                <c:pt idx="5">
                  <c:v>0.13761702127659575</c:v>
                </c:pt>
                <c:pt idx="6">
                  <c:v>0.14267129228100608</c:v>
                </c:pt>
                <c:pt idx="7">
                  <c:v>0.13190396205908508</c:v>
                </c:pt>
                <c:pt idx="8">
                  <c:v>0.1375590020229265</c:v>
                </c:pt>
                <c:pt idx="9">
                  <c:v>0.14637454355764215</c:v>
                </c:pt>
                <c:pt idx="10">
                  <c:v>0.15709631439625332</c:v>
                </c:pt>
                <c:pt idx="11">
                  <c:v>0.17545020213156928</c:v>
                </c:pt>
                <c:pt idx="12">
                  <c:v>0.17328773129878103</c:v>
                </c:pt>
                <c:pt idx="13">
                  <c:v>0.16060054595086443</c:v>
                </c:pt>
                <c:pt idx="14">
                  <c:v>0.15637570394207562</c:v>
                </c:pt>
                <c:pt idx="15">
                  <c:v>0.1485995296129998</c:v>
                </c:pt>
                <c:pt idx="16">
                  <c:v>0.13022730126836618</c:v>
                </c:pt>
                <c:pt idx="17">
                  <c:v>0.11423319327731092</c:v>
                </c:pt>
                <c:pt idx="18">
                  <c:v>0.1210502213402534</c:v>
                </c:pt>
                <c:pt idx="19">
                  <c:v>0.11974635009585607</c:v>
                </c:pt>
                <c:pt idx="20">
                  <c:v>0.10045806349707787</c:v>
                </c:pt>
                <c:pt idx="21">
                  <c:v>0.10596546310832025</c:v>
                </c:pt>
                <c:pt idx="22">
                  <c:v>0.101711209382811</c:v>
                </c:pt>
                <c:pt idx="23">
                  <c:v>0.10938759065269943</c:v>
                </c:pt>
                <c:pt idx="24">
                  <c:v>0.1016949152542373</c:v>
                </c:pt>
                <c:pt idx="25">
                  <c:v>0.11427449440408403</c:v>
                </c:pt>
                <c:pt idx="26">
                  <c:v>0.09500609013398295</c:v>
                </c:pt>
                <c:pt idx="27">
                  <c:v>0.0990962422704931</c:v>
                </c:pt>
                <c:pt idx="28">
                  <c:v>0.11553784860557768</c:v>
                </c:pt>
                <c:pt idx="29">
                  <c:v>0.11103542234332425</c:v>
                </c:pt>
                <c:pt idx="30">
                  <c:v>0.1187433439829606</c:v>
                </c:pt>
                <c:pt idx="31">
                  <c:v>0.12219920918847675</c:v>
                </c:pt>
                <c:pt idx="32">
                  <c:v>0.13054106910039112</c:v>
                </c:pt>
                <c:pt idx="33">
                  <c:v>0.1433284941269632</c:v>
                </c:pt>
                <c:pt idx="34">
                  <c:v>0.166114853293755</c:v>
                </c:pt>
                <c:pt idx="35">
                  <c:v>0.15080381277564375</c:v>
                </c:pt>
                <c:pt idx="36">
                  <c:v>0.11992465466722478</c:v>
                </c:pt>
                <c:pt idx="37">
                  <c:v>0.10306198655713218</c:v>
                </c:pt>
                <c:pt idx="38">
                  <c:v>0.10100595360295628</c:v>
                </c:pt>
                <c:pt idx="39">
                  <c:v>0.1189522342064715</c:v>
                </c:pt>
                <c:pt idx="40">
                  <c:v>0.10111177884615384</c:v>
                </c:pt>
                <c:pt idx="41">
                  <c:v>0.10005701254275941</c:v>
                </c:pt>
                <c:pt idx="42">
                  <c:v>0.10146561443066517</c:v>
                </c:pt>
                <c:pt idx="43">
                  <c:v>0.09938872537921667</c:v>
                </c:pt>
                <c:pt idx="44">
                  <c:v>0.1001621673185157</c:v>
                </c:pt>
                <c:pt idx="45">
                  <c:v>0.121137564223171</c:v>
                </c:pt>
                <c:pt idx="46">
                  <c:v>0.11159132163540496</c:v>
                </c:pt>
                <c:pt idx="47">
                  <c:v>0.11523327712197864</c:v>
                </c:pt>
                <c:pt idx="48">
                  <c:v>0.11399809549721127</c:v>
                </c:pt>
                <c:pt idx="49">
                  <c:v>0.1334806342604627</c:v>
                </c:pt>
                <c:pt idx="50">
                  <c:v>0.16695591808399862</c:v>
                </c:pt>
                <c:pt idx="51">
                  <c:v>0.1523260284505959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225354770935924</c:v>
                </c:pt>
              </c:numCache>
            </c:numRef>
          </c:xVal>
          <c:yVal>
            <c:numRef>
              <c:f>Sheet1!$B$163:$B$164</c:f>
              <c:numCache>
                <c:formatCode>General</c:formatCode>
                <c:ptCount val="2"/>
                <c:pt idx="0">
                  <c:v>0.19172994932766552</c:v>
                </c:pt>
                <c:pt idx="1">
                  <c:v>0.191729949327665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225354770935924</c:v>
                </c:pt>
                <c:pt idx="1">
                  <c:v>0.8225354770935924</c:v>
                </c:pt>
              </c:numCache>
            </c:numRef>
          </c:xVal>
          <c:yVal>
            <c:numRef>
              <c:f>Sheet1!$B$167:$B$168</c:f>
              <c:numCache>
                <c:formatCode>General</c:formatCode>
                <c:ptCount val="2"/>
                <c:pt idx="0">
                  <c:v>0.19172994932766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458771077746302</c:v>
                </c:pt>
              </c:numCache>
            </c:numRef>
          </c:xVal>
          <c:yVal>
            <c:numRef>
              <c:f>Sheet1!$B$171:$B$172</c:f>
              <c:numCache>
                <c:formatCode>General</c:formatCode>
                <c:ptCount val="2"/>
                <c:pt idx="0">
                  <c:v>0.14169016907306714</c:v>
                </c:pt>
                <c:pt idx="1">
                  <c:v>0.141690169073067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458771077746302</c:v>
                </c:pt>
                <c:pt idx="1">
                  <c:v>0.4458771077746302</c:v>
                </c:pt>
              </c:numCache>
            </c:numRef>
          </c:xVal>
          <c:yVal>
            <c:numRef>
              <c:f>Sheet1!$B$175:$B$176</c:f>
              <c:numCache>
                <c:formatCode>General</c:formatCode>
                <c:ptCount val="2"/>
                <c:pt idx="0">
                  <c:v>0.141690169073067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86341521068167</c:v>
                </c:pt>
              </c:numCache>
            </c:numRef>
          </c:xVal>
          <c:yVal>
            <c:numRef>
              <c:f>Sheet1!$B$179:$B$180</c:f>
              <c:numCache>
                <c:formatCode>General</c:formatCode>
                <c:ptCount val="2"/>
                <c:pt idx="0">
                  <c:v>0.11814310553820039</c:v>
                </c:pt>
                <c:pt idx="1">
                  <c:v>0.118143105538200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86341521068167</c:v>
                </c:pt>
                <c:pt idx="1">
                  <c:v>0.2686341521068167</c:v>
                </c:pt>
              </c:numCache>
            </c:numRef>
          </c:xVal>
          <c:yVal>
            <c:numRef>
              <c:f>Sheet1!$B$183:$B$184</c:f>
              <c:numCache>
                <c:formatCode>General</c:formatCode>
                <c:ptCount val="2"/>
                <c:pt idx="0">
                  <c:v>0.118143105538200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1623669372137636</c:v>
                </c:pt>
                <c:pt idx="1">
                  <c:v>0.33815963834719476</c:v>
                </c:pt>
                <c:pt idx="2">
                  <c:v>0.3341174742265853</c:v>
                </c:pt>
                <c:pt idx="3">
                  <c:v>0.34162743737649204</c:v>
                </c:pt>
                <c:pt idx="4">
                  <c:v>0.32383221729567757</c:v>
                </c:pt>
                <c:pt idx="5">
                  <c:v>0.2990755039124704</c:v>
                </c:pt>
                <c:pt idx="6">
                  <c:v>0.3333028850302988</c:v>
                </c:pt>
                <c:pt idx="7">
                  <c:v>0.36264523011351113</c:v>
                </c:pt>
                <c:pt idx="8">
                  <c:v>0.34545789340241967</c:v>
                </c:pt>
                <c:pt idx="9">
                  <c:v>0.33455714620577565</c:v>
                </c:pt>
                <c:pt idx="10">
                  <c:v>0.3660535851297481</c:v>
                </c:pt>
                <c:pt idx="11">
                  <c:v>0.3472345374884939</c:v>
                </c:pt>
                <c:pt idx="12">
                  <c:v>0.38167980397734236</c:v>
                </c:pt>
                <c:pt idx="13">
                  <c:v>0.4180794125902846</c:v>
                </c:pt>
                <c:pt idx="14">
                  <c:v>0.4185167212543935</c:v>
                </c:pt>
                <c:pt idx="15">
                  <c:v>0.38279230658796787</c:v>
                </c:pt>
                <c:pt idx="16">
                  <c:v>0.3776105791644639</c:v>
                </c:pt>
                <c:pt idx="17">
                  <c:v>0.34582087816649226</c:v>
                </c:pt>
                <c:pt idx="18">
                  <c:v>0.30370398431498824</c:v>
                </c:pt>
                <c:pt idx="19">
                  <c:v>0.34116010184181633</c:v>
                </c:pt>
                <c:pt idx="20">
                  <c:v>0.3377403303069491</c:v>
                </c:pt>
                <c:pt idx="21">
                  <c:v>0.3025185074283285</c:v>
                </c:pt>
                <c:pt idx="22">
                  <c:v>0.3210496769366045</c:v>
                </c:pt>
                <c:pt idx="23">
                  <c:v>0.3105520137760069</c:v>
                </c:pt>
                <c:pt idx="24">
                  <c:v>0.3138670739814092</c:v>
                </c:pt>
                <c:pt idx="25">
                  <c:v>0.3004914868637982</c:v>
                </c:pt>
                <c:pt idx="26">
                  <c:v>0.3050689756895651</c:v>
                </c:pt>
                <c:pt idx="27">
                  <c:v>0.3173011308916821</c:v>
                </c:pt>
                <c:pt idx="28">
                  <c:v>0.34539154455142307</c:v>
                </c:pt>
                <c:pt idx="29">
                  <c:v>0.34285388308817677</c:v>
                </c:pt>
                <c:pt idx="30">
                  <c:v>0.32236149935578107</c:v>
                </c:pt>
                <c:pt idx="31">
                  <c:v>0.2561938170000729</c:v>
                </c:pt>
                <c:pt idx="32">
                  <c:v>0.24255038385197003</c:v>
                </c:pt>
                <c:pt idx="33">
                  <c:v>0.24346969207409333</c:v>
                </c:pt>
                <c:pt idx="34">
                  <c:v>0.2609575465956829</c:v>
                </c:pt>
                <c:pt idx="35">
                  <c:v>0.2638896440795853</c:v>
                </c:pt>
                <c:pt idx="36">
                  <c:v>0.257249090896281</c:v>
                </c:pt>
                <c:pt idx="37">
                  <c:v>0.2843389252322175</c:v>
                </c:pt>
                <c:pt idx="38">
                  <c:v>0.2949000009136509</c:v>
                </c:pt>
                <c:pt idx="39">
                  <c:v>0.29557111981567197</c:v>
                </c:pt>
                <c:pt idx="40">
                  <c:v>0.3012500885029598</c:v>
                </c:pt>
                <c:pt idx="41">
                  <c:v>0.32463372470031127</c:v>
                </c:pt>
                <c:pt idx="42">
                  <c:v>0.30826568757885897</c:v>
                </c:pt>
                <c:pt idx="43">
                  <c:v>0.34068515035132035</c:v>
                </c:pt>
                <c:pt idx="44">
                  <c:v>0.36067901797925567</c:v>
                </c:pt>
                <c:pt idx="45">
                  <c:v>0.37853140374704314</c:v>
                </c:pt>
                <c:pt idx="46">
                  <c:v>0.3545708277497005</c:v>
                </c:pt>
                <c:pt idx="47">
                  <c:v>0.38327764088761895</c:v>
                </c:pt>
                <c:pt idx="48">
                  <c:v>0.391683834806836</c:v>
                </c:pt>
                <c:pt idx="49">
                  <c:v>0.42684538111104037</c:v>
                </c:pt>
                <c:pt idx="50">
                  <c:v>0.3995065450895847</c:v>
                </c:pt>
                <c:pt idx="51">
                  <c:v>0.33688857514258125</c:v>
                </c:pt>
                <c:pt idx="52">
                  <c:v>0.4458771077746302</c:v>
                </c:pt>
                <c:pt idx="53">
                  <c:v>0.8225354770935924</c:v>
                </c:pt>
                <c:pt idx="54">
                  <c:v>0.2686341521068167</c:v>
                </c:pt>
              </c:numCache>
            </c:numRef>
          </c:xVal>
          <c:yVal>
            <c:numRef>
              <c:f>Sheet1!$B$187:$B$241</c:f>
              <c:numCache>
                <c:formatCode>General</c:formatCode>
                <c:ptCount val="55"/>
                <c:pt idx="0">
                  <c:v>0.1244671936668138</c:v>
                </c:pt>
                <c:pt idx="1">
                  <c:v>0.12737969852789843</c:v>
                </c:pt>
                <c:pt idx="2">
                  <c:v>0.12684268934179155</c:v>
                </c:pt>
                <c:pt idx="3">
                  <c:v>0.12784040221996534</c:v>
                </c:pt>
                <c:pt idx="4">
                  <c:v>0.12547627340998765</c:v>
                </c:pt>
                <c:pt idx="5">
                  <c:v>0.12218729698352013</c:v>
                </c:pt>
                <c:pt idx="6">
                  <c:v>0.1267344696188271</c:v>
                </c:pt>
                <c:pt idx="7">
                  <c:v>0.1306326559322584</c:v>
                </c:pt>
                <c:pt idx="8">
                  <c:v>0.12834928558331363</c:v>
                </c:pt>
                <c:pt idx="9">
                  <c:v>0.12690110059988352</c:v>
                </c:pt>
                <c:pt idx="10">
                  <c:v>0.13108546237420882</c:v>
                </c:pt>
                <c:pt idx="11">
                  <c:v>0.12858531612690285</c:v>
                </c:pt>
                <c:pt idx="12">
                  <c:v>0.13316143524787066</c:v>
                </c:pt>
                <c:pt idx="13">
                  <c:v>0.13799719243451794</c:v>
                </c:pt>
                <c:pt idx="14">
                  <c:v>0.13805528972170955</c:v>
                </c:pt>
                <c:pt idx="15">
                  <c:v>0.13330923333415512</c:v>
                </c:pt>
                <c:pt idx="16">
                  <c:v>0.13262083099736333</c:v>
                </c:pt>
                <c:pt idx="17">
                  <c:v>0.1283975087991227</c:v>
                </c:pt>
                <c:pt idx="18">
                  <c:v>0.12280219940205256</c:v>
                </c:pt>
                <c:pt idx="19">
                  <c:v>0.12777831580594878</c:v>
                </c:pt>
                <c:pt idx="20">
                  <c:v>0.1273239926577997</c:v>
                </c:pt>
                <c:pt idx="21">
                  <c:v>0.12264470654449938</c:v>
                </c:pt>
                <c:pt idx="22">
                  <c:v>0.12510660763468753</c:v>
                </c:pt>
                <c:pt idx="23">
                  <c:v>0.12371197313156235</c:v>
                </c:pt>
                <c:pt idx="24">
                  <c:v>0.12415238518057384</c:v>
                </c:pt>
                <c:pt idx="25">
                  <c:v>0.12237541300987265</c:v>
                </c:pt>
                <c:pt idx="26">
                  <c:v>0.12298354110051726</c:v>
                </c:pt>
                <c:pt idx="27">
                  <c:v>0.12460860616799686</c:v>
                </c:pt>
                <c:pt idx="28">
                  <c:v>0.12834047101235369</c:v>
                </c:pt>
                <c:pt idx="29">
                  <c:v>0.1280033378637899</c:v>
                </c:pt>
                <c:pt idx="30">
                  <c:v>0.12528088573637247</c:v>
                </c:pt>
                <c:pt idx="31">
                  <c:v>0.11649038337471682</c:v>
                </c:pt>
                <c:pt idx="32">
                  <c:v>0.11467782734978688</c:v>
                </c:pt>
                <c:pt idx="33">
                  <c:v>0.11479995919436656</c:v>
                </c:pt>
                <c:pt idx="34">
                  <c:v>0.11712325390561107</c:v>
                </c:pt>
                <c:pt idx="35">
                  <c:v>0.11751278862919845</c:v>
                </c:pt>
                <c:pt idx="36">
                  <c:v>0.11663057851751996</c:v>
                </c:pt>
                <c:pt idx="37">
                  <c:v>0.12022951449697197</c:v>
                </c:pt>
                <c:pt idx="38">
                  <c:v>0.12163257347401434</c:v>
                </c:pt>
                <c:pt idx="39">
                  <c:v>0.12172173289570079</c:v>
                </c:pt>
                <c:pt idx="40">
                  <c:v>0.12247619467946108</c:v>
                </c:pt>
                <c:pt idx="41">
                  <c:v>0.1255827551920673</c:v>
                </c:pt>
                <c:pt idx="42">
                  <c:v>0.12340823035079665</c:v>
                </c:pt>
                <c:pt idx="43">
                  <c:v>0.12771521759772633</c:v>
                </c:pt>
                <c:pt idx="44">
                  <c:v>0.13037144091316838</c:v>
                </c:pt>
                <c:pt idx="45">
                  <c:v>0.13274316429331162</c:v>
                </c:pt>
                <c:pt idx="46">
                  <c:v>0.12955995623172384</c:v>
                </c:pt>
                <c:pt idx="47">
                  <c:v>0.13337371091830777</c:v>
                </c:pt>
                <c:pt idx="48">
                  <c:v>0.13449048975759317</c:v>
                </c:pt>
                <c:pt idx="49">
                  <c:v>0.13916176801341845</c:v>
                </c:pt>
                <c:pt idx="50">
                  <c:v>0.13552975168678355</c:v>
                </c:pt>
                <c:pt idx="51">
                  <c:v>0.12721083536533664</c:v>
                </c:pt>
                <c:pt idx="52">
                  <c:v>0.14169016907306714</c:v>
                </c:pt>
                <c:pt idx="53">
                  <c:v>0.19172994932766552</c:v>
                </c:pt>
                <c:pt idx="54">
                  <c:v>0.118143105538200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61470215462606"/>
          <c:min val="0.067110125646711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1.2737</c:v>
                </c:pt>
                <c:pt idx="1">
                  <c:v>819.0975</c:v>
                </c:pt>
                <c:pt idx="2">
                  <c:v>858.2705</c:v>
                </c:pt>
                <c:pt idx="3">
                  <c:v>871.3148</c:v>
                </c:pt>
                <c:pt idx="4">
                  <c:v>871.8715</c:v>
                </c:pt>
                <c:pt idx="5">
                  <c:v>868.6209</c:v>
                </c:pt>
                <c:pt idx="6">
                  <c:v>827.6505</c:v>
                </c:pt>
                <c:pt idx="7">
                  <c:v>840.7979</c:v>
                </c:pt>
                <c:pt idx="8">
                  <c:v>827.6096</c:v>
                </c:pt>
                <c:pt idx="9">
                  <c:v>811.5138</c:v>
                </c:pt>
                <c:pt idx="10">
                  <c:v>820.3379</c:v>
                </c:pt>
                <c:pt idx="11">
                  <c:v>862.8005</c:v>
                </c:pt>
                <c:pt idx="12">
                  <c:v>864.102</c:v>
                </c:pt>
                <c:pt idx="13">
                  <c:v>855.2083</c:v>
                </c:pt>
                <c:pt idx="14">
                  <c:v>857.8052</c:v>
                </c:pt>
                <c:pt idx="15">
                  <c:v>867.9716</c:v>
                </c:pt>
                <c:pt idx="16">
                  <c:v>872.0827</c:v>
                </c:pt>
                <c:pt idx="17">
                  <c:v>880.582</c:v>
                </c:pt>
                <c:pt idx="18">
                  <c:v>921.4144</c:v>
                </c:pt>
                <c:pt idx="19">
                  <c:v>946.4751</c:v>
                </c:pt>
                <c:pt idx="20">
                  <c:v>945.1206</c:v>
                </c:pt>
                <c:pt idx="21">
                  <c:v>954.3219</c:v>
                </c:pt>
                <c:pt idx="22">
                  <c:v>934.0061</c:v>
                </c:pt>
                <c:pt idx="23">
                  <c:v>921.7446</c:v>
                </c:pt>
                <c:pt idx="24">
                  <c:v>901.7083</c:v>
                </c:pt>
                <c:pt idx="25">
                  <c:v>884.0243</c:v>
                </c:pt>
                <c:pt idx="26">
                  <c:v>877.4207</c:v>
                </c:pt>
                <c:pt idx="27">
                  <c:v>918.9585</c:v>
                </c:pt>
                <c:pt idx="28">
                  <c:v>921.2791</c:v>
                </c:pt>
                <c:pt idx="29">
                  <c:v>711.5323</c:v>
                </c:pt>
                <c:pt idx="30">
                  <c:v>779.8393</c:v>
                </c:pt>
                <c:pt idx="31">
                  <c:v>836.0792</c:v>
                </c:pt>
                <c:pt idx="32">
                  <c:v>812.5499</c:v>
                </c:pt>
                <c:pt idx="33">
                  <c:v>725.2041</c:v>
                </c:pt>
                <c:pt idx="34">
                  <c:v>859.033</c:v>
                </c:pt>
                <c:pt idx="35">
                  <c:v>905.6868</c:v>
                </c:pt>
                <c:pt idx="36">
                  <c:v>981.7692</c:v>
                </c:pt>
                <c:pt idx="37">
                  <c:v>997.5957</c:v>
                </c:pt>
                <c:pt idx="38">
                  <c:v>1037.3276</c:v>
                </c:pt>
                <c:pt idx="39">
                  <c:v>1046.309</c:v>
                </c:pt>
                <c:pt idx="40">
                  <c:v>1046.5027</c:v>
                </c:pt>
                <c:pt idx="41">
                  <c:v>1076.8157</c:v>
                </c:pt>
                <c:pt idx="42">
                  <c:v>1091.2024</c:v>
                </c:pt>
                <c:pt idx="43">
                  <c:v>1080.0168</c:v>
                </c:pt>
                <c:pt idx="44">
                  <c:v>1000.4567</c:v>
                </c:pt>
                <c:pt idx="45">
                  <c:v>971.7669</c:v>
                </c:pt>
                <c:pt idx="46">
                  <c:v>973.2606</c:v>
                </c:pt>
                <c:pt idx="47">
                  <c:v>950.2549</c:v>
                </c:pt>
                <c:pt idx="48">
                  <c:v>973.9632</c:v>
                </c:pt>
                <c:pt idx="49">
                  <c:v>963.1539</c:v>
                </c:pt>
                <c:pt idx="50">
                  <c:v>937.2458</c:v>
                </c:pt>
                <c:pt idx="51">
                  <c:v>931.6047</c:v>
                </c:pt>
                <c:pt idx="52">
                  <c:v>943.9112</c:v>
                </c:pt>
                <c:pt idx="53">
                  <c:v>1010.4422</c:v>
                </c:pt>
                <c:pt idx="54">
                  <c:v>1011.1632</c:v>
                </c:pt>
                <c:pt idx="55">
                  <c:v>1020.2835</c:v>
                </c:pt>
                <c:pt idx="56">
                  <c:v>1052.2614</c:v>
                </c:pt>
                <c:pt idx="57">
                  <c:v>1043.6063</c:v>
                </c:pt>
                <c:pt idx="58">
                  <c:v>1007.4052</c:v>
                </c:pt>
                <c:pt idx="59">
                  <c:v>995.4068</c:v>
                </c:pt>
                <c:pt idx="60">
                  <c:v>1015.3987</c:v>
                </c:pt>
                <c:pt idx="61">
                  <c:v>1000.7635</c:v>
                </c:pt>
                <c:pt idx="62">
                  <c:v>963.5396</c:v>
                </c:pt>
                <c:pt idx="63">
                  <c:v>1019.2228</c:v>
                </c:pt>
                <c:pt idx="64">
                  <c:v>1017.6501</c:v>
                </c:pt>
                <c:pt idx="65">
                  <c:v>1007.3758</c:v>
                </c:pt>
                <c:pt idx="66">
                  <c:v>998.4057</c:v>
                </c:pt>
                <c:pt idx="67">
                  <c:v>1015.4233</c:v>
                </c:pt>
                <c:pt idx="68">
                  <c:v>994.3763</c:v>
                </c:pt>
                <c:pt idx="69">
                  <c:v>993.2413</c:v>
                </c:pt>
                <c:pt idx="70">
                  <c:v>993.6056</c:v>
                </c:pt>
                <c:pt idx="71">
                  <c:v>1068.8518</c:v>
                </c:pt>
                <c:pt idx="72">
                  <c:v>1131.7122</c:v>
                </c:pt>
                <c:pt idx="73">
                  <c:v>1181.0749</c:v>
                </c:pt>
                <c:pt idx="74">
                  <c:v>1132.9471</c:v>
                </c:pt>
                <c:pt idx="75">
                  <c:v>1105.7185</c:v>
                </c:pt>
                <c:pt idx="76">
                  <c:v>1143.8433</c:v>
                </c:pt>
                <c:pt idx="77">
                  <c:v>1128.6361</c:v>
                </c:pt>
                <c:pt idx="78">
                  <c:v>1118.4825</c:v>
                </c:pt>
                <c:pt idx="79">
                  <c:v>1139.7643</c:v>
                </c:pt>
                <c:pt idx="80">
                  <c:v>1126.938</c:v>
                </c:pt>
                <c:pt idx="81">
                  <c:v>1103.7364</c:v>
                </c:pt>
                <c:pt idx="82">
                  <c:v>1120.0</c:v>
                </c:pt>
                <c:pt idx="83">
                  <c:v>1123.3943</c:v>
                </c:pt>
                <c:pt idx="84">
                  <c:v>1080.868</c:v>
                </c:pt>
                <c:pt idx="85">
                  <c:v>1085.1131</c:v>
                </c:pt>
                <c:pt idx="86">
                  <c:v>1092.1709</c:v>
                </c:pt>
                <c:pt idx="87">
                  <c:v>1110.3624</c:v>
                </c:pt>
                <c:pt idx="88">
                  <c:v>1118.907</c:v>
                </c:pt>
                <c:pt idx="89">
                  <c:v>1098.3514</c:v>
                </c:pt>
                <c:pt idx="90">
                  <c:v>1164.3076</c:v>
                </c:pt>
                <c:pt idx="91">
                  <c:v>1163.201</c:v>
                </c:pt>
                <c:pt idx="92">
                  <c:v>1085.6269</c:v>
                </c:pt>
                <c:pt idx="93">
                  <c:v>1133.7281</c:v>
                </c:pt>
                <c:pt idx="94">
                  <c:v>1155.0718</c:v>
                </c:pt>
                <c:pt idx="95">
                  <c:v>1128.1467</c:v>
                </c:pt>
                <c:pt idx="96">
                  <c:v>1075.6177</c:v>
                </c:pt>
                <c:pt idx="97">
                  <c:v>1076.3166</c:v>
                </c:pt>
                <c:pt idx="98">
                  <c:v>1071.4476</c:v>
                </c:pt>
                <c:pt idx="99">
                  <c:v>1011.0179</c:v>
                </c:pt>
                <c:pt idx="100">
                  <c:v>1021.1252</c:v>
                </c:pt>
                <c:pt idx="101">
                  <c:v>1026.1331</c:v>
                </c:pt>
                <c:pt idx="102">
                  <c:v>1022.1716</c:v>
                </c:pt>
                <c:pt idx="103">
                  <c:v>999.8382</c:v>
                </c:pt>
                <c:pt idx="104">
                  <c:v>1059.4838</c:v>
                </c:pt>
              </c:numCache>
            </c:numRef>
          </c:xVal>
          <c:yVal>
            <c:numRef>
              <c:f>Sheet1!$B$2:$B$106</c:f>
              <c:numCache>
                <c:formatCode>General</c:formatCode>
                <c:ptCount val="105"/>
                <c:pt idx="0">
                  <c:v>0.20820213501267185</c:v>
                </c:pt>
                <c:pt idx="1">
                  <c:v>0.19276172724448587</c:v>
                </c:pt>
                <c:pt idx="2">
                  <c:v>0.16175860638739112</c:v>
                </c:pt>
                <c:pt idx="3">
                  <c:v>0.1568939393939394</c:v>
                </c:pt>
                <c:pt idx="4">
                  <c:v>0.146620418111934</c:v>
                </c:pt>
                <c:pt idx="5">
                  <c:v>0.13317431922083084</c:v>
                </c:pt>
                <c:pt idx="6">
                  <c:v>0.15602981721637904</c:v>
                </c:pt>
                <c:pt idx="7">
                  <c:v>0.15211910193300515</c:v>
                </c:pt>
                <c:pt idx="8">
                  <c:v>0.16764437491852432</c:v>
                </c:pt>
                <c:pt idx="9">
                  <c:v>0.20007348888480617</c:v>
                </c:pt>
                <c:pt idx="10">
                  <c:v>0.2060474379866015</c:v>
                </c:pt>
                <c:pt idx="11">
                  <c:v>0.1930715935334873</c:v>
                </c:pt>
                <c:pt idx="12">
                  <c:v>0.20071349698462584</c:v>
                </c:pt>
                <c:pt idx="13">
                  <c:v>0.21301225179552175</c:v>
                </c:pt>
                <c:pt idx="14">
                  <c:v>0.20839851790860436</c:v>
                </c:pt>
                <c:pt idx="15">
                  <c:v>0.20707480235151024</c:v>
                </c:pt>
                <c:pt idx="16">
                  <c:v>0.200352733686067</c:v>
                </c:pt>
                <c:pt idx="17">
                  <c:v>0.18456827924066135</c:v>
                </c:pt>
                <c:pt idx="18">
                  <c:v>0.16720133453098934</c:v>
                </c:pt>
                <c:pt idx="19">
                  <c:v>0.1585309158530916</c:v>
                </c:pt>
                <c:pt idx="20">
                  <c:v>0.18110236220472442</c:v>
                </c:pt>
                <c:pt idx="21">
                  <c:v>0.17234212629896084</c:v>
                </c:pt>
                <c:pt idx="22">
                  <c:v>0.1722264150943396</c:v>
                </c:pt>
                <c:pt idx="23">
                  <c:v>0.17640573318632854</c:v>
                </c:pt>
                <c:pt idx="24">
                  <c:v>0.17587209302325582</c:v>
                </c:pt>
                <c:pt idx="25">
                  <c:v>0.1758879781420765</c:v>
                </c:pt>
                <c:pt idx="26">
                  <c:v>0.18419711129991503</c:v>
                </c:pt>
                <c:pt idx="27">
                  <c:v>0.1618563463430633</c:v>
                </c:pt>
                <c:pt idx="28">
                  <c:v>0.15706890973794888</c:v>
                </c:pt>
                <c:pt idx="29">
                  <c:v>0.19202342769488218</c:v>
                </c:pt>
                <c:pt idx="30">
                  <c:v>0.17327102803738317</c:v>
                </c:pt>
                <c:pt idx="31">
                  <c:v>0.16853932584269662</c:v>
                </c:pt>
                <c:pt idx="32">
                  <c:v>0.18266863613983259</c:v>
                </c:pt>
                <c:pt idx="33">
                  <c:v>0.21135567783891945</c:v>
                </c:pt>
                <c:pt idx="34">
                  <c:v>0.1888875836955245</c:v>
                </c:pt>
                <c:pt idx="35">
                  <c:v>0.18052785923753667</c:v>
                </c:pt>
                <c:pt idx="36">
                  <c:v>0.13292241725847515</c:v>
                </c:pt>
                <c:pt idx="37">
                  <c:v>0.12386530014641288</c:v>
                </c:pt>
                <c:pt idx="38">
                  <c:v>0.12001169419675486</c:v>
                </c:pt>
                <c:pt idx="39">
                  <c:v>0.11638846737481032</c:v>
                </c:pt>
                <c:pt idx="40">
                  <c:v>0.11309817464232856</c:v>
                </c:pt>
                <c:pt idx="41">
                  <c:v>0.09314703925482369</c:v>
                </c:pt>
                <c:pt idx="42">
                  <c:v>0.0968299711815562</c:v>
                </c:pt>
                <c:pt idx="43">
                  <c:v>0.1044114615543187</c:v>
                </c:pt>
                <c:pt idx="44">
                  <c:v>0.12461688492616328</c:v>
                </c:pt>
                <c:pt idx="45">
                  <c:v>0.14497041420118342</c:v>
                </c:pt>
                <c:pt idx="46">
                  <c:v>0.14596390072699925</c:v>
                </c:pt>
                <c:pt idx="47">
                  <c:v>0.1430451127819549</c:v>
                </c:pt>
                <c:pt idx="48">
                  <c:v>0.15343695068924046</c:v>
                </c:pt>
                <c:pt idx="49">
                  <c:v>0.18042180930421808</c:v>
                </c:pt>
                <c:pt idx="50">
                  <c:v>0.145105721813146</c:v>
                </c:pt>
                <c:pt idx="51">
                  <c:v>0.12617165213138806</c:v>
                </c:pt>
                <c:pt idx="52">
                  <c:v>0.1383665065202471</c:v>
                </c:pt>
                <c:pt idx="53">
                  <c:v>0.12174766813942071</c:v>
                </c:pt>
                <c:pt idx="54">
                  <c:v>0.11953738854065507</c:v>
                </c:pt>
                <c:pt idx="55">
                  <c:v>0.110609072835713</c:v>
                </c:pt>
                <c:pt idx="56">
                  <c:v>0.11240671641791045</c:v>
                </c:pt>
                <c:pt idx="57">
                  <c:v>0.10587410408226862</c:v>
                </c:pt>
                <c:pt idx="58">
                  <c:v>0.12522617611580217</c:v>
                </c:pt>
                <c:pt idx="59">
                  <c:v>0.13488302489150497</c:v>
                </c:pt>
                <c:pt idx="60">
                  <c:v>0.1444066232042924</c:v>
                </c:pt>
                <c:pt idx="61">
                  <c:v>0.1419235113764725</c:v>
                </c:pt>
                <c:pt idx="62">
                  <c:v>0.15923323659691463</c:v>
                </c:pt>
                <c:pt idx="63">
                  <c:v>0.17938488321485566</c:v>
                </c:pt>
                <c:pt idx="64">
                  <c:v>0.18605877920120573</c:v>
                </c:pt>
                <c:pt idx="65">
                  <c:v>0.16787161356955588</c:v>
                </c:pt>
                <c:pt idx="66">
                  <c:v>0.16226384231618549</c:v>
                </c:pt>
                <c:pt idx="67">
                  <c:v>0.14819920730656558</c:v>
                </c:pt>
                <c:pt idx="68">
                  <c:v>0.13357221061013239</c:v>
                </c:pt>
                <c:pt idx="69">
                  <c:v>0.12051087506322711</c:v>
                </c:pt>
                <c:pt idx="70">
                  <c:v>0.10948991696322657</c:v>
                </c:pt>
                <c:pt idx="71">
                  <c:v>0.11155948971621973</c:v>
                </c:pt>
                <c:pt idx="72">
                  <c:v>0.11561691113028473</c:v>
                </c:pt>
                <c:pt idx="73">
                  <c:v>0.11062878189950014</c:v>
                </c:pt>
                <c:pt idx="74">
                  <c:v>0.10793727968882946</c:v>
                </c:pt>
                <c:pt idx="75">
                  <c:v>0.11423166472642608</c:v>
                </c:pt>
                <c:pt idx="76">
                  <c:v>0.10627042165862767</c:v>
                </c:pt>
                <c:pt idx="77">
                  <c:v>0.10781499202551834</c:v>
                </c:pt>
                <c:pt idx="78">
                  <c:v>0.09770311964346932</c:v>
                </c:pt>
                <c:pt idx="79">
                  <c:v>0.09202168861347793</c:v>
                </c:pt>
                <c:pt idx="80">
                  <c:v>0.08574557972148333</c:v>
                </c:pt>
                <c:pt idx="81">
                  <c:v>0.10161455663762173</c:v>
                </c:pt>
                <c:pt idx="82">
                  <c:v>0.08989145183175033</c:v>
                </c:pt>
                <c:pt idx="83">
                  <c:v>0.08388765705838877</c:v>
                </c:pt>
                <c:pt idx="84">
                  <c:v>0.09150943396226414</c:v>
                </c:pt>
                <c:pt idx="85">
                  <c:v>0.1071779744346116</c:v>
                </c:pt>
                <c:pt idx="86">
                  <c:v>0.11445630081300813</c:v>
                </c:pt>
                <c:pt idx="87">
                  <c:v>0.13038534428300694</c:v>
                </c:pt>
                <c:pt idx="88">
                  <c:v>0.10500629722921914</c:v>
                </c:pt>
                <c:pt idx="89">
                  <c:v>0.09544468546637744</c:v>
                </c:pt>
                <c:pt idx="90">
                  <c:v>0.09447748513169074</c:v>
                </c:pt>
                <c:pt idx="91">
                  <c:v>0.09375512211112932</c:v>
                </c:pt>
                <c:pt idx="92">
                  <c:v>0.10372161762730082</c:v>
                </c:pt>
                <c:pt idx="93">
                  <c:v>0.09947229551451188</c:v>
                </c:pt>
                <c:pt idx="94">
                  <c:v>0.10344304565448202</c:v>
                </c:pt>
                <c:pt idx="95">
                  <c:v>0.11003733801888864</c:v>
                </c:pt>
                <c:pt idx="96">
                  <c:v>0.11253384063803322</c:v>
                </c:pt>
                <c:pt idx="97">
                  <c:v>0.12611764705882353</c:v>
                </c:pt>
                <c:pt idx="98">
                  <c:v>0.1434709400220635</c:v>
                </c:pt>
                <c:pt idx="99">
                  <c:v>0.15150024594195768</c:v>
                </c:pt>
                <c:pt idx="100">
                  <c:v>0.17330729655638588</c:v>
                </c:pt>
                <c:pt idx="101">
                  <c:v>0.150248371072834</c:v>
                </c:pt>
                <c:pt idx="102">
                  <c:v>0.12048508113767231</c:v>
                </c:pt>
                <c:pt idx="103">
                  <c:v>0.12718462027327612</c:v>
                </c:pt>
                <c:pt idx="104">
                  <c:v>0.13001912045889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71.0434</c:v>
                </c:pt>
                <c:pt idx="1">
                  <c:v>1068.1367</c:v>
                </c:pt>
                <c:pt idx="2">
                  <c:v>1070.3047</c:v>
                </c:pt>
                <c:pt idx="3">
                  <c:v>1044.9739</c:v>
                </c:pt>
                <c:pt idx="4">
                  <c:v>1057.6663</c:v>
                </c:pt>
                <c:pt idx="5">
                  <c:v>1064.778</c:v>
                </c:pt>
                <c:pt idx="6">
                  <c:v>984.8217</c:v>
                </c:pt>
                <c:pt idx="7">
                  <c:v>1044.6674</c:v>
                </c:pt>
                <c:pt idx="8">
                  <c:v>1105.0172</c:v>
                </c:pt>
                <c:pt idx="9">
                  <c:v>1058.7455</c:v>
                </c:pt>
                <c:pt idx="10">
                  <c:v>1089.7174</c:v>
                </c:pt>
                <c:pt idx="11">
                  <c:v>937.1856</c:v>
                </c:pt>
                <c:pt idx="12">
                  <c:v>980.8816</c:v>
                </c:pt>
                <c:pt idx="13">
                  <c:v>1055.8601</c:v>
                </c:pt>
                <c:pt idx="14">
                  <c:v>1045.2109</c:v>
                </c:pt>
                <c:pt idx="15">
                  <c:v>1081.7381</c:v>
                </c:pt>
                <c:pt idx="16">
                  <c:v>1122.2816</c:v>
                </c:pt>
                <c:pt idx="17">
                  <c:v>1101.5402</c:v>
                </c:pt>
                <c:pt idx="18">
                  <c:v>1032.5889</c:v>
                </c:pt>
                <c:pt idx="19">
                  <c:v>1182.4618</c:v>
                </c:pt>
                <c:pt idx="20">
                  <c:v>1188.4733</c:v>
                </c:pt>
                <c:pt idx="21">
                  <c:v>1097.587</c:v>
                </c:pt>
                <c:pt idx="22">
                  <c:v>1129.0284</c:v>
                </c:pt>
                <c:pt idx="23">
                  <c:v>1096.7422</c:v>
                </c:pt>
                <c:pt idx="24">
                  <c:v>1091.0538</c:v>
                </c:pt>
                <c:pt idx="25">
                  <c:v>1046.8694</c:v>
                </c:pt>
                <c:pt idx="26">
                  <c:v>1093.6044</c:v>
                </c:pt>
                <c:pt idx="27">
                  <c:v>1102.9024</c:v>
                </c:pt>
                <c:pt idx="28">
                  <c:v>1059.8534</c:v>
                </c:pt>
                <c:pt idx="29">
                  <c:v>1053.2761</c:v>
                </c:pt>
                <c:pt idx="30">
                  <c:v>1003.8849</c:v>
                </c:pt>
                <c:pt idx="31">
                  <c:v>985.8552</c:v>
                </c:pt>
                <c:pt idx="32">
                  <c:v>993.4057</c:v>
                </c:pt>
                <c:pt idx="33">
                  <c:v>1026.4448</c:v>
                </c:pt>
                <c:pt idx="34">
                  <c:v>1047.5588</c:v>
                </c:pt>
                <c:pt idx="35">
                  <c:v>1053.1566</c:v>
                </c:pt>
                <c:pt idx="36">
                  <c:v>1055.2164</c:v>
                </c:pt>
                <c:pt idx="37">
                  <c:v>1158.9275</c:v>
                </c:pt>
                <c:pt idx="38">
                  <c:v>1161.9756</c:v>
                </c:pt>
                <c:pt idx="39">
                  <c:v>1096.9262</c:v>
                </c:pt>
                <c:pt idx="40">
                  <c:v>1143.6909</c:v>
                </c:pt>
                <c:pt idx="41">
                  <c:v>1215.6239</c:v>
                </c:pt>
                <c:pt idx="42">
                  <c:v>1202.6762</c:v>
                </c:pt>
                <c:pt idx="43">
                  <c:v>1200.4214</c:v>
                </c:pt>
                <c:pt idx="44">
                  <c:v>1113.6857</c:v>
                </c:pt>
                <c:pt idx="45">
                  <c:v>1085.8059</c:v>
                </c:pt>
                <c:pt idx="46">
                  <c:v>1098.4756</c:v>
                </c:pt>
                <c:pt idx="47">
                  <c:v>1074.4585</c:v>
                </c:pt>
                <c:pt idx="48">
                  <c:v>1064.8323</c:v>
                </c:pt>
                <c:pt idx="49">
                  <c:v>1092.4002</c:v>
                </c:pt>
                <c:pt idx="50">
                  <c:v>975.5975</c:v>
                </c:pt>
                <c:pt idx="51">
                  <c:v>939.7557</c:v>
                </c:pt>
              </c:numCache>
            </c:numRef>
          </c:xVal>
          <c:yVal>
            <c:numRef>
              <c:f>Sheet1!$B$109:$B$160</c:f>
              <c:numCache>
                <c:formatCode>General</c:formatCode>
                <c:ptCount val="52"/>
                <c:pt idx="0">
                  <c:v>0.12999502570054716</c:v>
                </c:pt>
                <c:pt idx="1">
                  <c:v>0.1313324080499653</c:v>
                </c:pt>
                <c:pt idx="2">
                  <c:v>0.13660191181005243</c:v>
                </c:pt>
                <c:pt idx="3">
                  <c:v>0.15032</c:v>
                </c:pt>
                <c:pt idx="4">
                  <c:v>0.13078454798884906</c:v>
                </c:pt>
                <c:pt idx="5">
                  <c:v>0.13761702127659575</c:v>
                </c:pt>
                <c:pt idx="6">
                  <c:v>0.14267129228100608</c:v>
                </c:pt>
                <c:pt idx="7">
                  <c:v>0.13190396205908508</c:v>
                </c:pt>
                <c:pt idx="8">
                  <c:v>0.1375590020229265</c:v>
                </c:pt>
                <c:pt idx="9">
                  <c:v>0.14637454355764215</c:v>
                </c:pt>
                <c:pt idx="10">
                  <c:v>0.15709631439625332</c:v>
                </c:pt>
                <c:pt idx="11">
                  <c:v>0.17545020213156928</c:v>
                </c:pt>
                <c:pt idx="12">
                  <c:v>0.17328773129878103</c:v>
                </c:pt>
                <c:pt idx="13">
                  <c:v>0.16060054595086443</c:v>
                </c:pt>
                <c:pt idx="14">
                  <c:v>0.15637570394207562</c:v>
                </c:pt>
                <c:pt idx="15">
                  <c:v>0.1485995296129998</c:v>
                </c:pt>
                <c:pt idx="16">
                  <c:v>0.13022730126836618</c:v>
                </c:pt>
                <c:pt idx="17">
                  <c:v>0.11423319327731092</c:v>
                </c:pt>
                <c:pt idx="18">
                  <c:v>0.1210502213402534</c:v>
                </c:pt>
                <c:pt idx="19">
                  <c:v>0.11974635009585607</c:v>
                </c:pt>
                <c:pt idx="20">
                  <c:v>0.10045806349707787</c:v>
                </c:pt>
                <c:pt idx="21">
                  <c:v>0.10596546310832025</c:v>
                </c:pt>
                <c:pt idx="22">
                  <c:v>0.101711209382811</c:v>
                </c:pt>
                <c:pt idx="23">
                  <c:v>0.10938759065269943</c:v>
                </c:pt>
                <c:pt idx="24">
                  <c:v>0.1016949152542373</c:v>
                </c:pt>
                <c:pt idx="25">
                  <c:v>0.11427449440408403</c:v>
                </c:pt>
                <c:pt idx="26">
                  <c:v>0.09500609013398295</c:v>
                </c:pt>
                <c:pt idx="27">
                  <c:v>0.0990962422704931</c:v>
                </c:pt>
                <c:pt idx="28">
                  <c:v>0.11553784860557768</c:v>
                </c:pt>
                <c:pt idx="29">
                  <c:v>0.11103542234332425</c:v>
                </c:pt>
                <c:pt idx="30">
                  <c:v>0.1187433439829606</c:v>
                </c:pt>
                <c:pt idx="31">
                  <c:v>0.12219920918847675</c:v>
                </c:pt>
                <c:pt idx="32">
                  <c:v>0.13054106910039112</c:v>
                </c:pt>
                <c:pt idx="33">
                  <c:v>0.1433284941269632</c:v>
                </c:pt>
                <c:pt idx="34">
                  <c:v>0.166114853293755</c:v>
                </c:pt>
                <c:pt idx="35">
                  <c:v>0.15080381277564375</c:v>
                </c:pt>
                <c:pt idx="36">
                  <c:v>0.11992465466722478</c:v>
                </c:pt>
                <c:pt idx="37">
                  <c:v>0.10306198655713218</c:v>
                </c:pt>
                <c:pt idx="38">
                  <c:v>0.10100595360295628</c:v>
                </c:pt>
                <c:pt idx="39">
                  <c:v>0.1189522342064715</c:v>
                </c:pt>
                <c:pt idx="40">
                  <c:v>0.10111177884615384</c:v>
                </c:pt>
                <c:pt idx="41">
                  <c:v>0.10005701254275941</c:v>
                </c:pt>
                <c:pt idx="42">
                  <c:v>0.10146561443066517</c:v>
                </c:pt>
                <c:pt idx="43">
                  <c:v>0.09938872537921667</c:v>
                </c:pt>
                <c:pt idx="44">
                  <c:v>0.1001621673185157</c:v>
                </c:pt>
                <c:pt idx="45">
                  <c:v>0.121137564223171</c:v>
                </c:pt>
                <c:pt idx="46">
                  <c:v>0.11159132163540496</c:v>
                </c:pt>
                <c:pt idx="47">
                  <c:v>0.11523327712197864</c:v>
                </c:pt>
                <c:pt idx="48">
                  <c:v>0.11399809549721127</c:v>
                </c:pt>
                <c:pt idx="49">
                  <c:v>0.1334806342604627</c:v>
                </c:pt>
                <c:pt idx="50">
                  <c:v>0.16695591808399862</c:v>
                </c:pt>
                <c:pt idx="51">
                  <c:v>0.1523260284505959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1.2425030902951</c:v>
                </c:pt>
              </c:numCache>
            </c:numRef>
          </c:xVal>
          <c:yVal>
            <c:numRef>
              <c:f>Sheet1!$B$163:$B$164</c:f>
              <c:numCache>
                <c:formatCode>General</c:formatCode>
                <c:ptCount val="2"/>
                <c:pt idx="0">
                  <c:v>0.19172994932766552</c:v>
                </c:pt>
                <c:pt idx="1">
                  <c:v>0.191729949327665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1.2425030902951</c:v>
                </c:pt>
                <c:pt idx="1">
                  <c:v>801.2425030902951</c:v>
                </c:pt>
              </c:numCache>
            </c:numRef>
          </c:xVal>
          <c:yVal>
            <c:numRef>
              <c:f>Sheet1!$B$167:$B$168</c:f>
              <c:numCache>
                <c:formatCode>General</c:formatCode>
                <c:ptCount val="2"/>
                <c:pt idx="0">
                  <c:v>0.19172994932766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1.9580529481085</c:v>
                </c:pt>
              </c:numCache>
            </c:numRef>
          </c:xVal>
          <c:yVal>
            <c:numRef>
              <c:f>Sheet1!$B$171:$B$172</c:f>
              <c:numCache>
                <c:formatCode>General</c:formatCode>
                <c:ptCount val="2"/>
                <c:pt idx="0">
                  <c:v>0.14169016907306714</c:v>
                </c:pt>
                <c:pt idx="1">
                  <c:v>0.141690169073067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1.9580529481085</c:v>
                </c:pt>
                <c:pt idx="1">
                  <c:v>1011.9580529481085</c:v>
                </c:pt>
              </c:numCache>
            </c:numRef>
          </c:xVal>
          <c:yVal>
            <c:numRef>
              <c:f>Sheet1!$B$175:$B$176</c:f>
              <c:numCache>
                <c:formatCode>General</c:formatCode>
                <c:ptCount val="2"/>
                <c:pt idx="0">
                  <c:v>0.141690169073067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1.1138129262981</c:v>
                </c:pt>
              </c:numCache>
            </c:numRef>
          </c:xVal>
          <c:yVal>
            <c:numRef>
              <c:f>Sheet1!$B$179:$B$180</c:f>
              <c:numCache>
                <c:formatCode>General</c:formatCode>
                <c:ptCount val="2"/>
                <c:pt idx="0">
                  <c:v>0.11814310553820039</c:v>
                </c:pt>
                <c:pt idx="1">
                  <c:v>0.118143105538200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1.1138129262981</c:v>
                </c:pt>
                <c:pt idx="1">
                  <c:v>1111.1138129262981</c:v>
                </c:pt>
              </c:numCache>
            </c:numRef>
          </c:xVal>
          <c:yVal>
            <c:numRef>
              <c:f>Sheet1!$B$183:$B$184</c:f>
              <c:numCache>
                <c:formatCode>General</c:formatCode>
                <c:ptCount val="2"/>
                <c:pt idx="0">
                  <c:v>0.118143105538200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71.0434</c:v>
                </c:pt>
                <c:pt idx="1">
                  <c:v>1068.1367</c:v>
                </c:pt>
                <c:pt idx="2">
                  <c:v>1070.3047</c:v>
                </c:pt>
                <c:pt idx="3">
                  <c:v>1044.9739</c:v>
                </c:pt>
                <c:pt idx="4">
                  <c:v>1057.6663</c:v>
                </c:pt>
                <c:pt idx="5">
                  <c:v>1064.778</c:v>
                </c:pt>
                <c:pt idx="6">
                  <c:v>984.8217</c:v>
                </c:pt>
                <c:pt idx="7">
                  <c:v>1044.6674</c:v>
                </c:pt>
                <c:pt idx="8">
                  <c:v>1105.0172</c:v>
                </c:pt>
                <c:pt idx="9">
                  <c:v>1058.7455</c:v>
                </c:pt>
                <c:pt idx="10">
                  <c:v>1089.7174</c:v>
                </c:pt>
                <c:pt idx="11">
                  <c:v>937.1856</c:v>
                </c:pt>
                <c:pt idx="12">
                  <c:v>980.8816</c:v>
                </c:pt>
                <c:pt idx="13">
                  <c:v>1055.8601</c:v>
                </c:pt>
                <c:pt idx="14">
                  <c:v>1045.2109</c:v>
                </c:pt>
                <c:pt idx="15">
                  <c:v>1081.7381</c:v>
                </c:pt>
                <c:pt idx="16">
                  <c:v>1122.2816</c:v>
                </c:pt>
                <c:pt idx="17">
                  <c:v>1101.5402</c:v>
                </c:pt>
                <c:pt idx="18">
                  <c:v>1032.5889</c:v>
                </c:pt>
                <c:pt idx="19">
                  <c:v>1182.4618</c:v>
                </c:pt>
                <c:pt idx="20">
                  <c:v>1188.4733</c:v>
                </c:pt>
                <c:pt idx="21">
                  <c:v>1097.587</c:v>
                </c:pt>
                <c:pt idx="22">
                  <c:v>1129.0284</c:v>
                </c:pt>
                <c:pt idx="23">
                  <c:v>1096.7422</c:v>
                </c:pt>
                <c:pt idx="24">
                  <c:v>1091.0538</c:v>
                </c:pt>
                <c:pt idx="25">
                  <c:v>1046.8694</c:v>
                </c:pt>
                <c:pt idx="26">
                  <c:v>1093.6044</c:v>
                </c:pt>
                <c:pt idx="27">
                  <c:v>1102.9024</c:v>
                </c:pt>
                <c:pt idx="28">
                  <c:v>1059.8534</c:v>
                </c:pt>
                <c:pt idx="29">
                  <c:v>1053.2761</c:v>
                </c:pt>
                <c:pt idx="30">
                  <c:v>1003.8849</c:v>
                </c:pt>
                <c:pt idx="31">
                  <c:v>985.8552</c:v>
                </c:pt>
                <c:pt idx="32">
                  <c:v>993.4057</c:v>
                </c:pt>
                <c:pt idx="33">
                  <c:v>1026.4448</c:v>
                </c:pt>
                <c:pt idx="34">
                  <c:v>1047.5588</c:v>
                </c:pt>
                <c:pt idx="35">
                  <c:v>1053.1566</c:v>
                </c:pt>
                <c:pt idx="36">
                  <c:v>1055.2164</c:v>
                </c:pt>
                <c:pt idx="37">
                  <c:v>1158.9275</c:v>
                </c:pt>
                <c:pt idx="38">
                  <c:v>1161.9756</c:v>
                </c:pt>
                <c:pt idx="39">
                  <c:v>1096.9262</c:v>
                </c:pt>
                <c:pt idx="40">
                  <c:v>1143.6909</c:v>
                </c:pt>
                <c:pt idx="41">
                  <c:v>1215.6239</c:v>
                </c:pt>
                <c:pt idx="42">
                  <c:v>1202.6762</c:v>
                </c:pt>
                <c:pt idx="43">
                  <c:v>1200.4214</c:v>
                </c:pt>
                <c:pt idx="44">
                  <c:v>1113.6857</c:v>
                </c:pt>
                <c:pt idx="45">
                  <c:v>1085.8059</c:v>
                </c:pt>
                <c:pt idx="46">
                  <c:v>1098.4756</c:v>
                </c:pt>
                <c:pt idx="47">
                  <c:v>1074.4585</c:v>
                </c:pt>
                <c:pt idx="48">
                  <c:v>1064.8323</c:v>
                </c:pt>
                <c:pt idx="49">
                  <c:v>1092.4002</c:v>
                </c:pt>
                <c:pt idx="50">
                  <c:v>975.5975</c:v>
                </c:pt>
                <c:pt idx="51">
                  <c:v>939.7557</c:v>
                </c:pt>
                <c:pt idx="52">
                  <c:v>1011.9580529481085</c:v>
                </c:pt>
                <c:pt idx="53">
                  <c:v>801.2425030902951</c:v>
                </c:pt>
                <c:pt idx="54">
                  <c:v>1111.1138129262981</c:v>
                </c:pt>
              </c:numCache>
            </c:numRef>
          </c:xVal>
          <c:yVal>
            <c:numRef>
              <c:f>Sheet1!$B$187:$B$241</c:f>
              <c:numCache>
                <c:formatCode>General</c:formatCode>
                <c:ptCount val="55"/>
                <c:pt idx="0">
                  <c:v>0.127658846824954</c:v>
                </c:pt>
                <c:pt idx="1">
                  <c:v>0.12834911685658756</c:v>
                </c:pt>
                <c:pt idx="2">
                  <c:v>0.12783426997573244</c:v>
                </c:pt>
                <c:pt idx="3">
                  <c:v>0.13384971433438797</c:v>
                </c:pt>
                <c:pt idx="4">
                  <c:v>0.13083558031659936</c:v>
                </c:pt>
                <c:pt idx="5">
                  <c:v>0.1291467258135655</c:v>
                </c:pt>
                <c:pt idx="6">
                  <c:v>0.14813438801823212</c:v>
                </c:pt>
                <c:pt idx="7">
                  <c:v>0.13392250057469335</c:v>
                </c:pt>
                <c:pt idx="8">
                  <c:v>0.11959090173233589</c:v>
                </c:pt>
                <c:pt idx="9">
                  <c:v>0.13057929675856483</c:v>
                </c:pt>
                <c:pt idx="10">
                  <c:v>0.12322422936504224</c:v>
                </c:pt>
                <c:pt idx="11">
                  <c:v>0.1594467946146819</c:v>
                </c:pt>
                <c:pt idx="12">
                  <c:v>0.14907006523006663</c:v>
                </c:pt>
                <c:pt idx="13">
                  <c:v>0.13126450856207927</c:v>
                </c:pt>
                <c:pt idx="14">
                  <c:v>0.13379343264123175</c:v>
                </c:pt>
                <c:pt idx="15">
                  <c:v>0.12511911761061756</c:v>
                </c:pt>
                <c:pt idx="16">
                  <c:v>0.11549102973517933</c:v>
                </c:pt>
                <c:pt idx="17">
                  <c:v>0.12041660404079219</c:v>
                </c:pt>
                <c:pt idx="18">
                  <c:v>0.13679084838392247</c:v>
                </c:pt>
                <c:pt idx="19">
                  <c:v>0.10119970673737583</c:v>
                </c:pt>
                <c:pt idx="20">
                  <c:v>0.09977212277784597</c:v>
                </c:pt>
                <c:pt idx="21">
                  <c:v>0.12135539218165775</c:v>
                </c:pt>
                <c:pt idx="22">
                  <c:v>0.11388883004156619</c:v>
                </c:pt>
                <c:pt idx="23">
                  <c:v>0.1215560114828323</c:v>
                </c:pt>
                <c:pt idx="24">
                  <c:v>0.12290686710878079</c:v>
                </c:pt>
                <c:pt idx="25">
                  <c:v>0.13339957952688755</c:v>
                </c:pt>
                <c:pt idx="26">
                  <c:v>0.12230116210218067</c:v>
                </c:pt>
                <c:pt idx="27">
                  <c:v>0.12009311491666819</c:v>
                </c:pt>
                <c:pt idx="28">
                  <c:v>0.13031619765372193</c:v>
                </c:pt>
                <c:pt idx="29">
                  <c:v>0.13187814525033098</c:v>
                </c:pt>
                <c:pt idx="30">
                  <c:v>0.14360734509428488</c:v>
                </c:pt>
                <c:pt idx="31">
                  <c:v>0.14788895709048128</c:v>
                </c:pt>
                <c:pt idx="32">
                  <c:v>0.14609589833868392</c:v>
                </c:pt>
                <c:pt idx="33">
                  <c:v>0.13824992159455993</c:v>
                </c:pt>
                <c:pt idx="34">
                  <c:v>0.1332358639181876</c:v>
                </c:pt>
                <c:pt idx="35">
                  <c:v>0.13190652357240767</c:v>
                </c:pt>
                <c:pt idx="36">
                  <c:v>0.1314173715404956</c:v>
                </c:pt>
                <c:pt idx="37">
                  <c:v>0.10678852636288733</c:v>
                </c:pt>
                <c:pt idx="38">
                  <c:v>0.10606467729575886</c:v>
                </c:pt>
                <c:pt idx="39">
                  <c:v>0.12151231599109918</c:v>
                </c:pt>
                <c:pt idx="40">
                  <c:v>0.11040684554408536</c:v>
                </c:pt>
                <c:pt idx="41">
                  <c:v>0.09332452050693024</c:v>
                </c:pt>
                <c:pt idx="42">
                  <c:v>0.09639928201949849</c:v>
                </c:pt>
                <c:pt idx="43">
                  <c:v>0.09693474177362776</c:v>
                </c:pt>
                <c:pt idx="44">
                  <c:v>0.11753234537316026</c:v>
                </c:pt>
                <c:pt idx="45">
                  <c:v>0.12415311477761826</c:v>
                </c:pt>
                <c:pt idx="46">
                  <c:v>0.1211443714536467</c:v>
                </c:pt>
                <c:pt idx="47">
                  <c:v>0.1268478442498579</c:v>
                </c:pt>
                <c:pt idx="48">
                  <c:v>0.12913383089399427</c:v>
                </c:pt>
                <c:pt idx="49">
                  <c:v>0.1225871300975338</c:v>
                </c:pt>
                <c:pt idx="50">
                  <c:v>0.15032490951195163</c:v>
                </c:pt>
                <c:pt idx="51">
                  <c:v>0.15883645883586003</c:v>
                </c:pt>
                <c:pt idx="52">
                  <c:v>0.14169016907306714</c:v>
                </c:pt>
                <c:pt idx="53">
                  <c:v>0.19172994932766552</c:v>
                </c:pt>
                <c:pt idx="54">
                  <c:v>0.11814310553820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9.0"/>
          <c:min val="5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61470215462606"/>
          <c:min val="0.067110125646711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623365540249792</c:v>
                </c:pt>
                <c:pt idx="1">
                  <c:v>0.7915290046392456</c:v>
                </c:pt>
                <c:pt idx="2">
                  <c:v>0.7688292766373287</c:v>
                </c:pt>
                <c:pt idx="3">
                  <c:v>0.7593015038079658</c:v>
                </c:pt>
                <c:pt idx="4">
                  <c:v>0.7603688506162113</c:v>
                </c:pt>
                <c:pt idx="5">
                  <c:v>0.7841868108443707</c:v>
                </c:pt>
                <c:pt idx="6">
                  <c:v>0.761742945330204</c:v>
                </c:pt>
                <c:pt idx="7">
                  <c:v>0.7522266710176528</c:v>
                </c:pt>
                <c:pt idx="8">
                  <c:v>0.7572711727851797</c:v>
                </c:pt>
                <c:pt idx="9">
                  <c:v>0.7662238772838265</c:v>
                </c:pt>
                <c:pt idx="10">
                  <c:v>0.7800577950912388</c:v>
                </c:pt>
                <c:pt idx="11">
                  <c:v>0.837446896133467</c:v>
                </c:pt>
                <c:pt idx="12">
                  <c:v>0.8608320829116957</c:v>
                </c:pt>
                <c:pt idx="13">
                  <c:v>0.8640525405315963</c:v>
                </c:pt>
                <c:pt idx="14">
                  <c:v>0.8607659547939387</c:v>
                </c:pt>
                <c:pt idx="15">
                  <c:v>0.8872097208926641</c:v>
                </c:pt>
                <c:pt idx="16">
                  <c:v>0.910112210811729</c:v>
                </c:pt>
                <c:pt idx="17">
                  <c:v>0.9314044254555021</c:v>
                </c:pt>
                <c:pt idx="18">
                  <c:v>0.9394194078055784</c:v>
                </c:pt>
                <c:pt idx="19">
                  <c:v>0.9834752644418595</c:v>
                </c:pt>
                <c:pt idx="20">
                  <c:v>1.0296530249151552</c:v>
                </c:pt>
                <c:pt idx="21">
                  <c:v>0.9380583781039807</c:v>
                </c:pt>
                <c:pt idx="22">
                  <c:v>0.8692545996366924</c:v>
                </c:pt>
                <c:pt idx="23">
                  <c:v>0.8465134552143372</c:v>
                </c:pt>
                <c:pt idx="24">
                  <c:v>0.8114535408790341</c:v>
                </c:pt>
                <c:pt idx="25">
                  <c:v>0.7898839362076812</c:v>
                </c:pt>
                <c:pt idx="26">
                  <c:v>0.7817938292141573</c:v>
                </c:pt>
                <c:pt idx="27">
                  <c:v>0.8145802683565693</c:v>
                </c:pt>
                <c:pt idx="28">
                  <c:v>0.8163382678399106</c:v>
                </c:pt>
                <c:pt idx="29">
                  <c:v>0.7891334158118739</c:v>
                </c:pt>
                <c:pt idx="30">
                  <c:v>0.7911368619247717</c:v>
                </c:pt>
                <c:pt idx="31">
                  <c:v>0.8131665019769766</c:v>
                </c:pt>
                <c:pt idx="32">
                  <c:v>0.7724762217110005</c:v>
                </c:pt>
                <c:pt idx="33">
                  <c:v>0.7491027966074741</c:v>
                </c:pt>
                <c:pt idx="34">
                  <c:v>0.797600326412899</c:v>
                </c:pt>
                <c:pt idx="35">
                  <c:v>0.828382085423193</c:v>
                </c:pt>
                <c:pt idx="36">
                  <c:v>0.9440649695955095</c:v>
                </c:pt>
                <c:pt idx="37">
                  <c:v>0.942949009371013</c:v>
                </c:pt>
                <c:pt idx="38">
                  <c:v>0.9954403087152738</c:v>
                </c:pt>
                <c:pt idx="39">
                  <c:v>1.0290645367135474</c:v>
                </c:pt>
                <c:pt idx="40">
                  <c:v>0.984844367171866</c:v>
                </c:pt>
                <c:pt idx="41">
                  <c:v>0.9963465584508031</c:v>
                </c:pt>
                <c:pt idx="42">
                  <c:v>0.9939495532993436</c:v>
                </c:pt>
                <c:pt idx="43">
                  <c:v>0.992379856574353</c:v>
                </c:pt>
                <c:pt idx="44">
                  <c:v>0.9643481516262566</c:v>
                </c:pt>
                <c:pt idx="45">
                  <c:v>0.9498381777042365</c:v>
                </c:pt>
                <c:pt idx="46">
                  <c:v>0.9522312617085423</c:v>
                </c:pt>
                <c:pt idx="47">
                  <c:v>0.977732236387266</c:v>
                </c:pt>
                <c:pt idx="48">
                  <c:v>0.9517270908952805</c:v>
                </c:pt>
                <c:pt idx="49">
                  <c:v>0.9109073666190654</c:v>
                </c:pt>
                <c:pt idx="50">
                  <c:v>0.9147063894647718</c:v>
                </c:pt>
                <c:pt idx="51">
                  <c:v>0.9218020185612263</c:v>
                </c:pt>
                <c:pt idx="52">
                  <c:v>0.900977347431727</c:v>
                </c:pt>
                <c:pt idx="53">
                  <c:v>0.8770258246570011</c:v>
                </c:pt>
                <c:pt idx="54">
                  <c:v>0.8457804488861398</c:v>
                </c:pt>
                <c:pt idx="55">
                  <c:v>0.8856177691238576</c:v>
                </c:pt>
                <c:pt idx="56">
                  <c:v>0.8680191159353485</c:v>
                </c:pt>
                <c:pt idx="57">
                  <c:v>0.8601341389539529</c:v>
                </c:pt>
                <c:pt idx="58">
                  <c:v>0.8547840676638067</c:v>
                </c:pt>
                <c:pt idx="59">
                  <c:v>0.829886243356509</c:v>
                </c:pt>
                <c:pt idx="60">
                  <c:v>0.8266441257764646</c:v>
                </c:pt>
                <c:pt idx="61">
                  <c:v>0.912611134916347</c:v>
                </c:pt>
                <c:pt idx="62">
                  <c:v>0.9299508249824935</c:v>
                </c:pt>
                <c:pt idx="63">
                  <c:v>0.9568197920589874</c:v>
                </c:pt>
                <c:pt idx="64">
                  <c:v>0.9941778350887347</c:v>
                </c:pt>
                <c:pt idx="65">
                  <c:v>0.9753261865202252</c:v>
                </c:pt>
                <c:pt idx="66">
                  <c:v>0.9591974827578404</c:v>
                </c:pt>
                <c:pt idx="67">
                  <c:v>1.0058336240445256</c:v>
                </c:pt>
                <c:pt idx="68">
                  <c:v>1.0432521213752062</c:v>
                </c:pt>
                <c:pt idx="69">
                  <c:v>1.065745953880744</c:v>
                </c:pt>
                <c:pt idx="70">
                  <c:v>1.0456322863618563</c:v>
                </c:pt>
                <c:pt idx="71">
                  <c:v>1.0183665707596776</c:v>
                </c:pt>
                <c:pt idx="72">
                  <c:v>1.1706561086194043</c:v>
                </c:pt>
                <c:pt idx="73">
                  <c:v>1.063161236057992</c:v>
                </c:pt>
                <c:pt idx="74">
                  <c:v>1.0117092959979326</c:v>
                </c:pt>
                <c:pt idx="75">
                  <c:v>0.9944416546173321</c:v>
                </c:pt>
                <c:pt idx="76">
                  <c:v>0.9820551513516977</c:v>
                </c:pt>
                <c:pt idx="77">
                  <c:v>1.0056035069344726</c:v>
                </c:pt>
                <c:pt idx="78">
                  <c:v>1.0384988130483475</c:v>
                </c:pt>
                <c:pt idx="79">
                  <c:v>1.0265080046414656</c:v>
                </c:pt>
                <c:pt idx="80">
                  <c:v>1.0398606318458736</c:v>
                </c:pt>
                <c:pt idx="81">
                  <c:v>0.9987766941875256</c:v>
                </c:pt>
                <c:pt idx="82">
                  <c:v>1.0041708772183051</c:v>
                </c:pt>
                <c:pt idx="83">
                  <c:v>0.9686279413449245</c:v>
                </c:pt>
                <c:pt idx="84">
                  <c:v>0.9949882179949615</c:v>
                </c:pt>
                <c:pt idx="85">
                  <c:v>0.9650191560019831</c:v>
                </c:pt>
                <c:pt idx="86">
                  <c:v>0.986756152038325</c:v>
                </c:pt>
                <c:pt idx="87">
                  <c:v>0.9736157886975662</c:v>
                </c:pt>
                <c:pt idx="88">
                  <c:v>0.9735714524447081</c:v>
                </c:pt>
                <c:pt idx="89">
                  <c:v>0.9799522373393984</c:v>
                </c:pt>
                <c:pt idx="90">
                  <c:v>1.0131847362288315</c:v>
                </c:pt>
                <c:pt idx="91">
                  <c:v>1.0291788595123712</c:v>
                </c:pt>
                <c:pt idx="92">
                  <c:v>1.0113588529185877</c:v>
                </c:pt>
                <c:pt idx="93">
                  <c:v>1.0120405426213532</c:v>
                </c:pt>
                <c:pt idx="94">
                  <c:v>0.9959434412683257</c:v>
                </c:pt>
                <c:pt idx="95">
                  <c:v>0.9537928867609075</c:v>
                </c:pt>
                <c:pt idx="96">
                  <c:v>0.9881283147093484</c:v>
                </c:pt>
                <c:pt idx="97">
                  <c:v>1.013428428932352</c:v>
                </c:pt>
                <c:pt idx="98">
                  <c:v>1.0076444466305488</c:v>
                </c:pt>
                <c:pt idx="99">
                  <c:v>0.9886056032234316</c:v>
                </c:pt>
                <c:pt idx="100">
                  <c:v>0.9366686951303672</c:v>
                </c:pt>
                <c:pt idx="101">
                  <c:v>0.8948810798692596</c:v>
                </c:pt>
                <c:pt idx="102">
                  <c:v>0.9034547650945782</c:v>
                </c:pt>
                <c:pt idx="103">
                  <c:v>0.9188549212552765</c:v>
                </c:pt>
                <c:pt idx="104">
                  <c:v>0.9215441651445129</c:v>
                </c:pt>
              </c:numCache>
            </c:numRef>
          </c:xVal>
          <c:yVal>
            <c:numRef>
              <c:f>Sheet1!$B$2:$B$106</c:f>
              <c:numCache>
                <c:formatCode>General</c:formatCode>
                <c:ptCount val="105"/>
                <c:pt idx="0">
                  <c:v>0.5445728141491941</c:v>
                </c:pt>
                <c:pt idx="1">
                  <c:v>0.5853899308983218</c:v>
                </c:pt>
                <c:pt idx="2">
                  <c:v>0.6343833780160858</c:v>
                </c:pt>
                <c:pt idx="3">
                  <c:v>0.6448372093023256</c:v>
                </c:pt>
                <c:pt idx="4">
                  <c:v>0.6299345577369643</c:v>
                </c:pt>
                <c:pt idx="5">
                  <c:v>0.5861015654830087</c:v>
                </c:pt>
                <c:pt idx="6">
                  <c:v>0.5931305536568694</c:v>
                </c:pt>
                <c:pt idx="7">
                  <c:v>0.6267709875237893</c:v>
                </c:pt>
                <c:pt idx="8">
                  <c:v>0.5984</c:v>
                </c:pt>
                <c:pt idx="9">
                  <c:v>0.572725824438426</c:v>
                </c:pt>
                <c:pt idx="10">
                  <c:v>0.5489881143591391</c:v>
                </c:pt>
                <c:pt idx="11">
                  <c:v>0.48370883882149046</c:v>
                </c:pt>
                <c:pt idx="12">
                  <c:v>0.4590776226047418</c:v>
                </c:pt>
                <c:pt idx="13">
                  <c:v>0.42577806745967084</c:v>
                </c:pt>
                <c:pt idx="14">
                  <c:v>0.3942703387147832</c:v>
                </c:pt>
                <c:pt idx="15">
                  <c:v>0.40061279203370354</c:v>
                </c:pt>
                <c:pt idx="16">
                  <c:v>0.38252302420218465</c:v>
                </c:pt>
                <c:pt idx="17">
                  <c:v>0.3746327130264447</c:v>
                </c:pt>
                <c:pt idx="18">
                  <c:v>0.3778122575640031</c:v>
                </c:pt>
                <c:pt idx="19">
                  <c:v>0.3786099650904475</c:v>
                </c:pt>
                <c:pt idx="20">
                  <c:v>0.3707057256990679</c:v>
                </c:pt>
                <c:pt idx="21">
                  <c:v>0.42254000680966974</c:v>
                </c:pt>
                <c:pt idx="22">
                  <c:v>0.4876084262701363</c:v>
                </c:pt>
                <c:pt idx="23">
                  <c:v>0.5029335071707953</c:v>
                </c:pt>
                <c:pt idx="24">
                  <c:v>0.5234209731036567</c:v>
                </c:pt>
                <c:pt idx="25">
                  <c:v>0.5259032038173143</c:v>
                </c:pt>
                <c:pt idx="26">
                  <c:v>0.5246385364414281</c:v>
                </c:pt>
                <c:pt idx="27">
                  <c:v>0.506961506961507</c:v>
                </c:pt>
                <c:pt idx="28">
                  <c:v>0.48673621460506705</c:v>
                </c:pt>
                <c:pt idx="29">
                  <c:v>0.4879214228829307</c:v>
                </c:pt>
                <c:pt idx="30">
                  <c:v>0.5009933774834437</c:v>
                </c:pt>
                <c:pt idx="31">
                  <c:v>0.5131539159358935</c:v>
                </c:pt>
                <c:pt idx="32">
                  <c:v>0.5263157894736842</c:v>
                </c:pt>
                <c:pt idx="33">
                  <c:v>0.541515371580731</c:v>
                </c:pt>
                <c:pt idx="34">
                  <c:v>0.5145737453429761</c:v>
                </c:pt>
                <c:pt idx="35">
                  <c:v>0.5012802836320662</c:v>
                </c:pt>
                <c:pt idx="36">
                  <c:v>0.452720677146312</c:v>
                </c:pt>
                <c:pt idx="37">
                  <c:v>0.45969738651994496</c:v>
                </c:pt>
                <c:pt idx="38">
                  <c:v>0.4446361806154731</c:v>
                </c:pt>
                <c:pt idx="39">
                  <c:v>0.43071491615180935</c:v>
                </c:pt>
                <c:pt idx="40">
                  <c:v>0.4385014137606032</c:v>
                </c:pt>
                <c:pt idx="41">
                  <c:v>0.41214057507987223</c:v>
                </c:pt>
                <c:pt idx="42">
                  <c:v>0.4084146908414691</c:v>
                </c:pt>
                <c:pt idx="43">
                  <c:v>0.4028985507246377</c:v>
                </c:pt>
                <c:pt idx="44">
                  <c:v>0.4111781361565924</c:v>
                </c:pt>
                <c:pt idx="45">
                  <c:v>0.4258394001955884</c:v>
                </c:pt>
                <c:pt idx="46">
                  <c:v>0.43253968253968256</c:v>
                </c:pt>
                <c:pt idx="47">
                  <c:v>0.4198404673632176</c:v>
                </c:pt>
                <c:pt idx="48">
                  <c:v>0.42434264924756077</c:v>
                </c:pt>
                <c:pt idx="49">
                  <c:v>0.45141562853907136</c:v>
                </c:pt>
                <c:pt idx="50">
                  <c:v>0.4266785435920276</c:v>
                </c:pt>
                <c:pt idx="51">
                  <c:v>0.41721085473806413</c:v>
                </c:pt>
                <c:pt idx="52">
                  <c:v>0.4357021996615905</c:v>
                </c:pt>
                <c:pt idx="53">
                  <c:v>0.433338343604389</c:v>
                </c:pt>
                <c:pt idx="54">
                  <c:v>0.4501677852348993</c:v>
                </c:pt>
                <c:pt idx="55">
                  <c:v>0.4440439409543426</c:v>
                </c:pt>
                <c:pt idx="56">
                  <c:v>0.4605013292821876</c:v>
                </c:pt>
                <c:pt idx="57">
                  <c:v>0.46712586098935505</c:v>
                </c:pt>
                <c:pt idx="58">
                  <c:v>0.4688431511710433</c:v>
                </c:pt>
                <c:pt idx="59">
                  <c:v>0.49812934259754144</c:v>
                </c:pt>
                <c:pt idx="60">
                  <c:v>0.5079043372517228</c:v>
                </c:pt>
                <c:pt idx="61">
                  <c:v>0.48867505551443374</c:v>
                </c:pt>
                <c:pt idx="62">
                  <c:v>0.5133728495012289</c:v>
                </c:pt>
                <c:pt idx="63">
                  <c:v>0.5433663366336634</c:v>
                </c:pt>
                <c:pt idx="64">
                  <c:v>0.4756648268941295</c:v>
                </c:pt>
                <c:pt idx="65">
                  <c:v>0.4322986352689323</c:v>
                </c:pt>
                <c:pt idx="66">
                  <c:v>0.43306767526678375</c:v>
                </c:pt>
                <c:pt idx="67">
                  <c:v>0.4181363903586126</c:v>
                </c:pt>
                <c:pt idx="68">
                  <c:v>0.40692016579563883</c:v>
                </c:pt>
                <c:pt idx="69">
                  <c:v>0.39314104019986373</c:v>
                </c:pt>
                <c:pt idx="70">
                  <c:v>0.3942857142857143</c:v>
                </c:pt>
                <c:pt idx="71">
                  <c:v>0.4007334963325183</c:v>
                </c:pt>
                <c:pt idx="72">
                  <c:v>0.3762204382729442</c:v>
                </c:pt>
                <c:pt idx="73">
                  <c:v>0.39984958636249684</c:v>
                </c:pt>
                <c:pt idx="74">
                  <c:v>0.39501133786848075</c:v>
                </c:pt>
                <c:pt idx="75">
                  <c:v>0.4016200679383329</c:v>
                </c:pt>
                <c:pt idx="76">
                  <c:v>0.40309633027522934</c:v>
                </c:pt>
                <c:pt idx="77">
                  <c:v>0.4044595850108393</c:v>
                </c:pt>
                <c:pt idx="78">
                  <c:v>0.38909710391822827</c:v>
                </c:pt>
                <c:pt idx="79">
                  <c:v>0.38160348042262277</c:v>
                </c:pt>
                <c:pt idx="80">
                  <c:v>0.36264402668283807</c:v>
                </c:pt>
                <c:pt idx="81">
                  <c:v>0.3791374122367101</c:v>
                </c:pt>
                <c:pt idx="82">
                  <c:v>0.37747899159663867</c:v>
                </c:pt>
                <c:pt idx="83">
                  <c:v>0.38260228529303353</c:v>
                </c:pt>
                <c:pt idx="84">
                  <c:v>0.3862550532892319</c:v>
                </c:pt>
                <c:pt idx="85">
                  <c:v>0.4016549968173138</c:v>
                </c:pt>
                <c:pt idx="86">
                  <c:v>0.3846704871060172</c:v>
                </c:pt>
                <c:pt idx="87">
                  <c:v>0.3912073197946887</c:v>
                </c:pt>
                <c:pt idx="88">
                  <c:v>0.37909778649481646</c:v>
                </c:pt>
                <c:pt idx="89">
                  <c:v>0.38899253731343286</c:v>
                </c:pt>
                <c:pt idx="90">
                  <c:v>0.37152</c:v>
                </c:pt>
                <c:pt idx="91">
                  <c:v>0.3454431569057313</c:v>
                </c:pt>
                <c:pt idx="92">
                  <c:v>0.35205640423031725</c:v>
                </c:pt>
                <c:pt idx="93">
                  <c:v>0.34647443117819327</c:v>
                </c:pt>
                <c:pt idx="94">
                  <c:v>0.346163397069779</c:v>
                </c:pt>
                <c:pt idx="95">
                  <c:v>0.3561797752808989</c:v>
                </c:pt>
                <c:pt idx="96">
                  <c:v>0.37006871977602446</c:v>
                </c:pt>
                <c:pt idx="97">
                  <c:v>0.3853261467385326</c:v>
                </c:pt>
                <c:pt idx="98">
                  <c:v>0.3958612761065338</c:v>
                </c:pt>
                <c:pt idx="99">
                  <c:v>0.40179760319573904</c:v>
                </c:pt>
                <c:pt idx="100">
                  <c:v>0.40472353087031987</c:v>
                </c:pt>
                <c:pt idx="101">
                  <c:v>0.4190716558762208</c:v>
                </c:pt>
                <c:pt idx="102">
                  <c:v>0.4056206088992974</c:v>
                </c:pt>
                <c:pt idx="103">
                  <c:v>0.37120245085524634</c:v>
                </c:pt>
                <c:pt idx="104">
                  <c:v>0.36841291917787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269362497429064</c:v>
                </c:pt>
                <c:pt idx="1">
                  <c:v>0.8733635489276188</c:v>
                </c:pt>
                <c:pt idx="2">
                  <c:v>0.8820607450332055</c:v>
                </c:pt>
                <c:pt idx="3">
                  <c:v>0.8448383954233916</c:v>
                </c:pt>
                <c:pt idx="4">
                  <c:v>0.8670782963222012</c:v>
                </c:pt>
                <c:pt idx="5">
                  <c:v>0.8671911717720714</c:v>
                </c:pt>
                <c:pt idx="6">
                  <c:v>0.8591383789079046</c:v>
                </c:pt>
                <c:pt idx="7">
                  <c:v>0.8992026893265515</c:v>
                </c:pt>
                <c:pt idx="8">
                  <c:v>0.9079061409793754</c:v>
                </c:pt>
                <c:pt idx="9">
                  <c:v>0.8885147190521462</c:v>
                </c:pt>
                <c:pt idx="10">
                  <c:v>0.9216270437656654</c:v>
                </c:pt>
                <c:pt idx="11">
                  <c:v>0.8509349810780891</c:v>
                </c:pt>
                <c:pt idx="12">
                  <c:v>0.8654695715249867</c:v>
                </c:pt>
                <c:pt idx="13">
                  <c:v>0.866723354563579</c:v>
                </c:pt>
                <c:pt idx="14">
                  <c:v>0.8437502759441483</c:v>
                </c:pt>
                <c:pt idx="15">
                  <c:v>0.8653484912149834</c:v>
                </c:pt>
                <c:pt idx="16">
                  <c:v>0.8943969151588668</c:v>
                </c:pt>
                <c:pt idx="17">
                  <c:v>0.8943038565320246</c:v>
                </c:pt>
                <c:pt idx="18">
                  <c:v>0.8991111451467878</c:v>
                </c:pt>
                <c:pt idx="19">
                  <c:v>0.8935175074654701</c:v>
                </c:pt>
                <c:pt idx="20">
                  <c:v>0.8688658507232604</c:v>
                </c:pt>
                <c:pt idx="21">
                  <c:v>0.8345746161727214</c:v>
                </c:pt>
                <c:pt idx="22">
                  <c:v>0.8714446769143397</c:v>
                </c:pt>
                <c:pt idx="23">
                  <c:v>0.8524434297229133</c:v>
                </c:pt>
                <c:pt idx="24">
                  <c:v>0.8662986624968192</c:v>
                </c:pt>
                <c:pt idx="25">
                  <c:v>0.9048022063479888</c:v>
                </c:pt>
                <c:pt idx="26">
                  <c:v>0.8884553765449399</c:v>
                </c:pt>
                <c:pt idx="27">
                  <c:v>0.8879675799522985</c:v>
                </c:pt>
                <c:pt idx="28">
                  <c:v>0.891197880406591</c:v>
                </c:pt>
                <c:pt idx="29">
                  <c:v>0.8617892308292804</c:v>
                </c:pt>
                <c:pt idx="30">
                  <c:v>0.8526346575724049</c:v>
                </c:pt>
                <c:pt idx="31">
                  <c:v>0.8712166039867769</c:v>
                </c:pt>
                <c:pt idx="32">
                  <c:v>0.8835663102211936</c:v>
                </c:pt>
                <c:pt idx="33">
                  <c:v>0.8714652551272465</c:v>
                </c:pt>
                <c:pt idx="34">
                  <c:v>0.8774873704988316</c:v>
                </c:pt>
                <c:pt idx="35">
                  <c:v>0.8925074573741764</c:v>
                </c:pt>
                <c:pt idx="36">
                  <c:v>0.8865474741674982</c:v>
                </c:pt>
                <c:pt idx="37">
                  <c:v>0.8597822054019473</c:v>
                </c:pt>
                <c:pt idx="38">
                  <c:v>0.8904167100546898</c:v>
                </c:pt>
                <c:pt idx="39">
                  <c:v>0.898704984113517</c:v>
                </c:pt>
                <c:pt idx="40">
                  <c:v>0.9482446963789207</c:v>
                </c:pt>
                <c:pt idx="41">
                  <c:v>0.9572743954490917</c:v>
                </c:pt>
                <c:pt idx="42">
                  <c:v>0.9231750245427908</c:v>
                </c:pt>
                <c:pt idx="43">
                  <c:v>0.979849192428814</c:v>
                </c:pt>
                <c:pt idx="44">
                  <c:v>0.995420986745948</c:v>
                </c:pt>
                <c:pt idx="45">
                  <c:v>0.9420252033258397</c:v>
                </c:pt>
                <c:pt idx="46">
                  <c:v>0.9187134484104093</c:v>
                </c:pt>
                <c:pt idx="47">
                  <c:v>0.9202563295868683</c:v>
                </c:pt>
                <c:pt idx="48">
                  <c:v>0.9866744382154147</c:v>
                </c:pt>
                <c:pt idx="49">
                  <c:v>0.9966731636920865</c:v>
                </c:pt>
                <c:pt idx="50">
                  <c:v>0.9357500509711719</c:v>
                </c:pt>
                <c:pt idx="51">
                  <c:v>0.9456220758056013</c:v>
                </c:pt>
              </c:numCache>
            </c:numRef>
          </c:xVal>
          <c:yVal>
            <c:numRef>
              <c:f>Sheet1!$B$109:$B$160</c:f>
              <c:numCache>
                <c:formatCode>General</c:formatCode>
                <c:ptCount val="52"/>
                <c:pt idx="0">
                  <c:v>0.37714125245717495</c:v>
                </c:pt>
                <c:pt idx="1">
                  <c:v>0.3891502499264922</c:v>
                </c:pt>
                <c:pt idx="2">
                  <c:v>0.39902157551430006</c:v>
                </c:pt>
                <c:pt idx="3">
                  <c:v>0.43196054911368786</c:v>
                </c:pt>
                <c:pt idx="4">
                  <c:v>0.41006702229517167</c:v>
                </c:pt>
                <c:pt idx="5">
                  <c:v>0.40870025122305964</c:v>
                </c:pt>
                <c:pt idx="6">
                  <c:v>0.42852091926929875</c:v>
                </c:pt>
                <c:pt idx="7">
                  <c:v>0.4056795131845842</c:v>
                </c:pt>
                <c:pt idx="8">
                  <c:v>0.4108260957382347</c:v>
                </c:pt>
                <c:pt idx="9">
                  <c:v>0.42631675536795743</c:v>
                </c:pt>
                <c:pt idx="10">
                  <c:v>0.4070105339629495</c:v>
                </c:pt>
                <c:pt idx="11">
                  <c:v>0.42810258903610066</c:v>
                </c:pt>
                <c:pt idx="12">
                  <c:v>0.42796548193652184</c:v>
                </c:pt>
                <c:pt idx="13">
                  <c:v>0.430781627719581</c:v>
                </c:pt>
                <c:pt idx="14">
                  <c:v>0.43244635193133046</c:v>
                </c:pt>
                <c:pt idx="15">
                  <c:v>0.42578125</c:v>
                </c:pt>
                <c:pt idx="16">
                  <c:v>0.4073363190445724</c:v>
                </c:pt>
                <c:pt idx="17">
                  <c:v>0.4096465881306957</c:v>
                </c:pt>
                <c:pt idx="18">
                  <c:v>0.41721332983468906</c:v>
                </c:pt>
                <c:pt idx="19">
                  <c:v>0.4201352757544225</c:v>
                </c:pt>
                <c:pt idx="20">
                  <c:v>0.42344706911636043</c:v>
                </c:pt>
                <c:pt idx="21">
                  <c:v>0.43377148634984836</c:v>
                </c:pt>
                <c:pt idx="22">
                  <c:v>0.4179495578119882</c:v>
                </c:pt>
                <c:pt idx="23">
                  <c:v>0.42474444836094466</c:v>
                </c:pt>
                <c:pt idx="24">
                  <c:v>0.43111831442463533</c:v>
                </c:pt>
                <c:pt idx="25">
                  <c:v>0.4218803418803419</c:v>
                </c:pt>
                <c:pt idx="26">
                  <c:v>0.4203135205747877</c:v>
                </c:pt>
                <c:pt idx="27">
                  <c:v>0.4200173560890946</c:v>
                </c:pt>
                <c:pt idx="28">
                  <c:v>0.41820094687006837</c:v>
                </c:pt>
                <c:pt idx="29">
                  <c:v>0.4229002624671916</c:v>
                </c:pt>
                <c:pt idx="30">
                  <c:v>0.41776426882809864</c:v>
                </c:pt>
                <c:pt idx="31">
                  <c:v>0.40114000712504455</c:v>
                </c:pt>
                <c:pt idx="32">
                  <c:v>0.4050235478806907</c:v>
                </c:pt>
                <c:pt idx="33">
                  <c:v>0.40744320927984534</c:v>
                </c:pt>
                <c:pt idx="34">
                  <c:v>0.42273819055244194</c:v>
                </c:pt>
                <c:pt idx="35">
                  <c:v>0.40099255583126553</c:v>
                </c:pt>
                <c:pt idx="36">
                  <c:v>0.39984502130956995</c:v>
                </c:pt>
                <c:pt idx="37">
                  <c:v>0.4151142355008787</c:v>
                </c:pt>
                <c:pt idx="38">
                  <c:v>0.4239520958083832</c:v>
                </c:pt>
                <c:pt idx="39">
                  <c:v>0.41786658830443724</c:v>
                </c:pt>
                <c:pt idx="40">
                  <c:v>0.40335163247616296</c:v>
                </c:pt>
                <c:pt idx="41">
                  <c:v>0.38508655126498004</c:v>
                </c:pt>
                <c:pt idx="42">
                  <c:v>0.4057669441141498</c:v>
                </c:pt>
                <c:pt idx="43">
                  <c:v>0.4035377358490566</c:v>
                </c:pt>
                <c:pt idx="44">
                  <c:v>0.40642829973373906</c:v>
                </c:pt>
                <c:pt idx="45">
                  <c:v>0.42463041182682154</c:v>
                </c:pt>
                <c:pt idx="46">
                  <c:v>0.42802972849992416</c:v>
                </c:pt>
                <c:pt idx="47">
                  <c:v>0.42656017327737916</c:v>
                </c:pt>
                <c:pt idx="48">
                  <c:v>0.39860672689670185</c:v>
                </c:pt>
                <c:pt idx="49">
                  <c:v>0.4124908463228371</c:v>
                </c:pt>
                <c:pt idx="50">
                  <c:v>0.4194628481869345</c:v>
                </c:pt>
                <c:pt idx="51">
                  <c:v>0.416091954022988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1396980342378065</c:v>
                </c:pt>
              </c:numCache>
            </c:numRef>
          </c:xVal>
          <c:yVal>
            <c:numRef>
              <c:f>Sheet1!$B$163:$B$164</c:f>
              <c:numCache>
                <c:formatCode>General</c:formatCode>
                <c:ptCount val="2"/>
                <c:pt idx="0">
                  <c:v>0.6048356663073955</c:v>
                </c:pt>
                <c:pt idx="1">
                  <c:v>0.60483566630739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1396980342378065</c:v>
                </c:pt>
                <c:pt idx="1">
                  <c:v>-0.41396980342378065</c:v>
                </c:pt>
              </c:numCache>
            </c:numRef>
          </c:xVal>
          <c:yVal>
            <c:numRef>
              <c:f>Sheet1!$B$167:$B$168</c:f>
              <c:numCache>
                <c:formatCode>General</c:formatCode>
                <c:ptCount val="2"/>
                <c:pt idx="0">
                  <c:v>0.60483566630739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439851359333467</c:v>
                </c:pt>
              </c:numCache>
            </c:numRef>
          </c:xVal>
          <c:yVal>
            <c:numRef>
              <c:f>Sheet1!$B$171:$B$172</c:f>
              <c:numCache>
                <c:formatCode>General</c:formatCode>
                <c:ptCount val="2"/>
                <c:pt idx="0">
                  <c:v>0.4223042044757715</c:v>
                </c:pt>
                <c:pt idx="1">
                  <c:v>0.422304204475771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439851359333467</c:v>
                </c:pt>
                <c:pt idx="1">
                  <c:v>0.8439851359333467</c:v>
                </c:pt>
              </c:numCache>
            </c:numRef>
          </c:xVal>
          <c:yVal>
            <c:numRef>
              <c:f>Sheet1!$B$175:$B$176</c:f>
              <c:numCache>
                <c:formatCode>General</c:formatCode>
                <c:ptCount val="2"/>
                <c:pt idx="0">
                  <c:v>0.42230420447577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192873176055812</c:v>
                </c:pt>
              </c:numCache>
            </c:numRef>
          </c:xVal>
          <c:yVal>
            <c:numRef>
              <c:f>Sheet1!$B$179:$B$180</c:f>
              <c:numCache>
                <c:formatCode>General</c:formatCode>
                <c:ptCount val="2"/>
                <c:pt idx="0">
                  <c:v>0.41137772621354707</c:v>
                </c:pt>
                <c:pt idx="1">
                  <c:v>0.411377726213547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192873176055812</c:v>
                </c:pt>
                <c:pt idx="1">
                  <c:v>0.9192873176055812</c:v>
                </c:pt>
              </c:numCache>
            </c:numRef>
          </c:xVal>
          <c:yVal>
            <c:numRef>
              <c:f>Sheet1!$B$183:$B$184</c:f>
              <c:numCache>
                <c:formatCode>General</c:formatCode>
                <c:ptCount val="2"/>
                <c:pt idx="0">
                  <c:v>0.411377726213547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269362497429064</c:v>
                </c:pt>
                <c:pt idx="1">
                  <c:v>0.8733635489276188</c:v>
                </c:pt>
                <c:pt idx="2">
                  <c:v>0.8820607450332055</c:v>
                </c:pt>
                <c:pt idx="3">
                  <c:v>0.8448383954233916</c:v>
                </c:pt>
                <c:pt idx="4">
                  <c:v>0.8670782963222012</c:v>
                </c:pt>
                <c:pt idx="5">
                  <c:v>0.8671911717720714</c:v>
                </c:pt>
                <c:pt idx="6">
                  <c:v>0.8591383789079046</c:v>
                </c:pt>
                <c:pt idx="7">
                  <c:v>0.8992026893265515</c:v>
                </c:pt>
                <c:pt idx="8">
                  <c:v>0.9079061409793754</c:v>
                </c:pt>
                <c:pt idx="9">
                  <c:v>0.8885147190521462</c:v>
                </c:pt>
                <c:pt idx="10">
                  <c:v>0.9216270437656654</c:v>
                </c:pt>
                <c:pt idx="11">
                  <c:v>0.8509349810780891</c:v>
                </c:pt>
                <c:pt idx="12">
                  <c:v>0.8654695715249867</c:v>
                </c:pt>
                <c:pt idx="13">
                  <c:v>0.866723354563579</c:v>
                </c:pt>
                <c:pt idx="14">
                  <c:v>0.8437502759441483</c:v>
                </c:pt>
                <c:pt idx="15">
                  <c:v>0.8653484912149834</c:v>
                </c:pt>
                <c:pt idx="16">
                  <c:v>0.8943969151588668</c:v>
                </c:pt>
                <c:pt idx="17">
                  <c:v>0.8943038565320246</c:v>
                </c:pt>
                <c:pt idx="18">
                  <c:v>0.8991111451467878</c:v>
                </c:pt>
                <c:pt idx="19">
                  <c:v>0.8935175074654701</c:v>
                </c:pt>
                <c:pt idx="20">
                  <c:v>0.8688658507232604</c:v>
                </c:pt>
                <c:pt idx="21">
                  <c:v>0.8345746161727214</c:v>
                </c:pt>
                <c:pt idx="22">
                  <c:v>0.8714446769143397</c:v>
                </c:pt>
                <c:pt idx="23">
                  <c:v>0.8524434297229133</c:v>
                </c:pt>
                <c:pt idx="24">
                  <c:v>0.8662986624968192</c:v>
                </c:pt>
                <c:pt idx="25">
                  <c:v>0.9048022063479888</c:v>
                </c:pt>
                <c:pt idx="26">
                  <c:v>0.8884553765449399</c:v>
                </c:pt>
                <c:pt idx="27">
                  <c:v>0.8879675799522985</c:v>
                </c:pt>
                <c:pt idx="28">
                  <c:v>0.891197880406591</c:v>
                </c:pt>
                <c:pt idx="29">
                  <c:v>0.8617892308292804</c:v>
                </c:pt>
                <c:pt idx="30">
                  <c:v>0.8526346575724049</c:v>
                </c:pt>
                <c:pt idx="31">
                  <c:v>0.8712166039867769</c:v>
                </c:pt>
                <c:pt idx="32">
                  <c:v>0.8835663102211936</c:v>
                </c:pt>
                <c:pt idx="33">
                  <c:v>0.8714652551272465</c:v>
                </c:pt>
                <c:pt idx="34">
                  <c:v>0.8774873704988316</c:v>
                </c:pt>
                <c:pt idx="35">
                  <c:v>0.8925074573741764</c:v>
                </c:pt>
                <c:pt idx="36">
                  <c:v>0.8865474741674982</c:v>
                </c:pt>
                <c:pt idx="37">
                  <c:v>0.8597822054019473</c:v>
                </c:pt>
                <c:pt idx="38">
                  <c:v>0.8904167100546898</c:v>
                </c:pt>
                <c:pt idx="39">
                  <c:v>0.898704984113517</c:v>
                </c:pt>
                <c:pt idx="40">
                  <c:v>0.9482446963789207</c:v>
                </c:pt>
                <c:pt idx="41">
                  <c:v>0.9572743954490917</c:v>
                </c:pt>
                <c:pt idx="42">
                  <c:v>0.9231750245427908</c:v>
                </c:pt>
                <c:pt idx="43">
                  <c:v>0.979849192428814</c:v>
                </c:pt>
                <c:pt idx="44">
                  <c:v>0.995420986745948</c:v>
                </c:pt>
                <c:pt idx="45">
                  <c:v>0.9420252033258397</c:v>
                </c:pt>
                <c:pt idx="46">
                  <c:v>0.9187134484104093</c:v>
                </c:pt>
                <c:pt idx="47">
                  <c:v>0.9202563295868683</c:v>
                </c:pt>
                <c:pt idx="48">
                  <c:v>0.9866744382154147</c:v>
                </c:pt>
                <c:pt idx="49">
                  <c:v>0.9966731636920865</c:v>
                </c:pt>
                <c:pt idx="50">
                  <c:v>0.9357500509711719</c:v>
                </c:pt>
                <c:pt idx="51">
                  <c:v>0.9456220758056013</c:v>
                </c:pt>
                <c:pt idx="52">
                  <c:v>0.8439851359333467</c:v>
                </c:pt>
                <c:pt idx="53">
                  <c:v>-0.41396980342378065</c:v>
                </c:pt>
                <c:pt idx="54">
                  <c:v>0.9192873176055812</c:v>
                </c:pt>
              </c:numCache>
            </c:numRef>
          </c:xVal>
          <c:yVal>
            <c:numRef>
              <c:f>Sheet1!$B$187:$B$241</c:f>
              <c:numCache>
                <c:formatCode>General</c:formatCode>
                <c:ptCount val="55"/>
                <c:pt idx="0">
                  <c:v>0.41026785278263517</c:v>
                </c:pt>
                <c:pt idx="1">
                  <c:v>0.41804134536821225</c:v>
                </c:pt>
                <c:pt idx="2">
                  <c:v>0.4167793670021188</c:v>
                </c:pt>
                <c:pt idx="3">
                  <c:v>0.422180395031437</c:v>
                </c:pt>
                <c:pt idx="4">
                  <c:v>0.41895334651400384</c:v>
                </c:pt>
                <c:pt idx="5">
                  <c:v>0.4189369680888114</c:v>
                </c:pt>
                <c:pt idx="6">
                  <c:v>0.42010544241753006</c:v>
                </c:pt>
                <c:pt idx="7">
                  <c:v>0.4142920409043337</c:v>
                </c:pt>
                <c:pt idx="8">
                  <c:v>0.4130291548473954</c:v>
                </c:pt>
                <c:pt idx="9">
                  <c:v>0.4158428840841356</c:v>
                </c:pt>
                <c:pt idx="10">
                  <c:v>0.41103822785559785</c:v>
                </c:pt>
                <c:pt idx="11">
                  <c:v>0.4212957697901686</c:v>
                </c:pt>
                <c:pt idx="12">
                  <c:v>0.41918677529569803</c:v>
                </c:pt>
                <c:pt idx="13">
                  <c:v>0.41900484918396397</c:v>
                </c:pt>
                <c:pt idx="14">
                  <c:v>0.42233828307096827</c:v>
                </c:pt>
                <c:pt idx="15">
                  <c:v>0.4192043442604459</c:v>
                </c:pt>
                <c:pt idx="16">
                  <c:v>0.41498936714124046</c:v>
                </c:pt>
                <c:pt idx="17">
                  <c:v>0.4150028701107524</c:v>
                </c:pt>
                <c:pt idx="18">
                  <c:v>0.4143053241249258</c:v>
                </c:pt>
                <c:pt idx="19">
                  <c:v>0.41511697073561377</c:v>
                </c:pt>
                <c:pt idx="20">
                  <c:v>0.41869396924402336</c:v>
                </c:pt>
                <c:pt idx="21">
                  <c:v>0.4236696873517958</c:v>
                </c:pt>
                <c:pt idx="22">
                  <c:v>0.41831977705339696</c:v>
                </c:pt>
                <c:pt idx="23">
                  <c:v>0.4210768912535666</c:v>
                </c:pt>
                <c:pt idx="24">
                  <c:v>0.41906647274562636</c:v>
                </c:pt>
                <c:pt idx="25">
                  <c:v>0.4134795411911116</c:v>
                </c:pt>
                <c:pt idx="26">
                  <c:v>0.4158514947857198</c:v>
                </c:pt>
                <c:pt idx="27">
                  <c:v>0.41592227492445577</c:v>
                </c:pt>
                <c:pt idx="28">
                  <c:v>0.41545355267882533</c:v>
                </c:pt>
                <c:pt idx="29">
                  <c:v>0.41972079916746646</c:v>
                </c:pt>
                <c:pt idx="30">
                  <c:v>0.4210491437581528</c:v>
                </c:pt>
                <c:pt idx="31">
                  <c:v>0.41835287083408</c:v>
                </c:pt>
                <c:pt idx="32">
                  <c:v>0.4165609068601469</c:v>
                </c:pt>
                <c:pt idx="33">
                  <c:v>0.41831679111871345</c:v>
                </c:pt>
                <c:pt idx="34">
                  <c:v>0.41744297164577115</c:v>
                </c:pt>
                <c:pt idx="35">
                  <c:v>0.4152635307704122</c:v>
                </c:pt>
                <c:pt idx="36">
                  <c:v>0.41612833475755884</c:v>
                </c:pt>
                <c:pt idx="37">
                  <c:v>0.42001202206720845</c:v>
                </c:pt>
                <c:pt idx="38">
                  <c:v>0.41556690186313305</c:v>
                </c:pt>
                <c:pt idx="39">
                  <c:v>0.41436425880121863</c:v>
                </c:pt>
                <c:pt idx="40">
                  <c:v>0.4071759599078232</c:v>
                </c:pt>
                <c:pt idx="41">
                  <c:v>0.40586573478002946</c:v>
                </c:pt>
                <c:pt idx="42">
                  <c:v>0.41081361313745834</c:v>
                </c:pt>
                <c:pt idx="43">
                  <c:v>0.4025900922555312</c:v>
                </c:pt>
                <c:pt idx="44">
                  <c:v>0.40033059766544643</c:v>
                </c:pt>
                <c:pt idx="45">
                  <c:v>0.408078419227559</c:v>
                </c:pt>
                <c:pt idx="46">
                  <c:v>0.41146099563744903</c:v>
                </c:pt>
                <c:pt idx="47">
                  <c:v>0.41123712088028525</c:v>
                </c:pt>
                <c:pt idx="48">
                  <c:v>0.40159973715471575</c:v>
                </c:pt>
                <c:pt idx="49">
                  <c:v>0.4001489046005364</c:v>
                </c:pt>
                <c:pt idx="50">
                  <c:v>0.4089889548093017</c:v>
                </c:pt>
                <c:pt idx="51">
                  <c:v>0.40755650673990795</c:v>
                </c:pt>
                <c:pt idx="52">
                  <c:v>0.4223042044757715</c:v>
                </c:pt>
                <c:pt idx="53">
                  <c:v>0.6048356663073955</c:v>
                </c:pt>
                <c:pt idx="54">
                  <c:v>0.411377726213547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38046511627906"/>
          <c:min val="0.276354525524585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8.9756</c:v>
                </c:pt>
                <c:pt idx="1">
                  <c:v>869.4415</c:v>
                </c:pt>
                <c:pt idx="2">
                  <c:v>903.8164</c:v>
                </c:pt>
                <c:pt idx="3">
                  <c:v>915.7063</c:v>
                </c:pt>
                <c:pt idx="4">
                  <c:v>919.9283</c:v>
                </c:pt>
                <c:pt idx="5">
                  <c:v>913.4524</c:v>
                </c:pt>
                <c:pt idx="6">
                  <c:v>864.1976</c:v>
                </c:pt>
                <c:pt idx="7">
                  <c:v>875.0361</c:v>
                </c:pt>
                <c:pt idx="8">
                  <c:v>883.3388</c:v>
                </c:pt>
                <c:pt idx="9">
                  <c:v>845.6698</c:v>
                </c:pt>
                <c:pt idx="10">
                  <c:v>845.0714</c:v>
                </c:pt>
                <c:pt idx="11">
                  <c:v>921.5779</c:v>
                </c:pt>
                <c:pt idx="12">
                  <c:v>928.1804</c:v>
                </c:pt>
                <c:pt idx="13">
                  <c:v>933.6804</c:v>
                </c:pt>
                <c:pt idx="14">
                  <c:v>927.8346</c:v>
                </c:pt>
                <c:pt idx="15">
                  <c:v>955.0684</c:v>
                </c:pt>
                <c:pt idx="16">
                  <c:v>983.1428</c:v>
                </c:pt>
                <c:pt idx="17">
                  <c:v>1019.3209</c:v>
                </c:pt>
                <c:pt idx="18">
                  <c:v>1027.6571</c:v>
                </c:pt>
                <c:pt idx="19">
                  <c:v>1081.8282</c:v>
                </c:pt>
                <c:pt idx="20">
                  <c:v>1110.8736</c:v>
                </c:pt>
                <c:pt idx="21">
                  <c:v>1108.7381</c:v>
                </c:pt>
                <c:pt idx="22">
                  <c:v>1062.8469</c:v>
                </c:pt>
                <c:pt idx="23">
                  <c:v>1057.7349</c:v>
                </c:pt>
                <c:pt idx="24">
                  <c:v>1051.9648</c:v>
                </c:pt>
                <c:pt idx="25">
                  <c:v>1027.8296</c:v>
                </c:pt>
                <c:pt idx="26">
                  <c:v>1012.2396</c:v>
                </c:pt>
                <c:pt idx="27">
                  <c:v>1022.7733</c:v>
                </c:pt>
                <c:pt idx="28">
                  <c:v>1029.4997</c:v>
                </c:pt>
                <c:pt idx="29">
                  <c:v>1009.8433</c:v>
                </c:pt>
                <c:pt idx="30">
                  <c:v>1006.2465</c:v>
                </c:pt>
                <c:pt idx="31">
                  <c:v>986.9375</c:v>
                </c:pt>
                <c:pt idx="32">
                  <c:v>977.9447</c:v>
                </c:pt>
                <c:pt idx="33">
                  <c:v>927.9839</c:v>
                </c:pt>
                <c:pt idx="34">
                  <c:v>953.3684</c:v>
                </c:pt>
                <c:pt idx="35">
                  <c:v>969.2193</c:v>
                </c:pt>
                <c:pt idx="36">
                  <c:v>1073.7153</c:v>
                </c:pt>
                <c:pt idx="37">
                  <c:v>1080.219</c:v>
                </c:pt>
                <c:pt idx="38">
                  <c:v>1147.6501</c:v>
                </c:pt>
                <c:pt idx="39">
                  <c:v>1159.8183</c:v>
                </c:pt>
                <c:pt idx="40">
                  <c:v>1140.4288</c:v>
                </c:pt>
                <c:pt idx="41">
                  <c:v>1180.6357</c:v>
                </c:pt>
                <c:pt idx="42">
                  <c:v>1192.4707</c:v>
                </c:pt>
                <c:pt idx="43">
                  <c:v>1191.4455</c:v>
                </c:pt>
                <c:pt idx="44">
                  <c:v>1112.5404</c:v>
                </c:pt>
                <c:pt idx="45">
                  <c:v>1076.0806</c:v>
                </c:pt>
                <c:pt idx="46">
                  <c:v>1081.1529</c:v>
                </c:pt>
                <c:pt idx="47">
                  <c:v>1068.5882</c:v>
                </c:pt>
                <c:pt idx="48">
                  <c:v>1073.7997</c:v>
                </c:pt>
                <c:pt idx="49">
                  <c:v>1034.9479</c:v>
                </c:pt>
                <c:pt idx="50">
                  <c:v>1032.916</c:v>
                </c:pt>
                <c:pt idx="51">
                  <c:v>1050.0598</c:v>
                </c:pt>
                <c:pt idx="52">
                  <c:v>1050.1182</c:v>
                </c:pt>
                <c:pt idx="53">
                  <c:v>1126.6493</c:v>
                </c:pt>
                <c:pt idx="54">
                  <c:v>1114.5315</c:v>
                </c:pt>
                <c:pt idx="55">
                  <c:v>1135.6243</c:v>
                </c:pt>
                <c:pt idx="56">
                  <c:v>1154.7109</c:v>
                </c:pt>
                <c:pt idx="57">
                  <c:v>1113.4765</c:v>
                </c:pt>
                <c:pt idx="58">
                  <c:v>1107.7257</c:v>
                </c:pt>
                <c:pt idx="59">
                  <c:v>1070.6184</c:v>
                </c:pt>
                <c:pt idx="60">
                  <c:v>1087.5283</c:v>
                </c:pt>
                <c:pt idx="61">
                  <c:v>1134.9755</c:v>
                </c:pt>
                <c:pt idx="62">
                  <c:v>1077.4188</c:v>
                </c:pt>
                <c:pt idx="63">
                  <c:v>1099.0168</c:v>
                </c:pt>
                <c:pt idx="64">
                  <c:v>1123.0886</c:v>
                </c:pt>
                <c:pt idx="65">
                  <c:v>1118.5543</c:v>
                </c:pt>
                <c:pt idx="66">
                  <c:v>1127.6669</c:v>
                </c:pt>
                <c:pt idx="67">
                  <c:v>1149.2657</c:v>
                </c:pt>
                <c:pt idx="68">
                  <c:v>1184.7989</c:v>
                </c:pt>
                <c:pt idx="69">
                  <c:v>1215.9313</c:v>
                </c:pt>
                <c:pt idx="70">
                  <c:v>1213.5624</c:v>
                </c:pt>
                <c:pt idx="71">
                  <c:v>1265.1672</c:v>
                </c:pt>
                <c:pt idx="72">
                  <c:v>1317.143</c:v>
                </c:pt>
                <c:pt idx="73">
                  <c:v>1320.6389</c:v>
                </c:pt>
                <c:pt idx="74">
                  <c:v>1302.8938</c:v>
                </c:pt>
                <c:pt idx="75">
                  <c:v>1280.2596</c:v>
                </c:pt>
                <c:pt idx="76">
                  <c:v>1267.5377</c:v>
                </c:pt>
                <c:pt idx="77">
                  <c:v>1279.0988</c:v>
                </c:pt>
                <c:pt idx="78">
                  <c:v>1319.7434</c:v>
                </c:pt>
                <c:pt idx="79">
                  <c:v>1305.7305</c:v>
                </c:pt>
                <c:pt idx="80">
                  <c:v>1279.097</c:v>
                </c:pt>
                <c:pt idx="81">
                  <c:v>1228.9312</c:v>
                </c:pt>
                <c:pt idx="82">
                  <c:v>1249.4844</c:v>
                </c:pt>
                <c:pt idx="83">
                  <c:v>1199.9114</c:v>
                </c:pt>
                <c:pt idx="84">
                  <c:v>1215.6974</c:v>
                </c:pt>
                <c:pt idx="85">
                  <c:v>1198.2639</c:v>
                </c:pt>
                <c:pt idx="86">
                  <c:v>1218.5729</c:v>
                </c:pt>
                <c:pt idx="87">
                  <c:v>1212.2128</c:v>
                </c:pt>
                <c:pt idx="88">
                  <c:v>1261.2919</c:v>
                </c:pt>
                <c:pt idx="89">
                  <c:v>1259.7922</c:v>
                </c:pt>
                <c:pt idx="90">
                  <c:v>1332.0207</c:v>
                </c:pt>
                <c:pt idx="91">
                  <c:v>1323.6999</c:v>
                </c:pt>
                <c:pt idx="92">
                  <c:v>1254.1582</c:v>
                </c:pt>
                <c:pt idx="93">
                  <c:v>1291.5039</c:v>
                </c:pt>
                <c:pt idx="94">
                  <c:v>1246.7956</c:v>
                </c:pt>
                <c:pt idx="95">
                  <c:v>1185.1199</c:v>
                </c:pt>
                <c:pt idx="96">
                  <c:v>1195.8817</c:v>
                </c:pt>
                <c:pt idx="97">
                  <c:v>1168.5978</c:v>
                </c:pt>
                <c:pt idx="98">
                  <c:v>1155.4017</c:v>
                </c:pt>
                <c:pt idx="99">
                  <c:v>1111.5309</c:v>
                </c:pt>
                <c:pt idx="100">
                  <c:v>1106.9989</c:v>
                </c:pt>
                <c:pt idx="101">
                  <c:v>1116.0717</c:v>
                </c:pt>
                <c:pt idx="102">
                  <c:v>1130.4962</c:v>
                </c:pt>
                <c:pt idx="103">
                  <c:v>1132.9336</c:v>
                </c:pt>
                <c:pt idx="104">
                  <c:v>1182.2362</c:v>
                </c:pt>
              </c:numCache>
            </c:numRef>
          </c:xVal>
          <c:yVal>
            <c:numRef>
              <c:f>Sheet1!$B$2:$B$106</c:f>
              <c:numCache>
                <c:formatCode>General</c:formatCode>
                <c:ptCount val="105"/>
                <c:pt idx="0">
                  <c:v>0.5445728141491941</c:v>
                </c:pt>
                <c:pt idx="1">
                  <c:v>0.5853899308983218</c:v>
                </c:pt>
                <c:pt idx="2">
                  <c:v>0.6343833780160858</c:v>
                </c:pt>
                <c:pt idx="3">
                  <c:v>0.6448372093023256</c:v>
                </c:pt>
                <c:pt idx="4">
                  <c:v>0.6299345577369643</c:v>
                </c:pt>
                <c:pt idx="5">
                  <c:v>0.5861015654830087</c:v>
                </c:pt>
                <c:pt idx="6">
                  <c:v>0.5931305536568694</c:v>
                </c:pt>
                <c:pt idx="7">
                  <c:v>0.6267709875237893</c:v>
                </c:pt>
                <c:pt idx="8">
                  <c:v>0.5984</c:v>
                </c:pt>
                <c:pt idx="9">
                  <c:v>0.572725824438426</c:v>
                </c:pt>
                <c:pt idx="10">
                  <c:v>0.5489881143591391</c:v>
                </c:pt>
                <c:pt idx="11">
                  <c:v>0.48370883882149046</c:v>
                </c:pt>
                <c:pt idx="12">
                  <c:v>0.4590776226047418</c:v>
                </c:pt>
                <c:pt idx="13">
                  <c:v>0.42577806745967084</c:v>
                </c:pt>
                <c:pt idx="14">
                  <c:v>0.3942703387147832</c:v>
                </c:pt>
                <c:pt idx="15">
                  <c:v>0.40061279203370354</c:v>
                </c:pt>
                <c:pt idx="16">
                  <c:v>0.38252302420218465</c:v>
                </c:pt>
                <c:pt idx="17">
                  <c:v>0.3746327130264447</c:v>
                </c:pt>
                <c:pt idx="18">
                  <c:v>0.3778122575640031</c:v>
                </c:pt>
                <c:pt idx="19">
                  <c:v>0.3786099650904475</c:v>
                </c:pt>
                <c:pt idx="20">
                  <c:v>0.3707057256990679</c:v>
                </c:pt>
                <c:pt idx="21">
                  <c:v>0.42254000680966974</c:v>
                </c:pt>
                <c:pt idx="22">
                  <c:v>0.4876084262701363</c:v>
                </c:pt>
                <c:pt idx="23">
                  <c:v>0.5029335071707953</c:v>
                </c:pt>
                <c:pt idx="24">
                  <c:v>0.5234209731036567</c:v>
                </c:pt>
                <c:pt idx="25">
                  <c:v>0.5259032038173143</c:v>
                </c:pt>
                <c:pt idx="26">
                  <c:v>0.5246385364414281</c:v>
                </c:pt>
                <c:pt idx="27">
                  <c:v>0.506961506961507</c:v>
                </c:pt>
                <c:pt idx="28">
                  <c:v>0.48673621460506705</c:v>
                </c:pt>
                <c:pt idx="29">
                  <c:v>0.4879214228829307</c:v>
                </c:pt>
                <c:pt idx="30">
                  <c:v>0.5009933774834437</c:v>
                </c:pt>
                <c:pt idx="31">
                  <c:v>0.5131539159358935</c:v>
                </c:pt>
                <c:pt idx="32">
                  <c:v>0.5263157894736842</c:v>
                </c:pt>
                <c:pt idx="33">
                  <c:v>0.541515371580731</c:v>
                </c:pt>
                <c:pt idx="34">
                  <c:v>0.5145737453429761</c:v>
                </c:pt>
                <c:pt idx="35">
                  <c:v>0.5012802836320662</c:v>
                </c:pt>
                <c:pt idx="36">
                  <c:v>0.452720677146312</c:v>
                </c:pt>
                <c:pt idx="37">
                  <c:v>0.45969738651994496</c:v>
                </c:pt>
                <c:pt idx="38">
                  <c:v>0.4446361806154731</c:v>
                </c:pt>
                <c:pt idx="39">
                  <c:v>0.43071491615180935</c:v>
                </c:pt>
                <c:pt idx="40">
                  <c:v>0.4385014137606032</c:v>
                </c:pt>
                <c:pt idx="41">
                  <c:v>0.41214057507987223</c:v>
                </c:pt>
                <c:pt idx="42">
                  <c:v>0.4084146908414691</c:v>
                </c:pt>
                <c:pt idx="43">
                  <c:v>0.4028985507246377</c:v>
                </c:pt>
                <c:pt idx="44">
                  <c:v>0.4111781361565924</c:v>
                </c:pt>
                <c:pt idx="45">
                  <c:v>0.4258394001955884</c:v>
                </c:pt>
                <c:pt idx="46">
                  <c:v>0.43253968253968256</c:v>
                </c:pt>
                <c:pt idx="47">
                  <c:v>0.4198404673632176</c:v>
                </c:pt>
                <c:pt idx="48">
                  <c:v>0.42434264924756077</c:v>
                </c:pt>
                <c:pt idx="49">
                  <c:v>0.45141562853907136</c:v>
                </c:pt>
                <c:pt idx="50">
                  <c:v>0.4266785435920276</c:v>
                </c:pt>
                <c:pt idx="51">
                  <c:v>0.41721085473806413</c:v>
                </c:pt>
                <c:pt idx="52">
                  <c:v>0.4357021996615905</c:v>
                </c:pt>
                <c:pt idx="53">
                  <c:v>0.433338343604389</c:v>
                </c:pt>
                <c:pt idx="54">
                  <c:v>0.4501677852348993</c:v>
                </c:pt>
                <c:pt idx="55">
                  <c:v>0.4440439409543426</c:v>
                </c:pt>
                <c:pt idx="56">
                  <c:v>0.4605013292821876</c:v>
                </c:pt>
                <c:pt idx="57">
                  <c:v>0.46712586098935505</c:v>
                </c:pt>
                <c:pt idx="58">
                  <c:v>0.4688431511710433</c:v>
                </c:pt>
                <c:pt idx="59">
                  <c:v>0.49812934259754144</c:v>
                </c:pt>
                <c:pt idx="60">
                  <c:v>0.5079043372517228</c:v>
                </c:pt>
                <c:pt idx="61">
                  <c:v>0.48867505551443374</c:v>
                </c:pt>
                <c:pt idx="62">
                  <c:v>0.5133728495012289</c:v>
                </c:pt>
                <c:pt idx="63">
                  <c:v>0.5433663366336634</c:v>
                </c:pt>
                <c:pt idx="64">
                  <c:v>0.4756648268941295</c:v>
                </c:pt>
                <c:pt idx="65">
                  <c:v>0.4322986352689323</c:v>
                </c:pt>
                <c:pt idx="66">
                  <c:v>0.43306767526678375</c:v>
                </c:pt>
                <c:pt idx="67">
                  <c:v>0.4181363903586126</c:v>
                </c:pt>
                <c:pt idx="68">
                  <c:v>0.40692016579563883</c:v>
                </c:pt>
                <c:pt idx="69">
                  <c:v>0.39314104019986373</c:v>
                </c:pt>
                <c:pt idx="70">
                  <c:v>0.3942857142857143</c:v>
                </c:pt>
                <c:pt idx="71">
                  <c:v>0.4007334963325183</c:v>
                </c:pt>
                <c:pt idx="72">
                  <c:v>0.3762204382729442</c:v>
                </c:pt>
                <c:pt idx="73">
                  <c:v>0.39984958636249684</c:v>
                </c:pt>
                <c:pt idx="74">
                  <c:v>0.39501133786848075</c:v>
                </c:pt>
                <c:pt idx="75">
                  <c:v>0.4016200679383329</c:v>
                </c:pt>
                <c:pt idx="76">
                  <c:v>0.40309633027522934</c:v>
                </c:pt>
                <c:pt idx="77">
                  <c:v>0.4044595850108393</c:v>
                </c:pt>
                <c:pt idx="78">
                  <c:v>0.38909710391822827</c:v>
                </c:pt>
                <c:pt idx="79">
                  <c:v>0.38160348042262277</c:v>
                </c:pt>
                <c:pt idx="80">
                  <c:v>0.36264402668283807</c:v>
                </c:pt>
                <c:pt idx="81">
                  <c:v>0.3791374122367101</c:v>
                </c:pt>
                <c:pt idx="82">
                  <c:v>0.37747899159663867</c:v>
                </c:pt>
                <c:pt idx="83">
                  <c:v>0.38260228529303353</c:v>
                </c:pt>
                <c:pt idx="84">
                  <c:v>0.3862550532892319</c:v>
                </c:pt>
                <c:pt idx="85">
                  <c:v>0.4016549968173138</c:v>
                </c:pt>
                <c:pt idx="86">
                  <c:v>0.3846704871060172</c:v>
                </c:pt>
                <c:pt idx="87">
                  <c:v>0.3912073197946887</c:v>
                </c:pt>
                <c:pt idx="88">
                  <c:v>0.37909778649481646</c:v>
                </c:pt>
                <c:pt idx="89">
                  <c:v>0.38899253731343286</c:v>
                </c:pt>
                <c:pt idx="90">
                  <c:v>0.37152</c:v>
                </c:pt>
                <c:pt idx="91">
                  <c:v>0.3454431569057313</c:v>
                </c:pt>
                <c:pt idx="92">
                  <c:v>0.35205640423031725</c:v>
                </c:pt>
                <c:pt idx="93">
                  <c:v>0.34647443117819327</c:v>
                </c:pt>
                <c:pt idx="94">
                  <c:v>0.346163397069779</c:v>
                </c:pt>
                <c:pt idx="95">
                  <c:v>0.3561797752808989</c:v>
                </c:pt>
                <c:pt idx="96">
                  <c:v>0.37006871977602446</c:v>
                </c:pt>
                <c:pt idx="97">
                  <c:v>0.3853261467385326</c:v>
                </c:pt>
                <c:pt idx="98">
                  <c:v>0.3958612761065338</c:v>
                </c:pt>
                <c:pt idx="99">
                  <c:v>0.40179760319573904</c:v>
                </c:pt>
                <c:pt idx="100">
                  <c:v>0.40472353087031987</c:v>
                </c:pt>
                <c:pt idx="101">
                  <c:v>0.4190716558762208</c:v>
                </c:pt>
                <c:pt idx="102">
                  <c:v>0.4056206088992974</c:v>
                </c:pt>
                <c:pt idx="103">
                  <c:v>0.37120245085524634</c:v>
                </c:pt>
                <c:pt idx="104">
                  <c:v>0.36841291917787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3.1467</c:v>
                </c:pt>
                <c:pt idx="1">
                  <c:v>1218.6094</c:v>
                </c:pt>
                <c:pt idx="2">
                  <c:v>1225.0887</c:v>
                </c:pt>
                <c:pt idx="3">
                  <c:v>1222.7853</c:v>
                </c:pt>
                <c:pt idx="4">
                  <c:v>1247.6237</c:v>
                </c:pt>
                <c:pt idx="5">
                  <c:v>1207.8282</c:v>
                </c:pt>
                <c:pt idx="6">
                  <c:v>1105.3817</c:v>
                </c:pt>
                <c:pt idx="7">
                  <c:v>1174.6996</c:v>
                </c:pt>
                <c:pt idx="8">
                  <c:v>1215.9685</c:v>
                </c:pt>
                <c:pt idx="9">
                  <c:v>1159.8218</c:v>
                </c:pt>
                <c:pt idx="10">
                  <c:v>1211.1383</c:v>
                </c:pt>
                <c:pt idx="11">
                  <c:v>1027.4497</c:v>
                </c:pt>
                <c:pt idx="12">
                  <c:v>1083.8452</c:v>
                </c:pt>
                <c:pt idx="13">
                  <c:v>1172.6962</c:v>
                </c:pt>
                <c:pt idx="14">
                  <c:v>1137.0766</c:v>
                </c:pt>
                <c:pt idx="15">
                  <c:v>1173.0498</c:v>
                </c:pt>
                <c:pt idx="16">
                  <c:v>1207.1414</c:v>
                </c:pt>
                <c:pt idx="17">
                  <c:v>1189.267</c:v>
                </c:pt>
                <c:pt idx="18">
                  <c:v>1184.6434</c:v>
                </c:pt>
                <c:pt idx="19">
                  <c:v>1260.5703</c:v>
                </c:pt>
                <c:pt idx="20">
                  <c:v>1249.0103</c:v>
                </c:pt>
                <c:pt idx="21">
                  <c:v>1181.3947</c:v>
                </c:pt>
                <c:pt idx="22">
                  <c:v>1207.935</c:v>
                </c:pt>
                <c:pt idx="23">
                  <c:v>1214.9369</c:v>
                </c:pt>
                <c:pt idx="24">
                  <c:v>1222.1421</c:v>
                </c:pt>
                <c:pt idx="25">
                  <c:v>1203.0413</c:v>
                </c:pt>
                <c:pt idx="26">
                  <c:v>1199.7848</c:v>
                </c:pt>
                <c:pt idx="27">
                  <c:v>1198.1026</c:v>
                </c:pt>
                <c:pt idx="28">
                  <c:v>1225.3126</c:v>
                </c:pt>
                <c:pt idx="29">
                  <c:v>1225.3794</c:v>
                </c:pt>
                <c:pt idx="30">
                  <c:v>1219.4681</c:v>
                </c:pt>
                <c:pt idx="31">
                  <c:v>1223.8011</c:v>
                </c:pt>
                <c:pt idx="32">
                  <c:v>1235.5543</c:v>
                </c:pt>
                <c:pt idx="33">
                  <c:v>1211.3286</c:v>
                </c:pt>
                <c:pt idx="34">
                  <c:v>1217.5705</c:v>
                </c:pt>
                <c:pt idx="35">
                  <c:v>1261.2902</c:v>
                </c:pt>
                <c:pt idx="36">
                  <c:v>1301.9283</c:v>
                </c:pt>
                <c:pt idx="37">
                  <c:v>1280.5309</c:v>
                </c:pt>
                <c:pt idx="38">
                  <c:v>1318.5499</c:v>
                </c:pt>
                <c:pt idx="39">
                  <c:v>1243.7855</c:v>
                </c:pt>
                <c:pt idx="40">
                  <c:v>1276.8918</c:v>
                </c:pt>
                <c:pt idx="41">
                  <c:v>1305.184</c:v>
                </c:pt>
                <c:pt idx="42">
                  <c:v>1283.7971</c:v>
                </c:pt>
                <c:pt idx="43">
                  <c:v>1316.1157</c:v>
                </c:pt>
                <c:pt idx="44">
                  <c:v>1237.6097</c:v>
                </c:pt>
                <c:pt idx="45">
                  <c:v>1175.6792</c:v>
                </c:pt>
                <c:pt idx="46">
                  <c:v>1170.4447</c:v>
                </c:pt>
                <c:pt idx="47">
                  <c:v>1142.2355</c:v>
                </c:pt>
                <c:pt idx="48">
                  <c:v>1149.2403</c:v>
                </c:pt>
                <c:pt idx="49">
                  <c:v>1161.3746</c:v>
                </c:pt>
                <c:pt idx="50">
                  <c:v>1114.8149</c:v>
                </c:pt>
                <c:pt idx="51">
                  <c:v>1075.3149</c:v>
                </c:pt>
              </c:numCache>
            </c:numRef>
          </c:xVal>
          <c:yVal>
            <c:numRef>
              <c:f>Sheet1!$B$109:$B$160</c:f>
              <c:numCache>
                <c:formatCode>General</c:formatCode>
                <c:ptCount val="52"/>
                <c:pt idx="0">
                  <c:v>0.37714125245717495</c:v>
                </c:pt>
                <c:pt idx="1">
                  <c:v>0.3891502499264922</c:v>
                </c:pt>
                <c:pt idx="2">
                  <c:v>0.39902157551430006</c:v>
                </c:pt>
                <c:pt idx="3">
                  <c:v>0.43196054911368786</c:v>
                </c:pt>
                <c:pt idx="4">
                  <c:v>0.41006702229517167</c:v>
                </c:pt>
                <c:pt idx="5">
                  <c:v>0.40870025122305964</c:v>
                </c:pt>
                <c:pt idx="6">
                  <c:v>0.42852091926929875</c:v>
                </c:pt>
                <c:pt idx="7">
                  <c:v>0.4056795131845842</c:v>
                </c:pt>
                <c:pt idx="8">
                  <c:v>0.4108260957382347</c:v>
                </c:pt>
                <c:pt idx="9">
                  <c:v>0.42631675536795743</c:v>
                </c:pt>
                <c:pt idx="10">
                  <c:v>0.4070105339629495</c:v>
                </c:pt>
                <c:pt idx="11">
                  <c:v>0.42810258903610066</c:v>
                </c:pt>
                <c:pt idx="12">
                  <c:v>0.42796548193652184</c:v>
                </c:pt>
                <c:pt idx="13">
                  <c:v>0.430781627719581</c:v>
                </c:pt>
                <c:pt idx="14">
                  <c:v>0.43244635193133046</c:v>
                </c:pt>
                <c:pt idx="15">
                  <c:v>0.42578125</c:v>
                </c:pt>
                <c:pt idx="16">
                  <c:v>0.4073363190445724</c:v>
                </c:pt>
                <c:pt idx="17">
                  <c:v>0.4096465881306957</c:v>
                </c:pt>
                <c:pt idx="18">
                  <c:v>0.41721332983468906</c:v>
                </c:pt>
                <c:pt idx="19">
                  <c:v>0.4201352757544225</c:v>
                </c:pt>
                <c:pt idx="20">
                  <c:v>0.42344706911636043</c:v>
                </c:pt>
                <c:pt idx="21">
                  <c:v>0.43377148634984836</c:v>
                </c:pt>
                <c:pt idx="22">
                  <c:v>0.4179495578119882</c:v>
                </c:pt>
                <c:pt idx="23">
                  <c:v>0.42474444836094466</c:v>
                </c:pt>
                <c:pt idx="24">
                  <c:v>0.43111831442463533</c:v>
                </c:pt>
                <c:pt idx="25">
                  <c:v>0.4218803418803419</c:v>
                </c:pt>
                <c:pt idx="26">
                  <c:v>0.4203135205747877</c:v>
                </c:pt>
                <c:pt idx="27">
                  <c:v>0.4200173560890946</c:v>
                </c:pt>
                <c:pt idx="28">
                  <c:v>0.41820094687006837</c:v>
                </c:pt>
                <c:pt idx="29">
                  <c:v>0.4229002624671916</c:v>
                </c:pt>
                <c:pt idx="30">
                  <c:v>0.41776426882809864</c:v>
                </c:pt>
                <c:pt idx="31">
                  <c:v>0.40114000712504455</c:v>
                </c:pt>
                <c:pt idx="32">
                  <c:v>0.4050235478806907</c:v>
                </c:pt>
                <c:pt idx="33">
                  <c:v>0.40744320927984534</c:v>
                </c:pt>
                <c:pt idx="34">
                  <c:v>0.42273819055244194</c:v>
                </c:pt>
                <c:pt idx="35">
                  <c:v>0.40099255583126553</c:v>
                </c:pt>
                <c:pt idx="36">
                  <c:v>0.39984502130956995</c:v>
                </c:pt>
                <c:pt idx="37">
                  <c:v>0.4151142355008787</c:v>
                </c:pt>
                <c:pt idx="38">
                  <c:v>0.4239520958083832</c:v>
                </c:pt>
                <c:pt idx="39">
                  <c:v>0.41786658830443724</c:v>
                </c:pt>
                <c:pt idx="40">
                  <c:v>0.40335163247616296</c:v>
                </c:pt>
                <c:pt idx="41">
                  <c:v>0.38508655126498004</c:v>
                </c:pt>
                <c:pt idx="42">
                  <c:v>0.4057669441141498</c:v>
                </c:pt>
                <c:pt idx="43">
                  <c:v>0.4035377358490566</c:v>
                </c:pt>
                <c:pt idx="44">
                  <c:v>0.40642829973373906</c:v>
                </c:pt>
                <c:pt idx="45">
                  <c:v>0.42463041182682154</c:v>
                </c:pt>
                <c:pt idx="46">
                  <c:v>0.42802972849992416</c:v>
                </c:pt>
                <c:pt idx="47">
                  <c:v>0.42656017327737916</c:v>
                </c:pt>
                <c:pt idx="48">
                  <c:v>0.39860672689670185</c:v>
                </c:pt>
                <c:pt idx="49">
                  <c:v>0.4124908463228371</c:v>
                </c:pt>
                <c:pt idx="50">
                  <c:v>0.4194628481869345</c:v>
                </c:pt>
                <c:pt idx="51">
                  <c:v>0.416091954022988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47.9754137283206</c:v>
                </c:pt>
              </c:numCache>
            </c:numRef>
          </c:xVal>
          <c:yVal>
            <c:numRef>
              <c:f>Sheet1!$B$163:$B$164</c:f>
              <c:numCache>
                <c:formatCode>General</c:formatCode>
                <c:ptCount val="2"/>
                <c:pt idx="0">
                  <c:v>0.6048356663073955</c:v>
                </c:pt>
                <c:pt idx="1">
                  <c:v>0.60483566630739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47.9754137283206</c:v>
                </c:pt>
                <c:pt idx="1">
                  <c:v>-847.9754137283206</c:v>
                </c:pt>
              </c:numCache>
            </c:numRef>
          </c:xVal>
          <c:yVal>
            <c:numRef>
              <c:f>Sheet1!$B$167:$B$168</c:f>
              <c:numCache>
                <c:formatCode>General</c:formatCode>
                <c:ptCount val="2"/>
                <c:pt idx="0">
                  <c:v>0.60483566630739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4.7156699360378</c:v>
                </c:pt>
              </c:numCache>
            </c:numRef>
          </c:xVal>
          <c:yVal>
            <c:numRef>
              <c:f>Sheet1!$B$171:$B$172</c:f>
              <c:numCache>
                <c:formatCode>General</c:formatCode>
                <c:ptCount val="2"/>
                <c:pt idx="0">
                  <c:v>0.4223042044757715</c:v>
                </c:pt>
                <c:pt idx="1">
                  <c:v>0.422304204475771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4.7156699360378</c:v>
                </c:pt>
                <c:pt idx="1">
                  <c:v>1124.7156699360378</c:v>
                </c:pt>
              </c:numCache>
            </c:numRef>
          </c:xVal>
          <c:yVal>
            <c:numRef>
              <c:f>Sheet1!$B$175:$B$176</c:f>
              <c:numCache>
                <c:formatCode>General</c:formatCode>
                <c:ptCount val="2"/>
                <c:pt idx="0">
                  <c:v>0.42230420447577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2.802524812736</c:v>
                </c:pt>
              </c:numCache>
            </c:numRef>
          </c:xVal>
          <c:yVal>
            <c:numRef>
              <c:f>Sheet1!$B$179:$B$180</c:f>
              <c:numCache>
                <c:formatCode>General</c:formatCode>
                <c:ptCount val="2"/>
                <c:pt idx="0">
                  <c:v>0.41137772621354707</c:v>
                </c:pt>
                <c:pt idx="1">
                  <c:v>0.411377726213547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2.802524812736</c:v>
                </c:pt>
                <c:pt idx="1">
                  <c:v>1242.802524812736</c:v>
                </c:pt>
              </c:numCache>
            </c:numRef>
          </c:xVal>
          <c:yVal>
            <c:numRef>
              <c:f>Sheet1!$B$183:$B$184</c:f>
              <c:numCache>
                <c:formatCode>General</c:formatCode>
                <c:ptCount val="2"/>
                <c:pt idx="0">
                  <c:v>0.411377726213547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3.1467</c:v>
                </c:pt>
                <c:pt idx="1">
                  <c:v>1218.6094</c:v>
                </c:pt>
                <c:pt idx="2">
                  <c:v>1225.0887</c:v>
                </c:pt>
                <c:pt idx="3">
                  <c:v>1222.7853</c:v>
                </c:pt>
                <c:pt idx="4">
                  <c:v>1247.6237</c:v>
                </c:pt>
                <c:pt idx="5">
                  <c:v>1207.8282</c:v>
                </c:pt>
                <c:pt idx="6">
                  <c:v>1105.3817</c:v>
                </c:pt>
                <c:pt idx="7">
                  <c:v>1174.6996</c:v>
                </c:pt>
                <c:pt idx="8">
                  <c:v>1215.9685</c:v>
                </c:pt>
                <c:pt idx="9">
                  <c:v>1159.8218</c:v>
                </c:pt>
                <c:pt idx="10">
                  <c:v>1211.1383</c:v>
                </c:pt>
                <c:pt idx="11">
                  <c:v>1027.4497</c:v>
                </c:pt>
                <c:pt idx="12">
                  <c:v>1083.8452</c:v>
                </c:pt>
                <c:pt idx="13">
                  <c:v>1172.6962</c:v>
                </c:pt>
                <c:pt idx="14">
                  <c:v>1137.0766</c:v>
                </c:pt>
                <c:pt idx="15">
                  <c:v>1173.0498</c:v>
                </c:pt>
                <c:pt idx="16">
                  <c:v>1207.1414</c:v>
                </c:pt>
                <c:pt idx="17">
                  <c:v>1189.267</c:v>
                </c:pt>
                <c:pt idx="18">
                  <c:v>1184.6434</c:v>
                </c:pt>
                <c:pt idx="19">
                  <c:v>1260.5703</c:v>
                </c:pt>
                <c:pt idx="20">
                  <c:v>1249.0103</c:v>
                </c:pt>
                <c:pt idx="21">
                  <c:v>1181.3947</c:v>
                </c:pt>
                <c:pt idx="22">
                  <c:v>1207.935</c:v>
                </c:pt>
                <c:pt idx="23">
                  <c:v>1214.9369</c:v>
                </c:pt>
                <c:pt idx="24">
                  <c:v>1222.1421</c:v>
                </c:pt>
                <c:pt idx="25">
                  <c:v>1203.0413</c:v>
                </c:pt>
                <c:pt idx="26">
                  <c:v>1199.7848</c:v>
                </c:pt>
                <c:pt idx="27">
                  <c:v>1198.1026</c:v>
                </c:pt>
                <c:pt idx="28">
                  <c:v>1225.3126</c:v>
                </c:pt>
                <c:pt idx="29">
                  <c:v>1225.3794</c:v>
                </c:pt>
                <c:pt idx="30">
                  <c:v>1219.4681</c:v>
                </c:pt>
                <c:pt idx="31">
                  <c:v>1223.8011</c:v>
                </c:pt>
                <c:pt idx="32">
                  <c:v>1235.5543</c:v>
                </c:pt>
                <c:pt idx="33">
                  <c:v>1211.3286</c:v>
                </c:pt>
                <c:pt idx="34">
                  <c:v>1217.5705</c:v>
                </c:pt>
                <c:pt idx="35">
                  <c:v>1261.2902</c:v>
                </c:pt>
                <c:pt idx="36">
                  <c:v>1301.9283</c:v>
                </c:pt>
                <c:pt idx="37">
                  <c:v>1280.5309</c:v>
                </c:pt>
                <c:pt idx="38">
                  <c:v>1318.5499</c:v>
                </c:pt>
                <c:pt idx="39">
                  <c:v>1243.7855</c:v>
                </c:pt>
                <c:pt idx="40">
                  <c:v>1276.8918</c:v>
                </c:pt>
                <c:pt idx="41">
                  <c:v>1305.184</c:v>
                </c:pt>
                <c:pt idx="42">
                  <c:v>1283.7971</c:v>
                </c:pt>
                <c:pt idx="43">
                  <c:v>1316.1157</c:v>
                </c:pt>
                <c:pt idx="44">
                  <c:v>1237.6097</c:v>
                </c:pt>
                <c:pt idx="45">
                  <c:v>1175.6792</c:v>
                </c:pt>
                <c:pt idx="46">
                  <c:v>1170.4447</c:v>
                </c:pt>
                <c:pt idx="47">
                  <c:v>1142.2355</c:v>
                </c:pt>
                <c:pt idx="48">
                  <c:v>1149.2403</c:v>
                </c:pt>
                <c:pt idx="49">
                  <c:v>1161.3746</c:v>
                </c:pt>
                <c:pt idx="50">
                  <c:v>1114.8149</c:v>
                </c:pt>
                <c:pt idx="51">
                  <c:v>1075.3149</c:v>
                </c:pt>
                <c:pt idx="52">
                  <c:v>1124.7156699360378</c:v>
                </c:pt>
                <c:pt idx="53">
                  <c:v>-847.9754137283206</c:v>
                </c:pt>
                <c:pt idx="54">
                  <c:v>1242.802524812736</c:v>
                </c:pt>
              </c:numCache>
            </c:numRef>
          </c:xVal>
          <c:yVal>
            <c:numRef>
              <c:f>Sheet1!$B$187:$B$241</c:f>
              <c:numCache>
                <c:formatCode>General</c:formatCode>
                <c:ptCount val="55"/>
                <c:pt idx="0">
                  <c:v>0.4131964633013178</c:v>
                </c:pt>
                <c:pt idx="1">
                  <c:v>0.4136162958887041</c:v>
                </c:pt>
                <c:pt idx="2">
                  <c:v>0.41301677165987816</c:v>
                </c:pt>
                <c:pt idx="3">
                  <c:v>0.4132299033421089</c:v>
                </c:pt>
                <c:pt idx="4">
                  <c:v>0.4109316268916791</c:v>
                </c:pt>
                <c:pt idx="5">
                  <c:v>0.41461387133911043</c:v>
                </c:pt>
                <c:pt idx="6">
                  <c:v>0.42409316060005137</c:v>
                </c:pt>
                <c:pt idx="7">
                  <c:v>0.41767923308607113</c:v>
                </c:pt>
                <c:pt idx="8">
                  <c:v>0.41386065616464535</c:v>
                </c:pt>
                <c:pt idx="9">
                  <c:v>0.4190558635201653</c:v>
                </c:pt>
                <c:pt idx="10">
                  <c:v>0.41430759054491406</c:v>
                </c:pt>
                <c:pt idx="11">
                  <c:v>0.431304143607608</c:v>
                </c:pt>
                <c:pt idx="12">
                  <c:v>0.42608591499545045</c:v>
                </c:pt>
                <c:pt idx="13">
                  <c:v>0.4178646060183369</c:v>
                </c:pt>
                <c:pt idx="14">
                  <c:v>0.42116045791917306</c:v>
                </c:pt>
                <c:pt idx="15">
                  <c:v>0.4178318877050449</c:v>
                </c:pt>
                <c:pt idx="16">
                  <c:v>0.4146774203706968</c:v>
                </c:pt>
                <c:pt idx="17">
                  <c:v>0.41633132370527404</c:v>
                </c:pt>
                <c:pt idx="18">
                  <c:v>0.41675914155973354</c:v>
                </c:pt>
                <c:pt idx="19">
                  <c:v>0.40973368878402583</c:v>
                </c:pt>
                <c:pt idx="20">
                  <c:v>0.4108033259493412</c:v>
                </c:pt>
                <c:pt idx="21">
                  <c:v>0.41705974106310373</c:v>
                </c:pt>
                <c:pt idx="22">
                  <c:v>0.41460398922412295</c:v>
                </c:pt>
                <c:pt idx="23">
                  <c:v>0.4139561092528581</c:v>
                </c:pt>
                <c:pt idx="24">
                  <c:v>0.4132894181020337</c:v>
                </c:pt>
                <c:pt idx="25">
                  <c:v>0.41505679920646754</c:v>
                </c:pt>
                <c:pt idx="26">
                  <c:v>0.4153581204373369</c:v>
                </c:pt>
                <c:pt idx="27">
                  <c:v>0.4155137730013069</c:v>
                </c:pt>
                <c:pt idx="28">
                  <c:v>0.41299605437948766</c:v>
                </c:pt>
                <c:pt idx="29">
                  <c:v>0.4129898734311621</c:v>
                </c:pt>
                <c:pt idx="30">
                  <c:v>0.4135368410933878</c:v>
                </c:pt>
                <c:pt idx="31">
                  <c:v>0.4131359122147277</c:v>
                </c:pt>
                <c:pt idx="32">
                  <c:v>0.41204839841443486</c:v>
                </c:pt>
                <c:pt idx="33">
                  <c:v>0.41428998224451963</c:v>
                </c:pt>
                <c:pt idx="34">
                  <c:v>0.41371242443983264</c:v>
                </c:pt>
                <c:pt idx="35">
                  <c:v>0.4096670770370267</c:v>
                </c:pt>
                <c:pt idx="36">
                  <c:v>0.4059068675138605</c:v>
                </c:pt>
                <c:pt idx="37">
                  <c:v>0.4078867511021925</c:v>
                </c:pt>
                <c:pt idx="38">
                  <c:v>0.4043688847191369</c:v>
                </c:pt>
                <c:pt idx="39">
                  <c:v>0.41128677233873046</c:v>
                </c:pt>
                <c:pt idx="40">
                  <c:v>0.4082234739921838</c:v>
                </c:pt>
                <c:pt idx="41">
                  <c:v>0.4056056203063244</c:v>
                </c:pt>
                <c:pt idx="42">
                  <c:v>0.4075845323384077</c:v>
                </c:pt>
                <c:pt idx="43">
                  <c:v>0.4045941192163523</c:v>
                </c:pt>
                <c:pt idx="44">
                  <c:v>0.4118582139655085</c:v>
                </c:pt>
                <c:pt idx="45">
                  <c:v>0.417588591514519</c:v>
                </c:pt>
                <c:pt idx="46">
                  <c:v>0.4180729354368237</c:v>
                </c:pt>
                <c:pt idx="47">
                  <c:v>0.4206831092018595</c:v>
                </c:pt>
                <c:pt idx="48">
                  <c:v>0.42003496089601167</c:v>
                </c:pt>
                <c:pt idx="49">
                  <c:v>0.4189121842303468</c:v>
                </c:pt>
                <c:pt idx="50">
                  <c:v>0.42322031446615405</c:v>
                </c:pt>
                <c:pt idx="51">
                  <c:v>0.42687521654486993</c:v>
                </c:pt>
                <c:pt idx="52">
                  <c:v>0.4223042044757715</c:v>
                </c:pt>
                <c:pt idx="53">
                  <c:v>0.6048356663073955</c:v>
                </c:pt>
                <c:pt idx="54">
                  <c:v>0.411377726213547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38046511627906"/>
          <c:min val="0.276354525524585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84100389745317</c:v>
                </c:pt>
                <c:pt idx="1">
                  <c:v>0.7725916511301169</c:v>
                </c:pt>
                <c:pt idx="2">
                  <c:v>0.7887087715599466</c:v>
                </c:pt>
                <c:pt idx="3">
                  <c:v>0.7994816544799739</c:v>
                </c:pt>
                <c:pt idx="4">
                  <c:v>0.7849217576791809</c:v>
                </c:pt>
                <c:pt idx="5">
                  <c:v>0.7832575987663415</c:v>
                </c:pt>
                <c:pt idx="6">
                  <c:v>0.9079735470281592</c:v>
                </c:pt>
                <c:pt idx="7">
                  <c:v>0.7826142135838692</c:v>
                </c:pt>
                <c:pt idx="8">
                  <c:v>0.6838310818656861</c:v>
                </c:pt>
                <c:pt idx="9">
                  <c:v>0.6893578968820053</c:v>
                </c:pt>
                <c:pt idx="10">
                  <c:v>0.6979546947569283</c:v>
                </c:pt>
                <c:pt idx="11">
                  <c:v>0.7640182387199735</c:v>
                </c:pt>
                <c:pt idx="12">
                  <c:v>0.7584382118424268</c:v>
                </c:pt>
                <c:pt idx="13">
                  <c:v>0.883657687088891</c:v>
                </c:pt>
                <c:pt idx="14">
                  <c:v>0.746340549941899</c:v>
                </c:pt>
                <c:pt idx="15">
                  <c:v>0.7136252232534303</c:v>
                </c:pt>
                <c:pt idx="16">
                  <c:v>0.7045935189821672</c:v>
                </c:pt>
                <c:pt idx="17">
                  <c:v>0.7180001474994095</c:v>
                </c:pt>
                <c:pt idx="18">
                  <c:v>0.8064050395474337</c:v>
                </c:pt>
                <c:pt idx="19">
                  <c:v>0.8386073991802048</c:v>
                </c:pt>
                <c:pt idx="20">
                  <c:v>0.8900258016671895</c:v>
                </c:pt>
                <c:pt idx="21">
                  <c:v>0.8884119391025641</c:v>
                </c:pt>
                <c:pt idx="22">
                  <c:v>0.8163389153202496</c:v>
                </c:pt>
                <c:pt idx="23">
                  <c:v>0.776568549534254</c:v>
                </c:pt>
                <c:pt idx="24">
                  <c:v>0.7622431247101188</c:v>
                </c:pt>
                <c:pt idx="25">
                  <c:v>0.8536790697674419</c:v>
                </c:pt>
                <c:pt idx="26">
                  <c:v>0.8646778316963014</c:v>
                </c:pt>
                <c:pt idx="27">
                  <c:v>0.8641579689560803</c:v>
                </c:pt>
                <c:pt idx="28">
                  <c:v>0.8794847541978217</c:v>
                </c:pt>
                <c:pt idx="29">
                  <c:v>0.8526956668147998</c:v>
                </c:pt>
                <c:pt idx="30">
                  <c:v>0.7860721667145928</c:v>
                </c:pt>
                <c:pt idx="31">
                  <c:v>0.8255234041086736</c:v>
                </c:pt>
                <c:pt idx="32">
                  <c:v>0.7576521773892649</c:v>
                </c:pt>
                <c:pt idx="33">
                  <c:v>0.7831944320661567</c:v>
                </c:pt>
                <c:pt idx="34">
                  <c:v>0.8647332426303854</c:v>
                </c:pt>
                <c:pt idx="35">
                  <c:v>0.8575683590120924</c:v>
                </c:pt>
                <c:pt idx="36">
                  <c:v>0.9199723695201398</c:v>
                </c:pt>
                <c:pt idx="37">
                  <c:v>0.8957629548744752</c:v>
                </c:pt>
                <c:pt idx="38">
                  <c:v>1.0132857720792803</c:v>
                </c:pt>
                <c:pt idx="39">
                  <c:v>1.0398490440586718</c:v>
                </c:pt>
                <c:pt idx="40">
                  <c:v>1.013693313961886</c:v>
                </c:pt>
                <c:pt idx="41">
                  <c:v>0.9797058647804483</c:v>
                </c:pt>
                <c:pt idx="42">
                  <c:v>1.0038041957100101</c:v>
                </c:pt>
                <c:pt idx="43">
                  <c:v>1.0004386513285368</c:v>
                </c:pt>
                <c:pt idx="44">
                  <c:v>0.9591685771748758</c:v>
                </c:pt>
                <c:pt idx="45">
                  <c:v>0.9734500529522593</c:v>
                </c:pt>
                <c:pt idx="46">
                  <c:v>0.9549378985098451</c:v>
                </c:pt>
                <c:pt idx="47">
                  <c:v>1.0043594153860613</c:v>
                </c:pt>
                <c:pt idx="48">
                  <c:v>0.9931165296514454</c:v>
                </c:pt>
                <c:pt idx="49">
                  <c:v>0.9629098236539587</c:v>
                </c:pt>
                <c:pt idx="50">
                  <c:v>0.9059272810130791</c:v>
                </c:pt>
                <c:pt idx="51">
                  <c:v>0.9540395367811267</c:v>
                </c:pt>
                <c:pt idx="52">
                  <c:v>0.9684884712580826</c:v>
                </c:pt>
                <c:pt idx="53">
                  <c:v>0.9698531424587017</c:v>
                </c:pt>
                <c:pt idx="54">
                  <c:v>0.9839490617478784</c:v>
                </c:pt>
                <c:pt idx="55">
                  <c:v>1.0059157849664515</c:v>
                </c:pt>
                <c:pt idx="56">
                  <c:v>1.138850021860546</c:v>
                </c:pt>
                <c:pt idx="57">
                  <c:v>1.0646299981298066</c:v>
                </c:pt>
                <c:pt idx="58">
                  <c:v>1.0462305688691242</c:v>
                </c:pt>
                <c:pt idx="59">
                  <c:v>0.9740033104262416</c:v>
                </c:pt>
                <c:pt idx="60">
                  <c:v>1.048098418265485</c:v>
                </c:pt>
                <c:pt idx="61">
                  <c:v>1.0210034386518865</c:v>
                </c:pt>
                <c:pt idx="62">
                  <c:v>1.0097465930784737</c:v>
                </c:pt>
                <c:pt idx="63">
                  <c:v>1.0321883824887927</c:v>
                </c:pt>
                <c:pt idx="64">
                  <c:v>1.0272699915391827</c:v>
                </c:pt>
                <c:pt idx="65">
                  <c:v>1.0018352803014263</c:v>
                </c:pt>
                <c:pt idx="66">
                  <c:v>1.01765420616581</c:v>
                </c:pt>
                <c:pt idx="67">
                  <c:v>1.0406873540805117</c:v>
                </c:pt>
                <c:pt idx="68">
                  <c:v>1.0628352592156955</c:v>
                </c:pt>
                <c:pt idx="69">
                  <c:v>1.0766647186434675</c:v>
                </c:pt>
                <c:pt idx="70">
                  <c:v>1.0893925640370103</c:v>
                </c:pt>
                <c:pt idx="71">
                  <c:v>1.0482372305537093</c:v>
                </c:pt>
                <c:pt idx="72">
                  <c:v>1.1787140024522105</c:v>
                </c:pt>
                <c:pt idx="73">
                  <c:v>1.2126360743555593</c:v>
                </c:pt>
                <c:pt idx="74">
                  <c:v>1.2453781282878442</c:v>
                </c:pt>
                <c:pt idx="75">
                  <c:v>1.1551152250939762</c:v>
                </c:pt>
                <c:pt idx="76">
                  <c:v>1.1567446932778478</c:v>
                </c:pt>
                <c:pt idx="77">
                  <c:v>1.1276630164886157</c:v>
                </c:pt>
                <c:pt idx="78">
                  <c:v>1.1349447694715487</c:v>
                </c:pt>
                <c:pt idx="79">
                  <c:v>1.2021946145296332</c:v>
                </c:pt>
                <c:pt idx="80">
                  <c:v>1.1490152590051397</c:v>
                </c:pt>
                <c:pt idx="81">
                  <c:v>1.198070579179156</c:v>
                </c:pt>
                <c:pt idx="82">
                  <c:v>1.1332273948241651</c:v>
                </c:pt>
                <c:pt idx="83">
                  <c:v>1.1975761265532212</c:v>
                </c:pt>
                <c:pt idx="84">
                  <c:v>1.1592121231134156</c:v>
                </c:pt>
                <c:pt idx="85">
                  <c:v>1.0770490322400876</c:v>
                </c:pt>
                <c:pt idx="86">
                  <c:v>1.0018259518483097</c:v>
                </c:pt>
                <c:pt idx="87">
                  <c:v>1.0927846594197954</c:v>
                </c:pt>
                <c:pt idx="88">
                  <c:v>1.0276780665546614</c:v>
                </c:pt>
                <c:pt idx="89">
                  <c:v>1.0869163127063273</c:v>
                </c:pt>
                <c:pt idx="90">
                  <c:v>1.1087957267077437</c:v>
                </c:pt>
                <c:pt idx="91">
                  <c:v>1.1822518590525604</c:v>
                </c:pt>
                <c:pt idx="92">
                  <c:v>1.1410537566866958</c:v>
                </c:pt>
                <c:pt idx="93">
                  <c:v>1.1127716330682162</c:v>
                </c:pt>
                <c:pt idx="94">
                  <c:v>1.099639722958253</c:v>
                </c:pt>
                <c:pt idx="95">
                  <c:v>1.0751968295698748</c:v>
                </c:pt>
                <c:pt idx="96">
                  <c:v>1.1387386555269996</c:v>
                </c:pt>
                <c:pt idx="97">
                  <c:v>1.0884143172483165</c:v>
                </c:pt>
                <c:pt idx="98">
                  <c:v>1.1414638555913024</c:v>
                </c:pt>
                <c:pt idx="99">
                  <c:v>1.135373748723187</c:v>
                </c:pt>
                <c:pt idx="100">
                  <c:v>1.1310965731622498</c:v>
                </c:pt>
                <c:pt idx="101">
                  <c:v>0.973463994743632</c:v>
                </c:pt>
                <c:pt idx="102">
                  <c:v>1.0564600106814495</c:v>
                </c:pt>
                <c:pt idx="103">
                  <c:v>1.0939255283689957</c:v>
                </c:pt>
                <c:pt idx="104">
                  <c:v>1.1354917517050824</c:v>
                </c:pt>
              </c:numCache>
            </c:numRef>
          </c:xVal>
          <c:yVal>
            <c:numRef>
              <c:f>Sheet1!$B$2:$B$106</c:f>
              <c:numCache>
                <c:formatCode>General</c:formatCode>
                <c:ptCount val="105"/>
                <c:pt idx="0">
                  <c:v>0.5445728141491941</c:v>
                </c:pt>
                <c:pt idx="1">
                  <c:v>0.5853899308983218</c:v>
                </c:pt>
                <c:pt idx="2">
                  <c:v>0.6343833780160858</c:v>
                </c:pt>
                <c:pt idx="3">
                  <c:v>0.6448372093023256</c:v>
                </c:pt>
                <c:pt idx="4">
                  <c:v>0.6299345577369643</c:v>
                </c:pt>
                <c:pt idx="5">
                  <c:v>0.5861015654830087</c:v>
                </c:pt>
                <c:pt idx="6">
                  <c:v>0.5931305536568694</c:v>
                </c:pt>
                <c:pt idx="7">
                  <c:v>0.6267709875237893</c:v>
                </c:pt>
                <c:pt idx="8">
                  <c:v>0.5984</c:v>
                </c:pt>
                <c:pt idx="9">
                  <c:v>0.572725824438426</c:v>
                </c:pt>
                <c:pt idx="10">
                  <c:v>0.5489881143591391</c:v>
                </c:pt>
                <c:pt idx="11">
                  <c:v>0.48370883882149046</c:v>
                </c:pt>
                <c:pt idx="12">
                  <c:v>0.4590776226047418</c:v>
                </c:pt>
                <c:pt idx="13">
                  <c:v>0.42577806745967084</c:v>
                </c:pt>
                <c:pt idx="14">
                  <c:v>0.3942703387147832</c:v>
                </c:pt>
                <c:pt idx="15">
                  <c:v>0.40061279203370354</c:v>
                </c:pt>
                <c:pt idx="16">
                  <c:v>0.38252302420218465</c:v>
                </c:pt>
                <c:pt idx="17">
                  <c:v>0.3746327130264447</c:v>
                </c:pt>
                <c:pt idx="18">
                  <c:v>0.3778122575640031</c:v>
                </c:pt>
                <c:pt idx="19">
                  <c:v>0.3786099650904475</c:v>
                </c:pt>
                <c:pt idx="20">
                  <c:v>0.3707057256990679</c:v>
                </c:pt>
                <c:pt idx="21">
                  <c:v>0.42254000680966974</c:v>
                </c:pt>
                <c:pt idx="22">
                  <c:v>0.4876084262701363</c:v>
                </c:pt>
                <c:pt idx="23">
                  <c:v>0.5029335071707953</c:v>
                </c:pt>
                <c:pt idx="24">
                  <c:v>0.5234209731036567</c:v>
                </c:pt>
                <c:pt idx="25">
                  <c:v>0.5259032038173143</c:v>
                </c:pt>
                <c:pt idx="26">
                  <c:v>0.5246385364414281</c:v>
                </c:pt>
                <c:pt idx="27">
                  <c:v>0.506961506961507</c:v>
                </c:pt>
                <c:pt idx="28">
                  <c:v>0.48673621460506705</c:v>
                </c:pt>
                <c:pt idx="29">
                  <c:v>0.4879214228829307</c:v>
                </c:pt>
                <c:pt idx="30">
                  <c:v>0.5009933774834437</c:v>
                </c:pt>
                <c:pt idx="31">
                  <c:v>0.5131539159358935</c:v>
                </c:pt>
                <c:pt idx="32">
                  <c:v>0.5263157894736842</c:v>
                </c:pt>
                <c:pt idx="33">
                  <c:v>0.541515371580731</c:v>
                </c:pt>
                <c:pt idx="34">
                  <c:v>0.5145737453429761</c:v>
                </c:pt>
                <c:pt idx="35">
                  <c:v>0.5012802836320662</c:v>
                </c:pt>
                <c:pt idx="36">
                  <c:v>0.452720677146312</c:v>
                </c:pt>
                <c:pt idx="37">
                  <c:v>0.45969738651994496</c:v>
                </c:pt>
                <c:pt idx="38">
                  <c:v>0.4446361806154731</c:v>
                </c:pt>
                <c:pt idx="39">
                  <c:v>0.43071491615180935</c:v>
                </c:pt>
                <c:pt idx="40">
                  <c:v>0.4385014137606032</c:v>
                </c:pt>
                <c:pt idx="41">
                  <c:v>0.41214057507987223</c:v>
                </c:pt>
                <c:pt idx="42">
                  <c:v>0.4084146908414691</c:v>
                </c:pt>
                <c:pt idx="43">
                  <c:v>0.4028985507246377</c:v>
                </c:pt>
                <c:pt idx="44">
                  <c:v>0.4111781361565924</c:v>
                </c:pt>
                <c:pt idx="45">
                  <c:v>0.4258394001955884</c:v>
                </c:pt>
                <c:pt idx="46">
                  <c:v>0.43253968253968256</c:v>
                </c:pt>
                <c:pt idx="47">
                  <c:v>0.4198404673632176</c:v>
                </c:pt>
                <c:pt idx="48">
                  <c:v>0.42434264924756077</c:v>
                </c:pt>
                <c:pt idx="49">
                  <c:v>0.45141562853907136</c:v>
                </c:pt>
                <c:pt idx="50">
                  <c:v>0.4266785435920276</c:v>
                </c:pt>
                <c:pt idx="51">
                  <c:v>0.41721085473806413</c:v>
                </c:pt>
                <c:pt idx="52">
                  <c:v>0.4357021996615905</c:v>
                </c:pt>
                <c:pt idx="53">
                  <c:v>0.433338343604389</c:v>
                </c:pt>
                <c:pt idx="54">
                  <c:v>0.4501677852348993</c:v>
                </c:pt>
                <c:pt idx="55">
                  <c:v>0.4440439409543426</c:v>
                </c:pt>
                <c:pt idx="56">
                  <c:v>0.4605013292821876</c:v>
                </c:pt>
                <c:pt idx="57">
                  <c:v>0.46712586098935505</c:v>
                </c:pt>
                <c:pt idx="58">
                  <c:v>0.4688431511710433</c:v>
                </c:pt>
                <c:pt idx="59">
                  <c:v>0.49812934259754144</c:v>
                </c:pt>
                <c:pt idx="60">
                  <c:v>0.5079043372517228</c:v>
                </c:pt>
                <c:pt idx="61">
                  <c:v>0.48867505551443374</c:v>
                </c:pt>
                <c:pt idx="62">
                  <c:v>0.5133728495012289</c:v>
                </c:pt>
                <c:pt idx="63">
                  <c:v>0.5433663366336634</c:v>
                </c:pt>
                <c:pt idx="64">
                  <c:v>0.4756648268941295</c:v>
                </c:pt>
                <c:pt idx="65">
                  <c:v>0.4322986352689323</c:v>
                </c:pt>
                <c:pt idx="66">
                  <c:v>0.43306767526678375</c:v>
                </c:pt>
                <c:pt idx="67">
                  <c:v>0.4181363903586126</c:v>
                </c:pt>
                <c:pt idx="68">
                  <c:v>0.40692016579563883</c:v>
                </c:pt>
                <c:pt idx="69">
                  <c:v>0.39314104019986373</c:v>
                </c:pt>
                <c:pt idx="70">
                  <c:v>0.3942857142857143</c:v>
                </c:pt>
                <c:pt idx="71">
                  <c:v>0.4007334963325183</c:v>
                </c:pt>
                <c:pt idx="72">
                  <c:v>0.3762204382729442</c:v>
                </c:pt>
                <c:pt idx="73">
                  <c:v>0.39984958636249684</c:v>
                </c:pt>
                <c:pt idx="74">
                  <c:v>0.39501133786848075</c:v>
                </c:pt>
                <c:pt idx="75">
                  <c:v>0.4016200679383329</c:v>
                </c:pt>
                <c:pt idx="76">
                  <c:v>0.40309633027522934</c:v>
                </c:pt>
                <c:pt idx="77">
                  <c:v>0.4044595850108393</c:v>
                </c:pt>
                <c:pt idx="78">
                  <c:v>0.38909710391822827</c:v>
                </c:pt>
                <c:pt idx="79">
                  <c:v>0.38160348042262277</c:v>
                </c:pt>
                <c:pt idx="80">
                  <c:v>0.36264402668283807</c:v>
                </c:pt>
                <c:pt idx="81">
                  <c:v>0.3791374122367101</c:v>
                </c:pt>
                <c:pt idx="82">
                  <c:v>0.37747899159663867</c:v>
                </c:pt>
                <c:pt idx="83">
                  <c:v>0.38260228529303353</c:v>
                </c:pt>
                <c:pt idx="84">
                  <c:v>0.3862550532892319</c:v>
                </c:pt>
                <c:pt idx="85">
                  <c:v>0.4016549968173138</c:v>
                </c:pt>
                <c:pt idx="86">
                  <c:v>0.3846704871060172</c:v>
                </c:pt>
                <c:pt idx="87">
                  <c:v>0.3912073197946887</c:v>
                </c:pt>
                <c:pt idx="88">
                  <c:v>0.37909778649481646</c:v>
                </c:pt>
                <c:pt idx="89">
                  <c:v>0.38899253731343286</c:v>
                </c:pt>
                <c:pt idx="90">
                  <c:v>0.37152</c:v>
                </c:pt>
                <c:pt idx="91">
                  <c:v>0.3454431569057313</c:v>
                </c:pt>
                <c:pt idx="92">
                  <c:v>0.35205640423031725</c:v>
                </c:pt>
                <c:pt idx="93">
                  <c:v>0.34647443117819327</c:v>
                </c:pt>
                <c:pt idx="94">
                  <c:v>0.346163397069779</c:v>
                </c:pt>
                <c:pt idx="95">
                  <c:v>0.3561797752808989</c:v>
                </c:pt>
                <c:pt idx="96">
                  <c:v>0.37006871977602446</c:v>
                </c:pt>
                <c:pt idx="97">
                  <c:v>0.3853261467385326</c:v>
                </c:pt>
                <c:pt idx="98">
                  <c:v>0.3958612761065338</c:v>
                </c:pt>
                <c:pt idx="99">
                  <c:v>0.40179760319573904</c:v>
                </c:pt>
                <c:pt idx="100">
                  <c:v>0.40472353087031987</c:v>
                </c:pt>
                <c:pt idx="101">
                  <c:v>0.4190716558762208</c:v>
                </c:pt>
                <c:pt idx="102">
                  <c:v>0.4056206088992974</c:v>
                </c:pt>
                <c:pt idx="103">
                  <c:v>0.37120245085524634</c:v>
                </c:pt>
                <c:pt idx="104">
                  <c:v>0.36841291917787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59889130553524</c:v>
                </c:pt>
                <c:pt idx="1">
                  <c:v>1.2001120726246366</c:v>
                </c:pt>
                <c:pt idx="2">
                  <c:v>1.2103625815787065</c:v>
                </c:pt>
                <c:pt idx="3">
                  <c:v>1.1175200517201955</c:v>
                </c:pt>
                <c:pt idx="4">
                  <c:v>1.322216406342152</c:v>
                </c:pt>
                <c:pt idx="5">
                  <c:v>1.1785965309790054</c:v>
                </c:pt>
                <c:pt idx="6">
                  <c:v>1.0867842138194361</c:v>
                </c:pt>
                <c:pt idx="7">
                  <c:v>1.2935812711127908</c:v>
                </c:pt>
                <c:pt idx="8">
                  <c:v>1.1482726594957573</c:v>
                </c:pt>
                <c:pt idx="9">
                  <c:v>1.0299373302284833</c:v>
                </c:pt>
                <c:pt idx="10">
                  <c:v>1.1882245772522673</c:v>
                </c:pt>
                <c:pt idx="11">
                  <c:v>1.046403840607223</c:v>
                </c:pt>
                <c:pt idx="12">
                  <c:v>1.009661624686287</c:v>
                </c:pt>
                <c:pt idx="13">
                  <c:v>1.0981836693088276</c:v>
                </c:pt>
                <c:pt idx="14">
                  <c:v>1.1169711198428292</c:v>
                </c:pt>
                <c:pt idx="15">
                  <c:v>1.141030543205724</c:v>
                </c:pt>
                <c:pt idx="16">
                  <c:v>1.1073167912672568</c:v>
                </c:pt>
                <c:pt idx="17">
                  <c:v>1.3107934096773473</c:v>
                </c:pt>
                <c:pt idx="18">
                  <c:v>1.0864227443797612</c:v>
                </c:pt>
                <c:pt idx="19">
                  <c:v>1.1760226231557276</c:v>
                </c:pt>
                <c:pt idx="20">
                  <c:v>1.0316430990336167</c:v>
                </c:pt>
                <c:pt idx="21">
                  <c:v>1.269293258125168</c:v>
                </c:pt>
                <c:pt idx="22">
                  <c:v>1.0667270118114582</c:v>
                </c:pt>
                <c:pt idx="23">
                  <c:v>0.9930110459622072</c:v>
                </c:pt>
                <c:pt idx="24">
                  <c:v>1.145339525569684</c:v>
                </c:pt>
                <c:pt idx="25">
                  <c:v>1.1702504152641329</c:v>
                </c:pt>
                <c:pt idx="26">
                  <c:v>1.064562288374749</c:v>
                </c:pt>
                <c:pt idx="27">
                  <c:v>1.0415264862801068</c:v>
                </c:pt>
                <c:pt idx="28">
                  <c:v>1.0445972719522592</c:v>
                </c:pt>
                <c:pt idx="29">
                  <c:v>1.0446064868647094</c:v>
                </c:pt>
                <c:pt idx="30">
                  <c:v>0.9620609106596377</c:v>
                </c:pt>
                <c:pt idx="31">
                  <c:v>1.373380040332762</c:v>
                </c:pt>
                <c:pt idx="32">
                  <c:v>1.0396192375714586</c:v>
                </c:pt>
                <c:pt idx="33">
                  <c:v>1.0226497256226257</c:v>
                </c:pt>
                <c:pt idx="34">
                  <c:v>1.102722003350994</c:v>
                </c:pt>
                <c:pt idx="35">
                  <c:v>1.293884708467958</c:v>
                </c:pt>
                <c:pt idx="36">
                  <c:v>1.087046402404659</c:v>
                </c:pt>
                <c:pt idx="37">
                  <c:v>1.2586014066705935</c:v>
                </c:pt>
                <c:pt idx="38">
                  <c:v>1.152332907346065</c:v>
                </c:pt>
                <c:pt idx="39">
                  <c:v>1.1559344795539033</c:v>
                </c:pt>
                <c:pt idx="40">
                  <c:v>1.1400524450706189</c:v>
                </c:pt>
                <c:pt idx="41">
                  <c:v>1.102587420533028</c:v>
                </c:pt>
                <c:pt idx="42">
                  <c:v>1.0330536888179047</c:v>
                </c:pt>
                <c:pt idx="43">
                  <c:v>1.05446227472064</c:v>
                </c:pt>
                <c:pt idx="44">
                  <c:v>0.9765736217190922</c:v>
                </c:pt>
                <c:pt idx="45">
                  <c:v>1.002996587430781</c:v>
                </c:pt>
                <c:pt idx="46">
                  <c:v>0.9639690783970789</c:v>
                </c:pt>
                <c:pt idx="47">
                  <c:v>0.9069338663925147</c:v>
                </c:pt>
                <c:pt idx="48">
                  <c:v>1.0093523420772923</c:v>
                </c:pt>
                <c:pt idx="49">
                  <c:v>0.9184498498727911</c:v>
                </c:pt>
                <c:pt idx="50">
                  <c:v>0.9430017693312145</c:v>
                </c:pt>
                <c:pt idx="51">
                  <c:v>0.9265707388138147</c:v>
                </c:pt>
              </c:numCache>
            </c:numRef>
          </c:xVal>
          <c:yVal>
            <c:numRef>
              <c:f>Sheet1!$B$109:$B$160</c:f>
              <c:numCache>
                <c:formatCode>General</c:formatCode>
                <c:ptCount val="52"/>
                <c:pt idx="0">
                  <c:v>0.37714125245717495</c:v>
                </c:pt>
                <c:pt idx="1">
                  <c:v>0.3891502499264922</c:v>
                </c:pt>
                <c:pt idx="2">
                  <c:v>0.39902157551430006</c:v>
                </c:pt>
                <c:pt idx="3">
                  <c:v>0.43196054911368786</c:v>
                </c:pt>
                <c:pt idx="4">
                  <c:v>0.41006702229517167</c:v>
                </c:pt>
                <c:pt idx="5">
                  <c:v>0.40870025122305964</c:v>
                </c:pt>
                <c:pt idx="6">
                  <c:v>0.42852091926929875</c:v>
                </c:pt>
                <c:pt idx="7">
                  <c:v>0.4056795131845842</c:v>
                </c:pt>
                <c:pt idx="8">
                  <c:v>0.4108260957382347</c:v>
                </c:pt>
                <c:pt idx="9">
                  <c:v>0.42631675536795743</c:v>
                </c:pt>
                <c:pt idx="10">
                  <c:v>0.4070105339629495</c:v>
                </c:pt>
                <c:pt idx="11">
                  <c:v>0.42810258903610066</c:v>
                </c:pt>
                <c:pt idx="12">
                  <c:v>0.42796548193652184</c:v>
                </c:pt>
                <c:pt idx="13">
                  <c:v>0.430781627719581</c:v>
                </c:pt>
                <c:pt idx="14">
                  <c:v>0.43244635193133046</c:v>
                </c:pt>
                <c:pt idx="15">
                  <c:v>0.42578125</c:v>
                </c:pt>
                <c:pt idx="16">
                  <c:v>0.4073363190445724</c:v>
                </c:pt>
                <c:pt idx="17">
                  <c:v>0.4096465881306957</c:v>
                </c:pt>
                <c:pt idx="18">
                  <c:v>0.41721332983468906</c:v>
                </c:pt>
                <c:pt idx="19">
                  <c:v>0.4201352757544225</c:v>
                </c:pt>
                <c:pt idx="20">
                  <c:v>0.42344706911636043</c:v>
                </c:pt>
                <c:pt idx="21">
                  <c:v>0.43377148634984836</c:v>
                </c:pt>
                <c:pt idx="22">
                  <c:v>0.4179495578119882</c:v>
                </c:pt>
                <c:pt idx="23">
                  <c:v>0.42474444836094466</c:v>
                </c:pt>
                <c:pt idx="24">
                  <c:v>0.43111831442463533</c:v>
                </c:pt>
                <c:pt idx="25">
                  <c:v>0.4218803418803419</c:v>
                </c:pt>
                <c:pt idx="26">
                  <c:v>0.4203135205747877</c:v>
                </c:pt>
                <c:pt idx="27">
                  <c:v>0.4200173560890946</c:v>
                </c:pt>
                <c:pt idx="28">
                  <c:v>0.41820094687006837</c:v>
                </c:pt>
                <c:pt idx="29">
                  <c:v>0.4229002624671916</c:v>
                </c:pt>
                <c:pt idx="30">
                  <c:v>0.41776426882809864</c:v>
                </c:pt>
                <c:pt idx="31">
                  <c:v>0.40114000712504455</c:v>
                </c:pt>
                <c:pt idx="32">
                  <c:v>0.4050235478806907</c:v>
                </c:pt>
                <c:pt idx="33">
                  <c:v>0.40744320927984534</c:v>
                </c:pt>
                <c:pt idx="34">
                  <c:v>0.42273819055244194</c:v>
                </c:pt>
                <c:pt idx="35">
                  <c:v>0.40099255583126553</c:v>
                </c:pt>
                <c:pt idx="36">
                  <c:v>0.39984502130956995</c:v>
                </c:pt>
                <c:pt idx="37">
                  <c:v>0.4151142355008787</c:v>
                </c:pt>
                <c:pt idx="38">
                  <c:v>0.4239520958083832</c:v>
                </c:pt>
                <c:pt idx="39">
                  <c:v>0.41786658830443724</c:v>
                </c:pt>
                <c:pt idx="40">
                  <c:v>0.40335163247616296</c:v>
                </c:pt>
                <c:pt idx="41">
                  <c:v>0.38508655126498004</c:v>
                </c:pt>
                <c:pt idx="42">
                  <c:v>0.4057669441141498</c:v>
                </c:pt>
                <c:pt idx="43">
                  <c:v>0.4035377358490566</c:v>
                </c:pt>
                <c:pt idx="44">
                  <c:v>0.40642829973373906</c:v>
                </c:pt>
                <c:pt idx="45">
                  <c:v>0.42463041182682154</c:v>
                </c:pt>
                <c:pt idx="46">
                  <c:v>0.42802972849992416</c:v>
                </c:pt>
                <c:pt idx="47">
                  <c:v>0.42656017327737916</c:v>
                </c:pt>
                <c:pt idx="48">
                  <c:v>0.39860672689670185</c:v>
                </c:pt>
                <c:pt idx="49">
                  <c:v>0.4124908463228371</c:v>
                </c:pt>
                <c:pt idx="50">
                  <c:v>0.4194628481869345</c:v>
                </c:pt>
                <c:pt idx="51">
                  <c:v>0.416091954022988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060838468903729</c:v>
                </c:pt>
              </c:numCache>
            </c:numRef>
          </c:xVal>
          <c:yVal>
            <c:numRef>
              <c:f>Sheet1!$B$163:$B$164</c:f>
              <c:numCache>
                <c:formatCode>General</c:formatCode>
                <c:ptCount val="2"/>
                <c:pt idx="0">
                  <c:v>0.6048356663073955</c:v>
                </c:pt>
                <c:pt idx="1">
                  <c:v>0.60483566630739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060838468903729</c:v>
                </c:pt>
                <c:pt idx="1">
                  <c:v>-5.060838468903729</c:v>
                </c:pt>
              </c:numCache>
            </c:numRef>
          </c:xVal>
          <c:yVal>
            <c:numRef>
              <c:f>Sheet1!$B$167:$B$168</c:f>
              <c:numCache>
                <c:formatCode>General</c:formatCode>
                <c:ptCount val="2"/>
                <c:pt idx="0">
                  <c:v>0.60483566630739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93293221805111</c:v>
                </c:pt>
              </c:numCache>
            </c:numRef>
          </c:xVal>
          <c:yVal>
            <c:numRef>
              <c:f>Sheet1!$B$171:$B$172</c:f>
              <c:numCache>
                <c:formatCode>General</c:formatCode>
                <c:ptCount val="2"/>
                <c:pt idx="0">
                  <c:v>0.4223042044757715</c:v>
                </c:pt>
                <c:pt idx="1">
                  <c:v>0.422304204475771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93293221805111</c:v>
                </c:pt>
                <c:pt idx="1">
                  <c:v>0.8593293221805111</c:v>
                </c:pt>
              </c:numCache>
            </c:numRef>
          </c:xVal>
          <c:yVal>
            <c:numRef>
              <c:f>Sheet1!$B$175:$B$176</c:f>
              <c:numCache>
                <c:formatCode>General</c:formatCode>
                <c:ptCount val="2"/>
                <c:pt idx="0">
                  <c:v>0.42230420447577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137152676438374</c:v>
                </c:pt>
              </c:numCache>
            </c:numRef>
          </c:xVal>
          <c:yVal>
            <c:numRef>
              <c:f>Sheet1!$B$179:$B$180</c:f>
              <c:numCache>
                <c:formatCode>General</c:formatCode>
                <c:ptCount val="2"/>
                <c:pt idx="0">
                  <c:v>0.41137772621354707</c:v>
                </c:pt>
                <c:pt idx="1">
                  <c:v>0.411377726213547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137152676438374</c:v>
                </c:pt>
                <c:pt idx="1">
                  <c:v>1.2137152676438374</c:v>
                </c:pt>
              </c:numCache>
            </c:numRef>
          </c:xVal>
          <c:yVal>
            <c:numRef>
              <c:f>Sheet1!$B$183:$B$184</c:f>
              <c:numCache>
                <c:formatCode>General</c:formatCode>
                <c:ptCount val="2"/>
                <c:pt idx="0">
                  <c:v>0.411377726213547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59889130553524</c:v>
                </c:pt>
                <c:pt idx="1">
                  <c:v>1.2001120726246366</c:v>
                </c:pt>
                <c:pt idx="2">
                  <c:v>1.2103625815787065</c:v>
                </c:pt>
                <c:pt idx="3">
                  <c:v>1.1175200517201955</c:v>
                </c:pt>
                <c:pt idx="4">
                  <c:v>1.322216406342152</c:v>
                </c:pt>
                <c:pt idx="5">
                  <c:v>1.1785965309790054</c:v>
                </c:pt>
                <c:pt idx="6">
                  <c:v>1.0867842138194361</c:v>
                </c:pt>
                <c:pt idx="7">
                  <c:v>1.2935812711127908</c:v>
                </c:pt>
                <c:pt idx="8">
                  <c:v>1.1482726594957573</c:v>
                </c:pt>
                <c:pt idx="9">
                  <c:v>1.0299373302284833</c:v>
                </c:pt>
                <c:pt idx="10">
                  <c:v>1.1882245772522673</c:v>
                </c:pt>
                <c:pt idx="11">
                  <c:v>1.046403840607223</c:v>
                </c:pt>
                <c:pt idx="12">
                  <c:v>1.009661624686287</c:v>
                </c:pt>
                <c:pt idx="13">
                  <c:v>1.0981836693088276</c:v>
                </c:pt>
                <c:pt idx="14">
                  <c:v>1.1169711198428292</c:v>
                </c:pt>
                <c:pt idx="15">
                  <c:v>1.141030543205724</c:v>
                </c:pt>
                <c:pt idx="16">
                  <c:v>1.1073167912672568</c:v>
                </c:pt>
                <c:pt idx="17">
                  <c:v>1.3107934096773473</c:v>
                </c:pt>
                <c:pt idx="18">
                  <c:v>1.0864227443797612</c:v>
                </c:pt>
                <c:pt idx="19">
                  <c:v>1.1760226231557276</c:v>
                </c:pt>
                <c:pt idx="20">
                  <c:v>1.0316430990336167</c:v>
                </c:pt>
                <c:pt idx="21">
                  <c:v>1.269293258125168</c:v>
                </c:pt>
                <c:pt idx="22">
                  <c:v>1.0667270118114582</c:v>
                </c:pt>
                <c:pt idx="23">
                  <c:v>0.9930110459622072</c:v>
                </c:pt>
                <c:pt idx="24">
                  <c:v>1.145339525569684</c:v>
                </c:pt>
                <c:pt idx="25">
                  <c:v>1.1702504152641329</c:v>
                </c:pt>
                <c:pt idx="26">
                  <c:v>1.064562288374749</c:v>
                </c:pt>
                <c:pt idx="27">
                  <c:v>1.0415264862801068</c:v>
                </c:pt>
                <c:pt idx="28">
                  <c:v>1.0445972719522592</c:v>
                </c:pt>
                <c:pt idx="29">
                  <c:v>1.0446064868647094</c:v>
                </c:pt>
                <c:pt idx="30">
                  <c:v>0.9620609106596377</c:v>
                </c:pt>
                <c:pt idx="31">
                  <c:v>1.373380040332762</c:v>
                </c:pt>
                <c:pt idx="32">
                  <c:v>1.0396192375714586</c:v>
                </c:pt>
                <c:pt idx="33">
                  <c:v>1.0226497256226257</c:v>
                </c:pt>
                <c:pt idx="34">
                  <c:v>1.102722003350994</c:v>
                </c:pt>
                <c:pt idx="35">
                  <c:v>1.293884708467958</c:v>
                </c:pt>
                <c:pt idx="36">
                  <c:v>1.087046402404659</c:v>
                </c:pt>
                <c:pt idx="37">
                  <c:v>1.2586014066705935</c:v>
                </c:pt>
                <c:pt idx="38">
                  <c:v>1.152332907346065</c:v>
                </c:pt>
                <c:pt idx="39">
                  <c:v>1.1559344795539033</c:v>
                </c:pt>
                <c:pt idx="40">
                  <c:v>1.1400524450706189</c:v>
                </c:pt>
                <c:pt idx="41">
                  <c:v>1.102587420533028</c:v>
                </c:pt>
                <c:pt idx="42">
                  <c:v>1.0330536888179047</c:v>
                </c:pt>
                <c:pt idx="43">
                  <c:v>1.05446227472064</c:v>
                </c:pt>
                <c:pt idx="44">
                  <c:v>0.9765736217190922</c:v>
                </c:pt>
                <c:pt idx="45">
                  <c:v>1.002996587430781</c:v>
                </c:pt>
                <c:pt idx="46">
                  <c:v>0.9639690783970789</c:v>
                </c:pt>
                <c:pt idx="47">
                  <c:v>0.9069338663925147</c:v>
                </c:pt>
                <c:pt idx="48">
                  <c:v>1.0093523420772923</c:v>
                </c:pt>
                <c:pt idx="49">
                  <c:v>0.9184498498727911</c:v>
                </c:pt>
                <c:pt idx="50">
                  <c:v>0.9430017693312145</c:v>
                </c:pt>
                <c:pt idx="51">
                  <c:v>0.9265707388138147</c:v>
                </c:pt>
                <c:pt idx="52">
                  <c:v>0.8593293221805111</c:v>
                </c:pt>
                <c:pt idx="53">
                  <c:v>-5.060838468903729</c:v>
                </c:pt>
                <c:pt idx="54">
                  <c:v>1.2137152676438374</c:v>
                </c:pt>
              </c:numCache>
            </c:numRef>
          </c:xVal>
          <c:yVal>
            <c:numRef>
              <c:f>Sheet1!$B$187:$B$241</c:f>
              <c:numCache>
                <c:formatCode>General</c:formatCode>
                <c:ptCount val="55"/>
                <c:pt idx="0">
                  <c:v>0.41303730138684547</c:v>
                </c:pt>
                <c:pt idx="1">
                  <c:v>0.4117971418720314</c:v>
                </c:pt>
                <c:pt idx="2">
                  <c:v>0.4114810967108246</c:v>
                </c:pt>
                <c:pt idx="3">
                  <c:v>0.4143436308979032</c:v>
                </c:pt>
                <c:pt idx="4">
                  <c:v>0.408032403554479</c:v>
                </c:pt>
                <c:pt idx="5">
                  <c:v>0.41246051213572404</c:v>
                </c:pt>
                <c:pt idx="6">
                  <c:v>0.4152912826572156</c:v>
                </c:pt>
                <c:pt idx="7">
                  <c:v>0.4089152861479476</c:v>
                </c:pt>
                <c:pt idx="8">
                  <c:v>0.4133954620874074</c:v>
                </c:pt>
                <c:pt idx="9">
                  <c:v>0.41704399391956454</c:v>
                </c:pt>
                <c:pt idx="10">
                  <c:v>0.41216365883310524</c:v>
                </c:pt>
                <c:pt idx="11">
                  <c:v>0.4165362961115356</c:v>
                </c:pt>
                <c:pt idx="12">
                  <c:v>0.4176691373788189</c:v>
                </c:pt>
                <c:pt idx="13">
                  <c:v>0.41493981301176114</c:v>
                </c:pt>
                <c:pt idx="14">
                  <c:v>0.4143605556442208</c:v>
                </c:pt>
                <c:pt idx="15">
                  <c:v>0.4136187520548244</c:v>
                </c:pt>
                <c:pt idx="16">
                  <c:v>0.41465821928655133</c:v>
                </c:pt>
                <c:pt idx="17">
                  <c:v>0.40838459902482777</c:v>
                </c:pt>
                <c:pt idx="18">
                  <c:v>0.4153024275347866</c:v>
                </c:pt>
                <c:pt idx="19">
                  <c:v>0.41253987123063185</c:v>
                </c:pt>
                <c:pt idx="20">
                  <c:v>0.41699140141128854</c:v>
                </c:pt>
                <c:pt idx="21">
                  <c:v>0.4096641376454157</c:v>
                </c:pt>
                <c:pt idx="22">
                  <c:v>0.4159096891841863</c:v>
                </c:pt>
                <c:pt idx="23">
                  <c:v>0.4181825104084526</c:v>
                </c:pt>
                <c:pt idx="24">
                  <c:v>0.413485896893002</c:v>
                </c:pt>
                <c:pt idx="25">
                  <c:v>0.41271784077163637</c:v>
                </c:pt>
                <c:pt idx="26">
                  <c:v>0.41597643224744185</c:v>
                </c:pt>
                <c:pt idx="27">
                  <c:v>0.41668667539918686</c:v>
                </c:pt>
                <c:pt idx="28">
                  <c:v>0.4165919964952285</c:v>
                </c:pt>
                <c:pt idx="29">
                  <c:v>0.41659171237972714</c:v>
                </c:pt>
                <c:pt idx="30">
                  <c:v>0.41913676941597133</c:v>
                </c:pt>
                <c:pt idx="31">
                  <c:v>0.40645491905834885</c:v>
                </c:pt>
                <c:pt idx="32">
                  <c:v>0.4167454799647248</c:v>
                </c:pt>
                <c:pt idx="33">
                  <c:v>0.4172686863892545</c:v>
                </c:pt>
                <c:pt idx="34">
                  <c:v>0.41479988644612487</c:v>
                </c:pt>
                <c:pt idx="35">
                  <c:v>0.40890593052392343</c:v>
                </c:pt>
                <c:pt idx="36">
                  <c:v>0.4152831988211783</c:v>
                </c:pt>
                <c:pt idx="37">
                  <c:v>0.4099937903418527</c:v>
                </c:pt>
                <c:pt idx="38">
                  <c:v>0.4132702759437593</c:v>
                </c:pt>
                <c:pt idx="39">
                  <c:v>0.4131592317532587</c:v>
                </c:pt>
                <c:pt idx="40">
                  <c:v>0.41364890891671</c:v>
                </c:pt>
                <c:pt idx="41">
                  <c:v>0.41480403592285725</c:v>
                </c:pt>
                <c:pt idx="42">
                  <c:v>0.4169479099048892</c:v>
                </c:pt>
                <c:pt idx="43">
                  <c:v>0.4162878373159908</c:v>
                </c:pt>
                <c:pt idx="44">
                  <c:v>0.41868931142857924</c:v>
                </c:pt>
                <c:pt idx="45">
                  <c:v>0.41787463476273456</c:v>
                </c:pt>
                <c:pt idx="46">
                  <c:v>0.419077936514806</c:v>
                </c:pt>
                <c:pt idx="47">
                  <c:v>0.42083645434579525</c:v>
                </c:pt>
                <c:pt idx="48">
                  <c:v>0.41767867322454677</c:v>
                </c:pt>
                <c:pt idx="49">
                  <c:v>0.4204813918926247</c:v>
                </c:pt>
                <c:pt idx="50">
                  <c:v>0.4197244035930249</c:v>
                </c:pt>
                <c:pt idx="51">
                  <c:v>0.4202310074808839</c:v>
                </c:pt>
                <c:pt idx="52">
                  <c:v>0.4223042044757715</c:v>
                </c:pt>
                <c:pt idx="53">
                  <c:v>0.6048356663073955</c:v>
                </c:pt>
                <c:pt idx="54">
                  <c:v>0.411377726213547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38046511627906"/>
          <c:min val="0.276354525524585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4.6747</c:v>
                </c:pt>
                <c:pt idx="1">
                  <c:v>873.2345</c:v>
                </c:pt>
                <c:pt idx="2">
                  <c:v>944.4559</c:v>
                </c:pt>
                <c:pt idx="3">
                  <c:v>964.3921</c:v>
                </c:pt>
                <c:pt idx="4">
                  <c:v>983.3419</c:v>
                </c:pt>
                <c:pt idx="5">
                  <c:v>946.3934</c:v>
                </c:pt>
                <c:pt idx="6">
                  <c:v>884.2841</c:v>
                </c:pt>
                <c:pt idx="7">
                  <c:v>920.7571</c:v>
                </c:pt>
                <c:pt idx="8">
                  <c:v>927.9735</c:v>
                </c:pt>
                <c:pt idx="9">
                  <c:v>897.3015</c:v>
                </c:pt>
                <c:pt idx="10">
                  <c:v>872.3361</c:v>
                </c:pt>
                <c:pt idx="11">
                  <c:v>927.9977</c:v>
                </c:pt>
                <c:pt idx="12">
                  <c:v>922.6916</c:v>
                </c:pt>
                <c:pt idx="13">
                  <c:v>914.3705</c:v>
                </c:pt>
                <c:pt idx="14">
                  <c:v>906.8643</c:v>
                </c:pt>
                <c:pt idx="15">
                  <c:v>908.7989</c:v>
                </c:pt>
                <c:pt idx="16">
                  <c:v>916.1759</c:v>
                </c:pt>
                <c:pt idx="17">
                  <c:v>922.4381</c:v>
                </c:pt>
                <c:pt idx="18">
                  <c:v>969.5879</c:v>
                </c:pt>
                <c:pt idx="19">
                  <c:v>981.169</c:v>
                </c:pt>
                <c:pt idx="20">
                  <c:v>976.6052</c:v>
                </c:pt>
                <c:pt idx="21">
                  <c:v>987.6091</c:v>
                </c:pt>
                <c:pt idx="22">
                  <c:v>956.8037</c:v>
                </c:pt>
                <c:pt idx="23">
                  <c:v>946.0401</c:v>
                </c:pt>
                <c:pt idx="24">
                  <c:v>937.031</c:v>
                </c:pt>
                <c:pt idx="25">
                  <c:v>925.3525</c:v>
                </c:pt>
                <c:pt idx="26">
                  <c:v>946.6767</c:v>
                </c:pt>
                <c:pt idx="27">
                  <c:v>958.2145</c:v>
                </c:pt>
                <c:pt idx="28">
                  <c:v>960.181</c:v>
                </c:pt>
                <c:pt idx="29">
                  <c:v>875.6634</c:v>
                </c:pt>
                <c:pt idx="30">
                  <c:v>877.4457</c:v>
                </c:pt>
                <c:pt idx="31">
                  <c:v>942.4082</c:v>
                </c:pt>
                <c:pt idx="32">
                  <c:v>908.0839</c:v>
                </c:pt>
                <c:pt idx="33">
                  <c:v>885.4845</c:v>
                </c:pt>
                <c:pt idx="34">
                  <c:v>925.6587</c:v>
                </c:pt>
                <c:pt idx="35">
                  <c:v>994.6321</c:v>
                </c:pt>
                <c:pt idx="36">
                  <c:v>1044.3993</c:v>
                </c:pt>
                <c:pt idx="37">
                  <c:v>1044.0913</c:v>
                </c:pt>
                <c:pt idx="38">
                  <c:v>1074.7959</c:v>
                </c:pt>
                <c:pt idx="39">
                  <c:v>1071.3565</c:v>
                </c:pt>
                <c:pt idx="40">
                  <c:v>1097.5835</c:v>
                </c:pt>
                <c:pt idx="41">
                  <c:v>1139.2722</c:v>
                </c:pt>
                <c:pt idx="42">
                  <c:v>1197.9273</c:v>
                </c:pt>
                <c:pt idx="43">
                  <c:v>1189.0713</c:v>
                </c:pt>
                <c:pt idx="44">
                  <c:v>1071.2777</c:v>
                </c:pt>
                <c:pt idx="45">
                  <c:v>1013.3726</c:v>
                </c:pt>
                <c:pt idx="46">
                  <c:v>1009.8745</c:v>
                </c:pt>
                <c:pt idx="47">
                  <c:v>992.1066</c:v>
                </c:pt>
                <c:pt idx="48">
                  <c:v>987.4796</c:v>
                </c:pt>
                <c:pt idx="49">
                  <c:v>960.1606</c:v>
                </c:pt>
                <c:pt idx="50">
                  <c:v>961.9215</c:v>
                </c:pt>
                <c:pt idx="51">
                  <c:v>968.5223</c:v>
                </c:pt>
                <c:pt idx="52">
                  <c:v>1003.1715</c:v>
                </c:pt>
                <c:pt idx="53">
                  <c:v>1057.0923</c:v>
                </c:pt>
                <c:pt idx="54">
                  <c:v>1044.77</c:v>
                </c:pt>
                <c:pt idx="55">
                  <c:v>1050.555</c:v>
                </c:pt>
                <c:pt idx="56">
                  <c:v>1073.7634</c:v>
                </c:pt>
                <c:pt idx="57">
                  <c:v>1063.2893</c:v>
                </c:pt>
                <c:pt idx="58">
                  <c:v>1029.9457</c:v>
                </c:pt>
                <c:pt idx="59">
                  <c:v>1036.1278</c:v>
                </c:pt>
                <c:pt idx="60">
                  <c:v>1085.9117</c:v>
                </c:pt>
                <c:pt idx="61">
                  <c:v>1084.3718</c:v>
                </c:pt>
                <c:pt idx="62">
                  <c:v>1030.574</c:v>
                </c:pt>
                <c:pt idx="63">
                  <c:v>1062.6529</c:v>
                </c:pt>
                <c:pt idx="64">
                  <c:v>1053.3802</c:v>
                </c:pt>
                <c:pt idx="65">
                  <c:v>1052.3124</c:v>
                </c:pt>
                <c:pt idx="66">
                  <c:v>987.3693</c:v>
                </c:pt>
                <c:pt idx="67">
                  <c:v>976.83</c:v>
                </c:pt>
                <c:pt idx="68">
                  <c:v>954.779</c:v>
                </c:pt>
                <c:pt idx="69">
                  <c:v>954.3742</c:v>
                </c:pt>
                <c:pt idx="70">
                  <c:v>937.7985</c:v>
                </c:pt>
                <c:pt idx="71">
                  <c:v>1003.5908</c:v>
                </c:pt>
                <c:pt idx="72">
                  <c:v>990.9622</c:v>
                </c:pt>
                <c:pt idx="73">
                  <c:v>1044.6282</c:v>
                </c:pt>
                <c:pt idx="74">
                  <c:v>996.2414</c:v>
                </c:pt>
                <c:pt idx="75">
                  <c:v>1022.0231</c:v>
                </c:pt>
                <c:pt idx="76">
                  <c:v>1055.5865</c:v>
                </c:pt>
                <c:pt idx="77">
                  <c:v>1048.2287</c:v>
                </c:pt>
                <c:pt idx="78">
                  <c:v>1106.9083</c:v>
                </c:pt>
                <c:pt idx="79">
                  <c:v>667.8491</c:v>
                </c:pt>
                <c:pt idx="80">
                  <c:v>672.2</c:v>
                </c:pt>
                <c:pt idx="81">
                  <c:v>889.1177</c:v>
                </c:pt>
                <c:pt idx="82">
                  <c:v>807.2941</c:v>
                </c:pt>
                <c:pt idx="83">
                  <c:v>916.839</c:v>
                </c:pt>
                <c:pt idx="84">
                  <c:v>936.3079</c:v>
                </c:pt>
                <c:pt idx="85">
                  <c:v>973.6623</c:v>
                </c:pt>
                <c:pt idx="86">
                  <c:v>1114.4921</c:v>
                </c:pt>
                <c:pt idx="87">
                  <c:v>1168.8906</c:v>
                </c:pt>
                <c:pt idx="88">
                  <c:v>1108.883</c:v>
                </c:pt>
                <c:pt idx="89">
                  <c:v>1026.0949</c:v>
                </c:pt>
                <c:pt idx="90">
                  <c:v>1151.4884</c:v>
                </c:pt>
                <c:pt idx="91">
                  <c:v>1052.1839</c:v>
                </c:pt>
                <c:pt idx="92">
                  <c:v>1154.6825</c:v>
                </c:pt>
                <c:pt idx="93">
                  <c:v>1208.7421</c:v>
                </c:pt>
                <c:pt idx="94">
                  <c:v>1147.6851</c:v>
                </c:pt>
                <c:pt idx="95">
                  <c:v>1182.6595</c:v>
                </c:pt>
                <c:pt idx="96">
                  <c:v>1163.5848</c:v>
                </c:pt>
                <c:pt idx="97">
                  <c:v>1146.7791</c:v>
                </c:pt>
                <c:pt idx="98">
                  <c:v>1146.8242</c:v>
                </c:pt>
                <c:pt idx="99">
                  <c:v>1068.0963</c:v>
                </c:pt>
                <c:pt idx="100">
                  <c:v>1103.9488</c:v>
                </c:pt>
                <c:pt idx="101">
                  <c:v>1081.941</c:v>
                </c:pt>
                <c:pt idx="102">
                  <c:v>1097.0865</c:v>
                </c:pt>
                <c:pt idx="103">
                  <c:v>1022.4734</c:v>
                </c:pt>
                <c:pt idx="104">
                  <c:v>1105.4056</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3.9756561239888</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3.9756561239888</c:v>
                </c:pt>
                <c:pt idx="1">
                  <c:v>963.9756561239888</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7200323217953</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7200323217953</c:v>
                </c:pt>
                <c:pt idx="1">
                  <c:v>1134.7200323217953</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8520505321808</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8520505321808</c:v>
                </c:pt>
                <c:pt idx="1">
                  <c:v>1266.8520505321808</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pt idx="52">
                  <c:v>1134.7200323217953</c:v>
                </c:pt>
                <c:pt idx="53">
                  <c:v>963.9756561239888</c:v>
                </c:pt>
                <c:pt idx="54">
                  <c:v>1266.8520505321808</c:v>
                </c:pt>
              </c:numCache>
            </c:numRef>
          </c:xVal>
          <c:yVal>
            <c:numRef>
              <c:f>Sheet1!$B$187:$B$241</c:f>
              <c:numCache>
                <c:formatCode>General</c:formatCode>
                <c:ptCount val="55"/>
                <c:pt idx="0">
                  <c:v>0.21384703597534188</c:v>
                </c:pt>
                <c:pt idx="1">
                  <c:v>0.21832730588660762</c:v>
                </c:pt>
                <c:pt idx="2">
                  <c:v>0.21914278414380614</c:v>
                </c:pt>
                <c:pt idx="3">
                  <c:v>0.21627475293470136</c:v>
                </c:pt>
                <c:pt idx="4">
                  <c:v>0.21588350330735775</c:v>
                </c:pt>
                <c:pt idx="5">
                  <c:v>0.21405474241261108</c:v>
                </c:pt>
                <c:pt idx="6">
                  <c:v>0.22287560891749653</c:v>
                </c:pt>
                <c:pt idx="7">
                  <c:v>0.21667098840786383</c:v>
                </c:pt>
                <c:pt idx="8">
                  <c:v>0.20631450924465916</c:v>
                </c:pt>
                <c:pt idx="9">
                  <c:v>0.21283045265215392</c:v>
                </c:pt>
                <c:pt idx="10">
                  <c:v>0.21007596781444884</c:v>
                </c:pt>
                <c:pt idx="11">
                  <c:v>0.2297206181490355</c:v>
                </c:pt>
                <c:pt idx="12">
                  <c:v>0.22221497041955496</c:v>
                </c:pt>
                <c:pt idx="13">
                  <c:v>0.21633342714820644</c:v>
                </c:pt>
                <c:pt idx="14">
                  <c:v>0.21611079102736797</c:v>
                </c:pt>
                <c:pt idx="15">
                  <c:v>0.21020291190561877</c:v>
                </c:pt>
                <c:pt idx="16">
                  <c:v>0.20627577841442946</c:v>
                </c:pt>
                <c:pt idx="17">
                  <c:v>0.21299863442340658</c:v>
                </c:pt>
                <c:pt idx="18">
                  <c:v>0.20696932628016418</c:v>
                </c:pt>
                <c:pt idx="19">
                  <c:v>0.19407332465415386</c:v>
                </c:pt>
                <c:pt idx="20">
                  <c:v>0.19774599895831452</c:v>
                </c:pt>
                <c:pt idx="21">
                  <c:v>0.19659084254602713</c:v>
                </c:pt>
                <c:pt idx="22">
                  <c:v>0.19805308806531363</c:v>
                </c:pt>
                <c:pt idx="23">
                  <c:v>0.20324106954398383</c:v>
                </c:pt>
                <c:pt idx="24">
                  <c:v>0.20581423950259495</c:v>
                </c:pt>
                <c:pt idx="25">
                  <c:v>0.2133980730936035</c:v>
                </c:pt>
                <c:pt idx="26">
                  <c:v>0.2028167434255235</c:v>
                </c:pt>
                <c:pt idx="27">
                  <c:v>0.20087929666270332</c:v>
                </c:pt>
                <c:pt idx="28">
                  <c:v>0.2045829723433801</c:v>
                </c:pt>
                <c:pt idx="29">
                  <c:v>0.20491720506351038</c:v>
                </c:pt>
                <c:pt idx="30">
                  <c:v>0.20092543662694315</c:v>
                </c:pt>
                <c:pt idx="31">
                  <c:v>0.2088364559046062</c:v>
                </c:pt>
                <c:pt idx="32">
                  <c:v>0.20953381975289498</c:v>
                </c:pt>
                <c:pt idx="33">
                  <c:v>0.20263318630850544</c:v>
                </c:pt>
                <c:pt idx="34">
                  <c:v>0.1974409571120287</c:v>
                </c:pt>
                <c:pt idx="35">
                  <c:v>0.20035940385706716</c:v>
                </c:pt>
                <c:pt idx="36">
                  <c:v>0.19840784910035172</c:v>
                </c:pt>
                <c:pt idx="37">
                  <c:v>0.18723089190718603</c:v>
                </c:pt>
                <c:pt idx="38">
                  <c:v>0.19263954580764311</c:v>
                </c:pt>
                <c:pt idx="39">
                  <c:v>0.19836183447860453</c:v>
                </c:pt>
                <c:pt idx="40">
                  <c:v>0.18738297413160465</c:v>
                </c:pt>
                <c:pt idx="41">
                  <c:v>0.18230802372741997</c:v>
                </c:pt>
                <c:pt idx="42">
                  <c:v>0.18275718158636914</c:v>
                </c:pt>
                <c:pt idx="43">
                  <c:v>0.18681376601858143</c:v>
                </c:pt>
                <c:pt idx="44">
                  <c:v>0.19903938028611057</c:v>
                </c:pt>
                <c:pt idx="45">
                  <c:v>0.207777492891958</c:v>
                </c:pt>
                <c:pt idx="46">
                  <c:v>0.21244630576606063</c:v>
                </c:pt>
                <c:pt idx="47">
                  <c:v>0.21518875772447102</c:v>
                </c:pt>
                <c:pt idx="48">
                  <c:v>0.21820960928600674</c:v>
                </c:pt>
                <c:pt idx="49">
                  <c:v>0.2103660660502217</c:v>
                </c:pt>
                <c:pt idx="50">
                  <c:v>0.22582112964094794</c:v>
                </c:pt>
                <c:pt idx="51">
                  <c:v>0.23253533701793203</c:v>
                </c:pt>
                <c:pt idx="52">
                  <c:v>0.21686084992890722</c:v>
                </c:pt>
                <c:pt idx="53">
                  <c:v>0.24064032295009066</c:v>
                </c:pt>
                <c:pt idx="54">
                  <c:v>0.19845889823810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53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8.9756</c:v>
                </c:pt>
                <c:pt idx="1">
                  <c:v>869.4415</c:v>
                </c:pt>
                <c:pt idx="2">
                  <c:v>903.8164</c:v>
                </c:pt>
                <c:pt idx="3">
                  <c:v>915.7063</c:v>
                </c:pt>
                <c:pt idx="4">
                  <c:v>919.9283</c:v>
                </c:pt>
                <c:pt idx="5">
                  <c:v>913.4524</c:v>
                </c:pt>
                <c:pt idx="6">
                  <c:v>864.1976</c:v>
                </c:pt>
                <c:pt idx="7">
                  <c:v>875.0361</c:v>
                </c:pt>
                <c:pt idx="8">
                  <c:v>883.3388</c:v>
                </c:pt>
                <c:pt idx="9">
                  <c:v>845.6698</c:v>
                </c:pt>
                <c:pt idx="10">
                  <c:v>845.0714</c:v>
                </c:pt>
                <c:pt idx="11">
                  <c:v>921.5779</c:v>
                </c:pt>
                <c:pt idx="12">
                  <c:v>928.1804</c:v>
                </c:pt>
                <c:pt idx="13">
                  <c:v>933.6804</c:v>
                </c:pt>
                <c:pt idx="14">
                  <c:v>927.8346</c:v>
                </c:pt>
                <c:pt idx="15">
                  <c:v>955.0684</c:v>
                </c:pt>
                <c:pt idx="16">
                  <c:v>983.1428</c:v>
                </c:pt>
                <c:pt idx="17">
                  <c:v>1019.3209</c:v>
                </c:pt>
                <c:pt idx="18">
                  <c:v>1027.6571</c:v>
                </c:pt>
                <c:pt idx="19">
                  <c:v>1081.8282</c:v>
                </c:pt>
                <c:pt idx="20">
                  <c:v>1110.8736</c:v>
                </c:pt>
                <c:pt idx="21">
                  <c:v>1108.7381</c:v>
                </c:pt>
                <c:pt idx="22">
                  <c:v>1062.8469</c:v>
                </c:pt>
                <c:pt idx="23">
                  <c:v>1057.7349</c:v>
                </c:pt>
                <c:pt idx="24">
                  <c:v>1051.9648</c:v>
                </c:pt>
                <c:pt idx="25">
                  <c:v>1027.8296</c:v>
                </c:pt>
                <c:pt idx="26">
                  <c:v>1012.2396</c:v>
                </c:pt>
                <c:pt idx="27">
                  <c:v>1022.7733</c:v>
                </c:pt>
                <c:pt idx="28">
                  <c:v>1029.4997</c:v>
                </c:pt>
                <c:pt idx="29">
                  <c:v>1009.8433</c:v>
                </c:pt>
                <c:pt idx="30">
                  <c:v>1006.2465</c:v>
                </c:pt>
                <c:pt idx="31">
                  <c:v>986.9375</c:v>
                </c:pt>
                <c:pt idx="32">
                  <c:v>977.9447</c:v>
                </c:pt>
                <c:pt idx="33">
                  <c:v>927.9839</c:v>
                </c:pt>
                <c:pt idx="34">
                  <c:v>953.3684</c:v>
                </c:pt>
                <c:pt idx="35">
                  <c:v>969.2193</c:v>
                </c:pt>
                <c:pt idx="36">
                  <c:v>1073.7153</c:v>
                </c:pt>
                <c:pt idx="37">
                  <c:v>1080.219</c:v>
                </c:pt>
                <c:pt idx="38">
                  <c:v>1147.6501</c:v>
                </c:pt>
                <c:pt idx="39">
                  <c:v>1159.8183</c:v>
                </c:pt>
                <c:pt idx="40">
                  <c:v>1140.4288</c:v>
                </c:pt>
                <c:pt idx="41">
                  <c:v>1180.6357</c:v>
                </c:pt>
                <c:pt idx="42">
                  <c:v>1192.4707</c:v>
                </c:pt>
                <c:pt idx="43">
                  <c:v>1191.4455</c:v>
                </c:pt>
                <c:pt idx="44">
                  <c:v>1112.5404</c:v>
                </c:pt>
                <c:pt idx="45">
                  <c:v>1076.0806</c:v>
                </c:pt>
                <c:pt idx="46">
                  <c:v>1081.1529</c:v>
                </c:pt>
                <c:pt idx="47">
                  <c:v>1068.5882</c:v>
                </c:pt>
                <c:pt idx="48">
                  <c:v>1073.7997</c:v>
                </c:pt>
                <c:pt idx="49">
                  <c:v>1034.9479</c:v>
                </c:pt>
                <c:pt idx="50">
                  <c:v>1032.916</c:v>
                </c:pt>
                <c:pt idx="51">
                  <c:v>1050.0598</c:v>
                </c:pt>
                <c:pt idx="52">
                  <c:v>1050.1182</c:v>
                </c:pt>
                <c:pt idx="53">
                  <c:v>1126.6493</c:v>
                </c:pt>
                <c:pt idx="54">
                  <c:v>1114.5315</c:v>
                </c:pt>
                <c:pt idx="55">
                  <c:v>1135.6243</c:v>
                </c:pt>
                <c:pt idx="56">
                  <c:v>1154.7109</c:v>
                </c:pt>
                <c:pt idx="57">
                  <c:v>1113.4765</c:v>
                </c:pt>
                <c:pt idx="58">
                  <c:v>1107.7257</c:v>
                </c:pt>
                <c:pt idx="59">
                  <c:v>1070.6184</c:v>
                </c:pt>
                <c:pt idx="60">
                  <c:v>1087.5283</c:v>
                </c:pt>
                <c:pt idx="61">
                  <c:v>1134.9755</c:v>
                </c:pt>
                <c:pt idx="62">
                  <c:v>1077.4188</c:v>
                </c:pt>
                <c:pt idx="63">
                  <c:v>1099.0168</c:v>
                </c:pt>
                <c:pt idx="64">
                  <c:v>1123.0886</c:v>
                </c:pt>
                <c:pt idx="65">
                  <c:v>1118.5543</c:v>
                </c:pt>
                <c:pt idx="66">
                  <c:v>1127.6669</c:v>
                </c:pt>
                <c:pt idx="67">
                  <c:v>1149.2657</c:v>
                </c:pt>
                <c:pt idx="68">
                  <c:v>1184.7989</c:v>
                </c:pt>
                <c:pt idx="69">
                  <c:v>1215.9313</c:v>
                </c:pt>
                <c:pt idx="70">
                  <c:v>1213.5624</c:v>
                </c:pt>
                <c:pt idx="71">
                  <c:v>1265.1672</c:v>
                </c:pt>
                <c:pt idx="72">
                  <c:v>1317.143</c:v>
                </c:pt>
                <c:pt idx="73">
                  <c:v>1320.6389</c:v>
                </c:pt>
                <c:pt idx="74">
                  <c:v>1302.8938</c:v>
                </c:pt>
                <c:pt idx="75">
                  <c:v>1280.2596</c:v>
                </c:pt>
                <c:pt idx="76">
                  <c:v>1267.5377</c:v>
                </c:pt>
                <c:pt idx="77">
                  <c:v>1279.0988</c:v>
                </c:pt>
                <c:pt idx="78">
                  <c:v>1319.7434</c:v>
                </c:pt>
                <c:pt idx="79">
                  <c:v>1305.7305</c:v>
                </c:pt>
                <c:pt idx="80">
                  <c:v>1279.097</c:v>
                </c:pt>
                <c:pt idx="81">
                  <c:v>1228.9312</c:v>
                </c:pt>
                <c:pt idx="82">
                  <c:v>1249.4844</c:v>
                </c:pt>
                <c:pt idx="83">
                  <c:v>1199.9114</c:v>
                </c:pt>
                <c:pt idx="84">
                  <c:v>1215.6974</c:v>
                </c:pt>
                <c:pt idx="85">
                  <c:v>1198.2639</c:v>
                </c:pt>
                <c:pt idx="86">
                  <c:v>1218.5729</c:v>
                </c:pt>
                <c:pt idx="87">
                  <c:v>1212.2128</c:v>
                </c:pt>
                <c:pt idx="88">
                  <c:v>1261.2919</c:v>
                </c:pt>
                <c:pt idx="89">
                  <c:v>1259.7922</c:v>
                </c:pt>
                <c:pt idx="90">
                  <c:v>1332.0207</c:v>
                </c:pt>
                <c:pt idx="91">
                  <c:v>1323.6999</c:v>
                </c:pt>
                <c:pt idx="92">
                  <c:v>1254.1582</c:v>
                </c:pt>
                <c:pt idx="93">
                  <c:v>1291.5039</c:v>
                </c:pt>
                <c:pt idx="94">
                  <c:v>1246.7956</c:v>
                </c:pt>
                <c:pt idx="95">
                  <c:v>1185.1199</c:v>
                </c:pt>
                <c:pt idx="96">
                  <c:v>1195.8817</c:v>
                </c:pt>
                <c:pt idx="97">
                  <c:v>1168.5978</c:v>
                </c:pt>
                <c:pt idx="98">
                  <c:v>1155.4017</c:v>
                </c:pt>
                <c:pt idx="99">
                  <c:v>1111.5309</c:v>
                </c:pt>
                <c:pt idx="100">
                  <c:v>1106.9989</c:v>
                </c:pt>
                <c:pt idx="101">
                  <c:v>1116.0717</c:v>
                </c:pt>
                <c:pt idx="102">
                  <c:v>1130.4962</c:v>
                </c:pt>
                <c:pt idx="103">
                  <c:v>1132.9336</c:v>
                </c:pt>
                <c:pt idx="104">
                  <c:v>1182.2362</c:v>
                </c:pt>
              </c:numCache>
            </c:numRef>
          </c:xVal>
          <c:yVal>
            <c:numRef>
              <c:f>Sheet1!$B$2:$B$106</c:f>
              <c:numCache>
                <c:formatCode>General</c:formatCode>
                <c:ptCount val="105"/>
                <c:pt idx="0">
                  <c:v>0.5445728141491941</c:v>
                </c:pt>
                <c:pt idx="1">
                  <c:v>0.5853899308983218</c:v>
                </c:pt>
                <c:pt idx="2">
                  <c:v>0.6343833780160858</c:v>
                </c:pt>
                <c:pt idx="3">
                  <c:v>0.6448372093023256</c:v>
                </c:pt>
                <c:pt idx="4">
                  <c:v>0.6299345577369643</c:v>
                </c:pt>
                <c:pt idx="5">
                  <c:v>0.5861015654830087</c:v>
                </c:pt>
                <c:pt idx="6">
                  <c:v>0.5931305536568694</c:v>
                </c:pt>
                <c:pt idx="7">
                  <c:v>0.6267709875237893</c:v>
                </c:pt>
                <c:pt idx="8">
                  <c:v>0.5984</c:v>
                </c:pt>
                <c:pt idx="9">
                  <c:v>0.572725824438426</c:v>
                </c:pt>
                <c:pt idx="10">
                  <c:v>0.5489881143591391</c:v>
                </c:pt>
                <c:pt idx="11">
                  <c:v>0.48370883882149046</c:v>
                </c:pt>
                <c:pt idx="12">
                  <c:v>0.4590776226047418</c:v>
                </c:pt>
                <c:pt idx="13">
                  <c:v>0.42577806745967084</c:v>
                </c:pt>
                <c:pt idx="14">
                  <c:v>0.3942703387147832</c:v>
                </c:pt>
                <c:pt idx="15">
                  <c:v>0.40061279203370354</c:v>
                </c:pt>
                <c:pt idx="16">
                  <c:v>0.38252302420218465</c:v>
                </c:pt>
                <c:pt idx="17">
                  <c:v>0.3746327130264447</c:v>
                </c:pt>
                <c:pt idx="18">
                  <c:v>0.3778122575640031</c:v>
                </c:pt>
                <c:pt idx="19">
                  <c:v>0.3786099650904475</c:v>
                </c:pt>
                <c:pt idx="20">
                  <c:v>0.3707057256990679</c:v>
                </c:pt>
                <c:pt idx="21">
                  <c:v>0.42254000680966974</c:v>
                </c:pt>
                <c:pt idx="22">
                  <c:v>0.4876084262701363</c:v>
                </c:pt>
                <c:pt idx="23">
                  <c:v>0.5029335071707953</c:v>
                </c:pt>
                <c:pt idx="24">
                  <c:v>0.5234209731036567</c:v>
                </c:pt>
                <c:pt idx="25">
                  <c:v>0.5259032038173143</c:v>
                </c:pt>
                <c:pt idx="26">
                  <c:v>0.5246385364414281</c:v>
                </c:pt>
                <c:pt idx="27">
                  <c:v>0.506961506961507</c:v>
                </c:pt>
                <c:pt idx="28">
                  <c:v>0.48673621460506705</c:v>
                </c:pt>
                <c:pt idx="29">
                  <c:v>0.4879214228829307</c:v>
                </c:pt>
                <c:pt idx="30">
                  <c:v>0.5009933774834437</c:v>
                </c:pt>
                <c:pt idx="31">
                  <c:v>0.5131539159358935</c:v>
                </c:pt>
                <c:pt idx="32">
                  <c:v>0.5263157894736842</c:v>
                </c:pt>
                <c:pt idx="33">
                  <c:v>0.541515371580731</c:v>
                </c:pt>
                <c:pt idx="34">
                  <c:v>0.5145737453429761</c:v>
                </c:pt>
                <c:pt idx="35">
                  <c:v>0.5012802836320662</c:v>
                </c:pt>
                <c:pt idx="36">
                  <c:v>0.452720677146312</c:v>
                </c:pt>
                <c:pt idx="37">
                  <c:v>0.45969738651994496</c:v>
                </c:pt>
                <c:pt idx="38">
                  <c:v>0.4446361806154731</c:v>
                </c:pt>
                <c:pt idx="39">
                  <c:v>0.43071491615180935</c:v>
                </c:pt>
                <c:pt idx="40">
                  <c:v>0.4385014137606032</c:v>
                </c:pt>
                <c:pt idx="41">
                  <c:v>0.41214057507987223</c:v>
                </c:pt>
                <c:pt idx="42">
                  <c:v>0.4084146908414691</c:v>
                </c:pt>
                <c:pt idx="43">
                  <c:v>0.4028985507246377</c:v>
                </c:pt>
                <c:pt idx="44">
                  <c:v>0.4111781361565924</c:v>
                </c:pt>
                <c:pt idx="45">
                  <c:v>0.4258394001955884</c:v>
                </c:pt>
                <c:pt idx="46">
                  <c:v>0.43253968253968256</c:v>
                </c:pt>
                <c:pt idx="47">
                  <c:v>0.4198404673632176</c:v>
                </c:pt>
                <c:pt idx="48">
                  <c:v>0.42434264924756077</c:v>
                </c:pt>
                <c:pt idx="49">
                  <c:v>0.45141562853907136</c:v>
                </c:pt>
                <c:pt idx="50">
                  <c:v>0.4266785435920276</c:v>
                </c:pt>
                <c:pt idx="51">
                  <c:v>0.41721085473806413</c:v>
                </c:pt>
                <c:pt idx="52">
                  <c:v>0.4357021996615905</c:v>
                </c:pt>
                <c:pt idx="53">
                  <c:v>0.433338343604389</c:v>
                </c:pt>
                <c:pt idx="54">
                  <c:v>0.4501677852348993</c:v>
                </c:pt>
                <c:pt idx="55">
                  <c:v>0.4440439409543426</c:v>
                </c:pt>
                <c:pt idx="56">
                  <c:v>0.4605013292821876</c:v>
                </c:pt>
                <c:pt idx="57">
                  <c:v>0.46712586098935505</c:v>
                </c:pt>
                <c:pt idx="58">
                  <c:v>0.4688431511710433</c:v>
                </c:pt>
                <c:pt idx="59">
                  <c:v>0.49812934259754144</c:v>
                </c:pt>
                <c:pt idx="60">
                  <c:v>0.5079043372517228</c:v>
                </c:pt>
                <c:pt idx="61">
                  <c:v>0.48867505551443374</c:v>
                </c:pt>
                <c:pt idx="62">
                  <c:v>0.5133728495012289</c:v>
                </c:pt>
                <c:pt idx="63">
                  <c:v>0.5433663366336634</c:v>
                </c:pt>
                <c:pt idx="64">
                  <c:v>0.4756648268941295</c:v>
                </c:pt>
                <c:pt idx="65">
                  <c:v>0.4322986352689323</c:v>
                </c:pt>
                <c:pt idx="66">
                  <c:v>0.43306767526678375</c:v>
                </c:pt>
                <c:pt idx="67">
                  <c:v>0.4181363903586126</c:v>
                </c:pt>
                <c:pt idx="68">
                  <c:v>0.40692016579563883</c:v>
                </c:pt>
                <c:pt idx="69">
                  <c:v>0.39314104019986373</c:v>
                </c:pt>
                <c:pt idx="70">
                  <c:v>0.3942857142857143</c:v>
                </c:pt>
                <c:pt idx="71">
                  <c:v>0.4007334963325183</c:v>
                </c:pt>
                <c:pt idx="72">
                  <c:v>0.3762204382729442</c:v>
                </c:pt>
                <c:pt idx="73">
                  <c:v>0.39984958636249684</c:v>
                </c:pt>
                <c:pt idx="74">
                  <c:v>0.39501133786848075</c:v>
                </c:pt>
                <c:pt idx="75">
                  <c:v>0.4016200679383329</c:v>
                </c:pt>
                <c:pt idx="76">
                  <c:v>0.40309633027522934</c:v>
                </c:pt>
                <c:pt idx="77">
                  <c:v>0.4044595850108393</c:v>
                </c:pt>
                <c:pt idx="78">
                  <c:v>0.38909710391822827</c:v>
                </c:pt>
                <c:pt idx="79">
                  <c:v>0.38160348042262277</c:v>
                </c:pt>
                <c:pt idx="80">
                  <c:v>0.36264402668283807</c:v>
                </c:pt>
                <c:pt idx="81">
                  <c:v>0.3791374122367101</c:v>
                </c:pt>
                <c:pt idx="82">
                  <c:v>0.37747899159663867</c:v>
                </c:pt>
                <c:pt idx="83">
                  <c:v>0.38260228529303353</c:v>
                </c:pt>
                <c:pt idx="84">
                  <c:v>0.3862550532892319</c:v>
                </c:pt>
                <c:pt idx="85">
                  <c:v>0.4016549968173138</c:v>
                </c:pt>
                <c:pt idx="86">
                  <c:v>0.3846704871060172</c:v>
                </c:pt>
                <c:pt idx="87">
                  <c:v>0.3912073197946887</c:v>
                </c:pt>
                <c:pt idx="88">
                  <c:v>0.37909778649481646</c:v>
                </c:pt>
                <c:pt idx="89">
                  <c:v>0.38899253731343286</c:v>
                </c:pt>
                <c:pt idx="90">
                  <c:v>0.37152</c:v>
                </c:pt>
                <c:pt idx="91">
                  <c:v>0.3454431569057313</c:v>
                </c:pt>
                <c:pt idx="92">
                  <c:v>0.35205640423031725</c:v>
                </c:pt>
                <c:pt idx="93">
                  <c:v>0.34647443117819327</c:v>
                </c:pt>
                <c:pt idx="94">
                  <c:v>0.346163397069779</c:v>
                </c:pt>
                <c:pt idx="95">
                  <c:v>0.3561797752808989</c:v>
                </c:pt>
                <c:pt idx="96">
                  <c:v>0.37006871977602446</c:v>
                </c:pt>
                <c:pt idx="97">
                  <c:v>0.3853261467385326</c:v>
                </c:pt>
                <c:pt idx="98">
                  <c:v>0.3958612761065338</c:v>
                </c:pt>
                <c:pt idx="99">
                  <c:v>0.40179760319573904</c:v>
                </c:pt>
                <c:pt idx="100">
                  <c:v>0.40472353087031987</c:v>
                </c:pt>
                <c:pt idx="101">
                  <c:v>0.4190716558762208</c:v>
                </c:pt>
                <c:pt idx="102">
                  <c:v>0.4056206088992974</c:v>
                </c:pt>
                <c:pt idx="103">
                  <c:v>0.37120245085524634</c:v>
                </c:pt>
                <c:pt idx="104">
                  <c:v>0.36841291917787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3.1467</c:v>
                </c:pt>
                <c:pt idx="1">
                  <c:v>1218.6094</c:v>
                </c:pt>
                <c:pt idx="2">
                  <c:v>1225.0887</c:v>
                </c:pt>
                <c:pt idx="3">
                  <c:v>1222.7853</c:v>
                </c:pt>
                <c:pt idx="4">
                  <c:v>1247.6237</c:v>
                </c:pt>
                <c:pt idx="5">
                  <c:v>1207.8282</c:v>
                </c:pt>
                <c:pt idx="6">
                  <c:v>1105.3817</c:v>
                </c:pt>
                <c:pt idx="7">
                  <c:v>1174.6996</c:v>
                </c:pt>
                <c:pt idx="8">
                  <c:v>1215.9685</c:v>
                </c:pt>
                <c:pt idx="9">
                  <c:v>1159.8218</c:v>
                </c:pt>
                <c:pt idx="10">
                  <c:v>1211.1383</c:v>
                </c:pt>
                <c:pt idx="11">
                  <c:v>1027.4497</c:v>
                </c:pt>
                <c:pt idx="12">
                  <c:v>1083.8452</c:v>
                </c:pt>
                <c:pt idx="13">
                  <c:v>1172.6962</c:v>
                </c:pt>
                <c:pt idx="14">
                  <c:v>1137.0766</c:v>
                </c:pt>
                <c:pt idx="15">
                  <c:v>1173.0498</c:v>
                </c:pt>
                <c:pt idx="16">
                  <c:v>1207.1414</c:v>
                </c:pt>
                <c:pt idx="17">
                  <c:v>1189.267</c:v>
                </c:pt>
                <c:pt idx="18">
                  <c:v>1184.6434</c:v>
                </c:pt>
                <c:pt idx="19">
                  <c:v>1260.5703</c:v>
                </c:pt>
                <c:pt idx="20">
                  <c:v>1249.0103</c:v>
                </c:pt>
                <c:pt idx="21">
                  <c:v>1181.3947</c:v>
                </c:pt>
                <c:pt idx="22">
                  <c:v>1207.935</c:v>
                </c:pt>
                <c:pt idx="23">
                  <c:v>1214.9369</c:v>
                </c:pt>
                <c:pt idx="24">
                  <c:v>1222.1421</c:v>
                </c:pt>
                <c:pt idx="25">
                  <c:v>1203.0413</c:v>
                </c:pt>
                <c:pt idx="26">
                  <c:v>1199.7848</c:v>
                </c:pt>
                <c:pt idx="27">
                  <c:v>1198.1026</c:v>
                </c:pt>
                <c:pt idx="28">
                  <c:v>1225.3126</c:v>
                </c:pt>
                <c:pt idx="29">
                  <c:v>1225.3794</c:v>
                </c:pt>
                <c:pt idx="30">
                  <c:v>1219.4681</c:v>
                </c:pt>
                <c:pt idx="31">
                  <c:v>1223.8011</c:v>
                </c:pt>
                <c:pt idx="32">
                  <c:v>1235.5543</c:v>
                </c:pt>
                <c:pt idx="33">
                  <c:v>1211.3286</c:v>
                </c:pt>
                <c:pt idx="34">
                  <c:v>1217.5705</c:v>
                </c:pt>
                <c:pt idx="35">
                  <c:v>1261.2902</c:v>
                </c:pt>
                <c:pt idx="36">
                  <c:v>1301.9283</c:v>
                </c:pt>
                <c:pt idx="37">
                  <c:v>1280.5309</c:v>
                </c:pt>
                <c:pt idx="38">
                  <c:v>1318.5499</c:v>
                </c:pt>
                <c:pt idx="39">
                  <c:v>1243.7855</c:v>
                </c:pt>
                <c:pt idx="40">
                  <c:v>1276.8918</c:v>
                </c:pt>
                <c:pt idx="41">
                  <c:v>1305.184</c:v>
                </c:pt>
                <c:pt idx="42">
                  <c:v>1283.7971</c:v>
                </c:pt>
                <c:pt idx="43">
                  <c:v>1316.1157</c:v>
                </c:pt>
                <c:pt idx="44">
                  <c:v>1237.6097</c:v>
                </c:pt>
                <c:pt idx="45">
                  <c:v>1175.6792</c:v>
                </c:pt>
                <c:pt idx="46">
                  <c:v>1170.4447</c:v>
                </c:pt>
                <c:pt idx="47">
                  <c:v>1142.2355</c:v>
                </c:pt>
                <c:pt idx="48">
                  <c:v>1149.2403</c:v>
                </c:pt>
                <c:pt idx="49">
                  <c:v>1161.3746</c:v>
                </c:pt>
                <c:pt idx="50">
                  <c:v>1114.8149</c:v>
                </c:pt>
                <c:pt idx="51">
                  <c:v>1075.3149</c:v>
                </c:pt>
              </c:numCache>
            </c:numRef>
          </c:xVal>
          <c:yVal>
            <c:numRef>
              <c:f>Sheet1!$B$109:$B$160</c:f>
              <c:numCache>
                <c:formatCode>General</c:formatCode>
                <c:ptCount val="52"/>
                <c:pt idx="0">
                  <c:v>0.37714125245717495</c:v>
                </c:pt>
                <c:pt idx="1">
                  <c:v>0.3891502499264922</c:v>
                </c:pt>
                <c:pt idx="2">
                  <c:v>0.39902157551430006</c:v>
                </c:pt>
                <c:pt idx="3">
                  <c:v>0.43196054911368786</c:v>
                </c:pt>
                <c:pt idx="4">
                  <c:v>0.41006702229517167</c:v>
                </c:pt>
                <c:pt idx="5">
                  <c:v>0.40870025122305964</c:v>
                </c:pt>
                <c:pt idx="6">
                  <c:v>0.42852091926929875</c:v>
                </c:pt>
                <c:pt idx="7">
                  <c:v>0.4056795131845842</c:v>
                </c:pt>
                <c:pt idx="8">
                  <c:v>0.4108260957382347</c:v>
                </c:pt>
                <c:pt idx="9">
                  <c:v>0.42631675536795743</c:v>
                </c:pt>
                <c:pt idx="10">
                  <c:v>0.4070105339629495</c:v>
                </c:pt>
                <c:pt idx="11">
                  <c:v>0.42810258903610066</c:v>
                </c:pt>
                <c:pt idx="12">
                  <c:v>0.42796548193652184</c:v>
                </c:pt>
                <c:pt idx="13">
                  <c:v>0.430781627719581</c:v>
                </c:pt>
                <c:pt idx="14">
                  <c:v>0.43244635193133046</c:v>
                </c:pt>
                <c:pt idx="15">
                  <c:v>0.42578125</c:v>
                </c:pt>
                <c:pt idx="16">
                  <c:v>0.4073363190445724</c:v>
                </c:pt>
                <c:pt idx="17">
                  <c:v>0.4096465881306957</c:v>
                </c:pt>
                <c:pt idx="18">
                  <c:v>0.41721332983468906</c:v>
                </c:pt>
                <c:pt idx="19">
                  <c:v>0.4201352757544225</c:v>
                </c:pt>
                <c:pt idx="20">
                  <c:v>0.42344706911636043</c:v>
                </c:pt>
                <c:pt idx="21">
                  <c:v>0.43377148634984836</c:v>
                </c:pt>
                <c:pt idx="22">
                  <c:v>0.4179495578119882</c:v>
                </c:pt>
                <c:pt idx="23">
                  <c:v>0.42474444836094466</c:v>
                </c:pt>
                <c:pt idx="24">
                  <c:v>0.43111831442463533</c:v>
                </c:pt>
                <c:pt idx="25">
                  <c:v>0.4218803418803419</c:v>
                </c:pt>
                <c:pt idx="26">
                  <c:v>0.4203135205747877</c:v>
                </c:pt>
                <c:pt idx="27">
                  <c:v>0.4200173560890946</c:v>
                </c:pt>
                <c:pt idx="28">
                  <c:v>0.41820094687006837</c:v>
                </c:pt>
                <c:pt idx="29">
                  <c:v>0.4229002624671916</c:v>
                </c:pt>
                <c:pt idx="30">
                  <c:v>0.41776426882809864</c:v>
                </c:pt>
                <c:pt idx="31">
                  <c:v>0.40114000712504455</c:v>
                </c:pt>
                <c:pt idx="32">
                  <c:v>0.4050235478806907</c:v>
                </c:pt>
                <c:pt idx="33">
                  <c:v>0.40744320927984534</c:v>
                </c:pt>
                <c:pt idx="34">
                  <c:v>0.42273819055244194</c:v>
                </c:pt>
                <c:pt idx="35">
                  <c:v>0.40099255583126553</c:v>
                </c:pt>
                <c:pt idx="36">
                  <c:v>0.39984502130956995</c:v>
                </c:pt>
                <c:pt idx="37">
                  <c:v>0.4151142355008787</c:v>
                </c:pt>
                <c:pt idx="38">
                  <c:v>0.4239520958083832</c:v>
                </c:pt>
                <c:pt idx="39">
                  <c:v>0.41786658830443724</c:v>
                </c:pt>
                <c:pt idx="40">
                  <c:v>0.40335163247616296</c:v>
                </c:pt>
                <c:pt idx="41">
                  <c:v>0.38508655126498004</c:v>
                </c:pt>
                <c:pt idx="42">
                  <c:v>0.4057669441141498</c:v>
                </c:pt>
                <c:pt idx="43">
                  <c:v>0.4035377358490566</c:v>
                </c:pt>
                <c:pt idx="44">
                  <c:v>0.40642829973373906</c:v>
                </c:pt>
                <c:pt idx="45">
                  <c:v>0.42463041182682154</c:v>
                </c:pt>
                <c:pt idx="46">
                  <c:v>0.42802972849992416</c:v>
                </c:pt>
                <c:pt idx="47">
                  <c:v>0.42656017327737916</c:v>
                </c:pt>
                <c:pt idx="48">
                  <c:v>0.39860672689670185</c:v>
                </c:pt>
                <c:pt idx="49">
                  <c:v>0.4124908463228371</c:v>
                </c:pt>
                <c:pt idx="50">
                  <c:v>0.4194628481869345</c:v>
                </c:pt>
                <c:pt idx="51">
                  <c:v>0.416091954022988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47.9754137283206</c:v>
                </c:pt>
              </c:numCache>
            </c:numRef>
          </c:xVal>
          <c:yVal>
            <c:numRef>
              <c:f>Sheet1!$B$163:$B$164</c:f>
              <c:numCache>
                <c:formatCode>General</c:formatCode>
                <c:ptCount val="2"/>
                <c:pt idx="0">
                  <c:v>0.6048356663073955</c:v>
                </c:pt>
                <c:pt idx="1">
                  <c:v>0.60483566630739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47.9754137283206</c:v>
                </c:pt>
                <c:pt idx="1">
                  <c:v>-847.9754137283206</c:v>
                </c:pt>
              </c:numCache>
            </c:numRef>
          </c:xVal>
          <c:yVal>
            <c:numRef>
              <c:f>Sheet1!$B$167:$B$168</c:f>
              <c:numCache>
                <c:formatCode>General</c:formatCode>
                <c:ptCount val="2"/>
                <c:pt idx="0">
                  <c:v>0.60483566630739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4.7156699360378</c:v>
                </c:pt>
              </c:numCache>
            </c:numRef>
          </c:xVal>
          <c:yVal>
            <c:numRef>
              <c:f>Sheet1!$B$171:$B$172</c:f>
              <c:numCache>
                <c:formatCode>General</c:formatCode>
                <c:ptCount val="2"/>
                <c:pt idx="0">
                  <c:v>0.4223042044757715</c:v>
                </c:pt>
                <c:pt idx="1">
                  <c:v>0.422304204475771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4.7156699360378</c:v>
                </c:pt>
                <c:pt idx="1">
                  <c:v>1124.7156699360378</c:v>
                </c:pt>
              </c:numCache>
            </c:numRef>
          </c:xVal>
          <c:yVal>
            <c:numRef>
              <c:f>Sheet1!$B$175:$B$176</c:f>
              <c:numCache>
                <c:formatCode>General</c:formatCode>
                <c:ptCount val="2"/>
                <c:pt idx="0">
                  <c:v>0.42230420447577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2.802524812736</c:v>
                </c:pt>
              </c:numCache>
            </c:numRef>
          </c:xVal>
          <c:yVal>
            <c:numRef>
              <c:f>Sheet1!$B$179:$B$180</c:f>
              <c:numCache>
                <c:formatCode>General</c:formatCode>
                <c:ptCount val="2"/>
                <c:pt idx="0">
                  <c:v>0.41137772621354707</c:v>
                </c:pt>
                <c:pt idx="1">
                  <c:v>0.411377726213547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2.802524812736</c:v>
                </c:pt>
                <c:pt idx="1">
                  <c:v>1242.802524812736</c:v>
                </c:pt>
              </c:numCache>
            </c:numRef>
          </c:xVal>
          <c:yVal>
            <c:numRef>
              <c:f>Sheet1!$B$183:$B$184</c:f>
              <c:numCache>
                <c:formatCode>General</c:formatCode>
                <c:ptCount val="2"/>
                <c:pt idx="0">
                  <c:v>0.411377726213547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3.1467</c:v>
                </c:pt>
                <c:pt idx="1">
                  <c:v>1218.6094</c:v>
                </c:pt>
                <c:pt idx="2">
                  <c:v>1225.0887</c:v>
                </c:pt>
                <c:pt idx="3">
                  <c:v>1222.7853</c:v>
                </c:pt>
                <c:pt idx="4">
                  <c:v>1247.6237</c:v>
                </c:pt>
                <c:pt idx="5">
                  <c:v>1207.8282</c:v>
                </c:pt>
                <c:pt idx="6">
                  <c:v>1105.3817</c:v>
                </c:pt>
                <c:pt idx="7">
                  <c:v>1174.6996</c:v>
                </c:pt>
                <c:pt idx="8">
                  <c:v>1215.9685</c:v>
                </c:pt>
                <c:pt idx="9">
                  <c:v>1159.8218</c:v>
                </c:pt>
                <c:pt idx="10">
                  <c:v>1211.1383</c:v>
                </c:pt>
                <c:pt idx="11">
                  <c:v>1027.4497</c:v>
                </c:pt>
                <c:pt idx="12">
                  <c:v>1083.8452</c:v>
                </c:pt>
                <c:pt idx="13">
                  <c:v>1172.6962</c:v>
                </c:pt>
                <c:pt idx="14">
                  <c:v>1137.0766</c:v>
                </c:pt>
                <c:pt idx="15">
                  <c:v>1173.0498</c:v>
                </c:pt>
                <c:pt idx="16">
                  <c:v>1207.1414</c:v>
                </c:pt>
                <c:pt idx="17">
                  <c:v>1189.267</c:v>
                </c:pt>
                <c:pt idx="18">
                  <c:v>1184.6434</c:v>
                </c:pt>
                <c:pt idx="19">
                  <c:v>1260.5703</c:v>
                </c:pt>
                <c:pt idx="20">
                  <c:v>1249.0103</c:v>
                </c:pt>
                <c:pt idx="21">
                  <c:v>1181.3947</c:v>
                </c:pt>
                <c:pt idx="22">
                  <c:v>1207.935</c:v>
                </c:pt>
                <c:pt idx="23">
                  <c:v>1214.9369</c:v>
                </c:pt>
                <c:pt idx="24">
                  <c:v>1222.1421</c:v>
                </c:pt>
                <c:pt idx="25">
                  <c:v>1203.0413</c:v>
                </c:pt>
                <c:pt idx="26">
                  <c:v>1199.7848</c:v>
                </c:pt>
                <c:pt idx="27">
                  <c:v>1198.1026</c:v>
                </c:pt>
                <c:pt idx="28">
                  <c:v>1225.3126</c:v>
                </c:pt>
                <c:pt idx="29">
                  <c:v>1225.3794</c:v>
                </c:pt>
                <c:pt idx="30">
                  <c:v>1219.4681</c:v>
                </c:pt>
                <c:pt idx="31">
                  <c:v>1223.8011</c:v>
                </c:pt>
                <c:pt idx="32">
                  <c:v>1235.5543</c:v>
                </c:pt>
                <c:pt idx="33">
                  <c:v>1211.3286</c:v>
                </c:pt>
                <c:pt idx="34">
                  <c:v>1217.5705</c:v>
                </c:pt>
                <c:pt idx="35">
                  <c:v>1261.2902</c:v>
                </c:pt>
                <c:pt idx="36">
                  <c:v>1301.9283</c:v>
                </c:pt>
                <c:pt idx="37">
                  <c:v>1280.5309</c:v>
                </c:pt>
                <c:pt idx="38">
                  <c:v>1318.5499</c:v>
                </c:pt>
                <c:pt idx="39">
                  <c:v>1243.7855</c:v>
                </c:pt>
                <c:pt idx="40">
                  <c:v>1276.8918</c:v>
                </c:pt>
                <c:pt idx="41">
                  <c:v>1305.184</c:v>
                </c:pt>
                <c:pt idx="42">
                  <c:v>1283.7971</c:v>
                </c:pt>
                <c:pt idx="43">
                  <c:v>1316.1157</c:v>
                </c:pt>
                <c:pt idx="44">
                  <c:v>1237.6097</c:v>
                </c:pt>
                <c:pt idx="45">
                  <c:v>1175.6792</c:v>
                </c:pt>
                <c:pt idx="46">
                  <c:v>1170.4447</c:v>
                </c:pt>
                <c:pt idx="47">
                  <c:v>1142.2355</c:v>
                </c:pt>
                <c:pt idx="48">
                  <c:v>1149.2403</c:v>
                </c:pt>
                <c:pt idx="49">
                  <c:v>1161.3746</c:v>
                </c:pt>
                <c:pt idx="50">
                  <c:v>1114.8149</c:v>
                </c:pt>
                <c:pt idx="51">
                  <c:v>1075.3149</c:v>
                </c:pt>
                <c:pt idx="52">
                  <c:v>1124.7156699360378</c:v>
                </c:pt>
                <c:pt idx="53">
                  <c:v>-847.9754137283206</c:v>
                </c:pt>
                <c:pt idx="54">
                  <c:v>1242.802524812736</c:v>
                </c:pt>
              </c:numCache>
            </c:numRef>
          </c:xVal>
          <c:yVal>
            <c:numRef>
              <c:f>Sheet1!$B$187:$B$241</c:f>
              <c:numCache>
                <c:formatCode>General</c:formatCode>
                <c:ptCount val="55"/>
                <c:pt idx="0">
                  <c:v>0.4131964633013178</c:v>
                </c:pt>
                <c:pt idx="1">
                  <c:v>0.4136162958887041</c:v>
                </c:pt>
                <c:pt idx="2">
                  <c:v>0.41301677165987816</c:v>
                </c:pt>
                <c:pt idx="3">
                  <c:v>0.4132299033421089</c:v>
                </c:pt>
                <c:pt idx="4">
                  <c:v>0.4109316268916791</c:v>
                </c:pt>
                <c:pt idx="5">
                  <c:v>0.41461387133911043</c:v>
                </c:pt>
                <c:pt idx="6">
                  <c:v>0.42409316060005137</c:v>
                </c:pt>
                <c:pt idx="7">
                  <c:v>0.41767923308607113</c:v>
                </c:pt>
                <c:pt idx="8">
                  <c:v>0.41386065616464535</c:v>
                </c:pt>
                <c:pt idx="9">
                  <c:v>0.4190558635201653</c:v>
                </c:pt>
                <c:pt idx="10">
                  <c:v>0.41430759054491406</c:v>
                </c:pt>
                <c:pt idx="11">
                  <c:v>0.431304143607608</c:v>
                </c:pt>
                <c:pt idx="12">
                  <c:v>0.42608591499545045</c:v>
                </c:pt>
                <c:pt idx="13">
                  <c:v>0.4178646060183369</c:v>
                </c:pt>
                <c:pt idx="14">
                  <c:v>0.42116045791917306</c:v>
                </c:pt>
                <c:pt idx="15">
                  <c:v>0.4178318877050449</c:v>
                </c:pt>
                <c:pt idx="16">
                  <c:v>0.4146774203706968</c:v>
                </c:pt>
                <c:pt idx="17">
                  <c:v>0.41633132370527404</c:v>
                </c:pt>
                <c:pt idx="18">
                  <c:v>0.41675914155973354</c:v>
                </c:pt>
                <c:pt idx="19">
                  <c:v>0.40973368878402583</c:v>
                </c:pt>
                <c:pt idx="20">
                  <c:v>0.4108033259493412</c:v>
                </c:pt>
                <c:pt idx="21">
                  <c:v>0.41705974106310373</c:v>
                </c:pt>
                <c:pt idx="22">
                  <c:v>0.41460398922412295</c:v>
                </c:pt>
                <c:pt idx="23">
                  <c:v>0.4139561092528581</c:v>
                </c:pt>
                <c:pt idx="24">
                  <c:v>0.4132894181020337</c:v>
                </c:pt>
                <c:pt idx="25">
                  <c:v>0.41505679920646754</c:v>
                </c:pt>
                <c:pt idx="26">
                  <c:v>0.4153581204373369</c:v>
                </c:pt>
                <c:pt idx="27">
                  <c:v>0.4155137730013069</c:v>
                </c:pt>
                <c:pt idx="28">
                  <c:v>0.41299605437948766</c:v>
                </c:pt>
                <c:pt idx="29">
                  <c:v>0.4129898734311621</c:v>
                </c:pt>
                <c:pt idx="30">
                  <c:v>0.4135368410933878</c:v>
                </c:pt>
                <c:pt idx="31">
                  <c:v>0.4131359122147277</c:v>
                </c:pt>
                <c:pt idx="32">
                  <c:v>0.41204839841443486</c:v>
                </c:pt>
                <c:pt idx="33">
                  <c:v>0.41428998224451963</c:v>
                </c:pt>
                <c:pt idx="34">
                  <c:v>0.41371242443983264</c:v>
                </c:pt>
                <c:pt idx="35">
                  <c:v>0.4096670770370267</c:v>
                </c:pt>
                <c:pt idx="36">
                  <c:v>0.4059068675138605</c:v>
                </c:pt>
                <c:pt idx="37">
                  <c:v>0.4078867511021925</c:v>
                </c:pt>
                <c:pt idx="38">
                  <c:v>0.4043688847191369</c:v>
                </c:pt>
                <c:pt idx="39">
                  <c:v>0.41128677233873046</c:v>
                </c:pt>
                <c:pt idx="40">
                  <c:v>0.4082234739921838</c:v>
                </c:pt>
                <c:pt idx="41">
                  <c:v>0.4056056203063244</c:v>
                </c:pt>
                <c:pt idx="42">
                  <c:v>0.4075845323384077</c:v>
                </c:pt>
                <c:pt idx="43">
                  <c:v>0.4045941192163523</c:v>
                </c:pt>
                <c:pt idx="44">
                  <c:v>0.4118582139655085</c:v>
                </c:pt>
                <c:pt idx="45">
                  <c:v>0.417588591514519</c:v>
                </c:pt>
                <c:pt idx="46">
                  <c:v>0.4180729354368237</c:v>
                </c:pt>
                <c:pt idx="47">
                  <c:v>0.4206831092018595</c:v>
                </c:pt>
                <c:pt idx="48">
                  <c:v>0.42003496089601167</c:v>
                </c:pt>
                <c:pt idx="49">
                  <c:v>0.4189121842303468</c:v>
                </c:pt>
                <c:pt idx="50">
                  <c:v>0.42322031446615405</c:v>
                </c:pt>
                <c:pt idx="51">
                  <c:v>0.42687521654486993</c:v>
                </c:pt>
                <c:pt idx="52">
                  <c:v>0.4223042044757715</c:v>
                </c:pt>
                <c:pt idx="53">
                  <c:v>0.6048356663073955</c:v>
                </c:pt>
                <c:pt idx="54">
                  <c:v>0.411377726213547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38046511627906"/>
          <c:min val="0.276354525524585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229596721139825</c:v>
                </c:pt>
                <c:pt idx="1">
                  <c:v>0.7874530160194583</c:v>
                </c:pt>
                <c:pt idx="2">
                  <c:v>0.8031284097678506</c:v>
                </c:pt>
                <c:pt idx="3">
                  <c:v>0.7895878647256918</c:v>
                </c:pt>
                <c:pt idx="4">
                  <c:v>0.7682985454002034</c:v>
                </c:pt>
                <c:pt idx="5">
                  <c:v>0.7915511680013131</c:v>
                </c:pt>
                <c:pt idx="6">
                  <c:v>0.7867252216680771</c:v>
                </c:pt>
                <c:pt idx="7">
                  <c:v>0.7889495497657792</c:v>
                </c:pt>
                <c:pt idx="8">
                  <c:v>0.7628817458941726</c:v>
                </c:pt>
                <c:pt idx="9">
                  <c:v>0.799739509008458</c:v>
                </c:pt>
                <c:pt idx="10">
                  <c:v>0.8214694567176501</c:v>
                </c:pt>
                <c:pt idx="11">
                  <c:v>0.8123775911065659</c:v>
                </c:pt>
                <c:pt idx="12">
                  <c:v>0.8236179768757553</c:v>
                </c:pt>
                <c:pt idx="13">
                  <c:v>0.8021270741930119</c:v>
                </c:pt>
                <c:pt idx="14">
                  <c:v>0.8340653003653156</c:v>
                </c:pt>
                <c:pt idx="15">
                  <c:v>0.8328689982354617</c:v>
                </c:pt>
                <c:pt idx="16">
                  <c:v>0.8089305790777727</c:v>
                </c:pt>
                <c:pt idx="17">
                  <c:v>0.8159232442728666</c:v>
                </c:pt>
                <c:pt idx="18">
                  <c:v>0.8804642426616965</c:v>
                </c:pt>
                <c:pt idx="19">
                  <c:v>0.9152711509169728</c:v>
                </c:pt>
                <c:pt idx="20">
                  <c:v>0.9206006405708135</c:v>
                </c:pt>
                <c:pt idx="21">
                  <c:v>0.823086763399467</c:v>
                </c:pt>
                <c:pt idx="22">
                  <c:v>0.8182619159217303</c:v>
                </c:pt>
                <c:pt idx="23">
                  <c:v>0.781488369167247</c:v>
                </c:pt>
                <c:pt idx="24">
                  <c:v>0.7459850218559828</c:v>
                </c:pt>
                <c:pt idx="25">
                  <c:v>0.7300156396818945</c:v>
                </c:pt>
                <c:pt idx="26">
                  <c:v>0.7442101866484847</c:v>
                </c:pt>
                <c:pt idx="27">
                  <c:v>0.7236543145846488</c:v>
                </c:pt>
                <c:pt idx="28">
                  <c:v>0.693741906988952</c:v>
                </c:pt>
                <c:pt idx="29">
                  <c:v>0.6799003255797671</c:v>
                </c:pt>
                <c:pt idx="30">
                  <c:v>0.6847902436309035</c:v>
                </c:pt>
                <c:pt idx="31">
                  <c:v>0.7781234801083335</c:v>
                </c:pt>
                <c:pt idx="32">
                  <c:v>0.7419036280631046</c:v>
                </c:pt>
                <c:pt idx="33">
                  <c:v>0.7678593483435258</c:v>
                </c:pt>
                <c:pt idx="34">
                  <c:v>0.8006246821393764</c:v>
                </c:pt>
                <c:pt idx="35">
                  <c:v>0.8497282256600516</c:v>
                </c:pt>
                <c:pt idx="36">
                  <c:v>0.9489571207000241</c:v>
                </c:pt>
                <c:pt idx="37">
                  <c:v>0.9744569365677608</c:v>
                </c:pt>
                <c:pt idx="38">
                  <c:v>1.0471906233547026</c:v>
                </c:pt>
                <c:pt idx="39">
                  <c:v>0.9929765989554423</c:v>
                </c:pt>
                <c:pt idx="40">
                  <c:v>0.989358094410545</c:v>
                </c:pt>
                <c:pt idx="41">
                  <c:v>0.9670638345490233</c:v>
                </c:pt>
                <c:pt idx="42">
                  <c:v>0.9754053746777608</c:v>
                </c:pt>
                <c:pt idx="43">
                  <c:v>0.9654763449631857</c:v>
                </c:pt>
                <c:pt idx="44">
                  <c:v>0.8831626939710449</c:v>
                </c:pt>
                <c:pt idx="45">
                  <c:v>0.8533439655457002</c:v>
                </c:pt>
                <c:pt idx="46">
                  <c:v>0.8541984289085063</c:v>
                </c:pt>
                <c:pt idx="47">
                  <c:v>0.8873250429215102</c:v>
                </c:pt>
                <c:pt idx="48">
                  <c:v>0.8553900890066272</c:v>
                </c:pt>
                <c:pt idx="49">
                  <c:v>0.8249237681778077</c:v>
                </c:pt>
                <c:pt idx="50">
                  <c:v>0.8241937464948532</c:v>
                </c:pt>
                <c:pt idx="51">
                  <c:v>0.8443997264247417</c:v>
                </c:pt>
                <c:pt idx="52">
                  <c:v>0.8307150303771075</c:v>
                </c:pt>
                <c:pt idx="53">
                  <c:v>0.8427926437676364</c:v>
                </c:pt>
                <c:pt idx="54">
                  <c:v>0.8609690829502386</c:v>
                </c:pt>
                <c:pt idx="55">
                  <c:v>0.8884835656535518</c:v>
                </c:pt>
                <c:pt idx="56">
                  <c:v>0.8551811689965473</c:v>
                </c:pt>
                <c:pt idx="57">
                  <c:v>0.8764380224546483</c:v>
                </c:pt>
                <c:pt idx="58">
                  <c:v>0.8342086107793201</c:v>
                </c:pt>
                <c:pt idx="59">
                  <c:v>0.8328276147536758</c:v>
                </c:pt>
                <c:pt idx="60">
                  <c:v>0.8149057806042486</c:v>
                </c:pt>
                <c:pt idx="61">
                  <c:v>0.8400888251128344</c:v>
                </c:pt>
                <c:pt idx="62">
                  <c:v>0.8907485662789004</c:v>
                </c:pt>
                <c:pt idx="63">
                  <c:v>0.8789624923668887</c:v>
                </c:pt>
                <c:pt idx="64">
                  <c:v>0.9125471367325749</c:v>
                </c:pt>
                <c:pt idx="65">
                  <c:v>0.8789518084948226</c:v>
                </c:pt>
                <c:pt idx="66">
                  <c:v>0.8563406286198497</c:v>
                </c:pt>
                <c:pt idx="67">
                  <c:v>0.9352736854063214</c:v>
                </c:pt>
                <c:pt idx="68">
                  <c:v>0.9955525261376813</c:v>
                </c:pt>
                <c:pt idx="69">
                  <c:v>0.9897101498053676</c:v>
                </c:pt>
                <c:pt idx="70">
                  <c:v>0.9511215520572738</c:v>
                </c:pt>
                <c:pt idx="71">
                  <c:v>0.9217134952764903</c:v>
                </c:pt>
                <c:pt idx="72">
                  <c:v>1.0644904603663055</c:v>
                </c:pt>
                <c:pt idx="73">
                  <c:v>0.9381395403504739</c:v>
                </c:pt>
                <c:pt idx="74">
                  <c:v>0.8502822301101773</c:v>
                </c:pt>
                <c:pt idx="75">
                  <c:v>0.8625265891237134</c:v>
                </c:pt>
                <c:pt idx="76">
                  <c:v>0.8710426775690785</c:v>
                </c:pt>
                <c:pt idx="77">
                  <c:v>0.8933747168666463</c:v>
                </c:pt>
                <c:pt idx="78">
                  <c:v>0.9032303907466243</c:v>
                </c:pt>
                <c:pt idx="79">
                  <c:v>0.9100829237460025</c:v>
                </c:pt>
                <c:pt idx="80">
                  <c:v>0.9750790567463951</c:v>
                </c:pt>
                <c:pt idx="81">
                  <c:v>0.9678520563923498</c:v>
                </c:pt>
                <c:pt idx="82">
                  <c:v>0.964773615508739</c:v>
                </c:pt>
                <c:pt idx="83">
                  <c:v>1.0125711358396763</c:v>
                </c:pt>
                <c:pt idx="84">
                  <c:v>1.0048724817197023</c:v>
                </c:pt>
                <c:pt idx="85">
                  <c:v>0.9709424082926338</c:v>
                </c:pt>
                <c:pt idx="86">
                  <c:v>0.9232438714448232</c:v>
                </c:pt>
                <c:pt idx="87">
                  <c:v>0.9051953042047358</c:v>
                </c:pt>
                <c:pt idx="88">
                  <c:v>0.862078318625978</c:v>
                </c:pt>
                <c:pt idx="89">
                  <c:v>0.8591838498390861</c:v>
                </c:pt>
                <c:pt idx="90">
                  <c:v>0.8728425756733409</c:v>
                </c:pt>
                <c:pt idx="91">
                  <c:v>0.9279103577914878</c:v>
                </c:pt>
                <c:pt idx="92">
                  <c:v>0.930321084478616</c:v>
                </c:pt>
                <c:pt idx="93">
                  <c:v>0.9063182405358039</c:v>
                </c:pt>
                <c:pt idx="94">
                  <c:v>0.9295127887880721</c:v>
                </c:pt>
                <c:pt idx="95">
                  <c:v>0.9245721122435463</c:v>
                </c:pt>
                <c:pt idx="96">
                  <c:v>0.9354229797593786</c:v>
                </c:pt>
                <c:pt idx="97">
                  <c:v>0.9786018425075835</c:v>
                </c:pt>
                <c:pt idx="98">
                  <c:v>0.955007180568067</c:v>
                </c:pt>
                <c:pt idx="99">
                  <c:v>0.9511734017609054</c:v>
                </c:pt>
                <c:pt idx="100">
                  <c:v>0.9258535877915818</c:v>
                </c:pt>
                <c:pt idx="101">
                  <c:v>0.8750446209075051</c:v>
                </c:pt>
                <c:pt idx="102">
                  <c:v>0.9113896100035195</c:v>
                </c:pt>
                <c:pt idx="103">
                  <c:v>0.5574513444697832</c:v>
                </c:pt>
                <c:pt idx="104">
                  <c:v>0.623908311111953</c:v>
                </c:pt>
              </c:numCache>
            </c:numRef>
          </c:xVal>
          <c:yVal>
            <c:numRef>
              <c:f>Sheet1!$B$2:$B$106</c:f>
              <c:numCache>
                <c:formatCode>General</c:formatCode>
                <c:ptCount val="105"/>
                <c:pt idx="0">
                  <c:v>0.09998573669947226</c:v>
                </c:pt>
                <c:pt idx="1">
                  <c:v>0.10134912800263245</c:v>
                </c:pt>
                <c:pt idx="2">
                  <c:v>0.09500670241286863</c:v>
                </c:pt>
                <c:pt idx="3">
                  <c:v>0.1038139534883721</c:v>
                </c:pt>
                <c:pt idx="4">
                  <c:v>0.11526282457251424</c:v>
                </c:pt>
                <c:pt idx="5">
                  <c:v>0.1057655593738068</c:v>
                </c:pt>
                <c:pt idx="6">
                  <c:v>0.10030758714969241</c:v>
                </c:pt>
                <c:pt idx="7">
                  <c:v>0.09558046098540918</c:v>
                </c:pt>
                <c:pt idx="8">
                  <c:v>0.10194285714285714</c:v>
                </c:pt>
                <c:pt idx="9">
                  <c:v>0.07742552174605703</c:v>
                </c:pt>
                <c:pt idx="10">
                  <c:v>0.08095085126887247</c:v>
                </c:pt>
                <c:pt idx="11">
                  <c:v>0.08752166377816291</c:v>
                </c:pt>
                <c:pt idx="12">
                  <c:v>0.08882754140954856</c:v>
                </c:pt>
                <c:pt idx="13">
                  <c:v>0.09630112432784749</c:v>
                </c:pt>
                <c:pt idx="14">
                  <c:v>0.09465020576131687</c:v>
                </c:pt>
                <c:pt idx="15">
                  <c:v>0.1032171581769437</c:v>
                </c:pt>
                <c:pt idx="16">
                  <c:v>0.11522810023559649</c:v>
                </c:pt>
                <c:pt idx="17">
                  <c:v>0.11287952987267386</c:v>
                </c:pt>
                <c:pt idx="18">
                  <c:v>0.09594000517196793</c:v>
                </c:pt>
                <c:pt idx="19">
                  <c:v>0.07584893684544589</c:v>
                </c:pt>
                <c:pt idx="20">
                  <c:v>0.081491344873502</c:v>
                </c:pt>
                <c:pt idx="21">
                  <c:v>0.08478038815117467</c:v>
                </c:pt>
                <c:pt idx="22">
                  <c:v>0.06350681536555143</c:v>
                </c:pt>
                <c:pt idx="23">
                  <c:v>0.07529335071707953</c:v>
                </c:pt>
                <c:pt idx="24">
                  <c:v>0.07252946509519492</c:v>
                </c:pt>
                <c:pt idx="25">
                  <c:v>0.06952965235173825</c:v>
                </c:pt>
                <c:pt idx="26">
                  <c:v>0.06845677190911774</c:v>
                </c:pt>
                <c:pt idx="27">
                  <c:v>0.07316407316407317</c:v>
                </c:pt>
                <c:pt idx="28">
                  <c:v>0.07660208643815201</c:v>
                </c:pt>
                <c:pt idx="29">
                  <c:v>0.08070082293602336</c:v>
                </c:pt>
                <c:pt idx="30">
                  <c:v>0.06324503311258278</c:v>
                </c:pt>
                <c:pt idx="31">
                  <c:v>0.05140610825521621</c:v>
                </c:pt>
                <c:pt idx="32">
                  <c:v>0.05541795665634675</c:v>
                </c:pt>
                <c:pt idx="33">
                  <c:v>0.05737109658678286</c:v>
                </c:pt>
                <c:pt idx="34">
                  <c:v>0.052816129739206664</c:v>
                </c:pt>
                <c:pt idx="35">
                  <c:v>0.043529643490250146</c:v>
                </c:pt>
                <c:pt idx="36">
                  <c:v>0.04328899637243047</c:v>
                </c:pt>
                <c:pt idx="37">
                  <c:v>0.042090784044016505</c:v>
                </c:pt>
                <c:pt idx="38">
                  <c:v>0.03853897037676158</c:v>
                </c:pt>
                <c:pt idx="39">
                  <c:v>0.05884083553986467</c:v>
                </c:pt>
                <c:pt idx="40">
                  <c:v>0.05678605089538172</c:v>
                </c:pt>
                <c:pt idx="41">
                  <c:v>0.06309904153354633</c:v>
                </c:pt>
                <c:pt idx="42">
                  <c:v>0.05950720595072059</c:v>
                </c:pt>
                <c:pt idx="43">
                  <c:v>0.05983436853002071</c:v>
                </c:pt>
                <c:pt idx="44">
                  <c:v>0.08248184168410685</c:v>
                </c:pt>
                <c:pt idx="45">
                  <c:v>0.10018472237313919</c:v>
                </c:pt>
                <c:pt idx="46">
                  <c:v>0.09975749559082893</c:v>
                </c:pt>
                <c:pt idx="47">
                  <c:v>0.09852825525221885</c:v>
                </c:pt>
                <c:pt idx="48">
                  <c:v>0.1114602282123367</c:v>
                </c:pt>
                <c:pt idx="49">
                  <c:v>0.1286523216308041</c:v>
                </c:pt>
                <c:pt idx="50">
                  <c:v>0.10989867498051442</c:v>
                </c:pt>
                <c:pt idx="51">
                  <c:v>0.09577710056595559</c:v>
                </c:pt>
                <c:pt idx="52">
                  <c:v>0.09765530577713319</c:v>
                </c:pt>
                <c:pt idx="53">
                  <c:v>0.086276867578536</c:v>
                </c:pt>
                <c:pt idx="54">
                  <c:v>0.07768456375838927</c:v>
                </c:pt>
                <c:pt idx="55">
                  <c:v>0.07346378304153793</c:v>
                </c:pt>
                <c:pt idx="56">
                  <c:v>0.08222559817698442</c:v>
                </c:pt>
                <c:pt idx="57">
                  <c:v>0.0787413901064496</c:v>
                </c:pt>
                <c:pt idx="58">
                  <c:v>0.085166784953868</c:v>
                </c:pt>
                <c:pt idx="59">
                  <c:v>0.09210760734010333</c:v>
                </c:pt>
                <c:pt idx="60">
                  <c:v>0.10802594244021078</c:v>
                </c:pt>
                <c:pt idx="61">
                  <c:v>0.12050333086602516</c:v>
                </c:pt>
                <c:pt idx="62">
                  <c:v>0.10597079658811624</c:v>
                </c:pt>
                <c:pt idx="63">
                  <c:v>0.11075907590759076</c:v>
                </c:pt>
                <c:pt idx="64">
                  <c:v>0.09796788760662319</c:v>
                </c:pt>
                <c:pt idx="65">
                  <c:v>0.08843992507358844</c:v>
                </c:pt>
                <c:pt idx="66">
                  <c:v>0.08307442928542483</c:v>
                </c:pt>
                <c:pt idx="67">
                  <c:v>0.07760141093474426</c:v>
                </c:pt>
                <c:pt idx="68">
                  <c:v>0.06433591638132997</c:v>
                </c:pt>
                <c:pt idx="69">
                  <c:v>0.06291165114694526</c:v>
                </c:pt>
                <c:pt idx="70">
                  <c:v>0.0589010989010989</c:v>
                </c:pt>
                <c:pt idx="71">
                  <c:v>0.07041564792176039</c:v>
                </c:pt>
                <c:pt idx="72">
                  <c:v>0.06704274246040356</c:v>
                </c:pt>
                <c:pt idx="73">
                  <c:v>0.0701930308347957</c:v>
                </c:pt>
                <c:pt idx="74">
                  <c:v>0.0800453514739229</c:v>
                </c:pt>
                <c:pt idx="75">
                  <c:v>0.0729030572249804</c:v>
                </c:pt>
                <c:pt idx="76">
                  <c:v>0.07224770642201835</c:v>
                </c:pt>
                <c:pt idx="77">
                  <c:v>0.06782285537318056</c:v>
                </c:pt>
                <c:pt idx="78">
                  <c:v>0.06678023850085178</c:v>
                </c:pt>
                <c:pt idx="79">
                  <c:v>0.061528899937849595</c:v>
                </c:pt>
                <c:pt idx="80">
                  <c:v>0.05306246209824136</c:v>
                </c:pt>
                <c:pt idx="81">
                  <c:v>0.052407221664994987</c:v>
                </c:pt>
                <c:pt idx="82">
                  <c:v>0.04941176470588235</c:v>
                </c:pt>
                <c:pt idx="83">
                  <c:v>0.044600073719130114</c:v>
                </c:pt>
                <c:pt idx="84">
                  <c:v>0.04557148107313488</c:v>
                </c:pt>
                <c:pt idx="85">
                  <c:v>0.050922978994271166</c:v>
                </c:pt>
                <c:pt idx="86">
                  <c:v>0.05635148042024833</c:v>
                </c:pt>
                <c:pt idx="87">
                  <c:v>0.0624860522204865</c:v>
                </c:pt>
                <c:pt idx="88">
                  <c:v>0.05940039226674138</c:v>
                </c:pt>
                <c:pt idx="89">
                  <c:v>0.06374378109452736</c:v>
                </c:pt>
                <c:pt idx="90">
                  <c:v>0.06528</c:v>
                </c:pt>
                <c:pt idx="91">
                  <c:v>0.06107109301597244</c:v>
                </c:pt>
                <c:pt idx="92">
                  <c:v>0.06745005875440659</c:v>
                </c:pt>
                <c:pt idx="93">
                  <c:v>0.06555530524892994</c:v>
                </c:pt>
                <c:pt idx="94">
                  <c:v>0.06357089644896946</c:v>
                </c:pt>
                <c:pt idx="95">
                  <c:v>0.0647940074906367</c:v>
                </c:pt>
                <c:pt idx="96">
                  <c:v>0.066938152201578</c:v>
                </c:pt>
                <c:pt idx="97">
                  <c:v>0.07996920030799692</c:v>
                </c:pt>
                <c:pt idx="98">
                  <c:v>0.0856485916842307</c:v>
                </c:pt>
                <c:pt idx="99">
                  <c:v>0.08971371504660453</c:v>
                </c:pt>
                <c:pt idx="100">
                  <c:v>0.09335482271262088</c:v>
                </c:pt>
                <c:pt idx="101">
                  <c:v>0.0990892132118951</c:v>
                </c:pt>
                <c:pt idx="102">
                  <c:v>0.08446526151444184</c:v>
                </c:pt>
                <c:pt idx="103">
                  <c:v>0.13824355374010722</c:v>
                </c:pt>
                <c:pt idx="104">
                  <c:v>0.12146499768196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958345313349479</c:v>
                </c:pt>
                <c:pt idx="1">
                  <c:v>0.7074316314844199</c:v>
                </c:pt>
                <c:pt idx="2">
                  <c:v>0.7006061226567503</c:v>
                </c:pt>
                <c:pt idx="3">
                  <c:v>0.6809242344682733</c:v>
                </c:pt>
                <c:pt idx="4">
                  <c:v>0.6843849782303265</c:v>
                </c:pt>
                <c:pt idx="5">
                  <c:v>0.6978354471731506</c:v>
                </c:pt>
                <c:pt idx="6">
                  <c:v>0.7466482244982693</c:v>
                </c:pt>
                <c:pt idx="7">
                  <c:v>0.8297964962850369</c:v>
                </c:pt>
                <c:pt idx="8">
                  <c:v>0.9196890669439833</c:v>
                </c:pt>
                <c:pt idx="9">
                  <c:v>0.9086651922206246</c:v>
                </c:pt>
                <c:pt idx="10">
                  <c:v>0.9087255863306127</c:v>
                </c:pt>
                <c:pt idx="11">
                  <c:v>0.8825224885588158</c:v>
                </c:pt>
                <c:pt idx="12">
                  <c:v>0.8987420471630102</c:v>
                </c:pt>
                <c:pt idx="13">
                  <c:v>0.8924142798807854</c:v>
                </c:pt>
                <c:pt idx="14">
                  <c:v>0.882301574916675</c:v>
                </c:pt>
                <c:pt idx="15">
                  <c:v>0.8851838267405382</c:v>
                </c:pt>
                <c:pt idx="16">
                  <c:v>0.9175164047410672</c:v>
                </c:pt>
                <c:pt idx="17">
                  <c:v>0.9225818779217675</c:v>
                </c:pt>
                <c:pt idx="18">
                  <c:v>0.9858872196480845</c:v>
                </c:pt>
                <c:pt idx="19">
                  <c:v>0.906792005899084</c:v>
                </c:pt>
                <c:pt idx="20">
                  <c:v>0.8628355262334106</c:v>
                </c:pt>
                <c:pt idx="21">
                  <c:v>0.7830492571482583</c:v>
                </c:pt>
                <c:pt idx="22">
                  <c:v>0.7736229946225074</c:v>
                </c:pt>
                <c:pt idx="23">
                  <c:v>0.7551228020814733</c:v>
                </c:pt>
                <c:pt idx="24">
                  <c:v>0.7880975046836358</c:v>
                </c:pt>
                <c:pt idx="25">
                  <c:v>0.801907615570788</c:v>
                </c:pt>
                <c:pt idx="26">
                  <c:v>0.8540629502083246</c:v>
                </c:pt>
                <c:pt idx="27">
                  <c:v>0.8601126881109026</c:v>
                </c:pt>
                <c:pt idx="28">
                  <c:v>0.8383351812183124</c:v>
                </c:pt>
                <c:pt idx="29">
                  <c:v>0.8079234039769984</c:v>
                </c:pt>
                <c:pt idx="30">
                  <c:v>0.7944706576932241</c:v>
                </c:pt>
                <c:pt idx="31">
                  <c:v>0.7905414352180773</c:v>
                </c:pt>
                <c:pt idx="32">
                  <c:v>0.7813389270765523</c:v>
                </c:pt>
                <c:pt idx="33">
                  <c:v>0.7955030202720061</c:v>
                </c:pt>
                <c:pt idx="34">
                  <c:v>0.799455765918519</c:v>
                </c:pt>
                <c:pt idx="35">
                  <c:v>0.7667879636158685</c:v>
                </c:pt>
                <c:pt idx="36">
                  <c:v>0.7451824182097891</c:v>
                </c:pt>
                <c:pt idx="37">
                  <c:v>0.8548944229043406</c:v>
                </c:pt>
                <c:pt idx="38">
                  <c:v>0.8817014912109034</c:v>
                </c:pt>
                <c:pt idx="39">
                  <c:v>0.9061952912020901</c:v>
                </c:pt>
                <c:pt idx="40">
                  <c:v>0.9381281400271367</c:v>
                </c:pt>
                <c:pt idx="41">
                  <c:v>0.9452298407180614</c:v>
                </c:pt>
                <c:pt idx="42">
                  <c:v>0.8997082909904875</c:v>
                </c:pt>
                <c:pt idx="43">
                  <c:v>0.9673014503843448</c:v>
                </c:pt>
                <c:pt idx="44">
                  <c:v>0.9622620491162732</c:v>
                </c:pt>
                <c:pt idx="45">
                  <c:v>0.910546966800656</c:v>
                </c:pt>
                <c:pt idx="46">
                  <c:v>0.8902560046706286</c:v>
                </c:pt>
                <c:pt idx="47">
                  <c:v>0.9110726631053698</c:v>
                </c:pt>
                <c:pt idx="48">
                  <c:v>0.9794806043538187</c:v>
                </c:pt>
                <c:pt idx="49">
                  <c:v>0.95968740474157</c:v>
                </c:pt>
                <c:pt idx="50">
                  <c:v>0.8298684268067822</c:v>
                </c:pt>
                <c:pt idx="51">
                  <c:v>0.861204424250504</c:v>
                </c:pt>
              </c:numCache>
            </c:numRef>
          </c:xVal>
          <c:yVal>
            <c:numRef>
              <c:f>Sheet1!$B$109:$B$160</c:f>
              <c:numCache>
                <c:formatCode>General</c:formatCode>
                <c:ptCount val="52"/>
                <c:pt idx="0">
                  <c:v>0.10558831788823364</c:v>
                </c:pt>
                <c:pt idx="1">
                  <c:v>0.137165539547192</c:v>
                </c:pt>
                <c:pt idx="2">
                  <c:v>0.13559959859508278</c:v>
                </c:pt>
                <c:pt idx="3">
                  <c:v>0.13314674130347862</c:v>
                </c:pt>
                <c:pt idx="4">
                  <c:v>0.13924223772397756</c:v>
                </c:pt>
                <c:pt idx="5">
                  <c:v>0.12627264313103265</c:v>
                </c:pt>
                <c:pt idx="6">
                  <c:v>0.11314083677077195</c:v>
                </c:pt>
                <c:pt idx="7">
                  <c:v>0.10547667342799188</c:v>
                </c:pt>
                <c:pt idx="8">
                  <c:v>0.09270854372853969</c:v>
                </c:pt>
                <c:pt idx="9">
                  <c:v>0.09231051569095247</c:v>
                </c:pt>
                <c:pt idx="10">
                  <c:v>0.09371594624046495</c:v>
                </c:pt>
                <c:pt idx="11">
                  <c:v>0.08885377415825939</c:v>
                </c:pt>
                <c:pt idx="12">
                  <c:v>0.08468626590609916</c:v>
                </c:pt>
                <c:pt idx="13">
                  <c:v>0.08364222401289283</c:v>
                </c:pt>
                <c:pt idx="14">
                  <c:v>0.08566523605150214</c:v>
                </c:pt>
                <c:pt idx="15">
                  <c:v>0.08128720238095238</c:v>
                </c:pt>
                <c:pt idx="16">
                  <c:v>0.07848155256984432</c:v>
                </c:pt>
                <c:pt idx="17">
                  <c:v>0.07801733718604134</c:v>
                </c:pt>
                <c:pt idx="18">
                  <c:v>0.06874836001049593</c:v>
                </c:pt>
                <c:pt idx="19">
                  <c:v>0.07596253902185224</c:v>
                </c:pt>
                <c:pt idx="20">
                  <c:v>0.08194808982210557</c:v>
                </c:pt>
                <c:pt idx="21">
                  <c:v>0.0906639703404112</c:v>
                </c:pt>
                <c:pt idx="22">
                  <c:v>0.09302325581395349</c:v>
                </c:pt>
                <c:pt idx="23">
                  <c:v>0.09587592527317589</c:v>
                </c:pt>
                <c:pt idx="24">
                  <c:v>0.08946515397082658</c:v>
                </c:pt>
                <c:pt idx="25">
                  <c:v>0.08888888888888889</c:v>
                </c:pt>
                <c:pt idx="26">
                  <c:v>0.07380796864794252</c:v>
                </c:pt>
                <c:pt idx="27">
                  <c:v>0.08359849580561181</c:v>
                </c:pt>
                <c:pt idx="28">
                  <c:v>0.0920568122041031</c:v>
                </c:pt>
                <c:pt idx="29">
                  <c:v>0.09416010498687664</c:v>
                </c:pt>
                <c:pt idx="30">
                  <c:v>0.09895305639986492</c:v>
                </c:pt>
                <c:pt idx="31">
                  <c:v>0.09796936230851443</c:v>
                </c:pt>
                <c:pt idx="32">
                  <c:v>0.10266875981161695</c:v>
                </c:pt>
                <c:pt idx="33">
                  <c:v>0.10294828419526342</c:v>
                </c:pt>
                <c:pt idx="34">
                  <c:v>0.10728582866293035</c:v>
                </c:pt>
                <c:pt idx="35">
                  <c:v>0.10942928039702234</c:v>
                </c:pt>
                <c:pt idx="36">
                  <c:v>0.10499806276636962</c:v>
                </c:pt>
                <c:pt idx="37">
                  <c:v>0.07275922671353251</c:v>
                </c:pt>
                <c:pt idx="38">
                  <c:v>0.08303393213572854</c:v>
                </c:pt>
                <c:pt idx="39">
                  <c:v>0.0928592418454305</c:v>
                </c:pt>
                <c:pt idx="40">
                  <c:v>0.08379081190407396</c:v>
                </c:pt>
                <c:pt idx="41">
                  <c:v>0.08841544607190413</c:v>
                </c:pt>
                <c:pt idx="42">
                  <c:v>0.09453032104637336</c:v>
                </c:pt>
                <c:pt idx="43">
                  <c:v>0.0900943396226415</c:v>
                </c:pt>
                <c:pt idx="44">
                  <c:v>0.08786610878661087</c:v>
                </c:pt>
                <c:pt idx="45">
                  <c:v>0.08658922914466737</c:v>
                </c:pt>
                <c:pt idx="46">
                  <c:v>0.08630365539208251</c:v>
                </c:pt>
                <c:pt idx="47">
                  <c:v>0.0836604846351699</c:v>
                </c:pt>
                <c:pt idx="48">
                  <c:v>0.07369108522912812</c:v>
                </c:pt>
                <c:pt idx="49">
                  <c:v>0.07783240924782928</c:v>
                </c:pt>
                <c:pt idx="50">
                  <c:v>0.10116121678421315</c:v>
                </c:pt>
                <c:pt idx="51">
                  <c:v>0.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06764060829623</c:v>
                </c:pt>
              </c:numCache>
            </c:numRef>
          </c:xVal>
          <c:yVal>
            <c:numRef>
              <c:f>Sheet1!$B$163:$B$164</c:f>
              <c:numCache>
                <c:formatCode>General</c:formatCode>
                <c:ptCount val="2"/>
                <c:pt idx="0">
                  <c:v>0.11781570448190082</c:v>
                </c:pt>
                <c:pt idx="1">
                  <c:v>0.117815704481900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06764060829623</c:v>
                </c:pt>
                <c:pt idx="1">
                  <c:v>0.706764060829623</c:v>
                </c:pt>
              </c:numCache>
            </c:numRef>
          </c:xVal>
          <c:yVal>
            <c:numRef>
              <c:f>Sheet1!$B$167:$B$168</c:f>
              <c:numCache>
                <c:formatCode>General</c:formatCode>
                <c:ptCount val="2"/>
                <c:pt idx="0">
                  <c:v>0.117815704481900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880965477010176</c:v>
                </c:pt>
              </c:numCache>
            </c:numRef>
          </c:xVal>
          <c:yVal>
            <c:numRef>
              <c:f>Sheet1!$B$171:$B$172</c:f>
              <c:numCache>
                <c:formatCode>General</c:formatCode>
                <c:ptCount val="2"/>
                <c:pt idx="0">
                  <c:v>0.12092679245736676</c:v>
                </c:pt>
                <c:pt idx="1">
                  <c:v>0.120926792457366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880965477010176</c:v>
                </c:pt>
                <c:pt idx="1">
                  <c:v>0.6880965477010176</c:v>
                </c:pt>
              </c:numCache>
            </c:numRef>
          </c:xVal>
          <c:yVal>
            <c:numRef>
              <c:f>Sheet1!$B$175:$B$176</c:f>
              <c:numCache>
                <c:formatCode>General</c:formatCode>
                <c:ptCount val="2"/>
                <c:pt idx="0">
                  <c:v>0.120926792457366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843779623590386</c:v>
                </c:pt>
              </c:numCache>
            </c:numRef>
          </c:xVal>
          <c:yVal>
            <c:numRef>
              <c:f>Sheet1!$B$179:$B$180</c:f>
              <c:numCache>
                <c:formatCode>General</c:formatCode>
                <c:ptCount val="2"/>
                <c:pt idx="0">
                  <c:v>0.0882149499777019</c:v>
                </c:pt>
                <c:pt idx="1">
                  <c:v>0.088214949977701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843779623590386</c:v>
                </c:pt>
                <c:pt idx="1">
                  <c:v>0.8843779623590386</c:v>
                </c:pt>
              </c:numCache>
            </c:numRef>
          </c:xVal>
          <c:yVal>
            <c:numRef>
              <c:f>Sheet1!$B$183:$B$184</c:f>
              <c:numCache>
                <c:formatCode>General</c:formatCode>
                <c:ptCount val="2"/>
                <c:pt idx="0">
                  <c:v>0.08821494997770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958345313349479</c:v>
                </c:pt>
                <c:pt idx="1">
                  <c:v>0.7074316314844199</c:v>
                </c:pt>
                <c:pt idx="2">
                  <c:v>0.7006061226567503</c:v>
                </c:pt>
                <c:pt idx="3">
                  <c:v>0.6809242344682733</c:v>
                </c:pt>
                <c:pt idx="4">
                  <c:v>0.6843849782303265</c:v>
                </c:pt>
                <c:pt idx="5">
                  <c:v>0.6978354471731506</c:v>
                </c:pt>
                <c:pt idx="6">
                  <c:v>0.7466482244982693</c:v>
                </c:pt>
                <c:pt idx="7">
                  <c:v>0.8297964962850369</c:v>
                </c:pt>
                <c:pt idx="8">
                  <c:v>0.9196890669439833</c:v>
                </c:pt>
                <c:pt idx="9">
                  <c:v>0.9086651922206246</c:v>
                </c:pt>
                <c:pt idx="10">
                  <c:v>0.9087255863306127</c:v>
                </c:pt>
                <c:pt idx="11">
                  <c:v>0.8825224885588158</c:v>
                </c:pt>
                <c:pt idx="12">
                  <c:v>0.8987420471630102</c:v>
                </c:pt>
                <c:pt idx="13">
                  <c:v>0.8924142798807854</c:v>
                </c:pt>
                <c:pt idx="14">
                  <c:v>0.882301574916675</c:v>
                </c:pt>
                <c:pt idx="15">
                  <c:v>0.8851838267405382</c:v>
                </c:pt>
                <c:pt idx="16">
                  <c:v>0.9175164047410672</c:v>
                </c:pt>
                <c:pt idx="17">
                  <c:v>0.9225818779217675</c:v>
                </c:pt>
                <c:pt idx="18">
                  <c:v>0.9858872196480845</c:v>
                </c:pt>
                <c:pt idx="19">
                  <c:v>0.906792005899084</c:v>
                </c:pt>
                <c:pt idx="20">
                  <c:v>0.8628355262334106</c:v>
                </c:pt>
                <c:pt idx="21">
                  <c:v>0.7830492571482583</c:v>
                </c:pt>
                <c:pt idx="22">
                  <c:v>0.7736229946225074</c:v>
                </c:pt>
                <c:pt idx="23">
                  <c:v>0.7551228020814733</c:v>
                </c:pt>
                <c:pt idx="24">
                  <c:v>0.7880975046836358</c:v>
                </c:pt>
                <c:pt idx="25">
                  <c:v>0.801907615570788</c:v>
                </c:pt>
                <c:pt idx="26">
                  <c:v>0.8540629502083246</c:v>
                </c:pt>
                <c:pt idx="27">
                  <c:v>0.8601126881109026</c:v>
                </c:pt>
                <c:pt idx="28">
                  <c:v>0.8383351812183124</c:v>
                </c:pt>
                <c:pt idx="29">
                  <c:v>0.8079234039769984</c:v>
                </c:pt>
                <c:pt idx="30">
                  <c:v>0.7944706576932241</c:v>
                </c:pt>
                <c:pt idx="31">
                  <c:v>0.7905414352180773</c:v>
                </c:pt>
                <c:pt idx="32">
                  <c:v>0.7813389270765523</c:v>
                </c:pt>
                <c:pt idx="33">
                  <c:v>0.7955030202720061</c:v>
                </c:pt>
                <c:pt idx="34">
                  <c:v>0.799455765918519</c:v>
                </c:pt>
                <c:pt idx="35">
                  <c:v>0.7667879636158685</c:v>
                </c:pt>
                <c:pt idx="36">
                  <c:v>0.7451824182097891</c:v>
                </c:pt>
                <c:pt idx="37">
                  <c:v>0.8548944229043406</c:v>
                </c:pt>
                <c:pt idx="38">
                  <c:v>0.8817014912109034</c:v>
                </c:pt>
                <c:pt idx="39">
                  <c:v>0.9061952912020901</c:v>
                </c:pt>
                <c:pt idx="40">
                  <c:v>0.9381281400271367</c:v>
                </c:pt>
                <c:pt idx="41">
                  <c:v>0.9452298407180614</c:v>
                </c:pt>
                <c:pt idx="42">
                  <c:v>0.8997082909904875</c:v>
                </c:pt>
                <c:pt idx="43">
                  <c:v>0.9673014503843448</c:v>
                </c:pt>
                <c:pt idx="44">
                  <c:v>0.9622620491162732</c:v>
                </c:pt>
                <c:pt idx="45">
                  <c:v>0.910546966800656</c:v>
                </c:pt>
                <c:pt idx="46">
                  <c:v>0.8902560046706286</c:v>
                </c:pt>
                <c:pt idx="47">
                  <c:v>0.9110726631053698</c:v>
                </c:pt>
                <c:pt idx="48">
                  <c:v>0.9794806043538187</c:v>
                </c:pt>
                <c:pt idx="49">
                  <c:v>0.95968740474157</c:v>
                </c:pt>
                <c:pt idx="50">
                  <c:v>0.8298684268067822</c:v>
                </c:pt>
                <c:pt idx="51">
                  <c:v>0.861204424250504</c:v>
                </c:pt>
                <c:pt idx="52">
                  <c:v>0.6880965477010176</c:v>
                </c:pt>
                <c:pt idx="53">
                  <c:v>0.706764060829623</c:v>
                </c:pt>
                <c:pt idx="54">
                  <c:v>0.8843779623590386</c:v>
                </c:pt>
              </c:numCache>
            </c:numRef>
          </c:xVal>
          <c:yVal>
            <c:numRef>
              <c:f>Sheet1!$B$187:$B$241</c:f>
              <c:numCache>
                <c:formatCode>General</c:formatCode>
                <c:ptCount val="55"/>
                <c:pt idx="0">
                  <c:v>0.10297140959113768</c:v>
                </c:pt>
                <c:pt idx="1">
                  <c:v>0.11770444857852447</c:v>
                </c:pt>
                <c:pt idx="2">
                  <c:v>0.11884197334113789</c:v>
                </c:pt>
                <c:pt idx="3">
                  <c:v>0.12212211490342269</c:v>
                </c:pt>
                <c:pt idx="4">
                  <c:v>0.12154535471956114</c:v>
                </c:pt>
                <c:pt idx="5">
                  <c:v>0.11930372821558533</c:v>
                </c:pt>
                <c:pt idx="6">
                  <c:v>0.11116869471974342</c:v>
                </c:pt>
                <c:pt idx="7">
                  <c:v>0.09731138085289559</c:v>
                </c:pt>
                <c:pt idx="8">
                  <c:v>0.08233007650163601</c:v>
                </c:pt>
                <c:pt idx="9">
                  <c:v>0.08416729198173817</c:v>
                </c:pt>
                <c:pt idx="10">
                  <c:v>0.08415722682800941</c:v>
                </c:pt>
                <c:pt idx="11">
                  <c:v>0.08852417928901385</c:v>
                </c:pt>
                <c:pt idx="12">
                  <c:v>0.08582106220034547</c:v>
                </c:pt>
                <c:pt idx="13">
                  <c:v>0.08687563441720442</c:v>
                </c:pt>
                <c:pt idx="14">
                  <c:v>0.08856099628605815</c:v>
                </c:pt>
                <c:pt idx="15">
                  <c:v>0.08808064633640447</c:v>
                </c:pt>
                <c:pt idx="16">
                  <c:v>0.08269216775651686</c:v>
                </c:pt>
                <c:pt idx="17">
                  <c:v>0.08184796678588124</c:v>
                </c:pt>
                <c:pt idx="18">
                  <c:v>0.07129763337667575</c:v>
                </c:pt>
                <c:pt idx="19">
                  <c:v>0.08447947322412455</c:v>
                </c:pt>
                <c:pt idx="20">
                  <c:v>0.091805166496151</c:v>
                </c:pt>
                <c:pt idx="21">
                  <c:v>0.10510217615394746</c:v>
                </c:pt>
                <c:pt idx="22">
                  <c:v>0.10667313698817402</c:v>
                </c:pt>
                <c:pt idx="23">
                  <c:v>0.10975633967091486</c:v>
                </c:pt>
                <c:pt idx="24">
                  <c:v>0.10426084597267002</c:v>
                </c:pt>
                <c:pt idx="25">
                  <c:v>0.10195928230830417</c:v>
                </c:pt>
                <c:pt idx="26">
                  <c:v>0.09326718533055506</c:v>
                </c:pt>
                <c:pt idx="27">
                  <c:v>0.0922589488978944</c:v>
                </c:pt>
                <c:pt idx="28">
                  <c:v>0.09588834180965533</c:v>
                </c:pt>
                <c:pt idx="29">
                  <c:v>0.10095670382639438</c:v>
                </c:pt>
                <c:pt idx="30">
                  <c:v>0.10319870986716212</c:v>
                </c:pt>
                <c:pt idx="31">
                  <c:v>0.10385354571546951</c:v>
                </c:pt>
                <c:pt idx="32">
                  <c:v>0.10538721612062674</c:v>
                </c:pt>
                <c:pt idx="33">
                  <c:v>0.10302665851875575</c:v>
                </c:pt>
                <c:pt idx="34">
                  <c:v>0.1023679023488138</c:v>
                </c:pt>
                <c:pt idx="35">
                  <c:v>0.10781224869685183</c:v>
                </c:pt>
                <c:pt idx="36">
                  <c:v>0.11141298287355567</c:v>
                </c:pt>
                <c:pt idx="37">
                  <c:v>0.09312861386210705</c:v>
                </c:pt>
                <c:pt idx="38">
                  <c:v>0.08866100495825985</c:v>
                </c:pt>
                <c:pt idx="39">
                  <c:v>0.08457892042449947</c:v>
                </c:pt>
                <c:pt idx="40">
                  <c:v>0.07925705985755868</c:v>
                </c:pt>
                <c:pt idx="41">
                  <c:v>0.07807350554731485</c:v>
                </c:pt>
                <c:pt idx="42">
                  <c:v>0.085660030062196</c:v>
                </c:pt>
                <c:pt idx="43">
                  <c:v>0.07439509809374087</c:v>
                </c:pt>
                <c:pt idx="44">
                  <c:v>0.075234953974952</c:v>
                </c:pt>
                <c:pt idx="45">
                  <c:v>0.08385367943848504</c:v>
                </c:pt>
                <c:pt idx="46">
                  <c:v>0.08723532796651687</c:v>
                </c:pt>
                <c:pt idx="47">
                  <c:v>0.08376606801209552</c:v>
                </c:pt>
                <c:pt idx="48">
                  <c:v>0.07236534623527202</c:v>
                </c:pt>
                <c:pt idx="49">
                  <c:v>0.07566403872234484</c:v>
                </c:pt>
                <c:pt idx="50">
                  <c:v>0.0972993930653564</c:v>
                </c:pt>
                <c:pt idx="51">
                  <c:v>0.09207700247830994</c:v>
                </c:pt>
                <c:pt idx="52">
                  <c:v>0.12092679245736676</c:v>
                </c:pt>
                <c:pt idx="53">
                  <c:v>0.1178157044819008</c:v>
                </c:pt>
                <c:pt idx="54">
                  <c:v>0.08821494997770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709068526877308"/>
          <c:min val="0.0308311763014092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2.9486</c:v>
                </c:pt>
                <c:pt idx="1">
                  <c:v>864.9643</c:v>
                </c:pt>
                <c:pt idx="2">
                  <c:v>944.1376</c:v>
                </c:pt>
                <c:pt idx="3">
                  <c:v>952.2312</c:v>
                </c:pt>
                <c:pt idx="4">
                  <c:v>929.522</c:v>
                </c:pt>
                <c:pt idx="5">
                  <c:v>922.0307</c:v>
                </c:pt>
                <c:pt idx="6">
                  <c:v>892.54</c:v>
                </c:pt>
                <c:pt idx="7">
                  <c:v>917.7544</c:v>
                </c:pt>
                <c:pt idx="8">
                  <c:v>889.8834</c:v>
                </c:pt>
                <c:pt idx="9">
                  <c:v>882.6605</c:v>
                </c:pt>
                <c:pt idx="10">
                  <c:v>889.9345</c:v>
                </c:pt>
                <c:pt idx="11">
                  <c:v>893.9901</c:v>
                </c:pt>
                <c:pt idx="12">
                  <c:v>888.0548</c:v>
                </c:pt>
                <c:pt idx="13">
                  <c:v>866.7648</c:v>
                </c:pt>
                <c:pt idx="14">
                  <c:v>899.0535</c:v>
                </c:pt>
                <c:pt idx="15">
                  <c:v>896.5714</c:v>
                </c:pt>
                <c:pt idx="16">
                  <c:v>873.842</c:v>
                </c:pt>
                <c:pt idx="17">
                  <c:v>892.9393</c:v>
                </c:pt>
                <c:pt idx="18">
                  <c:v>963.1644</c:v>
                </c:pt>
                <c:pt idx="19">
                  <c:v>1006.8033</c:v>
                </c:pt>
                <c:pt idx="20">
                  <c:v>993.219</c:v>
                </c:pt>
                <c:pt idx="21">
                  <c:v>972.8474</c:v>
                </c:pt>
                <c:pt idx="22">
                  <c:v>1000.4976</c:v>
                </c:pt>
                <c:pt idx="23">
                  <c:v>976.4848</c:v>
                </c:pt>
                <c:pt idx="24">
                  <c:v>967.0917</c:v>
                </c:pt>
                <c:pt idx="25">
                  <c:v>949.9265</c:v>
                </c:pt>
                <c:pt idx="26">
                  <c:v>963.5776</c:v>
                </c:pt>
                <c:pt idx="27">
                  <c:v>908.6082</c:v>
                </c:pt>
                <c:pt idx="28">
                  <c:v>874.8911</c:v>
                </c:pt>
                <c:pt idx="29">
                  <c:v>870.0592</c:v>
                </c:pt>
                <c:pt idx="30">
                  <c:v>870.9843</c:v>
                </c:pt>
                <c:pt idx="31">
                  <c:v>944.4059</c:v>
                </c:pt>
                <c:pt idx="32">
                  <c:v>939.2402</c:v>
                </c:pt>
                <c:pt idx="33">
                  <c:v>951.2194</c:v>
                </c:pt>
                <c:pt idx="34">
                  <c:v>956.9834</c:v>
                </c:pt>
                <c:pt idx="35">
                  <c:v>994.1946</c:v>
                </c:pt>
                <c:pt idx="36">
                  <c:v>1079.2793</c:v>
                </c:pt>
                <c:pt idx="37">
                  <c:v>1116.3137</c:v>
                </c:pt>
                <c:pt idx="38">
                  <c:v>1207.3134</c:v>
                </c:pt>
                <c:pt idx="39">
                  <c:v>1119.145</c:v>
                </c:pt>
                <c:pt idx="40">
                  <c:v>1145.6556</c:v>
                </c:pt>
                <c:pt idx="41">
                  <c:v>1145.9367</c:v>
                </c:pt>
                <c:pt idx="42">
                  <c:v>1170.2227</c:v>
                </c:pt>
                <c:pt idx="43">
                  <c:v>1159.1453</c:v>
                </c:pt>
                <c:pt idx="44">
                  <c:v>1018.8791</c:v>
                </c:pt>
                <c:pt idx="45">
                  <c:v>966.7614</c:v>
                </c:pt>
                <c:pt idx="46">
                  <c:v>969.8475</c:v>
                </c:pt>
                <c:pt idx="47">
                  <c:v>969.7799</c:v>
                </c:pt>
                <c:pt idx="48">
                  <c:v>965.1061</c:v>
                </c:pt>
                <c:pt idx="49">
                  <c:v>937.2557</c:v>
                </c:pt>
                <c:pt idx="50">
                  <c:v>930.7062</c:v>
                </c:pt>
                <c:pt idx="51">
                  <c:v>961.8879</c:v>
                </c:pt>
                <c:pt idx="52">
                  <c:v>968.2252</c:v>
                </c:pt>
                <c:pt idx="53">
                  <c:v>1082.6725</c:v>
                </c:pt>
                <c:pt idx="54">
                  <c:v>1134.5464</c:v>
                </c:pt>
                <c:pt idx="55">
                  <c:v>1139.2991</c:v>
                </c:pt>
                <c:pt idx="56">
                  <c:v>1137.6328</c:v>
                </c:pt>
                <c:pt idx="57">
                  <c:v>1134.5825</c:v>
                </c:pt>
                <c:pt idx="58">
                  <c:v>1081.0617</c:v>
                </c:pt>
                <c:pt idx="59">
                  <c:v>1074.413</c:v>
                </c:pt>
                <c:pt idx="60">
                  <c:v>1072.0854</c:v>
                </c:pt>
                <c:pt idx="61">
                  <c:v>1044.7826</c:v>
                </c:pt>
                <c:pt idx="62">
                  <c:v>1032.0</c:v>
                </c:pt>
                <c:pt idx="63">
                  <c:v>1009.5888</c:v>
                </c:pt>
                <c:pt idx="64">
                  <c:v>1030.8732</c:v>
                </c:pt>
                <c:pt idx="65">
                  <c:v>1008.0272</c:v>
                </c:pt>
                <c:pt idx="66">
                  <c:v>1006.7447</c:v>
                </c:pt>
                <c:pt idx="67">
                  <c:v>1068.6439</c:v>
                </c:pt>
                <c:pt idx="68">
                  <c:v>1130.6275</c:v>
                </c:pt>
                <c:pt idx="69">
                  <c:v>1129.1805</c:v>
                </c:pt>
                <c:pt idx="70">
                  <c:v>1103.8731</c:v>
                </c:pt>
                <c:pt idx="71">
                  <c:v>1145.0903</c:v>
                </c:pt>
                <c:pt idx="72">
                  <c:v>1197.6926</c:v>
                </c:pt>
                <c:pt idx="73">
                  <c:v>1165.3393</c:v>
                </c:pt>
                <c:pt idx="74">
                  <c:v>1095.0057</c:v>
                </c:pt>
                <c:pt idx="75">
                  <c:v>1110.4301</c:v>
                </c:pt>
                <c:pt idx="76">
                  <c:v>1124.254</c:v>
                </c:pt>
                <c:pt idx="77">
                  <c:v>1136.347</c:v>
                </c:pt>
                <c:pt idx="78">
                  <c:v>1147.8418</c:v>
                </c:pt>
                <c:pt idx="79">
                  <c:v>1157.6364</c:v>
                </c:pt>
                <c:pt idx="80">
                  <c:v>1199.4114</c:v>
                </c:pt>
                <c:pt idx="81">
                  <c:v>1190.8804</c:v>
                </c:pt>
                <c:pt idx="82">
                  <c:v>1200.4626</c:v>
                </c:pt>
                <c:pt idx="83">
                  <c:v>1254.3471</c:v>
                </c:pt>
                <c:pt idx="84">
                  <c:v>1227.7742</c:v>
                </c:pt>
                <c:pt idx="85">
                  <c:v>1205.6188</c:v>
                </c:pt>
                <c:pt idx="86">
                  <c:v>1140.1398</c:v>
                </c:pt>
                <c:pt idx="87">
                  <c:v>1127.025</c:v>
                </c:pt>
                <c:pt idx="88">
                  <c:v>1116.8491</c:v>
                </c:pt>
                <c:pt idx="89">
                  <c:v>1104.5366</c:v>
                </c:pt>
                <c:pt idx="90">
                  <c:v>1147.5147</c:v>
                </c:pt>
                <c:pt idx="91">
                  <c:v>1193.4513</c:v>
                </c:pt>
                <c:pt idx="92">
                  <c:v>1153.6655</c:v>
                </c:pt>
                <c:pt idx="93">
                  <c:v>1156.5876</c:v>
                </c:pt>
                <c:pt idx="94">
                  <c:v>1163.6328</c:v>
                </c:pt>
                <c:pt idx="95">
                  <c:v>1148.8121</c:v>
                </c:pt>
                <c:pt idx="96">
                  <c:v>1132.0951</c:v>
                </c:pt>
                <c:pt idx="97">
                  <c:v>1128.4388</c:v>
                </c:pt>
                <c:pt idx="98">
                  <c:v>1095.0459</c:v>
                </c:pt>
                <c:pt idx="99">
                  <c:v>1069.4443</c:v>
                </c:pt>
                <c:pt idx="100">
                  <c:v>1094.2171</c:v>
                </c:pt>
                <c:pt idx="101">
                  <c:v>1091.3322</c:v>
                </c:pt>
                <c:pt idx="102">
                  <c:v>1140.4251</c:v>
                </c:pt>
                <c:pt idx="103">
                  <c:v>687.3287</c:v>
                </c:pt>
                <c:pt idx="104">
                  <c:v>800.4033</c:v>
                </c:pt>
              </c:numCache>
            </c:numRef>
          </c:xVal>
          <c:yVal>
            <c:numRef>
              <c:f>Sheet1!$B$2:$B$106</c:f>
              <c:numCache>
                <c:formatCode>General</c:formatCode>
                <c:ptCount val="105"/>
                <c:pt idx="0">
                  <c:v>0.09998573669947226</c:v>
                </c:pt>
                <c:pt idx="1">
                  <c:v>0.10134912800263245</c:v>
                </c:pt>
                <c:pt idx="2">
                  <c:v>0.09500670241286863</c:v>
                </c:pt>
                <c:pt idx="3">
                  <c:v>0.1038139534883721</c:v>
                </c:pt>
                <c:pt idx="4">
                  <c:v>0.11526282457251424</c:v>
                </c:pt>
                <c:pt idx="5">
                  <c:v>0.1057655593738068</c:v>
                </c:pt>
                <c:pt idx="6">
                  <c:v>0.10030758714969241</c:v>
                </c:pt>
                <c:pt idx="7">
                  <c:v>0.09558046098540918</c:v>
                </c:pt>
                <c:pt idx="8">
                  <c:v>0.10194285714285714</c:v>
                </c:pt>
                <c:pt idx="9">
                  <c:v>0.07742552174605703</c:v>
                </c:pt>
                <c:pt idx="10">
                  <c:v>0.08095085126887247</c:v>
                </c:pt>
                <c:pt idx="11">
                  <c:v>0.08752166377816291</c:v>
                </c:pt>
                <c:pt idx="12">
                  <c:v>0.08882754140954856</c:v>
                </c:pt>
                <c:pt idx="13">
                  <c:v>0.09630112432784749</c:v>
                </c:pt>
                <c:pt idx="14">
                  <c:v>0.09465020576131687</c:v>
                </c:pt>
                <c:pt idx="15">
                  <c:v>0.1032171581769437</c:v>
                </c:pt>
                <c:pt idx="16">
                  <c:v>0.11522810023559649</c:v>
                </c:pt>
                <c:pt idx="17">
                  <c:v>0.11287952987267386</c:v>
                </c:pt>
                <c:pt idx="18">
                  <c:v>0.09594000517196793</c:v>
                </c:pt>
                <c:pt idx="19">
                  <c:v>0.07584893684544589</c:v>
                </c:pt>
                <c:pt idx="20">
                  <c:v>0.081491344873502</c:v>
                </c:pt>
                <c:pt idx="21">
                  <c:v>0.08478038815117467</c:v>
                </c:pt>
                <c:pt idx="22">
                  <c:v>0.06350681536555143</c:v>
                </c:pt>
                <c:pt idx="23">
                  <c:v>0.07529335071707953</c:v>
                </c:pt>
                <c:pt idx="24">
                  <c:v>0.07252946509519492</c:v>
                </c:pt>
                <c:pt idx="25">
                  <c:v>0.06952965235173825</c:v>
                </c:pt>
                <c:pt idx="26">
                  <c:v>0.06845677190911774</c:v>
                </c:pt>
                <c:pt idx="27">
                  <c:v>0.07316407316407317</c:v>
                </c:pt>
                <c:pt idx="28">
                  <c:v>0.07660208643815201</c:v>
                </c:pt>
                <c:pt idx="29">
                  <c:v>0.08070082293602336</c:v>
                </c:pt>
                <c:pt idx="30">
                  <c:v>0.06324503311258278</c:v>
                </c:pt>
                <c:pt idx="31">
                  <c:v>0.05140610825521621</c:v>
                </c:pt>
                <c:pt idx="32">
                  <c:v>0.05541795665634675</c:v>
                </c:pt>
                <c:pt idx="33">
                  <c:v>0.05737109658678286</c:v>
                </c:pt>
                <c:pt idx="34">
                  <c:v>0.052816129739206664</c:v>
                </c:pt>
                <c:pt idx="35">
                  <c:v>0.043529643490250146</c:v>
                </c:pt>
                <c:pt idx="36">
                  <c:v>0.04328899637243047</c:v>
                </c:pt>
                <c:pt idx="37">
                  <c:v>0.042090784044016505</c:v>
                </c:pt>
                <c:pt idx="38">
                  <c:v>0.03853897037676158</c:v>
                </c:pt>
                <c:pt idx="39">
                  <c:v>0.05884083553986467</c:v>
                </c:pt>
                <c:pt idx="40">
                  <c:v>0.05678605089538172</c:v>
                </c:pt>
                <c:pt idx="41">
                  <c:v>0.06309904153354633</c:v>
                </c:pt>
                <c:pt idx="42">
                  <c:v>0.05950720595072059</c:v>
                </c:pt>
                <c:pt idx="43">
                  <c:v>0.05983436853002071</c:v>
                </c:pt>
                <c:pt idx="44">
                  <c:v>0.08248184168410685</c:v>
                </c:pt>
                <c:pt idx="45">
                  <c:v>0.10018472237313919</c:v>
                </c:pt>
                <c:pt idx="46">
                  <c:v>0.09975749559082893</c:v>
                </c:pt>
                <c:pt idx="47">
                  <c:v>0.09852825525221885</c:v>
                </c:pt>
                <c:pt idx="48">
                  <c:v>0.1114602282123367</c:v>
                </c:pt>
                <c:pt idx="49">
                  <c:v>0.1286523216308041</c:v>
                </c:pt>
                <c:pt idx="50">
                  <c:v>0.10989867498051442</c:v>
                </c:pt>
                <c:pt idx="51">
                  <c:v>0.09577710056595559</c:v>
                </c:pt>
                <c:pt idx="52">
                  <c:v>0.09765530577713319</c:v>
                </c:pt>
                <c:pt idx="53">
                  <c:v>0.086276867578536</c:v>
                </c:pt>
                <c:pt idx="54">
                  <c:v>0.07768456375838927</c:v>
                </c:pt>
                <c:pt idx="55">
                  <c:v>0.07346378304153793</c:v>
                </c:pt>
                <c:pt idx="56">
                  <c:v>0.08222559817698442</c:v>
                </c:pt>
                <c:pt idx="57">
                  <c:v>0.0787413901064496</c:v>
                </c:pt>
                <c:pt idx="58">
                  <c:v>0.085166784953868</c:v>
                </c:pt>
                <c:pt idx="59">
                  <c:v>0.09210760734010333</c:v>
                </c:pt>
                <c:pt idx="60">
                  <c:v>0.10802594244021078</c:v>
                </c:pt>
                <c:pt idx="61">
                  <c:v>0.12050333086602516</c:v>
                </c:pt>
                <c:pt idx="62">
                  <c:v>0.10597079658811624</c:v>
                </c:pt>
                <c:pt idx="63">
                  <c:v>0.11075907590759076</c:v>
                </c:pt>
                <c:pt idx="64">
                  <c:v>0.09796788760662319</c:v>
                </c:pt>
                <c:pt idx="65">
                  <c:v>0.08843992507358844</c:v>
                </c:pt>
                <c:pt idx="66">
                  <c:v>0.08307442928542483</c:v>
                </c:pt>
                <c:pt idx="67">
                  <c:v>0.07760141093474426</c:v>
                </c:pt>
                <c:pt idx="68">
                  <c:v>0.06433591638132997</c:v>
                </c:pt>
                <c:pt idx="69">
                  <c:v>0.06291165114694526</c:v>
                </c:pt>
                <c:pt idx="70">
                  <c:v>0.0589010989010989</c:v>
                </c:pt>
                <c:pt idx="71">
                  <c:v>0.07041564792176039</c:v>
                </c:pt>
                <c:pt idx="72">
                  <c:v>0.06704274246040356</c:v>
                </c:pt>
                <c:pt idx="73">
                  <c:v>0.0701930308347957</c:v>
                </c:pt>
                <c:pt idx="74">
                  <c:v>0.0800453514739229</c:v>
                </c:pt>
                <c:pt idx="75">
                  <c:v>0.0729030572249804</c:v>
                </c:pt>
                <c:pt idx="76">
                  <c:v>0.07224770642201835</c:v>
                </c:pt>
                <c:pt idx="77">
                  <c:v>0.06782285537318056</c:v>
                </c:pt>
                <c:pt idx="78">
                  <c:v>0.06678023850085178</c:v>
                </c:pt>
                <c:pt idx="79">
                  <c:v>0.061528899937849595</c:v>
                </c:pt>
                <c:pt idx="80">
                  <c:v>0.05306246209824136</c:v>
                </c:pt>
                <c:pt idx="81">
                  <c:v>0.052407221664994987</c:v>
                </c:pt>
                <c:pt idx="82">
                  <c:v>0.04941176470588235</c:v>
                </c:pt>
                <c:pt idx="83">
                  <c:v>0.044600073719130114</c:v>
                </c:pt>
                <c:pt idx="84">
                  <c:v>0.04557148107313488</c:v>
                </c:pt>
                <c:pt idx="85">
                  <c:v>0.050922978994271166</c:v>
                </c:pt>
                <c:pt idx="86">
                  <c:v>0.05635148042024833</c:v>
                </c:pt>
                <c:pt idx="87">
                  <c:v>0.0624860522204865</c:v>
                </c:pt>
                <c:pt idx="88">
                  <c:v>0.05940039226674138</c:v>
                </c:pt>
                <c:pt idx="89">
                  <c:v>0.06374378109452736</c:v>
                </c:pt>
                <c:pt idx="90">
                  <c:v>0.06528</c:v>
                </c:pt>
                <c:pt idx="91">
                  <c:v>0.06107109301597244</c:v>
                </c:pt>
                <c:pt idx="92">
                  <c:v>0.06745005875440659</c:v>
                </c:pt>
                <c:pt idx="93">
                  <c:v>0.06555530524892994</c:v>
                </c:pt>
                <c:pt idx="94">
                  <c:v>0.06357089644896946</c:v>
                </c:pt>
                <c:pt idx="95">
                  <c:v>0.0647940074906367</c:v>
                </c:pt>
                <c:pt idx="96">
                  <c:v>0.066938152201578</c:v>
                </c:pt>
                <c:pt idx="97">
                  <c:v>0.07996920030799692</c:v>
                </c:pt>
                <c:pt idx="98">
                  <c:v>0.0856485916842307</c:v>
                </c:pt>
                <c:pt idx="99">
                  <c:v>0.08971371504660453</c:v>
                </c:pt>
                <c:pt idx="100">
                  <c:v>0.09335482271262088</c:v>
                </c:pt>
                <c:pt idx="101">
                  <c:v>0.0990892132118951</c:v>
                </c:pt>
                <c:pt idx="102">
                  <c:v>0.08446526151444184</c:v>
                </c:pt>
                <c:pt idx="103">
                  <c:v>0.13824355374010722</c:v>
                </c:pt>
                <c:pt idx="104">
                  <c:v>0.12146499768196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50.1503</c:v>
                </c:pt>
                <c:pt idx="1">
                  <c:v>987.0836</c:v>
                </c:pt>
                <c:pt idx="2">
                  <c:v>973.0675</c:v>
                </c:pt>
                <c:pt idx="3">
                  <c:v>985.5425</c:v>
                </c:pt>
                <c:pt idx="4">
                  <c:v>984.7495</c:v>
                </c:pt>
                <c:pt idx="5">
                  <c:v>971.9487</c:v>
                </c:pt>
                <c:pt idx="6">
                  <c:v>960.65</c:v>
                </c:pt>
                <c:pt idx="7">
                  <c:v>1084.0288</c:v>
                </c:pt>
                <c:pt idx="8">
                  <c:v>1231.7495</c:v>
                </c:pt>
                <c:pt idx="9">
                  <c:v>1186.1252</c:v>
                </c:pt>
                <c:pt idx="10">
                  <c:v>1194.1841</c:v>
                </c:pt>
                <c:pt idx="11">
                  <c:v>1065.5896</c:v>
                </c:pt>
                <c:pt idx="12">
                  <c:v>1125.513</c:v>
                </c:pt>
                <c:pt idx="13">
                  <c:v>1207.4566</c:v>
                </c:pt>
                <c:pt idx="14">
                  <c:v>1189.0301</c:v>
                </c:pt>
                <c:pt idx="15">
                  <c:v>1199.9382</c:v>
                </c:pt>
                <c:pt idx="16">
                  <c:v>1238.3451</c:v>
                </c:pt>
                <c:pt idx="17">
                  <c:v>1226.8718</c:v>
                </c:pt>
                <c:pt idx="18">
                  <c:v>1298.9771</c:v>
                </c:pt>
                <c:pt idx="19">
                  <c:v>1279.2979</c:v>
                </c:pt>
                <c:pt idx="20">
                  <c:v>1240.3416</c:v>
                </c:pt>
                <c:pt idx="21">
                  <c:v>1108.4572</c:v>
                </c:pt>
                <c:pt idx="22">
                  <c:v>1072.3415</c:v>
                </c:pt>
                <c:pt idx="23">
                  <c:v>1076.2316</c:v>
                </c:pt>
                <c:pt idx="24">
                  <c:v>1111.8188</c:v>
                </c:pt>
                <c:pt idx="25">
                  <c:v>1066.2308</c:v>
                </c:pt>
                <c:pt idx="26">
                  <c:v>1153.3407</c:v>
                </c:pt>
                <c:pt idx="27">
                  <c:v>1160.519</c:v>
                </c:pt>
                <c:pt idx="28">
                  <c:v>1152.6314</c:v>
                </c:pt>
                <c:pt idx="29">
                  <c:v>1148.7875</c:v>
                </c:pt>
                <c:pt idx="30">
                  <c:v>1136.2799</c:v>
                </c:pt>
                <c:pt idx="31">
                  <c:v>1110.4764</c:v>
                </c:pt>
                <c:pt idx="32">
                  <c:v>1092.6024</c:v>
                </c:pt>
                <c:pt idx="33">
                  <c:v>1105.7418</c:v>
                </c:pt>
                <c:pt idx="34">
                  <c:v>1109.2966</c:v>
                </c:pt>
                <c:pt idx="35">
                  <c:v>1083.6236</c:v>
                </c:pt>
                <c:pt idx="36">
                  <c:v>1094.3284</c:v>
                </c:pt>
                <c:pt idx="37">
                  <c:v>1273.2512</c:v>
                </c:pt>
                <c:pt idx="38">
                  <c:v>1305.6442</c:v>
                </c:pt>
                <c:pt idx="39">
                  <c:v>1254.1519</c:v>
                </c:pt>
                <c:pt idx="40">
                  <c:v>1263.269</c:v>
                </c:pt>
                <c:pt idx="41">
                  <c:v>1288.762</c:v>
                </c:pt>
                <c:pt idx="42">
                  <c:v>1251.1635</c:v>
                </c:pt>
                <c:pt idx="43">
                  <c:v>1299.2618</c:v>
                </c:pt>
                <c:pt idx="44">
                  <c:v>1196.3831</c:v>
                </c:pt>
                <c:pt idx="45">
                  <c:v>1136.3933</c:v>
                </c:pt>
                <c:pt idx="46">
                  <c:v>1134.1898</c:v>
                </c:pt>
                <c:pt idx="47">
                  <c:v>1130.8366</c:v>
                </c:pt>
                <c:pt idx="48">
                  <c:v>1140.8612</c:v>
                </c:pt>
                <c:pt idx="49">
                  <c:v>1118.2769</c:v>
                </c:pt>
                <c:pt idx="50">
                  <c:v>988.6718</c:v>
                </c:pt>
                <c:pt idx="51">
                  <c:v>979.3193</c:v>
                </c:pt>
              </c:numCache>
            </c:numRef>
          </c:xVal>
          <c:yVal>
            <c:numRef>
              <c:f>Sheet1!$B$109:$B$160</c:f>
              <c:numCache>
                <c:formatCode>General</c:formatCode>
                <c:ptCount val="52"/>
                <c:pt idx="0">
                  <c:v>0.10558831788823364</c:v>
                </c:pt>
                <c:pt idx="1">
                  <c:v>0.137165539547192</c:v>
                </c:pt>
                <c:pt idx="2">
                  <c:v>0.13559959859508278</c:v>
                </c:pt>
                <c:pt idx="3">
                  <c:v>0.13314674130347862</c:v>
                </c:pt>
                <c:pt idx="4">
                  <c:v>0.13924223772397756</c:v>
                </c:pt>
                <c:pt idx="5">
                  <c:v>0.12627264313103265</c:v>
                </c:pt>
                <c:pt idx="6">
                  <c:v>0.11314083677077195</c:v>
                </c:pt>
                <c:pt idx="7">
                  <c:v>0.10547667342799188</c:v>
                </c:pt>
                <c:pt idx="8">
                  <c:v>0.09270854372853969</c:v>
                </c:pt>
                <c:pt idx="9">
                  <c:v>0.09231051569095247</c:v>
                </c:pt>
                <c:pt idx="10">
                  <c:v>0.09371594624046495</c:v>
                </c:pt>
                <c:pt idx="11">
                  <c:v>0.08885377415825939</c:v>
                </c:pt>
                <c:pt idx="12">
                  <c:v>0.08468626590609916</c:v>
                </c:pt>
                <c:pt idx="13">
                  <c:v>0.08364222401289283</c:v>
                </c:pt>
                <c:pt idx="14">
                  <c:v>0.08566523605150214</c:v>
                </c:pt>
                <c:pt idx="15">
                  <c:v>0.08128720238095238</c:v>
                </c:pt>
                <c:pt idx="16">
                  <c:v>0.07848155256984432</c:v>
                </c:pt>
                <c:pt idx="17">
                  <c:v>0.07801733718604134</c:v>
                </c:pt>
                <c:pt idx="18">
                  <c:v>0.06874836001049593</c:v>
                </c:pt>
                <c:pt idx="19">
                  <c:v>0.07596253902185224</c:v>
                </c:pt>
                <c:pt idx="20">
                  <c:v>0.08194808982210557</c:v>
                </c:pt>
                <c:pt idx="21">
                  <c:v>0.0906639703404112</c:v>
                </c:pt>
                <c:pt idx="22">
                  <c:v>0.09302325581395349</c:v>
                </c:pt>
                <c:pt idx="23">
                  <c:v>0.09587592527317589</c:v>
                </c:pt>
                <c:pt idx="24">
                  <c:v>0.08946515397082658</c:v>
                </c:pt>
                <c:pt idx="25">
                  <c:v>0.08888888888888889</c:v>
                </c:pt>
                <c:pt idx="26">
                  <c:v>0.07380796864794252</c:v>
                </c:pt>
                <c:pt idx="27">
                  <c:v>0.08359849580561181</c:v>
                </c:pt>
                <c:pt idx="28">
                  <c:v>0.0920568122041031</c:v>
                </c:pt>
                <c:pt idx="29">
                  <c:v>0.09416010498687664</c:v>
                </c:pt>
                <c:pt idx="30">
                  <c:v>0.09895305639986492</c:v>
                </c:pt>
                <c:pt idx="31">
                  <c:v>0.09796936230851443</c:v>
                </c:pt>
                <c:pt idx="32">
                  <c:v>0.10266875981161695</c:v>
                </c:pt>
                <c:pt idx="33">
                  <c:v>0.10294828419526342</c:v>
                </c:pt>
                <c:pt idx="34">
                  <c:v>0.10728582866293035</c:v>
                </c:pt>
                <c:pt idx="35">
                  <c:v>0.10942928039702234</c:v>
                </c:pt>
                <c:pt idx="36">
                  <c:v>0.10499806276636962</c:v>
                </c:pt>
                <c:pt idx="37">
                  <c:v>0.07275922671353251</c:v>
                </c:pt>
                <c:pt idx="38">
                  <c:v>0.08303393213572854</c:v>
                </c:pt>
                <c:pt idx="39">
                  <c:v>0.0928592418454305</c:v>
                </c:pt>
                <c:pt idx="40">
                  <c:v>0.08379081190407396</c:v>
                </c:pt>
                <c:pt idx="41">
                  <c:v>0.08841544607190413</c:v>
                </c:pt>
                <c:pt idx="42">
                  <c:v>0.09453032104637336</c:v>
                </c:pt>
                <c:pt idx="43">
                  <c:v>0.0900943396226415</c:v>
                </c:pt>
                <c:pt idx="44">
                  <c:v>0.08786610878661087</c:v>
                </c:pt>
                <c:pt idx="45">
                  <c:v>0.08658922914466737</c:v>
                </c:pt>
                <c:pt idx="46">
                  <c:v>0.08630365539208251</c:v>
                </c:pt>
                <c:pt idx="47">
                  <c:v>0.0836604846351699</c:v>
                </c:pt>
                <c:pt idx="48">
                  <c:v>0.07369108522912812</c:v>
                </c:pt>
                <c:pt idx="49">
                  <c:v>0.07783240924782928</c:v>
                </c:pt>
                <c:pt idx="50">
                  <c:v>0.10116121678421315</c:v>
                </c:pt>
                <c:pt idx="51">
                  <c:v>0.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3.5076766331038</c:v>
                </c:pt>
              </c:numCache>
            </c:numRef>
          </c:xVal>
          <c:yVal>
            <c:numRef>
              <c:f>Sheet1!$B$163:$B$164</c:f>
              <c:numCache>
                <c:formatCode>General</c:formatCode>
                <c:ptCount val="2"/>
                <c:pt idx="0">
                  <c:v>0.11781570448190082</c:v>
                </c:pt>
                <c:pt idx="1">
                  <c:v>0.117815704481900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3.5076766331038</c:v>
                </c:pt>
                <c:pt idx="1">
                  <c:v>953.5076766331038</c:v>
                </c:pt>
              </c:numCache>
            </c:numRef>
          </c:xVal>
          <c:yVal>
            <c:numRef>
              <c:f>Sheet1!$B$167:$B$168</c:f>
              <c:numCache>
                <c:formatCode>General</c:formatCode>
                <c:ptCount val="2"/>
                <c:pt idx="0">
                  <c:v>0.117815704481900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8.8481942908503</c:v>
                </c:pt>
              </c:numCache>
            </c:numRef>
          </c:xVal>
          <c:yVal>
            <c:numRef>
              <c:f>Sheet1!$B$171:$B$172</c:f>
              <c:numCache>
                <c:formatCode>General</c:formatCode>
                <c:ptCount val="2"/>
                <c:pt idx="0">
                  <c:v>0.12092679245736676</c:v>
                </c:pt>
                <c:pt idx="1">
                  <c:v>0.120926792457366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8.8481942908503</c:v>
                </c:pt>
                <c:pt idx="1">
                  <c:v>928.8481942908503</c:v>
                </c:pt>
              </c:numCache>
            </c:numRef>
          </c:xVal>
          <c:yVal>
            <c:numRef>
              <c:f>Sheet1!$B$175:$B$176</c:f>
              <c:numCache>
                <c:formatCode>General</c:formatCode>
                <c:ptCount val="2"/>
                <c:pt idx="0">
                  <c:v>0.120926792457366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8.132762381233</c:v>
                </c:pt>
              </c:numCache>
            </c:numRef>
          </c:xVal>
          <c:yVal>
            <c:numRef>
              <c:f>Sheet1!$B$179:$B$180</c:f>
              <c:numCache>
                <c:formatCode>General</c:formatCode>
                <c:ptCount val="2"/>
                <c:pt idx="0">
                  <c:v>0.0882149499777019</c:v>
                </c:pt>
                <c:pt idx="1">
                  <c:v>0.088214949977701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8.132762381233</c:v>
                </c:pt>
                <c:pt idx="1">
                  <c:v>1188.132762381233</c:v>
                </c:pt>
              </c:numCache>
            </c:numRef>
          </c:xVal>
          <c:yVal>
            <c:numRef>
              <c:f>Sheet1!$B$183:$B$184</c:f>
              <c:numCache>
                <c:formatCode>General</c:formatCode>
                <c:ptCount val="2"/>
                <c:pt idx="0">
                  <c:v>0.08821494997770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50.1503</c:v>
                </c:pt>
                <c:pt idx="1">
                  <c:v>987.0836</c:v>
                </c:pt>
                <c:pt idx="2">
                  <c:v>973.0675</c:v>
                </c:pt>
                <c:pt idx="3">
                  <c:v>985.5425</c:v>
                </c:pt>
                <c:pt idx="4">
                  <c:v>984.7495</c:v>
                </c:pt>
                <c:pt idx="5">
                  <c:v>971.9487</c:v>
                </c:pt>
                <c:pt idx="6">
                  <c:v>960.65</c:v>
                </c:pt>
                <c:pt idx="7">
                  <c:v>1084.0288</c:v>
                </c:pt>
                <c:pt idx="8">
                  <c:v>1231.7495</c:v>
                </c:pt>
                <c:pt idx="9">
                  <c:v>1186.1252</c:v>
                </c:pt>
                <c:pt idx="10">
                  <c:v>1194.1841</c:v>
                </c:pt>
                <c:pt idx="11">
                  <c:v>1065.5896</c:v>
                </c:pt>
                <c:pt idx="12">
                  <c:v>1125.513</c:v>
                </c:pt>
                <c:pt idx="13">
                  <c:v>1207.4566</c:v>
                </c:pt>
                <c:pt idx="14">
                  <c:v>1189.0301</c:v>
                </c:pt>
                <c:pt idx="15">
                  <c:v>1199.9382</c:v>
                </c:pt>
                <c:pt idx="16">
                  <c:v>1238.3451</c:v>
                </c:pt>
                <c:pt idx="17">
                  <c:v>1226.8718</c:v>
                </c:pt>
                <c:pt idx="18">
                  <c:v>1298.9771</c:v>
                </c:pt>
                <c:pt idx="19">
                  <c:v>1279.2979</c:v>
                </c:pt>
                <c:pt idx="20">
                  <c:v>1240.3416</c:v>
                </c:pt>
                <c:pt idx="21">
                  <c:v>1108.4572</c:v>
                </c:pt>
                <c:pt idx="22">
                  <c:v>1072.3415</c:v>
                </c:pt>
                <c:pt idx="23">
                  <c:v>1076.2316</c:v>
                </c:pt>
                <c:pt idx="24">
                  <c:v>1111.8188</c:v>
                </c:pt>
                <c:pt idx="25">
                  <c:v>1066.2308</c:v>
                </c:pt>
                <c:pt idx="26">
                  <c:v>1153.3407</c:v>
                </c:pt>
                <c:pt idx="27">
                  <c:v>1160.519</c:v>
                </c:pt>
                <c:pt idx="28">
                  <c:v>1152.6314</c:v>
                </c:pt>
                <c:pt idx="29">
                  <c:v>1148.7875</c:v>
                </c:pt>
                <c:pt idx="30">
                  <c:v>1136.2799</c:v>
                </c:pt>
                <c:pt idx="31">
                  <c:v>1110.4764</c:v>
                </c:pt>
                <c:pt idx="32">
                  <c:v>1092.6024</c:v>
                </c:pt>
                <c:pt idx="33">
                  <c:v>1105.7418</c:v>
                </c:pt>
                <c:pt idx="34">
                  <c:v>1109.2966</c:v>
                </c:pt>
                <c:pt idx="35">
                  <c:v>1083.6236</c:v>
                </c:pt>
                <c:pt idx="36">
                  <c:v>1094.3284</c:v>
                </c:pt>
                <c:pt idx="37">
                  <c:v>1273.2512</c:v>
                </c:pt>
                <c:pt idx="38">
                  <c:v>1305.6442</c:v>
                </c:pt>
                <c:pt idx="39">
                  <c:v>1254.1519</c:v>
                </c:pt>
                <c:pt idx="40">
                  <c:v>1263.269</c:v>
                </c:pt>
                <c:pt idx="41">
                  <c:v>1288.762</c:v>
                </c:pt>
                <c:pt idx="42">
                  <c:v>1251.1635</c:v>
                </c:pt>
                <c:pt idx="43">
                  <c:v>1299.2618</c:v>
                </c:pt>
                <c:pt idx="44">
                  <c:v>1196.3831</c:v>
                </c:pt>
                <c:pt idx="45">
                  <c:v>1136.3933</c:v>
                </c:pt>
                <c:pt idx="46">
                  <c:v>1134.1898</c:v>
                </c:pt>
                <c:pt idx="47">
                  <c:v>1130.8366</c:v>
                </c:pt>
                <c:pt idx="48">
                  <c:v>1140.8612</c:v>
                </c:pt>
                <c:pt idx="49">
                  <c:v>1118.2769</c:v>
                </c:pt>
                <c:pt idx="50">
                  <c:v>988.6718</c:v>
                </c:pt>
                <c:pt idx="51">
                  <c:v>979.3193</c:v>
                </c:pt>
                <c:pt idx="52">
                  <c:v>928.8481942908503</c:v>
                </c:pt>
                <c:pt idx="53">
                  <c:v>953.5076766331038</c:v>
                </c:pt>
                <c:pt idx="54">
                  <c:v>1188.132762381233</c:v>
                </c:pt>
              </c:numCache>
            </c:numRef>
          </c:xVal>
          <c:yVal>
            <c:numRef>
              <c:f>Sheet1!$B$187:$B$241</c:f>
              <c:numCache>
                <c:formatCode>General</c:formatCode>
                <c:ptCount val="55"/>
                <c:pt idx="0">
                  <c:v>0.10562308424351669</c:v>
                </c:pt>
                <c:pt idx="1">
                  <c:v>0.11357970106535985</c:v>
                </c:pt>
                <c:pt idx="2">
                  <c:v>0.1153479993437958</c:v>
                </c:pt>
                <c:pt idx="3">
                  <c:v>0.11377412922133032</c:v>
                </c:pt>
                <c:pt idx="4">
                  <c:v>0.11387417563472632</c:v>
                </c:pt>
                <c:pt idx="5">
                  <c:v>0.11548914931517971</c:v>
                </c:pt>
                <c:pt idx="6">
                  <c:v>0.11691461515507556</c:v>
                </c:pt>
                <c:pt idx="7">
                  <c:v>0.10134890717386164</c:v>
                </c:pt>
                <c:pt idx="8">
                  <c:v>0.0827121780195782</c:v>
                </c:pt>
                <c:pt idx="9">
                  <c:v>0.08846822792967052</c:v>
                </c:pt>
                <c:pt idx="10">
                  <c:v>0.08745150152246112</c:v>
                </c:pt>
                <c:pt idx="11">
                  <c:v>0.10367523230108933</c:v>
                </c:pt>
                <c:pt idx="12">
                  <c:v>0.096115180285334</c:v>
                </c:pt>
                <c:pt idx="13">
                  <c:v>0.08577701725789816</c:v>
                </c:pt>
                <c:pt idx="14">
                  <c:v>0.0881017401285683</c:v>
                </c:pt>
                <c:pt idx="15">
                  <c:v>0.08672555313996183</c:v>
                </c:pt>
                <c:pt idx="16">
                  <c:v>0.08188006436990017</c:v>
                </c:pt>
                <c:pt idx="17">
                  <c:v>0.08332755808341386</c:v>
                </c:pt>
                <c:pt idx="18">
                  <c:v>0.07423061400795011</c:v>
                </c:pt>
                <c:pt idx="19">
                  <c:v>0.07671337993292188</c:v>
                </c:pt>
                <c:pt idx="20">
                  <c:v>0.08162818206933886</c:v>
                </c:pt>
                <c:pt idx="21">
                  <c:v>0.09826697299353013</c:v>
                </c:pt>
                <c:pt idx="22">
                  <c:v>0.10282339954117953</c:v>
                </c:pt>
                <c:pt idx="23">
                  <c:v>0.102332617003031</c:v>
                </c:pt>
                <c:pt idx="24">
                  <c:v>0.09784286703732331</c:v>
                </c:pt>
                <c:pt idx="25">
                  <c:v>0.1035943372692236</c:v>
                </c:pt>
                <c:pt idx="26">
                  <c:v>0.09260438384389652</c:v>
                </c:pt>
                <c:pt idx="27">
                  <c:v>0.09169875563547214</c:v>
                </c:pt>
                <c:pt idx="28">
                  <c:v>0.0926938705034448</c:v>
                </c:pt>
                <c:pt idx="29">
                  <c:v>0.09317882436025804</c:v>
                </c:pt>
                <c:pt idx="30">
                  <c:v>0.09475680736176095</c:v>
                </c:pt>
                <c:pt idx="31">
                  <c:v>0.09801222681707464</c:v>
                </c:pt>
                <c:pt idx="32">
                  <c:v>0.10026724521939512</c:v>
                </c:pt>
                <c:pt idx="33">
                  <c:v>0.09860955310820288</c:v>
                </c:pt>
                <c:pt idx="34">
                  <c:v>0.09816107266641211</c:v>
                </c:pt>
                <c:pt idx="35">
                  <c:v>0.10140002798938252</c:v>
                </c:pt>
                <c:pt idx="36">
                  <c:v>0.10004948972189004</c:v>
                </c:pt>
                <c:pt idx="37">
                  <c:v>0.07747624329721142</c:v>
                </c:pt>
                <c:pt idx="38">
                  <c:v>0.07338947978001509</c:v>
                </c:pt>
                <c:pt idx="39">
                  <c:v>0.07988584791685108</c:v>
                </c:pt>
                <c:pt idx="40">
                  <c:v>0.07873561695143785</c:v>
                </c:pt>
                <c:pt idx="41">
                  <c:v>0.07551937077652704</c:v>
                </c:pt>
                <c:pt idx="42">
                  <c:v>0.08026287023941425</c:v>
                </c:pt>
                <c:pt idx="43">
                  <c:v>0.07419469570543583</c:v>
                </c:pt>
                <c:pt idx="44">
                  <c:v>0.08717407143033273</c:v>
                </c:pt>
                <c:pt idx="45">
                  <c:v>0.09474250059848341</c:v>
                </c:pt>
                <c:pt idx="46">
                  <c:v>0.09502049841931326</c:v>
                </c:pt>
                <c:pt idx="47">
                  <c:v>0.09544354461527729</c:v>
                </c:pt>
                <c:pt idx="48">
                  <c:v>0.09417882169506347</c:v>
                </c:pt>
                <c:pt idx="49">
                  <c:v>0.09702810065352416</c:v>
                </c:pt>
                <c:pt idx="50">
                  <c:v>0.11337933068231379</c:v>
                </c:pt>
                <c:pt idx="51">
                  <c:v>0.11455926016691166</c:v>
                </c:pt>
                <c:pt idx="52">
                  <c:v>0.12092679245736676</c:v>
                </c:pt>
                <c:pt idx="53">
                  <c:v>0.11781570448190082</c:v>
                </c:pt>
                <c:pt idx="54">
                  <c:v>0.08821494997770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7.0"/>
          <c:min val="5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709068526877308"/>
          <c:min val="0.0308311763014092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60619049205313</c:v>
                </c:pt>
                <c:pt idx="1">
                  <c:v>0.7686131806517238</c:v>
                </c:pt>
                <c:pt idx="2">
                  <c:v>0.8238947718580413</c:v>
                </c:pt>
                <c:pt idx="3">
                  <c:v>0.8313706864564007</c:v>
                </c:pt>
                <c:pt idx="4">
                  <c:v>0.7931075085324233</c:v>
                </c:pt>
                <c:pt idx="5">
                  <c:v>0.7906132296229655</c:v>
                </c:pt>
                <c:pt idx="6">
                  <c:v>0.9377516318773776</c:v>
                </c:pt>
                <c:pt idx="7">
                  <c:v>0.8208205787385637</c:v>
                </c:pt>
                <c:pt idx="8">
                  <c:v>0.6888975420940585</c:v>
                </c:pt>
                <c:pt idx="9">
                  <c:v>0.7195113103729366</c:v>
                </c:pt>
                <c:pt idx="10">
                  <c:v>0.7350076718974983</c:v>
                </c:pt>
                <c:pt idx="11">
                  <c:v>0.7411470496797862</c:v>
                </c:pt>
                <c:pt idx="12">
                  <c:v>0.7256506327111454</c:v>
                </c:pt>
                <c:pt idx="13">
                  <c:v>0.8203271466532502</c:v>
                </c:pt>
                <c:pt idx="14">
                  <c:v>0.7231893309617782</c:v>
                </c:pt>
                <c:pt idx="15">
                  <c:v>0.6699163803217032</c:v>
                </c:pt>
                <c:pt idx="16">
                  <c:v>0.6262604067429624</c:v>
                </c:pt>
                <c:pt idx="17">
                  <c:v>0.6289781256403352</c:v>
                </c:pt>
                <c:pt idx="18">
                  <c:v>0.7557974601379004</c:v>
                </c:pt>
                <c:pt idx="19">
                  <c:v>0.7804498874211705</c:v>
                </c:pt>
                <c:pt idx="20">
                  <c:v>0.7957615850318923</c:v>
                </c:pt>
                <c:pt idx="21">
                  <c:v>0.7795251602564103</c:v>
                </c:pt>
                <c:pt idx="22">
                  <c:v>0.7684504001136128</c:v>
                </c:pt>
                <c:pt idx="23">
                  <c:v>0.7169162942229156</c:v>
                </c:pt>
                <c:pt idx="24">
                  <c:v>0.7007449291927075</c:v>
                </c:pt>
                <c:pt idx="25">
                  <c:v>0.7889754983388705</c:v>
                </c:pt>
                <c:pt idx="26">
                  <c:v>0.823109656882744</c:v>
                </c:pt>
                <c:pt idx="27">
                  <c:v>0.7676979998293268</c:v>
                </c:pt>
                <c:pt idx="28">
                  <c:v>0.7474051561485271</c:v>
                </c:pt>
                <c:pt idx="29">
                  <c:v>0.7346641896939369</c:v>
                </c:pt>
                <c:pt idx="30">
                  <c:v>0.6804063575628764</c:v>
                </c:pt>
                <c:pt idx="31">
                  <c:v>0.7899478674468399</c:v>
                </c:pt>
                <c:pt idx="32">
                  <c:v>0.7276662807432042</c:v>
                </c:pt>
                <c:pt idx="33">
                  <c:v>0.8028045936500734</c:v>
                </c:pt>
                <c:pt idx="34">
                  <c:v>0.8680121541950113</c:v>
                </c:pt>
                <c:pt idx="35">
                  <c:v>0.879666584910849</c:v>
                </c:pt>
                <c:pt idx="36">
                  <c:v>0.924739672606917</c:v>
                </c:pt>
                <c:pt idx="37">
                  <c:v>0.9256941957870195</c:v>
                </c:pt>
                <c:pt idx="38">
                  <c:v>1.0659638252640424</c:v>
                </c:pt>
                <c:pt idx="39">
                  <c:v>1.0033829078339618</c:v>
                </c:pt>
                <c:pt idx="40">
                  <c:v>1.0183392613576516</c:v>
                </c:pt>
                <c:pt idx="41">
                  <c:v>0.9509122125115758</c:v>
                </c:pt>
                <c:pt idx="42">
                  <c:v>0.9850761584121912</c:v>
                </c:pt>
                <c:pt idx="43">
                  <c:v>0.9733166650306808</c:v>
                </c:pt>
                <c:pt idx="44">
                  <c:v>0.8784191717084772</c:v>
                </c:pt>
                <c:pt idx="45">
                  <c:v>0.8745571066165493</c:v>
                </c:pt>
                <c:pt idx="46">
                  <c:v>0.8566264156762905</c:v>
                </c:pt>
                <c:pt idx="47">
                  <c:v>0.9114901076178391</c:v>
                </c:pt>
                <c:pt idx="48">
                  <c:v>0.8925899502276269</c:v>
                </c:pt>
                <c:pt idx="49">
                  <c:v>0.872017539052611</c:v>
                </c:pt>
                <c:pt idx="50">
                  <c:v>0.8162833542979439</c:v>
                </c:pt>
                <c:pt idx="51">
                  <c:v>0.8739303100179349</c:v>
                </c:pt>
                <c:pt idx="52">
                  <c:v>0.8929613292880281</c:v>
                </c:pt>
                <c:pt idx="53">
                  <c:v>0.9319966083311094</c:v>
                </c:pt>
                <c:pt idx="54">
                  <c:v>1.001618945529519</c:v>
                </c:pt>
                <c:pt idx="55">
                  <c:v>1.0091708573760456</c:v>
                </c:pt>
                <c:pt idx="56">
                  <c:v>1.122006503228881</c:v>
                </c:pt>
                <c:pt idx="57">
                  <c:v>1.084810110364351</c:v>
                </c:pt>
                <c:pt idx="58">
                  <c:v>1.0210468145440903</c:v>
                </c:pt>
                <c:pt idx="59">
                  <c:v>0.9774554769140801</c:v>
                </c:pt>
                <c:pt idx="60">
                  <c:v>1.0332154225186783</c:v>
                </c:pt>
                <c:pt idx="61">
                  <c:v>0.9398675365623826</c:v>
                </c:pt>
                <c:pt idx="62">
                  <c:v>0.9671805281817849</c:v>
                </c:pt>
                <c:pt idx="63">
                  <c:v>0.9481982718105866</c:v>
                </c:pt>
                <c:pt idx="64">
                  <c:v>0.9429221376140494</c:v>
                </c:pt>
                <c:pt idx="65">
                  <c:v>0.9028414735551612</c:v>
                </c:pt>
                <c:pt idx="66">
                  <c:v>0.9085289091043964</c:v>
                </c:pt>
                <c:pt idx="67">
                  <c:v>0.9676824016807245</c:v>
                </c:pt>
                <c:pt idx="68">
                  <c:v>1.0142402833416657</c:v>
                </c:pt>
                <c:pt idx="69">
                  <c:v>0.9998499136671537</c:v>
                </c:pt>
                <c:pt idx="70">
                  <c:v>0.9909265042988173</c:v>
                </c:pt>
                <c:pt idx="71">
                  <c:v>0.9487491335579331</c:v>
                </c:pt>
                <c:pt idx="72">
                  <c:v>1.071817591752296</c:v>
                </c:pt>
                <c:pt idx="73">
                  <c:v>1.0700369904629157</c:v>
                </c:pt>
                <c:pt idx="74">
                  <c:v>1.0466671567018897</c:v>
                </c:pt>
                <c:pt idx="75">
                  <c:v>1.0018864259347295</c:v>
                </c:pt>
                <c:pt idx="76">
                  <c:v>1.0259851430031575</c:v>
                </c:pt>
                <c:pt idx="77">
                  <c:v>1.0018119677680795</c:v>
                </c:pt>
                <c:pt idx="78">
                  <c:v>0.9871138943303731</c:v>
                </c:pt>
                <c:pt idx="79">
                  <c:v>1.065843407704325</c:v>
                </c:pt>
                <c:pt idx="80">
                  <c:v>1.0774335335199108</c:v>
                </c:pt>
                <c:pt idx="81">
                  <c:v>1.1609753015963016</c:v>
                </c:pt>
                <c:pt idx="82">
                  <c:v>1.0887667783462074</c:v>
                </c:pt>
                <c:pt idx="83">
                  <c:v>1.251905883527122</c:v>
                </c:pt>
                <c:pt idx="84">
                  <c:v>1.170727795490782</c:v>
                </c:pt>
                <c:pt idx="85">
                  <c:v>1.0836599198143713</c:v>
                </c:pt>
                <c:pt idx="86">
                  <c:v>0.937343707852966</c:v>
                </c:pt>
                <c:pt idx="87">
                  <c:v>1.015989627219408</c:v>
                </c:pt>
                <c:pt idx="88">
                  <c:v>0.9099886582331287</c:v>
                </c:pt>
                <c:pt idx="89">
                  <c:v>0.9529657736578963</c:v>
                </c:pt>
                <c:pt idx="90">
                  <c:v>0.9552099270636849</c:v>
                </c:pt>
                <c:pt idx="91">
                  <c:v>1.0659213754671242</c:v>
                </c:pt>
                <c:pt idx="92">
                  <c:v>1.0496238454884204</c:v>
                </c:pt>
                <c:pt idx="93">
                  <c:v>0.9965265086992373</c:v>
                </c:pt>
                <c:pt idx="94">
                  <c:v>1.0262924009493908</c:v>
                </c:pt>
                <c:pt idx="95">
                  <c:v>1.0422566760473013</c:v>
                </c:pt>
                <c:pt idx="96">
                  <c:v>1.0779999828600975</c:v>
                </c:pt>
                <c:pt idx="97">
                  <c:v>1.0510108320061098</c:v>
                </c:pt>
                <c:pt idx="98">
                  <c:v>1.0818361398147915</c:v>
                </c:pt>
                <c:pt idx="99">
                  <c:v>1.0923843718079673</c:v>
                </c:pt>
                <c:pt idx="100">
                  <c:v>1.118036532922964</c:v>
                </c:pt>
                <c:pt idx="101">
                  <c:v>0.9518856207933204</c:v>
                </c:pt>
                <c:pt idx="102">
                  <c:v>1.065738667080343</c:v>
                </c:pt>
                <c:pt idx="103">
                  <c:v>0.6636632643878467</c:v>
                </c:pt>
                <c:pt idx="104">
                  <c:v>0.7687561463500513</c:v>
                </c:pt>
              </c:numCache>
            </c:numRef>
          </c:xVal>
          <c:yVal>
            <c:numRef>
              <c:f>Sheet1!$B$2:$B$106</c:f>
              <c:numCache>
                <c:formatCode>General</c:formatCode>
                <c:ptCount val="105"/>
                <c:pt idx="0">
                  <c:v>0.09998573669947226</c:v>
                </c:pt>
                <c:pt idx="1">
                  <c:v>0.10134912800263245</c:v>
                </c:pt>
                <c:pt idx="2">
                  <c:v>0.09500670241286863</c:v>
                </c:pt>
                <c:pt idx="3">
                  <c:v>0.1038139534883721</c:v>
                </c:pt>
                <c:pt idx="4">
                  <c:v>0.11526282457251424</c:v>
                </c:pt>
                <c:pt idx="5">
                  <c:v>0.1057655593738068</c:v>
                </c:pt>
                <c:pt idx="6">
                  <c:v>0.10030758714969241</c:v>
                </c:pt>
                <c:pt idx="7">
                  <c:v>0.09558046098540918</c:v>
                </c:pt>
                <c:pt idx="8">
                  <c:v>0.10194285714285714</c:v>
                </c:pt>
                <c:pt idx="9">
                  <c:v>0.07742552174605703</c:v>
                </c:pt>
                <c:pt idx="10">
                  <c:v>0.08095085126887247</c:v>
                </c:pt>
                <c:pt idx="11">
                  <c:v>0.08752166377816291</c:v>
                </c:pt>
                <c:pt idx="12">
                  <c:v>0.08882754140954856</c:v>
                </c:pt>
                <c:pt idx="13">
                  <c:v>0.09630112432784749</c:v>
                </c:pt>
                <c:pt idx="14">
                  <c:v>0.09465020576131687</c:v>
                </c:pt>
                <c:pt idx="15">
                  <c:v>0.1032171581769437</c:v>
                </c:pt>
                <c:pt idx="16">
                  <c:v>0.11522810023559649</c:v>
                </c:pt>
                <c:pt idx="17">
                  <c:v>0.11287952987267386</c:v>
                </c:pt>
                <c:pt idx="18">
                  <c:v>0.09594000517196793</c:v>
                </c:pt>
                <c:pt idx="19">
                  <c:v>0.07584893684544589</c:v>
                </c:pt>
                <c:pt idx="20">
                  <c:v>0.081491344873502</c:v>
                </c:pt>
                <c:pt idx="21">
                  <c:v>0.08478038815117467</c:v>
                </c:pt>
                <c:pt idx="22">
                  <c:v>0.06350681536555143</c:v>
                </c:pt>
                <c:pt idx="23">
                  <c:v>0.07529335071707953</c:v>
                </c:pt>
                <c:pt idx="24">
                  <c:v>0.07252946509519492</c:v>
                </c:pt>
                <c:pt idx="25">
                  <c:v>0.06952965235173825</c:v>
                </c:pt>
                <c:pt idx="26">
                  <c:v>0.06845677190911774</c:v>
                </c:pt>
                <c:pt idx="27">
                  <c:v>0.07316407316407317</c:v>
                </c:pt>
                <c:pt idx="28">
                  <c:v>0.07660208643815201</c:v>
                </c:pt>
                <c:pt idx="29">
                  <c:v>0.08070082293602336</c:v>
                </c:pt>
                <c:pt idx="30">
                  <c:v>0.06324503311258278</c:v>
                </c:pt>
                <c:pt idx="31">
                  <c:v>0.05140610825521621</c:v>
                </c:pt>
                <c:pt idx="32">
                  <c:v>0.05541795665634675</c:v>
                </c:pt>
                <c:pt idx="33">
                  <c:v>0.05737109658678286</c:v>
                </c:pt>
                <c:pt idx="34">
                  <c:v>0.052816129739206664</c:v>
                </c:pt>
                <c:pt idx="35">
                  <c:v>0.043529643490250146</c:v>
                </c:pt>
                <c:pt idx="36">
                  <c:v>0.04328899637243047</c:v>
                </c:pt>
                <c:pt idx="37">
                  <c:v>0.042090784044016505</c:v>
                </c:pt>
                <c:pt idx="38">
                  <c:v>0.03853897037676158</c:v>
                </c:pt>
                <c:pt idx="39">
                  <c:v>0.05884083553986467</c:v>
                </c:pt>
                <c:pt idx="40">
                  <c:v>0.05678605089538172</c:v>
                </c:pt>
                <c:pt idx="41">
                  <c:v>0.06309904153354633</c:v>
                </c:pt>
                <c:pt idx="42">
                  <c:v>0.05950720595072059</c:v>
                </c:pt>
                <c:pt idx="43">
                  <c:v>0.05983436853002071</c:v>
                </c:pt>
                <c:pt idx="44">
                  <c:v>0.08248184168410685</c:v>
                </c:pt>
                <c:pt idx="45">
                  <c:v>0.10018472237313919</c:v>
                </c:pt>
                <c:pt idx="46">
                  <c:v>0.09975749559082893</c:v>
                </c:pt>
                <c:pt idx="47">
                  <c:v>0.09852825525221885</c:v>
                </c:pt>
                <c:pt idx="48">
                  <c:v>0.1114602282123367</c:v>
                </c:pt>
                <c:pt idx="49">
                  <c:v>0.1286523216308041</c:v>
                </c:pt>
                <c:pt idx="50">
                  <c:v>0.10989867498051442</c:v>
                </c:pt>
                <c:pt idx="51">
                  <c:v>0.09577710056595559</c:v>
                </c:pt>
                <c:pt idx="52">
                  <c:v>0.09765530577713319</c:v>
                </c:pt>
                <c:pt idx="53">
                  <c:v>0.086276867578536</c:v>
                </c:pt>
                <c:pt idx="54">
                  <c:v>0.07768456375838927</c:v>
                </c:pt>
                <c:pt idx="55">
                  <c:v>0.07346378304153793</c:v>
                </c:pt>
                <c:pt idx="56">
                  <c:v>0.08222559817698442</c:v>
                </c:pt>
                <c:pt idx="57">
                  <c:v>0.0787413901064496</c:v>
                </c:pt>
                <c:pt idx="58">
                  <c:v>0.085166784953868</c:v>
                </c:pt>
                <c:pt idx="59">
                  <c:v>0.09210760734010333</c:v>
                </c:pt>
                <c:pt idx="60">
                  <c:v>0.10802594244021078</c:v>
                </c:pt>
                <c:pt idx="61">
                  <c:v>0.12050333086602516</c:v>
                </c:pt>
                <c:pt idx="62">
                  <c:v>0.10597079658811624</c:v>
                </c:pt>
                <c:pt idx="63">
                  <c:v>0.11075907590759076</c:v>
                </c:pt>
                <c:pt idx="64">
                  <c:v>0.09796788760662319</c:v>
                </c:pt>
                <c:pt idx="65">
                  <c:v>0.08843992507358844</c:v>
                </c:pt>
                <c:pt idx="66">
                  <c:v>0.08307442928542483</c:v>
                </c:pt>
                <c:pt idx="67">
                  <c:v>0.07760141093474426</c:v>
                </c:pt>
                <c:pt idx="68">
                  <c:v>0.06433591638132997</c:v>
                </c:pt>
                <c:pt idx="69">
                  <c:v>0.06291165114694526</c:v>
                </c:pt>
                <c:pt idx="70">
                  <c:v>0.0589010989010989</c:v>
                </c:pt>
                <c:pt idx="71">
                  <c:v>0.07041564792176039</c:v>
                </c:pt>
                <c:pt idx="72">
                  <c:v>0.06704274246040356</c:v>
                </c:pt>
                <c:pt idx="73">
                  <c:v>0.0701930308347957</c:v>
                </c:pt>
                <c:pt idx="74">
                  <c:v>0.0800453514739229</c:v>
                </c:pt>
                <c:pt idx="75">
                  <c:v>0.0729030572249804</c:v>
                </c:pt>
                <c:pt idx="76">
                  <c:v>0.07224770642201835</c:v>
                </c:pt>
                <c:pt idx="77">
                  <c:v>0.06782285537318056</c:v>
                </c:pt>
                <c:pt idx="78">
                  <c:v>0.06678023850085178</c:v>
                </c:pt>
                <c:pt idx="79">
                  <c:v>0.061528899937849595</c:v>
                </c:pt>
                <c:pt idx="80">
                  <c:v>0.05306246209824136</c:v>
                </c:pt>
                <c:pt idx="81">
                  <c:v>0.052407221664994987</c:v>
                </c:pt>
                <c:pt idx="82">
                  <c:v>0.04941176470588235</c:v>
                </c:pt>
                <c:pt idx="83">
                  <c:v>0.044600073719130114</c:v>
                </c:pt>
                <c:pt idx="84">
                  <c:v>0.04557148107313488</c:v>
                </c:pt>
                <c:pt idx="85">
                  <c:v>0.050922978994271166</c:v>
                </c:pt>
                <c:pt idx="86">
                  <c:v>0.05635148042024833</c:v>
                </c:pt>
                <c:pt idx="87">
                  <c:v>0.0624860522204865</c:v>
                </c:pt>
                <c:pt idx="88">
                  <c:v>0.05940039226674138</c:v>
                </c:pt>
                <c:pt idx="89">
                  <c:v>0.06374378109452736</c:v>
                </c:pt>
                <c:pt idx="90">
                  <c:v>0.06528</c:v>
                </c:pt>
                <c:pt idx="91">
                  <c:v>0.06107109301597244</c:v>
                </c:pt>
                <c:pt idx="92">
                  <c:v>0.06745005875440659</c:v>
                </c:pt>
                <c:pt idx="93">
                  <c:v>0.06555530524892994</c:v>
                </c:pt>
                <c:pt idx="94">
                  <c:v>0.06357089644896946</c:v>
                </c:pt>
                <c:pt idx="95">
                  <c:v>0.0647940074906367</c:v>
                </c:pt>
                <c:pt idx="96">
                  <c:v>0.066938152201578</c:v>
                </c:pt>
                <c:pt idx="97">
                  <c:v>0.07996920030799692</c:v>
                </c:pt>
                <c:pt idx="98">
                  <c:v>0.0856485916842307</c:v>
                </c:pt>
                <c:pt idx="99">
                  <c:v>0.08971371504660453</c:v>
                </c:pt>
                <c:pt idx="100">
                  <c:v>0.09335482271262088</c:v>
                </c:pt>
                <c:pt idx="101">
                  <c:v>0.0990892132118951</c:v>
                </c:pt>
                <c:pt idx="102">
                  <c:v>0.08446526151444184</c:v>
                </c:pt>
                <c:pt idx="103">
                  <c:v>0.13824355374010722</c:v>
                </c:pt>
                <c:pt idx="104">
                  <c:v>0.12146499768196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958395983225253</c:v>
                </c:pt>
                <c:pt idx="1">
                  <c:v>0.9721006132480084</c:v>
                </c:pt>
                <c:pt idx="2">
                  <c:v>0.9613707900091951</c:v>
                </c:pt>
                <c:pt idx="3">
                  <c:v>0.900700642682285</c:v>
                </c:pt>
                <c:pt idx="4">
                  <c:v>1.0436255299071595</c:v>
                </c:pt>
                <c:pt idx="5">
                  <c:v>0.948425749713042</c:v>
                </c:pt>
                <c:pt idx="6">
                  <c:v>0.9444875512283598</c:v>
                </c:pt>
                <c:pt idx="7">
                  <c:v>1.1937344262540597</c:v>
                </c:pt>
                <c:pt idx="8">
                  <c:v>1.1631750939251875</c:v>
                </c:pt>
                <c:pt idx="9">
                  <c:v>1.053295102579315</c:v>
                </c:pt>
                <c:pt idx="10">
                  <c:v>1.171591136523285</c:v>
                </c:pt>
                <c:pt idx="11">
                  <c:v>1.0852473361480515</c:v>
                </c:pt>
                <c:pt idx="12">
                  <c:v>1.0484774801655596</c:v>
                </c:pt>
                <c:pt idx="13">
                  <c:v>1.1307354108584655</c:v>
                </c:pt>
                <c:pt idx="14">
                  <c:v>1.1680059921414538</c:v>
                </c:pt>
                <c:pt idx="15">
                  <c:v>1.167185004557606</c:v>
                </c:pt>
                <c:pt idx="16">
                  <c:v>1.1359400999862403</c:v>
                </c:pt>
                <c:pt idx="17">
                  <c:v>1.352240892885268</c:v>
                </c:pt>
                <c:pt idx="18">
                  <c:v>1.1912768567051177</c:v>
                </c:pt>
                <c:pt idx="19">
                  <c:v>1.1934941447974885</c:v>
                </c:pt>
                <c:pt idx="20">
                  <c:v>1.0244830263483935</c:v>
                </c:pt>
                <c:pt idx="21">
                  <c:v>1.1909290357238786</c:v>
                </c:pt>
                <c:pt idx="22">
                  <c:v>0.9469844353681421</c:v>
                </c:pt>
                <c:pt idx="23">
                  <c:v>0.8796422816802913</c:v>
                </c:pt>
                <c:pt idx="24">
                  <c:v>1.0419492274355457</c:v>
                </c:pt>
                <c:pt idx="25">
                  <c:v>1.0371689122122478</c:v>
                </c:pt>
                <c:pt idx="26">
                  <c:v>1.0233527003073677</c:v>
                </c:pt>
                <c:pt idx="27">
                  <c:v>1.008854564151103</c:v>
                </c:pt>
                <c:pt idx="28">
                  <c:v>0.9826354646206309</c:v>
                </c:pt>
                <c:pt idx="29">
                  <c:v>0.9793137329786124</c:v>
                </c:pt>
                <c:pt idx="30">
                  <c:v>0.8964322029893541</c:v>
                </c:pt>
                <c:pt idx="31">
                  <c:v>1.2462042426833744</c:v>
                </c:pt>
                <c:pt idx="32">
                  <c:v>0.9193367495517969</c:v>
                </c:pt>
                <c:pt idx="33">
                  <c:v>0.9335093288307302</c:v>
                </c:pt>
                <c:pt idx="34">
                  <c:v>1.0046611420549743</c:v>
                </c:pt>
                <c:pt idx="35">
                  <c:v>1.1116268133812497</c:v>
                </c:pt>
                <c:pt idx="36">
                  <c:v>0.9137106477132779</c:v>
                </c:pt>
                <c:pt idx="37">
                  <c:v>1.2514463738165327</c:v>
                </c:pt>
                <c:pt idx="38">
                  <c:v>1.1410541056849854</c:v>
                </c:pt>
                <c:pt idx="39">
                  <c:v>1.165568680297398</c:v>
                </c:pt>
                <c:pt idx="40">
                  <c:v>1.1278895457171199</c:v>
                </c:pt>
                <c:pt idx="41">
                  <c:v>1.0887145178465152</c:v>
                </c:pt>
                <c:pt idx="42">
                  <c:v>1.0067938843212223</c:v>
                </c:pt>
                <c:pt idx="43">
                  <c:v>1.0409590532850823</c:v>
                </c:pt>
                <c:pt idx="44">
                  <c:v>0.9440425175485574</c:v>
                </c:pt>
                <c:pt idx="45">
                  <c:v>0.9694809620508755</c:v>
                </c:pt>
                <c:pt idx="46">
                  <c:v>0.9341098270028197</c:v>
                </c:pt>
                <c:pt idx="47">
                  <c:v>0.8978831509755787</c:v>
                </c:pt>
                <c:pt idx="48">
                  <c:v>1.0019931638362407</c:v>
                </c:pt>
                <c:pt idx="49">
                  <c:v>0.8843668967111991</c:v>
                </c:pt>
                <c:pt idx="50">
                  <c:v>0.8362996015642385</c:v>
                </c:pt>
                <c:pt idx="51">
                  <c:v>0.8438538397781224</c:v>
                </c:pt>
              </c:numCache>
            </c:numRef>
          </c:xVal>
          <c:yVal>
            <c:numRef>
              <c:f>Sheet1!$B$109:$B$160</c:f>
              <c:numCache>
                <c:formatCode>General</c:formatCode>
                <c:ptCount val="52"/>
                <c:pt idx="0">
                  <c:v>0.10558831788823364</c:v>
                </c:pt>
                <c:pt idx="1">
                  <c:v>0.137165539547192</c:v>
                </c:pt>
                <c:pt idx="2">
                  <c:v>0.13559959859508278</c:v>
                </c:pt>
                <c:pt idx="3">
                  <c:v>0.13314674130347862</c:v>
                </c:pt>
                <c:pt idx="4">
                  <c:v>0.13924223772397756</c:v>
                </c:pt>
                <c:pt idx="5">
                  <c:v>0.12627264313103265</c:v>
                </c:pt>
                <c:pt idx="6">
                  <c:v>0.11314083677077195</c:v>
                </c:pt>
                <c:pt idx="7">
                  <c:v>0.10547667342799188</c:v>
                </c:pt>
                <c:pt idx="8">
                  <c:v>0.09270854372853969</c:v>
                </c:pt>
                <c:pt idx="9">
                  <c:v>0.09231051569095247</c:v>
                </c:pt>
                <c:pt idx="10">
                  <c:v>0.09371594624046495</c:v>
                </c:pt>
                <c:pt idx="11">
                  <c:v>0.08885377415825939</c:v>
                </c:pt>
                <c:pt idx="12">
                  <c:v>0.08468626590609916</c:v>
                </c:pt>
                <c:pt idx="13">
                  <c:v>0.08364222401289283</c:v>
                </c:pt>
                <c:pt idx="14">
                  <c:v>0.08566523605150214</c:v>
                </c:pt>
                <c:pt idx="15">
                  <c:v>0.08128720238095238</c:v>
                </c:pt>
                <c:pt idx="16">
                  <c:v>0.07848155256984432</c:v>
                </c:pt>
                <c:pt idx="17">
                  <c:v>0.07801733718604134</c:v>
                </c:pt>
                <c:pt idx="18">
                  <c:v>0.06874836001049593</c:v>
                </c:pt>
                <c:pt idx="19">
                  <c:v>0.07596253902185224</c:v>
                </c:pt>
                <c:pt idx="20">
                  <c:v>0.08194808982210557</c:v>
                </c:pt>
                <c:pt idx="21">
                  <c:v>0.0906639703404112</c:v>
                </c:pt>
                <c:pt idx="22">
                  <c:v>0.09302325581395349</c:v>
                </c:pt>
                <c:pt idx="23">
                  <c:v>0.09587592527317589</c:v>
                </c:pt>
                <c:pt idx="24">
                  <c:v>0.08946515397082658</c:v>
                </c:pt>
                <c:pt idx="25">
                  <c:v>0.08888888888888889</c:v>
                </c:pt>
                <c:pt idx="26">
                  <c:v>0.07380796864794252</c:v>
                </c:pt>
                <c:pt idx="27">
                  <c:v>0.08359849580561181</c:v>
                </c:pt>
                <c:pt idx="28">
                  <c:v>0.0920568122041031</c:v>
                </c:pt>
                <c:pt idx="29">
                  <c:v>0.09416010498687664</c:v>
                </c:pt>
                <c:pt idx="30">
                  <c:v>0.09895305639986492</c:v>
                </c:pt>
                <c:pt idx="31">
                  <c:v>0.09796936230851443</c:v>
                </c:pt>
                <c:pt idx="32">
                  <c:v>0.10266875981161695</c:v>
                </c:pt>
                <c:pt idx="33">
                  <c:v>0.10294828419526342</c:v>
                </c:pt>
                <c:pt idx="34">
                  <c:v>0.10728582866293035</c:v>
                </c:pt>
                <c:pt idx="35">
                  <c:v>0.10942928039702234</c:v>
                </c:pt>
                <c:pt idx="36">
                  <c:v>0.10499806276636962</c:v>
                </c:pt>
                <c:pt idx="37">
                  <c:v>0.07275922671353251</c:v>
                </c:pt>
                <c:pt idx="38">
                  <c:v>0.08303393213572854</c:v>
                </c:pt>
                <c:pt idx="39">
                  <c:v>0.0928592418454305</c:v>
                </c:pt>
                <c:pt idx="40">
                  <c:v>0.08379081190407396</c:v>
                </c:pt>
                <c:pt idx="41">
                  <c:v>0.08841544607190413</c:v>
                </c:pt>
                <c:pt idx="42">
                  <c:v>0.09453032104637336</c:v>
                </c:pt>
                <c:pt idx="43">
                  <c:v>0.0900943396226415</c:v>
                </c:pt>
                <c:pt idx="44">
                  <c:v>0.08786610878661087</c:v>
                </c:pt>
                <c:pt idx="45">
                  <c:v>0.08658922914466737</c:v>
                </c:pt>
                <c:pt idx="46">
                  <c:v>0.08630365539208251</c:v>
                </c:pt>
                <c:pt idx="47">
                  <c:v>0.0836604846351699</c:v>
                </c:pt>
                <c:pt idx="48">
                  <c:v>0.07369108522912812</c:v>
                </c:pt>
                <c:pt idx="49">
                  <c:v>0.07783240924782928</c:v>
                </c:pt>
                <c:pt idx="50">
                  <c:v>0.10116121678421315</c:v>
                </c:pt>
                <c:pt idx="51">
                  <c:v>0.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965811360591402</c:v>
                </c:pt>
              </c:numCache>
            </c:numRef>
          </c:xVal>
          <c:yVal>
            <c:numRef>
              <c:f>Sheet1!$B$163:$B$164</c:f>
              <c:numCache>
                <c:formatCode>General</c:formatCode>
                <c:ptCount val="2"/>
                <c:pt idx="0">
                  <c:v>0.11781570448190082</c:v>
                </c:pt>
                <c:pt idx="1">
                  <c:v>0.117815704481900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965811360591402</c:v>
                </c:pt>
                <c:pt idx="1">
                  <c:v>0.5965811360591402</c:v>
                </c:pt>
              </c:numCache>
            </c:numRef>
          </c:xVal>
          <c:yVal>
            <c:numRef>
              <c:f>Sheet1!$B$167:$B$168</c:f>
              <c:numCache>
                <c:formatCode>General</c:formatCode>
                <c:ptCount val="2"/>
                <c:pt idx="0">
                  <c:v>0.117815704481900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375655025170196</c:v>
                </c:pt>
              </c:numCache>
            </c:numRef>
          </c:xVal>
          <c:yVal>
            <c:numRef>
              <c:f>Sheet1!$B$171:$B$172</c:f>
              <c:numCache>
                <c:formatCode>General</c:formatCode>
                <c:ptCount val="2"/>
                <c:pt idx="0">
                  <c:v>0.12092679245736676</c:v>
                </c:pt>
                <c:pt idx="1">
                  <c:v>0.120926792457366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375655025170196</c:v>
                </c:pt>
                <c:pt idx="1">
                  <c:v>0.5375655025170196</c:v>
                </c:pt>
              </c:numCache>
            </c:numRef>
          </c:xVal>
          <c:yVal>
            <c:numRef>
              <c:f>Sheet1!$B$175:$B$176</c:f>
              <c:numCache>
                <c:formatCode>General</c:formatCode>
                <c:ptCount val="2"/>
                <c:pt idx="0">
                  <c:v>0.120926792457366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580912232589238</c:v>
                </c:pt>
              </c:numCache>
            </c:numRef>
          </c:xVal>
          <c:yVal>
            <c:numRef>
              <c:f>Sheet1!$B$179:$B$180</c:f>
              <c:numCache>
                <c:formatCode>General</c:formatCode>
                <c:ptCount val="2"/>
                <c:pt idx="0">
                  <c:v>0.0882149499777019</c:v>
                </c:pt>
                <c:pt idx="1">
                  <c:v>0.088214949977701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580912232589238</c:v>
                </c:pt>
                <c:pt idx="1">
                  <c:v>1.1580912232589238</c:v>
                </c:pt>
              </c:numCache>
            </c:numRef>
          </c:xVal>
          <c:yVal>
            <c:numRef>
              <c:f>Sheet1!$B$183:$B$184</c:f>
              <c:numCache>
                <c:formatCode>General</c:formatCode>
                <c:ptCount val="2"/>
                <c:pt idx="0">
                  <c:v>0.08821494997770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958395983225253</c:v>
                </c:pt>
                <c:pt idx="1">
                  <c:v>0.9721006132480084</c:v>
                </c:pt>
                <c:pt idx="2">
                  <c:v>0.9613707900091951</c:v>
                </c:pt>
                <c:pt idx="3">
                  <c:v>0.900700642682285</c:v>
                </c:pt>
                <c:pt idx="4">
                  <c:v>1.0436255299071595</c:v>
                </c:pt>
                <c:pt idx="5">
                  <c:v>0.948425749713042</c:v>
                </c:pt>
                <c:pt idx="6">
                  <c:v>0.9444875512283598</c:v>
                </c:pt>
                <c:pt idx="7">
                  <c:v>1.1937344262540597</c:v>
                </c:pt>
                <c:pt idx="8">
                  <c:v>1.1631750939251875</c:v>
                </c:pt>
                <c:pt idx="9">
                  <c:v>1.053295102579315</c:v>
                </c:pt>
                <c:pt idx="10">
                  <c:v>1.171591136523285</c:v>
                </c:pt>
                <c:pt idx="11">
                  <c:v>1.0852473361480515</c:v>
                </c:pt>
                <c:pt idx="12">
                  <c:v>1.0484774801655596</c:v>
                </c:pt>
                <c:pt idx="13">
                  <c:v>1.1307354108584655</c:v>
                </c:pt>
                <c:pt idx="14">
                  <c:v>1.1680059921414538</c:v>
                </c:pt>
                <c:pt idx="15">
                  <c:v>1.167185004557606</c:v>
                </c:pt>
                <c:pt idx="16">
                  <c:v>1.1359400999862403</c:v>
                </c:pt>
                <c:pt idx="17">
                  <c:v>1.352240892885268</c:v>
                </c:pt>
                <c:pt idx="18">
                  <c:v>1.1912768567051177</c:v>
                </c:pt>
                <c:pt idx="19">
                  <c:v>1.1934941447974885</c:v>
                </c:pt>
                <c:pt idx="20">
                  <c:v>1.0244830263483935</c:v>
                </c:pt>
                <c:pt idx="21">
                  <c:v>1.1909290357238786</c:v>
                </c:pt>
                <c:pt idx="22">
                  <c:v>0.9469844353681421</c:v>
                </c:pt>
                <c:pt idx="23">
                  <c:v>0.8796422816802913</c:v>
                </c:pt>
                <c:pt idx="24">
                  <c:v>1.0419492274355457</c:v>
                </c:pt>
                <c:pt idx="25">
                  <c:v>1.0371689122122478</c:v>
                </c:pt>
                <c:pt idx="26">
                  <c:v>1.0233527003073677</c:v>
                </c:pt>
                <c:pt idx="27">
                  <c:v>1.008854564151103</c:v>
                </c:pt>
                <c:pt idx="28">
                  <c:v>0.9826354646206309</c:v>
                </c:pt>
                <c:pt idx="29">
                  <c:v>0.9793137329786124</c:v>
                </c:pt>
                <c:pt idx="30">
                  <c:v>0.8964322029893541</c:v>
                </c:pt>
                <c:pt idx="31">
                  <c:v>1.2462042426833744</c:v>
                </c:pt>
                <c:pt idx="32">
                  <c:v>0.9193367495517969</c:v>
                </c:pt>
                <c:pt idx="33">
                  <c:v>0.9335093288307302</c:v>
                </c:pt>
                <c:pt idx="34">
                  <c:v>1.0046611420549743</c:v>
                </c:pt>
                <c:pt idx="35">
                  <c:v>1.1116268133812497</c:v>
                </c:pt>
                <c:pt idx="36">
                  <c:v>0.9137106477132779</c:v>
                </c:pt>
                <c:pt idx="37">
                  <c:v>1.2514463738165327</c:v>
                </c:pt>
                <c:pt idx="38">
                  <c:v>1.1410541056849854</c:v>
                </c:pt>
                <c:pt idx="39">
                  <c:v>1.165568680297398</c:v>
                </c:pt>
                <c:pt idx="40">
                  <c:v>1.1278895457171199</c:v>
                </c:pt>
                <c:pt idx="41">
                  <c:v>1.0887145178465152</c:v>
                </c:pt>
                <c:pt idx="42">
                  <c:v>1.0067938843212223</c:v>
                </c:pt>
                <c:pt idx="43">
                  <c:v>1.0409590532850823</c:v>
                </c:pt>
                <c:pt idx="44">
                  <c:v>0.9440425175485574</c:v>
                </c:pt>
                <c:pt idx="45">
                  <c:v>0.9694809620508755</c:v>
                </c:pt>
                <c:pt idx="46">
                  <c:v>0.9341098270028197</c:v>
                </c:pt>
                <c:pt idx="47">
                  <c:v>0.8978831509755787</c:v>
                </c:pt>
                <c:pt idx="48">
                  <c:v>1.0019931638362407</c:v>
                </c:pt>
                <c:pt idx="49">
                  <c:v>0.8843668967111991</c:v>
                </c:pt>
                <c:pt idx="50">
                  <c:v>0.8362996015642385</c:v>
                </c:pt>
                <c:pt idx="51">
                  <c:v>0.8438538397781224</c:v>
                </c:pt>
                <c:pt idx="52">
                  <c:v>0.5375655025170196</c:v>
                </c:pt>
                <c:pt idx="53">
                  <c:v>0.5965811360591402</c:v>
                </c:pt>
                <c:pt idx="54">
                  <c:v>1.1580912232589238</c:v>
                </c:pt>
              </c:numCache>
            </c:numRef>
          </c:xVal>
          <c:yVal>
            <c:numRef>
              <c:f>Sheet1!$B$187:$B$241</c:f>
              <c:numCache>
                <c:formatCode>General</c:formatCode>
                <c:ptCount val="55"/>
                <c:pt idx="0">
                  <c:v>0.09676826117750743</c:v>
                </c:pt>
                <c:pt idx="1">
                  <c:v>0.09801969349437621</c:v>
                </c:pt>
                <c:pt idx="2">
                  <c:v>0.09858533046298254</c:v>
                </c:pt>
                <c:pt idx="3">
                  <c:v>0.10178363834327976</c:v>
                </c:pt>
                <c:pt idx="4">
                  <c:v>0.09424916194521185</c:v>
                </c:pt>
                <c:pt idx="5">
                  <c:v>0.09926774555861208</c:v>
                </c:pt>
                <c:pt idx="6">
                  <c:v>0.09947535295372627</c:v>
                </c:pt>
                <c:pt idx="7">
                  <c:v>0.08633597090741682</c:v>
                </c:pt>
                <c:pt idx="8">
                  <c:v>0.08794694694275441</c:v>
                </c:pt>
                <c:pt idx="9">
                  <c:v>0.09373941750187267</c:v>
                </c:pt>
                <c:pt idx="10">
                  <c:v>0.08750328401216395</c:v>
                </c:pt>
                <c:pt idx="11">
                  <c:v>0.09205501281656116</c:v>
                </c:pt>
                <c:pt idx="12">
                  <c:v>0.09399338490444359</c:v>
                </c:pt>
                <c:pt idx="13">
                  <c:v>0.0896570481796542</c:v>
                </c:pt>
                <c:pt idx="14">
                  <c:v>0.08769227968851576</c:v>
                </c:pt>
                <c:pt idx="15">
                  <c:v>0.08773555914595466</c:v>
                </c:pt>
                <c:pt idx="16">
                  <c:v>0.08938267603807748</c:v>
                </c:pt>
                <c:pt idx="17">
                  <c:v>0.07798009073173437</c:v>
                </c:pt>
                <c:pt idx="18">
                  <c:v>0.08646552496985228</c:v>
                </c:pt>
                <c:pt idx="19">
                  <c:v>0.08634863766545021</c:v>
                </c:pt>
                <c:pt idx="20">
                  <c:v>0.09525828459742376</c:v>
                </c:pt>
                <c:pt idx="21">
                  <c:v>0.08648386081761668</c:v>
                </c:pt>
                <c:pt idx="22">
                  <c:v>0.09934372637010476</c:v>
                </c:pt>
                <c:pt idx="23">
                  <c:v>0.10289375798046987</c:v>
                </c:pt>
                <c:pt idx="24">
                  <c:v>0.09433753046978186</c:v>
                </c:pt>
                <c:pt idx="25">
                  <c:v>0.09458953117396009</c:v>
                </c:pt>
                <c:pt idx="26">
                  <c:v>0.09531787124495303</c:v>
                </c:pt>
                <c:pt idx="27">
                  <c:v>0.09608215986400566</c:v>
                </c:pt>
                <c:pt idx="28">
                  <c:v>0.09746433472820631</c:v>
                </c:pt>
                <c:pt idx="29">
                  <c:v>0.09763944425002197</c:v>
                </c:pt>
                <c:pt idx="30">
                  <c:v>0.10200865484493607</c:v>
                </c:pt>
                <c:pt idx="31">
                  <c:v>0.08356995442719654</c:v>
                </c:pt>
                <c:pt idx="32">
                  <c:v>0.10080121106916</c:v>
                </c:pt>
                <c:pt idx="33">
                  <c:v>0.10005408461588626</c:v>
                </c:pt>
                <c:pt idx="34">
                  <c:v>0.09630322171281236</c:v>
                </c:pt>
                <c:pt idx="35">
                  <c:v>0.09066438342747384</c:v>
                </c:pt>
                <c:pt idx="36">
                  <c:v>0.10109779854485101</c:v>
                </c:pt>
                <c:pt idx="37">
                  <c:v>0.08329360848027817</c:v>
                </c:pt>
                <c:pt idx="38">
                  <c:v>0.08911308439462803</c:v>
                </c:pt>
                <c:pt idx="39">
                  <c:v>0.08782076583897098</c:v>
                </c:pt>
                <c:pt idx="40">
                  <c:v>0.08980707176306145</c:v>
                </c:pt>
                <c:pt idx="41">
                  <c:v>0.09187223570067801</c:v>
                </c:pt>
                <c:pt idx="42">
                  <c:v>0.09619079135459963</c:v>
                </c:pt>
                <c:pt idx="43">
                  <c:v>0.09438972882313724</c:v>
                </c:pt>
                <c:pt idx="44">
                  <c:v>0.09949881349878545</c:v>
                </c:pt>
                <c:pt idx="45">
                  <c:v>0.09815779190746024</c:v>
                </c:pt>
                <c:pt idx="46">
                  <c:v>0.10002242855239346</c:v>
                </c:pt>
                <c:pt idx="47">
                  <c:v>0.10193216618316905</c:v>
                </c:pt>
                <c:pt idx="48">
                  <c:v>0.09644386774941184</c:v>
                </c:pt>
                <c:pt idx="49">
                  <c:v>0.10264469358635689</c:v>
                </c:pt>
                <c:pt idx="50">
                  <c:v>0.1051786252747823</c:v>
                </c:pt>
                <c:pt idx="51">
                  <c:v>0.10478039351379907</c:v>
                </c:pt>
                <c:pt idx="52">
                  <c:v>0.12092679245736676</c:v>
                </c:pt>
                <c:pt idx="53">
                  <c:v>0.11781570448190082</c:v>
                </c:pt>
                <c:pt idx="54">
                  <c:v>0.08821494997770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709068526877308"/>
          <c:min val="0.0308311763014092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2.9486</c:v>
                </c:pt>
                <c:pt idx="1">
                  <c:v>864.9643</c:v>
                </c:pt>
                <c:pt idx="2">
                  <c:v>944.1376</c:v>
                </c:pt>
                <c:pt idx="3">
                  <c:v>952.2312</c:v>
                </c:pt>
                <c:pt idx="4">
                  <c:v>929.522</c:v>
                </c:pt>
                <c:pt idx="5">
                  <c:v>922.0307</c:v>
                </c:pt>
                <c:pt idx="6">
                  <c:v>892.54</c:v>
                </c:pt>
                <c:pt idx="7">
                  <c:v>917.7544</c:v>
                </c:pt>
                <c:pt idx="8">
                  <c:v>889.8834</c:v>
                </c:pt>
                <c:pt idx="9">
                  <c:v>882.6605</c:v>
                </c:pt>
                <c:pt idx="10">
                  <c:v>889.9345</c:v>
                </c:pt>
                <c:pt idx="11">
                  <c:v>893.9901</c:v>
                </c:pt>
                <c:pt idx="12">
                  <c:v>888.0548</c:v>
                </c:pt>
                <c:pt idx="13">
                  <c:v>866.7648</c:v>
                </c:pt>
                <c:pt idx="14">
                  <c:v>899.0535</c:v>
                </c:pt>
                <c:pt idx="15">
                  <c:v>896.5714</c:v>
                </c:pt>
                <c:pt idx="16">
                  <c:v>873.842</c:v>
                </c:pt>
                <c:pt idx="17">
                  <c:v>892.9393</c:v>
                </c:pt>
                <c:pt idx="18">
                  <c:v>963.1644</c:v>
                </c:pt>
                <c:pt idx="19">
                  <c:v>1006.8033</c:v>
                </c:pt>
                <c:pt idx="20">
                  <c:v>993.219</c:v>
                </c:pt>
                <c:pt idx="21">
                  <c:v>972.8474</c:v>
                </c:pt>
                <c:pt idx="22">
                  <c:v>1000.4976</c:v>
                </c:pt>
                <c:pt idx="23">
                  <c:v>976.4848</c:v>
                </c:pt>
                <c:pt idx="24">
                  <c:v>967.0917</c:v>
                </c:pt>
                <c:pt idx="25">
                  <c:v>949.9265</c:v>
                </c:pt>
                <c:pt idx="26">
                  <c:v>963.5776</c:v>
                </c:pt>
                <c:pt idx="27">
                  <c:v>908.6082</c:v>
                </c:pt>
                <c:pt idx="28">
                  <c:v>874.8911</c:v>
                </c:pt>
                <c:pt idx="29">
                  <c:v>870.0592</c:v>
                </c:pt>
                <c:pt idx="30">
                  <c:v>870.9843</c:v>
                </c:pt>
                <c:pt idx="31">
                  <c:v>944.4059</c:v>
                </c:pt>
                <c:pt idx="32">
                  <c:v>939.2402</c:v>
                </c:pt>
                <c:pt idx="33">
                  <c:v>951.2194</c:v>
                </c:pt>
                <c:pt idx="34">
                  <c:v>956.9834</c:v>
                </c:pt>
                <c:pt idx="35">
                  <c:v>994.1946</c:v>
                </c:pt>
                <c:pt idx="36">
                  <c:v>1079.2793</c:v>
                </c:pt>
                <c:pt idx="37">
                  <c:v>1116.3137</c:v>
                </c:pt>
                <c:pt idx="38">
                  <c:v>1207.3134</c:v>
                </c:pt>
                <c:pt idx="39">
                  <c:v>1119.145</c:v>
                </c:pt>
                <c:pt idx="40">
                  <c:v>1145.6556</c:v>
                </c:pt>
                <c:pt idx="41">
                  <c:v>1145.9367</c:v>
                </c:pt>
                <c:pt idx="42">
                  <c:v>1170.2227</c:v>
                </c:pt>
                <c:pt idx="43">
                  <c:v>1159.1453</c:v>
                </c:pt>
                <c:pt idx="44">
                  <c:v>1018.8791</c:v>
                </c:pt>
                <c:pt idx="45">
                  <c:v>966.7614</c:v>
                </c:pt>
                <c:pt idx="46">
                  <c:v>969.8475</c:v>
                </c:pt>
                <c:pt idx="47">
                  <c:v>969.7799</c:v>
                </c:pt>
                <c:pt idx="48">
                  <c:v>965.1061</c:v>
                </c:pt>
                <c:pt idx="49">
                  <c:v>937.2557</c:v>
                </c:pt>
                <c:pt idx="50">
                  <c:v>930.7062</c:v>
                </c:pt>
                <c:pt idx="51">
                  <c:v>961.8879</c:v>
                </c:pt>
                <c:pt idx="52">
                  <c:v>968.2252</c:v>
                </c:pt>
                <c:pt idx="53">
                  <c:v>1082.6725</c:v>
                </c:pt>
                <c:pt idx="54">
                  <c:v>1134.5464</c:v>
                </c:pt>
                <c:pt idx="55">
                  <c:v>1139.2991</c:v>
                </c:pt>
                <c:pt idx="56">
                  <c:v>1137.6328</c:v>
                </c:pt>
                <c:pt idx="57">
                  <c:v>1134.5825</c:v>
                </c:pt>
                <c:pt idx="58">
                  <c:v>1081.0617</c:v>
                </c:pt>
                <c:pt idx="59">
                  <c:v>1074.413</c:v>
                </c:pt>
                <c:pt idx="60">
                  <c:v>1072.0854</c:v>
                </c:pt>
                <c:pt idx="61">
                  <c:v>1044.7826</c:v>
                </c:pt>
                <c:pt idx="62">
                  <c:v>1032.0</c:v>
                </c:pt>
                <c:pt idx="63">
                  <c:v>1009.5888</c:v>
                </c:pt>
                <c:pt idx="64">
                  <c:v>1030.8732</c:v>
                </c:pt>
                <c:pt idx="65">
                  <c:v>1008.0272</c:v>
                </c:pt>
                <c:pt idx="66">
                  <c:v>1006.7447</c:v>
                </c:pt>
                <c:pt idx="67">
                  <c:v>1068.6439</c:v>
                </c:pt>
                <c:pt idx="68">
                  <c:v>1130.6275</c:v>
                </c:pt>
                <c:pt idx="69">
                  <c:v>1129.1805</c:v>
                </c:pt>
                <c:pt idx="70">
                  <c:v>1103.8731</c:v>
                </c:pt>
                <c:pt idx="71">
                  <c:v>1145.0903</c:v>
                </c:pt>
                <c:pt idx="72">
                  <c:v>1197.6926</c:v>
                </c:pt>
                <c:pt idx="73">
                  <c:v>1165.3393</c:v>
                </c:pt>
                <c:pt idx="74">
                  <c:v>1095.0057</c:v>
                </c:pt>
                <c:pt idx="75">
                  <c:v>1110.4301</c:v>
                </c:pt>
                <c:pt idx="76">
                  <c:v>1124.254</c:v>
                </c:pt>
                <c:pt idx="77">
                  <c:v>1136.347</c:v>
                </c:pt>
                <c:pt idx="78">
                  <c:v>1147.8418</c:v>
                </c:pt>
                <c:pt idx="79">
                  <c:v>1157.6364</c:v>
                </c:pt>
                <c:pt idx="80">
                  <c:v>1199.4114</c:v>
                </c:pt>
                <c:pt idx="81">
                  <c:v>1190.8804</c:v>
                </c:pt>
                <c:pt idx="82">
                  <c:v>1200.4626</c:v>
                </c:pt>
                <c:pt idx="83">
                  <c:v>1254.3471</c:v>
                </c:pt>
                <c:pt idx="84">
                  <c:v>1227.7742</c:v>
                </c:pt>
                <c:pt idx="85">
                  <c:v>1205.6188</c:v>
                </c:pt>
                <c:pt idx="86">
                  <c:v>1140.1398</c:v>
                </c:pt>
                <c:pt idx="87">
                  <c:v>1127.025</c:v>
                </c:pt>
                <c:pt idx="88">
                  <c:v>1116.8491</c:v>
                </c:pt>
                <c:pt idx="89">
                  <c:v>1104.5366</c:v>
                </c:pt>
                <c:pt idx="90">
                  <c:v>1147.5147</c:v>
                </c:pt>
                <c:pt idx="91">
                  <c:v>1193.4513</c:v>
                </c:pt>
                <c:pt idx="92">
                  <c:v>1153.6655</c:v>
                </c:pt>
                <c:pt idx="93">
                  <c:v>1156.5876</c:v>
                </c:pt>
                <c:pt idx="94">
                  <c:v>1163.6328</c:v>
                </c:pt>
                <c:pt idx="95">
                  <c:v>1148.8121</c:v>
                </c:pt>
                <c:pt idx="96">
                  <c:v>1132.0951</c:v>
                </c:pt>
                <c:pt idx="97">
                  <c:v>1128.4388</c:v>
                </c:pt>
                <c:pt idx="98">
                  <c:v>1095.0459</c:v>
                </c:pt>
                <c:pt idx="99">
                  <c:v>1069.4443</c:v>
                </c:pt>
                <c:pt idx="100">
                  <c:v>1094.2171</c:v>
                </c:pt>
                <c:pt idx="101">
                  <c:v>1091.3322</c:v>
                </c:pt>
                <c:pt idx="102">
                  <c:v>1140.4251</c:v>
                </c:pt>
                <c:pt idx="103">
                  <c:v>687.3287</c:v>
                </c:pt>
                <c:pt idx="104">
                  <c:v>800.4033</c:v>
                </c:pt>
              </c:numCache>
            </c:numRef>
          </c:xVal>
          <c:yVal>
            <c:numRef>
              <c:f>Sheet1!$B$2:$B$106</c:f>
              <c:numCache>
                <c:formatCode>General</c:formatCode>
                <c:ptCount val="105"/>
                <c:pt idx="0">
                  <c:v>0.09998573669947226</c:v>
                </c:pt>
                <c:pt idx="1">
                  <c:v>0.10134912800263245</c:v>
                </c:pt>
                <c:pt idx="2">
                  <c:v>0.09500670241286863</c:v>
                </c:pt>
                <c:pt idx="3">
                  <c:v>0.1038139534883721</c:v>
                </c:pt>
                <c:pt idx="4">
                  <c:v>0.11526282457251424</c:v>
                </c:pt>
                <c:pt idx="5">
                  <c:v>0.1057655593738068</c:v>
                </c:pt>
                <c:pt idx="6">
                  <c:v>0.10030758714969241</c:v>
                </c:pt>
                <c:pt idx="7">
                  <c:v>0.09558046098540918</c:v>
                </c:pt>
                <c:pt idx="8">
                  <c:v>0.10194285714285714</c:v>
                </c:pt>
                <c:pt idx="9">
                  <c:v>0.07742552174605703</c:v>
                </c:pt>
                <c:pt idx="10">
                  <c:v>0.08095085126887247</c:v>
                </c:pt>
                <c:pt idx="11">
                  <c:v>0.08752166377816291</c:v>
                </c:pt>
                <c:pt idx="12">
                  <c:v>0.08882754140954856</c:v>
                </c:pt>
                <c:pt idx="13">
                  <c:v>0.09630112432784749</c:v>
                </c:pt>
                <c:pt idx="14">
                  <c:v>0.09465020576131687</c:v>
                </c:pt>
                <c:pt idx="15">
                  <c:v>0.1032171581769437</c:v>
                </c:pt>
                <c:pt idx="16">
                  <c:v>0.11522810023559649</c:v>
                </c:pt>
                <c:pt idx="17">
                  <c:v>0.11287952987267386</c:v>
                </c:pt>
                <c:pt idx="18">
                  <c:v>0.09594000517196793</c:v>
                </c:pt>
                <c:pt idx="19">
                  <c:v>0.07584893684544589</c:v>
                </c:pt>
                <c:pt idx="20">
                  <c:v>0.081491344873502</c:v>
                </c:pt>
                <c:pt idx="21">
                  <c:v>0.08478038815117467</c:v>
                </c:pt>
                <c:pt idx="22">
                  <c:v>0.06350681536555143</c:v>
                </c:pt>
                <c:pt idx="23">
                  <c:v>0.07529335071707953</c:v>
                </c:pt>
                <c:pt idx="24">
                  <c:v>0.07252946509519492</c:v>
                </c:pt>
                <c:pt idx="25">
                  <c:v>0.06952965235173825</c:v>
                </c:pt>
                <c:pt idx="26">
                  <c:v>0.06845677190911774</c:v>
                </c:pt>
                <c:pt idx="27">
                  <c:v>0.07316407316407317</c:v>
                </c:pt>
                <c:pt idx="28">
                  <c:v>0.07660208643815201</c:v>
                </c:pt>
                <c:pt idx="29">
                  <c:v>0.08070082293602336</c:v>
                </c:pt>
                <c:pt idx="30">
                  <c:v>0.06324503311258278</c:v>
                </c:pt>
                <c:pt idx="31">
                  <c:v>0.05140610825521621</c:v>
                </c:pt>
                <c:pt idx="32">
                  <c:v>0.05541795665634675</c:v>
                </c:pt>
                <c:pt idx="33">
                  <c:v>0.05737109658678286</c:v>
                </c:pt>
                <c:pt idx="34">
                  <c:v>0.052816129739206664</c:v>
                </c:pt>
                <c:pt idx="35">
                  <c:v>0.043529643490250146</c:v>
                </c:pt>
                <c:pt idx="36">
                  <c:v>0.04328899637243047</c:v>
                </c:pt>
                <c:pt idx="37">
                  <c:v>0.042090784044016505</c:v>
                </c:pt>
                <c:pt idx="38">
                  <c:v>0.03853897037676158</c:v>
                </c:pt>
                <c:pt idx="39">
                  <c:v>0.05884083553986467</c:v>
                </c:pt>
                <c:pt idx="40">
                  <c:v>0.05678605089538172</c:v>
                </c:pt>
                <c:pt idx="41">
                  <c:v>0.06309904153354633</c:v>
                </c:pt>
                <c:pt idx="42">
                  <c:v>0.05950720595072059</c:v>
                </c:pt>
                <c:pt idx="43">
                  <c:v>0.05983436853002071</c:v>
                </c:pt>
                <c:pt idx="44">
                  <c:v>0.08248184168410685</c:v>
                </c:pt>
                <c:pt idx="45">
                  <c:v>0.10018472237313919</c:v>
                </c:pt>
                <c:pt idx="46">
                  <c:v>0.09975749559082893</c:v>
                </c:pt>
                <c:pt idx="47">
                  <c:v>0.09852825525221885</c:v>
                </c:pt>
                <c:pt idx="48">
                  <c:v>0.1114602282123367</c:v>
                </c:pt>
                <c:pt idx="49">
                  <c:v>0.1286523216308041</c:v>
                </c:pt>
                <c:pt idx="50">
                  <c:v>0.10989867498051442</c:v>
                </c:pt>
                <c:pt idx="51">
                  <c:v>0.09577710056595559</c:v>
                </c:pt>
                <c:pt idx="52">
                  <c:v>0.09765530577713319</c:v>
                </c:pt>
                <c:pt idx="53">
                  <c:v>0.086276867578536</c:v>
                </c:pt>
                <c:pt idx="54">
                  <c:v>0.07768456375838927</c:v>
                </c:pt>
                <c:pt idx="55">
                  <c:v>0.07346378304153793</c:v>
                </c:pt>
                <c:pt idx="56">
                  <c:v>0.08222559817698442</c:v>
                </c:pt>
                <c:pt idx="57">
                  <c:v>0.0787413901064496</c:v>
                </c:pt>
                <c:pt idx="58">
                  <c:v>0.085166784953868</c:v>
                </c:pt>
                <c:pt idx="59">
                  <c:v>0.09210760734010333</c:v>
                </c:pt>
                <c:pt idx="60">
                  <c:v>0.10802594244021078</c:v>
                </c:pt>
                <c:pt idx="61">
                  <c:v>0.12050333086602516</c:v>
                </c:pt>
                <c:pt idx="62">
                  <c:v>0.10597079658811624</c:v>
                </c:pt>
                <c:pt idx="63">
                  <c:v>0.11075907590759076</c:v>
                </c:pt>
                <c:pt idx="64">
                  <c:v>0.09796788760662319</c:v>
                </c:pt>
                <c:pt idx="65">
                  <c:v>0.08843992507358844</c:v>
                </c:pt>
                <c:pt idx="66">
                  <c:v>0.08307442928542483</c:v>
                </c:pt>
                <c:pt idx="67">
                  <c:v>0.07760141093474426</c:v>
                </c:pt>
                <c:pt idx="68">
                  <c:v>0.06433591638132997</c:v>
                </c:pt>
                <c:pt idx="69">
                  <c:v>0.06291165114694526</c:v>
                </c:pt>
                <c:pt idx="70">
                  <c:v>0.0589010989010989</c:v>
                </c:pt>
                <c:pt idx="71">
                  <c:v>0.07041564792176039</c:v>
                </c:pt>
                <c:pt idx="72">
                  <c:v>0.06704274246040356</c:v>
                </c:pt>
                <c:pt idx="73">
                  <c:v>0.0701930308347957</c:v>
                </c:pt>
                <c:pt idx="74">
                  <c:v>0.0800453514739229</c:v>
                </c:pt>
                <c:pt idx="75">
                  <c:v>0.0729030572249804</c:v>
                </c:pt>
                <c:pt idx="76">
                  <c:v>0.07224770642201835</c:v>
                </c:pt>
                <c:pt idx="77">
                  <c:v>0.06782285537318056</c:v>
                </c:pt>
                <c:pt idx="78">
                  <c:v>0.06678023850085178</c:v>
                </c:pt>
                <c:pt idx="79">
                  <c:v>0.061528899937849595</c:v>
                </c:pt>
                <c:pt idx="80">
                  <c:v>0.05306246209824136</c:v>
                </c:pt>
                <c:pt idx="81">
                  <c:v>0.052407221664994987</c:v>
                </c:pt>
                <c:pt idx="82">
                  <c:v>0.04941176470588235</c:v>
                </c:pt>
                <c:pt idx="83">
                  <c:v>0.044600073719130114</c:v>
                </c:pt>
                <c:pt idx="84">
                  <c:v>0.04557148107313488</c:v>
                </c:pt>
                <c:pt idx="85">
                  <c:v>0.050922978994271166</c:v>
                </c:pt>
                <c:pt idx="86">
                  <c:v>0.05635148042024833</c:v>
                </c:pt>
                <c:pt idx="87">
                  <c:v>0.0624860522204865</c:v>
                </c:pt>
                <c:pt idx="88">
                  <c:v>0.05940039226674138</c:v>
                </c:pt>
                <c:pt idx="89">
                  <c:v>0.06374378109452736</c:v>
                </c:pt>
                <c:pt idx="90">
                  <c:v>0.06528</c:v>
                </c:pt>
                <c:pt idx="91">
                  <c:v>0.06107109301597244</c:v>
                </c:pt>
                <c:pt idx="92">
                  <c:v>0.06745005875440659</c:v>
                </c:pt>
                <c:pt idx="93">
                  <c:v>0.06555530524892994</c:v>
                </c:pt>
                <c:pt idx="94">
                  <c:v>0.06357089644896946</c:v>
                </c:pt>
                <c:pt idx="95">
                  <c:v>0.0647940074906367</c:v>
                </c:pt>
                <c:pt idx="96">
                  <c:v>0.066938152201578</c:v>
                </c:pt>
                <c:pt idx="97">
                  <c:v>0.07996920030799692</c:v>
                </c:pt>
                <c:pt idx="98">
                  <c:v>0.0856485916842307</c:v>
                </c:pt>
                <c:pt idx="99">
                  <c:v>0.08971371504660453</c:v>
                </c:pt>
                <c:pt idx="100">
                  <c:v>0.09335482271262088</c:v>
                </c:pt>
                <c:pt idx="101">
                  <c:v>0.0990892132118951</c:v>
                </c:pt>
                <c:pt idx="102">
                  <c:v>0.08446526151444184</c:v>
                </c:pt>
                <c:pt idx="103">
                  <c:v>0.13824355374010722</c:v>
                </c:pt>
                <c:pt idx="104">
                  <c:v>0.12146499768196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50.1503</c:v>
                </c:pt>
                <c:pt idx="1">
                  <c:v>987.0836</c:v>
                </c:pt>
                <c:pt idx="2">
                  <c:v>973.0675</c:v>
                </c:pt>
                <c:pt idx="3">
                  <c:v>985.5425</c:v>
                </c:pt>
                <c:pt idx="4">
                  <c:v>984.7495</c:v>
                </c:pt>
                <c:pt idx="5">
                  <c:v>971.9487</c:v>
                </c:pt>
                <c:pt idx="6">
                  <c:v>960.65</c:v>
                </c:pt>
                <c:pt idx="7">
                  <c:v>1084.0288</c:v>
                </c:pt>
                <c:pt idx="8">
                  <c:v>1231.7495</c:v>
                </c:pt>
                <c:pt idx="9">
                  <c:v>1186.1252</c:v>
                </c:pt>
                <c:pt idx="10">
                  <c:v>1194.1841</c:v>
                </c:pt>
                <c:pt idx="11">
                  <c:v>1065.5896</c:v>
                </c:pt>
                <c:pt idx="12">
                  <c:v>1125.513</c:v>
                </c:pt>
                <c:pt idx="13">
                  <c:v>1207.4566</c:v>
                </c:pt>
                <c:pt idx="14">
                  <c:v>1189.0301</c:v>
                </c:pt>
                <c:pt idx="15">
                  <c:v>1199.9382</c:v>
                </c:pt>
                <c:pt idx="16">
                  <c:v>1238.3451</c:v>
                </c:pt>
                <c:pt idx="17">
                  <c:v>1226.8718</c:v>
                </c:pt>
                <c:pt idx="18">
                  <c:v>1298.9771</c:v>
                </c:pt>
                <c:pt idx="19">
                  <c:v>1279.2979</c:v>
                </c:pt>
                <c:pt idx="20">
                  <c:v>1240.3416</c:v>
                </c:pt>
                <c:pt idx="21">
                  <c:v>1108.4572</c:v>
                </c:pt>
                <c:pt idx="22">
                  <c:v>1072.3415</c:v>
                </c:pt>
                <c:pt idx="23">
                  <c:v>1076.2316</c:v>
                </c:pt>
                <c:pt idx="24">
                  <c:v>1111.8188</c:v>
                </c:pt>
                <c:pt idx="25">
                  <c:v>1066.2308</c:v>
                </c:pt>
                <c:pt idx="26">
                  <c:v>1153.3407</c:v>
                </c:pt>
                <c:pt idx="27">
                  <c:v>1160.519</c:v>
                </c:pt>
                <c:pt idx="28">
                  <c:v>1152.6314</c:v>
                </c:pt>
                <c:pt idx="29">
                  <c:v>1148.7875</c:v>
                </c:pt>
                <c:pt idx="30">
                  <c:v>1136.2799</c:v>
                </c:pt>
                <c:pt idx="31">
                  <c:v>1110.4764</c:v>
                </c:pt>
                <c:pt idx="32">
                  <c:v>1092.6024</c:v>
                </c:pt>
                <c:pt idx="33">
                  <c:v>1105.7418</c:v>
                </c:pt>
                <c:pt idx="34">
                  <c:v>1109.2966</c:v>
                </c:pt>
                <c:pt idx="35">
                  <c:v>1083.6236</c:v>
                </c:pt>
                <c:pt idx="36">
                  <c:v>1094.3284</c:v>
                </c:pt>
                <c:pt idx="37">
                  <c:v>1273.2512</c:v>
                </c:pt>
                <c:pt idx="38">
                  <c:v>1305.6442</c:v>
                </c:pt>
                <c:pt idx="39">
                  <c:v>1254.1519</c:v>
                </c:pt>
                <c:pt idx="40">
                  <c:v>1263.269</c:v>
                </c:pt>
                <c:pt idx="41">
                  <c:v>1288.762</c:v>
                </c:pt>
                <c:pt idx="42">
                  <c:v>1251.1635</c:v>
                </c:pt>
                <c:pt idx="43">
                  <c:v>1299.2618</c:v>
                </c:pt>
                <c:pt idx="44">
                  <c:v>1196.3831</c:v>
                </c:pt>
                <c:pt idx="45">
                  <c:v>1136.3933</c:v>
                </c:pt>
                <c:pt idx="46">
                  <c:v>1134.1898</c:v>
                </c:pt>
                <c:pt idx="47">
                  <c:v>1130.8366</c:v>
                </c:pt>
                <c:pt idx="48">
                  <c:v>1140.8612</c:v>
                </c:pt>
                <c:pt idx="49">
                  <c:v>1118.2769</c:v>
                </c:pt>
                <c:pt idx="50">
                  <c:v>988.6718</c:v>
                </c:pt>
                <c:pt idx="51">
                  <c:v>979.3193</c:v>
                </c:pt>
              </c:numCache>
            </c:numRef>
          </c:xVal>
          <c:yVal>
            <c:numRef>
              <c:f>Sheet1!$B$109:$B$160</c:f>
              <c:numCache>
                <c:formatCode>General</c:formatCode>
                <c:ptCount val="52"/>
                <c:pt idx="0">
                  <c:v>0.10558831788823364</c:v>
                </c:pt>
                <c:pt idx="1">
                  <c:v>0.137165539547192</c:v>
                </c:pt>
                <c:pt idx="2">
                  <c:v>0.13559959859508278</c:v>
                </c:pt>
                <c:pt idx="3">
                  <c:v>0.13314674130347862</c:v>
                </c:pt>
                <c:pt idx="4">
                  <c:v>0.13924223772397756</c:v>
                </c:pt>
                <c:pt idx="5">
                  <c:v>0.12627264313103265</c:v>
                </c:pt>
                <c:pt idx="6">
                  <c:v>0.11314083677077195</c:v>
                </c:pt>
                <c:pt idx="7">
                  <c:v>0.10547667342799188</c:v>
                </c:pt>
                <c:pt idx="8">
                  <c:v>0.09270854372853969</c:v>
                </c:pt>
                <c:pt idx="9">
                  <c:v>0.09231051569095247</c:v>
                </c:pt>
                <c:pt idx="10">
                  <c:v>0.09371594624046495</c:v>
                </c:pt>
                <c:pt idx="11">
                  <c:v>0.08885377415825939</c:v>
                </c:pt>
                <c:pt idx="12">
                  <c:v>0.08468626590609916</c:v>
                </c:pt>
                <c:pt idx="13">
                  <c:v>0.08364222401289283</c:v>
                </c:pt>
                <c:pt idx="14">
                  <c:v>0.08566523605150214</c:v>
                </c:pt>
                <c:pt idx="15">
                  <c:v>0.08128720238095238</c:v>
                </c:pt>
                <c:pt idx="16">
                  <c:v>0.07848155256984432</c:v>
                </c:pt>
                <c:pt idx="17">
                  <c:v>0.07801733718604134</c:v>
                </c:pt>
                <c:pt idx="18">
                  <c:v>0.06874836001049593</c:v>
                </c:pt>
                <c:pt idx="19">
                  <c:v>0.07596253902185224</c:v>
                </c:pt>
                <c:pt idx="20">
                  <c:v>0.08194808982210557</c:v>
                </c:pt>
                <c:pt idx="21">
                  <c:v>0.0906639703404112</c:v>
                </c:pt>
                <c:pt idx="22">
                  <c:v>0.09302325581395349</c:v>
                </c:pt>
                <c:pt idx="23">
                  <c:v>0.09587592527317589</c:v>
                </c:pt>
                <c:pt idx="24">
                  <c:v>0.08946515397082658</c:v>
                </c:pt>
                <c:pt idx="25">
                  <c:v>0.08888888888888889</c:v>
                </c:pt>
                <c:pt idx="26">
                  <c:v>0.07380796864794252</c:v>
                </c:pt>
                <c:pt idx="27">
                  <c:v>0.08359849580561181</c:v>
                </c:pt>
                <c:pt idx="28">
                  <c:v>0.0920568122041031</c:v>
                </c:pt>
                <c:pt idx="29">
                  <c:v>0.09416010498687664</c:v>
                </c:pt>
                <c:pt idx="30">
                  <c:v>0.09895305639986492</c:v>
                </c:pt>
                <c:pt idx="31">
                  <c:v>0.09796936230851443</c:v>
                </c:pt>
                <c:pt idx="32">
                  <c:v>0.10266875981161695</c:v>
                </c:pt>
                <c:pt idx="33">
                  <c:v>0.10294828419526342</c:v>
                </c:pt>
                <c:pt idx="34">
                  <c:v>0.10728582866293035</c:v>
                </c:pt>
                <c:pt idx="35">
                  <c:v>0.10942928039702234</c:v>
                </c:pt>
                <c:pt idx="36">
                  <c:v>0.10499806276636962</c:v>
                </c:pt>
                <c:pt idx="37">
                  <c:v>0.07275922671353251</c:v>
                </c:pt>
                <c:pt idx="38">
                  <c:v>0.08303393213572854</c:v>
                </c:pt>
                <c:pt idx="39">
                  <c:v>0.0928592418454305</c:v>
                </c:pt>
                <c:pt idx="40">
                  <c:v>0.08379081190407396</c:v>
                </c:pt>
                <c:pt idx="41">
                  <c:v>0.08841544607190413</c:v>
                </c:pt>
                <c:pt idx="42">
                  <c:v>0.09453032104637336</c:v>
                </c:pt>
                <c:pt idx="43">
                  <c:v>0.0900943396226415</c:v>
                </c:pt>
                <c:pt idx="44">
                  <c:v>0.08786610878661087</c:v>
                </c:pt>
                <c:pt idx="45">
                  <c:v>0.08658922914466737</c:v>
                </c:pt>
                <c:pt idx="46">
                  <c:v>0.08630365539208251</c:v>
                </c:pt>
                <c:pt idx="47">
                  <c:v>0.0836604846351699</c:v>
                </c:pt>
                <c:pt idx="48">
                  <c:v>0.07369108522912812</c:v>
                </c:pt>
                <c:pt idx="49">
                  <c:v>0.07783240924782928</c:v>
                </c:pt>
                <c:pt idx="50">
                  <c:v>0.10116121678421315</c:v>
                </c:pt>
                <c:pt idx="51">
                  <c:v>0.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3.5076766331038</c:v>
                </c:pt>
              </c:numCache>
            </c:numRef>
          </c:xVal>
          <c:yVal>
            <c:numRef>
              <c:f>Sheet1!$B$163:$B$164</c:f>
              <c:numCache>
                <c:formatCode>General</c:formatCode>
                <c:ptCount val="2"/>
                <c:pt idx="0">
                  <c:v>0.11781570448190082</c:v>
                </c:pt>
                <c:pt idx="1">
                  <c:v>0.117815704481900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3.5076766331038</c:v>
                </c:pt>
                <c:pt idx="1">
                  <c:v>953.5076766331038</c:v>
                </c:pt>
              </c:numCache>
            </c:numRef>
          </c:xVal>
          <c:yVal>
            <c:numRef>
              <c:f>Sheet1!$B$167:$B$168</c:f>
              <c:numCache>
                <c:formatCode>General</c:formatCode>
                <c:ptCount val="2"/>
                <c:pt idx="0">
                  <c:v>0.117815704481900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8.8481942908503</c:v>
                </c:pt>
              </c:numCache>
            </c:numRef>
          </c:xVal>
          <c:yVal>
            <c:numRef>
              <c:f>Sheet1!$B$171:$B$172</c:f>
              <c:numCache>
                <c:formatCode>General</c:formatCode>
                <c:ptCount val="2"/>
                <c:pt idx="0">
                  <c:v>0.12092679245736676</c:v>
                </c:pt>
                <c:pt idx="1">
                  <c:v>0.120926792457366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8.8481942908503</c:v>
                </c:pt>
                <c:pt idx="1">
                  <c:v>928.8481942908503</c:v>
                </c:pt>
              </c:numCache>
            </c:numRef>
          </c:xVal>
          <c:yVal>
            <c:numRef>
              <c:f>Sheet1!$B$175:$B$176</c:f>
              <c:numCache>
                <c:formatCode>General</c:formatCode>
                <c:ptCount val="2"/>
                <c:pt idx="0">
                  <c:v>0.120926792457366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8.132762381233</c:v>
                </c:pt>
              </c:numCache>
            </c:numRef>
          </c:xVal>
          <c:yVal>
            <c:numRef>
              <c:f>Sheet1!$B$179:$B$180</c:f>
              <c:numCache>
                <c:formatCode>General</c:formatCode>
                <c:ptCount val="2"/>
                <c:pt idx="0">
                  <c:v>0.0882149499777019</c:v>
                </c:pt>
                <c:pt idx="1">
                  <c:v>0.088214949977701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8.132762381233</c:v>
                </c:pt>
                <c:pt idx="1">
                  <c:v>1188.132762381233</c:v>
                </c:pt>
              </c:numCache>
            </c:numRef>
          </c:xVal>
          <c:yVal>
            <c:numRef>
              <c:f>Sheet1!$B$183:$B$184</c:f>
              <c:numCache>
                <c:formatCode>General</c:formatCode>
                <c:ptCount val="2"/>
                <c:pt idx="0">
                  <c:v>0.08821494997770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50.1503</c:v>
                </c:pt>
                <c:pt idx="1">
                  <c:v>987.0836</c:v>
                </c:pt>
                <c:pt idx="2">
                  <c:v>973.0675</c:v>
                </c:pt>
                <c:pt idx="3">
                  <c:v>985.5425</c:v>
                </c:pt>
                <c:pt idx="4">
                  <c:v>984.7495</c:v>
                </c:pt>
                <c:pt idx="5">
                  <c:v>971.9487</c:v>
                </c:pt>
                <c:pt idx="6">
                  <c:v>960.65</c:v>
                </c:pt>
                <c:pt idx="7">
                  <c:v>1084.0288</c:v>
                </c:pt>
                <c:pt idx="8">
                  <c:v>1231.7495</c:v>
                </c:pt>
                <c:pt idx="9">
                  <c:v>1186.1252</c:v>
                </c:pt>
                <c:pt idx="10">
                  <c:v>1194.1841</c:v>
                </c:pt>
                <c:pt idx="11">
                  <c:v>1065.5896</c:v>
                </c:pt>
                <c:pt idx="12">
                  <c:v>1125.513</c:v>
                </c:pt>
                <c:pt idx="13">
                  <c:v>1207.4566</c:v>
                </c:pt>
                <c:pt idx="14">
                  <c:v>1189.0301</c:v>
                </c:pt>
                <c:pt idx="15">
                  <c:v>1199.9382</c:v>
                </c:pt>
                <c:pt idx="16">
                  <c:v>1238.3451</c:v>
                </c:pt>
                <c:pt idx="17">
                  <c:v>1226.8718</c:v>
                </c:pt>
                <c:pt idx="18">
                  <c:v>1298.9771</c:v>
                </c:pt>
                <c:pt idx="19">
                  <c:v>1279.2979</c:v>
                </c:pt>
                <c:pt idx="20">
                  <c:v>1240.3416</c:v>
                </c:pt>
                <c:pt idx="21">
                  <c:v>1108.4572</c:v>
                </c:pt>
                <c:pt idx="22">
                  <c:v>1072.3415</c:v>
                </c:pt>
                <c:pt idx="23">
                  <c:v>1076.2316</c:v>
                </c:pt>
                <c:pt idx="24">
                  <c:v>1111.8188</c:v>
                </c:pt>
                <c:pt idx="25">
                  <c:v>1066.2308</c:v>
                </c:pt>
                <c:pt idx="26">
                  <c:v>1153.3407</c:v>
                </c:pt>
                <c:pt idx="27">
                  <c:v>1160.519</c:v>
                </c:pt>
                <c:pt idx="28">
                  <c:v>1152.6314</c:v>
                </c:pt>
                <c:pt idx="29">
                  <c:v>1148.7875</c:v>
                </c:pt>
                <c:pt idx="30">
                  <c:v>1136.2799</c:v>
                </c:pt>
                <c:pt idx="31">
                  <c:v>1110.4764</c:v>
                </c:pt>
                <c:pt idx="32">
                  <c:v>1092.6024</c:v>
                </c:pt>
                <c:pt idx="33">
                  <c:v>1105.7418</c:v>
                </c:pt>
                <c:pt idx="34">
                  <c:v>1109.2966</c:v>
                </c:pt>
                <c:pt idx="35">
                  <c:v>1083.6236</c:v>
                </c:pt>
                <c:pt idx="36">
                  <c:v>1094.3284</c:v>
                </c:pt>
                <c:pt idx="37">
                  <c:v>1273.2512</c:v>
                </c:pt>
                <c:pt idx="38">
                  <c:v>1305.6442</c:v>
                </c:pt>
                <c:pt idx="39">
                  <c:v>1254.1519</c:v>
                </c:pt>
                <c:pt idx="40">
                  <c:v>1263.269</c:v>
                </c:pt>
                <c:pt idx="41">
                  <c:v>1288.762</c:v>
                </c:pt>
                <c:pt idx="42">
                  <c:v>1251.1635</c:v>
                </c:pt>
                <c:pt idx="43">
                  <c:v>1299.2618</c:v>
                </c:pt>
                <c:pt idx="44">
                  <c:v>1196.3831</c:v>
                </c:pt>
                <c:pt idx="45">
                  <c:v>1136.3933</c:v>
                </c:pt>
                <c:pt idx="46">
                  <c:v>1134.1898</c:v>
                </c:pt>
                <c:pt idx="47">
                  <c:v>1130.8366</c:v>
                </c:pt>
                <c:pt idx="48">
                  <c:v>1140.8612</c:v>
                </c:pt>
                <c:pt idx="49">
                  <c:v>1118.2769</c:v>
                </c:pt>
                <c:pt idx="50">
                  <c:v>988.6718</c:v>
                </c:pt>
                <c:pt idx="51">
                  <c:v>979.3193</c:v>
                </c:pt>
                <c:pt idx="52">
                  <c:v>928.8481942908503</c:v>
                </c:pt>
                <c:pt idx="53">
                  <c:v>953.5076766331038</c:v>
                </c:pt>
                <c:pt idx="54">
                  <c:v>1188.132762381233</c:v>
                </c:pt>
              </c:numCache>
            </c:numRef>
          </c:xVal>
          <c:yVal>
            <c:numRef>
              <c:f>Sheet1!$B$187:$B$241</c:f>
              <c:numCache>
                <c:formatCode>General</c:formatCode>
                <c:ptCount val="55"/>
                <c:pt idx="0">
                  <c:v>0.10562308424351669</c:v>
                </c:pt>
                <c:pt idx="1">
                  <c:v>0.11357970106535985</c:v>
                </c:pt>
                <c:pt idx="2">
                  <c:v>0.1153479993437958</c:v>
                </c:pt>
                <c:pt idx="3">
                  <c:v>0.11377412922133032</c:v>
                </c:pt>
                <c:pt idx="4">
                  <c:v>0.11387417563472632</c:v>
                </c:pt>
                <c:pt idx="5">
                  <c:v>0.11548914931517971</c:v>
                </c:pt>
                <c:pt idx="6">
                  <c:v>0.11691461515507556</c:v>
                </c:pt>
                <c:pt idx="7">
                  <c:v>0.10134890717386164</c:v>
                </c:pt>
                <c:pt idx="8">
                  <c:v>0.0827121780195782</c:v>
                </c:pt>
                <c:pt idx="9">
                  <c:v>0.08846822792967052</c:v>
                </c:pt>
                <c:pt idx="10">
                  <c:v>0.08745150152246112</c:v>
                </c:pt>
                <c:pt idx="11">
                  <c:v>0.10367523230108933</c:v>
                </c:pt>
                <c:pt idx="12">
                  <c:v>0.096115180285334</c:v>
                </c:pt>
                <c:pt idx="13">
                  <c:v>0.08577701725789816</c:v>
                </c:pt>
                <c:pt idx="14">
                  <c:v>0.0881017401285683</c:v>
                </c:pt>
                <c:pt idx="15">
                  <c:v>0.08672555313996183</c:v>
                </c:pt>
                <c:pt idx="16">
                  <c:v>0.08188006436990017</c:v>
                </c:pt>
                <c:pt idx="17">
                  <c:v>0.08332755808341386</c:v>
                </c:pt>
                <c:pt idx="18">
                  <c:v>0.07423061400795011</c:v>
                </c:pt>
                <c:pt idx="19">
                  <c:v>0.07671337993292188</c:v>
                </c:pt>
                <c:pt idx="20">
                  <c:v>0.08162818206933886</c:v>
                </c:pt>
                <c:pt idx="21">
                  <c:v>0.09826697299353013</c:v>
                </c:pt>
                <c:pt idx="22">
                  <c:v>0.10282339954117953</c:v>
                </c:pt>
                <c:pt idx="23">
                  <c:v>0.102332617003031</c:v>
                </c:pt>
                <c:pt idx="24">
                  <c:v>0.09784286703732331</c:v>
                </c:pt>
                <c:pt idx="25">
                  <c:v>0.1035943372692236</c:v>
                </c:pt>
                <c:pt idx="26">
                  <c:v>0.09260438384389652</c:v>
                </c:pt>
                <c:pt idx="27">
                  <c:v>0.09169875563547214</c:v>
                </c:pt>
                <c:pt idx="28">
                  <c:v>0.0926938705034448</c:v>
                </c:pt>
                <c:pt idx="29">
                  <c:v>0.09317882436025804</c:v>
                </c:pt>
                <c:pt idx="30">
                  <c:v>0.09475680736176095</c:v>
                </c:pt>
                <c:pt idx="31">
                  <c:v>0.09801222681707464</c:v>
                </c:pt>
                <c:pt idx="32">
                  <c:v>0.10026724521939512</c:v>
                </c:pt>
                <c:pt idx="33">
                  <c:v>0.09860955310820288</c:v>
                </c:pt>
                <c:pt idx="34">
                  <c:v>0.09816107266641211</c:v>
                </c:pt>
                <c:pt idx="35">
                  <c:v>0.10140002798938252</c:v>
                </c:pt>
                <c:pt idx="36">
                  <c:v>0.10004948972189004</c:v>
                </c:pt>
                <c:pt idx="37">
                  <c:v>0.07747624329721142</c:v>
                </c:pt>
                <c:pt idx="38">
                  <c:v>0.07338947978001509</c:v>
                </c:pt>
                <c:pt idx="39">
                  <c:v>0.07988584791685108</c:v>
                </c:pt>
                <c:pt idx="40">
                  <c:v>0.07873561695143785</c:v>
                </c:pt>
                <c:pt idx="41">
                  <c:v>0.07551937077652704</c:v>
                </c:pt>
                <c:pt idx="42">
                  <c:v>0.08026287023941425</c:v>
                </c:pt>
                <c:pt idx="43">
                  <c:v>0.07419469570543583</c:v>
                </c:pt>
                <c:pt idx="44">
                  <c:v>0.08717407143033273</c:v>
                </c:pt>
                <c:pt idx="45">
                  <c:v>0.09474250059848341</c:v>
                </c:pt>
                <c:pt idx="46">
                  <c:v>0.09502049841931326</c:v>
                </c:pt>
                <c:pt idx="47">
                  <c:v>0.09544354461527729</c:v>
                </c:pt>
                <c:pt idx="48">
                  <c:v>0.09417882169506347</c:v>
                </c:pt>
                <c:pt idx="49">
                  <c:v>0.09702810065352416</c:v>
                </c:pt>
                <c:pt idx="50">
                  <c:v>0.11337933068231379</c:v>
                </c:pt>
                <c:pt idx="51">
                  <c:v>0.11455926016691166</c:v>
                </c:pt>
                <c:pt idx="52">
                  <c:v>0.12092679245736676</c:v>
                </c:pt>
                <c:pt idx="53">
                  <c:v>0.11781570448190082</c:v>
                </c:pt>
                <c:pt idx="54">
                  <c:v>0.08821494997770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7.0"/>
          <c:min val="5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709068526877308"/>
          <c:min val="0.0308311763014092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152664495012279</c:v>
                </c:pt>
                <c:pt idx="2">
                  <c:v>0.0</c:v>
                </c:pt>
                <c:pt idx="3">
                  <c:v>2.715982658689767</c:v>
                </c:pt>
                <c:pt idx="4">
                  <c:v>3.04921748968764</c:v>
                </c:pt>
                <c:pt idx="5">
                  <c:v>2.100681148399423</c:v>
                </c:pt>
                <c:pt idx="6">
                  <c:v>1.4545727580692482</c:v>
                </c:pt>
                <c:pt idx="7">
                  <c:v>1.7171935706481507</c:v>
                </c:pt>
                <c:pt idx="8">
                  <c:v>2.003108105436995</c:v>
                </c:pt>
                <c:pt idx="9">
                  <c:v>1.6723747586927067</c:v>
                </c:pt>
                <c:pt idx="10">
                  <c:v>1.7642319954218897</c:v>
                </c:pt>
                <c:pt idx="11">
                  <c:v>2.2555704368491636</c:v>
                </c:pt>
                <c:pt idx="12">
                  <c:v>1.8471270858396143</c:v>
                </c:pt>
                <c:pt idx="13">
                  <c:v>1.87497141853559</c:v>
                </c:pt>
                <c:pt idx="14">
                  <c:v>1.7410513043755012</c:v>
                </c:pt>
                <c:pt idx="15">
                  <c:v>1.642345358996383</c:v>
                </c:pt>
                <c:pt idx="16">
                  <c:v>1.5997721687778454</c:v>
                </c:pt>
                <c:pt idx="17">
                  <c:v>1.329195395457024</c:v>
                </c:pt>
                <c:pt idx="18">
                  <c:v>1.014239643712217</c:v>
                </c:pt>
                <c:pt idx="19">
                  <c:v>1.245582570761799</c:v>
                </c:pt>
                <c:pt idx="20">
                  <c:v>1.1684312667248626</c:v>
                </c:pt>
                <c:pt idx="21">
                  <c:v>1.1996165250966486</c:v>
                </c:pt>
                <c:pt idx="22">
                  <c:v>0.536099966735932</c:v>
                </c:pt>
                <c:pt idx="23">
                  <c:v>0.7155275635992266</c:v>
                </c:pt>
                <c:pt idx="24">
                  <c:v>2.664187824365949</c:v>
                </c:pt>
                <c:pt idx="25">
                  <c:v>2.8841443369721107</c:v>
                </c:pt>
                <c:pt idx="26">
                  <c:v>2.893186347836622</c:v>
                </c:pt>
                <c:pt idx="27">
                  <c:v>2.1763862562896477</c:v>
                </c:pt>
                <c:pt idx="28">
                  <c:v>3.0547274711244863</c:v>
                </c:pt>
                <c:pt idx="29">
                  <c:v>2.9831951266346888</c:v>
                </c:pt>
                <c:pt idx="30">
                  <c:v>2.5673537453865958</c:v>
                </c:pt>
                <c:pt idx="31">
                  <c:v>2.7631117261137357</c:v>
                </c:pt>
                <c:pt idx="32">
                  <c:v>3.0568415893032332</c:v>
                </c:pt>
                <c:pt idx="33">
                  <c:v>2.8472602653956893</c:v>
                </c:pt>
                <c:pt idx="34">
                  <c:v>2.554160442670675</c:v>
                </c:pt>
                <c:pt idx="35">
                  <c:v>3.565910355428789</c:v>
                </c:pt>
                <c:pt idx="36">
                  <c:v>3.5864024690160208</c:v>
                </c:pt>
                <c:pt idx="37">
                  <c:v>3.0751871684419108</c:v>
                </c:pt>
                <c:pt idx="38">
                  <c:v>2.8696420538550793</c:v>
                </c:pt>
                <c:pt idx="39">
                  <c:v>3.149357767237203</c:v>
                </c:pt>
                <c:pt idx="40">
                  <c:v>2.773726026611238</c:v>
                </c:pt>
                <c:pt idx="41">
                  <c:v>3.306005117120581</c:v>
                </c:pt>
                <c:pt idx="42">
                  <c:v>3.2588765247659244</c:v>
                </c:pt>
                <c:pt idx="43">
                  <c:v>3.6491101859380564</c:v>
                </c:pt>
                <c:pt idx="44">
                  <c:v>3.6118847632152944</c:v>
                </c:pt>
                <c:pt idx="45">
                  <c:v>2.8229430231487824</c:v>
                </c:pt>
                <c:pt idx="46">
                  <c:v>3.0058518100519698</c:v>
                </c:pt>
                <c:pt idx="47">
                  <c:v>2.905835093481691</c:v>
                </c:pt>
                <c:pt idx="48">
                  <c:v>3.0784184813501154</c:v>
                </c:pt>
                <c:pt idx="49">
                  <c:v>3.314824137950875</c:v>
                </c:pt>
                <c:pt idx="50">
                  <c:v>2.926717716512831</c:v>
                </c:pt>
                <c:pt idx="51">
                  <c:v>3.076780327332232</c:v>
                </c:pt>
                <c:pt idx="52">
                  <c:v>3.311151270227145</c:v>
                </c:pt>
                <c:pt idx="53">
                  <c:v>3.3293524655072657</c:v>
                </c:pt>
              </c:numCache>
            </c:numRef>
          </c:xVal>
          <c:yVal>
            <c:numRef>
              <c:f>Sheet1!$B$2:$B$55</c:f>
              <c:numCache>
                <c:formatCode>General</c:formatCode>
                <c:ptCount val="54"/>
                <c:pt idx="0">
                  <c:v>0.0</c:v>
                </c:pt>
                <c:pt idx="1">
                  <c:v>0.00012086052695189751</c:v>
                </c:pt>
                <c:pt idx="2">
                  <c:v>0.0</c:v>
                </c:pt>
                <c:pt idx="3">
                  <c:v>0.00016778523489932885</c:v>
                </c:pt>
                <c:pt idx="4">
                  <c:v>0.00017164435290078958</c:v>
                </c:pt>
                <c:pt idx="5">
                  <c:v>0.00037979491074819596</c:v>
                </c:pt>
                <c:pt idx="6">
                  <c:v>0.00031308703819661864</c:v>
                </c:pt>
                <c:pt idx="7">
                  <c:v>0.00042583392476933996</c:v>
                </c:pt>
                <c:pt idx="8">
                  <c:v>0.0005344735435595938</c:v>
                </c:pt>
                <c:pt idx="9">
                  <c:v>0.0012160518848804217</c:v>
                </c:pt>
                <c:pt idx="10">
                  <c:v>0.0014803849000740192</c:v>
                </c:pt>
                <c:pt idx="11">
                  <c:v>0.001156570767673847</c:v>
                </c:pt>
                <c:pt idx="12">
                  <c:v>0.0014521452145214522</c:v>
                </c:pt>
                <c:pt idx="13">
                  <c:v>0.0013798294029101856</c:v>
                </c:pt>
                <c:pt idx="14">
                  <c:v>0.0014717687985014718</c:v>
                </c:pt>
                <c:pt idx="15">
                  <c:v>0.00135080372821829</c:v>
                </c:pt>
                <c:pt idx="16">
                  <c:v>0.0014697236919459142</c:v>
                </c:pt>
                <c:pt idx="17">
                  <c:v>0.002342764462065237</c:v>
                </c:pt>
                <c:pt idx="18">
                  <c:v>0.0027254144901203725</c:v>
                </c:pt>
                <c:pt idx="19">
                  <c:v>0.0017582417582417582</c:v>
                </c:pt>
                <c:pt idx="20">
                  <c:v>0.0024449877750611247</c:v>
                </c:pt>
                <c:pt idx="21">
                  <c:v>0.002386634844868735</c:v>
                </c:pt>
                <c:pt idx="22">
                  <c:v>0.0037603409375783405</c:v>
                </c:pt>
                <c:pt idx="23">
                  <c:v>0.003401360544217687</c:v>
                </c:pt>
                <c:pt idx="24">
                  <c:v>0.003135615364515286</c:v>
                </c:pt>
                <c:pt idx="25">
                  <c:v>0.0045871559633027525</c:v>
                </c:pt>
                <c:pt idx="26">
                  <c:v>0.006193868070610096</c:v>
                </c:pt>
                <c:pt idx="27">
                  <c:v>0.008177172061328791</c:v>
                </c:pt>
                <c:pt idx="28">
                  <c:v>0.006215040397762586</c:v>
                </c:pt>
                <c:pt idx="29">
                  <c:v>0.005761067313523348</c:v>
                </c:pt>
                <c:pt idx="30">
                  <c:v>0.007271815446339017</c:v>
                </c:pt>
                <c:pt idx="31">
                  <c:v>0.008067226890756302</c:v>
                </c:pt>
                <c:pt idx="32">
                  <c:v>0.007003317360855142</c:v>
                </c:pt>
                <c:pt idx="33">
                  <c:v>0.006982726938625505</c:v>
                </c:pt>
                <c:pt idx="34">
                  <c:v>0.0076384468491406746</c:v>
                </c:pt>
                <c:pt idx="35">
                  <c:v>0.0066857688634192934</c:v>
                </c:pt>
                <c:pt idx="36">
                  <c:v>0.0060254407498326265</c:v>
                </c:pt>
                <c:pt idx="37">
                  <c:v>0.008685906416363126</c:v>
                </c:pt>
                <c:pt idx="38">
                  <c:v>0.011194029850746268</c:v>
                </c:pt>
                <c:pt idx="39">
                  <c:v>0.00992</c:v>
                </c:pt>
                <c:pt idx="40">
                  <c:v>0.01096147823363608</c:v>
                </c:pt>
                <c:pt idx="41">
                  <c:v>0.008225616921269096</c:v>
                </c:pt>
                <c:pt idx="42">
                  <c:v>0.008109934669970714</c:v>
                </c:pt>
                <c:pt idx="43">
                  <c:v>0.007698038241867395</c:v>
                </c:pt>
                <c:pt idx="44">
                  <c:v>0.008426966292134831</c:v>
                </c:pt>
                <c:pt idx="45">
                  <c:v>0.010944260626113514</c:v>
                </c:pt>
                <c:pt idx="46">
                  <c:v>0.012539874601253987</c:v>
                </c:pt>
                <c:pt idx="47">
                  <c:v>0.01197547422877946</c:v>
                </c:pt>
                <c:pt idx="48">
                  <c:v>0.011068575233022637</c:v>
                </c:pt>
                <c:pt idx="49">
                  <c:v>0.008678403173816018</c:v>
                </c:pt>
                <c:pt idx="50">
                  <c:v>0.012399868319982443</c:v>
                </c:pt>
                <c:pt idx="51">
                  <c:v>0.011397345823575333</c:v>
                </c:pt>
                <c:pt idx="52">
                  <c:v>0.009190707173857544</c:v>
                </c:pt>
                <c:pt idx="53">
                  <c:v>0.007726781023025807</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3.357582831107311</c:v>
                </c:pt>
                <c:pt idx="1">
                  <c:v>2.667559302403917</c:v>
                </c:pt>
                <c:pt idx="2">
                  <c:v>3.135610728480464</c:v>
                </c:pt>
                <c:pt idx="3">
                  <c:v>2.5154130969489277</c:v>
                </c:pt>
                <c:pt idx="4">
                  <c:v>3.1094103312404124</c:v>
                </c:pt>
                <c:pt idx="5">
                  <c:v>3.475568726418989</c:v>
                </c:pt>
                <c:pt idx="6">
                  <c:v>3.504986256200954</c:v>
                </c:pt>
                <c:pt idx="7">
                  <c:v>3.21290098716368</c:v>
                </c:pt>
                <c:pt idx="8">
                  <c:v>3.0403927154175117</c:v>
                </c:pt>
                <c:pt idx="9">
                  <c:v>3.1206591493922318</c:v>
                </c:pt>
                <c:pt idx="10">
                  <c:v>3.255296010913984</c:v>
                </c:pt>
                <c:pt idx="11">
                  <c:v>3.306434990105481</c:v>
                </c:pt>
                <c:pt idx="12">
                  <c:v>3.0383961644320414</c:v>
                </c:pt>
                <c:pt idx="13">
                  <c:v>2.51711660375197</c:v>
                </c:pt>
                <c:pt idx="14">
                  <c:v>2.5193481462749228</c:v>
                </c:pt>
                <c:pt idx="15">
                  <c:v>2.6693690999459423</c:v>
                </c:pt>
                <c:pt idx="16">
                  <c:v>2.774443516152235</c:v>
                </c:pt>
                <c:pt idx="17">
                  <c:v>2.196406698238256</c:v>
                </c:pt>
                <c:pt idx="18">
                  <c:v>3.1064077195950706</c:v>
                </c:pt>
                <c:pt idx="19">
                  <c:v>3.0762951223327724</c:v>
                </c:pt>
                <c:pt idx="20">
                  <c:v>2.8597618951554</c:v>
                </c:pt>
                <c:pt idx="21">
                  <c:v>2.6642132530676266</c:v>
                </c:pt>
                <c:pt idx="22">
                  <c:v>2.8802306538069717</c:v>
                </c:pt>
                <c:pt idx="23">
                  <c:v>2.155846679911215</c:v>
                </c:pt>
                <c:pt idx="24">
                  <c:v>2.8243663889682393</c:v>
                </c:pt>
                <c:pt idx="25">
                  <c:v>2.783418771406524</c:v>
                </c:pt>
                <c:pt idx="26">
                  <c:v>2.9306513953287743</c:v>
                </c:pt>
                <c:pt idx="27">
                  <c:v>2.726411119425933</c:v>
                </c:pt>
                <c:pt idx="28">
                  <c:v>2.785693006325091</c:v>
                </c:pt>
                <c:pt idx="29">
                  <c:v>2.570112486694754</c:v>
                </c:pt>
                <c:pt idx="30">
                  <c:v>2.50278961110732</c:v>
                </c:pt>
                <c:pt idx="31">
                  <c:v>2.6570571898584157</c:v>
                </c:pt>
                <c:pt idx="32">
                  <c:v>3.0165645491017083</c:v>
                </c:pt>
                <c:pt idx="33">
                  <c:v>3.3334428064878416</c:v>
                </c:pt>
                <c:pt idx="34">
                  <c:v>3.3769494136021194</c:v>
                </c:pt>
                <c:pt idx="35">
                  <c:v>2.7735445515969626</c:v>
                </c:pt>
                <c:pt idx="36">
                  <c:v>2.876516542715692</c:v>
                </c:pt>
                <c:pt idx="37">
                  <c:v>2.7845125572172758</c:v>
                </c:pt>
                <c:pt idx="38">
                  <c:v>2.42503974477983</c:v>
                </c:pt>
                <c:pt idx="39">
                  <c:v>2.299641547070963</c:v>
                </c:pt>
                <c:pt idx="40">
                  <c:v>2.3955489023453183</c:v>
                </c:pt>
                <c:pt idx="41">
                  <c:v>2.515584027051621</c:v>
                </c:pt>
                <c:pt idx="42">
                  <c:v>2.3538703686179034</c:v>
                </c:pt>
                <c:pt idx="43">
                  <c:v>2.566802977318262</c:v>
                </c:pt>
                <c:pt idx="44">
                  <c:v>3.2756424259641337</c:v>
                </c:pt>
                <c:pt idx="45">
                  <c:v>3.3425491635362086</c:v>
                </c:pt>
                <c:pt idx="46">
                  <c:v>3.2221690652329924</c:v>
                </c:pt>
                <c:pt idx="47">
                  <c:v>3.276720663511423</c:v>
                </c:pt>
                <c:pt idx="48">
                  <c:v>3.104498483552082</c:v>
                </c:pt>
                <c:pt idx="49">
                  <c:v>3.258636764330301</c:v>
                </c:pt>
                <c:pt idx="50">
                  <c:v>3.442983088986475</c:v>
                </c:pt>
                <c:pt idx="51">
                  <c:v>3.705005527850836</c:v>
                </c:pt>
              </c:numCache>
            </c:numRef>
          </c:xVal>
          <c:yVal>
            <c:numRef>
              <c:f>Sheet1!$B$58:$B$109</c:f>
              <c:numCache>
                <c:formatCode>General</c:formatCode>
                <c:ptCount val="52"/>
                <c:pt idx="0">
                  <c:v>0.007722549845549003</c:v>
                </c:pt>
                <c:pt idx="1">
                  <c:v>0.009556012937371362</c:v>
                </c:pt>
                <c:pt idx="2">
                  <c:v>0.008278976417461115</c:v>
                </c:pt>
                <c:pt idx="3">
                  <c:v>0.009596161535385846</c:v>
                </c:pt>
                <c:pt idx="4">
                  <c:v>0.009027492819039803</c:v>
                </c:pt>
                <c:pt idx="5">
                  <c:v>0.00753669178897263</c:v>
                </c:pt>
                <c:pt idx="6">
                  <c:v>0.008014142604596347</c:v>
                </c:pt>
                <c:pt idx="7">
                  <c:v>0.010141987829614604</c:v>
                </c:pt>
                <c:pt idx="8">
                  <c:v>0.013128660876590587</c:v>
                </c:pt>
                <c:pt idx="9">
                  <c:v>0.013029913745641402</c:v>
                </c:pt>
                <c:pt idx="10">
                  <c:v>0.012531783508899382</c:v>
                </c:pt>
                <c:pt idx="11">
                  <c:v>0.011790446092135651</c:v>
                </c:pt>
                <c:pt idx="12">
                  <c:v>0.012871142313880356</c:v>
                </c:pt>
                <c:pt idx="13">
                  <c:v>0.019822723609991943</c:v>
                </c:pt>
                <c:pt idx="14">
                  <c:v>0.019055793991416308</c:v>
                </c:pt>
                <c:pt idx="15">
                  <c:v>0.018415178571428572</c:v>
                </c:pt>
                <c:pt idx="16">
                  <c:v>0.01748773725741096</c:v>
                </c:pt>
                <c:pt idx="17">
                  <c:v>0.022893976439208714</c:v>
                </c:pt>
                <c:pt idx="18">
                  <c:v>0.012332721070585148</c:v>
                </c:pt>
                <c:pt idx="19">
                  <c:v>0.011446409989594173</c:v>
                </c:pt>
                <c:pt idx="20">
                  <c:v>0.014289880431612716</c:v>
                </c:pt>
                <c:pt idx="21">
                  <c:v>0.01651499831479609</c:v>
                </c:pt>
                <c:pt idx="22">
                  <c:v>0.014084507042253521</c:v>
                </c:pt>
                <c:pt idx="23">
                  <c:v>0.015861825872400422</c:v>
                </c:pt>
                <c:pt idx="24">
                  <c:v>0.01393841166936791</c:v>
                </c:pt>
                <c:pt idx="25">
                  <c:v>0.014700854700854702</c:v>
                </c:pt>
                <c:pt idx="26">
                  <c:v>0.014696276943174396</c:v>
                </c:pt>
                <c:pt idx="27">
                  <c:v>0.015620480185131617</c:v>
                </c:pt>
                <c:pt idx="28">
                  <c:v>0.012361914781693845</c:v>
                </c:pt>
                <c:pt idx="29">
                  <c:v>0.01541994750656168</c:v>
                </c:pt>
                <c:pt idx="30">
                  <c:v>0.015197568389057751</c:v>
                </c:pt>
                <c:pt idx="31">
                  <c:v>0.016031350195938723</c:v>
                </c:pt>
                <c:pt idx="32">
                  <c:v>0.013500784929356358</c:v>
                </c:pt>
                <c:pt idx="33">
                  <c:v>0.010633156114064766</c:v>
                </c:pt>
                <c:pt idx="34">
                  <c:v>0.010608486789431545</c:v>
                </c:pt>
                <c:pt idx="35">
                  <c:v>0.014392059553349877</c:v>
                </c:pt>
                <c:pt idx="36">
                  <c:v>0.017047655947307245</c:v>
                </c:pt>
                <c:pt idx="37">
                  <c:v>0.01757469244288225</c:v>
                </c:pt>
                <c:pt idx="38">
                  <c:v>0.02155688622754491</c:v>
                </c:pt>
                <c:pt idx="39">
                  <c:v>0.01998236849838378</c:v>
                </c:pt>
                <c:pt idx="40">
                  <c:v>0.018202831551574688</c:v>
                </c:pt>
                <c:pt idx="41">
                  <c:v>0.0151797603195739</c:v>
                </c:pt>
                <c:pt idx="42">
                  <c:v>0.01694411414982164</c:v>
                </c:pt>
                <c:pt idx="43">
                  <c:v>0.014150943396226415</c:v>
                </c:pt>
                <c:pt idx="44">
                  <c:v>0.0098896918980601</c:v>
                </c:pt>
                <c:pt idx="45">
                  <c:v>0.00752375923970433</c:v>
                </c:pt>
                <c:pt idx="46">
                  <c:v>0.008038829061125435</c:v>
                </c:pt>
                <c:pt idx="47">
                  <c:v>0.007174766481656965</c:v>
                </c:pt>
                <c:pt idx="48">
                  <c:v>0.00783716120605203</c:v>
                </c:pt>
                <c:pt idx="49">
                  <c:v>0.007218328277016424</c:v>
                </c:pt>
                <c:pt idx="50">
                  <c:v>0.005912944361330769</c:v>
                </c:pt>
                <c:pt idx="51">
                  <c:v>0.007662835249042145</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6474393524111046</c:v>
                </c:pt>
              </c:numCache>
            </c:numRef>
          </c:xVal>
          <c:yVal>
            <c:numRef>
              <c:f>Sheet1!$B$112:$B$113</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6474393524111046</c:v>
                </c:pt>
                <c:pt idx="1">
                  <c:v>2.6474393524111046</c:v>
                </c:pt>
              </c:numCache>
            </c:numRef>
          </c:xVal>
          <c:yVal>
            <c:numRef>
              <c:f>Sheet1!$B$116:$B$117</c:f>
              <c:numCache>
                <c:formatCode>General</c:formatCode>
                <c:ptCount val="2"/>
                <c:pt idx="0">
                  <c:v>0.015575592718200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6474393524111046</c:v>
                </c:pt>
              </c:numCache>
            </c:numRef>
          </c:xVal>
          <c:yVal>
            <c:numRef>
              <c:f>Sheet1!$B$120:$B$121</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6474393524111046</c:v>
                </c:pt>
                <c:pt idx="1">
                  <c:v>2.6474393524111046</c:v>
                </c:pt>
              </c:numCache>
            </c:numRef>
          </c:xVal>
          <c:yVal>
            <c:numRef>
              <c:f>Sheet1!$B$124:$B$125</c:f>
              <c:numCache>
                <c:formatCode>General</c:formatCode>
                <c:ptCount val="2"/>
                <c:pt idx="0">
                  <c:v>0.015575592718200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3.1212992375215234</c:v>
                </c:pt>
              </c:numCache>
            </c:numRef>
          </c:xVal>
          <c:yVal>
            <c:numRef>
              <c:f>Sheet1!$B$128:$B$129</c:f>
              <c:numCache>
                <c:formatCode>General</c:formatCode>
                <c:ptCount val="2"/>
                <c:pt idx="0">
                  <c:v>0.011209102591505279</c:v>
                </c:pt>
                <c:pt idx="1">
                  <c:v>0.011209102591505279</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3.1212992375215234</c:v>
                </c:pt>
                <c:pt idx="1">
                  <c:v>3.1212992375215234</c:v>
                </c:pt>
              </c:numCache>
            </c:numRef>
          </c:xVal>
          <c:yVal>
            <c:numRef>
              <c:f>Sheet1!$B$132:$B$133</c:f>
              <c:numCache>
                <c:formatCode>General</c:formatCode>
                <c:ptCount val="2"/>
                <c:pt idx="0">
                  <c:v>0.0112091025915052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3.357582831107311</c:v>
                </c:pt>
                <c:pt idx="1">
                  <c:v>2.667559302403917</c:v>
                </c:pt>
                <c:pt idx="2">
                  <c:v>3.135610728480464</c:v>
                </c:pt>
                <c:pt idx="3">
                  <c:v>2.5154130969489277</c:v>
                </c:pt>
                <c:pt idx="4">
                  <c:v>3.1094103312404124</c:v>
                </c:pt>
                <c:pt idx="5">
                  <c:v>3.475568726418989</c:v>
                </c:pt>
                <c:pt idx="6">
                  <c:v>3.504986256200954</c:v>
                </c:pt>
                <c:pt idx="7">
                  <c:v>3.21290098716368</c:v>
                </c:pt>
                <c:pt idx="8">
                  <c:v>3.0403927154175117</c:v>
                </c:pt>
                <c:pt idx="9">
                  <c:v>3.1206591493922318</c:v>
                </c:pt>
                <c:pt idx="10">
                  <c:v>3.255296010913984</c:v>
                </c:pt>
                <c:pt idx="11">
                  <c:v>3.306434990105481</c:v>
                </c:pt>
                <c:pt idx="12">
                  <c:v>3.0383961644320414</c:v>
                </c:pt>
                <c:pt idx="13">
                  <c:v>2.51711660375197</c:v>
                </c:pt>
                <c:pt idx="14">
                  <c:v>2.5193481462749228</c:v>
                </c:pt>
                <c:pt idx="15">
                  <c:v>2.6693690999459423</c:v>
                </c:pt>
                <c:pt idx="16">
                  <c:v>2.774443516152235</c:v>
                </c:pt>
                <c:pt idx="17">
                  <c:v>2.196406698238256</c:v>
                </c:pt>
                <c:pt idx="18">
                  <c:v>3.1064077195950706</c:v>
                </c:pt>
                <c:pt idx="19">
                  <c:v>3.0762951223327724</c:v>
                </c:pt>
                <c:pt idx="20">
                  <c:v>2.8597618951554</c:v>
                </c:pt>
                <c:pt idx="21">
                  <c:v>2.6642132530676266</c:v>
                </c:pt>
                <c:pt idx="22">
                  <c:v>2.8802306538069717</c:v>
                </c:pt>
                <c:pt idx="23">
                  <c:v>2.155846679911215</c:v>
                </c:pt>
                <c:pt idx="24">
                  <c:v>2.8243663889682393</c:v>
                </c:pt>
                <c:pt idx="25">
                  <c:v>2.783418771406524</c:v>
                </c:pt>
                <c:pt idx="26">
                  <c:v>2.9306513953287743</c:v>
                </c:pt>
                <c:pt idx="27">
                  <c:v>2.726411119425933</c:v>
                </c:pt>
                <c:pt idx="28">
                  <c:v>2.785693006325091</c:v>
                </c:pt>
                <c:pt idx="29">
                  <c:v>2.570112486694754</c:v>
                </c:pt>
                <c:pt idx="30">
                  <c:v>2.50278961110732</c:v>
                </c:pt>
                <c:pt idx="31">
                  <c:v>2.6570571898584157</c:v>
                </c:pt>
                <c:pt idx="32">
                  <c:v>3.0165645491017083</c:v>
                </c:pt>
                <c:pt idx="33">
                  <c:v>3.3334428064878416</c:v>
                </c:pt>
                <c:pt idx="34">
                  <c:v>3.3769494136021194</c:v>
                </c:pt>
                <c:pt idx="35">
                  <c:v>2.7735445515969626</c:v>
                </c:pt>
                <c:pt idx="36">
                  <c:v>2.876516542715692</c:v>
                </c:pt>
                <c:pt idx="37">
                  <c:v>2.7845125572172758</c:v>
                </c:pt>
                <c:pt idx="38">
                  <c:v>2.42503974477983</c:v>
                </c:pt>
                <c:pt idx="39">
                  <c:v>2.299641547070963</c:v>
                </c:pt>
                <c:pt idx="40">
                  <c:v>2.3955489023453183</c:v>
                </c:pt>
                <c:pt idx="41">
                  <c:v>2.515584027051621</c:v>
                </c:pt>
                <c:pt idx="42">
                  <c:v>2.3538703686179034</c:v>
                </c:pt>
                <c:pt idx="43">
                  <c:v>2.566802977318262</c:v>
                </c:pt>
                <c:pt idx="44">
                  <c:v>3.2756424259641337</c:v>
                </c:pt>
                <c:pt idx="45">
                  <c:v>3.3425491635362086</c:v>
                </c:pt>
                <c:pt idx="46">
                  <c:v>3.2221690652329924</c:v>
                </c:pt>
                <c:pt idx="47">
                  <c:v>3.276720663511423</c:v>
                </c:pt>
                <c:pt idx="48">
                  <c:v>3.104498483552082</c:v>
                </c:pt>
                <c:pt idx="49">
                  <c:v>3.258636764330301</c:v>
                </c:pt>
                <c:pt idx="50">
                  <c:v>3.442983088986475</c:v>
                </c:pt>
                <c:pt idx="51">
                  <c:v>3.705005527850836</c:v>
                </c:pt>
                <c:pt idx="52">
                  <c:v>2.6474393524111046</c:v>
                </c:pt>
                <c:pt idx="53">
                  <c:v>2.6474393524111046</c:v>
                </c:pt>
                <c:pt idx="54">
                  <c:v>3.1212992375215234</c:v>
                </c:pt>
              </c:numCache>
            </c:numRef>
          </c:xVal>
          <c:yVal>
            <c:numRef>
              <c:f>Sheet1!$B$136:$B$190</c:f>
              <c:numCache>
                <c:formatCode>General</c:formatCode>
                <c:ptCount val="55"/>
                <c:pt idx="0">
                  <c:v>0.009031813458343273</c:v>
                </c:pt>
                <c:pt idx="1">
                  <c:v>0.015390192844199936</c:v>
                </c:pt>
                <c:pt idx="2">
                  <c:v>0.011077226089750054</c:v>
                </c:pt>
                <c:pt idx="3">
                  <c:v>0.016792178799981964</c:v>
                </c:pt>
                <c:pt idx="4">
                  <c:v>0.011318655633501176</c:v>
                </c:pt>
                <c:pt idx="5">
                  <c:v>0.007944605481564136</c:v>
                </c:pt>
                <c:pt idx="6">
                  <c:v>0.007673530935309245</c:v>
                </c:pt>
                <c:pt idx="7">
                  <c:v>0.010365017350343234</c:v>
                </c:pt>
                <c:pt idx="8">
                  <c:v>0.01195463421604882</c:v>
                </c:pt>
                <c:pt idx="9">
                  <c:v>0.011215000829749515</c:v>
                </c:pt>
                <c:pt idx="10">
                  <c:v>0.009974358722247806</c:v>
                </c:pt>
                <c:pt idx="11">
                  <c:v>0.00950312691988308</c:v>
                </c:pt>
                <c:pt idx="12">
                  <c:v>0.011973031891056626</c:v>
                </c:pt>
                <c:pt idx="13">
                  <c:v>0.016776481447515614</c:v>
                </c:pt>
                <c:pt idx="14">
                  <c:v>0.016755918389320675</c:v>
                </c:pt>
                <c:pt idx="15">
                  <c:v>0.015373516051445619</c:v>
                </c:pt>
                <c:pt idx="16">
                  <c:v>0.014405283847476531</c:v>
                </c:pt>
                <c:pt idx="17">
                  <c:v>0.01973173611236775</c:v>
                </c:pt>
                <c:pt idx="18">
                  <c:v>0.011346323884213364</c:v>
                </c:pt>
                <c:pt idx="19">
                  <c:v>0.011623803288498293</c:v>
                </c:pt>
                <c:pt idx="20">
                  <c:v>0.013619098160000332</c:v>
                </c:pt>
                <c:pt idx="21">
                  <c:v>0.015421025779946206</c:v>
                </c:pt>
                <c:pt idx="22">
                  <c:v>0.01343048410895661</c:v>
                </c:pt>
                <c:pt idx="23">
                  <c:v>0.020105485663930483</c:v>
                </c:pt>
                <c:pt idx="24">
                  <c:v>0.013945258135030902</c:v>
                </c:pt>
                <c:pt idx="25">
                  <c:v>0.014322579308257543</c:v>
                </c:pt>
                <c:pt idx="26">
                  <c:v>0.012965870671623168</c:v>
                </c:pt>
                <c:pt idx="27">
                  <c:v>0.014847889336265723</c:v>
                </c:pt>
                <c:pt idx="28">
                  <c:v>0.01430162285123356</c:v>
                </c:pt>
                <c:pt idx="29">
                  <c:v>0.016288138781473695</c:v>
                </c:pt>
                <c:pt idx="30">
                  <c:v>0.01690850079309393</c:v>
                </c:pt>
                <c:pt idx="31">
                  <c:v>0.015486966958617076</c:v>
                </c:pt>
                <c:pt idx="32">
                  <c:v>0.012174204296202265</c:v>
                </c:pt>
                <c:pt idx="33">
                  <c:v>0.009254257228054903</c:v>
                </c:pt>
                <c:pt idx="34">
                  <c:v>0.008853355661199928</c:v>
                </c:pt>
                <c:pt idx="35">
                  <c:v>0.014413567561667551</c:v>
                </c:pt>
                <c:pt idx="36">
                  <c:v>0.013464708633798467</c:v>
                </c:pt>
                <c:pt idx="37">
                  <c:v>0.01431250036911659</c:v>
                </c:pt>
                <c:pt idx="38">
                  <c:v>0.01762494469209947</c:v>
                </c:pt>
                <c:pt idx="39">
                  <c:v>0.018780455022064425</c:v>
                </c:pt>
                <c:pt idx="40">
                  <c:v>0.017896694794533662</c:v>
                </c:pt>
                <c:pt idx="41">
                  <c:v>0.016790603725515402</c:v>
                </c:pt>
                <c:pt idx="42">
                  <c:v>0.01828075116168841</c:v>
                </c:pt>
                <c:pt idx="43">
                  <c:v>0.016318635011415776</c:v>
                </c:pt>
                <c:pt idx="44">
                  <c:v>0.009786872034258987</c:v>
                </c:pt>
                <c:pt idx="45">
                  <c:v>0.00917034462141468</c:v>
                </c:pt>
                <c:pt idx="46">
                  <c:v>0.010279614528423294</c:v>
                </c:pt>
                <c:pt idx="47">
                  <c:v>0.009776936368142464</c:v>
                </c:pt>
                <c:pt idx="48">
                  <c:v>0.011363916975743571</c:v>
                </c:pt>
                <c:pt idx="49">
                  <c:v>0.009943574586965556</c:v>
                </c:pt>
                <c:pt idx="50">
                  <c:v>0.008244873279265506</c:v>
                </c:pt>
                <c:pt idx="51">
                  <c:v>0.005830407678305997</c:v>
                </c:pt>
                <c:pt idx="52">
                  <c:v>0.01557559271820011</c:v>
                </c:pt>
                <c:pt idx="53">
                  <c:v>0.01557559271820011</c:v>
                </c:pt>
                <c:pt idx="54">
                  <c:v>0.011209102591505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47277172705045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0.00012086052695189751</c:v>
                </c:pt>
                <c:pt idx="2">
                  <c:v>0.0</c:v>
                </c:pt>
                <c:pt idx="3">
                  <c:v>0.00016778523489932885</c:v>
                </c:pt>
                <c:pt idx="4">
                  <c:v>0.00017164435290078958</c:v>
                </c:pt>
                <c:pt idx="5">
                  <c:v>0.00037979491074819596</c:v>
                </c:pt>
                <c:pt idx="6">
                  <c:v>0.00031308703819661864</c:v>
                </c:pt>
                <c:pt idx="7">
                  <c:v>0.00042583392476933996</c:v>
                </c:pt>
                <c:pt idx="8">
                  <c:v>0.0005344735435595938</c:v>
                </c:pt>
                <c:pt idx="9">
                  <c:v>0.0012160518848804217</c:v>
                </c:pt>
                <c:pt idx="10">
                  <c:v>0.0014803849000740192</c:v>
                </c:pt>
                <c:pt idx="11">
                  <c:v>0.001156570767673847</c:v>
                </c:pt>
                <c:pt idx="12">
                  <c:v>0.0014521452145214522</c:v>
                </c:pt>
                <c:pt idx="13">
                  <c:v>0.0013798294029101856</c:v>
                </c:pt>
                <c:pt idx="14">
                  <c:v>0.0014717687985014718</c:v>
                </c:pt>
                <c:pt idx="15">
                  <c:v>0.00135080372821829</c:v>
                </c:pt>
                <c:pt idx="16">
                  <c:v>0.0014697236919459142</c:v>
                </c:pt>
                <c:pt idx="17">
                  <c:v>0.002342764462065237</c:v>
                </c:pt>
                <c:pt idx="18">
                  <c:v>0.0027254144901203725</c:v>
                </c:pt>
                <c:pt idx="19">
                  <c:v>0.0017582417582417582</c:v>
                </c:pt>
                <c:pt idx="20">
                  <c:v>0.0024449877750611247</c:v>
                </c:pt>
                <c:pt idx="21">
                  <c:v>0.002386634844868735</c:v>
                </c:pt>
                <c:pt idx="22">
                  <c:v>0.0037603409375783405</c:v>
                </c:pt>
                <c:pt idx="23">
                  <c:v>0.003401360544217687</c:v>
                </c:pt>
                <c:pt idx="24">
                  <c:v>0.003135615364515286</c:v>
                </c:pt>
                <c:pt idx="25">
                  <c:v>0.0045871559633027525</c:v>
                </c:pt>
                <c:pt idx="26">
                  <c:v>0.006193868070610096</c:v>
                </c:pt>
                <c:pt idx="27">
                  <c:v>0.008177172061328791</c:v>
                </c:pt>
                <c:pt idx="28">
                  <c:v>0.006215040397762586</c:v>
                </c:pt>
                <c:pt idx="29">
                  <c:v>0.005761067313523348</c:v>
                </c:pt>
                <c:pt idx="30">
                  <c:v>0.007271815446339017</c:v>
                </c:pt>
                <c:pt idx="31">
                  <c:v>0.008067226890756302</c:v>
                </c:pt>
                <c:pt idx="32">
                  <c:v>0.007003317360855142</c:v>
                </c:pt>
                <c:pt idx="33">
                  <c:v>0.006982726938625505</c:v>
                </c:pt>
                <c:pt idx="34">
                  <c:v>0.0076384468491406746</c:v>
                </c:pt>
                <c:pt idx="35">
                  <c:v>0.0066857688634192934</c:v>
                </c:pt>
                <c:pt idx="36">
                  <c:v>0.0060254407498326265</c:v>
                </c:pt>
                <c:pt idx="37">
                  <c:v>0.008685906416363126</c:v>
                </c:pt>
                <c:pt idx="38">
                  <c:v>0.011194029850746268</c:v>
                </c:pt>
                <c:pt idx="39">
                  <c:v>0.00992</c:v>
                </c:pt>
                <c:pt idx="40">
                  <c:v>0.01096147823363608</c:v>
                </c:pt>
                <c:pt idx="41">
                  <c:v>0.008225616921269096</c:v>
                </c:pt>
                <c:pt idx="42">
                  <c:v>0.008109934669970714</c:v>
                </c:pt>
                <c:pt idx="43">
                  <c:v>0.007698038241867395</c:v>
                </c:pt>
                <c:pt idx="44">
                  <c:v>0.008426966292134831</c:v>
                </c:pt>
                <c:pt idx="45">
                  <c:v>0.010944260626113514</c:v>
                </c:pt>
                <c:pt idx="46">
                  <c:v>0.012539874601253987</c:v>
                </c:pt>
                <c:pt idx="47">
                  <c:v>0.01197547422877946</c:v>
                </c:pt>
                <c:pt idx="48">
                  <c:v>0.011068575233022637</c:v>
                </c:pt>
                <c:pt idx="49">
                  <c:v>0.008678403173816018</c:v>
                </c:pt>
                <c:pt idx="50">
                  <c:v>0.012399868319982443</c:v>
                </c:pt>
                <c:pt idx="51">
                  <c:v>0.011397345823575333</c:v>
                </c:pt>
                <c:pt idx="52">
                  <c:v>0.009190707173857544</c:v>
                </c:pt>
                <c:pt idx="53">
                  <c:v>0.007726781023025807</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7722549845549003</c:v>
                </c:pt>
                <c:pt idx="1">
                  <c:v>0.009556012937371362</c:v>
                </c:pt>
                <c:pt idx="2">
                  <c:v>0.008278976417461115</c:v>
                </c:pt>
                <c:pt idx="3">
                  <c:v>0.009596161535385846</c:v>
                </c:pt>
                <c:pt idx="4">
                  <c:v>0.009027492819039803</c:v>
                </c:pt>
                <c:pt idx="5">
                  <c:v>0.00753669178897263</c:v>
                </c:pt>
                <c:pt idx="6">
                  <c:v>0.008014142604596347</c:v>
                </c:pt>
                <c:pt idx="7">
                  <c:v>0.010141987829614604</c:v>
                </c:pt>
                <c:pt idx="8">
                  <c:v>0.013128660876590587</c:v>
                </c:pt>
                <c:pt idx="9">
                  <c:v>0.013029913745641402</c:v>
                </c:pt>
                <c:pt idx="10">
                  <c:v>0.012531783508899382</c:v>
                </c:pt>
                <c:pt idx="11">
                  <c:v>0.011790446092135651</c:v>
                </c:pt>
                <c:pt idx="12">
                  <c:v>0.012871142313880356</c:v>
                </c:pt>
                <c:pt idx="13">
                  <c:v>0.019822723609991943</c:v>
                </c:pt>
                <c:pt idx="14">
                  <c:v>0.019055793991416308</c:v>
                </c:pt>
                <c:pt idx="15">
                  <c:v>0.018415178571428572</c:v>
                </c:pt>
                <c:pt idx="16">
                  <c:v>0.01748773725741096</c:v>
                </c:pt>
                <c:pt idx="17">
                  <c:v>0.022893976439208714</c:v>
                </c:pt>
                <c:pt idx="18">
                  <c:v>0.012332721070585148</c:v>
                </c:pt>
                <c:pt idx="19">
                  <c:v>0.011446409989594173</c:v>
                </c:pt>
                <c:pt idx="20">
                  <c:v>0.014289880431612716</c:v>
                </c:pt>
                <c:pt idx="21">
                  <c:v>0.01651499831479609</c:v>
                </c:pt>
                <c:pt idx="22">
                  <c:v>0.014084507042253521</c:v>
                </c:pt>
                <c:pt idx="23">
                  <c:v>0.015861825872400422</c:v>
                </c:pt>
                <c:pt idx="24">
                  <c:v>0.01393841166936791</c:v>
                </c:pt>
                <c:pt idx="25">
                  <c:v>0.014700854700854702</c:v>
                </c:pt>
                <c:pt idx="26">
                  <c:v>0.014696276943174396</c:v>
                </c:pt>
                <c:pt idx="27">
                  <c:v>0.015620480185131617</c:v>
                </c:pt>
                <c:pt idx="28">
                  <c:v>0.012361914781693845</c:v>
                </c:pt>
                <c:pt idx="29">
                  <c:v>0.01541994750656168</c:v>
                </c:pt>
                <c:pt idx="30">
                  <c:v>0.015197568389057751</c:v>
                </c:pt>
                <c:pt idx="31">
                  <c:v>0.016031350195938723</c:v>
                </c:pt>
                <c:pt idx="32">
                  <c:v>0.013500784929356358</c:v>
                </c:pt>
                <c:pt idx="33">
                  <c:v>0.010633156114064766</c:v>
                </c:pt>
                <c:pt idx="34">
                  <c:v>0.010608486789431545</c:v>
                </c:pt>
                <c:pt idx="35">
                  <c:v>0.014392059553349877</c:v>
                </c:pt>
                <c:pt idx="36">
                  <c:v>0.017047655947307245</c:v>
                </c:pt>
                <c:pt idx="37">
                  <c:v>0.01757469244288225</c:v>
                </c:pt>
                <c:pt idx="38">
                  <c:v>0.02155688622754491</c:v>
                </c:pt>
                <c:pt idx="39">
                  <c:v>0.01998236849838378</c:v>
                </c:pt>
                <c:pt idx="40">
                  <c:v>0.018202831551574688</c:v>
                </c:pt>
                <c:pt idx="41">
                  <c:v>0.0151797603195739</c:v>
                </c:pt>
                <c:pt idx="42">
                  <c:v>0.01694411414982164</c:v>
                </c:pt>
                <c:pt idx="43">
                  <c:v>0.014150943396226415</c:v>
                </c:pt>
                <c:pt idx="44">
                  <c:v>0.0098896918980601</c:v>
                </c:pt>
                <c:pt idx="45">
                  <c:v>0.00752375923970433</c:v>
                </c:pt>
                <c:pt idx="46">
                  <c:v>0.008038829061125435</c:v>
                </c:pt>
                <c:pt idx="47">
                  <c:v>0.007174766481656965</c:v>
                </c:pt>
                <c:pt idx="48">
                  <c:v>0.00783716120605203</c:v>
                </c:pt>
                <c:pt idx="49">
                  <c:v>0.007218328277016424</c:v>
                </c:pt>
                <c:pt idx="50">
                  <c:v>0.005912944361330769</c:v>
                </c:pt>
                <c:pt idx="51">
                  <c:v>0.007662835249042145</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44.720326879564</c:v>
                </c:pt>
              </c:numCache>
            </c:numRef>
          </c:xVal>
          <c:yVal>
            <c:numRef>
              <c:f>Sheet1!$B$112:$B$113</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44.720326879564</c:v>
                </c:pt>
                <c:pt idx="1">
                  <c:v>3544.720326879564</c:v>
                </c:pt>
              </c:numCache>
            </c:numRef>
          </c:xVal>
          <c:yVal>
            <c:numRef>
              <c:f>Sheet1!$B$116:$B$117</c:f>
              <c:numCache>
                <c:formatCode>General</c:formatCode>
                <c:ptCount val="2"/>
                <c:pt idx="0">
                  <c:v>0.015575592718200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44.720326879564</c:v>
                </c:pt>
              </c:numCache>
            </c:numRef>
          </c:xVal>
          <c:yVal>
            <c:numRef>
              <c:f>Sheet1!$B$120:$B$121</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44.720326879564</c:v>
                </c:pt>
                <c:pt idx="1">
                  <c:v>3544.720326879564</c:v>
                </c:pt>
              </c:numCache>
            </c:numRef>
          </c:xVal>
          <c:yVal>
            <c:numRef>
              <c:f>Sheet1!$B$124:$B$125</c:f>
              <c:numCache>
                <c:formatCode>General</c:formatCode>
                <c:ptCount val="2"/>
                <c:pt idx="0">
                  <c:v>0.015575592718200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197.8485201892045</c:v>
                </c:pt>
              </c:numCache>
            </c:numRef>
          </c:xVal>
          <c:yVal>
            <c:numRef>
              <c:f>Sheet1!$B$128:$B$129</c:f>
              <c:numCache>
                <c:formatCode>General</c:formatCode>
                <c:ptCount val="2"/>
                <c:pt idx="0">
                  <c:v>0.011209102591505279</c:v>
                </c:pt>
                <c:pt idx="1">
                  <c:v>0.011209102591505279</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197.8485201892045</c:v>
                </c:pt>
                <c:pt idx="1">
                  <c:v>4197.8485201892045</c:v>
                </c:pt>
              </c:numCache>
            </c:numRef>
          </c:xVal>
          <c:yVal>
            <c:numRef>
              <c:f>Sheet1!$B$132:$B$133</c:f>
              <c:numCache>
                <c:formatCode>General</c:formatCode>
                <c:ptCount val="2"/>
                <c:pt idx="0">
                  <c:v>0.0112091025915052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44.720326879564</c:v>
                </c:pt>
                <c:pt idx="53">
                  <c:v>3544.720326879564</c:v>
                </c:pt>
                <c:pt idx="54">
                  <c:v>4197.8485201892045</c:v>
                </c:pt>
              </c:numCache>
            </c:numRef>
          </c:xVal>
          <c:yVal>
            <c:numRef>
              <c:f>Sheet1!$B$136:$B$190</c:f>
              <c:numCache>
                <c:formatCode>General</c:formatCode>
                <c:ptCount val="55"/>
                <c:pt idx="0">
                  <c:v>0.009653528042523028</c:v>
                </c:pt>
                <c:pt idx="1">
                  <c:v>0.014389977873489605</c:v>
                </c:pt>
                <c:pt idx="2">
                  <c:v>0.010158263419853143</c:v>
                </c:pt>
                <c:pt idx="3">
                  <c:v>0.014933864890179178</c:v>
                </c:pt>
                <c:pt idx="4">
                  <c:v>0.00936238443973536</c:v>
                </c:pt>
                <c:pt idx="5">
                  <c:v>0.0069107191054621625</c:v>
                </c:pt>
                <c:pt idx="6">
                  <c:v>0.009125064479950842</c:v>
                </c:pt>
                <c:pt idx="7">
                  <c:v>0.011212992351796899</c:v>
                </c:pt>
                <c:pt idx="8">
                  <c:v>0.012050257266187896</c:v>
                </c:pt>
                <c:pt idx="9">
                  <c:v>0.012040105330740448</c:v>
                </c:pt>
                <c:pt idx="10">
                  <c:v>0.010674024527798951</c:v>
                </c:pt>
                <c:pt idx="11">
                  <c:v>0.012583235548554388</c:v>
                </c:pt>
                <c:pt idx="12">
                  <c:v>0.013835188139429144</c:v>
                </c:pt>
                <c:pt idx="13">
                  <c:v>0.016504910495321084</c:v>
                </c:pt>
                <c:pt idx="14">
                  <c:v>0.016575283431051673</c:v>
                </c:pt>
                <c:pt idx="15">
                  <c:v>0.0150820343435441</c:v>
                </c:pt>
                <c:pt idx="16">
                  <c:v>0.014239394285195422</c:v>
                </c:pt>
                <c:pt idx="17">
                  <c:v>0.019746579590172248</c:v>
                </c:pt>
                <c:pt idx="18">
                  <c:v>0.011910636564786515</c:v>
                </c:pt>
                <c:pt idx="19">
                  <c:v>0.01025859676619564</c:v>
                </c:pt>
                <c:pt idx="20">
                  <c:v>0.011790001353199856</c:v>
                </c:pt>
                <c:pt idx="21">
                  <c:v>0.014060343827533298</c:v>
                </c:pt>
                <c:pt idx="22">
                  <c:v>0.012582815699001472</c:v>
                </c:pt>
                <c:pt idx="23">
                  <c:v>0.01873195431313468</c:v>
                </c:pt>
                <c:pt idx="24">
                  <c:v>0.012635367090891261</c:v>
                </c:pt>
                <c:pt idx="25">
                  <c:v>0.014531562106956126</c:v>
                </c:pt>
                <c:pt idx="26">
                  <c:v>0.012815284658219198</c:v>
                </c:pt>
                <c:pt idx="27">
                  <c:v>0.014680218264898313</c:v>
                </c:pt>
                <c:pt idx="28">
                  <c:v>0.013667928233861266</c:v>
                </c:pt>
                <c:pt idx="29">
                  <c:v>0.01484201611497685</c:v>
                </c:pt>
                <c:pt idx="30">
                  <c:v>0.015342552996777833</c:v>
                </c:pt>
                <c:pt idx="31">
                  <c:v>0.014321008224720107</c:v>
                </c:pt>
                <c:pt idx="32">
                  <c:v>0.011072513900433123</c:v>
                </c:pt>
                <c:pt idx="33">
                  <c:v>0.008296857752808945</c:v>
                </c:pt>
                <c:pt idx="34">
                  <c:v>0.007947330994357488</c:v>
                </c:pt>
                <c:pt idx="35">
                  <c:v>0.013069541001322123</c:v>
                </c:pt>
                <c:pt idx="36">
                  <c:v>0.011032443673039103</c:v>
                </c:pt>
                <c:pt idx="37">
                  <c:v>0.011547980816653345</c:v>
                </c:pt>
                <c:pt idx="38">
                  <c:v>0.015265818136930159</c:v>
                </c:pt>
                <c:pt idx="39">
                  <c:v>0.01799623415812739</c:v>
                </c:pt>
                <c:pt idx="40">
                  <c:v>0.01770767182782985</c:v>
                </c:pt>
                <c:pt idx="41">
                  <c:v>0.016343611383724192</c:v>
                </c:pt>
                <c:pt idx="42">
                  <c:v>0.01738971668607713</c:v>
                </c:pt>
                <c:pt idx="43">
                  <c:v>0.01622433399768207</c:v>
                </c:pt>
                <c:pt idx="44">
                  <c:v>0.012046348921464431</c:v>
                </c:pt>
                <c:pt idx="45">
                  <c:v>0.011384493540109505</c:v>
                </c:pt>
                <c:pt idx="46">
                  <c:v>0.011829463199872294</c:v>
                </c:pt>
                <c:pt idx="47">
                  <c:v>0.012083133892961923</c:v>
                </c:pt>
                <c:pt idx="48">
                  <c:v>0.015099052289992223</c:v>
                </c:pt>
                <c:pt idx="49">
                  <c:v>0.013888104559751882</c:v>
                </c:pt>
                <c:pt idx="50">
                  <c:v>0.011851025950875681</c:v>
                </c:pt>
                <c:pt idx="51">
                  <c:v>0.011106804510972138</c:v>
                </c:pt>
                <c:pt idx="52">
                  <c:v>0.01557559271820011</c:v>
                </c:pt>
                <c:pt idx="53">
                  <c:v>0.01557559271820011</c:v>
                </c:pt>
                <c:pt idx="54">
                  <c:v>0.011209102591505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47277172705045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7212982794060573</c:v>
                </c:pt>
                <c:pt idx="2">
                  <c:v>0.0</c:v>
                </c:pt>
                <c:pt idx="3">
                  <c:v>0.8308075028765461</c:v>
                </c:pt>
                <c:pt idx="4">
                  <c:v>0.9244810138553933</c:v>
                </c:pt>
                <c:pt idx="5">
                  <c:v>0.7222365747734666</c:v>
                </c:pt>
                <c:pt idx="6">
                  <c:v>0.45544514175361184</c:v>
                </c:pt>
                <c:pt idx="7">
                  <c:v>0.5236078352941176</c:v>
                </c:pt>
                <c:pt idx="8">
                  <c:v>0.6610880387622283</c:v>
                </c:pt>
                <c:pt idx="9">
                  <c:v>0.5213047506219642</c:v>
                </c:pt>
                <c:pt idx="10">
                  <c:v>0.5587352155825117</c:v>
                </c:pt>
                <c:pt idx="11">
                  <c:v>0.6892001330374495</c:v>
                </c:pt>
                <c:pt idx="12">
                  <c:v>0.593298769574944</c:v>
                </c:pt>
                <c:pt idx="13">
                  <c:v>0.6733760507140405</c:v>
                </c:pt>
                <c:pt idx="14">
                  <c:v>0.590498140342221</c:v>
                </c:pt>
                <c:pt idx="15">
                  <c:v>0.5562261433201297</c:v>
                </c:pt>
                <c:pt idx="16">
                  <c:v>0.5673272397150795</c:v>
                </c:pt>
                <c:pt idx="17">
                  <c:v>0.43735351059156563</c:v>
                </c:pt>
                <c:pt idx="18">
                  <c:v>0.3281080276581591</c:v>
                </c:pt>
                <c:pt idx="19">
                  <c:v>0.3473974479129118</c:v>
                </c:pt>
                <c:pt idx="20">
                  <c:v>0.35147045324991405</c:v>
                </c:pt>
                <c:pt idx="21">
                  <c:v>0.34133277218689584</c:v>
                </c:pt>
                <c:pt idx="22">
                  <c:v>0.1567538967072429</c:v>
                </c:pt>
                <c:pt idx="23">
                  <c:v>0.20481589242053788</c:v>
                </c:pt>
                <c:pt idx="24">
                  <c:v>0.9851192826043557</c:v>
                </c:pt>
                <c:pt idx="25">
                  <c:v>0.9858481197033898</c:v>
                </c:pt>
                <c:pt idx="26">
                  <c:v>0.7995763172189028</c:v>
                </c:pt>
                <c:pt idx="27">
                  <c:v>0.7696498530681762</c:v>
                </c:pt>
                <c:pt idx="28">
                  <c:v>1.024503743928194</c:v>
                </c:pt>
                <c:pt idx="29">
                  <c:v>0.9480930096475619</c:v>
                </c:pt>
                <c:pt idx="30">
                  <c:v>0.839190686183354</c:v>
                </c:pt>
                <c:pt idx="31">
                  <c:v>1.1084647128993779</c:v>
                </c:pt>
                <c:pt idx="32">
                  <c:v>1.069964129551796</c:v>
                </c:pt>
                <c:pt idx="33">
                  <c:v>1.0412577372044298</c:v>
                </c:pt>
                <c:pt idx="34">
                  <c:v>0.622432295057126</c:v>
                </c:pt>
                <c:pt idx="35">
                  <c:v>1.081651328193288</c:v>
                </c:pt>
                <c:pt idx="36">
                  <c:v>1.093122548899606</c:v>
                </c:pt>
                <c:pt idx="37">
                  <c:v>0.9789599778849403</c:v>
                </c:pt>
                <c:pt idx="38">
                  <c:v>1.032733300416009</c:v>
                </c:pt>
                <c:pt idx="39">
                  <c:v>1.0158045632973502</c:v>
                </c:pt>
                <c:pt idx="40">
                  <c:v>0.9471368608293953</c:v>
                </c:pt>
                <c:pt idx="41">
                  <c:v>1.2293580801496165</c:v>
                </c:pt>
                <c:pt idx="42">
                  <c:v>1.1273863053929272</c:v>
                </c:pt>
                <c:pt idx="43">
                  <c:v>1.1554013354241488</c:v>
                </c:pt>
                <c:pt idx="44">
                  <c:v>1.2520423679530595</c:v>
                </c:pt>
                <c:pt idx="45">
                  <c:v>0.9541066521447721</c:v>
                </c:pt>
                <c:pt idx="46">
                  <c:v>1.1082894145594913</c:v>
                </c:pt>
                <c:pt idx="47">
                  <c:v>1.0998468536167156</c:v>
                </c:pt>
                <c:pt idx="48">
                  <c:v>1.1519743428766958</c:v>
                </c:pt>
                <c:pt idx="49">
                  <c:v>1.3436580999400713</c:v>
                </c:pt>
                <c:pt idx="50">
                  <c:v>1.1974105776250334</c:v>
                </c:pt>
                <c:pt idx="51">
                  <c:v>1.1683737578435713</c:v>
                </c:pt>
                <c:pt idx="52">
                  <c:v>1.006950568253135</c:v>
                </c:pt>
                <c:pt idx="53">
                  <c:v>1.0665151817818619</c:v>
                </c:pt>
              </c:numCache>
            </c:numRef>
          </c:xVal>
          <c:yVal>
            <c:numRef>
              <c:f>Sheet1!$B$2:$B$55</c:f>
              <c:numCache>
                <c:formatCode>General</c:formatCode>
                <c:ptCount val="54"/>
                <c:pt idx="0">
                  <c:v>0.0</c:v>
                </c:pt>
                <c:pt idx="1">
                  <c:v>0.00012086052695189751</c:v>
                </c:pt>
                <c:pt idx="2">
                  <c:v>0.0</c:v>
                </c:pt>
                <c:pt idx="3">
                  <c:v>0.00016778523489932885</c:v>
                </c:pt>
                <c:pt idx="4">
                  <c:v>0.00017164435290078958</c:v>
                </c:pt>
                <c:pt idx="5">
                  <c:v>0.00037979491074819596</c:v>
                </c:pt>
                <c:pt idx="6">
                  <c:v>0.00031308703819661864</c:v>
                </c:pt>
                <c:pt idx="7">
                  <c:v>0.00042583392476933996</c:v>
                </c:pt>
                <c:pt idx="8">
                  <c:v>0.0005344735435595938</c:v>
                </c:pt>
                <c:pt idx="9">
                  <c:v>0.0012160518848804217</c:v>
                </c:pt>
                <c:pt idx="10">
                  <c:v>0.0014803849000740192</c:v>
                </c:pt>
                <c:pt idx="11">
                  <c:v>0.001156570767673847</c:v>
                </c:pt>
                <c:pt idx="12">
                  <c:v>0.0014521452145214522</c:v>
                </c:pt>
                <c:pt idx="13">
                  <c:v>0.0013798294029101856</c:v>
                </c:pt>
                <c:pt idx="14">
                  <c:v>0.0014717687985014718</c:v>
                </c:pt>
                <c:pt idx="15">
                  <c:v>0.00135080372821829</c:v>
                </c:pt>
                <c:pt idx="16">
                  <c:v>0.0014697236919459142</c:v>
                </c:pt>
                <c:pt idx="17">
                  <c:v>0.002342764462065237</c:v>
                </c:pt>
                <c:pt idx="18">
                  <c:v>0.0027254144901203725</c:v>
                </c:pt>
                <c:pt idx="19">
                  <c:v>0.0017582417582417582</c:v>
                </c:pt>
                <c:pt idx="20">
                  <c:v>0.0024449877750611247</c:v>
                </c:pt>
                <c:pt idx="21">
                  <c:v>0.002386634844868735</c:v>
                </c:pt>
                <c:pt idx="22">
                  <c:v>0.0037603409375783405</c:v>
                </c:pt>
                <c:pt idx="23">
                  <c:v>0.003401360544217687</c:v>
                </c:pt>
                <c:pt idx="24">
                  <c:v>0.003135615364515286</c:v>
                </c:pt>
                <c:pt idx="25">
                  <c:v>0.0045871559633027525</c:v>
                </c:pt>
                <c:pt idx="26">
                  <c:v>0.006193868070610096</c:v>
                </c:pt>
                <c:pt idx="27">
                  <c:v>0.008177172061328791</c:v>
                </c:pt>
                <c:pt idx="28">
                  <c:v>0.006215040397762586</c:v>
                </c:pt>
                <c:pt idx="29">
                  <c:v>0.005761067313523348</c:v>
                </c:pt>
                <c:pt idx="30">
                  <c:v>0.007271815446339017</c:v>
                </c:pt>
                <c:pt idx="31">
                  <c:v>0.008067226890756302</c:v>
                </c:pt>
                <c:pt idx="32">
                  <c:v>0.007003317360855142</c:v>
                </c:pt>
                <c:pt idx="33">
                  <c:v>0.006982726938625505</c:v>
                </c:pt>
                <c:pt idx="34">
                  <c:v>0.0076384468491406746</c:v>
                </c:pt>
                <c:pt idx="35">
                  <c:v>0.0066857688634192934</c:v>
                </c:pt>
                <c:pt idx="36">
                  <c:v>0.0060254407498326265</c:v>
                </c:pt>
                <c:pt idx="37">
                  <c:v>0.008685906416363126</c:v>
                </c:pt>
                <c:pt idx="38">
                  <c:v>0.011194029850746268</c:v>
                </c:pt>
                <c:pt idx="39">
                  <c:v>0.00992</c:v>
                </c:pt>
                <c:pt idx="40">
                  <c:v>0.01096147823363608</c:v>
                </c:pt>
                <c:pt idx="41">
                  <c:v>0.008225616921269096</c:v>
                </c:pt>
                <c:pt idx="42">
                  <c:v>0.008109934669970714</c:v>
                </c:pt>
                <c:pt idx="43">
                  <c:v>0.007698038241867395</c:v>
                </c:pt>
                <c:pt idx="44">
                  <c:v>0.008426966292134831</c:v>
                </c:pt>
                <c:pt idx="45">
                  <c:v>0.010944260626113514</c:v>
                </c:pt>
                <c:pt idx="46">
                  <c:v>0.012539874601253987</c:v>
                </c:pt>
                <c:pt idx="47">
                  <c:v>0.01197547422877946</c:v>
                </c:pt>
                <c:pt idx="48">
                  <c:v>0.011068575233022637</c:v>
                </c:pt>
                <c:pt idx="49">
                  <c:v>0.008678403173816018</c:v>
                </c:pt>
                <c:pt idx="50">
                  <c:v>0.012399868319982443</c:v>
                </c:pt>
                <c:pt idx="51">
                  <c:v>0.011397345823575333</c:v>
                </c:pt>
                <c:pt idx="52">
                  <c:v>0.009190707173857544</c:v>
                </c:pt>
                <c:pt idx="53">
                  <c:v>0.007726781023025807</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33604232174831</c:v>
                </c:pt>
                <c:pt idx="1">
                  <c:v>1.1349863079673166</c:v>
                </c:pt>
                <c:pt idx="2">
                  <c:v>1.3018498215626204</c:v>
                </c:pt>
                <c:pt idx="3">
                  <c:v>1.0046104580573951</c:v>
                </c:pt>
                <c:pt idx="4">
                  <c:v>1.2689038872640255</c:v>
                </c:pt>
                <c:pt idx="5">
                  <c:v>1.3813198738626906</c:v>
                </c:pt>
                <c:pt idx="6">
                  <c:v>1.333352936362241</c:v>
                </c:pt>
                <c:pt idx="7">
                  <c:v>1.1711507888763315</c:v>
                </c:pt>
                <c:pt idx="8">
                  <c:v>1.2716213577434488</c:v>
                </c:pt>
                <c:pt idx="9">
                  <c:v>1.1237615771766303</c:v>
                </c:pt>
                <c:pt idx="10">
                  <c:v>1.2320917325499345</c:v>
                </c:pt>
                <c:pt idx="11">
                  <c:v>1.1364994004092162</c:v>
                </c:pt>
                <c:pt idx="12">
                  <c:v>1.044317534164419</c:v>
                </c:pt>
                <c:pt idx="13">
                  <c:v>0.9479337686844982</c:v>
                </c:pt>
                <c:pt idx="14">
                  <c:v>0.906903926936946</c:v>
                </c:pt>
                <c:pt idx="15">
                  <c:v>0.9271190110171663</c:v>
                </c:pt>
                <c:pt idx="16">
                  <c:v>0.8818051100906629</c:v>
                </c:pt>
                <c:pt idx="17">
                  <c:v>0.8259430676189519</c:v>
                </c:pt>
                <c:pt idx="18">
                  <c:v>1.0554870479014893</c:v>
                </c:pt>
                <c:pt idx="19">
                  <c:v>1.2699614659422114</c:v>
                </c:pt>
                <c:pt idx="20">
                  <c:v>1.1447552507918828</c:v>
                </c:pt>
                <c:pt idx="21">
                  <c:v>0.9557040000362883</c:v>
                </c:pt>
                <c:pt idx="22">
                  <c:v>1.1095572920509769</c:v>
                </c:pt>
                <c:pt idx="23">
                  <c:v>0.8624842105263157</c:v>
                </c:pt>
                <c:pt idx="24">
                  <c:v>1.014571361589507</c:v>
                </c:pt>
                <c:pt idx="25">
                  <c:v>0.9274467973135525</c:v>
                </c:pt>
                <c:pt idx="26">
                  <c:v>1.0022140330173</c:v>
                </c:pt>
                <c:pt idx="27">
                  <c:v>0.888964953934451</c:v>
                </c:pt>
                <c:pt idx="28">
                  <c:v>1.0675243324600032</c:v>
                </c:pt>
                <c:pt idx="29">
                  <c:v>1.0540997722770984</c:v>
                </c:pt>
                <c:pt idx="30">
                  <c:v>0.8087309047804278</c:v>
                </c:pt>
                <c:pt idx="31">
                  <c:v>0.9854202661315874</c:v>
                </c:pt>
                <c:pt idx="32">
                  <c:v>1.2339819237412182</c:v>
                </c:pt>
                <c:pt idx="33">
                  <c:v>1.3170331997384952</c:v>
                </c:pt>
                <c:pt idx="34">
                  <c:v>1.432468843956614</c:v>
                </c:pt>
                <c:pt idx="35">
                  <c:v>1.003242724410658</c:v>
                </c:pt>
                <c:pt idx="36">
                  <c:v>0.9671839683121165</c:v>
                </c:pt>
                <c:pt idx="37">
                  <c:v>1.260407266339857</c:v>
                </c:pt>
                <c:pt idx="38">
                  <c:v>1.001011030574936</c:v>
                </c:pt>
                <c:pt idx="39">
                  <c:v>0.9899089011760134</c:v>
                </c:pt>
                <c:pt idx="40">
                  <c:v>1.001458627117829</c:v>
                </c:pt>
                <c:pt idx="41">
                  <c:v>1.104619033816425</c:v>
                </c:pt>
                <c:pt idx="42">
                  <c:v>0.9958192164542293</c:v>
                </c:pt>
                <c:pt idx="43">
                  <c:v>1.2537486090403287</c:v>
                </c:pt>
                <c:pt idx="44">
                  <c:v>1.2224246081793662</c:v>
                </c:pt>
                <c:pt idx="45">
                  <c:v>1.3175771645149827</c:v>
                </c:pt>
                <c:pt idx="46">
                  <c:v>1.1896592706332905</c:v>
                </c:pt>
                <c:pt idx="47">
                  <c:v>1.326636338522989</c:v>
                </c:pt>
                <c:pt idx="48">
                  <c:v>1.4913672889124472</c:v>
                </c:pt>
                <c:pt idx="49">
                  <c:v>1.1378022024121657</c:v>
                </c:pt>
                <c:pt idx="50">
                  <c:v>1.2435690103681902</c:v>
                </c:pt>
                <c:pt idx="51">
                  <c:v>1.0955035224787733</c:v>
                </c:pt>
              </c:numCache>
            </c:numRef>
          </c:xVal>
          <c:yVal>
            <c:numRef>
              <c:f>Sheet1!$B$58:$B$109</c:f>
              <c:numCache>
                <c:formatCode>General</c:formatCode>
                <c:ptCount val="52"/>
                <c:pt idx="0">
                  <c:v>0.007722549845549003</c:v>
                </c:pt>
                <c:pt idx="1">
                  <c:v>0.009556012937371362</c:v>
                </c:pt>
                <c:pt idx="2">
                  <c:v>0.008278976417461115</c:v>
                </c:pt>
                <c:pt idx="3">
                  <c:v>0.009596161535385846</c:v>
                </c:pt>
                <c:pt idx="4">
                  <c:v>0.009027492819039803</c:v>
                </c:pt>
                <c:pt idx="5">
                  <c:v>0.00753669178897263</c:v>
                </c:pt>
                <c:pt idx="6">
                  <c:v>0.008014142604596347</c:v>
                </c:pt>
                <c:pt idx="7">
                  <c:v>0.010141987829614604</c:v>
                </c:pt>
                <c:pt idx="8">
                  <c:v>0.013128660876590587</c:v>
                </c:pt>
                <c:pt idx="9">
                  <c:v>0.013029913745641402</c:v>
                </c:pt>
                <c:pt idx="10">
                  <c:v>0.012531783508899382</c:v>
                </c:pt>
                <c:pt idx="11">
                  <c:v>0.011790446092135651</c:v>
                </c:pt>
                <c:pt idx="12">
                  <c:v>0.012871142313880356</c:v>
                </c:pt>
                <c:pt idx="13">
                  <c:v>0.019822723609991943</c:v>
                </c:pt>
                <c:pt idx="14">
                  <c:v>0.019055793991416308</c:v>
                </c:pt>
                <c:pt idx="15">
                  <c:v>0.018415178571428572</c:v>
                </c:pt>
                <c:pt idx="16">
                  <c:v>0.01748773725741096</c:v>
                </c:pt>
                <c:pt idx="17">
                  <c:v>0.022893976439208714</c:v>
                </c:pt>
                <c:pt idx="18">
                  <c:v>0.012332721070585148</c:v>
                </c:pt>
                <c:pt idx="19">
                  <c:v>0.011446409989594173</c:v>
                </c:pt>
                <c:pt idx="20">
                  <c:v>0.014289880431612716</c:v>
                </c:pt>
                <c:pt idx="21">
                  <c:v>0.01651499831479609</c:v>
                </c:pt>
                <c:pt idx="22">
                  <c:v>0.014084507042253521</c:v>
                </c:pt>
                <c:pt idx="23">
                  <c:v>0.015861825872400422</c:v>
                </c:pt>
                <c:pt idx="24">
                  <c:v>0.01393841166936791</c:v>
                </c:pt>
                <c:pt idx="25">
                  <c:v>0.014700854700854702</c:v>
                </c:pt>
                <c:pt idx="26">
                  <c:v>0.014696276943174396</c:v>
                </c:pt>
                <c:pt idx="27">
                  <c:v>0.015620480185131617</c:v>
                </c:pt>
                <c:pt idx="28">
                  <c:v>0.012361914781693845</c:v>
                </c:pt>
                <c:pt idx="29">
                  <c:v>0.01541994750656168</c:v>
                </c:pt>
                <c:pt idx="30">
                  <c:v>0.015197568389057751</c:v>
                </c:pt>
                <c:pt idx="31">
                  <c:v>0.016031350195938723</c:v>
                </c:pt>
                <c:pt idx="32">
                  <c:v>0.013500784929356358</c:v>
                </c:pt>
                <c:pt idx="33">
                  <c:v>0.010633156114064766</c:v>
                </c:pt>
                <c:pt idx="34">
                  <c:v>0.010608486789431545</c:v>
                </c:pt>
                <c:pt idx="35">
                  <c:v>0.014392059553349877</c:v>
                </c:pt>
                <c:pt idx="36">
                  <c:v>0.017047655947307245</c:v>
                </c:pt>
                <c:pt idx="37">
                  <c:v>0.01757469244288225</c:v>
                </c:pt>
                <c:pt idx="38">
                  <c:v>0.02155688622754491</c:v>
                </c:pt>
                <c:pt idx="39">
                  <c:v>0.01998236849838378</c:v>
                </c:pt>
                <c:pt idx="40">
                  <c:v>0.018202831551574688</c:v>
                </c:pt>
                <c:pt idx="41">
                  <c:v>0.0151797603195739</c:v>
                </c:pt>
                <c:pt idx="42">
                  <c:v>0.01694411414982164</c:v>
                </c:pt>
                <c:pt idx="43">
                  <c:v>0.014150943396226415</c:v>
                </c:pt>
                <c:pt idx="44">
                  <c:v>0.0098896918980601</c:v>
                </c:pt>
                <c:pt idx="45">
                  <c:v>0.00752375923970433</c:v>
                </c:pt>
                <c:pt idx="46">
                  <c:v>0.008038829061125435</c:v>
                </c:pt>
                <c:pt idx="47">
                  <c:v>0.007174766481656965</c:v>
                </c:pt>
                <c:pt idx="48">
                  <c:v>0.00783716120605203</c:v>
                </c:pt>
                <c:pt idx="49">
                  <c:v>0.007218328277016424</c:v>
                </c:pt>
                <c:pt idx="50">
                  <c:v>0.005912944361330769</c:v>
                </c:pt>
                <c:pt idx="51">
                  <c:v>0.007662835249042145</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9838511370897076</c:v>
                </c:pt>
              </c:numCache>
            </c:numRef>
          </c:xVal>
          <c:yVal>
            <c:numRef>
              <c:f>Sheet1!$B$112:$B$113</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9838511370897076</c:v>
                </c:pt>
                <c:pt idx="1">
                  <c:v>0.9838511370897076</c:v>
                </c:pt>
              </c:numCache>
            </c:numRef>
          </c:xVal>
          <c:yVal>
            <c:numRef>
              <c:f>Sheet1!$B$116:$B$117</c:f>
              <c:numCache>
                <c:formatCode>General</c:formatCode>
                <c:ptCount val="2"/>
                <c:pt idx="0">
                  <c:v>0.015575592718200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9838511370897076</c:v>
                </c:pt>
              </c:numCache>
            </c:numRef>
          </c:xVal>
          <c:yVal>
            <c:numRef>
              <c:f>Sheet1!$B$120:$B$121</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9838511370897076</c:v>
                </c:pt>
                <c:pt idx="1">
                  <c:v>0.9838511370897076</c:v>
                </c:pt>
              </c:numCache>
            </c:numRef>
          </c:xVal>
          <c:yVal>
            <c:numRef>
              <c:f>Sheet1!$B$124:$B$125</c:f>
              <c:numCache>
                <c:formatCode>General</c:formatCode>
                <c:ptCount val="2"/>
                <c:pt idx="0">
                  <c:v>0.015575592718200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1.2205213330129525</c:v>
                </c:pt>
              </c:numCache>
            </c:numRef>
          </c:xVal>
          <c:yVal>
            <c:numRef>
              <c:f>Sheet1!$B$128:$B$129</c:f>
              <c:numCache>
                <c:formatCode>General</c:formatCode>
                <c:ptCount val="2"/>
                <c:pt idx="0">
                  <c:v>0.011209102591505279</c:v>
                </c:pt>
                <c:pt idx="1">
                  <c:v>0.011209102591505279</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1.2205213330129525</c:v>
                </c:pt>
                <c:pt idx="1">
                  <c:v>1.2205213330129525</c:v>
                </c:pt>
              </c:numCache>
            </c:numRef>
          </c:xVal>
          <c:yVal>
            <c:numRef>
              <c:f>Sheet1!$B$132:$B$133</c:f>
              <c:numCache>
                <c:formatCode>General</c:formatCode>
                <c:ptCount val="2"/>
                <c:pt idx="0">
                  <c:v>0.0112091025915052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33604232174831</c:v>
                </c:pt>
                <c:pt idx="1">
                  <c:v>1.1349863079673166</c:v>
                </c:pt>
                <c:pt idx="2">
                  <c:v>1.3018498215626204</c:v>
                </c:pt>
                <c:pt idx="3">
                  <c:v>1.0046104580573951</c:v>
                </c:pt>
                <c:pt idx="4">
                  <c:v>1.2689038872640255</c:v>
                </c:pt>
                <c:pt idx="5">
                  <c:v>1.3813198738626906</c:v>
                </c:pt>
                <c:pt idx="6">
                  <c:v>1.333352936362241</c:v>
                </c:pt>
                <c:pt idx="7">
                  <c:v>1.1711507888763315</c:v>
                </c:pt>
                <c:pt idx="8">
                  <c:v>1.2716213577434488</c:v>
                </c:pt>
                <c:pt idx="9">
                  <c:v>1.1237615771766303</c:v>
                </c:pt>
                <c:pt idx="10">
                  <c:v>1.2320917325499345</c:v>
                </c:pt>
                <c:pt idx="11">
                  <c:v>1.1364994004092162</c:v>
                </c:pt>
                <c:pt idx="12">
                  <c:v>1.044317534164419</c:v>
                </c:pt>
                <c:pt idx="13">
                  <c:v>0.9479337686844982</c:v>
                </c:pt>
                <c:pt idx="14">
                  <c:v>0.906903926936946</c:v>
                </c:pt>
                <c:pt idx="15">
                  <c:v>0.9271190110171663</c:v>
                </c:pt>
                <c:pt idx="16">
                  <c:v>0.8818051100906629</c:v>
                </c:pt>
                <c:pt idx="17">
                  <c:v>0.8259430676189519</c:v>
                </c:pt>
                <c:pt idx="18">
                  <c:v>1.0554870479014893</c:v>
                </c:pt>
                <c:pt idx="19">
                  <c:v>1.2699614659422114</c:v>
                </c:pt>
                <c:pt idx="20">
                  <c:v>1.1447552507918828</c:v>
                </c:pt>
                <c:pt idx="21">
                  <c:v>0.9557040000362883</c:v>
                </c:pt>
                <c:pt idx="22">
                  <c:v>1.1095572920509769</c:v>
                </c:pt>
                <c:pt idx="23">
                  <c:v>0.8624842105263157</c:v>
                </c:pt>
                <c:pt idx="24">
                  <c:v>1.014571361589507</c:v>
                </c:pt>
                <c:pt idx="25">
                  <c:v>0.9274467973135525</c:v>
                </c:pt>
                <c:pt idx="26">
                  <c:v>1.0022140330173</c:v>
                </c:pt>
                <c:pt idx="27">
                  <c:v>0.888964953934451</c:v>
                </c:pt>
                <c:pt idx="28">
                  <c:v>1.0675243324600032</c:v>
                </c:pt>
                <c:pt idx="29">
                  <c:v>1.0540997722770984</c:v>
                </c:pt>
                <c:pt idx="30">
                  <c:v>0.8087309047804278</c:v>
                </c:pt>
                <c:pt idx="31">
                  <c:v>0.9854202661315874</c:v>
                </c:pt>
                <c:pt idx="32">
                  <c:v>1.2339819237412182</c:v>
                </c:pt>
                <c:pt idx="33">
                  <c:v>1.3170331997384952</c:v>
                </c:pt>
                <c:pt idx="34">
                  <c:v>1.432468843956614</c:v>
                </c:pt>
                <c:pt idx="35">
                  <c:v>1.003242724410658</c:v>
                </c:pt>
                <c:pt idx="36">
                  <c:v>0.9671839683121165</c:v>
                </c:pt>
                <c:pt idx="37">
                  <c:v>1.260407266339857</c:v>
                </c:pt>
                <c:pt idx="38">
                  <c:v>1.001011030574936</c:v>
                </c:pt>
                <c:pt idx="39">
                  <c:v>0.9899089011760134</c:v>
                </c:pt>
                <c:pt idx="40">
                  <c:v>1.001458627117829</c:v>
                </c:pt>
                <c:pt idx="41">
                  <c:v>1.104619033816425</c:v>
                </c:pt>
                <c:pt idx="42">
                  <c:v>0.9958192164542293</c:v>
                </c:pt>
                <c:pt idx="43">
                  <c:v>1.2537486090403287</c:v>
                </c:pt>
                <c:pt idx="44">
                  <c:v>1.2224246081793662</c:v>
                </c:pt>
                <c:pt idx="45">
                  <c:v>1.3175771645149827</c:v>
                </c:pt>
                <c:pt idx="46">
                  <c:v>1.1896592706332905</c:v>
                </c:pt>
                <c:pt idx="47">
                  <c:v>1.326636338522989</c:v>
                </c:pt>
                <c:pt idx="48">
                  <c:v>1.4913672889124472</c:v>
                </c:pt>
                <c:pt idx="49">
                  <c:v>1.1378022024121657</c:v>
                </c:pt>
                <c:pt idx="50">
                  <c:v>1.2435690103681902</c:v>
                </c:pt>
                <c:pt idx="51">
                  <c:v>1.0955035224787733</c:v>
                </c:pt>
                <c:pt idx="52">
                  <c:v>0.9838511370897076</c:v>
                </c:pt>
                <c:pt idx="53">
                  <c:v>0.9838511370897076</c:v>
                </c:pt>
                <c:pt idx="54">
                  <c:v>1.2205213330129525</c:v>
                </c:pt>
              </c:numCache>
            </c:numRef>
          </c:xVal>
          <c:yVal>
            <c:numRef>
              <c:f>Sheet1!$B$136:$B$190</c:f>
              <c:numCache>
                <c:formatCode>General</c:formatCode>
                <c:ptCount val="55"/>
                <c:pt idx="0">
                  <c:v>0.009077776951742202</c:v>
                </c:pt>
                <c:pt idx="1">
                  <c:v>0.012787196702136308</c:v>
                </c:pt>
                <c:pt idx="2">
                  <c:v>0.009708617746399101</c:v>
                </c:pt>
                <c:pt idx="3">
                  <c:v>0.015192589823861468</c:v>
                </c:pt>
                <c:pt idx="4">
                  <c:v>0.010316459795408968</c:v>
                </c:pt>
                <c:pt idx="5">
                  <c:v>0.00824242046125925</c:v>
                </c:pt>
                <c:pt idx="6">
                  <c:v>0.009127395259993214</c:v>
                </c:pt>
                <c:pt idx="7">
                  <c:v>0.012119973487948958</c:v>
                </c:pt>
                <c:pt idx="8">
                  <c:v>0.010266323326084226</c:v>
                </c:pt>
                <c:pt idx="9">
                  <c:v>0.012994289428709428</c:v>
                </c:pt>
                <c:pt idx="10">
                  <c:v>0.010995632386086886</c:v>
                </c:pt>
                <c:pt idx="11">
                  <c:v>0.012759280626001086</c:v>
                </c:pt>
                <c:pt idx="12">
                  <c:v>0.014460006850729228</c:v>
                </c:pt>
                <c:pt idx="13">
                  <c:v>0.016238256784988945</c:v>
                </c:pt>
                <c:pt idx="14">
                  <c:v>0.01699524436507546</c:v>
                </c:pt>
                <c:pt idx="15">
                  <c:v>0.01662228246887111</c:v>
                </c:pt>
                <c:pt idx="16">
                  <c:v>0.017458309583420737</c:v>
                </c:pt>
                <c:pt idx="17">
                  <c:v>0.018488946567339237</c:v>
                </c:pt>
                <c:pt idx="18">
                  <c:v>0.014253932861300004</c:v>
                </c:pt>
                <c:pt idx="19">
                  <c:v>0.010296947803886389</c:v>
                </c:pt>
                <c:pt idx="20">
                  <c:v>0.01260696280227699</c:v>
                </c:pt>
                <c:pt idx="21">
                  <c:v>0.016094898478517902</c:v>
                </c:pt>
                <c:pt idx="22">
                  <c:v>0.013256353988701758</c:v>
                </c:pt>
                <c:pt idx="23">
                  <c:v>0.017814774058626328</c:v>
                </c:pt>
                <c:pt idx="24">
                  <c:v>0.015008814309769986</c:v>
                </c:pt>
                <c:pt idx="25">
                  <c:v>0.01661623491556068</c:v>
                </c:pt>
                <c:pt idx="26">
                  <c:v>0.015236803106552683</c:v>
                </c:pt>
                <c:pt idx="27">
                  <c:v>0.017326212733073276</c:v>
                </c:pt>
                <c:pt idx="28">
                  <c:v>0.014031848775165164</c:v>
                </c:pt>
                <c:pt idx="29">
                  <c:v>0.014279527657016788</c:v>
                </c:pt>
                <c:pt idx="30">
                  <c:v>0.01880650551809894</c:v>
                </c:pt>
                <c:pt idx="31">
                  <c:v>0.015546642784550247</c:v>
                </c:pt>
                <c:pt idx="32">
                  <c:v>0.010960758957507893</c:v>
                </c:pt>
                <c:pt idx="33">
                  <c:v>0.009428489229852254</c:v>
                </c:pt>
                <c:pt idx="34">
                  <c:v>0.007298738169391129</c:v>
                </c:pt>
                <c:pt idx="35">
                  <c:v>0.015217824076282346</c:v>
                </c:pt>
                <c:pt idx="36">
                  <c:v>0.01588309670121498</c:v>
                </c:pt>
                <c:pt idx="37">
                  <c:v>0.010473219759336506</c:v>
                </c:pt>
                <c:pt idx="38">
                  <c:v>0.01525899812044736</c:v>
                </c:pt>
                <c:pt idx="39">
                  <c:v>0.015463828890188241</c:v>
                </c:pt>
                <c:pt idx="40">
                  <c:v>0.015250740106050317</c:v>
                </c:pt>
                <c:pt idx="41">
                  <c:v>0.013347463288460114</c:v>
                </c:pt>
                <c:pt idx="42">
                  <c:v>0.015354785445967013</c:v>
                </c:pt>
                <c:pt idx="43">
                  <c:v>0.010596069876741502</c:v>
                </c:pt>
                <c:pt idx="44">
                  <c:v>0.011173987767730747</c:v>
                </c:pt>
                <c:pt idx="45">
                  <c:v>0.009418453252079313</c:v>
                </c:pt>
                <c:pt idx="46">
                  <c:v>0.011778497863878055</c:v>
                </c:pt>
                <c:pt idx="47">
                  <c:v>0.00925131436199787</c:v>
                </c:pt>
                <c:pt idx="48">
                  <c:v>0.006212080521713636</c:v>
                </c:pt>
                <c:pt idx="49">
                  <c:v>0.012735244341834734</c:v>
                </c:pt>
                <c:pt idx="50">
                  <c:v>0.010783880246873715</c:v>
                </c:pt>
                <c:pt idx="51">
                  <c:v>0.013515641584423244</c:v>
                </c:pt>
                <c:pt idx="52">
                  <c:v>0.01557559271820011</c:v>
                </c:pt>
                <c:pt idx="53">
                  <c:v>0.01557559271820011</c:v>
                </c:pt>
                <c:pt idx="54">
                  <c:v>0.0112091025915052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47277172705045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0.00012086052695189751</c:v>
                </c:pt>
                <c:pt idx="2">
                  <c:v>0.0</c:v>
                </c:pt>
                <c:pt idx="3">
                  <c:v>0.00016778523489932885</c:v>
                </c:pt>
                <c:pt idx="4">
                  <c:v>0.00017164435290078958</c:v>
                </c:pt>
                <c:pt idx="5">
                  <c:v>0.00037979491074819596</c:v>
                </c:pt>
                <c:pt idx="6">
                  <c:v>0.00031308703819661864</c:v>
                </c:pt>
                <c:pt idx="7">
                  <c:v>0.00042583392476933996</c:v>
                </c:pt>
                <c:pt idx="8">
                  <c:v>0.0005344735435595938</c:v>
                </c:pt>
                <c:pt idx="9">
                  <c:v>0.0012160518848804217</c:v>
                </c:pt>
                <c:pt idx="10">
                  <c:v>0.0014803849000740192</c:v>
                </c:pt>
                <c:pt idx="11">
                  <c:v>0.001156570767673847</c:v>
                </c:pt>
                <c:pt idx="12">
                  <c:v>0.0014521452145214522</c:v>
                </c:pt>
                <c:pt idx="13">
                  <c:v>0.0013798294029101856</c:v>
                </c:pt>
                <c:pt idx="14">
                  <c:v>0.0014717687985014718</c:v>
                </c:pt>
                <c:pt idx="15">
                  <c:v>0.00135080372821829</c:v>
                </c:pt>
                <c:pt idx="16">
                  <c:v>0.0014697236919459142</c:v>
                </c:pt>
                <c:pt idx="17">
                  <c:v>0.002342764462065237</c:v>
                </c:pt>
                <c:pt idx="18">
                  <c:v>0.0027254144901203725</c:v>
                </c:pt>
                <c:pt idx="19">
                  <c:v>0.0017582417582417582</c:v>
                </c:pt>
                <c:pt idx="20">
                  <c:v>0.0024449877750611247</c:v>
                </c:pt>
                <c:pt idx="21">
                  <c:v>0.002386634844868735</c:v>
                </c:pt>
                <c:pt idx="22">
                  <c:v>0.0037603409375783405</c:v>
                </c:pt>
                <c:pt idx="23">
                  <c:v>0.003401360544217687</c:v>
                </c:pt>
                <c:pt idx="24">
                  <c:v>0.003135615364515286</c:v>
                </c:pt>
                <c:pt idx="25">
                  <c:v>0.0045871559633027525</c:v>
                </c:pt>
                <c:pt idx="26">
                  <c:v>0.006193868070610096</c:v>
                </c:pt>
                <c:pt idx="27">
                  <c:v>0.008177172061328791</c:v>
                </c:pt>
                <c:pt idx="28">
                  <c:v>0.006215040397762586</c:v>
                </c:pt>
                <c:pt idx="29">
                  <c:v>0.005761067313523348</c:v>
                </c:pt>
                <c:pt idx="30">
                  <c:v>0.007271815446339017</c:v>
                </c:pt>
                <c:pt idx="31">
                  <c:v>0.008067226890756302</c:v>
                </c:pt>
                <c:pt idx="32">
                  <c:v>0.007003317360855142</c:v>
                </c:pt>
                <c:pt idx="33">
                  <c:v>0.006982726938625505</c:v>
                </c:pt>
                <c:pt idx="34">
                  <c:v>0.0076384468491406746</c:v>
                </c:pt>
                <c:pt idx="35">
                  <c:v>0.0066857688634192934</c:v>
                </c:pt>
                <c:pt idx="36">
                  <c:v>0.0060254407498326265</c:v>
                </c:pt>
                <c:pt idx="37">
                  <c:v>0.008685906416363126</c:v>
                </c:pt>
                <c:pt idx="38">
                  <c:v>0.011194029850746268</c:v>
                </c:pt>
                <c:pt idx="39">
                  <c:v>0.00992</c:v>
                </c:pt>
                <c:pt idx="40">
                  <c:v>0.01096147823363608</c:v>
                </c:pt>
                <c:pt idx="41">
                  <c:v>0.008225616921269096</c:v>
                </c:pt>
                <c:pt idx="42">
                  <c:v>0.008109934669970714</c:v>
                </c:pt>
                <c:pt idx="43">
                  <c:v>0.007698038241867395</c:v>
                </c:pt>
                <c:pt idx="44">
                  <c:v>0.008426966292134831</c:v>
                </c:pt>
                <c:pt idx="45">
                  <c:v>0.010944260626113514</c:v>
                </c:pt>
                <c:pt idx="46">
                  <c:v>0.012539874601253987</c:v>
                </c:pt>
                <c:pt idx="47">
                  <c:v>0.01197547422877946</c:v>
                </c:pt>
                <c:pt idx="48">
                  <c:v>0.011068575233022637</c:v>
                </c:pt>
                <c:pt idx="49">
                  <c:v>0.008678403173816018</c:v>
                </c:pt>
                <c:pt idx="50">
                  <c:v>0.012399868319982443</c:v>
                </c:pt>
                <c:pt idx="51">
                  <c:v>0.011397345823575333</c:v>
                </c:pt>
                <c:pt idx="52">
                  <c:v>0.009190707173857544</c:v>
                </c:pt>
                <c:pt idx="53">
                  <c:v>0.007726781023025807</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7722549845549003</c:v>
                </c:pt>
                <c:pt idx="1">
                  <c:v>0.009556012937371362</c:v>
                </c:pt>
                <c:pt idx="2">
                  <c:v>0.008278976417461115</c:v>
                </c:pt>
                <c:pt idx="3">
                  <c:v>0.009596161535385846</c:v>
                </c:pt>
                <c:pt idx="4">
                  <c:v>0.009027492819039803</c:v>
                </c:pt>
                <c:pt idx="5">
                  <c:v>0.00753669178897263</c:v>
                </c:pt>
                <c:pt idx="6">
                  <c:v>0.008014142604596347</c:v>
                </c:pt>
                <c:pt idx="7">
                  <c:v>0.010141987829614604</c:v>
                </c:pt>
                <c:pt idx="8">
                  <c:v>0.013128660876590587</c:v>
                </c:pt>
                <c:pt idx="9">
                  <c:v>0.013029913745641402</c:v>
                </c:pt>
                <c:pt idx="10">
                  <c:v>0.012531783508899382</c:v>
                </c:pt>
                <c:pt idx="11">
                  <c:v>0.011790446092135651</c:v>
                </c:pt>
                <c:pt idx="12">
                  <c:v>0.012871142313880356</c:v>
                </c:pt>
                <c:pt idx="13">
                  <c:v>0.019822723609991943</c:v>
                </c:pt>
                <c:pt idx="14">
                  <c:v>0.019055793991416308</c:v>
                </c:pt>
                <c:pt idx="15">
                  <c:v>0.018415178571428572</c:v>
                </c:pt>
                <c:pt idx="16">
                  <c:v>0.01748773725741096</c:v>
                </c:pt>
                <c:pt idx="17">
                  <c:v>0.022893976439208714</c:v>
                </c:pt>
                <c:pt idx="18">
                  <c:v>0.012332721070585148</c:v>
                </c:pt>
                <c:pt idx="19">
                  <c:v>0.011446409989594173</c:v>
                </c:pt>
                <c:pt idx="20">
                  <c:v>0.014289880431612716</c:v>
                </c:pt>
                <c:pt idx="21">
                  <c:v>0.01651499831479609</c:v>
                </c:pt>
                <c:pt idx="22">
                  <c:v>0.014084507042253521</c:v>
                </c:pt>
                <c:pt idx="23">
                  <c:v>0.015861825872400422</c:v>
                </c:pt>
                <c:pt idx="24">
                  <c:v>0.01393841166936791</c:v>
                </c:pt>
                <c:pt idx="25">
                  <c:v>0.014700854700854702</c:v>
                </c:pt>
                <c:pt idx="26">
                  <c:v>0.014696276943174396</c:v>
                </c:pt>
                <c:pt idx="27">
                  <c:v>0.015620480185131617</c:v>
                </c:pt>
                <c:pt idx="28">
                  <c:v>0.012361914781693845</c:v>
                </c:pt>
                <c:pt idx="29">
                  <c:v>0.01541994750656168</c:v>
                </c:pt>
                <c:pt idx="30">
                  <c:v>0.015197568389057751</c:v>
                </c:pt>
                <c:pt idx="31">
                  <c:v>0.016031350195938723</c:v>
                </c:pt>
                <c:pt idx="32">
                  <c:v>0.013500784929356358</c:v>
                </c:pt>
                <c:pt idx="33">
                  <c:v>0.010633156114064766</c:v>
                </c:pt>
                <c:pt idx="34">
                  <c:v>0.010608486789431545</c:v>
                </c:pt>
                <c:pt idx="35">
                  <c:v>0.014392059553349877</c:v>
                </c:pt>
                <c:pt idx="36">
                  <c:v>0.017047655947307245</c:v>
                </c:pt>
                <c:pt idx="37">
                  <c:v>0.01757469244288225</c:v>
                </c:pt>
                <c:pt idx="38">
                  <c:v>0.02155688622754491</c:v>
                </c:pt>
                <c:pt idx="39">
                  <c:v>0.01998236849838378</c:v>
                </c:pt>
                <c:pt idx="40">
                  <c:v>0.018202831551574688</c:v>
                </c:pt>
                <c:pt idx="41">
                  <c:v>0.0151797603195739</c:v>
                </c:pt>
                <c:pt idx="42">
                  <c:v>0.01694411414982164</c:v>
                </c:pt>
                <c:pt idx="43">
                  <c:v>0.014150943396226415</c:v>
                </c:pt>
                <c:pt idx="44">
                  <c:v>0.0098896918980601</c:v>
                </c:pt>
                <c:pt idx="45">
                  <c:v>0.00752375923970433</c:v>
                </c:pt>
                <c:pt idx="46">
                  <c:v>0.008038829061125435</c:v>
                </c:pt>
                <c:pt idx="47">
                  <c:v>0.007174766481656965</c:v>
                </c:pt>
                <c:pt idx="48">
                  <c:v>0.00783716120605203</c:v>
                </c:pt>
                <c:pt idx="49">
                  <c:v>0.007218328277016424</c:v>
                </c:pt>
                <c:pt idx="50">
                  <c:v>0.005912944361330769</c:v>
                </c:pt>
                <c:pt idx="51">
                  <c:v>0.007662835249042145</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44.720326879564</c:v>
                </c:pt>
              </c:numCache>
            </c:numRef>
          </c:xVal>
          <c:yVal>
            <c:numRef>
              <c:f>Sheet1!$B$112:$B$113</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44.720326879564</c:v>
                </c:pt>
                <c:pt idx="1">
                  <c:v>3544.720326879564</c:v>
                </c:pt>
              </c:numCache>
            </c:numRef>
          </c:xVal>
          <c:yVal>
            <c:numRef>
              <c:f>Sheet1!$B$116:$B$117</c:f>
              <c:numCache>
                <c:formatCode>General</c:formatCode>
                <c:ptCount val="2"/>
                <c:pt idx="0">
                  <c:v>0.015575592718200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44.720326879564</c:v>
                </c:pt>
              </c:numCache>
            </c:numRef>
          </c:xVal>
          <c:yVal>
            <c:numRef>
              <c:f>Sheet1!$B$120:$B$121</c:f>
              <c:numCache>
                <c:formatCode>General</c:formatCode>
                <c:ptCount val="2"/>
                <c:pt idx="0">
                  <c:v>0.01557559271820011</c:v>
                </c:pt>
                <c:pt idx="1">
                  <c:v>0.01557559271820011</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44.720326879564</c:v>
                </c:pt>
                <c:pt idx="1">
                  <c:v>3544.720326879564</c:v>
                </c:pt>
              </c:numCache>
            </c:numRef>
          </c:xVal>
          <c:yVal>
            <c:numRef>
              <c:f>Sheet1!$B$124:$B$125</c:f>
              <c:numCache>
                <c:formatCode>General</c:formatCode>
                <c:ptCount val="2"/>
                <c:pt idx="0">
                  <c:v>0.015575592718200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197.8485201892045</c:v>
                </c:pt>
              </c:numCache>
            </c:numRef>
          </c:xVal>
          <c:yVal>
            <c:numRef>
              <c:f>Sheet1!$B$128:$B$129</c:f>
              <c:numCache>
                <c:formatCode>General</c:formatCode>
                <c:ptCount val="2"/>
                <c:pt idx="0">
                  <c:v>0.011209102591505279</c:v>
                </c:pt>
                <c:pt idx="1">
                  <c:v>0.011209102591505279</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197.8485201892045</c:v>
                </c:pt>
                <c:pt idx="1">
                  <c:v>4197.8485201892045</c:v>
                </c:pt>
              </c:numCache>
            </c:numRef>
          </c:xVal>
          <c:yVal>
            <c:numRef>
              <c:f>Sheet1!$B$132:$B$133</c:f>
              <c:numCache>
                <c:formatCode>General</c:formatCode>
                <c:ptCount val="2"/>
                <c:pt idx="0">
                  <c:v>0.0112091025915052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44.720326879564</c:v>
                </c:pt>
                <c:pt idx="53">
                  <c:v>3544.720326879564</c:v>
                </c:pt>
                <c:pt idx="54">
                  <c:v>4197.8485201892045</c:v>
                </c:pt>
              </c:numCache>
            </c:numRef>
          </c:xVal>
          <c:yVal>
            <c:numRef>
              <c:f>Sheet1!$B$136:$B$190</c:f>
              <c:numCache>
                <c:formatCode>General</c:formatCode>
                <c:ptCount val="55"/>
                <c:pt idx="0">
                  <c:v>0.009653528042523028</c:v>
                </c:pt>
                <c:pt idx="1">
                  <c:v>0.014389977873489605</c:v>
                </c:pt>
                <c:pt idx="2">
                  <c:v>0.010158263419853143</c:v>
                </c:pt>
                <c:pt idx="3">
                  <c:v>0.014933864890179178</c:v>
                </c:pt>
                <c:pt idx="4">
                  <c:v>0.00936238443973536</c:v>
                </c:pt>
                <c:pt idx="5">
                  <c:v>0.0069107191054621625</c:v>
                </c:pt>
                <c:pt idx="6">
                  <c:v>0.009125064479950842</c:v>
                </c:pt>
                <c:pt idx="7">
                  <c:v>0.011212992351796899</c:v>
                </c:pt>
                <c:pt idx="8">
                  <c:v>0.012050257266187896</c:v>
                </c:pt>
                <c:pt idx="9">
                  <c:v>0.012040105330740448</c:v>
                </c:pt>
                <c:pt idx="10">
                  <c:v>0.010674024527798951</c:v>
                </c:pt>
                <c:pt idx="11">
                  <c:v>0.012583235548554388</c:v>
                </c:pt>
                <c:pt idx="12">
                  <c:v>0.013835188139429144</c:v>
                </c:pt>
                <c:pt idx="13">
                  <c:v>0.016504910495321084</c:v>
                </c:pt>
                <c:pt idx="14">
                  <c:v>0.016575283431051673</c:v>
                </c:pt>
                <c:pt idx="15">
                  <c:v>0.0150820343435441</c:v>
                </c:pt>
                <c:pt idx="16">
                  <c:v>0.014239394285195422</c:v>
                </c:pt>
                <c:pt idx="17">
                  <c:v>0.019746579590172248</c:v>
                </c:pt>
                <c:pt idx="18">
                  <c:v>0.011910636564786515</c:v>
                </c:pt>
                <c:pt idx="19">
                  <c:v>0.01025859676619564</c:v>
                </c:pt>
                <c:pt idx="20">
                  <c:v>0.011790001353199856</c:v>
                </c:pt>
                <c:pt idx="21">
                  <c:v>0.014060343827533298</c:v>
                </c:pt>
                <c:pt idx="22">
                  <c:v>0.012582815699001472</c:v>
                </c:pt>
                <c:pt idx="23">
                  <c:v>0.01873195431313468</c:v>
                </c:pt>
                <c:pt idx="24">
                  <c:v>0.012635367090891261</c:v>
                </c:pt>
                <c:pt idx="25">
                  <c:v>0.014531562106956126</c:v>
                </c:pt>
                <c:pt idx="26">
                  <c:v>0.012815284658219198</c:v>
                </c:pt>
                <c:pt idx="27">
                  <c:v>0.014680218264898313</c:v>
                </c:pt>
                <c:pt idx="28">
                  <c:v>0.013667928233861266</c:v>
                </c:pt>
                <c:pt idx="29">
                  <c:v>0.01484201611497685</c:v>
                </c:pt>
                <c:pt idx="30">
                  <c:v>0.015342552996777833</c:v>
                </c:pt>
                <c:pt idx="31">
                  <c:v>0.014321008224720107</c:v>
                </c:pt>
                <c:pt idx="32">
                  <c:v>0.011072513900433123</c:v>
                </c:pt>
                <c:pt idx="33">
                  <c:v>0.008296857752808945</c:v>
                </c:pt>
                <c:pt idx="34">
                  <c:v>0.007947330994357488</c:v>
                </c:pt>
                <c:pt idx="35">
                  <c:v>0.013069541001322123</c:v>
                </c:pt>
                <c:pt idx="36">
                  <c:v>0.011032443673039103</c:v>
                </c:pt>
                <c:pt idx="37">
                  <c:v>0.011547980816653345</c:v>
                </c:pt>
                <c:pt idx="38">
                  <c:v>0.015265818136930159</c:v>
                </c:pt>
                <c:pt idx="39">
                  <c:v>0.01799623415812739</c:v>
                </c:pt>
                <c:pt idx="40">
                  <c:v>0.01770767182782985</c:v>
                </c:pt>
                <c:pt idx="41">
                  <c:v>0.016343611383724192</c:v>
                </c:pt>
                <c:pt idx="42">
                  <c:v>0.01738971668607713</c:v>
                </c:pt>
                <c:pt idx="43">
                  <c:v>0.01622433399768207</c:v>
                </c:pt>
                <c:pt idx="44">
                  <c:v>0.012046348921464431</c:v>
                </c:pt>
                <c:pt idx="45">
                  <c:v>0.011384493540109505</c:v>
                </c:pt>
                <c:pt idx="46">
                  <c:v>0.011829463199872294</c:v>
                </c:pt>
                <c:pt idx="47">
                  <c:v>0.012083133892961923</c:v>
                </c:pt>
                <c:pt idx="48">
                  <c:v>0.015099052289992223</c:v>
                </c:pt>
                <c:pt idx="49">
                  <c:v>0.013888104559751882</c:v>
                </c:pt>
                <c:pt idx="50">
                  <c:v>0.011851025950875681</c:v>
                </c:pt>
                <c:pt idx="51">
                  <c:v>0.011106804510972138</c:v>
                </c:pt>
                <c:pt idx="52">
                  <c:v>0.01557559271820011</c:v>
                </c:pt>
                <c:pt idx="53">
                  <c:v>0.01557559271820011</c:v>
                </c:pt>
                <c:pt idx="54">
                  <c:v>0.011209102591505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47277172705045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250641313213398</c:v>
                </c:pt>
                <c:pt idx="1">
                  <c:v>0.3313003969501734</c:v>
                </c:pt>
                <c:pt idx="2">
                  <c:v>0.3187523201391053</c:v>
                </c:pt>
                <c:pt idx="3">
                  <c:v>0.29312336557406415</c:v>
                </c:pt>
                <c:pt idx="4">
                  <c:v>0.2998604040971821</c:v>
                </c:pt>
                <c:pt idx="5">
                  <c:v>0.2965731371168594</c:v>
                </c:pt>
                <c:pt idx="6">
                  <c:v>0.31059764335791046</c:v>
                </c:pt>
                <c:pt idx="7">
                  <c:v>0.3049465473293235</c:v>
                </c:pt>
                <c:pt idx="8">
                  <c:v>0.281672123567426</c:v>
                </c:pt>
                <c:pt idx="9">
                  <c:v>0.28521068231468655</c:v>
                </c:pt>
                <c:pt idx="10">
                  <c:v>0.27994722143705125</c:v>
                </c:pt>
                <c:pt idx="11">
                  <c:v>0.29194429647986153</c:v>
                </c:pt>
                <c:pt idx="12">
                  <c:v>0.2916259693326976</c:v>
                </c:pt>
                <c:pt idx="13">
                  <c:v>0.28434001061000985</c:v>
                </c:pt>
                <c:pt idx="14">
                  <c:v>0.28944971734741404</c:v>
                </c:pt>
                <c:pt idx="15">
                  <c:v>0.3070909909852457</c:v>
                </c:pt>
                <c:pt idx="16">
                  <c:v>0.30308363115660836</c:v>
                </c:pt>
                <c:pt idx="17">
                  <c:v>0.28638173134708284</c:v>
                </c:pt>
                <c:pt idx="18">
                  <c:v>0.29295527955265616</c:v>
                </c:pt>
                <c:pt idx="19">
                  <c:v>0.29998190890676096</c:v>
                </c:pt>
                <c:pt idx="20">
                  <c:v>0.29168851472150753</c:v>
                </c:pt>
                <c:pt idx="21">
                  <c:v>0.2651515371702174</c:v>
                </c:pt>
                <c:pt idx="22">
                  <c:v>0.2654933033982408</c:v>
                </c:pt>
                <c:pt idx="23">
                  <c:v>0.2564673429688886</c:v>
                </c:pt>
                <c:pt idx="24">
                  <c:v>0.25817207737332054</c:v>
                </c:pt>
                <c:pt idx="25">
                  <c:v>0.2514813228041044</c:v>
                </c:pt>
                <c:pt idx="26">
                  <c:v>0.2554401111778161</c:v>
                </c:pt>
                <c:pt idx="27">
                  <c:v>0.25965342079361814</c:v>
                </c:pt>
                <c:pt idx="28">
                  <c:v>0.28711230183338043</c:v>
                </c:pt>
                <c:pt idx="29">
                  <c:v>0.2935910467732144</c:v>
                </c:pt>
                <c:pt idx="30">
                  <c:v>0.2844001920307249</c:v>
                </c:pt>
                <c:pt idx="31">
                  <c:v>0.2589190706462529</c:v>
                </c:pt>
                <c:pt idx="32">
                  <c:v>0.27193585695034356</c:v>
                </c:pt>
                <c:pt idx="33">
                  <c:v>0.2735705853245542</c:v>
                </c:pt>
                <c:pt idx="34">
                  <c:v>0.2983051220058338</c:v>
                </c:pt>
                <c:pt idx="35">
                  <c:v>0.2774521799019208</c:v>
                </c:pt>
                <c:pt idx="36">
                  <c:v>0.258594318358257</c:v>
                </c:pt>
                <c:pt idx="37">
                  <c:v>0.26107312869477084</c:v>
                </c:pt>
                <c:pt idx="38">
                  <c:v>0.27163898275364107</c:v>
                </c:pt>
                <c:pt idx="39">
                  <c:v>0.28889047417594527</c:v>
                </c:pt>
                <c:pt idx="40">
                  <c:v>0.29835564098846257</c:v>
                </c:pt>
                <c:pt idx="41">
                  <c:v>0.2903619109414371</c:v>
                </c:pt>
                <c:pt idx="42">
                  <c:v>0.28540416414265896</c:v>
                </c:pt>
                <c:pt idx="43">
                  <c:v>0.287067868226682</c:v>
                </c:pt>
                <c:pt idx="44">
                  <c:v>0.30654208901628843</c:v>
                </c:pt>
                <c:pt idx="45">
                  <c:v>0.3294287245012517</c:v>
                </c:pt>
                <c:pt idx="46">
                  <c:v>0.3080566031551598</c:v>
                </c:pt>
                <c:pt idx="47">
                  <c:v>0.2900657539399713</c:v>
                </c:pt>
                <c:pt idx="48">
                  <c:v>0.298356664156434</c:v>
                </c:pt>
                <c:pt idx="49">
                  <c:v>0.2889478590600725</c:v>
                </c:pt>
                <c:pt idx="50">
                  <c:v>0.29302353820642135</c:v>
                </c:pt>
                <c:pt idx="51">
                  <c:v>0.27791091540976187</c:v>
                </c:pt>
                <c:pt idx="52">
                  <c:v>0.29035608858947337</c:v>
                </c:pt>
                <c:pt idx="53">
                  <c:v>0.29676935188989145</c:v>
                </c:pt>
                <c:pt idx="54">
                  <c:v>0.28392192908272906</c:v>
                </c:pt>
                <c:pt idx="55">
                  <c:v>0.2656212577572355</c:v>
                </c:pt>
                <c:pt idx="56">
                  <c:v>0.2692501987463145</c:v>
                </c:pt>
                <c:pt idx="57">
                  <c:v>0.26365130379340873</c:v>
                </c:pt>
                <c:pt idx="58">
                  <c:v>0.2691330566805726</c:v>
                </c:pt>
                <c:pt idx="59">
                  <c:v>0.2719492899631053</c:v>
                </c:pt>
                <c:pt idx="60">
                  <c:v>0.2589983749701041</c:v>
                </c:pt>
                <c:pt idx="61">
                  <c:v>0.2629182281156914</c:v>
                </c:pt>
                <c:pt idx="62">
                  <c:v>0.2993899581370152</c:v>
                </c:pt>
                <c:pt idx="63">
                  <c:v>0.2886435027638721</c:v>
                </c:pt>
                <c:pt idx="64">
                  <c:v>0.2671097320779014</c:v>
                </c:pt>
                <c:pt idx="65">
                  <c:v>0.24885194088138626</c:v>
                </c:pt>
                <c:pt idx="66">
                  <c:v>0.25449440740591994</c:v>
                </c:pt>
                <c:pt idx="67">
                  <c:v>0.2688845496485683</c:v>
                </c:pt>
                <c:pt idx="68">
                  <c:v>0.24791303957281274</c:v>
                </c:pt>
                <c:pt idx="69">
                  <c:v>0.22704649285260803</c:v>
                </c:pt>
                <c:pt idx="70">
                  <c:v>0.2244154310456847</c:v>
                </c:pt>
                <c:pt idx="71">
                  <c:v>0.24715509712805037</c:v>
                </c:pt>
                <c:pt idx="72">
                  <c:v>0.2827246672968142</c:v>
                </c:pt>
                <c:pt idx="73">
                  <c:v>0.2794857700846659</c:v>
                </c:pt>
                <c:pt idx="74">
                  <c:v>0.27623061827523493</c:v>
                </c:pt>
                <c:pt idx="75">
                  <c:v>0.2698633147509715</c:v>
                </c:pt>
                <c:pt idx="76">
                  <c:v>0.27237618198177227</c:v>
                </c:pt>
                <c:pt idx="77">
                  <c:v>0.26995739438872685</c:v>
                </c:pt>
                <c:pt idx="78">
                  <c:v>0.26196612093885735</c:v>
                </c:pt>
                <c:pt idx="79">
                  <c:v>0.2415174832825097</c:v>
                </c:pt>
                <c:pt idx="80">
                  <c:v>0.26530237306035526</c:v>
                </c:pt>
                <c:pt idx="81">
                  <c:v>0.28859264452457106</c:v>
                </c:pt>
                <c:pt idx="82">
                  <c:v>0.2803073926792429</c:v>
                </c:pt>
                <c:pt idx="83">
                  <c:v>0.28538059942880867</c:v>
                </c:pt>
                <c:pt idx="84">
                  <c:v>0.26288930937466776</c:v>
                </c:pt>
                <c:pt idx="85">
                  <c:v>0.2882423599251031</c:v>
                </c:pt>
                <c:pt idx="86">
                  <c:v>0.2712810738830799</c:v>
                </c:pt>
                <c:pt idx="87">
                  <c:v>0.26598649561644927</c:v>
                </c:pt>
                <c:pt idx="88">
                  <c:v>0.2715809852029537</c:v>
                </c:pt>
                <c:pt idx="89">
                  <c:v>0.2567559988219648</c:v>
                </c:pt>
                <c:pt idx="90">
                  <c:v>0.26726507685202383</c:v>
                </c:pt>
                <c:pt idx="91">
                  <c:v>0.2664419245195174</c:v>
                </c:pt>
                <c:pt idx="92">
                  <c:v>0.26650612767140713</c:v>
                </c:pt>
                <c:pt idx="93">
                  <c:v>0.2635466365356421</c:v>
                </c:pt>
                <c:pt idx="94">
                  <c:v>0.2627131517013044</c:v>
                </c:pt>
                <c:pt idx="95">
                  <c:v>0.23984072062113967</c:v>
                </c:pt>
                <c:pt idx="96">
                  <c:v>0.21519085414430977</c:v>
                </c:pt>
                <c:pt idx="97">
                  <c:v>0.23926680823034016</c:v>
                </c:pt>
                <c:pt idx="98">
                  <c:v>0.24955294894559094</c:v>
                </c:pt>
                <c:pt idx="99">
                  <c:v>0.265262847652109</c:v>
                </c:pt>
                <c:pt idx="100">
                  <c:v>0.2700953770878628</c:v>
                </c:pt>
                <c:pt idx="101">
                  <c:v>0.27674168788504</c:v>
                </c:pt>
                <c:pt idx="102">
                  <c:v>0.273760692766005</c:v>
                </c:pt>
                <c:pt idx="103">
                  <c:v>0.2625609506319103</c:v>
                </c:pt>
                <c:pt idx="104">
                  <c:v>0.2706023522262604</c:v>
                </c:pt>
              </c:numCache>
            </c:numRef>
          </c:xVal>
          <c:yVal>
            <c:numRef>
              <c:f>Sheet1!$B$2:$B$106</c:f>
              <c:numCache>
                <c:formatCode>General</c:formatCode>
                <c:ptCount val="105"/>
                <c:pt idx="0">
                  <c:v>0.14633260711692084</c:v>
                </c:pt>
                <c:pt idx="1">
                  <c:v>0.19004329004329004</c:v>
                </c:pt>
                <c:pt idx="2">
                  <c:v>0.20142378559463986</c:v>
                </c:pt>
                <c:pt idx="3">
                  <c:v>0.17490196078431372</c:v>
                </c:pt>
                <c:pt idx="4">
                  <c:v>0.18597560975609756</c:v>
                </c:pt>
                <c:pt idx="5">
                  <c:v>0.18377871542428503</c:v>
                </c:pt>
                <c:pt idx="6">
                  <c:v>0.23628488931665062</c:v>
                </c:pt>
                <c:pt idx="7">
                  <c:v>0.20989583333333334</c:v>
                </c:pt>
                <c:pt idx="8">
                  <c:v>0.20767263427109975</c:v>
                </c:pt>
                <c:pt idx="9">
                  <c:v>0.19726421886249101</c:v>
                </c:pt>
                <c:pt idx="10">
                  <c:v>0.20901932712956334</c:v>
                </c:pt>
                <c:pt idx="11">
                  <c:v>0.20956294359357489</c:v>
                </c:pt>
                <c:pt idx="12">
                  <c:v>0.21058238636363635</c:v>
                </c:pt>
                <c:pt idx="13">
                  <c:v>0.21732580037664784</c:v>
                </c:pt>
                <c:pt idx="14">
                  <c:v>0.2156567557395559</c:v>
                </c:pt>
                <c:pt idx="15">
                  <c:v>0.175</c:v>
                </c:pt>
                <c:pt idx="16">
                  <c:v>0.14488636363636365</c:v>
                </c:pt>
                <c:pt idx="17">
                  <c:v>0.1447841726618705</c:v>
                </c:pt>
                <c:pt idx="18">
                  <c:v>0.13056379821958458</c:v>
                </c:pt>
                <c:pt idx="19">
                  <c:v>0.1444912703190849</c:v>
                </c:pt>
                <c:pt idx="20">
                  <c:v>0.16145566376217324</c:v>
                </c:pt>
                <c:pt idx="21">
                  <c:v>0.167912984364378</c:v>
                </c:pt>
                <c:pt idx="22">
                  <c:v>0.16817864619678996</c:v>
                </c:pt>
                <c:pt idx="23">
                  <c:v>0.17466266866566715</c:v>
                </c:pt>
                <c:pt idx="24">
                  <c:v>0.17022844509948415</c:v>
                </c:pt>
                <c:pt idx="25">
                  <c:v>0.1825938566552901</c:v>
                </c:pt>
                <c:pt idx="26">
                  <c:v>0.1824175824175824</c:v>
                </c:pt>
                <c:pt idx="27">
                  <c:v>0.14517265680056377</c:v>
                </c:pt>
                <c:pt idx="28">
                  <c:v>0.15070527097253156</c:v>
                </c:pt>
                <c:pt idx="29">
                  <c:v>0.1493212669683258</c:v>
                </c:pt>
                <c:pt idx="30">
                  <c:v>0.14551333872271624</c:v>
                </c:pt>
                <c:pt idx="31">
                  <c:v>0.13528481012658228</c:v>
                </c:pt>
                <c:pt idx="32">
                  <c:v>0.14820473644003057</c:v>
                </c:pt>
                <c:pt idx="33">
                  <c:v>0.14319387153800825</c:v>
                </c:pt>
                <c:pt idx="34">
                  <c:v>0.13815461346633418</c:v>
                </c:pt>
                <c:pt idx="35">
                  <c:v>0.15732454074422986</c:v>
                </c:pt>
                <c:pt idx="36">
                  <c:v>0.14482758620689656</c:v>
                </c:pt>
                <c:pt idx="37">
                  <c:v>0.1252336448598131</c:v>
                </c:pt>
                <c:pt idx="38">
                  <c:v>0.1290719114935464</c:v>
                </c:pt>
                <c:pt idx="39">
                  <c:v>0.11437908496732026</c:v>
                </c:pt>
                <c:pt idx="40">
                  <c:v>0.11524163568773234</c:v>
                </c:pt>
                <c:pt idx="41">
                  <c:v>0.13527397260273974</c:v>
                </c:pt>
                <c:pt idx="42">
                  <c:v>0.13847628174413032</c:v>
                </c:pt>
                <c:pt idx="43">
                  <c:v>0.13411567476948869</c:v>
                </c:pt>
                <c:pt idx="44">
                  <c:v>0.1086286594761171</c:v>
                </c:pt>
                <c:pt idx="45">
                  <c:v>0.13343799058084774</c:v>
                </c:pt>
                <c:pt idx="46">
                  <c:v>0.1523658591804392</c:v>
                </c:pt>
                <c:pt idx="47">
                  <c:v>0.17259873232569478</c:v>
                </c:pt>
                <c:pt idx="48">
                  <c:v>0.17419474268789337</c:v>
                </c:pt>
                <c:pt idx="49">
                  <c:v>0.1960189823358819</c:v>
                </c:pt>
                <c:pt idx="50">
                  <c:v>0.17135304013458302</c:v>
                </c:pt>
                <c:pt idx="51">
                  <c:v>0.1646129541864139</c:v>
                </c:pt>
                <c:pt idx="52">
                  <c:v>0.15357867284844973</c:v>
                </c:pt>
                <c:pt idx="53">
                  <c:v>0.17098808689558515</c:v>
                </c:pt>
                <c:pt idx="54">
                  <c:v>0.16546457361052186</c:v>
                </c:pt>
                <c:pt idx="55">
                  <c:v>0.1581528402125051</c:v>
                </c:pt>
                <c:pt idx="56">
                  <c:v>0.17154811715481172</c:v>
                </c:pt>
                <c:pt idx="57">
                  <c:v>0.1565025716385011</c:v>
                </c:pt>
                <c:pt idx="58">
                  <c:v>0.16807861741782446</c:v>
                </c:pt>
                <c:pt idx="59">
                  <c:v>0.14880529926661934</c:v>
                </c:pt>
                <c:pt idx="60">
                  <c:v>0.15079365079365079</c:v>
                </c:pt>
                <c:pt idx="61">
                  <c:v>0.15784182305630026</c:v>
                </c:pt>
                <c:pt idx="62">
                  <c:v>0.15373521776752236</c:v>
                </c:pt>
                <c:pt idx="63">
                  <c:v>0.16811188811188812</c:v>
                </c:pt>
                <c:pt idx="64">
                  <c:v>0.14489990467111535</c:v>
                </c:pt>
                <c:pt idx="65">
                  <c:v>0.13184329482672025</c:v>
                </c:pt>
                <c:pt idx="66">
                  <c:v>0.13299748110831233</c:v>
                </c:pt>
                <c:pt idx="67">
                  <c:v>0.12516823687752354</c:v>
                </c:pt>
                <c:pt idx="68">
                  <c:v>0.12801852464439298</c:v>
                </c:pt>
                <c:pt idx="69">
                  <c:v>0.11767317939609236</c:v>
                </c:pt>
                <c:pt idx="70">
                  <c:v>0.11130359462970983</c:v>
                </c:pt>
                <c:pt idx="71">
                  <c:v>0.11324570273003033</c:v>
                </c:pt>
                <c:pt idx="72">
                  <c:v>0.09845077461269365</c:v>
                </c:pt>
                <c:pt idx="73">
                  <c:v>0.1024390243902439</c:v>
                </c:pt>
                <c:pt idx="74">
                  <c:v>0.10515463917525773</c:v>
                </c:pt>
                <c:pt idx="75">
                  <c:v>0.1174266083697689</c:v>
                </c:pt>
                <c:pt idx="76">
                  <c:v>0.12281835811247575</c:v>
                </c:pt>
                <c:pt idx="77">
                  <c:v>0.0967519004837595</c:v>
                </c:pt>
                <c:pt idx="78">
                  <c:v>0.117061973986228</c:v>
                </c:pt>
                <c:pt idx="79">
                  <c:v>0.10946944257891202</c:v>
                </c:pt>
                <c:pt idx="80">
                  <c:v>0.0978120978120978</c:v>
                </c:pt>
                <c:pt idx="81">
                  <c:v>0.08319088319088319</c:v>
                </c:pt>
                <c:pt idx="82">
                  <c:v>0.07410021171489062</c:v>
                </c:pt>
                <c:pt idx="83">
                  <c:v>0.07218167072181671</c:v>
                </c:pt>
                <c:pt idx="84">
                  <c:v>0.07301066447908121</c:v>
                </c:pt>
                <c:pt idx="85">
                  <c:v>0.08081517919887561</c:v>
                </c:pt>
                <c:pt idx="86">
                  <c:v>0.08945191313340227</c:v>
                </c:pt>
                <c:pt idx="87">
                  <c:v>0.10318275154004107</c:v>
                </c:pt>
                <c:pt idx="88">
                  <c:v>0.10050251256281408</c:v>
                </c:pt>
                <c:pt idx="89">
                  <c:v>0.08982035928143713</c:v>
                </c:pt>
                <c:pt idx="90">
                  <c:v>0.08823529411764706</c:v>
                </c:pt>
                <c:pt idx="91">
                  <c:v>0.09305654974946313</c:v>
                </c:pt>
                <c:pt idx="92">
                  <c:v>0.09495896834701055</c:v>
                </c:pt>
                <c:pt idx="93">
                  <c:v>0.08235294117647059</c:v>
                </c:pt>
                <c:pt idx="94">
                  <c:v>0.108348134991119</c:v>
                </c:pt>
                <c:pt idx="95">
                  <c:v>0.11918850380388842</c:v>
                </c:pt>
                <c:pt idx="96">
                  <c:v>0.10141509433962265</c:v>
                </c:pt>
                <c:pt idx="97">
                  <c:v>0.1069545568666834</c:v>
                </c:pt>
                <c:pt idx="98">
                  <c:v>0.11187265089542339</c:v>
                </c:pt>
                <c:pt idx="99">
                  <c:v>0.1157649796393252</c:v>
                </c:pt>
                <c:pt idx="100">
                  <c:v>0.1085316308763784</c:v>
                </c:pt>
                <c:pt idx="101">
                  <c:v>0.13541933829186972</c:v>
                </c:pt>
                <c:pt idx="102">
                  <c:v>0.10056925996204934</c:v>
                </c:pt>
                <c:pt idx="103">
                  <c:v>0.11353573687539532</c:v>
                </c:pt>
                <c:pt idx="104">
                  <c:v>0.1083743842364532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757000878366451</c:v>
                </c:pt>
                <c:pt idx="1">
                  <c:v>0.2830788281134202</c:v>
                </c:pt>
                <c:pt idx="2">
                  <c:v>0.27397487615521576</c:v>
                </c:pt>
                <c:pt idx="3">
                  <c:v>0.26665052146597606</c:v>
                </c:pt>
                <c:pt idx="4">
                  <c:v>0.2566071937892055</c:v>
                </c:pt>
                <c:pt idx="5">
                  <c:v>0.27630061593560973</c:v>
                </c:pt>
                <c:pt idx="6">
                  <c:v>0.26815816517798896</c:v>
                </c:pt>
                <c:pt idx="7">
                  <c:v>0.2580173138283747</c:v>
                </c:pt>
                <c:pt idx="8">
                  <c:v>0.3047522658645184</c:v>
                </c:pt>
                <c:pt idx="9">
                  <c:v>0.28351410488102186</c:v>
                </c:pt>
                <c:pt idx="10">
                  <c:v>0.2748442843143238</c:v>
                </c:pt>
                <c:pt idx="11">
                  <c:v>0.27445359506220846</c:v>
                </c:pt>
                <c:pt idx="12">
                  <c:v>0.2741370809196489</c:v>
                </c:pt>
                <c:pt idx="13">
                  <c:v>0.2766102618977895</c:v>
                </c:pt>
                <c:pt idx="14">
                  <c:v>0.2680785846145314</c:v>
                </c:pt>
                <c:pt idx="15">
                  <c:v>0.27126257120950925</c:v>
                </c:pt>
                <c:pt idx="16">
                  <c:v>0.28463442879938994</c:v>
                </c:pt>
                <c:pt idx="17">
                  <c:v>0.28244590182195056</c:v>
                </c:pt>
                <c:pt idx="18">
                  <c:v>0.2343289093676184</c:v>
                </c:pt>
                <c:pt idx="19">
                  <c:v>0.2638790436130127</c:v>
                </c:pt>
                <c:pt idx="20">
                  <c:v>0.2685961729598547</c:v>
                </c:pt>
                <c:pt idx="21">
                  <c:v>0.26374439435431096</c:v>
                </c:pt>
                <c:pt idx="22">
                  <c:v>0.2907619431905952</c:v>
                </c:pt>
                <c:pt idx="23">
                  <c:v>0.29040244852403313</c:v>
                </c:pt>
                <c:pt idx="24">
                  <c:v>0.2748084820212366</c:v>
                </c:pt>
                <c:pt idx="25">
                  <c:v>0.25581721362229104</c:v>
                </c:pt>
                <c:pt idx="26">
                  <c:v>0.27356574082678353</c:v>
                </c:pt>
                <c:pt idx="27">
                  <c:v>0.2601002611575032</c:v>
                </c:pt>
                <c:pt idx="28">
                  <c:v>0.2942997392689006</c:v>
                </c:pt>
                <c:pt idx="29">
                  <c:v>0.29766041810508176</c:v>
                </c:pt>
                <c:pt idx="30">
                  <c:v>0.2770060228038223</c:v>
                </c:pt>
                <c:pt idx="31">
                  <c:v>0.26329498629215203</c:v>
                </c:pt>
                <c:pt idx="32">
                  <c:v>0.3012109262318909</c:v>
                </c:pt>
                <c:pt idx="33">
                  <c:v>0.28064574084462224</c:v>
                </c:pt>
                <c:pt idx="34">
                  <c:v>0.2801167096240991</c:v>
                </c:pt>
                <c:pt idx="35">
                  <c:v>0.25211884080162134</c:v>
                </c:pt>
                <c:pt idx="36">
                  <c:v>0.2489035773584667</c:v>
                </c:pt>
                <c:pt idx="37">
                  <c:v>0.23633565856472905</c:v>
                </c:pt>
                <c:pt idx="38">
                  <c:v>0.2586541687552317</c:v>
                </c:pt>
                <c:pt idx="39">
                  <c:v>0.23939609815802423</c:v>
                </c:pt>
                <c:pt idx="40">
                  <c:v>0.25465772874818593</c:v>
                </c:pt>
                <c:pt idx="41">
                  <c:v>0.24853405082223273</c:v>
                </c:pt>
                <c:pt idx="42">
                  <c:v>0.2552661980876863</c:v>
                </c:pt>
                <c:pt idx="43">
                  <c:v>0.27960668072246686</c:v>
                </c:pt>
                <c:pt idx="44">
                  <c:v>0.27606810907845</c:v>
                </c:pt>
                <c:pt idx="45">
                  <c:v>0.26843275299253416</c:v>
                </c:pt>
                <c:pt idx="46">
                  <c:v>0.2758003216159711</c:v>
                </c:pt>
                <c:pt idx="47">
                  <c:v>0.27077407446924395</c:v>
                </c:pt>
                <c:pt idx="48">
                  <c:v>0.2649359209887987</c:v>
                </c:pt>
                <c:pt idx="49">
                  <c:v>0.2994265974593971</c:v>
                </c:pt>
                <c:pt idx="50">
                  <c:v>0.31403326040971447</c:v>
                </c:pt>
                <c:pt idx="51">
                  <c:v>0.2986335230679808</c:v>
                </c:pt>
              </c:numCache>
            </c:numRef>
          </c:xVal>
          <c:yVal>
            <c:numRef>
              <c:f>Sheet1!$B$109:$B$160</c:f>
              <c:numCache>
                <c:formatCode>General</c:formatCode>
                <c:ptCount val="52"/>
                <c:pt idx="0">
                  <c:v>0.0957195820694304</c:v>
                </c:pt>
                <c:pt idx="1">
                  <c:v>0.11449541284403669</c:v>
                </c:pt>
                <c:pt idx="2">
                  <c:v>0.11746361746361747</c:v>
                </c:pt>
                <c:pt idx="3">
                  <c:v>0.1275191104933982</c:v>
                </c:pt>
                <c:pt idx="4">
                  <c:v>0.12190812720848057</c:v>
                </c:pt>
                <c:pt idx="5">
                  <c:v>0.11798980335032774</c:v>
                </c:pt>
                <c:pt idx="6">
                  <c:v>0.12267777065983344</c:v>
                </c:pt>
                <c:pt idx="7">
                  <c:v>0.10972461273666093</c:v>
                </c:pt>
                <c:pt idx="8">
                  <c:v>0.1277056277056277</c:v>
                </c:pt>
                <c:pt idx="9">
                  <c:v>0.13449817147501017</c:v>
                </c:pt>
                <c:pt idx="10">
                  <c:v>0.1491822895891504</c:v>
                </c:pt>
                <c:pt idx="11">
                  <c:v>0.15025441484585453</c:v>
                </c:pt>
                <c:pt idx="12">
                  <c:v>0.16180555555555556</c:v>
                </c:pt>
                <c:pt idx="13">
                  <c:v>0.15458015267175573</c:v>
                </c:pt>
                <c:pt idx="14">
                  <c:v>0.15703192407247626</c:v>
                </c:pt>
                <c:pt idx="15">
                  <c:v>0.145578231292517</c:v>
                </c:pt>
                <c:pt idx="16">
                  <c:v>0.14269850083287064</c:v>
                </c:pt>
                <c:pt idx="17">
                  <c:v>0.12768569674647023</c:v>
                </c:pt>
                <c:pt idx="18">
                  <c:v>0.14976494291470785</c:v>
                </c:pt>
                <c:pt idx="19">
                  <c:v>0.16090425531914893</c:v>
                </c:pt>
                <c:pt idx="20">
                  <c:v>0.14423791821561338</c:v>
                </c:pt>
                <c:pt idx="21">
                  <c:v>0.13108614232209737</c:v>
                </c:pt>
                <c:pt idx="22">
                  <c:v>0.1270611057225994</c:v>
                </c:pt>
                <c:pt idx="23">
                  <c:v>0.12729124236252545</c:v>
                </c:pt>
                <c:pt idx="24">
                  <c:v>0.12440645773979107</c:v>
                </c:pt>
                <c:pt idx="25">
                  <c:v>0.1380952380952381</c:v>
                </c:pt>
                <c:pt idx="26">
                  <c:v>0.11992619926199262</c:v>
                </c:pt>
                <c:pt idx="27">
                  <c:v>0.12997562956945571</c:v>
                </c:pt>
                <c:pt idx="28">
                  <c:v>0.11553175210405509</c:v>
                </c:pt>
                <c:pt idx="29">
                  <c:v>0.10830999066293184</c:v>
                </c:pt>
                <c:pt idx="30">
                  <c:v>0.12448559670781893</c:v>
                </c:pt>
                <c:pt idx="31">
                  <c:v>0.09989373007438895</c:v>
                </c:pt>
                <c:pt idx="32">
                  <c:v>0.10521739130434783</c:v>
                </c:pt>
                <c:pt idx="33">
                  <c:v>0.11469072164948453</c:v>
                </c:pt>
                <c:pt idx="34">
                  <c:v>0.14150943396226415</c:v>
                </c:pt>
                <c:pt idx="35">
                  <c:v>0.1290983606557377</c:v>
                </c:pt>
                <c:pt idx="36">
                  <c:v>0.12829324169530354</c:v>
                </c:pt>
                <c:pt idx="37">
                  <c:v>0.16119402985074627</c:v>
                </c:pt>
                <c:pt idx="38">
                  <c:v>0.16837315130830488</c:v>
                </c:pt>
                <c:pt idx="39">
                  <c:v>0.16029900332225913</c:v>
                </c:pt>
                <c:pt idx="40">
                  <c:v>0.13123993558776167</c:v>
                </c:pt>
                <c:pt idx="41">
                  <c:v>0.1383601756954612</c:v>
                </c:pt>
                <c:pt idx="42">
                  <c:v>0.13175122749590834</c:v>
                </c:pt>
                <c:pt idx="43">
                  <c:v>0.10610551274451689</c:v>
                </c:pt>
                <c:pt idx="44">
                  <c:v>0.1085972850678733</c:v>
                </c:pt>
                <c:pt idx="45">
                  <c:v>0.12478825522303783</c:v>
                </c:pt>
                <c:pt idx="46">
                  <c:v>0.12386095173810327</c:v>
                </c:pt>
                <c:pt idx="47">
                  <c:v>0.12441314553990611</c:v>
                </c:pt>
                <c:pt idx="48">
                  <c:v>0.10435690060005218</c:v>
                </c:pt>
                <c:pt idx="49">
                  <c:v>0.10753197536712458</c:v>
                </c:pt>
                <c:pt idx="50">
                  <c:v>0.10828236072078029</c:v>
                </c:pt>
                <c:pt idx="51">
                  <c:v>0.12774042677579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256781424344577</c:v>
                </c:pt>
              </c:numCache>
            </c:numRef>
          </c:xVal>
          <c:yVal>
            <c:numRef>
              <c:f>Sheet1!$B$163:$B$164</c:f>
              <c:numCache>
                <c:formatCode>General</c:formatCode>
                <c:ptCount val="2"/>
                <c:pt idx="0">
                  <c:v>0.19292325840451452</c:v>
                </c:pt>
                <c:pt idx="1">
                  <c:v>0.192923258404514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256781424344577</c:v>
                </c:pt>
                <c:pt idx="1">
                  <c:v>0.13256781424344577</c:v>
                </c:pt>
              </c:numCache>
            </c:numRef>
          </c:xVal>
          <c:yVal>
            <c:numRef>
              <c:f>Sheet1!$B$167:$B$168</c:f>
              <c:numCache>
                <c:formatCode>General</c:formatCode>
                <c:ptCount val="2"/>
                <c:pt idx="0">
                  <c:v>0.192923258404514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383672988108706</c:v>
                </c:pt>
              </c:numCache>
            </c:numRef>
          </c:xVal>
          <c:yVal>
            <c:numRef>
              <c:f>Sheet1!$B$171:$B$172</c:f>
              <c:numCache>
                <c:formatCode>General</c:formatCode>
                <c:ptCount val="2"/>
                <c:pt idx="0">
                  <c:v>0.1468698612194791</c:v>
                </c:pt>
                <c:pt idx="1">
                  <c:v>0.14686986121947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383672988108706</c:v>
                </c:pt>
                <c:pt idx="1">
                  <c:v>0.23383672988108706</c:v>
                </c:pt>
              </c:numCache>
            </c:numRef>
          </c:xVal>
          <c:yVal>
            <c:numRef>
              <c:f>Sheet1!$B$175:$B$176</c:f>
              <c:numCache>
                <c:formatCode>General</c:formatCode>
                <c:ptCount val="2"/>
                <c:pt idx="0">
                  <c:v>0.14686986121947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8660821747673165</c:v>
                </c:pt>
              </c:numCache>
            </c:numRef>
          </c:xVal>
          <c:yVal>
            <c:numRef>
              <c:f>Sheet1!$B$179:$B$180</c:f>
              <c:numCache>
                <c:formatCode>General</c:formatCode>
                <c:ptCount val="2"/>
                <c:pt idx="0">
                  <c:v>0.12287131968296781</c:v>
                </c:pt>
                <c:pt idx="1">
                  <c:v>0.1228713196829678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8660821747673165</c:v>
                </c:pt>
                <c:pt idx="1">
                  <c:v>0.28660821747673165</c:v>
                </c:pt>
              </c:numCache>
            </c:numRef>
          </c:xVal>
          <c:yVal>
            <c:numRef>
              <c:f>Sheet1!$B$183:$B$184</c:f>
              <c:numCache>
                <c:formatCode>General</c:formatCode>
                <c:ptCount val="2"/>
                <c:pt idx="0">
                  <c:v>0.122871319682967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757000878366451</c:v>
                </c:pt>
                <c:pt idx="1">
                  <c:v>0.2830788281134202</c:v>
                </c:pt>
                <c:pt idx="2">
                  <c:v>0.27397487615521576</c:v>
                </c:pt>
                <c:pt idx="3">
                  <c:v>0.26665052146597606</c:v>
                </c:pt>
                <c:pt idx="4">
                  <c:v>0.2566071937892055</c:v>
                </c:pt>
                <c:pt idx="5">
                  <c:v>0.27630061593560973</c:v>
                </c:pt>
                <c:pt idx="6">
                  <c:v>0.26815816517798896</c:v>
                </c:pt>
                <c:pt idx="7">
                  <c:v>0.2580173138283747</c:v>
                </c:pt>
                <c:pt idx="8">
                  <c:v>0.3047522658645184</c:v>
                </c:pt>
                <c:pt idx="9">
                  <c:v>0.28351410488102186</c:v>
                </c:pt>
                <c:pt idx="10">
                  <c:v>0.2748442843143238</c:v>
                </c:pt>
                <c:pt idx="11">
                  <c:v>0.27445359506220846</c:v>
                </c:pt>
                <c:pt idx="12">
                  <c:v>0.2741370809196489</c:v>
                </c:pt>
                <c:pt idx="13">
                  <c:v>0.2766102618977895</c:v>
                </c:pt>
                <c:pt idx="14">
                  <c:v>0.2680785846145314</c:v>
                </c:pt>
                <c:pt idx="15">
                  <c:v>0.27126257120950925</c:v>
                </c:pt>
                <c:pt idx="16">
                  <c:v>0.28463442879938994</c:v>
                </c:pt>
                <c:pt idx="17">
                  <c:v>0.28244590182195056</c:v>
                </c:pt>
                <c:pt idx="18">
                  <c:v>0.2343289093676184</c:v>
                </c:pt>
                <c:pt idx="19">
                  <c:v>0.2638790436130127</c:v>
                </c:pt>
                <c:pt idx="20">
                  <c:v>0.2685961729598547</c:v>
                </c:pt>
                <c:pt idx="21">
                  <c:v>0.26374439435431096</c:v>
                </c:pt>
                <c:pt idx="22">
                  <c:v>0.2907619431905952</c:v>
                </c:pt>
                <c:pt idx="23">
                  <c:v>0.29040244852403313</c:v>
                </c:pt>
                <c:pt idx="24">
                  <c:v>0.2748084820212366</c:v>
                </c:pt>
                <c:pt idx="25">
                  <c:v>0.25581721362229104</c:v>
                </c:pt>
                <c:pt idx="26">
                  <c:v>0.27356574082678353</c:v>
                </c:pt>
                <c:pt idx="27">
                  <c:v>0.2601002611575032</c:v>
                </c:pt>
                <c:pt idx="28">
                  <c:v>0.2942997392689006</c:v>
                </c:pt>
                <c:pt idx="29">
                  <c:v>0.29766041810508176</c:v>
                </c:pt>
                <c:pt idx="30">
                  <c:v>0.2770060228038223</c:v>
                </c:pt>
                <c:pt idx="31">
                  <c:v>0.26329498629215203</c:v>
                </c:pt>
                <c:pt idx="32">
                  <c:v>0.3012109262318909</c:v>
                </c:pt>
                <c:pt idx="33">
                  <c:v>0.28064574084462224</c:v>
                </c:pt>
                <c:pt idx="34">
                  <c:v>0.2801167096240991</c:v>
                </c:pt>
                <c:pt idx="35">
                  <c:v>0.25211884080162134</c:v>
                </c:pt>
                <c:pt idx="36">
                  <c:v>0.2489035773584667</c:v>
                </c:pt>
                <c:pt idx="37">
                  <c:v>0.23633565856472905</c:v>
                </c:pt>
                <c:pt idx="38">
                  <c:v>0.2586541687552317</c:v>
                </c:pt>
                <c:pt idx="39">
                  <c:v>0.23939609815802423</c:v>
                </c:pt>
                <c:pt idx="40">
                  <c:v>0.25465772874818593</c:v>
                </c:pt>
                <c:pt idx="41">
                  <c:v>0.24853405082223273</c:v>
                </c:pt>
                <c:pt idx="42">
                  <c:v>0.2552661980876863</c:v>
                </c:pt>
                <c:pt idx="43">
                  <c:v>0.27960668072246686</c:v>
                </c:pt>
                <c:pt idx="44">
                  <c:v>0.27606810907845</c:v>
                </c:pt>
                <c:pt idx="45">
                  <c:v>0.26843275299253416</c:v>
                </c:pt>
                <c:pt idx="46">
                  <c:v>0.2758003216159711</c:v>
                </c:pt>
                <c:pt idx="47">
                  <c:v>0.27077407446924395</c:v>
                </c:pt>
                <c:pt idx="48">
                  <c:v>0.2649359209887987</c:v>
                </c:pt>
                <c:pt idx="49">
                  <c:v>0.2994265974593971</c:v>
                </c:pt>
                <c:pt idx="50">
                  <c:v>0.31403326040971447</c:v>
                </c:pt>
                <c:pt idx="51">
                  <c:v>0.2986335230679808</c:v>
                </c:pt>
                <c:pt idx="52">
                  <c:v>0.23383672988108706</c:v>
                </c:pt>
                <c:pt idx="53">
                  <c:v>0.13256781424344577</c:v>
                </c:pt>
                <c:pt idx="54">
                  <c:v>0.28660821747673165</c:v>
                </c:pt>
              </c:numCache>
            </c:numRef>
          </c:xVal>
          <c:yVal>
            <c:numRef>
              <c:f>Sheet1!$B$187:$B$241</c:f>
              <c:numCache>
                <c:formatCode>General</c:formatCode>
                <c:ptCount val="55"/>
                <c:pt idx="0">
                  <c:v>0.1278319378914049</c:v>
                </c:pt>
                <c:pt idx="1">
                  <c:v>0.12447635681747038</c:v>
                </c:pt>
                <c:pt idx="2">
                  <c:v>0.12861650103492095</c:v>
                </c:pt>
                <c:pt idx="3">
                  <c:v>0.13194734953372975</c:v>
                </c:pt>
                <c:pt idx="4">
                  <c:v>0.13651468745421058</c:v>
                </c:pt>
                <c:pt idx="5">
                  <c:v>0.12755883968660778</c:v>
                </c:pt>
                <c:pt idx="6">
                  <c:v>0.13126172834142535</c:v>
                </c:pt>
                <c:pt idx="7">
                  <c:v>0.13587341645971504</c:v>
                </c:pt>
                <c:pt idx="8">
                  <c:v>0.11462007040587319</c:v>
                </c:pt>
                <c:pt idx="9">
                  <c:v>0.12427840887127625</c:v>
                </c:pt>
                <c:pt idx="10">
                  <c:v>0.12822112601766905</c:v>
                </c:pt>
                <c:pt idx="11">
                  <c:v>0.12839879719337288</c:v>
                </c:pt>
                <c:pt idx="12">
                  <c:v>0.12854273624347723</c:v>
                </c:pt>
                <c:pt idx="13">
                  <c:v>0.12741802403361874</c:v>
                </c:pt>
                <c:pt idx="14">
                  <c:v>0.13129791866966228</c:v>
                </c:pt>
                <c:pt idx="15">
                  <c:v>0.12984995807516925</c:v>
                </c:pt>
                <c:pt idx="16">
                  <c:v>0.12376892654825902</c:v>
                </c:pt>
                <c:pt idx="17">
                  <c:v>0.1247641885346994</c:v>
                </c:pt>
                <c:pt idx="18">
                  <c:v>0.14664603599890835</c:v>
                </c:pt>
                <c:pt idx="19">
                  <c:v>0.13320771624693478</c:v>
                </c:pt>
                <c:pt idx="20">
                  <c:v>0.13106253842987758</c:v>
                </c:pt>
                <c:pt idx="21">
                  <c:v>0.13326894980268697</c:v>
                </c:pt>
                <c:pt idx="22">
                  <c:v>0.12098235722204118</c:v>
                </c:pt>
                <c:pt idx="23">
                  <c:v>0.12114584224171221</c:v>
                </c:pt>
                <c:pt idx="24">
                  <c:v>0.12823740759048238</c:v>
                </c:pt>
                <c:pt idx="25">
                  <c:v>0.13687394152705354</c:v>
                </c:pt>
                <c:pt idx="26">
                  <c:v>0.12880256081115218</c:v>
                </c:pt>
                <c:pt idx="27">
                  <c:v>0.13492616823394055</c:v>
                </c:pt>
                <c:pt idx="28">
                  <c:v>0.11937349702117911</c:v>
                </c:pt>
                <c:pt idx="29">
                  <c:v>0.11784518326093513</c:v>
                </c:pt>
                <c:pt idx="30">
                  <c:v>0.12723804645529593</c:v>
                </c:pt>
                <c:pt idx="31">
                  <c:v>0.13347332414455135</c:v>
                </c:pt>
                <c:pt idx="32">
                  <c:v>0.1162305420855747</c:v>
                </c:pt>
                <c:pt idx="33">
                  <c:v>0.1255828358754347</c:v>
                </c:pt>
                <c:pt idx="34">
                  <c:v>0.12582341991614085</c:v>
                </c:pt>
                <c:pt idx="35">
                  <c:v>0.13855582615449527</c:v>
                </c:pt>
                <c:pt idx="36">
                  <c:v>0.14001801031505212</c:v>
                </c:pt>
                <c:pt idx="37">
                  <c:v>0.1457334398953224</c:v>
                </c:pt>
                <c:pt idx="38">
                  <c:v>0.13558379814286906</c:v>
                </c:pt>
                <c:pt idx="39">
                  <c:v>0.14434166395634468</c:v>
                </c:pt>
                <c:pt idx="40">
                  <c:v>0.13740123281975655</c:v>
                </c:pt>
                <c:pt idx="41">
                  <c:v>0.14018605746196228</c:v>
                </c:pt>
                <c:pt idx="42">
                  <c:v>0.1371245232293508</c:v>
                </c:pt>
                <c:pt idx="43">
                  <c:v>0.1260553623975511</c:v>
                </c:pt>
                <c:pt idx="44">
                  <c:v>0.12766457529731914</c:v>
                </c:pt>
                <c:pt idx="45">
                  <c:v>0.13113685585112766</c:v>
                </c:pt>
                <c:pt idx="46">
                  <c:v>0.12778635523633655</c:v>
                </c:pt>
                <c:pt idx="47">
                  <c:v>0.13007210851749776</c:v>
                </c:pt>
                <c:pt idx="48">
                  <c:v>0.1327270870898387</c:v>
                </c:pt>
                <c:pt idx="49">
                  <c:v>0.11704198951888561</c:v>
                </c:pt>
                <c:pt idx="50">
                  <c:v>0.11039941369822706</c:v>
                </c:pt>
                <c:pt idx="51">
                  <c:v>0.11740265073180767</c:v>
                </c:pt>
                <c:pt idx="52">
                  <c:v>0.1468698612194791</c:v>
                </c:pt>
                <c:pt idx="53">
                  <c:v>0.19292325840451452</c:v>
                </c:pt>
                <c:pt idx="54">
                  <c:v>0.122871319682967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54186717998076"/>
          <c:min val="0.057745336577453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2.5732</c:v>
                </c:pt>
                <c:pt idx="1">
                  <c:v>659.3622</c:v>
                </c:pt>
                <c:pt idx="2">
                  <c:v>652.7505</c:v>
                </c:pt>
                <c:pt idx="3">
                  <c:v>654.6031</c:v>
                </c:pt>
                <c:pt idx="4">
                  <c:v>651.4637</c:v>
                </c:pt>
                <c:pt idx="5">
                  <c:v>644.3571</c:v>
                </c:pt>
                <c:pt idx="6">
                  <c:v>625.8208</c:v>
                </c:pt>
                <c:pt idx="7">
                  <c:v>634.1687</c:v>
                </c:pt>
                <c:pt idx="8">
                  <c:v>639.6281</c:v>
                </c:pt>
                <c:pt idx="9">
                  <c:v>629.8832</c:v>
                </c:pt>
                <c:pt idx="10">
                  <c:v>618.9983</c:v>
                </c:pt>
                <c:pt idx="11">
                  <c:v>641.631</c:v>
                </c:pt>
                <c:pt idx="12">
                  <c:v>639.1231</c:v>
                </c:pt>
                <c:pt idx="13">
                  <c:v>640.7158</c:v>
                </c:pt>
                <c:pt idx="14">
                  <c:v>639.9581</c:v>
                </c:pt>
                <c:pt idx="15">
                  <c:v>650.0866</c:v>
                </c:pt>
                <c:pt idx="16">
                  <c:v>651.7451</c:v>
                </c:pt>
                <c:pt idx="17">
                  <c:v>639.0342</c:v>
                </c:pt>
                <c:pt idx="18">
                  <c:v>641.1667</c:v>
                </c:pt>
                <c:pt idx="19">
                  <c:v>618.3333</c:v>
                </c:pt>
                <c:pt idx="20">
                  <c:v>640.2254</c:v>
                </c:pt>
                <c:pt idx="21">
                  <c:v>629.4737</c:v>
                </c:pt>
                <c:pt idx="22">
                  <c:v>625.5104</c:v>
                </c:pt>
                <c:pt idx="23">
                  <c:v>609.6695</c:v>
                </c:pt>
                <c:pt idx="24">
                  <c:v>615.2727</c:v>
                </c:pt>
                <c:pt idx="25">
                  <c:v>592.4439</c:v>
                </c:pt>
                <c:pt idx="26">
                  <c:v>599.3012</c:v>
                </c:pt>
                <c:pt idx="27">
                  <c:v>595.2039</c:v>
                </c:pt>
                <c:pt idx="28">
                  <c:v>616.5714</c:v>
                </c:pt>
                <c:pt idx="29">
                  <c:v>609.0563</c:v>
                </c:pt>
                <c:pt idx="30">
                  <c:v>592.4056</c:v>
                </c:pt>
                <c:pt idx="31">
                  <c:v>563.3216</c:v>
                </c:pt>
                <c:pt idx="32">
                  <c:v>586.1495</c:v>
                </c:pt>
                <c:pt idx="33">
                  <c:v>562.2058</c:v>
                </c:pt>
                <c:pt idx="34">
                  <c:v>591.6318</c:v>
                </c:pt>
                <c:pt idx="35">
                  <c:v>604.3174</c:v>
                </c:pt>
                <c:pt idx="36">
                  <c:v>601.5751</c:v>
                </c:pt>
                <c:pt idx="37">
                  <c:v>595.8507</c:v>
                </c:pt>
                <c:pt idx="38">
                  <c:v>611.4333</c:v>
                </c:pt>
                <c:pt idx="39">
                  <c:v>638.6229</c:v>
                </c:pt>
                <c:pt idx="40">
                  <c:v>614.424</c:v>
                </c:pt>
                <c:pt idx="41">
                  <c:v>615.0464</c:v>
                </c:pt>
                <c:pt idx="42">
                  <c:v>628.4187</c:v>
                </c:pt>
                <c:pt idx="43">
                  <c:v>646.9563</c:v>
                </c:pt>
                <c:pt idx="44">
                  <c:v>645.3073</c:v>
                </c:pt>
                <c:pt idx="45">
                  <c:v>650.9815</c:v>
                </c:pt>
                <c:pt idx="46">
                  <c:v>628.7727</c:v>
                </c:pt>
                <c:pt idx="47">
                  <c:v>618.4096</c:v>
                </c:pt>
                <c:pt idx="48">
                  <c:v>618.6068</c:v>
                </c:pt>
                <c:pt idx="49">
                  <c:v>600.7929</c:v>
                </c:pt>
                <c:pt idx="50">
                  <c:v>617.7616</c:v>
                </c:pt>
                <c:pt idx="51">
                  <c:v>620.6871</c:v>
                </c:pt>
                <c:pt idx="52">
                  <c:v>618.3943</c:v>
                </c:pt>
                <c:pt idx="53">
                  <c:v>616.4693</c:v>
                </c:pt>
                <c:pt idx="54">
                  <c:v>616.3641</c:v>
                </c:pt>
                <c:pt idx="55">
                  <c:v>617.186</c:v>
                </c:pt>
                <c:pt idx="56">
                  <c:v>615.0195</c:v>
                </c:pt>
                <c:pt idx="57">
                  <c:v>604.3991</c:v>
                </c:pt>
                <c:pt idx="58">
                  <c:v>602.3306</c:v>
                </c:pt>
                <c:pt idx="59">
                  <c:v>611.1781</c:v>
                </c:pt>
                <c:pt idx="60">
                  <c:v>606.1088</c:v>
                </c:pt>
                <c:pt idx="61">
                  <c:v>601.9618</c:v>
                </c:pt>
                <c:pt idx="62">
                  <c:v>606.3752</c:v>
                </c:pt>
                <c:pt idx="63">
                  <c:v>616.3461</c:v>
                </c:pt>
                <c:pt idx="64">
                  <c:v>590.1711</c:v>
                </c:pt>
                <c:pt idx="65">
                  <c:v>595.4419</c:v>
                </c:pt>
                <c:pt idx="66">
                  <c:v>588.0417</c:v>
                </c:pt>
                <c:pt idx="67">
                  <c:v>580.7849</c:v>
                </c:pt>
                <c:pt idx="68">
                  <c:v>561.9251</c:v>
                </c:pt>
                <c:pt idx="69">
                  <c:v>551.883</c:v>
                </c:pt>
                <c:pt idx="70">
                  <c:v>536.4163</c:v>
                </c:pt>
                <c:pt idx="71">
                  <c:v>574.0536</c:v>
                </c:pt>
                <c:pt idx="72">
                  <c:v>682.8071</c:v>
                </c:pt>
                <c:pt idx="73">
                  <c:v>683.6296</c:v>
                </c:pt>
                <c:pt idx="74">
                  <c:v>661.5441</c:v>
                </c:pt>
                <c:pt idx="75">
                  <c:v>642.9521</c:v>
                </c:pt>
                <c:pt idx="76">
                  <c:v>646.7421</c:v>
                </c:pt>
                <c:pt idx="77">
                  <c:v>634.5571</c:v>
                </c:pt>
                <c:pt idx="78">
                  <c:v>632.5621</c:v>
                </c:pt>
                <c:pt idx="79">
                  <c:v>579.7362</c:v>
                </c:pt>
                <c:pt idx="80">
                  <c:v>631.3421</c:v>
                </c:pt>
                <c:pt idx="81">
                  <c:v>646.6027</c:v>
                </c:pt>
                <c:pt idx="82">
                  <c:v>638.8571</c:v>
                </c:pt>
                <c:pt idx="83">
                  <c:v>637.0899</c:v>
                </c:pt>
                <c:pt idx="84">
                  <c:v>617.618</c:v>
                </c:pt>
                <c:pt idx="85">
                  <c:v>649.8</c:v>
                </c:pt>
                <c:pt idx="86">
                  <c:v>625.6069</c:v>
                </c:pt>
                <c:pt idx="87">
                  <c:v>628.0995</c:v>
                </c:pt>
                <c:pt idx="88">
                  <c:v>638.15</c:v>
                </c:pt>
                <c:pt idx="89">
                  <c:v>627.6167</c:v>
                </c:pt>
                <c:pt idx="90">
                  <c:v>642.9825</c:v>
                </c:pt>
                <c:pt idx="91">
                  <c:v>636.9538</c:v>
                </c:pt>
                <c:pt idx="92">
                  <c:v>617.4136</c:v>
                </c:pt>
                <c:pt idx="93">
                  <c:v>641.517</c:v>
                </c:pt>
                <c:pt idx="94">
                  <c:v>658.5956</c:v>
                </c:pt>
                <c:pt idx="95">
                  <c:v>621.0887</c:v>
                </c:pt>
                <c:pt idx="96">
                  <c:v>532.718</c:v>
                </c:pt>
                <c:pt idx="97">
                  <c:v>578.061</c:v>
                </c:pt>
                <c:pt idx="98">
                  <c:v>586.4941</c:v>
                </c:pt>
                <c:pt idx="99">
                  <c:v>618.8526</c:v>
                </c:pt>
                <c:pt idx="100">
                  <c:v>637.1591</c:v>
                </c:pt>
                <c:pt idx="101">
                  <c:v>620.1515</c:v>
                </c:pt>
                <c:pt idx="102">
                  <c:v>628.2642</c:v>
                </c:pt>
                <c:pt idx="103">
                  <c:v>641.9861</c:v>
                </c:pt>
                <c:pt idx="104">
                  <c:v>658.1608</c:v>
                </c:pt>
              </c:numCache>
            </c:numRef>
          </c:xVal>
          <c:yVal>
            <c:numRef>
              <c:f>Sheet1!$B$2:$B$106</c:f>
              <c:numCache>
                <c:formatCode>General</c:formatCode>
                <c:ptCount val="105"/>
                <c:pt idx="0">
                  <c:v>0.14633260711692084</c:v>
                </c:pt>
                <c:pt idx="1">
                  <c:v>0.19004329004329004</c:v>
                </c:pt>
                <c:pt idx="2">
                  <c:v>0.20142378559463986</c:v>
                </c:pt>
                <c:pt idx="3">
                  <c:v>0.17490196078431372</c:v>
                </c:pt>
                <c:pt idx="4">
                  <c:v>0.18597560975609756</c:v>
                </c:pt>
                <c:pt idx="5">
                  <c:v>0.18377871542428503</c:v>
                </c:pt>
                <c:pt idx="6">
                  <c:v>0.23628488931665062</c:v>
                </c:pt>
                <c:pt idx="7">
                  <c:v>0.20989583333333334</c:v>
                </c:pt>
                <c:pt idx="8">
                  <c:v>0.20767263427109975</c:v>
                </c:pt>
                <c:pt idx="9">
                  <c:v>0.19726421886249101</c:v>
                </c:pt>
                <c:pt idx="10">
                  <c:v>0.20901932712956334</c:v>
                </c:pt>
                <c:pt idx="11">
                  <c:v>0.20956294359357489</c:v>
                </c:pt>
                <c:pt idx="12">
                  <c:v>0.21058238636363635</c:v>
                </c:pt>
                <c:pt idx="13">
                  <c:v>0.21732580037664784</c:v>
                </c:pt>
                <c:pt idx="14">
                  <c:v>0.2156567557395559</c:v>
                </c:pt>
                <c:pt idx="15">
                  <c:v>0.175</c:v>
                </c:pt>
                <c:pt idx="16">
                  <c:v>0.14488636363636365</c:v>
                </c:pt>
                <c:pt idx="17">
                  <c:v>0.1447841726618705</c:v>
                </c:pt>
                <c:pt idx="18">
                  <c:v>0.13056379821958458</c:v>
                </c:pt>
                <c:pt idx="19">
                  <c:v>0.1444912703190849</c:v>
                </c:pt>
                <c:pt idx="20">
                  <c:v>0.16145566376217324</c:v>
                </c:pt>
                <c:pt idx="21">
                  <c:v>0.167912984364378</c:v>
                </c:pt>
                <c:pt idx="22">
                  <c:v>0.16817864619678996</c:v>
                </c:pt>
                <c:pt idx="23">
                  <c:v>0.17466266866566715</c:v>
                </c:pt>
                <c:pt idx="24">
                  <c:v>0.17022844509948415</c:v>
                </c:pt>
                <c:pt idx="25">
                  <c:v>0.1825938566552901</c:v>
                </c:pt>
                <c:pt idx="26">
                  <c:v>0.1824175824175824</c:v>
                </c:pt>
                <c:pt idx="27">
                  <c:v>0.14517265680056377</c:v>
                </c:pt>
                <c:pt idx="28">
                  <c:v>0.15070527097253156</c:v>
                </c:pt>
                <c:pt idx="29">
                  <c:v>0.1493212669683258</c:v>
                </c:pt>
                <c:pt idx="30">
                  <c:v>0.14551333872271624</c:v>
                </c:pt>
                <c:pt idx="31">
                  <c:v>0.13528481012658228</c:v>
                </c:pt>
                <c:pt idx="32">
                  <c:v>0.14820473644003057</c:v>
                </c:pt>
                <c:pt idx="33">
                  <c:v>0.14319387153800825</c:v>
                </c:pt>
                <c:pt idx="34">
                  <c:v>0.13815461346633418</c:v>
                </c:pt>
                <c:pt idx="35">
                  <c:v>0.15732454074422986</c:v>
                </c:pt>
                <c:pt idx="36">
                  <c:v>0.14482758620689656</c:v>
                </c:pt>
                <c:pt idx="37">
                  <c:v>0.1252336448598131</c:v>
                </c:pt>
                <c:pt idx="38">
                  <c:v>0.1290719114935464</c:v>
                </c:pt>
                <c:pt idx="39">
                  <c:v>0.11437908496732026</c:v>
                </c:pt>
                <c:pt idx="40">
                  <c:v>0.11524163568773234</c:v>
                </c:pt>
                <c:pt idx="41">
                  <c:v>0.13527397260273974</c:v>
                </c:pt>
                <c:pt idx="42">
                  <c:v>0.13847628174413032</c:v>
                </c:pt>
                <c:pt idx="43">
                  <c:v>0.13411567476948869</c:v>
                </c:pt>
                <c:pt idx="44">
                  <c:v>0.1086286594761171</c:v>
                </c:pt>
                <c:pt idx="45">
                  <c:v>0.13343799058084774</c:v>
                </c:pt>
                <c:pt idx="46">
                  <c:v>0.1523658591804392</c:v>
                </c:pt>
                <c:pt idx="47">
                  <c:v>0.17259873232569478</c:v>
                </c:pt>
                <c:pt idx="48">
                  <c:v>0.17419474268789337</c:v>
                </c:pt>
                <c:pt idx="49">
                  <c:v>0.1960189823358819</c:v>
                </c:pt>
                <c:pt idx="50">
                  <c:v>0.17135304013458302</c:v>
                </c:pt>
                <c:pt idx="51">
                  <c:v>0.1646129541864139</c:v>
                </c:pt>
                <c:pt idx="52">
                  <c:v>0.15357867284844973</c:v>
                </c:pt>
                <c:pt idx="53">
                  <c:v>0.17098808689558515</c:v>
                </c:pt>
                <c:pt idx="54">
                  <c:v>0.16546457361052186</c:v>
                </c:pt>
                <c:pt idx="55">
                  <c:v>0.1581528402125051</c:v>
                </c:pt>
                <c:pt idx="56">
                  <c:v>0.17154811715481172</c:v>
                </c:pt>
                <c:pt idx="57">
                  <c:v>0.1565025716385011</c:v>
                </c:pt>
                <c:pt idx="58">
                  <c:v>0.16807861741782446</c:v>
                </c:pt>
                <c:pt idx="59">
                  <c:v>0.14880529926661934</c:v>
                </c:pt>
                <c:pt idx="60">
                  <c:v>0.15079365079365079</c:v>
                </c:pt>
                <c:pt idx="61">
                  <c:v>0.15784182305630026</c:v>
                </c:pt>
                <c:pt idx="62">
                  <c:v>0.15373521776752236</c:v>
                </c:pt>
                <c:pt idx="63">
                  <c:v>0.16811188811188812</c:v>
                </c:pt>
                <c:pt idx="64">
                  <c:v>0.14489990467111535</c:v>
                </c:pt>
                <c:pt idx="65">
                  <c:v>0.13184329482672025</c:v>
                </c:pt>
                <c:pt idx="66">
                  <c:v>0.13299748110831233</c:v>
                </c:pt>
                <c:pt idx="67">
                  <c:v>0.12516823687752354</c:v>
                </c:pt>
                <c:pt idx="68">
                  <c:v>0.12801852464439298</c:v>
                </c:pt>
                <c:pt idx="69">
                  <c:v>0.11767317939609236</c:v>
                </c:pt>
                <c:pt idx="70">
                  <c:v>0.11130359462970983</c:v>
                </c:pt>
                <c:pt idx="71">
                  <c:v>0.11324570273003033</c:v>
                </c:pt>
                <c:pt idx="72">
                  <c:v>0.09845077461269365</c:v>
                </c:pt>
                <c:pt idx="73">
                  <c:v>0.1024390243902439</c:v>
                </c:pt>
                <c:pt idx="74">
                  <c:v>0.10515463917525773</c:v>
                </c:pt>
                <c:pt idx="75">
                  <c:v>0.1174266083697689</c:v>
                </c:pt>
                <c:pt idx="76">
                  <c:v>0.12281835811247575</c:v>
                </c:pt>
                <c:pt idx="77">
                  <c:v>0.0967519004837595</c:v>
                </c:pt>
                <c:pt idx="78">
                  <c:v>0.117061973986228</c:v>
                </c:pt>
                <c:pt idx="79">
                  <c:v>0.10946944257891202</c:v>
                </c:pt>
                <c:pt idx="80">
                  <c:v>0.0978120978120978</c:v>
                </c:pt>
                <c:pt idx="81">
                  <c:v>0.08319088319088319</c:v>
                </c:pt>
                <c:pt idx="82">
                  <c:v>0.07410021171489062</c:v>
                </c:pt>
                <c:pt idx="83">
                  <c:v>0.07218167072181671</c:v>
                </c:pt>
                <c:pt idx="84">
                  <c:v>0.07301066447908121</c:v>
                </c:pt>
                <c:pt idx="85">
                  <c:v>0.08081517919887561</c:v>
                </c:pt>
                <c:pt idx="86">
                  <c:v>0.08945191313340227</c:v>
                </c:pt>
                <c:pt idx="87">
                  <c:v>0.10318275154004107</c:v>
                </c:pt>
                <c:pt idx="88">
                  <c:v>0.10050251256281408</c:v>
                </c:pt>
                <c:pt idx="89">
                  <c:v>0.08982035928143713</c:v>
                </c:pt>
                <c:pt idx="90">
                  <c:v>0.08823529411764706</c:v>
                </c:pt>
                <c:pt idx="91">
                  <c:v>0.09305654974946313</c:v>
                </c:pt>
                <c:pt idx="92">
                  <c:v>0.09495896834701055</c:v>
                </c:pt>
                <c:pt idx="93">
                  <c:v>0.08235294117647059</c:v>
                </c:pt>
                <c:pt idx="94">
                  <c:v>0.108348134991119</c:v>
                </c:pt>
                <c:pt idx="95">
                  <c:v>0.11918850380388842</c:v>
                </c:pt>
                <c:pt idx="96">
                  <c:v>0.10141509433962265</c:v>
                </c:pt>
                <c:pt idx="97">
                  <c:v>0.1069545568666834</c:v>
                </c:pt>
                <c:pt idx="98">
                  <c:v>0.11187265089542339</c:v>
                </c:pt>
                <c:pt idx="99">
                  <c:v>0.1157649796393252</c:v>
                </c:pt>
                <c:pt idx="100">
                  <c:v>0.1085316308763784</c:v>
                </c:pt>
                <c:pt idx="101">
                  <c:v>0.13541933829186972</c:v>
                </c:pt>
                <c:pt idx="102">
                  <c:v>0.10056925996204934</c:v>
                </c:pt>
                <c:pt idx="103">
                  <c:v>0.11353573687539532</c:v>
                </c:pt>
                <c:pt idx="104">
                  <c:v>0.1083743842364532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8.1585</c:v>
                </c:pt>
                <c:pt idx="1">
                  <c:v>632.9231</c:v>
                </c:pt>
                <c:pt idx="2">
                  <c:v>651.2625</c:v>
                </c:pt>
                <c:pt idx="3">
                  <c:v>655.346</c:v>
                </c:pt>
                <c:pt idx="4">
                  <c:v>670.1739</c:v>
                </c:pt>
                <c:pt idx="5">
                  <c:v>654.8426</c:v>
                </c:pt>
                <c:pt idx="6">
                  <c:v>629.3264</c:v>
                </c:pt>
                <c:pt idx="7">
                  <c:v>652.4353</c:v>
                </c:pt>
                <c:pt idx="8">
                  <c:v>659.2881</c:v>
                </c:pt>
                <c:pt idx="9">
                  <c:v>656.2628</c:v>
                </c:pt>
                <c:pt idx="10">
                  <c:v>660.738</c:v>
                </c:pt>
                <c:pt idx="11">
                  <c:v>646.2171</c:v>
                </c:pt>
                <c:pt idx="12">
                  <c:v>665.4571</c:v>
                </c:pt>
                <c:pt idx="13">
                  <c:v>680.4691</c:v>
                </c:pt>
                <c:pt idx="14">
                  <c:v>663.228</c:v>
                </c:pt>
                <c:pt idx="15">
                  <c:v>677.8754</c:v>
                </c:pt>
                <c:pt idx="16">
                  <c:v>713.0623</c:v>
                </c:pt>
                <c:pt idx="17">
                  <c:v>691.726</c:v>
                </c:pt>
                <c:pt idx="18">
                  <c:v>605.7534</c:v>
                </c:pt>
                <c:pt idx="19">
                  <c:v>679.6694</c:v>
                </c:pt>
                <c:pt idx="20">
                  <c:v>695.0876</c:v>
                </c:pt>
                <c:pt idx="21">
                  <c:v>688.55</c:v>
                </c:pt>
                <c:pt idx="22">
                  <c:v>726.2901</c:v>
                </c:pt>
                <c:pt idx="23">
                  <c:v>708.288</c:v>
                </c:pt>
                <c:pt idx="24">
                  <c:v>679.4809</c:v>
                </c:pt>
                <c:pt idx="25">
                  <c:v>619.7172</c:v>
                </c:pt>
                <c:pt idx="26">
                  <c:v>674.1538</c:v>
                </c:pt>
                <c:pt idx="27">
                  <c:v>640.5563</c:v>
                </c:pt>
                <c:pt idx="28">
                  <c:v>676.7748</c:v>
                </c:pt>
                <c:pt idx="29">
                  <c:v>716.7328</c:v>
                </c:pt>
                <c:pt idx="30">
                  <c:v>693.9174</c:v>
                </c:pt>
                <c:pt idx="31">
                  <c:v>641.1596</c:v>
                </c:pt>
                <c:pt idx="32">
                  <c:v>703.4711</c:v>
                </c:pt>
                <c:pt idx="33">
                  <c:v>689.6573</c:v>
                </c:pt>
                <c:pt idx="34">
                  <c:v>697.6275</c:v>
                </c:pt>
                <c:pt idx="35">
                  <c:v>658.9524</c:v>
                </c:pt>
                <c:pt idx="36">
                  <c:v>660.1518</c:v>
                </c:pt>
                <c:pt idx="37">
                  <c:v>638.2901</c:v>
                </c:pt>
                <c:pt idx="38">
                  <c:v>671.6419</c:v>
                </c:pt>
                <c:pt idx="39">
                  <c:v>604.1088</c:v>
                </c:pt>
                <c:pt idx="40">
                  <c:v>655.2515</c:v>
                </c:pt>
                <c:pt idx="41">
                  <c:v>647.5079</c:v>
                </c:pt>
                <c:pt idx="42">
                  <c:v>672.3292</c:v>
                </c:pt>
                <c:pt idx="43">
                  <c:v>697.6872</c:v>
                </c:pt>
                <c:pt idx="44">
                  <c:v>675.3712</c:v>
                </c:pt>
                <c:pt idx="45">
                  <c:v>657.0181</c:v>
                </c:pt>
                <c:pt idx="46">
                  <c:v>670.3433</c:v>
                </c:pt>
                <c:pt idx="47">
                  <c:v>679.1186</c:v>
                </c:pt>
                <c:pt idx="48">
                  <c:v>692.3625</c:v>
                </c:pt>
                <c:pt idx="49">
                  <c:v>735.3987</c:v>
                </c:pt>
                <c:pt idx="50">
                  <c:v>727.0092</c:v>
                </c:pt>
                <c:pt idx="51">
                  <c:v>704.4439</c:v>
                </c:pt>
              </c:numCache>
            </c:numRef>
          </c:xVal>
          <c:yVal>
            <c:numRef>
              <c:f>Sheet1!$B$109:$B$160</c:f>
              <c:numCache>
                <c:formatCode>General</c:formatCode>
                <c:ptCount val="52"/>
                <c:pt idx="0">
                  <c:v>0.0957195820694304</c:v>
                </c:pt>
                <c:pt idx="1">
                  <c:v>0.11449541284403669</c:v>
                </c:pt>
                <c:pt idx="2">
                  <c:v>0.11746361746361747</c:v>
                </c:pt>
                <c:pt idx="3">
                  <c:v>0.1275191104933982</c:v>
                </c:pt>
                <c:pt idx="4">
                  <c:v>0.12190812720848057</c:v>
                </c:pt>
                <c:pt idx="5">
                  <c:v>0.11798980335032774</c:v>
                </c:pt>
                <c:pt idx="6">
                  <c:v>0.12267777065983344</c:v>
                </c:pt>
                <c:pt idx="7">
                  <c:v>0.10972461273666093</c:v>
                </c:pt>
                <c:pt idx="8">
                  <c:v>0.1277056277056277</c:v>
                </c:pt>
                <c:pt idx="9">
                  <c:v>0.13449817147501017</c:v>
                </c:pt>
                <c:pt idx="10">
                  <c:v>0.1491822895891504</c:v>
                </c:pt>
                <c:pt idx="11">
                  <c:v>0.15025441484585453</c:v>
                </c:pt>
                <c:pt idx="12">
                  <c:v>0.16180555555555556</c:v>
                </c:pt>
                <c:pt idx="13">
                  <c:v>0.15458015267175573</c:v>
                </c:pt>
                <c:pt idx="14">
                  <c:v>0.15703192407247626</c:v>
                </c:pt>
                <c:pt idx="15">
                  <c:v>0.145578231292517</c:v>
                </c:pt>
                <c:pt idx="16">
                  <c:v>0.14269850083287064</c:v>
                </c:pt>
                <c:pt idx="17">
                  <c:v>0.12768569674647023</c:v>
                </c:pt>
                <c:pt idx="18">
                  <c:v>0.14976494291470785</c:v>
                </c:pt>
                <c:pt idx="19">
                  <c:v>0.16090425531914893</c:v>
                </c:pt>
                <c:pt idx="20">
                  <c:v>0.14423791821561338</c:v>
                </c:pt>
                <c:pt idx="21">
                  <c:v>0.13108614232209737</c:v>
                </c:pt>
                <c:pt idx="22">
                  <c:v>0.1270611057225994</c:v>
                </c:pt>
                <c:pt idx="23">
                  <c:v>0.12729124236252545</c:v>
                </c:pt>
                <c:pt idx="24">
                  <c:v>0.12440645773979107</c:v>
                </c:pt>
                <c:pt idx="25">
                  <c:v>0.1380952380952381</c:v>
                </c:pt>
                <c:pt idx="26">
                  <c:v>0.11992619926199262</c:v>
                </c:pt>
                <c:pt idx="27">
                  <c:v>0.12997562956945571</c:v>
                </c:pt>
                <c:pt idx="28">
                  <c:v>0.11553175210405509</c:v>
                </c:pt>
                <c:pt idx="29">
                  <c:v>0.10830999066293184</c:v>
                </c:pt>
                <c:pt idx="30">
                  <c:v>0.12448559670781893</c:v>
                </c:pt>
                <c:pt idx="31">
                  <c:v>0.09989373007438895</c:v>
                </c:pt>
                <c:pt idx="32">
                  <c:v>0.10521739130434783</c:v>
                </c:pt>
                <c:pt idx="33">
                  <c:v>0.11469072164948453</c:v>
                </c:pt>
                <c:pt idx="34">
                  <c:v>0.14150943396226415</c:v>
                </c:pt>
                <c:pt idx="35">
                  <c:v>0.1290983606557377</c:v>
                </c:pt>
                <c:pt idx="36">
                  <c:v>0.12829324169530354</c:v>
                </c:pt>
                <c:pt idx="37">
                  <c:v>0.16119402985074627</c:v>
                </c:pt>
                <c:pt idx="38">
                  <c:v>0.16837315130830488</c:v>
                </c:pt>
                <c:pt idx="39">
                  <c:v>0.16029900332225913</c:v>
                </c:pt>
                <c:pt idx="40">
                  <c:v>0.13123993558776167</c:v>
                </c:pt>
                <c:pt idx="41">
                  <c:v>0.1383601756954612</c:v>
                </c:pt>
                <c:pt idx="42">
                  <c:v>0.13175122749590834</c:v>
                </c:pt>
                <c:pt idx="43">
                  <c:v>0.10610551274451689</c:v>
                </c:pt>
                <c:pt idx="44">
                  <c:v>0.1085972850678733</c:v>
                </c:pt>
                <c:pt idx="45">
                  <c:v>0.12478825522303783</c:v>
                </c:pt>
                <c:pt idx="46">
                  <c:v>0.12386095173810327</c:v>
                </c:pt>
                <c:pt idx="47">
                  <c:v>0.12441314553990611</c:v>
                </c:pt>
                <c:pt idx="48">
                  <c:v>0.10435690060005218</c:v>
                </c:pt>
                <c:pt idx="49">
                  <c:v>0.10753197536712458</c:v>
                </c:pt>
                <c:pt idx="50">
                  <c:v>0.10828236072078029</c:v>
                </c:pt>
                <c:pt idx="51">
                  <c:v>0.12774042677579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6.71170338282406</c:v>
                </c:pt>
              </c:numCache>
            </c:numRef>
          </c:xVal>
          <c:yVal>
            <c:numRef>
              <c:f>Sheet1!$B$163:$B$164</c:f>
              <c:numCache>
                <c:formatCode>General</c:formatCode>
                <c:ptCount val="2"/>
                <c:pt idx="0">
                  <c:v>0.19292325840451452</c:v>
                </c:pt>
                <c:pt idx="1">
                  <c:v>0.192923258404514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6.71170338282406</c:v>
                </c:pt>
                <c:pt idx="1">
                  <c:v>296.71170338282406</c:v>
                </c:pt>
              </c:numCache>
            </c:numRef>
          </c:xVal>
          <c:yVal>
            <c:numRef>
              <c:f>Sheet1!$B$167:$B$168</c:f>
              <c:numCache>
                <c:formatCode>General</c:formatCode>
                <c:ptCount val="2"/>
                <c:pt idx="0">
                  <c:v>0.192923258404514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67.7782583446741</c:v>
                </c:pt>
              </c:numCache>
            </c:numRef>
          </c:xVal>
          <c:yVal>
            <c:numRef>
              <c:f>Sheet1!$B$171:$B$172</c:f>
              <c:numCache>
                <c:formatCode>General</c:formatCode>
                <c:ptCount val="2"/>
                <c:pt idx="0">
                  <c:v>0.1468698612194791</c:v>
                </c:pt>
                <c:pt idx="1">
                  <c:v>0.14686986121947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67.7782583446741</c:v>
                </c:pt>
                <c:pt idx="1">
                  <c:v>567.7782583446741</c:v>
                </c:pt>
              </c:numCache>
            </c:numRef>
          </c:xVal>
          <c:yVal>
            <c:numRef>
              <c:f>Sheet1!$B$175:$B$176</c:f>
              <c:numCache>
                <c:formatCode>General</c:formatCode>
                <c:ptCount val="2"/>
                <c:pt idx="0">
                  <c:v>0.14686986121947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09.0317244521598</c:v>
                </c:pt>
              </c:numCache>
            </c:numRef>
          </c:xVal>
          <c:yVal>
            <c:numRef>
              <c:f>Sheet1!$B$179:$B$180</c:f>
              <c:numCache>
                <c:formatCode>General</c:formatCode>
                <c:ptCount val="2"/>
                <c:pt idx="0">
                  <c:v>0.12287131968296781</c:v>
                </c:pt>
                <c:pt idx="1">
                  <c:v>0.1228713196829678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09.0317244521598</c:v>
                </c:pt>
                <c:pt idx="1">
                  <c:v>709.0317244521598</c:v>
                </c:pt>
              </c:numCache>
            </c:numRef>
          </c:xVal>
          <c:yVal>
            <c:numRef>
              <c:f>Sheet1!$B$183:$B$184</c:f>
              <c:numCache>
                <c:formatCode>General</c:formatCode>
                <c:ptCount val="2"/>
                <c:pt idx="0">
                  <c:v>0.122871319682967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8.1585</c:v>
                </c:pt>
                <c:pt idx="1">
                  <c:v>632.9231</c:v>
                </c:pt>
                <c:pt idx="2">
                  <c:v>651.2625</c:v>
                </c:pt>
                <c:pt idx="3">
                  <c:v>655.346</c:v>
                </c:pt>
                <c:pt idx="4">
                  <c:v>670.1739</c:v>
                </c:pt>
                <c:pt idx="5">
                  <c:v>654.8426</c:v>
                </c:pt>
                <c:pt idx="6">
                  <c:v>629.3264</c:v>
                </c:pt>
                <c:pt idx="7">
                  <c:v>652.4353</c:v>
                </c:pt>
                <c:pt idx="8">
                  <c:v>659.2881</c:v>
                </c:pt>
                <c:pt idx="9">
                  <c:v>656.2628</c:v>
                </c:pt>
                <c:pt idx="10">
                  <c:v>660.738</c:v>
                </c:pt>
                <c:pt idx="11">
                  <c:v>646.2171</c:v>
                </c:pt>
                <c:pt idx="12">
                  <c:v>665.4571</c:v>
                </c:pt>
                <c:pt idx="13">
                  <c:v>680.4691</c:v>
                </c:pt>
                <c:pt idx="14">
                  <c:v>663.228</c:v>
                </c:pt>
                <c:pt idx="15">
                  <c:v>677.8754</c:v>
                </c:pt>
                <c:pt idx="16">
                  <c:v>713.0623</c:v>
                </c:pt>
                <c:pt idx="17">
                  <c:v>691.726</c:v>
                </c:pt>
                <c:pt idx="18">
                  <c:v>605.7534</c:v>
                </c:pt>
                <c:pt idx="19">
                  <c:v>679.6694</c:v>
                </c:pt>
                <c:pt idx="20">
                  <c:v>695.0876</c:v>
                </c:pt>
                <c:pt idx="21">
                  <c:v>688.55</c:v>
                </c:pt>
                <c:pt idx="22">
                  <c:v>726.2901</c:v>
                </c:pt>
                <c:pt idx="23">
                  <c:v>708.288</c:v>
                </c:pt>
                <c:pt idx="24">
                  <c:v>679.4809</c:v>
                </c:pt>
                <c:pt idx="25">
                  <c:v>619.7172</c:v>
                </c:pt>
                <c:pt idx="26">
                  <c:v>674.1538</c:v>
                </c:pt>
                <c:pt idx="27">
                  <c:v>640.5563</c:v>
                </c:pt>
                <c:pt idx="28">
                  <c:v>676.7748</c:v>
                </c:pt>
                <c:pt idx="29">
                  <c:v>716.7328</c:v>
                </c:pt>
                <c:pt idx="30">
                  <c:v>693.9174</c:v>
                </c:pt>
                <c:pt idx="31">
                  <c:v>641.1596</c:v>
                </c:pt>
                <c:pt idx="32">
                  <c:v>703.4711</c:v>
                </c:pt>
                <c:pt idx="33">
                  <c:v>689.6573</c:v>
                </c:pt>
                <c:pt idx="34">
                  <c:v>697.6275</c:v>
                </c:pt>
                <c:pt idx="35">
                  <c:v>658.9524</c:v>
                </c:pt>
                <c:pt idx="36">
                  <c:v>660.1518</c:v>
                </c:pt>
                <c:pt idx="37">
                  <c:v>638.2901</c:v>
                </c:pt>
                <c:pt idx="38">
                  <c:v>671.6419</c:v>
                </c:pt>
                <c:pt idx="39">
                  <c:v>604.1088</c:v>
                </c:pt>
                <c:pt idx="40">
                  <c:v>655.2515</c:v>
                </c:pt>
                <c:pt idx="41">
                  <c:v>647.5079</c:v>
                </c:pt>
                <c:pt idx="42">
                  <c:v>672.3292</c:v>
                </c:pt>
                <c:pt idx="43">
                  <c:v>697.6872</c:v>
                </c:pt>
                <c:pt idx="44">
                  <c:v>675.3712</c:v>
                </c:pt>
                <c:pt idx="45">
                  <c:v>657.0181</c:v>
                </c:pt>
                <c:pt idx="46">
                  <c:v>670.3433</c:v>
                </c:pt>
                <c:pt idx="47">
                  <c:v>679.1186</c:v>
                </c:pt>
                <c:pt idx="48">
                  <c:v>692.3625</c:v>
                </c:pt>
                <c:pt idx="49">
                  <c:v>735.3987</c:v>
                </c:pt>
                <c:pt idx="50">
                  <c:v>727.0092</c:v>
                </c:pt>
                <c:pt idx="51">
                  <c:v>704.4439</c:v>
                </c:pt>
                <c:pt idx="52">
                  <c:v>567.7782583446741</c:v>
                </c:pt>
                <c:pt idx="53">
                  <c:v>296.71170338282406</c:v>
                </c:pt>
                <c:pt idx="54">
                  <c:v>709.0317244521598</c:v>
                </c:pt>
              </c:numCache>
            </c:numRef>
          </c:xVal>
          <c:yVal>
            <c:numRef>
              <c:f>Sheet1!$B$187:$B$241</c:f>
              <c:numCache>
                <c:formatCode>General</c:formatCode>
                <c:ptCount val="55"/>
                <c:pt idx="0">
                  <c:v>0.13321349850330838</c:v>
                </c:pt>
                <c:pt idx="1">
                  <c:v>0.1358019474086764</c:v>
                </c:pt>
                <c:pt idx="2">
                  <c:v>0.13268613818442848</c:v>
                </c:pt>
                <c:pt idx="3">
                  <c:v>0.13199236374430415</c:v>
                </c:pt>
                <c:pt idx="4">
                  <c:v>0.12947314787049008</c:v>
                </c:pt>
                <c:pt idx="5">
                  <c:v>0.13207788989911218</c:v>
                </c:pt>
                <c:pt idx="6">
                  <c:v>0.13641301598435784</c:v>
                </c:pt>
                <c:pt idx="7">
                  <c:v>0.132486882971161</c:v>
                </c:pt>
                <c:pt idx="8">
                  <c:v>0.1313226127413865</c:v>
                </c:pt>
                <c:pt idx="9">
                  <c:v>0.13183660216558346</c:v>
                </c:pt>
                <c:pt idx="10">
                  <c:v>0.1310762790666623</c:v>
                </c:pt>
                <c:pt idx="11">
                  <c:v>0.1335433365584222</c:v>
                </c:pt>
                <c:pt idx="12">
                  <c:v>0.13027451808701473</c:v>
                </c:pt>
                <c:pt idx="13">
                  <c:v>0.12772402417366918</c:v>
                </c:pt>
                <c:pt idx="14">
                  <c:v>0.13065323551189076</c:v>
                </c:pt>
                <c:pt idx="15">
                  <c:v>0.1281646860483724</c:v>
                </c:pt>
                <c:pt idx="16">
                  <c:v>0.12218653694901856</c:v>
                </c:pt>
                <c:pt idx="17">
                  <c:v>0.12581151052238088</c:v>
                </c:pt>
                <c:pt idx="18">
                  <c:v>0.14041799819987177</c:v>
                </c:pt>
                <c:pt idx="19">
                  <c:v>0.1278598908125249</c:v>
                </c:pt>
                <c:pt idx="20">
                  <c:v>0.1252403847337383</c:v>
                </c:pt>
                <c:pt idx="21">
                  <c:v>0.12635110342597705</c:v>
                </c:pt>
                <c:pt idx="22">
                  <c:v>0.11993917328082294</c:v>
                </c:pt>
                <c:pt idx="23">
                  <c:v>0.12299767624361527</c:v>
                </c:pt>
                <c:pt idx="24">
                  <c:v>0.12789191639890019</c:v>
                </c:pt>
                <c:pt idx="25">
                  <c:v>0.13804559033235414</c:v>
                </c:pt>
                <c:pt idx="26">
                  <c:v>0.12879697476059637</c:v>
                </c:pt>
                <c:pt idx="27">
                  <c:v>0.1345050895523382</c:v>
                </c:pt>
                <c:pt idx="28">
                  <c:v>0.1283516746975216</c:v>
                </c:pt>
                <c:pt idx="29">
                  <c:v>0.12156292997400292</c:v>
                </c:pt>
                <c:pt idx="30">
                  <c:v>0.12543919821477995</c:v>
                </c:pt>
                <c:pt idx="31">
                  <c:v>0.13440259068623633</c:v>
                </c:pt>
                <c:pt idx="32">
                  <c:v>0.12381605315083578</c:v>
                </c:pt>
                <c:pt idx="33">
                  <c:v>0.12616297646686117</c:v>
                </c:pt>
                <c:pt idx="34">
                  <c:v>0.12480886331817032</c:v>
                </c:pt>
                <c:pt idx="35">
                  <c:v>0.13137964716762618</c:v>
                </c:pt>
                <c:pt idx="36">
                  <c:v>0.13117587269389408</c:v>
                </c:pt>
                <c:pt idx="37">
                  <c:v>0.13489011015628327</c:v>
                </c:pt>
                <c:pt idx="38">
                  <c:v>0.12922373905988582</c:v>
                </c:pt>
                <c:pt idx="39">
                  <c:v>0.14069741082243298</c:v>
                </c:pt>
                <c:pt idx="40">
                  <c:v>0.13200841901174426</c:v>
                </c:pt>
                <c:pt idx="41">
                  <c:v>0.1333240334979808</c:v>
                </c:pt>
                <c:pt idx="42">
                  <c:v>0.12910696884494827</c:v>
                </c:pt>
                <c:pt idx="43">
                  <c:v>0.12479872046667641</c:v>
                </c:pt>
                <c:pt idx="44">
                  <c:v>0.12859014214068518</c:v>
                </c:pt>
                <c:pt idx="45">
                  <c:v>0.13170827895396942</c:v>
                </c:pt>
                <c:pt idx="46">
                  <c:v>0.12944436731700482</c:v>
                </c:pt>
                <c:pt idx="47">
                  <c:v>0.1279534700856045</c:v>
                </c:pt>
                <c:pt idx="48">
                  <c:v>0.12570337107554874</c:v>
                </c:pt>
                <c:pt idx="49">
                  <c:v>0.11839164937600684</c:v>
                </c:pt>
                <c:pt idx="50">
                  <c:v>0.11981700034096905</c:v>
                </c:pt>
                <c:pt idx="51">
                  <c:v>0.12365077733955797</c:v>
                </c:pt>
                <c:pt idx="52">
                  <c:v>0.1468698612194791</c:v>
                </c:pt>
                <c:pt idx="53">
                  <c:v>0.19292325840451452</c:v>
                </c:pt>
                <c:pt idx="54">
                  <c:v>0.12287131968296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2.0"/>
          <c:min val="2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54186717998076"/>
          <c:min val="0.057745336577453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532502023797383</c:v>
                </c:pt>
                <c:pt idx="1">
                  <c:v>0.07355045756941625</c:v>
                </c:pt>
                <c:pt idx="2">
                  <c:v>0.07047918281914593</c:v>
                </c:pt>
                <c:pt idx="3">
                  <c:v>0.06456511468489395</c:v>
                </c:pt>
                <c:pt idx="4">
                  <c:v>0.06316881466825341</c:v>
                </c:pt>
                <c:pt idx="5">
                  <c:v>0.06549908768862482</c:v>
                </c:pt>
                <c:pt idx="6">
                  <c:v>0.07707898533975141</c:v>
                </c:pt>
                <c:pt idx="7">
                  <c:v>0.06733104803464379</c:v>
                </c:pt>
                <c:pt idx="8">
                  <c:v>0.06745756163460884</c:v>
                </c:pt>
                <c:pt idx="9">
                  <c:v>0.06681543814047644</c:v>
                </c:pt>
                <c:pt idx="10">
                  <c:v>0.06486038214291327</c:v>
                </c:pt>
                <c:pt idx="11">
                  <c:v>0.0689715028055781</c:v>
                </c:pt>
                <c:pt idx="12">
                  <c:v>0.0723503734360132</c:v>
                </c:pt>
                <c:pt idx="13">
                  <c:v>0.07137474608533875</c:v>
                </c:pt>
                <c:pt idx="14">
                  <c:v>0.06774911073470251</c:v>
                </c:pt>
                <c:pt idx="15">
                  <c:v>0.0748825476837208</c:v>
                </c:pt>
                <c:pt idx="16">
                  <c:v>0.07171841677645417</c:v>
                </c:pt>
                <c:pt idx="17">
                  <c:v>0.06007026942969228</c:v>
                </c:pt>
                <c:pt idx="18">
                  <c:v>0.06247801048613204</c:v>
                </c:pt>
                <c:pt idx="19">
                  <c:v>0.06086856327213663</c:v>
                </c:pt>
                <c:pt idx="20">
                  <c:v>0.06828966841668088</c:v>
                </c:pt>
                <c:pt idx="21">
                  <c:v>0.06259499709738998</c:v>
                </c:pt>
                <c:pt idx="22">
                  <c:v>0.062690939847545</c:v>
                </c:pt>
                <c:pt idx="23">
                  <c:v>0.06561447369495867</c:v>
                </c:pt>
                <c:pt idx="24">
                  <c:v>0.06315595081709956</c:v>
                </c:pt>
                <c:pt idx="25">
                  <c:v>0.059364603321726495</c:v>
                </c:pt>
                <c:pt idx="26">
                  <c:v>0.0542497536158185</c:v>
                </c:pt>
                <c:pt idx="27">
                  <c:v>0.05366320855595109</c:v>
                </c:pt>
                <c:pt idx="28">
                  <c:v>0.05260967841307447</c:v>
                </c:pt>
                <c:pt idx="29">
                  <c:v>0.06136247361607165</c:v>
                </c:pt>
                <c:pt idx="30">
                  <c:v>0.06403138848656478</c:v>
                </c:pt>
                <c:pt idx="31">
                  <c:v>0.054182264630826656</c:v>
                </c:pt>
                <c:pt idx="32">
                  <c:v>0.05420932608552684</c:v>
                </c:pt>
                <c:pt idx="33">
                  <c:v>0.05368315598165651</c:v>
                </c:pt>
                <c:pt idx="34">
                  <c:v>0.05686828591272081</c:v>
                </c:pt>
                <c:pt idx="35">
                  <c:v>0.053321463127408146</c:v>
                </c:pt>
                <c:pt idx="36">
                  <c:v>0.05078664774909554</c:v>
                </c:pt>
                <c:pt idx="37">
                  <c:v>0.05220869370593371</c:v>
                </c:pt>
                <c:pt idx="38">
                  <c:v>0.052300193157172145</c:v>
                </c:pt>
                <c:pt idx="39">
                  <c:v>0.05980601799841866</c:v>
                </c:pt>
                <c:pt idx="40">
                  <c:v>0.06117445588323145</c:v>
                </c:pt>
                <c:pt idx="41">
                  <c:v>0.05761117213479712</c:v>
                </c:pt>
                <c:pt idx="42">
                  <c:v>0.0567719971188075</c:v>
                </c:pt>
                <c:pt idx="43">
                  <c:v>0.056449952179647156</c:v>
                </c:pt>
                <c:pt idx="44">
                  <c:v>0.06068020679746036</c:v>
                </c:pt>
                <c:pt idx="45">
                  <c:v>0.06661208209080619</c:v>
                </c:pt>
                <c:pt idx="46">
                  <c:v>0.06351708265494992</c:v>
                </c:pt>
                <c:pt idx="47">
                  <c:v>0.06489034279428378</c:v>
                </c:pt>
                <c:pt idx="48">
                  <c:v>0.06105684345432332</c:v>
                </c:pt>
                <c:pt idx="49">
                  <c:v>0.061960407986469214</c:v>
                </c:pt>
                <c:pt idx="50">
                  <c:v>0.05956348666292275</c:v>
                </c:pt>
                <c:pt idx="51">
                  <c:v>0.05688332141495909</c:v>
                </c:pt>
                <c:pt idx="52">
                  <c:v>0.059499342860070296</c:v>
                </c:pt>
                <c:pt idx="53">
                  <c:v>0.06398444161323553</c:v>
                </c:pt>
                <c:pt idx="54">
                  <c:v>0.061519336856382195</c:v>
                </c:pt>
                <c:pt idx="55">
                  <c:v>0.05637208384874574</c:v>
                </c:pt>
                <c:pt idx="56">
                  <c:v>0.05210936159312061</c:v>
                </c:pt>
                <c:pt idx="57">
                  <c:v>0.06415834413308966</c:v>
                </c:pt>
                <c:pt idx="58">
                  <c:v>0.06552788548557313</c:v>
                </c:pt>
                <c:pt idx="59">
                  <c:v>0.06725510758781882</c:v>
                </c:pt>
                <c:pt idx="60">
                  <c:v>0.0585028791038906</c:v>
                </c:pt>
                <c:pt idx="61">
                  <c:v>0.059750738246373294</c:v>
                </c:pt>
                <c:pt idx="62">
                  <c:v>0.05877822656491917</c:v>
                </c:pt>
                <c:pt idx="63">
                  <c:v>0.057784613617433735</c:v>
                </c:pt>
                <c:pt idx="64">
                  <c:v>0.06008790347956237</c:v>
                </c:pt>
                <c:pt idx="65">
                  <c:v>0.05799310920096641</c:v>
                </c:pt>
                <c:pt idx="66">
                  <c:v>0.05464023189974377</c:v>
                </c:pt>
                <c:pt idx="67">
                  <c:v>0.056546268761024344</c:v>
                </c:pt>
                <c:pt idx="68">
                  <c:v>0.05078313008622543</c:v>
                </c:pt>
                <c:pt idx="69">
                  <c:v>0.04544359049381709</c:v>
                </c:pt>
                <c:pt idx="70">
                  <c:v>0.04748360055325034</c:v>
                </c:pt>
                <c:pt idx="71">
                  <c:v>0.04890105856902813</c:v>
                </c:pt>
                <c:pt idx="72">
                  <c:v>0.05918567306928274</c:v>
                </c:pt>
                <c:pt idx="73">
                  <c:v>0.055088104111686374</c:v>
                </c:pt>
                <c:pt idx="74">
                  <c:v>0.0619845407274671</c:v>
                </c:pt>
                <c:pt idx="75">
                  <c:v>0.060173111190973544</c:v>
                </c:pt>
                <c:pt idx="76">
                  <c:v>0.059684868902187556</c:v>
                </c:pt>
                <c:pt idx="77">
                  <c:v>0.05674087511557622</c:v>
                </c:pt>
                <c:pt idx="78">
                  <c:v>0.058490284191877934</c:v>
                </c:pt>
                <c:pt idx="79">
                  <c:v>0.04650865514786254</c:v>
                </c:pt>
                <c:pt idx="80">
                  <c:v>0.04781626841367819</c:v>
                </c:pt>
                <c:pt idx="81">
                  <c:v>0.05833109270162089</c:v>
                </c:pt>
                <c:pt idx="82">
                  <c:v>0.061179437578705934</c:v>
                </c:pt>
                <c:pt idx="83">
                  <c:v>0.058268197096147244</c:v>
                </c:pt>
                <c:pt idx="84">
                  <c:v>0.04889976479312737</c:v>
                </c:pt>
                <c:pt idx="85">
                  <c:v>0.05525708067658783</c:v>
                </c:pt>
                <c:pt idx="86">
                  <c:v>0.05387744207297993</c:v>
                </c:pt>
                <c:pt idx="87">
                  <c:v>0.050098416227560734</c:v>
                </c:pt>
                <c:pt idx="88">
                  <c:v>0.050548759199256325</c:v>
                </c:pt>
                <c:pt idx="89">
                  <c:v>0.04506818302178938</c:v>
                </c:pt>
                <c:pt idx="90">
                  <c:v>0.048938572998377866</c:v>
                </c:pt>
                <c:pt idx="91">
                  <c:v>0.054855132545684526</c:v>
                </c:pt>
                <c:pt idx="92">
                  <c:v>0.05543141719416853</c:v>
                </c:pt>
                <c:pt idx="93">
                  <c:v>0.052357408397367106</c:v>
                </c:pt>
                <c:pt idx="94">
                  <c:v>0.05174600849672621</c:v>
                </c:pt>
                <c:pt idx="95">
                  <c:v>0.05007543096715025</c:v>
                </c:pt>
                <c:pt idx="96">
                  <c:v>0.04730078536007138</c:v>
                </c:pt>
                <c:pt idx="97">
                  <c:v>0.052230078455575354</c:v>
                </c:pt>
                <c:pt idx="98">
                  <c:v>0.050834372934887</c:v>
                </c:pt>
                <c:pt idx="99">
                  <c:v>0.053877102218933305</c:v>
                </c:pt>
                <c:pt idx="100">
                  <c:v>0.0560175044662365</c:v>
                </c:pt>
                <c:pt idx="101">
                  <c:v>0.06136440806643905</c:v>
                </c:pt>
                <c:pt idx="102">
                  <c:v>0.05316585234274592</c:v>
                </c:pt>
                <c:pt idx="103">
                  <c:v>0.05923646492670454</c:v>
                </c:pt>
                <c:pt idx="104">
                  <c:v>0.06358345322439235</c:v>
                </c:pt>
              </c:numCache>
            </c:numRef>
          </c:xVal>
          <c:yVal>
            <c:numRef>
              <c:f>Sheet1!$B$2:$B$106</c:f>
              <c:numCache>
                <c:formatCode>General</c:formatCode>
                <c:ptCount val="105"/>
                <c:pt idx="0">
                  <c:v>0.14633260711692084</c:v>
                </c:pt>
                <c:pt idx="1">
                  <c:v>0.19004329004329004</c:v>
                </c:pt>
                <c:pt idx="2">
                  <c:v>0.20142378559463986</c:v>
                </c:pt>
                <c:pt idx="3">
                  <c:v>0.17490196078431372</c:v>
                </c:pt>
                <c:pt idx="4">
                  <c:v>0.18597560975609756</c:v>
                </c:pt>
                <c:pt idx="5">
                  <c:v>0.18377871542428503</c:v>
                </c:pt>
                <c:pt idx="6">
                  <c:v>0.23628488931665062</c:v>
                </c:pt>
                <c:pt idx="7">
                  <c:v>0.20989583333333334</c:v>
                </c:pt>
                <c:pt idx="8">
                  <c:v>0.20767263427109975</c:v>
                </c:pt>
                <c:pt idx="9">
                  <c:v>0.19726421886249101</c:v>
                </c:pt>
                <c:pt idx="10">
                  <c:v>0.20901932712956334</c:v>
                </c:pt>
                <c:pt idx="11">
                  <c:v>0.20956294359357489</c:v>
                </c:pt>
                <c:pt idx="12">
                  <c:v>0.21058238636363635</c:v>
                </c:pt>
                <c:pt idx="13">
                  <c:v>0.21732580037664784</c:v>
                </c:pt>
                <c:pt idx="14">
                  <c:v>0.2156567557395559</c:v>
                </c:pt>
                <c:pt idx="15">
                  <c:v>0.175</c:v>
                </c:pt>
                <c:pt idx="16">
                  <c:v>0.14488636363636365</c:v>
                </c:pt>
                <c:pt idx="17">
                  <c:v>0.1447841726618705</c:v>
                </c:pt>
                <c:pt idx="18">
                  <c:v>0.13056379821958458</c:v>
                </c:pt>
                <c:pt idx="19">
                  <c:v>0.1444912703190849</c:v>
                </c:pt>
                <c:pt idx="20">
                  <c:v>0.16145566376217324</c:v>
                </c:pt>
                <c:pt idx="21">
                  <c:v>0.167912984364378</c:v>
                </c:pt>
                <c:pt idx="22">
                  <c:v>0.16817864619678996</c:v>
                </c:pt>
                <c:pt idx="23">
                  <c:v>0.17466266866566715</c:v>
                </c:pt>
                <c:pt idx="24">
                  <c:v>0.17022844509948415</c:v>
                </c:pt>
                <c:pt idx="25">
                  <c:v>0.1825938566552901</c:v>
                </c:pt>
                <c:pt idx="26">
                  <c:v>0.1824175824175824</c:v>
                </c:pt>
                <c:pt idx="27">
                  <c:v>0.14517265680056377</c:v>
                </c:pt>
                <c:pt idx="28">
                  <c:v>0.15070527097253156</c:v>
                </c:pt>
                <c:pt idx="29">
                  <c:v>0.1493212669683258</c:v>
                </c:pt>
                <c:pt idx="30">
                  <c:v>0.14551333872271624</c:v>
                </c:pt>
                <c:pt idx="31">
                  <c:v>0.13528481012658228</c:v>
                </c:pt>
                <c:pt idx="32">
                  <c:v>0.14820473644003057</c:v>
                </c:pt>
                <c:pt idx="33">
                  <c:v>0.14319387153800825</c:v>
                </c:pt>
                <c:pt idx="34">
                  <c:v>0.13815461346633418</c:v>
                </c:pt>
                <c:pt idx="35">
                  <c:v>0.15732454074422986</c:v>
                </c:pt>
                <c:pt idx="36">
                  <c:v>0.14482758620689656</c:v>
                </c:pt>
                <c:pt idx="37">
                  <c:v>0.1252336448598131</c:v>
                </c:pt>
                <c:pt idx="38">
                  <c:v>0.1290719114935464</c:v>
                </c:pt>
                <c:pt idx="39">
                  <c:v>0.11437908496732026</c:v>
                </c:pt>
                <c:pt idx="40">
                  <c:v>0.11524163568773234</c:v>
                </c:pt>
                <c:pt idx="41">
                  <c:v>0.13527397260273974</c:v>
                </c:pt>
                <c:pt idx="42">
                  <c:v>0.13847628174413032</c:v>
                </c:pt>
                <c:pt idx="43">
                  <c:v>0.13411567476948869</c:v>
                </c:pt>
                <c:pt idx="44">
                  <c:v>0.1086286594761171</c:v>
                </c:pt>
                <c:pt idx="45">
                  <c:v>0.13343799058084774</c:v>
                </c:pt>
                <c:pt idx="46">
                  <c:v>0.1523658591804392</c:v>
                </c:pt>
                <c:pt idx="47">
                  <c:v>0.17259873232569478</c:v>
                </c:pt>
                <c:pt idx="48">
                  <c:v>0.17419474268789337</c:v>
                </c:pt>
                <c:pt idx="49">
                  <c:v>0.1960189823358819</c:v>
                </c:pt>
                <c:pt idx="50">
                  <c:v>0.17135304013458302</c:v>
                </c:pt>
                <c:pt idx="51">
                  <c:v>0.1646129541864139</c:v>
                </c:pt>
                <c:pt idx="52">
                  <c:v>0.15357867284844973</c:v>
                </c:pt>
                <c:pt idx="53">
                  <c:v>0.17098808689558515</c:v>
                </c:pt>
                <c:pt idx="54">
                  <c:v>0.16546457361052186</c:v>
                </c:pt>
                <c:pt idx="55">
                  <c:v>0.1581528402125051</c:v>
                </c:pt>
                <c:pt idx="56">
                  <c:v>0.17154811715481172</c:v>
                </c:pt>
                <c:pt idx="57">
                  <c:v>0.1565025716385011</c:v>
                </c:pt>
                <c:pt idx="58">
                  <c:v>0.16807861741782446</c:v>
                </c:pt>
                <c:pt idx="59">
                  <c:v>0.14880529926661934</c:v>
                </c:pt>
                <c:pt idx="60">
                  <c:v>0.15079365079365079</c:v>
                </c:pt>
                <c:pt idx="61">
                  <c:v>0.15784182305630026</c:v>
                </c:pt>
                <c:pt idx="62">
                  <c:v>0.15373521776752236</c:v>
                </c:pt>
                <c:pt idx="63">
                  <c:v>0.16811188811188812</c:v>
                </c:pt>
                <c:pt idx="64">
                  <c:v>0.14489990467111535</c:v>
                </c:pt>
                <c:pt idx="65">
                  <c:v>0.13184329482672025</c:v>
                </c:pt>
                <c:pt idx="66">
                  <c:v>0.13299748110831233</c:v>
                </c:pt>
                <c:pt idx="67">
                  <c:v>0.12516823687752354</c:v>
                </c:pt>
                <c:pt idx="68">
                  <c:v>0.12801852464439298</c:v>
                </c:pt>
                <c:pt idx="69">
                  <c:v>0.11767317939609236</c:v>
                </c:pt>
                <c:pt idx="70">
                  <c:v>0.11130359462970983</c:v>
                </c:pt>
                <c:pt idx="71">
                  <c:v>0.11324570273003033</c:v>
                </c:pt>
                <c:pt idx="72">
                  <c:v>0.09845077461269365</c:v>
                </c:pt>
                <c:pt idx="73">
                  <c:v>0.1024390243902439</c:v>
                </c:pt>
                <c:pt idx="74">
                  <c:v>0.10515463917525773</c:v>
                </c:pt>
                <c:pt idx="75">
                  <c:v>0.1174266083697689</c:v>
                </c:pt>
                <c:pt idx="76">
                  <c:v>0.12281835811247575</c:v>
                </c:pt>
                <c:pt idx="77">
                  <c:v>0.0967519004837595</c:v>
                </c:pt>
                <c:pt idx="78">
                  <c:v>0.117061973986228</c:v>
                </c:pt>
                <c:pt idx="79">
                  <c:v>0.10946944257891202</c:v>
                </c:pt>
                <c:pt idx="80">
                  <c:v>0.0978120978120978</c:v>
                </c:pt>
                <c:pt idx="81">
                  <c:v>0.08319088319088319</c:v>
                </c:pt>
                <c:pt idx="82">
                  <c:v>0.07410021171489062</c:v>
                </c:pt>
                <c:pt idx="83">
                  <c:v>0.07218167072181671</c:v>
                </c:pt>
                <c:pt idx="84">
                  <c:v>0.07301066447908121</c:v>
                </c:pt>
                <c:pt idx="85">
                  <c:v>0.08081517919887561</c:v>
                </c:pt>
                <c:pt idx="86">
                  <c:v>0.08945191313340227</c:v>
                </c:pt>
                <c:pt idx="87">
                  <c:v>0.10318275154004107</c:v>
                </c:pt>
                <c:pt idx="88">
                  <c:v>0.10050251256281408</c:v>
                </c:pt>
                <c:pt idx="89">
                  <c:v>0.08982035928143713</c:v>
                </c:pt>
                <c:pt idx="90">
                  <c:v>0.08823529411764706</c:v>
                </c:pt>
                <c:pt idx="91">
                  <c:v>0.09305654974946313</c:v>
                </c:pt>
                <c:pt idx="92">
                  <c:v>0.09495896834701055</c:v>
                </c:pt>
                <c:pt idx="93">
                  <c:v>0.08235294117647059</c:v>
                </c:pt>
                <c:pt idx="94">
                  <c:v>0.108348134991119</c:v>
                </c:pt>
                <c:pt idx="95">
                  <c:v>0.11918850380388842</c:v>
                </c:pt>
                <c:pt idx="96">
                  <c:v>0.10141509433962265</c:v>
                </c:pt>
                <c:pt idx="97">
                  <c:v>0.1069545568666834</c:v>
                </c:pt>
                <c:pt idx="98">
                  <c:v>0.11187265089542339</c:v>
                </c:pt>
                <c:pt idx="99">
                  <c:v>0.1157649796393252</c:v>
                </c:pt>
                <c:pt idx="100">
                  <c:v>0.1085316308763784</c:v>
                </c:pt>
                <c:pt idx="101">
                  <c:v>0.13541933829186972</c:v>
                </c:pt>
                <c:pt idx="102">
                  <c:v>0.10056925996204934</c:v>
                </c:pt>
                <c:pt idx="103">
                  <c:v>0.11353573687539532</c:v>
                </c:pt>
                <c:pt idx="104">
                  <c:v>0.1083743842364532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6088027848997173</c:v>
                </c:pt>
                <c:pt idx="1">
                  <c:v>0.053561818974564794</c:v>
                </c:pt>
                <c:pt idx="2">
                  <c:v>0.05001802688051192</c:v>
                </c:pt>
                <c:pt idx="3">
                  <c:v>0.051580784182721905</c:v>
                </c:pt>
                <c:pt idx="4">
                  <c:v>0.05185699694355245</c:v>
                </c:pt>
                <c:pt idx="5">
                  <c:v>0.052725083052706734</c:v>
                </c:pt>
                <c:pt idx="6">
                  <c:v>0.056524819183853575</c:v>
                </c:pt>
                <c:pt idx="7">
                  <c:v>0.060373142278777554</c:v>
                </c:pt>
                <c:pt idx="8">
                  <c:v>0.05676769843297056</c:v>
                </c:pt>
                <c:pt idx="9">
                  <c:v>0.053955407993259055</c:v>
                </c:pt>
                <c:pt idx="10">
                  <c:v>0.059724451189666246</c:v>
                </c:pt>
                <c:pt idx="11">
                  <c:v>0.06187673016504707</c:v>
                </c:pt>
                <c:pt idx="12">
                  <c:v>0.05650320688470283</c:v>
                </c:pt>
                <c:pt idx="13">
                  <c:v>0.06222166598637299</c:v>
                </c:pt>
                <c:pt idx="14">
                  <c:v>0.05698556526009654</c:v>
                </c:pt>
                <c:pt idx="15">
                  <c:v>0.05684294721595756</c:v>
                </c:pt>
                <c:pt idx="16">
                  <c:v>0.059028780274513824</c:v>
                </c:pt>
                <c:pt idx="17">
                  <c:v>0.056173187910473876</c:v>
                </c:pt>
                <c:pt idx="18">
                  <c:v>0.05022316412316407</c:v>
                </c:pt>
                <c:pt idx="19">
                  <c:v>0.05800495202129305</c:v>
                </c:pt>
                <c:pt idx="20">
                  <c:v>0.060102689148292254</c:v>
                </c:pt>
                <c:pt idx="21">
                  <c:v>0.058709299227284836</c:v>
                </c:pt>
                <c:pt idx="22">
                  <c:v>0.05920553598137718</c:v>
                </c:pt>
                <c:pt idx="23">
                  <c:v>0.06230122785459708</c:v>
                </c:pt>
                <c:pt idx="24">
                  <c:v>0.056205380813532685</c:v>
                </c:pt>
                <c:pt idx="25">
                  <c:v>0.05192404630273096</c:v>
                </c:pt>
                <c:pt idx="26">
                  <c:v>0.057802778015947874</c:v>
                </c:pt>
                <c:pt idx="27">
                  <c:v>0.06623186948193167</c:v>
                </c:pt>
                <c:pt idx="28">
                  <c:v>0.0780043665399844</c:v>
                </c:pt>
                <c:pt idx="29">
                  <c:v>0.10151594311622461</c:v>
                </c:pt>
                <c:pt idx="30">
                  <c:v>0.06315804132156184</c:v>
                </c:pt>
                <c:pt idx="31">
                  <c:v>0.059191855263581956</c:v>
                </c:pt>
                <c:pt idx="32">
                  <c:v>0.06638875923333583</c:v>
                </c:pt>
                <c:pt idx="33">
                  <c:v>0.06651065543138886</c:v>
                </c:pt>
                <c:pt idx="34">
                  <c:v>0.07079531309256454</c:v>
                </c:pt>
                <c:pt idx="35">
                  <c:v>0.06628915068299507</c:v>
                </c:pt>
                <c:pt idx="36">
                  <c:v>0.06594181972555532</c:v>
                </c:pt>
                <c:pt idx="37">
                  <c:v>0.05297425422102343</c:v>
                </c:pt>
                <c:pt idx="38">
                  <c:v>0.05946086068351962</c:v>
                </c:pt>
                <c:pt idx="39">
                  <c:v>0.04857273341266523</c:v>
                </c:pt>
                <c:pt idx="40">
                  <c:v>0.054879169076759104</c:v>
                </c:pt>
                <c:pt idx="41">
                  <c:v>0.05384143786067086</c:v>
                </c:pt>
                <c:pt idx="42">
                  <c:v>0.055168339537183905</c:v>
                </c:pt>
                <c:pt idx="43">
                  <c:v>0.06425996449988597</c:v>
                </c:pt>
                <c:pt idx="44">
                  <c:v>0.07120009053782239</c:v>
                </c:pt>
                <c:pt idx="45">
                  <c:v>0.05951035288576501</c:v>
                </c:pt>
                <c:pt idx="46">
                  <c:v>0.05918843583350958</c:v>
                </c:pt>
                <c:pt idx="47">
                  <c:v>0.06072265472926486</c:v>
                </c:pt>
                <c:pt idx="48">
                  <c:v>0.061214137306043054</c:v>
                </c:pt>
                <c:pt idx="49">
                  <c:v>0.06798082756089979</c:v>
                </c:pt>
                <c:pt idx="50">
                  <c:v>0.06584563005292018</c:v>
                </c:pt>
                <c:pt idx="51">
                  <c:v>0.06071541870140209</c:v>
                </c:pt>
              </c:numCache>
            </c:numRef>
          </c:xVal>
          <c:yVal>
            <c:numRef>
              <c:f>Sheet1!$B$109:$B$160</c:f>
              <c:numCache>
                <c:formatCode>General</c:formatCode>
                <c:ptCount val="52"/>
                <c:pt idx="0">
                  <c:v>0.0957195820694304</c:v>
                </c:pt>
                <c:pt idx="1">
                  <c:v>0.11449541284403669</c:v>
                </c:pt>
                <c:pt idx="2">
                  <c:v>0.11746361746361747</c:v>
                </c:pt>
                <c:pt idx="3">
                  <c:v>0.1275191104933982</c:v>
                </c:pt>
                <c:pt idx="4">
                  <c:v>0.12190812720848057</c:v>
                </c:pt>
                <c:pt idx="5">
                  <c:v>0.11798980335032774</c:v>
                </c:pt>
                <c:pt idx="6">
                  <c:v>0.12267777065983344</c:v>
                </c:pt>
                <c:pt idx="7">
                  <c:v>0.10972461273666093</c:v>
                </c:pt>
                <c:pt idx="8">
                  <c:v>0.1277056277056277</c:v>
                </c:pt>
                <c:pt idx="9">
                  <c:v>0.13449817147501017</c:v>
                </c:pt>
                <c:pt idx="10">
                  <c:v>0.1491822895891504</c:v>
                </c:pt>
                <c:pt idx="11">
                  <c:v>0.15025441484585453</c:v>
                </c:pt>
                <c:pt idx="12">
                  <c:v>0.16180555555555556</c:v>
                </c:pt>
                <c:pt idx="13">
                  <c:v>0.15458015267175573</c:v>
                </c:pt>
                <c:pt idx="14">
                  <c:v>0.15703192407247626</c:v>
                </c:pt>
                <c:pt idx="15">
                  <c:v>0.145578231292517</c:v>
                </c:pt>
                <c:pt idx="16">
                  <c:v>0.14269850083287064</c:v>
                </c:pt>
                <c:pt idx="17">
                  <c:v>0.12768569674647023</c:v>
                </c:pt>
                <c:pt idx="18">
                  <c:v>0.14976494291470785</c:v>
                </c:pt>
                <c:pt idx="19">
                  <c:v>0.16090425531914893</c:v>
                </c:pt>
                <c:pt idx="20">
                  <c:v>0.14423791821561338</c:v>
                </c:pt>
                <c:pt idx="21">
                  <c:v>0.13108614232209737</c:v>
                </c:pt>
                <c:pt idx="22">
                  <c:v>0.1270611057225994</c:v>
                </c:pt>
                <c:pt idx="23">
                  <c:v>0.12729124236252545</c:v>
                </c:pt>
                <c:pt idx="24">
                  <c:v>0.12440645773979107</c:v>
                </c:pt>
                <c:pt idx="25">
                  <c:v>0.1380952380952381</c:v>
                </c:pt>
                <c:pt idx="26">
                  <c:v>0.11992619926199262</c:v>
                </c:pt>
                <c:pt idx="27">
                  <c:v>0.12997562956945571</c:v>
                </c:pt>
                <c:pt idx="28">
                  <c:v>0.11553175210405509</c:v>
                </c:pt>
                <c:pt idx="29">
                  <c:v>0.10830999066293184</c:v>
                </c:pt>
                <c:pt idx="30">
                  <c:v>0.12448559670781893</c:v>
                </c:pt>
                <c:pt idx="31">
                  <c:v>0.09989373007438895</c:v>
                </c:pt>
                <c:pt idx="32">
                  <c:v>0.10521739130434783</c:v>
                </c:pt>
                <c:pt idx="33">
                  <c:v>0.11469072164948453</c:v>
                </c:pt>
                <c:pt idx="34">
                  <c:v>0.14150943396226415</c:v>
                </c:pt>
                <c:pt idx="35">
                  <c:v>0.1290983606557377</c:v>
                </c:pt>
                <c:pt idx="36">
                  <c:v>0.12829324169530354</c:v>
                </c:pt>
                <c:pt idx="37">
                  <c:v>0.16119402985074627</c:v>
                </c:pt>
                <c:pt idx="38">
                  <c:v>0.16837315130830488</c:v>
                </c:pt>
                <c:pt idx="39">
                  <c:v>0.16029900332225913</c:v>
                </c:pt>
                <c:pt idx="40">
                  <c:v>0.13123993558776167</c:v>
                </c:pt>
                <c:pt idx="41">
                  <c:v>0.1383601756954612</c:v>
                </c:pt>
                <c:pt idx="42">
                  <c:v>0.13175122749590834</c:v>
                </c:pt>
                <c:pt idx="43">
                  <c:v>0.10610551274451689</c:v>
                </c:pt>
                <c:pt idx="44">
                  <c:v>0.1085972850678733</c:v>
                </c:pt>
                <c:pt idx="45">
                  <c:v>0.12478825522303783</c:v>
                </c:pt>
                <c:pt idx="46">
                  <c:v>0.12386095173810327</c:v>
                </c:pt>
                <c:pt idx="47">
                  <c:v>0.12441314553990611</c:v>
                </c:pt>
                <c:pt idx="48">
                  <c:v>0.10435690060005218</c:v>
                </c:pt>
                <c:pt idx="49">
                  <c:v>0.10753197536712458</c:v>
                </c:pt>
                <c:pt idx="50">
                  <c:v>0.10828236072078029</c:v>
                </c:pt>
                <c:pt idx="51">
                  <c:v>0.12774042677579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2770141474191756</c:v>
                </c:pt>
              </c:numCache>
            </c:numRef>
          </c:xVal>
          <c:yVal>
            <c:numRef>
              <c:f>Sheet1!$B$163:$B$164</c:f>
              <c:numCache>
                <c:formatCode>General</c:formatCode>
                <c:ptCount val="2"/>
                <c:pt idx="0">
                  <c:v>0.19292325840451452</c:v>
                </c:pt>
                <c:pt idx="1">
                  <c:v>0.192923258404514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2770141474191756</c:v>
                </c:pt>
                <c:pt idx="1">
                  <c:v>-0.022770141474191756</c:v>
                </c:pt>
              </c:numCache>
            </c:numRef>
          </c:xVal>
          <c:yVal>
            <c:numRef>
              <c:f>Sheet1!$B$167:$B$168</c:f>
              <c:numCache>
                <c:formatCode>General</c:formatCode>
                <c:ptCount val="2"/>
                <c:pt idx="0">
                  <c:v>0.192923258404514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3733361856281499</c:v>
                </c:pt>
              </c:numCache>
            </c:numRef>
          </c:xVal>
          <c:yVal>
            <c:numRef>
              <c:f>Sheet1!$B$171:$B$172</c:f>
              <c:numCache>
                <c:formatCode>General</c:formatCode>
                <c:ptCount val="2"/>
                <c:pt idx="0">
                  <c:v>0.1468698612194791</c:v>
                </c:pt>
                <c:pt idx="1">
                  <c:v>0.14686986121947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3733361856281499</c:v>
                </c:pt>
                <c:pt idx="1">
                  <c:v>0.03733361856281499</c:v>
                </c:pt>
              </c:numCache>
            </c:numRef>
          </c:xVal>
          <c:yVal>
            <c:numRef>
              <c:f>Sheet1!$B$175:$B$176</c:f>
              <c:numCache>
                <c:formatCode>General</c:formatCode>
                <c:ptCount val="2"/>
                <c:pt idx="0">
                  <c:v>0.14686986121947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6865383965211405</c:v>
                </c:pt>
              </c:numCache>
            </c:numRef>
          </c:xVal>
          <c:yVal>
            <c:numRef>
              <c:f>Sheet1!$B$179:$B$180</c:f>
              <c:numCache>
                <c:formatCode>General</c:formatCode>
                <c:ptCount val="2"/>
                <c:pt idx="0">
                  <c:v>0.12287131968296781</c:v>
                </c:pt>
                <c:pt idx="1">
                  <c:v>0.1228713196829678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6865383965211405</c:v>
                </c:pt>
                <c:pt idx="1">
                  <c:v>0.06865383965211405</c:v>
                </c:pt>
              </c:numCache>
            </c:numRef>
          </c:xVal>
          <c:yVal>
            <c:numRef>
              <c:f>Sheet1!$B$183:$B$184</c:f>
              <c:numCache>
                <c:formatCode>General</c:formatCode>
                <c:ptCount val="2"/>
                <c:pt idx="0">
                  <c:v>0.122871319682967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6088027848997173</c:v>
                </c:pt>
                <c:pt idx="1">
                  <c:v>0.053561818974564794</c:v>
                </c:pt>
                <c:pt idx="2">
                  <c:v>0.05001802688051192</c:v>
                </c:pt>
                <c:pt idx="3">
                  <c:v>0.051580784182721905</c:v>
                </c:pt>
                <c:pt idx="4">
                  <c:v>0.05185699694355245</c:v>
                </c:pt>
                <c:pt idx="5">
                  <c:v>0.052725083052706734</c:v>
                </c:pt>
                <c:pt idx="6">
                  <c:v>0.056524819183853575</c:v>
                </c:pt>
                <c:pt idx="7">
                  <c:v>0.060373142278777554</c:v>
                </c:pt>
                <c:pt idx="8">
                  <c:v>0.05676769843297056</c:v>
                </c:pt>
                <c:pt idx="9">
                  <c:v>0.053955407993259055</c:v>
                </c:pt>
                <c:pt idx="10">
                  <c:v>0.059724451189666246</c:v>
                </c:pt>
                <c:pt idx="11">
                  <c:v>0.06187673016504707</c:v>
                </c:pt>
                <c:pt idx="12">
                  <c:v>0.05650320688470283</c:v>
                </c:pt>
                <c:pt idx="13">
                  <c:v>0.06222166598637299</c:v>
                </c:pt>
                <c:pt idx="14">
                  <c:v>0.05698556526009654</c:v>
                </c:pt>
                <c:pt idx="15">
                  <c:v>0.05684294721595756</c:v>
                </c:pt>
                <c:pt idx="16">
                  <c:v>0.059028780274513824</c:v>
                </c:pt>
                <c:pt idx="17">
                  <c:v>0.056173187910473876</c:v>
                </c:pt>
                <c:pt idx="18">
                  <c:v>0.05022316412316407</c:v>
                </c:pt>
                <c:pt idx="19">
                  <c:v>0.05800495202129305</c:v>
                </c:pt>
                <c:pt idx="20">
                  <c:v>0.060102689148292254</c:v>
                </c:pt>
                <c:pt idx="21">
                  <c:v>0.058709299227284836</c:v>
                </c:pt>
                <c:pt idx="22">
                  <c:v>0.05920553598137718</c:v>
                </c:pt>
                <c:pt idx="23">
                  <c:v>0.06230122785459708</c:v>
                </c:pt>
                <c:pt idx="24">
                  <c:v>0.056205380813532685</c:v>
                </c:pt>
                <c:pt idx="25">
                  <c:v>0.05192404630273096</c:v>
                </c:pt>
                <c:pt idx="26">
                  <c:v>0.057802778015947874</c:v>
                </c:pt>
                <c:pt idx="27">
                  <c:v>0.06623186948193167</c:v>
                </c:pt>
                <c:pt idx="28">
                  <c:v>0.0780043665399844</c:v>
                </c:pt>
                <c:pt idx="29">
                  <c:v>0.10151594311622461</c:v>
                </c:pt>
                <c:pt idx="30">
                  <c:v>0.06315804132156184</c:v>
                </c:pt>
                <c:pt idx="31">
                  <c:v>0.059191855263581956</c:v>
                </c:pt>
                <c:pt idx="32">
                  <c:v>0.06638875923333583</c:v>
                </c:pt>
                <c:pt idx="33">
                  <c:v>0.06651065543138886</c:v>
                </c:pt>
                <c:pt idx="34">
                  <c:v>0.07079531309256454</c:v>
                </c:pt>
                <c:pt idx="35">
                  <c:v>0.06628915068299507</c:v>
                </c:pt>
                <c:pt idx="36">
                  <c:v>0.06594181972555532</c:v>
                </c:pt>
                <c:pt idx="37">
                  <c:v>0.05297425422102343</c:v>
                </c:pt>
                <c:pt idx="38">
                  <c:v>0.05946086068351962</c:v>
                </c:pt>
                <c:pt idx="39">
                  <c:v>0.04857273341266523</c:v>
                </c:pt>
                <c:pt idx="40">
                  <c:v>0.054879169076759104</c:v>
                </c:pt>
                <c:pt idx="41">
                  <c:v>0.05384143786067086</c:v>
                </c:pt>
                <c:pt idx="42">
                  <c:v>0.055168339537183905</c:v>
                </c:pt>
                <c:pt idx="43">
                  <c:v>0.06425996449988597</c:v>
                </c:pt>
                <c:pt idx="44">
                  <c:v>0.07120009053782239</c:v>
                </c:pt>
                <c:pt idx="45">
                  <c:v>0.05951035288576501</c:v>
                </c:pt>
                <c:pt idx="46">
                  <c:v>0.05918843583350958</c:v>
                </c:pt>
                <c:pt idx="47">
                  <c:v>0.06072265472926486</c:v>
                </c:pt>
                <c:pt idx="48">
                  <c:v>0.061214137306043054</c:v>
                </c:pt>
                <c:pt idx="49">
                  <c:v>0.06798082756089979</c:v>
                </c:pt>
                <c:pt idx="50">
                  <c:v>0.06584563005292018</c:v>
                </c:pt>
                <c:pt idx="51">
                  <c:v>0.06071541870140209</c:v>
                </c:pt>
                <c:pt idx="52">
                  <c:v>0.03733361856281499</c:v>
                </c:pt>
                <c:pt idx="53">
                  <c:v>-0.022770141474191756</c:v>
                </c:pt>
                <c:pt idx="54">
                  <c:v>0.06865383965211405</c:v>
                </c:pt>
              </c:numCache>
            </c:numRef>
          </c:xVal>
          <c:yVal>
            <c:numRef>
              <c:f>Sheet1!$B$187:$B$241</c:f>
              <c:numCache>
                <c:formatCode>General</c:formatCode>
                <c:ptCount val="55"/>
                <c:pt idx="0">
                  <c:v>0.12882766749751187</c:v>
                </c:pt>
                <c:pt idx="1">
                  <c:v>0.13443530207208954</c:v>
                </c:pt>
                <c:pt idx="2">
                  <c:v>0.13715066737948658</c:v>
                </c:pt>
                <c:pt idx="3">
                  <c:v>0.13595323343029309</c:v>
                </c:pt>
                <c:pt idx="4">
                  <c:v>0.13574159049856516</c:v>
                </c:pt>
                <c:pt idx="5">
                  <c:v>0.1350764355340325</c:v>
                </c:pt>
                <c:pt idx="6">
                  <c:v>0.13216495783050297</c:v>
                </c:pt>
                <c:pt idx="7">
                  <c:v>0.12921625126243208</c:v>
                </c:pt>
                <c:pt idx="8">
                  <c:v>0.1319788560871062</c:v>
                </c:pt>
                <c:pt idx="9">
                  <c:v>0.13413372174842203</c:v>
                </c:pt>
                <c:pt idx="10">
                  <c:v>0.12971329884080057</c:v>
                </c:pt>
                <c:pt idx="11">
                  <c:v>0.12806415478649874</c:v>
                </c:pt>
                <c:pt idx="12">
                  <c:v>0.13218151785596988</c:v>
                </c:pt>
                <c:pt idx="13">
                  <c:v>0.12779985407763977</c:v>
                </c:pt>
                <c:pt idx="14">
                  <c:v>0.13181191965056882</c:v>
                </c:pt>
                <c:pt idx="15">
                  <c:v>0.1319211980955187</c:v>
                </c:pt>
                <c:pt idx="16">
                  <c:v>0.1302463438440727</c:v>
                </c:pt>
                <c:pt idx="17">
                  <c:v>0.1324343888059638</c:v>
                </c:pt>
                <c:pt idx="18">
                  <c:v>0.1369934847521853</c:v>
                </c:pt>
                <c:pt idx="19">
                  <c:v>0.13103083335297872</c:v>
                </c:pt>
                <c:pt idx="20">
                  <c:v>0.1294234809836759</c:v>
                </c:pt>
                <c:pt idx="21">
                  <c:v>0.13049114030193268</c:v>
                </c:pt>
                <c:pt idx="22">
                  <c:v>0.13011090804491654</c:v>
                </c:pt>
                <c:pt idx="23">
                  <c:v>0.12773889126406787</c:v>
                </c:pt>
                <c:pt idx="24">
                  <c:v>0.13240972158796954</c:v>
                </c:pt>
                <c:pt idx="25">
                  <c:v>0.1356902151641876</c:v>
                </c:pt>
                <c:pt idx="26">
                  <c:v>0.13118574545436668</c:v>
                </c:pt>
                <c:pt idx="27">
                  <c:v>0.1247271096393539</c:v>
                </c:pt>
                <c:pt idx="28">
                  <c:v>0.11570665097686182</c:v>
                </c:pt>
                <c:pt idx="29">
                  <c:v>0.09769133922522968</c:v>
                </c:pt>
                <c:pt idx="30">
                  <c:v>0.12708237375362724</c:v>
                </c:pt>
                <c:pt idx="31">
                  <c:v>0.1301213906425113</c:v>
                </c:pt>
                <c:pt idx="32">
                  <c:v>0.12460689576203196</c:v>
                </c:pt>
                <c:pt idx="33">
                  <c:v>0.12451349504931739</c:v>
                </c:pt>
                <c:pt idx="34">
                  <c:v>0.12123045517043902</c:v>
                </c:pt>
                <c:pt idx="35">
                  <c:v>0.12468321897590484</c:v>
                </c:pt>
                <c:pt idx="36">
                  <c:v>0.12494935491361958</c:v>
                </c:pt>
                <c:pt idx="37">
                  <c:v>0.1348855127236379</c:v>
                </c:pt>
                <c:pt idx="38">
                  <c:v>0.12991527020276364</c:v>
                </c:pt>
                <c:pt idx="39">
                  <c:v>0.13825809683286353</c:v>
                </c:pt>
                <c:pt idx="40">
                  <c:v>0.13342590686202702</c:v>
                </c:pt>
                <c:pt idx="41">
                  <c:v>0.1342210492597139</c:v>
                </c:pt>
                <c:pt idx="42">
                  <c:v>0.13320433533206077</c:v>
                </c:pt>
                <c:pt idx="43">
                  <c:v>0.12623804544924977</c:v>
                </c:pt>
                <c:pt idx="44">
                  <c:v>0.12092030192134902</c:v>
                </c:pt>
                <c:pt idx="45">
                  <c:v>0.12987734771594805</c:v>
                </c:pt>
                <c:pt idx="46">
                  <c:v>0.13012401071771412</c:v>
                </c:pt>
                <c:pt idx="47">
                  <c:v>0.12894844379591922</c:v>
                </c:pt>
                <c:pt idx="48">
                  <c:v>0.12857185433955318</c:v>
                </c:pt>
                <c:pt idx="49">
                  <c:v>0.12338700278046351</c:v>
                </c:pt>
                <c:pt idx="50">
                  <c:v>0.12502305847553047</c:v>
                </c:pt>
                <c:pt idx="51">
                  <c:v>0.12895398826876087</c:v>
                </c:pt>
                <c:pt idx="52">
                  <c:v>0.1468698612194791</c:v>
                </c:pt>
                <c:pt idx="53">
                  <c:v>0.19292325840451452</c:v>
                </c:pt>
                <c:pt idx="54">
                  <c:v>0.122871319682967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54186717998076"/>
          <c:min val="0.057745336577453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2.5732</c:v>
                </c:pt>
                <c:pt idx="1">
                  <c:v>659.3622</c:v>
                </c:pt>
                <c:pt idx="2">
                  <c:v>652.7505</c:v>
                </c:pt>
                <c:pt idx="3">
                  <c:v>654.6031</c:v>
                </c:pt>
                <c:pt idx="4">
                  <c:v>651.4637</c:v>
                </c:pt>
                <c:pt idx="5">
                  <c:v>644.3571</c:v>
                </c:pt>
                <c:pt idx="6">
                  <c:v>625.8208</c:v>
                </c:pt>
                <c:pt idx="7">
                  <c:v>634.1687</c:v>
                </c:pt>
                <c:pt idx="8">
                  <c:v>639.6281</c:v>
                </c:pt>
                <c:pt idx="9">
                  <c:v>629.8832</c:v>
                </c:pt>
                <c:pt idx="10">
                  <c:v>618.9983</c:v>
                </c:pt>
                <c:pt idx="11">
                  <c:v>641.631</c:v>
                </c:pt>
                <c:pt idx="12">
                  <c:v>639.1231</c:v>
                </c:pt>
                <c:pt idx="13">
                  <c:v>640.7158</c:v>
                </c:pt>
                <c:pt idx="14">
                  <c:v>639.9581</c:v>
                </c:pt>
                <c:pt idx="15">
                  <c:v>650.0866</c:v>
                </c:pt>
                <c:pt idx="16">
                  <c:v>651.7451</c:v>
                </c:pt>
                <c:pt idx="17">
                  <c:v>639.0342</c:v>
                </c:pt>
                <c:pt idx="18">
                  <c:v>641.1667</c:v>
                </c:pt>
                <c:pt idx="19">
                  <c:v>618.3333</c:v>
                </c:pt>
                <c:pt idx="20">
                  <c:v>640.2254</c:v>
                </c:pt>
                <c:pt idx="21">
                  <c:v>629.4737</c:v>
                </c:pt>
                <c:pt idx="22">
                  <c:v>625.5104</c:v>
                </c:pt>
                <c:pt idx="23">
                  <c:v>609.6695</c:v>
                </c:pt>
                <c:pt idx="24">
                  <c:v>615.2727</c:v>
                </c:pt>
                <c:pt idx="25">
                  <c:v>592.4439</c:v>
                </c:pt>
                <c:pt idx="26">
                  <c:v>599.3012</c:v>
                </c:pt>
                <c:pt idx="27">
                  <c:v>595.2039</c:v>
                </c:pt>
                <c:pt idx="28">
                  <c:v>616.5714</c:v>
                </c:pt>
                <c:pt idx="29">
                  <c:v>609.0563</c:v>
                </c:pt>
                <c:pt idx="30">
                  <c:v>592.4056</c:v>
                </c:pt>
                <c:pt idx="31">
                  <c:v>563.3216</c:v>
                </c:pt>
                <c:pt idx="32">
                  <c:v>586.1495</c:v>
                </c:pt>
                <c:pt idx="33">
                  <c:v>562.2058</c:v>
                </c:pt>
                <c:pt idx="34">
                  <c:v>591.6318</c:v>
                </c:pt>
                <c:pt idx="35">
                  <c:v>604.3174</c:v>
                </c:pt>
                <c:pt idx="36">
                  <c:v>601.5751</c:v>
                </c:pt>
                <c:pt idx="37">
                  <c:v>595.8507</c:v>
                </c:pt>
                <c:pt idx="38">
                  <c:v>611.4333</c:v>
                </c:pt>
                <c:pt idx="39">
                  <c:v>638.6229</c:v>
                </c:pt>
                <c:pt idx="40">
                  <c:v>614.424</c:v>
                </c:pt>
                <c:pt idx="41">
                  <c:v>615.0464</c:v>
                </c:pt>
                <c:pt idx="42">
                  <c:v>628.4187</c:v>
                </c:pt>
                <c:pt idx="43">
                  <c:v>646.9563</c:v>
                </c:pt>
                <c:pt idx="44">
                  <c:v>645.3073</c:v>
                </c:pt>
                <c:pt idx="45">
                  <c:v>650.9815</c:v>
                </c:pt>
                <c:pt idx="46">
                  <c:v>628.7727</c:v>
                </c:pt>
                <c:pt idx="47">
                  <c:v>618.4096</c:v>
                </c:pt>
                <c:pt idx="48">
                  <c:v>618.6068</c:v>
                </c:pt>
                <c:pt idx="49">
                  <c:v>600.7929</c:v>
                </c:pt>
                <c:pt idx="50">
                  <c:v>617.7616</c:v>
                </c:pt>
                <c:pt idx="51">
                  <c:v>620.6871</c:v>
                </c:pt>
                <c:pt idx="52">
                  <c:v>618.3943</c:v>
                </c:pt>
                <c:pt idx="53">
                  <c:v>616.4693</c:v>
                </c:pt>
                <c:pt idx="54">
                  <c:v>616.3641</c:v>
                </c:pt>
                <c:pt idx="55">
                  <c:v>617.186</c:v>
                </c:pt>
                <c:pt idx="56">
                  <c:v>615.0195</c:v>
                </c:pt>
                <c:pt idx="57">
                  <c:v>604.3991</c:v>
                </c:pt>
                <c:pt idx="58">
                  <c:v>602.3306</c:v>
                </c:pt>
                <c:pt idx="59">
                  <c:v>611.1781</c:v>
                </c:pt>
                <c:pt idx="60">
                  <c:v>606.1088</c:v>
                </c:pt>
                <c:pt idx="61">
                  <c:v>601.9618</c:v>
                </c:pt>
                <c:pt idx="62">
                  <c:v>606.3752</c:v>
                </c:pt>
                <c:pt idx="63">
                  <c:v>616.3461</c:v>
                </c:pt>
                <c:pt idx="64">
                  <c:v>590.1711</c:v>
                </c:pt>
                <c:pt idx="65">
                  <c:v>595.4419</c:v>
                </c:pt>
                <c:pt idx="66">
                  <c:v>588.0417</c:v>
                </c:pt>
                <c:pt idx="67">
                  <c:v>580.7849</c:v>
                </c:pt>
                <c:pt idx="68">
                  <c:v>561.9251</c:v>
                </c:pt>
                <c:pt idx="69">
                  <c:v>551.883</c:v>
                </c:pt>
                <c:pt idx="70">
                  <c:v>536.4163</c:v>
                </c:pt>
                <c:pt idx="71">
                  <c:v>574.0536</c:v>
                </c:pt>
                <c:pt idx="72">
                  <c:v>682.8071</c:v>
                </c:pt>
                <c:pt idx="73">
                  <c:v>683.6296</c:v>
                </c:pt>
                <c:pt idx="74">
                  <c:v>661.5441</c:v>
                </c:pt>
                <c:pt idx="75">
                  <c:v>642.9521</c:v>
                </c:pt>
                <c:pt idx="76">
                  <c:v>646.7421</c:v>
                </c:pt>
                <c:pt idx="77">
                  <c:v>634.5571</c:v>
                </c:pt>
                <c:pt idx="78">
                  <c:v>632.5621</c:v>
                </c:pt>
                <c:pt idx="79">
                  <c:v>579.7362</c:v>
                </c:pt>
                <c:pt idx="80">
                  <c:v>631.3421</c:v>
                </c:pt>
                <c:pt idx="81">
                  <c:v>646.6027</c:v>
                </c:pt>
                <c:pt idx="82">
                  <c:v>638.8571</c:v>
                </c:pt>
                <c:pt idx="83">
                  <c:v>637.0899</c:v>
                </c:pt>
                <c:pt idx="84">
                  <c:v>617.618</c:v>
                </c:pt>
                <c:pt idx="85">
                  <c:v>649.8</c:v>
                </c:pt>
                <c:pt idx="86">
                  <c:v>625.6069</c:v>
                </c:pt>
                <c:pt idx="87">
                  <c:v>628.0995</c:v>
                </c:pt>
                <c:pt idx="88">
                  <c:v>638.15</c:v>
                </c:pt>
                <c:pt idx="89">
                  <c:v>627.6167</c:v>
                </c:pt>
                <c:pt idx="90">
                  <c:v>642.9825</c:v>
                </c:pt>
                <c:pt idx="91">
                  <c:v>636.9538</c:v>
                </c:pt>
                <c:pt idx="92">
                  <c:v>617.4136</c:v>
                </c:pt>
                <c:pt idx="93">
                  <c:v>641.517</c:v>
                </c:pt>
                <c:pt idx="94">
                  <c:v>658.5956</c:v>
                </c:pt>
                <c:pt idx="95">
                  <c:v>621.0887</c:v>
                </c:pt>
                <c:pt idx="96">
                  <c:v>532.718</c:v>
                </c:pt>
                <c:pt idx="97">
                  <c:v>578.061</c:v>
                </c:pt>
                <c:pt idx="98">
                  <c:v>586.4941</c:v>
                </c:pt>
                <c:pt idx="99">
                  <c:v>618.8526</c:v>
                </c:pt>
                <c:pt idx="100">
                  <c:v>637.1591</c:v>
                </c:pt>
                <c:pt idx="101">
                  <c:v>620.1515</c:v>
                </c:pt>
                <c:pt idx="102">
                  <c:v>628.2642</c:v>
                </c:pt>
                <c:pt idx="103">
                  <c:v>641.9861</c:v>
                </c:pt>
                <c:pt idx="104">
                  <c:v>658.1608</c:v>
                </c:pt>
              </c:numCache>
            </c:numRef>
          </c:xVal>
          <c:yVal>
            <c:numRef>
              <c:f>Sheet1!$B$2:$B$106</c:f>
              <c:numCache>
                <c:formatCode>General</c:formatCode>
                <c:ptCount val="105"/>
                <c:pt idx="0">
                  <c:v>0.14633260711692084</c:v>
                </c:pt>
                <c:pt idx="1">
                  <c:v>0.19004329004329004</c:v>
                </c:pt>
                <c:pt idx="2">
                  <c:v>0.20142378559463986</c:v>
                </c:pt>
                <c:pt idx="3">
                  <c:v>0.17490196078431372</c:v>
                </c:pt>
                <c:pt idx="4">
                  <c:v>0.18597560975609756</c:v>
                </c:pt>
                <c:pt idx="5">
                  <c:v>0.18377871542428503</c:v>
                </c:pt>
                <c:pt idx="6">
                  <c:v>0.23628488931665062</c:v>
                </c:pt>
                <c:pt idx="7">
                  <c:v>0.20989583333333334</c:v>
                </c:pt>
                <c:pt idx="8">
                  <c:v>0.20767263427109975</c:v>
                </c:pt>
                <c:pt idx="9">
                  <c:v>0.19726421886249101</c:v>
                </c:pt>
                <c:pt idx="10">
                  <c:v>0.20901932712956334</c:v>
                </c:pt>
                <c:pt idx="11">
                  <c:v>0.20956294359357489</c:v>
                </c:pt>
                <c:pt idx="12">
                  <c:v>0.21058238636363635</c:v>
                </c:pt>
                <c:pt idx="13">
                  <c:v>0.21732580037664784</c:v>
                </c:pt>
                <c:pt idx="14">
                  <c:v>0.2156567557395559</c:v>
                </c:pt>
                <c:pt idx="15">
                  <c:v>0.175</c:v>
                </c:pt>
                <c:pt idx="16">
                  <c:v>0.14488636363636365</c:v>
                </c:pt>
                <c:pt idx="17">
                  <c:v>0.1447841726618705</c:v>
                </c:pt>
                <c:pt idx="18">
                  <c:v>0.13056379821958458</c:v>
                </c:pt>
                <c:pt idx="19">
                  <c:v>0.1444912703190849</c:v>
                </c:pt>
                <c:pt idx="20">
                  <c:v>0.16145566376217324</c:v>
                </c:pt>
                <c:pt idx="21">
                  <c:v>0.167912984364378</c:v>
                </c:pt>
                <c:pt idx="22">
                  <c:v>0.16817864619678996</c:v>
                </c:pt>
                <c:pt idx="23">
                  <c:v>0.17466266866566715</c:v>
                </c:pt>
                <c:pt idx="24">
                  <c:v>0.17022844509948415</c:v>
                </c:pt>
                <c:pt idx="25">
                  <c:v>0.1825938566552901</c:v>
                </c:pt>
                <c:pt idx="26">
                  <c:v>0.1824175824175824</c:v>
                </c:pt>
                <c:pt idx="27">
                  <c:v>0.14517265680056377</c:v>
                </c:pt>
                <c:pt idx="28">
                  <c:v>0.15070527097253156</c:v>
                </c:pt>
                <c:pt idx="29">
                  <c:v>0.1493212669683258</c:v>
                </c:pt>
                <c:pt idx="30">
                  <c:v>0.14551333872271624</c:v>
                </c:pt>
                <c:pt idx="31">
                  <c:v>0.13528481012658228</c:v>
                </c:pt>
                <c:pt idx="32">
                  <c:v>0.14820473644003057</c:v>
                </c:pt>
                <c:pt idx="33">
                  <c:v>0.14319387153800825</c:v>
                </c:pt>
                <c:pt idx="34">
                  <c:v>0.13815461346633418</c:v>
                </c:pt>
                <c:pt idx="35">
                  <c:v>0.15732454074422986</c:v>
                </c:pt>
                <c:pt idx="36">
                  <c:v>0.14482758620689656</c:v>
                </c:pt>
                <c:pt idx="37">
                  <c:v>0.1252336448598131</c:v>
                </c:pt>
                <c:pt idx="38">
                  <c:v>0.1290719114935464</c:v>
                </c:pt>
                <c:pt idx="39">
                  <c:v>0.11437908496732026</c:v>
                </c:pt>
                <c:pt idx="40">
                  <c:v>0.11524163568773234</c:v>
                </c:pt>
                <c:pt idx="41">
                  <c:v>0.13527397260273974</c:v>
                </c:pt>
                <c:pt idx="42">
                  <c:v>0.13847628174413032</c:v>
                </c:pt>
                <c:pt idx="43">
                  <c:v>0.13411567476948869</c:v>
                </c:pt>
                <c:pt idx="44">
                  <c:v>0.1086286594761171</c:v>
                </c:pt>
                <c:pt idx="45">
                  <c:v>0.13343799058084774</c:v>
                </c:pt>
                <c:pt idx="46">
                  <c:v>0.1523658591804392</c:v>
                </c:pt>
                <c:pt idx="47">
                  <c:v>0.17259873232569478</c:v>
                </c:pt>
                <c:pt idx="48">
                  <c:v>0.17419474268789337</c:v>
                </c:pt>
                <c:pt idx="49">
                  <c:v>0.1960189823358819</c:v>
                </c:pt>
                <c:pt idx="50">
                  <c:v>0.17135304013458302</c:v>
                </c:pt>
                <c:pt idx="51">
                  <c:v>0.1646129541864139</c:v>
                </c:pt>
                <c:pt idx="52">
                  <c:v>0.15357867284844973</c:v>
                </c:pt>
                <c:pt idx="53">
                  <c:v>0.17098808689558515</c:v>
                </c:pt>
                <c:pt idx="54">
                  <c:v>0.16546457361052186</c:v>
                </c:pt>
                <c:pt idx="55">
                  <c:v>0.1581528402125051</c:v>
                </c:pt>
                <c:pt idx="56">
                  <c:v>0.17154811715481172</c:v>
                </c:pt>
                <c:pt idx="57">
                  <c:v>0.1565025716385011</c:v>
                </c:pt>
                <c:pt idx="58">
                  <c:v>0.16807861741782446</c:v>
                </c:pt>
                <c:pt idx="59">
                  <c:v>0.14880529926661934</c:v>
                </c:pt>
                <c:pt idx="60">
                  <c:v>0.15079365079365079</c:v>
                </c:pt>
                <c:pt idx="61">
                  <c:v>0.15784182305630026</c:v>
                </c:pt>
                <c:pt idx="62">
                  <c:v>0.15373521776752236</c:v>
                </c:pt>
                <c:pt idx="63">
                  <c:v>0.16811188811188812</c:v>
                </c:pt>
                <c:pt idx="64">
                  <c:v>0.14489990467111535</c:v>
                </c:pt>
                <c:pt idx="65">
                  <c:v>0.13184329482672025</c:v>
                </c:pt>
                <c:pt idx="66">
                  <c:v>0.13299748110831233</c:v>
                </c:pt>
                <c:pt idx="67">
                  <c:v>0.12516823687752354</c:v>
                </c:pt>
                <c:pt idx="68">
                  <c:v>0.12801852464439298</c:v>
                </c:pt>
                <c:pt idx="69">
                  <c:v>0.11767317939609236</c:v>
                </c:pt>
                <c:pt idx="70">
                  <c:v>0.11130359462970983</c:v>
                </c:pt>
                <c:pt idx="71">
                  <c:v>0.11324570273003033</c:v>
                </c:pt>
                <c:pt idx="72">
                  <c:v>0.09845077461269365</c:v>
                </c:pt>
                <c:pt idx="73">
                  <c:v>0.1024390243902439</c:v>
                </c:pt>
                <c:pt idx="74">
                  <c:v>0.10515463917525773</c:v>
                </c:pt>
                <c:pt idx="75">
                  <c:v>0.1174266083697689</c:v>
                </c:pt>
                <c:pt idx="76">
                  <c:v>0.12281835811247575</c:v>
                </c:pt>
                <c:pt idx="77">
                  <c:v>0.0967519004837595</c:v>
                </c:pt>
                <c:pt idx="78">
                  <c:v>0.117061973986228</c:v>
                </c:pt>
                <c:pt idx="79">
                  <c:v>0.10946944257891202</c:v>
                </c:pt>
                <c:pt idx="80">
                  <c:v>0.0978120978120978</c:v>
                </c:pt>
                <c:pt idx="81">
                  <c:v>0.08319088319088319</c:v>
                </c:pt>
                <c:pt idx="82">
                  <c:v>0.07410021171489062</c:v>
                </c:pt>
                <c:pt idx="83">
                  <c:v>0.07218167072181671</c:v>
                </c:pt>
                <c:pt idx="84">
                  <c:v>0.07301066447908121</c:v>
                </c:pt>
                <c:pt idx="85">
                  <c:v>0.08081517919887561</c:v>
                </c:pt>
                <c:pt idx="86">
                  <c:v>0.08945191313340227</c:v>
                </c:pt>
                <c:pt idx="87">
                  <c:v>0.10318275154004107</c:v>
                </c:pt>
                <c:pt idx="88">
                  <c:v>0.10050251256281408</c:v>
                </c:pt>
                <c:pt idx="89">
                  <c:v>0.08982035928143713</c:v>
                </c:pt>
                <c:pt idx="90">
                  <c:v>0.08823529411764706</c:v>
                </c:pt>
                <c:pt idx="91">
                  <c:v>0.09305654974946313</c:v>
                </c:pt>
                <c:pt idx="92">
                  <c:v>0.09495896834701055</c:v>
                </c:pt>
                <c:pt idx="93">
                  <c:v>0.08235294117647059</c:v>
                </c:pt>
                <c:pt idx="94">
                  <c:v>0.108348134991119</c:v>
                </c:pt>
                <c:pt idx="95">
                  <c:v>0.11918850380388842</c:v>
                </c:pt>
                <c:pt idx="96">
                  <c:v>0.10141509433962265</c:v>
                </c:pt>
                <c:pt idx="97">
                  <c:v>0.1069545568666834</c:v>
                </c:pt>
                <c:pt idx="98">
                  <c:v>0.11187265089542339</c:v>
                </c:pt>
                <c:pt idx="99">
                  <c:v>0.1157649796393252</c:v>
                </c:pt>
                <c:pt idx="100">
                  <c:v>0.1085316308763784</c:v>
                </c:pt>
                <c:pt idx="101">
                  <c:v>0.13541933829186972</c:v>
                </c:pt>
                <c:pt idx="102">
                  <c:v>0.10056925996204934</c:v>
                </c:pt>
                <c:pt idx="103">
                  <c:v>0.11353573687539532</c:v>
                </c:pt>
                <c:pt idx="104">
                  <c:v>0.1083743842364532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8.1585</c:v>
                </c:pt>
                <c:pt idx="1">
                  <c:v>632.9231</c:v>
                </c:pt>
                <c:pt idx="2">
                  <c:v>651.2625</c:v>
                </c:pt>
                <c:pt idx="3">
                  <c:v>655.346</c:v>
                </c:pt>
                <c:pt idx="4">
                  <c:v>670.1739</c:v>
                </c:pt>
                <c:pt idx="5">
                  <c:v>654.8426</c:v>
                </c:pt>
                <c:pt idx="6">
                  <c:v>629.3264</c:v>
                </c:pt>
                <c:pt idx="7">
                  <c:v>652.4353</c:v>
                </c:pt>
                <c:pt idx="8">
                  <c:v>659.2881</c:v>
                </c:pt>
                <c:pt idx="9">
                  <c:v>656.2628</c:v>
                </c:pt>
                <c:pt idx="10">
                  <c:v>660.738</c:v>
                </c:pt>
                <c:pt idx="11">
                  <c:v>646.2171</c:v>
                </c:pt>
                <c:pt idx="12">
                  <c:v>665.4571</c:v>
                </c:pt>
                <c:pt idx="13">
                  <c:v>680.4691</c:v>
                </c:pt>
                <c:pt idx="14">
                  <c:v>663.228</c:v>
                </c:pt>
                <c:pt idx="15">
                  <c:v>677.8754</c:v>
                </c:pt>
                <c:pt idx="16">
                  <c:v>713.0623</c:v>
                </c:pt>
                <c:pt idx="17">
                  <c:v>691.726</c:v>
                </c:pt>
                <c:pt idx="18">
                  <c:v>605.7534</c:v>
                </c:pt>
                <c:pt idx="19">
                  <c:v>679.6694</c:v>
                </c:pt>
                <c:pt idx="20">
                  <c:v>695.0876</c:v>
                </c:pt>
                <c:pt idx="21">
                  <c:v>688.55</c:v>
                </c:pt>
                <c:pt idx="22">
                  <c:v>726.2901</c:v>
                </c:pt>
                <c:pt idx="23">
                  <c:v>708.288</c:v>
                </c:pt>
                <c:pt idx="24">
                  <c:v>679.4809</c:v>
                </c:pt>
                <c:pt idx="25">
                  <c:v>619.7172</c:v>
                </c:pt>
                <c:pt idx="26">
                  <c:v>674.1538</c:v>
                </c:pt>
                <c:pt idx="27">
                  <c:v>640.5563</c:v>
                </c:pt>
                <c:pt idx="28">
                  <c:v>676.7748</c:v>
                </c:pt>
                <c:pt idx="29">
                  <c:v>716.7328</c:v>
                </c:pt>
                <c:pt idx="30">
                  <c:v>693.9174</c:v>
                </c:pt>
                <c:pt idx="31">
                  <c:v>641.1596</c:v>
                </c:pt>
                <c:pt idx="32">
                  <c:v>703.4711</c:v>
                </c:pt>
                <c:pt idx="33">
                  <c:v>689.6573</c:v>
                </c:pt>
                <c:pt idx="34">
                  <c:v>697.6275</c:v>
                </c:pt>
                <c:pt idx="35">
                  <c:v>658.9524</c:v>
                </c:pt>
                <c:pt idx="36">
                  <c:v>660.1518</c:v>
                </c:pt>
                <c:pt idx="37">
                  <c:v>638.2901</c:v>
                </c:pt>
                <c:pt idx="38">
                  <c:v>671.6419</c:v>
                </c:pt>
                <c:pt idx="39">
                  <c:v>604.1088</c:v>
                </c:pt>
                <c:pt idx="40">
                  <c:v>655.2515</c:v>
                </c:pt>
                <c:pt idx="41">
                  <c:v>647.5079</c:v>
                </c:pt>
                <c:pt idx="42">
                  <c:v>672.3292</c:v>
                </c:pt>
                <c:pt idx="43">
                  <c:v>697.6872</c:v>
                </c:pt>
                <c:pt idx="44">
                  <c:v>675.3712</c:v>
                </c:pt>
                <c:pt idx="45">
                  <c:v>657.0181</c:v>
                </c:pt>
                <c:pt idx="46">
                  <c:v>670.3433</c:v>
                </c:pt>
                <c:pt idx="47">
                  <c:v>679.1186</c:v>
                </c:pt>
                <c:pt idx="48">
                  <c:v>692.3625</c:v>
                </c:pt>
                <c:pt idx="49">
                  <c:v>735.3987</c:v>
                </c:pt>
                <c:pt idx="50">
                  <c:v>727.0092</c:v>
                </c:pt>
                <c:pt idx="51">
                  <c:v>704.4439</c:v>
                </c:pt>
              </c:numCache>
            </c:numRef>
          </c:xVal>
          <c:yVal>
            <c:numRef>
              <c:f>Sheet1!$B$109:$B$160</c:f>
              <c:numCache>
                <c:formatCode>General</c:formatCode>
                <c:ptCount val="52"/>
                <c:pt idx="0">
                  <c:v>0.0957195820694304</c:v>
                </c:pt>
                <c:pt idx="1">
                  <c:v>0.11449541284403669</c:v>
                </c:pt>
                <c:pt idx="2">
                  <c:v>0.11746361746361747</c:v>
                </c:pt>
                <c:pt idx="3">
                  <c:v>0.1275191104933982</c:v>
                </c:pt>
                <c:pt idx="4">
                  <c:v>0.12190812720848057</c:v>
                </c:pt>
                <c:pt idx="5">
                  <c:v>0.11798980335032774</c:v>
                </c:pt>
                <c:pt idx="6">
                  <c:v>0.12267777065983344</c:v>
                </c:pt>
                <c:pt idx="7">
                  <c:v>0.10972461273666093</c:v>
                </c:pt>
                <c:pt idx="8">
                  <c:v>0.1277056277056277</c:v>
                </c:pt>
                <c:pt idx="9">
                  <c:v>0.13449817147501017</c:v>
                </c:pt>
                <c:pt idx="10">
                  <c:v>0.1491822895891504</c:v>
                </c:pt>
                <c:pt idx="11">
                  <c:v>0.15025441484585453</c:v>
                </c:pt>
                <c:pt idx="12">
                  <c:v>0.16180555555555556</c:v>
                </c:pt>
                <c:pt idx="13">
                  <c:v>0.15458015267175573</c:v>
                </c:pt>
                <c:pt idx="14">
                  <c:v>0.15703192407247626</c:v>
                </c:pt>
                <c:pt idx="15">
                  <c:v>0.145578231292517</c:v>
                </c:pt>
                <c:pt idx="16">
                  <c:v>0.14269850083287064</c:v>
                </c:pt>
                <c:pt idx="17">
                  <c:v>0.12768569674647023</c:v>
                </c:pt>
                <c:pt idx="18">
                  <c:v>0.14976494291470785</c:v>
                </c:pt>
                <c:pt idx="19">
                  <c:v>0.16090425531914893</c:v>
                </c:pt>
                <c:pt idx="20">
                  <c:v>0.14423791821561338</c:v>
                </c:pt>
                <c:pt idx="21">
                  <c:v>0.13108614232209737</c:v>
                </c:pt>
                <c:pt idx="22">
                  <c:v>0.1270611057225994</c:v>
                </c:pt>
                <c:pt idx="23">
                  <c:v>0.12729124236252545</c:v>
                </c:pt>
                <c:pt idx="24">
                  <c:v>0.12440645773979107</c:v>
                </c:pt>
                <c:pt idx="25">
                  <c:v>0.1380952380952381</c:v>
                </c:pt>
                <c:pt idx="26">
                  <c:v>0.11992619926199262</c:v>
                </c:pt>
                <c:pt idx="27">
                  <c:v>0.12997562956945571</c:v>
                </c:pt>
                <c:pt idx="28">
                  <c:v>0.11553175210405509</c:v>
                </c:pt>
                <c:pt idx="29">
                  <c:v>0.10830999066293184</c:v>
                </c:pt>
                <c:pt idx="30">
                  <c:v>0.12448559670781893</c:v>
                </c:pt>
                <c:pt idx="31">
                  <c:v>0.09989373007438895</c:v>
                </c:pt>
                <c:pt idx="32">
                  <c:v>0.10521739130434783</c:v>
                </c:pt>
                <c:pt idx="33">
                  <c:v>0.11469072164948453</c:v>
                </c:pt>
                <c:pt idx="34">
                  <c:v>0.14150943396226415</c:v>
                </c:pt>
                <c:pt idx="35">
                  <c:v>0.1290983606557377</c:v>
                </c:pt>
                <c:pt idx="36">
                  <c:v>0.12829324169530354</c:v>
                </c:pt>
                <c:pt idx="37">
                  <c:v>0.16119402985074627</c:v>
                </c:pt>
                <c:pt idx="38">
                  <c:v>0.16837315130830488</c:v>
                </c:pt>
                <c:pt idx="39">
                  <c:v>0.16029900332225913</c:v>
                </c:pt>
                <c:pt idx="40">
                  <c:v>0.13123993558776167</c:v>
                </c:pt>
                <c:pt idx="41">
                  <c:v>0.1383601756954612</c:v>
                </c:pt>
                <c:pt idx="42">
                  <c:v>0.13175122749590834</c:v>
                </c:pt>
                <c:pt idx="43">
                  <c:v>0.10610551274451689</c:v>
                </c:pt>
                <c:pt idx="44">
                  <c:v>0.1085972850678733</c:v>
                </c:pt>
                <c:pt idx="45">
                  <c:v>0.12478825522303783</c:v>
                </c:pt>
                <c:pt idx="46">
                  <c:v>0.12386095173810327</c:v>
                </c:pt>
                <c:pt idx="47">
                  <c:v>0.12441314553990611</c:v>
                </c:pt>
                <c:pt idx="48">
                  <c:v>0.10435690060005218</c:v>
                </c:pt>
                <c:pt idx="49">
                  <c:v>0.10753197536712458</c:v>
                </c:pt>
                <c:pt idx="50">
                  <c:v>0.10828236072078029</c:v>
                </c:pt>
                <c:pt idx="51">
                  <c:v>0.12774042677579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6.71170338282406</c:v>
                </c:pt>
              </c:numCache>
            </c:numRef>
          </c:xVal>
          <c:yVal>
            <c:numRef>
              <c:f>Sheet1!$B$163:$B$164</c:f>
              <c:numCache>
                <c:formatCode>General</c:formatCode>
                <c:ptCount val="2"/>
                <c:pt idx="0">
                  <c:v>0.19292325840451452</c:v>
                </c:pt>
                <c:pt idx="1">
                  <c:v>0.192923258404514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6.71170338282406</c:v>
                </c:pt>
                <c:pt idx="1">
                  <c:v>296.71170338282406</c:v>
                </c:pt>
              </c:numCache>
            </c:numRef>
          </c:xVal>
          <c:yVal>
            <c:numRef>
              <c:f>Sheet1!$B$167:$B$168</c:f>
              <c:numCache>
                <c:formatCode>General</c:formatCode>
                <c:ptCount val="2"/>
                <c:pt idx="0">
                  <c:v>0.192923258404514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67.7782583446741</c:v>
                </c:pt>
              </c:numCache>
            </c:numRef>
          </c:xVal>
          <c:yVal>
            <c:numRef>
              <c:f>Sheet1!$B$171:$B$172</c:f>
              <c:numCache>
                <c:formatCode>General</c:formatCode>
                <c:ptCount val="2"/>
                <c:pt idx="0">
                  <c:v>0.1468698612194791</c:v>
                </c:pt>
                <c:pt idx="1">
                  <c:v>0.14686986121947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67.7782583446741</c:v>
                </c:pt>
                <c:pt idx="1">
                  <c:v>567.7782583446741</c:v>
                </c:pt>
              </c:numCache>
            </c:numRef>
          </c:xVal>
          <c:yVal>
            <c:numRef>
              <c:f>Sheet1!$B$175:$B$176</c:f>
              <c:numCache>
                <c:formatCode>General</c:formatCode>
                <c:ptCount val="2"/>
                <c:pt idx="0">
                  <c:v>0.14686986121947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09.0317244521598</c:v>
                </c:pt>
              </c:numCache>
            </c:numRef>
          </c:xVal>
          <c:yVal>
            <c:numRef>
              <c:f>Sheet1!$B$179:$B$180</c:f>
              <c:numCache>
                <c:formatCode>General</c:formatCode>
                <c:ptCount val="2"/>
                <c:pt idx="0">
                  <c:v>0.12287131968296781</c:v>
                </c:pt>
                <c:pt idx="1">
                  <c:v>0.1228713196829678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09.0317244521598</c:v>
                </c:pt>
                <c:pt idx="1">
                  <c:v>709.0317244521598</c:v>
                </c:pt>
              </c:numCache>
            </c:numRef>
          </c:xVal>
          <c:yVal>
            <c:numRef>
              <c:f>Sheet1!$B$183:$B$184</c:f>
              <c:numCache>
                <c:formatCode>General</c:formatCode>
                <c:ptCount val="2"/>
                <c:pt idx="0">
                  <c:v>0.122871319682967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8.1585</c:v>
                </c:pt>
                <c:pt idx="1">
                  <c:v>632.9231</c:v>
                </c:pt>
                <c:pt idx="2">
                  <c:v>651.2625</c:v>
                </c:pt>
                <c:pt idx="3">
                  <c:v>655.346</c:v>
                </c:pt>
                <c:pt idx="4">
                  <c:v>670.1739</c:v>
                </c:pt>
                <c:pt idx="5">
                  <c:v>654.8426</c:v>
                </c:pt>
                <c:pt idx="6">
                  <c:v>629.3264</c:v>
                </c:pt>
                <c:pt idx="7">
                  <c:v>652.4353</c:v>
                </c:pt>
                <c:pt idx="8">
                  <c:v>659.2881</c:v>
                </c:pt>
                <c:pt idx="9">
                  <c:v>656.2628</c:v>
                </c:pt>
                <c:pt idx="10">
                  <c:v>660.738</c:v>
                </c:pt>
                <c:pt idx="11">
                  <c:v>646.2171</c:v>
                </c:pt>
                <c:pt idx="12">
                  <c:v>665.4571</c:v>
                </c:pt>
                <c:pt idx="13">
                  <c:v>680.4691</c:v>
                </c:pt>
                <c:pt idx="14">
                  <c:v>663.228</c:v>
                </c:pt>
                <c:pt idx="15">
                  <c:v>677.8754</c:v>
                </c:pt>
                <c:pt idx="16">
                  <c:v>713.0623</c:v>
                </c:pt>
                <c:pt idx="17">
                  <c:v>691.726</c:v>
                </c:pt>
                <c:pt idx="18">
                  <c:v>605.7534</c:v>
                </c:pt>
                <c:pt idx="19">
                  <c:v>679.6694</c:v>
                </c:pt>
                <c:pt idx="20">
                  <c:v>695.0876</c:v>
                </c:pt>
                <c:pt idx="21">
                  <c:v>688.55</c:v>
                </c:pt>
                <c:pt idx="22">
                  <c:v>726.2901</c:v>
                </c:pt>
                <c:pt idx="23">
                  <c:v>708.288</c:v>
                </c:pt>
                <c:pt idx="24">
                  <c:v>679.4809</c:v>
                </c:pt>
                <c:pt idx="25">
                  <c:v>619.7172</c:v>
                </c:pt>
                <c:pt idx="26">
                  <c:v>674.1538</c:v>
                </c:pt>
                <c:pt idx="27">
                  <c:v>640.5563</c:v>
                </c:pt>
                <c:pt idx="28">
                  <c:v>676.7748</c:v>
                </c:pt>
                <c:pt idx="29">
                  <c:v>716.7328</c:v>
                </c:pt>
                <c:pt idx="30">
                  <c:v>693.9174</c:v>
                </c:pt>
                <c:pt idx="31">
                  <c:v>641.1596</c:v>
                </c:pt>
                <c:pt idx="32">
                  <c:v>703.4711</c:v>
                </c:pt>
                <c:pt idx="33">
                  <c:v>689.6573</c:v>
                </c:pt>
                <c:pt idx="34">
                  <c:v>697.6275</c:v>
                </c:pt>
                <c:pt idx="35">
                  <c:v>658.9524</c:v>
                </c:pt>
                <c:pt idx="36">
                  <c:v>660.1518</c:v>
                </c:pt>
                <c:pt idx="37">
                  <c:v>638.2901</c:v>
                </c:pt>
                <c:pt idx="38">
                  <c:v>671.6419</c:v>
                </c:pt>
                <c:pt idx="39">
                  <c:v>604.1088</c:v>
                </c:pt>
                <c:pt idx="40">
                  <c:v>655.2515</c:v>
                </c:pt>
                <c:pt idx="41">
                  <c:v>647.5079</c:v>
                </c:pt>
                <c:pt idx="42">
                  <c:v>672.3292</c:v>
                </c:pt>
                <c:pt idx="43">
                  <c:v>697.6872</c:v>
                </c:pt>
                <c:pt idx="44">
                  <c:v>675.3712</c:v>
                </c:pt>
                <c:pt idx="45">
                  <c:v>657.0181</c:v>
                </c:pt>
                <c:pt idx="46">
                  <c:v>670.3433</c:v>
                </c:pt>
                <c:pt idx="47">
                  <c:v>679.1186</c:v>
                </c:pt>
                <c:pt idx="48">
                  <c:v>692.3625</c:v>
                </c:pt>
                <c:pt idx="49">
                  <c:v>735.3987</c:v>
                </c:pt>
                <c:pt idx="50">
                  <c:v>727.0092</c:v>
                </c:pt>
                <c:pt idx="51">
                  <c:v>704.4439</c:v>
                </c:pt>
                <c:pt idx="52">
                  <c:v>567.7782583446741</c:v>
                </c:pt>
                <c:pt idx="53">
                  <c:v>296.71170338282406</c:v>
                </c:pt>
                <c:pt idx="54">
                  <c:v>709.0317244521598</c:v>
                </c:pt>
              </c:numCache>
            </c:numRef>
          </c:xVal>
          <c:yVal>
            <c:numRef>
              <c:f>Sheet1!$B$187:$B$241</c:f>
              <c:numCache>
                <c:formatCode>General</c:formatCode>
                <c:ptCount val="55"/>
                <c:pt idx="0">
                  <c:v>0.13321349850330838</c:v>
                </c:pt>
                <c:pt idx="1">
                  <c:v>0.1358019474086764</c:v>
                </c:pt>
                <c:pt idx="2">
                  <c:v>0.13268613818442848</c:v>
                </c:pt>
                <c:pt idx="3">
                  <c:v>0.13199236374430415</c:v>
                </c:pt>
                <c:pt idx="4">
                  <c:v>0.12947314787049008</c:v>
                </c:pt>
                <c:pt idx="5">
                  <c:v>0.13207788989911218</c:v>
                </c:pt>
                <c:pt idx="6">
                  <c:v>0.13641301598435784</c:v>
                </c:pt>
                <c:pt idx="7">
                  <c:v>0.132486882971161</c:v>
                </c:pt>
                <c:pt idx="8">
                  <c:v>0.1313226127413865</c:v>
                </c:pt>
                <c:pt idx="9">
                  <c:v>0.13183660216558346</c:v>
                </c:pt>
                <c:pt idx="10">
                  <c:v>0.1310762790666623</c:v>
                </c:pt>
                <c:pt idx="11">
                  <c:v>0.1335433365584222</c:v>
                </c:pt>
                <c:pt idx="12">
                  <c:v>0.13027451808701473</c:v>
                </c:pt>
                <c:pt idx="13">
                  <c:v>0.12772402417366918</c:v>
                </c:pt>
                <c:pt idx="14">
                  <c:v>0.13065323551189076</c:v>
                </c:pt>
                <c:pt idx="15">
                  <c:v>0.1281646860483724</c:v>
                </c:pt>
                <c:pt idx="16">
                  <c:v>0.12218653694901856</c:v>
                </c:pt>
                <c:pt idx="17">
                  <c:v>0.12581151052238088</c:v>
                </c:pt>
                <c:pt idx="18">
                  <c:v>0.14041799819987177</c:v>
                </c:pt>
                <c:pt idx="19">
                  <c:v>0.1278598908125249</c:v>
                </c:pt>
                <c:pt idx="20">
                  <c:v>0.1252403847337383</c:v>
                </c:pt>
                <c:pt idx="21">
                  <c:v>0.12635110342597705</c:v>
                </c:pt>
                <c:pt idx="22">
                  <c:v>0.11993917328082294</c:v>
                </c:pt>
                <c:pt idx="23">
                  <c:v>0.12299767624361527</c:v>
                </c:pt>
                <c:pt idx="24">
                  <c:v>0.12789191639890019</c:v>
                </c:pt>
                <c:pt idx="25">
                  <c:v>0.13804559033235414</c:v>
                </c:pt>
                <c:pt idx="26">
                  <c:v>0.12879697476059637</c:v>
                </c:pt>
                <c:pt idx="27">
                  <c:v>0.1345050895523382</c:v>
                </c:pt>
                <c:pt idx="28">
                  <c:v>0.1283516746975216</c:v>
                </c:pt>
                <c:pt idx="29">
                  <c:v>0.12156292997400292</c:v>
                </c:pt>
                <c:pt idx="30">
                  <c:v>0.12543919821477995</c:v>
                </c:pt>
                <c:pt idx="31">
                  <c:v>0.13440259068623633</c:v>
                </c:pt>
                <c:pt idx="32">
                  <c:v>0.12381605315083578</c:v>
                </c:pt>
                <c:pt idx="33">
                  <c:v>0.12616297646686117</c:v>
                </c:pt>
                <c:pt idx="34">
                  <c:v>0.12480886331817032</c:v>
                </c:pt>
                <c:pt idx="35">
                  <c:v>0.13137964716762618</c:v>
                </c:pt>
                <c:pt idx="36">
                  <c:v>0.13117587269389408</c:v>
                </c:pt>
                <c:pt idx="37">
                  <c:v>0.13489011015628327</c:v>
                </c:pt>
                <c:pt idx="38">
                  <c:v>0.12922373905988582</c:v>
                </c:pt>
                <c:pt idx="39">
                  <c:v>0.14069741082243298</c:v>
                </c:pt>
                <c:pt idx="40">
                  <c:v>0.13200841901174426</c:v>
                </c:pt>
                <c:pt idx="41">
                  <c:v>0.1333240334979808</c:v>
                </c:pt>
                <c:pt idx="42">
                  <c:v>0.12910696884494827</c:v>
                </c:pt>
                <c:pt idx="43">
                  <c:v>0.12479872046667641</c:v>
                </c:pt>
                <c:pt idx="44">
                  <c:v>0.12859014214068518</c:v>
                </c:pt>
                <c:pt idx="45">
                  <c:v>0.13170827895396942</c:v>
                </c:pt>
                <c:pt idx="46">
                  <c:v>0.12944436731700482</c:v>
                </c:pt>
                <c:pt idx="47">
                  <c:v>0.1279534700856045</c:v>
                </c:pt>
                <c:pt idx="48">
                  <c:v>0.12570337107554874</c:v>
                </c:pt>
                <c:pt idx="49">
                  <c:v>0.11839164937600684</c:v>
                </c:pt>
                <c:pt idx="50">
                  <c:v>0.11981700034096905</c:v>
                </c:pt>
                <c:pt idx="51">
                  <c:v>0.12365077733955797</c:v>
                </c:pt>
                <c:pt idx="52">
                  <c:v>0.1468698612194791</c:v>
                </c:pt>
                <c:pt idx="53">
                  <c:v>0.19292325840451452</c:v>
                </c:pt>
                <c:pt idx="54">
                  <c:v>0.12287131968296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2.0"/>
          <c:min val="2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354186717998076"/>
          <c:min val="0.057745336577453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19942034486541</c:v>
                </c:pt>
                <c:pt idx="1">
                  <c:v>0.255188101134465</c:v>
                </c:pt>
                <c:pt idx="2">
                  <c:v>0.2495803178428167</c:v>
                </c:pt>
                <c:pt idx="3">
                  <c:v>0.24592943426181849</c:v>
                </c:pt>
                <c:pt idx="4">
                  <c:v>0.24320449514022396</c:v>
                </c:pt>
                <c:pt idx="5">
                  <c:v>0.2533986097999977</c:v>
                </c:pt>
                <c:pt idx="6">
                  <c:v>0.24319405625011323</c:v>
                </c:pt>
                <c:pt idx="7">
                  <c:v>0.2485521132514986</c:v>
                </c:pt>
                <c:pt idx="8">
                  <c:v>0.25317533063234354</c:v>
                </c:pt>
                <c:pt idx="9">
                  <c:v>0.27135635151483456</c:v>
                </c:pt>
                <c:pt idx="10">
                  <c:v>0.2786456245971216</c:v>
                </c:pt>
                <c:pt idx="11">
                  <c:v>0.27775784186637087</c:v>
                </c:pt>
                <c:pt idx="12">
                  <c:v>0.2823729203123422</c:v>
                </c:pt>
                <c:pt idx="13">
                  <c:v>0.27344964464590643</c:v>
                </c:pt>
                <c:pt idx="14">
                  <c:v>0.27555023746565066</c:v>
                </c:pt>
                <c:pt idx="15">
                  <c:v>0.28521570671629537</c:v>
                </c:pt>
                <c:pt idx="16">
                  <c:v>0.2866828644916439</c:v>
                </c:pt>
                <c:pt idx="17">
                  <c:v>0.28932212011514075</c:v>
                </c:pt>
                <c:pt idx="18">
                  <c:v>0.2920802230834207</c:v>
                </c:pt>
                <c:pt idx="19">
                  <c:v>0.2989335916412876</c:v>
                </c:pt>
                <c:pt idx="20">
                  <c:v>0.30515099402701973</c:v>
                </c:pt>
                <c:pt idx="21">
                  <c:v>0.26844913084334104</c:v>
                </c:pt>
                <c:pt idx="22">
                  <c:v>0.2643357688808802</c:v>
                </c:pt>
                <c:pt idx="23">
                  <c:v>0.2501835896311939</c:v>
                </c:pt>
                <c:pt idx="24">
                  <c:v>0.25458267412865704</c:v>
                </c:pt>
                <c:pt idx="25">
                  <c:v>0.2542123012854698</c:v>
                </c:pt>
                <c:pt idx="26">
                  <c:v>0.25732978394251754</c:v>
                </c:pt>
                <c:pt idx="27">
                  <c:v>0.26020383688391363</c:v>
                </c:pt>
                <c:pt idx="28">
                  <c:v>0.2590290690104709</c:v>
                </c:pt>
                <c:pt idx="29">
                  <c:v>0.25626855980398133</c:v>
                </c:pt>
                <c:pt idx="30">
                  <c:v>0.2593294389745101</c:v>
                </c:pt>
                <c:pt idx="31">
                  <c:v>0.279165232308573</c:v>
                </c:pt>
                <c:pt idx="32">
                  <c:v>0.2777223421650321</c:v>
                </c:pt>
                <c:pt idx="33">
                  <c:v>0.2711110317640493</c:v>
                </c:pt>
                <c:pt idx="34">
                  <c:v>0.2792155667761484</c:v>
                </c:pt>
                <c:pt idx="35">
                  <c:v>0.2900388279795516</c:v>
                </c:pt>
                <c:pt idx="36">
                  <c:v>0.29474433428705044</c:v>
                </c:pt>
                <c:pt idx="37">
                  <c:v>0.2919084461125992</c:v>
                </c:pt>
                <c:pt idx="38">
                  <c:v>0.3049662675020345</c:v>
                </c:pt>
                <c:pt idx="39">
                  <c:v>0.31131395679887175</c:v>
                </c:pt>
                <c:pt idx="40">
                  <c:v>0.2908834647189965</c:v>
                </c:pt>
                <c:pt idx="41">
                  <c:v>0.2772897354122785</c:v>
                </c:pt>
                <c:pt idx="42">
                  <c:v>0.28356049915356196</c:v>
                </c:pt>
                <c:pt idx="43">
                  <c:v>0.2903086043329162</c:v>
                </c:pt>
                <c:pt idx="44">
                  <c:v>0.2892321986654278</c:v>
                </c:pt>
                <c:pt idx="45">
                  <c:v>0.288215754658908</c:v>
                </c:pt>
                <c:pt idx="46">
                  <c:v>0.29015241419907173</c:v>
                </c:pt>
                <c:pt idx="47">
                  <c:v>0.29420933944898636</c:v>
                </c:pt>
                <c:pt idx="48">
                  <c:v>0.28244514381241814</c:v>
                </c:pt>
                <c:pt idx="49">
                  <c:v>0.27445433090038324</c:v>
                </c:pt>
                <c:pt idx="50">
                  <c:v>0.2951364126067096</c:v>
                </c:pt>
                <c:pt idx="51">
                  <c:v>0.3062565267423438</c:v>
                </c:pt>
                <c:pt idx="52">
                  <c:v>0.29506410822409007</c:v>
                </c:pt>
                <c:pt idx="53">
                  <c:v>0.2690195076733864</c:v>
                </c:pt>
                <c:pt idx="54">
                  <c:v>0.26077552557157374</c:v>
                </c:pt>
                <c:pt idx="55">
                  <c:v>0.2610649900646712</c:v>
                </c:pt>
                <c:pt idx="56">
                  <c:v>0.25558300730474864</c:v>
                </c:pt>
                <c:pt idx="57">
                  <c:v>0.24273954067615328</c:v>
                </c:pt>
                <c:pt idx="58">
                  <c:v>0.23764764991382645</c:v>
                </c:pt>
                <c:pt idx="59">
                  <c:v>0.25169497759182163</c:v>
                </c:pt>
                <c:pt idx="60">
                  <c:v>0.24402191084307515</c:v>
                </c:pt>
                <c:pt idx="61">
                  <c:v>0.27150277905431175</c:v>
                </c:pt>
                <c:pt idx="62">
                  <c:v>0.2933523186340494</c:v>
                </c:pt>
                <c:pt idx="63">
                  <c:v>0.30724232583781236</c:v>
                </c:pt>
                <c:pt idx="64">
                  <c:v>0.322867492749577</c:v>
                </c:pt>
                <c:pt idx="65">
                  <c:v>0.3252026627574749</c:v>
                </c:pt>
                <c:pt idx="66">
                  <c:v>0.3106707761411556</c:v>
                </c:pt>
                <c:pt idx="67">
                  <c:v>0.31501776030964856</c:v>
                </c:pt>
                <c:pt idx="68">
                  <c:v>0.33810546034053274</c:v>
                </c:pt>
                <c:pt idx="69">
                  <c:v>0.3407916311087103</c:v>
                </c:pt>
                <c:pt idx="70">
                  <c:v>0.33398857537438587</c:v>
                </c:pt>
                <c:pt idx="71">
                  <c:v>0.3128737130648414</c:v>
                </c:pt>
                <c:pt idx="72">
                  <c:v>0.31833379819348195</c:v>
                </c:pt>
                <c:pt idx="73">
                  <c:v>0.3136003070060111</c:v>
                </c:pt>
                <c:pt idx="74">
                  <c:v>0.30689065875783983</c:v>
                </c:pt>
                <c:pt idx="75">
                  <c:v>0.2939772707924715</c:v>
                </c:pt>
                <c:pt idx="76">
                  <c:v>0.2958223413105782</c:v>
                </c:pt>
                <c:pt idx="77">
                  <c:v>0.3073981670699447</c:v>
                </c:pt>
                <c:pt idx="78">
                  <c:v>0.31343727805453986</c:v>
                </c:pt>
                <c:pt idx="79">
                  <c:v>0.3225044812950107</c:v>
                </c:pt>
                <c:pt idx="80">
                  <c:v>0.3578198353925632</c:v>
                </c:pt>
                <c:pt idx="81">
                  <c:v>0.32544886113780336</c:v>
                </c:pt>
                <c:pt idx="82">
                  <c:v>0.3361674847416372</c:v>
                </c:pt>
                <c:pt idx="83">
                  <c:v>0.32156549175808047</c:v>
                </c:pt>
                <c:pt idx="84">
                  <c:v>0.33030483443092057</c:v>
                </c:pt>
                <c:pt idx="85">
                  <c:v>0.3141446745350125</c:v>
                </c:pt>
                <c:pt idx="86">
                  <c:v>0.3302635187092732</c:v>
                </c:pt>
                <c:pt idx="87">
                  <c:v>0.32322022615470786</c:v>
                </c:pt>
                <c:pt idx="88">
                  <c:v>0.31605562346179594</c:v>
                </c:pt>
                <c:pt idx="89">
                  <c:v>0.31476425541900344</c:v>
                </c:pt>
                <c:pt idx="90">
                  <c:v>0.3158400362009148</c:v>
                </c:pt>
                <c:pt idx="91">
                  <c:v>0.32317906996141754</c:v>
                </c:pt>
                <c:pt idx="92">
                  <c:v>0.3152773359579425</c:v>
                </c:pt>
                <c:pt idx="93">
                  <c:v>0.315845726483963</c:v>
                </c:pt>
                <c:pt idx="94">
                  <c:v>0.3262176060628071</c:v>
                </c:pt>
                <c:pt idx="95">
                  <c:v>0.329013874045397</c:v>
                </c:pt>
                <c:pt idx="96">
                  <c:v>0.3472041666480594</c:v>
                </c:pt>
                <c:pt idx="97">
                  <c:v>0.3510029149552732</c:v>
                </c:pt>
                <c:pt idx="98">
                  <c:v>0.3421165002199986</c:v>
                </c:pt>
                <c:pt idx="99">
                  <c:v>0.3467396942033288</c:v>
                </c:pt>
                <c:pt idx="100">
                  <c:v>0.3363847588174984</c:v>
                </c:pt>
                <c:pt idx="101">
                  <c:v>0.3234228720400228</c:v>
                </c:pt>
                <c:pt idx="102">
                  <c:v>0.3334872590961016</c:v>
                </c:pt>
                <c:pt idx="103">
                  <c:v>0.2645624859943619</c:v>
                </c:pt>
                <c:pt idx="104">
                  <c:v>0.2714322821120197</c:v>
                </c:pt>
              </c:numCache>
            </c:numRef>
          </c:xVal>
          <c:yVal>
            <c:numRef>
              <c:f>Sheet1!$B$2:$B$106</c:f>
              <c:numCache>
                <c:formatCode>General</c:formatCode>
                <c:ptCount val="105"/>
                <c:pt idx="0">
                  <c:v>0.1746550472040668</c:v>
                </c:pt>
                <c:pt idx="1">
                  <c:v>0.20952380952380953</c:v>
                </c:pt>
                <c:pt idx="2">
                  <c:v>0.19011725293132328</c:v>
                </c:pt>
                <c:pt idx="3">
                  <c:v>0.17137254901960786</c:v>
                </c:pt>
                <c:pt idx="4">
                  <c:v>0.18118466898954705</c:v>
                </c:pt>
                <c:pt idx="5">
                  <c:v>0.19549929676511954</c:v>
                </c:pt>
                <c:pt idx="6">
                  <c:v>0.22666025024061598</c:v>
                </c:pt>
                <c:pt idx="7">
                  <c:v>0.20572916666666666</c:v>
                </c:pt>
                <c:pt idx="8">
                  <c:v>0.1774936061381074</c:v>
                </c:pt>
                <c:pt idx="9">
                  <c:v>0.1695464362850972</c:v>
                </c:pt>
                <c:pt idx="10">
                  <c:v>0.19398711524695778</c:v>
                </c:pt>
                <c:pt idx="11">
                  <c:v>0.18490847964138962</c:v>
                </c:pt>
                <c:pt idx="12">
                  <c:v>0.19105113636363635</c:v>
                </c:pt>
                <c:pt idx="13">
                  <c:v>0.22109227871939735</c:v>
                </c:pt>
                <c:pt idx="14">
                  <c:v>0.20474219044034625</c:v>
                </c:pt>
                <c:pt idx="15">
                  <c:v>0.16022727272727272</c:v>
                </c:pt>
                <c:pt idx="16">
                  <c:v>0.14772727272727273</c:v>
                </c:pt>
                <c:pt idx="17">
                  <c:v>0.13129496402877697</c:v>
                </c:pt>
                <c:pt idx="18">
                  <c:v>0.13897131552917902</c:v>
                </c:pt>
                <c:pt idx="19">
                  <c:v>0.12221553281155931</c:v>
                </c:pt>
                <c:pt idx="20">
                  <c:v>0.10917478216299334</c:v>
                </c:pt>
                <c:pt idx="21">
                  <c:v>0.12916383412644458</c:v>
                </c:pt>
                <c:pt idx="22">
                  <c:v>0.14933705512909978</c:v>
                </c:pt>
                <c:pt idx="23">
                  <c:v>0.1664167916041979</c:v>
                </c:pt>
                <c:pt idx="24">
                  <c:v>0.18791451731761238</c:v>
                </c:pt>
                <c:pt idx="25">
                  <c:v>0.17491467576791808</c:v>
                </c:pt>
                <c:pt idx="26">
                  <c:v>0.15384615384615385</c:v>
                </c:pt>
                <c:pt idx="27">
                  <c:v>0.15997181113460182</c:v>
                </c:pt>
                <c:pt idx="28">
                  <c:v>0.13956941351150706</c:v>
                </c:pt>
                <c:pt idx="29">
                  <c:v>0.12669683257918551</c:v>
                </c:pt>
                <c:pt idx="30">
                  <c:v>0.1406628940986257</c:v>
                </c:pt>
                <c:pt idx="31">
                  <c:v>0.1337025316455696</c:v>
                </c:pt>
                <c:pt idx="32">
                  <c:v>0.15126050420168066</c:v>
                </c:pt>
                <c:pt idx="33">
                  <c:v>0.14201532115497936</c:v>
                </c:pt>
                <c:pt idx="34">
                  <c:v>0.1286783042394015</c:v>
                </c:pt>
                <c:pt idx="35">
                  <c:v>0.13989637305699482</c:v>
                </c:pt>
                <c:pt idx="36">
                  <c:v>0.13740053050397877</c:v>
                </c:pt>
                <c:pt idx="37">
                  <c:v>0.11277258566978193</c:v>
                </c:pt>
                <c:pt idx="38">
                  <c:v>0.1173939766441303</c:v>
                </c:pt>
                <c:pt idx="39">
                  <c:v>0.12352941176470589</c:v>
                </c:pt>
                <c:pt idx="40">
                  <c:v>0.12214551248008497</c:v>
                </c:pt>
                <c:pt idx="41">
                  <c:v>0.12100456621004566</c:v>
                </c:pt>
                <c:pt idx="42">
                  <c:v>0.12026832774317202</c:v>
                </c:pt>
                <c:pt idx="43">
                  <c:v>0.11525565800502934</c:v>
                </c:pt>
                <c:pt idx="44">
                  <c:v>0.13713405238828968</c:v>
                </c:pt>
                <c:pt idx="45">
                  <c:v>0.14734245346490243</c:v>
                </c:pt>
                <c:pt idx="46">
                  <c:v>0.15191306316504416</c:v>
                </c:pt>
                <c:pt idx="47">
                  <c:v>0.1660165772793759</c:v>
                </c:pt>
                <c:pt idx="48">
                  <c:v>0.17752684191040355</c:v>
                </c:pt>
                <c:pt idx="49">
                  <c:v>0.19140522014236752</c:v>
                </c:pt>
                <c:pt idx="50">
                  <c:v>0.1658255227108868</c:v>
                </c:pt>
                <c:pt idx="51">
                  <c:v>0.15165876777251186</c:v>
                </c:pt>
                <c:pt idx="52">
                  <c:v>0.1524195885250652</c:v>
                </c:pt>
                <c:pt idx="53">
                  <c:v>0.1695865451997197</c:v>
                </c:pt>
                <c:pt idx="54">
                  <c:v>0.17013152312261348</c:v>
                </c:pt>
                <c:pt idx="55">
                  <c:v>0.16510012259910095</c:v>
                </c:pt>
                <c:pt idx="56">
                  <c:v>0.18075313807531382</c:v>
                </c:pt>
                <c:pt idx="57">
                  <c:v>0.18479059515062454</c:v>
                </c:pt>
                <c:pt idx="58">
                  <c:v>0.19789901728227718</c:v>
                </c:pt>
                <c:pt idx="59">
                  <c:v>0.1540099361249113</c:v>
                </c:pt>
                <c:pt idx="60">
                  <c:v>0.15317460317460319</c:v>
                </c:pt>
                <c:pt idx="61">
                  <c:v>0.16890080428954424</c:v>
                </c:pt>
                <c:pt idx="62">
                  <c:v>0.18027112777617538</c:v>
                </c:pt>
                <c:pt idx="63">
                  <c:v>0.18265734265734265</c:v>
                </c:pt>
                <c:pt idx="64">
                  <c:v>0.15872259294566254</c:v>
                </c:pt>
                <c:pt idx="65">
                  <c:v>0.15444500251130086</c:v>
                </c:pt>
                <c:pt idx="66">
                  <c:v>0.16397984886649875</c:v>
                </c:pt>
                <c:pt idx="67">
                  <c:v>0.15558546433378195</c:v>
                </c:pt>
                <c:pt idx="68">
                  <c:v>0.14555077737347005</c:v>
                </c:pt>
                <c:pt idx="69">
                  <c:v>0.130550621669627</c:v>
                </c:pt>
                <c:pt idx="70">
                  <c:v>0.12343005630142918</c:v>
                </c:pt>
                <c:pt idx="71">
                  <c:v>0.1430738119312437</c:v>
                </c:pt>
                <c:pt idx="72">
                  <c:v>0.14142928535732133</c:v>
                </c:pt>
                <c:pt idx="73">
                  <c:v>0.14742547425474256</c:v>
                </c:pt>
                <c:pt idx="74">
                  <c:v>0.13814432989690723</c:v>
                </c:pt>
                <c:pt idx="75">
                  <c:v>0.1405371642723298</c:v>
                </c:pt>
                <c:pt idx="76">
                  <c:v>0.16224951519069167</c:v>
                </c:pt>
                <c:pt idx="77">
                  <c:v>0.143054595715273</c:v>
                </c:pt>
                <c:pt idx="78">
                  <c:v>0.1407804131599082</c:v>
                </c:pt>
                <c:pt idx="79">
                  <c:v>0.1134989926124916</c:v>
                </c:pt>
                <c:pt idx="80">
                  <c:v>0.11132561132561132</c:v>
                </c:pt>
                <c:pt idx="81">
                  <c:v>0.11339031339031339</c:v>
                </c:pt>
                <c:pt idx="82">
                  <c:v>0.10726887791107975</c:v>
                </c:pt>
                <c:pt idx="83">
                  <c:v>0.10624493106244931</c:v>
                </c:pt>
                <c:pt idx="84">
                  <c:v>0.10500410172272355</c:v>
                </c:pt>
                <c:pt idx="85">
                  <c:v>0.11524947294448348</c:v>
                </c:pt>
                <c:pt idx="86">
                  <c:v>0.10392967942088935</c:v>
                </c:pt>
                <c:pt idx="87">
                  <c:v>0.11652977412731007</c:v>
                </c:pt>
                <c:pt idx="88">
                  <c:v>0.11180904522613065</c:v>
                </c:pt>
                <c:pt idx="89">
                  <c:v>0.12425149700598802</c:v>
                </c:pt>
                <c:pt idx="90">
                  <c:v>0.12770897832817338</c:v>
                </c:pt>
                <c:pt idx="91">
                  <c:v>0.1224051539012169</c:v>
                </c:pt>
                <c:pt idx="92">
                  <c:v>0.1201641266119578</c:v>
                </c:pt>
                <c:pt idx="93">
                  <c:v>0.11820728291316526</c:v>
                </c:pt>
                <c:pt idx="94">
                  <c:v>0.1172291296625222</c:v>
                </c:pt>
                <c:pt idx="95">
                  <c:v>0.12595097210481826</c:v>
                </c:pt>
                <c:pt idx="96">
                  <c:v>0.09433962264150944</c:v>
                </c:pt>
                <c:pt idx="97">
                  <c:v>0.10118001506402209</c:v>
                </c:pt>
                <c:pt idx="98">
                  <c:v>0.10590316161839487</c:v>
                </c:pt>
                <c:pt idx="99">
                  <c:v>0.1287570292805895</c:v>
                </c:pt>
                <c:pt idx="100">
                  <c:v>0.13682530470110274</c:v>
                </c:pt>
                <c:pt idx="101">
                  <c:v>0.14875609130546294</c:v>
                </c:pt>
                <c:pt idx="102">
                  <c:v>0.12789373814041746</c:v>
                </c:pt>
                <c:pt idx="103">
                  <c:v>0.16223908918406071</c:v>
                </c:pt>
                <c:pt idx="104">
                  <c:v>0.1409624857900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9300649941749324</c:v>
                </c:pt>
                <c:pt idx="1">
                  <c:v>0.30294082721998333</c:v>
                </c:pt>
                <c:pt idx="2">
                  <c:v>0.3020723048435619</c:v>
                </c:pt>
                <c:pt idx="3">
                  <c:v>0.2938702552993189</c:v>
                </c:pt>
                <c:pt idx="4">
                  <c:v>0.296987185270642</c:v>
                </c:pt>
                <c:pt idx="5">
                  <c:v>0.30205761400362346</c:v>
                </c:pt>
                <c:pt idx="6">
                  <c:v>0.3173993199819237</c:v>
                </c:pt>
                <c:pt idx="7">
                  <c:v>0.2978417395692223</c:v>
                </c:pt>
                <c:pt idx="8">
                  <c:v>0.31720129318411644</c:v>
                </c:pt>
                <c:pt idx="9">
                  <c:v>0.3213851254398869</c:v>
                </c:pt>
                <c:pt idx="10">
                  <c:v>0.3192474306090415</c:v>
                </c:pt>
                <c:pt idx="11">
                  <c:v>0.3470520757524076</c:v>
                </c:pt>
                <c:pt idx="12">
                  <c:v>0.341015362260626</c:v>
                </c:pt>
                <c:pt idx="13">
                  <c:v>0.32168604256232597</c:v>
                </c:pt>
                <c:pt idx="14">
                  <c:v>0.3308438763607845</c:v>
                </c:pt>
                <c:pt idx="15">
                  <c:v>0.34044348367687904</c:v>
                </c:pt>
                <c:pt idx="16">
                  <c:v>0.3541300258631158</c:v>
                </c:pt>
                <c:pt idx="17">
                  <c:v>0.33684542785304533</c:v>
                </c:pt>
                <c:pt idx="18">
                  <c:v>0.3251115619713405</c:v>
                </c:pt>
                <c:pt idx="19">
                  <c:v>0.3022576107568954</c:v>
                </c:pt>
                <c:pt idx="20">
                  <c:v>0.28262976773279114</c:v>
                </c:pt>
                <c:pt idx="21">
                  <c:v>0.30857106282264174</c:v>
                </c:pt>
                <c:pt idx="22">
                  <c:v>0.31531046649219485</c:v>
                </c:pt>
                <c:pt idx="23">
                  <c:v>0.2988020436158142</c:v>
                </c:pt>
                <c:pt idx="24">
                  <c:v>0.3035032242442001</c:v>
                </c:pt>
                <c:pt idx="25">
                  <c:v>0.24482069318643795</c:v>
                </c:pt>
                <c:pt idx="26">
                  <c:v>0.3099994942306792</c:v>
                </c:pt>
                <c:pt idx="27">
                  <c:v>0.3202895775789856</c:v>
                </c:pt>
                <c:pt idx="28">
                  <c:v>0.2985899571889978</c:v>
                </c:pt>
                <c:pt idx="29">
                  <c:v>0.2674166405290811</c:v>
                </c:pt>
                <c:pt idx="30">
                  <c:v>0.3003113660169654</c:v>
                </c:pt>
                <c:pt idx="31">
                  <c:v>0.27918139273184167</c:v>
                </c:pt>
                <c:pt idx="32">
                  <c:v>0.29410008125937215</c:v>
                </c:pt>
                <c:pt idx="33">
                  <c:v>0.29056437632351423</c:v>
                </c:pt>
                <c:pt idx="34">
                  <c:v>0.3081579946447596</c:v>
                </c:pt>
                <c:pt idx="35">
                  <c:v>0.28836810954578845</c:v>
                </c:pt>
                <c:pt idx="36">
                  <c:v>0.29420597945411053</c:v>
                </c:pt>
                <c:pt idx="37">
                  <c:v>0.281279222757245</c:v>
                </c:pt>
                <c:pt idx="38">
                  <c:v>0.27285378761606927</c:v>
                </c:pt>
                <c:pt idx="39">
                  <c:v>0.3002590959715096</c:v>
                </c:pt>
                <c:pt idx="40">
                  <c:v>0.30732768042290676</c:v>
                </c:pt>
                <c:pt idx="41">
                  <c:v>0.3131652829341545</c:v>
                </c:pt>
                <c:pt idx="42">
                  <c:v>0.2739364652348383</c:v>
                </c:pt>
                <c:pt idx="43">
                  <c:v>0.3021339715348095</c:v>
                </c:pt>
                <c:pt idx="44">
                  <c:v>0.33749956912102985</c:v>
                </c:pt>
                <c:pt idx="45">
                  <c:v>0.3145090039033287</c:v>
                </c:pt>
                <c:pt idx="46">
                  <c:v>0.301113024922574</c:v>
                </c:pt>
                <c:pt idx="47">
                  <c:v>0.3096730246597601</c:v>
                </c:pt>
                <c:pt idx="48">
                  <c:v>0.3313336749495407</c:v>
                </c:pt>
                <c:pt idx="49">
                  <c:v>0.3387628983086376</c:v>
                </c:pt>
                <c:pt idx="50">
                  <c:v>0.33817872174664854</c:v>
                </c:pt>
                <c:pt idx="51">
                  <c:v>0.36363739177515925</c:v>
                </c:pt>
              </c:numCache>
            </c:numRef>
          </c:xVal>
          <c:yVal>
            <c:numRef>
              <c:f>Sheet1!$B$109:$B$160</c:f>
              <c:numCache>
                <c:formatCode>General</c:formatCode>
                <c:ptCount val="52"/>
                <c:pt idx="0">
                  <c:v>0.1361644759015841</c:v>
                </c:pt>
                <c:pt idx="1">
                  <c:v>0.138348623853211</c:v>
                </c:pt>
                <c:pt idx="2">
                  <c:v>0.14518364518364518</c:v>
                </c:pt>
                <c:pt idx="3">
                  <c:v>0.1646977067407922</c:v>
                </c:pt>
                <c:pt idx="4">
                  <c:v>0.16466431095406361</c:v>
                </c:pt>
                <c:pt idx="5">
                  <c:v>0.14712308812818645</c:v>
                </c:pt>
                <c:pt idx="6">
                  <c:v>0.14702114029468288</c:v>
                </c:pt>
                <c:pt idx="7">
                  <c:v>0.1729776247848537</c:v>
                </c:pt>
                <c:pt idx="8">
                  <c:v>0.1510822510822511</c:v>
                </c:pt>
                <c:pt idx="9">
                  <c:v>0.15156440471353108</c:v>
                </c:pt>
                <c:pt idx="10">
                  <c:v>0.16912644595133625</c:v>
                </c:pt>
                <c:pt idx="11">
                  <c:v>0.13798263992816523</c:v>
                </c:pt>
                <c:pt idx="12">
                  <c:v>0.13680555555555557</c:v>
                </c:pt>
                <c:pt idx="13">
                  <c:v>0.16068702290076337</c:v>
                </c:pt>
                <c:pt idx="14">
                  <c:v>0.15056082830025885</c:v>
                </c:pt>
                <c:pt idx="15">
                  <c:v>0.1365079365079365</c:v>
                </c:pt>
                <c:pt idx="16">
                  <c:v>0.1254858411993337</c:v>
                </c:pt>
                <c:pt idx="17">
                  <c:v>0.12645794966236956</c:v>
                </c:pt>
                <c:pt idx="18">
                  <c:v>0.14640698455339154</c:v>
                </c:pt>
                <c:pt idx="19">
                  <c:v>0.16023936170212766</c:v>
                </c:pt>
                <c:pt idx="20">
                  <c:v>0.17472118959107807</c:v>
                </c:pt>
                <c:pt idx="21">
                  <c:v>0.16853932584269662</c:v>
                </c:pt>
                <c:pt idx="22">
                  <c:v>0.16100872938894278</c:v>
                </c:pt>
                <c:pt idx="23">
                  <c:v>0.16395112016293278</c:v>
                </c:pt>
                <c:pt idx="24">
                  <c:v>0.1671415004748338</c:v>
                </c:pt>
                <c:pt idx="25">
                  <c:v>0.18571428571428572</c:v>
                </c:pt>
                <c:pt idx="26">
                  <c:v>0.14575645756457564</c:v>
                </c:pt>
                <c:pt idx="27">
                  <c:v>0.15840779853777417</c:v>
                </c:pt>
                <c:pt idx="28">
                  <c:v>0.15225707727620505</c:v>
                </c:pt>
                <c:pt idx="29">
                  <c:v>0.16713352007469653</c:v>
                </c:pt>
                <c:pt idx="30">
                  <c:v>0.14609053497942387</c:v>
                </c:pt>
                <c:pt idx="31">
                  <c:v>0.155154091392136</c:v>
                </c:pt>
                <c:pt idx="32">
                  <c:v>0.14782608695652175</c:v>
                </c:pt>
                <c:pt idx="33">
                  <c:v>0.15463917525773196</c:v>
                </c:pt>
                <c:pt idx="34">
                  <c:v>0.15760266370699222</c:v>
                </c:pt>
                <c:pt idx="35">
                  <c:v>0.15710382513661203</c:v>
                </c:pt>
                <c:pt idx="36">
                  <c:v>0.15120274914089346</c:v>
                </c:pt>
                <c:pt idx="37">
                  <c:v>0.15422885572139303</c:v>
                </c:pt>
                <c:pt idx="38">
                  <c:v>0.16723549488054607</c:v>
                </c:pt>
                <c:pt idx="39">
                  <c:v>0.1611295681063123</c:v>
                </c:pt>
                <c:pt idx="40">
                  <c:v>0.1457326892109501</c:v>
                </c:pt>
                <c:pt idx="41">
                  <c:v>0.15080527086383602</c:v>
                </c:pt>
                <c:pt idx="42">
                  <c:v>0.16693944353518822</c:v>
                </c:pt>
                <c:pt idx="43">
                  <c:v>0.13752222880853587</c:v>
                </c:pt>
                <c:pt idx="44">
                  <c:v>0.14150555327025915</c:v>
                </c:pt>
                <c:pt idx="45">
                  <c:v>0.15923207227555053</c:v>
                </c:pt>
                <c:pt idx="46">
                  <c:v>0.17482281471481606</c:v>
                </c:pt>
                <c:pt idx="47">
                  <c:v>0.1653252850435949</c:v>
                </c:pt>
                <c:pt idx="48">
                  <c:v>0.16018784242108008</c:v>
                </c:pt>
                <c:pt idx="49">
                  <c:v>0.16532449076267172</c:v>
                </c:pt>
                <c:pt idx="50">
                  <c:v>0.17176392792197057</c:v>
                </c:pt>
                <c:pt idx="51">
                  <c:v>0.180356620871090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884989636469508</c:v>
                </c:pt>
              </c:numCache>
            </c:numRef>
          </c:xVal>
          <c:yVal>
            <c:numRef>
              <c:f>Sheet1!$B$163:$B$164</c:f>
              <c:numCache>
                <c:formatCode>General</c:formatCode>
                <c:ptCount val="2"/>
                <c:pt idx="0">
                  <c:v>0.19247062749765156</c:v>
                </c:pt>
                <c:pt idx="1">
                  <c:v>0.192470627497651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884989636469508</c:v>
                </c:pt>
                <c:pt idx="1">
                  <c:v>0.13884989636469508</c:v>
                </c:pt>
              </c:numCache>
            </c:numRef>
          </c:xVal>
          <c:yVal>
            <c:numRef>
              <c:f>Sheet1!$B$167:$B$168</c:f>
              <c:numCache>
                <c:formatCode>General</c:formatCode>
                <c:ptCount val="2"/>
                <c:pt idx="0">
                  <c:v>0.192470627497651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447904404615909</c:v>
                </c:pt>
              </c:numCache>
            </c:numRef>
          </c:xVal>
          <c:yVal>
            <c:numRef>
              <c:f>Sheet1!$B$171:$B$172</c:f>
              <c:numCache>
                <c:formatCode>General</c:formatCode>
                <c:ptCount val="2"/>
                <c:pt idx="0">
                  <c:v>0.16940822049420318</c:v>
                </c:pt>
                <c:pt idx="1">
                  <c:v>0.16940822049420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447904404615909</c:v>
                </c:pt>
                <c:pt idx="1">
                  <c:v>0.2447904404615909</c:v>
                </c:pt>
              </c:numCache>
            </c:numRef>
          </c:xVal>
          <c:yVal>
            <c:numRef>
              <c:f>Sheet1!$B$175:$B$176</c:f>
              <c:numCache>
                <c:formatCode>General</c:formatCode>
                <c:ptCount val="2"/>
                <c:pt idx="0">
                  <c:v>0.16940822049420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8777957145620436</c:v>
                </c:pt>
              </c:numCache>
            </c:numRef>
          </c:xVal>
          <c:yVal>
            <c:numRef>
              <c:f>Sheet1!$B$179:$B$180</c:f>
              <c:numCache>
                <c:formatCode>General</c:formatCode>
                <c:ptCount val="2"/>
                <c:pt idx="0">
                  <c:v>0.16004983136968118</c:v>
                </c:pt>
                <c:pt idx="1">
                  <c:v>0.160049831369681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8777957145620436</c:v>
                </c:pt>
                <c:pt idx="1">
                  <c:v>0.28777957145620436</c:v>
                </c:pt>
              </c:numCache>
            </c:numRef>
          </c:xVal>
          <c:yVal>
            <c:numRef>
              <c:f>Sheet1!$B$183:$B$184</c:f>
              <c:numCache>
                <c:formatCode>General</c:formatCode>
                <c:ptCount val="2"/>
                <c:pt idx="0">
                  <c:v>0.160049831369681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9300649941749324</c:v>
                </c:pt>
                <c:pt idx="1">
                  <c:v>0.30294082721998333</c:v>
                </c:pt>
                <c:pt idx="2">
                  <c:v>0.3020723048435619</c:v>
                </c:pt>
                <c:pt idx="3">
                  <c:v>0.2938702552993189</c:v>
                </c:pt>
                <c:pt idx="4">
                  <c:v>0.296987185270642</c:v>
                </c:pt>
                <c:pt idx="5">
                  <c:v>0.30205761400362346</c:v>
                </c:pt>
                <c:pt idx="6">
                  <c:v>0.3173993199819237</c:v>
                </c:pt>
                <c:pt idx="7">
                  <c:v>0.2978417395692223</c:v>
                </c:pt>
                <c:pt idx="8">
                  <c:v>0.31720129318411644</c:v>
                </c:pt>
                <c:pt idx="9">
                  <c:v>0.3213851254398869</c:v>
                </c:pt>
                <c:pt idx="10">
                  <c:v>0.3192474306090415</c:v>
                </c:pt>
                <c:pt idx="11">
                  <c:v>0.3470520757524076</c:v>
                </c:pt>
                <c:pt idx="12">
                  <c:v>0.341015362260626</c:v>
                </c:pt>
                <c:pt idx="13">
                  <c:v>0.32168604256232597</c:v>
                </c:pt>
                <c:pt idx="14">
                  <c:v>0.3308438763607845</c:v>
                </c:pt>
                <c:pt idx="15">
                  <c:v>0.34044348367687904</c:v>
                </c:pt>
                <c:pt idx="16">
                  <c:v>0.3541300258631158</c:v>
                </c:pt>
                <c:pt idx="17">
                  <c:v>0.33684542785304533</c:v>
                </c:pt>
                <c:pt idx="18">
                  <c:v>0.3251115619713405</c:v>
                </c:pt>
                <c:pt idx="19">
                  <c:v>0.3022576107568954</c:v>
                </c:pt>
                <c:pt idx="20">
                  <c:v>0.28262976773279114</c:v>
                </c:pt>
                <c:pt idx="21">
                  <c:v>0.30857106282264174</c:v>
                </c:pt>
                <c:pt idx="22">
                  <c:v>0.31531046649219485</c:v>
                </c:pt>
                <c:pt idx="23">
                  <c:v>0.2988020436158142</c:v>
                </c:pt>
                <c:pt idx="24">
                  <c:v>0.3035032242442001</c:v>
                </c:pt>
                <c:pt idx="25">
                  <c:v>0.24482069318643795</c:v>
                </c:pt>
                <c:pt idx="26">
                  <c:v>0.3099994942306792</c:v>
                </c:pt>
                <c:pt idx="27">
                  <c:v>0.3202895775789856</c:v>
                </c:pt>
                <c:pt idx="28">
                  <c:v>0.2985899571889978</c:v>
                </c:pt>
                <c:pt idx="29">
                  <c:v>0.2674166405290811</c:v>
                </c:pt>
                <c:pt idx="30">
                  <c:v>0.3003113660169654</c:v>
                </c:pt>
                <c:pt idx="31">
                  <c:v>0.27918139273184167</c:v>
                </c:pt>
                <c:pt idx="32">
                  <c:v>0.29410008125937215</c:v>
                </c:pt>
                <c:pt idx="33">
                  <c:v>0.29056437632351423</c:v>
                </c:pt>
                <c:pt idx="34">
                  <c:v>0.3081579946447596</c:v>
                </c:pt>
                <c:pt idx="35">
                  <c:v>0.28836810954578845</c:v>
                </c:pt>
                <c:pt idx="36">
                  <c:v>0.29420597945411053</c:v>
                </c:pt>
                <c:pt idx="37">
                  <c:v>0.281279222757245</c:v>
                </c:pt>
                <c:pt idx="38">
                  <c:v>0.27285378761606927</c:v>
                </c:pt>
                <c:pt idx="39">
                  <c:v>0.3002590959715096</c:v>
                </c:pt>
                <c:pt idx="40">
                  <c:v>0.30732768042290676</c:v>
                </c:pt>
                <c:pt idx="41">
                  <c:v>0.3131652829341545</c:v>
                </c:pt>
                <c:pt idx="42">
                  <c:v>0.2739364652348383</c:v>
                </c:pt>
                <c:pt idx="43">
                  <c:v>0.3021339715348095</c:v>
                </c:pt>
                <c:pt idx="44">
                  <c:v>0.33749956912102985</c:v>
                </c:pt>
                <c:pt idx="45">
                  <c:v>0.3145090039033287</c:v>
                </c:pt>
                <c:pt idx="46">
                  <c:v>0.301113024922574</c:v>
                </c:pt>
                <c:pt idx="47">
                  <c:v>0.3096730246597601</c:v>
                </c:pt>
                <c:pt idx="48">
                  <c:v>0.3313336749495407</c:v>
                </c:pt>
                <c:pt idx="49">
                  <c:v>0.3387628983086376</c:v>
                </c:pt>
                <c:pt idx="50">
                  <c:v>0.33817872174664854</c:v>
                </c:pt>
                <c:pt idx="51">
                  <c:v>0.36363739177515925</c:v>
                </c:pt>
                <c:pt idx="52">
                  <c:v>0.2447904404615909</c:v>
                </c:pt>
                <c:pt idx="53">
                  <c:v>0.13884989636469508</c:v>
                </c:pt>
                <c:pt idx="54">
                  <c:v>0.28777957145620436</c:v>
                </c:pt>
              </c:numCache>
            </c:numRef>
          </c:xVal>
          <c:yVal>
            <c:numRef>
              <c:f>Sheet1!$B$187:$B$241</c:f>
              <c:numCache>
                <c:formatCode>General</c:formatCode>
                <c:ptCount val="55"/>
                <c:pt idx="0">
                  <c:v>0.1589119710627651</c:v>
                </c:pt>
                <c:pt idx="1">
                  <c:v>0.15674934755502523</c:v>
                </c:pt>
                <c:pt idx="2">
                  <c:v>0.15693841791243546</c:v>
                </c:pt>
                <c:pt idx="3">
                  <c:v>0.15872393833300996</c:v>
                </c:pt>
                <c:pt idx="4">
                  <c:v>0.15804540767024355</c:v>
                </c:pt>
                <c:pt idx="5">
                  <c:v>0.15694161599049677</c:v>
                </c:pt>
                <c:pt idx="6">
                  <c:v>0.15360184961101522</c:v>
                </c:pt>
                <c:pt idx="7">
                  <c:v>0.15785937805138128</c:v>
                </c:pt>
                <c:pt idx="8">
                  <c:v>0.15364495845709064</c:v>
                </c:pt>
                <c:pt idx="9">
                  <c:v>0.15273417172157527</c:v>
                </c:pt>
                <c:pt idx="10">
                  <c:v>0.1531995307459072</c:v>
                </c:pt>
                <c:pt idx="11">
                  <c:v>0.14714668243982085</c:v>
                </c:pt>
                <c:pt idx="12">
                  <c:v>0.14846082656374887</c:v>
                </c:pt>
                <c:pt idx="13">
                  <c:v>0.15266866447681687</c:v>
                </c:pt>
                <c:pt idx="14">
                  <c:v>0.15067507748771458</c:v>
                </c:pt>
                <c:pt idx="15">
                  <c:v>0.14858531994602625</c:v>
                </c:pt>
                <c:pt idx="16">
                  <c:v>0.14560586945273674</c:v>
                </c:pt>
                <c:pt idx="17">
                  <c:v>0.14936858784914828</c:v>
                </c:pt>
                <c:pt idx="18">
                  <c:v>0.1519229563677793</c:v>
                </c:pt>
                <c:pt idx="19">
                  <c:v>0.15689807830091207</c:v>
                </c:pt>
                <c:pt idx="20">
                  <c:v>0.1611709023484049</c:v>
                </c:pt>
                <c:pt idx="21">
                  <c:v>0.15552369040836142</c:v>
                </c:pt>
                <c:pt idx="22">
                  <c:v>0.15405657626700292</c:v>
                </c:pt>
                <c:pt idx="23">
                  <c:v>0.15765032756029354</c:v>
                </c:pt>
                <c:pt idx="24">
                  <c:v>0.15662691823223307</c:v>
                </c:pt>
                <c:pt idx="25">
                  <c:v>0.16940163471857467</c:v>
                </c:pt>
                <c:pt idx="26">
                  <c:v>0.15521273234419913</c:v>
                </c:pt>
                <c:pt idx="27">
                  <c:v>0.15297266370663395</c:v>
                </c:pt>
                <c:pt idx="28">
                  <c:v>0.15769649707487216</c:v>
                </c:pt>
                <c:pt idx="29">
                  <c:v>0.1644826781596212</c:v>
                </c:pt>
                <c:pt idx="30">
                  <c:v>0.15732176017552596</c:v>
                </c:pt>
                <c:pt idx="31">
                  <c:v>0.16192158593654726</c:v>
                </c:pt>
                <c:pt idx="32">
                  <c:v>0.1586739070642838</c:v>
                </c:pt>
                <c:pt idx="33">
                  <c:v>0.15944360167903182</c:v>
                </c:pt>
                <c:pt idx="34">
                  <c:v>0.1556136120386466</c:v>
                </c:pt>
                <c:pt idx="35">
                  <c:v>0.15992171134656136</c:v>
                </c:pt>
                <c:pt idx="36">
                  <c:v>0.15865085387639616</c:v>
                </c:pt>
                <c:pt idx="37">
                  <c:v>0.16146490516071837</c:v>
                </c:pt>
                <c:pt idx="38">
                  <c:v>0.16329905483460744</c:v>
                </c:pt>
                <c:pt idx="39">
                  <c:v>0.15733313894531298</c:v>
                </c:pt>
                <c:pt idx="40">
                  <c:v>0.15579436478716568</c:v>
                </c:pt>
                <c:pt idx="41">
                  <c:v>0.1545235655271995</c:v>
                </c:pt>
                <c:pt idx="42">
                  <c:v>0.16306336459806553</c:v>
                </c:pt>
                <c:pt idx="43">
                  <c:v>0.15692499356820322</c:v>
                </c:pt>
                <c:pt idx="44">
                  <c:v>0.14922618654010636</c:v>
                </c:pt>
                <c:pt idx="45">
                  <c:v>0.15423104824635736</c:v>
                </c:pt>
                <c:pt idx="46">
                  <c:v>0.1571472454595908</c:v>
                </c:pt>
                <c:pt idx="47">
                  <c:v>0.15528380215210846</c:v>
                </c:pt>
                <c:pt idx="48">
                  <c:v>0.15056845226221754</c:v>
                </c:pt>
                <c:pt idx="49">
                  <c:v>0.1489511699055184</c:v>
                </c:pt>
                <c:pt idx="50">
                  <c:v>0.14907834045905213</c:v>
                </c:pt>
                <c:pt idx="51">
                  <c:v>0.14353619212510554</c:v>
                </c:pt>
                <c:pt idx="52">
                  <c:v>0.16940822049420318</c:v>
                </c:pt>
                <c:pt idx="53">
                  <c:v>0.19247062749765156</c:v>
                </c:pt>
                <c:pt idx="54">
                  <c:v>0.160049831369681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199230028873916"/>
          <c:min val="0.075471698113207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4.3493</c:v>
                </c:pt>
                <c:pt idx="1">
                  <c:v>323.9628</c:v>
                </c:pt>
                <c:pt idx="2">
                  <c:v>329.978</c:v>
                </c:pt>
                <c:pt idx="3">
                  <c:v>324.7071</c:v>
                </c:pt>
                <c:pt idx="4">
                  <c:v>316.7284</c:v>
                </c:pt>
                <c:pt idx="5">
                  <c:v>323.2974</c:v>
                </c:pt>
                <c:pt idx="6">
                  <c:v>322.2866</c:v>
                </c:pt>
                <c:pt idx="7">
                  <c:v>326.0785</c:v>
                </c:pt>
                <c:pt idx="8">
                  <c:v>322.8646</c:v>
                </c:pt>
                <c:pt idx="9">
                  <c:v>324.8132</c:v>
                </c:pt>
                <c:pt idx="10">
                  <c:v>330.9483</c:v>
                </c:pt>
                <c:pt idx="11">
                  <c:v>336.703</c:v>
                </c:pt>
                <c:pt idx="12">
                  <c:v>333.1822</c:v>
                </c:pt>
                <c:pt idx="13">
                  <c:v>321.4872</c:v>
                </c:pt>
                <c:pt idx="14">
                  <c:v>324.239</c:v>
                </c:pt>
                <c:pt idx="15">
                  <c:v>333.8771</c:v>
                </c:pt>
                <c:pt idx="16">
                  <c:v>333.7885</c:v>
                </c:pt>
                <c:pt idx="17">
                  <c:v>337.7363</c:v>
                </c:pt>
                <c:pt idx="18">
                  <c:v>337.0</c:v>
                </c:pt>
                <c:pt idx="19">
                  <c:v>350.0837</c:v>
                </c:pt>
                <c:pt idx="20">
                  <c:v>350.2019</c:v>
                </c:pt>
                <c:pt idx="21">
                  <c:v>338.8737</c:v>
                </c:pt>
                <c:pt idx="22">
                  <c:v>345.1402</c:v>
                </c:pt>
                <c:pt idx="23">
                  <c:v>339.2523</c:v>
                </c:pt>
                <c:pt idx="24">
                  <c:v>357.5216</c:v>
                </c:pt>
                <c:pt idx="25">
                  <c:v>359.6195</c:v>
                </c:pt>
                <c:pt idx="26">
                  <c:v>359.3762</c:v>
                </c:pt>
                <c:pt idx="27">
                  <c:v>355.2863</c:v>
                </c:pt>
                <c:pt idx="28">
                  <c:v>357.5106</c:v>
                </c:pt>
                <c:pt idx="29">
                  <c:v>354.8929</c:v>
                </c:pt>
                <c:pt idx="30">
                  <c:v>353.523</c:v>
                </c:pt>
                <c:pt idx="31">
                  <c:v>364.5207</c:v>
                </c:pt>
                <c:pt idx="32">
                  <c:v>371.1162</c:v>
                </c:pt>
                <c:pt idx="33">
                  <c:v>358.3817</c:v>
                </c:pt>
                <c:pt idx="34">
                  <c:v>365.7868</c:v>
                </c:pt>
                <c:pt idx="35">
                  <c:v>371.7441</c:v>
                </c:pt>
                <c:pt idx="36">
                  <c:v>365.2432</c:v>
                </c:pt>
                <c:pt idx="37">
                  <c:v>367.8343</c:v>
                </c:pt>
                <c:pt idx="38">
                  <c:v>374.1414</c:v>
                </c:pt>
                <c:pt idx="39">
                  <c:v>375.8254</c:v>
                </c:pt>
                <c:pt idx="40">
                  <c:v>371.4261</c:v>
                </c:pt>
                <c:pt idx="41">
                  <c:v>364.1132</c:v>
                </c:pt>
                <c:pt idx="42">
                  <c:v>373.4462</c:v>
                </c:pt>
                <c:pt idx="43">
                  <c:v>380.52</c:v>
                </c:pt>
                <c:pt idx="44">
                  <c:v>359.5431</c:v>
                </c:pt>
                <c:pt idx="45">
                  <c:v>350.5921</c:v>
                </c:pt>
                <c:pt idx="46">
                  <c:v>353.6617</c:v>
                </c:pt>
                <c:pt idx="47">
                  <c:v>355.0661</c:v>
                </c:pt>
                <c:pt idx="48">
                  <c:v>357.8269</c:v>
                </c:pt>
                <c:pt idx="49">
                  <c:v>357.8809</c:v>
                </c:pt>
                <c:pt idx="50">
                  <c:v>369.2261</c:v>
                </c:pt>
                <c:pt idx="51">
                  <c:v>379.7271</c:v>
                </c:pt>
                <c:pt idx="52">
                  <c:v>377.6198</c:v>
                </c:pt>
                <c:pt idx="53">
                  <c:v>378.938</c:v>
                </c:pt>
                <c:pt idx="54">
                  <c:v>377.9651</c:v>
                </c:pt>
                <c:pt idx="55">
                  <c:v>370.7079</c:v>
                </c:pt>
                <c:pt idx="56">
                  <c:v>368.0347</c:v>
                </c:pt>
                <c:pt idx="57">
                  <c:v>343.5149</c:v>
                </c:pt>
                <c:pt idx="58">
                  <c:v>349.4521</c:v>
                </c:pt>
                <c:pt idx="59">
                  <c:v>371.255</c:v>
                </c:pt>
                <c:pt idx="60">
                  <c:v>366.0121</c:v>
                </c:pt>
                <c:pt idx="61">
                  <c:v>376.5159</c:v>
                </c:pt>
                <c:pt idx="62">
                  <c:v>378.872</c:v>
                </c:pt>
                <c:pt idx="63">
                  <c:v>404.2159</c:v>
                </c:pt>
                <c:pt idx="64">
                  <c:v>408.1141</c:v>
                </c:pt>
                <c:pt idx="65">
                  <c:v>404.2553</c:v>
                </c:pt>
                <c:pt idx="66">
                  <c:v>390.0891</c:v>
                </c:pt>
                <c:pt idx="67">
                  <c:v>391.9118</c:v>
                </c:pt>
                <c:pt idx="68">
                  <c:v>406.6864</c:v>
                </c:pt>
                <c:pt idx="69">
                  <c:v>410.6395</c:v>
                </c:pt>
                <c:pt idx="70">
                  <c:v>403.9684</c:v>
                </c:pt>
                <c:pt idx="71">
                  <c:v>418.9364</c:v>
                </c:pt>
                <c:pt idx="72">
                  <c:v>445.1166</c:v>
                </c:pt>
                <c:pt idx="73">
                  <c:v>433.761</c:v>
                </c:pt>
                <c:pt idx="74">
                  <c:v>431.5784</c:v>
                </c:pt>
                <c:pt idx="75">
                  <c:v>421.2933</c:v>
                </c:pt>
                <c:pt idx="76">
                  <c:v>417.9841</c:v>
                </c:pt>
                <c:pt idx="77">
                  <c:v>424.1787</c:v>
                </c:pt>
                <c:pt idx="78">
                  <c:v>420.4022</c:v>
                </c:pt>
                <c:pt idx="79">
                  <c:v>431.2071</c:v>
                </c:pt>
                <c:pt idx="80">
                  <c:v>451.763</c:v>
                </c:pt>
                <c:pt idx="81">
                  <c:v>431.2462</c:v>
                </c:pt>
                <c:pt idx="82">
                  <c:v>443.7237</c:v>
                </c:pt>
                <c:pt idx="83">
                  <c:v>422.9084</c:v>
                </c:pt>
                <c:pt idx="84">
                  <c:v>433.9063</c:v>
                </c:pt>
                <c:pt idx="85">
                  <c:v>412.9695</c:v>
                </c:pt>
                <c:pt idx="86">
                  <c:v>433.0945</c:v>
                </c:pt>
                <c:pt idx="87">
                  <c:v>433.4934</c:v>
                </c:pt>
                <c:pt idx="88">
                  <c:v>429.0225</c:v>
                </c:pt>
                <c:pt idx="89">
                  <c:v>422.8012</c:v>
                </c:pt>
                <c:pt idx="90">
                  <c:v>439.1636</c:v>
                </c:pt>
                <c:pt idx="91">
                  <c:v>437.8304</c:v>
                </c:pt>
                <c:pt idx="92">
                  <c:v>421.8098</c:v>
                </c:pt>
                <c:pt idx="93">
                  <c:v>433.7251</c:v>
                </c:pt>
                <c:pt idx="94">
                  <c:v>439.697</c:v>
                </c:pt>
                <c:pt idx="95">
                  <c:v>436.1376</c:v>
                </c:pt>
                <c:pt idx="96">
                  <c:v>443.1656</c:v>
                </c:pt>
                <c:pt idx="97">
                  <c:v>430.6625</c:v>
                </c:pt>
                <c:pt idx="98">
                  <c:v>421.428</c:v>
                </c:pt>
                <c:pt idx="99">
                  <c:v>423.6416</c:v>
                </c:pt>
                <c:pt idx="100">
                  <c:v>427.6999</c:v>
                </c:pt>
                <c:pt idx="101">
                  <c:v>425.4983</c:v>
                </c:pt>
                <c:pt idx="102">
                  <c:v>435.6202</c:v>
                </c:pt>
                <c:pt idx="103">
                  <c:v>340.7232</c:v>
                </c:pt>
                <c:pt idx="104">
                  <c:v>367.3118</c:v>
                </c:pt>
              </c:numCache>
            </c:numRef>
          </c:xVal>
          <c:yVal>
            <c:numRef>
              <c:f>Sheet1!$B$2:$B$106</c:f>
              <c:numCache>
                <c:formatCode>General</c:formatCode>
                <c:ptCount val="105"/>
                <c:pt idx="0">
                  <c:v>0.1746550472040668</c:v>
                </c:pt>
                <c:pt idx="1">
                  <c:v>0.20952380952380953</c:v>
                </c:pt>
                <c:pt idx="2">
                  <c:v>0.19011725293132328</c:v>
                </c:pt>
                <c:pt idx="3">
                  <c:v>0.17137254901960786</c:v>
                </c:pt>
                <c:pt idx="4">
                  <c:v>0.18118466898954705</c:v>
                </c:pt>
                <c:pt idx="5">
                  <c:v>0.19549929676511954</c:v>
                </c:pt>
                <c:pt idx="6">
                  <c:v>0.22666025024061598</c:v>
                </c:pt>
                <c:pt idx="7">
                  <c:v>0.20572916666666666</c:v>
                </c:pt>
                <c:pt idx="8">
                  <c:v>0.1774936061381074</c:v>
                </c:pt>
                <c:pt idx="9">
                  <c:v>0.1695464362850972</c:v>
                </c:pt>
                <c:pt idx="10">
                  <c:v>0.19398711524695778</c:v>
                </c:pt>
                <c:pt idx="11">
                  <c:v>0.18490847964138962</c:v>
                </c:pt>
                <c:pt idx="12">
                  <c:v>0.19105113636363635</c:v>
                </c:pt>
                <c:pt idx="13">
                  <c:v>0.22109227871939735</c:v>
                </c:pt>
                <c:pt idx="14">
                  <c:v>0.20474219044034625</c:v>
                </c:pt>
                <c:pt idx="15">
                  <c:v>0.16022727272727272</c:v>
                </c:pt>
                <c:pt idx="16">
                  <c:v>0.14772727272727273</c:v>
                </c:pt>
                <c:pt idx="17">
                  <c:v>0.13129496402877697</c:v>
                </c:pt>
                <c:pt idx="18">
                  <c:v>0.13897131552917902</c:v>
                </c:pt>
                <c:pt idx="19">
                  <c:v>0.12221553281155931</c:v>
                </c:pt>
                <c:pt idx="20">
                  <c:v>0.10917478216299334</c:v>
                </c:pt>
                <c:pt idx="21">
                  <c:v>0.12916383412644458</c:v>
                </c:pt>
                <c:pt idx="22">
                  <c:v>0.14933705512909978</c:v>
                </c:pt>
                <c:pt idx="23">
                  <c:v>0.1664167916041979</c:v>
                </c:pt>
                <c:pt idx="24">
                  <c:v>0.18791451731761238</c:v>
                </c:pt>
                <c:pt idx="25">
                  <c:v>0.17491467576791808</c:v>
                </c:pt>
                <c:pt idx="26">
                  <c:v>0.15384615384615385</c:v>
                </c:pt>
                <c:pt idx="27">
                  <c:v>0.15997181113460182</c:v>
                </c:pt>
                <c:pt idx="28">
                  <c:v>0.13956941351150706</c:v>
                </c:pt>
                <c:pt idx="29">
                  <c:v>0.12669683257918551</c:v>
                </c:pt>
                <c:pt idx="30">
                  <c:v>0.1406628940986257</c:v>
                </c:pt>
                <c:pt idx="31">
                  <c:v>0.1337025316455696</c:v>
                </c:pt>
                <c:pt idx="32">
                  <c:v>0.15126050420168066</c:v>
                </c:pt>
                <c:pt idx="33">
                  <c:v>0.14201532115497936</c:v>
                </c:pt>
                <c:pt idx="34">
                  <c:v>0.1286783042394015</c:v>
                </c:pt>
                <c:pt idx="35">
                  <c:v>0.13989637305699482</c:v>
                </c:pt>
                <c:pt idx="36">
                  <c:v>0.13740053050397877</c:v>
                </c:pt>
                <c:pt idx="37">
                  <c:v>0.11277258566978193</c:v>
                </c:pt>
                <c:pt idx="38">
                  <c:v>0.1173939766441303</c:v>
                </c:pt>
                <c:pt idx="39">
                  <c:v>0.12352941176470589</c:v>
                </c:pt>
                <c:pt idx="40">
                  <c:v>0.12214551248008497</c:v>
                </c:pt>
                <c:pt idx="41">
                  <c:v>0.12100456621004566</c:v>
                </c:pt>
                <c:pt idx="42">
                  <c:v>0.12026832774317202</c:v>
                </c:pt>
                <c:pt idx="43">
                  <c:v>0.11525565800502934</c:v>
                </c:pt>
                <c:pt idx="44">
                  <c:v>0.13713405238828968</c:v>
                </c:pt>
                <c:pt idx="45">
                  <c:v>0.14734245346490243</c:v>
                </c:pt>
                <c:pt idx="46">
                  <c:v>0.15191306316504416</c:v>
                </c:pt>
                <c:pt idx="47">
                  <c:v>0.1660165772793759</c:v>
                </c:pt>
                <c:pt idx="48">
                  <c:v>0.17752684191040355</c:v>
                </c:pt>
                <c:pt idx="49">
                  <c:v>0.19140522014236752</c:v>
                </c:pt>
                <c:pt idx="50">
                  <c:v>0.1658255227108868</c:v>
                </c:pt>
                <c:pt idx="51">
                  <c:v>0.15165876777251186</c:v>
                </c:pt>
                <c:pt idx="52">
                  <c:v>0.1524195885250652</c:v>
                </c:pt>
                <c:pt idx="53">
                  <c:v>0.1695865451997197</c:v>
                </c:pt>
                <c:pt idx="54">
                  <c:v>0.17013152312261348</c:v>
                </c:pt>
                <c:pt idx="55">
                  <c:v>0.16510012259910095</c:v>
                </c:pt>
                <c:pt idx="56">
                  <c:v>0.18075313807531382</c:v>
                </c:pt>
                <c:pt idx="57">
                  <c:v>0.18479059515062454</c:v>
                </c:pt>
                <c:pt idx="58">
                  <c:v>0.19789901728227718</c:v>
                </c:pt>
                <c:pt idx="59">
                  <c:v>0.1540099361249113</c:v>
                </c:pt>
                <c:pt idx="60">
                  <c:v>0.15317460317460319</c:v>
                </c:pt>
                <c:pt idx="61">
                  <c:v>0.16890080428954424</c:v>
                </c:pt>
                <c:pt idx="62">
                  <c:v>0.18027112777617538</c:v>
                </c:pt>
                <c:pt idx="63">
                  <c:v>0.18265734265734265</c:v>
                </c:pt>
                <c:pt idx="64">
                  <c:v>0.15872259294566254</c:v>
                </c:pt>
                <c:pt idx="65">
                  <c:v>0.15444500251130086</c:v>
                </c:pt>
                <c:pt idx="66">
                  <c:v>0.16397984886649875</c:v>
                </c:pt>
                <c:pt idx="67">
                  <c:v>0.15558546433378195</c:v>
                </c:pt>
                <c:pt idx="68">
                  <c:v>0.14555077737347005</c:v>
                </c:pt>
                <c:pt idx="69">
                  <c:v>0.130550621669627</c:v>
                </c:pt>
                <c:pt idx="70">
                  <c:v>0.12343005630142918</c:v>
                </c:pt>
                <c:pt idx="71">
                  <c:v>0.1430738119312437</c:v>
                </c:pt>
                <c:pt idx="72">
                  <c:v>0.14142928535732133</c:v>
                </c:pt>
                <c:pt idx="73">
                  <c:v>0.14742547425474256</c:v>
                </c:pt>
                <c:pt idx="74">
                  <c:v>0.13814432989690723</c:v>
                </c:pt>
                <c:pt idx="75">
                  <c:v>0.1405371642723298</c:v>
                </c:pt>
                <c:pt idx="76">
                  <c:v>0.16224951519069167</c:v>
                </c:pt>
                <c:pt idx="77">
                  <c:v>0.143054595715273</c:v>
                </c:pt>
                <c:pt idx="78">
                  <c:v>0.1407804131599082</c:v>
                </c:pt>
                <c:pt idx="79">
                  <c:v>0.1134989926124916</c:v>
                </c:pt>
                <c:pt idx="80">
                  <c:v>0.11132561132561132</c:v>
                </c:pt>
                <c:pt idx="81">
                  <c:v>0.11339031339031339</c:v>
                </c:pt>
                <c:pt idx="82">
                  <c:v>0.10726887791107975</c:v>
                </c:pt>
                <c:pt idx="83">
                  <c:v>0.10624493106244931</c:v>
                </c:pt>
                <c:pt idx="84">
                  <c:v>0.10500410172272355</c:v>
                </c:pt>
                <c:pt idx="85">
                  <c:v>0.11524947294448348</c:v>
                </c:pt>
                <c:pt idx="86">
                  <c:v>0.10392967942088935</c:v>
                </c:pt>
                <c:pt idx="87">
                  <c:v>0.11652977412731007</c:v>
                </c:pt>
                <c:pt idx="88">
                  <c:v>0.11180904522613065</c:v>
                </c:pt>
                <c:pt idx="89">
                  <c:v>0.12425149700598802</c:v>
                </c:pt>
                <c:pt idx="90">
                  <c:v>0.12770897832817338</c:v>
                </c:pt>
                <c:pt idx="91">
                  <c:v>0.1224051539012169</c:v>
                </c:pt>
                <c:pt idx="92">
                  <c:v>0.1201641266119578</c:v>
                </c:pt>
                <c:pt idx="93">
                  <c:v>0.11820728291316526</c:v>
                </c:pt>
                <c:pt idx="94">
                  <c:v>0.1172291296625222</c:v>
                </c:pt>
                <c:pt idx="95">
                  <c:v>0.12595097210481826</c:v>
                </c:pt>
                <c:pt idx="96">
                  <c:v>0.09433962264150944</c:v>
                </c:pt>
                <c:pt idx="97">
                  <c:v>0.10118001506402209</c:v>
                </c:pt>
                <c:pt idx="98">
                  <c:v>0.10590316161839487</c:v>
                </c:pt>
                <c:pt idx="99">
                  <c:v>0.1287570292805895</c:v>
                </c:pt>
                <c:pt idx="100">
                  <c:v>0.13682530470110274</c:v>
                </c:pt>
                <c:pt idx="101">
                  <c:v>0.14875609130546294</c:v>
                </c:pt>
                <c:pt idx="102">
                  <c:v>0.12789373814041746</c:v>
                </c:pt>
                <c:pt idx="103">
                  <c:v>0.16223908918406071</c:v>
                </c:pt>
                <c:pt idx="104">
                  <c:v>0.1409624857900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numCache>
            </c:numRef>
          </c:xVal>
          <c:yVal>
            <c:numRef>
              <c:f>Sheet1!$B$109:$B$160</c:f>
              <c:numCache>
                <c:formatCode>General</c:formatCode>
                <c:ptCount val="52"/>
                <c:pt idx="0">
                  <c:v>0.1361644759015841</c:v>
                </c:pt>
                <c:pt idx="1">
                  <c:v>0.138348623853211</c:v>
                </c:pt>
                <c:pt idx="2">
                  <c:v>0.14518364518364518</c:v>
                </c:pt>
                <c:pt idx="3">
                  <c:v>0.1646977067407922</c:v>
                </c:pt>
                <c:pt idx="4">
                  <c:v>0.16466431095406361</c:v>
                </c:pt>
                <c:pt idx="5">
                  <c:v>0.14712308812818645</c:v>
                </c:pt>
                <c:pt idx="6">
                  <c:v>0.14702114029468288</c:v>
                </c:pt>
                <c:pt idx="7">
                  <c:v>0.1729776247848537</c:v>
                </c:pt>
                <c:pt idx="8">
                  <c:v>0.1510822510822511</c:v>
                </c:pt>
                <c:pt idx="9">
                  <c:v>0.15156440471353108</c:v>
                </c:pt>
                <c:pt idx="10">
                  <c:v>0.16912644595133625</c:v>
                </c:pt>
                <c:pt idx="11">
                  <c:v>0.13798263992816523</c:v>
                </c:pt>
                <c:pt idx="12">
                  <c:v>0.13680555555555557</c:v>
                </c:pt>
                <c:pt idx="13">
                  <c:v>0.16068702290076337</c:v>
                </c:pt>
                <c:pt idx="14">
                  <c:v>0.15056082830025885</c:v>
                </c:pt>
                <c:pt idx="15">
                  <c:v>0.1365079365079365</c:v>
                </c:pt>
                <c:pt idx="16">
                  <c:v>0.1254858411993337</c:v>
                </c:pt>
                <c:pt idx="17">
                  <c:v>0.12645794966236956</c:v>
                </c:pt>
                <c:pt idx="18">
                  <c:v>0.14640698455339154</c:v>
                </c:pt>
                <c:pt idx="19">
                  <c:v>0.16023936170212766</c:v>
                </c:pt>
                <c:pt idx="20">
                  <c:v>0.17472118959107807</c:v>
                </c:pt>
                <c:pt idx="21">
                  <c:v>0.16853932584269662</c:v>
                </c:pt>
                <c:pt idx="22">
                  <c:v>0.16100872938894278</c:v>
                </c:pt>
                <c:pt idx="23">
                  <c:v>0.16395112016293278</c:v>
                </c:pt>
                <c:pt idx="24">
                  <c:v>0.1671415004748338</c:v>
                </c:pt>
                <c:pt idx="25">
                  <c:v>0.18571428571428572</c:v>
                </c:pt>
                <c:pt idx="26">
                  <c:v>0.14575645756457564</c:v>
                </c:pt>
                <c:pt idx="27">
                  <c:v>0.15840779853777417</c:v>
                </c:pt>
                <c:pt idx="28">
                  <c:v>0.15225707727620505</c:v>
                </c:pt>
                <c:pt idx="29">
                  <c:v>0.16713352007469653</c:v>
                </c:pt>
                <c:pt idx="30">
                  <c:v>0.14609053497942387</c:v>
                </c:pt>
                <c:pt idx="31">
                  <c:v>0.155154091392136</c:v>
                </c:pt>
                <c:pt idx="32">
                  <c:v>0.14782608695652175</c:v>
                </c:pt>
                <c:pt idx="33">
                  <c:v>0.15463917525773196</c:v>
                </c:pt>
                <c:pt idx="34">
                  <c:v>0.15760266370699222</c:v>
                </c:pt>
                <c:pt idx="35">
                  <c:v>0.15710382513661203</c:v>
                </c:pt>
                <c:pt idx="36">
                  <c:v>0.15120274914089346</c:v>
                </c:pt>
                <c:pt idx="37">
                  <c:v>0.15422885572139303</c:v>
                </c:pt>
                <c:pt idx="38">
                  <c:v>0.16723549488054607</c:v>
                </c:pt>
                <c:pt idx="39">
                  <c:v>0.1611295681063123</c:v>
                </c:pt>
                <c:pt idx="40">
                  <c:v>0.1457326892109501</c:v>
                </c:pt>
                <c:pt idx="41">
                  <c:v>0.15080527086383602</c:v>
                </c:pt>
                <c:pt idx="42">
                  <c:v>0.16693944353518822</c:v>
                </c:pt>
                <c:pt idx="43">
                  <c:v>0.13752222880853587</c:v>
                </c:pt>
                <c:pt idx="44">
                  <c:v>0.14150555327025915</c:v>
                </c:pt>
                <c:pt idx="45">
                  <c:v>0.15923207227555053</c:v>
                </c:pt>
                <c:pt idx="46">
                  <c:v>0.17482281471481606</c:v>
                </c:pt>
                <c:pt idx="47">
                  <c:v>0.1653252850435949</c:v>
                </c:pt>
                <c:pt idx="48">
                  <c:v>0.16018784242108008</c:v>
                </c:pt>
                <c:pt idx="49">
                  <c:v>0.16532449076267172</c:v>
                </c:pt>
                <c:pt idx="50">
                  <c:v>0.17176392792197057</c:v>
                </c:pt>
                <c:pt idx="51">
                  <c:v>0.180356620871090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8.16657644487634</c:v>
                </c:pt>
              </c:numCache>
            </c:numRef>
          </c:xVal>
          <c:yVal>
            <c:numRef>
              <c:f>Sheet1!$B$163:$B$164</c:f>
              <c:numCache>
                <c:formatCode>General</c:formatCode>
                <c:ptCount val="2"/>
                <c:pt idx="0">
                  <c:v>0.19247062749765156</c:v>
                </c:pt>
                <c:pt idx="1">
                  <c:v>0.192470627497651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8.16657644487634</c:v>
                </c:pt>
                <c:pt idx="1">
                  <c:v>298.16657644487634</c:v>
                </c:pt>
              </c:numCache>
            </c:numRef>
          </c:xVal>
          <c:yVal>
            <c:numRef>
              <c:f>Sheet1!$B$167:$B$168</c:f>
              <c:numCache>
                <c:formatCode>General</c:formatCode>
                <c:ptCount val="2"/>
                <c:pt idx="0">
                  <c:v>0.192470627497651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6.91280816687294</c:v>
                </c:pt>
              </c:numCache>
            </c:numRef>
          </c:xVal>
          <c:yVal>
            <c:numRef>
              <c:f>Sheet1!$B$171:$B$172</c:f>
              <c:numCache>
                <c:formatCode>General</c:formatCode>
                <c:ptCount val="2"/>
                <c:pt idx="0">
                  <c:v>0.16940822049420318</c:v>
                </c:pt>
                <c:pt idx="1">
                  <c:v>0.16940822049420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6.91280816687294</c:v>
                </c:pt>
                <c:pt idx="1">
                  <c:v>386.91280816687294</c:v>
                </c:pt>
              </c:numCache>
            </c:numRef>
          </c:xVal>
          <c:yVal>
            <c:numRef>
              <c:f>Sheet1!$B$175:$B$176</c:f>
              <c:numCache>
                <c:formatCode>General</c:formatCode>
                <c:ptCount val="2"/>
                <c:pt idx="0">
                  <c:v>0.16940822049420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2.92473743623583</c:v>
                </c:pt>
              </c:numCache>
            </c:numRef>
          </c:xVal>
          <c:yVal>
            <c:numRef>
              <c:f>Sheet1!$B$179:$B$180</c:f>
              <c:numCache>
                <c:formatCode>General</c:formatCode>
                <c:ptCount val="2"/>
                <c:pt idx="0">
                  <c:v>0.16004983136968118</c:v>
                </c:pt>
                <c:pt idx="1">
                  <c:v>0.160049831369681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2.92473743623583</c:v>
                </c:pt>
                <c:pt idx="1">
                  <c:v>422.92473743623583</c:v>
                </c:pt>
              </c:numCache>
            </c:numRef>
          </c:xVal>
          <c:yVal>
            <c:numRef>
              <c:f>Sheet1!$B$183:$B$184</c:f>
              <c:numCache>
                <c:formatCode>General</c:formatCode>
                <c:ptCount val="2"/>
                <c:pt idx="0">
                  <c:v>0.160049831369681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pt idx="52">
                  <c:v>386.91280816687294</c:v>
                </c:pt>
                <c:pt idx="53">
                  <c:v>298.16657644487634</c:v>
                </c:pt>
                <c:pt idx="54">
                  <c:v>422.92473743623583</c:v>
                </c:pt>
              </c:numCache>
            </c:numRef>
          </c:xVal>
          <c:yVal>
            <c:numRef>
              <c:f>Sheet1!$B$187:$B$241</c:f>
              <c:numCache>
                <c:formatCode>General</c:formatCode>
                <c:ptCount val="55"/>
                <c:pt idx="0">
                  <c:v>0.163296646145698</c:v>
                </c:pt>
                <c:pt idx="1">
                  <c:v>0.15479635253092</c:v>
                </c:pt>
                <c:pt idx="2">
                  <c:v>0.15414878461849396</c:v>
                </c:pt>
                <c:pt idx="3">
                  <c:v>0.15425722801102792</c:v>
                </c:pt>
                <c:pt idx="4">
                  <c:v>0.15430200346402</c:v>
                </c:pt>
                <c:pt idx="5">
                  <c:v>0.153883458225546</c:v>
                </c:pt>
                <c:pt idx="6">
                  <c:v>0.15644532617814033</c:v>
                </c:pt>
                <c:pt idx="7">
                  <c:v>0.1616024292810318</c:v>
                </c:pt>
                <c:pt idx="8">
                  <c:v>0.1535432115592514</c:v>
                </c:pt>
                <c:pt idx="9">
                  <c:v>0.1515660751607924</c:v>
                </c:pt>
                <c:pt idx="10">
                  <c:v>0.15148892001283332</c:v>
                </c:pt>
                <c:pt idx="11">
                  <c:v>0.15240048898558828</c:v>
                </c:pt>
                <c:pt idx="12">
                  <c:v>0.15161355325285078</c:v>
                </c:pt>
                <c:pt idx="13">
                  <c:v>0.1477503645898488</c:v>
                </c:pt>
                <c:pt idx="14">
                  <c:v>0.1457262958245275</c:v>
                </c:pt>
                <c:pt idx="15">
                  <c:v>0.14247055127858319</c:v>
                </c:pt>
                <c:pt idx="16">
                  <c:v>0.13748834010757613</c:v>
                </c:pt>
                <c:pt idx="17">
                  <c:v>0.1486818135518893</c:v>
                </c:pt>
                <c:pt idx="18">
                  <c:v>0.15268242101664534</c:v>
                </c:pt>
                <c:pt idx="19">
                  <c:v>0.1526687518998294</c:v>
                </c:pt>
                <c:pt idx="20">
                  <c:v>0.15835827489877546</c:v>
                </c:pt>
                <c:pt idx="21">
                  <c:v>0.1523150440120317</c:v>
                </c:pt>
                <c:pt idx="22">
                  <c:v>0.15039947061307257</c:v>
                </c:pt>
                <c:pt idx="23">
                  <c:v>0.1545972407950956</c:v>
                </c:pt>
                <c:pt idx="24">
                  <c:v>0.1536753030436152</c:v>
                </c:pt>
                <c:pt idx="25">
                  <c:v>0.18130089997157484</c:v>
                </c:pt>
                <c:pt idx="26">
                  <c:v>0.15877697605873412</c:v>
                </c:pt>
                <c:pt idx="27">
                  <c:v>0.15506212070140762</c:v>
                </c:pt>
                <c:pt idx="28">
                  <c:v>0.15876619148938315</c:v>
                </c:pt>
                <c:pt idx="29">
                  <c:v>0.16562109765108643</c:v>
                </c:pt>
                <c:pt idx="30">
                  <c:v>0.1526240024337514</c:v>
                </c:pt>
                <c:pt idx="31">
                  <c:v>0.16318963203343947</c:v>
                </c:pt>
                <c:pt idx="32">
                  <c:v>0.15851996547829772</c:v>
                </c:pt>
                <c:pt idx="33">
                  <c:v>0.15878614943941094</c:v>
                </c:pt>
                <c:pt idx="34">
                  <c:v>0.1502504096738023</c:v>
                </c:pt>
                <c:pt idx="35">
                  <c:v>0.15534925011528444</c:v>
                </c:pt>
                <c:pt idx="36">
                  <c:v>0.1471707004839627</c:v>
                </c:pt>
                <c:pt idx="37">
                  <c:v>0.1517982942251786</c:v>
                </c:pt>
                <c:pt idx="38">
                  <c:v>0.15359365215951704</c:v>
                </c:pt>
                <c:pt idx="39">
                  <c:v>0.15247130332650732</c:v>
                </c:pt>
                <c:pt idx="40">
                  <c:v>0.15288745776888424</c:v>
                </c:pt>
                <c:pt idx="41">
                  <c:v>0.14640858225418946</c:v>
                </c:pt>
                <c:pt idx="42">
                  <c:v>0.15983155101977436</c:v>
                </c:pt>
                <c:pt idx="43">
                  <c:v>0.15830975733015318</c:v>
                </c:pt>
                <c:pt idx="44">
                  <c:v>0.15545764153399022</c:v>
                </c:pt>
                <c:pt idx="45">
                  <c:v>0.1629616228491373</c:v>
                </c:pt>
                <c:pt idx="46">
                  <c:v>0.16669256410629085</c:v>
                </c:pt>
                <c:pt idx="47">
                  <c:v>0.1656135094721696</c:v>
                </c:pt>
                <c:pt idx="48">
                  <c:v>0.16550657332065336</c:v>
                </c:pt>
                <c:pt idx="49">
                  <c:v>0.16223133858913497</c:v>
                </c:pt>
                <c:pt idx="50">
                  <c:v>0.1589565196482422</c:v>
                </c:pt>
                <c:pt idx="51">
                  <c:v>0.1571540153125266</c:v>
                </c:pt>
                <c:pt idx="52">
                  <c:v>0.16940822049420318</c:v>
                </c:pt>
                <c:pt idx="53">
                  <c:v>0.19247062749765156</c:v>
                </c:pt>
                <c:pt idx="54">
                  <c:v>0.160049831369681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2.0"/>
          <c:min val="23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199230028873916"/>
          <c:min val="0.075471698113207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32468579136674086</c:v>
                </c:pt>
                <c:pt idx="1">
                  <c:v>0.03613736452509604</c:v>
                </c:pt>
                <c:pt idx="2">
                  <c:v>0.035628589772502876</c:v>
                </c:pt>
                <c:pt idx="3">
                  <c:v>0.03202666035418917</c:v>
                </c:pt>
                <c:pt idx="4">
                  <c:v>0.03071139282169127</c:v>
                </c:pt>
                <c:pt idx="5">
                  <c:v>0.0328632752740746</c:v>
                </c:pt>
                <c:pt idx="6">
                  <c:v>0.03969430884463784</c:v>
                </c:pt>
                <c:pt idx="7">
                  <c:v>0.034620452170793986</c:v>
                </c:pt>
                <c:pt idx="8">
                  <c:v>0.034050503181666546</c:v>
                </c:pt>
                <c:pt idx="9">
                  <c:v>0.03445485809402474</c:v>
                </c:pt>
                <c:pt idx="10">
                  <c:v>0.03467769331118924</c:v>
                </c:pt>
                <c:pt idx="11">
                  <c:v>0.036193562825278955</c:v>
                </c:pt>
                <c:pt idx="12">
                  <c:v>0.03771707921718435</c:v>
                </c:pt>
                <c:pt idx="13">
                  <c:v>0.03581317531062371</c:v>
                </c:pt>
                <c:pt idx="14">
                  <c:v>0.03432553461782765</c:v>
                </c:pt>
                <c:pt idx="15">
                  <c:v>0.03845882665671376</c:v>
                </c:pt>
                <c:pt idx="16">
                  <c:v>0.03673028421416206</c:v>
                </c:pt>
                <c:pt idx="17">
                  <c:v>0.03174776958289146</c:v>
                </c:pt>
                <c:pt idx="18">
                  <c:v>0.03283871344819763</c:v>
                </c:pt>
                <c:pt idx="19">
                  <c:v>0.0344621450017227</c:v>
                </c:pt>
                <c:pt idx="20">
                  <c:v>0.03735429995419057</c:v>
                </c:pt>
                <c:pt idx="21">
                  <c:v>0.033697671988332165</c:v>
                </c:pt>
                <c:pt idx="22">
                  <c:v>0.034591213059238735</c:v>
                </c:pt>
                <c:pt idx="23">
                  <c:v>0.03651135757046108</c:v>
                </c:pt>
                <c:pt idx="24">
                  <c:v>0.036698551041921317</c:v>
                </c:pt>
                <c:pt idx="25">
                  <c:v>0.03603492071444676</c:v>
                </c:pt>
                <c:pt idx="26">
                  <c:v>0.03253133867475839</c:v>
                </c:pt>
                <c:pt idx="27">
                  <c:v>0.03203238892415222</c:v>
                </c:pt>
                <c:pt idx="28">
                  <c:v>0.0305050115773539</c:v>
                </c:pt>
                <c:pt idx="29">
                  <c:v>0.03575548962022256</c:v>
                </c:pt>
                <c:pt idx="30">
                  <c:v>0.03821126699669254</c:v>
                </c:pt>
                <c:pt idx="31">
                  <c:v>0.03506089067206756</c:v>
                </c:pt>
                <c:pt idx="32">
                  <c:v>0.03432223195860714</c:v>
                </c:pt>
                <c:pt idx="33">
                  <c:v>0.03422067275376958</c:v>
                </c:pt>
                <c:pt idx="34">
                  <c:v>0.03515982123594308</c:v>
                </c:pt>
                <c:pt idx="35">
                  <c:v>0.03280054375561837</c:v>
                </c:pt>
                <c:pt idx="36">
                  <c:v>0.03083484961587082</c:v>
                </c:pt>
                <c:pt idx="37">
                  <c:v>0.03222979901380754</c:v>
                </c:pt>
                <c:pt idx="38">
                  <c:v>0.032002946990448186</c:v>
                </c:pt>
                <c:pt idx="39">
                  <c:v>0.035195450455445455</c:v>
                </c:pt>
                <c:pt idx="40">
                  <c:v>0.03698063481949063</c:v>
                </c:pt>
                <c:pt idx="41">
                  <c:v>0.03410635074321517</c:v>
                </c:pt>
                <c:pt idx="42">
                  <c:v>0.03373751702555893</c:v>
                </c:pt>
                <c:pt idx="43">
                  <c:v>0.033202143333945944</c:v>
                </c:pt>
                <c:pt idx="44">
                  <c:v>0.033808930505822524</c:v>
                </c:pt>
                <c:pt idx="45">
                  <c:v>0.03587455211183134</c:v>
                </c:pt>
                <c:pt idx="46">
                  <c:v>0.035726041271814286</c:v>
                </c:pt>
                <c:pt idx="47">
                  <c:v>0.03725744384244592</c:v>
                </c:pt>
                <c:pt idx="48">
                  <c:v>0.035317718811118476</c:v>
                </c:pt>
                <c:pt idx="49">
                  <c:v>0.03690863619487645</c:v>
                </c:pt>
                <c:pt idx="50">
                  <c:v>0.03560013099382185</c:v>
                </c:pt>
                <c:pt idx="51">
                  <c:v>0.03480036668922282</c:v>
                </c:pt>
                <c:pt idx="52">
                  <c:v>0.03633301592681429</c:v>
                </c:pt>
                <c:pt idx="53">
                  <c:v>0.03933064685627694</c:v>
                </c:pt>
                <c:pt idx="54">
                  <c:v>0.03772471872851807</c:v>
                </c:pt>
                <c:pt idx="55">
                  <c:v>0.03385944726904442</c:v>
                </c:pt>
                <c:pt idx="56">
                  <c:v>0.031182837716715754</c:v>
                </c:pt>
                <c:pt idx="57">
                  <c:v>0.03646489078002248</c:v>
                </c:pt>
                <c:pt idx="58">
                  <c:v>0.03801709093227714</c:v>
                </c:pt>
                <c:pt idx="59">
                  <c:v>0.04085354983680809</c:v>
                </c:pt>
                <c:pt idx="60">
                  <c:v>0.035328247398587705</c:v>
                </c:pt>
                <c:pt idx="61">
                  <c:v>0.03737297447528674</c:v>
                </c:pt>
                <c:pt idx="62">
                  <c:v>0.036725486555360544</c:v>
                </c:pt>
                <c:pt idx="63">
                  <c:v>0.03789666163138411</c:v>
                </c:pt>
                <c:pt idx="64">
                  <c:v>0.041551883258005115</c:v>
                </c:pt>
                <c:pt idx="65">
                  <c:v>0.03937247573267759</c:v>
                </c:pt>
                <c:pt idx="66">
                  <c:v>0.03624667925006396</c:v>
                </c:pt>
                <c:pt idx="67">
                  <c:v>0.03815724198996362</c:v>
                </c:pt>
                <c:pt idx="68">
                  <c:v>0.03675366762491782</c:v>
                </c:pt>
                <c:pt idx="69">
                  <c:v>0.03381320547758457</c:v>
                </c:pt>
                <c:pt idx="70">
                  <c:v>0.0357593051175657</c:v>
                </c:pt>
                <c:pt idx="71">
                  <c:v>0.03568731810600577</c:v>
                </c:pt>
                <c:pt idx="72">
                  <c:v>0.03858267666711535</c:v>
                </c:pt>
                <c:pt idx="73">
                  <c:v>0.03495324241020166</c:v>
                </c:pt>
                <c:pt idx="74">
                  <c:v>0.040437499044878616</c:v>
                </c:pt>
                <c:pt idx="75">
                  <c:v>0.039428331573864016</c:v>
                </c:pt>
                <c:pt idx="76">
                  <c:v>0.03857383988408804</c:v>
                </c:pt>
                <c:pt idx="77">
                  <c:v>0.03792924331535723</c:v>
                </c:pt>
                <c:pt idx="78">
                  <c:v>0.038872774946350254</c:v>
                </c:pt>
                <c:pt idx="79">
                  <c:v>0.03459308270073505</c:v>
                </c:pt>
                <c:pt idx="80">
                  <c:v>0.034215397432498955</c:v>
                </c:pt>
                <c:pt idx="81">
                  <c:v>0.03890342875064045</c:v>
                </c:pt>
                <c:pt idx="82">
                  <c:v>0.04249270518609317</c:v>
                </c:pt>
                <c:pt idx="83">
                  <c:v>0.03867917228764148</c:v>
                </c:pt>
                <c:pt idx="84">
                  <c:v>0.03435443269505772</c:v>
                </c:pt>
                <c:pt idx="85">
                  <c:v>0.03511771157043727</c:v>
                </c:pt>
                <c:pt idx="86">
                  <c:v>0.03729822007378148</c:v>
                </c:pt>
                <c:pt idx="87">
                  <c:v>0.034576261858352816</c:v>
                </c:pt>
                <c:pt idx="88">
                  <c:v>0.03398347574012841</c:v>
                </c:pt>
                <c:pt idx="89">
                  <c:v>0.030360699234791195</c:v>
                </c:pt>
                <c:pt idx="90">
                  <c:v>0.03342554408064048</c:v>
                </c:pt>
                <c:pt idx="91">
                  <c:v>0.037706415480259436</c:v>
                </c:pt>
                <c:pt idx="92">
                  <c:v>0.037870100367709415</c:v>
                </c:pt>
                <c:pt idx="93">
                  <c:v>0.03539847298339543</c:v>
                </c:pt>
                <c:pt idx="94">
                  <c:v>0.03454709490616856</c:v>
                </c:pt>
                <c:pt idx="95">
                  <c:v>0.035163702512988226</c:v>
                </c:pt>
                <c:pt idx="96">
                  <c:v>0.039349300989580324</c:v>
                </c:pt>
                <c:pt idx="97">
                  <c:v>0.038912045896322744</c:v>
                </c:pt>
                <c:pt idx="98">
                  <c:v>0.036527269613118966</c:v>
                </c:pt>
                <c:pt idx="99">
                  <c:v>0.036882097267414655</c:v>
                </c:pt>
                <c:pt idx="100">
                  <c:v>0.037602352471241336</c:v>
                </c:pt>
                <c:pt idx="101">
                  <c:v>0.04210334299405242</c:v>
                </c:pt>
                <c:pt idx="102">
                  <c:v>0.03686366218338948</c:v>
                </c:pt>
                <c:pt idx="103">
                  <c:v>0.03143874592692044</c:v>
                </c:pt>
                <c:pt idx="104">
                  <c:v>0.03548517726073531</c:v>
                </c:pt>
              </c:numCache>
            </c:numRef>
          </c:xVal>
          <c:yVal>
            <c:numRef>
              <c:f>Sheet1!$B$2:$B$106</c:f>
              <c:numCache>
                <c:formatCode>General</c:formatCode>
                <c:ptCount val="105"/>
                <c:pt idx="0">
                  <c:v>0.1746550472040668</c:v>
                </c:pt>
                <c:pt idx="1">
                  <c:v>0.20952380952380953</c:v>
                </c:pt>
                <c:pt idx="2">
                  <c:v>0.19011725293132328</c:v>
                </c:pt>
                <c:pt idx="3">
                  <c:v>0.17137254901960786</c:v>
                </c:pt>
                <c:pt idx="4">
                  <c:v>0.18118466898954705</c:v>
                </c:pt>
                <c:pt idx="5">
                  <c:v>0.19549929676511954</c:v>
                </c:pt>
                <c:pt idx="6">
                  <c:v>0.22666025024061598</c:v>
                </c:pt>
                <c:pt idx="7">
                  <c:v>0.20572916666666666</c:v>
                </c:pt>
                <c:pt idx="8">
                  <c:v>0.1774936061381074</c:v>
                </c:pt>
                <c:pt idx="9">
                  <c:v>0.1695464362850972</c:v>
                </c:pt>
                <c:pt idx="10">
                  <c:v>0.19398711524695778</c:v>
                </c:pt>
                <c:pt idx="11">
                  <c:v>0.18490847964138962</c:v>
                </c:pt>
                <c:pt idx="12">
                  <c:v>0.19105113636363635</c:v>
                </c:pt>
                <c:pt idx="13">
                  <c:v>0.22109227871939735</c:v>
                </c:pt>
                <c:pt idx="14">
                  <c:v>0.20474219044034625</c:v>
                </c:pt>
                <c:pt idx="15">
                  <c:v>0.16022727272727272</c:v>
                </c:pt>
                <c:pt idx="16">
                  <c:v>0.14772727272727273</c:v>
                </c:pt>
                <c:pt idx="17">
                  <c:v>0.13129496402877697</c:v>
                </c:pt>
                <c:pt idx="18">
                  <c:v>0.13897131552917902</c:v>
                </c:pt>
                <c:pt idx="19">
                  <c:v>0.12221553281155931</c:v>
                </c:pt>
                <c:pt idx="20">
                  <c:v>0.10917478216299334</c:v>
                </c:pt>
                <c:pt idx="21">
                  <c:v>0.12916383412644458</c:v>
                </c:pt>
                <c:pt idx="22">
                  <c:v>0.14933705512909978</c:v>
                </c:pt>
                <c:pt idx="23">
                  <c:v>0.1664167916041979</c:v>
                </c:pt>
                <c:pt idx="24">
                  <c:v>0.18791451731761238</c:v>
                </c:pt>
                <c:pt idx="25">
                  <c:v>0.17491467576791808</c:v>
                </c:pt>
                <c:pt idx="26">
                  <c:v>0.15384615384615385</c:v>
                </c:pt>
                <c:pt idx="27">
                  <c:v>0.15997181113460182</c:v>
                </c:pt>
                <c:pt idx="28">
                  <c:v>0.13956941351150706</c:v>
                </c:pt>
                <c:pt idx="29">
                  <c:v>0.12669683257918551</c:v>
                </c:pt>
                <c:pt idx="30">
                  <c:v>0.1406628940986257</c:v>
                </c:pt>
                <c:pt idx="31">
                  <c:v>0.1337025316455696</c:v>
                </c:pt>
                <c:pt idx="32">
                  <c:v>0.15126050420168066</c:v>
                </c:pt>
                <c:pt idx="33">
                  <c:v>0.14201532115497936</c:v>
                </c:pt>
                <c:pt idx="34">
                  <c:v>0.1286783042394015</c:v>
                </c:pt>
                <c:pt idx="35">
                  <c:v>0.13989637305699482</c:v>
                </c:pt>
                <c:pt idx="36">
                  <c:v>0.13740053050397877</c:v>
                </c:pt>
                <c:pt idx="37">
                  <c:v>0.11277258566978193</c:v>
                </c:pt>
                <c:pt idx="38">
                  <c:v>0.1173939766441303</c:v>
                </c:pt>
                <c:pt idx="39">
                  <c:v>0.12352941176470589</c:v>
                </c:pt>
                <c:pt idx="40">
                  <c:v>0.12214551248008497</c:v>
                </c:pt>
                <c:pt idx="41">
                  <c:v>0.12100456621004566</c:v>
                </c:pt>
                <c:pt idx="42">
                  <c:v>0.12026832774317202</c:v>
                </c:pt>
                <c:pt idx="43">
                  <c:v>0.11525565800502934</c:v>
                </c:pt>
                <c:pt idx="44">
                  <c:v>0.13713405238828968</c:v>
                </c:pt>
                <c:pt idx="45">
                  <c:v>0.14734245346490243</c:v>
                </c:pt>
                <c:pt idx="46">
                  <c:v>0.15191306316504416</c:v>
                </c:pt>
                <c:pt idx="47">
                  <c:v>0.1660165772793759</c:v>
                </c:pt>
                <c:pt idx="48">
                  <c:v>0.17752684191040355</c:v>
                </c:pt>
                <c:pt idx="49">
                  <c:v>0.19140522014236752</c:v>
                </c:pt>
                <c:pt idx="50">
                  <c:v>0.1658255227108868</c:v>
                </c:pt>
                <c:pt idx="51">
                  <c:v>0.15165876777251186</c:v>
                </c:pt>
                <c:pt idx="52">
                  <c:v>0.1524195885250652</c:v>
                </c:pt>
                <c:pt idx="53">
                  <c:v>0.1695865451997197</c:v>
                </c:pt>
                <c:pt idx="54">
                  <c:v>0.17013152312261348</c:v>
                </c:pt>
                <c:pt idx="55">
                  <c:v>0.16510012259910095</c:v>
                </c:pt>
                <c:pt idx="56">
                  <c:v>0.18075313807531382</c:v>
                </c:pt>
                <c:pt idx="57">
                  <c:v>0.18479059515062454</c:v>
                </c:pt>
                <c:pt idx="58">
                  <c:v>0.19789901728227718</c:v>
                </c:pt>
                <c:pt idx="59">
                  <c:v>0.1540099361249113</c:v>
                </c:pt>
                <c:pt idx="60">
                  <c:v>0.15317460317460319</c:v>
                </c:pt>
                <c:pt idx="61">
                  <c:v>0.16890080428954424</c:v>
                </c:pt>
                <c:pt idx="62">
                  <c:v>0.18027112777617538</c:v>
                </c:pt>
                <c:pt idx="63">
                  <c:v>0.18265734265734265</c:v>
                </c:pt>
                <c:pt idx="64">
                  <c:v>0.15872259294566254</c:v>
                </c:pt>
                <c:pt idx="65">
                  <c:v>0.15444500251130086</c:v>
                </c:pt>
                <c:pt idx="66">
                  <c:v>0.16397984886649875</c:v>
                </c:pt>
                <c:pt idx="67">
                  <c:v>0.15558546433378195</c:v>
                </c:pt>
                <c:pt idx="68">
                  <c:v>0.14555077737347005</c:v>
                </c:pt>
                <c:pt idx="69">
                  <c:v>0.130550621669627</c:v>
                </c:pt>
                <c:pt idx="70">
                  <c:v>0.12343005630142918</c:v>
                </c:pt>
                <c:pt idx="71">
                  <c:v>0.1430738119312437</c:v>
                </c:pt>
                <c:pt idx="72">
                  <c:v>0.14142928535732133</c:v>
                </c:pt>
                <c:pt idx="73">
                  <c:v>0.14742547425474256</c:v>
                </c:pt>
                <c:pt idx="74">
                  <c:v>0.13814432989690723</c:v>
                </c:pt>
                <c:pt idx="75">
                  <c:v>0.1405371642723298</c:v>
                </c:pt>
                <c:pt idx="76">
                  <c:v>0.16224951519069167</c:v>
                </c:pt>
                <c:pt idx="77">
                  <c:v>0.143054595715273</c:v>
                </c:pt>
                <c:pt idx="78">
                  <c:v>0.1407804131599082</c:v>
                </c:pt>
                <c:pt idx="79">
                  <c:v>0.1134989926124916</c:v>
                </c:pt>
                <c:pt idx="80">
                  <c:v>0.11132561132561132</c:v>
                </c:pt>
                <c:pt idx="81">
                  <c:v>0.11339031339031339</c:v>
                </c:pt>
                <c:pt idx="82">
                  <c:v>0.10726887791107975</c:v>
                </c:pt>
                <c:pt idx="83">
                  <c:v>0.10624493106244931</c:v>
                </c:pt>
                <c:pt idx="84">
                  <c:v>0.10500410172272355</c:v>
                </c:pt>
                <c:pt idx="85">
                  <c:v>0.11524947294448348</c:v>
                </c:pt>
                <c:pt idx="86">
                  <c:v>0.10392967942088935</c:v>
                </c:pt>
                <c:pt idx="87">
                  <c:v>0.11652977412731007</c:v>
                </c:pt>
                <c:pt idx="88">
                  <c:v>0.11180904522613065</c:v>
                </c:pt>
                <c:pt idx="89">
                  <c:v>0.12425149700598802</c:v>
                </c:pt>
                <c:pt idx="90">
                  <c:v>0.12770897832817338</c:v>
                </c:pt>
                <c:pt idx="91">
                  <c:v>0.1224051539012169</c:v>
                </c:pt>
                <c:pt idx="92">
                  <c:v>0.1201641266119578</c:v>
                </c:pt>
                <c:pt idx="93">
                  <c:v>0.11820728291316526</c:v>
                </c:pt>
                <c:pt idx="94">
                  <c:v>0.1172291296625222</c:v>
                </c:pt>
                <c:pt idx="95">
                  <c:v>0.12595097210481826</c:v>
                </c:pt>
                <c:pt idx="96">
                  <c:v>0.09433962264150944</c:v>
                </c:pt>
                <c:pt idx="97">
                  <c:v>0.10118001506402209</c:v>
                </c:pt>
                <c:pt idx="98">
                  <c:v>0.10590316161839487</c:v>
                </c:pt>
                <c:pt idx="99">
                  <c:v>0.1287570292805895</c:v>
                </c:pt>
                <c:pt idx="100">
                  <c:v>0.13682530470110274</c:v>
                </c:pt>
                <c:pt idx="101">
                  <c:v>0.14875609130546294</c:v>
                </c:pt>
                <c:pt idx="102">
                  <c:v>0.12789373814041746</c:v>
                </c:pt>
                <c:pt idx="103">
                  <c:v>0.16223908918406071</c:v>
                </c:pt>
                <c:pt idx="104">
                  <c:v>0.1409624857900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3855096448913968</c:v>
                </c:pt>
                <c:pt idx="1">
                  <c:v>0.03750126452562725</c:v>
                </c:pt>
                <c:pt idx="2">
                  <c:v>0.03422530602303945</c:v>
                </c:pt>
                <c:pt idx="3">
                  <c:v>0.035041869708623184</c:v>
                </c:pt>
                <c:pt idx="4">
                  <c:v>0.0344367160598909</c:v>
                </c:pt>
                <c:pt idx="5">
                  <c:v>0.03596260060552284</c:v>
                </c:pt>
                <c:pt idx="6">
                  <c:v>0.039232057800809184</c:v>
                </c:pt>
                <c:pt idx="7">
                  <c:v>0.03858251346572566</c:v>
                </c:pt>
                <c:pt idx="8">
                  <c:v>0.03857163073258733</c:v>
                </c:pt>
                <c:pt idx="9">
                  <c:v>0.037455298662208224</c:v>
                </c:pt>
                <c:pt idx="10">
                  <c:v>0.0412061363845967</c:v>
                </c:pt>
                <c:pt idx="11">
                  <c:v>0.043314489581185195</c:v>
                </c:pt>
                <c:pt idx="12">
                  <c:v>0.03866650356239812</c:v>
                </c:pt>
                <c:pt idx="13">
                  <c:v>0.04299974791080013</c:v>
                </c:pt>
                <c:pt idx="14">
                  <c:v>0.04107418651449024</c:v>
                </c:pt>
                <c:pt idx="15">
                  <c:v>0.04113665165583292</c:v>
                </c:pt>
                <c:pt idx="16">
                  <c:v>0.04219761885459883</c:v>
                </c:pt>
                <c:pt idx="17">
                  <c:v>0.037896993874542886</c:v>
                </c:pt>
                <c:pt idx="18">
                  <c:v>0.03741533837748775</c:v>
                </c:pt>
                <c:pt idx="19">
                  <c:v>0.03851761957339222</c:v>
                </c:pt>
                <c:pt idx="20">
                  <c:v>0.03713220925205361</c:v>
                </c:pt>
                <c:pt idx="21">
                  <c:v>0.03859857394084732</c:v>
                </c:pt>
                <c:pt idx="22">
                  <c:v>0.03750307311733917</c:v>
                </c:pt>
                <c:pt idx="23">
                  <c:v>0.03904617711016571</c:v>
                </c:pt>
                <c:pt idx="24">
                  <c:v>0.03701259383336435</c:v>
                </c:pt>
                <c:pt idx="25">
                  <c:v>0.02858371672581699</c:v>
                </c:pt>
                <c:pt idx="26">
                  <c:v>0.03668205435994169</c:v>
                </c:pt>
                <c:pt idx="27">
                  <c:v>0.04571385067702202</c:v>
                </c:pt>
                <c:pt idx="28">
                  <c:v>0.049315198625264775</c:v>
                </c:pt>
                <c:pt idx="29">
                  <c:v>0.056865305924272684</c:v>
                </c:pt>
                <c:pt idx="30">
                  <c:v>0.04109402020569764</c:v>
                </c:pt>
                <c:pt idx="31">
                  <c:v>0.037928980235386274</c:v>
                </c:pt>
                <c:pt idx="32">
                  <c:v>0.0404683054451183</c:v>
                </c:pt>
                <c:pt idx="33">
                  <c:v>0.04125589189058865</c:v>
                </c:pt>
                <c:pt idx="34">
                  <c:v>0.04674516714438258</c:v>
                </c:pt>
                <c:pt idx="35">
                  <c:v>0.044364930168187725</c:v>
                </c:pt>
                <c:pt idx="36">
                  <c:v>0.047195974478392785</c:v>
                </c:pt>
                <c:pt idx="37">
                  <c:v>0.03773550016858158</c:v>
                </c:pt>
                <c:pt idx="38">
                  <c:v>0.03964123186647631</c:v>
                </c:pt>
                <c:pt idx="39">
                  <c:v>0.03634962853375358</c:v>
                </c:pt>
                <c:pt idx="40">
                  <c:v>0.03772949521908262</c:v>
                </c:pt>
                <c:pt idx="41">
                  <c:v>0.03953181387304385</c:v>
                </c:pt>
                <c:pt idx="42">
                  <c:v>0.03477224379585608</c:v>
                </c:pt>
                <c:pt idx="43">
                  <c:v>0.03956989741307589</c:v>
                </c:pt>
                <c:pt idx="44">
                  <c:v>0.04644922373147291</c:v>
                </c:pt>
                <c:pt idx="45">
                  <c:v>0.03729211803920148</c:v>
                </c:pt>
                <c:pt idx="46">
                  <c:v>0.035085438325806025</c:v>
                </c:pt>
                <c:pt idx="47">
                  <c:v>0.035901047119239145</c:v>
                </c:pt>
                <c:pt idx="48">
                  <c:v>0.035535714601476504</c:v>
                </c:pt>
                <c:pt idx="49">
                  <c:v>0.038319484718836935</c:v>
                </c:pt>
                <c:pt idx="50">
                  <c:v>0.03868557519107172</c:v>
                </c:pt>
                <c:pt idx="51">
                  <c:v>0.037411959187129126</c:v>
                </c:pt>
              </c:numCache>
            </c:numRef>
          </c:xVal>
          <c:yVal>
            <c:numRef>
              <c:f>Sheet1!$B$109:$B$160</c:f>
              <c:numCache>
                <c:formatCode>General</c:formatCode>
                <c:ptCount val="52"/>
                <c:pt idx="0">
                  <c:v>0.1361644759015841</c:v>
                </c:pt>
                <c:pt idx="1">
                  <c:v>0.138348623853211</c:v>
                </c:pt>
                <c:pt idx="2">
                  <c:v>0.14518364518364518</c:v>
                </c:pt>
                <c:pt idx="3">
                  <c:v>0.1646977067407922</c:v>
                </c:pt>
                <c:pt idx="4">
                  <c:v>0.16466431095406361</c:v>
                </c:pt>
                <c:pt idx="5">
                  <c:v>0.14712308812818645</c:v>
                </c:pt>
                <c:pt idx="6">
                  <c:v>0.14702114029468288</c:v>
                </c:pt>
                <c:pt idx="7">
                  <c:v>0.1729776247848537</c:v>
                </c:pt>
                <c:pt idx="8">
                  <c:v>0.1510822510822511</c:v>
                </c:pt>
                <c:pt idx="9">
                  <c:v>0.15156440471353108</c:v>
                </c:pt>
                <c:pt idx="10">
                  <c:v>0.16912644595133625</c:v>
                </c:pt>
                <c:pt idx="11">
                  <c:v>0.13798263992816523</c:v>
                </c:pt>
                <c:pt idx="12">
                  <c:v>0.13680555555555557</c:v>
                </c:pt>
                <c:pt idx="13">
                  <c:v>0.16068702290076337</c:v>
                </c:pt>
                <c:pt idx="14">
                  <c:v>0.15056082830025885</c:v>
                </c:pt>
                <c:pt idx="15">
                  <c:v>0.1365079365079365</c:v>
                </c:pt>
                <c:pt idx="16">
                  <c:v>0.1254858411993337</c:v>
                </c:pt>
                <c:pt idx="17">
                  <c:v>0.12645794966236956</c:v>
                </c:pt>
                <c:pt idx="18">
                  <c:v>0.14640698455339154</c:v>
                </c:pt>
                <c:pt idx="19">
                  <c:v>0.16023936170212766</c:v>
                </c:pt>
                <c:pt idx="20">
                  <c:v>0.17472118959107807</c:v>
                </c:pt>
                <c:pt idx="21">
                  <c:v>0.16853932584269662</c:v>
                </c:pt>
                <c:pt idx="22">
                  <c:v>0.16100872938894278</c:v>
                </c:pt>
                <c:pt idx="23">
                  <c:v>0.16395112016293278</c:v>
                </c:pt>
                <c:pt idx="24">
                  <c:v>0.1671415004748338</c:v>
                </c:pt>
                <c:pt idx="25">
                  <c:v>0.18571428571428572</c:v>
                </c:pt>
                <c:pt idx="26">
                  <c:v>0.14575645756457564</c:v>
                </c:pt>
                <c:pt idx="27">
                  <c:v>0.15840779853777417</c:v>
                </c:pt>
                <c:pt idx="28">
                  <c:v>0.15225707727620505</c:v>
                </c:pt>
                <c:pt idx="29">
                  <c:v>0.16713352007469653</c:v>
                </c:pt>
                <c:pt idx="30">
                  <c:v>0.14609053497942387</c:v>
                </c:pt>
                <c:pt idx="31">
                  <c:v>0.155154091392136</c:v>
                </c:pt>
                <c:pt idx="32">
                  <c:v>0.14782608695652175</c:v>
                </c:pt>
                <c:pt idx="33">
                  <c:v>0.15463917525773196</c:v>
                </c:pt>
                <c:pt idx="34">
                  <c:v>0.15760266370699222</c:v>
                </c:pt>
                <c:pt idx="35">
                  <c:v>0.15710382513661203</c:v>
                </c:pt>
                <c:pt idx="36">
                  <c:v>0.15120274914089346</c:v>
                </c:pt>
                <c:pt idx="37">
                  <c:v>0.15422885572139303</c:v>
                </c:pt>
                <c:pt idx="38">
                  <c:v>0.16723549488054607</c:v>
                </c:pt>
                <c:pt idx="39">
                  <c:v>0.1611295681063123</c:v>
                </c:pt>
                <c:pt idx="40">
                  <c:v>0.1457326892109501</c:v>
                </c:pt>
                <c:pt idx="41">
                  <c:v>0.15080527086383602</c:v>
                </c:pt>
                <c:pt idx="42">
                  <c:v>0.16693944353518822</c:v>
                </c:pt>
                <c:pt idx="43">
                  <c:v>0.13752222880853587</c:v>
                </c:pt>
                <c:pt idx="44">
                  <c:v>0.14150555327025915</c:v>
                </c:pt>
                <c:pt idx="45">
                  <c:v>0.15923207227555053</c:v>
                </c:pt>
                <c:pt idx="46">
                  <c:v>0.17482281471481606</c:v>
                </c:pt>
                <c:pt idx="47">
                  <c:v>0.1653252850435949</c:v>
                </c:pt>
                <c:pt idx="48">
                  <c:v>0.16018784242108008</c:v>
                </c:pt>
                <c:pt idx="49">
                  <c:v>0.16532449076267172</c:v>
                </c:pt>
                <c:pt idx="50">
                  <c:v>0.17176392792197057</c:v>
                </c:pt>
                <c:pt idx="51">
                  <c:v>0.180356620871090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911517786950225</c:v>
                </c:pt>
              </c:numCache>
            </c:numRef>
          </c:xVal>
          <c:yVal>
            <c:numRef>
              <c:f>Sheet1!$B$163:$B$164</c:f>
              <c:numCache>
                <c:formatCode>General</c:formatCode>
                <c:ptCount val="2"/>
                <c:pt idx="0">
                  <c:v>0.19247062749765156</c:v>
                </c:pt>
                <c:pt idx="1">
                  <c:v>0.192470627497651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911517786950225</c:v>
                </c:pt>
                <c:pt idx="1">
                  <c:v>-0.01911517786950225</c:v>
                </c:pt>
              </c:numCache>
            </c:numRef>
          </c:xVal>
          <c:yVal>
            <c:numRef>
              <c:f>Sheet1!$B$167:$B$168</c:f>
              <c:numCache>
                <c:formatCode>General</c:formatCode>
                <c:ptCount val="2"/>
                <c:pt idx="0">
                  <c:v>0.192470627497651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17384775502641468</c:v>
                </c:pt>
              </c:numCache>
            </c:numRef>
          </c:xVal>
          <c:yVal>
            <c:numRef>
              <c:f>Sheet1!$B$171:$B$172</c:f>
              <c:numCache>
                <c:formatCode>General</c:formatCode>
                <c:ptCount val="2"/>
                <c:pt idx="0">
                  <c:v>0.16940822049420318</c:v>
                </c:pt>
                <c:pt idx="1">
                  <c:v>0.169408220494203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17384775502641468</c:v>
                </c:pt>
                <c:pt idx="1">
                  <c:v>0.017384775502641468</c:v>
                </c:pt>
              </c:numCache>
            </c:numRef>
          </c:xVal>
          <c:yVal>
            <c:numRef>
              <c:f>Sheet1!$B$175:$B$176</c:f>
              <c:numCache>
                <c:formatCode>General</c:formatCode>
                <c:ptCount val="2"/>
                <c:pt idx="0">
                  <c:v>0.169408220494203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32195925380984834</c:v>
                </c:pt>
              </c:numCache>
            </c:numRef>
          </c:xVal>
          <c:yVal>
            <c:numRef>
              <c:f>Sheet1!$B$179:$B$180</c:f>
              <c:numCache>
                <c:formatCode>General</c:formatCode>
                <c:ptCount val="2"/>
                <c:pt idx="0">
                  <c:v>0.16004983136968118</c:v>
                </c:pt>
                <c:pt idx="1">
                  <c:v>0.160049831369681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32195925380984834</c:v>
                </c:pt>
                <c:pt idx="1">
                  <c:v>0.032195925380984834</c:v>
                </c:pt>
              </c:numCache>
            </c:numRef>
          </c:xVal>
          <c:yVal>
            <c:numRef>
              <c:f>Sheet1!$B$183:$B$184</c:f>
              <c:numCache>
                <c:formatCode>General</c:formatCode>
                <c:ptCount val="2"/>
                <c:pt idx="0">
                  <c:v>0.160049831369681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3855096448913968</c:v>
                </c:pt>
                <c:pt idx="1">
                  <c:v>0.03750126452562725</c:v>
                </c:pt>
                <c:pt idx="2">
                  <c:v>0.03422530602303945</c:v>
                </c:pt>
                <c:pt idx="3">
                  <c:v>0.035041869708623184</c:v>
                </c:pt>
                <c:pt idx="4">
                  <c:v>0.0344367160598909</c:v>
                </c:pt>
                <c:pt idx="5">
                  <c:v>0.03596260060552284</c:v>
                </c:pt>
                <c:pt idx="6">
                  <c:v>0.039232057800809184</c:v>
                </c:pt>
                <c:pt idx="7">
                  <c:v>0.03858251346572566</c:v>
                </c:pt>
                <c:pt idx="8">
                  <c:v>0.03857163073258733</c:v>
                </c:pt>
                <c:pt idx="9">
                  <c:v>0.037455298662208224</c:v>
                </c:pt>
                <c:pt idx="10">
                  <c:v>0.0412061363845967</c:v>
                </c:pt>
                <c:pt idx="11">
                  <c:v>0.043314489581185195</c:v>
                </c:pt>
                <c:pt idx="12">
                  <c:v>0.03866650356239812</c:v>
                </c:pt>
                <c:pt idx="13">
                  <c:v>0.04299974791080013</c:v>
                </c:pt>
                <c:pt idx="14">
                  <c:v>0.04107418651449024</c:v>
                </c:pt>
                <c:pt idx="15">
                  <c:v>0.04113665165583292</c:v>
                </c:pt>
                <c:pt idx="16">
                  <c:v>0.04219761885459883</c:v>
                </c:pt>
                <c:pt idx="17">
                  <c:v>0.037896993874542886</c:v>
                </c:pt>
                <c:pt idx="18">
                  <c:v>0.03741533837748775</c:v>
                </c:pt>
                <c:pt idx="19">
                  <c:v>0.03851761957339222</c:v>
                </c:pt>
                <c:pt idx="20">
                  <c:v>0.03713220925205361</c:v>
                </c:pt>
                <c:pt idx="21">
                  <c:v>0.03859857394084732</c:v>
                </c:pt>
                <c:pt idx="22">
                  <c:v>0.03750307311733917</c:v>
                </c:pt>
                <c:pt idx="23">
                  <c:v>0.03904617711016571</c:v>
                </c:pt>
                <c:pt idx="24">
                  <c:v>0.03701259383336435</c:v>
                </c:pt>
                <c:pt idx="25">
                  <c:v>0.02858371672581699</c:v>
                </c:pt>
                <c:pt idx="26">
                  <c:v>0.03668205435994169</c:v>
                </c:pt>
                <c:pt idx="27">
                  <c:v>0.04571385067702202</c:v>
                </c:pt>
                <c:pt idx="28">
                  <c:v>0.049315198625264775</c:v>
                </c:pt>
                <c:pt idx="29">
                  <c:v>0.056865305924272684</c:v>
                </c:pt>
                <c:pt idx="30">
                  <c:v>0.04109402020569764</c:v>
                </c:pt>
                <c:pt idx="31">
                  <c:v>0.037928980235386274</c:v>
                </c:pt>
                <c:pt idx="32">
                  <c:v>0.0404683054451183</c:v>
                </c:pt>
                <c:pt idx="33">
                  <c:v>0.04125589189058865</c:v>
                </c:pt>
                <c:pt idx="34">
                  <c:v>0.04674516714438258</c:v>
                </c:pt>
                <c:pt idx="35">
                  <c:v>0.044364930168187725</c:v>
                </c:pt>
                <c:pt idx="36">
                  <c:v>0.047195974478392785</c:v>
                </c:pt>
                <c:pt idx="37">
                  <c:v>0.03773550016858158</c:v>
                </c:pt>
                <c:pt idx="38">
                  <c:v>0.03964123186647631</c:v>
                </c:pt>
                <c:pt idx="39">
                  <c:v>0.03634962853375358</c:v>
                </c:pt>
                <c:pt idx="40">
                  <c:v>0.03772949521908262</c:v>
                </c:pt>
                <c:pt idx="41">
                  <c:v>0.03953181387304385</c:v>
                </c:pt>
                <c:pt idx="42">
                  <c:v>0.03477224379585608</c:v>
                </c:pt>
                <c:pt idx="43">
                  <c:v>0.03956989741307589</c:v>
                </c:pt>
                <c:pt idx="44">
                  <c:v>0.04644922373147291</c:v>
                </c:pt>
                <c:pt idx="45">
                  <c:v>0.03729211803920148</c:v>
                </c:pt>
                <c:pt idx="46">
                  <c:v>0.035085438325806025</c:v>
                </c:pt>
                <c:pt idx="47">
                  <c:v>0.035901047119239145</c:v>
                </c:pt>
                <c:pt idx="48">
                  <c:v>0.035535714601476504</c:v>
                </c:pt>
                <c:pt idx="49">
                  <c:v>0.038319484718836935</c:v>
                </c:pt>
                <c:pt idx="50">
                  <c:v>0.03868557519107172</c:v>
                </c:pt>
                <c:pt idx="51">
                  <c:v>0.037411959187129126</c:v>
                </c:pt>
                <c:pt idx="52">
                  <c:v>0.017384775502641468</c:v>
                </c:pt>
                <c:pt idx="53">
                  <c:v>-0.01911517786950225</c:v>
                </c:pt>
                <c:pt idx="54">
                  <c:v>0.032195925380984834</c:v>
                </c:pt>
              </c:numCache>
            </c:numRef>
          </c:xVal>
          <c:yVal>
            <c:numRef>
              <c:f>Sheet1!$B$187:$B$241</c:f>
              <c:numCache>
                <c:formatCode>General</c:formatCode>
                <c:ptCount val="55"/>
                <c:pt idx="0">
                  <c:v>0.1560344153240554</c:v>
                </c:pt>
                <c:pt idx="1">
                  <c:v>0.15669766569983545</c:v>
                </c:pt>
                <c:pt idx="2">
                  <c:v>0.15876757213348988</c:v>
                </c:pt>
                <c:pt idx="3">
                  <c:v>0.15825162834942083</c:v>
                </c:pt>
                <c:pt idx="4">
                  <c:v>0.1586339932145041</c:v>
                </c:pt>
                <c:pt idx="5">
                  <c:v>0.1576698667655511</c:v>
                </c:pt>
                <c:pt idx="6">
                  <c:v>0.15560406816714542</c:v>
                </c:pt>
                <c:pt idx="7">
                  <c:v>0.15601448117972513</c:v>
                </c:pt>
                <c:pt idx="8">
                  <c:v>0.15602135740826129</c:v>
                </c:pt>
                <c:pt idx="9">
                  <c:v>0.15672670911914138</c:v>
                </c:pt>
                <c:pt idx="10">
                  <c:v>0.15435675140232882</c:v>
                </c:pt>
                <c:pt idx="11">
                  <c:v>0.1530245935491121</c:v>
                </c:pt>
                <c:pt idx="12">
                  <c:v>0.15596141224087007</c:v>
                </c:pt>
                <c:pt idx="13">
                  <c:v>0.15322346231010361</c:v>
                </c:pt>
                <c:pt idx="14">
                  <c:v>0.15444012360769635</c:v>
                </c:pt>
                <c:pt idx="15">
                  <c:v>0.1544006551596552</c:v>
                </c:pt>
                <c:pt idx="16">
                  <c:v>0.15373028560861018</c:v>
                </c:pt>
                <c:pt idx="17">
                  <c:v>0.15644762507060914</c:v>
                </c:pt>
                <c:pt idx="18">
                  <c:v>0.15675195792811386</c:v>
                </c:pt>
                <c:pt idx="19">
                  <c:v>0.1560554842281886</c:v>
                </c:pt>
                <c:pt idx="20">
                  <c:v>0.15693085237925788</c:v>
                </c:pt>
                <c:pt idx="21">
                  <c:v>0.156004333407476</c:v>
                </c:pt>
                <c:pt idx="22">
                  <c:v>0.1566965229455492</c:v>
                </c:pt>
                <c:pt idx="23">
                  <c:v>0.155721516430654</c:v>
                </c:pt>
                <c:pt idx="24">
                  <c:v>0.15700643109141604</c:v>
                </c:pt>
                <c:pt idx="25">
                  <c:v>0.16233219664663076</c:v>
                </c:pt>
                <c:pt idx="26">
                  <c:v>0.1572152816559375</c:v>
                </c:pt>
                <c:pt idx="27">
                  <c:v>0.1515085630606277</c:v>
                </c:pt>
                <c:pt idx="28">
                  <c:v>0.1492330600950049</c:v>
                </c:pt>
                <c:pt idx="29">
                  <c:v>0.14446254311176085</c:v>
                </c:pt>
                <c:pt idx="30">
                  <c:v>0.15442759173801582</c:v>
                </c:pt>
                <c:pt idx="31">
                  <c:v>0.15642741456609674</c:v>
                </c:pt>
                <c:pt idx="32">
                  <c:v>0.15482294809174635</c:v>
                </c:pt>
                <c:pt idx="33">
                  <c:v>0.1543253135065554</c:v>
                </c:pt>
                <c:pt idx="34">
                  <c:v>0.1508569282523</c:v>
                </c:pt>
                <c:pt idx="35">
                  <c:v>0.1523608752121763</c:v>
                </c:pt>
                <c:pt idx="36">
                  <c:v>0.1505720867317895</c:v>
                </c:pt>
                <c:pt idx="37">
                  <c:v>0.15654966447699964</c:v>
                </c:pt>
                <c:pt idx="38">
                  <c:v>0.15534553252625136</c:v>
                </c:pt>
                <c:pt idx="39">
                  <c:v>0.15742532410787824</c:v>
                </c:pt>
                <c:pt idx="40">
                  <c:v>0.15655345868977488</c:v>
                </c:pt>
                <c:pt idx="41">
                  <c:v>0.155414668019996</c:v>
                </c:pt>
                <c:pt idx="42">
                  <c:v>0.15842199082839475</c:v>
                </c:pt>
                <c:pt idx="43">
                  <c:v>0.15539060502760266</c:v>
                </c:pt>
                <c:pt idx="44">
                  <c:v>0.15104391937990294</c:v>
                </c:pt>
                <c:pt idx="45">
                  <c:v>0.15682981439997526</c:v>
                </c:pt>
                <c:pt idx="46">
                  <c:v>0.15822409962433442</c:v>
                </c:pt>
                <c:pt idx="47">
                  <c:v>0.15770875918655453</c:v>
                </c:pt>
                <c:pt idx="48">
                  <c:v>0.15793959365174776</c:v>
                </c:pt>
                <c:pt idx="49">
                  <c:v>0.156180675255441</c:v>
                </c:pt>
                <c:pt idx="50">
                  <c:v>0.15594936187855302</c:v>
                </c:pt>
                <c:pt idx="51">
                  <c:v>0.15675409306134536</c:v>
                </c:pt>
                <c:pt idx="52">
                  <c:v>0.16940822049420318</c:v>
                </c:pt>
                <c:pt idx="53">
                  <c:v>0.19247062749765156</c:v>
                </c:pt>
                <c:pt idx="54">
                  <c:v>0.160049831369681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199230028873916"/>
          <c:min val="0.075471698113207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4.3493</c:v>
                </c:pt>
                <c:pt idx="1">
                  <c:v>323.9628</c:v>
                </c:pt>
                <c:pt idx="2">
                  <c:v>329.978</c:v>
                </c:pt>
                <c:pt idx="3">
                  <c:v>324.7071</c:v>
                </c:pt>
                <c:pt idx="4">
                  <c:v>316.7284</c:v>
                </c:pt>
                <c:pt idx="5">
                  <c:v>323.2974</c:v>
                </c:pt>
                <c:pt idx="6">
                  <c:v>322.2866</c:v>
                </c:pt>
                <c:pt idx="7">
                  <c:v>326.0785</c:v>
                </c:pt>
                <c:pt idx="8">
                  <c:v>322.8646</c:v>
                </c:pt>
                <c:pt idx="9">
                  <c:v>324.8132</c:v>
                </c:pt>
                <c:pt idx="10">
                  <c:v>330.9483</c:v>
                </c:pt>
                <c:pt idx="11">
                  <c:v>336.703</c:v>
                </c:pt>
                <c:pt idx="12">
                  <c:v>333.1822</c:v>
                </c:pt>
                <c:pt idx="13">
                  <c:v>321.4872</c:v>
                </c:pt>
                <c:pt idx="14">
                  <c:v>324.239</c:v>
                </c:pt>
                <c:pt idx="15">
                  <c:v>333.8771</c:v>
                </c:pt>
                <c:pt idx="16">
                  <c:v>333.7885</c:v>
                </c:pt>
                <c:pt idx="17">
                  <c:v>337.7363</c:v>
                </c:pt>
                <c:pt idx="18">
                  <c:v>337.0</c:v>
                </c:pt>
                <c:pt idx="19">
                  <c:v>350.0837</c:v>
                </c:pt>
                <c:pt idx="20">
                  <c:v>350.2019</c:v>
                </c:pt>
                <c:pt idx="21">
                  <c:v>338.8737</c:v>
                </c:pt>
                <c:pt idx="22">
                  <c:v>345.1402</c:v>
                </c:pt>
                <c:pt idx="23">
                  <c:v>339.2523</c:v>
                </c:pt>
                <c:pt idx="24">
                  <c:v>357.5216</c:v>
                </c:pt>
                <c:pt idx="25">
                  <c:v>359.6195</c:v>
                </c:pt>
                <c:pt idx="26">
                  <c:v>359.3762</c:v>
                </c:pt>
                <c:pt idx="27">
                  <c:v>355.2863</c:v>
                </c:pt>
                <c:pt idx="28">
                  <c:v>357.5106</c:v>
                </c:pt>
                <c:pt idx="29">
                  <c:v>354.8929</c:v>
                </c:pt>
                <c:pt idx="30">
                  <c:v>353.523</c:v>
                </c:pt>
                <c:pt idx="31">
                  <c:v>364.5207</c:v>
                </c:pt>
                <c:pt idx="32">
                  <c:v>371.1162</c:v>
                </c:pt>
                <c:pt idx="33">
                  <c:v>358.3817</c:v>
                </c:pt>
                <c:pt idx="34">
                  <c:v>365.7868</c:v>
                </c:pt>
                <c:pt idx="35">
                  <c:v>371.7441</c:v>
                </c:pt>
                <c:pt idx="36">
                  <c:v>365.2432</c:v>
                </c:pt>
                <c:pt idx="37">
                  <c:v>367.8343</c:v>
                </c:pt>
                <c:pt idx="38">
                  <c:v>374.1414</c:v>
                </c:pt>
                <c:pt idx="39">
                  <c:v>375.8254</c:v>
                </c:pt>
                <c:pt idx="40">
                  <c:v>371.4261</c:v>
                </c:pt>
                <c:pt idx="41">
                  <c:v>364.1132</c:v>
                </c:pt>
                <c:pt idx="42">
                  <c:v>373.4462</c:v>
                </c:pt>
                <c:pt idx="43">
                  <c:v>380.52</c:v>
                </c:pt>
                <c:pt idx="44">
                  <c:v>359.5431</c:v>
                </c:pt>
                <c:pt idx="45">
                  <c:v>350.5921</c:v>
                </c:pt>
                <c:pt idx="46">
                  <c:v>353.6617</c:v>
                </c:pt>
                <c:pt idx="47">
                  <c:v>355.0661</c:v>
                </c:pt>
                <c:pt idx="48">
                  <c:v>357.8269</c:v>
                </c:pt>
                <c:pt idx="49">
                  <c:v>357.8809</c:v>
                </c:pt>
                <c:pt idx="50">
                  <c:v>369.2261</c:v>
                </c:pt>
                <c:pt idx="51">
                  <c:v>379.7271</c:v>
                </c:pt>
                <c:pt idx="52">
                  <c:v>377.6198</c:v>
                </c:pt>
                <c:pt idx="53">
                  <c:v>378.938</c:v>
                </c:pt>
                <c:pt idx="54">
                  <c:v>377.9651</c:v>
                </c:pt>
                <c:pt idx="55">
                  <c:v>370.7079</c:v>
                </c:pt>
                <c:pt idx="56">
                  <c:v>368.0347</c:v>
                </c:pt>
                <c:pt idx="57">
                  <c:v>343.5149</c:v>
                </c:pt>
                <c:pt idx="58">
                  <c:v>349.4521</c:v>
                </c:pt>
                <c:pt idx="59">
                  <c:v>371.255</c:v>
                </c:pt>
                <c:pt idx="60">
                  <c:v>366.0121</c:v>
                </c:pt>
                <c:pt idx="61">
                  <c:v>376.5159</c:v>
                </c:pt>
                <c:pt idx="62">
                  <c:v>378.872</c:v>
                </c:pt>
                <c:pt idx="63">
                  <c:v>404.2159</c:v>
                </c:pt>
                <c:pt idx="64">
                  <c:v>408.1141</c:v>
                </c:pt>
                <c:pt idx="65">
                  <c:v>404.2553</c:v>
                </c:pt>
                <c:pt idx="66">
                  <c:v>390.0891</c:v>
                </c:pt>
                <c:pt idx="67">
                  <c:v>391.9118</c:v>
                </c:pt>
                <c:pt idx="68">
                  <c:v>406.6864</c:v>
                </c:pt>
                <c:pt idx="69">
                  <c:v>410.6395</c:v>
                </c:pt>
                <c:pt idx="70">
                  <c:v>403.9684</c:v>
                </c:pt>
                <c:pt idx="71">
                  <c:v>418.9364</c:v>
                </c:pt>
                <c:pt idx="72">
                  <c:v>445.1166</c:v>
                </c:pt>
                <c:pt idx="73">
                  <c:v>433.761</c:v>
                </c:pt>
                <c:pt idx="74">
                  <c:v>431.5784</c:v>
                </c:pt>
                <c:pt idx="75">
                  <c:v>421.2933</c:v>
                </c:pt>
                <c:pt idx="76">
                  <c:v>417.9841</c:v>
                </c:pt>
                <c:pt idx="77">
                  <c:v>424.1787</c:v>
                </c:pt>
                <c:pt idx="78">
                  <c:v>420.4022</c:v>
                </c:pt>
                <c:pt idx="79">
                  <c:v>431.2071</c:v>
                </c:pt>
                <c:pt idx="80">
                  <c:v>451.763</c:v>
                </c:pt>
                <c:pt idx="81">
                  <c:v>431.2462</c:v>
                </c:pt>
                <c:pt idx="82">
                  <c:v>443.7237</c:v>
                </c:pt>
                <c:pt idx="83">
                  <c:v>422.9084</c:v>
                </c:pt>
                <c:pt idx="84">
                  <c:v>433.9063</c:v>
                </c:pt>
                <c:pt idx="85">
                  <c:v>412.9695</c:v>
                </c:pt>
                <c:pt idx="86">
                  <c:v>433.0945</c:v>
                </c:pt>
                <c:pt idx="87">
                  <c:v>433.4934</c:v>
                </c:pt>
                <c:pt idx="88">
                  <c:v>429.0225</c:v>
                </c:pt>
                <c:pt idx="89">
                  <c:v>422.8012</c:v>
                </c:pt>
                <c:pt idx="90">
                  <c:v>439.1636</c:v>
                </c:pt>
                <c:pt idx="91">
                  <c:v>437.8304</c:v>
                </c:pt>
                <c:pt idx="92">
                  <c:v>421.8098</c:v>
                </c:pt>
                <c:pt idx="93">
                  <c:v>433.7251</c:v>
                </c:pt>
                <c:pt idx="94">
                  <c:v>439.697</c:v>
                </c:pt>
                <c:pt idx="95">
                  <c:v>436.1376</c:v>
                </c:pt>
                <c:pt idx="96">
                  <c:v>443.1656</c:v>
                </c:pt>
                <c:pt idx="97">
                  <c:v>430.6625</c:v>
                </c:pt>
                <c:pt idx="98">
                  <c:v>421.428</c:v>
                </c:pt>
                <c:pt idx="99">
                  <c:v>423.6416</c:v>
                </c:pt>
                <c:pt idx="100">
                  <c:v>427.6999</c:v>
                </c:pt>
                <c:pt idx="101">
                  <c:v>425.4983</c:v>
                </c:pt>
                <c:pt idx="102">
                  <c:v>435.6202</c:v>
                </c:pt>
                <c:pt idx="103">
                  <c:v>340.7232</c:v>
                </c:pt>
                <c:pt idx="104">
                  <c:v>367.3118</c:v>
                </c:pt>
              </c:numCache>
            </c:numRef>
          </c:xVal>
          <c:yVal>
            <c:numRef>
              <c:f>Sheet1!$B$2:$B$106</c:f>
              <c:numCache>
                <c:formatCode>General</c:formatCode>
                <c:ptCount val="105"/>
                <c:pt idx="0">
                  <c:v>0.1746550472040668</c:v>
                </c:pt>
                <c:pt idx="1">
                  <c:v>0.20952380952380953</c:v>
                </c:pt>
                <c:pt idx="2">
                  <c:v>0.19011725293132328</c:v>
                </c:pt>
                <c:pt idx="3">
                  <c:v>0.17137254901960786</c:v>
                </c:pt>
                <c:pt idx="4">
                  <c:v>0.18118466898954705</c:v>
                </c:pt>
                <c:pt idx="5">
                  <c:v>0.19549929676511954</c:v>
                </c:pt>
                <c:pt idx="6">
                  <c:v>0.22666025024061598</c:v>
                </c:pt>
                <c:pt idx="7">
                  <c:v>0.20572916666666666</c:v>
                </c:pt>
                <c:pt idx="8">
                  <c:v>0.1774936061381074</c:v>
                </c:pt>
                <c:pt idx="9">
                  <c:v>0.1695464362850972</c:v>
                </c:pt>
                <c:pt idx="10">
                  <c:v>0.19398711524695778</c:v>
                </c:pt>
                <c:pt idx="11">
                  <c:v>0.18490847964138962</c:v>
                </c:pt>
                <c:pt idx="12">
                  <c:v>0.19105113636363635</c:v>
                </c:pt>
                <c:pt idx="13">
                  <c:v>0.22109227871939735</c:v>
                </c:pt>
                <c:pt idx="14">
                  <c:v>0.20474219044034625</c:v>
                </c:pt>
                <c:pt idx="15">
                  <c:v>0.16022727272727272</c:v>
                </c:pt>
                <c:pt idx="16">
                  <c:v>0.14772727272727273</c:v>
                </c:pt>
                <c:pt idx="17">
                  <c:v>0.13129496402877697</c:v>
                </c:pt>
                <c:pt idx="18">
                  <c:v>0.13897131552917902</c:v>
                </c:pt>
                <c:pt idx="19">
                  <c:v>0.12221553281155931</c:v>
                </c:pt>
                <c:pt idx="20">
                  <c:v>0.10917478216299334</c:v>
                </c:pt>
                <c:pt idx="21">
                  <c:v>0.12916383412644458</c:v>
                </c:pt>
                <c:pt idx="22">
                  <c:v>0.14933705512909978</c:v>
                </c:pt>
                <c:pt idx="23">
                  <c:v>0.1664167916041979</c:v>
                </c:pt>
                <c:pt idx="24">
                  <c:v>0.18791451731761238</c:v>
                </c:pt>
                <c:pt idx="25">
                  <c:v>0.17491467576791808</c:v>
                </c:pt>
                <c:pt idx="26">
                  <c:v>0.15384615384615385</c:v>
                </c:pt>
                <c:pt idx="27">
                  <c:v>0.15997181113460182</c:v>
                </c:pt>
                <c:pt idx="28">
                  <c:v>0.13956941351150706</c:v>
                </c:pt>
                <c:pt idx="29">
                  <c:v>0.12669683257918551</c:v>
                </c:pt>
                <c:pt idx="30">
                  <c:v>0.1406628940986257</c:v>
                </c:pt>
                <c:pt idx="31">
                  <c:v>0.1337025316455696</c:v>
                </c:pt>
                <c:pt idx="32">
                  <c:v>0.15126050420168066</c:v>
                </c:pt>
                <c:pt idx="33">
                  <c:v>0.14201532115497936</c:v>
                </c:pt>
                <c:pt idx="34">
                  <c:v>0.1286783042394015</c:v>
                </c:pt>
                <c:pt idx="35">
                  <c:v>0.13989637305699482</c:v>
                </c:pt>
                <c:pt idx="36">
                  <c:v>0.13740053050397877</c:v>
                </c:pt>
                <c:pt idx="37">
                  <c:v>0.11277258566978193</c:v>
                </c:pt>
                <c:pt idx="38">
                  <c:v>0.1173939766441303</c:v>
                </c:pt>
                <c:pt idx="39">
                  <c:v>0.12352941176470589</c:v>
                </c:pt>
                <c:pt idx="40">
                  <c:v>0.12214551248008497</c:v>
                </c:pt>
                <c:pt idx="41">
                  <c:v>0.12100456621004566</c:v>
                </c:pt>
                <c:pt idx="42">
                  <c:v>0.12026832774317202</c:v>
                </c:pt>
                <c:pt idx="43">
                  <c:v>0.11525565800502934</c:v>
                </c:pt>
                <c:pt idx="44">
                  <c:v>0.13713405238828968</c:v>
                </c:pt>
                <c:pt idx="45">
                  <c:v>0.14734245346490243</c:v>
                </c:pt>
                <c:pt idx="46">
                  <c:v>0.15191306316504416</c:v>
                </c:pt>
                <c:pt idx="47">
                  <c:v>0.1660165772793759</c:v>
                </c:pt>
                <c:pt idx="48">
                  <c:v>0.17752684191040355</c:v>
                </c:pt>
                <c:pt idx="49">
                  <c:v>0.19140522014236752</c:v>
                </c:pt>
                <c:pt idx="50">
                  <c:v>0.1658255227108868</c:v>
                </c:pt>
                <c:pt idx="51">
                  <c:v>0.15165876777251186</c:v>
                </c:pt>
                <c:pt idx="52">
                  <c:v>0.1524195885250652</c:v>
                </c:pt>
                <c:pt idx="53">
                  <c:v>0.1695865451997197</c:v>
                </c:pt>
                <c:pt idx="54">
                  <c:v>0.17013152312261348</c:v>
                </c:pt>
                <c:pt idx="55">
                  <c:v>0.16510012259910095</c:v>
                </c:pt>
                <c:pt idx="56">
                  <c:v>0.18075313807531382</c:v>
                </c:pt>
                <c:pt idx="57">
                  <c:v>0.18479059515062454</c:v>
                </c:pt>
                <c:pt idx="58">
                  <c:v>0.19789901728227718</c:v>
                </c:pt>
                <c:pt idx="59">
                  <c:v>0.1540099361249113</c:v>
                </c:pt>
                <c:pt idx="60">
                  <c:v>0.15317460317460319</c:v>
                </c:pt>
                <c:pt idx="61">
                  <c:v>0.16890080428954424</c:v>
                </c:pt>
                <c:pt idx="62">
                  <c:v>0.18027112777617538</c:v>
                </c:pt>
                <c:pt idx="63">
                  <c:v>0.18265734265734265</c:v>
                </c:pt>
                <c:pt idx="64">
                  <c:v>0.15872259294566254</c:v>
                </c:pt>
                <c:pt idx="65">
                  <c:v>0.15444500251130086</c:v>
                </c:pt>
                <c:pt idx="66">
                  <c:v>0.16397984886649875</c:v>
                </c:pt>
                <c:pt idx="67">
                  <c:v>0.15558546433378195</c:v>
                </c:pt>
                <c:pt idx="68">
                  <c:v>0.14555077737347005</c:v>
                </c:pt>
                <c:pt idx="69">
                  <c:v>0.130550621669627</c:v>
                </c:pt>
                <c:pt idx="70">
                  <c:v>0.12343005630142918</c:v>
                </c:pt>
                <c:pt idx="71">
                  <c:v>0.1430738119312437</c:v>
                </c:pt>
                <c:pt idx="72">
                  <c:v>0.14142928535732133</c:v>
                </c:pt>
                <c:pt idx="73">
                  <c:v>0.14742547425474256</c:v>
                </c:pt>
                <c:pt idx="74">
                  <c:v>0.13814432989690723</c:v>
                </c:pt>
                <c:pt idx="75">
                  <c:v>0.1405371642723298</c:v>
                </c:pt>
                <c:pt idx="76">
                  <c:v>0.16224951519069167</c:v>
                </c:pt>
                <c:pt idx="77">
                  <c:v>0.143054595715273</c:v>
                </c:pt>
                <c:pt idx="78">
                  <c:v>0.1407804131599082</c:v>
                </c:pt>
                <c:pt idx="79">
                  <c:v>0.1134989926124916</c:v>
                </c:pt>
                <c:pt idx="80">
                  <c:v>0.11132561132561132</c:v>
                </c:pt>
                <c:pt idx="81">
                  <c:v>0.11339031339031339</c:v>
                </c:pt>
                <c:pt idx="82">
                  <c:v>0.10726887791107975</c:v>
                </c:pt>
                <c:pt idx="83">
                  <c:v>0.10624493106244931</c:v>
                </c:pt>
                <c:pt idx="84">
                  <c:v>0.10500410172272355</c:v>
                </c:pt>
                <c:pt idx="85">
                  <c:v>0.11524947294448348</c:v>
                </c:pt>
                <c:pt idx="86">
                  <c:v>0.10392967942088935</c:v>
                </c:pt>
                <c:pt idx="87">
                  <c:v>0.11652977412731007</c:v>
                </c:pt>
                <c:pt idx="88">
                  <c:v>0.11180904522613065</c:v>
                </c:pt>
                <c:pt idx="89">
                  <c:v>0.12425149700598802</c:v>
                </c:pt>
                <c:pt idx="90">
                  <c:v>0.12770897832817338</c:v>
                </c:pt>
                <c:pt idx="91">
                  <c:v>0.1224051539012169</c:v>
                </c:pt>
                <c:pt idx="92">
                  <c:v>0.1201641266119578</c:v>
                </c:pt>
                <c:pt idx="93">
                  <c:v>0.11820728291316526</c:v>
                </c:pt>
                <c:pt idx="94">
                  <c:v>0.1172291296625222</c:v>
                </c:pt>
                <c:pt idx="95">
                  <c:v>0.12595097210481826</c:v>
                </c:pt>
                <c:pt idx="96">
                  <c:v>0.09433962264150944</c:v>
                </c:pt>
                <c:pt idx="97">
                  <c:v>0.10118001506402209</c:v>
                </c:pt>
                <c:pt idx="98">
                  <c:v>0.10590316161839487</c:v>
                </c:pt>
                <c:pt idx="99">
                  <c:v>0.1287570292805895</c:v>
                </c:pt>
                <c:pt idx="100">
                  <c:v>0.13682530470110274</c:v>
                </c:pt>
                <c:pt idx="101">
                  <c:v>0.14875609130546294</c:v>
                </c:pt>
                <c:pt idx="102">
                  <c:v>0.12789373814041746</c:v>
                </c:pt>
                <c:pt idx="103">
                  <c:v>0.16223908918406071</c:v>
                </c:pt>
                <c:pt idx="104">
                  <c:v>0.1409624857900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numCache>
            </c:numRef>
          </c:xVal>
          <c:yVal>
            <c:numRef>
              <c:f>Sheet1!$B$109:$B$160</c:f>
              <c:numCache>
                <c:formatCode>General</c:formatCode>
                <c:ptCount val="52"/>
                <c:pt idx="0">
                  <c:v>0.1361644759015841</c:v>
                </c:pt>
                <c:pt idx="1">
                  <c:v>0.138348623853211</c:v>
                </c:pt>
                <c:pt idx="2">
                  <c:v>0.14518364518364518</c:v>
                </c:pt>
                <c:pt idx="3">
                  <c:v>0.1646977067407922</c:v>
                </c:pt>
                <c:pt idx="4">
                  <c:v>0.16466431095406361</c:v>
                </c:pt>
                <c:pt idx="5">
                  <c:v>0.14712308812818645</c:v>
                </c:pt>
                <c:pt idx="6">
                  <c:v>0.14702114029468288</c:v>
                </c:pt>
                <c:pt idx="7">
                  <c:v>0.1729776247848537</c:v>
                </c:pt>
                <c:pt idx="8">
                  <c:v>0.1510822510822511</c:v>
                </c:pt>
                <c:pt idx="9">
                  <c:v>0.15156440471353108</c:v>
                </c:pt>
                <c:pt idx="10">
                  <c:v>0.16912644595133625</c:v>
                </c:pt>
                <c:pt idx="11">
                  <c:v>0.13798263992816523</c:v>
                </c:pt>
                <c:pt idx="12">
                  <c:v>0.13680555555555557</c:v>
                </c:pt>
                <c:pt idx="13">
                  <c:v>0.16068702290076337</c:v>
                </c:pt>
                <c:pt idx="14">
                  <c:v>0.15056082830025885</c:v>
                </c:pt>
                <c:pt idx="15">
                  <c:v>0.1365079365079365</c:v>
                </c:pt>
                <c:pt idx="16">
                  <c:v>0.1254858411993337</c:v>
                </c:pt>
                <c:pt idx="17">
                  <c:v>0.12645794966236956</c:v>
                </c:pt>
                <c:pt idx="18">
                  <c:v>0.14640698455339154</c:v>
                </c:pt>
                <c:pt idx="19">
                  <c:v>0.16023936170212766</c:v>
                </c:pt>
                <c:pt idx="20">
                  <c:v>0.17472118959107807</c:v>
                </c:pt>
                <c:pt idx="21">
                  <c:v>0.16853932584269662</c:v>
                </c:pt>
                <c:pt idx="22">
                  <c:v>0.16100872938894278</c:v>
                </c:pt>
                <c:pt idx="23">
                  <c:v>0.16395112016293278</c:v>
                </c:pt>
                <c:pt idx="24">
                  <c:v>0.1671415004748338</c:v>
                </c:pt>
                <c:pt idx="25">
                  <c:v>0.18571428571428572</c:v>
                </c:pt>
                <c:pt idx="26">
                  <c:v>0.14575645756457564</c:v>
                </c:pt>
                <c:pt idx="27">
                  <c:v>0.15840779853777417</c:v>
                </c:pt>
                <c:pt idx="28">
                  <c:v>0.15225707727620505</c:v>
                </c:pt>
                <c:pt idx="29">
                  <c:v>0.16713352007469653</c:v>
                </c:pt>
                <c:pt idx="30">
                  <c:v>0.14609053497942387</c:v>
                </c:pt>
                <c:pt idx="31">
                  <c:v>0.155154091392136</c:v>
                </c:pt>
                <c:pt idx="32">
                  <c:v>0.14782608695652175</c:v>
                </c:pt>
                <c:pt idx="33">
                  <c:v>0.15463917525773196</c:v>
                </c:pt>
                <c:pt idx="34">
                  <c:v>0.15760266370699222</c:v>
                </c:pt>
                <c:pt idx="35">
                  <c:v>0.15710382513661203</c:v>
                </c:pt>
                <c:pt idx="36">
                  <c:v>0.15120274914089346</c:v>
                </c:pt>
                <c:pt idx="37">
                  <c:v>0.15422885572139303</c:v>
                </c:pt>
                <c:pt idx="38">
                  <c:v>0.16723549488054607</c:v>
                </c:pt>
                <c:pt idx="39">
                  <c:v>0.1611295681063123</c:v>
                </c:pt>
                <c:pt idx="40">
                  <c:v>0.1457326892109501</c:v>
                </c:pt>
                <c:pt idx="41">
                  <c:v>0.15080527086383602</c:v>
                </c:pt>
                <c:pt idx="42">
                  <c:v>0.16693944353518822</c:v>
                </c:pt>
                <c:pt idx="43">
                  <c:v>0.13752222880853587</c:v>
                </c:pt>
                <c:pt idx="44">
                  <c:v>0.14150555327025915</c:v>
                </c:pt>
                <c:pt idx="45">
                  <c:v>0.15923207227555053</c:v>
                </c:pt>
                <c:pt idx="46">
                  <c:v>0.17482281471481606</c:v>
                </c:pt>
                <c:pt idx="47">
                  <c:v>0.1653252850435949</c:v>
                </c:pt>
                <c:pt idx="48">
                  <c:v>0.16018784242108008</c:v>
                </c:pt>
                <c:pt idx="49">
                  <c:v>0.16532449076267172</c:v>
                </c:pt>
                <c:pt idx="50">
                  <c:v>0.17176392792197057</c:v>
                </c:pt>
                <c:pt idx="51">
                  <c:v>0.180356620871090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8.16657644487634</c:v>
                </c:pt>
              </c:numCache>
            </c:numRef>
          </c:xVal>
          <c:yVal>
            <c:numRef>
              <c:f>Sheet1!$B$163:$B$164</c:f>
              <c:numCache>
                <c:formatCode>General</c:formatCode>
                <c:ptCount val="2"/>
                <c:pt idx="0">
                  <c:v>0.19247062749765156</c:v>
                </c:pt>
                <c:pt idx="1">
                  <c:v>0.192470627497651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8.16657644487634</c:v>
                </c:pt>
                <c:pt idx="1">
                  <c:v>298.16657644487634</c:v>
                </c:pt>
              </c:numCache>
            </c:numRef>
          </c:xVal>
          <c:yVal>
            <c:numRef>
              <c:f>Sheet1!$B$167:$B$168</c:f>
              <c:numCache>
                <c:formatCode>General</c:formatCode>
                <c:ptCount val="2"/>
                <c:pt idx="0">
                  <c:v>0.192470627497651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6.91280816687294</c:v>
                </c:pt>
              </c:numCache>
            </c:numRef>
          </c:xVal>
          <c:yVal>
            <c:numRef>
              <c:f>Sheet1!$B$171:$B$172</c:f>
              <c:numCache>
                <c:formatCode>General</c:formatCode>
                <c:ptCount val="2"/>
                <c:pt idx="0">
                  <c:v>0.16940822049420318</c:v>
                </c:pt>
                <c:pt idx="1">
                  <c:v>0.169408220494203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6.91280816687294</c:v>
                </c:pt>
                <c:pt idx="1">
                  <c:v>386.91280816687294</c:v>
                </c:pt>
              </c:numCache>
            </c:numRef>
          </c:xVal>
          <c:yVal>
            <c:numRef>
              <c:f>Sheet1!$B$175:$B$176</c:f>
              <c:numCache>
                <c:formatCode>General</c:formatCode>
                <c:ptCount val="2"/>
                <c:pt idx="0">
                  <c:v>0.169408220494203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2.92473743623583</c:v>
                </c:pt>
              </c:numCache>
            </c:numRef>
          </c:xVal>
          <c:yVal>
            <c:numRef>
              <c:f>Sheet1!$B$179:$B$180</c:f>
              <c:numCache>
                <c:formatCode>General</c:formatCode>
                <c:ptCount val="2"/>
                <c:pt idx="0">
                  <c:v>0.16004983136968118</c:v>
                </c:pt>
                <c:pt idx="1">
                  <c:v>0.160049831369681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2.92473743623583</c:v>
                </c:pt>
                <c:pt idx="1">
                  <c:v>422.92473743623583</c:v>
                </c:pt>
              </c:numCache>
            </c:numRef>
          </c:xVal>
          <c:yVal>
            <c:numRef>
              <c:f>Sheet1!$B$183:$B$184</c:f>
              <c:numCache>
                <c:formatCode>General</c:formatCode>
                <c:ptCount val="2"/>
                <c:pt idx="0">
                  <c:v>0.160049831369681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pt idx="52">
                  <c:v>386.91280816687294</c:v>
                </c:pt>
                <c:pt idx="53">
                  <c:v>298.16657644487634</c:v>
                </c:pt>
                <c:pt idx="54">
                  <c:v>422.92473743623583</c:v>
                </c:pt>
              </c:numCache>
            </c:numRef>
          </c:xVal>
          <c:yVal>
            <c:numRef>
              <c:f>Sheet1!$B$187:$B$241</c:f>
              <c:numCache>
                <c:formatCode>General</c:formatCode>
                <c:ptCount val="55"/>
                <c:pt idx="0">
                  <c:v>0.163296646145698</c:v>
                </c:pt>
                <c:pt idx="1">
                  <c:v>0.15479635253092</c:v>
                </c:pt>
                <c:pt idx="2">
                  <c:v>0.15414878461849396</c:v>
                </c:pt>
                <c:pt idx="3">
                  <c:v>0.15425722801102792</c:v>
                </c:pt>
                <c:pt idx="4">
                  <c:v>0.15430200346402</c:v>
                </c:pt>
                <c:pt idx="5">
                  <c:v>0.153883458225546</c:v>
                </c:pt>
                <c:pt idx="6">
                  <c:v>0.15644532617814033</c:v>
                </c:pt>
                <c:pt idx="7">
                  <c:v>0.1616024292810318</c:v>
                </c:pt>
                <c:pt idx="8">
                  <c:v>0.1535432115592514</c:v>
                </c:pt>
                <c:pt idx="9">
                  <c:v>0.1515660751607924</c:v>
                </c:pt>
                <c:pt idx="10">
                  <c:v>0.15148892001283332</c:v>
                </c:pt>
                <c:pt idx="11">
                  <c:v>0.15240048898558828</c:v>
                </c:pt>
                <c:pt idx="12">
                  <c:v>0.15161355325285078</c:v>
                </c:pt>
                <c:pt idx="13">
                  <c:v>0.1477503645898488</c:v>
                </c:pt>
                <c:pt idx="14">
                  <c:v>0.1457262958245275</c:v>
                </c:pt>
                <c:pt idx="15">
                  <c:v>0.14247055127858319</c:v>
                </c:pt>
                <c:pt idx="16">
                  <c:v>0.13748834010757613</c:v>
                </c:pt>
                <c:pt idx="17">
                  <c:v>0.1486818135518893</c:v>
                </c:pt>
                <c:pt idx="18">
                  <c:v>0.15268242101664534</c:v>
                </c:pt>
                <c:pt idx="19">
                  <c:v>0.1526687518998294</c:v>
                </c:pt>
                <c:pt idx="20">
                  <c:v>0.15835827489877546</c:v>
                </c:pt>
                <c:pt idx="21">
                  <c:v>0.1523150440120317</c:v>
                </c:pt>
                <c:pt idx="22">
                  <c:v>0.15039947061307257</c:v>
                </c:pt>
                <c:pt idx="23">
                  <c:v>0.1545972407950956</c:v>
                </c:pt>
                <c:pt idx="24">
                  <c:v>0.1536753030436152</c:v>
                </c:pt>
                <c:pt idx="25">
                  <c:v>0.18130089997157484</c:v>
                </c:pt>
                <c:pt idx="26">
                  <c:v>0.15877697605873412</c:v>
                </c:pt>
                <c:pt idx="27">
                  <c:v>0.15506212070140762</c:v>
                </c:pt>
                <c:pt idx="28">
                  <c:v>0.15876619148938315</c:v>
                </c:pt>
                <c:pt idx="29">
                  <c:v>0.16562109765108643</c:v>
                </c:pt>
                <c:pt idx="30">
                  <c:v>0.1526240024337514</c:v>
                </c:pt>
                <c:pt idx="31">
                  <c:v>0.16318963203343947</c:v>
                </c:pt>
                <c:pt idx="32">
                  <c:v>0.15851996547829772</c:v>
                </c:pt>
                <c:pt idx="33">
                  <c:v>0.15878614943941094</c:v>
                </c:pt>
                <c:pt idx="34">
                  <c:v>0.1502504096738023</c:v>
                </c:pt>
                <c:pt idx="35">
                  <c:v>0.15534925011528444</c:v>
                </c:pt>
                <c:pt idx="36">
                  <c:v>0.1471707004839627</c:v>
                </c:pt>
                <c:pt idx="37">
                  <c:v>0.1517982942251786</c:v>
                </c:pt>
                <c:pt idx="38">
                  <c:v>0.15359365215951704</c:v>
                </c:pt>
                <c:pt idx="39">
                  <c:v>0.15247130332650732</c:v>
                </c:pt>
                <c:pt idx="40">
                  <c:v>0.15288745776888424</c:v>
                </c:pt>
                <c:pt idx="41">
                  <c:v>0.14640858225418946</c:v>
                </c:pt>
                <c:pt idx="42">
                  <c:v>0.15983155101977436</c:v>
                </c:pt>
                <c:pt idx="43">
                  <c:v>0.15830975733015318</c:v>
                </c:pt>
                <c:pt idx="44">
                  <c:v>0.15545764153399022</c:v>
                </c:pt>
                <c:pt idx="45">
                  <c:v>0.1629616228491373</c:v>
                </c:pt>
                <c:pt idx="46">
                  <c:v>0.16669256410629085</c:v>
                </c:pt>
                <c:pt idx="47">
                  <c:v>0.1656135094721696</c:v>
                </c:pt>
                <c:pt idx="48">
                  <c:v>0.16550657332065336</c:v>
                </c:pt>
                <c:pt idx="49">
                  <c:v>0.16223133858913497</c:v>
                </c:pt>
                <c:pt idx="50">
                  <c:v>0.1589565196482422</c:v>
                </c:pt>
                <c:pt idx="51">
                  <c:v>0.1571540153125266</c:v>
                </c:pt>
                <c:pt idx="52">
                  <c:v>0.16940822049420318</c:v>
                </c:pt>
                <c:pt idx="53">
                  <c:v>0.19247062749765156</c:v>
                </c:pt>
                <c:pt idx="54">
                  <c:v>0.160049831369681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2.0"/>
          <c:min val="23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199230028873916"/>
          <c:min val="0.075471698113207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46575306157411017</c:v>
                </c:pt>
                <c:pt idx="2">
                  <c:v>0.8321742372211423</c:v>
                </c:pt>
                <c:pt idx="3">
                  <c:v>0.9675818540098144</c:v>
                </c:pt>
                <c:pt idx="4">
                  <c:v>0.42439574864361795</c:v>
                </c:pt>
                <c:pt idx="5">
                  <c:v>0.40800466835782084</c:v>
                </c:pt>
                <c:pt idx="6">
                  <c:v>0.4121048219694528</c:v>
                </c:pt>
                <c:pt idx="7">
                  <c:v>0.4876823150357995</c:v>
                </c:pt>
                <c:pt idx="8">
                  <c:v>0.5616799697602727</c:v>
                </c:pt>
                <c:pt idx="9">
                  <c:v>0.47130696074518674</c:v>
                </c:pt>
                <c:pt idx="10">
                  <c:v>0.40003188447233534</c:v>
                </c:pt>
                <c:pt idx="11">
                  <c:v>0.4438029934840727</c:v>
                </c:pt>
                <c:pt idx="12">
                  <c:v>0.3307365169754199</c:v>
                </c:pt>
                <c:pt idx="13">
                  <c:v>0.3033353007146848</c:v>
                </c:pt>
                <c:pt idx="14">
                  <c:v>0.36675716744885223</c:v>
                </c:pt>
                <c:pt idx="15">
                  <c:v>0.4627207637672357</c:v>
                </c:pt>
                <c:pt idx="16">
                  <c:v>0.37967311383024616</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23870601186408189</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23870601186408189</c:v>
                </c:pt>
                <c:pt idx="1">
                  <c:v>-0.23870601186408189</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23870601186408189</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23870601186408189</c:v>
                </c:pt>
                <c:pt idx="1">
                  <c:v>-0.23870601186408189</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08581255897859745</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08581255897859745</c:v>
                </c:pt>
                <c:pt idx="1">
                  <c:v>0.08581255897859745</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46575306157411017</c:v>
                </c:pt>
                <c:pt idx="2">
                  <c:v>0.8321742372211423</c:v>
                </c:pt>
                <c:pt idx="3">
                  <c:v>0.9675818540098144</c:v>
                </c:pt>
                <c:pt idx="4">
                  <c:v>0.42439574864361795</c:v>
                </c:pt>
                <c:pt idx="5">
                  <c:v>0.40800466835782084</c:v>
                </c:pt>
                <c:pt idx="6">
                  <c:v>0.4121048219694528</c:v>
                </c:pt>
                <c:pt idx="7">
                  <c:v>0.4876823150357995</c:v>
                </c:pt>
                <c:pt idx="8">
                  <c:v>0.5616799697602727</c:v>
                </c:pt>
                <c:pt idx="9">
                  <c:v>0.47130696074518674</c:v>
                </c:pt>
                <c:pt idx="10">
                  <c:v>0.40003188447233534</c:v>
                </c:pt>
                <c:pt idx="11">
                  <c:v>0.4438029934840727</c:v>
                </c:pt>
                <c:pt idx="12">
                  <c:v>0.3307365169754199</c:v>
                </c:pt>
                <c:pt idx="13">
                  <c:v>0.3033353007146848</c:v>
                </c:pt>
                <c:pt idx="14">
                  <c:v>0.36675716744885223</c:v>
                </c:pt>
                <c:pt idx="15">
                  <c:v>0.4627207637672357</c:v>
                </c:pt>
                <c:pt idx="16">
                  <c:v>0.37967311383024616</c:v>
                </c:pt>
                <c:pt idx="17">
                  <c:v>-0.23870601186408189</c:v>
                </c:pt>
                <c:pt idx="18">
                  <c:v>-0.23870601186408189</c:v>
                </c:pt>
                <c:pt idx="19">
                  <c:v>0.08581255897859745</c:v>
                </c:pt>
              </c:numCache>
            </c:numRef>
          </c:xVal>
          <c:yVal>
            <c:numRef>
              <c:f>Sheet1!$B$47:$B$66</c:f>
              <c:numCache>
                <c:formatCode>General</c:formatCode>
                <c:ptCount val="20"/>
                <c:pt idx="0">
                  <c:v>0.05421569409545277</c:v>
                </c:pt>
                <c:pt idx="1">
                  <c:v>0.0415215643094892</c:v>
                </c:pt>
                <c:pt idx="2">
                  <c:v>0.03153473149239852</c:v>
                </c:pt>
                <c:pt idx="3">
                  <c:v>0.027844188148004604</c:v>
                </c:pt>
                <c:pt idx="4">
                  <c:v>0.04264876054554624</c:v>
                </c:pt>
                <c:pt idx="5">
                  <c:v>0.04309550049777938</c:v>
                </c:pt>
                <c:pt idx="6">
                  <c:v>0.042983750546179415</c:v>
                </c:pt>
                <c:pt idx="7">
                  <c:v>0.04092388108952033</c:v>
                </c:pt>
                <c:pt idx="8">
                  <c:v>0.03890707022894391</c:v>
                </c:pt>
                <c:pt idx="9">
                  <c:v>0.04137019242873865</c:v>
                </c:pt>
                <c:pt idx="10">
                  <c:v>0.04331279923770766</c:v>
                </c:pt>
                <c:pt idx="11">
                  <c:v>0.04211981483349856</c:v>
                </c:pt>
                <c:pt idx="12">
                  <c:v>0.04520144895607761</c:v>
                </c:pt>
                <c:pt idx="13">
                  <c:v>0.04594827087568335</c:v>
                </c:pt>
                <c:pt idx="14">
                  <c:v>0.044219703800094726</c:v>
                </c:pt>
                <c:pt idx="15">
                  <c:v>0.0416042097821353</c:v>
                </c:pt>
                <c:pt idx="16">
                  <c:v>0.0438676788469579</c:v>
                </c:pt>
                <c:pt idx="17">
                  <c:v>0.0607216418718374</c:v>
                </c:pt>
                <c:pt idx="18">
                  <c:v>0.0607216418718374</c:v>
                </c:pt>
                <c:pt idx="19">
                  <c:v>0.051876867256057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89.916312221586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89.9163122215866</c:v>
                </c:pt>
                <c:pt idx="1">
                  <c:v>-489.916312221586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89.916312221586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89.9163122215866</c:v>
                </c:pt>
                <c:pt idx="1">
                  <c:v>-489.916312221586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14.2747150205532</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14.2747150205532</c:v>
                </c:pt>
                <c:pt idx="1">
                  <c:v>2714.2747150205532</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489.9163122215866</c:v>
                </c:pt>
                <c:pt idx="18">
                  <c:v>-489.9163122215866</c:v>
                </c:pt>
                <c:pt idx="19">
                  <c:v>2714.2747150205532</c:v>
                </c:pt>
              </c:numCache>
            </c:numRef>
          </c:xVal>
          <c:yVal>
            <c:numRef>
              <c:f>Sheet1!$B$47:$B$66</c:f>
              <c:numCache>
                <c:formatCode>General</c:formatCode>
                <c:ptCount val="20"/>
                <c:pt idx="0">
                  <c:v>0.059369288243307484</c:v>
                </c:pt>
                <c:pt idx="1">
                  <c:v>0.0328365463174778</c:v>
                </c:pt>
                <c:pt idx="2">
                  <c:v>0.022595548341528146</c:v>
                </c:pt>
                <c:pt idx="3">
                  <c:v>0.020147094108464172</c:v>
                </c:pt>
                <c:pt idx="4">
                  <c:v>0.0422597826625986</c:v>
                </c:pt>
                <c:pt idx="5">
                  <c:v>0.04531013705972075</c:v>
                </c:pt>
                <c:pt idx="6">
                  <c:v>0.04466081748654407</c:v>
                </c:pt>
                <c:pt idx="7">
                  <c:v>0.04244771822526598</c:v>
                </c:pt>
                <c:pt idx="8">
                  <c:v>0.0384532230375758</c:v>
                </c:pt>
                <c:pt idx="9">
                  <c:v>0.04388081394598847</c:v>
                </c:pt>
                <c:pt idx="10">
                  <c:v>0.045977596173085875</c:v>
                </c:pt>
                <c:pt idx="11">
                  <c:v>0.04196866145428729</c:v>
                </c:pt>
                <c:pt idx="12">
                  <c:v>0.04670383005766483</c:v>
                </c:pt>
                <c:pt idx="13">
                  <c:v>0.04742734607523379</c:v>
                </c:pt>
                <c:pt idx="14">
                  <c:v>0.046955356144933874</c:v>
                </c:pt>
                <c:pt idx="15">
                  <c:v>0.044986517383115515</c:v>
                </c:pt>
                <c:pt idx="16">
                  <c:v>0.0453389829974158</c:v>
                </c:pt>
                <c:pt idx="17">
                  <c:v>0.0607216418718374</c:v>
                </c:pt>
                <c:pt idx="18">
                  <c:v>0.0607216418718374</c:v>
                </c:pt>
                <c:pt idx="19">
                  <c:v>0.051876867256057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5326614366746071</c:v>
                </c:pt>
                <c:pt idx="8">
                  <c:v>0.5036255767963085</c:v>
                </c:pt>
                <c:pt idx="9">
                  <c:v>0.45020987389304384</c:v>
                </c:pt>
                <c:pt idx="10">
                  <c:v>0.5902196165530633</c:v>
                </c:pt>
                <c:pt idx="11">
                  <c:v>0.6597033408319612</c:v>
                </c:pt>
                <c:pt idx="12">
                  <c:v>0.3602234250265688</c:v>
                </c:pt>
                <c:pt idx="13">
                  <c:v>0.5811528292420284</c:v>
                </c:pt>
                <c:pt idx="14">
                  <c:v>0.5555697123279202</c:v>
                </c:pt>
                <c:pt idx="15">
                  <c:v>0.5770756447949794</c:v>
                </c:pt>
                <c:pt idx="16">
                  <c:v>0.2298395597485464</c:v>
                </c:pt>
                <c:pt idx="17">
                  <c:v>0.1919604838235028</c:v>
                </c:pt>
                <c:pt idx="18">
                  <c:v>0.22438985547637058</c:v>
                </c:pt>
                <c:pt idx="19">
                  <c:v>0.3010196515445599</c:v>
                </c:pt>
                <c:pt idx="20">
                  <c:v>0.13984281381469524</c:v>
                </c:pt>
                <c:pt idx="21">
                  <c:v>0.10204758902200246</c:v>
                </c:pt>
                <c:pt idx="22">
                  <c:v>0.1130121566861774</c:v>
                </c:pt>
                <c:pt idx="23">
                  <c:v>0.6260371117566864</c:v>
                </c:pt>
                <c:pt idx="24">
                  <c:v>0.5238671182067408</c:v>
                </c:pt>
                <c:pt idx="25">
                  <c:v>0.6270340990789758</c:v>
                </c:pt>
                <c:pt idx="26">
                  <c:v>0.3210152815117865</c:v>
                </c:pt>
                <c:pt idx="27">
                  <c:v>0.3618520992020346</c:v>
                </c:pt>
                <c:pt idx="28">
                  <c:v>0.5080052279039373</c:v>
                </c:pt>
                <c:pt idx="29">
                  <c:v>0.6411575869942828</c:v>
                </c:pt>
                <c:pt idx="30">
                  <c:v>0.6162591678518643</c:v>
                </c:pt>
                <c:pt idx="31">
                  <c:v>0.6152115380372588</c:v>
                </c:pt>
                <c:pt idx="32">
                  <c:v>0.3796303263697574</c:v>
                </c:pt>
                <c:pt idx="33">
                  <c:v>0.5473426300446287</c:v>
                </c:pt>
                <c:pt idx="34">
                  <c:v>0.7547254389241689</c:v>
                </c:pt>
                <c:pt idx="35">
                  <c:v>0.9310621068143342</c:v>
                </c:pt>
                <c:pt idx="36">
                  <c:v>0.5629051841807189</c:v>
                </c:pt>
                <c:pt idx="37">
                  <c:v>0.43281785009194146</c:v>
                </c:pt>
                <c:pt idx="38">
                  <c:v>0.413723979858573</c:v>
                </c:pt>
                <c:pt idx="39">
                  <c:v>0.5125411823558453</c:v>
                </c:pt>
                <c:pt idx="40">
                  <c:v>0.6765939612294021</c:v>
                </c:pt>
                <c:pt idx="41">
                  <c:v>0.3938440950150552</c:v>
                </c:pt>
                <c:pt idx="42">
                  <c:v>0.6336604870956016</c:v>
                </c:pt>
                <c:pt idx="43">
                  <c:v>0.577201228865229</c:v>
                </c:pt>
                <c:pt idx="44">
                  <c:v>0.476619054191016</c:v>
                </c:pt>
                <c:pt idx="45">
                  <c:v>0.5983983879082937</c:v>
                </c:pt>
                <c:pt idx="46">
                  <c:v>0.7156896070336107</c:v>
                </c:pt>
                <c:pt idx="47">
                  <c:v>0.7242096125781087</c:v>
                </c:pt>
                <c:pt idx="48">
                  <c:v>0.8020449336388268</c:v>
                </c:pt>
                <c:pt idx="49">
                  <c:v>0.7070292018043345</c:v>
                </c:pt>
                <c:pt idx="50">
                  <c:v>0.6739291898358829</c:v>
                </c:pt>
                <c:pt idx="51">
                  <c:v>0.5709814259165593</c:v>
                </c:pt>
                <c:pt idx="52">
                  <c:v>0.8224903202949041</c:v>
                </c:pt>
              </c:numCache>
            </c:numRef>
          </c:xVal>
          <c:yVal>
            <c:numRef>
              <c:f>Sheet1!$B$2:$B$54</c:f>
              <c:numCache>
                <c:formatCode>General</c:formatCode>
                <c:ptCount val="53"/>
                <c:pt idx="0">
                  <c:v>0.0</c:v>
                </c:pt>
                <c:pt idx="1">
                  <c:v>0.0</c:v>
                </c:pt>
                <c:pt idx="2">
                  <c:v>0.0</c:v>
                </c:pt>
                <c:pt idx="3">
                  <c:v>0.0</c:v>
                </c:pt>
                <c:pt idx="4">
                  <c:v>0.0</c:v>
                </c:pt>
                <c:pt idx="5">
                  <c:v>0.0</c:v>
                </c:pt>
                <c:pt idx="6">
                  <c:v>0.0</c:v>
                </c:pt>
                <c:pt idx="7">
                  <c:v>0.0001552312946289972</c:v>
                </c:pt>
                <c:pt idx="8">
                  <c:v>0.00035217467864060575</c:v>
                </c:pt>
                <c:pt idx="9">
                  <c:v>0.0002533569799847986</c:v>
                </c:pt>
                <c:pt idx="10">
                  <c:v>0.00021701388888888888</c:v>
                </c:pt>
                <c:pt idx="11">
                  <c:v>0.0002145002145002145</c:v>
                </c:pt>
                <c:pt idx="12">
                  <c:v>0.000423908435777872</c:v>
                </c:pt>
                <c:pt idx="13">
                  <c:v>0.00022558087074216106</c:v>
                </c:pt>
                <c:pt idx="14">
                  <c:v>0.00022487069934787497</c:v>
                </c:pt>
                <c:pt idx="15">
                  <c:v>0.00025284450063211124</c:v>
                </c:pt>
                <c:pt idx="16">
                  <c:v>0.0008736167734420501</c:v>
                </c:pt>
                <c:pt idx="17">
                  <c:v>0.0007189072609633358</c:v>
                </c:pt>
                <c:pt idx="18">
                  <c:v>0.00037037037037037035</c:v>
                </c:pt>
                <c:pt idx="19">
                  <c:v>0.0004027386226339106</c:v>
                </c:pt>
                <c:pt idx="20">
                  <c:v>0.0010771992818671453</c:v>
                </c:pt>
                <c:pt idx="21">
                  <c:v>0.0007639419404125286</c:v>
                </c:pt>
                <c:pt idx="22">
                  <c:v>0.001379310344827586</c:v>
                </c:pt>
                <c:pt idx="23">
                  <c:v>0.0007905138339920949</c:v>
                </c:pt>
                <c:pt idx="24">
                  <c:v>0.0008673026886383347</c:v>
                </c:pt>
                <c:pt idx="25">
                  <c:v>0.0018124150430448573</c:v>
                </c:pt>
                <c:pt idx="26">
                  <c:v>0.003216911764705882</c:v>
                </c:pt>
                <c:pt idx="27">
                  <c:v>0.002102312543798178</c:v>
                </c:pt>
                <c:pt idx="28">
                  <c:v>0.0014540167211922936</c:v>
                </c:pt>
                <c:pt idx="29">
                  <c:v>0.0015142337976983646</c:v>
                </c:pt>
                <c:pt idx="30">
                  <c:v>0.0016129032258064516</c:v>
                </c:pt>
                <c:pt idx="31">
                  <c:v>0.0010325245224574084</c:v>
                </c:pt>
                <c:pt idx="32">
                  <c:v>0.0016189962223421479</c:v>
                </c:pt>
                <c:pt idx="33">
                  <c:v>0.0017006802721088435</c:v>
                </c:pt>
                <c:pt idx="34">
                  <c:v>0.0016600265604249668</c:v>
                </c:pt>
                <c:pt idx="35">
                  <c:v>0.0014645577035735209</c:v>
                </c:pt>
                <c:pt idx="36">
                  <c:v>0.0022361359570661895</c:v>
                </c:pt>
                <c:pt idx="37">
                  <c:v>0.0025680534155110425</c:v>
                </c:pt>
                <c:pt idx="38">
                  <c:v>0.0024962556165751375</c:v>
                </c:pt>
                <c:pt idx="39">
                  <c:v>0.002325581395348837</c:v>
                </c:pt>
                <c:pt idx="40">
                  <c:v>0.0019083969465648854</c:v>
                </c:pt>
                <c:pt idx="41">
                  <c:v>0.0034802784222737818</c:v>
                </c:pt>
                <c:pt idx="42">
                  <c:v>0.003084832904884319</c:v>
                </c:pt>
                <c:pt idx="43">
                  <c:v>0.002717391304347826</c:v>
                </c:pt>
                <c:pt idx="44">
                  <c:v>0.003787878787878788</c:v>
                </c:pt>
                <c:pt idx="45">
                  <c:v>0.0033606385213190504</c:v>
                </c:pt>
                <c:pt idx="46">
                  <c:v>0.0028633990230756273</c:v>
                </c:pt>
                <c:pt idx="47">
                  <c:v>0.0026838432635534087</c:v>
                </c:pt>
                <c:pt idx="48">
                  <c:v>0.0025013027618551328</c:v>
                </c:pt>
                <c:pt idx="49">
                  <c:v>0.003286628610966961</c:v>
                </c:pt>
                <c:pt idx="50">
                  <c:v>0.0026595744680851063</c:v>
                </c:pt>
                <c:pt idx="51">
                  <c:v>0.0026612077789150462</c:v>
                </c:pt>
                <c:pt idx="52">
                  <c:v>0.001737835153922542</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7217246205841034</c:v>
                </c:pt>
                <c:pt idx="1">
                  <c:v>0.931320469786032</c:v>
                </c:pt>
                <c:pt idx="2">
                  <c:v>0.9121253116537226</c:v>
                </c:pt>
                <c:pt idx="3">
                  <c:v>0.6362239870406278</c:v>
                </c:pt>
                <c:pt idx="4">
                  <c:v>0.7628237631432668</c:v>
                </c:pt>
                <c:pt idx="5">
                  <c:v>0.9466170373162458</c:v>
                </c:pt>
                <c:pt idx="6">
                  <c:v>0.8945803623043426</c:v>
                </c:pt>
                <c:pt idx="7">
                  <c:v>0.6928643525567549</c:v>
                </c:pt>
                <c:pt idx="8">
                  <c:v>0.932105860318738</c:v>
                </c:pt>
                <c:pt idx="9">
                  <c:v>0.8150726810831697</c:v>
                </c:pt>
                <c:pt idx="10">
                  <c:v>0.7299455944292698</c:v>
                </c:pt>
                <c:pt idx="11">
                  <c:v>0.881195826431428</c:v>
                </c:pt>
                <c:pt idx="12">
                  <c:v>0.6421623413308117</c:v>
                </c:pt>
                <c:pt idx="13">
                  <c:v>0.6503475603409905</c:v>
                </c:pt>
                <c:pt idx="14">
                  <c:v>0.596140528667114</c:v>
                </c:pt>
                <c:pt idx="15">
                  <c:v>0.6611865288363874</c:v>
                </c:pt>
                <c:pt idx="16">
                  <c:v>0.6852073494051873</c:v>
                </c:pt>
                <c:pt idx="17">
                  <c:v>0.4739168853158736</c:v>
                </c:pt>
                <c:pt idx="18">
                  <c:v>0.7548192099114954</c:v>
                </c:pt>
                <c:pt idx="19">
                  <c:v>0.8216301151764043</c:v>
                </c:pt>
                <c:pt idx="20">
                  <c:v>0.6527986435462144</c:v>
                </c:pt>
                <c:pt idx="21">
                  <c:v>0.6149551582698652</c:v>
                </c:pt>
                <c:pt idx="22">
                  <c:v>0.6834414370909796</c:v>
                </c:pt>
                <c:pt idx="23">
                  <c:v>0.6931330769426339</c:v>
                </c:pt>
                <c:pt idx="24">
                  <c:v>0.6130165170787129</c:v>
                </c:pt>
                <c:pt idx="25">
                  <c:v>0.5825962255007205</c:v>
                </c:pt>
                <c:pt idx="26">
                  <c:v>0.5578918181505197</c:v>
                </c:pt>
                <c:pt idx="27">
                  <c:v>0.6402955608132451</c:v>
                </c:pt>
                <c:pt idx="28">
                  <c:v>0.6862513917208659</c:v>
                </c:pt>
                <c:pt idx="29">
                  <c:v>0.7005205165625656</c:v>
                </c:pt>
                <c:pt idx="30">
                  <c:v>0.652739407548264</c:v>
                </c:pt>
                <c:pt idx="31">
                  <c:v>0.728540630988664</c:v>
                </c:pt>
                <c:pt idx="32">
                  <c:v>0.6441495850609451</c:v>
                </c:pt>
                <c:pt idx="33">
                  <c:v>0.766195905490901</c:v>
                </c:pt>
                <c:pt idx="34">
                  <c:v>0.7940847720663947</c:v>
                </c:pt>
                <c:pt idx="35">
                  <c:v>0.626706098003337</c:v>
                </c:pt>
                <c:pt idx="36">
                  <c:v>0.5332858971752246</c:v>
                </c:pt>
                <c:pt idx="37">
                  <c:v>0.4633595371567574</c:v>
                </c:pt>
                <c:pt idx="38">
                  <c:v>0.3665993580978215</c:v>
                </c:pt>
                <c:pt idx="39">
                  <c:v>0.5335222545327819</c:v>
                </c:pt>
                <c:pt idx="40">
                  <c:v>0.5032315676937172</c:v>
                </c:pt>
                <c:pt idx="41">
                  <c:v>0.547606159237778</c:v>
                </c:pt>
                <c:pt idx="42">
                  <c:v>0.7899924017190414</c:v>
                </c:pt>
                <c:pt idx="43">
                  <c:v>0.6640862713372827</c:v>
                </c:pt>
                <c:pt idx="44">
                  <c:v>0.6817304179519654</c:v>
                </c:pt>
                <c:pt idx="45">
                  <c:v>0.7408369868413075</c:v>
                </c:pt>
                <c:pt idx="46">
                  <c:v>0.6729282279881584</c:v>
                </c:pt>
                <c:pt idx="47">
                  <c:v>0.5638277092511014</c:v>
                </c:pt>
                <c:pt idx="48">
                  <c:v>0.5741156523657233</c:v>
                </c:pt>
                <c:pt idx="49">
                  <c:v>0.7750585655008891</c:v>
                </c:pt>
                <c:pt idx="50">
                  <c:v>0.8909210292055348</c:v>
                </c:pt>
                <c:pt idx="51">
                  <c:v>0.7404923257562743</c:v>
                </c:pt>
              </c:numCache>
            </c:numRef>
          </c:xVal>
          <c:yVal>
            <c:numRef>
              <c:f>Sheet1!$B$57:$B$108</c:f>
              <c:numCache>
                <c:formatCode>General</c:formatCode>
                <c:ptCount val="52"/>
                <c:pt idx="0">
                  <c:v>0.002582765907490021</c:v>
                </c:pt>
                <c:pt idx="1">
                  <c:v>0.0023603461841070024</c:v>
                </c:pt>
                <c:pt idx="2">
                  <c:v>0.0020403536613012923</c:v>
                </c:pt>
                <c:pt idx="3">
                  <c:v>0.002756086357372531</c:v>
                </c:pt>
                <c:pt idx="4">
                  <c:v>0.002477700693756194</c:v>
                </c:pt>
                <c:pt idx="5">
                  <c:v>0.001973359644795264</c:v>
                </c:pt>
                <c:pt idx="6">
                  <c:v>0.002068680182043856</c:v>
                </c:pt>
                <c:pt idx="7">
                  <c:v>0.0027078256160303275</c:v>
                </c:pt>
                <c:pt idx="8">
                  <c:v>0.0027981811822315496</c:v>
                </c:pt>
                <c:pt idx="9">
                  <c:v>0.0030553009471432934</c:v>
                </c:pt>
                <c:pt idx="10">
                  <c:v>0.0036663611365719525</c:v>
                </c:pt>
                <c:pt idx="11">
                  <c:v>0.002566633761105627</c:v>
                </c:pt>
                <c:pt idx="12">
                  <c:v>0.0033163265306122448</c:v>
                </c:pt>
                <c:pt idx="13">
                  <c:v>0.005139920045688178</c:v>
                </c:pt>
                <c:pt idx="14">
                  <c:v>0.00506404527852249</c:v>
                </c:pt>
                <c:pt idx="15">
                  <c:v>0.004884856943475227</c:v>
                </c:pt>
                <c:pt idx="16">
                  <c:v>0.004106776180698152</c:v>
                </c:pt>
                <c:pt idx="17">
                  <c:v>0.00660883932259397</c:v>
                </c:pt>
                <c:pt idx="18">
                  <c:v>0.0026869682042095834</c:v>
                </c:pt>
                <c:pt idx="19">
                  <c:v>0.002890173410404624</c:v>
                </c:pt>
                <c:pt idx="20">
                  <c:v>0.003634711494775102</c:v>
                </c:pt>
                <c:pt idx="21">
                  <c:v>0.0034965034965034965</c:v>
                </c:pt>
                <c:pt idx="22">
                  <c:v>0.002844950213371266</c:v>
                </c:pt>
                <c:pt idx="23">
                  <c:v>0.00303951367781155</c:v>
                </c:pt>
                <c:pt idx="24">
                  <c:v>0.0025940337224383916</c:v>
                </c:pt>
                <c:pt idx="25">
                  <c:v>0.003125</c:v>
                </c:pt>
                <c:pt idx="26">
                  <c:v>0.003865979381443299</c:v>
                </c:pt>
                <c:pt idx="27">
                  <c:v>0.002768987341772152</c:v>
                </c:pt>
                <c:pt idx="28">
                  <c:v>0.0025820730357801547</c:v>
                </c:pt>
                <c:pt idx="29">
                  <c:v>0.0026246719160104987</c:v>
                </c:pt>
                <c:pt idx="30">
                  <c:v>0.002861230329041488</c:v>
                </c:pt>
                <c:pt idx="31">
                  <c:v>0.0031413612565445027</c:v>
                </c:pt>
                <c:pt idx="32">
                  <c:v>0.002570694087403599</c:v>
                </c:pt>
                <c:pt idx="33">
                  <c:v>0.0027072758037225042</c:v>
                </c:pt>
                <c:pt idx="34">
                  <c:v>0.0024019215372297837</c:v>
                </c:pt>
                <c:pt idx="35">
                  <c:v>0.002969561989606533</c:v>
                </c:pt>
                <c:pt idx="36">
                  <c:v>0.00392156862745098</c:v>
                </c:pt>
                <c:pt idx="37">
                  <c:v>0.005142857142857143</c:v>
                </c:pt>
                <c:pt idx="38">
                  <c:v>0.006787330316742082</c:v>
                </c:pt>
                <c:pt idx="39">
                  <c:v>0.0036084799278304014</c:v>
                </c:pt>
                <c:pt idx="40">
                  <c:v>0.004070556309362279</c:v>
                </c:pt>
                <c:pt idx="41">
                  <c:v>0.003799071338117349</c:v>
                </c:pt>
                <c:pt idx="42">
                  <c:v>0.0027881040892193307</c:v>
                </c:pt>
                <c:pt idx="43">
                  <c:v>0.0026764804282368685</c:v>
                </c:pt>
                <c:pt idx="44">
                  <c:v>0.0021027335536197055</c:v>
                </c:pt>
                <c:pt idx="45">
                  <c:v>0.0016</c:v>
                </c:pt>
                <c:pt idx="46">
                  <c:v>0.0021812893843916625</c:v>
                </c:pt>
                <c:pt idx="47">
                  <c:v>0.0020780420226275687</c:v>
                </c:pt>
                <c:pt idx="48">
                  <c:v>0.002185792349726776</c:v>
                </c:pt>
                <c:pt idx="49">
                  <c:v>0.0016345804576825282</c:v>
                </c:pt>
                <c:pt idx="50">
                  <c:v>0.0012490632025980515</c:v>
                </c:pt>
                <c:pt idx="51">
                  <c:v>0.00202922077922077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5462147924650709</c:v>
                </c:pt>
              </c:numCache>
            </c:numRef>
          </c:xVal>
          <c:yVal>
            <c:numRef>
              <c:f>Sheet1!$B$111:$B$112</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5462147924650709</c:v>
                </c:pt>
                <c:pt idx="1">
                  <c:v>0.5462147924650709</c:v>
                </c:pt>
              </c:numCache>
            </c:numRef>
          </c:xVal>
          <c:yVal>
            <c:numRef>
              <c:f>Sheet1!$B$115:$B$116</c:f>
              <c:numCache>
                <c:formatCode>General</c:formatCode>
                <c:ptCount val="2"/>
                <c:pt idx="0">
                  <c:v>0.0039321089809464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5462147924650709</c:v>
                </c:pt>
              </c:numCache>
            </c:numRef>
          </c:xVal>
          <c:yVal>
            <c:numRef>
              <c:f>Sheet1!$B$119:$B$120</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5462147924650709</c:v>
                </c:pt>
                <c:pt idx="1">
                  <c:v>0.5462147924650709</c:v>
                </c:pt>
              </c:numCache>
            </c:numRef>
          </c:xVal>
          <c:yVal>
            <c:numRef>
              <c:f>Sheet1!$B$123:$B$124</c:f>
              <c:numCache>
                <c:formatCode>General</c:formatCode>
                <c:ptCount val="2"/>
                <c:pt idx="0">
                  <c:v>0.0039321089809464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7961631877274503</c:v>
                </c:pt>
              </c:numCache>
            </c:numRef>
          </c:xVal>
          <c:yVal>
            <c:numRef>
              <c:f>Sheet1!$B$127:$B$128</c:f>
              <c:numCache>
                <c:formatCode>General</c:formatCode>
                <c:ptCount val="2"/>
                <c:pt idx="0">
                  <c:v>0.002461801064817946</c:v>
                </c:pt>
                <c:pt idx="1">
                  <c:v>0.002461801064817946</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7961631877274503</c:v>
                </c:pt>
                <c:pt idx="1">
                  <c:v>0.7961631877274503</c:v>
                </c:pt>
              </c:numCache>
            </c:numRef>
          </c:xVal>
          <c:yVal>
            <c:numRef>
              <c:f>Sheet1!$B$131:$B$132</c:f>
              <c:numCache>
                <c:formatCode>General</c:formatCode>
                <c:ptCount val="2"/>
                <c:pt idx="0">
                  <c:v>0.0024618010648179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7217246205841034</c:v>
                </c:pt>
                <c:pt idx="1">
                  <c:v>0.931320469786032</c:v>
                </c:pt>
                <c:pt idx="2">
                  <c:v>0.9121253116537226</c:v>
                </c:pt>
                <c:pt idx="3">
                  <c:v>0.6362239870406278</c:v>
                </c:pt>
                <c:pt idx="4">
                  <c:v>0.7628237631432668</c:v>
                </c:pt>
                <c:pt idx="5">
                  <c:v>0.9466170373162458</c:v>
                </c:pt>
                <c:pt idx="6">
                  <c:v>0.8945803623043426</c:v>
                </c:pt>
                <c:pt idx="7">
                  <c:v>0.6928643525567549</c:v>
                </c:pt>
                <c:pt idx="8">
                  <c:v>0.932105860318738</c:v>
                </c:pt>
                <c:pt idx="9">
                  <c:v>0.8150726810831697</c:v>
                </c:pt>
                <c:pt idx="10">
                  <c:v>0.7299455944292698</c:v>
                </c:pt>
                <c:pt idx="11">
                  <c:v>0.881195826431428</c:v>
                </c:pt>
                <c:pt idx="12">
                  <c:v>0.6421623413308117</c:v>
                </c:pt>
                <c:pt idx="13">
                  <c:v>0.6503475603409905</c:v>
                </c:pt>
                <c:pt idx="14">
                  <c:v>0.596140528667114</c:v>
                </c:pt>
                <c:pt idx="15">
                  <c:v>0.6611865288363874</c:v>
                </c:pt>
                <c:pt idx="16">
                  <c:v>0.6852073494051873</c:v>
                </c:pt>
                <c:pt idx="17">
                  <c:v>0.4739168853158736</c:v>
                </c:pt>
                <c:pt idx="18">
                  <c:v>0.7548192099114954</c:v>
                </c:pt>
                <c:pt idx="19">
                  <c:v>0.8216301151764043</c:v>
                </c:pt>
                <c:pt idx="20">
                  <c:v>0.6527986435462144</c:v>
                </c:pt>
                <c:pt idx="21">
                  <c:v>0.6149551582698652</c:v>
                </c:pt>
                <c:pt idx="22">
                  <c:v>0.6834414370909796</c:v>
                </c:pt>
                <c:pt idx="23">
                  <c:v>0.6931330769426339</c:v>
                </c:pt>
                <c:pt idx="24">
                  <c:v>0.6130165170787129</c:v>
                </c:pt>
                <c:pt idx="25">
                  <c:v>0.5825962255007205</c:v>
                </c:pt>
                <c:pt idx="26">
                  <c:v>0.5578918181505197</c:v>
                </c:pt>
                <c:pt idx="27">
                  <c:v>0.6402955608132451</c:v>
                </c:pt>
                <c:pt idx="28">
                  <c:v>0.6862513917208659</c:v>
                </c:pt>
                <c:pt idx="29">
                  <c:v>0.7005205165625656</c:v>
                </c:pt>
                <c:pt idx="30">
                  <c:v>0.652739407548264</c:v>
                </c:pt>
                <c:pt idx="31">
                  <c:v>0.728540630988664</c:v>
                </c:pt>
                <c:pt idx="32">
                  <c:v>0.6441495850609451</c:v>
                </c:pt>
                <c:pt idx="33">
                  <c:v>0.766195905490901</c:v>
                </c:pt>
                <c:pt idx="34">
                  <c:v>0.7940847720663947</c:v>
                </c:pt>
                <c:pt idx="35">
                  <c:v>0.626706098003337</c:v>
                </c:pt>
                <c:pt idx="36">
                  <c:v>0.5332858971752246</c:v>
                </c:pt>
                <c:pt idx="37">
                  <c:v>0.4633595371567574</c:v>
                </c:pt>
                <c:pt idx="38">
                  <c:v>0.3665993580978215</c:v>
                </c:pt>
                <c:pt idx="39">
                  <c:v>0.5335222545327819</c:v>
                </c:pt>
                <c:pt idx="40">
                  <c:v>0.5032315676937172</c:v>
                </c:pt>
                <c:pt idx="41">
                  <c:v>0.547606159237778</c:v>
                </c:pt>
                <c:pt idx="42">
                  <c:v>0.7899924017190414</c:v>
                </c:pt>
                <c:pt idx="43">
                  <c:v>0.6640862713372827</c:v>
                </c:pt>
                <c:pt idx="44">
                  <c:v>0.6817304179519654</c:v>
                </c:pt>
                <c:pt idx="45">
                  <c:v>0.7408369868413075</c:v>
                </c:pt>
                <c:pt idx="46">
                  <c:v>0.6729282279881584</c:v>
                </c:pt>
                <c:pt idx="47">
                  <c:v>0.5638277092511014</c:v>
                </c:pt>
                <c:pt idx="48">
                  <c:v>0.5741156523657233</c:v>
                </c:pt>
                <c:pt idx="49">
                  <c:v>0.7750585655008891</c:v>
                </c:pt>
                <c:pt idx="50">
                  <c:v>0.8909210292055348</c:v>
                </c:pt>
                <c:pt idx="51">
                  <c:v>0.7404923257562743</c:v>
                </c:pt>
                <c:pt idx="52">
                  <c:v>0.5462147924650709</c:v>
                </c:pt>
                <c:pt idx="53">
                  <c:v>0.5462147924650709</c:v>
                </c:pt>
                <c:pt idx="54">
                  <c:v>0.7961631877274503</c:v>
                </c:pt>
              </c:numCache>
            </c:numRef>
          </c:xVal>
          <c:yVal>
            <c:numRef>
              <c:f>Sheet1!$B$135:$B$189</c:f>
              <c:numCache>
                <c:formatCode>General</c:formatCode>
                <c:ptCount val="55"/>
                <c:pt idx="0">
                  <c:v>0.0028996819098669243</c:v>
                </c:pt>
                <c:pt idx="1">
                  <c:v>0.0016667456633838208</c:v>
                </c:pt>
                <c:pt idx="2">
                  <c:v>0.0017796601428852667</c:v>
                </c:pt>
                <c:pt idx="3">
                  <c:v>0.003402634762198745</c:v>
                </c:pt>
                <c:pt idx="4">
                  <c:v>0.0026579184266991357</c:v>
                </c:pt>
                <c:pt idx="5">
                  <c:v>0.0015767644322354536</c:v>
                </c:pt>
                <c:pt idx="6">
                  <c:v>0.0018828673584762598</c:v>
                </c:pt>
                <c:pt idx="7">
                  <c:v>0.0030694508755674524</c:v>
                </c:pt>
                <c:pt idx="8">
                  <c:v>0.0016621256460547327</c:v>
                </c:pt>
                <c:pt idx="9">
                  <c:v>0.0023505669929139916</c:v>
                </c:pt>
                <c:pt idx="10">
                  <c:v>0.002851322475871979</c:v>
                </c:pt>
                <c:pt idx="11">
                  <c:v>0.001961601166816954</c:v>
                </c:pt>
                <c:pt idx="12">
                  <c:v>0.0033677027142755417</c:v>
                </c:pt>
                <c:pt idx="13">
                  <c:v>0.003319553606163533</c:v>
                </c:pt>
                <c:pt idx="14">
                  <c:v>0.003638423538079938</c:v>
                </c:pt>
                <c:pt idx="15">
                  <c:v>0.0032557939602385396</c:v>
                </c:pt>
                <c:pt idx="16">
                  <c:v>0.0031144927824608842</c:v>
                </c:pt>
                <c:pt idx="17">
                  <c:v>0.0043573975093621</c:v>
                </c:pt>
                <c:pt idx="18">
                  <c:v>0.0027050047781413643</c:v>
                </c:pt>
                <c:pt idx="19">
                  <c:v>0.0023119932415336204</c:v>
                </c:pt>
                <c:pt idx="20">
                  <c:v>0.003305135241780968</c:v>
                </c:pt>
                <c:pt idx="21">
                  <c:v>0.0035277474970719053</c:v>
                </c:pt>
                <c:pt idx="22">
                  <c:v>0.003124880666136004</c:v>
                </c:pt>
                <c:pt idx="23">
                  <c:v>0.003067870118902062</c:v>
                </c:pt>
                <c:pt idx="24">
                  <c:v>0.003539151449023235</c:v>
                </c:pt>
                <c:pt idx="25">
                  <c:v>0.00371809716888316</c:v>
                </c:pt>
                <c:pt idx="26">
                  <c:v>0.0038634195089291288</c:v>
                </c:pt>
                <c:pt idx="27">
                  <c:v>0.003378683949701244</c:v>
                </c:pt>
                <c:pt idx="28">
                  <c:v>0.003108351260008204</c:v>
                </c:pt>
                <c:pt idx="29">
                  <c:v>0.003024413904903549</c:v>
                </c:pt>
                <c:pt idx="30">
                  <c:v>0.0033054836943350037</c:v>
                </c:pt>
                <c:pt idx="31">
                  <c:v>0.00285958709732084</c:v>
                </c:pt>
                <c:pt idx="32">
                  <c:v>0.0033560128605174305</c:v>
                </c:pt>
                <c:pt idx="33">
                  <c:v>0.002638081981728828</c:v>
                </c:pt>
                <c:pt idx="34">
                  <c:v>0.002474027232528476</c:v>
                </c:pt>
                <c:pt idx="35">
                  <c:v>0.003458623229664884</c:v>
                </c:pt>
                <c:pt idx="36">
                  <c:v>0.004008162508201564</c:v>
                </c:pt>
                <c:pt idx="37">
                  <c:v>0.00441950053889097</c:v>
                </c:pt>
                <c:pt idx="38">
                  <c:v>0.0049886870587204845</c:v>
                </c:pt>
                <c:pt idx="39">
                  <c:v>0.004006772148829635</c:v>
                </c:pt>
                <c:pt idx="40">
                  <c:v>0.004184955475822772</c:v>
                </c:pt>
                <c:pt idx="41">
                  <c:v>0.003923924341161105</c:v>
                </c:pt>
                <c:pt idx="42">
                  <c:v>0.0024981003797520333</c:v>
                </c:pt>
                <c:pt idx="43">
                  <c:v>0.0032387363818159017</c:v>
                </c:pt>
                <c:pt idx="44">
                  <c:v>0.003134945643677065</c:v>
                </c:pt>
                <c:pt idx="45">
                  <c:v>0.0027872544490928075</c:v>
                </c:pt>
                <c:pt idx="46">
                  <c:v>0.003186724050053576</c:v>
                </c:pt>
                <c:pt idx="47">
                  <c:v>0.003828501950585534</c:v>
                </c:pt>
                <c:pt idx="48">
                  <c:v>0.003767983681659544</c:v>
                </c:pt>
                <c:pt idx="49">
                  <c:v>0.00258594786357631</c:v>
                </c:pt>
                <c:pt idx="50">
                  <c:v>0.001904393187507009</c:v>
                </c:pt>
                <c:pt idx="51">
                  <c:v>0.002789281899283771</c:v>
                </c:pt>
                <c:pt idx="52">
                  <c:v>0.003932108980946457</c:v>
                </c:pt>
                <c:pt idx="53">
                  <c:v>0.003932108980946457</c:v>
                </c:pt>
                <c:pt idx="54">
                  <c:v>0.0024618010648179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1447963800904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22531268925019315</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22531268925019315</c:v>
                </c:pt>
                <c:pt idx="1">
                  <c:v>-0.22531268925019315</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22531268925019315</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22531268925019315</c:v>
                </c:pt>
                <c:pt idx="1">
                  <c:v>-0.22531268925019315</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36321149182041707</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36321149182041707</c:v>
                </c:pt>
                <c:pt idx="1">
                  <c:v>0.36321149182041707</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pt idx="17">
                  <c:v>-0.22531268925019315</c:v>
                </c:pt>
                <c:pt idx="18">
                  <c:v>-0.22531268925019315</c:v>
                </c:pt>
                <c:pt idx="19">
                  <c:v>0.36321149182041707</c:v>
                </c:pt>
              </c:numCache>
            </c:numRef>
          </c:xVal>
          <c:yVal>
            <c:numRef>
              <c:f>Sheet1!$B$47:$B$66</c:f>
              <c:numCache>
                <c:formatCode>General</c:formatCode>
                <c:ptCount val="20"/>
                <c:pt idx="0">
                  <c:v>0.057335476921286155</c:v>
                </c:pt>
                <c:pt idx="1">
                  <c:v>0.03617903117486865</c:v>
                </c:pt>
                <c:pt idx="2">
                  <c:v>0.026724786189177986</c:v>
                </c:pt>
                <c:pt idx="3">
                  <c:v>0.0285918488400347</c:v>
                </c:pt>
                <c:pt idx="4">
                  <c:v>0.044872999247652104</c:v>
                </c:pt>
                <c:pt idx="5">
                  <c:v>0.04727946404771226</c:v>
                </c:pt>
                <c:pt idx="6">
                  <c:v>0.046199601261933794</c:v>
                </c:pt>
                <c:pt idx="7">
                  <c:v>0.0427347472913751</c:v>
                </c:pt>
                <c:pt idx="8">
                  <c:v>0.037949037689944565</c:v>
                </c:pt>
                <c:pt idx="9">
                  <c:v>0.04229572138904279</c:v>
                </c:pt>
                <c:pt idx="10">
                  <c:v>0.04383888622161934</c:v>
                </c:pt>
                <c:pt idx="11">
                  <c:v>0.03983001889149293</c:v>
                </c:pt>
                <c:pt idx="12">
                  <c:v>0.04408660404163609</c:v>
                </c:pt>
                <c:pt idx="13">
                  <c:v>0.043176787398999175</c:v>
                </c:pt>
                <c:pt idx="14">
                  <c:v>0.04399085478131135</c:v>
                </c:pt>
                <c:pt idx="15">
                  <c:v>0.043046030063386975</c:v>
                </c:pt>
                <c:pt idx="16">
                  <c:v>0.043187364262734104</c:v>
                </c:pt>
                <c:pt idx="17">
                  <c:v>0.0607216418718374</c:v>
                </c:pt>
                <c:pt idx="18">
                  <c:v>0.0607216418718374</c:v>
                </c:pt>
                <c:pt idx="19">
                  <c:v>0.051876867256057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14285714285714285</c:v>
                </c:pt>
                <c:pt idx="2">
                  <c:v>0.010869565217391304</c:v>
                </c:pt>
                <c:pt idx="3">
                  <c:v>0.011764705882352941</c:v>
                </c:pt>
                <c:pt idx="4">
                  <c:v>0.043478260869565216</c:v>
                </c:pt>
                <c:pt idx="5">
                  <c:v>0.04716981132075472</c:v>
                </c:pt>
                <c:pt idx="6">
                  <c:v>0.06306306306306306</c:v>
                </c:pt>
                <c:pt idx="7">
                  <c:v>0.05405405405405406</c:v>
                </c:pt>
                <c:pt idx="8">
                  <c:v>0.02531645569620253</c:v>
                </c:pt>
                <c:pt idx="9">
                  <c:v>0.05</c:v>
                </c:pt>
                <c:pt idx="10">
                  <c:v>0.04830917874396135</c:v>
                </c:pt>
                <c:pt idx="11">
                  <c:v>0.03608247422680412</c:v>
                </c:pt>
                <c:pt idx="12">
                  <c:v>0.06403940886699508</c:v>
                </c:pt>
                <c:pt idx="13">
                  <c:v>0.05747126436781609</c:v>
                </c:pt>
                <c:pt idx="14">
                  <c:v>0.06837606837606838</c:v>
                </c:pt>
                <c:pt idx="15">
                  <c:v>0.07079646017699115</c:v>
                </c:pt>
                <c:pt idx="16">
                  <c:v>0.046242774566473986</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89.9163122215866</c:v>
                </c:pt>
              </c:numCache>
            </c:numRef>
          </c:xVal>
          <c:yVal>
            <c:numRef>
              <c:f>Sheet1!$B$23:$B$24</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89.9163122215866</c:v>
                </c:pt>
                <c:pt idx="1">
                  <c:v>-489.9163122215866</c:v>
                </c:pt>
              </c:numCache>
            </c:numRef>
          </c:xVal>
          <c:yVal>
            <c:numRef>
              <c:f>Sheet1!$B$27:$B$28</c:f>
              <c:numCache>
                <c:formatCode>General</c:formatCode>
                <c:ptCount val="2"/>
                <c:pt idx="0">
                  <c:v>0.06072164187183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89.9163122215866</c:v>
                </c:pt>
              </c:numCache>
            </c:numRef>
          </c:xVal>
          <c:yVal>
            <c:numRef>
              <c:f>Sheet1!$B$31:$B$32</c:f>
              <c:numCache>
                <c:formatCode>General</c:formatCode>
                <c:ptCount val="2"/>
                <c:pt idx="0">
                  <c:v>0.0607216418718374</c:v>
                </c:pt>
                <c:pt idx="1">
                  <c:v>0.0607216418718374</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89.9163122215866</c:v>
                </c:pt>
                <c:pt idx="1">
                  <c:v>-489.9163122215866</c:v>
                </c:pt>
              </c:numCache>
            </c:numRef>
          </c:xVal>
          <c:yVal>
            <c:numRef>
              <c:f>Sheet1!$B$35:$B$36</c:f>
              <c:numCache>
                <c:formatCode>General</c:formatCode>
                <c:ptCount val="2"/>
                <c:pt idx="0">
                  <c:v>0.06072164187183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14.2747150205532</c:v>
                </c:pt>
              </c:numCache>
            </c:numRef>
          </c:xVal>
          <c:yVal>
            <c:numRef>
              <c:f>Sheet1!$B$39:$B$40</c:f>
              <c:numCache>
                <c:formatCode>General</c:formatCode>
                <c:ptCount val="2"/>
                <c:pt idx="0">
                  <c:v>0.05187686725605767</c:v>
                </c:pt>
                <c:pt idx="1">
                  <c:v>0.0518768672560576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14.2747150205532</c:v>
                </c:pt>
                <c:pt idx="1">
                  <c:v>2714.2747150205532</c:v>
                </c:pt>
              </c:numCache>
            </c:numRef>
          </c:xVal>
          <c:yVal>
            <c:numRef>
              <c:f>Sheet1!$B$43:$B$44</c:f>
              <c:numCache>
                <c:formatCode>General</c:formatCode>
                <c:ptCount val="2"/>
                <c:pt idx="0">
                  <c:v>0.051876867256057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489.9163122215866</c:v>
                </c:pt>
                <c:pt idx="18">
                  <c:v>-489.9163122215866</c:v>
                </c:pt>
                <c:pt idx="19">
                  <c:v>2714.2747150205532</c:v>
                </c:pt>
              </c:numCache>
            </c:numRef>
          </c:xVal>
          <c:yVal>
            <c:numRef>
              <c:f>Sheet1!$B$47:$B$66</c:f>
              <c:numCache>
                <c:formatCode>General</c:formatCode>
                <c:ptCount val="20"/>
                <c:pt idx="0">
                  <c:v>0.059369288243307484</c:v>
                </c:pt>
                <c:pt idx="1">
                  <c:v>0.0328365463174778</c:v>
                </c:pt>
                <c:pt idx="2">
                  <c:v>0.022595548341528146</c:v>
                </c:pt>
                <c:pt idx="3">
                  <c:v>0.020147094108464172</c:v>
                </c:pt>
                <c:pt idx="4">
                  <c:v>0.0422597826625986</c:v>
                </c:pt>
                <c:pt idx="5">
                  <c:v>0.04531013705972075</c:v>
                </c:pt>
                <c:pt idx="6">
                  <c:v>0.04466081748654407</c:v>
                </c:pt>
                <c:pt idx="7">
                  <c:v>0.04244771822526598</c:v>
                </c:pt>
                <c:pt idx="8">
                  <c:v>0.0384532230375758</c:v>
                </c:pt>
                <c:pt idx="9">
                  <c:v>0.04388081394598847</c:v>
                </c:pt>
                <c:pt idx="10">
                  <c:v>0.045977596173085875</c:v>
                </c:pt>
                <c:pt idx="11">
                  <c:v>0.04196866145428729</c:v>
                </c:pt>
                <c:pt idx="12">
                  <c:v>0.04670383005766483</c:v>
                </c:pt>
                <c:pt idx="13">
                  <c:v>0.04742734607523379</c:v>
                </c:pt>
                <c:pt idx="14">
                  <c:v>0.046955356144933874</c:v>
                </c:pt>
                <c:pt idx="15">
                  <c:v>0.044986517383115515</c:v>
                </c:pt>
                <c:pt idx="16">
                  <c:v>0.0453389829974158</c:v>
                </c:pt>
                <c:pt idx="17">
                  <c:v>0.0607216418718374</c:v>
                </c:pt>
                <c:pt idx="18">
                  <c:v>0.0607216418718374</c:v>
                </c:pt>
                <c:pt idx="19">
                  <c:v>0.051876867256057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49557522123893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01195239776747</c:v>
                </c:pt>
                <c:pt idx="1">
                  <c:v>0.7663680044969665</c:v>
                </c:pt>
                <c:pt idx="2">
                  <c:v>0.7255169785082703</c:v>
                </c:pt>
                <c:pt idx="3">
                  <c:v>0.7304782686880984</c:v>
                </c:pt>
                <c:pt idx="4">
                  <c:v>0.7483716154785544</c:v>
                </c:pt>
                <c:pt idx="5">
                  <c:v>0.7563608690504112</c:v>
                </c:pt>
                <c:pt idx="6">
                  <c:v>0.7013118139687677</c:v>
                </c:pt>
                <c:pt idx="7">
                  <c:v>0.7127314250980928</c:v>
                </c:pt>
                <c:pt idx="8">
                  <c:v>0.7254349737542413</c:v>
                </c:pt>
                <c:pt idx="9">
                  <c:v>0.8057450707628258</c:v>
                </c:pt>
                <c:pt idx="10">
                  <c:v>0.7999202894117579</c:v>
                </c:pt>
                <c:pt idx="11">
                  <c:v>0.8489987906414252</c:v>
                </c:pt>
                <c:pt idx="12">
                  <c:v>0.8610153446611323</c:v>
                </c:pt>
                <c:pt idx="13">
                  <c:v>0.8691041396528687</c:v>
                </c:pt>
                <c:pt idx="14">
                  <c:v>0.85828888073069</c:v>
                </c:pt>
                <c:pt idx="15">
                  <c:v>0.8868544173992494</c:v>
                </c:pt>
                <c:pt idx="16">
                  <c:v>0.9010734045640488</c:v>
                </c:pt>
                <c:pt idx="17">
                  <c:v>0.9104777594649518</c:v>
                </c:pt>
                <c:pt idx="18">
                  <c:v>0.9176026484426528</c:v>
                </c:pt>
                <c:pt idx="19">
                  <c:v>0.8696106729433188</c:v>
                </c:pt>
                <c:pt idx="20">
                  <c:v>0.9027384818313141</c:v>
                </c:pt>
                <c:pt idx="21">
                  <c:v>0.7984844666666666</c:v>
                </c:pt>
                <c:pt idx="22">
                  <c:v>0.7546739132149425</c:v>
                </c:pt>
                <c:pt idx="23">
                  <c:v>0.7557059054096446</c:v>
                </c:pt>
                <c:pt idx="24">
                  <c:v>0.7923176010576184</c:v>
                </c:pt>
                <c:pt idx="25">
                  <c:v>0.7284929626809656</c:v>
                </c:pt>
                <c:pt idx="26">
                  <c:v>0.7177884101380659</c:v>
                </c:pt>
                <c:pt idx="27">
                  <c:v>0.7359750153516668</c:v>
                </c:pt>
                <c:pt idx="28">
                  <c:v>0.6870481526367892</c:v>
                </c:pt>
                <c:pt idx="29">
                  <c:v>0.6854732988473714</c:v>
                </c:pt>
                <c:pt idx="30">
                  <c:v>0.6947398026259142</c:v>
                </c:pt>
                <c:pt idx="31">
                  <c:v>0.6595073853122221</c:v>
                </c:pt>
                <c:pt idx="32">
                  <c:v>0.6631147418479341</c:v>
                </c:pt>
                <c:pt idx="33">
                  <c:v>0.5784382683674899</c:v>
                </c:pt>
                <c:pt idx="34">
                  <c:v>0.7277525779268943</c:v>
                </c:pt>
                <c:pt idx="35">
                  <c:v>0.8251346816645497</c:v>
                </c:pt>
                <c:pt idx="36">
                  <c:v>0.8225351435970208</c:v>
                </c:pt>
                <c:pt idx="37">
                  <c:v>0.8528762633209821</c:v>
                </c:pt>
                <c:pt idx="38">
                  <c:v>0.9336033230295128</c:v>
                </c:pt>
                <c:pt idx="39">
                  <c:v>1.0007460406730762</c:v>
                </c:pt>
                <c:pt idx="40">
                  <c:v>0.905705588736527</c:v>
                </c:pt>
                <c:pt idx="41">
                  <c:v>0.8648254074520809</c:v>
                </c:pt>
                <c:pt idx="42">
                  <c:v>0.8753416226606795</c:v>
                </c:pt>
                <c:pt idx="43">
                  <c:v>0.855448308472693</c:v>
                </c:pt>
                <c:pt idx="44">
                  <c:v>0.9280964980906679</c:v>
                </c:pt>
                <c:pt idx="45">
                  <c:v>0.9448812889380902</c:v>
                </c:pt>
                <c:pt idx="46">
                  <c:v>0.9654548420348652</c:v>
                </c:pt>
                <c:pt idx="47">
                  <c:v>0.9931966925732582</c:v>
                </c:pt>
                <c:pt idx="48">
                  <c:v>0.9806135394371613</c:v>
                </c:pt>
                <c:pt idx="49">
                  <c:v>0.9314510169497482</c:v>
                </c:pt>
                <c:pt idx="50">
                  <c:v>0.9217580814302351</c:v>
                </c:pt>
                <c:pt idx="51">
                  <c:v>0.9277862896042157</c:v>
                </c:pt>
                <c:pt idx="52">
                  <c:v>0.9047911461330972</c:v>
                </c:pt>
                <c:pt idx="53">
                  <c:v>0.8497572297001242</c:v>
                </c:pt>
                <c:pt idx="54">
                  <c:v>0.8111226720607836</c:v>
                </c:pt>
                <c:pt idx="55">
                  <c:v>0.8454209373078555</c:v>
                </c:pt>
                <c:pt idx="56">
                  <c:v>0.8310093289587369</c:v>
                </c:pt>
                <c:pt idx="57">
                  <c:v>0.8259618138325132</c:v>
                </c:pt>
                <c:pt idx="58">
                  <c:v>0.7913006131062791</c:v>
                </c:pt>
                <c:pt idx="59">
                  <c:v>0.8127045963134002</c:v>
                </c:pt>
                <c:pt idx="60">
                  <c:v>0.8135504601324726</c:v>
                </c:pt>
                <c:pt idx="61">
                  <c:v>0.9874371083937714</c:v>
                </c:pt>
                <c:pt idx="62">
                  <c:v>1.0302813881451147</c:v>
                </c:pt>
                <c:pt idx="63">
                  <c:v>1.058312783089554</c:v>
                </c:pt>
                <c:pt idx="64">
                  <c:v>1.0885595660415053</c:v>
                </c:pt>
                <c:pt idx="65">
                  <c:v>1.0212992451828389</c:v>
                </c:pt>
                <c:pt idx="66">
                  <c:v>0.9907700264073982</c:v>
                </c:pt>
                <c:pt idx="67">
                  <c:v>1.0323279529587563</c:v>
                </c:pt>
                <c:pt idx="68">
                  <c:v>1.0727086468608216</c:v>
                </c:pt>
                <c:pt idx="69">
                  <c:v>1.1014765022683233</c:v>
                </c:pt>
                <c:pt idx="70">
                  <c:v>0.9988813887705932</c:v>
                </c:pt>
                <c:pt idx="71">
                  <c:v>0.9277058572686305</c:v>
                </c:pt>
                <c:pt idx="72">
                  <c:v>0.9975839743384671</c:v>
                </c:pt>
                <c:pt idx="73">
                  <c:v>0.9107436432179841</c:v>
                </c:pt>
                <c:pt idx="74">
                  <c:v>0.960399155023168</c:v>
                </c:pt>
                <c:pt idx="75">
                  <c:v>0.819017775200009</c:v>
                </c:pt>
                <c:pt idx="76">
                  <c:v>0.7731090931241923</c:v>
                </c:pt>
                <c:pt idx="77">
                  <c:v>0.9042233108387192</c:v>
                </c:pt>
                <c:pt idx="78">
                  <c:v>0.9156949413636299</c:v>
                </c:pt>
                <c:pt idx="79">
                  <c:v>0.8657636029646509</c:v>
                </c:pt>
                <c:pt idx="80">
                  <c:v>0.9983466114391536</c:v>
                </c:pt>
                <c:pt idx="81">
                  <c:v>1.0029883438218952</c:v>
                </c:pt>
                <c:pt idx="82">
                  <c:v>0.9658189831188001</c:v>
                </c:pt>
                <c:pt idx="83">
                  <c:v>0.9428554766846845</c:v>
                </c:pt>
                <c:pt idx="84">
                  <c:v>0.9762103013784931</c:v>
                </c:pt>
                <c:pt idx="85">
                  <c:v>0.9735122193367927</c:v>
                </c:pt>
                <c:pt idx="86">
                  <c:v>0.9401790681818266</c:v>
                </c:pt>
                <c:pt idx="87">
                  <c:v>0.9186660542553933</c:v>
                </c:pt>
                <c:pt idx="88">
                  <c:v>0.8673092613286402</c:v>
                </c:pt>
                <c:pt idx="89">
                  <c:v>0.8264464985534206</c:v>
                </c:pt>
                <c:pt idx="90">
                  <c:v>0.8352366032755789</c:v>
                </c:pt>
                <c:pt idx="91">
                  <c:v>0.8659703864387742</c:v>
                </c:pt>
                <c:pt idx="92">
                  <c:v>0.8472357586328833</c:v>
                </c:pt>
                <c:pt idx="93">
                  <c:v>0.8602296652823687</c:v>
                </c:pt>
                <c:pt idx="94">
                  <c:v>0.8606097245973374</c:v>
                </c:pt>
                <c:pt idx="95">
                  <c:v>0.9130525641555998</c:v>
                </c:pt>
                <c:pt idx="96">
                  <c:v>0.9791545264922578</c:v>
                </c:pt>
                <c:pt idx="97">
                  <c:v>1.059123131866549</c:v>
                </c:pt>
                <c:pt idx="98">
                  <c:v>1.0280525126807543</c:v>
                </c:pt>
                <c:pt idx="99">
                  <c:v>0.9962995228561422</c:v>
                </c:pt>
                <c:pt idx="100">
                  <c:v>0.9634491383963282</c:v>
                </c:pt>
                <c:pt idx="101">
                  <c:v>0.9024964457305337</c:v>
                </c:pt>
                <c:pt idx="102">
                  <c:v>0.940485924044598</c:v>
                </c:pt>
                <c:pt idx="103">
                  <c:v>0.9433159524053518</c:v>
                </c:pt>
                <c:pt idx="104">
                  <c:v>0.8602834870016751</c:v>
                </c:pt>
              </c:numCache>
            </c:numRef>
          </c:xVal>
          <c:yVal>
            <c:numRef>
              <c:f>Sheet1!$B$2:$B$106</c:f>
              <c:numCache>
                <c:formatCode>General</c:formatCode>
                <c:ptCount val="105"/>
                <c:pt idx="0">
                  <c:v>0.30859835100117783</c:v>
                </c:pt>
                <c:pt idx="1">
                  <c:v>0.3329857490441432</c:v>
                </c:pt>
                <c:pt idx="2">
                  <c:v>0.341024770953512</c:v>
                </c:pt>
                <c:pt idx="3">
                  <c:v>0.3513318934485241</c:v>
                </c:pt>
                <c:pt idx="4">
                  <c:v>0.3512658227848101</c:v>
                </c:pt>
                <c:pt idx="5">
                  <c:v>0.33796296296296297</c:v>
                </c:pt>
                <c:pt idx="6">
                  <c:v>0.3574774774774775</c:v>
                </c:pt>
                <c:pt idx="7">
                  <c:v>0.3692434210526316</c:v>
                </c:pt>
                <c:pt idx="8">
                  <c:v>0.38435228730226595</c:v>
                </c:pt>
                <c:pt idx="9">
                  <c:v>0.3632887189292543</c:v>
                </c:pt>
                <c:pt idx="10">
                  <c:v>0.34970059880239523</c:v>
                </c:pt>
                <c:pt idx="11">
                  <c:v>0.3315674665004674</c:v>
                </c:pt>
                <c:pt idx="12">
                  <c:v>0.3203994293865906</c:v>
                </c:pt>
                <c:pt idx="13">
                  <c:v>0.31703789412785655</c:v>
                </c:pt>
                <c:pt idx="14">
                  <c:v>0.3216761184625079</c:v>
                </c:pt>
                <c:pt idx="15">
                  <c:v>0.3128246104674391</c:v>
                </c:pt>
                <c:pt idx="16">
                  <c:v>0.29620622568093385</c:v>
                </c:pt>
                <c:pt idx="17">
                  <c:v>0.2984737139626908</c:v>
                </c:pt>
                <c:pt idx="18">
                  <c:v>0.2845528455284553</c:v>
                </c:pt>
                <c:pt idx="19">
                  <c:v>0.3085966201322557</c:v>
                </c:pt>
                <c:pt idx="20">
                  <c:v>0.30612244897959184</c:v>
                </c:pt>
                <c:pt idx="21">
                  <c:v>0.3631100082712986</c:v>
                </c:pt>
                <c:pt idx="22">
                  <c:v>0.3620414673046252</c:v>
                </c:pt>
                <c:pt idx="23">
                  <c:v>0.35520918785890077</c:v>
                </c:pt>
                <c:pt idx="24">
                  <c:v>0.3521870286576169</c:v>
                </c:pt>
                <c:pt idx="25">
                  <c:v>0.3562447611064543</c:v>
                </c:pt>
                <c:pt idx="26">
                  <c:v>0.36904761904761907</c:v>
                </c:pt>
                <c:pt idx="27">
                  <c:v>0.34688156972669937</c:v>
                </c:pt>
                <c:pt idx="28">
                  <c:v>0.3676572218382861</c:v>
                </c:pt>
                <c:pt idx="29">
                  <c:v>0.3705848291835553</c:v>
                </c:pt>
                <c:pt idx="30">
                  <c:v>0.36870229007633587</c:v>
                </c:pt>
                <c:pt idx="31">
                  <c:v>0.3648867313915858</c:v>
                </c:pt>
                <c:pt idx="32">
                  <c:v>0.38702111024237684</c:v>
                </c:pt>
                <c:pt idx="33">
                  <c:v>0.39085714285714285</c:v>
                </c:pt>
                <c:pt idx="34">
                  <c:v>0.36351763169351325</c:v>
                </c:pt>
                <c:pt idx="35">
                  <c:v>0.36013864818024266</c:v>
                </c:pt>
                <c:pt idx="36">
                  <c:v>0.3617533718689788</c:v>
                </c:pt>
                <c:pt idx="37">
                  <c:v>0.3535816618911175</c:v>
                </c:pt>
                <c:pt idx="38">
                  <c:v>0.3263795423956931</c:v>
                </c:pt>
                <c:pt idx="39">
                  <c:v>0.30736842105263157</c:v>
                </c:pt>
                <c:pt idx="40">
                  <c:v>0.3264218009478673</c:v>
                </c:pt>
                <c:pt idx="41">
                  <c:v>0.35157318741450067</c:v>
                </c:pt>
                <c:pt idx="42">
                  <c:v>0.34780125642490006</c:v>
                </c:pt>
                <c:pt idx="43">
                  <c:v>0.3492063492063492</c:v>
                </c:pt>
                <c:pt idx="44">
                  <c:v>0.28996566196108353</c:v>
                </c:pt>
                <c:pt idx="45">
                  <c:v>0.30390600190536676</c:v>
                </c:pt>
                <c:pt idx="46">
                  <c:v>0.3045829775120979</c:v>
                </c:pt>
                <c:pt idx="47">
                  <c:v>0.29301075268817206</c:v>
                </c:pt>
                <c:pt idx="48">
                  <c:v>0.29035068612502724</c:v>
                </c:pt>
                <c:pt idx="49">
                  <c:v>0.27346709695524063</c:v>
                </c:pt>
                <c:pt idx="50">
                  <c:v>0.2884167636786962</c:v>
                </c:pt>
                <c:pt idx="51">
                  <c:v>0.2830112721417069</c:v>
                </c:pt>
                <c:pt idx="52">
                  <c:v>0.27760891590678827</c:v>
                </c:pt>
                <c:pt idx="53">
                  <c:v>0.2828890799656062</c:v>
                </c:pt>
                <c:pt idx="54">
                  <c:v>0.3015952143569292</c:v>
                </c:pt>
                <c:pt idx="55">
                  <c:v>0.30009920634920634</c:v>
                </c:pt>
                <c:pt idx="56">
                  <c:v>0.29903846153846153</c:v>
                </c:pt>
                <c:pt idx="57">
                  <c:v>0.28243300723096554</c:v>
                </c:pt>
                <c:pt idx="58">
                  <c:v>0.2963350785340314</c:v>
                </c:pt>
                <c:pt idx="59">
                  <c:v>0.27113010446343777</c:v>
                </c:pt>
                <c:pt idx="60">
                  <c:v>0.290414878397711</c:v>
                </c:pt>
                <c:pt idx="61">
                  <c:v>0.29633084577114427</c:v>
                </c:pt>
                <c:pt idx="62">
                  <c:v>0.27869727709556863</c:v>
                </c:pt>
                <c:pt idx="63">
                  <c:v>0.2633213859020311</c:v>
                </c:pt>
                <c:pt idx="64">
                  <c:v>0.2663755458515284</c:v>
                </c:pt>
                <c:pt idx="65">
                  <c:v>0.2740331491712707</c:v>
                </c:pt>
                <c:pt idx="66">
                  <c:v>0.2967684553809665</c:v>
                </c:pt>
                <c:pt idx="67">
                  <c:v>0.29462508294625084</c:v>
                </c:pt>
                <c:pt idx="68">
                  <c:v>0.2768336314847943</c:v>
                </c:pt>
                <c:pt idx="69">
                  <c:v>0.2731117824773414</c:v>
                </c:pt>
                <c:pt idx="70">
                  <c:v>0.29233511586452765</c:v>
                </c:pt>
                <c:pt idx="71">
                  <c:v>0.31636863823933975</c:v>
                </c:pt>
                <c:pt idx="72">
                  <c:v>0.2920478536242083</c:v>
                </c:pt>
                <c:pt idx="73">
                  <c:v>0.3116883116883117</c:v>
                </c:pt>
                <c:pt idx="74">
                  <c:v>0.3023415977961432</c:v>
                </c:pt>
                <c:pt idx="75">
                  <c:v>0.36232980332829046</c:v>
                </c:pt>
                <c:pt idx="76">
                  <c:v>0.36658354114713215</c:v>
                </c:pt>
                <c:pt idx="77">
                  <c:v>0.3598290598290598</c:v>
                </c:pt>
                <c:pt idx="78">
                  <c:v>0.3390970220941403</c:v>
                </c:pt>
                <c:pt idx="79">
                  <c:v>0.345679012345679</c:v>
                </c:pt>
                <c:pt idx="80">
                  <c:v>0.3253424657534247</c:v>
                </c:pt>
                <c:pt idx="81">
                  <c:v>0.3321529745042493</c:v>
                </c:pt>
                <c:pt idx="82">
                  <c:v>0.3377777777777778</c:v>
                </c:pt>
                <c:pt idx="83">
                  <c:v>0.34700665188470065</c:v>
                </c:pt>
                <c:pt idx="84">
                  <c:v>0.3336886993603412</c:v>
                </c:pt>
                <c:pt idx="85">
                  <c:v>0.33899905571293676</c:v>
                </c:pt>
                <c:pt idx="86">
                  <c:v>0.3653483992467043</c:v>
                </c:pt>
                <c:pt idx="87">
                  <c:v>0.37566137566137564</c:v>
                </c:pt>
                <c:pt idx="88">
                  <c:v>0.3853503184713376</c:v>
                </c:pt>
                <c:pt idx="89">
                  <c:v>0.3905660377358491</c:v>
                </c:pt>
                <c:pt idx="90">
                  <c:v>0.3827893175074184</c:v>
                </c:pt>
                <c:pt idx="91">
                  <c:v>0.3695652173913043</c:v>
                </c:pt>
                <c:pt idx="92">
                  <c:v>0.35303514376996803</c:v>
                </c:pt>
                <c:pt idx="93">
                  <c:v>0.3188291139240506</c:v>
                </c:pt>
                <c:pt idx="94">
                  <c:v>0.34288121314237574</c:v>
                </c:pt>
                <c:pt idx="95">
                  <c:v>0.32620011567379986</c:v>
                </c:pt>
                <c:pt idx="96">
                  <c:v>0.30723905723905726</c:v>
                </c:pt>
                <c:pt idx="97">
                  <c:v>0.28172332547963647</c:v>
                </c:pt>
                <c:pt idx="98">
                  <c:v>0.2830985915492958</c:v>
                </c:pt>
                <c:pt idx="99">
                  <c:v>0.2910089224433768</c:v>
                </c:pt>
                <c:pt idx="100">
                  <c:v>0.29144057412917906</c:v>
                </c:pt>
                <c:pt idx="101">
                  <c:v>0.3195843828715365</c:v>
                </c:pt>
                <c:pt idx="102">
                  <c:v>0.31549028896257697</c:v>
                </c:pt>
                <c:pt idx="103">
                  <c:v>0.306432281262485</c:v>
                </c:pt>
                <c:pt idx="104">
                  <c:v>0.31088335773548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40919540229884</c:v>
                </c:pt>
                <c:pt idx="1">
                  <c:v>0.8174816136289029</c:v>
                </c:pt>
                <c:pt idx="2">
                  <c:v>0.8307767382530086</c:v>
                </c:pt>
                <c:pt idx="3">
                  <c:v>0.8155190874297813</c:v>
                </c:pt>
                <c:pt idx="4">
                  <c:v>0.7946825449975411</c:v>
                </c:pt>
                <c:pt idx="5">
                  <c:v>0.8345746046336886</c:v>
                </c:pt>
                <c:pt idx="6">
                  <c:v>0.8818804557928696</c:v>
                </c:pt>
                <c:pt idx="7">
                  <c:v>0.9398544081364316</c:v>
                </c:pt>
                <c:pt idx="8">
                  <c:v>0.9901233799823843</c:v>
                </c:pt>
                <c:pt idx="9">
                  <c:v>0.9553447797391876</c:v>
                </c:pt>
                <c:pt idx="10">
                  <c:v>0.9637985314355009</c:v>
                </c:pt>
                <c:pt idx="11">
                  <c:v>0.9436708887852339</c:v>
                </c:pt>
                <c:pt idx="12">
                  <c:v>0.9465787295869807</c:v>
                </c:pt>
                <c:pt idx="13">
                  <c:v>0.9258057847044553</c:v>
                </c:pt>
                <c:pt idx="14">
                  <c:v>0.9350217402528888</c:v>
                </c:pt>
                <c:pt idx="15">
                  <c:v>0.9388576451496513</c:v>
                </c:pt>
                <c:pt idx="16">
                  <c:v>0.9878721492151996</c:v>
                </c:pt>
                <c:pt idx="17">
                  <c:v>0.9814982363845611</c:v>
                </c:pt>
                <c:pt idx="18">
                  <c:v>1.0173099154570209</c:v>
                </c:pt>
                <c:pt idx="19">
                  <c:v>0.9322535405587139</c:v>
                </c:pt>
                <c:pt idx="20">
                  <c:v>0.9045851344947526</c:v>
                </c:pt>
                <c:pt idx="21">
                  <c:v>0.725552677616201</c:v>
                </c:pt>
                <c:pt idx="22">
                  <c:v>0.8106968507985248</c:v>
                </c:pt>
                <c:pt idx="23">
                  <c:v>0.9179301497014873</c:v>
                </c:pt>
                <c:pt idx="24">
                  <c:v>0.9778628851787317</c:v>
                </c:pt>
                <c:pt idx="25">
                  <c:v>0.9620532156034822</c:v>
                </c:pt>
                <c:pt idx="26">
                  <c:v>0.9590695392375989</c:v>
                </c:pt>
                <c:pt idx="27">
                  <c:v>0.990806812851152</c:v>
                </c:pt>
                <c:pt idx="28">
                  <c:v>1.0377763887941516</c:v>
                </c:pt>
                <c:pt idx="29">
                  <c:v>1.0091141547921585</c:v>
                </c:pt>
                <c:pt idx="30">
                  <c:v>0.9607430504721737</c:v>
                </c:pt>
                <c:pt idx="31">
                  <c:v>0.9255278973118467</c:v>
                </c:pt>
                <c:pt idx="32">
                  <c:v>0.9735456644875424</c:v>
                </c:pt>
                <c:pt idx="33">
                  <c:v>1.0497240937419248</c:v>
                </c:pt>
                <c:pt idx="34">
                  <c:v>1.0415260533713544</c:v>
                </c:pt>
                <c:pt idx="35">
                  <c:v>1.008256338713441</c:v>
                </c:pt>
                <c:pt idx="36">
                  <c:v>0.953485204951441</c:v>
                </c:pt>
                <c:pt idx="37">
                  <c:v>0.8998862544808885</c:v>
                </c:pt>
                <c:pt idx="38">
                  <c:v>0.9414117133504537</c:v>
                </c:pt>
                <c:pt idx="39">
                  <c:v>1.0008080900737597</c:v>
                </c:pt>
                <c:pt idx="40">
                  <c:v>1.0117293032636403</c:v>
                </c:pt>
                <c:pt idx="41">
                  <c:v>1.0282644587789627</c:v>
                </c:pt>
                <c:pt idx="42">
                  <c:v>0.9879835694052784</c:v>
                </c:pt>
                <c:pt idx="43">
                  <c:v>1.081332741545557</c:v>
                </c:pt>
                <c:pt idx="44">
                  <c:v>1.1542757654279676</c:v>
                </c:pt>
                <c:pt idx="45">
                  <c:v>1.1503082040196893</c:v>
                </c:pt>
                <c:pt idx="46">
                  <c:v>1.113351407374443</c:v>
                </c:pt>
                <c:pt idx="47">
                  <c:v>1.0998884674620582</c:v>
                </c:pt>
                <c:pt idx="48">
                  <c:v>1.1554649618033992</c:v>
                </c:pt>
                <c:pt idx="49">
                  <c:v>1.1872317575377493</c:v>
                </c:pt>
                <c:pt idx="50">
                  <c:v>1.1018220860833043</c:v>
                </c:pt>
                <c:pt idx="51">
                  <c:v>1.095156637106426</c:v>
                </c:pt>
              </c:numCache>
            </c:numRef>
          </c:xVal>
          <c:yVal>
            <c:numRef>
              <c:f>Sheet1!$B$109:$B$160</c:f>
              <c:numCache>
                <c:formatCode>General</c:formatCode>
                <c:ptCount val="52"/>
                <c:pt idx="0">
                  <c:v>0.32187645146307475</c:v>
                </c:pt>
                <c:pt idx="1">
                  <c:v>0.30357142857142855</c:v>
                </c:pt>
                <c:pt idx="2">
                  <c:v>0.29553119730185495</c:v>
                </c:pt>
                <c:pt idx="3">
                  <c:v>0.2965931863727455</c:v>
                </c:pt>
                <c:pt idx="4">
                  <c:v>0.3148636763412489</c:v>
                </c:pt>
                <c:pt idx="5">
                  <c:v>0.2991765782250686</c:v>
                </c:pt>
                <c:pt idx="6">
                  <c:v>0.3151862464183381</c:v>
                </c:pt>
                <c:pt idx="7">
                  <c:v>0.30973871733966746</c:v>
                </c:pt>
                <c:pt idx="8">
                  <c:v>0.3012486992715921</c:v>
                </c:pt>
                <c:pt idx="9">
                  <c:v>0.3000458085203848</c:v>
                </c:pt>
                <c:pt idx="10">
                  <c:v>0.31050616758826033</c:v>
                </c:pt>
                <c:pt idx="11">
                  <c:v>0.2874768661320173</c:v>
                </c:pt>
                <c:pt idx="12">
                  <c:v>0.2834242837653479</c:v>
                </c:pt>
                <c:pt idx="13">
                  <c:v>0.31003861003861005</c:v>
                </c:pt>
                <c:pt idx="14">
                  <c:v>0.30782684739833843</c:v>
                </c:pt>
                <c:pt idx="15">
                  <c:v>0.2862944162436548</c:v>
                </c:pt>
                <c:pt idx="16">
                  <c:v>0.28435114503816794</c:v>
                </c:pt>
                <c:pt idx="17">
                  <c:v>0.29475100942126514</c:v>
                </c:pt>
                <c:pt idx="18">
                  <c:v>0.3016323633782825</c:v>
                </c:pt>
                <c:pt idx="19">
                  <c:v>0.30220588235294116</c:v>
                </c:pt>
                <c:pt idx="20">
                  <c:v>0.2969518190757129</c:v>
                </c:pt>
                <c:pt idx="21">
                  <c:v>0.37136929460580914</c:v>
                </c:pt>
                <c:pt idx="22">
                  <c:v>0.30360721442885774</c:v>
                </c:pt>
                <c:pt idx="23">
                  <c:v>0.28530534351145037</c:v>
                </c:pt>
                <c:pt idx="24">
                  <c:v>0.26325757575757575</c:v>
                </c:pt>
                <c:pt idx="25">
                  <c:v>0.2916666666666667</c:v>
                </c:pt>
                <c:pt idx="26">
                  <c:v>0.308411214953271</c:v>
                </c:pt>
                <c:pt idx="27">
                  <c:v>0.30092983939137785</c:v>
                </c:pt>
                <c:pt idx="28">
                  <c:v>0.26823338735818475</c:v>
                </c:pt>
                <c:pt idx="29">
                  <c:v>0.3149171270718232</c:v>
                </c:pt>
                <c:pt idx="30">
                  <c:v>0.3290441176470588</c:v>
                </c:pt>
                <c:pt idx="31">
                  <c:v>0.3113897596656217</c:v>
                </c:pt>
                <c:pt idx="32">
                  <c:v>0.2783882783882784</c:v>
                </c:pt>
                <c:pt idx="33">
                  <c:v>0.2710765239948119</c:v>
                </c:pt>
                <c:pt idx="34">
                  <c:v>0.3048128342245989</c:v>
                </c:pt>
                <c:pt idx="35">
                  <c:v>0.28862478777589134</c:v>
                </c:pt>
                <c:pt idx="36">
                  <c:v>0.2932330827067669</c:v>
                </c:pt>
                <c:pt idx="37">
                  <c:v>0.29186155285313375</c:v>
                </c:pt>
                <c:pt idx="38">
                  <c:v>0.29979253112033194</c:v>
                </c:pt>
                <c:pt idx="39">
                  <c:v>0.2953682611996963</c:v>
                </c:pt>
                <c:pt idx="40">
                  <c:v>0.29637841832963785</c:v>
                </c:pt>
                <c:pt idx="41">
                  <c:v>0.3026222537207654</c:v>
                </c:pt>
                <c:pt idx="42">
                  <c:v>0.3137931034482759</c:v>
                </c:pt>
                <c:pt idx="43">
                  <c:v>0.28580323785803236</c:v>
                </c:pt>
                <c:pt idx="44">
                  <c:v>0.2723053120165034</c:v>
                </c:pt>
                <c:pt idx="45">
                  <c:v>0.28406121687196717</c:v>
                </c:pt>
                <c:pt idx="46">
                  <c:v>0.3072983354673495</c:v>
                </c:pt>
                <c:pt idx="47">
                  <c:v>0.30445151033386325</c:v>
                </c:pt>
                <c:pt idx="48">
                  <c:v>0.2886379675370501</c:v>
                </c:pt>
                <c:pt idx="49">
                  <c:v>0.2931825129929685</c:v>
                </c:pt>
                <c:pt idx="50">
                  <c:v>0.2897098726779378</c:v>
                </c:pt>
                <c:pt idx="51">
                  <c:v>0.31425233644859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9482493087938126</c:v>
                </c:pt>
              </c:numCache>
            </c:numRef>
          </c:xVal>
          <c:yVal>
            <c:numRef>
              <c:f>Sheet1!$B$163:$B$164</c:f>
              <c:numCache>
                <c:formatCode>General</c:formatCode>
                <c:ptCount val="2"/>
                <c:pt idx="0">
                  <c:v>0.36575681469113164</c:v>
                </c:pt>
                <c:pt idx="1">
                  <c:v>0.3657568146911316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9482493087938126</c:v>
                </c:pt>
                <c:pt idx="1">
                  <c:v>0.09482493087938126</c:v>
                </c:pt>
              </c:numCache>
            </c:numRef>
          </c:xVal>
          <c:yVal>
            <c:numRef>
              <c:f>Sheet1!$B$167:$B$168</c:f>
              <c:numCache>
                <c:formatCode>General</c:formatCode>
                <c:ptCount val="2"/>
                <c:pt idx="0">
                  <c:v>0.3657568146911316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3092626473801</c:v>
                </c:pt>
              </c:numCache>
            </c:numRef>
          </c:xVal>
          <c:yVal>
            <c:numRef>
              <c:f>Sheet1!$B$171:$B$172</c:f>
              <c:numCache>
                <c:formatCode>General</c:formatCode>
                <c:ptCount val="2"/>
                <c:pt idx="0">
                  <c:v>0.3064206868116688</c:v>
                </c:pt>
                <c:pt idx="1">
                  <c:v>0.30642068681166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3092626473801</c:v>
                </c:pt>
                <c:pt idx="1">
                  <c:v>0.873092626473801</c:v>
                </c:pt>
              </c:numCache>
            </c:numRef>
          </c:xVal>
          <c:yVal>
            <c:numRef>
              <c:f>Sheet1!$B$175:$B$176</c:f>
              <c:numCache>
                <c:formatCode>General</c:formatCode>
                <c:ptCount val="2"/>
                <c:pt idx="0">
                  <c:v>0.30642068681166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099098707057212</c:v>
                </c:pt>
              </c:numCache>
            </c:numRef>
          </c:xVal>
          <c:yVal>
            <c:numRef>
              <c:f>Sheet1!$B$179:$B$180</c:f>
              <c:numCache>
                <c:formatCode>General</c:formatCode>
                <c:ptCount val="2"/>
                <c:pt idx="0">
                  <c:v>0.29598956453097275</c:v>
                </c:pt>
                <c:pt idx="1">
                  <c:v>0.295989564530972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099098707057212</c:v>
                </c:pt>
                <c:pt idx="1">
                  <c:v>1.0099098707057212</c:v>
                </c:pt>
              </c:numCache>
            </c:numRef>
          </c:xVal>
          <c:yVal>
            <c:numRef>
              <c:f>Sheet1!$B$183:$B$184</c:f>
              <c:numCache>
                <c:formatCode>General</c:formatCode>
                <c:ptCount val="2"/>
                <c:pt idx="0">
                  <c:v>0.295989564530972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40919540229884</c:v>
                </c:pt>
                <c:pt idx="1">
                  <c:v>0.8174816136289029</c:v>
                </c:pt>
                <c:pt idx="2">
                  <c:v>0.8307767382530086</c:v>
                </c:pt>
                <c:pt idx="3">
                  <c:v>0.8155190874297813</c:v>
                </c:pt>
                <c:pt idx="4">
                  <c:v>0.7946825449975411</c:v>
                </c:pt>
                <c:pt idx="5">
                  <c:v>0.8345746046336886</c:v>
                </c:pt>
                <c:pt idx="6">
                  <c:v>0.8818804557928696</c:v>
                </c:pt>
                <c:pt idx="7">
                  <c:v>0.9398544081364316</c:v>
                </c:pt>
                <c:pt idx="8">
                  <c:v>0.9901233799823843</c:v>
                </c:pt>
                <c:pt idx="9">
                  <c:v>0.9553447797391876</c:v>
                </c:pt>
                <c:pt idx="10">
                  <c:v>0.9637985314355009</c:v>
                </c:pt>
                <c:pt idx="11">
                  <c:v>0.9436708887852339</c:v>
                </c:pt>
                <c:pt idx="12">
                  <c:v>0.9465787295869807</c:v>
                </c:pt>
                <c:pt idx="13">
                  <c:v>0.9258057847044553</c:v>
                </c:pt>
                <c:pt idx="14">
                  <c:v>0.9350217402528888</c:v>
                </c:pt>
                <c:pt idx="15">
                  <c:v>0.9388576451496513</c:v>
                </c:pt>
                <c:pt idx="16">
                  <c:v>0.9878721492151996</c:v>
                </c:pt>
                <c:pt idx="17">
                  <c:v>0.9814982363845611</c:v>
                </c:pt>
                <c:pt idx="18">
                  <c:v>1.0173099154570209</c:v>
                </c:pt>
                <c:pt idx="19">
                  <c:v>0.9322535405587139</c:v>
                </c:pt>
                <c:pt idx="20">
                  <c:v>0.9045851344947526</c:v>
                </c:pt>
                <c:pt idx="21">
                  <c:v>0.725552677616201</c:v>
                </c:pt>
                <c:pt idx="22">
                  <c:v>0.8106968507985248</c:v>
                </c:pt>
                <c:pt idx="23">
                  <c:v>0.9179301497014873</c:v>
                </c:pt>
                <c:pt idx="24">
                  <c:v>0.9778628851787317</c:v>
                </c:pt>
                <c:pt idx="25">
                  <c:v>0.9620532156034822</c:v>
                </c:pt>
                <c:pt idx="26">
                  <c:v>0.9590695392375989</c:v>
                </c:pt>
                <c:pt idx="27">
                  <c:v>0.990806812851152</c:v>
                </c:pt>
                <c:pt idx="28">
                  <c:v>1.0377763887941516</c:v>
                </c:pt>
                <c:pt idx="29">
                  <c:v>1.0091141547921585</c:v>
                </c:pt>
                <c:pt idx="30">
                  <c:v>0.9607430504721737</c:v>
                </c:pt>
                <c:pt idx="31">
                  <c:v>0.9255278973118467</c:v>
                </c:pt>
                <c:pt idx="32">
                  <c:v>0.9735456644875424</c:v>
                </c:pt>
                <c:pt idx="33">
                  <c:v>1.0497240937419248</c:v>
                </c:pt>
                <c:pt idx="34">
                  <c:v>1.0415260533713544</c:v>
                </c:pt>
                <c:pt idx="35">
                  <c:v>1.008256338713441</c:v>
                </c:pt>
                <c:pt idx="36">
                  <c:v>0.953485204951441</c:v>
                </c:pt>
                <c:pt idx="37">
                  <c:v>0.8998862544808885</c:v>
                </c:pt>
                <c:pt idx="38">
                  <c:v>0.9414117133504537</c:v>
                </c:pt>
                <c:pt idx="39">
                  <c:v>1.0008080900737597</c:v>
                </c:pt>
                <c:pt idx="40">
                  <c:v>1.0117293032636403</c:v>
                </c:pt>
                <c:pt idx="41">
                  <c:v>1.0282644587789627</c:v>
                </c:pt>
                <c:pt idx="42">
                  <c:v>0.9879835694052784</c:v>
                </c:pt>
                <c:pt idx="43">
                  <c:v>1.081332741545557</c:v>
                </c:pt>
                <c:pt idx="44">
                  <c:v>1.1542757654279676</c:v>
                </c:pt>
                <c:pt idx="45">
                  <c:v>1.1503082040196893</c:v>
                </c:pt>
                <c:pt idx="46">
                  <c:v>1.113351407374443</c:v>
                </c:pt>
                <c:pt idx="47">
                  <c:v>1.0998884674620582</c:v>
                </c:pt>
                <c:pt idx="48">
                  <c:v>1.1554649618033992</c:v>
                </c:pt>
                <c:pt idx="49">
                  <c:v>1.1872317575377493</c:v>
                </c:pt>
                <c:pt idx="50">
                  <c:v>1.1018220860833043</c:v>
                </c:pt>
                <c:pt idx="51">
                  <c:v>1.095156637106426</c:v>
                </c:pt>
                <c:pt idx="52">
                  <c:v>0.873092626473801</c:v>
                </c:pt>
                <c:pt idx="53">
                  <c:v>0.09482493087938126</c:v>
                </c:pt>
                <c:pt idx="54">
                  <c:v>1.0099098707057212</c:v>
                </c:pt>
              </c:numCache>
            </c:numRef>
          </c:xVal>
          <c:yVal>
            <c:numRef>
              <c:f>Sheet1!$B$187:$B$241</c:f>
              <c:numCache>
                <c:formatCode>General</c:formatCode>
                <c:ptCount val="55"/>
                <c:pt idx="0">
                  <c:v>0.31015656096291494</c:v>
                </c:pt>
                <c:pt idx="1">
                  <c:v>0.3106605417977492</c:v>
                </c:pt>
                <c:pt idx="2">
                  <c:v>0.3096469044344936</c:v>
                </c:pt>
                <c:pt idx="3">
                  <c:v>0.3108101673137215</c:v>
                </c:pt>
                <c:pt idx="4">
                  <c:v>0.31239877204872973</c:v>
                </c:pt>
                <c:pt idx="5">
                  <c:v>0.3093573502277486</c:v>
                </c:pt>
                <c:pt idx="6">
                  <c:v>0.30575069142677636</c:v>
                </c:pt>
                <c:pt idx="7">
                  <c:v>0.3013306829009077</c:v>
                </c:pt>
                <c:pt idx="8">
                  <c:v>0.29749811197614073</c:v>
                </c:pt>
                <c:pt idx="9">
                  <c:v>0.30014967709079304</c:v>
                </c:pt>
                <c:pt idx="10">
                  <c:v>0.29950515221258833</c:v>
                </c:pt>
                <c:pt idx="11">
                  <c:v>0.3010397095184729</c:v>
                </c:pt>
                <c:pt idx="12">
                  <c:v>0.30081801200405434</c:v>
                </c:pt>
                <c:pt idx="13">
                  <c:v>0.30240176798025625</c:v>
                </c:pt>
                <c:pt idx="14">
                  <c:v>0.3016991317022136</c:v>
                </c:pt>
                <c:pt idx="15">
                  <c:v>0.3014066773901868</c:v>
                </c:pt>
                <c:pt idx="16">
                  <c:v>0.2976697486988828</c:v>
                </c:pt>
                <c:pt idx="17">
                  <c:v>0.2981557039928674</c:v>
                </c:pt>
                <c:pt idx="18">
                  <c:v>0.2954253756225002</c:v>
                </c:pt>
                <c:pt idx="19">
                  <c:v>0.30191018279938653</c:v>
                </c:pt>
                <c:pt idx="20">
                  <c:v>0.3040196575851518</c:v>
                </c:pt>
                <c:pt idx="21">
                  <c:v>0.3176693218536996</c:v>
                </c:pt>
                <c:pt idx="22">
                  <c:v>0.31117782082296647</c:v>
                </c:pt>
                <c:pt idx="23">
                  <c:v>0.303002216499851</c:v>
                </c:pt>
                <c:pt idx="24">
                  <c:v>0.2984328678341227</c:v>
                </c:pt>
                <c:pt idx="25">
                  <c:v>0.29963821733142204</c:v>
                </c:pt>
                <c:pt idx="26">
                  <c:v>0.2998656966465718</c:v>
                </c:pt>
                <c:pt idx="27">
                  <c:v>0.29744600617716205</c:v>
                </c:pt>
                <c:pt idx="28">
                  <c:v>0.29386498543022055</c:v>
                </c:pt>
                <c:pt idx="29">
                  <c:v>0.2960502309333818</c:v>
                </c:pt>
                <c:pt idx="30">
                  <c:v>0.29973810600239553</c:v>
                </c:pt>
                <c:pt idx="31">
                  <c:v>0.3024229544716875</c:v>
                </c:pt>
                <c:pt idx="32">
                  <c:v>0.2987620182799993</c:v>
                </c:pt>
                <c:pt idx="33">
                  <c:v>0.2929540770722606</c:v>
                </c:pt>
                <c:pt idx="34">
                  <c:v>0.293579106190831</c:v>
                </c:pt>
                <c:pt idx="35">
                  <c:v>0.2961156319320767</c:v>
                </c:pt>
                <c:pt idx="36">
                  <c:v>0.3002914534590424</c:v>
                </c:pt>
                <c:pt idx="37">
                  <c:v>0.30437790622758065</c:v>
                </c:pt>
                <c:pt idx="38">
                  <c:v>0.30121195195286804</c:v>
                </c:pt>
                <c:pt idx="39">
                  <c:v>0.2966834959668605</c:v>
                </c:pt>
                <c:pt idx="40">
                  <c:v>0.29585084865784084</c:v>
                </c:pt>
                <c:pt idx="41">
                  <c:v>0.2945901871814389</c:v>
                </c:pt>
                <c:pt idx="42">
                  <c:v>0.29766125388060327</c:v>
                </c:pt>
                <c:pt idx="43">
                  <c:v>0.2905441931996675</c:v>
                </c:pt>
                <c:pt idx="44">
                  <c:v>0.2849829234495519</c:v>
                </c:pt>
                <c:pt idx="45">
                  <c:v>0.28528541542297425</c:v>
                </c:pt>
                <c:pt idx="46">
                  <c:v>0.28810304902664424</c:v>
                </c:pt>
                <c:pt idx="47">
                  <c:v>0.2891294808428391</c:v>
                </c:pt>
                <c:pt idx="48">
                  <c:v>0.28489225759176817</c:v>
                </c:pt>
                <c:pt idx="49">
                  <c:v>0.28247031631798253</c:v>
                </c:pt>
                <c:pt idx="50">
                  <c:v>0.28898205927770176</c:v>
                </c:pt>
                <c:pt idx="51">
                  <c:v>0.2894902416616102</c:v>
                </c:pt>
                <c:pt idx="52">
                  <c:v>0.3064206868116688</c:v>
                </c:pt>
                <c:pt idx="53">
                  <c:v>0.36575681469113164</c:v>
                </c:pt>
                <c:pt idx="54">
                  <c:v>0.295989564530972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90285714285714"/>
          <c:min val="0.21060606060606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3.1765</c:v>
                </c:pt>
                <c:pt idx="1">
                  <c:v>1007.7891</c:v>
                </c:pt>
                <c:pt idx="2">
                  <c:v>1039.2726</c:v>
                </c:pt>
                <c:pt idx="3">
                  <c:v>1056.1547</c:v>
                </c:pt>
                <c:pt idx="4">
                  <c:v>1050.4831</c:v>
                </c:pt>
                <c:pt idx="5">
                  <c:v>1039.3101</c:v>
                </c:pt>
                <c:pt idx="6">
                  <c:v>972.6361</c:v>
                </c:pt>
                <c:pt idx="7">
                  <c:v>998.0969</c:v>
                </c:pt>
                <c:pt idx="8">
                  <c:v>981.3059</c:v>
                </c:pt>
                <c:pt idx="9">
                  <c:v>996.4833</c:v>
                </c:pt>
                <c:pt idx="10">
                  <c:v>978.0411</c:v>
                </c:pt>
                <c:pt idx="11">
                  <c:v>1036.7491</c:v>
                </c:pt>
                <c:pt idx="12">
                  <c:v>1031.4176</c:v>
                </c:pt>
                <c:pt idx="13">
                  <c:v>1029.4562</c:v>
                </c:pt>
                <c:pt idx="14">
                  <c:v>1045.0431</c:v>
                </c:pt>
                <c:pt idx="15">
                  <c:v>1076.6347</c:v>
                </c:pt>
                <c:pt idx="16">
                  <c:v>1108.1544</c:v>
                </c:pt>
                <c:pt idx="17">
                  <c:v>1144.233</c:v>
                </c:pt>
                <c:pt idx="18">
                  <c:v>1178.7976</c:v>
                </c:pt>
                <c:pt idx="19">
                  <c:v>1117.8333</c:v>
                </c:pt>
                <c:pt idx="20">
                  <c:v>1186.7373</c:v>
                </c:pt>
                <c:pt idx="21">
                  <c:v>1197.7267</c:v>
                </c:pt>
                <c:pt idx="22">
                  <c:v>1148.1784</c:v>
                </c:pt>
                <c:pt idx="23">
                  <c:v>1129.6143</c:v>
                </c:pt>
                <c:pt idx="24">
                  <c:v>1141.0493</c:v>
                </c:pt>
                <c:pt idx="25">
                  <c:v>1106.6235</c:v>
                </c:pt>
                <c:pt idx="26">
                  <c:v>1093.6736</c:v>
                </c:pt>
                <c:pt idx="27">
                  <c:v>1093.8949</c:v>
                </c:pt>
                <c:pt idx="28">
                  <c:v>1080.2331</c:v>
                </c:pt>
                <c:pt idx="29">
                  <c:v>1066.7391</c:v>
                </c:pt>
                <c:pt idx="30">
                  <c:v>1093.3064</c:v>
                </c:pt>
                <c:pt idx="31">
                  <c:v>1036.1508</c:v>
                </c:pt>
                <c:pt idx="32">
                  <c:v>1042.6667</c:v>
                </c:pt>
                <c:pt idx="33">
                  <c:v>896.8845</c:v>
                </c:pt>
                <c:pt idx="34">
                  <c:v>978.4287</c:v>
                </c:pt>
                <c:pt idx="35">
                  <c:v>1015.1396</c:v>
                </c:pt>
                <c:pt idx="36">
                  <c:v>1020.3342</c:v>
                </c:pt>
                <c:pt idx="37">
                  <c:v>1035.7569</c:v>
                </c:pt>
                <c:pt idx="38">
                  <c:v>1133.5299</c:v>
                </c:pt>
                <c:pt idx="39">
                  <c:v>1184.1963</c:v>
                </c:pt>
                <c:pt idx="40">
                  <c:v>1174.2559</c:v>
                </c:pt>
                <c:pt idx="41">
                  <c:v>1207.5603</c:v>
                </c:pt>
                <c:pt idx="42">
                  <c:v>1283.8752</c:v>
                </c:pt>
                <c:pt idx="43">
                  <c:v>1314.1426</c:v>
                </c:pt>
                <c:pt idx="44">
                  <c:v>1285.1342</c:v>
                </c:pt>
                <c:pt idx="45">
                  <c:v>1243.2508</c:v>
                </c:pt>
                <c:pt idx="46">
                  <c:v>1213.9271</c:v>
                </c:pt>
                <c:pt idx="47">
                  <c:v>1207.6218</c:v>
                </c:pt>
                <c:pt idx="48">
                  <c:v>1216.0968</c:v>
                </c:pt>
                <c:pt idx="49">
                  <c:v>1193.0169</c:v>
                </c:pt>
                <c:pt idx="50">
                  <c:v>1183.4511</c:v>
                </c:pt>
                <c:pt idx="51">
                  <c:v>1236.8435</c:v>
                </c:pt>
                <c:pt idx="52">
                  <c:v>1226.0462</c:v>
                </c:pt>
                <c:pt idx="53">
                  <c:v>1287.5502</c:v>
                </c:pt>
                <c:pt idx="54">
                  <c:v>1282.6909</c:v>
                </c:pt>
                <c:pt idx="55">
                  <c:v>1291.9273</c:v>
                </c:pt>
                <c:pt idx="56">
                  <c:v>1294.9871</c:v>
                </c:pt>
                <c:pt idx="57">
                  <c:v>1265.5377</c:v>
                </c:pt>
                <c:pt idx="58">
                  <c:v>1222.8057</c:v>
                </c:pt>
                <c:pt idx="59">
                  <c:v>1256.542</c:v>
                </c:pt>
                <c:pt idx="60">
                  <c:v>1262.6823</c:v>
                </c:pt>
                <c:pt idx="61">
                  <c:v>1247.9244</c:v>
                </c:pt>
                <c:pt idx="62">
                  <c:v>1226.4856</c:v>
                </c:pt>
                <c:pt idx="63">
                  <c:v>1252.4936</c:v>
                </c:pt>
                <c:pt idx="64">
                  <c:v>1231.9258</c:v>
                </c:pt>
                <c:pt idx="65">
                  <c:v>1210.6613</c:v>
                </c:pt>
                <c:pt idx="66">
                  <c:v>1201.5724</c:v>
                </c:pt>
                <c:pt idx="67">
                  <c:v>1224.1892</c:v>
                </c:pt>
                <c:pt idx="68">
                  <c:v>1260.4362</c:v>
                </c:pt>
                <c:pt idx="69">
                  <c:v>1270.1836</c:v>
                </c:pt>
                <c:pt idx="70">
                  <c:v>1184.9654</c:v>
                </c:pt>
                <c:pt idx="71">
                  <c:v>1289.8543</c:v>
                </c:pt>
                <c:pt idx="72">
                  <c:v>1512.3807</c:v>
                </c:pt>
                <c:pt idx="73">
                  <c:v>1373.9097</c:v>
                </c:pt>
                <c:pt idx="74">
                  <c:v>1386.9226</c:v>
                </c:pt>
                <c:pt idx="75">
                  <c:v>1196.8998</c:v>
                </c:pt>
                <c:pt idx="76">
                  <c:v>1160.6417</c:v>
                </c:pt>
                <c:pt idx="77">
                  <c:v>1128.5131</c:v>
                </c:pt>
                <c:pt idx="78">
                  <c:v>1353.5212</c:v>
                </c:pt>
                <c:pt idx="79">
                  <c:v>1176.9464</c:v>
                </c:pt>
                <c:pt idx="80">
                  <c:v>1318.8</c:v>
                </c:pt>
                <c:pt idx="81">
                  <c:v>1323.2687</c:v>
                </c:pt>
                <c:pt idx="82">
                  <c:v>1298.9342</c:v>
                </c:pt>
                <c:pt idx="83">
                  <c:v>1253.0224</c:v>
                </c:pt>
                <c:pt idx="84">
                  <c:v>1296.6773</c:v>
                </c:pt>
                <c:pt idx="85">
                  <c:v>1301.7967</c:v>
                </c:pt>
                <c:pt idx="86">
                  <c:v>1266.5533</c:v>
                </c:pt>
                <c:pt idx="87">
                  <c:v>1263.6676</c:v>
                </c:pt>
                <c:pt idx="88">
                  <c:v>1322.9298</c:v>
                </c:pt>
                <c:pt idx="89">
                  <c:v>1277.7367</c:v>
                </c:pt>
                <c:pt idx="90">
                  <c:v>1336.5401</c:v>
                </c:pt>
                <c:pt idx="91">
                  <c:v>1386.5206</c:v>
                </c:pt>
                <c:pt idx="92">
                  <c:v>1330.4593</c:v>
                </c:pt>
                <c:pt idx="93">
                  <c:v>1383.7146</c:v>
                </c:pt>
                <c:pt idx="94">
                  <c:v>1392.3587</c:v>
                </c:pt>
                <c:pt idx="95">
                  <c:v>1410.3723</c:v>
                </c:pt>
                <c:pt idx="96">
                  <c:v>1351.2918</c:v>
                </c:pt>
                <c:pt idx="97">
                  <c:v>1330.7969</c:v>
                </c:pt>
                <c:pt idx="98">
                  <c:v>1295.2448</c:v>
                </c:pt>
                <c:pt idx="99">
                  <c:v>1257.6525</c:v>
                </c:pt>
                <c:pt idx="100">
                  <c:v>1252.1934</c:v>
                </c:pt>
                <c:pt idx="101">
                  <c:v>1243.7586</c:v>
                </c:pt>
                <c:pt idx="102">
                  <c:v>1271.1667</c:v>
                </c:pt>
                <c:pt idx="103">
                  <c:v>1249.1304</c:v>
                </c:pt>
                <c:pt idx="104">
                  <c:v>1317.1711</c:v>
                </c:pt>
              </c:numCache>
            </c:numRef>
          </c:xVal>
          <c:yVal>
            <c:numRef>
              <c:f>Sheet1!$B$2:$B$106</c:f>
              <c:numCache>
                <c:formatCode>General</c:formatCode>
                <c:ptCount val="105"/>
                <c:pt idx="0">
                  <c:v>0.30859835100117783</c:v>
                </c:pt>
                <c:pt idx="1">
                  <c:v>0.3329857490441432</c:v>
                </c:pt>
                <c:pt idx="2">
                  <c:v>0.341024770953512</c:v>
                </c:pt>
                <c:pt idx="3">
                  <c:v>0.3513318934485241</c:v>
                </c:pt>
                <c:pt idx="4">
                  <c:v>0.3512658227848101</c:v>
                </c:pt>
                <c:pt idx="5">
                  <c:v>0.33796296296296297</c:v>
                </c:pt>
                <c:pt idx="6">
                  <c:v>0.3574774774774775</c:v>
                </c:pt>
                <c:pt idx="7">
                  <c:v>0.3692434210526316</c:v>
                </c:pt>
                <c:pt idx="8">
                  <c:v>0.38435228730226595</c:v>
                </c:pt>
                <c:pt idx="9">
                  <c:v>0.3632887189292543</c:v>
                </c:pt>
                <c:pt idx="10">
                  <c:v>0.34970059880239523</c:v>
                </c:pt>
                <c:pt idx="11">
                  <c:v>0.3315674665004674</c:v>
                </c:pt>
                <c:pt idx="12">
                  <c:v>0.3203994293865906</c:v>
                </c:pt>
                <c:pt idx="13">
                  <c:v>0.31703789412785655</c:v>
                </c:pt>
                <c:pt idx="14">
                  <c:v>0.3216761184625079</c:v>
                </c:pt>
                <c:pt idx="15">
                  <c:v>0.3128246104674391</c:v>
                </c:pt>
                <c:pt idx="16">
                  <c:v>0.29620622568093385</c:v>
                </c:pt>
                <c:pt idx="17">
                  <c:v>0.2984737139626908</c:v>
                </c:pt>
                <c:pt idx="18">
                  <c:v>0.2845528455284553</c:v>
                </c:pt>
                <c:pt idx="19">
                  <c:v>0.3085966201322557</c:v>
                </c:pt>
                <c:pt idx="20">
                  <c:v>0.30612244897959184</c:v>
                </c:pt>
                <c:pt idx="21">
                  <c:v>0.3631100082712986</c:v>
                </c:pt>
                <c:pt idx="22">
                  <c:v>0.3620414673046252</c:v>
                </c:pt>
                <c:pt idx="23">
                  <c:v>0.35520918785890077</c:v>
                </c:pt>
                <c:pt idx="24">
                  <c:v>0.3521870286576169</c:v>
                </c:pt>
                <c:pt idx="25">
                  <c:v>0.3562447611064543</c:v>
                </c:pt>
                <c:pt idx="26">
                  <c:v>0.36904761904761907</c:v>
                </c:pt>
                <c:pt idx="27">
                  <c:v>0.34688156972669937</c:v>
                </c:pt>
                <c:pt idx="28">
                  <c:v>0.3676572218382861</c:v>
                </c:pt>
                <c:pt idx="29">
                  <c:v>0.3705848291835553</c:v>
                </c:pt>
                <c:pt idx="30">
                  <c:v>0.36870229007633587</c:v>
                </c:pt>
                <c:pt idx="31">
                  <c:v>0.3648867313915858</c:v>
                </c:pt>
                <c:pt idx="32">
                  <c:v>0.38702111024237684</c:v>
                </c:pt>
                <c:pt idx="33">
                  <c:v>0.39085714285714285</c:v>
                </c:pt>
                <c:pt idx="34">
                  <c:v>0.36351763169351325</c:v>
                </c:pt>
                <c:pt idx="35">
                  <c:v>0.36013864818024266</c:v>
                </c:pt>
                <c:pt idx="36">
                  <c:v>0.3617533718689788</c:v>
                </c:pt>
                <c:pt idx="37">
                  <c:v>0.3535816618911175</c:v>
                </c:pt>
                <c:pt idx="38">
                  <c:v>0.3263795423956931</c:v>
                </c:pt>
                <c:pt idx="39">
                  <c:v>0.30736842105263157</c:v>
                </c:pt>
                <c:pt idx="40">
                  <c:v>0.3264218009478673</c:v>
                </c:pt>
                <c:pt idx="41">
                  <c:v>0.35157318741450067</c:v>
                </c:pt>
                <c:pt idx="42">
                  <c:v>0.34780125642490006</c:v>
                </c:pt>
                <c:pt idx="43">
                  <c:v>0.3492063492063492</c:v>
                </c:pt>
                <c:pt idx="44">
                  <c:v>0.28996566196108353</c:v>
                </c:pt>
                <c:pt idx="45">
                  <c:v>0.30390600190536676</c:v>
                </c:pt>
                <c:pt idx="46">
                  <c:v>0.3045829775120979</c:v>
                </c:pt>
                <c:pt idx="47">
                  <c:v>0.29301075268817206</c:v>
                </c:pt>
                <c:pt idx="48">
                  <c:v>0.29035068612502724</c:v>
                </c:pt>
                <c:pt idx="49">
                  <c:v>0.27346709695524063</c:v>
                </c:pt>
                <c:pt idx="50">
                  <c:v>0.2884167636786962</c:v>
                </c:pt>
                <c:pt idx="51">
                  <c:v>0.2830112721417069</c:v>
                </c:pt>
                <c:pt idx="52">
                  <c:v>0.27760891590678827</c:v>
                </c:pt>
                <c:pt idx="53">
                  <c:v>0.2828890799656062</c:v>
                </c:pt>
                <c:pt idx="54">
                  <c:v>0.3015952143569292</c:v>
                </c:pt>
                <c:pt idx="55">
                  <c:v>0.30009920634920634</c:v>
                </c:pt>
                <c:pt idx="56">
                  <c:v>0.29903846153846153</c:v>
                </c:pt>
                <c:pt idx="57">
                  <c:v>0.28243300723096554</c:v>
                </c:pt>
                <c:pt idx="58">
                  <c:v>0.2963350785340314</c:v>
                </c:pt>
                <c:pt idx="59">
                  <c:v>0.27113010446343777</c:v>
                </c:pt>
                <c:pt idx="60">
                  <c:v>0.290414878397711</c:v>
                </c:pt>
                <c:pt idx="61">
                  <c:v>0.29633084577114427</c:v>
                </c:pt>
                <c:pt idx="62">
                  <c:v>0.27869727709556863</c:v>
                </c:pt>
                <c:pt idx="63">
                  <c:v>0.2633213859020311</c:v>
                </c:pt>
                <c:pt idx="64">
                  <c:v>0.2663755458515284</c:v>
                </c:pt>
                <c:pt idx="65">
                  <c:v>0.2740331491712707</c:v>
                </c:pt>
                <c:pt idx="66">
                  <c:v>0.2967684553809665</c:v>
                </c:pt>
                <c:pt idx="67">
                  <c:v>0.29462508294625084</c:v>
                </c:pt>
                <c:pt idx="68">
                  <c:v>0.2768336314847943</c:v>
                </c:pt>
                <c:pt idx="69">
                  <c:v>0.2731117824773414</c:v>
                </c:pt>
                <c:pt idx="70">
                  <c:v>0.29233511586452765</c:v>
                </c:pt>
                <c:pt idx="71">
                  <c:v>0.31636863823933975</c:v>
                </c:pt>
                <c:pt idx="72">
                  <c:v>0.2920478536242083</c:v>
                </c:pt>
                <c:pt idx="73">
                  <c:v>0.3116883116883117</c:v>
                </c:pt>
                <c:pt idx="74">
                  <c:v>0.3023415977961432</c:v>
                </c:pt>
                <c:pt idx="75">
                  <c:v>0.36232980332829046</c:v>
                </c:pt>
                <c:pt idx="76">
                  <c:v>0.36658354114713215</c:v>
                </c:pt>
                <c:pt idx="77">
                  <c:v>0.3598290598290598</c:v>
                </c:pt>
                <c:pt idx="78">
                  <c:v>0.3390970220941403</c:v>
                </c:pt>
                <c:pt idx="79">
                  <c:v>0.345679012345679</c:v>
                </c:pt>
                <c:pt idx="80">
                  <c:v>0.3253424657534247</c:v>
                </c:pt>
                <c:pt idx="81">
                  <c:v>0.3321529745042493</c:v>
                </c:pt>
                <c:pt idx="82">
                  <c:v>0.3377777777777778</c:v>
                </c:pt>
                <c:pt idx="83">
                  <c:v>0.34700665188470065</c:v>
                </c:pt>
                <c:pt idx="84">
                  <c:v>0.3336886993603412</c:v>
                </c:pt>
                <c:pt idx="85">
                  <c:v>0.33899905571293676</c:v>
                </c:pt>
                <c:pt idx="86">
                  <c:v>0.3653483992467043</c:v>
                </c:pt>
                <c:pt idx="87">
                  <c:v>0.37566137566137564</c:v>
                </c:pt>
                <c:pt idx="88">
                  <c:v>0.3853503184713376</c:v>
                </c:pt>
                <c:pt idx="89">
                  <c:v>0.3905660377358491</c:v>
                </c:pt>
                <c:pt idx="90">
                  <c:v>0.3827893175074184</c:v>
                </c:pt>
                <c:pt idx="91">
                  <c:v>0.3695652173913043</c:v>
                </c:pt>
                <c:pt idx="92">
                  <c:v>0.35303514376996803</c:v>
                </c:pt>
                <c:pt idx="93">
                  <c:v>0.3188291139240506</c:v>
                </c:pt>
                <c:pt idx="94">
                  <c:v>0.34288121314237574</c:v>
                </c:pt>
                <c:pt idx="95">
                  <c:v>0.32620011567379986</c:v>
                </c:pt>
                <c:pt idx="96">
                  <c:v>0.30723905723905726</c:v>
                </c:pt>
                <c:pt idx="97">
                  <c:v>0.28172332547963647</c:v>
                </c:pt>
                <c:pt idx="98">
                  <c:v>0.2830985915492958</c:v>
                </c:pt>
                <c:pt idx="99">
                  <c:v>0.2910089224433768</c:v>
                </c:pt>
                <c:pt idx="100">
                  <c:v>0.29144057412917906</c:v>
                </c:pt>
                <c:pt idx="101">
                  <c:v>0.3195843828715365</c:v>
                </c:pt>
                <c:pt idx="102">
                  <c:v>0.31549028896257697</c:v>
                </c:pt>
                <c:pt idx="103">
                  <c:v>0.306432281262485</c:v>
                </c:pt>
                <c:pt idx="104">
                  <c:v>0.31088335773548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8.3102</c:v>
                </c:pt>
                <c:pt idx="1">
                  <c:v>1371.3971</c:v>
                </c:pt>
                <c:pt idx="2">
                  <c:v>1384.9501</c:v>
                </c:pt>
                <c:pt idx="3">
                  <c:v>1421.2622</c:v>
                </c:pt>
                <c:pt idx="4">
                  <c:v>1381.2514</c:v>
                </c:pt>
                <c:pt idx="5">
                  <c:v>1447.0306</c:v>
                </c:pt>
                <c:pt idx="6">
                  <c:v>1350.3701</c:v>
                </c:pt>
                <c:pt idx="7">
                  <c:v>1337.9601</c:v>
                </c:pt>
                <c:pt idx="8">
                  <c:v>1416.4111</c:v>
                </c:pt>
                <c:pt idx="9">
                  <c:v>1386.3053</c:v>
                </c:pt>
                <c:pt idx="10">
                  <c:v>1367.7397</c:v>
                </c:pt>
                <c:pt idx="11">
                  <c:v>1300.6513</c:v>
                </c:pt>
                <c:pt idx="12">
                  <c:v>1310.8014</c:v>
                </c:pt>
                <c:pt idx="13">
                  <c:v>1326.8555</c:v>
                </c:pt>
                <c:pt idx="14">
                  <c:v>1331.0142</c:v>
                </c:pt>
                <c:pt idx="15">
                  <c:v>1364.2624</c:v>
                </c:pt>
                <c:pt idx="16">
                  <c:v>1411.311</c:v>
                </c:pt>
                <c:pt idx="17">
                  <c:v>1336.0525</c:v>
                </c:pt>
                <c:pt idx="18">
                  <c:v>1201.5482</c:v>
                </c:pt>
                <c:pt idx="19">
                  <c:v>1380.472</c:v>
                </c:pt>
                <c:pt idx="20">
                  <c:v>1482.6258</c:v>
                </c:pt>
                <c:pt idx="21">
                  <c:v>1160.567</c:v>
                </c:pt>
                <c:pt idx="22">
                  <c:v>1304.0495</c:v>
                </c:pt>
                <c:pt idx="23">
                  <c:v>1459.893</c:v>
                </c:pt>
                <c:pt idx="24">
                  <c:v>1533.3201</c:v>
                </c:pt>
                <c:pt idx="25">
                  <c:v>1385.6591</c:v>
                </c:pt>
                <c:pt idx="26">
                  <c:v>1406.6273</c:v>
                </c:pt>
                <c:pt idx="27">
                  <c:v>1400.7781</c:v>
                </c:pt>
                <c:pt idx="28">
                  <c:v>1471.2175</c:v>
                </c:pt>
                <c:pt idx="29">
                  <c:v>1489.8187</c:v>
                </c:pt>
                <c:pt idx="30">
                  <c:v>1402.3827</c:v>
                </c:pt>
                <c:pt idx="31">
                  <c:v>1286.6376</c:v>
                </c:pt>
                <c:pt idx="32">
                  <c:v>1393.3553</c:v>
                </c:pt>
                <c:pt idx="33">
                  <c:v>1523.7775</c:v>
                </c:pt>
                <c:pt idx="34">
                  <c:v>1519.8596</c:v>
                </c:pt>
                <c:pt idx="35">
                  <c:v>1502.8216</c:v>
                </c:pt>
                <c:pt idx="36">
                  <c:v>1553.5861</c:v>
                </c:pt>
                <c:pt idx="37">
                  <c:v>1505.8558</c:v>
                </c:pt>
                <c:pt idx="38">
                  <c:v>1516.9689</c:v>
                </c:pt>
                <c:pt idx="39">
                  <c:v>1505.6272</c:v>
                </c:pt>
                <c:pt idx="40">
                  <c:v>1490.6858</c:v>
                </c:pt>
                <c:pt idx="41">
                  <c:v>1564.2834</c:v>
                </c:pt>
                <c:pt idx="42">
                  <c:v>1561.3544</c:v>
                </c:pt>
                <c:pt idx="43">
                  <c:v>1536.3355</c:v>
                </c:pt>
                <c:pt idx="44">
                  <c:v>1460.8693</c:v>
                </c:pt>
                <c:pt idx="45">
                  <c:v>1464.7017</c:v>
                </c:pt>
                <c:pt idx="46">
                  <c:v>1426.0278</c:v>
                </c:pt>
                <c:pt idx="47">
                  <c:v>1376.3825</c:v>
                </c:pt>
                <c:pt idx="48">
                  <c:v>1333.4254</c:v>
                </c:pt>
                <c:pt idx="49">
                  <c:v>1382.7268</c:v>
                </c:pt>
                <c:pt idx="50">
                  <c:v>1325.8732</c:v>
                </c:pt>
                <c:pt idx="51">
                  <c:v>1243.7361</c:v>
                </c:pt>
              </c:numCache>
            </c:numRef>
          </c:xVal>
          <c:yVal>
            <c:numRef>
              <c:f>Sheet1!$B$109:$B$160</c:f>
              <c:numCache>
                <c:formatCode>General</c:formatCode>
                <c:ptCount val="52"/>
                <c:pt idx="0">
                  <c:v>0.32187645146307475</c:v>
                </c:pt>
                <c:pt idx="1">
                  <c:v>0.30357142857142855</c:v>
                </c:pt>
                <c:pt idx="2">
                  <c:v>0.29553119730185495</c:v>
                </c:pt>
                <c:pt idx="3">
                  <c:v>0.2965931863727455</c:v>
                </c:pt>
                <c:pt idx="4">
                  <c:v>0.3148636763412489</c:v>
                </c:pt>
                <c:pt idx="5">
                  <c:v>0.2991765782250686</c:v>
                </c:pt>
                <c:pt idx="6">
                  <c:v>0.3151862464183381</c:v>
                </c:pt>
                <c:pt idx="7">
                  <c:v>0.30973871733966746</c:v>
                </c:pt>
                <c:pt idx="8">
                  <c:v>0.3012486992715921</c:v>
                </c:pt>
                <c:pt idx="9">
                  <c:v>0.3000458085203848</c:v>
                </c:pt>
                <c:pt idx="10">
                  <c:v>0.31050616758826033</c:v>
                </c:pt>
                <c:pt idx="11">
                  <c:v>0.2874768661320173</c:v>
                </c:pt>
                <c:pt idx="12">
                  <c:v>0.2834242837653479</c:v>
                </c:pt>
                <c:pt idx="13">
                  <c:v>0.31003861003861005</c:v>
                </c:pt>
                <c:pt idx="14">
                  <c:v>0.30782684739833843</c:v>
                </c:pt>
                <c:pt idx="15">
                  <c:v>0.2862944162436548</c:v>
                </c:pt>
                <c:pt idx="16">
                  <c:v>0.28435114503816794</c:v>
                </c:pt>
                <c:pt idx="17">
                  <c:v>0.29475100942126514</c:v>
                </c:pt>
                <c:pt idx="18">
                  <c:v>0.3016323633782825</c:v>
                </c:pt>
                <c:pt idx="19">
                  <c:v>0.30220588235294116</c:v>
                </c:pt>
                <c:pt idx="20">
                  <c:v>0.2969518190757129</c:v>
                </c:pt>
                <c:pt idx="21">
                  <c:v>0.37136929460580914</c:v>
                </c:pt>
                <c:pt idx="22">
                  <c:v>0.30360721442885774</c:v>
                </c:pt>
                <c:pt idx="23">
                  <c:v>0.28530534351145037</c:v>
                </c:pt>
                <c:pt idx="24">
                  <c:v>0.26325757575757575</c:v>
                </c:pt>
                <c:pt idx="25">
                  <c:v>0.2916666666666667</c:v>
                </c:pt>
                <c:pt idx="26">
                  <c:v>0.308411214953271</c:v>
                </c:pt>
                <c:pt idx="27">
                  <c:v>0.30092983939137785</c:v>
                </c:pt>
                <c:pt idx="28">
                  <c:v>0.26823338735818475</c:v>
                </c:pt>
                <c:pt idx="29">
                  <c:v>0.3149171270718232</c:v>
                </c:pt>
                <c:pt idx="30">
                  <c:v>0.3290441176470588</c:v>
                </c:pt>
                <c:pt idx="31">
                  <c:v>0.3113897596656217</c:v>
                </c:pt>
                <c:pt idx="32">
                  <c:v>0.2783882783882784</c:v>
                </c:pt>
                <c:pt idx="33">
                  <c:v>0.2710765239948119</c:v>
                </c:pt>
                <c:pt idx="34">
                  <c:v>0.3048128342245989</c:v>
                </c:pt>
                <c:pt idx="35">
                  <c:v>0.28862478777589134</c:v>
                </c:pt>
                <c:pt idx="36">
                  <c:v>0.2932330827067669</c:v>
                </c:pt>
                <c:pt idx="37">
                  <c:v>0.29186155285313375</c:v>
                </c:pt>
                <c:pt idx="38">
                  <c:v>0.29979253112033194</c:v>
                </c:pt>
                <c:pt idx="39">
                  <c:v>0.2953682611996963</c:v>
                </c:pt>
                <c:pt idx="40">
                  <c:v>0.29637841832963785</c:v>
                </c:pt>
                <c:pt idx="41">
                  <c:v>0.3026222537207654</c:v>
                </c:pt>
                <c:pt idx="42">
                  <c:v>0.3137931034482759</c:v>
                </c:pt>
                <c:pt idx="43">
                  <c:v>0.28580323785803236</c:v>
                </c:pt>
                <c:pt idx="44">
                  <c:v>0.2723053120165034</c:v>
                </c:pt>
                <c:pt idx="45">
                  <c:v>0.28406121687196717</c:v>
                </c:pt>
                <c:pt idx="46">
                  <c:v>0.3072983354673495</c:v>
                </c:pt>
                <c:pt idx="47">
                  <c:v>0.30445151033386325</c:v>
                </c:pt>
                <c:pt idx="48">
                  <c:v>0.2886379675370501</c:v>
                </c:pt>
                <c:pt idx="49">
                  <c:v>0.2931825129929685</c:v>
                </c:pt>
                <c:pt idx="50">
                  <c:v>0.2897098726779378</c:v>
                </c:pt>
                <c:pt idx="51">
                  <c:v>0.31425233644859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12.4883363325478</c:v>
                </c:pt>
              </c:numCache>
            </c:numRef>
          </c:xVal>
          <c:yVal>
            <c:numRef>
              <c:f>Sheet1!$B$163:$B$164</c:f>
              <c:numCache>
                <c:formatCode>General</c:formatCode>
                <c:ptCount val="2"/>
                <c:pt idx="0">
                  <c:v>0.36575681469113164</c:v>
                </c:pt>
                <c:pt idx="1">
                  <c:v>0.3657568146911316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12.4883363325478</c:v>
                </c:pt>
                <c:pt idx="1">
                  <c:v>612.4883363325478</c:v>
                </c:pt>
              </c:numCache>
            </c:numRef>
          </c:xVal>
          <c:yVal>
            <c:numRef>
              <c:f>Sheet1!$B$167:$B$168</c:f>
              <c:numCache>
                <c:formatCode>General</c:formatCode>
                <c:ptCount val="2"/>
                <c:pt idx="0">
                  <c:v>0.3657568146911316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17.7046279766125</c:v>
                </c:pt>
              </c:numCache>
            </c:numRef>
          </c:xVal>
          <c:yVal>
            <c:numRef>
              <c:f>Sheet1!$B$171:$B$172</c:f>
              <c:numCache>
                <c:formatCode>General</c:formatCode>
                <c:ptCount val="2"/>
                <c:pt idx="0">
                  <c:v>0.3064206868116688</c:v>
                </c:pt>
                <c:pt idx="1">
                  <c:v>0.30642068681166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17.7046279766125</c:v>
                </c:pt>
                <c:pt idx="1">
                  <c:v>1317.7046279766125</c:v>
                </c:pt>
              </c:numCache>
            </c:numRef>
          </c:xVal>
          <c:yVal>
            <c:numRef>
              <c:f>Sheet1!$B$175:$B$176</c:f>
              <c:numCache>
                <c:formatCode>General</c:formatCode>
                <c:ptCount val="2"/>
                <c:pt idx="0">
                  <c:v>0.30642068681166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1.6796434582739</c:v>
                </c:pt>
              </c:numCache>
            </c:numRef>
          </c:xVal>
          <c:yVal>
            <c:numRef>
              <c:f>Sheet1!$B$179:$B$180</c:f>
              <c:numCache>
                <c:formatCode>General</c:formatCode>
                <c:ptCount val="2"/>
                <c:pt idx="0">
                  <c:v>0.29598956453097275</c:v>
                </c:pt>
                <c:pt idx="1">
                  <c:v>0.295989564530972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1.6796434582739</c:v>
                </c:pt>
                <c:pt idx="1">
                  <c:v>1441.6796434582739</c:v>
                </c:pt>
              </c:numCache>
            </c:numRef>
          </c:xVal>
          <c:yVal>
            <c:numRef>
              <c:f>Sheet1!$B$183:$B$184</c:f>
              <c:numCache>
                <c:formatCode>General</c:formatCode>
                <c:ptCount val="2"/>
                <c:pt idx="0">
                  <c:v>0.295989564530972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8.3102</c:v>
                </c:pt>
                <c:pt idx="1">
                  <c:v>1371.3971</c:v>
                </c:pt>
                <c:pt idx="2">
                  <c:v>1384.9501</c:v>
                </c:pt>
                <c:pt idx="3">
                  <c:v>1421.2622</c:v>
                </c:pt>
                <c:pt idx="4">
                  <c:v>1381.2514</c:v>
                </c:pt>
                <c:pt idx="5">
                  <c:v>1447.0306</c:v>
                </c:pt>
                <c:pt idx="6">
                  <c:v>1350.3701</c:v>
                </c:pt>
                <c:pt idx="7">
                  <c:v>1337.9601</c:v>
                </c:pt>
                <c:pt idx="8">
                  <c:v>1416.4111</c:v>
                </c:pt>
                <c:pt idx="9">
                  <c:v>1386.3053</c:v>
                </c:pt>
                <c:pt idx="10">
                  <c:v>1367.7397</c:v>
                </c:pt>
                <c:pt idx="11">
                  <c:v>1300.6513</c:v>
                </c:pt>
                <c:pt idx="12">
                  <c:v>1310.8014</c:v>
                </c:pt>
                <c:pt idx="13">
                  <c:v>1326.8555</c:v>
                </c:pt>
                <c:pt idx="14">
                  <c:v>1331.0142</c:v>
                </c:pt>
                <c:pt idx="15">
                  <c:v>1364.2624</c:v>
                </c:pt>
                <c:pt idx="16">
                  <c:v>1411.311</c:v>
                </c:pt>
                <c:pt idx="17">
                  <c:v>1336.0525</c:v>
                </c:pt>
                <c:pt idx="18">
                  <c:v>1201.5482</c:v>
                </c:pt>
                <c:pt idx="19">
                  <c:v>1380.472</c:v>
                </c:pt>
                <c:pt idx="20">
                  <c:v>1482.6258</c:v>
                </c:pt>
                <c:pt idx="21">
                  <c:v>1160.567</c:v>
                </c:pt>
                <c:pt idx="22">
                  <c:v>1304.0495</c:v>
                </c:pt>
                <c:pt idx="23">
                  <c:v>1459.893</c:v>
                </c:pt>
                <c:pt idx="24">
                  <c:v>1533.3201</c:v>
                </c:pt>
                <c:pt idx="25">
                  <c:v>1385.6591</c:v>
                </c:pt>
                <c:pt idx="26">
                  <c:v>1406.6273</c:v>
                </c:pt>
                <c:pt idx="27">
                  <c:v>1400.7781</c:v>
                </c:pt>
                <c:pt idx="28">
                  <c:v>1471.2175</c:v>
                </c:pt>
                <c:pt idx="29">
                  <c:v>1489.8187</c:v>
                </c:pt>
                <c:pt idx="30">
                  <c:v>1402.3827</c:v>
                </c:pt>
                <c:pt idx="31">
                  <c:v>1286.6376</c:v>
                </c:pt>
                <c:pt idx="32">
                  <c:v>1393.3553</c:v>
                </c:pt>
                <c:pt idx="33">
                  <c:v>1523.7775</c:v>
                </c:pt>
                <c:pt idx="34">
                  <c:v>1519.8596</c:v>
                </c:pt>
                <c:pt idx="35">
                  <c:v>1502.8216</c:v>
                </c:pt>
                <c:pt idx="36">
                  <c:v>1553.5861</c:v>
                </c:pt>
                <c:pt idx="37">
                  <c:v>1505.8558</c:v>
                </c:pt>
                <c:pt idx="38">
                  <c:v>1516.9689</c:v>
                </c:pt>
                <c:pt idx="39">
                  <c:v>1505.6272</c:v>
                </c:pt>
                <c:pt idx="40">
                  <c:v>1490.6858</c:v>
                </c:pt>
                <c:pt idx="41">
                  <c:v>1564.2834</c:v>
                </c:pt>
                <c:pt idx="42">
                  <c:v>1561.3544</c:v>
                </c:pt>
                <c:pt idx="43">
                  <c:v>1536.3355</c:v>
                </c:pt>
                <c:pt idx="44">
                  <c:v>1460.8693</c:v>
                </c:pt>
                <c:pt idx="45">
                  <c:v>1464.7017</c:v>
                </c:pt>
                <c:pt idx="46">
                  <c:v>1426.0278</c:v>
                </c:pt>
                <c:pt idx="47">
                  <c:v>1376.3825</c:v>
                </c:pt>
                <c:pt idx="48">
                  <c:v>1333.4254</c:v>
                </c:pt>
                <c:pt idx="49">
                  <c:v>1382.7268</c:v>
                </c:pt>
                <c:pt idx="50">
                  <c:v>1325.8732</c:v>
                </c:pt>
                <c:pt idx="51">
                  <c:v>1243.7361</c:v>
                </c:pt>
                <c:pt idx="52">
                  <c:v>1317.7046279766125</c:v>
                </c:pt>
                <c:pt idx="53">
                  <c:v>612.4883363325478</c:v>
                </c:pt>
                <c:pt idx="54">
                  <c:v>1441.6796434582739</c:v>
                </c:pt>
              </c:numCache>
            </c:numRef>
          </c:xVal>
          <c:yVal>
            <c:numRef>
              <c:f>Sheet1!$B$187:$B$241</c:f>
              <c:numCache>
                <c:formatCode>General</c:formatCode>
                <c:ptCount val="55"/>
                <c:pt idx="0">
                  <c:v>0.3063697346435954</c:v>
                </c:pt>
                <c:pt idx="1">
                  <c:v>0.30190306090895896</c:v>
                </c:pt>
                <c:pt idx="2">
                  <c:v>0.30076272630427253</c:v>
                </c:pt>
                <c:pt idx="3">
                  <c:v>0.29770746590444713</c:v>
                </c:pt>
                <c:pt idx="4">
                  <c:v>0.3010739308790791</c:v>
                </c:pt>
                <c:pt idx="5">
                  <c:v>0.2955393408968915</c:v>
                </c:pt>
                <c:pt idx="6">
                  <c:v>0.3036722497035241</c:v>
                </c:pt>
                <c:pt idx="7">
                  <c:v>0.30471641353766843</c:v>
                </c:pt>
                <c:pt idx="8">
                  <c:v>0.2981156321555203</c:v>
                </c:pt>
                <c:pt idx="9">
                  <c:v>0.30064870125769455</c:v>
                </c:pt>
                <c:pt idx="10">
                  <c:v>0.3022107905469122</c:v>
                </c:pt>
                <c:pt idx="11">
                  <c:v>0.3078555351859622</c:v>
                </c:pt>
                <c:pt idx="12">
                  <c:v>0.3070015168674329</c:v>
                </c:pt>
                <c:pt idx="13">
                  <c:v>0.30565074244279655</c:v>
                </c:pt>
                <c:pt idx="14">
                  <c:v>0.3053008339708339</c:v>
                </c:pt>
                <c:pt idx="15">
                  <c:v>0.30250336676773976</c:v>
                </c:pt>
                <c:pt idx="16">
                  <c:v>0.29854474899440175</c:v>
                </c:pt>
                <c:pt idx="17">
                  <c:v>0.3048769169163964</c:v>
                </c:pt>
                <c:pt idx="18">
                  <c:v>0.3161939616864934</c:v>
                </c:pt>
                <c:pt idx="19">
                  <c:v>0.30113950874308654</c:v>
                </c:pt>
                <c:pt idx="20">
                  <c:v>0.29254439967939466</c:v>
                </c:pt>
                <c:pt idx="21">
                  <c:v>0.31964207505634323</c:v>
                </c:pt>
                <c:pt idx="22">
                  <c:v>0.3075696143526673</c:v>
                </c:pt>
                <c:pt idx="23">
                  <c:v>0.2944571126212832</c:v>
                </c:pt>
                <c:pt idx="24">
                  <c:v>0.28827903669331373</c:v>
                </c:pt>
                <c:pt idx="25">
                  <c:v>0.3007030718193081</c:v>
                </c:pt>
                <c:pt idx="26">
                  <c:v>0.2989388303924664</c:v>
                </c:pt>
                <c:pt idx="27">
                  <c:v>0.2994309756864775</c:v>
                </c:pt>
                <c:pt idx="28">
                  <c:v>0.29350428157053643</c:v>
                </c:pt>
                <c:pt idx="29">
                  <c:v>0.29193919693623455</c:v>
                </c:pt>
                <c:pt idx="30">
                  <c:v>0.29929596639652833</c:v>
                </c:pt>
                <c:pt idx="31">
                  <c:v>0.30903463258503944</c:v>
                </c:pt>
                <c:pt idx="32">
                  <c:v>0.3000555219643249</c:v>
                </c:pt>
                <c:pt idx="33">
                  <c:v>0.289081940625925</c:v>
                </c:pt>
                <c:pt idx="34">
                  <c:v>0.2894115884491155</c:v>
                </c:pt>
                <c:pt idx="35">
                  <c:v>0.29084514714421233</c:v>
                </c:pt>
                <c:pt idx="36">
                  <c:v>0.28657387760686975</c:v>
                </c:pt>
                <c:pt idx="37">
                  <c:v>0.29058985287301486</c:v>
                </c:pt>
                <c:pt idx="38">
                  <c:v>0.2896548087871784</c:v>
                </c:pt>
                <c:pt idx="39">
                  <c:v>0.2906090870271233</c:v>
                </c:pt>
                <c:pt idx="40">
                  <c:v>0.29186624009009543</c:v>
                </c:pt>
                <c:pt idx="41">
                  <c:v>0.28567381847850615</c:v>
                </c:pt>
                <c:pt idx="42">
                  <c:v>0.2859202613367019</c:v>
                </c:pt>
                <c:pt idx="43">
                  <c:v>0.2880253242335652</c:v>
                </c:pt>
                <c:pt idx="44">
                  <c:v>0.29437496780651484</c:v>
                </c:pt>
                <c:pt idx="45">
                  <c:v>0.294052513859861</c:v>
                </c:pt>
                <c:pt idx="46">
                  <c:v>0.29730649352991056</c:v>
                </c:pt>
                <c:pt idx="47">
                  <c:v>0.3014835948026944</c:v>
                </c:pt>
                <c:pt idx="48">
                  <c:v>0.3050979582386108</c:v>
                </c:pt>
                <c:pt idx="49">
                  <c:v>0.30094979233589647</c:v>
                </c:pt>
                <c:pt idx="50">
                  <c:v>0.30573339209100603</c:v>
                </c:pt>
                <c:pt idx="51">
                  <c:v>0.3126443178977344</c:v>
                </c:pt>
                <c:pt idx="52">
                  <c:v>0.3064206868116688</c:v>
                </c:pt>
                <c:pt idx="53">
                  <c:v>0.36575681469113164</c:v>
                </c:pt>
                <c:pt idx="54">
                  <c:v>0.295989564530972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77.0"/>
          <c:min val="4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90285714285714"/>
          <c:min val="0.21060606060606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2989180238327696</c:v>
                </c:pt>
                <c:pt idx="1">
                  <c:v>1.0417240957999603</c:v>
                </c:pt>
                <c:pt idx="2">
                  <c:v>1.0541063000867104</c:v>
                </c:pt>
                <c:pt idx="3">
                  <c:v>0.9244133220307682</c:v>
                </c:pt>
                <c:pt idx="4">
                  <c:v>0.9477136052724217</c:v>
                </c:pt>
                <c:pt idx="5">
                  <c:v>0.8971269600561835</c:v>
                </c:pt>
                <c:pt idx="6">
                  <c:v>0.8227661240018008</c:v>
                </c:pt>
                <c:pt idx="7">
                  <c:v>0.9449740498204817</c:v>
                </c:pt>
                <c:pt idx="8">
                  <c:v>0.9796527360079865</c:v>
                </c:pt>
                <c:pt idx="9">
                  <c:v>0.9437185786877026</c:v>
                </c:pt>
                <c:pt idx="10">
                  <c:v>0.9413949481556702</c:v>
                </c:pt>
                <c:pt idx="11">
                  <c:v>1.0070609433888953</c:v>
                </c:pt>
                <c:pt idx="12">
                  <c:v>1.0578828672669918</c:v>
                </c:pt>
                <c:pt idx="13">
                  <c:v>1.0355778111148433</c:v>
                </c:pt>
                <c:pt idx="14">
                  <c:v>1.0397550099946682</c:v>
                </c:pt>
                <c:pt idx="15">
                  <c:v>1.060723842364532</c:v>
                </c:pt>
                <c:pt idx="16">
                  <c:v>1.1317356976913766</c:v>
                </c:pt>
                <c:pt idx="17">
                  <c:v>1.1211422897431373</c:v>
                </c:pt>
                <c:pt idx="18">
                  <c:v>1.3451475597241371</c:v>
                </c:pt>
                <c:pt idx="19">
                  <c:v>1.2339441090086165</c:v>
                </c:pt>
                <c:pt idx="20">
                  <c:v>1.3816654209132886</c:v>
                </c:pt>
                <c:pt idx="21">
                  <c:v>1.31283560030007</c:v>
                </c:pt>
                <c:pt idx="22">
                  <c:v>1.350595528317811</c:v>
                </c:pt>
                <c:pt idx="23">
                  <c:v>1.3418834954339594</c:v>
                </c:pt>
                <c:pt idx="24">
                  <c:v>1.2861842613242165</c:v>
                </c:pt>
                <c:pt idx="25">
                  <c:v>1.1790019586401344</c:v>
                </c:pt>
                <c:pt idx="26">
                  <c:v>1.2560691471444094</c:v>
                </c:pt>
                <c:pt idx="27">
                  <c:v>1.001576306617274</c:v>
                </c:pt>
                <c:pt idx="28">
                  <c:v>0.9805597860807621</c:v>
                </c:pt>
                <c:pt idx="29">
                  <c:v>0.9317908990068103</c:v>
                </c:pt>
                <c:pt idx="30">
                  <c:v>0.9437825526678167</c:v>
                </c:pt>
                <c:pt idx="31">
                  <c:v>0.9640941165042383</c:v>
                </c:pt>
                <c:pt idx="32">
                  <c:v>0.9836966438145893</c:v>
                </c:pt>
                <c:pt idx="33">
                  <c:v>0.8259903283140361</c:v>
                </c:pt>
                <c:pt idx="34">
                  <c:v>0.9047412357844253</c:v>
                </c:pt>
                <c:pt idx="35">
                  <c:v>0.9557158636054323</c:v>
                </c:pt>
                <c:pt idx="36">
                  <c:v>0.9484471244275743</c:v>
                </c:pt>
                <c:pt idx="37">
                  <c:v>0.9315021542445773</c:v>
                </c:pt>
                <c:pt idx="38">
                  <c:v>1.0166899582831765</c:v>
                </c:pt>
                <c:pt idx="39">
                  <c:v>1.0295894427540568</c:v>
                </c:pt>
                <c:pt idx="40">
                  <c:v>1.0281817127910855</c:v>
                </c:pt>
                <c:pt idx="41">
                  <c:v>1.0367184327488796</c:v>
                </c:pt>
                <c:pt idx="42">
                  <c:v>1.1147438158264207</c:v>
                </c:pt>
                <c:pt idx="43">
                  <c:v>1.2934830881166015</c:v>
                </c:pt>
                <c:pt idx="44">
                  <c:v>1.2911260578090804</c:v>
                </c:pt>
                <c:pt idx="45">
                  <c:v>1.3184761956474247</c:v>
                </c:pt>
                <c:pt idx="46">
                  <c:v>1.3609270958919284</c:v>
                </c:pt>
                <c:pt idx="47">
                  <c:v>1.2249356529871467</c:v>
                </c:pt>
                <c:pt idx="48">
                  <c:v>1.353769318481499</c:v>
                </c:pt>
                <c:pt idx="49">
                  <c:v>1.2606827879610198</c:v>
                </c:pt>
                <c:pt idx="50">
                  <c:v>0.9461803037656094</c:v>
                </c:pt>
                <c:pt idx="51">
                  <c:v>0.9345901345269793</c:v>
                </c:pt>
                <c:pt idx="52">
                  <c:v>0.966986922349617</c:v>
                </c:pt>
                <c:pt idx="53">
                  <c:v>0.9468453299658575</c:v>
                </c:pt>
                <c:pt idx="54">
                  <c:v>0.8476922707852453</c:v>
                </c:pt>
                <c:pt idx="55">
                  <c:v>0.8751374761186472</c:v>
                </c:pt>
                <c:pt idx="56">
                  <c:v>0.9259184237007734</c:v>
                </c:pt>
                <c:pt idx="57">
                  <c:v>0.9274894177379505</c:v>
                </c:pt>
                <c:pt idx="58">
                  <c:v>0.8120193847806442</c:v>
                </c:pt>
                <c:pt idx="59">
                  <c:v>0.8803648350949266</c:v>
                </c:pt>
                <c:pt idx="60">
                  <c:v>0.9086613762983796</c:v>
                </c:pt>
                <c:pt idx="61">
                  <c:v>0.8348426079173029</c:v>
                </c:pt>
                <c:pt idx="62">
                  <c:v>0.8473757194746498</c:v>
                </c:pt>
                <c:pt idx="63">
                  <c:v>0.9246839078338293</c:v>
                </c:pt>
                <c:pt idx="64">
                  <c:v>0.9245607546551285</c:v>
                </c:pt>
                <c:pt idx="65">
                  <c:v>0.881446497974727</c:v>
                </c:pt>
                <c:pt idx="66">
                  <c:v>0.8819309152438023</c:v>
                </c:pt>
                <c:pt idx="67">
                  <c:v>0.9217046340498405</c:v>
                </c:pt>
                <c:pt idx="68">
                  <c:v>1.043909615792829</c:v>
                </c:pt>
                <c:pt idx="69">
                  <c:v>1.0231314299449192</c:v>
                </c:pt>
                <c:pt idx="70">
                  <c:v>0.899764930497394</c:v>
                </c:pt>
                <c:pt idx="71">
                  <c:v>1.0850777718498357</c:v>
                </c:pt>
                <c:pt idx="72">
                  <c:v>1.2473659532545212</c:v>
                </c:pt>
                <c:pt idx="73">
                  <c:v>1.1549212672723144</c:v>
                </c:pt>
                <c:pt idx="74">
                  <c:v>1.1765469465460736</c:v>
                </c:pt>
                <c:pt idx="75">
                  <c:v>1.355156615778559</c:v>
                </c:pt>
                <c:pt idx="76">
                  <c:v>0.9906977117378095</c:v>
                </c:pt>
                <c:pt idx="77">
                  <c:v>0.9809616546236224</c:v>
                </c:pt>
                <c:pt idx="78">
                  <c:v>1.1048661100383697</c:v>
                </c:pt>
                <c:pt idx="79">
                  <c:v>0.986785940451925</c:v>
                </c:pt>
                <c:pt idx="80">
                  <c:v>1.0522584180075023</c:v>
                </c:pt>
                <c:pt idx="81">
                  <c:v>1.045395722015964</c:v>
                </c:pt>
                <c:pt idx="82">
                  <c:v>1.0383675044694434</c:v>
                </c:pt>
                <c:pt idx="83">
                  <c:v>0.9708276541318244</c:v>
                </c:pt>
                <c:pt idx="84">
                  <c:v>1.0632067687615578</c:v>
                </c:pt>
                <c:pt idx="85">
                  <c:v>1.1324543465679233</c:v>
                </c:pt>
                <c:pt idx="86">
                  <c:v>0.9505599774727141</c:v>
                </c:pt>
                <c:pt idx="87">
                  <c:v>1.021860135564701</c:v>
                </c:pt>
                <c:pt idx="88">
                  <c:v>0.8534905972667367</c:v>
                </c:pt>
                <c:pt idx="89">
                  <c:v>0.9429924763509563</c:v>
                </c:pt>
                <c:pt idx="90">
                  <c:v>1.0752708008173903</c:v>
                </c:pt>
                <c:pt idx="91">
                  <c:v>0.980192903904701</c:v>
                </c:pt>
                <c:pt idx="92">
                  <c:v>1.0722532190743606</c:v>
                </c:pt>
                <c:pt idx="93">
                  <c:v>1.2246592815573234</c:v>
                </c:pt>
                <c:pt idx="94">
                  <c:v>1.0838850225751206</c:v>
                </c:pt>
                <c:pt idx="95">
                  <c:v>1.128014212106508</c:v>
                </c:pt>
                <c:pt idx="96">
                  <c:v>1.2578633693126204</c:v>
                </c:pt>
                <c:pt idx="97">
                  <c:v>1.1603444979113662</c:v>
                </c:pt>
                <c:pt idx="98">
                  <c:v>1.192847106547898</c:v>
                </c:pt>
                <c:pt idx="99">
                  <c:v>1.036802221908952</c:v>
                </c:pt>
                <c:pt idx="100">
                  <c:v>0.914424342305844</c:v>
                </c:pt>
                <c:pt idx="101">
                  <c:v>0.7920326681366265</c:v>
                </c:pt>
                <c:pt idx="102">
                  <c:v>0.8292315023593467</c:v>
                </c:pt>
                <c:pt idx="103">
                  <c:v>0.7675737921499347</c:v>
                </c:pt>
                <c:pt idx="104">
                  <c:v>0.889091861701467</c:v>
                </c:pt>
              </c:numCache>
            </c:numRef>
          </c:xVal>
          <c:yVal>
            <c:numRef>
              <c:f>Sheet1!$B$2:$B$106</c:f>
              <c:numCache>
                <c:formatCode>General</c:formatCode>
                <c:ptCount val="105"/>
                <c:pt idx="0">
                  <c:v>0.30859835100117783</c:v>
                </c:pt>
                <c:pt idx="1">
                  <c:v>0.3329857490441432</c:v>
                </c:pt>
                <c:pt idx="2">
                  <c:v>0.341024770953512</c:v>
                </c:pt>
                <c:pt idx="3">
                  <c:v>0.3513318934485241</c:v>
                </c:pt>
                <c:pt idx="4">
                  <c:v>0.3512658227848101</c:v>
                </c:pt>
                <c:pt idx="5">
                  <c:v>0.33796296296296297</c:v>
                </c:pt>
                <c:pt idx="6">
                  <c:v>0.3574774774774775</c:v>
                </c:pt>
                <c:pt idx="7">
                  <c:v>0.3692434210526316</c:v>
                </c:pt>
                <c:pt idx="8">
                  <c:v>0.38435228730226595</c:v>
                </c:pt>
                <c:pt idx="9">
                  <c:v>0.3632887189292543</c:v>
                </c:pt>
                <c:pt idx="10">
                  <c:v>0.34970059880239523</c:v>
                </c:pt>
                <c:pt idx="11">
                  <c:v>0.3315674665004674</c:v>
                </c:pt>
                <c:pt idx="12">
                  <c:v>0.3203994293865906</c:v>
                </c:pt>
                <c:pt idx="13">
                  <c:v>0.31703789412785655</c:v>
                </c:pt>
                <c:pt idx="14">
                  <c:v>0.3216761184625079</c:v>
                </c:pt>
                <c:pt idx="15">
                  <c:v>0.3128246104674391</c:v>
                </c:pt>
                <c:pt idx="16">
                  <c:v>0.29620622568093385</c:v>
                </c:pt>
                <c:pt idx="17">
                  <c:v>0.2984737139626908</c:v>
                </c:pt>
                <c:pt idx="18">
                  <c:v>0.2845528455284553</c:v>
                </c:pt>
                <c:pt idx="19">
                  <c:v>0.3085966201322557</c:v>
                </c:pt>
                <c:pt idx="20">
                  <c:v>0.30612244897959184</c:v>
                </c:pt>
                <c:pt idx="21">
                  <c:v>0.3631100082712986</c:v>
                </c:pt>
                <c:pt idx="22">
                  <c:v>0.3620414673046252</c:v>
                </c:pt>
                <c:pt idx="23">
                  <c:v>0.35520918785890077</c:v>
                </c:pt>
                <c:pt idx="24">
                  <c:v>0.3521870286576169</c:v>
                </c:pt>
                <c:pt idx="25">
                  <c:v>0.3562447611064543</c:v>
                </c:pt>
                <c:pt idx="26">
                  <c:v>0.36904761904761907</c:v>
                </c:pt>
                <c:pt idx="27">
                  <c:v>0.34688156972669937</c:v>
                </c:pt>
                <c:pt idx="28">
                  <c:v>0.3676572218382861</c:v>
                </c:pt>
                <c:pt idx="29">
                  <c:v>0.3705848291835553</c:v>
                </c:pt>
                <c:pt idx="30">
                  <c:v>0.36870229007633587</c:v>
                </c:pt>
                <c:pt idx="31">
                  <c:v>0.3648867313915858</c:v>
                </c:pt>
                <c:pt idx="32">
                  <c:v>0.38702111024237684</c:v>
                </c:pt>
                <c:pt idx="33">
                  <c:v>0.39085714285714285</c:v>
                </c:pt>
                <c:pt idx="34">
                  <c:v>0.36351763169351325</c:v>
                </c:pt>
                <c:pt idx="35">
                  <c:v>0.36013864818024266</c:v>
                </c:pt>
                <c:pt idx="36">
                  <c:v>0.3617533718689788</c:v>
                </c:pt>
                <c:pt idx="37">
                  <c:v>0.3535816618911175</c:v>
                </c:pt>
                <c:pt idx="38">
                  <c:v>0.3263795423956931</c:v>
                </c:pt>
                <c:pt idx="39">
                  <c:v>0.30736842105263157</c:v>
                </c:pt>
                <c:pt idx="40">
                  <c:v>0.3264218009478673</c:v>
                </c:pt>
                <c:pt idx="41">
                  <c:v>0.35157318741450067</c:v>
                </c:pt>
                <c:pt idx="42">
                  <c:v>0.34780125642490006</c:v>
                </c:pt>
                <c:pt idx="43">
                  <c:v>0.3492063492063492</c:v>
                </c:pt>
                <c:pt idx="44">
                  <c:v>0.28996566196108353</c:v>
                </c:pt>
                <c:pt idx="45">
                  <c:v>0.30390600190536676</c:v>
                </c:pt>
                <c:pt idx="46">
                  <c:v>0.3045829775120979</c:v>
                </c:pt>
                <c:pt idx="47">
                  <c:v>0.29301075268817206</c:v>
                </c:pt>
                <c:pt idx="48">
                  <c:v>0.29035068612502724</c:v>
                </c:pt>
                <c:pt idx="49">
                  <c:v>0.27346709695524063</c:v>
                </c:pt>
                <c:pt idx="50">
                  <c:v>0.2884167636786962</c:v>
                </c:pt>
                <c:pt idx="51">
                  <c:v>0.2830112721417069</c:v>
                </c:pt>
                <c:pt idx="52">
                  <c:v>0.27760891590678827</c:v>
                </c:pt>
                <c:pt idx="53">
                  <c:v>0.2828890799656062</c:v>
                </c:pt>
                <c:pt idx="54">
                  <c:v>0.3015952143569292</c:v>
                </c:pt>
                <c:pt idx="55">
                  <c:v>0.30009920634920634</c:v>
                </c:pt>
                <c:pt idx="56">
                  <c:v>0.29903846153846153</c:v>
                </c:pt>
                <c:pt idx="57">
                  <c:v>0.28243300723096554</c:v>
                </c:pt>
                <c:pt idx="58">
                  <c:v>0.2963350785340314</c:v>
                </c:pt>
                <c:pt idx="59">
                  <c:v>0.27113010446343777</c:v>
                </c:pt>
                <c:pt idx="60">
                  <c:v>0.290414878397711</c:v>
                </c:pt>
                <c:pt idx="61">
                  <c:v>0.29633084577114427</c:v>
                </c:pt>
                <c:pt idx="62">
                  <c:v>0.27869727709556863</c:v>
                </c:pt>
                <c:pt idx="63">
                  <c:v>0.2633213859020311</c:v>
                </c:pt>
                <c:pt idx="64">
                  <c:v>0.2663755458515284</c:v>
                </c:pt>
                <c:pt idx="65">
                  <c:v>0.2740331491712707</c:v>
                </c:pt>
                <c:pt idx="66">
                  <c:v>0.2967684553809665</c:v>
                </c:pt>
                <c:pt idx="67">
                  <c:v>0.29462508294625084</c:v>
                </c:pt>
                <c:pt idx="68">
                  <c:v>0.2768336314847943</c:v>
                </c:pt>
                <c:pt idx="69">
                  <c:v>0.2731117824773414</c:v>
                </c:pt>
                <c:pt idx="70">
                  <c:v>0.29233511586452765</c:v>
                </c:pt>
                <c:pt idx="71">
                  <c:v>0.31636863823933975</c:v>
                </c:pt>
                <c:pt idx="72">
                  <c:v>0.2920478536242083</c:v>
                </c:pt>
                <c:pt idx="73">
                  <c:v>0.3116883116883117</c:v>
                </c:pt>
                <c:pt idx="74">
                  <c:v>0.3023415977961432</c:v>
                </c:pt>
                <c:pt idx="75">
                  <c:v>0.36232980332829046</c:v>
                </c:pt>
                <c:pt idx="76">
                  <c:v>0.36658354114713215</c:v>
                </c:pt>
                <c:pt idx="77">
                  <c:v>0.3598290598290598</c:v>
                </c:pt>
                <c:pt idx="78">
                  <c:v>0.3390970220941403</c:v>
                </c:pt>
                <c:pt idx="79">
                  <c:v>0.345679012345679</c:v>
                </c:pt>
                <c:pt idx="80">
                  <c:v>0.3253424657534247</c:v>
                </c:pt>
                <c:pt idx="81">
                  <c:v>0.3321529745042493</c:v>
                </c:pt>
                <c:pt idx="82">
                  <c:v>0.3377777777777778</c:v>
                </c:pt>
                <c:pt idx="83">
                  <c:v>0.34700665188470065</c:v>
                </c:pt>
                <c:pt idx="84">
                  <c:v>0.3336886993603412</c:v>
                </c:pt>
                <c:pt idx="85">
                  <c:v>0.33899905571293676</c:v>
                </c:pt>
                <c:pt idx="86">
                  <c:v>0.3653483992467043</c:v>
                </c:pt>
                <c:pt idx="87">
                  <c:v>0.37566137566137564</c:v>
                </c:pt>
                <c:pt idx="88">
                  <c:v>0.3853503184713376</c:v>
                </c:pt>
                <c:pt idx="89">
                  <c:v>0.3905660377358491</c:v>
                </c:pt>
                <c:pt idx="90">
                  <c:v>0.3827893175074184</c:v>
                </c:pt>
                <c:pt idx="91">
                  <c:v>0.3695652173913043</c:v>
                </c:pt>
                <c:pt idx="92">
                  <c:v>0.35303514376996803</c:v>
                </c:pt>
                <c:pt idx="93">
                  <c:v>0.3188291139240506</c:v>
                </c:pt>
                <c:pt idx="94">
                  <c:v>0.34288121314237574</c:v>
                </c:pt>
                <c:pt idx="95">
                  <c:v>0.32620011567379986</c:v>
                </c:pt>
                <c:pt idx="96">
                  <c:v>0.30723905723905726</c:v>
                </c:pt>
                <c:pt idx="97">
                  <c:v>0.28172332547963647</c:v>
                </c:pt>
                <c:pt idx="98">
                  <c:v>0.2830985915492958</c:v>
                </c:pt>
                <c:pt idx="99">
                  <c:v>0.2910089224433768</c:v>
                </c:pt>
                <c:pt idx="100">
                  <c:v>0.29144057412917906</c:v>
                </c:pt>
                <c:pt idx="101">
                  <c:v>0.3195843828715365</c:v>
                </c:pt>
                <c:pt idx="102">
                  <c:v>0.31549028896257697</c:v>
                </c:pt>
                <c:pt idx="103">
                  <c:v>0.306432281262485</c:v>
                </c:pt>
                <c:pt idx="104">
                  <c:v>0.31088335773548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523986418147665</c:v>
                </c:pt>
                <c:pt idx="1">
                  <c:v>0.9405537756963105</c:v>
                </c:pt>
                <c:pt idx="2">
                  <c:v>1.049719699582894</c:v>
                </c:pt>
                <c:pt idx="3">
                  <c:v>1.0297351634459144</c:v>
                </c:pt>
                <c:pt idx="4">
                  <c:v>1.1364375276344303</c:v>
                </c:pt>
                <c:pt idx="5">
                  <c:v>1.028676652178296</c:v>
                </c:pt>
                <c:pt idx="6">
                  <c:v>0.9667146837074903</c:v>
                </c:pt>
                <c:pt idx="7">
                  <c:v>1.0334132231404958</c:v>
                </c:pt>
                <c:pt idx="8">
                  <c:v>1.0528791082145186</c:v>
                </c:pt>
                <c:pt idx="9">
                  <c:v>1.0378275970052167</c:v>
                </c:pt>
                <c:pt idx="10">
                  <c:v>0.9533537288557237</c:v>
                </c:pt>
                <c:pt idx="11">
                  <c:v>1.0201308282263444</c:v>
                </c:pt>
                <c:pt idx="12">
                  <c:v>0.9657930011911778</c:v>
                </c:pt>
                <c:pt idx="13">
                  <c:v>1.0582844019567392</c:v>
                </c:pt>
                <c:pt idx="14">
                  <c:v>1.002878781428631</c:v>
                </c:pt>
                <c:pt idx="15">
                  <c:v>0.9139349410179853</c:v>
                </c:pt>
                <c:pt idx="16">
                  <c:v>0.9340889027555705</c:v>
                </c:pt>
                <c:pt idx="17">
                  <c:v>0.850182858492624</c:v>
                </c:pt>
                <c:pt idx="18">
                  <c:v>0.8021373181302532</c:v>
                </c:pt>
                <c:pt idx="19">
                  <c:v>1.018767848171066</c:v>
                </c:pt>
                <c:pt idx="20">
                  <c:v>1.0384957497432699</c:v>
                </c:pt>
                <c:pt idx="21">
                  <c:v>0.7556048252788317</c:v>
                </c:pt>
                <c:pt idx="22">
                  <c:v>1.0065825219291966</c:v>
                </c:pt>
                <c:pt idx="23">
                  <c:v>1.2051287766220902</c:v>
                </c:pt>
                <c:pt idx="24">
                  <c:v>1.0980192588033917</c:v>
                </c:pt>
                <c:pt idx="25">
                  <c:v>1.0061098088327678</c:v>
                </c:pt>
                <c:pt idx="26">
                  <c:v>1.0280436473748635</c:v>
                </c:pt>
                <c:pt idx="27">
                  <c:v>1.0645858329286988</c:v>
                </c:pt>
                <c:pt idx="28">
                  <c:v>1.0577263539466015</c:v>
                </c:pt>
                <c:pt idx="29">
                  <c:v>1.1484798174049478</c:v>
                </c:pt>
                <c:pt idx="30">
                  <c:v>1.2029612047945768</c:v>
                </c:pt>
                <c:pt idx="31">
                  <c:v>1.1692546097011127</c:v>
                </c:pt>
                <c:pt idx="32">
                  <c:v>1.1362835355682264</c:v>
                </c:pt>
                <c:pt idx="33">
                  <c:v>1.2044719784997233</c:v>
                </c:pt>
                <c:pt idx="34">
                  <c:v>1.089147271545126</c:v>
                </c:pt>
                <c:pt idx="35">
                  <c:v>1.019240499049003</c:v>
                </c:pt>
                <c:pt idx="36">
                  <c:v>1.167066334372304</c:v>
                </c:pt>
                <c:pt idx="37">
                  <c:v>1.1849357425556917</c:v>
                </c:pt>
                <c:pt idx="38">
                  <c:v>1.2185946576261208</c:v>
                </c:pt>
                <c:pt idx="39">
                  <c:v>1.2128580609540387</c:v>
                </c:pt>
                <c:pt idx="40">
                  <c:v>1.299408796925322</c:v>
                </c:pt>
                <c:pt idx="41">
                  <c:v>1.2397728551614822</c:v>
                </c:pt>
                <c:pt idx="42">
                  <c:v>1.1063347414347073</c:v>
                </c:pt>
                <c:pt idx="43">
                  <c:v>1.1907027200298106</c:v>
                </c:pt>
                <c:pt idx="44">
                  <c:v>1.0099821574595895</c:v>
                </c:pt>
                <c:pt idx="45">
                  <c:v>1.0078427511164563</c:v>
                </c:pt>
                <c:pt idx="46">
                  <c:v>0.9542264616293014</c:v>
                </c:pt>
                <c:pt idx="47">
                  <c:v>0.9739341922328821</c:v>
                </c:pt>
                <c:pt idx="48">
                  <c:v>0.9721965397782597</c:v>
                </c:pt>
                <c:pt idx="49">
                  <c:v>1.1178547048264322</c:v>
                </c:pt>
                <c:pt idx="50">
                  <c:v>0.9402063077992324</c:v>
                </c:pt>
                <c:pt idx="51">
                  <c:v>0.945060214780869</c:v>
                </c:pt>
              </c:numCache>
            </c:numRef>
          </c:xVal>
          <c:yVal>
            <c:numRef>
              <c:f>Sheet1!$B$109:$B$160</c:f>
              <c:numCache>
                <c:formatCode>General</c:formatCode>
                <c:ptCount val="52"/>
                <c:pt idx="0">
                  <c:v>0.32187645146307475</c:v>
                </c:pt>
                <c:pt idx="1">
                  <c:v>0.30357142857142855</c:v>
                </c:pt>
                <c:pt idx="2">
                  <c:v>0.29553119730185495</c:v>
                </c:pt>
                <c:pt idx="3">
                  <c:v>0.2965931863727455</c:v>
                </c:pt>
                <c:pt idx="4">
                  <c:v>0.3148636763412489</c:v>
                </c:pt>
                <c:pt idx="5">
                  <c:v>0.2991765782250686</c:v>
                </c:pt>
                <c:pt idx="6">
                  <c:v>0.3151862464183381</c:v>
                </c:pt>
                <c:pt idx="7">
                  <c:v>0.30973871733966746</c:v>
                </c:pt>
                <c:pt idx="8">
                  <c:v>0.3012486992715921</c:v>
                </c:pt>
                <c:pt idx="9">
                  <c:v>0.3000458085203848</c:v>
                </c:pt>
                <c:pt idx="10">
                  <c:v>0.31050616758826033</c:v>
                </c:pt>
                <c:pt idx="11">
                  <c:v>0.2874768661320173</c:v>
                </c:pt>
                <c:pt idx="12">
                  <c:v>0.2834242837653479</c:v>
                </c:pt>
                <c:pt idx="13">
                  <c:v>0.31003861003861005</c:v>
                </c:pt>
                <c:pt idx="14">
                  <c:v>0.30782684739833843</c:v>
                </c:pt>
                <c:pt idx="15">
                  <c:v>0.2862944162436548</c:v>
                </c:pt>
                <c:pt idx="16">
                  <c:v>0.28435114503816794</c:v>
                </c:pt>
                <c:pt idx="17">
                  <c:v>0.29475100942126514</c:v>
                </c:pt>
                <c:pt idx="18">
                  <c:v>0.3016323633782825</c:v>
                </c:pt>
                <c:pt idx="19">
                  <c:v>0.30220588235294116</c:v>
                </c:pt>
                <c:pt idx="20">
                  <c:v>0.2969518190757129</c:v>
                </c:pt>
                <c:pt idx="21">
                  <c:v>0.37136929460580914</c:v>
                </c:pt>
                <c:pt idx="22">
                  <c:v>0.30360721442885774</c:v>
                </c:pt>
                <c:pt idx="23">
                  <c:v>0.28530534351145037</c:v>
                </c:pt>
                <c:pt idx="24">
                  <c:v>0.26325757575757575</c:v>
                </c:pt>
                <c:pt idx="25">
                  <c:v>0.2916666666666667</c:v>
                </c:pt>
                <c:pt idx="26">
                  <c:v>0.308411214953271</c:v>
                </c:pt>
                <c:pt idx="27">
                  <c:v>0.30092983939137785</c:v>
                </c:pt>
                <c:pt idx="28">
                  <c:v>0.26823338735818475</c:v>
                </c:pt>
                <c:pt idx="29">
                  <c:v>0.3149171270718232</c:v>
                </c:pt>
                <c:pt idx="30">
                  <c:v>0.3290441176470588</c:v>
                </c:pt>
                <c:pt idx="31">
                  <c:v>0.3113897596656217</c:v>
                </c:pt>
                <c:pt idx="32">
                  <c:v>0.2783882783882784</c:v>
                </c:pt>
                <c:pt idx="33">
                  <c:v>0.2710765239948119</c:v>
                </c:pt>
                <c:pt idx="34">
                  <c:v>0.3048128342245989</c:v>
                </c:pt>
                <c:pt idx="35">
                  <c:v>0.28862478777589134</c:v>
                </c:pt>
                <c:pt idx="36">
                  <c:v>0.2932330827067669</c:v>
                </c:pt>
                <c:pt idx="37">
                  <c:v>0.29186155285313375</c:v>
                </c:pt>
                <c:pt idx="38">
                  <c:v>0.29979253112033194</c:v>
                </c:pt>
                <c:pt idx="39">
                  <c:v>0.2953682611996963</c:v>
                </c:pt>
                <c:pt idx="40">
                  <c:v>0.29637841832963785</c:v>
                </c:pt>
                <c:pt idx="41">
                  <c:v>0.3026222537207654</c:v>
                </c:pt>
                <c:pt idx="42">
                  <c:v>0.3137931034482759</c:v>
                </c:pt>
                <c:pt idx="43">
                  <c:v>0.28580323785803236</c:v>
                </c:pt>
                <c:pt idx="44">
                  <c:v>0.2723053120165034</c:v>
                </c:pt>
                <c:pt idx="45">
                  <c:v>0.28406121687196717</c:v>
                </c:pt>
                <c:pt idx="46">
                  <c:v>0.3072983354673495</c:v>
                </c:pt>
                <c:pt idx="47">
                  <c:v>0.30445151033386325</c:v>
                </c:pt>
                <c:pt idx="48">
                  <c:v>0.2886379675370501</c:v>
                </c:pt>
                <c:pt idx="49">
                  <c:v>0.2931825129929685</c:v>
                </c:pt>
                <c:pt idx="50">
                  <c:v>0.2897098726779378</c:v>
                </c:pt>
                <c:pt idx="51">
                  <c:v>0.31425233644859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740679968473832</c:v>
                </c:pt>
              </c:numCache>
            </c:numRef>
          </c:xVal>
          <c:yVal>
            <c:numRef>
              <c:f>Sheet1!$B$163:$B$164</c:f>
              <c:numCache>
                <c:formatCode>General</c:formatCode>
                <c:ptCount val="2"/>
                <c:pt idx="0">
                  <c:v>0.36575681469113164</c:v>
                </c:pt>
                <c:pt idx="1">
                  <c:v>0.3657568146911316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740679968473832</c:v>
                </c:pt>
                <c:pt idx="1">
                  <c:v>-0.6740679968473832</c:v>
                </c:pt>
              </c:numCache>
            </c:numRef>
          </c:xVal>
          <c:yVal>
            <c:numRef>
              <c:f>Sheet1!$B$167:$B$168</c:f>
              <c:numCache>
                <c:formatCode>General</c:formatCode>
                <c:ptCount val="2"/>
                <c:pt idx="0">
                  <c:v>0.3657568146911316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65614134728384</c:v>
                </c:pt>
              </c:numCache>
            </c:numRef>
          </c:xVal>
          <c:yVal>
            <c:numRef>
              <c:f>Sheet1!$B$171:$B$172</c:f>
              <c:numCache>
                <c:formatCode>General</c:formatCode>
                <c:ptCount val="2"/>
                <c:pt idx="0">
                  <c:v>0.3064206868116688</c:v>
                </c:pt>
                <c:pt idx="1">
                  <c:v>0.30642068681166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65614134728384</c:v>
                </c:pt>
                <c:pt idx="1">
                  <c:v>0.8565614134728384</c:v>
                </c:pt>
              </c:numCache>
            </c:numRef>
          </c:xVal>
          <c:yVal>
            <c:numRef>
              <c:f>Sheet1!$B$175:$B$176</c:f>
              <c:numCache>
                <c:formatCode>General</c:formatCode>
                <c:ptCount val="2"/>
                <c:pt idx="0">
                  <c:v>0.30642068681166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256417042851083</c:v>
                </c:pt>
              </c:numCache>
            </c:numRef>
          </c:xVal>
          <c:yVal>
            <c:numRef>
              <c:f>Sheet1!$B$179:$B$180</c:f>
              <c:numCache>
                <c:formatCode>General</c:formatCode>
                <c:ptCount val="2"/>
                <c:pt idx="0">
                  <c:v>0.29598956453097275</c:v>
                </c:pt>
                <c:pt idx="1">
                  <c:v>0.295989564530972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256417042851083</c:v>
                </c:pt>
                <c:pt idx="1">
                  <c:v>1.1256417042851083</c:v>
                </c:pt>
              </c:numCache>
            </c:numRef>
          </c:xVal>
          <c:yVal>
            <c:numRef>
              <c:f>Sheet1!$B$183:$B$184</c:f>
              <c:numCache>
                <c:formatCode>General</c:formatCode>
                <c:ptCount val="2"/>
                <c:pt idx="0">
                  <c:v>0.295989564530972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523986418147665</c:v>
                </c:pt>
                <c:pt idx="1">
                  <c:v>0.9405537756963105</c:v>
                </c:pt>
                <c:pt idx="2">
                  <c:v>1.049719699582894</c:v>
                </c:pt>
                <c:pt idx="3">
                  <c:v>1.0297351634459144</c:v>
                </c:pt>
                <c:pt idx="4">
                  <c:v>1.1364375276344303</c:v>
                </c:pt>
                <c:pt idx="5">
                  <c:v>1.028676652178296</c:v>
                </c:pt>
                <c:pt idx="6">
                  <c:v>0.9667146837074903</c:v>
                </c:pt>
                <c:pt idx="7">
                  <c:v>1.0334132231404958</c:v>
                </c:pt>
                <c:pt idx="8">
                  <c:v>1.0528791082145186</c:v>
                </c:pt>
                <c:pt idx="9">
                  <c:v>1.0378275970052167</c:v>
                </c:pt>
                <c:pt idx="10">
                  <c:v>0.9533537288557237</c:v>
                </c:pt>
                <c:pt idx="11">
                  <c:v>1.0201308282263444</c:v>
                </c:pt>
                <c:pt idx="12">
                  <c:v>0.9657930011911778</c:v>
                </c:pt>
                <c:pt idx="13">
                  <c:v>1.0582844019567392</c:v>
                </c:pt>
                <c:pt idx="14">
                  <c:v>1.002878781428631</c:v>
                </c:pt>
                <c:pt idx="15">
                  <c:v>0.9139349410179853</c:v>
                </c:pt>
                <c:pt idx="16">
                  <c:v>0.9340889027555705</c:v>
                </c:pt>
                <c:pt idx="17">
                  <c:v>0.850182858492624</c:v>
                </c:pt>
                <c:pt idx="18">
                  <c:v>0.8021373181302532</c:v>
                </c:pt>
                <c:pt idx="19">
                  <c:v>1.018767848171066</c:v>
                </c:pt>
                <c:pt idx="20">
                  <c:v>1.0384957497432699</c:v>
                </c:pt>
                <c:pt idx="21">
                  <c:v>0.7556048252788317</c:v>
                </c:pt>
                <c:pt idx="22">
                  <c:v>1.0065825219291966</c:v>
                </c:pt>
                <c:pt idx="23">
                  <c:v>1.2051287766220902</c:v>
                </c:pt>
                <c:pt idx="24">
                  <c:v>1.0980192588033917</c:v>
                </c:pt>
                <c:pt idx="25">
                  <c:v>1.0061098088327678</c:v>
                </c:pt>
                <c:pt idx="26">
                  <c:v>1.0280436473748635</c:v>
                </c:pt>
                <c:pt idx="27">
                  <c:v>1.0645858329286988</c:v>
                </c:pt>
                <c:pt idx="28">
                  <c:v>1.0577263539466015</c:v>
                </c:pt>
                <c:pt idx="29">
                  <c:v>1.1484798174049478</c:v>
                </c:pt>
                <c:pt idx="30">
                  <c:v>1.2029612047945768</c:v>
                </c:pt>
                <c:pt idx="31">
                  <c:v>1.1692546097011127</c:v>
                </c:pt>
                <c:pt idx="32">
                  <c:v>1.1362835355682264</c:v>
                </c:pt>
                <c:pt idx="33">
                  <c:v>1.2044719784997233</c:v>
                </c:pt>
                <c:pt idx="34">
                  <c:v>1.089147271545126</c:v>
                </c:pt>
                <c:pt idx="35">
                  <c:v>1.019240499049003</c:v>
                </c:pt>
                <c:pt idx="36">
                  <c:v>1.167066334372304</c:v>
                </c:pt>
                <c:pt idx="37">
                  <c:v>1.1849357425556917</c:v>
                </c:pt>
                <c:pt idx="38">
                  <c:v>1.2185946576261208</c:v>
                </c:pt>
                <c:pt idx="39">
                  <c:v>1.2128580609540387</c:v>
                </c:pt>
                <c:pt idx="40">
                  <c:v>1.299408796925322</c:v>
                </c:pt>
                <c:pt idx="41">
                  <c:v>1.2397728551614822</c:v>
                </c:pt>
                <c:pt idx="42">
                  <c:v>1.1063347414347073</c:v>
                </c:pt>
                <c:pt idx="43">
                  <c:v>1.1907027200298106</c:v>
                </c:pt>
                <c:pt idx="44">
                  <c:v>1.0099821574595895</c:v>
                </c:pt>
                <c:pt idx="45">
                  <c:v>1.0078427511164563</c:v>
                </c:pt>
                <c:pt idx="46">
                  <c:v>0.9542264616293014</c:v>
                </c:pt>
                <c:pt idx="47">
                  <c:v>0.9739341922328821</c:v>
                </c:pt>
                <c:pt idx="48">
                  <c:v>0.9721965397782597</c:v>
                </c:pt>
                <c:pt idx="49">
                  <c:v>1.1178547048264322</c:v>
                </c:pt>
                <c:pt idx="50">
                  <c:v>0.9402063077992324</c:v>
                </c:pt>
                <c:pt idx="51">
                  <c:v>0.945060214780869</c:v>
                </c:pt>
                <c:pt idx="52">
                  <c:v>0.8565614134728384</c:v>
                </c:pt>
                <c:pt idx="53">
                  <c:v>-0.6740679968473832</c:v>
                </c:pt>
                <c:pt idx="54">
                  <c:v>1.1256417042851083</c:v>
                </c:pt>
              </c:numCache>
            </c:numRef>
          </c:xVal>
          <c:yVal>
            <c:numRef>
              <c:f>Sheet1!$B$187:$B$241</c:f>
              <c:numCache>
                <c:formatCode>General</c:formatCode>
                <c:ptCount val="55"/>
                <c:pt idx="0">
                  <c:v>0.3027054765862751</c:v>
                </c:pt>
                <c:pt idx="1">
                  <c:v>0.30316465271733667</c:v>
                </c:pt>
                <c:pt idx="2">
                  <c:v>0.2989327444734863</c:v>
                </c:pt>
                <c:pt idx="3">
                  <c:v>0.2997074617132311</c:v>
                </c:pt>
                <c:pt idx="4">
                  <c:v>0.29557105541929596</c:v>
                </c:pt>
                <c:pt idx="5">
                  <c:v>0.29974849578687024</c:v>
                </c:pt>
                <c:pt idx="6">
                  <c:v>0.3021505032617415</c:v>
                </c:pt>
                <c:pt idx="7">
                  <c:v>0.2995648786562779</c:v>
                </c:pt>
                <c:pt idx="8">
                  <c:v>0.29881026735830374</c:v>
                </c:pt>
                <c:pt idx="9">
                  <c:v>0.29939375176535393</c:v>
                </c:pt>
                <c:pt idx="10">
                  <c:v>0.30266845183918994</c:v>
                </c:pt>
                <c:pt idx="11">
                  <c:v>0.3000797817921106</c:v>
                </c:pt>
                <c:pt idx="12">
                  <c:v>0.30218623305452047</c:v>
                </c:pt>
                <c:pt idx="13">
                  <c:v>0.29860072663044895</c:v>
                </c:pt>
                <c:pt idx="14">
                  <c:v>0.3007485717997176</c:v>
                </c:pt>
                <c:pt idx="15">
                  <c:v>0.3041965540827658</c:v>
                </c:pt>
                <c:pt idx="16">
                  <c:v>0.30341526891806414</c:v>
                </c:pt>
                <c:pt idx="17">
                  <c:v>0.30666795682454084</c:v>
                </c:pt>
                <c:pt idx="18">
                  <c:v>0.30853048233709</c:v>
                </c:pt>
                <c:pt idx="19">
                  <c:v>0.30013261885267656</c:v>
                </c:pt>
                <c:pt idx="20">
                  <c:v>0.29936785026624463</c:v>
                </c:pt>
                <c:pt idx="21">
                  <c:v>0.3103343532987779</c:v>
                </c:pt>
                <c:pt idx="22">
                  <c:v>0.30060499320486495</c:v>
                </c:pt>
                <c:pt idx="23">
                  <c:v>0.2929081817631057</c:v>
                </c:pt>
                <c:pt idx="24">
                  <c:v>0.29706037170767774</c:v>
                </c:pt>
                <c:pt idx="25">
                  <c:v>0.3006233183229836</c:v>
                </c:pt>
                <c:pt idx="26">
                  <c:v>0.29977303474692907</c:v>
                </c:pt>
                <c:pt idx="27">
                  <c:v>0.29835644639419134</c:v>
                </c:pt>
                <c:pt idx="28">
                  <c:v>0.2986223598277919</c:v>
                </c:pt>
                <c:pt idx="29">
                  <c:v>0.2951042259954216</c:v>
                </c:pt>
                <c:pt idx="30">
                  <c:v>0.2929922094959312</c:v>
                </c:pt>
                <c:pt idx="31">
                  <c:v>0.294298873815434</c:v>
                </c:pt>
                <c:pt idx="32">
                  <c:v>0.29557702505039746</c:v>
                </c:pt>
                <c:pt idx="33">
                  <c:v>0.2929336430910515</c:v>
                </c:pt>
                <c:pt idx="34">
                  <c:v>0.29740430170598564</c:v>
                </c:pt>
                <c:pt idx="35">
                  <c:v>0.3001142961465097</c:v>
                </c:pt>
                <c:pt idx="36">
                  <c:v>0.2943837041367843</c:v>
                </c:pt>
                <c:pt idx="37">
                  <c:v>0.2936909815992773</c:v>
                </c:pt>
                <c:pt idx="38">
                  <c:v>0.29238616563570247</c:v>
                </c:pt>
                <c:pt idx="39">
                  <c:v>0.2926085495984256</c:v>
                </c:pt>
                <c:pt idx="40">
                  <c:v>0.28925333800832603</c:v>
                </c:pt>
                <c:pt idx="41">
                  <c:v>0.2915651751145862</c:v>
                </c:pt>
                <c:pt idx="42">
                  <c:v>0.29673801507617414</c:v>
                </c:pt>
                <c:pt idx="43">
                  <c:v>0.29346741989938113</c:v>
                </c:pt>
                <c:pt idx="44">
                  <c:v>0.30047320349325035</c:v>
                </c:pt>
                <c:pt idx="45">
                  <c:v>0.30055613936754255</c:v>
                </c:pt>
                <c:pt idx="46">
                  <c:v>0.3026346196240839</c:v>
                </c:pt>
                <c:pt idx="47">
                  <c:v>0.3018706329821028</c:v>
                </c:pt>
                <c:pt idx="48">
                  <c:v>0.3019379945312553</c:v>
                </c:pt>
                <c:pt idx="49">
                  <c:v>0.2962914340707594</c:v>
                </c:pt>
                <c:pt idx="50">
                  <c:v>0.3031781226006644</c:v>
                </c:pt>
                <c:pt idx="51">
                  <c:v>0.3029899568412484</c:v>
                </c:pt>
                <c:pt idx="52">
                  <c:v>0.3064206868116688</c:v>
                </c:pt>
                <c:pt idx="53">
                  <c:v>0.36575681469113164</c:v>
                </c:pt>
                <c:pt idx="54">
                  <c:v>0.295989564530972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90285714285714"/>
          <c:min val="0.21060606060606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3.1765</c:v>
                </c:pt>
                <c:pt idx="1">
                  <c:v>1007.7891</c:v>
                </c:pt>
                <c:pt idx="2">
                  <c:v>1039.2726</c:v>
                </c:pt>
                <c:pt idx="3">
                  <c:v>1056.1547</c:v>
                </c:pt>
                <c:pt idx="4">
                  <c:v>1050.4831</c:v>
                </c:pt>
                <c:pt idx="5">
                  <c:v>1039.3101</c:v>
                </c:pt>
                <c:pt idx="6">
                  <c:v>972.6361</c:v>
                </c:pt>
                <c:pt idx="7">
                  <c:v>998.0969</c:v>
                </c:pt>
                <c:pt idx="8">
                  <c:v>981.3059</c:v>
                </c:pt>
                <c:pt idx="9">
                  <c:v>996.4833</c:v>
                </c:pt>
                <c:pt idx="10">
                  <c:v>978.0411</c:v>
                </c:pt>
                <c:pt idx="11">
                  <c:v>1036.7491</c:v>
                </c:pt>
                <c:pt idx="12">
                  <c:v>1031.4176</c:v>
                </c:pt>
                <c:pt idx="13">
                  <c:v>1029.4562</c:v>
                </c:pt>
                <c:pt idx="14">
                  <c:v>1045.0431</c:v>
                </c:pt>
                <c:pt idx="15">
                  <c:v>1076.6347</c:v>
                </c:pt>
                <c:pt idx="16">
                  <c:v>1108.1544</c:v>
                </c:pt>
                <c:pt idx="17">
                  <c:v>1144.233</c:v>
                </c:pt>
                <c:pt idx="18">
                  <c:v>1178.7976</c:v>
                </c:pt>
                <c:pt idx="19">
                  <c:v>1117.8333</c:v>
                </c:pt>
                <c:pt idx="20">
                  <c:v>1186.7373</c:v>
                </c:pt>
                <c:pt idx="21">
                  <c:v>1197.7267</c:v>
                </c:pt>
                <c:pt idx="22">
                  <c:v>1148.1784</c:v>
                </c:pt>
                <c:pt idx="23">
                  <c:v>1129.6143</c:v>
                </c:pt>
                <c:pt idx="24">
                  <c:v>1141.0493</c:v>
                </c:pt>
                <c:pt idx="25">
                  <c:v>1106.6235</c:v>
                </c:pt>
                <c:pt idx="26">
                  <c:v>1093.6736</c:v>
                </c:pt>
                <c:pt idx="27">
                  <c:v>1093.8949</c:v>
                </c:pt>
                <c:pt idx="28">
                  <c:v>1080.2331</c:v>
                </c:pt>
                <c:pt idx="29">
                  <c:v>1066.7391</c:v>
                </c:pt>
                <c:pt idx="30">
                  <c:v>1093.3064</c:v>
                </c:pt>
                <c:pt idx="31">
                  <c:v>1036.1508</c:v>
                </c:pt>
                <c:pt idx="32">
                  <c:v>1042.6667</c:v>
                </c:pt>
                <c:pt idx="33">
                  <c:v>896.8845</c:v>
                </c:pt>
                <c:pt idx="34">
                  <c:v>978.4287</c:v>
                </c:pt>
                <c:pt idx="35">
                  <c:v>1015.1396</c:v>
                </c:pt>
                <c:pt idx="36">
                  <c:v>1020.3342</c:v>
                </c:pt>
                <c:pt idx="37">
                  <c:v>1035.7569</c:v>
                </c:pt>
                <c:pt idx="38">
                  <c:v>1133.5299</c:v>
                </c:pt>
                <c:pt idx="39">
                  <c:v>1184.1963</c:v>
                </c:pt>
                <c:pt idx="40">
                  <c:v>1174.2559</c:v>
                </c:pt>
                <c:pt idx="41">
                  <c:v>1207.5603</c:v>
                </c:pt>
                <c:pt idx="42">
                  <c:v>1283.8752</c:v>
                </c:pt>
                <c:pt idx="43">
                  <c:v>1314.1426</c:v>
                </c:pt>
                <c:pt idx="44">
                  <c:v>1285.1342</c:v>
                </c:pt>
                <c:pt idx="45">
                  <c:v>1243.2508</c:v>
                </c:pt>
                <c:pt idx="46">
                  <c:v>1213.9271</c:v>
                </c:pt>
                <c:pt idx="47">
                  <c:v>1207.6218</c:v>
                </c:pt>
                <c:pt idx="48">
                  <c:v>1216.0968</c:v>
                </c:pt>
                <c:pt idx="49">
                  <c:v>1193.0169</c:v>
                </c:pt>
                <c:pt idx="50">
                  <c:v>1183.4511</c:v>
                </c:pt>
                <c:pt idx="51">
                  <c:v>1236.8435</c:v>
                </c:pt>
                <c:pt idx="52">
                  <c:v>1226.0462</c:v>
                </c:pt>
                <c:pt idx="53">
                  <c:v>1287.5502</c:v>
                </c:pt>
                <c:pt idx="54">
                  <c:v>1282.6909</c:v>
                </c:pt>
                <c:pt idx="55">
                  <c:v>1291.9273</c:v>
                </c:pt>
                <c:pt idx="56">
                  <c:v>1294.9871</c:v>
                </c:pt>
                <c:pt idx="57">
                  <c:v>1265.5377</c:v>
                </c:pt>
                <c:pt idx="58">
                  <c:v>1222.8057</c:v>
                </c:pt>
                <c:pt idx="59">
                  <c:v>1256.542</c:v>
                </c:pt>
                <c:pt idx="60">
                  <c:v>1262.6823</c:v>
                </c:pt>
                <c:pt idx="61">
                  <c:v>1247.9244</c:v>
                </c:pt>
                <c:pt idx="62">
                  <c:v>1226.4856</c:v>
                </c:pt>
                <c:pt idx="63">
                  <c:v>1252.4936</c:v>
                </c:pt>
                <c:pt idx="64">
                  <c:v>1231.9258</c:v>
                </c:pt>
                <c:pt idx="65">
                  <c:v>1210.6613</c:v>
                </c:pt>
                <c:pt idx="66">
                  <c:v>1201.5724</c:v>
                </c:pt>
                <c:pt idx="67">
                  <c:v>1224.1892</c:v>
                </c:pt>
                <c:pt idx="68">
                  <c:v>1260.4362</c:v>
                </c:pt>
                <c:pt idx="69">
                  <c:v>1270.1836</c:v>
                </c:pt>
                <c:pt idx="70">
                  <c:v>1184.9654</c:v>
                </c:pt>
                <c:pt idx="71">
                  <c:v>1289.8543</c:v>
                </c:pt>
                <c:pt idx="72">
                  <c:v>1512.3807</c:v>
                </c:pt>
                <c:pt idx="73">
                  <c:v>1373.9097</c:v>
                </c:pt>
                <c:pt idx="74">
                  <c:v>1386.9226</c:v>
                </c:pt>
                <c:pt idx="75">
                  <c:v>1196.8998</c:v>
                </c:pt>
                <c:pt idx="76">
                  <c:v>1160.6417</c:v>
                </c:pt>
                <c:pt idx="77">
                  <c:v>1128.5131</c:v>
                </c:pt>
                <c:pt idx="78">
                  <c:v>1353.5212</c:v>
                </c:pt>
                <c:pt idx="79">
                  <c:v>1176.9464</c:v>
                </c:pt>
                <c:pt idx="80">
                  <c:v>1318.8</c:v>
                </c:pt>
                <c:pt idx="81">
                  <c:v>1323.2687</c:v>
                </c:pt>
                <c:pt idx="82">
                  <c:v>1298.9342</c:v>
                </c:pt>
                <c:pt idx="83">
                  <c:v>1253.0224</c:v>
                </c:pt>
                <c:pt idx="84">
                  <c:v>1296.6773</c:v>
                </c:pt>
                <c:pt idx="85">
                  <c:v>1301.7967</c:v>
                </c:pt>
                <c:pt idx="86">
                  <c:v>1266.5533</c:v>
                </c:pt>
                <c:pt idx="87">
                  <c:v>1263.6676</c:v>
                </c:pt>
                <c:pt idx="88">
                  <c:v>1322.9298</c:v>
                </c:pt>
                <c:pt idx="89">
                  <c:v>1277.7367</c:v>
                </c:pt>
                <c:pt idx="90">
                  <c:v>1336.5401</c:v>
                </c:pt>
                <c:pt idx="91">
                  <c:v>1386.5206</c:v>
                </c:pt>
                <c:pt idx="92">
                  <c:v>1330.4593</c:v>
                </c:pt>
                <c:pt idx="93">
                  <c:v>1383.7146</c:v>
                </c:pt>
                <c:pt idx="94">
                  <c:v>1392.3587</c:v>
                </c:pt>
                <c:pt idx="95">
                  <c:v>1410.3723</c:v>
                </c:pt>
                <c:pt idx="96">
                  <c:v>1351.2918</c:v>
                </c:pt>
                <c:pt idx="97">
                  <c:v>1330.7969</c:v>
                </c:pt>
                <c:pt idx="98">
                  <c:v>1295.2448</c:v>
                </c:pt>
                <c:pt idx="99">
                  <c:v>1257.6525</c:v>
                </c:pt>
                <c:pt idx="100">
                  <c:v>1252.1934</c:v>
                </c:pt>
                <c:pt idx="101">
                  <c:v>1243.7586</c:v>
                </c:pt>
                <c:pt idx="102">
                  <c:v>1271.1667</c:v>
                </c:pt>
                <c:pt idx="103">
                  <c:v>1249.1304</c:v>
                </c:pt>
                <c:pt idx="104">
                  <c:v>1317.1711</c:v>
                </c:pt>
              </c:numCache>
            </c:numRef>
          </c:xVal>
          <c:yVal>
            <c:numRef>
              <c:f>Sheet1!$B$2:$B$106</c:f>
              <c:numCache>
                <c:formatCode>General</c:formatCode>
                <c:ptCount val="105"/>
                <c:pt idx="0">
                  <c:v>0.30859835100117783</c:v>
                </c:pt>
                <c:pt idx="1">
                  <c:v>0.3329857490441432</c:v>
                </c:pt>
                <c:pt idx="2">
                  <c:v>0.341024770953512</c:v>
                </c:pt>
                <c:pt idx="3">
                  <c:v>0.3513318934485241</c:v>
                </c:pt>
                <c:pt idx="4">
                  <c:v>0.3512658227848101</c:v>
                </c:pt>
                <c:pt idx="5">
                  <c:v>0.33796296296296297</c:v>
                </c:pt>
                <c:pt idx="6">
                  <c:v>0.3574774774774775</c:v>
                </c:pt>
                <c:pt idx="7">
                  <c:v>0.3692434210526316</c:v>
                </c:pt>
                <c:pt idx="8">
                  <c:v>0.38435228730226595</c:v>
                </c:pt>
                <c:pt idx="9">
                  <c:v>0.3632887189292543</c:v>
                </c:pt>
                <c:pt idx="10">
                  <c:v>0.34970059880239523</c:v>
                </c:pt>
                <c:pt idx="11">
                  <c:v>0.3315674665004674</c:v>
                </c:pt>
                <c:pt idx="12">
                  <c:v>0.3203994293865906</c:v>
                </c:pt>
                <c:pt idx="13">
                  <c:v>0.31703789412785655</c:v>
                </c:pt>
                <c:pt idx="14">
                  <c:v>0.3216761184625079</c:v>
                </c:pt>
                <c:pt idx="15">
                  <c:v>0.3128246104674391</c:v>
                </c:pt>
                <c:pt idx="16">
                  <c:v>0.29620622568093385</c:v>
                </c:pt>
                <c:pt idx="17">
                  <c:v>0.2984737139626908</c:v>
                </c:pt>
                <c:pt idx="18">
                  <c:v>0.2845528455284553</c:v>
                </c:pt>
                <c:pt idx="19">
                  <c:v>0.3085966201322557</c:v>
                </c:pt>
                <c:pt idx="20">
                  <c:v>0.30612244897959184</c:v>
                </c:pt>
                <c:pt idx="21">
                  <c:v>0.3631100082712986</c:v>
                </c:pt>
                <c:pt idx="22">
                  <c:v>0.3620414673046252</c:v>
                </c:pt>
                <c:pt idx="23">
                  <c:v>0.35520918785890077</c:v>
                </c:pt>
                <c:pt idx="24">
                  <c:v>0.3521870286576169</c:v>
                </c:pt>
                <c:pt idx="25">
                  <c:v>0.3562447611064543</c:v>
                </c:pt>
                <c:pt idx="26">
                  <c:v>0.36904761904761907</c:v>
                </c:pt>
                <c:pt idx="27">
                  <c:v>0.34688156972669937</c:v>
                </c:pt>
                <c:pt idx="28">
                  <c:v>0.3676572218382861</c:v>
                </c:pt>
                <c:pt idx="29">
                  <c:v>0.3705848291835553</c:v>
                </c:pt>
                <c:pt idx="30">
                  <c:v>0.36870229007633587</c:v>
                </c:pt>
                <c:pt idx="31">
                  <c:v>0.3648867313915858</c:v>
                </c:pt>
                <c:pt idx="32">
                  <c:v>0.38702111024237684</c:v>
                </c:pt>
                <c:pt idx="33">
                  <c:v>0.39085714285714285</c:v>
                </c:pt>
                <c:pt idx="34">
                  <c:v>0.36351763169351325</c:v>
                </c:pt>
                <c:pt idx="35">
                  <c:v>0.36013864818024266</c:v>
                </c:pt>
                <c:pt idx="36">
                  <c:v>0.3617533718689788</c:v>
                </c:pt>
                <c:pt idx="37">
                  <c:v>0.3535816618911175</c:v>
                </c:pt>
                <c:pt idx="38">
                  <c:v>0.3263795423956931</c:v>
                </c:pt>
                <c:pt idx="39">
                  <c:v>0.30736842105263157</c:v>
                </c:pt>
                <c:pt idx="40">
                  <c:v>0.3264218009478673</c:v>
                </c:pt>
                <c:pt idx="41">
                  <c:v>0.35157318741450067</c:v>
                </c:pt>
                <c:pt idx="42">
                  <c:v>0.34780125642490006</c:v>
                </c:pt>
                <c:pt idx="43">
                  <c:v>0.3492063492063492</c:v>
                </c:pt>
                <c:pt idx="44">
                  <c:v>0.28996566196108353</c:v>
                </c:pt>
                <c:pt idx="45">
                  <c:v>0.30390600190536676</c:v>
                </c:pt>
                <c:pt idx="46">
                  <c:v>0.3045829775120979</c:v>
                </c:pt>
                <c:pt idx="47">
                  <c:v>0.29301075268817206</c:v>
                </c:pt>
                <c:pt idx="48">
                  <c:v>0.29035068612502724</c:v>
                </c:pt>
                <c:pt idx="49">
                  <c:v>0.27346709695524063</c:v>
                </c:pt>
                <c:pt idx="50">
                  <c:v>0.2884167636786962</c:v>
                </c:pt>
                <c:pt idx="51">
                  <c:v>0.2830112721417069</c:v>
                </c:pt>
                <c:pt idx="52">
                  <c:v>0.27760891590678827</c:v>
                </c:pt>
                <c:pt idx="53">
                  <c:v>0.2828890799656062</c:v>
                </c:pt>
                <c:pt idx="54">
                  <c:v>0.3015952143569292</c:v>
                </c:pt>
                <c:pt idx="55">
                  <c:v>0.30009920634920634</c:v>
                </c:pt>
                <c:pt idx="56">
                  <c:v>0.29903846153846153</c:v>
                </c:pt>
                <c:pt idx="57">
                  <c:v>0.28243300723096554</c:v>
                </c:pt>
                <c:pt idx="58">
                  <c:v>0.2963350785340314</c:v>
                </c:pt>
                <c:pt idx="59">
                  <c:v>0.27113010446343777</c:v>
                </c:pt>
                <c:pt idx="60">
                  <c:v>0.290414878397711</c:v>
                </c:pt>
                <c:pt idx="61">
                  <c:v>0.29633084577114427</c:v>
                </c:pt>
                <c:pt idx="62">
                  <c:v>0.27869727709556863</c:v>
                </c:pt>
                <c:pt idx="63">
                  <c:v>0.2633213859020311</c:v>
                </c:pt>
                <c:pt idx="64">
                  <c:v>0.2663755458515284</c:v>
                </c:pt>
                <c:pt idx="65">
                  <c:v>0.2740331491712707</c:v>
                </c:pt>
                <c:pt idx="66">
                  <c:v>0.2967684553809665</c:v>
                </c:pt>
                <c:pt idx="67">
                  <c:v>0.29462508294625084</c:v>
                </c:pt>
                <c:pt idx="68">
                  <c:v>0.2768336314847943</c:v>
                </c:pt>
                <c:pt idx="69">
                  <c:v>0.2731117824773414</c:v>
                </c:pt>
                <c:pt idx="70">
                  <c:v>0.29233511586452765</c:v>
                </c:pt>
                <c:pt idx="71">
                  <c:v>0.31636863823933975</c:v>
                </c:pt>
                <c:pt idx="72">
                  <c:v>0.2920478536242083</c:v>
                </c:pt>
                <c:pt idx="73">
                  <c:v>0.3116883116883117</c:v>
                </c:pt>
                <c:pt idx="74">
                  <c:v>0.3023415977961432</c:v>
                </c:pt>
                <c:pt idx="75">
                  <c:v>0.36232980332829046</c:v>
                </c:pt>
                <c:pt idx="76">
                  <c:v>0.36658354114713215</c:v>
                </c:pt>
                <c:pt idx="77">
                  <c:v>0.3598290598290598</c:v>
                </c:pt>
                <c:pt idx="78">
                  <c:v>0.3390970220941403</c:v>
                </c:pt>
                <c:pt idx="79">
                  <c:v>0.345679012345679</c:v>
                </c:pt>
                <c:pt idx="80">
                  <c:v>0.3253424657534247</c:v>
                </c:pt>
                <c:pt idx="81">
                  <c:v>0.3321529745042493</c:v>
                </c:pt>
                <c:pt idx="82">
                  <c:v>0.3377777777777778</c:v>
                </c:pt>
                <c:pt idx="83">
                  <c:v>0.34700665188470065</c:v>
                </c:pt>
                <c:pt idx="84">
                  <c:v>0.3336886993603412</c:v>
                </c:pt>
                <c:pt idx="85">
                  <c:v>0.33899905571293676</c:v>
                </c:pt>
                <c:pt idx="86">
                  <c:v>0.3653483992467043</c:v>
                </c:pt>
                <c:pt idx="87">
                  <c:v>0.37566137566137564</c:v>
                </c:pt>
                <c:pt idx="88">
                  <c:v>0.3853503184713376</c:v>
                </c:pt>
                <c:pt idx="89">
                  <c:v>0.3905660377358491</c:v>
                </c:pt>
                <c:pt idx="90">
                  <c:v>0.3827893175074184</c:v>
                </c:pt>
                <c:pt idx="91">
                  <c:v>0.3695652173913043</c:v>
                </c:pt>
                <c:pt idx="92">
                  <c:v>0.35303514376996803</c:v>
                </c:pt>
                <c:pt idx="93">
                  <c:v>0.3188291139240506</c:v>
                </c:pt>
                <c:pt idx="94">
                  <c:v>0.34288121314237574</c:v>
                </c:pt>
                <c:pt idx="95">
                  <c:v>0.32620011567379986</c:v>
                </c:pt>
                <c:pt idx="96">
                  <c:v>0.30723905723905726</c:v>
                </c:pt>
                <c:pt idx="97">
                  <c:v>0.28172332547963647</c:v>
                </c:pt>
                <c:pt idx="98">
                  <c:v>0.2830985915492958</c:v>
                </c:pt>
                <c:pt idx="99">
                  <c:v>0.2910089224433768</c:v>
                </c:pt>
                <c:pt idx="100">
                  <c:v>0.29144057412917906</c:v>
                </c:pt>
                <c:pt idx="101">
                  <c:v>0.3195843828715365</c:v>
                </c:pt>
                <c:pt idx="102">
                  <c:v>0.31549028896257697</c:v>
                </c:pt>
                <c:pt idx="103">
                  <c:v>0.306432281262485</c:v>
                </c:pt>
                <c:pt idx="104">
                  <c:v>0.31088335773548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8.3102</c:v>
                </c:pt>
                <c:pt idx="1">
                  <c:v>1371.3971</c:v>
                </c:pt>
                <c:pt idx="2">
                  <c:v>1384.9501</c:v>
                </c:pt>
                <c:pt idx="3">
                  <c:v>1421.2622</c:v>
                </c:pt>
                <c:pt idx="4">
                  <c:v>1381.2514</c:v>
                </c:pt>
                <c:pt idx="5">
                  <c:v>1447.0306</c:v>
                </c:pt>
                <c:pt idx="6">
                  <c:v>1350.3701</c:v>
                </c:pt>
                <c:pt idx="7">
                  <c:v>1337.9601</c:v>
                </c:pt>
                <c:pt idx="8">
                  <c:v>1416.4111</c:v>
                </c:pt>
                <c:pt idx="9">
                  <c:v>1386.3053</c:v>
                </c:pt>
                <c:pt idx="10">
                  <c:v>1367.7397</c:v>
                </c:pt>
                <c:pt idx="11">
                  <c:v>1300.6513</c:v>
                </c:pt>
                <c:pt idx="12">
                  <c:v>1310.8014</c:v>
                </c:pt>
                <c:pt idx="13">
                  <c:v>1326.8555</c:v>
                </c:pt>
                <c:pt idx="14">
                  <c:v>1331.0142</c:v>
                </c:pt>
                <c:pt idx="15">
                  <c:v>1364.2624</c:v>
                </c:pt>
                <c:pt idx="16">
                  <c:v>1411.311</c:v>
                </c:pt>
                <c:pt idx="17">
                  <c:v>1336.0525</c:v>
                </c:pt>
                <c:pt idx="18">
                  <c:v>1201.5482</c:v>
                </c:pt>
                <c:pt idx="19">
                  <c:v>1380.472</c:v>
                </c:pt>
                <c:pt idx="20">
                  <c:v>1482.6258</c:v>
                </c:pt>
                <c:pt idx="21">
                  <c:v>1160.567</c:v>
                </c:pt>
                <c:pt idx="22">
                  <c:v>1304.0495</c:v>
                </c:pt>
                <c:pt idx="23">
                  <c:v>1459.893</c:v>
                </c:pt>
                <c:pt idx="24">
                  <c:v>1533.3201</c:v>
                </c:pt>
                <c:pt idx="25">
                  <c:v>1385.6591</c:v>
                </c:pt>
                <c:pt idx="26">
                  <c:v>1406.6273</c:v>
                </c:pt>
                <c:pt idx="27">
                  <c:v>1400.7781</c:v>
                </c:pt>
                <c:pt idx="28">
                  <c:v>1471.2175</c:v>
                </c:pt>
                <c:pt idx="29">
                  <c:v>1489.8187</c:v>
                </c:pt>
                <c:pt idx="30">
                  <c:v>1402.3827</c:v>
                </c:pt>
                <c:pt idx="31">
                  <c:v>1286.6376</c:v>
                </c:pt>
                <c:pt idx="32">
                  <c:v>1393.3553</c:v>
                </c:pt>
                <c:pt idx="33">
                  <c:v>1523.7775</c:v>
                </c:pt>
                <c:pt idx="34">
                  <c:v>1519.8596</c:v>
                </c:pt>
                <c:pt idx="35">
                  <c:v>1502.8216</c:v>
                </c:pt>
                <c:pt idx="36">
                  <c:v>1553.5861</c:v>
                </c:pt>
                <c:pt idx="37">
                  <c:v>1505.8558</c:v>
                </c:pt>
                <c:pt idx="38">
                  <c:v>1516.9689</c:v>
                </c:pt>
                <c:pt idx="39">
                  <c:v>1505.6272</c:v>
                </c:pt>
                <c:pt idx="40">
                  <c:v>1490.6858</c:v>
                </c:pt>
                <c:pt idx="41">
                  <c:v>1564.2834</c:v>
                </c:pt>
                <c:pt idx="42">
                  <c:v>1561.3544</c:v>
                </c:pt>
                <c:pt idx="43">
                  <c:v>1536.3355</c:v>
                </c:pt>
                <c:pt idx="44">
                  <c:v>1460.8693</c:v>
                </c:pt>
                <c:pt idx="45">
                  <c:v>1464.7017</c:v>
                </c:pt>
                <c:pt idx="46">
                  <c:v>1426.0278</c:v>
                </c:pt>
                <c:pt idx="47">
                  <c:v>1376.3825</c:v>
                </c:pt>
                <c:pt idx="48">
                  <c:v>1333.4254</c:v>
                </c:pt>
                <c:pt idx="49">
                  <c:v>1382.7268</c:v>
                </c:pt>
                <c:pt idx="50">
                  <c:v>1325.8732</c:v>
                </c:pt>
                <c:pt idx="51">
                  <c:v>1243.7361</c:v>
                </c:pt>
              </c:numCache>
            </c:numRef>
          </c:xVal>
          <c:yVal>
            <c:numRef>
              <c:f>Sheet1!$B$109:$B$160</c:f>
              <c:numCache>
                <c:formatCode>General</c:formatCode>
                <c:ptCount val="52"/>
                <c:pt idx="0">
                  <c:v>0.32187645146307475</c:v>
                </c:pt>
                <c:pt idx="1">
                  <c:v>0.30357142857142855</c:v>
                </c:pt>
                <c:pt idx="2">
                  <c:v>0.29553119730185495</c:v>
                </c:pt>
                <c:pt idx="3">
                  <c:v>0.2965931863727455</c:v>
                </c:pt>
                <c:pt idx="4">
                  <c:v>0.3148636763412489</c:v>
                </c:pt>
                <c:pt idx="5">
                  <c:v>0.2991765782250686</c:v>
                </c:pt>
                <c:pt idx="6">
                  <c:v>0.3151862464183381</c:v>
                </c:pt>
                <c:pt idx="7">
                  <c:v>0.30973871733966746</c:v>
                </c:pt>
                <c:pt idx="8">
                  <c:v>0.3012486992715921</c:v>
                </c:pt>
                <c:pt idx="9">
                  <c:v>0.3000458085203848</c:v>
                </c:pt>
                <c:pt idx="10">
                  <c:v>0.31050616758826033</c:v>
                </c:pt>
                <c:pt idx="11">
                  <c:v>0.2874768661320173</c:v>
                </c:pt>
                <c:pt idx="12">
                  <c:v>0.2834242837653479</c:v>
                </c:pt>
                <c:pt idx="13">
                  <c:v>0.31003861003861005</c:v>
                </c:pt>
                <c:pt idx="14">
                  <c:v>0.30782684739833843</c:v>
                </c:pt>
                <c:pt idx="15">
                  <c:v>0.2862944162436548</c:v>
                </c:pt>
                <c:pt idx="16">
                  <c:v>0.28435114503816794</c:v>
                </c:pt>
                <c:pt idx="17">
                  <c:v>0.29475100942126514</c:v>
                </c:pt>
                <c:pt idx="18">
                  <c:v>0.3016323633782825</c:v>
                </c:pt>
                <c:pt idx="19">
                  <c:v>0.30220588235294116</c:v>
                </c:pt>
                <c:pt idx="20">
                  <c:v>0.2969518190757129</c:v>
                </c:pt>
                <c:pt idx="21">
                  <c:v>0.37136929460580914</c:v>
                </c:pt>
                <c:pt idx="22">
                  <c:v>0.30360721442885774</c:v>
                </c:pt>
                <c:pt idx="23">
                  <c:v>0.28530534351145037</c:v>
                </c:pt>
                <c:pt idx="24">
                  <c:v>0.26325757575757575</c:v>
                </c:pt>
                <c:pt idx="25">
                  <c:v>0.2916666666666667</c:v>
                </c:pt>
                <c:pt idx="26">
                  <c:v>0.308411214953271</c:v>
                </c:pt>
                <c:pt idx="27">
                  <c:v>0.30092983939137785</c:v>
                </c:pt>
                <c:pt idx="28">
                  <c:v>0.26823338735818475</c:v>
                </c:pt>
                <c:pt idx="29">
                  <c:v>0.3149171270718232</c:v>
                </c:pt>
                <c:pt idx="30">
                  <c:v>0.3290441176470588</c:v>
                </c:pt>
                <c:pt idx="31">
                  <c:v>0.3113897596656217</c:v>
                </c:pt>
                <c:pt idx="32">
                  <c:v>0.2783882783882784</c:v>
                </c:pt>
                <c:pt idx="33">
                  <c:v>0.2710765239948119</c:v>
                </c:pt>
                <c:pt idx="34">
                  <c:v>0.3048128342245989</c:v>
                </c:pt>
                <c:pt idx="35">
                  <c:v>0.28862478777589134</c:v>
                </c:pt>
                <c:pt idx="36">
                  <c:v>0.2932330827067669</c:v>
                </c:pt>
                <c:pt idx="37">
                  <c:v>0.29186155285313375</c:v>
                </c:pt>
                <c:pt idx="38">
                  <c:v>0.29979253112033194</c:v>
                </c:pt>
                <c:pt idx="39">
                  <c:v>0.2953682611996963</c:v>
                </c:pt>
                <c:pt idx="40">
                  <c:v>0.29637841832963785</c:v>
                </c:pt>
                <c:pt idx="41">
                  <c:v>0.3026222537207654</c:v>
                </c:pt>
                <c:pt idx="42">
                  <c:v>0.3137931034482759</c:v>
                </c:pt>
                <c:pt idx="43">
                  <c:v>0.28580323785803236</c:v>
                </c:pt>
                <c:pt idx="44">
                  <c:v>0.2723053120165034</c:v>
                </c:pt>
                <c:pt idx="45">
                  <c:v>0.28406121687196717</c:v>
                </c:pt>
                <c:pt idx="46">
                  <c:v>0.3072983354673495</c:v>
                </c:pt>
                <c:pt idx="47">
                  <c:v>0.30445151033386325</c:v>
                </c:pt>
                <c:pt idx="48">
                  <c:v>0.2886379675370501</c:v>
                </c:pt>
                <c:pt idx="49">
                  <c:v>0.2931825129929685</c:v>
                </c:pt>
                <c:pt idx="50">
                  <c:v>0.2897098726779378</c:v>
                </c:pt>
                <c:pt idx="51">
                  <c:v>0.31425233644859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12.4883363325478</c:v>
                </c:pt>
              </c:numCache>
            </c:numRef>
          </c:xVal>
          <c:yVal>
            <c:numRef>
              <c:f>Sheet1!$B$163:$B$164</c:f>
              <c:numCache>
                <c:formatCode>General</c:formatCode>
                <c:ptCount val="2"/>
                <c:pt idx="0">
                  <c:v>0.36575681469113164</c:v>
                </c:pt>
                <c:pt idx="1">
                  <c:v>0.3657568146911316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12.4883363325478</c:v>
                </c:pt>
                <c:pt idx="1">
                  <c:v>612.4883363325478</c:v>
                </c:pt>
              </c:numCache>
            </c:numRef>
          </c:xVal>
          <c:yVal>
            <c:numRef>
              <c:f>Sheet1!$B$167:$B$168</c:f>
              <c:numCache>
                <c:formatCode>General</c:formatCode>
                <c:ptCount val="2"/>
                <c:pt idx="0">
                  <c:v>0.3657568146911316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17.7046279766125</c:v>
                </c:pt>
              </c:numCache>
            </c:numRef>
          </c:xVal>
          <c:yVal>
            <c:numRef>
              <c:f>Sheet1!$B$171:$B$172</c:f>
              <c:numCache>
                <c:formatCode>General</c:formatCode>
                <c:ptCount val="2"/>
                <c:pt idx="0">
                  <c:v>0.3064206868116688</c:v>
                </c:pt>
                <c:pt idx="1">
                  <c:v>0.30642068681166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17.7046279766125</c:v>
                </c:pt>
                <c:pt idx="1">
                  <c:v>1317.7046279766125</c:v>
                </c:pt>
              </c:numCache>
            </c:numRef>
          </c:xVal>
          <c:yVal>
            <c:numRef>
              <c:f>Sheet1!$B$175:$B$176</c:f>
              <c:numCache>
                <c:formatCode>General</c:formatCode>
                <c:ptCount val="2"/>
                <c:pt idx="0">
                  <c:v>0.30642068681166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1.6796434582739</c:v>
                </c:pt>
              </c:numCache>
            </c:numRef>
          </c:xVal>
          <c:yVal>
            <c:numRef>
              <c:f>Sheet1!$B$179:$B$180</c:f>
              <c:numCache>
                <c:formatCode>General</c:formatCode>
                <c:ptCount val="2"/>
                <c:pt idx="0">
                  <c:v>0.29598956453097275</c:v>
                </c:pt>
                <c:pt idx="1">
                  <c:v>0.295989564530972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1.6796434582739</c:v>
                </c:pt>
                <c:pt idx="1">
                  <c:v>1441.6796434582739</c:v>
                </c:pt>
              </c:numCache>
            </c:numRef>
          </c:xVal>
          <c:yVal>
            <c:numRef>
              <c:f>Sheet1!$B$183:$B$184</c:f>
              <c:numCache>
                <c:formatCode>General</c:formatCode>
                <c:ptCount val="2"/>
                <c:pt idx="0">
                  <c:v>0.295989564530972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8.3102</c:v>
                </c:pt>
                <c:pt idx="1">
                  <c:v>1371.3971</c:v>
                </c:pt>
                <c:pt idx="2">
                  <c:v>1384.9501</c:v>
                </c:pt>
                <c:pt idx="3">
                  <c:v>1421.2622</c:v>
                </c:pt>
                <c:pt idx="4">
                  <c:v>1381.2514</c:v>
                </c:pt>
                <c:pt idx="5">
                  <c:v>1447.0306</c:v>
                </c:pt>
                <c:pt idx="6">
                  <c:v>1350.3701</c:v>
                </c:pt>
                <c:pt idx="7">
                  <c:v>1337.9601</c:v>
                </c:pt>
                <c:pt idx="8">
                  <c:v>1416.4111</c:v>
                </c:pt>
                <c:pt idx="9">
                  <c:v>1386.3053</c:v>
                </c:pt>
                <c:pt idx="10">
                  <c:v>1367.7397</c:v>
                </c:pt>
                <c:pt idx="11">
                  <c:v>1300.6513</c:v>
                </c:pt>
                <c:pt idx="12">
                  <c:v>1310.8014</c:v>
                </c:pt>
                <c:pt idx="13">
                  <c:v>1326.8555</c:v>
                </c:pt>
                <c:pt idx="14">
                  <c:v>1331.0142</c:v>
                </c:pt>
                <c:pt idx="15">
                  <c:v>1364.2624</c:v>
                </c:pt>
                <c:pt idx="16">
                  <c:v>1411.311</c:v>
                </c:pt>
                <c:pt idx="17">
                  <c:v>1336.0525</c:v>
                </c:pt>
                <c:pt idx="18">
                  <c:v>1201.5482</c:v>
                </c:pt>
                <c:pt idx="19">
                  <c:v>1380.472</c:v>
                </c:pt>
                <c:pt idx="20">
                  <c:v>1482.6258</c:v>
                </c:pt>
                <c:pt idx="21">
                  <c:v>1160.567</c:v>
                </c:pt>
                <c:pt idx="22">
                  <c:v>1304.0495</c:v>
                </c:pt>
                <c:pt idx="23">
                  <c:v>1459.893</c:v>
                </c:pt>
                <c:pt idx="24">
                  <c:v>1533.3201</c:v>
                </c:pt>
                <c:pt idx="25">
                  <c:v>1385.6591</c:v>
                </c:pt>
                <c:pt idx="26">
                  <c:v>1406.6273</c:v>
                </c:pt>
                <c:pt idx="27">
                  <c:v>1400.7781</c:v>
                </c:pt>
                <c:pt idx="28">
                  <c:v>1471.2175</c:v>
                </c:pt>
                <c:pt idx="29">
                  <c:v>1489.8187</c:v>
                </c:pt>
                <c:pt idx="30">
                  <c:v>1402.3827</c:v>
                </c:pt>
                <c:pt idx="31">
                  <c:v>1286.6376</c:v>
                </c:pt>
                <c:pt idx="32">
                  <c:v>1393.3553</c:v>
                </c:pt>
                <c:pt idx="33">
                  <c:v>1523.7775</c:v>
                </c:pt>
                <c:pt idx="34">
                  <c:v>1519.8596</c:v>
                </c:pt>
                <c:pt idx="35">
                  <c:v>1502.8216</c:v>
                </c:pt>
                <c:pt idx="36">
                  <c:v>1553.5861</c:v>
                </c:pt>
                <c:pt idx="37">
                  <c:v>1505.8558</c:v>
                </c:pt>
                <c:pt idx="38">
                  <c:v>1516.9689</c:v>
                </c:pt>
                <c:pt idx="39">
                  <c:v>1505.6272</c:v>
                </c:pt>
                <c:pt idx="40">
                  <c:v>1490.6858</c:v>
                </c:pt>
                <c:pt idx="41">
                  <c:v>1564.2834</c:v>
                </c:pt>
                <c:pt idx="42">
                  <c:v>1561.3544</c:v>
                </c:pt>
                <c:pt idx="43">
                  <c:v>1536.3355</c:v>
                </c:pt>
                <c:pt idx="44">
                  <c:v>1460.8693</c:v>
                </c:pt>
                <c:pt idx="45">
                  <c:v>1464.7017</c:v>
                </c:pt>
                <c:pt idx="46">
                  <c:v>1426.0278</c:v>
                </c:pt>
                <c:pt idx="47">
                  <c:v>1376.3825</c:v>
                </c:pt>
                <c:pt idx="48">
                  <c:v>1333.4254</c:v>
                </c:pt>
                <c:pt idx="49">
                  <c:v>1382.7268</c:v>
                </c:pt>
                <c:pt idx="50">
                  <c:v>1325.8732</c:v>
                </c:pt>
                <c:pt idx="51">
                  <c:v>1243.7361</c:v>
                </c:pt>
                <c:pt idx="52">
                  <c:v>1317.7046279766125</c:v>
                </c:pt>
                <c:pt idx="53">
                  <c:v>612.4883363325478</c:v>
                </c:pt>
                <c:pt idx="54">
                  <c:v>1441.6796434582739</c:v>
                </c:pt>
              </c:numCache>
            </c:numRef>
          </c:xVal>
          <c:yVal>
            <c:numRef>
              <c:f>Sheet1!$B$187:$B$241</c:f>
              <c:numCache>
                <c:formatCode>General</c:formatCode>
                <c:ptCount val="55"/>
                <c:pt idx="0">
                  <c:v>0.3063697346435954</c:v>
                </c:pt>
                <c:pt idx="1">
                  <c:v>0.30190306090895896</c:v>
                </c:pt>
                <c:pt idx="2">
                  <c:v>0.30076272630427253</c:v>
                </c:pt>
                <c:pt idx="3">
                  <c:v>0.29770746590444713</c:v>
                </c:pt>
                <c:pt idx="4">
                  <c:v>0.3010739308790791</c:v>
                </c:pt>
                <c:pt idx="5">
                  <c:v>0.2955393408968915</c:v>
                </c:pt>
                <c:pt idx="6">
                  <c:v>0.3036722497035241</c:v>
                </c:pt>
                <c:pt idx="7">
                  <c:v>0.30471641353766843</c:v>
                </c:pt>
                <c:pt idx="8">
                  <c:v>0.2981156321555203</c:v>
                </c:pt>
                <c:pt idx="9">
                  <c:v>0.30064870125769455</c:v>
                </c:pt>
                <c:pt idx="10">
                  <c:v>0.3022107905469122</c:v>
                </c:pt>
                <c:pt idx="11">
                  <c:v>0.3078555351859622</c:v>
                </c:pt>
                <c:pt idx="12">
                  <c:v>0.3070015168674329</c:v>
                </c:pt>
                <c:pt idx="13">
                  <c:v>0.30565074244279655</c:v>
                </c:pt>
                <c:pt idx="14">
                  <c:v>0.3053008339708339</c:v>
                </c:pt>
                <c:pt idx="15">
                  <c:v>0.30250336676773976</c:v>
                </c:pt>
                <c:pt idx="16">
                  <c:v>0.29854474899440175</c:v>
                </c:pt>
                <c:pt idx="17">
                  <c:v>0.3048769169163964</c:v>
                </c:pt>
                <c:pt idx="18">
                  <c:v>0.3161939616864934</c:v>
                </c:pt>
                <c:pt idx="19">
                  <c:v>0.30113950874308654</c:v>
                </c:pt>
                <c:pt idx="20">
                  <c:v>0.29254439967939466</c:v>
                </c:pt>
                <c:pt idx="21">
                  <c:v>0.31964207505634323</c:v>
                </c:pt>
                <c:pt idx="22">
                  <c:v>0.3075696143526673</c:v>
                </c:pt>
                <c:pt idx="23">
                  <c:v>0.2944571126212832</c:v>
                </c:pt>
                <c:pt idx="24">
                  <c:v>0.28827903669331373</c:v>
                </c:pt>
                <c:pt idx="25">
                  <c:v>0.3007030718193081</c:v>
                </c:pt>
                <c:pt idx="26">
                  <c:v>0.2989388303924664</c:v>
                </c:pt>
                <c:pt idx="27">
                  <c:v>0.2994309756864775</c:v>
                </c:pt>
                <c:pt idx="28">
                  <c:v>0.29350428157053643</c:v>
                </c:pt>
                <c:pt idx="29">
                  <c:v>0.29193919693623455</c:v>
                </c:pt>
                <c:pt idx="30">
                  <c:v>0.29929596639652833</c:v>
                </c:pt>
                <c:pt idx="31">
                  <c:v>0.30903463258503944</c:v>
                </c:pt>
                <c:pt idx="32">
                  <c:v>0.3000555219643249</c:v>
                </c:pt>
                <c:pt idx="33">
                  <c:v>0.289081940625925</c:v>
                </c:pt>
                <c:pt idx="34">
                  <c:v>0.2894115884491155</c:v>
                </c:pt>
                <c:pt idx="35">
                  <c:v>0.29084514714421233</c:v>
                </c:pt>
                <c:pt idx="36">
                  <c:v>0.28657387760686975</c:v>
                </c:pt>
                <c:pt idx="37">
                  <c:v>0.29058985287301486</c:v>
                </c:pt>
                <c:pt idx="38">
                  <c:v>0.2896548087871784</c:v>
                </c:pt>
                <c:pt idx="39">
                  <c:v>0.2906090870271233</c:v>
                </c:pt>
                <c:pt idx="40">
                  <c:v>0.29186624009009543</c:v>
                </c:pt>
                <c:pt idx="41">
                  <c:v>0.28567381847850615</c:v>
                </c:pt>
                <c:pt idx="42">
                  <c:v>0.2859202613367019</c:v>
                </c:pt>
                <c:pt idx="43">
                  <c:v>0.2880253242335652</c:v>
                </c:pt>
                <c:pt idx="44">
                  <c:v>0.29437496780651484</c:v>
                </c:pt>
                <c:pt idx="45">
                  <c:v>0.294052513859861</c:v>
                </c:pt>
                <c:pt idx="46">
                  <c:v>0.29730649352991056</c:v>
                </c:pt>
                <c:pt idx="47">
                  <c:v>0.3014835948026944</c:v>
                </c:pt>
                <c:pt idx="48">
                  <c:v>0.3050979582386108</c:v>
                </c:pt>
                <c:pt idx="49">
                  <c:v>0.30094979233589647</c:v>
                </c:pt>
                <c:pt idx="50">
                  <c:v>0.30573339209100603</c:v>
                </c:pt>
                <c:pt idx="51">
                  <c:v>0.3126443178977344</c:v>
                </c:pt>
                <c:pt idx="52">
                  <c:v>0.3064206868116688</c:v>
                </c:pt>
                <c:pt idx="53">
                  <c:v>0.36575681469113164</c:v>
                </c:pt>
                <c:pt idx="54">
                  <c:v>0.295989564530972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77.0"/>
          <c:min val="4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90285714285714"/>
          <c:min val="0.21060606060606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123807796854571</c:v>
                </c:pt>
                <c:pt idx="1">
                  <c:v>0.7953198119146191</c:v>
                </c:pt>
                <c:pt idx="2">
                  <c:v>0.7849872736233802</c:v>
                </c:pt>
                <c:pt idx="3">
                  <c:v>0.7934597880816687</c:v>
                </c:pt>
                <c:pt idx="4">
                  <c:v>0.8030540607275756</c:v>
                </c:pt>
                <c:pt idx="5">
                  <c:v>0.8146403347255486</c:v>
                </c:pt>
                <c:pt idx="6">
                  <c:v>0.7607346440873699</c:v>
                </c:pt>
                <c:pt idx="7">
                  <c:v>0.7657871286488859</c:v>
                </c:pt>
                <c:pt idx="8">
                  <c:v>0.8079694315235048</c:v>
                </c:pt>
                <c:pt idx="9">
                  <c:v>0.8920441185365062</c:v>
                </c:pt>
                <c:pt idx="10">
                  <c:v>0.9040881079261408</c:v>
                </c:pt>
                <c:pt idx="11">
                  <c:v>0.9472378833211371</c:v>
                </c:pt>
                <c:pt idx="12">
                  <c:v>0.9604573304221482</c:v>
                </c:pt>
                <c:pt idx="13">
                  <c:v>0.9578134351234489</c:v>
                </c:pt>
                <c:pt idx="14">
                  <c:v>0.9531178418990316</c:v>
                </c:pt>
                <c:pt idx="15">
                  <c:v>0.9650561296666882</c:v>
                </c:pt>
                <c:pt idx="16">
                  <c:v>0.9826326851035183</c:v>
                </c:pt>
                <c:pt idx="17">
                  <c:v>0.9889479845100706</c:v>
                </c:pt>
                <c:pt idx="18">
                  <c:v>1.0088874060803987</c:v>
                </c:pt>
                <c:pt idx="19">
                  <c:v>0.967437714571286</c:v>
                </c:pt>
                <c:pt idx="20">
                  <c:v>1.0035085277084916</c:v>
                </c:pt>
                <c:pt idx="21">
                  <c:v>0.8825961333333333</c:v>
                </c:pt>
                <c:pt idx="22">
                  <c:v>0.8528575086800306</c:v>
                </c:pt>
                <c:pt idx="23">
                  <c:v>0.8601904239706665</c:v>
                </c:pt>
                <c:pt idx="24">
                  <c:v>0.8464790225792428</c:v>
                </c:pt>
                <c:pt idx="25">
                  <c:v>0.7980665788666743</c:v>
                </c:pt>
                <c:pt idx="26">
                  <c:v>0.8026848704179176</c:v>
                </c:pt>
                <c:pt idx="27">
                  <c:v>0.8258163261804804</c:v>
                </c:pt>
                <c:pt idx="28">
                  <c:v>0.7870128218133966</c:v>
                </c:pt>
                <c:pt idx="29">
                  <c:v>0.7565786349524848</c:v>
                </c:pt>
                <c:pt idx="30">
                  <c:v>0.770425646849933</c:v>
                </c:pt>
                <c:pt idx="31">
                  <c:v>0.7374437025924734</c:v>
                </c:pt>
                <c:pt idx="32">
                  <c:v>0.7376834761372507</c:v>
                </c:pt>
                <c:pt idx="33">
                  <c:v>0.7179202098692085</c:v>
                </c:pt>
                <c:pt idx="34">
                  <c:v>0.8582214587887232</c:v>
                </c:pt>
                <c:pt idx="35">
                  <c:v>0.9776554994288251</c:v>
                </c:pt>
                <c:pt idx="36">
                  <c:v>1.0075161536924286</c:v>
                </c:pt>
                <c:pt idx="37">
                  <c:v>0.9909410857670371</c:v>
                </c:pt>
                <c:pt idx="38">
                  <c:v>1.0864357975006447</c:v>
                </c:pt>
                <c:pt idx="39">
                  <c:v>1.101626069507362</c:v>
                </c:pt>
                <c:pt idx="40">
                  <c:v>1.0615518821882912</c:v>
                </c:pt>
                <c:pt idx="41">
                  <c:v>0.9950505809868372</c:v>
                </c:pt>
                <c:pt idx="42">
                  <c:v>0.984390473584715</c:v>
                </c:pt>
                <c:pt idx="43">
                  <c:v>0.9537788420465675</c:v>
                </c:pt>
                <c:pt idx="44">
                  <c:v>0.9560957259372417</c:v>
                </c:pt>
                <c:pt idx="45">
                  <c:v>0.9620079305376468</c:v>
                </c:pt>
                <c:pt idx="46">
                  <c:v>1.0284539968532551</c:v>
                </c:pt>
                <c:pt idx="47">
                  <c:v>1.0442402910319726</c:v>
                </c:pt>
                <c:pt idx="48">
                  <c:v>1.034415021481065</c:v>
                </c:pt>
                <c:pt idx="49">
                  <c:v>0.9063734003843644</c:v>
                </c:pt>
                <c:pt idx="50">
                  <c:v>0.9013379012675691</c:v>
                </c:pt>
                <c:pt idx="51">
                  <c:v>0.8950482423651418</c:v>
                </c:pt>
                <c:pt idx="52">
                  <c:v>0.8860078436384988</c:v>
                </c:pt>
                <c:pt idx="53">
                  <c:v>0.8171974521872625</c:v>
                </c:pt>
                <c:pt idx="54">
                  <c:v>0.8002343147479298</c:v>
                </c:pt>
                <c:pt idx="55">
                  <c:v>0.8313640417268813</c:v>
                </c:pt>
                <c:pt idx="56">
                  <c:v>0.814780228891126</c:v>
                </c:pt>
                <c:pt idx="57">
                  <c:v>0.791409378469687</c:v>
                </c:pt>
                <c:pt idx="58">
                  <c:v>0.7759479773394511</c:v>
                </c:pt>
                <c:pt idx="59">
                  <c:v>0.7460266929448538</c:v>
                </c:pt>
                <c:pt idx="60">
                  <c:v>0.7602936322402705</c:v>
                </c:pt>
                <c:pt idx="61">
                  <c:v>0.9827639849109202</c:v>
                </c:pt>
                <c:pt idx="62">
                  <c:v>1.0087406520711923</c:v>
                </c:pt>
                <c:pt idx="63">
                  <c:v>1.0179031949379858</c:v>
                </c:pt>
                <c:pt idx="64">
                  <c:v>1.053947648971766</c:v>
                </c:pt>
                <c:pt idx="65">
                  <c:v>0.9977882811972097</c:v>
                </c:pt>
                <c:pt idx="66">
                  <c:v>0.9666949820996</c:v>
                </c:pt>
                <c:pt idx="67">
                  <c:v>1.015736098825065</c:v>
                </c:pt>
                <c:pt idx="68">
                  <c:v>1.0243281869931768</c:v>
                </c:pt>
                <c:pt idx="69">
                  <c:v>1.0510470969232923</c:v>
                </c:pt>
                <c:pt idx="70">
                  <c:v>0.9816718036801044</c:v>
                </c:pt>
                <c:pt idx="71">
                  <c:v>0.8895679487883046</c:v>
                </c:pt>
                <c:pt idx="72">
                  <c:v>0.8040651867838885</c:v>
                </c:pt>
                <c:pt idx="73">
                  <c:v>0.7856423295861128</c:v>
                </c:pt>
                <c:pt idx="74">
                  <c:v>0.7288715282610625</c:v>
                </c:pt>
                <c:pt idx="75">
                  <c:v>0.8686208775733476</c:v>
                </c:pt>
                <c:pt idx="76">
                  <c:v>0.8974724717173536</c:v>
                </c:pt>
                <c:pt idx="77">
                  <c:v>1.0899058360707439</c:v>
                </c:pt>
                <c:pt idx="78">
                  <c:v>0.9506107525324978</c:v>
                </c:pt>
                <c:pt idx="79">
                  <c:v>1.0420904589830045</c:v>
                </c:pt>
                <c:pt idx="80">
                  <c:v>1.0076820001088584</c:v>
                </c:pt>
                <c:pt idx="81">
                  <c:v>1.087904574918968</c:v>
                </c:pt>
                <c:pt idx="82">
                  <c:v>1.0635839989816376</c:v>
                </c:pt>
                <c:pt idx="83">
                  <c:v>1.0442004702153669</c:v>
                </c:pt>
                <c:pt idx="84">
                  <c:v>1.0008099969539477</c:v>
                </c:pt>
                <c:pt idx="85">
                  <c:v>1.0274389354723834</c:v>
                </c:pt>
                <c:pt idx="86">
                  <c:v>1.0284928706396994</c:v>
                </c:pt>
                <c:pt idx="87">
                  <c:v>1.0241482983268755</c:v>
                </c:pt>
                <c:pt idx="88">
                  <c:v>0.9334298591154091</c:v>
                </c:pt>
                <c:pt idx="89">
                  <c:v>0.9288170389137299</c:v>
                </c:pt>
                <c:pt idx="90">
                  <c:v>0.9400171879224098</c:v>
                </c:pt>
                <c:pt idx="91">
                  <c:v>0.9449733180157013</c:v>
                </c:pt>
                <c:pt idx="92">
                  <c:v>0.9006582022858426</c:v>
                </c:pt>
                <c:pt idx="93">
                  <c:v>0.8865814975547094</c:v>
                </c:pt>
                <c:pt idx="94">
                  <c:v>0.916485065252581</c:v>
                </c:pt>
                <c:pt idx="95">
                  <c:v>0.8599205232468823</c:v>
                </c:pt>
                <c:pt idx="96">
                  <c:v>0.8889016983177106</c:v>
                </c:pt>
                <c:pt idx="97">
                  <c:v>1.0338647212966856</c:v>
                </c:pt>
                <c:pt idx="98">
                  <c:v>1.0149765688013366</c:v>
                </c:pt>
                <c:pt idx="99">
                  <c:v>0.9847181036052797</c:v>
                </c:pt>
                <c:pt idx="100">
                  <c:v>0.988586737616455</c:v>
                </c:pt>
                <c:pt idx="101">
                  <c:v>0.9344139415453375</c:v>
                </c:pt>
                <c:pt idx="102">
                  <c:v>0.9684356309969849</c:v>
                </c:pt>
                <c:pt idx="103">
                  <c:v>0.9193354976234922</c:v>
                </c:pt>
                <c:pt idx="104">
                  <c:v>0.8376626031552954</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55147846878736</c:v>
                </c:pt>
                <c:pt idx="1">
                  <c:v>0.7867966604666927</c:v>
                </c:pt>
                <c:pt idx="2">
                  <c:v>0.7466937643610332</c:v>
                </c:pt>
                <c:pt idx="3">
                  <c:v>0.7560824434664356</c:v>
                </c:pt>
                <c:pt idx="4">
                  <c:v>0.7578919304175806</c:v>
                </c:pt>
                <c:pt idx="5">
                  <c:v>0.7807508717140618</c:v>
                </c:pt>
                <c:pt idx="6">
                  <c:v>0.8491563108942991</c:v>
                </c:pt>
                <c:pt idx="7">
                  <c:v>0.9055487694669988</c:v>
                </c:pt>
                <c:pt idx="8">
                  <c:v>0.9460175877640612</c:v>
                </c:pt>
                <c:pt idx="9">
                  <c:v>0.9230172019978986</c:v>
                </c:pt>
                <c:pt idx="10">
                  <c:v>0.9506618814264141</c:v>
                </c:pt>
                <c:pt idx="11">
                  <c:v>0.8313681070248615</c:v>
                </c:pt>
                <c:pt idx="12">
                  <c:v>0.7983891280768469</c:v>
                </c:pt>
                <c:pt idx="13">
                  <c:v>0.7990151200479434</c:v>
                </c:pt>
                <c:pt idx="14">
                  <c:v>0.814005998546552</c:v>
                </c:pt>
                <c:pt idx="15">
                  <c:v>0.824059848508257</c:v>
                </c:pt>
                <c:pt idx="16">
                  <c:v>0.8239756864810962</c:v>
                </c:pt>
                <c:pt idx="17">
                  <c:v>0.8568862839395144</c:v>
                </c:pt>
                <c:pt idx="18">
                  <c:v>1.0840621574707177</c:v>
                </c:pt>
                <c:pt idx="19">
                  <c:v>0.9189390287064956</c:v>
                </c:pt>
                <c:pt idx="20">
                  <c:v>0.834343240582939</c:v>
                </c:pt>
                <c:pt idx="21">
                  <c:v>0.87964904407936</c:v>
                </c:pt>
                <c:pt idx="22">
                  <c:v>0.7031579546795388</c:v>
                </c:pt>
                <c:pt idx="23">
                  <c:v>0.7053257180626179</c:v>
                </c:pt>
                <c:pt idx="24">
                  <c:v>0.7135053000838376</c:v>
                </c:pt>
                <c:pt idx="25">
                  <c:v>0.7871864642886304</c:v>
                </c:pt>
                <c:pt idx="26">
                  <c:v>0.8627205805196752</c:v>
                </c:pt>
                <c:pt idx="27">
                  <c:v>0.9256261532950925</c:v>
                </c:pt>
                <c:pt idx="28">
                  <c:v>0.9521099262427123</c:v>
                </c:pt>
                <c:pt idx="29">
                  <c:v>0.9078720414879025</c:v>
                </c:pt>
                <c:pt idx="30">
                  <c:v>0.984055400975073</c:v>
                </c:pt>
                <c:pt idx="31">
                  <c:v>0.9206730101767688</c:v>
                </c:pt>
                <c:pt idx="32">
                  <c:v>0.8869277143958303</c:v>
                </c:pt>
                <c:pt idx="33">
                  <c:v>0.9364038847942829</c:v>
                </c:pt>
                <c:pt idx="34">
                  <c:v>0.9974972283939103</c:v>
                </c:pt>
                <c:pt idx="35">
                  <c:v>0.9025516274437688</c:v>
                </c:pt>
                <c:pt idx="36">
                  <c:v>0.8478012014659352</c:v>
                </c:pt>
                <c:pt idx="37">
                  <c:v>0.744768536772718</c:v>
                </c:pt>
                <c:pt idx="38">
                  <c:v>0.7290728480807745</c:v>
                </c:pt>
                <c:pt idx="39">
                  <c:v>0.8016955467303992</c:v>
                </c:pt>
                <c:pt idx="40">
                  <c:v>0.851011175619338</c:v>
                </c:pt>
                <c:pt idx="41">
                  <c:v>0.854286287297496</c:v>
                </c:pt>
                <c:pt idx="42">
                  <c:v>0.8658412770127021</c:v>
                </c:pt>
                <c:pt idx="43">
                  <c:v>0.9529513937277815</c:v>
                </c:pt>
                <c:pt idx="44">
                  <c:v>1.0568777010079284</c:v>
                </c:pt>
                <c:pt idx="45">
                  <c:v>1.037291084261804</c:v>
                </c:pt>
                <c:pt idx="46">
                  <c:v>0.9980821998020833</c:v>
                </c:pt>
                <c:pt idx="47">
                  <c:v>0.9600624492711548</c:v>
                </c:pt>
                <c:pt idx="48">
                  <c:v>1.0205229336881985</c:v>
                </c:pt>
                <c:pt idx="49">
                  <c:v>1.063736804570174</c:v>
                </c:pt>
                <c:pt idx="50">
                  <c:v>0.9538629787276477</c:v>
                </c:pt>
                <c:pt idx="51">
                  <c:v>1.0009623397509277</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208608083179118</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208608083179118</c:v>
                </c:pt>
                <c:pt idx="1">
                  <c:v>0.7208608083179118</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86647463110395</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86647463110395</c:v>
                </c:pt>
                <c:pt idx="1">
                  <c:v>0.7986647463110395</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833049145313725</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833049145313725</c:v>
                </c:pt>
                <c:pt idx="1">
                  <c:v>0.9833049145313725</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55147846878736</c:v>
                </c:pt>
                <c:pt idx="1">
                  <c:v>0.7867966604666927</c:v>
                </c:pt>
                <c:pt idx="2">
                  <c:v>0.7466937643610332</c:v>
                </c:pt>
                <c:pt idx="3">
                  <c:v>0.7560824434664356</c:v>
                </c:pt>
                <c:pt idx="4">
                  <c:v>0.7578919304175806</c:v>
                </c:pt>
                <c:pt idx="5">
                  <c:v>0.7807508717140618</c:v>
                </c:pt>
                <c:pt idx="6">
                  <c:v>0.8491563108942991</c:v>
                </c:pt>
                <c:pt idx="7">
                  <c:v>0.9055487694669988</c:v>
                </c:pt>
                <c:pt idx="8">
                  <c:v>0.9460175877640612</c:v>
                </c:pt>
                <c:pt idx="9">
                  <c:v>0.9230172019978986</c:v>
                </c:pt>
                <c:pt idx="10">
                  <c:v>0.9506618814264141</c:v>
                </c:pt>
                <c:pt idx="11">
                  <c:v>0.8313681070248615</c:v>
                </c:pt>
                <c:pt idx="12">
                  <c:v>0.7983891280768469</c:v>
                </c:pt>
                <c:pt idx="13">
                  <c:v>0.7990151200479434</c:v>
                </c:pt>
                <c:pt idx="14">
                  <c:v>0.814005998546552</c:v>
                </c:pt>
                <c:pt idx="15">
                  <c:v>0.824059848508257</c:v>
                </c:pt>
                <c:pt idx="16">
                  <c:v>0.8239756864810962</c:v>
                </c:pt>
                <c:pt idx="17">
                  <c:v>0.8568862839395144</c:v>
                </c:pt>
                <c:pt idx="18">
                  <c:v>1.0840621574707177</c:v>
                </c:pt>
                <c:pt idx="19">
                  <c:v>0.9189390287064956</c:v>
                </c:pt>
                <c:pt idx="20">
                  <c:v>0.834343240582939</c:v>
                </c:pt>
                <c:pt idx="21">
                  <c:v>0.87964904407936</c:v>
                </c:pt>
                <c:pt idx="22">
                  <c:v>0.7031579546795388</c:v>
                </c:pt>
                <c:pt idx="23">
                  <c:v>0.7053257180626179</c:v>
                </c:pt>
                <c:pt idx="24">
                  <c:v>0.7135053000838376</c:v>
                </c:pt>
                <c:pt idx="25">
                  <c:v>0.7871864642886304</c:v>
                </c:pt>
                <c:pt idx="26">
                  <c:v>0.8627205805196752</c:v>
                </c:pt>
                <c:pt idx="27">
                  <c:v>0.9256261532950925</c:v>
                </c:pt>
                <c:pt idx="28">
                  <c:v>0.9521099262427123</c:v>
                </c:pt>
                <c:pt idx="29">
                  <c:v>0.9078720414879025</c:v>
                </c:pt>
                <c:pt idx="30">
                  <c:v>0.984055400975073</c:v>
                </c:pt>
                <c:pt idx="31">
                  <c:v>0.9206730101767688</c:v>
                </c:pt>
                <c:pt idx="32">
                  <c:v>0.8869277143958303</c:v>
                </c:pt>
                <c:pt idx="33">
                  <c:v>0.9364038847942829</c:v>
                </c:pt>
                <c:pt idx="34">
                  <c:v>0.9974972283939103</c:v>
                </c:pt>
                <c:pt idx="35">
                  <c:v>0.9025516274437688</c:v>
                </c:pt>
                <c:pt idx="36">
                  <c:v>0.8478012014659352</c:v>
                </c:pt>
                <c:pt idx="37">
                  <c:v>0.744768536772718</c:v>
                </c:pt>
                <c:pt idx="38">
                  <c:v>0.7290728480807745</c:v>
                </c:pt>
                <c:pt idx="39">
                  <c:v>0.8016955467303992</c:v>
                </c:pt>
                <c:pt idx="40">
                  <c:v>0.851011175619338</c:v>
                </c:pt>
                <c:pt idx="41">
                  <c:v>0.854286287297496</c:v>
                </c:pt>
                <c:pt idx="42">
                  <c:v>0.8658412770127021</c:v>
                </c:pt>
                <c:pt idx="43">
                  <c:v>0.9529513937277815</c:v>
                </c:pt>
                <c:pt idx="44">
                  <c:v>1.0568777010079284</c:v>
                </c:pt>
                <c:pt idx="45">
                  <c:v>1.037291084261804</c:v>
                </c:pt>
                <c:pt idx="46">
                  <c:v>0.9980821998020833</c:v>
                </c:pt>
                <c:pt idx="47">
                  <c:v>0.9600624492711548</c:v>
                </c:pt>
                <c:pt idx="48">
                  <c:v>1.0205229336881985</c:v>
                </c:pt>
                <c:pt idx="49">
                  <c:v>1.063736804570174</c:v>
                </c:pt>
                <c:pt idx="50">
                  <c:v>0.9538629787276477</c:v>
                </c:pt>
                <c:pt idx="51">
                  <c:v>1.0009623397509277</c:v>
                </c:pt>
                <c:pt idx="52">
                  <c:v>0.7986647463110395</c:v>
                </c:pt>
                <c:pt idx="53">
                  <c:v>0.7208608083179118</c:v>
                </c:pt>
                <c:pt idx="54">
                  <c:v>0.9833049145313725</c:v>
                </c:pt>
              </c:numCache>
            </c:numRef>
          </c:xVal>
          <c:yVal>
            <c:numRef>
              <c:f>Sheet1!$B$187:$B$241</c:f>
              <c:numCache>
                <c:formatCode>General</c:formatCode>
                <c:ptCount val="55"/>
                <c:pt idx="0">
                  <c:v>0.32402406453446625</c:v>
                </c:pt>
                <c:pt idx="1">
                  <c:v>0.34578160094558413</c:v>
                </c:pt>
                <c:pt idx="2">
                  <c:v>0.35854714706134877</c:v>
                </c:pt>
                <c:pt idx="3">
                  <c:v>0.3555585445481947</c:v>
                </c:pt>
                <c:pt idx="4">
                  <c:v>0.354982549012614</c:v>
                </c:pt>
                <c:pt idx="5">
                  <c:v>0.3477060952495501</c:v>
                </c:pt>
                <c:pt idx="6">
                  <c:v>0.32593128910777575</c:v>
                </c:pt>
                <c:pt idx="7">
                  <c:v>0.30798045262468315</c:v>
                </c:pt>
                <c:pt idx="8">
                  <c:v>0.2950984262278728</c:v>
                </c:pt>
                <c:pt idx="9">
                  <c:v>0.3024199045671115</c:v>
                </c:pt>
                <c:pt idx="10">
                  <c:v>0.29362005556941173</c:v>
                </c:pt>
                <c:pt idx="11">
                  <c:v>0.33159362671585396</c:v>
                </c:pt>
                <c:pt idx="12">
                  <c:v>0.3420914889027273</c:v>
                </c:pt>
                <c:pt idx="13">
                  <c:v>0.3418922232598152</c:v>
                </c:pt>
                <c:pt idx="14">
                  <c:v>0.33712032972161243</c:v>
                </c:pt>
                <c:pt idx="15">
                  <c:v>0.333919990150401</c:v>
                </c:pt>
                <c:pt idx="16">
                  <c:v>0.33394678059057487</c:v>
                </c:pt>
                <c:pt idx="17">
                  <c:v>0.32347068558621644</c:v>
                </c:pt>
                <c:pt idx="18">
                  <c:v>0.2511561055541168</c:v>
                </c:pt>
                <c:pt idx="19">
                  <c:v>0.30371806789881506</c:v>
                </c:pt>
                <c:pt idx="20">
                  <c:v>0.3306465827782757</c:v>
                </c:pt>
                <c:pt idx="21">
                  <c:v>0.31622484819029134</c:v>
                </c:pt>
                <c:pt idx="22">
                  <c:v>0.3724054575612191</c:v>
                </c:pt>
                <c:pt idx="23">
                  <c:v>0.37171541554126486</c:v>
                </c:pt>
                <c:pt idx="24">
                  <c:v>0.36911169257760534</c:v>
                </c:pt>
                <c:pt idx="25">
                  <c:v>0.3456575186685352</c:v>
                </c:pt>
                <c:pt idx="26">
                  <c:v>0.3216135134296006</c:v>
                </c:pt>
                <c:pt idx="27">
                  <c:v>0.3015894236958456</c:v>
                </c:pt>
                <c:pt idx="28">
                  <c:v>0.29315911422414215</c:v>
                </c:pt>
                <c:pt idx="29">
                  <c:v>0.30724090912527674</c:v>
                </c:pt>
                <c:pt idx="30">
                  <c:v>0.28299023689888597</c:v>
                </c:pt>
                <c:pt idx="31">
                  <c:v>0.30316610725327126</c:v>
                </c:pt>
                <c:pt idx="32">
                  <c:v>0.31390790326587636</c:v>
                </c:pt>
                <c:pt idx="33">
                  <c:v>0.29815865829392174</c:v>
                </c:pt>
                <c:pt idx="34">
                  <c:v>0.27871143700016493</c:v>
                </c:pt>
                <c:pt idx="35">
                  <c:v>0.3089345022926232</c:v>
                </c:pt>
                <c:pt idx="36">
                  <c:v>0.3263626472783705</c:v>
                </c:pt>
                <c:pt idx="37">
                  <c:v>0.35915998513412106</c:v>
                </c:pt>
                <c:pt idx="38">
                  <c:v>0.36415623371646255</c:v>
                </c:pt>
                <c:pt idx="39">
                  <c:v>0.34103899035776586</c:v>
                </c:pt>
                <c:pt idx="40">
                  <c:v>0.32534084892800413</c:v>
                </c:pt>
                <c:pt idx="41">
                  <c:v>0.3242983160133824</c:v>
                </c:pt>
                <c:pt idx="42">
                  <c:v>0.3206201339267816</c:v>
                </c:pt>
                <c:pt idx="43">
                  <c:v>0.2928912584573849</c:v>
                </c:pt>
                <c:pt idx="44">
                  <c:v>0.2598094564665652</c:v>
                </c:pt>
                <c:pt idx="45">
                  <c:v>0.26604426451298896</c:v>
                </c:pt>
                <c:pt idx="46">
                  <c:v>0.2785252290148922</c:v>
                </c:pt>
                <c:pt idx="47">
                  <c:v>0.29062766863505574</c:v>
                </c:pt>
                <c:pt idx="48">
                  <c:v>0.2713818989536407</c:v>
                </c:pt>
                <c:pt idx="49">
                  <c:v>0.25762606795003623</c:v>
                </c:pt>
                <c:pt idx="50">
                  <c:v>0.2926010828969074</c:v>
                </c:pt>
                <c:pt idx="51">
                  <c:v>0.2776084234245937</c:v>
                </c:pt>
                <c:pt idx="52">
                  <c:v>0.34200375415983836</c:v>
                </c:pt>
                <c:pt idx="53">
                  <c:v>0.3667702886221511</c:v>
                </c:pt>
                <c:pt idx="54">
                  <c:v>0.28322913159818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1552312946289972</c:v>
                </c:pt>
                <c:pt idx="8">
                  <c:v>0.00035217467864060575</c:v>
                </c:pt>
                <c:pt idx="9">
                  <c:v>0.0002533569799847986</c:v>
                </c:pt>
                <c:pt idx="10">
                  <c:v>0.00021701388888888888</c:v>
                </c:pt>
                <c:pt idx="11">
                  <c:v>0.0002145002145002145</c:v>
                </c:pt>
                <c:pt idx="12">
                  <c:v>0.000423908435777872</c:v>
                </c:pt>
                <c:pt idx="13">
                  <c:v>0.00022558087074216106</c:v>
                </c:pt>
                <c:pt idx="14">
                  <c:v>0.00022487069934787497</c:v>
                </c:pt>
                <c:pt idx="15">
                  <c:v>0.00025284450063211124</c:v>
                </c:pt>
                <c:pt idx="16">
                  <c:v>0.0008736167734420501</c:v>
                </c:pt>
                <c:pt idx="17">
                  <c:v>0.0007189072609633358</c:v>
                </c:pt>
                <c:pt idx="18">
                  <c:v>0.00037037037037037035</c:v>
                </c:pt>
                <c:pt idx="19">
                  <c:v>0.0004027386226339106</c:v>
                </c:pt>
                <c:pt idx="20">
                  <c:v>0.0010771992818671453</c:v>
                </c:pt>
                <c:pt idx="21">
                  <c:v>0.0007639419404125286</c:v>
                </c:pt>
                <c:pt idx="22">
                  <c:v>0.001379310344827586</c:v>
                </c:pt>
                <c:pt idx="23">
                  <c:v>0.0007905138339920949</c:v>
                </c:pt>
                <c:pt idx="24">
                  <c:v>0.0008673026886383347</c:v>
                </c:pt>
                <c:pt idx="25">
                  <c:v>0.0018124150430448573</c:v>
                </c:pt>
                <c:pt idx="26">
                  <c:v>0.003216911764705882</c:v>
                </c:pt>
                <c:pt idx="27">
                  <c:v>0.002102312543798178</c:v>
                </c:pt>
                <c:pt idx="28">
                  <c:v>0.0014540167211922936</c:v>
                </c:pt>
                <c:pt idx="29">
                  <c:v>0.0015142337976983646</c:v>
                </c:pt>
                <c:pt idx="30">
                  <c:v>0.0016129032258064516</c:v>
                </c:pt>
                <c:pt idx="31">
                  <c:v>0.0010325245224574084</c:v>
                </c:pt>
                <c:pt idx="32">
                  <c:v>0.0016189962223421479</c:v>
                </c:pt>
                <c:pt idx="33">
                  <c:v>0.0017006802721088435</c:v>
                </c:pt>
                <c:pt idx="34">
                  <c:v>0.0016600265604249668</c:v>
                </c:pt>
                <c:pt idx="35">
                  <c:v>0.0014645577035735209</c:v>
                </c:pt>
                <c:pt idx="36">
                  <c:v>0.0022361359570661895</c:v>
                </c:pt>
                <c:pt idx="37">
                  <c:v>0.0025680534155110425</c:v>
                </c:pt>
                <c:pt idx="38">
                  <c:v>0.0024962556165751375</c:v>
                </c:pt>
                <c:pt idx="39">
                  <c:v>0.002325581395348837</c:v>
                </c:pt>
                <c:pt idx="40">
                  <c:v>0.0019083969465648854</c:v>
                </c:pt>
                <c:pt idx="41">
                  <c:v>0.0034802784222737818</c:v>
                </c:pt>
                <c:pt idx="42">
                  <c:v>0.003084832904884319</c:v>
                </c:pt>
                <c:pt idx="43">
                  <c:v>0.002717391304347826</c:v>
                </c:pt>
                <c:pt idx="44">
                  <c:v>0.003787878787878788</c:v>
                </c:pt>
                <c:pt idx="45">
                  <c:v>0.0033606385213190504</c:v>
                </c:pt>
                <c:pt idx="46">
                  <c:v>0.0028633990230756273</c:v>
                </c:pt>
                <c:pt idx="47">
                  <c:v>0.0026838432635534087</c:v>
                </c:pt>
                <c:pt idx="48">
                  <c:v>0.0025013027618551328</c:v>
                </c:pt>
                <c:pt idx="49">
                  <c:v>0.003286628610966961</c:v>
                </c:pt>
                <c:pt idx="50">
                  <c:v>0.0026595744680851063</c:v>
                </c:pt>
                <c:pt idx="51">
                  <c:v>0.0026612077789150462</c:v>
                </c:pt>
                <c:pt idx="52">
                  <c:v>0.001737835153922542</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2582765907490021</c:v>
                </c:pt>
                <c:pt idx="1">
                  <c:v>0.0023603461841070024</c:v>
                </c:pt>
                <c:pt idx="2">
                  <c:v>0.0020403536613012923</c:v>
                </c:pt>
                <c:pt idx="3">
                  <c:v>0.002756086357372531</c:v>
                </c:pt>
                <c:pt idx="4">
                  <c:v>0.002477700693756194</c:v>
                </c:pt>
                <c:pt idx="5">
                  <c:v>0.001973359644795264</c:v>
                </c:pt>
                <c:pt idx="6">
                  <c:v>0.002068680182043856</c:v>
                </c:pt>
                <c:pt idx="7">
                  <c:v>0.0027078256160303275</c:v>
                </c:pt>
                <c:pt idx="8">
                  <c:v>0.0027981811822315496</c:v>
                </c:pt>
                <c:pt idx="9">
                  <c:v>0.0030553009471432934</c:v>
                </c:pt>
                <c:pt idx="10">
                  <c:v>0.0036663611365719525</c:v>
                </c:pt>
                <c:pt idx="11">
                  <c:v>0.002566633761105627</c:v>
                </c:pt>
                <c:pt idx="12">
                  <c:v>0.0033163265306122448</c:v>
                </c:pt>
                <c:pt idx="13">
                  <c:v>0.005139920045688178</c:v>
                </c:pt>
                <c:pt idx="14">
                  <c:v>0.00506404527852249</c:v>
                </c:pt>
                <c:pt idx="15">
                  <c:v>0.004884856943475227</c:v>
                </c:pt>
                <c:pt idx="16">
                  <c:v>0.004106776180698152</c:v>
                </c:pt>
                <c:pt idx="17">
                  <c:v>0.00660883932259397</c:v>
                </c:pt>
                <c:pt idx="18">
                  <c:v>0.0026869682042095834</c:v>
                </c:pt>
                <c:pt idx="19">
                  <c:v>0.002890173410404624</c:v>
                </c:pt>
                <c:pt idx="20">
                  <c:v>0.003634711494775102</c:v>
                </c:pt>
                <c:pt idx="21">
                  <c:v>0.0034965034965034965</c:v>
                </c:pt>
                <c:pt idx="22">
                  <c:v>0.002844950213371266</c:v>
                </c:pt>
                <c:pt idx="23">
                  <c:v>0.00303951367781155</c:v>
                </c:pt>
                <c:pt idx="24">
                  <c:v>0.0025940337224383916</c:v>
                </c:pt>
                <c:pt idx="25">
                  <c:v>0.003125</c:v>
                </c:pt>
                <c:pt idx="26">
                  <c:v>0.003865979381443299</c:v>
                </c:pt>
                <c:pt idx="27">
                  <c:v>0.002768987341772152</c:v>
                </c:pt>
                <c:pt idx="28">
                  <c:v>0.0025820730357801547</c:v>
                </c:pt>
                <c:pt idx="29">
                  <c:v>0.0026246719160104987</c:v>
                </c:pt>
                <c:pt idx="30">
                  <c:v>0.002861230329041488</c:v>
                </c:pt>
                <c:pt idx="31">
                  <c:v>0.0031413612565445027</c:v>
                </c:pt>
                <c:pt idx="32">
                  <c:v>0.002570694087403599</c:v>
                </c:pt>
                <c:pt idx="33">
                  <c:v>0.0027072758037225042</c:v>
                </c:pt>
                <c:pt idx="34">
                  <c:v>0.0024019215372297837</c:v>
                </c:pt>
                <c:pt idx="35">
                  <c:v>0.002969561989606533</c:v>
                </c:pt>
                <c:pt idx="36">
                  <c:v>0.00392156862745098</c:v>
                </c:pt>
                <c:pt idx="37">
                  <c:v>0.005142857142857143</c:v>
                </c:pt>
                <c:pt idx="38">
                  <c:v>0.006787330316742082</c:v>
                </c:pt>
                <c:pt idx="39">
                  <c:v>0.0036084799278304014</c:v>
                </c:pt>
                <c:pt idx="40">
                  <c:v>0.004070556309362279</c:v>
                </c:pt>
                <c:pt idx="41">
                  <c:v>0.003799071338117349</c:v>
                </c:pt>
                <c:pt idx="42">
                  <c:v>0.0027881040892193307</c:v>
                </c:pt>
                <c:pt idx="43">
                  <c:v>0.0026764804282368685</c:v>
                </c:pt>
                <c:pt idx="44">
                  <c:v>0.0021027335536197055</c:v>
                </c:pt>
                <c:pt idx="45">
                  <c:v>0.0016</c:v>
                </c:pt>
                <c:pt idx="46">
                  <c:v>0.0021812893843916625</c:v>
                </c:pt>
                <c:pt idx="47">
                  <c:v>0.0020780420226275687</c:v>
                </c:pt>
                <c:pt idx="48">
                  <c:v>0.002185792349726776</c:v>
                </c:pt>
                <c:pt idx="49">
                  <c:v>0.0016345804576825282</c:v>
                </c:pt>
                <c:pt idx="50">
                  <c:v>0.0012490632025980515</c:v>
                </c:pt>
                <c:pt idx="51">
                  <c:v>0.00202922077922077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41.743175433474</c:v>
                </c:pt>
              </c:numCache>
            </c:numRef>
          </c:xVal>
          <c:yVal>
            <c:numRef>
              <c:f>Sheet1!$B$111:$B$112</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41.743175433474</c:v>
                </c:pt>
                <c:pt idx="1">
                  <c:v>3641.743175433474</c:v>
                </c:pt>
              </c:numCache>
            </c:numRef>
          </c:xVal>
          <c:yVal>
            <c:numRef>
              <c:f>Sheet1!$B$115:$B$116</c:f>
              <c:numCache>
                <c:formatCode>General</c:formatCode>
                <c:ptCount val="2"/>
                <c:pt idx="0">
                  <c:v>0.0039321089809464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41.743175433474</c:v>
                </c:pt>
              </c:numCache>
            </c:numRef>
          </c:xVal>
          <c:yVal>
            <c:numRef>
              <c:f>Sheet1!$B$119:$B$120</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41.743175433474</c:v>
                </c:pt>
                <c:pt idx="1">
                  <c:v>3641.743175433474</c:v>
                </c:pt>
              </c:numCache>
            </c:numRef>
          </c:xVal>
          <c:yVal>
            <c:numRef>
              <c:f>Sheet1!$B$123:$B$124</c:f>
              <c:numCache>
                <c:formatCode>General</c:formatCode>
                <c:ptCount val="2"/>
                <c:pt idx="0">
                  <c:v>0.0039321089809464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52.644059813359</c:v>
                </c:pt>
              </c:numCache>
            </c:numRef>
          </c:xVal>
          <c:yVal>
            <c:numRef>
              <c:f>Sheet1!$B$127:$B$128</c:f>
              <c:numCache>
                <c:formatCode>General</c:formatCode>
                <c:ptCount val="2"/>
                <c:pt idx="0">
                  <c:v>0.002461801064817946</c:v>
                </c:pt>
                <c:pt idx="1">
                  <c:v>0.002461801064817946</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52.644059813359</c:v>
                </c:pt>
                <c:pt idx="1">
                  <c:v>4652.644059813359</c:v>
                </c:pt>
              </c:numCache>
            </c:numRef>
          </c:xVal>
          <c:yVal>
            <c:numRef>
              <c:f>Sheet1!$B$131:$B$132</c:f>
              <c:numCache>
                <c:formatCode>General</c:formatCode>
                <c:ptCount val="2"/>
                <c:pt idx="0">
                  <c:v>0.0024618010648179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41.743175433474</c:v>
                </c:pt>
                <c:pt idx="53">
                  <c:v>3641.743175433474</c:v>
                </c:pt>
                <c:pt idx="54">
                  <c:v>4652.644059813359</c:v>
                </c:pt>
              </c:numCache>
            </c:numRef>
          </c:xVal>
          <c:yVal>
            <c:numRef>
              <c:f>Sheet1!$B$135:$B$189</c:f>
              <c:numCache>
                <c:formatCode>General</c:formatCode>
                <c:ptCount val="55"/>
                <c:pt idx="0">
                  <c:v>0.0040126559756220245</c:v>
                </c:pt>
                <c:pt idx="1">
                  <c:v>0.002586527922090201</c:v>
                </c:pt>
                <c:pt idx="2">
                  <c:v>0.002585073468999055</c:v>
                </c:pt>
                <c:pt idx="3">
                  <c:v>0.004473882831386449</c:v>
                </c:pt>
                <c:pt idx="4">
                  <c:v>0.0031095331092369774</c:v>
                </c:pt>
                <c:pt idx="5">
                  <c:v>0.0019234993360620015</c:v>
                </c:pt>
                <c:pt idx="6">
                  <c:v>0.0027613370392166343</c:v>
                </c:pt>
                <c:pt idx="7">
                  <c:v>0.003338318580474238</c:v>
                </c:pt>
                <c:pt idx="8">
                  <c:v>0.0026183643003569856</c:v>
                </c:pt>
                <c:pt idx="9">
                  <c:v>0.0034625288744581035</c:v>
                </c:pt>
                <c:pt idx="10">
                  <c:v>0.003388618368061266</c:v>
                </c:pt>
                <c:pt idx="11">
                  <c:v>0.00285521645932836</c:v>
                </c:pt>
                <c:pt idx="12">
                  <c:v>0.003994500619466486</c:v>
                </c:pt>
                <c:pt idx="13">
                  <c:v>0.004152973901254404</c:v>
                </c:pt>
                <c:pt idx="14">
                  <c:v>0.004457905227844283</c:v>
                </c:pt>
                <c:pt idx="15">
                  <c:v>0.0035431886249790946</c:v>
                </c:pt>
                <c:pt idx="16">
                  <c:v>0.0031026971797085915</c:v>
                </c:pt>
                <c:pt idx="17">
                  <c:v>0.0050031219499271865</c:v>
                </c:pt>
                <c:pt idx="18">
                  <c:v>0.0024654042684563657</c:v>
                </c:pt>
                <c:pt idx="19">
                  <c:v>0.0022532965744793488</c:v>
                </c:pt>
                <c:pt idx="20">
                  <c:v>0.0027296299618296523</c:v>
                </c:pt>
                <c:pt idx="21">
                  <c:v>0.0028485834260061887</c:v>
                </c:pt>
                <c:pt idx="22">
                  <c:v>0.0026384841863027354</c:v>
                </c:pt>
                <c:pt idx="23">
                  <c:v>0.003320622686050192</c:v>
                </c:pt>
                <c:pt idx="24">
                  <c:v>0.0027975044878982332</c:v>
                </c:pt>
                <c:pt idx="25">
                  <c:v>0.0033790432670263246</c:v>
                </c:pt>
                <c:pt idx="26">
                  <c:v>0.003744434172380815</c:v>
                </c:pt>
                <c:pt idx="27">
                  <c:v>0.0030891915646401374</c:v>
                </c:pt>
                <c:pt idx="28">
                  <c:v>0.0027349283889953873</c:v>
                </c:pt>
                <c:pt idx="29">
                  <c:v>0.0022925668079402895</c:v>
                </c:pt>
                <c:pt idx="30">
                  <c:v>0.0025812757465327636</c:v>
                </c:pt>
                <c:pt idx="31">
                  <c:v>0.0024743734443335354</c:v>
                </c:pt>
                <c:pt idx="32">
                  <c:v>0.0030925160080705703</c:v>
                </c:pt>
                <c:pt idx="33">
                  <c:v>0.0024071049888680345</c:v>
                </c:pt>
                <c:pt idx="34">
                  <c:v>0.0025986483160346484</c:v>
                </c:pt>
                <c:pt idx="35">
                  <c:v>0.0024820093230620514</c:v>
                </c:pt>
                <c:pt idx="36">
                  <c:v>0.003076759481398258</c:v>
                </c:pt>
                <c:pt idx="37">
                  <c:v>0.003716314794433762</c:v>
                </c:pt>
                <c:pt idx="38">
                  <c:v>0.004571815957708507</c:v>
                </c:pt>
                <c:pt idx="39">
                  <c:v>0.0036172099607014764</c:v>
                </c:pt>
                <c:pt idx="40">
                  <c:v>0.004052293458488479</c:v>
                </c:pt>
                <c:pt idx="41">
                  <c:v>0.004078635203867534</c:v>
                </c:pt>
                <c:pt idx="42">
                  <c:v>0.0012080295711606806</c:v>
                </c:pt>
                <c:pt idx="43">
                  <c:v>0.0020982155136359103</c:v>
                </c:pt>
                <c:pt idx="44">
                  <c:v>0.0027991320209072267</c:v>
                </c:pt>
                <c:pt idx="45">
                  <c:v>0.002121149184531791</c:v>
                </c:pt>
                <c:pt idx="46">
                  <c:v>0.0029270315351567827</c:v>
                </c:pt>
                <c:pt idx="47">
                  <c:v>0.003644238498830169</c:v>
                </c:pt>
                <c:pt idx="48">
                  <c:v>0.00360768329295447</c:v>
                </c:pt>
                <c:pt idx="49">
                  <c:v>0.002572791485316182</c:v>
                </c:pt>
                <c:pt idx="50">
                  <c:v>0.0023188924088900324</c:v>
                </c:pt>
                <c:pt idx="51">
                  <c:v>0.0031253866479304697</c:v>
                </c:pt>
                <c:pt idx="52">
                  <c:v>0.003932108980946457</c:v>
                </c:pt>
                <c:pt idx="53">
                  <c:v>0.003932108980946457</c:v>
                </c:pt>
                <c:pt idx="54">
                  <c:v>0.00246180106481794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1447963800904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3.4904</c:v>
                </c:pt>
                <c:pt idx="1">
                  <c:v>1045.8613</c:v>
                </c:pt>
                <c:pt idx="2">
                  <c:v>1124.4613</c:v>
                </c:pt>
                <c:pt idx="3">
                  <c:v>1147.2159</c:v>
                </c:pt>
                <c:pt idx="4">
                  <c:v>1127.2404</c:v>
                </c:pt>
                <c:pt idx="5">
                  <c:v>1119.3915</c:v>
                </c:pt>
                <c:pt idx="6">
                  <c:v>1055.0485</c:v>
                </c:pt>
                <c:pt idx="7">
                  <c:v>1072.3952</c:v>
                </c:pt>
                <c:pt idx="8">
                  <c:v>1092.9514</c:v>
                </c:pt>
                <c:pt idx="9">
                  <c:v>1103.2113</c:v>
                </c:pt>
                <c:pt idx="10">
                  <c:v>1105.4043</c:v>
                </c:pt>
                <c:pt idx="11">
                  <c:v>1156.7131</c:v>
                </c:pt>
                <c:pt idx="12">
                  <c:v>1150.54</c:v>
                </c:pt>
                <c:pt idx="13">
                  <c:v>1134.5326</c:v>
                </c:pt>
                <c:pt idx="14">
                  <c:v>1160.5058</c:v>
                </c:pt>
                <c:pt idx="15">
                  <c:v>1171.571</c:v>
                </c:pt>
                <c:pt idx="16">
                  <c:v>1208.4573</c:v>
                </c:pt>
                <c:pt idx="17">
                  <c:v>1242.8496</c:v>
                </c:pt>
                <c:pt idx="18">
                  <c:v>1296.0665</c:v>
                </c:pt>
                <c:pt idx="19">
                  <c:v>1243.5842</c:v>
                </c:pt>
                <c:pt idx="20">
                  <c:v>1319.2093</c:v>
                </c:pt>
                <c:pt idx="21">
                  <c:v>1323.8942</c:v>
                </c:pt>
                <c:pt idx="22">
                  <c:v>1297.5572</c:v>
                </c:pt>
                <c:pt idx="23">
                  <c:v>1285.7957</c:v>
                </c:pt>
                <c:pt idx="24">
                  <c:v>1219.0494</c:v>
                </c:pt>
                <c:pt idx="25">
                  <c:v>1212.3099</c:v>
                </c:pt>
                <c:pt idx="26">
                  <c:v>1223.0279</c:v>
                </c:pt>
                <c:pt idx="27">
                  <c:v>1227.4279</c:v>
                </c:pt>
                <c:pt idx="28">
                  <c:v>1237.4057</c:v>
                </c:pt>
                <c:pt idx="29">
                  <c:v>1177.3938</c:v>
                </c:pt>
                <c:pt idx="30">
                  <c:v>1212.4126</c:v>
                </c:pt>
                <c:pt idx="31">
                  <c:v>1158.5964</c:v>
                </c:pt>
                <c:pt idx="32">
                  <c:v>1159.9169</c:v>
                </c:pt>
                <c:pt idx="33">
                  <c:v>1113.1551</c:v>
                </c:pt>
                <c:pt idx="34">
                  <c:v>1153.8379</c:v>
                </c:pt>
                <c:pt idx="35">
                  <c:v>1202.7816</c:v>
                </c:pt>
                <c:pt idx="36">
                  <c:v>1249.7985</c:v>
                </c:pt>
                <c:pt idx="37">
                  <c:v>1203.4267</c:v>
                </c:pt>
                <c:pt idx="38">
                  <c:v>1319.0907</c:v>
                </c:pt>
                <c:pt idx="39">
                  <c:v>1303.569</c:v>
                </c:pt>
                <c:pt idx="40">
                  <c:v>1376.3121</c:v>
                </c:pt>
                <c:pt idx="41">
                  <c:v>1389.3944</c:v>
                </c:pt>
                <c:pt idx="42">
                  <c:v>1443.8186</c:v>
                </c:pt>
                <c:pt idx="43">
                  <c:v>1465.1983</c:v>
                </c:pt>
                <c:pt idx="44">
                  <c:v>1323.9047</c:v>
                </c:pt>
                <c:pt idx="45">
                  <c:v>1265.7856</c:v>
                </c:pt>
                <c:pt idx="46">
                  <c:v>1293.1399</c:v>
                </c:pt>
                <c:pt idx="47">
                  <c:v>1269.6854</c:v>
                </c:pt>
                <c:pt idx="48">
                  <c:v>1282.8181</c:v>
                </c:pt>
                <c:pt idx="49">
                  <c:v>1160.8971</c:v>
                </c:pt>
                <c:pt idx="50">
                  <c:v>1157.2335</c:v>
                </c:pt>
                <c:pt idx="51">
                  <c:v>1193.2</c:v>
                </c:pt>
                <c:pt idx="52">
                  <c:v>1200.5937</c:v>
                </c:pt>
                <c:pt idx="53">
                  <c:v>1238.2157</c:v>
                </c:pt>
                <c:pt idx="54">
                  <c:v>1265.4723</c:v>
                </c:pt>
                <c:pt idx="55">
                  <c:v>1270.4463</c:v>
                </c:pt>
                <c:pt idx="56">
                  <c:v>1269.6968</c:v>
                </c:pt>
                <c:pt idx="57">
                  <c:v>1212.5965</c:v>
                </c:pt>
                <c:pt idx="58">
                  <c:v>1199.0811</c:v>
                </c:pt>
                <c:pt idx="59">
                  <c:v>1153.4497</c:v>
                </c:pt>
                <c:pt idx="60">
                  <c:v>1180.0243</c:v>
                </c:pt>
                <c:pt idx="61">
                  <c:v>1242.0185</c:v>
                </c:pt>
                <c:pt idx="62">
                  <c:v>1200.8427</c:v>
                </c:pt>
                <c:pt idx="63">
                  <c:v>1204.6696</c:v>
                </c:pt>
                <c:pt idx="64">
                  <c:v>1192.7554</c:v>
                </c:pt>
                <c:pt idx="65">
                  <c:v>1182.7911</c:v>
                </c:pt>
                <c:pt idx="66">
                  <c:v>1172.375</c:v>
                </c:pt>
                <c:pt idx="67">
                  <c:v>1204.5137</c:v>
                </c:pt>
                <c:pt idx="68">
                  <c:v>1203.589</c:v>
                </c:pt>
                <c:pt idx="69">
                  <c:v>1212.0302</c:v>
                </c:pt>
                <c:pt idx="70">
                  <c:v>1164.5498</c:v>
                </c:pt>
                <c:pt idx="71">
                  <c:v>1236.8285</c:v>
                </c:pt>
                <c:pt idx="72">
                  <c:v>1218.9978</c:v>
                </c:pt>
                <c:pt idx="73">
                  <c:v>1185.1871</c:v>
                </c:pt>
                <c:pt idx="74">
                  <c:v>1052.5711</c:v>
                </c:pt>
                <c:pt idx="75">
                  <c:v>1269.389</c:v>
                </c:pt>
                <c:pt idx="76">
                  <c:v>1347.3441</c:v>
                </c:pt>
                <c:pt idx="77">
                  <c:v>1360.2536</c:v>
                </c:pt>
                <c:pt idx="78">
                  <c:v>1405.1315</c:v>
                </c:pt>
                <c:pt idx="79">
                  <c:v>1416.6507</c:v>
                </c:pt>
                <c:pt idx="80">
                  <c:v>1331.1319</c:v>
                </c:pt>
                <c:pt idx="81">
                  <c:v>1435.3009</c:v>
                </c:pt>
                <c:pt idx="82">
                  <c:v>1430.4188</c:v>
                </c:pt>
                <c:pt idx="83">
                  <c:v>1387.7064</c:v>
                </c:pt>
                <c:pt idx="84">
                  <c:v>1329.3525</c:v>
                </c:pt>
                <c:pt idx="85">
                  <c:v>1373.9084</c:v>
                </c:pt>
                <c:pt idx="86">
                  <c:v>1385.5244</c:v>
                </c:pt>
                <c:pt idx="87">
                  <c:v>1408.7633</c:v>
                </c:pt>
                <c:pt idx="88">
                  <c:v>1423.7853</c:v>
                </c:pt>
                <c:pt idx="89">
                  <c:v>1436.0078</c:v>
                </c:pt>
                <c:pt idx="90">
                  <c:v>1504.2093</c:v>
                </c:pt>
                <c:pt idx="91">
                  <c:v>1513.0136</c:v>
                </c:pt>
                <c:pt idx="92">
                  <c:v>1414.3514</c:v>
                </c:pt>
                <c:pt idx="93">
                  <c:v>1426.1026</c:v>
                </c:pt>
                <c:pt idx="94">
                  <c:v>1482.758</c:v>
                </c:pt>
                <c:pt idx="95">
                  <c:v>1328.3004</c:v>
                </c:pt>
                <c:pt idx="96">
                  <c:v>1226.7375</c:v>
                </c:pt>
                <c:pt idx="97">
                  <c:v>1299.0595</c:v>
                </c:pt>
                <c:pt idx="98">
                  <c:v>1278.7704</c:v>
                </c:pt>
                <c:pt idx="99">
                  <c:v>1243.033</c:v>
                </c:pt>
                <c:pt idx="100">
                  <c:v>1284.8647</c:v>
                </c:pt>
                <c:pt idx="101">
                  <c:v>1287.7451</c:v>
                </c:pt>
                <c:pt idx="102">
                  <c:v>1308.9437</c:v>
                </c:pt>
                <c:pt idx="103">
                  <c:v>1217.3757</c:v>
                </c:pt>
                <c:pt idx="104">
                  <c:v>1282.5365</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3.9196366508486</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3.9196366508486</c:v>
                </c:pt>
                <c:pt idx="1">
                  <c:v>873.9196366508486</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8556435593625</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8556435593625</c:v>
                </c:pt>
                <c:pt idx="1">
                  <c:v>1070.8556435593625</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38.2137025748398</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38.2137025748398</c:v>
                </c:pt>
                <c:pt idx="1">
                  <c:v>1538.2137025748398</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pt idx="52">
                  <c:v>1070.8556435593625</c:v>
                </c:pt>
                <c:pt idx="53">
                  <c:v>873.9196366508486</c:v>
                </c:pt>
                <c:pt idx="54">
                  <c:v>1538.2137025748398</c:v>
                </c:pt>
              </c:numCache>
            </c:numRef>
          </c:xVal>
          <c:yVal>
            <c:numRef>
              <c:f>Sheet1!$B$187:$B$241</c:f>
              <c:numCache>
                <c:formatCode>General</c:formatCode>
                <c:ptCount val="55"/>
                <c:pt idx="0">
                  <c:v>0.3046362573225693</c:v>
                </c:pt>
                <c:pt idx="1">
                  <c:v>0.3106815446230109</c:v>
                </c:pt>
                <c:pt idx="2">
                  <c:v>0.3201312493700156</c:v>
                </c:pt>
                <c:pt idx="3">
                  <c:v>0.310963572430201</c:v>
                </c:pt>
                <c:pt idx="4">
                  <c:v>0.3110104554974089</c:v>
                </c:pt>
                <c:pt idx="5">
                  <c:v>0.30643242710718244</c:v>
                </c:pt>
                <c:pt idx="6">
                  <c:v>0.3131538215587055</c:v>
                </c:pt>
                <c:pt idx="7">
                  <c:v>0.3145545789508424</c:v>
                </c:pt>
                <c:pt idx="8">
                  <c:v>0.30648173732888906</c:v>
                </c:pt>
                <c:pt idx="9">
                  <c:v>0.3082324828541794</c:v>
                </c:pt>
                <c:pt idx="10">
                  <c:v>0.3070122780896992</c:v>
                </c:pt>
                <c:pt idx="11">
                  <c:v>0.3325705545110477</c:v>
                </c:pt>
                <c:pt idx="12">
                  <c:v>0.33763537200145766</c:v>
                </c:pt>
                <c:pt idx="13">
                  <c:v>0.3326617551557344</c:v>
                </c:pt>
                <c:pt idx="14">
                  <c:v>0.3309506112341558</c:v>
                </c:pt>
                <c:pt idx="15">
                  <c:v>0.326083499939984</c:v>
                </c:pt>
                <c:pt idx="16">
                  <c:v>0.3286346908367112</c:v>
                </c:pt>
                <c:pt idx="17">
                  <c:v>0.32998489299006706</c:v>
                </c:pt>
                <c:pt idx="18">
                  <c:v>0.3156529229531862</c:v>
                </c:pt>
                <c:pt idx="19">
                  <c:v>0.3055460881335379</c:v>
                </c:pt>
                <c:pt idx="20">
                  <c:v>0.3046981560502511</c:v>
                </c:pt>
                <c:pt idx="21">
                  <c:v>0.2997237091931447</c:v>
                </c:pt>
                <c:pt idx="22">
                  <c:v>0.3344315657909731</c:v>
                </c:pt>
                <c:pt idx="23">
                  <c:v>0.33560168062608386</c:v>
                </c:pt>
                <c:pt idx="24">
                  <c:v>0.33597443119261894</c:v>
                </c:pt>
                <c:pt idx="25">
                  <c:v>0.33408841896376407</c:v>
                </c:pt>
                <c:pt idx="26">
                  <c:v>0.31754851804073536</c:v>
                </c:pt>
                <c:pt idx="27">
                  <c:v>0.3121017569789275</c:v>
                </c:pt>
                <c:pt idx="28">
                  <c:v>0.30692751632119564</c:v>
                </c:pt>
                <c:pt idx="29">
                  <c:v>0.3081125084815497</c:v>
                </c:pt>
                <c:pt idx="30">
                  <c:v>0.29603171795424166</c:v>
                </c:pt>
                <c:pt idx="31">
                  <c:v>0.31571592836271184</c:v>
                </c:pt>
                <c:pt idx="32">
                  <c:v>0.31703669026383224</c:v>
                </c:pt>
                <c:pt idx="33">
                  <c:v>0.30573144476647185</c:v>
                </c:pt>
                <c:pt idx="34">
                  <c:v>0.29361731544861436</c:v>
                </c:pt>
                <c:pt idx="35">
                  <c:v>0.30749396136228435</c:v>
                </c:pt>
                <c:pt idx="36">
                  <c:v>0.3029515354300154</c:v>
                </c:pt>
                <c:pt idx="37">
                  <c:v>0.3199419816228377</c:v>
                </c:pt>
                <c:pt idx="38">
                  <c:v>0.3289304012557903</c:v>
                </c:pt>
                <c:pt idx="39">
                  <c:v>0.3249980336900063</c:v>
                </c:pt>
                <c:pt idx="40">
                  <c:v>0.3189863492746451</c:v>
                </c:pt>
                <c:pt idx="41">
                  <c:v>0.31323538904097764</c:v>
                </c:pt>
                <c:pt idx="42">
                  <c:v>0.30459390159017763</c:v>
                </c:pt>
                <c:pt idx="43">
                  <c:v>0.3064040306571407</c:v>
                </c:pt>
                <c:pt idx="44">
                  <c:v>0.3084580698873274</c:v>
                </c:pt>
                <c:pt idx="45">
                  <c:v>0.31057148008325675</c:v>
                </c:pt>
                <c:pt idx="46">
                  <c:v>0.3159048691357086</c:v>
                </c:pt>
                <c:pt idx="47">
                  <c:v>0.3255857697806613</c:v>
                </c:pt>
                <c:pt idx="48">
                  <c:v>0.328567070060859</c:v>
                </c:pt>
                <c:pt idx="49">
                  <c:v>0.3208710410308452</c:v>
                </c:pt>
                <c:pt idx="50">
                  <c:v>0.3323238650672842</c:v>
                </c:pt>
                <c:pt idx="51">
                  <c:v>0.3337153539989779</c:v>
                </c:pt>
                <c:pt idx="52">
                  <c:v>0.34200375415983836</c:v>
                </c:pt>
                <c:pt idx="53">
                  <c:v>0.3667702886221511</c:v>
                </c:pt>
                <c:pt idx="54">
                  <c:v>0.28322913159818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46.0"/>
          <c:min val="6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134297782004434</c:v>
                </c:pt>
                <c:pt idx="1">
                  <c:v>1.0810782901647489</c:v>
                </c:pt>
                <c:pt idx="2">
                  <c:v>1.1405109117027548</c:v>
                </c:pt>
                <c:pt idx="3">
                  <c:v>1.0041158375809125</c:v>
                </c:pt>
                <c:pt idx="4">
                  <c:v>1.0169616850501704</c:v>
                </c:pt>
                <c:pt idx="5">
                  <c:v>0.9662527993403811</c:v>
                </c:pt>
                <c:pt idx="6">
                  <c:v>0.8924798955939575</c:v>
                </c:pt>
                <c:pt idx="7">
                  <c:v>1.015317886622076</c:v>
                </c:pt>
                <c:pt idx="8">
                  <c:v>1.0911101516191426</c:v>
                </c:pt>
                <c:pt idx="9">
                  <c:v>1.0447952314185422</c:v>
                </c:pt>
                <c:pt idx="10">
                  <c:v>1.063985985547596</c:v>
                </c:pt>
                <c:pt idx="11">
                  <c:v>1.123589676341454</c:v>
                </c:pt>
                <c:pt idx="12">
                  <c:v>1.1800618431422585</c:v>
                </c:pt>
                <c:pt idx="13">
                  <c:v>1.1412790428057376</c:v>
                </c:pt>
                <c:pt idx="14">
                  <c:v>1.1546334497379775</c:v>
                </c:pt>
                <c:pt idx="15">
                  <c:v>1.1542571428571429</c:v>
                </c:pt>
                <c:pt idx="16">
                  <c:v>1.2341730227716798</c:v>
                </c:pt>
                <c:pt idx="17">
                  <c:v>1.2177687991434807</c:v>
                </c:pt>
                <c:pt idx="18">
                  <c:v>1.4789652521477843</c:v>
                </c:pt>
                <c:pt idx="19">
                  <c:v>1.372756919700096</c:v>
                </c:pt>
                <c:pt idx="20">
                  <c:v>1.5358966746534592</c:v>
                </c:pt>
                <c:pt idx="21">
                  <c:v>1.451128572812797</c:v>
                </c:pt>
                <c:pt idx="22">
                  <c:v>1.5263089360125393</c:v>
                </c:pt>
                <c:pt idx="23">
                  <c:v>1.5274134085678224</c:v>
                </c:pt>
                <c:pt idx="24">
                  <c:v>1.3741055290570965</c:v>
                </c:pt>
                <c:pt idx="25">
                  <c:v>1.29160075362472</c:v>
                </c:pt>
                <c:pt idx="26">
                  <c:v>1.4046307886437215</c:v>
                </c:pt>
                <c:pt idx="27">
                  <c:v>1.1238398704674433</c:v>
                </c:pt>
                <c:pt idx="28">
                  <c:v>1.1232300403376974</c:v>
                </c:pt>
                <c:pt idx="29">
                  <c:v>1.0284471876835157</c:v>
                </c:pt>
                <c:pt idx="30">
                  <c:v>1.046599433164047</c:v>
                </c:pt>
                <c:pt idx="31">
                  <c:v>1.0780245236919095</c:v>
                </c:pt>
                <c:pt idx="32">
                  <c:v>1.0943155292423001</c:v>
                </c:pt>
                <c:pt idx="33">
                  <c:v>1.0251658340772347</c:v>
                </c:pt>
                <c:pt idx="34">
                  <c:v>1.066940010591376</c:v>
                </c:pt>
                <c:pt idx="35">
                  <c:v>1.1323737696497345</c:v>
                </c:pt>
                <c:pt idx="36">
                  <c:v>1.161744645469</c:v>
                </c:pt>
                <c:pt idx="37">
                  <c:v>1.082295047733153</c:v>
                </c:pt>
                <c:pt idx="38">
                  <c:v>1.1831238582720458</c:v>
                </c:pt>
                <c:pt idx="39">
                  <c:v>1.1333770256683482</c:v>
                </c:pt>
                <c:pt idx="40">
                  <c:v>1.2051026801850393</c:v>
                </c:pt>
                <c:pt idx="41">
                  <c:v>1.1928272110618987</c:v>
                </c:pt>
                <c:pt idx="42">
                  <c:v>1.253617061475415</c:v>
                </c:pt>
                <c:pt idx="43">
                  <c:v>1.4421640557023225</c:v>
                </c:pt>
                <c:pt idx="44">
                  <c:v>1.3300773228398353</c:v>
                </c:pt>
                <c:pt idx="45">
                  <c:v>1.3423745091443278</c:v>
                </c:pt>
                <c:pt idx="46">
                  <c:v>1.4497321368712983</c:v>
                </c:pt>
                <c:pt idx="47">
                  <c:v>1.2878890680320998</c:v>
                </c:pt>
                <c:pt idx="48">
                  <c:v>1.428044038083754</c:v>
                </c:pt>
                <c:pt idx="49">
                  <c:v>1.226741207575402</c:v>
                </c:pt>
                <c:pt idx="50">
                  <c:v>0.9252190855690948</c:v>
                </c:pt>
                <c:pt idx="51">
                  <c:v>0.9016120054943021</c:v>
                </c:pt>
                <c:pt idx="52">
                  <c:v>0.946912446656039</c:v>
                </c:pt>
                <c:pt idx="53">
                  <c:v>0.9105654700184934</c:v>
                </c:pt>
                <c:pt idx="54">
                  <c:v>0.8363130100968418</c:v>
                </c:pt>
                <c:pt idx="55">
                  <c:v>0.8605864807766457</c:v>
                </c:pt>
                <c:pt idx="56">
                  <c:v>0.9078358075025735</c:v>
                </c:pt>
                <c:pt idx="57">
                  <c:v>0.8886897812179572</c:v>
                </c:pt>
                <c:pt idx="58">
                  <c:v>0.7962647680854761</c:v>
                </c:pt>
                <c:pt idx="59">
                  <c:v>0.8081357845028598</c:v>
                </c:pt>
                <c:pt idx="60">
                  <c:v>0.8491783756717997</c:v>
                </c:pt>
                <c:pt idx="61">
                  <c:v>0.8308916498639953</c:v>
                </c:pt>
                <c:pt idx="62">
                  <c:v>0.8296591063836225</c:v>
                </c:pt>
                <c:pt idx="63">
                  <c:v>0.8893766749599485</c:v>
                </c:pt>
                <c:pt idx="64">
                  <c:v>0.8951633554090511</c:v>
                </c:pt>
                <c:pt idx="65">
                  <c:v>0.8611550339724867</c:v>
                </c:pt>
                <c:pt idx="66">
                  <c:v>0.8605005880286137</c:v>
                </c:pt>
                <c:pt idx="67">
                  <c:v>0.9068907478243716</c:v>
                </c:pt>
                <c:pt idx="68">
                  <c:v>0.9968280271246376</c:v>
                </c:pt>
                <c:pt idx="69">
                  <c:v>0.9762889330821358</c:v>
                </c:pt>
                <c:pt idx="70">
                  <c:v>0.8842630087408072</c:v>
                </c:pt>
                <c:pt idx="71">
                  <c:v>1.040470317415211</c:v>
                </c:pt>
                <c:pt idx="72">
                  <c:v>1.0053925924948421</c:v>
                </c:pt>
                <c:pt idx="73">
                  <c:v>0.9962792951289298</c:v>
                </c:pt>
                <c:pt idx="74">
                  <c:v>0.8929116258741776</c:v>
                </c:pt>
                <c:pt idx="75">
                  <c:v>1.4372305027927395</c:v>
                </c:pt>
                <c:pt idx="76">
                  <c:v>1.150062691003984</c:v>
                </c:pt>
                <c:pt idx="77">
                  <c:v>1.1824024215259346</c:v>
                </c:pt>
                <c:pt idx="78">
                  <c:v>1.1469950928713784</c:v>
                </c:pt>
                <c:pt idx="79">
                  <c:v>1.18776096625248</c:v>
                </c:pt>
                <c:pt idx="80">
                  <c:v>1.0620979278535947</c:v>
                </c:pt>
                <c:pt idx="81">
                  <c:v>1.1339022986530722</c:v>
                </c:pt>
                <c:pt idx="82">
                  <c:v>1.1434762436020052</c:v>
                </c:pt>
                <c:pt idx="83">
                  <c:v>1.0751793016116225</c:v>
                </c:pt>
                <c:pt idx="84">
                  <c:v>1.089998703663663</c:v>
                </c:pt>
                <c:pt idx="85">
                  <c:v>1.1951854996760867</c:v>
                </c:pt>
                <c:pt idx="86">
                  <c:v>1.0398488894639457</c:v>
                </c:pt>
                <c:pt idx="87">
                  <c:v>1.1391912372498716</c:v>
                </c:pt>
                <c:pt idx="88">
                  <c:v>0.9185577088645218</c:v>
                </c:pt>
                <c:pt idx="89">
                  <c:v>1.0597993713268852</c:v>
                </c:pt>
                <c:pt idx="90">
                  <c:v>1.2101637194484223</c:v>
                </c:pt>
                <c:pt idx="91">
                  <c:v>1.0696164155305776</c:v>
                </c:pt>
                <c:pt idx="92">
                  <c:v>1.139864136807739</c:v>
                </c:pt>
                <c:pt idx="93">
                  <c:v>1.2621748628966052</c:v>
                </c:pt>
                <c:pt idx="94">
                  <c:v>1.154256577923089</c:v>
                </c:pt>
                <c:pt idx="95">
                  <c:v>1.0623731968833756</c:v>
                </c:pt>
                <c:pt idx="96">
                  <c:v>1.141920764273224</c:v>
                </c:pt>
                <c:pt idx="97">
                  <c:v>1.1326721179501473</c:v>
                </c:pt>
                <c:pt idx="98">
                  <c:v>1.1776751171509034</c:v>
                </c:pt>
                <c:pt idx="99">
                  <c:v>1.024749981657215</c:v>
                </c:pt>
                <c:pt idx="100">
                  <c:v>0.9382828229644842</c:v>
                </c:pt>
                <c:pt idx="101">
                  <c:v>0.8200435256752131</c:v>
                </c:pt>
                <c:pt idx="102">
                  <c:v>0.8538749094472048</c:v>
                </c:pt>
                <c:pt idx="103">
                  <c:v>0.7480609570627544</c:v>
                </c:pt>
                <c:pt idx="104">
                  <c:v>0.8657134706987448</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882897702644127</c:v>
                </c:pt>
                <c:pt idx="1">
                  <c:v>0.9052491913819743</c:v>
                </c:pt>
                <c:pt idx="2">
                  <c:v>0.9434774927060801</c:v>
                </c:pt>
                <c:pt idx="3">
                  <c:v>0.9546860282022931</c:v>
                </c:pt>
                <c:pt idx="4">
                  <c:v>1.0838250280437531</c:v>
                </c:pt>
                <c:pt idx="5">
                  <c:v>0.9623348091841609</c:v>
                </c:pt>
                <c:pt idx="6">
                  <c:v>0.930842575217709</c:v>
                </c:pt>
                <c:pt idx="7">
                  <c:v>0.9956925928786591</c:v>
                </c:pt>
                <c:pt idx="8">
                  <c:v>1.0059778147830383</c:v>
                </c:pt>
                <c:pt idx="9">
                  <c:v>1.0027089120699195</c:v>
                </c:pt>
                <c:pt idx="10">
                  <c:v>0.9403594423296983</c:v>
                </c:pt>
                <c:pt idx="11">
                  <c:v>0.8987288319045059</c:v>
                </c:pt>
                <c:pt idx="12">
                  <c:v>0.8145953506267664</c:v>
                </c:pt>
                <c:pt idx="13">
                  <c:v>0.9133505670892581</c:v>
                </c:pt>
                <c:pt idx="14">
                  <c:v>0.8730806020373065</c:v>
                </c:pt>
                <c:pt idx="15">
                  <c:v>0.8021845408966509</c:v>
                </c:pt>
                <c:pt idx="16">
                  <c:v>0.7791155419189066</c:v>
                </c:pt>
                <c:pt idx="17">
                  <c:v>0.7422428317001895</c:v>
                </c:pt>
                <c:pt idx="18">
                  <c:v>0.8547707030746964</c:v>
                </c:pt>
                <c:pt idx="19">
                  <c:v>1.0042177327797068</c:v>
                </c:pt>
                <c:pt idx="20">
                  <c:v>0.9578555695107268</c:v>
                </c:pt>
                <c:pt idx="21">
                  <c:v>0.9160838113671301</c:v>
                </c:pt>
                <c:pt idx="22">
                  <c:v>0.8730594014750968</c:v>
                </c:pt>
                <c:pt idx="23">
                  <c:v>0.9260054482417037</c:v>
                </c:pt>
                <c:pt idx="24">
                  <c:v>0.8011783376021587</c:v>
                </c:pt>
                <c:pt idx="25">
                  <c:v>0.8232351498397815</c:v>
                </c:pt>
                <c:pt idx="26">
                  <c:v>0.9247654898599414</c:v>
                </c:pt>
                <c:pt idx="27">
                  <c:v>0.9945515882663601</c:v>
                </c:pt>
                <c:pt idx="28">
                  <c:v>0.9704130598030303</c:v>
                </c:pt>
                <c:pt idx="29">
                  <c:v>1.0332554661765068</c:v>
                </c:pt>
                <c:pt idx="30">
                  <c:v>1.2321509587394828</c:v>
                </c:pt>
                <c:pt idx="31">
                  <c:v>1.163121246051291</c:v>
                </c:pt>
                <c:pt idx="32">
                  <c:v>1.0351865309139139</c:v>
                </c:pt>
                <c:pt idx="33">
                  <c:v>1.0744463678760572</c:v>
                </c:pt>
                <c:pt idx="34">
                  <c:v>1.0431053367915042</c:v>
                </c:pt>
                <c:pt idx="35">
                  <c:v>0.9123842180324032</c:v>
                </c:pt>
                <c:pt idx="36">
                  <c:v>1.0377090649473417</c:v>
                </c:pt>
                <c:pt idx="37">
                  <c:v>0.9806826749031522</c:v>
                </c:pt>
                <c:pt idx="38">
                  <c:v>0.9437361625016838</c:v>
                </c:pt>
                <c:pt idx="39">
                  <c:v>0.9715578000686006</c:v>
                </c:pt>
                <c:pt idx="40">
                  <c:v>1.0929913805149236</c:v>
                </c:pt>
                <c:pt idx="41">
                  <c:v>1.0300083217753122</c:v>
                </c:pt>
                <c:pt idx="42">
                  <c:v>0.9695609471561997</c:v>
                </c:pt>
                <c:pt idx="43">
                  <c:v>1.0493364095736704</c:v>
                </c:pt>
                <c:pt idx="44">
                  <c:v>0.924759622098755</c:v>
                </c:pt>
                <c:pt idx="45">
                  <c:v>0.9088227802060381</c:v>
                </c:pt>
                <c:pt idx="46">
                  <c:v>0.8554320222923298</c:v>
                </c:pt>
                <c:pt idx="47">
                  <c:v>0.8501204201018497</c:v>
                </c:pt>
                <c:pt idx="48">
                  <c:v>0.8586576812744908</c:v>
                </c:pt>
                <c:pt idx="49">
                  <c:v>1.001576300613737</c:v>
                </c:pt>
                <c:pt idx="50">
                  <c:v>0.813949911427074</c:v>
                </c:pt>
                <c:pt idx="51">
                  <c:v>0.86377569357747</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875394756979704</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875394756979704</c:v>
                </c:pt>
                <c:pt idx="1">
                  <c:v>-0.04875394756979704</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446799638028102</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446799638028102</c:v>
                </c:pt>
                <c:pt idx="1">
                  <c:v>0.4446799638028102</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156710826521223</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156710826521223</c:v>
                </c:pt>
                <c:pt idx="1">
                  <c:v>1.6156710826521223</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882897702644127</c:v>
                </c:pt>
                <c:pt idx="1">
                  <c:v>0.9052491913819743</c:v>
                </c:pt>
                <c:pt idx="2">
                  <c:v>0.9434774927060801</c:v>
                </c:pt>
                <c:pt idx="3">
                  <c:v>0.9546860282022931</c:v>
                </c:pt>
                <c:pt idx="4">
                  <c:v>1.0838250280437531</c:v>
                </c:pt>
                <c:pt idx="5">
                  <c:v>0.9623348091841609</c:v>
                </c:pt>
                <c:pt idx="6">
                  <c:v>0.930842575217709</c:v>
                </c:pt>
                <c:pt idx="7">
                  <c:v>0.9956925928786591</c:v>
                </c:pt>
                <c:pt idx="8">
                  <c:v>1.0059778147830383</c:v>
                </c:pt>
                <c:pt idx="9">
                  <c:v>1.0027089120699195</c:v>
                </c:pt>
                <c:pt idx="10">
                  <c:v>0.9403594423296983</c:v>
                </c:pt>
                <c:pt idx="11">
                  <c:v>0.8987288319045059</c:v>
                </c:pt>
                <c:pt idx="12">
                  <c:v>0.8145953506267664</c:v>
                </c:pt>
                <c:pt idx="13">
                  <c:v>0.9133505670892581</c:v>
                </c:pt>
                <c:pt idx="14">
                  <c:v>0.8730806020373065</c:v>
                </c:pt>
                <c:pt idx="15">
                  <c:v>0.8021845408966509</c:v>
                </c:pt>
                <c:pt idx="16">
                  <c:v>0.7791155419189066</c:v>
                </c:pt>
                <c:pt idx="17">
                  <c:v>0.7422428317001895</c:v>
                </c:pt>
                <c:pt idx="18">
                  <c:v>0.8547707030746964</c:v>
                </c:pt>
                <c:pt idx="19">
                  <c:v>1.0042177327797068</c:v>
                </c:pt>
                <c:pt idx="20">
                  <c:v>0.9578555695107268</c:v>
                </c:pt>
                <c:pt idx="21">
                  <c:v>0.9160838113671301</c:v>
                </c:pt>
                <c:pt idx="22">
                  <c:v>0.8730594014750968</c:v>
                </c:pt>
                <c:pt idx="23">
                  <c:v>0.9260054482417037</c:v>
                </c:pt>
                <c:pt idx="24">
                  <c:v>0.8011783376021587</c:v>
                </c:pt>
                <c:pt idx="25">
                  <c:v>0.8232351498397815</c:v>
                </c:pt>
                <c:pt idx="26">
                  <c:v>0.9247654898599414</c:v>
                </c:pt>
                <c:pt idx="27">
                  <c:v>0.9945515882663601</c:v>
                </c:pt>
                <c:pt idx="28">
                  <c:v>0.9704130598030303</c:v>
                </c:pt>
                <c:pt idx="29">
                  <c:v>1.0332554661765068</c:v>
                </c:pt>
                <c:pt idx="30">
                  <c:v>1.2321509587394828</c:v>
                </c:pt>
                <c:pt idx="31">
                  <c:v>1.163121246051291</c:v>
                </c:pt>
                <c:pt idx="32">
                  <c:v>1.0351865309139139</c:v>
                </c:pt>
                <c:pt idx="33">
                  <c:v>1.0744463678760572</c:v>
                </c:pt>
                <c:pt idx="34">
                  <c:v>1.0431053367915042</c:v>
                </c:pt>
                <c:pt idx="35">
                  <c:v>0.9123842180324032</c:v>
                </c:pt>
                <c:pt idx="36">
                  <c:v>1.0377090649473417</c:v>
                </c:pt>
                <c:pt idx="37">
                  <c:v>0.9806826749031522</c:v>
                </c:pt>
                <c:pt idx="38">
                  <c:v>0.9437361625016838</c:v>
                </c:pt>
                <c:pt idx="39">
                  <c:v>0.9715578000686006</c:v>
                </c:pt>
                <c:pt idx="40">
                  <c:v>1.0929913805149236</c:v>
                </c:pt>
                <c:pt idx="41">
                  <c:v>1.0300083217753122</c:v>
                </c:pt>
                <c:pt idx="42">
                  <c:v>0.9695609471561997</c:v>
                </c:pt>
                <c:pt idx="43">
                  <c:v>1.0493364095736704</c:v>
                </c:pt>
                <c:pt idx="44">
                  <c:v>0.924759622098755</c:v>
                </c:pt>
                <c:pt idx="45">
                  <c:v>0.9088227802060381</c:v>
                </c:pt>
                <c:pt idx="46">
                  <c:v>0.8554320222923298</c:v>
                </c:pt>
                <c:pt idx="47">
                  <c:v>0.8501204201018497</c:v>
                </c:pt>
                <c:pt idx="48">
                  <c:v>0.8586576812744908</c:v>
                </c:pt>
                <c:pt idx="49">
                  <c:v>1.001576300613737</c:v>
                </c:pt>
                <c:pt idx="50">
                  <c:v>0.813949911427074</c:v>
                </c:pt>
                <c:pt idx="51">
                  <c:v>0.86377569357747</c:v>
                </c:pt>
                <c:pt idx="52">
                  <c:v>0.4446799638028102</c:v>
                </c:pt>
                <c:pt idx="53">
                  <c:v>-0.04875394756979704</c:v>
                </c:pt>
                <c:pt idx="54">
                  <c:v>1.6156710826521223</c:v>
                </c:pt>
              </c:numCache>
            </c:numRef>
          </c:xVal>
          <c:yVal>
            <c:numRef>
              <c:f>Sheet1!$B$187:$B$241</c:f>
              <c:numCache>
                <c:formatCode>General</c:formatCode>
                <c:ptCount val="55"/>
                <c:pt idx="0">
                  <c:v>0.31471878104493656</c:v>
                </c:pt>
                <c:pt idx="1">
                  <c:v>0.31888677053909453</c:v>
                </c:pt>
                <c:pt idx="2">
                  <c:v>0.3169680079239645</c:v>
                </c:pt>
                <c:pt idx="3">
                  <c:v>0.3164054268482804</c:v>
                </c:pt>
                <c:pt idx="4">
                  <c:v>0.3099236561059632</c:v>
                </c:pt>
                <c:pt idx="5">
                  <c:v>0.3160215176895946</c:v>
                </c:pt>
                <c:pt idx="6">
                  <c:v>0.3176021822524652</c:v>
                </c:pt>
                <c:pt idx="7">
                  <c:v>0.3143472170782766</c:v>
                </c:pt>
                <c:pt idx="8">
                  <c:v>0.313830979144733</c:v>
                </c:pt>
                <c:pt idx="9">
                  <c:v>0.31399505256942567</c:v>
                </c:pt>
                <c:pt idx="10">
                  <c:v>0.3171245097377273</c:v>
                </c:pt>
                <c:pt idx="11">
                  <c:v>0.31921404173789836</c:v>
                </c:pt>
                <c:pt idx="12">
                  <c:v>0.32343688640964613</c:v>
                </c:pt>
                <c:pt idx="13">
                  <c:v>0.3184801446546099</c:v>
                </c:pt>
                <c:pt idx="14">
                  <c:v>0.3205013828676077</c:v>
                </c:pt>
                <c:pt idx="15">
                  <c:v>0.3240598122763161</c:v>
                </c:pt>
                <c:pt idx="16">
                  <c:v>0.32521769612869267</c:v>
                </c:pt>
                <c:pt idx="17">
                  <c:v>0.3270684186414815</c:v>
                </c:pt>
                <c:pt idx="18">
                  <c:v>0.3214203970115637</c:v>
                </c:pt>
                <c:pt idx="19">
                  <c:v>0.31391932153585633</c:v>
                </c:pt>
                <c:pt idx="20">
                  <c:v>0.31624634059126433</c:v>
                </c:pt>
                <c:pt idx="21">
                  <c:v>0.3183429571062034</c:v>
                </c:pt>
                <c:pt idx="22">
                  <c:v>0.3205024469705048</c:v>
                </c:pt>
                <c:pt idx="23">
                  <c:v>0.31784496830585296</c:v>
                </c:pt>
                <c:pt idx="24">
                  <c:v>0.3241103158351408</c:v>
                </c:pt>
                <c:pt idx="25">
                  <c:v>0.32300323586389956</c:v>
                </c:pt>
                <c:pt idx="26">
                  <c:v>0.3179072045471934</c:v>
                </c:pt>
                <c:pt idx="27">
                  <c:v>0.3144044866120497</c:v>
                </c:pt>
                <c:pt idx="28">
                  <c:v>0.31561605250421465</c:v>
                </c:pt>
                <c:pt idx="29">
                  <c:v>0.3124618537609343</c:v>
                </c:pt>
                <c:pt idx="30">
                  <c:v>0.302478851057985</c:v>
                </c:pt>
                <c:pt idx="31">
                  <c:v>0.30594360432850887</c:v>
                </c:pt>
                <c:pt idx="32">
                  <c:v>0.3123649293699153</c:v>
                </c:pt>
                <c:pt idx="33">
                  <c:v>0.31039439170986083</c:v>
                </c:pt>
                <c:pt idx="34">
                  <c:v>0.3119674670671681</c:v>
                </c:pt>
                <c:pt idx="35">
                  <c:v>0.3185286478414959</c:v>
                </c:pt>
                <c:pt idx="36">
                  <c:v>0.31223831783262257</c:v>
                </c:pt>
                <c:pt idx="37">
                  <c:v>0.31510059791054</c:v>
                </c:pt>
                <c:pt idx="38">
                  <c:v>0.3169550247173799</c:v>
                </c:pt>
                <c:pt idx="39">
                  <c:v>0.3155585954697786</c:v>
                </c:pt>
                <c:pt idx="40">
                  <c:v>0.30946357669281654</c:v>
                </c:pt>
                <c:pt idx="41">
                  <c:v>0.31262483508804373</c:v>
                </c:pt>
                <c:pt idx="42">
                  <c:v>0.31565882191415406</c:v>
                </c:pt>
                <c:pt idx="43">
                  <c:v>0.31165471580455745</c:v>
                </c:pt>
                <c:pt idx="44">
                  <c:v>0.31790749906304705</c:v>
                </c:pt>
                <c:pt idx="45">
                  <c:v>0.3187074042476309</c:v>
                </c:pt>
                <c:pt idx="46">
                  <c:v>0.32138720394392767</c:v>
                </c:pt>
                <c:pt idx="47">
                  <c:v>0.3216538049530368</c:v>
                </c:pt>
                <c:pt idx="48">
                  <c:v>0.3212253010173065</c:v>
                </c:pt>
                <c:pt idx="49">
                  <c:v>0.3140519008322131</c:v>
                </c:pt>
                <c:pt idx="50">
                  <c:v>0.32346928242421685</c:v>
                </c:pt>
                <c:pt idx="51">
                  <c:v>0.32096841671090026</c:v>
                </c:pt>
                <c:pt idx="52">
                  <c:v>0.34200375415983836</c:v>
                </c:pt>
                <c:pt idx="53">
                  <c:v>0.3667702886221511</c:v>
                </c:pt>
                <c:pt idx="54">
                  <c:v>0.28322913159818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3.4904</c:v>
                </c:pt>
                <c:pt idx="1">
                  <c:v>1045.8613</c:v>
                </c:pt>
                <c:pt idx="2">
                  <c:v>1124.4613</c:v>
                </c:pt>
                <c:pt idx="3">
                  <c:v>1147.2159</c:v>
                </c:pt>
                <c:pt idx="4">
                  <c:v>1127.2404</c:v>
                </c:pt>
                <c:pt idx="5">
                  <c:v>1119.3915</c:v>
                </c:pt>
                <c:pt idx="6">
                  <c:v>1055.0485</c:v>
                </c:pt>
                <c:pt idx="7">
                  <c:v>1072.3952</c:v>
                </c:pt>
                <c:pt idx="8">
                  <c:v>1092.9514</c:v>
                </c:pt>
                <c:pt idx="9">
                  <c:v>1103.2113</c:v>
                </c:pt>
                <c:pt idx="10">
                  <c:v>1105.4043</c:v>
                </c:pt>
                <c:pt idx="11">
                  <c:v>1156.7131</c:v>
                </c:pt>
                <c:pt idx="12">
                  <c:v>1150.54</c:v>
                </c:pt>
                <c:pt idx="13">
                  <c:v>1134.5326</c:v>
                </c:pt>
                <c:pt idx="14">
                  <c:v>1160.5058</c:v>
                </c:pt>
                <c:pt idx="15">
                  <c:v>1171.571</c:v>
                </c:pt>
                <c:pt idx="16">
                  <c:v>1208.4573</c:v>
                </c:pt>
                <c:pt idx="17">
                  <c:v>1242.8496</c:v>
                </c:pt>
                <c:pt idx="18">
                  <c:v>1296.0665</c:v>
                </c:pt>
                <c:pt idx="19">
                  <c:v>1243.5842</c:v>
                </c:pt>
                <c:pt idx="20">
                  <c:v>1319.2093</c:v>
                </c:pt>
                <c:pt idx="21">
                  <c:v>1323.8942</c:v>
                </c:pt>
                <c:pt idx="22">
                  <c:v>1297.5572</c:v>
                </c:pt>
                <c:pt idx="23">
                  <c:v>1285.7957</c:v>
                </c:pt>
                <c:pt idx="24">
                  <c:v>1219.0494</c:v>
                </c:pt>
                <c:pt idx="25">
                  <c:v>1212.3099</c:v>
                </c:pt>
                <c:pt idx="26">
                  <c:v>1223.0279</c:v>
                </c:pt>
                <c:pt idx="27">
                  <c:v>1227.4279</c:v>
                </c:pt>
                <c:pt idx="28">
                  <c:v>1237.4057</c:v>
                </c:pt>
                <c:pt idx="29">
                  <c:v>1177.3938</c:v>
                </c:pt>
                <c:pt idx="30">
                  <c:v>1212.4126</c:v>
                </c:pt>
                <c:pt idx="31">
                  <c:v>1158.5964</c:v>
                </c:pt>
                <c:pt idx="32">
                  <c:v>1159.9169</c:v>
                </c:pt>
                <c:pt idx="33">
                  <c:v>1113.1551</c:v>
                </c:pt>
                <c:pt idx="34">
                  <c:v>1153.8379</c:v>
                </c:pt>
                <c:pt idx="35">
                  <c:v>1202.7816</c:v>
                </c:pt>
                <c:pt idx="36">
                  <c:v>1249.7985</c:v>
                </c:pt>
                <c:pt idx="37">
                  <c:v>1203.4267</c:v>
                </c:pt>
                <c:pt idx="38">
                  <c:v>1319.0907</c:v>
                </c:pt>
                <c:pt idx="39">
                  <c:v>1303.569</c:v>
                </c:pt>
                <c:pt idx="40">
                  <c:v>1376.3121</c:v>
                </c:pt>
                <c:pt idx="41">
                  <c:v>1389.3944</c:v>
                </c:pt>
                <c:pt idx="42">
                  <c:v>1443.8186</c:v>
                </c:pt>
                <c:pt idx="43">
                  <c:v>1465.1983</c:v>
                </c:pt>
                <c:pt idx="44">
                  <c:v>1323.9047</c:v>
                </c:pt>
                <c:pt idx="45">
                  <c:v>1265.7856</c:v>
                </c:pt>
                <c:pt idx="46">
                  <c:v>1293.1399</c:v>
                </c:pt>
                <c:pt idx="47">
                  <c:v>1269.6854</c:v>
                </c:pt>
                <c:pt idx="48">
                  <c:v>1282.8181</c:v>
                </c:pt>
                <c:pt idx="49">
                  <c:v>1160.8971</c:v>
                </c:pt>
                <c:pt idx="50">
                  <c:v>1157.2335</c:v>
                </c:pt>
                <c:pt idx="51">
                  <c:v>1193.2</c:v>
                </c:pt>
                <c:pt idx="52">
                  <c:v>1200.5937</c:v>
                </c:pt>
                <c:pt idx="53">
                  <c:v>1238.2157</c:v>
                </c:pt>
                <c:pt idx="54">
                  <c:v>1265.4723</c:v>
                </c:pt>
                <c:pt idx="55">
                  <c:v>1270.4463</c:v>
                </c:pt>
                <c:pt idx="56">
                  <c:v>1269.6968</c:v>
                </c:pt>
                <c:pt idx="57">
                  <c:v>1212.5965</c:v>
                </c:pt>
                <c:pt idx="58">
                  <c:v>1199.0811</c:v>
                </c:pt>
                <c:pt idx="59">
                  <c:v>1153.4497</c:v>
                </c:pt>
                <c:pt idx="60">
                  <c:v>1180.0243</c:v>
                </c:pt>
                <c:pt idx="61">
                  <c:v>1242.0185</c:v>
                </c:pt>
                <c:pt idx="62">
                  <c:v>1200.8427</c:v>
                </c:pt>
                <c:pt idx="63">
                  <c:v>1204.6696</c:v>
                </c:pt>
                <c:pt idx="64">
                  <c:v>1192.7554</c:v>
                </c:pt>
                <c:pt idx="65">
                  <c:v>1182.7911</c:v>
                </c:pt>
                <c:pt idx="66">
                  <c:v>1172.375</c:v>
                </c:pt>
                <c:pt idx="67">
                  <c:v>1204.5137</c:v>
                </c:pt>
                <c:pt idx="68">
                  <c:v>1203.589</c:v>
                </c:pt>
                <c:pt idx="69">
                  <c:v>1212.0302</c:v>
                </c:pt>
                <c:pt idx="70">
                  <c:v>1164.5498</c:v>
                </c:pt>
                <c:pt idx="71">
                  <c:v>1236.8285</c:v>
                </c:pt>
                <c:pt idx="72">
                  <c:v>1218.9978</c:v>
                </c:pt>
                <c:pt idx="73">
                  <c:v>1185.1871</c:v>
                </c:pt>
                <c:pt idx="74">
                  <c:v>1052.5711</c:v>
                </c:pt>
                <c:pt idx="75">
                  <c:v>1269.389</c:v>
                </c:pt>
                <c:pt idx="76">
                  <c:v>1347.3441</c:v>
                </c:pt>
                <c:pt idx="77">
                  <c:v>1360.2536</c:v>
                </c:pt>
                <c:pt idx="78">
                  <c:v>1405.1315</c:v>
                </c:pt>
                <c:pt idx="79">
                  <c:v>1416.6507</c:v>
                </c:pt>
                <c:pt idx="80">
                  <c:v>1331.1319</c:v>
                </c:pt>
                <c:pt idx="81">
                  <c:v>1435.3009</c:v>
                </c:pt>
                <c:pt idx="82">
                  <c:v>1430.4188</c:v>
                </c:pt>
                <c:pt idx="83">
                  <c:v>1387.7064</c:v>
                </c:pt>
                <c:pt idx="84">
                  <c:v>1329.3525</c:v>
                </c:pt>
                <c:pt idx="85">
                  <c:v>1373.9084</c:v>
                </c:pt>
                <c:pt idx="86">
                  <c:v>1385.5244</c:v>
                </c:pt>
                <c:pt idx="87">
                  <c:v>1408.7633</c:v>
                </c:pt>
                <c:pt idx="88">
                  <c:v>1423.7853</c:v>
                </c:pt>
                <c:pt idx="89">
                  <c:v>1436.0078</c:v>
                </c:pt>
                <c:pt idx="90">
                  <c:v>1504.2093</c:v>
                </c:pt>
                <c:pt idx="91">
                  <c:v>1513.0136</c:v>
                </c:pt>
                <c:pt idx="92">
                  <c:v>1414.3514</c:v>
                </c:pt>
                <c:pt idx="93">
                  <c:v>1426.1026</c:v>
                </c:pt>
                <c:pt idx="94">
                  <c:v>1482.758</c:v>
                </c:pt>
                <c:pt idx="95">
                  <c:v>1328.3004</c:v>
                </c:pt>
                <c:pt idx="96">
                  <c:v>1226.7375</c:v>
                </c:pt>
                <c:pt idx="97">
                  <c:v>1299.0595</c:v>
                </c:pt>
                <c:pt idx="98">
                  <c:v>1278.7704</c:v>
                </c:pt>
                <c:pt idx="99">
                  <c:v>1243.033</c:v>
                </c:pt>
                <c:pt idx="100">
                  <c:v>1284.8647</c:v>
                </c:pt>
                <c:pt idx="101">
                  <c:v>1287.7451</c:v>
                </c:pt>
                <c:pt idx="102">
                  <c:v>1308.9437</c:v>
                </c:pt>
                <c:pt idx="103">
                  <c:v>1217.3757</c:v>
                </c:pt>
                <c:pt idx="104">
                  <c:v>1282.5365</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3.9196366508486</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3.9196366508486</c:v>
                </c:pt>
                <c:pt idx="1">
                  <c:v>873.9196366508486</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8556435593625</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8556435593625</c:v>
                </c:pt>
                <c:pt idx="1">
                  <c:v>1070.8556435593625</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38.2137025748398</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38.2137025748398</c:v>
                </c:pt>
                <c:pt idx="1">
                  <c:v>1538.2137025748398</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pt idx="52">
                  <c:v>1070.8556435593625</c:v>
                </c:pt>
                <c:pt idx="53">
                  <c:v>873.9196366508486</c:v>
                </c:pt>
                <c:pt idx="54">
                  <c:v>1538.2137025748398</c:v>
                </c:pt>
              </c:numCache>
            </c:numRef>
          </c:xVal>
          <c:yVal>
            <c:numRef>
              <c:f>Sheet1!$B$187:$B$241</c:f>
              <c:numCache>
                <c:formatCode>General</c:formatCode>
                <c:ptCount val="55"/>
                <c:pt idx="0">
                  <c:v>0.3046362573225693</c:v>
                </c:pt>
                <c:pt idx="1">
                  <c:v>0.3106815446230109</c:v>
                </c:pt>
                <c:pt idx="2">
                  <c:v>0.3201312493700156</c:v>
                </c:pt>
                <c:pt idx="3">
                  <c:v>0.310963572430201</c:v>
                </c:pt>
                <c:pt idx="4">
                  <c:v>0.3110104554974089</c:v>
                </c:pt>
                <c:pt idx="5">
                  <c:v>0.30643242710718244</c:v>
                </c:pt>
                <c:pt idx="6">
                  <c:v>0.3131538215587055</c:v>
                </c:pt>
                <c:pt idx="7">
                  <c:v>0.3145545789508424</c:v>
                </c:pt>
                <c:pt idx="8">
                  <c:v>0.30648173732888906</c:v>
                </c:pt>
                <c:pt idx="9">
                  <c:v>0.3082324828541794</c:v>
                </c:pt>
                <c:pt idx="10">
                  <c:v>0.3070122780896992</c:v>
                </c:pt>
                <c:pt idx="11">
                  <c:v>0.3325705545110477</c:v>
                </c:pt>
                <c:pt idx="12">
                  <c:v>0.33763537200145766</c:v>
                </c:pt>
                <c:pt idx="13">
                  <c:v>0.3326617551557344</c:v>
                </c:pt>
                <c:pt idx="14">
                  <c:v>0.3309506112341558</c:v>
                </c:pt>
                <c:pt idx="15">
                  <c:v>0.326083499939984</c:v>
                </c:pt>
                <c:pt idx="16">
                  <c:v>0.3286346908367112</c:v>
                </c:pt>
                <c:pt idx="17">
                  <c:v>0.32998489299006706</c:v>
                </c:pt>
                <c:pt idx="18">
                  <c:v>0.3156529229531862</c:v>
                </c:pt>
                <c:pt idx="19">
                  <c:v>0.3055460881335379</c:v>
                </c:pt>
                <c:pt idx="20">
                  <c:v>0.3046981560502511</c:v>
                </c:pt>
                <c:pt idx="21">
                  <c:v>0.2997237091931447</c:v>
                </c:pt>
                <c:pt idx="22">
                  <c:v>0.3344315657909731</c:v>
                </c:pt>
                <c:pt idx="23">
                  <c:v>0.33560168062608386</c:v>
                </c:pt>
                <c:pt idx="24">
                  <c:v>0.33597443119261894</c:v>
                </c:pt>
                <c:pt idx="25">
                  <c:v>0.33408841896376407</c:v>
                </c:pt>
                <c:pt idx="26">
                  <c:v>0.31754851804073536</c:v>
                </c:pt>
                <c:pt idx="27">
                  <c:v>0.3121017569789275</c:v>
                </c:pt>
                <c:pt idx="28">
                  <c:v>0.30692751632119564</c:v>
                </c:pt>
                <c:pt idx="29">
                  <c:v>0.3081125084815497</c:v>
                </c:pt>
                <c:pt idx="30">
                  <c:v>0.29603171795424166</c:v>
                </c:pt>
                <c:pt idx="31">
                  <c:v>0.31571592836271184</c:v>
                </c:pt>
                <c:pt idx="32">
                  <c:v>0.31703669026383224</c:v>
                </c:pt>
                <c:pt idx="33">
                  <c:v>0.30573144476647185</c:v>
                </c:pt>
                <c:pt idx="34">
                  <c:v>0.29361731544861436</c:v>
                </c:pt>
                <c:pt idx="35">
                  <c:v>0.30749396136228435</c:v>
                </c:pt>
                <c:pt idx="36">
                  <c:v>0.3029515354300154</c:v>
                </c:pt>
                <c:pt idx="37">
                  <c:v>0.3199419816228377</c:v>
                </c:pt>
                <c:pt idx="38">
                  <c:v>0.3289304012557903</c:v>
                </c:pt>
                <c:pt idx="39">
                  <c:v>0.3249980336900063</c:v>
                </c:pt>
                <c:pt idx="40">
                  <c:v>0.3189863492746451</c:v>
                </c:pt>
                <c:pt idx="41">
                  <c:v>0.31323538904097764</c:v>
                </c:pt>
                <c:pt idx="42">
                  <c:v>0.30459390159017763</c:v>
                </c:pt>
                <c:pt idx="43">
                  <c:v>0.3064040306571407</c:v>
                </c:pt>
                <c:pt idx="44">
                  <c:v>0.3084580698873274</c:v>
                </c:pt>
                <c:pt idx="45">
                  <c:v>0.31057148008325675</c:v>
                </c:pt>
                <c:pt idx="46">
                  <c:v>0.3159048691357086</c:v>
                </c:pt>
                <c:pt idx="47">
                  <c:v>0.3255857697806613</c:v>
                </c:pt>
                <c:pt idx="48">
                  <c:v>0.328567070060859</c:v>
                </c:pt>
                <c:pt idx="49">
                  <c:v>0.3208710410308452</c:v>
                </c:pt>
                <c:pt idx="50">
                  <c:v>0.3323238650672842</c:v>
                </c:pt>
                <c:pt idx="51">
                  <c:v>0.3337153539989779</c:v>
                </c:pt>
                <c:pt idx="52">
                  <c:v>0.34200375415983836</c:v>
                </c:pt>
                <c:pt idx="53">
                  <c:v>0.3667702886221511</c:v>
                </c:pt>
                <c:pt idx="54">
                  <c:v>0.28322913159818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46.0"/>
          <c:min val="6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214449228866807</c:v>
                </c:pt>
                <c:pt idx="1">
                  <c:v>0.20484591429019117</c:v>
                </c:pt>
                <c:pt idx="2">
                  <c:v>0.21147693313777607</c:v>
                </c:pt>
                <c:pt idx="3">
                  <c:v>0.19184854008495267</c:v>
                </c:pt>
                <c:pt idx="4">
                  <c:v>0.20986556202001394</c:v>
                </c:pt>
                <c:pt idx="5">
                  <c:v>0.2104416036095314</c:v>
                </c:pt>
                <c:pt idx="6">
                  <c:v>0.22388080921446807</c:v>
                </c:pt>
                <c:pt idx="7">
                  <c:v>0.2245540292834925</c:v>
                </c:pt>
                <c:pt idx="8">
                  <c:v>0.17842439972212223</c:v>
                </c:pt>
                <c:pt idx="9">
                  <c:v>0.21483012966380535</c:v>
                </c:pt>
                <c:pt idx="10">
                  <c:v>0.21401825750242012</c:v>
                </c:pt>
                <c:pt idx="11">
                  <c:v>0.23642019767178102</c:v>
                </c:pt>
                <c:pt idx="12">
                  <c:v>0.24946210316713055</c:v>
                </c:pt>
                <c:pt idx="13">
                  <c:v>0.20315378003796153</c:v>
                </c:pt>
                <c:pt idx="14">
                  <c:v>0.2050472286516953</c:v>
                </c:pt>
                <c:pt idx="15">
                  <c:v>0.258699625055118</c:v>
                </c:pt>
                <c:pt idx="16">
                  <c:v>0.21882148956915254</c:v>
                </c:pt>
                <c:pt idx="17">
                  <c:v>0.23291784107946026</c:v>
                </c:pt>
                <c:pt idx="18">
                  <c:v>0.25283552390938574</c:v>
                </c:pt>
                <c:pt idx="19">
                  <c:v>0.2551166242020786</c:v>
                </c:pt>
                <c:pt idx="20">
                  <c:v>0.23243053301678698</c:v>
                </c:pt>
                <c:pt idx="21">
                  <c:v>0.23754285555466856</c:v>
                </c:pt>
                <c:pt idx="22">
                  <c:v>0.21619947672202458</c:v>
                </c:pt>
                <c:pt idx="23">
                  <c:v>0.22418848787741766</c:v>
                </c:pt>
                <c:pt idx="24">
                  <c:v>0.21702211543766364</c:v>
                </c:pt>
                <c:pt idx="25">
                  <c:v>0.22956791686645361</c:v>
                </c:pt>
                <c:pt idx="26">
                  <c:v>0.25402632932185826</c:v>
                </c:pt>
                <c:pt idx="27">
                  <c:v>0.19908694580041925</c:v>
                </c:pt>
                <c:pt idx="28">
                  <c:v>0.19658210211927682</c:v>
                </c:pt>
                <c:pt idx="29">
                  <c:v>0.22784837317262668</c:v>
                </c:pt>
                <c:pt idx="30">
                  <c:v>0.23953622443939546</c:v>
                </c:pt>
                <c:pt idx="31">
                  <c:v>0.17292483582089552</c:v>
                </c:pt>
                <c:pt idx="32">
                  <c:v>0.23835214943284563</c:v>
                </c:pt>
                <c:pt idx="33">
                  <c:v>0.1835778836590738</c:v>
                </c:pt>
                <c:pt idx="34">
                  <c:v>0.20557051060501788</c:v>
                </c:pt>
                <c:pt idx="35">
                  <c:v>0.23804662773036664</c:v>
                </c:pt>
                <c:pt idx="36">
                  <c:v>0.22075673620612296</c:v>
                </c:pt>
                <c:pt idx="37">
                  <c:v>0.2131719485898202</c:v>
                </c:pt>
                <c:pt idx="38">
                  <c:v>0.23831195035633138</c:v>
                </c:pt>
                <c:pt idx="39">
                  <c:v>0.2396486809449398</c:v>
                </c:pt>
                <c:pt idx="40">
                  <c:v>0.28201190685070626</c:v>
                </c:pt>
                <c:pt idx="41">
                  <c:v>0.3013609231303141</c:v>
                </c:pt>
                <c:pt idx="42">
                  <c:v>0.2469151312082716</c:v>
                </c:pt>
                <c:pt idx="43">
                  <c:v>0.3300536819916469</c:v>
                </c:pt>
                <c:pt idx="44">
                  <c:v>0.2616998585869045</c:v>
                </c:pt>
                <c:pt idx="45">
                  <c:v>0.2904264816163773</c:v>
                </c:pt>
                <c:pt idx="46">
                  <c:v>0.27985714243358434</c:v>
                </c:pt>
                <c:pt idx="47">
                  <c:v>0.2431028001602119</c:v>
                </c:pt>
                <c:pt idx="48">
                  <c:v>0.2823310301347588</c:v>
                </c:pt>
                <c:pt idx="49">
                  <c:v>0.23284691293142398</c:v>
                </c:pt>
                <c:pt idx="50">
                  <c:v>0.22009385822208302</c:v>
                </c:pt>
                <c:pt idx="51">
                  <c:v>0.2012616806665992</c:v>
                </c:pt>
                <c:pt idx="52">
                  <c:v>0.21812121542444474</c:v>
                </c:pt>
                <c:pt idx="53">
                  <c:v>0.25326563714461037</c:v>
                </c:pt>
                <c:pt idx="54">
                  <c:v>0.2380497178329571</c:v>
                </c:pt>
                <c:pt idx="55">
                  <c:v>0.24070600606290263</c:v>
                </c:pt>
                <c:pt idx="56">
                  <c:v>0.23677575099892875</c:v>
                </c:pt>
                <c:pt idx="57">
                  <c:v>0.23374790968892317</c:v>
                </c:pt>
                <c:pt idx="58">
                  <c:v>0.23459931767324133</c:v>
                </c:pt>
                <c:pt idx="59">
                  <c:v>0.22033746780349073</c:v>
                </c:pt>
                <c:pt idx="60">
                  <c:v>0.2177073898771986</c:v>
                </c:pt>
                <c:pt idx="61">
                  <c:v>0.2443421903566105</c:v>
                </c:pt>
                <c:pt idx="62">
                  <c:v>0.24475913463519852</c:v>
                </c:pt>
                <c:pt idx="63">
                  <c:v>0.23706501889168763</c:v>
                </c:pt>
                <c:pt idx="64">
                  <c:v>0.2230322798565898</c:v>
                </c:pt>
                <c:pt idx="65">
                  <c:v>0.22195887499706785</c:v>
                </c:pt>
                <c:pt idx="66">
                  <c:v>0.2306094097687513</c:v>
                </c:pt>
                <c:pt idx="67">
                  <c:v>0.22460988485205463</c:v>
                </c:pt>
                <c:pt idx="68">
                  <c:v>0.21727846808109333</c:v>
                </c:pt>
                <c:pt idx="69">
                  <c:v>0.2314359747947298</c:v>
                </c:pt>
                <c:pt idx="70">
                  <c:v>0.2023632303749077</c:v>
                </c:pt>
                <c:pt idx="71">
                  <c:v>0.22468386393569192</c:v>
                </c:pt>
                <c:pt idx="72">
                  <c:v>0.22048434184843954</c:v>
                </c:pt>
                <c:pt idx="73">
                  <c:v>0.22285912261898047</c:v>
                </c:pt>
                <c:pt idx="74">
                  <c:v>0.19417145699721108</c:v>
                </c:pt>
                <c:pt idx="75">
                  <c:v>0.21828059978677306</c:v>
                </c:pt>
                <c:pt idx="76">
                  <c:v>0.24946857046078852</c:v>
                </c:pt>
                <c:pt idx="77">
                  <c:v>0.2575932962480767</c:v>
                </c:pt>
                <c:pt idx="78">
                  <c:v>0.25496851751043365</c:v>
                </c:pt>
                <c:pt idx="79">
                  <c:v>0.26993463379778493</c:v>
                </c:pt>
                <c:pt idx="80">
                  <c:v>0.26232071830366294</c:v>
                </c:pt>
                <c:pt idx="81">
                  <c:v>0.24847548535439354</c:v>
                </c:pt>
                <c:pt idx="82">
                  <c:v>0.23747960286374986</c:v>
                </c:pt>
                <c:pt idx="83">
                  <c:v>0.3140723831092348</c:v>
                </c:pt>
                <c:pt idx="84">
                  <c:v>0.3108973169379304</c:v>
                </c:pt>
                <c:pt idx="85">
                  <c:v>0.23650561178819804</c:v>
                </c:pt>
                <c:pt idx="86">
                  <c:v>0.2449221141948029</c:v>
                </c:pt>
                <c:pt idx="87">
                  <c:v>0.2851074220993192</c:v>
                </c:pt>
                <c:pt idx="88">
                  <c:v>0.24089763262589606</c:v>
                </c:pt>
                <c:pt idx="89">
                  <c:v>0.26773707467138996</c:v>
                </c:pt>
                <c:pt idx="90">
                  <c:v>0.26842392180200314</c:v>
                </c:pt>
                <c:pt idx="91">
                  <c:v>0.2752873342582274</c:v>
                </c:pt>
                <c:pt idx="92">
                  <c:v>0.24991484420965274</c:v>
                </c:pt>
                <c:pt idx="93">
                  <c:v>0.2724950033438425</c:v>
                </c:pt>
                <c:pt idx="94">
                  <c:v>0.2823023870153978</c:v>
                </c:pt>
                <c:pt idx="95">
                  <c:v>0.20770921032056294</c:v>
                </c:pt>
                <c:pt idx="96">
                  <c:v>0.22207915638931003</c:v>
                </c:pt>
                <c:pt idx="97">
                  <c:v>0.23216924881318068</c:v>
                </c:pt>
                <c:pt idx="98">
                  <c:v>0.22654656420931418</c:v>
                </c:pt>
                <c:pt idx="99">
                  <c:v>0.2220532582118938</c:v>
                </c:pt>
                <c:pt idx="100">
                  <c:v>0.23988869112843014</c:v>
                </c:pt>
                <c:pt idx="101">
                  <c:v>0.23588315244768057</c:v>
                </c:pt>
                <c:pt idx="102">
                  <c:v>0.25359590337235643</c:v>
                </c:pt>
                <c:pt idx="103">
                  <c:v>0.20298334447896543</c:v>
                </c:pt>
                <c:pt idx="104">
                  <c:v>0.22648794059767416</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5165970519925496</c:v>
                </c:pt>
                <c:pt idx="1">
                  <c:v>0.2600930874123118</c:v>
                </c:pt>
                <c:pt idx="2">
                  <c:v>0.23251689548893245</c:v>
                </c:pt>
                <c:pt idx="3">
                  <c:v>0.22860254852503506</c:v>
                </c:pt>
                <c:pt idx="4">
                  <c:v>0.21701619628575053</c:v>
                </c:pt>
                <c:pt idx="5">
                  <c:v>0.23379392666182114</c:v>
                </c:pt>
                <c:pt idx="6">
                  <c:v>0.24093712950629947</c:v>
                </c:pt>
                <c:pt idx="7">
                  <c:v>0.23239626377855102</c:v>
                </c:pt>
                <c:pt idx="8">
                  <c:v>0.26795020418265064</c:v>
                </c:pt>
                <c:pt idx="9">
                  <c:v>0.25561575419260957</c:v>
                </c:pt>
                <c:pt idx="10">
                  <c:v>0.23309452284310161</c:v>
                </c:pt>
                <c:pt idx="11">
                  <c:v>0.2119422177009156</c:v>
                </c:pt>
                <c:pt idx="12">
                  <c:v>0.18014447839015846</c:v>
                </c:pt>
                <c:pt idx="13">
                  <c:v>0.20355036115272024</c:v>
                </c:pt>
                <c:pt idx="14">
                  <c:v>0.20338624479042403</c:v>
                </c:pt>
                <c:pt idx="15">
                  <c:v>0.22225315442242774</c:v>
                </c:pt>
                <c:pt idx="16">
                  <c:v>0.16927845844118491</c:v>
                </c:pt>
                <c:pt idx="17">
                  <c:v>0.18689063818301485</c:v>
                </c:pt>
                <c:pt idx="18">
                  <c:v>0.23243652110909074</c:v>
                </c:pt>
                <c:pt idx="19">
                  <c:v>0.21220366471734894</c:v>
                </c:pt>
                <c:pt idx="20">
                  <c:v>0.2564139800842903</c:v>
                </c:pt>
                <c:pt idx="21">
                  <c:v>0.22408373601435316</c:v>
                </c:pt>
                <c:pt idx="22">
                  <c:v>0.15307794262999544</c:v>
                </c:pt>
                <c:pt idx="23">
                  <c:v>0.19883685994726696</c:v>
                </c:pt>
                <c:pt idx="24">
                  <c:v>0.2000196873325495</c:v>
                </c:pt>
                <c:pt idx="25">
                  <c:v>0.20280157284282394</c:v>
                </c:pt>
                <c:pt idx="26">
                  <c:v>0.21803685200956116</c:v>
                </c:pt>
                <c:pt idx="27">
                  <c:v>0.22859316645413735</c:v>
                </c:pt>
                <c:pt idx="28">
                  <c:v>0.24506096697470908</c:v>
                </c:pt>
                <c:pt idx="29">
                  <c:v>0.24065869467636233</c:v>
                </c:pt>
                <c:pt idx="30">
                  <c:v>0.2554982924226254</c:v>
                </c:pt>
                <c:pt idx="31">
                  <c:v>0.19328407683711377</c:v>
                </c:pt>
                <c:pt idx="32">
                  <c:v>0.22649698847086747</c:v>
                </c:pt>
                <c:pt idx="33">
                  <c:v>0.24567805705119766</c:v>
                </c:pt>
                <c:pt idx="34">
                  <c:v>0.24909473612156888</c:v>
                </c:pt>
                <c:pt idx="35">
                  <c:v>0.23262946198906254</c:v>
                </c:pt>
                <c:pt idx="36">
                  <c:v>0.21490154013690105</c:v>
                </c:pt>
                <c:pt idx="37">
                  <c:v>0.22119298058790904</c:v>
                </c:pt>
                <c:pt idx="38">
                  <c:v>0.16672026225413672</c:v>
                </c:pt>
                <c:pt idx="39">
                  <c:v>0.2137823765315844</c:v>
                </c:pt>
                <c:pt idx="40">
                  <c:v>0.22202226747444506</c:v>
                </c:pt>
                <c:pt idx="41">
                  <c:v>0.19175201901967423</c:v>
                </c:pt>
                <c:pt idx="42">
                  <c:v>0.23147364191918127</c:v>
                </c:pt>
                <c:pt idx="43">
                  <c:v>0.23665621995770042</c:v>
                </c:pt>
                <c:pt idx="44">
                  <c:v>0.228884462696783</c:v>
                </c:pt>
                <c:pt idx="45">
                  <c:v>0.24144134822994365</c:v>
                </c:pt>
                <c:pt idx="46">
                  <c:v>0.23339469686940803</c:v>
                </c:pt>
                <c:pt idx="47">
                  <c:v>0.1649506799586118</c:v>
                </c:pt>
                <c:pt idx="48">
                  <c:v>0.1789294833906522</c:v>
                </c:pt>
                <c:pt idx="49">
                  <c:v>0.2027673523273841</c:v>
                </c:pt>
                <c:pt idx="50">
                  <c:v>0.22034286595351085</c:v>
                </c:pt>
                <c:pt idx="51">
                  <c:v>0.21553404825069333</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3825807661061817</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3825807661061817</c:v>
                </c:pt>
                <c:pt idx="1">
                  <c:v>0.023825807661061817</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2097740467802015</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2097740467802015</c:v>
                </c:pt>
                <c:pt idx="1">
                  <c:v>0.12097740467802015</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5153240843206707</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5153240843206707</c:v>
                </c:pt>
                <c:pt idx="1">
                  <c:v>0.35153240843206707</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5165970519925496</c:v>
                </c:pt>
                <c:pt idx="1">
                  <c:v>0.2600930874123118</c:v>
                </c:pt>
                <c:pt idx="2">
                  <c:v>0.23251689548893245</c:v>
                </c:pt>
                <c:pt idx="3">
                  <c:v>0.22860254852503506</c:v>
                </c:pt>
                <c:pt idx="4">
                  <c:v>0.21701619628575053</c:v>
                </c:pt>
                <c:pt idx="5">
                  <c:v>0.23379392666182114</c:v>
                </c:pt>
                <c:pt idx="6">
                  <c:v>0.24093712950629947</c:v>
                </c:pt>
                <c:pt idx="7">
                  <c:v>0.23239626377855102</c:v>
                </c:pt>
                <c:pt idx="8">
                  <c:v>0.26795020418265064</c:v>
                </c:pt>
                <c:pt idx="9">
                  <c:v>0.25561575419260957</c:v>
                </c:pt>
                <c:pt idx="10">
                  <c:v>0.23309452284310161</c:v>
                </c:pt>
                <c:pt idx="11">
                  <c:v>0.2119422177009156</c:v>
                </c:pt>
                <c:pt idx="12">
                  <c:v>0.18014447839015846</c:v>
                </c:pt>
                <c:pt idx="13">
                  <c:v>0.20355036115272024</c:v>
                </c:pt>
                <c:pt idx="14">
                  <c:v>0.20338624479042403</c:v>
                </c:pt>
                <c:pt idx="15">
                  <c:v>0.22225315442242774</c:v>
                </c:pt>
                <c:pt idx="16">
                  <c:v>0.16927845844118491</c:v>
                </c:pt>
                <c:pt idx="17">
                  <c:v>0.18689063818301485</c:v>
                </c:pt>
                <c:pt idx="18">
                  <c:v>0.23243652110909074</c:v>
                </c:pt>
                <c:pt idx="19">
                  <c:v>0.21220366471734894</c:v>
                </c:pt>
                <c:pt idx="20">
                  <c:v>0.2564139800842903</c:v>
                </c:pt>
                <c:pt idx="21">
                  <c:v>0.22408373601435316</c:v>
                </c:pt>
                <c:pt idx="22">
                  <c:v>0.15307794262999544</c:v>
                </c:pt>
                <c:pt idx="23">
                  <c:v>0.19883685994726696</c:v>
                </c:pt>
                <c:pt idx="24">
                  <c:v>0.2000196873325495</c:v>
                </c:pt>
                <c:pt idx="25">
                  <c:v>0.20280157284282394</c:v>
                </c:pt>
                <c:pt idx="26">
                  <c:v>0.21803685200956116</c:v>
                </c:pt>
                <c:pt idx="27">
                  <c:v>0.22859316645413735</c:v>
                </c:pt>
                <c:pt idx="28">
                  <c:v>0.24506096697470908</c:v>
                </c:pt>
                <c:pt idx="29">
                  <c:v>0.24065869467636233</c:v>
                </c:pt>
                <c:pt idx="30">
                  <c:v>0.2554982924226254</c:v>
                </c:pt>
                <c:pt idx="31">
                  <c:v>0.19328407683711377</c:v>
                </c:pt>
                <c:pt idx="32">
                  <c:v>0.22649698847086747</c:v>
                </c:pt>
                <c:pt idx="33">
                  <c:v>0.24567805705119766</c:v>
                </c:pt>
                <c:pt idx="34">
                  <c:v>0.24909473612156888</c:v>
                </c:pt>
                <c:pt idx="35">
                  <c:v>0.23262946198906254</c:v>
                </c:pt>
                <c:pt idx="36">
                  <c:v>0.21490154013690105</c:v>
                </c:pt>
                <c:pt idx="37">
                  <c:v>0.22119298058790904</c:v>
                </c:pt>
                <c:pt idx="38">
                  <c:v>0.16672026225413672</c:v>
                </c:pt>
                <c:pt idx="39">
                  <c:v>0.2137823765315844</c:v>
                </c:pt>
                <c:pt idx="40">
                  <c:v>0.22202226747444506</c:v>
                </c:pt>
                <c:pt idx="41">
                  <c:v>0.19175201901967423</c:v>
                </c:pt>
                <c:pt idx="42">
                  <c:v>0.23147364191918127</c:v>
                </c:pt>
                <c:pt idx="43">
                  <c:v>0.23665621995770042</c:v>
                </c:pt>
                <c:pt idx="44">
                  <c:v>0.228884462696783</c:v>
                </c:pt>
                <c:pt idx="45">
                  <c:v>0.24144134822994365</c:v>
                </c:pt>
                <c:pt idx="46">
                  <c:v>0.23339469686940803</c:v>
                </c:pt>
                <c:pt idx="47">
                  <c:v>0.1649506799586118</c:v>
                </c:pt>
                <c:pt idx="48">
                  <c:v>0.1789294833906522</c:v>
                </c:pt>
                <c:pt idx="49">
                  <c:v>0.2027673523273841</c:v>
                </c:pt>
                <c:pt idx="50">
                  <c:v>0.22034286595351085</c:v>
                </c:pt>
                <c:pt idx="51">
                  <c:v>0.21553404825069333</c:v>
                </c:pt>
                <c:pt idx="52">
                  <c:v>0.12097740467802015</c:v>
                </c:pt>
                <c:pt idx="53">
                  <c:v>0.023825807661061817</c:v>
                </c:pt>
                <c:pt idx="54">
                  <c:v>0.35153240843206707</c:v>
                </c:pt>
              </c:numCache>
            </c:numRef>
          </c:xVal>
          <c:yVal>
            <c:numRef>
              <c:f>Sheet1!$B$187:$B$241</c:f>
              <c:numCache>
                <c:formatCode>General</c:formatCode>
                <c:ptCount val="55"/>
                <c:pt idx="0">
                  <c:v>0.3086893486446257</c:v>
                </c:pt>
                <c:pt idx="1">
                  <c:v>0.3065394544830602</c:v>
                </c:pt>
                <c:pt idx="2">
                  <c:v>0.31356936164444743</c:v>
                </c:pt>
                <c:pt idx="3">
                  <c:v>0.3145672331355552</c:v>
                </c:pt>
                <c:pt idx="4">
                  <c:v>0.3175209034903168</c:v>
                </c:pt>
                <c:pt idx="5">
                  <c:v>0.31324381232231663</c:v>
                </c:pt>
                <c:pt idx="6">
                  <c:v>0.3114228193088082</c:v>
                </c:pt>
                <c:pt idx="7">
                  <c:v>0.3136001138863471</c:v>
                </c:pt>
                <c:pt idx="8">
                  <c:v>0.30453646575984805</c:v>
                </c:pt>
                <c:pt idx="9">
                  <c:v>0.30768084619343683</c:v>
                </c:pt>
                <c:pt idx="10">
                  <c:v>0.31342210901852396</c:v>
                </c:pt>
                <c:pt idx="11">
                  <c:v>0.3188143960250861</c:v>
                </c:pt>
                <c:pt idx="12">
                  <c:v>0.3269204882628291</c:v>
                </c:pt>
                <c:pt idx="13">
                  <c:v>0.3209537041866121</c:v>
                </c:pt>
                <c:pt idx="14">
                  <c:v>0.32099554182662465</c:v>
                </c:pt>
                <c:pt idx="15">
                  <c:v>0.3161858631188542</c:v>
                </c:pt>
                <c:pt idx="16">
                  <c:v>0.3296905266955216</c:v>
                </c:pt>
                <c:pt idx="17">
                  <c:v>0.32520071211783297</c:v>
                </c:pt>
                <c:pt idx="18">
                  <c:v>0.3135898512185703</c:v>
                </c:pt>
                <c:pt idx="19">
                  <c:v>0.3187477462041734</c:v>
                </c:pt>
                <c:pt idx="20">
                  <c:v>0.30747735711387425</c:v>
                </c:pt>
                <c:pt idx="21">
                  <c:v>0.3157191990240315</c:v>
                </c:pt>
                <c:pt idx="22">
                  <c:v>0.3338204704686027</c:v>
                </c:pt>
                <c:pt idx="23">
                  <c:v>0.3221553014184377</c:v>
                </c:pt>
                <c:pt idx="24">
                  <c:v>0.32185376715549135</c:v>
                </c:pt>
                <c:pt idx="25">
                  <c:v>0.32114459030739084</c:v>
                </c:pt>
                <c:pt idx="26">
                  <c:v>0.3172607111112507</c:v>
                </c:pt>
                <c:pt idx="27">
                  <c:v>0.3145696248757772</c:v>
                </c:pt>
                <c:pt idx="28">
                  <c:v>0.31037154309807835</c:v>
                </c:pt>
                <c:pt idx="29">
                  <c:v>0.31149379977668407</c:v>
                </c:pt>
                <c:pt idx="30">
                  <c:v>0.30771079033294296</c:v>
                </c:pt>
                <c:pt idx="31">
                  <c:v>0.3235708540030787</c:v>
                </c:pt>
                <c:pt idx="32">
                  <c:v>0.3151039965778989</c:v>
                </c:pt>
                <c:pt idx="33">
                  <c:v>0.3102142303712167</c:v>
                </c:pt>
                <c:pt idx="34">
                  <c:v>0.3093432277058849</c:v>
                </c:pt>
                <c:pt idx="35">
                  <c:v>0.313540665439852</c:v>
                </c:pt>
                <c:pt idx="36">
                  <c:v>0.3180599857699141</c:v>
                </c:pt>
                <c:pt idx="37">
                  <c:v>0.31645612971883674</c:v>
                </c:pt>
                <c:pt idx="38">
                  <c:v>0.33034267916623017</c:v>
                </c:pt>
                <c:pt idx="39">
                  <c:v>0.31834529043654974</c:v>
                </c:pt>
                <c:pt idx="40">
                  <c:v>0.3162447223628573</c:v>
                </c:pt>
                <c:pt idx="41">
                  <c:v>0.3239614164220089</c:v>
                </c:pt>
                <c:pt idx="42">
                  <c:v>0.31383531481744226</c:v>
                </c:pt>
                <c:pt idx="43">
                  <c:v>0.31251413738407274</c:v>
                </c:pt>
                <c:pt idx="44">
                  <c:v>0.31449536569060943</c:v>
                </c:pt>
                <c:pt idx="45">
                  <c:v>0.31129428050163355</c:v>
                </c:pt>
                <c:pt idx="46">
                  <c:v>0.31334558664940726</c:v>
                </c:pt>
                <c:pt idx="47">
                  <c:v>0.3307937929127017</c:v>
                </c:pt>
                <c:pt idx="48">
                  <c:v>0.3272302229089982</c:v>
                </c:pt>
                <c:pt idx="49">
                  <c:v>0.321153314029913</c:v>
                </c:pt>
                <c:pt idx="50">
                  <c:v>0.3166728466235117</c:v>
                </c:pt>
                <c:pt idx="51">
                  <c:v>0.31789874257393047</c:v>
                </c:pt>
                <c:pt idx="52">
                  <c:v>0.34200375415983836</c:v>
                </c:pt>
                <c:pt idx="53">
                  <c:v>0.3667702886221511</c:v>
                </c:pt>
                <c:pt idx="54">
                  <c:v>0.28322913159818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3.4904</c:v>
                </c:pt>
                <c:pt idx="1">
                  <c:v>1045.8613</c:v>
                </c:pt>
                <c:pt idx="2">
                  <c:v>1124.4613</c:v>
                </c:pt>
                <c:pt idx="3">
                  <c:v>1147.2159</c:v>
                </c:pt>
                <c:pt idx="4">
                  <c:v>1127.2404</c:v>
                </c:pt>
                <c:pt idx="5">
                  <c:v>1119.3915</c:v>
                </c:pt>
                <c:pt idx="6">
                  <c:v>1055.0485</c:v>
                </c:pt>
                <c:pt idx="7">
                  <c:v>1072.3952</c:v>
                </c:pt>
                <c:pt idx="8">
                  <c:v>1092.9514</c:v>
                </c:pt>
                <c:pt idx="9">
                  <c:v>1103.2113</c:v>
                </c:pt>
                <c:pt idx="10">
                  <c:v>1105.4043</c:v>
                </c:pt>
                <c:pt idx="11">
                  <c:v>1156.7131</c:v>
                </c:pt>
                <c:pt idx="12">
                  <c:v>1150.54</c:v>
                </c:pt>
                <c:pt idx="13">
                  <c:v>1134.5326</c:v>
                </c:pt>
                <c:pt idx="14">
                  <c:v>1160.5058</c:v>
                </c:pt>
                <c:pt idx="15">
                  <c:v>1171.571</c:v>
                </c:pt>
                <c:pt idx="16">
                  <c:v>1208.4573</c:v>
                </c:pt>
                <c:pt idx="17">
                  <c:v>1242.8496</c:v>
                </c:pt>
                <c:pt idx="18">
                  <c:v>1296.0665</c:v>
                </c:pt>
                <c:pt idx="19">
                  <c:v>1243.5842</c:v>
                </c:pt>
                <c:pt idx="20">
                  <c:v>1319.2093</c:v>
                </c:pt>
                <c:pt idx="21">
                  <c:v>1323.8942</c:v>
                </c:pt>
                <c:pt idx="22">
                  <c:v>1297.5572</c:v>
                </c:pt>
                <c:pt idx="23">
                  <c:v>1285.7957</c:v>
                </c:pt>
                <c:pt idx="24">
                  <c:v>1219.0494</c:v>
                </c:pt>
                <c:pt idx="25">
                  <c:v>1212.3099</c:v>
                </c:pt>
                <c:pt idx="26">
                  <c:v>1223.0279</c:v>
                </c:pt>
                <c:pt idx="27">
                  <c:v>1227.4279</c:v>
                </c:pt>
                <c:pt idx="28">
                  <c:v>1237.4057</c:v>
                </c:pt>
                <c:pt idx="29">
                  <c:v>1177.3938</c:v>
                </c:pt>
                <c:pt idx="30">
                  <c:v>1212.4126</c:v>
                </c:pt>
                <c:pt idx="31">
                  <c:v>1158.5964</c:v>
                </c:pt>
                <c:pt idx="32">
                  <c:v>1159.9169</c:v>
                </c:pt>
                <c:pt idx="33">
                  <c:v>1113.1551</c:v>
                </c:pt>
                <c:pt idx="34">
                  <c:v>1153.8379</c:v>
                </c:pt>
                <c:pt idx="35">
                  <c:v>1202.7816</c:v>
                </c:pt>
                <c:pt idx="36">
                  <c:v>1249.7985</c:v>
                </c:pt>
                <c:pt idx="37">
                  <c:v>1203.4267</c:v>
                </c:pt>
                <c:pt idx="38">
                  <c:v>1319.0907</c:v>
                </c:pt>
                <c:pt idx="39">
                  <c:v>1303.569</c:v>
                </c:pt>
                <c:pt idx="40">
                  <c:v>1376.3121</c:v>
                </c:pt>
                <c:pt idx="41">
                  <c:v>1389.3944</c:v>
                </c:pt>
                <c:pt idx="42">
                  <c:v>1443.8186</c:v>
                </c:pt>
                <c:pt idx="43">
                  <c:v>1465.1983</c:v>
                </c:pt>
                <c:pt idx="44">
                  <c:v>1323.9047</c:v>
                </c:pt>
                <c:pt idx="45">
                  <c:v>1265.7856</c:v>
                </c:pt>
                <c:pt idx="46">
                  <c:v>1293.1399</c:v>
                </c:pt>
                <c:pt idx="47">
                  <c:v>1269.6854</c:v>
                </c:pt>
                <c:pt idx="48">
                  <c:v>1282.8181</c:v>
                </c:pt>
                <c:pt idx="49">
                  <c:v>1160.8971</c:v>
                </c:pt>
                <c:pt idx="50">
                  <c:v>1157.2335</c:v>
                </c:pt>
                <c:pt idx="51">
                  <c:v>1193.2</c:v>
                </c:pt>
                <c:pt idx="52">
                  <c:v>1200.5937</c:v>
                </c:pt>
                <c:pt idx="53">
                  <c:v>1238.2157</c:v>
                </c:pt>
                <c:pt idx="54">
                  <c:v>1265.4723</c:v>
                </c:pt>
                <c:pt idx="55">
                  <c:v>1270.4463</c:v>
                </c:pt>
                <c:pt idx="56">
                  <c:v>1269.6968</c:v>
                </c:pt>
                <c:pt idx="57">
                  <c:v>1212.5965</c:v>
                </c:pt>
                <c:pt idx="58">
                  <c:v>1199.0811</c:v>
                </c:pt>
                <c:pt idx="59">
                  <c:v>1153.4497</c:v>
                </c:pt>
                <c:pt idx="60">
                  <c:v>1180.0243</c:v>
                </c:pt>
                <c:pt idx="61">
                  <c:v>1242.0185</c:v>
                </c:pt>
                <c:pt idx="62">
                  <c:v>1200.8427</c:v>
                </c:pt>
                <c:pt idx="63">
                  <c:v>1204.6696</c:v>
                </c:pt>
                <c:pt idx="64">
                  <c:v>1192.7554</c:v>
                </c:pt>
                <c:pt idx="65">
                  <c:v>1182.7911</c:v>
                </c:pt>
                <c:pt idx="66">
                  <c:v>1172.375</c:v>
                </c:pt>
                <c:pt idx="67">
                  <c:v>1204.5137</c:v>
                </c:pt>
                <c:pt idx="68">
                  <c:v>1203.589</c:v>
                </c:pt>
                <c:pt idx="69">
                  <c:v>1212.0302</c:v>
                </c:pt>
                <c:pt idx="70">
                  <c:v>1164.5498</c:v>
                </c:pt>
                <c:pt idx="71">
                  <c:v>1236.8285</c:v>
                </c:pt>
                <c:pt idx="72">
                  <c:v>1218.9978</c:v>
                </c:pt>
                <c:pt idx="73">
                  <c:v>1185.1871</c:v>
                </c:pt>
                <c:pt idx="74">
                  <c:v>1052.5711</c:v>
                </c:pt>
                <c:pt idx="75">
                  <c:v>1269.389</c:v>
                </c:pt>
                <c:pt idx="76">
                  <c:v>1347.3441</c:v>
                </c:pt>
                <c:pt idx="77">
                  <c:v>1360.2536</c:v>
                </c:pt>
                <c:pt idx="78">
                  <c:v>1405.1315</c:v>
                </c:pt>
                <c:pt idx="79">
                  <c:v>1416.6507</c:v>
                </c:pt>
                <c:pt idx="80">
                  <c:v>1331.1319</c:v>
                </c:pt>
                <c:pt idx="81">
                  <c:v>1435.3009</c:v>
                </c:pt>
                <c:pt idx="82">
                  <c:v>1430.4188</c:v>
                </c:pt>
                <c:pt idx="83">
                  <c:v>1387.7064</c:v>
                </c:pt>
                <c:pt idx="84">
                  <c:v>1329.3525</c:v>
                </c:pt>
                <c:pt idx="85">
                  <c:v>1373.9084</c:v>
                </c:pt>
                <c:pt idx="86">
                  <c:v>1385.5244</c:v>
                </c:pt>
                <c:pt idx="87">
                  <c:v>1408.7633</c:v>
                </c:pt>
                <c:pt idx="88">
                  <c:v>1423.7853</c:v>
                </c:pt>
                <c:pt idx="89">
                  <c:v>1436.0078</c:v>
                </c:pt>
                <c:pt idx="90">
                  <c:v>1504.2093</c:v>
                </c:pt>
                <c:pt idx="91">
                  <c:v>1513.0136</c:v>
                </c:pt>
                <c:pt idx="92">
                  <c:v>1414.3514</c:v>
                </c:pt>
                <c:pt idx="93">
                  <c:v>1426.1026</c:v>
                </c:pt>
                <c:pt idx="94">
                  <c:v>1482.758</c:v>
                </c:pt>
                <c:pt idx="95">
                  <c:v>1328.3004</c:v>
                </c:pt>
                <c:pt idx="96">
                  <c:v>1226.7375</c:v>
                </c:pt>
                <c:pt idx="97">
                  <c:v>1299.0595</c:v>
                </c:pt>
                <c:pt idx="98">
                  <c:v>1278.7704</c:v>
                </c:pt>
                <c:pt idx="99">
                  <c:v>1243.033</c:v>
                </c:pt>
                <c:pt idx="100">
                  <c:v>1284.8647</c:v>
                </c:pt>
                <c:pt idx="101">
                  <c:v>1287.7451</c:v>
                </c:pt>
                <c:pt idx="102">
                  <c:v>1308.9437</c:v>
                </c:pt>
                <c:pt idx="103">
                  <c:v>1217.3757</c:v>
                </c:pt>
                <c:pt idx="104">
                  <c:v>1282.5365</c:v>
                </c:pt>
              </c:numCache>
            </c:numRef>
          </c:xVal>
          <c:yVal>
            <c:numRef>
              <c:f>Sheet1!$B$2:$B$106</c:f>
              <c:numCache>
                <c:formatCode>General</c:formatCode>
                <c:ptCount val="105"/>
                <c:pt idx="0">
                  <c:v>0.2773851590106007</c:v>
                </c:pt>
                <c:pt idx="1">
                  <c:v>0.3083072645116441</c:v>
                </c:pt>
                <c:pt idx="2">
                  <c:v>0.2979300984051578</c:v>
                </c:pt>
                <c:pt idx="3">
                  <c:v>0.2984161267098632</c:v>
                </c:pt>
                <c:pt idx="4">
                  <c:v>0.29944620253164556</c:v>
                </c:pt>
                <c:pt idx="5">
                  <c:v>0.2988215488215488</c:v>
                </c:pt>
                <c:pt idx="6">
                  <c:v>0.31963963963963965</c:v>
                </c:pt>
                <c:pt idx="7">
                  <c:v>0.3256578947368421</c:v>
                </c:pt>
                <c:pt idx="8">
                  <c:v>0.31680205215904234</c:v>
                </c:pt>
                <c:pt idx="9">
                  <c:v>0.2925430210325048</c:v>
                </c:pt>
                <c:pt idx="10">
                  <c:v>0.29251497005988025</c:v>
                </c:pt>
                <c:pt idx="11">
                  <c:v>0.27267061389841074</c:v>
                </c:pt>
                <c:pt idx="12">
                  <c:v>0.27788873038516404</c:v>
                </c:pt>
                <c:pt idx="13">
                  <c:v>0.2704657217240382</c:v>
                </c:pt>
                <c:pt idx="14">
                  <c:v>0.24417139256458728</c:v>
                </c:pt>
                <c:pt idx="15">
                  <c:v>0.25609268877347185</c:v>
                </c:pt>
                <c:pt idx="16">
                  <c:v>0.22762645914396887</c:v>
                </c:pt>
                <c:pt idx="17">
                  <c:v>0.23685698134539288</c:v>
                </c:pt>
                <c:pt idx="18">
                  <c:v>0.22425474254742547</c:v>
                </c:pt>
                <c:pt idx="19">
                  <c:v>0.21381337252020574</c:v>
                </c:pt>
                <c:pt idx="20">
                  <c:v>0.2064825930372149</c:v>
                </c:pt>
                <c:pt idx="21">
                  <c:v>0.22663358147229115</c:v>
                </c:pt>
                <c:pt idx="22">
                  <c:v>0.2719298245614035</c:v>
                </c:pt>
                <c:pt idx="23">
                  <c:v>0.2649712879409352</c:v>
                </c:pt>
                <c:pt idx="24">
                  <c:v>0.3054298642533937</c:v>
                </c:pt>
                <c:pt idx="25">
                  <c:v>0.297569153394803</c:v>
                </c:pt>
                <c:pt idx="26">
                  <c:v>0.3011204481792717</c:v>
                </c:pt>
                <c:pt idx="27">
                  <c:v>0.2964260686755431</c:v>
                </c:pt>
                <c:pt idx="28">
                  <c:v>0.2930200414651002</c:v>
                </c:pt>
                <c:pt idx="29">
                  <c:v>0.31905037637521716</c:v>
                </c:pt>
                <c:pt idx="30">
                  <c:v>0.27938931297709924</c:v>
                </c:pt>
                <c:pt idx="31">
                  <c:v>0.3106796116504854</c:v>
                </c:pt>
                <c:pt idx="32">
                  <c:v>0.31039874902267395</c:v>
                </c:pt>
                <c:pt idx="33">
                  <c:v>0.328</c:v>
                </c:pt>
                <c:pt idx="34">
                  <c:v>0.30082716586852415</c:v>
                </c:pt>
                <c:pt idx="35">
                  <c:v>0.27937608318890816</c:v>
                </c:pt>
                <c:pt idx="36">
                  <c:v>0.25096339113680155</c:v>
                </c:pt>
                <c:pt idx="37">
                  <c:v>0.26189111747851</c:v>
                </c:pt>
                <c:pt idx="38">
                  <c:v>0.23755047106325708</c:v>
                </c:pt>
                <c:pt idx="39">
                  <c:v>0.24421052631578946</c:v>
                </c:pt>
                <c:pt idx="40">
                  <c:v>0.2505924170616114</c:v>
                </c:pt>
                <c:pt idx="41">
                  <c:v>0.24281805745554036</c:v>
                </c:pt>
                <c:pt idx="42">
                  <c:v>0.2644203312392918</c:v>
                </c:pt>
                <c:pt idx="43">
                  <c:v>0.26217843459222767</c:v>
                </c:pt>
                <c:pt idx="44">
                  <c:v>0.28424265547500954</c:v>
                </c:pt>
                <c:pt idx="45">
                  <c:v>0.2785011114639568</c:v>
                </c:pt>
                <c:pt idx="46">
                  <c:v>0.28693424423569597</c:v>
                </c:pt>
                <c:pt idx="47">
                  <c:v>0.28763440860215056</c:v>
                </c:pt>
                <c:pt idx="48">
                  <c:v>0.28860814637333915</c:v>
                </c:pt>
                <c:pt idx="49">
                  <c:v>0.36270520555633506</c:v>
                </c:pt>
                <c:pt idx="50">
                  <c:v>0.3489522700814901</c:v>
                </c:pt>
                <c:pt idx="51">
                  <c:v>0.3522544283413849</c:v>
                </c:pt>
                <c:pt idx="52">
                  <c:v>0.3657548125633232</c:v>
                </c:pt>
                <c:pt idx="53">
                  <c:v>0.36672398968185727</c:v>
                </c:pt>
                <c:pt idx="54">
                  <c:v>0.35992023928215355</c:v>
                </c:pt>
                <c:pt idx="55">
                  <c:v>0.3645833333333333</c:v>
                </c:pt>
                <c:pt idx="56">
                  <c:v>0.37740384615384615</c:v>
                </c:pt>
                <c:pt idx="57">
                  <c:v>0.3879200340280732</c:v>
                </c:pt>
                <c:pt idx="58">
                  <c:v>0.3961605584642234</c:v>
                </c:pt>
                <c:pt idx="59">
                  <c:v>0.40384615384615385</c:v>
                </c:pt>
                <c:pt idx="60">
                  <c:v>0.3931807343824511</c:v>
                </c:pt>
                <c:pt idx="61">
                  <c:v>0.35323383084577115</c:v>
                </c:pt>
                <c:pt idx="62">
                  <c:v>0.33101975440469833</c:v>
                </c:pt>
                <c:pt idx="63">
                  <c:v>0.33046594982078853</c:v>
                </c:pt>
                <c:pt idx="64">
                  <c:v>0.2978625603309584</c:v>
                </c:pt>
                <c:pt idx="65">
                  <c:v>0.29226519337016577</c:v>
                </c:pt>
                <c:pt idx="66">
                  <c:v>0.30595908686629114</c:v>
                </c:pt>
                <c:pt idx="67">
                  <c:v>0.3029197080291971</c:v>
                </c:pt>
                <c:pt idx="68">
                  <c:v>0.276386404293381</c:v>
                </c:pt>
                <c:pt idx="69">
                  <c:v>0.2598187311178248</c:v>
                </c:pt>
                <c:pt idx="70">
                  <c:v>0.23885918003565063</c:v>
                </c:pt>
                <c:pt idx="71">
                  <c:v>0.28473177441540576</c:v>
                </c:pt>
                <c:pt idx="72">
                  <c:v>0.3216045038705137</c:v>
                </c:pt>
                <c:pt idx="73">
                  <c:v>0.3124098124098124</c:v>
                </c:pt>
                <c:pt idx="74">
                  <c:v>0.33884297520661155</c:v>
                </c:pt>
                <c:pt idx="75">
                  <c:v>0.26248108925869895</c:v>
                </c:pt>
                <c:pt idx="76">
                  <c:v>0.2826267664172901</c:v>
                </c:pt>
                <c:pt idx="77">
                  <c:v>0.23931623931623933</c:v>
                </c:pt>
                <c:pt idx="78">
                  <c:v>0.27761767531219983</c:v>
                </c:pt>
                <c:pt idx="79">
                  <c:v>0.25749559082892415</c:v>
                </c:pt>
                <c:pt idx="80">
                  <c:v>0.2465753424657534</c:v>
                </c:pt>
                <c:pt idx="81">
                  <c:v>0.22592067988668554</c:v>
                </c:pt>
                <c:pt idx="82">
                  <c:v>0.24622222222222223</c:v>
                </c:pt>
                <c:pt idx="83">
                  <c:v>0.24168514412416853</c:v>
                </c:pt>
                <c:pt idx="84">
                  <c:v>0.2601279317697228</c:v>
                </c:pt>
                <c:pt idx="85">
                  <c:v>0.2474032105760151</c:v>
                </c:pt>
                <c:pt idx="86">
                  <c:v>0.24419334588826114</c:v>
                </c:pt>
                <c:pt idx="87">
                  <c:v>0.24814814814814815</c:v>
                </c:pt>
                <c:pt idx="88">
                  <c:v>0.25955414012738853</c:v>
                </c:pt>
                <c:pt idx="89">
                  <c:v>0.24245283018867925</c:v>
                </c:pt>
                <c:pt idx="90">
                  <c:v>0.2551928783382789</c:v>
                </c:pt>
                <c:pt idx="91">
                  <c:v>0.2391304347826087</c:v>
                </c:pt>
                <c:pt idx="92">
                  <c:v>0.2795527156549521</c:v>
                </c:pt>
                <c:pt idx="93">
                  <c:v>0.2776898734177215</c:v>
                </c:pt>
                <c:pt idx="94">
                  <c:v>0.2645324347093513</c:v>
                </c:pt>
                <c:pt idx="95">
                  <c:v>0.286871023713129</c:v>
                </c:pt>
                <c:pt idx="96">
                  <c:v>0.27735690235690236</c:v>
                </c:pt>
                <c:pt idx="97">
                  <c:v>0.26590373611578594</c:v>
                </c:pt>
                <c:pt idx="98">
                  <c:v>0.28338028169014085</c:v>
                </c:pt>
                <c:pt idx="99">
                  <c:v>0.28414550446122167</c:v>
                </c:pt>
                <c:pt idx="100">
                  <c:v>0.28969018029056537</c:v>
                </c:pt>
                <c:pt idx="101">
                  <c:v>0.2903022670025189</c:v>
                </c:pt>
                <c:pt idx="102">
                  <c:v>0.28612032212221694</c:v>
                </c:pt>
                <c:pt idx="103">
                  <c:v>0.289252896524171</c:v>
                </c:pt>
                <c:pt idx="104">
                  <c:v>0.3138116154221571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numCache>
            </c:numRef>
          </c:xVal>
          <c:yVal>
            <c:numRef>
              <c:f>Sheet1!$B$109:$B$160</c:f>
              <c:numCache>
                <c:formatCode>General</c:formatCode>
                <c:ptCount val="52"/>
                <c:pt idx="0">
                  <c:v>0.29818857408267535</c:v>
                </c:pt>
                <c:pt idx="1">
                  <c:v>0.3239087301587302</c:v>
                </c:pt>
                <c:pt idx="2">
                  <c:v>0.35328836424957843</c:v>
                </c:pt>
                <c:pt idx="3">
                  <c:v>0.3719438877755511</c:v>
                </c:pt>
                <c:pt idx="4">
                  <c:v>0.3575197889182058</c:v>
                </c:pt>
                <c:pt idx="5">
                  <c:v>0.36825251601097897</c:v>
                </c:pt>
                <c:pt idx="6">
                  <c:v>0.3348342202210397</c:v>
                </c:pt>
                <c:pt idx="7">
                  <c:v>0.33919239904988124</c:v>
                </c:pt>
                <c:pt idx="8">
                  <c:v>0.3309053069719043</c:v>
                </c:pt>
                <c:pt idx="9">
                  <c:v>0.3389830508474576</c:v>
                </c:pt>
                <c:pt idx="10">
                  <c:v>0.31901318587834965</c:v>
                </c:pt>
                <c:pt idx="11">
                  <c:v>0.3442319555829735</c:v>
                </c:pt>
                <c:pt idx="12">
                  <c:v>0.35504774897680763</c:v>
                </c:pt>
                <c:pt idx="13">
                  <c:v>0.33552123552123553</c:v>
                </c:pt>
                <c:pt idx="14">
                  <c:v>0.35242675994752953</c:v>
                </c:pt>
                <c:pt idx="15">
                  <c:v>0.3416243654822335</c:v>
                </c:pt>
                <c:pt idx="16">
                  <c:v>0.3212468193384224</c:v>
                </c:pt>
                <c:pt idx="17">
                  <c:v>0.30484522207267833</c:v>
                </c:pt>
                <c:pt idx="18">
                  <c:v>0.25691980127750175</c:v>
                </c:pt>
                <c:pt idx="19">
                  <c:v>0.3044117647058823</c:v>
                </c:pt>
                <c:pt idx="20">
                  <c:v>0.3176007866273353</c:v>
                </c:pt>
                <c:pt idx="21">
                  <c:v>0.2894190871369295</c:v>
                </c:pt>
                <c:pt idx="22">
                  <c:v>0.3867735470941884</c:v>
                </c:pt>
                <c:pt idx="23">
                  <c:v>0.38645038167938933</c:v>
                </c:pt>
                <c:pt idx="24">
                  <c:v>0.38636363636363635</c:v>
                </c:pt>
                <c:pt idx="25">
                  <c:v>0.33428030303030304</c:v>
                </c:pt>
                <c:pt idx="26">
                  <c:v>0.3102803738317757</c:v>
                </c:pt>
                <c:pt idx="27">
                  <c:v>0.27218934911242604</c:v>
                </c:pt>
                <c:pt idx="28">
                  <c:v>0.27633711507293357</c:v>
                </c:pt>
                <c:pt idx="29">
                  <c:v>0.3011049723756906</c:v>
                </c:pt>
                <c:pt idx="30">
                  <c:v>0.27481617647058826</c:v>
                </c:pt>
                <c:pt idx="31">
                  <c:v>0.28108672936259144</c:v>
                </c:pt>
                <c:pt idx="32">
                  <c:v>0.3058608058608059</c:v>
                </c:pt>
                <c:pt idx="33">
                  <c:v>0.33787289234760054</c:v>
                </c:pt>
                <c:pt idx="34">
                  <c:v>0.31996434937611407</c:v>
                </c:pt>
                <c:pt idx="35">
                  <c:v>0.33050367855121676</c:v>
                </c:pt>
                <c:pt idx="36">
                  <c:v>0.33297529538131043</c:v>
                </c:pt>
                <c:pt idx="37">
                  <c:v>0.35547240411599623</c:v>
                </c:pt>
                <c:pt idx="38">
                  <c:v>0.34024896265560167</c:v>
                </c:pt>
                <c:pt idx="39">
                  <c:v>0.3416856492027335</c:v>
                </c:pt>
                <c:pt idx="40">
                  <c:v>0.29711751662971175</c:v>
                </c:pt>
                <c:pt idx="41">
                  <c:v>0.31679659815733524</c:v>
                </c:pt>
                <c:pt idx="42">
                  <c:v>0.2974137931034483</c:v>
                </c:pt>
                <c:pt idx="43">
                  <c:v>0.27334993773349936</c:v>
                </c:pt>
                <c:pt idx="44">
                  <c:v>0.24290871583290355</c:v>
                </c:pt>
                <c:pt idx="45">
                  <c:v>0.253826054497947</c:v>
                </c:pt>
                <c:pt idx="46">
                  <c:v>0.26973965002134015</c:v>
                </c:pt>
                <c:pt idx="47">
                  <c:v>0.28259141494435613</c:v>
                </c:pt>
                <c:pt idx="48">
                  <c:v>0.2600564573041637</c:v>
                </c:pt>
                <c:pt idx="49">
                  <c:v>0.26322225619076733</c:v>
                </c:pt>
                <c:pt idx="50">
                  <c:v>0.2947192652890837</c:v>
                </c:pt>
                <c:pt idx="51">
                  <c:v>0.288551401869158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3.9196366508486</c:v>
                </c:pt>
              </c:numCache>
            </c:numRef>
          </c:xVal>
          <c:yVal>
            <c:numRef>
              <c:f>Sheet1!$B$163:$B$164</c:f>
              <c:numCache>
                <c:formatCode>General</c:formatCode>
                <c:ptCount val="2"/>
                <c:pt idx="0">
                  <c:v>0.3667702886221511</c:v>
                </c:pt>
                <c:pt idx="1">
                  <c:v>0.366770288622151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3.9196366508486</c:v>
                </c:pt>
                <c:pt idx="1">
                  <c:v>873.9196366508486</c:v>
                </c:pt>
              </c:numCache>
            </c:numRef>
          </c:xVal>
          <c:yVal>
            <c:numRef>
              <c:f>Sheet1!$B$167:$B$168</c:f>
              <c:numCache>
                <c:formatCode>General</c:formatCode>
                <c:ptCount val="2"/>
                <c:pt idx="0">
                  <c:v>0.36677028862215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8556435593625</c:v>
                </c:pt>
              </c:numCache>
            </c:numRef>
          </c:xVal>
          <c:yVal>
            <c:numRef>
              <c:f>Sheet1!$B$171:$B$172</c:f>
              <c:numCache>
                <c:formatCode>General</c:formatCode>
                <c:ptCount val="2"/>
                <c:pt idx="0">
                  <c:v>0.34200375415983836</c:v>
                </c:pt>
                <c:pt idx="1">
                  <c:v>0.342003754159838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8556435593625</c:v>
                </c:pt>
                <c:pt idx="1">
                  <c:v>1070.8556435593625</c:v>
                </c:pt>
              </c:numCache>
            </c:numRef>
          </c:xVal>
          <c:yVal>
            <c:numRef>
              <c:f>Sheet1!$B$175:$B$176</c:f>
              <c:numCache>
                <c:formatCode>General</c:formatCode>
                <c:ptCount val="2"/>
                <c:pt idx="0">
                  <c:v>0.34200375415983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38.2137025748398</c:v>
                </c:pt>
              </c:numCache>
            </c:numRef>
          </c:xVal>
          <c:yVal>
            <c:numRef>
              <c:f>Sheet1!$B$179:$B$180</c:f>
              <c:numCache>
                <c:formatCode>General</c:formatCode>
                <c:ptCount val="2"/>
                <c:pt idx="0">
                  <c:v>0.28322913159818836</c:v>
                </c:pt>
                <c:pt idx="1">
                  <c:v>0.283229131598188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38.2137025748398</c:v>
                </c:pt>
                <c:pt idx="1">
                  <c:v>1538.2137025748398</c:v>
                </c:pt>
              </c:numCache>
            </c:numRef>
          </c:xVal>
          <c:yVal>
            <c:numRef>
              <c:f>Sheet1!$B$183:$B$184</c:f>
              <c:numCache>
                <c:formatCode>General</c:formatCode>
                <c:ptCount val="2"/>
                <c:pt idx="0">
                  <c:v>0.28322913159818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67.9907</c:v>
                </c:pt>
                <c:pt idx="1">
                  <c:v>1319.9204</c:v>
                </c:pt>
                <c:pt idx="2">
                  <c:v>1244.7792</c:v>
                </c:pt>
                <c:pt idx="3">
                  <c:v>1317.6778</c:v>
                </c:pt>
                <c:pt idx="4">
                  <c:v>1317.305</c:v>
                </c:pt>
                <c:pt idx="5">
                  <c:v>1353.7081</c:v>
                </c:pt>
                <c:pt idx="6">
                  <c:v>1300.2616</c:v>
                </c:pt>
                <c:pt idx="7">
                  <c:v>1289.1232</c:v>
                </c:pt>
                <c:pt idx="8">
                  <c:v>1353.316</c:v>
                </c:pt>
                <c:pt idx="9">
                  <c:v>1339.3946</c:v>
                </c:pt>
                <c:pt idx="10">
                  <c:v>1349.0973</c:v>
                </c:pt>
                <c:pt idx="11">
                  <c:v>1145.8656</c:v>
                </c:pt>
                <c:pt idx="12">
                  <c:v>1105.5917</c:v>
                </c:pt>
                <c:pt idx="13">
                  <c:v>1145.1404</c:v>
                </c:pt>
                <c:pt idx="14">
                  <c:v>1158.7469</c:v>
                </c:pt>
                <c:pt idx="15">
                  <c:v>1197.4487</c:v>
                </c:pt>
                <c:pt idx="16">
                  <c:v>1177.1624</c:v>
                </c:pt>
                <c:pt idx="17">
                  <c:v>1166.426</c:v>
                </c:pt>
                <c:pt idx="18">
                  <c:v>1280.3895</c:v>
                </c:pt>
                <c:pt idx="19">
                  <c:v>1360.756</c:v>
                </c:pt>
                <c:pt idx="20">
                  <c:v>1367.4985</c:v>
                </c:pt>
                <c:pt idx="21">
                  <c:v>1407.0538</c:v>
                </c:pt>
                <c:pt idx="22">
                  <c:v>1131.0674</c:v>
                </c:pt>
                <c:pt idx="23">
                  <c:v>1121.763</c:v>
                </c:pt>
                <c:pt idx="24">
                  <c:v>1118.799</c:v>
                </c:pt>
                <c:pt idx="25">
                  <c:v>1133.796</c:v>
                </c:pt>
                <c:pt idx="26">
                  <c:v>1265.3163</c:v>
                </c:pt>
                <c:pt idx="27">
                  <c:v>1308.6273</c:v>
                </c:pt>
                <c:pt idx="28">
                  <c:v>1349.7713</c:v>
                </c:pt>
                <c:pt idx="29">
                  <c:v>1340.3486</c:v>
                </c:pt>
                <c:pt idx="30">
                  <c:v>1436.4114</c:v>
                </c:pt>
                <c:pt idx="31">
                  <c:v>1279.8885</c:v>
                </c:pt>
                <c:pt idx="32">
                  <c:v>1269.3862</c:v>
                </c:pt>
                <c:pt idx="33">
                  <c:v>1359.2821</c:v>
                </c:pt>
                <c:pt idx="34">
                  <c:v>1455.61</c:v>
                </c:pt>
                <c:pt idx="35">
                  <c:v>1345.2671</c:v>
                </c:pt>
                <c:pt idx="36">
                  <c:v>1381.3871</c:v>
                </c:pt>
                <c:pt idx="37">
                  <c:v>1246.2842</c:v>
                </c:pt>
                <c:pt idx="38">
                  <c:v>1174.811</c:v>
                </c:pt>
                <c:pt idx="39">
                  <c:v>1206.08</c:v>
                </c:pt>
                <c:pt idx="40">
                  <c:v>1253.8831</c:v>
                </c:pt>
                <c:pt idx="41">
                  <c:v>1299.613</c:v>
                </c:pt>
                <c:pt idx="42">
                  <c:v>1368.3275</c:v>
                </c:pt>
                <c:pt idx="43">
                  <c:v>1353.9339</c:v>
                </c:pt>
                <c:pt idx="44">
                  <c:v>1337.6008</c:v>
                </c:pt>
                <c:pt idx="45">
                  <c:v>1320.7956</c:v>
                </c:pt>
                <c:pt idx="46">
                  <c:v>1278.3861</c:v>
                </c:pt>
                <c:pt idx="47">
                  <c:v>1201.4065</c:v>
                </c:pt>
                <c:pt idx="48">
                  <c:v>1177.7001</c:v>
                </c:pt>
                <c:pt idx="49">
                  <c:v>1238.8966</c:v>
                </c:pt>
                <c:pt idx="50">
                  <c:v>1147.8272</c:v>
                </c:pt>
                <c:pt idx="51">
                  <c:v>1136.7625</c:v>
                </c:pt>
                <c:pt idx="52">
                  <c:v>1070.8556435593625</c:v>
                </c:pt>
                <c:pt idx="53">
                  <c:v>873.9196366508486</c:v>
                </c:pt>
                <c:pt idx="54">
                  <c:v>1538.2137025748398</c:v>
                </c:pt>
              </c:numCache>
            </c:numRef>
          </c:xVal>
          <c:yVal>
            <c:numRef>
              <c:f>Sheet1!$B$187:$B$241</c:f>
              <c:numCache>
                <c:formatCode>General</c:formatCode>
                <c:ptCount val="55"/>
                <c:pt idx="0">
                  <c:v>0.3046362573225693</c:v>
                </c:pt>
                <c:pt idx="1">
                  <c:v>0.3106815446230109</c:v>
                </c:pt>
                <c:pt idx="2">
                  <c:v>0.3201312493700156</c:v>
                </c:pt>
                <c:pt idx="3">
                  <c:v>0.310963572430201</c:v>
                </c:pt>
                <c:pt idx="4">
                  <c:v>0.3110104554974089</c:v>
                </c:pt>
                <c:pt idx="5">
                  <c:v>0.30643242710718244</c:v>
                </c:pt>
                <c:pt idx="6">
                  <c:v>0.3131538215587055</c:v>
                </c:pt>
                <c:pt idx="7">
                  <c:v>0.3145545789508424</c:v>
                </c:pt>
                <c:pt idx="8">
                  <c:v>0.30648173732888906</c:v>
                </c:pt>
                <c:pt idx="9">
                  <c:v>0.3082324828541794</c:v>
                </c:pt>
                <c:pt idx="10">
                  <c:v>0.3070122780896992</c:v>
                </c:pt>
                <c:pt idx="11">
                  <c:v>0.3325705545110477</c:v>
                </c:pt>
                <c:pt idx="12">
                  <c:v>0.33763537200145766</c:v>
                </c:pt>
                <c:pt idx="13">
                  <c:v>0.3326617551557344</c:v>
                </c:pt>
                <c:pt idx="14">
                  <c:v>0.3309506112341558</c:v>
                </c:pt>
                <c:pt idx="15">
                  <c:v>0.326083499939984</c:v>
                </c:pt>
                <c:pt idx="16">
                  <c:v>0.3286346908367112</c:v>
                </c:pt>
                <c:pt idx="17">
                  <c:v>0.32998489299006706</c:v>
                </c:pt>
                <c:pt idx="18">
                  <c:v>0.3156529229531862</c:v>
                </c:pt>
                <c:pt idx="19">
                  <c:v>0.3055460881335379</c:v>
                </c:pt>
                <c:pt idx="20">
                  <c:v>0.3046981560502511</c:v>
                </c:pt>
                <c:pt idx="21">
                  <c:v>0.2997237091931447</c:v>
                </c:pt>
                <c:pt idx="22">
                  <c:v>0.3344315657909731</c:v>
                </c:pt>
                <c:pt idx="23">
                  <c:v>0.33560168062608386</c:v>
                </c:pt>
                <c:pt idx="24">
                  <c:v>0.33597443119261894</c:v>
                </c:pt>
                <c:pt idx="25">
                  <c:v>0.33408841896376407</c:v>
                </c:pt>
                <c:pt idx="26">
                  <c:v>0.31754851804073536</c:v>
                </c:pt>
                <c:pt idx="27">
                  <c:v>0.3121017569789275</c:v>
                </c:pt>
                <c:pt idx="28">
                  <c:v>0.30692751632119564</c:v>
                </c:pt>
                <c:pt idx="29">
                  <c:v>0.3081125084815497</c:v>
                </c:pt>
                <c:pt idx="30">
                  <c:v>0.29603171795424166</c:v>
                </c:pt>
                <c:pt idx="31">
                  <c:v>0.31571592836271184</c:v>
                </c:pt>
                <c:pt idx="32">
                  <c:v>0.31703669026383224</c:v>
                </c:pt>
                <c:pt idx="33">
                  <c:v>0.30573144476647185</c:v>
                </c:pt>
                <c:pt idx="34">
                  <c:v>0.29361731544861436</c:v>
                </c:pt>
                <c:pt idx="35">
                  <c:v>0.30749396136228435</c:v>
                </c:pt>
                <c:pt idx="36">
                  <c:v>0.3029515354300154</c:v>
                </c:pt>
                <c:pt idx="37">
                  <c:v>0.3199419816228377</c:v>
                </c:pt>
                <c:pt idx="38">
                  <c:v>0.3289304012557903</c:v>
                </c:pt>
                <c:pt idx="39">
                  <c:v>0.3249980336900063</c:v>
                </c:pt>
                <c:pt idx="40">
                  <c:v>0.3189863492746451</c:v>
                </c:pt>
                <c:pt idx="41">
                  <c:v>0.31323538904097764</c:v>
                </c:pt>
                <c:pt idx="42">
                  <c:v>0.30459390159017763</c:v>
                </c:pt>
                <c:pt idx="43">
                  <c:v>0.3064040306571407</c:v>
                </c:pt>
                <c:pt idx="44">
                  <c:v>0.3084580698873274</c:v>
                </c:pt>
                <c:pt idx="45">
                  <c:v>0.31057148008325675</c:v>
                </c:pt>
                <c:pt idx="46">
                  <c:v>0.3159048691357086</c:v>
                </c:pt>
                <c:pt idx="47">
                  <c:v>0.3255857697806613</c:v>
                </c:pt>
                <c:pt idx="48">
                  <c:v>0.328567070060859</c:v>
                </c:pt>
                <c:pt idx="49">
                  <c:v>0.3208710410308452</c:v>
                </c:pt>
                <c:pt idx="50">
                  <c:v>0.3323238650672842</c:v>
                </c:pt>
                <c:pt idx="51">
                  <c:v>0.3337153539989779</c:v>
                </c:pt>
                <c:pt idx="52">
                  <c:v>0.34200375415983836</c:v>
                </c:pt>
                <c:pt idx="53">
                  <c:v>0.3667702886221511</c:v>
                </c:pt>
                <c:pt idx="54">
                  <c:v>0.28322913159818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46.0"/>
          <c:min val="6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46153846153846"/>
          <c:min val="0.1651860744297719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8189890364401353</c:v>
                </c:pt>
                <c:pt idx="1">
                  <c:v>2.060561769452054</c:v>
                </c:pt>
                <c:pt idx="2">
                  <c:v>2.167267127547115</c:v>
                </c:pt>
                <c:pt idx="3">
                  <c:v>2.1251162351315647</c:v>
                </c:pt>
                <c:pt idx="4">
                  <c:v>2.1840544597940177</c:v>
                </c:pt>
                <c:pt idx="5">
                  <c:v>1.9021553721439717</c:v>
                </c:pt>
                <c:pt idx="6">
                  <c:v>1.610150038994767</c:v>
                </c:pt>
                <c:pt idx="7">
                  <c:v>1.6499898092770844</c:v>
                </c:pt>
                <c:pt idx="8">
                  <c:v>1.7130486436775743</c:v>
                </c:pt>
                <c:pt idx="9">
                  <c:v>1.9209699789147892</c:v>
                </c:pt>
                <c:pt idx="10">
                  <c:v>1.659651173411101</c:v>
                </c:pt>
                <c:pt idx="11">
                  <c:v>1.6845197303612311</c:v>
                </c:pt>
                <c:pt idx="12">
                  <c:v>1.7202125580224623</c:v>
                </c:pt>
                <c:pt idx="13">
                  <c:v>1.7594382462920524</c:v>
                </c:pt>
                <c:pt idx="14">
                  <c:v>1.833174031484899</c:v>
                </c:pt>
                <c:pt idx="15">
                  <c:v>1.861117760973507</c:v>
                </c:pt>
                <c:pt idx="16">
                  <c:v>1.8573252995148242</c:v>
                </c:pt>
                <c:pt idx="17">
                  <c:v>2.16869568655911</c:v>
                </c:pt>
                <c:pt idx="18">
                  <c:v>2.5567121265250097</c:v>
                </c:pt>
                <c:pt idx="19">
                  <c:v>2.525667543739102</c:v>
                </c:pt>
                <c:pt idx="20">
                  <c:v>2.420117858072998</c:v>
                </c:pt>
                <c:pt idx="21">
                  <c:v>2.586459649819742</c:v>
                </c:pt>
                <c:pt idx="22">
                  <c:v>2.48650085170782</c:v>
                </c:pt>
                <c:pt idx="23">
                  <c:v>2.6498014657834044</c:v>
                </c:pt>
                <c:pt idx="24">
                  <c:v>2.6676493472584855</c:v>
                </c:pt>
                <c:pt idx="25">
                  <c:v>2.737517527214785</c:v>
                </c:pt>
                <c:pt idx="26">
                  <c:v>1.9864572433820968</c:v>
                </c:pt>
                <c:pt idx="27">
                  <c:v>2.0184181592394883</c:v>
                </c:pt>
                <c:pt idx="28">
                  <c:v>1.9356937773365177</c:v>
                </c:pt>
                <c:pt idx="29">
                  <c:v>1.911139651188301</c:v>
                </c:pt>
                <c:pt idx="30">
                  <c:v>1.8724421564597729</c:v>
                </c:pt>
                <c:pt idx="31">
                  <c:v>1.8894470669114416</c:v>
                </c:pt>
                <c:pt idx="32">
                  <c:v>1.7962720827987335</c:v>
                </c:pt>
                <c:pt idx="33">
                  <c:v>1.7837533422347298</c:v>
                </c:pt>
                <c:pt idx="34">
                  <c:v>1.8338620706506439</c:v>
                </c:pt>
                <c:pt idx="35">
                  <c:v>1.9527578095542586</c:v>
                </c:pt>
                <c:pt idx="36">
                  <c:v>2.2049775535488005</c:v>
                </c:pt>
                <c:pt idx="37">
                  <c:v>2.270838913790868</c:v>
                </c:pt>
                <c:pt idx="38">
                  <c:v>2.316338385760474</c:v>
                </c:pt>
                <c:pt idx="39">
                  <c:v>2.336187120848545</c:v>
                </c:pt>
                <c:pt idx="40">
                  <c:v>2.2917136067672303</c:v>
                </c:pt>
                <c:pt idx="41">
                  <c:v>2.360501396727438</c:v>
                </c:pt>
                <c:pt idx="42">
                  <c:v>2.3565389212471857</c:v>
                </c:pt>
                <c:pt idx="43">
                  <c:v>2.333640621353386</c:v>
                </c:pt>
                <c:pt idx="44">
                  <c:v>2.153349177149108</c:v>
                </c:pt>
                <c:pt idx="45">
                  <c:v>2.0847207594491817</c:v>
                </c:pt>
                <c:pt idx="46">
                  <c:v>2.129734385858155</c:v>
                </c:pt>
                <c:pt idx="47">
                  <c:v>2.098915751676737</c:v>
                </c:pt>
                <c:pt idx="48">
                  <c:v>2.11932606646224</c:v>
                </c:pt>
                <c:pt idx="49">
                  <c:v>2.0557118937229117</c:v>
                </c:pt>
                <c:pt idx="50">
                  <c:v>1.9724516838678</c:v>
                </c:pt>
                <c:pt idx="51">
                  <c:v>2.0261925241721337</c:v>
                </c:pt>
                <c:pt idx="52">
                  <c:v>2.035237024907907</c:v>
                </c:pt>
                <c:pt idx="53">
                  <c:v>2.2290130437730915</c:v>
                </c:pt>
                <c:pt idx="54">
                  <c:v>2.257496389024625</c:v>
                </c:pt>
                <c:pt idx="55">
                  <c:v>2.3090190740252843</c:v>
                </c:pt>
                <c:pt idx="56">
                  <c:v>2.365800829241247</c:v>
                </c:pt>
                <c:pt idx="57">
                  <c:v>2.3028149960909454</c:v>
                </c:pt>
                <c:pt idx="58">
                  <c:v>2.0630132659507265</c:v>
                </c:pt>
                <c:pt idx="59">
                  <c:v>2.2137764680385152</c:v>
                </c:pt>
                <c:pt idx="60">
                  <c:v>2.282066709760207</c:v>
                </c:pt>
                <c:pt idx="61">
                  <c:v>2.1629726288571756</c:v>
                </c:pt>
                <c:pt idx="62">
                  <c:v>2.0284335216701885</c:v>
                </c:pt>
                <c:pt idx="63">
                  <c:v>2.152900809212713</c:v>
                </c:pt>
                <c:pt idx="64">
                  <c:v>2.1731568206574967</c:v>
                </c:pt>
                <c:pt idx="65">
                  <c:v>2.08925848632529</c:v>
                </c:pt>
                <c:pt idx="66">
                  <c:v>2.0654595723828435</c:v>
                </c:pt>
                <c:pt idx="67">
                  <c:v>2.1803367501232214</c:v>
                </c:pt>
                <c:pt idx="68">
                  <c:v>2.204967311493315</c:v>
                </c:pt>
                <c:pt idx="69">
                  <c:v>2.312374047303644</c:v>
                </c:pt>
                <c:pt idx="70">
                  <c:v>2.212313109013858</c:v>
                </c:pt>
                <c:pt idx="71">
                  <c:v>2.4063484443193297</c:v>
                </c:pt>
                <c:pt idx="72">
                  <c:v>2.475077737420138</c:v>
                </c:pt>
                <c:pt idx="73">
                  <c:v>2.4013192565735095</c:v>
                </c:pt>
                <c:pt idx="74">
                  <c:v>2.3594900319496914</c:v>
                </c:pt>
                <c:pt idx="75">
                  <c:v>2.393442262410389</c:v>
                </c:pt>
                <c:pt idx="76">
                  <c:v>2.4111986807112853</c:v>
                </c:pt>
                <c:pt idx="77">
                  <c:v>2.5503650249889467</c:v>
                </c:pt>
                <c:pt idx="78">
                  <c:v>2.4725070360966543</c:v>
                </c:pt>
                <c:pt idx="79">
                  <c:v>2.6026523043663023</c:v>
                </c:pt>
                <c:pt idx="80">
                  <c:v>2.4768613287365455</c:v>
                </c:pt>
                <c:pt idx="81">
                  <c:v>2.4366446641882265</c:v>
                </c:pt>
                <c:pt idx="82">
                  <c:v>2.3238080392474716</c:v>
                </c:pt>
                <c:pt idx="83">
                  <c:v>2.333847064569995</c:v>
                </c:pt>
                <c:pt idx="84">
                  <c:v>2.281082778048615</c:v>
                </c:pt>
                <c:pt idx="85">
                  <c:v>2.2311043174657597</c:v>
                </c:pt>
                <c:pt idx="86">
                  <c:v>2.22068215801596</c:v>
                </c:pt>
                <c:pt idx="87">
                  <c:v>2.25778911498831</c:v>
                </c:pt>
                <c:pt idx="88">
                  <c:v>2.266579238716481</c:v>
                </c:pt>
                <c:pt idx="89">
                  <c:v>2.285630786719782</c:v>
                </c:pt>
                <c:pt idx="90">
                  <c:v>2.503561672626718</c:v>
                </c:pt>
                <c:pt idx="91">
                  <c:v>2.613332635609402</c:v>
                </c:pt>
                <c:pt idx="92">
                  <c:v>2.440771963401367</c:v>
                </c:pt>
                <c:pt idx="93">
                  <c:v>2.315532179451491</c:v>
                </c:pt>
                <c:pt idx="94">
                  <c:v>2.271878505619401</c:v>
                </c:pt>
                <c:pt idx="95">
                  <c:v>2.2332637945565774</c:v>
                </c:pt>
                <c:pt idx="96">
                  <c:v>2.0493971452870894</c:v>
                </c:pt>
                <c:pt idx="97">
                  <c:v>1.9895295823741266</c:v>
                </c:pt>
                <c:pt idx="98">
                  <c:v>2.074712872391862</c:v>
                </c:pt>
                <c:pt idx="99">
                  <c:v>2.1462627814373456</c:v>
                </c:pt>
                <c:pt idx="100">
                  <c:v>1.9381151842013205</c:v>
                </c:pt>
                <c:pt idx="101">
                  <c:v>1.8585066442434295</c:v>
                </c:pt>
                <c:pt idx="102">
                  <c:v>1.84319655161259</c:v>
                </c:pt>
                <c:pt idx="103">
                  <c:v>1.7814777703465652</c:v>
                </c:pt>
                <c:pt idx="104">
                  <c:v>1.8789136643603244</c:v>
                </c:pt>
              </c:numCache>
            </c:numRef>
          </c:xVal>
          <c:yVal>
            <c:numRef>
              <c:f>Sheet1!$B$2:$B$106</c:f>
              <c:numCache>
                <c:formatCode>General</c:formatCode>
                <c:ptCount val="105"/>
                <c:pt idx="0">
                  <c:v>0.1025097207493814</c:v>
                </c:pt>
                <c:pt idx="1">
                  <c:v>0.09795067731851337</c:v>
                </c:pt>
                <c:pt idx="2">
                  <c:v>0.10740631454706404</c:v>
                </c:pt>
                <c:pt idx="3">
                  <c:v>0.11685761047463175</c:v>
                </c:pt>
                <c:pt idx="4">
                  <c:v>0.0936374549819928</c:v>
                </c:pt>
                <c:pt idx="5">
                  <c:v>0.11172305271439811</c:v>
                </c:pt>
                <c:pt idx="6">
                  <c:v>0.15533088235294118</c:v>
                </c:pt>
                <c:pt idx="7">
                  <c:v>0.15730337078651685</c:v>
                </c:pt>
                <c:pt idx="8">
                  <c:v>0.14759036144578314</c:v>
                </c:pt>
                <c:pt idx="9">
                  <c:v>0.12188365650969529</c:v>
                </c:pt>
                <c:pt idx="10">
                  <c:v>0.14438254410399257</c:v>
                </c:pt>
                <c:pt idx="11">
                  <c:v>0.12729912875121008</c:v>
                </c:pt>
                <c:pt idx="12">
                  <c:v>0.11865189289012004</c:v>
                </c:pt>
                <c:pt idx="13">
                  <c:v>0.09485325393449597</c:v>
                </c:pt>
                <c:pt idx="14">
                  <c:v>0.07726901062959934</c:v>
                </c:pt>
                <c:pt idx="15">
                  <c:v>0.0718954248366013</c:v>
                </c:pt>
                <c:pt idx="16">
                  <c:v>0.06687116564417178</c:v>
                </c:pt>
                <c:pt idx="17">
                  <c:v>0.059293804130579615</c:v>
                </c:pt>
                <c:pt idx="18">
                  <c:v>0.05120481927710843</c:v>
                </c:pt>
                <c:pt idx="19">
                  <c:v>0.04597701149425287</c:v>
                </c:pt>
                <c:pt idx="20">
                  <c:v>0.052598225602027884</c:v>
                </c:pt>
                <c:pt idx="21">
                  <c:v>0.046232876712328765</c:v>
                </c:pt>
                <c:pt idx="22">
                  <c:v>0.05206738131699847</c:v>
                </c:pt>
                <c:pt idx="23">
                  <c:v>0.05451713395638629</c:v>
                </c:pt>
                <c:pt idx="24">
                  <c:v>0.0649895178197065</c:v>
                </c:pt>
                <c:pt idx="25">
                  <c:v>0.07334384858044164</c:v>
                </c:pt>
                <c:pt idx="26">
                  <c:v>0.09619860356865788</c:v>
                </c:pt>
                <c:pt idx="27">
                  <c:v>0.09486999297259312</c:v>
                </c:pt>
                <c:pt idx="28">
                  <c:v>0.12838709677419355</c:v>
                </c:pt>
                <c:pt idx="29">
                  <c:v>0.12202043132803632</c:v>
                </c:pt>
                <c:pt idx="30">
                  <c:v>0.10950080515297907</c:v>
                </c:pt>
                <c:pt idx="31">
                  <c:v>0.12942008486562942</c:v>
                </c:pt>
                <c:pt idx="32">
                  <c:v>0.12931034482758622</c:v>
                </c:pt>
                <c:pt idx="33">
                  <c:v>0.12247909493359567</c:v>
                </c:pt>
                <c:pt idx="34">
                  <c:v>0.12069801260300533</c:v>
                </c:pt>
                <c:pt idx="35">
                  <c:v>0.11032608695652174</c:v>
                </c:pt>
                <c:pt idx="36">
                  <c:v>0.10860927152317881</c:v>
                </c:pt>
                <c:pt idx="37">
                  <c:v>0.09980302035456336</c:v>
                </c:pt>
                <c:pt idx="38">
                  <c:v>0.10219922380336352</c:v>
                </c:pt>
                <c:pt idx="39">
                  <c:v>0.09300911854103343</c:v>
                </c:pt>
                <c:pt idx="40">
                  <c:v>0.095</c:v>
                </c:pt>
                <c:pt idx="41">
                  <c:v>0.08487914558740865</c:v>
                </c:pt>
                <c:pt idx="42">
                  <c:v>0.090989010989011</c:v>
                </c:pt>
                <c:pt idx="43">
                  <c:v>0.09424520433694746</c:v>
                </c:pt>
                <c:pt idx="44">
                  <c:v>0.11255627813906953</c:v>
                </c:pt>
                <c:pt idx="45">
                  <c:v>0.12006737247353225</c:v>
                </c:pt>
                <c:pt idx="46">
                  <c:v>0.1290824261275272</c:v>
                </c:pt>
                <c:pt idx="47">
                  <c:v>0.12630480167014613</c:v>
                </c:pt>
                <c:pt idx="48">
                  <c:v>0.12289876727680239</c:v>
                </c:pt>
                <c:pt idx="49">
                  <c:v>0.12053503571971425</c:v>
                </c:pt>
                <c:pt idx="50">
                  <c:v>0.12048611111111111</c:v>
                </c:pt>
                <c:pt idx="51">
                  <c:v>0.11291600633914421</c:v>
                </c:pt>
                <c:pt idx="52">
                  <c:v>0.11653543307086614</c:v>
                </c:pt>
                <c:pt idx="53">
                  <c:v>0.1067193675889328</c:v>
                </c:pt>
                <c:pt idx="54">
                  <c:v>0.09866666666666667</c:v>
                </c:pt>
                <c:pt idx="55">
                  <c:v>0.09991158267020336</c:v>
                </c:pt>
                <c:pt idx="56">
                  <c:v>0.09449192782526115</c:v>
                </c:pt>
                <c:pt idx="57">
                  <c:v>0.09561615464273386</c:v>
                </c:pt>
                <c:pt idx="58">
                  <c:v>0.1301948051948052</c:v>
                </c:pt>
                <c:pt idx="59">
                  <c:v>0.11767204757858964</c:v>
                </c:pt>
                <c:pt idx="60">
                  <c:v>0.10611246943765282</c:v>
                </c:pt>
                <c:pt idx="61">
                  <c:v>0.13151152860802734</c:v>
                </c:pt>
                <c:pt idx="62">
                  <c:v>0.13186813186813187</c:v>
                </c:pt>
                <c:pt idx="63">
                  <c:v>0.14659300184162063</c:v>
                </c:pt>
                <c:pt idx="64">
                  <c:v>0.12674323215750616</c:v>
                </c:pt>
                <c:pt idx="65">
                  <c:v>0.1257995735607676</c:v>
                </c:pt>
                <c:pt idx="66">
                  <c:v>0.13815789473684212</c:v>
                </c:pt>
                <c:pt idx="67">
                  <c:v>0.12302284710017575</c:v>
                </c:pt>
                <c:pt idx="68">
                  <c:v>0.10653889515219842</c:v>
                </c:pt>
                <c:pt idx="69">
                  <c:v>0.09785714285714285</c:v>
                </c:pt>
                <c:pt idx="70">
                  <c:v>0.10349127182044887</c:v>
                </c:pt>
                <c:pt idx="71">
                  <c:v>0.09887193098871931</c:v>
                </c:pt>
                <c:pt idx="72">
                  <c:v>0.10372340425531915</c:v>
                </c:pt>
                <c:pt idx="73">
                  <c:v>0.10764331210191083</c:v>
                </c:pt>
                <c:pt idx="74">
                  <c:v>0.12629286880783885</c:v>
                </c:pt>
                <c:pt idx="75">
                  <c:v>0.12210796915167095</c:v>
                </c:pt>
                <c:pt idx="76">
                  <c:v>0.11609110947832477</c:v>
                </c:pt>
                <c:pt idx="77">
                  <c:v>0.11247296322999278</c:v>
                </c:pt>
                <c:pt idx="78">
                  <c:v>0.12461059190031153</c:v>
                </c:pt>
                <c:pt idx="79">
                  <c:v>0.1051930758988016</c:v>
                </c:pt>
                <c:pt idx="80">
                  <c:v>0.10611979166666667</c:v>
                </c:pt>
                <c:pt idx="81">
                  <c:v>0.10686164229471316</c:v>
                </c:pt>
                <c:pt idx="82">
                  <c:v>0.11476664116296863</c:v>
                </c:pt>
                <c:pt idx="83">
                  <c:v>0.11813643926788686</c:v>
                </c:pt>
                <c:pt idx="84">
                  <c:v>0.11774744027303755</c:v>
                </c:pt>
                <c:pt idx="85">
                  <c:v>0.11962071480671042</c:v>
                </c:pt>
                <c:pt idx="86">
                  <c:v>0.1462984723854289</c:v>
                </c:pt>
                <c:pt idx="87">
                  <c:v>0.12492073557387444</c:v>
                </c:pt>
                <c:pt idx="88">
                  <c:v>0.11864406779661017</c:v>
                </c:pt>
                <c:pt idx="89">
                  <c:v>0.13864541832669322</c:v>
                </c:pt>
                <c:pt idx="90">
                  <c:v>0.10558530986993114</c:v>
                </c:pt>
                <c:pt idx="91">
                  <c:v>0.10542168674698796</c:v>
                </c:pt>
                <c:pt idx="92">
                  <c:v>0.11359404096834265</c:v>
                </c:pt>
                <c:pt idx="93">
                  <c:v>0.11446119486320491</c:v>
                </c:pt>
                <c:pt idx="94">
                  <c:v>0.10745891276864729</c:v>
                </c:pt>
                <c:pt idx="95">
                  <c:v>0.10942528735632184</c:v>
                </c:pt>
                <c:pt idx="96">
                  <c:v>0.10788732394366198</c:v>
                </c:pt>
                <c:pt idx="97">
                  <c:v>0.11424606845513413</c:v>
                </c:pt>
                <c:pt idx="98">
                  <c:v>0.11062861869313483</c:v>
                </c:pt>
                <c:pt idx="99">
                  <c:v>0.1178343949044586</c:v>
                </c:pt>
                <c:pt idx="100">
                  <c:v>0.11742025937609533</c:v>
                </c:pt>
                <c:pt idx="101">
                  <c:v>0.10881424059718633</c:v>
                </c:pt>
                <c:pt idx="102">
                  <c:v>0.11386321626617375</c:v>
                </c:pt>
                <c:pt idx="103">
                  <c:v>0.11697722567287784</c:v>
                </c:pt>
                <c:pt idx="104">
                  <c:v>0.1097560975609756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01386520423392</c:v>
                </c:pt>
                <c:pt idx="1">
                  <c:v>1.8706292432377556</c:v>
                </c:pt>
                <c:pt idx="2">
                  <c:v>1.7742219515733229</c:v>
                </c:pt>
                <c:pt idx="3">
                  <c:v>1.7213397573587224</c:v>
                </c:pt>
                <c:pt idx="4">
                  <c:v>1.8244228625966232</c:v>
                </c:pt>
                <c:pt idx="5">
                  <c:v>1.743437041558598</c:v>
                </c:pt>
                <c:pt idx="6">
                  <c:v>1.692875499092559</c:v>
                </c:pt>
                <c:pt idx="7">
                  <c:v>1.585601600247322</c:v>
                </c:pt>
                <c:pt idx="8">
                  <c:v>1.678910793410971</c:v>
                </c:pt>
                <c:pt idx="9">
                  <c:v>1.688380296357893</c:v>
                </c:pt>
                <c:pt idx="10">
                  <c:v>1.631567918421604</c:v>
                </c:pt>
                <c:pt idx="11">
                  <c:v>1.8301244527633347</c:v>
                </c:pt>
                <c:pt idx="12">
                  <c:v>1.7930067671276697</c:v>
                </c:pt>
                <c:pt idx="13">
                  <c:v>1.6337701640829438</c:v>
                </c:pt>
                <c:pt idx="14">
                  <c:v>1.6146218742133938</c:v>
                </c:pt>
                <c:pt idx="15">
                  <c:v>1.7038745180146309</c:v>
                </c:pt>
                <c:pt idx="16">
                  <c:v>1.711758204954935</c:v>
                </c:pt>
                <c:pt idx="17">
                  <c:v>1.6268547060924718</c:v>
                </c:pt>
                <c:pt idx="18">
                  <c:v>1.756124349601129</c:v>
                </c:pt>
                <c:pt idx="19">
                  <c:v>2.022797041473689</c:v>
                </c:pt>
                <c:pt idx="20">
                  <c:v>1.9831433329993626</c:v>
                </c:pt>
                <c:pt idx="21">
                  <c:v>1.9492129616431393</c:v>
                </c:pt>
                <c:pt idx="22">
                  <c:v>1.8725238955700438</c:v>
                </c:pt>
                <c:pt idx="23">
                  <c:v>1.841299742559256</c:v>
                </c:pt>
                <c:pt idx="24">
                  <c:v>1.8301920931720022</c:v>
                </c:pt>
                <c:pt idx="25">
                  <c:v>1.879866045667128</c:v>
                </c:pt>
                <c:pt idx="26">
                  <c:v>1.7616005345093502</c:v>
                </c:pt>
                <c:pt idx="27">
                  <c:v>1.7145179887476591</c:v>
                </c:pt>
                <c:pt idx="28">
                  <c:v>1.787530181848648</c:v>
                </c:pt>
                <c:pt idx="29">
                  <c:v>1.7286753607915157</c:v>
                </c:pt>
                <c:pt idx="30">
                  <c:v>1.730664309432844</c:v>
                </c:pt>
                <c:pt idx="31">
                  <c:v>1.7701422012475077</c:v>
                </c:pt>
                <c:pt idx="32">
                  <c:v>1.8283284553215882</c:v>
                </c:pt>
                <c:pt idx="33">
                  <c:v>1.73460698481452</c:v>
                </c:pt>
                <c:pt idx="34">
                  <c:v>1.7734525454509265</c:v>
                </c:pt>
                <c:pt idx="35">
                  <c:v>1.712879660547382</c:v>
                </c:pt>
                <c:pt idx="36">
                  <c:v>1.9370613727461745</c:v>
                </c:pt>
                <c:pt idx="37">
                  <c:v>1.9616182172390737</c:v>
                </c:pt>
                <c:pt idx="38">
                  <c:v>1.9550732881144206</c:v>
                </c:pt>
                <c:pt idx="39">
                  <c:v>1.9357189769647862</c:v>
                </c:pt>
                <c:pt idx="40">
                  <c:v>1.8958658795913992</c:v>
                </c:pt>
                <c:pt idx="41">
                  <c:v>1.9154199580940545</c:v>
                </c:pt>
                <c:pt idx="42">
                  <c:v>1.971099555282696</c:v>
                </c:pt>
                <c:pt idx="43">
                  <c:v>2.0181775576534764</c:v>
                </c:pt>
                <c:pt idx="44">
                  <c:v>1.849734137407969</c:v>
                </c:pt>
                <c:pt idx="45">
                  <c:v>1.8626436571264129</c:v>
                </c:pt>
                <c:pt idx="46">
                  <c:v>1.7594386737663419</c:v>
                </c:pt>
                <c:pt idx="47">
                  <c:v>1.8538537769635883</c:v>
                </c:pt>
                <c:pt idx="48">
                  <c:v>1.794643490452136</c:v>
                </c:pt>
                <c:pt idx="49">
                  <c:v>1.8701981051090797</c:v>
                </c:pt>
                <c:pt idx="50">
                  <c:v>1.8358704649467037</c:v>
                </c:pt>
                <c:pt idx="51">
                  <c:v>1.8201903984671381</c:v>
                </c:pt>
              </c:numCache>
            </c:numRef>
          </c:xVal>
          <c:yVal>
            <c:numRef>
              <c:f>Sheet1!$B$109:$B$160</c:f>
              <c:numCache>
                <c:formatCode>General</c:formatCode>
                <c:ptCount val="52"/>
                <c:pt idx="0">
                  <c:v>0.10882956878850103</c:v>
                </c:pt>
                <c:pt idx="1">
                  <c:v>0.1174785100286533</c:v>
                </c:pt>
                <c:pt idx="2">
                  <c:v>0.12750716332378223</c:v>
                </c:pt>
                <c:pt idx="3">
                  <c:v>0.14705882352941177</c:v>
                </c:pt>
                <c:pt idx="4">
                  <c:v>0.11594707520891365</c:v>
                </c:pt>
                <c:pt idx="5">
                  <c:v>0.13800578034682082</c:v>
                </c:pt>
                <c:pt idx="6">
                  <c:v>0.16731952993844432</c:v>
                </c:pt>
                <c:pt idx="7">
                  <c:v>0.17088607594936708</c:v>
                </c:pt>
                <c:pt idx="8">
                  <c:v>0.14528412419449327</c:v>
                </c:pt>
                <c:pt idx="9">
                  <c:v>0.15664556962025317</c:v>
                </c:pt>
                <c:pt idx="10">
                  <c:v>0.15807903951975988</c:v>
                </c:pt>
                <c:pt idx="11">
                  <c:v>0.14896810506566605</c:v>
                </c:pt>
                <c:pt idx="12">
                  <c:v>0.13872255489021956</c:v>
                </c:pt>
                <c:pt idx="13">
                  <c:v>0.1466106148187073</c:v>
                </c:pt>
                <c:pt idx="14">
                  <c:v>0.1413583655438984</c:v>
                </c:pt>
                <c:pt idx="15">
                  <c:v>0.1406528189910979</c:v>
                </c:pt>
                <c:pt idx="16">
                  <c:v>0.14622314622314622</c:v>
                </c:pt>
                <c:pt idx="17">
                  <c:v>0.15271966527196654</c:v>
                </c:pt>
                <c:pt idx="18">
                  <c:v>0.13511507052709726</c:v>
                </c:pt>
                <c:pt idx="19">
                  <c:v>0.12164296998420221</c:v>
                </c:pt>
                <c:pt idx="20">
                  <c:v>0.11272141706924316</c:v>
                </c:pt>
                <c:pt idx="21">
                  <c:v>0.11099137931034483</c:v>
                </c:pt>
                <c:pt idx="22">
                  <c:v>0.12176724137931035</c:v>
                </c:pt>
                <c:pt idx="23">
                  <c:v>0.11668484187568157</c:v>
                </c:pt>
                <c:pt idx="24">
                  <c:v>0.12401055408970976</c:v>
                </c:pt>
                <c:pt idx="25">
                  <c:v>0.11934552454282965</c:v>
                </c:pt>
                <c:pt idx="26">
                  <c:v>0.1158371040723982</c:v>
                </c:pt>
                <c:pt idx="27">
                  <c:v>0.12946116165150454</c:v>
                </c:pt>
                <c:pt idx="28">
                  <c:v>0.13282172373081463</c:v>
                </c:pt>
                <c:pt idx="29">
                  <c:v>0.12527312454479242</c:v>
                </c:pt>
                <c:pt idx="30">
                  <c:v>0.12629246676514033</c:v>
                </c:pt>
                <c:pt idx="31">
                  <c:v>0.1206896551724138</c:v>
                </c:pt>
                <c:pt idx="32">
                  <c:v>0.11840490797546012</c:v>
                </c:pt>
                <c:pt idx="33">
                  <c:v>0.1368584758942457</c:v>
                </c:pt>
                <c:pt idx="34">
                  <c:v>0.1382925611582626</c:v>
                </c:pt>
                <c:pt idx="35">
                  <c:v>0.13685734974656047</c:v>
                </c:pt>
                <c:pt idx="36">
                  <c:v>0.12195121951219512</c:v>
                </c:pt>
                <c:pt idx="37">
                  <c:v>0.11906677393403058</c:v>
                </c:pt>
                <c:pt idx="38">
                  <c:v>0.11307137129109864</c:v>
                </c:pt>
                <c:pt idx="39">
                  <c:v>0.12136862491930278</c:v>
                </c:pt>
                <c:pt idx="40">
                  <c:v>0.11336032388663968</c:v>
                </c:pt>
                <c:pt idx="41">
                  <c:v>0.12988650693568726</c:v>
                </c:pt>
                <c:pt idx="42">
                  <c:v>0.11831198191409194</c:v>
                </c:pt>
                <c:pt idx="43">
                  <c:v>0.11782032400589101</c:v>
                </c:pt>
                <c:pt idx="44">
                  <c:v>0.1072992700729927</c:v>
                </c:pt>
                <c:pt idx="45">
                  <c:v>0.12558139534883722</c:v>
                </c:pt>
                <c:pt idx="46">
                  <c:v>0.15460992907801419</c:v>
                </c:pt>
                <c:pt idx="47">
                  <c:v>0.15114709851551958</c:v>
                </c:pt>
                <c:pt idx="48">
                  <c:v>0.1506849315068493</c:v>
                </c:pt>
                <c:pt idx="49">
                  <c:v>0.15327342747111683</c:v>
                </c:pt>
                <c:pt idx="50">
                  <c:v>0.14906962157641648</c:v>
                </c:pt>
                <c:pt idx="51">
                  <c:v>0.135830495648883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619973909916534</c:v>
                </c:pt>
              </c:numCache>
            </c:numRef>
          </c:xVal>
          <c:yVal>
            <c:numRef>
              <c:f>Sheet1!$B$163:$B$164</c:f>
              <c:numCache>
                <c:formatCode>General</c:formatCode>
                <c:ptCount val="2"/>
                <c:pt idx="0">
                  <c:v>0.14721461905081662</c:v>
                </c:pt>
                <c:pt idx="1">
                  <c:v>0.1472146190508166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619973909916534</c:v>
                </c:pt>
                <c:pt idx="1">
                  <c:v>1.6619973909916534</c:v>
                </c:pt>
              </c:numCache>
            </c:numRef>
          </c:xVal>
          <c:yVal>
            <c:numRef>
              <c:f>Sheet1!$B$167:$B$168</c:f>
              <c:numCache>
                <c:formatCode>General</c:formatCode>
                <c:ptCount val="2"/>
                <c:pt idx="0">
                  <c:v>0.1472146190508166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619973909916534</c:v>
                </c:pt>
              </c:numCache>
            </c:numRef>
          </c:xVal>
          <c:yVal>
            <c:numRef>
              <c:f>Sheet1!$B$171:$B$172</c:f>
              <c:numCache>
                <c:formatCode>General</c:formatCode>
                <c:ptCount val="2"/>
                <c:pt idx="0">
                  <c:v>0.14721461905081662</c:v>
                </c:pt>
                <c:pt idx="1">
                  <c:v>0.147214619050816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619973909916534</c:v>
                </c:pt>
                <c:pt idx="1">
                  <c:v>1.6619973909916534</c:v>
                </c:pt>
              </c:numCache>
            </c:numRef>
          </c:xVal>
          <c:yVal>
            <c:numRef>
              <c:f>Sheet1!$B$175:$B$176</c:f>
              <c:numCache>
                <c:formatCode>General</c:formatCode>
                <c:ptCount val="2"/>
                <c:pt idx="0">
                  <c:v>0.147214619050816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02896831769562</c:v>
                </c:pt>
              </c:numCache>
            </c:numRef>
          </c:xVal>
          <c:yVal>
            <c:numRef>
              <c:f>Sheet1!$B$179:$B$180</c:f>
              <c:numCache>
                <c:formatCode>General</c:formatCode>
                <c:ptCount val="2"/>
                <c:pt idx="0">
                  <c:v>0.13294184083694177</c:v>
                </c:pt>
                <c:pt idx="1">
                  <c:v>0.1329418408369417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02896831769562</c:v>
                </c:pt>
                <c:pt idx="1">
                  <c:v>1.802896831769562</c:v>
                </c:pt>
              </c:numCache>
            </c:numRef>
          </c:xVal>
          <c:yVal>
            <c:numRef>
              <c:f>Sheet1!$B$183:$B$184</c:f>
              <c:numCache>
                <c:formatCode>General</c:formatCode>
                <c:ptCount val="2"/>
                <c:pt idx="0">
                  <c:v>0.132941840836941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01386520423392</c:v>
                </c:pt>
                <c:pt idx="1">
                  <c:v>1.8706292432377556</c:v>
                </c:pt>
                <c:pt idx="2">
                  <c:v>1.7742219515733229</c:v>
                </c:pt>
                <c:pt idx="3">
                  <c:v>1.7213397573587224</c:v>
                </c:pt>
                <c:pt idx="4">
                  <c:v>1.8244228625966232</c:v>
                </c:pt>
                <c:pt idx="5">
                  <c:v>1.743437041558598</c:v>
                </c:pt>
                <c:pt idx="6">
                  <c:v>1.692875499092559</c:v>
                </c:pt>
                <c:pt idx="7">
                  <c:v>1.585601600247322</c:v>
                </c:pt>
                <c:pt idx="8">
                  <c:v>1.678910793410971</c:v>
                </c:pt>
                <c:pt idx="9">
                  <c:v>1.688380296357893</c:v>
                </c:pt>
                <c:pt idx="10">
                  <c:v>1.631567918421604</c:v>
                </c:pt>
                <c:pt idx="11">
                  <c:v>1.8301244527633347</c:v>
                </c:pt>
                <c:pt idx="12">
                  <c:v>1.7930067671276697</c:v>
                </c:pt>
                <c:pt idx="13">
                  <c:v>1.6337701640829438</c:v>
                </c:pt>
                <c:pt idx="14">
                  <c:v>1.6146218742133938</c:v>
                </c:pt>
                <c:pt idx="15">
                  <c:v>1.7038745180146309</c:v>
                </c:pt>
                <c:pt idx="16">
                  <c:v>1.711758204954935</c:v>
                </c:pt>
                <c:pt idx="17">
                  <c:v>1.6268547060924718</c:v>
                </c:pt>
                <c:pt idx="18">
                  <c:v>1.756124349601129</c:v>
                </c:pt>
                <c:pt idx="19">
                  <c:v>2.022797041473689</c:v>
                </c:pt>
                <c:pt idx="20">
                  <c:v>1.9831433329993626</c:v>
                </c:pt>
                <c:pt idx="21">
                  <c:v>1.9492129616431393</c:v>
                </c:pt>
                <c:pt idx="22">
                  <c:v>1.8725238955700438</c:v>
                </c:pt>
                <c:pt idx="23">
                  <c:v>1.841299742559256</c:v>
                </c:pt>
                <c:pt idx="24">
                  <c:v>1.8301920931720022</c:v>
                </c:pt>
                <c:pt idx="25">
                  <c:v>1.879866045667128</c:v>
                </c:pt>
                <c:pt idx="26">
                  <c:v>1.7616005345093502</c:v>
                </c:pt>
                <c:pt idx="27">
                  <c:v>1.7145179887476591</c:v>
                </c:pt>
                <c:pt idx="28">
                  <c:v>1.787530181848648</c:v>
                </c:pt>
                <c:pt idx="29">
                  <c:v>1.7286753607915157</c:v>
                </c:pt>
                <c:pt idx="30">
                  <c:v>1.730664309432844</c:v>
                </c:pt>
                <c:pt idx="31">
                  <c:v>1.7701422012475077</c:v>
                </c:pt>
                <c:pt idx="32">
                  <c:v>1.8283284553215882</c:v>
                </c:pt>
                <c:pt idx="33">
                  <c:v>1.73460698481452</c:v>
                </c:pt>
                <c:pt idx="34">
                  <c:v>1.7734525454509265</c:v>
                </c:pt>
                <c:pt idx="35">
                  <c:v>1.712879660547382</c:v>
                </c:pt>
                <c:pt idx="36">
                  <c:v>1.9370613727461745</c:v>
                </c:pt>
                <c:pt idx="37">
                  <c:v>1.9616182172390737</c:v>
                </c:pt>
                <c:pt idx="38">
                  <c:v>1.9550732881144206</c:v>
                </c:pt>
                <c:pt idx="39">
                  <c:v>1.9357189769647862</c:v>
                </c:pt>
                <c:pt idx="40">
                  <c:v>1.8958658795913992</c:v>
                </c:pt>
                <c:pt idx="41">
                  <c:v>1.9154199580940545</c:v>
                </c:pt>
                <c:pt idx="42">
                  <c:v>1.971099555282696</c:v>
                </c:pt>
                <c:pt idx="43">
                  <c:v>2.0181775576534764</c:v>
                </c:pt>
                <c:pt idx="44">
                  <c:v>1.849734137407969</c:v>
                </c:pt>
                <c:pt idx="45">
                  <c:v>1.8626436571264129</c:v>
                </c:pt>
                <c:pt idx="46">
                  <c:v>1.7594386737663419</c:v>
                </c:pt>
                <c:pt idx="47">
                  <c:v>1.8538537769635883</c:v>
                </c:pt>
                <c:pt idx="48">
                  <c:v>1.794643490452136</c:v>
                </c:pt>
                <c:pt idx="49">
                  <c:v>1.8701981051090797</c:v>
                </c:pt>
                <c:pt idx="50">
                  <c:v>1.8358704649467037</c:v>
                </c:pt>
                <c:pt idx="51">
                  <c:v>1.8201903984671381</c:v>
                </c:pt>
                <c:pt idx="52">
                  <c:v>1.6619973909916534</c:v>
                </c:pt>
                <c:pt idx="53">
                  <c:v>1.6619973909916534</c:v>
                </c:pt>
                <c:pt idx="54">
                  <c:v>1.802896831769562</c:v>
                </c:pt>
              </c:numCache>
            </c:numRef>
          </c:xVal>
          <c:yVal>
            <c:numRef>
              <c:f>Sheet1!$B$187:$B$241</c:f>
              <c:numCache>
                <c:formatCode>General</c:formatCode>
                <c:ptCount val="55"/>
                <c:pt idx="0">
                  <c:v>0.12296506963935089</c:v>
                </c:pt>
                <c:pt idx="1">
                  <c:v>0.12608070866041143</c:v>
                </c:pt>
                <c:pt idx="2">
                  <c:v>0.13584653799607005</c:v>
                </c:pt>
                <c:pt idx="3">
                  <c:v>0.14120337848685494</c:v>
                </c:pt>
                <c:pt idx="4">
                  <c:v>0.13076130511498701</c:v>
                </c:pt>
                <c:pt idx="5">
                  <c:v>0.13896497615699108</c:v>
                </c:pt>
                <c:pt idx="6">
                  <c:v>0.14408674014544218</c:v>
                </c:pt>
                <c:pt idx="7">
                  <c:v>0.15495333094170438</c:v>
                </c:pt>
                <c:pt idx="8">
                  <c:v>0.14550133161518058</c:v>
                </c:pt>
                <c:pt idx="9">
                  <c:v>0.1445420934903814</c:v>
                </c:pt>
                <c:pt idx="10">
                  <c:v>0.15029705224401918</c:v>
                </c:pt>
                <c:pt idx="11">
                  <c:v>0.1301837475926392</c:v>
                </c:pt>
                <c:pt idx="12">
                  <c:v>0.13394368086111272</c:v>
                </c:pt>
                <c:pt idx="13">
                  <c:v>0.15007396999668568</c:v>
                </c:pt>
                <c:pt idx="14">
                  <c:v>0.1520136462152298</c:v>
                </c:pt>
                <c:pt idx="15">
                  <c:v>0.14297256569039665</c:v>
                </c:pt>
                <c:pt idx="16">
                  <c:v>0.14217396695511889</c:v>
                </c:pt>
                <c:pt idx="17">
                  <c:v>0.1507744894423303</c:v>
                </c:pt>
                <c:pt idx="18">
                  <c:v>0.13767978202972989</c:v>
                </c:pt>
                <c:pt idx="19">
                  <c:v>0.11066647263843524</c:v>
                </c:pt>
                <c:pt idx="20">
                  <c:v>0.11468329898839794</c:v>
                </c:pt>
                <c:pt idx="21">
                  <c:v>0.11812036490156314</c:v>
                </c:pt>
                <c:pt idx="22">
                  <c:v>0.1258887848856835</c:v>
                </c:pt>
                <c:pt idx="23">
                  <c:v>0.1290517173173425</c:v>
                </c:pt>
                <c:pt idx="24">
                  <c:v>0.13017689578012753</c:v>
                </c:pt>
                <c:pt idx="25">
                  <c:v>0.1251450425445493</c:v>
                </c:pt>
                <c:pt idx="26">
                  <c:v>0.13712505752392853</c:v>
                </c:pt>
                <c:pt idx="27">
                  <c:v>0.14189440742121068</c:v>
                </c:pt>
                <c:pt idx="28">
                  <c:v>0.13449844592352386</c:v>
                </c:pt>
                <c:pt idx="29">
                  <c:v>0.1404602993072418</c:v>
                </c:pt>
                <c:pt idx="30">
                  <c:v>0.14025882354069696</c:v>
                </c:pt>
                <c:pt idx="31">
                  <c:v>0.1362598070001687</c:v>
                </c:pt>
                <c:pt idx="32">
                  <c:v>0.13036567786161124</c:v>
                </c:pt>
                <c:pt idx="33">
                  <c:v>0.13985943990239946</c:v>
                </c:pt>
                <c:pt idx="34">
                  <c:v>0.1359244770061948</c:v>
                </c:pt>
                <c:pt idx="35">
                  <c:v>0.1420603661710467</c:v>
                </c:pt>
                <c:pt idx="36">
                  <c:v>0.11935129195361541</c:v>
                </c:pt>
                <c:pt idx="37">
                  <c:v>0.1168637420162652</c:v>
                </c:pt>
                <c:pt idx="38">
                  <c:v>0.11752672776912526</c:v>
                </c:pt>
                <c:pt idx="39">
                  <c:v>0.1194872734533092</c:v>
                </c:pt>
                <c:pt idx="40">
                  <c:v>0.12352429742448945</c:v>
                </c:pt>
                <c:pt idx="41">
                  <c:v>0.12154351578260195</c:v>
                </c:pt>
                <c:pt idx="42">
                  <c:v>0.11590330502432072</c:v>
                </c:pt>
                <c:pt idx="43">
                  <c:v>0.1111344153617311</c:v>
                </c:pt>
                <c:pt idx="44">
                  <c:v>0.12819733318083143</c:v>
                </c:pt>
                <c:pt idx="45">
                  <c:v>0.1268896295393427</c:v>
                </c:pt>
                <c:pt idx="46">
                  <c:v>0.13734404887509277</c:v>
                </c:pt>
                <c:pt idx="47">
                  <c:v>0.1277800234926323</c:v>
                </c:pt>
                <c:pt idx="48">
                  <c:v>0.13377788468137908</c:v>
                </c:pt>
                <c:pt idx="49">
                  <c:v>0.12612438192736097</c:v>
                </c:pt>
                <c:pt idx="50">
                  <c:v>0.12960169022566412</c:v>
                </c:pt>
                <c:pt idx="51">
                  <c:v>0.1311900436641594</c:v>
                </c:pt>
                <c:pt idx="52">
                  <c:v>0.14721461905081662</c:v>
                </c:pt>
                <c:pt idx="53">
                  <c:v>0.14721461905081662</c:v>
                </c:pt>
                <c:pt idx="54">
                  <c:v>0.132941840836941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050632911392405"/>
          <c:min val="0.03678160919540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5.280790453822762</c:v>
                </c:pt>
                <c:pt idx="8">
                  <c:v>5.199542658027985</c:v>
                </c:pt>
                <c:pt idx="9">
                  <c:v>4.644772994897292</c:v>
                </c:pt>
                <c:pt idx="10">
                  <c:v>5.681618160501479</c:v>
                </c:pt>
                <c:pt idx="11">
                  <c:v>5.963739120940369</c:v>
                </c:pt>
                <c:pt idx="12">
                  <c:v>3.1286512110939073</c:v>
                </c:pt>
                <c:pt idx="13">
                  <c:v>5.70735242933618</c:v>
                </c:pt>
                <c:pt idx="14">
                  <c:v>5.372195954081091</c:v>
                </c:pt>
                <c:pt idx="15">
                  <c:v>5.248585961485033</c:v>
                </c:pt>
                <c:pt idx="16">
                  <c:v>2.396901334412083</c:v>
                </c:pt>
                <c:pt idx="17">
                  <c:v>2.405698229640805</c:v>
                </c:pt>
                <c:pt idx="18">
                  <c:v>3.0266070768045044</c:v>
                </c:pt>
                <c:pt idx="19">
                  <c:v>3.4384375264148033</c:v>
                </c:pt>
                <c:pt idx="20">
                  <c:v>1.4970886375586285</c:v>
                </c:pt>
                <c:pt idx="21">
                  <c:v>1.173503375067792</c:v>
                </c:pt>
                <c:pt idx="22">
                  <c:v>1.30133723547858</c:v>
                </c:pt>
                <c:pt idx="23">
                  <c:v>7.7299109330621745</c:v>
                </c:pt>
                <c:pt idx="24">
                  <c:v>7.194905869324474</c:v>
                </c:pt>
                <c:pt idx="25">
                  <c:v>8.065065756556006</c:v>
                </c:pt>
                <c:pt idx="26">
                  <c:v>4.841307202631405</c:v>
                </c:pt>
                <c:pt idx="27">
                  <c:v>4.889006368589164</c:v>
                </c:pt>
                <c:pt idx="28">
                  <c:v>6.984468402103225</c:v>
                </c:pt>
                <c:pt idx="29">
                  <c:v>7.772454094773867</c:v>
                </c:pt>
                <c:pt idx="30">
                  <c:v>7.851389512191277</c:v>
                </c:pt>
                <c:pt idx="31">
                  <c:v>8.798754425282118</c:v>
                </c:pt>
                <c:pt idx="32">
                  <c:v>6.812172970341936</c:v>
                </c:pt>
                <c:pt idx="33">
                  <c:v>7.169128254988608</c:v>
                </c:pt>
                <c:pt idx="34">
                  <c:v>8.484152682834036</c:v>
                </c:pt>
                <c:pt idx="35">
                  <c:v>9.792885701048442</c:v>
                </c:pt>
                <c:pt idx="36">
                  <c:v>8.161723594863018</c:v>
                </c:pt>
                <c:pt idx="37">
                  <c:v>6.731506865792734</c:v>
                </c:pt>
                <c:pt idx="38">
                  <c:v>6.045698772178436</c:v>
                </c:pt>
                <c:pt idx="39">
                  <c:v>7.091719328388514</c:v>
                </c:pt>
                <c:pt idx="40">
                  <c:v>8.480475579856334</c:v>
                </c:pt>
                <c:pt idx="41">
                  <c:v>5.446416459688653</c:v>
                </c:pt>
                <c:pt idx="42">
                  <c:v>7.6980104758652885</c:v>
                </c:pt>
                <c:pt idx="43">
                  <c:v>6.920039614597329</c:v>
                </c:pt>
                <c:pt idx="44">
                  <c:v>5.083843274649225</c:v>
                </c:pt>
                <c:pt idx="45">
                  <c:v>6.339683517177796</c:v>
                </c:pt>
                <c:pt idx="46">
                  <c:v>7.329101508969312</c:v>
                </c:pt>
                <c:pt idx="47">
                  <c:v>7.833667530425449</c:v>
                </c:pt>
                <c:pt idx="48">
                  <c:v>7.170099067040712</c:v>
                </c:pt>
                <c:pt idx="49">
                  <c:v>5.994266009415098</c:v>
                </c:pt>
                <c:pt idx="50">
                  <c:v>6.223394637784481</c:v>
                </c:pt>
                <c:pt idx="51">
                  <c:v>5.098349296343218</c:v>
                </c:pt>
                <c:pt idx="52">
                  <c:v>7.664206437503113</c:v>
                </c:pt>
              </c:numCache>
            </c:numRef>
          </c:xVal>
          <c:yVal>
            <c:numRef>
              <c:f>Sheet1!$B$2:$B$54</c:f>
              <c:numCache>
                <c:formatCode>General</c:formatCode>
                <c:ptCount val="53"/>
                <c:pt idx="0">
                  <c:v>0.0</c:v>
                </c:pt>
                <c:pt idx="1">
                  <c:v>0.0</c:v>
                </c:pt>
                <c:pt idx="2">
                  <c:v>0.0</c:v>
                </c:pt>
                <c:pt idx="3">
                  <c:v>0.0</c:v>
                </c:pt>
                <c:pt idx="4">
                  <c:v>0.0</c:v>
                </c:pt>
                <c:pt idx="5">
                  <c:v>0.0</c:v>
                </c:pt>
                <c:pt idx="6">
                  <c:v>0.0</c:v>
                </c:pt>
                <c:pt idx="7">
                  <c:v>0.0001552312946289972</c:v>
                </c:pt>
                <c:pt idx="8">
                  <c:v>0.00035217467864060575</c:v>
                </c:pt>
                <c:pt idx="9">
                  <c:v>0.0002533569799847986</c:v>
                </c:pt>
                <c:pt idx="10">
                  <c:v>0.00021701388888888888</c:v>
                </c:pt>
                <c:pt idx="11">
                  <c:v>0.0002145002145002145</c:v>
                </c:pt>
                <c:pt idx="12">
                  <c:v>0.000423908435777872</c:v>
                </c:pt>
                <c:pt idx="13">
                  <c:v>0.00022558087074216106</c:v>
                </c:pt>
                <c:pt idx="14">
                  <c:v>0.00022487069934787497</c:v>
                </c:pt>
                <c:pt idx="15">
                  <c:v>0.00025284450063211124</c:v>
                </c:pt>
                <c:pt idx="16">
                  <c:v>0.0008736167734420501</c:v>
                </c:pt>
                <c:pt idx="17">
                  <c:v>0.0007189072609633358</c:v>
                </c:pt>
                <c:pt idx="18">
                  <c:v>0.00037037037037037035</c:v>
                </c:pt>
                <c:pt idx="19">
                  <c:v>0.0004027386226339106</c:v>
                </c:pt>
                <c:pt idx="20">
                  <c:v>0.0010771992818671453</c:v>
                </c:pt>
                <c:pt idx="21">
                  <c:v>0.0007639419404125286</c:v>
                </c:pt>
                <c:pt idx="22">
                  <c:v>0.001379310344827586</c:v>
                </c:pt>
                <c:pt idx="23">
                  <c:v>0.0007905138339920949</c:v>
                </c:pt>
                <c:pt idx="24">
                  <c:v>0.0008673026886383347</c:v>
                </c:pt>
                <c:pt idx="25">
                  <c:v>0.0018124150430448573</c:v>
                </c:pt>
                <c:pt idx="26">
                  <c:v>0.003216911764705882</c:v>
                </c:pt>
                <c:pt idx="27">
                  <c:v>0.002102312543798178</c:v>
                </c:pt>
                <c:pt idx="28">
                  <c:v>0.0014540167211922936</c:v>
                </c:pt>
                <c:pt idx="29">
                  <c:v>0.0015142337976983646</c:v>
                </c:pt>
                <c:pt idx="30">
                  <c:v>0.0016129032258064516</c:v>
                </c:pt>
                <c:pt idx="31">
                  <c:v>0.0010325245224574084</c:v>
                </c:pt>
                <c:pt idx="32">
                  <c:v>0.0016189962223421479</c:v>
                </c:pt>
                <c:pt idx="33">
                  <c:v>0.0017006802721088435</c:v>
                </c:pt>
                <c:pt idx="34">
                  <c:v>0.0016600265604249668</c:v>
                </c:pt>
                <c:pt idx="35">
                  <c:v>0.0014645577035735209</c:v>
                </c:pt>
                <c:pt idx="36">
                  <c:v>0.0022361359570661895</c:v>
                </c:pt>
                <c:pt idx="37">
                  <c:v>0.0025680534155110425</c:v>
                </c:pt>
                <c:pt idx="38">
                  <c:v>0.0024962556165751375</c:v>
                </c:pt>
                <c:pt idx="39">
                  <c:v>0.002325581395348837</c:v>
                </c:pt>
                <c:pt idx="40">
                  <c:v>0.0019083969465648854</c:v>
                </c:pt>
                <c:pt idx="41">
                  <c:v>0.0034802784222737818</c:v>
                </c:pt>
                <c:pt idx="42">
                  <c:v>0.003084832904884319</c:v>
                </c:pt>
                <c:pt idx="43">
                  <c:v>0.002717391304347826</c:v>
                </c:pt>
                <c:pt idx="44">
                  <c:v>0.003787878787878788</c:v>
                </c:pt>
                <c:pt idx="45">
                  <c:v>0.0033606385213190504</c:v>
                </c:pt>
                <c:pt idx="46">
                  <c:v>0.0028633990230756273</c:v>
                </c:pt>
                <c:pt idx="47">
                  <c:v>0.0026838432635534087</c:v>
                </c:pt>
                <c:pt idx="48">
                  <c:v>0.0025013027618551328</c:v>
                </c:pt>
                <c:pt idx="49">
                  <c:v>0.003286628610966961</c:v>
                </c:pt>
                <c:pt idx="50">
                  <c:v>0.0026595744680851063</c:v>
                </c:pt>
                <c:pt idx="51">
                  <c:v>0.0026612077789150462</c:v>
                </c:pt>
                <c:pt idx="52">
                  <c:v>0.001737835153922542</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5.730367372621304</c:v>
                </c:pt>
                <c:pt idx="1">
                  <c:v>7.194849358213907</c:v>
                </c:pt>
                <c:pt idx="2">
                  <c:v>7.229367551061815</c:v>
                </c:pt>
                <c:pt idx="3">
                  <c:v>5.1424397209484205</c:v>
                </c:pt>
                <c:pt idx="4">
                  <c:v>6.326572838968549</c:v>
                </c:pt>
                <c:pt idx="5">
                  <c:v>7.598841674950972</c:v>
                </c:pt>
                <c:pt idx="6">
                  <c:v>7.145226114180929</c:v>
                </c:pt>
                <c:pt idx="7">
                  <c:v>6.105219616055551</c:v>
                </c:pt>
                <c:pt idx="8">
                  <c:v>6.826091318533507</c:v>
                </c:pt>
                <c:pt idx="9">
                  <c:v>6.156467380940697</c:v>
                </c:pt>
                <c:pt idx="10">
                  <c:v>6.0054884318477715</c:v>
                </c:pt>
                <c:pt idx="11">
                  <c:v>8.064935729392808</c:v>
                </c:pt>
                <c:pt idx="12">
                  <c:v>5.9360081204234785</c:v>
                </c:pt>
                <c:pt idx="13">
                  <c:v>5.31588788207066</c:v>
                </c:pt>
                <c:pt idx="14">
                  <c:v>5.077685020355722</c:v>
                </c:pt>
                <c:pt idx="15">
                  <c:v>6.071188410712917</c:v>
                </c:pt>
                <c:pt idx="16">
                  <c:v>6.242778267543066</c:v>
                </c:pt>
                <c:pt idx="17">
                  <c:v>4.425606774432404</c:v>
                </c:pt>
                <c:pt idx="18">
                  <c:v>7.231420968378518</c:v>
                </c:pt>
                <c:pt idx="19">
                  <c:v>7.390700538553383</c:v>
                </c:pt>
                <c:pt idx="20">
                  <c:v>6.787955127948055</c:v>
                </c:pt>
                <c:pt idx="21">
                  <c:v>6.768695360480032</c:v>
                </c:pt>
                <c:pt idx="22">
                  <c:v>6.898933955224505</c:v>
                </c:pt>
                <c:pt idx="23">
                  <c:v>6.014121353237255</c:v>
                </c:pt>
                <c:pt idx="24">
                  <c:v>6.642690736687453</c:v>
                </c:pt>
                <c:pt idx="25">
                  <c:v>6.018984793907387</c:v>
                </c:pt>
                <c:pt idx="26">
                  <c:v>5.5119409768039</c:v>
                </c:pt>
                <c:pt idx="27">
                  <c:v>6.2902362352094086</c:v>
                </c:pt>
                <c:pt idx="28">
                  <c:v>6.601815150652625</c:v>
                </c:pt>
                <c:pt idx="29">
                  <c:v>7.079467880532904</c:v>
                </c:pt>
                <c:pt idx="30">
                  <c:v>6.634346274118908</c:v>
                </c:pt>
                <c:pt idx="31">
                  <c:v>6.937734282984266</c:v>
                </c:pt>
                <c:pt idx="32">
                  <c:v>6.1386193068088915</c:v>
                </c:pt>
                <c:pt idx="33">
                  <c:v>6.760426429004459</c:v>
                </c:pt>
                <c:pt idx="34">
                  <c:v>6.589650681218604</c:v>
                </c:pt>
                <c:pt idx="35">
                  <c:v>6.3475297692475365</c:v>
                </c:pt>
                <c:pt idx="36">
                  <c:v>6.056144967202464</c:v>
                </c:pt>
                <c:pt idx="37">
                  <c:v>5.417857678909142</c:v>
                </c:pt>
                <c:pt idx="38">
                  <c:v>4.602359453337013</c:v>
                </c:pt>
                <c:pt idx="39">
                  <c:v>5.649214973988647</c:v>
                </c:pt>
                <c:pt idx="40">
                  <c:v>5.077431769949732</c:v>
                </c:pt>
                <c:pt idx="41">
                  <c:v>5.113955567366003</c:v>
                </c:pt>
                <c:pt idx="42">
                  <c:v>8.101177407998335</c:v>
                </c:pt>
                <c:pt idx="43">
                  <c:v>7.275968944388824</c:v>
                </c:pt>
                <c:pt idx="44">
                  <c:v>6.698178829144491</c:v>
                </c:pt>
                <c:pt idx="45">
                  <c:v>7.4760411651705745</c:v>
                </c:pt>
                <c:pt idx="46">
                  <c:v>6.598611738059601</c:v>
                </c:pt>
                <c:pt idx="47">
                  <c:v>6.0604119259688</c:v>
                </c:pt>
                <c:pt idx="48">
                  <c:v>6.006591273439934</c:v>
                </c:pt>
                <c:pt idx="49">
                  <c:v>7.222952321411859</c:v>
                </c:pt>
                <c:pt idx="50">
                  <c:v>7.652898086735207</c:v>
                </c:pt>
                <c:pt idx="51">
                  <c:v>7.124334958509287</c:v>
                </c:pt>
              </c:numCache>
            </c:numRef>
          </c:xVal>
          <c:yVal>
            <c:numRef>
              <c:f>Sheet1!$B$57:$B$108</c:f>
              <c:numCache>
                <c:formatCode>General</c:formatCode>
                <c:ptCount val="52"/>
                <c:pt idx="0">
                  <c:v>0.002582765907490021</c:v>
                </c:pt>
                <c:pt idx="1">
                  <c:v>0.0023603461841070024</c:v>
                </c:pt>
                <c:pt idx="2">
                  <c:v>0.0020403536613012923</c:v>
                </c:pt>
                <c:pt idx="3">
                  <c:v>0.002756086357372531</c:v>
                </c:pt>
                <c:pt idx="4">
                  <c:v>0.002477700693756194</c:v>
                </c:pt>
                <c:pt idx="5">
                  <c:v>0.001973359644795264</c:v>
                </c:pt>
                <c:pt idx="6">
                  <c:v>0.002068680182043856</c:v>
                </c:pt>
                <c:pt idx="7">
                  <c:v>0.0027078256160303275</c:v>
                </c:pt>
                <c:pt idx="8">
                  <c:v>0.0027981811822315496</c:v>
                </c:pt>
                <c:pt idx="9">
                  <c:v>0.0030553009471432934</c:v>
                </c:pt>
                <c:pt idx="10">
                  <c:v>0.0036663611365719525</c:v>
                </c:pt>
                <c:pt idx="11">
                  <c:v>0.002566633761105627</c:v>
                </c:pt>
                <c:pt idx="12">
                  <c:v>0.0033163265306122448</c:v>
                </c:pt>
                <c:pt idx="13">
                  <c:v>0.005139920045688178</c:v>
                </c:pt>
                <c:pt idx="14">
                  <c:v>0.00506404527852249</c:v>
                </c:pt>
                <c:pt idx="15">
                  <c:v>0.004884856943475227</c:v>
                </c:pt>
                <c:pt idx="16">
                  <c:v>0.004106776180698152</c:v>
                </c:pt>
                <c:pt idx="17">
                  <c:v>0.00660883932259397</c:v>
                </c:pt>
                <c:pt idx="18">
                  <c:v>0.0026869682042095834</c:v>
                </c:pt>
                <c:pt idx="19">
                  <c:v>0.002890173410404624</c:v>
                </c:pt>
                <c:pt idx="20">
                  <c:v>0.003634711494775102</c:v>
                </c:pt>
                <c:pt idx="21">
                  <c:v>0.0034965034965034965</c:v>
                </c:pt>
                <c:pt idx="22">
                  <c:v>0.002844950213371266</c:v>
                </c:pt>
                <c:pt idx="23">
                  <c:v>0.00303951367781155</c:v>
                </c:pt>
                <c:pt idx="24">
                  <c:v>0.0025940337224383916</c:v>
                </c:pt>
                <c:pt idx="25">
                  <c:v>0.003125</c:v>
                </c:pt>
                <c:pt idx="26">
                  <c:v>0.003865979381443299</c:v>
                </c:pt>
                <c:pt idx="27">
                  <c:v>0.002768987341772152</c:v>
                </c:pt>
                <c:pt idx="28">
                  <c:v>0.0025820730357801547</c:v>
                </c:pt>
                <c:pt idx="29">
                  <c:v>0.0026246719160104987</c:v>
                </c:pt>
                <c:pt idx="30">
                  <c:v>0.002861230329041488</c:v>
                </c:pt>
                <c:pt idx="31">
                  <c:v>0.0031413612565445027</c:v>
                </c:pt>
                <c:pt idx="32">
                  <c:v>0.002570694087403599</c:v>
                </c:pt>
                <c:pt idx="33">
                  <c:v>0.0027072758037225042</c:v>
                </c:pt>
                <c:pt idx="34">
                  <c:v>0.0024019215372297837</c:v>
                </c:pt>
                <c:pt idx="35">
                  <c:v>0.002969561989606533</c:v>
                </c:pt>
                <c:pt idx="36">
                  <c:v>0.00392156862745098</c:v>
                </c:pt>
                <c:pt idx="37">
                  <c:v>0.005142857142857143</c:v>
                </c:pt>
                <c:pt idx="38">
                  <c:v>0.006787330316742082</c:v>
                </c:pt>
                <c:pt idx="39">
                  <c:v>0.0036084799278304014</c:v>
                </c:pt>
                <c:pt idx="40">
                  <c:v>0.004070556309362279</c:v>
                </c:pt>
                <c:pt idx="41">
                  <c:v>0.003799071338117349</c:v>
                </c:pt>
                <c:pt idx="42">
                  <c:v>0.0027881040892193307</c:v>
                </c:pt>
                <c:pt idx="43">
                  <c:v>0.0026764804282368685</c:v>
                </c:pt>
                <c:pt idx="44">
                  <c:v>0.0021027335536197055</c:v>
                </c:pt>
                <c:pt idx="45">
                  <c:v>0.0016</c:v>
                </c:pt>
                <c:pt idx="46">
                  <c:v>0.0021812893843916625</c:v>
                </c:pt>
                <c:pt idx="47">
                  <c:v>0.0020780420226275687</c:v>
                </c:pt>
                <c:pt idx="48">
                  <c:v>0.002185792349726776</c:v>
                </c:pt>
                <c:pt idx="49">
                  <c:v>0.0016345804576825282</c:v>
                </c:pt>
                <c:pt idx="50">
                  <c:v>0.0012490632025980515</c:v>
                </c:pt>
                <c:pt idx="51">
                  <c:v>0.00202922077922077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5.565185042911183</c:v>
                </c:pt>
              </c:numCache>
            </c:numRef>
          </c:xVal>
          <c:yVal>
            <c:numRef>
              <c:f>Sheet1!$B$111:$B$112</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5.565185042911183</c:v>
                </c:pt>
                <c:pt idx="1">
                  <c:v>5.565185042911183</c:v>
                </c:pt>
              </c:numCache>
            </c:numRef>
          </c:xVal>
          <c:yVal>
            <c:numRef>
              <c:f>Sheet1!$B$115:$B$116</c:f>
              <c:numCache>
                <c:formatCode>General</c:formatCode>
                <c:ptCount val="2"/>
                <c:pt idx="0">
                  <c:v>0.0039321089809464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5.565185042911183</c:v>
                </c:pt>
              </c:numCache>
            </c:numRef>
          </c:xVal>
          <c:yVal>
            <c:numRef>
              <c:f>Sheet1!$B$119:$B$120</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5.565185042911183</c:v>
                </c:pt>
                <c:pt idx="1">
                  <c:v>5.565185042911183</c:v>
                </c:pt>
              </c:numCache>
            </c:numRef>
          </c:xVal>
          <c:yVal>
            <c:numRef>
              <c:f>Sheet1!$B$123:$B$124</c:f>
              <c:numCache>
                <c:formatCode>General</c:formatCode>
                <c:ptCount val="2"/>
                <c:pt idx="0">
                  <c:v>0.0039321089809464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7.047295770457469</c:v>
                </c:pt>
              </c:numCache>
            </c:numRef>
          </c:xVal>
          <c:yVal>
            <c:numRef>
              <c:f>Sheet1!$B$127:$B$128</c:f>
              <c:numCache>
                <c:formatCode>General</c:formatCode>
                <c:ptCount val="2"/>
                <c:pt idx="0">
                  <c:v>0.002461801064817946</c:v>
                </c:pt>
                <c:pt idx="1">
                  <c:v>0.002461801064817946</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7.047295770457469</c:v>
                </c:pt>
                <c:pt idx="1">
                  <c:v>7.047295770457469</c:v>
                </c:pt>
              </c:numCache>
            </c:numRef>
          </c:xVal>
          <c:yVal>
            <c:numRef>
              <c:f>Sheet1!$B$131:$B$132</c:f>
              <c:numCache>
                <c:formatCode>General</c:formatCode>
                <c:ptCount val="2"/>
                <c:pt idx="0">
                  <c:v>0.0024618010648179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5.730367372621304</c:v>
                </c:pt>
                <c:pt idx="1">
                  <c:v>7.194849358213907</c:v>
                </c:pt>
                <c:pt idx="2">
                  <c:v>7.229367551061815</c:v>
                </c:pt>
                <c:pt idx="3">
                  <c:v>5.1424397209484205</c:v>
                </c:pt>
                <c:pt idx="4">
                  <c:v>6.326572838968549</c:v>
                </c:pt>
                <c:pt idx="5">
                  <c:v>7.598841674950972</c:v>
                </c:pt>
                <c:pt idx="6">
                  <c:v>7.145226114180929</c:v>
                </c:pt>
                <c:pt idx="7">
                  <c:v>6.105219616055551</c:v>
                </c:pt>
                <c:pt idx="8">
                  <c:v>6.826091318533507</c:v>
                </c:pt>
                <c:pt idx="9">
                  <c:v>6.156467380940697</c:v>
                </c:pt>
                <c:pt idx="10">
                  <c:v>6.0054884318477715</c:v>
                </c:pt>
                <c:pt idx="11">
                  <c:v>8.064935729392808</c:v>
                </c:pt>
                <c:pt idx="12">
                  <c:v>5.9360081204234785</c:v>
                </c:pt>
                <c:pt idx="13">
                  <c:v>5.31588788207066</c:v>
                </c:pt>
                <c:pt idx="14">
                  <c:v>5.077685020355722</c:v>
                </c:pt>
                <c:pt idx="15">
                  <c:v>6.071188410712917</c:v>
                </c:pt>
                <c:pt idx="16">
                  <c:v>6.242778267543066</c:v>
                </c:pt>
                <c:pt idx="17">
                  <c:v>4.425606774432404</c:v>
                </c:pt>
                <c:pt idx="18">
                  <c:v>7.231420968378518</c:v>
                </c:pt>
                <c:pt idx="19">
                  <c:v>7.390700538553383</c:v>
                </c:pt>
                <c:pt idx="20">
                  <c:v>6.787955127948055</c:v>
                </c:pt>
                <c:pt idx="21">
                  <c:v>6.768695360480032</c:v>
                </c:pt>
                <c:pt idx="22">
                  <c:v>6.898933955224505</c:v>
                </c:pt>
                <c:pt idx="23">
                  <c:v>6.014121353237255</c:v>
                </c:pt>
                <c:pt idx="24">
                  <c:v>6.642690736687453</c:v>
                </c:pt>
                <c:pt idx="25">
                  <c:v>6.018984793907387</c:v>
                </c:pt>
                <c:pt idx="26">
                  <c:v>5.5119409768039</c:v>
                </c:pt>
                <c:pt idx="27">
                  <c:v>6.2902362352094086</c:v>
                </c:pt>
                <c:pt idx="28">
                  <c:v>6.601815150652625</c:v>
                </c:pt>
                <c:pt idx="29">
                  <c:v>7.079467880532904</c:v>
                </c:pt>
                <c:pt idx="30">
                  <c:v>6.634346274118908</c:v>
                </c:pt>
                <c:pt idx="31">
                  <c:v>6.937734282984266</c:v>
                </c:pt>
                <c:pt idx="32">
                  <c:v>6.1386193068088915</c:v>
                </c:pt>
                <c:pt idx="33">
                  <c:v>6.760426429004459</c:v>
                </c:pt>
                <c:pt idx="34">
                  <c:v>6.589650681218604</c:v>
                </c:pt>
                <c:pt idx="35">
                  <c:v>6.3475297692475365</c:v>
                </c:pt>
                <c:pt idx="36">
                  <c:v>6.056144967202464</c:v>
                </c:pt>
                <c:pt idx="37">
                  <c:v>5.417857678909142</c:v>
                </c:pt>
                <c:pt idx="38">
                  <c:v>4.602359453337013</c:v>
                </c:pt>
                <c:pt idx="39">
                  <c:v>5.649214973988647</c:v>
                </c:pt>
                <c:pt idx="40">
                  <c:v>5.077431769949732</c:v>
                </c:pt>
                <c:pt idx="41">
                  <c:v>5.113955567366003</c:v>
                </c:pt>
                <c:pt idx="42">
                  <c:v>8.101177407998335</c:v>
                </c:pt>
                <c:pt idx="43">
                  <c:v>7.275968944388824</c:v>
                </c:pt>
                <c:pt idx="44">
                  <c:v>6.698178829144491</c:v>
                </c:pt>
                <c:pt idx="45">
                  <c:v>7.4760411651705745</c:v>
                </c:pt>
                <c:pt idx="46">
                  <c:v>6.598611738059601</c:v>
                </c:pt>
                <c:pt idx="47">
                  <c:v>6.0604119259688</c:v>
                </c:pt>
                <c:pt idx="48">
                  <c:v>6.006591273439934</c:v>
                </c:pt>
                <c:pt idx="49">
                  <c:v>7.222952321411859</c:v>
                </c:pt>
                <c:pt idx="50">
                  <c:v>7.652898086735207</c:v>
                </c:pt>
                <c:pt idx="51">
                  <c:v>7.124334958509287</c:v>
                </c:pt>
                <c:pt idx="52">
                  <c:v>5.565185042911183</c:v>
                </c:pt>
                <c:pt idx="53">
                  <c:v>5.565185042911183</c:v>
                </c:pt>
                <c:pt idx="54">
                  <c:v>7.047295770457469</c:v>
                </c:pt>
              </c:numCache>
            </c:numRef>
          </c:xVal>
          <c:yVal>
            <c:numRef>
              <c:f>Sheet1!$B$135:$B$189</c:f>
              <c:numCache>
                <c:formatCode>General</c:formatCode>
                <c:ptCount val="55"/>
                <c:pt idx="0">
                  <c:v>0.003768242083242111</c:v>
                </c:pt>
                <c:pt idx="1">
                  <c:v>0.002315422522311458</c:v>
                </c:pt>
                <c:pt idx="2">
                  <c:v>0.002281179215619554</c:v>
                </c:pt>
                <c:pt idx="3">
                  <c:v>0.004351487764080414</c:v>
                </c:pt>
                <c:pt idx="4">
                  <c:v>0.003176784508233047</c:v>
                </c:pt>
                <c:pt idx="5">
                  <c:v>0.0019146474045596351</c:v>
                </c:pt>
                <c:pt idx="6">
                  <c:v>0.002364650590882595</c:v>
                </c:pt>
                <c:pt idx="7">
                  <c:v>0.003396374981374249</c:v>
                </c:pt>
                <c:pt idx="8">
                  <c:v>0.002681243951710155</c:v>
                </c:pt>
                <c:pt idx="9">
                  <c:v>0.0033455353288475657</c:v>
                </c:pt>
                <c:pt idx="10">
                  <c:v>0.0034953119547732154</c:v>
                </c:pt>
                <c:pt idx="11">
                  <c:v>0.001452265097239844</c:v>
                </c:pt>
                <c:pt idx="12">
                  <c:v>0.0035642389586761827</c:v>
                </c:pt>
                <c:pt idx="13">
                  <c:v>0.004179420860038659</c:v>
                </c:pt>
                <c:pt idx="14">
                  <c:v>0.0044157267896258266</c:v>
                </c:pt>
                <c:pt idx="15">
                  <c:v>0.003430135178693317</c:v>
                </c:pt>
                <c:pt idx="16">
                  <c:v>0.003259911780309037</c:v>
                </c:pt>
                <c:pt idx="17">
                  <c:v>0.005062612200477364</c:v>
                </c:pt>
                <c:pt idx="18">
                  <c:v>0.002279142150723018</c:v>
                </c:pt>
                <c:pt idx="19">
                  <c:v>0.002121131005838205</c:v>
                </c:pt>
                <c:pt idx="20">
                  <c:v>0.002719076444159356</c:v>
                </c:pt>
                <c:pt idx="21">
                  <c:v>0.0027381828361749587</c:v>
                </c:pt>
                <c:pt idx="22">
                  <c:v>0.002608981398469102</c:v>
                </c:pt>
                <c:pt idx="23">
                  <c:v>0.003486747781785083</c:v>
                </c:pt>
                <c:pt idx="24">
                  <c:v>0.0028631840202212686</c:v>
                </c:pt>
                <c:pt idx="25">
                  <c:v>0.003481923071199016</c:v>
                </c:pt>
                <c:pt idx="26">
                  <c:v>0.003984929037120001</c:v>
                </c:pt>
                <c:pt idx="27">
                  <c:v>0.003212831744893117</c:v>
                </c:pt>
                <c:pt idx="28">
                  <c:v>0.002903734092902342</c:v>
                </c:pt>
                <c:pt idx="29">
                  <c:v>0.0024298851578325193</c:v>
                </c:pt>
                <c:pt idx="30">
                  <c:v>0.002871462031534689</c:v>
                </c:pt>
                <c:pt idx="31">
                  <c:v>0.002570490057712124</c:v>
                </c:pt>
                <c:pt idx="32">
                  <c:v>0.0033632412695683966</c:v>
                </c:pt>
                <c:pt idx="33">
                  <c:v>0.0027463859178884194</c:v>
                </c:pt>
                <c:pt idx="34">
                  <c:v>0.0029158016903982143</c:v>
                </c:pt>
                <c:pt idx="35">
                  <c:v>0.0031559944687884495</c:v>
                </c:pt>
                <c:pt idx="36">
                  <c:v>0.0034450588235115888</c:v>
                </c:pt>
                <c:pt idx="37">
                  <c:v>0.00407826310123487</c:v>
                </c:pt>
                <c:pt idx="38">
                  <c:v>0.004887267094231075</c:v>
                </c:pt>
                <c:pt idx="39">
                  <c:v>0.003848748223508669</c:v>
                </c:pt>
                <c:pt idx="40">
                  <c:v>0.0044159780232683405</c:v>
                </c:pt>
                <c:pt idx="41">
                  <c:v>0.004379745083670688</c:v>
                </c:pt>
                <c:pt idx="42">
                  <c:v>0.0014163120297954763</c:v>
                </c:pt>
                <c:pt idx="43">
                  <c:v>0.0022349489332001322</c:v>
                </c:pt>
                <c:pt idx="44">
                  <c:v>0.002808137808036082</c:v>
                </c:pt>
                <c:pt idx="45">
                  <c:v>0.0020364699906046417</c:v>
                </c:pt>
                <c:pt idx="46">
                  <c:v>0.002906911995070249</c:v>
                </c:pt>
                <c:pt idx="47">
                  <c:v>0.003440825844736566</c:v>
                </c:pt>
                <c:pt idx="48">
                  <c:v>0.003494217895676917</c:v>
                </c:pt>
                <c:pt idx="49">
                  <c:v>0.002287543357490201</c:v>
                </c:pt>
                <c:pt idx="50">
                  <c:v>0.0018610214718363452</c:v>
                </c:pt>
                <c:pt idx="51">
                  <c:v>0.0023853753795169364</c:v>
                </c:pt>
                <c:pt idx="52">
                  <c:v>0.003932108980946457</c:v>
                </c:pt>
                <c:pt idx="53">
                  <c:v>0.003932108980946457</c:v>
                </c:pt>
                <c:pt idx="54">
                  <c:v>0.00246180106481794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1447963800904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7.7379</c:v>
                </c:pt>
                <c:pt idx="1">
                  <c:v>854.8972</c:v>
                </c:pt>
                <c:pt idx="2">
                  <c:v>902.2747</c:v>
                </c:pt>
                <c:pt idx="3">
                  <c:v>890.8347</c:v>
                </c:pt>
                <c:pt idx="4">
                  <c:v>906.7991</c:v>
                </c:pt>
                <c:pt idx="5">
                  <c:v>905.1549</c:v>
                </c:pt>
                <c:pt idx="6">
                  <c:v>810.7574</c:v>
                </c:pt>
                <c:pt idx="7">
                  <c:v>828.1746</c:v>
                </c:pt>
                <c:pt idx="8">
                  <c:v>859.0867</c:v>
                </c:pt>
                <c:pt idx="9">
                  <c:v>843.3598</c:v>
                </c:pt>
                <c:pt idx="10">
                  <c:v>797.7042</c:v>
                </c:pt>
                <c:pt idx="11">
                  <c:v>845.0875</c:v>
                </c:pt>
                <c:pt idx="12">
                  <c:v>856.3268</c:v>
                </c:pt>
                <c:pt idx="13">
                  <c:v>890.9417</c:v>
                </c:pt>
                <c:pt idx="14">
                  <c:v>905.836</c:v>
                </c:pt>
                <c:pt idx="15">
                  <c:v>904.9231</c:v>
                </c:pt>
                <c:pt idx="16">
                  <c:v>924.2294</c:v>
                </c:pt>
                <c:pt idx="17">
                  <c:v>932.3483</c:v>
                </c:pt>
                <c:pt idx="18">
                  <c:v>956.6235</c:v>
                </c:pt>
                <c:pt idx="19">
                  <c:v>1001.6406</c:v>
                </c:pt>
                <c:pt idx="20">
                  <c:v>985.9277</c:v>
                </c:pt>
                <c:pt idx="21">
                  <c:v>1030.0185</c:v>
                </c:pt>
                <c:pt idx="22">
                  <c:v>1004.8676</c:v>
                </c:pt>
                <c:pt idx="23">
                  <c:v>1008.0857</c:v>
                </c:pt>
                <c:pt idx="24">
                  <c:v>1021.7097</c:v>
                </c:pt>
                <c:pt idx="25">
                  <c:v>999.2043</c:v>
                </c:pt>
                <c:pt idx="26">
                  <c:v>919.6129</c:v>
                </c:pt>
                <c:pt idx="27">
                  <c:v>998.2963</c:v>
                </c:pt>
                <c:pt idx="28">
                  <c:v>995.4975</c:v>
                </c:pt>
                <c:pt idx="29">
                  <c:v>954.7488</c:v>
                </c:pt>
                <c:pt idx="30">
                  <c:v>948.4485</c:v>
                </c:pt>
                <c:pt idx="31">
                  <c:v>987.224</c:v>
                </c:pt>
                <c:pt idx="32">
                  <c:v>953.5487</c:v>
                </c:pt>
                <c:pt idx="33">
                  <c:v>953.0562</c:v>
                </c:pt>
                <c:pt idx="34">
                  <c:v>953.1687</c:v>
                </c:pt>
                <c:pt idx="35">
                  <c:v>987.6305</c:v>
                </c:pt>
                <c:pt idx="36">
                  <c:v>1123.3902</c:v>
                </c:pt>
                <c:pt idx="37">
                  <c:v>1140.2434</c:v>
                </c:pt>
                <c:pt idx="38">
                  <c:v>1153.3797</c:v>
                </c:pt>
                <c:pt idx="39">
                  <c:v>1159.0392</c:v>
                </c:pt>
                <c:pt idx="40">
                  <c:v>1155.2526</c:v>
                </c:pt>
                <c:pt idx="41">
                  <c:v>1179.298</c:v>
                </c:pt>
                <c:pt idx="42">
                  <c:v>1183.5507</c:v>
                </c:pt>
                <c:pt idx="43">
                  <c:v>1179.9027</c:v>
                </c:pt>
                <c:pt idx="44">
                  <c:v>1082.7578</c:v>
                </c:pt>
                <c:pt idx="45">
                  <c:v>1046.3226</c:v>
                </c:pt>
                <c:pt idx="46">
                  <c:v>1040.1627</c:v>
                </c:pt>
                <c:pt idx="47">
                  <c:v>1014.3533</c:v>
                </c:pt>
                <c:pt idx="48">
                  <c:v>1039.2766</c:v>
                </c:pt>
                <c:pt idx="49">
                  <c:v>1011.8991</c:v>
                </c:pt>
                <c:pt idx="50">
                  <c:v>987.3458</c:v>
                </c:pt>
                <c:pt idx="51">
                  <c:v>1005.3789</c:v>
                </c:pt>
                <c:pt idx="52">
                  <c:v>1010.5135</c:v>
                </c:pt>
                <c:pt idx="53">
                  <c:v>1120.9</c:v>
                </c:pt>
                <c:pt idx="54">
                  <c:v>1088.9009</c:v>
                </c:pt>
                <c:pt idx="55">
                  <c:v>1104.2699</c:v>
                </c:pt>
                <c:pt idx="56">
                  <c:v>1120.5327</c:v>
                </c:pt>
                <c:pt idx="57">
                  <c:v>1110.7437</c:v>
                </c:pt>
                <c:pt idx="58">
                  <c:v>992.788</c:v>
                </c:pt>
                <c:pt idx="59">
                  <c:v>1022.4838</c:v>
                </c:pt>
                <c:pt idx="60">
                  <c:v>1046.0599</c:v>
                </c:pt>
                <c:pt idx="61">
                  <c:v>1058.6981</c:v>
                </c:pt>
                <c:pt idx="62">
                  <c:v>956.6129</c:v>
                </c:pt>
                <c:pt idx="63">
                  <c:v>1011.0653</c:v>
                </c:pt>
                <c:pt idx="64">
                  <c:v>1048.3754</c:v>
                </c:pt>
                <c:pt idx="65">
                  <c:v>1016.8373</c:v>
                </c:pt>
                <c:pt idx="66">
                  <c:v>1001.0508</c:v>
                </c:pt>
                <c:pt idx="67">
                  <c:v>1043.9714</c:v>
                </c:pt>
                <c:pt idx="68">
                  <c:v>1091.3704</c:v>
                </c:pt>
                <c:pt idx="69">
                  <c:v>1139.8686</c:v>
                </c:pt>
                <c:pt idx="70">
                  <c:v>1099.7289</c:v>
                </c:pt>
                <c:pt idx="71">
                  <c:v>1206.9866</c:v>
                </c:pt>
                <c:pt idx="72">
                  <c:v>1253.8974</c:v>
                </c:pt>
                <c:pt idx="73">
                  <c:v>1215.2426</c:v>
                </c:pt>
                <c:pt idx="74">
                  <c:v>1192.2371</c:v>
                </c:pt>
                <c:pt idx="75">
                  <c:v>1186.2211</c:v>
                </c:pt>
                <c:pt idx="76">
                  <c:v>1168.2342</c:v>
                </c:pt>
                <c:pt idx="77">
                  <c:v>1168.6859</c:v>
                </c:pt>
                <c:pt idx="78">
                  <c:v>1183.2625</c:v>
                </c:pt>
                <c:pt idx="79">
                  <c:v>1212.057</c:v>
                </c:pt>
                <c:pt idx="80">
                  <c:v>1177.0798</c:v>
                </c:pt>
                <c:pt idx="81">
                  <c:v>1156.1684</c:v>
                </c:pt>
                <c:pt idx="82">
                  <c:v>1119.5733</c:v>
                </c:pt>
                <c:pt idx="83">
                  <c:v>1104.6901</c:v>
                </c:pt>
                <c:pt idx="84">
                  <c:v>1113.1522</c:v>
                </c:pt>
                <c:pt idx="85">
                  <c:v>1085.5061</c:v>
                </c:pt>
                <c:pt idx="86">
                  <c:v>1058.1606</c:v>
                </c:pt>
                <c:pt idx="87">
                  <c:v>1085.4924</c:v>
                </c:pt>
                <c:pt idx="88">
                  <c:v>1098.3605</c:v>
                </c:pt>
                <c:pt idx="89">
                  <c:v>1121.5172</c:v>
                </c:pt>
                <c:pt idx="90">
                  <c:v>1229.2971</c:v>
                </c:pt>
                <c:pt idx="91">
                  <c:v>1263.4857</c:v>
                </c:pt>
                <c:pt idx="92">
                  <c:v>1196.7432</c:v>
                </c:pt>
                <c:pt idx="93">
                  <c:v>1254.3951</c:v>
                </c:pt>
                <c:pt idx="94">
                  <c:v>1287.6294</c:v>
                </c:pt>
                <c:pt idx="95">
                  <c:v>1224.9874</c:v>
                </c:pt>
                <c:pt idx="96">
                  <c:v>1154.483</c:v>
                </c:pt>
                <c:pt idx="97">
                  <c:v>1117.7024</c:v>
                </c:pt>
                <c:pt idx="98">
                  <c:v>1115.6561</c:v>
                </c:pt>
                <c:pt idx="99">
                  <c:v>1061.2353</c:v>
                </c:pt>
                <c:pt idx="100">
                  <c:v>1104.7493</c:v>
                </c:pt>
                <c:pt idx="101">
                  <c:v>1121.0211</c:v>
                </c:pt>
                <c:pt idx="102">
                  <c:v>1139.5747</c:v>
                </c:pt>
                <c:pt idx="103">
                  <c:v>1106.7493</c:v>
                </c:pt>
                <c:pt idx="104">
                  <c:v>1145.0222</c:v>
                </c:pt>
              </c:numCache>
            </c:numRef>
          </c:xVal>
          <c:yVal>
            <c:numRef>
              <c:f>Sheet1!$B$2:$B$106</c:f>
              <c:numCache>
                <c:formatCode>General</c:formatCode>
                <c:ptCount val="105"/>
                <c:pt idx="0">
                  <c:v>0.1025097207493814</c:v>
                </c:pt>
                <c:pt idx="1">
                  <c:v>0.09795067731851337</c:v>
                </c:pt>
                <c:pt idx="2">
                  <c:v>0.10740631454706404</c:v>
                </c:pt>
                <c:pt idx="3">
                  <c:v>0.11685761047463175</c:v>
                </c:pt>
                <c:pt idx="4">
                  <c:v>0.0936374549819928</c:v>
                </c:pt>
                <c:pt idx="5">
                  <c:v>0.11172305271439811</c:v>
                </c:pt>
                <c:pt idx="6">
                  <c:v>0.15533088235294118</c:v>
                </c:pt>
                <c:pt idx="7">
                  <c:v>0.15730337078651685</c:v>
                </c:pt>
                <c:pt idx="8">
                  <c:v>0.14759036144578314</c:v>
                </c:pt>
                <c:pt idx="9">
                  <c:v>0.12188365650969529</c:v>
                </c:pt>
                <c:pt idx="10">
                  <c:v>0.14438254410399257</c:v>
                </c:pt>
                <c:pt idx="11">
                  <c:v>0.12729912875121008</c:v>
                </c:pt>
                <c:pt idx="12">
                  <c:v>0.11865189289012004</c:v>
                </c:pt>
                <c:pt idx="13">
                  <c:v>0.09485325393449597</c:v>
                </c:pt>
                <c:pt idx="14">
                  <c:v>0.07726901062959934</c:v>
                </c:pt>
                <c:pt idx="15">
                  <c:v>0.0718954248366013</c:v>
                </c:pt>
                <c:pt idx="16">
                  <c:v>0.06687116564417178</c:v>
                </c:pt>
                <c:pt idx="17">
                  <c:v>0.059293804130579615</c:v>
                </c:pt>
                <c:pt idx="18">
                  <c:v>0.05120481927710843</c:v>
                </c:pt>
                <c:pt idx="19">
                  <c:v>0.04597701149425287</c:v>
                </c:pt>
                <c:pt idx="20">
                  <c:v>0.052598225602027884</c:v>
                </c:pt>
                <c:pt idx="21">
                  <c:v>0.046232876712328765</c:v>
                </c:pt>
                <c:pt idx="22">
                  <c:v>0.05206738131699847</c:v>
                </c:pt>
                <c:pt idx="23">
                  <c:v>0.05451713395638629</c:v>
                </c:pt>
                <c:pt idx="24">
                  <c:v>0.0649895178197065</c:v>
                </c:pt>
                <c:pt idx="25">
                  <c:v>0.07334384858044164</c:v>
                </c:pt>
                <c:pt idx="26">
                  <c:v>0.09619860356865788</c:v>
                </c:pt>
                <c:pt idx="27">
                  <c:v>0.09486999297259312</c:v>
                </c:pt>
                <c:pt idx="28">
                  <c:v>0.12838709677419355</c:v>
                </c:pt>
                <c:pt idx="29">
                  <c:v>0.12202043132803632</c:v>
                </c:pt>
                <c:pt idx="30">
                  <c:v>0.10950080515297907</c:v>
                </c:pt>
                <c:pt idx="31">
                  <c:v>0.12942008486562942</c:v>
                </c:pt>
                <c:pt idx="32">
                  <c:v>0.12931034482758622</c:v>
                </c:pt>
                <c:pt idx="33">
                  <c:v>0.12247909493359567</c:v>
                </c:pt>
                <c:pt idx="34">
                  <c:v>0.12069801260300533</c:v>
                </c:pt>
                <c:pt idx="35">
                  <c:v>0.11032608695652174</c:v>
                </c:pt>
                <c:pt idx="36">
                  <c:v>0.10860927152317881</c:v>
                </c:pt>
                <c:pt idx="37">
                  <c:v>0.09980302035456336</c:v>
                </c:pt>
                <c:pt idx="38">
                  <c:v>0.10219922380336352</c:v>
                </c:pt>
                <c:pt idx="39">
                  <c:v>0.09300911854103343</c:v>
                </c:pt>
                <c:pt idx="40">
                  <c:v>0.095</c:v>
                </c:pt>
                <c:pt idx="41">
                  <c:v>0.08487914558740865</c:v>
                </c:pt>
                <c:pt idx="42">
                  <c:v>0.090989010989011</c:v>
                </c:pt>
                <c:pt idx="43">
                  <c:v>0.09424520433694746</c:v>
                </c:pt>
                <c:pt idx="44">
                  <c:v>0.11255627813906953</c:v>
                </c:pt>
                <c:pt idx="45">
                  <c:v>0.12006737247353225</c:v>
                </c:pt>
                <c:pt idx="46">
                  <c:v>0.1290824261275272</c:v>
                </c:pt>
                <c:pt idx="47">
                  <c:v>0.12630480167014613</c:v>
                </c:pt>
                <c:pt idx="48">
                  <c:v>0.12289876727680239</c:v>
                </c:pt>
                <c:pt idx="49">
                  <c:v>0.12053503571971425</c:v>
                </c:pt>
                <c:pt idx="50">
                  <c:v>0.12048611111111111</c:v>
                </c:pt>
                <c:pt idx="51">
                  <c:v>0.11291600633914421</c:v>
                </c:pt>
                <c:pt idx="52">
                  <c:v>0.11653543307086614</c:v>
                </c:pt>
                <c:pt idx="53">
                  <c:v>0.1067193675889328</c:v>
                </c:pt>
                <c:pt idx="54">
                  <c:v>0.09866666666666667</c:v>
                </c:pt>
                <c:pt idx="55">
                  <c:v>0.09991158267020336</c:v>
                </c:pt>
                <c:pt idx="56">
                  <c:v>0.09449192782526115</c:v>
                </c:pt>
                <c:pt idx="57">
                  <c:v>0.09561615464273386</c:v>
                </c:pt>
                <c:pt idx="58">
                  <c:v>0.1301948051948052</c:v>
                </c:pt>
                <c:pt idx="59">
                  <c:v>0.11767204757858964</c:v>
                </c:pt>
                <c:pt idx="60">
                  <c:v>0.10611246943765282</c:v>
                </c:pt>
                <c:pt idx="61">
                  <c:v>0.13151152860802734</c:v>
                </c:pt>
                <c:pt idx="62">
                  <c:v>0.13186813186813187</c:v>
                </c:pt>
                <c:pt idx="63">
                  <c:v>0.14659300184162063</c:v>
                </c:pt>
                <c:pt idx="64">
                  <c:v>0.12674323215750616</c:v>
                </c:pt>
                <c:pt idx="65">
                  <c:v>0.1257995735607676</c:v>
                </c:pt>
                <c:pt idx="66">
                  <c:v>0.13815789473684212</c:v>
                </c:pt>
                <c:pt idx="67">
                  <c:v>0.12302284710017575</c:v>
                </c:pt>
                <c:pt idx="68">
                  <c:v>0.10653889515219842</c:v>
                </c:pt>
                <c:pt idx="69">
                  <c:v>0.09785714285714285</c:v>
                </c:pt>
                <c:pt idx="70">
                  <c:v>0.10349127182044887</c:v>
                </c:pt>
                <c:pt idx="71">
                  <c:v>0.09887193098871931</c:v>
                </c:pt>
                <c:pt idx="72">
                  <c:v>0.10372340425531915</c:v>
                </c:pt>
                <c:pt idx="73">
                  <c:v>0.10764331210191083</c:v>
                </c:pt>
                <c:pt idx="74">
                  <c:v>0.12629286880783885</c:v>
                </c:pt>
                <c:pt idx="75">
                  <c:v>0.12210796915167095</c:v>
                </c:pt>
                <c:pt idx="76">
                  <c:v>0.11609110947832477</c:v>
                </c:pt>
                <c:pt idx="77">
                  <c:v>0.11247296322999278</c:v>
                </c:pt>
                <c:pt idx="78">
                  <c:v>0.12461059190031153</c:v>
                </c:pt>
                <c:pt idx="79">
                  <c:v>0.1051930758988016</c:v>
                </c:pt>
                <c:pt idx="80">
                  <c:v>0.10611979166666667</c:v>
                </c:pt>
                <c:pt idx="81">
                  <c:v>0.10686164229471316</c:v>
                </c:pt>
                <c:pt idx="82">
                  <c:v>0.11476664116296863</c:v>
                </c:pt>
                <c:pt idx="83">
                  <c:v>0.11813643926788686</c:v>
                </c:pt>
                <c:pt idx="84">
                  <c:v>0.11774744027303755</c:v>
                </c:pt>
                <c:pt idx="85">
                  <c:v>0.11962071480671042</c:v>
                </c:pt>
                <c:pt idx="86">
                  <c:v>0.1462984723854289</c:v>
                </c:pt>
                <c:pt idx="87">
                  <c:v>0.12492073557387444</c:v>
                </c:pt>
                <c:pt idx="88">
                  <c:v>0.11864406779661017</c:v>
                </c:pt>
                <c:pt idx="89">
                  <c:v>0.13864541832669322</c:v>
                </c:pt>
                <c:pt idx="90">
                  <c:v>0.10558530986993114</c:v>
                </c:pt>
                <c:pt idx="91">
                  <c:v>0.10542168674698796</c:v>
                </c:pt>
                <c:pt idx="92">
                  <c:v>0.11359404096834265</c:v>
                </c:pt>
                <c:pt idx="93">
                  <c:v>0.11446119486320491</c:v>
                </c:pt>
                <c:pt idx="94">
                  <c:v>0.10745891276864729</c:v>
                </c:pt>
                <c:pt idx="95">
                  <c:v>0.10942528735632184</c:v>
                </c:pt>
                <c:pt idx="96">
                  <c:v>0.10788732394366198</c:v>
                </c:pt>
                <c:pt idx="97">
                  <c:v>0.11424606845513413</c:v>
                </c:pt>
                <c:pt idx="98">
                  <c:v>0.11062861869313483</c:v>
                </c:pt>
                <c:pt idx="99">
                  <c:v>0.1178343949044586</c:v>
                </c:pt>
                <c:pt idx="100">
                  <c:v>0.11742025937609533</c:v>
                </c:pt>
                <c:pt idx="101">
                  <c:v>0.10881424059718633</c:v>
                </c:pt>
                <c:pt idx="102">
                  <c:v>0.11386321626617375</c:v>
                </c:pt>
                <c:pt idx="103">
                  <c:v>0.11697722567287784</c:v>
                </c:pt>
                <c:pt idx="104">
                  <c:v>0.1097560975609756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5094</c:v>
                </c:pt>
                <c:pt idx="1">
                  <c:v>1201.4251</c:v>
                </c:pt>
                <c:pt idx="2">
                  <c:v>1174.1517</c:v>
                </c:pt>
                <c:pt idx="3">
                  <c:v>1103.8253</c:v>
                </c:pt>
                <c:pt idx="4">
                  <c:v>1192.0571</c:v>
                </c:pt>
                <c:pt idx="5">
                  <c:v>1169.8874</c:v>
                </c:pt>
                <c:pt idx="6">
                  <c:v>1049.3712</c:v>
                </c:pt>
                <c:pt idx="7">
                  <c:v>1036.0305</c:v>
                </c:pt>
                <c:pt idx="8">
                  <c:v>1121.6573</c:v>
                </c:pt>
                <c:pt idx="9">
                  <c:v>1074.0741</c:v>
                </c:pt>
                <c:pt idx="10">
                  <c:v>1087.712</c:v>
                </c:pt>
                <c:pt idx="11">
                  <c:v>972.4811</c:v>
                </c:pt>
                <c:pt idx="12">
                  <c:v>1029.1511</c:v>
                </c:pt>
                <c:pt idx="13">
                  <c:v>1091.0358</c:v>
                </c:pt>
                <c:pt idx="14">
                  <c:v>1073.7891</c:v>
                </c:pt>
                <c:pt idx="15">
                  <c:v>1114.5781</c:v>
                </c:pt>
                <c:pt idx="16">
                  <c:v>1124.9526</c:v>
                </c:pt>
                <c:pt idx="17">
                  <c:v>1082.589</c:v>
                </c:pt>
                <c:pt idx="18">
                  <c:v>1159.6813</c:v>
                </c:pt>
                <c:pt idx="19">
                  <c:v>1309.2922</c:v>
                </c:pt>
                <c:pt idx="20">
                  <c:v>1365.7571</c:v>
                </c:pt>
                <c:pt idx="21">
                  <c:v>1285.4272</c:v>
                </c:pt>
                <c:pt idx="22">
                  <c:v>1236.4867</c:v>
                </c:pt>
                <c:pt idx="23">
                  <c:v>1246.1495</c:v>
                </c:pt>
                <c:pt idx="24">
                  <c:v>1200.6525</c:v>
                </c:pt>
                <c:pt idx="25">
                  <c:v>1167.879</c:v>
                </c:pt>
                <c:pt idx="26">
                  <c:v>1172.2266</c:v>
                </c:pt>
                <c:pt idx="27">
                  <c:v>1150.027</c:v>
                </c:pt>
                <c:pt idx="28">
                  <c:v>1169.1822</c:v>
                </c:pt>
                <c:pt idx="29">
                  <c:v>1170.8721</c:v>
                </c:pt>
                <c:pt idx="30">
                  <c:v>1176.2749</c:v>
                </c:pt>
                <c:pt idx="31">
                  <c:v>1209.6488</c:v>
                </c:pt>
                <c:pt idx="32">
                  <c:v>1204.0777</c:v>
                </c:pt>
                <c:pt idx="33">
                  <c:v>1171.6023</c:v>
                </c:pt>
                <c:pt idx="34">
                  <c:v>1176.1516</c:v>
                </c:pt>
                <c:pt idx="35">
                  <c:v>1221.6984</c:v>
                </c:pt>
                <c:pt idx="36">
                  <c:v>1349.1185</c:v>
                </c:pt>
                <c:pt idx="37">
                  <c:v>1347.3514</c:v>
                </c:pt>
                <c:pt idx="38">
                  <c:v>1349.0993</c:v>
                </c:pt>
                <c:pt idx="39">
                  <c:v>1272.0585</c:v>
                </c:pt>
                <c:pt idx="40">
                  <c:v>1286.1429</c:v>
                </c:pt>
                <c:pt idx="41">
                  <c:v>1334.2961</c:v>
                </c:pt>
                <c:pt idx="42">
                  <c:v>1355.5159</c:v>
                </c:pt>
                <c:pt idx="43">
                  <c:v>1360.7875</c:v>
                </c:pt>
                <c:pt idx="44">
                  <c:v>1249.9116</c:v>
                </c:pt>
                <c:pt idx="45">
                  <c:v>1185.78</c:v>
                </c:pt>
                <c:pt idx="46">
                  <c:v>1157.1193</c:v>
                </c:pt>
                <c:pt idx="47">
                  <c:v>1151.2165</c:v>
                </c:pt>
                <c:pt idx="48">
                  <c:v>1166.3939</c:v>
                </c:pt>
                <c:pt idx="49">
                  <c:v>1182.1122</c:v>
                </c:pt>
                <c:pt idx="50">
                  <c:v>1139.7798</c:v>
                </c:pt>
                <c:pt idx="51">
                  <c:v>1125.8886</c:v>
                </c:pt>
              </c:numCache>
            </c:numRef>
          </c:xVal>
          <c:yVal>
            <c:numRef>
              <c:f>Sheet1!$B$109:$B$160</c:f>
              <c:numCache>
                <c:formatCode>General</c:formatCode>
                <c:ptCount val="52"/>
                <c:pt idx="0">
                  <c:v>0.10882956878850103</c:v>
                </c:pt>
                <c:pt idx="1">
                  <c:v>0.1174785100286533</c:v>
                </c:pt>
                <c:pt idx="2">
                  <c:v>0.12750716332378223</c:v>
                </c:pt>
                <c:pt idx="3">
                  <c:v>0.14705882352941177</c:v>
                </c:pt>
                <c:pt idx="4">
                  <c:v>0.11594707520891365</c:v>
                </c:pt>
                <c:pt idx="5">
                  <c:v>0.13800578034682082</c:v>
                </c:pt>
                <c:pt idx="6">
                  <c:v>0.16731952993844432</c:v>
                </c:pt>
                <c:pt idx="7">
                  <c:v>0.17088607594936708</c:v>
                </c:pt>
                <c:pt idx="8">
                  <c:v>0.14528412419449327</c:v>
                </c:pt>
                <c:pt idx="9">
                  <c:v>0.15664556962025317</c:v>
                </c:pt>
                <c:pt idx="10">
                  <c:v>0.15807903951975988</c:v>
                </c:pt>
                <c:pt idx="11">
                  <c:v>0.14896810506566605</c:v>
                </c:pt>
                <c:pt idx="12">
                  <c:v>0.13872255489021956</c:v>
                </c:pt>
                <c:pt idx="13">
                  <c:v>0.1466106148187073</c:v>
                </c:pt>
                <c:pt idx="14">
                  <c:v>0.1413583655438984</c:v>
                </c:pt>
                <c:pt idx="15">
                  <c:v>0.1406528189910979</c:v>
                </c:pt>
                <c:pt idx="16">
                  <c:v>0.14622314622314622</c:v>
                </c:pt>
                <c:pt idx="17">
                  <c:v>0.15271966527196654</c:v>
                </c:pt>
                <c:pt idx="18">
                  <c:v>0.13511507052709726</c:v>
                </c:pt>
                <c:pt idx="19">
                  <c:v>0.12164296998420221</c:v>
                </c:pt>
                <c:pt idx="20">
                  <c:v>0.11272141706924316</c:v>
                </c:pt>
                <c:pt idx="21">
                  <c:v>0.11099137931034483</c:v>
                </c:pt>
                <c:pt idx="22">
                  <c:v>0.12176724137931035</c:v>
                </c:pt>
                <c:pt idx="23">
                  <c:v>0.11668484187568157</c:v>
                </c:pt>
                <c:pt idx="24">
                  <c:v>0.12401055408970976</c:v>
                </c:pt>
                <c:pt idx="25">
                  <c:v>0.11934552454282965</c:v>
                </c:pt>
                <c:pt idx="26">
                  <c:v>0.1158371040723982</c:v>
                </c:pt>
                <c:pt idx="27">
                  <c:v>0.12946116165150454</c:v>
                </c:pt>
                <c:pt idx="28">
                  <c:v>0.13282172373081463</c:v>
                </c:pt>
                <c:pt idx="29">
                  <c:v>0.12527312454479242</c:v>
                </c:pt>
                <c:pt idx="30">
                  <c:v>0.12629246676514033</c:v>
                </c:pt>
                <c:pt idx="31">
                  <c:v>0.1206896551724138</c:v>
                </c:pt>
                <c:pt idx="32">
                  <c:v>0.11840490797546012</c:v>
                </c:pt>
                <c:pt idx="33">
                  <c:v>0.1368584758942457</c:v>
                </c:pt>
                <c:pt idx="34">
                  <c:v>0.1382925611582626</c:v>
                </c:pt>
                <c:pt idx="35">
                  <c:v>0.13685734974656047</c:v>
                </c:pt>
                <c:pt idx="36">
                  <c:v>0.12195121951219512</c:v>
                </c:pt>
                <c:pt idx="37">
                  <c:v>0.11906677393403058</c:v>
                </c:pt>
                <c:pt idx="38">
                  <c:v>0.11307137129109864</c:v>
                </c:pt>
                <c:pt idx="39">
                  <c:v>0.12136862491930278</c:v>
                </c:pt>
                <c:pt idx="40">
                  <c:v>0.11336032388663968</c:v>
                </c:pt>
                <c:pt idx="41">
                  <c:v>0.12988650693568726</c:v>
                </c:pt>
                <c:pt idx="42">
                  <c:v>0.11831198191409194</c:v>
                </c:pt>
                <c:pt idx="43">
                  <c:v>0.11782032400589101</c:v>
                </c:pt>
                <c:pt idx="44">
                  <c:v>0.1072992700729927</c:v>
                </c:pt>
                <c:pt idx="45">
                  <c:v>0.12558139534883722</c:v>
                </c:pt>
                <c:pt idx="46">
                  <c:v>0.15460992907801419</c:v>
                </c:pt>
                <c:pt idx="47">
                  <c:v>0.15114709851551958</c:v>
                </c:pt>
                <c:pt idx="48">
                  <c:v>0.1506849315068493</c:v>
                </c:pt>
                <c:pt idx="49">
                  <c:v>0.15327342747111683</c:v>
                </c:pt>
                <c:pt idx="50">
                  <c:v>0.14906962157641648</c:v>
                </c:pt>
                <c:pt idx="51">
                  <c:v>0.135830495648883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1.7670916012223</c:v>
                </c:pt>
              </c:numCache>
            </c:numRef>
          </c:xVal>
          <c:yVal>
            <c:numRef>
              <c:f>Sheet1!$B$163:$B$164</c:f>
              <c:numCache>
                <c:formatCode>General</c:formatCode>
                <c:ptCount val="2"/>
                <c:pt idx="0">
                  <c:v>0.14721461905081662</c:v>
                </c:pt>
                <c:pt idx="1">
                  <c:v>0.1472146190508166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1.7670916012223</c:v>
                </c:pt>
                <c:pt idx="1">
                  <c:v>1071.7670916012223</c:v>
                </c:pt>
              </c:numCache>
            </c:numRef>
          </c:xVal>
          <c:yVal>
            <c:numRef>
              <c:f>Sheet1!$B$167:$B$168</c:f>
              <c:numCache>
                <c:formatCode>General</c:formatCode>
                <c:ptCount val="2"/>
                <c:pt idx="0">
                  <c:v>0.1472146190508166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1.7670916012223</c:v>
                </c:pt>
              </c:numCache>
            </c:numRef>
          </c:xVal>
          <c:yVal>
            <c:numRef>
              <c:f>Sheet1!$B$171:$B$172</c:f>
              <c:numCache>
                <c:formatCode>General</c:formatCode>
                <c:ptCount val="2"/>
                <c:pt idx="0">
                  <c:v>0.14721461905081662</c:v>
                </c:pt>
                <c:pt idx="1">
                  <c:v>0.147214619050816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1.7670916012223</c:v>
                </c:pt>
                <c:pt idx="1">
                  <c:v>1071.7670916012223</c:v>
                </c:pt>
              </c:numCache>
            </c:numRef>
          </c:xVal>
          <c:yVal>
            <c:numRef>
              <c:f>Sheet1!$B$175:$B$176</c:f>
              <c:numCache>
                <c:formatCode>General</c:formatCode>
                <c:ptCount val="2"/>
                <c:pt idx="0">
                  <c:v>0.147214619050816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3.7252711808276</c:v>
                </c:pt>
              </c:numCache>
            </c:numRef>
          </c:xVal>
          <c:yVal>
            <c:numRef>
              <c:f>Sheet1!$B$179:$B$180</c:f>
              <c:numCache>
                <c:formatCode>General</c:formatCode>
                <c:ptCount val="2"/>
                <c:pt idx="0">
                  <c:v>0.13294184083694177</c:v>
                </c:pt>
                <c:pt idx="1">
                  <c:v>0.1329418408369417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3.7252711808276</c:v>
                </c:pt>
                <c:pt idx="1">
                  <c:v>1183.7252711808276</c:v>
                </c:pt>
              </c:numCache>
            </c:numRef>
          </c:xVal>
          <c:yVal>
            <c:numRef>
              <c:f>Sheet1!$B$183:$B$184</c:f>
              <c:numCache>
                <c:formatCode>General</c:formatCode>
                <c:ptCount val="2"/>
                <c:pt idx="0">
                  <c:v>0.132941840836941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5094</c:v>
                </c:pt>
                <c:pt idx="1">
                  <c:v>1201.4251</c:v>
                </c:pt>
                <c:pt idx="2">
                  <c:v>1174.1517</c:v>
                </c:pt>
                <c:pt idx="3">
                  <c:v>1103.8253</c:v>
                </c:pt>
                <c:pt idx="4">
                  <c:v>1192.0571</c:v>
                </c:pt>
                <c:pt idx="5">
                  <c:v>1169.8874</c:v>
                </c:pt>
                <c:pt idx="6">
                  <c:v>1049.3712</c:v>
                </c:pt>
                <c:pt idx="7">
                  <c:v>1036.0305</c:v>
                </c:pt>
                <c:pt idx="8">
                  <c:v>1121.6573</c:v>
                </c:pt>
                <c:pt idx="9">
                  <c:v>1074.0741</c:v>
                </c:pt>
                <c:pt idx="10">
                  <c:v>1087.712</c:v>
                </c:pt>
                <c:pt idx="11">
                  <c:v>972.4811</c:v>
                </c:pt>
                <c:pt idx="12">
                  <c:v>1029.1511</c:v>
                </c:pt>
                <c:pt idx="13">
                  <c:v>1091.0358</c:v>
                </c:pt>
                <c:pt idx="14">
                  <c:v>1073.7891</c:v>
                </c:pt>
                <c:pt idx="15">
                  <c:v>1114.5781</c:v>
                </c:pt>
                <c:pt idx="16">
                  <c:v>1124.9526</c:v>
                </c:pt>
                <c:pt idx="17">
                  <c:v>1082.589</c:v>
                </c:pt>
                <c:pt idx="18">
                  <c:v>1159.6813</c:v>
                </c:pt>
                <c:pt idx="19">
                  <c:v>1309.2922</c:v>
                </c:pt>
                <c:pt idx="20">
                  <c:v>1365.7571</c:v>
                </c:pt>
                <c:pt idx="21">
                  <c:v>1285.4272</c:v>
                </c:pt>
                <c:pt idx="22">
                  <c:v>1236.4867</c:v>
                </c:pt>
                <c:pt idx="23">
                  <c:v>1246.1495</c:v>
                </c:pt>
                <c:pt idx="24">
                  <c:v>1200.6525</c:v>
                </c:pt>
                <c:pt idx="25">
                  <c:v>1167.879</c:v>
                </c:pt>
                <c:pt idx="26">
                  <c:v>1172.2266</c:v>
                </c:pt>
                <c:pt idx="27">
                  <c:v>1150.027</c:v>
                </c:pt>
                <c:pt idx="28">
                  <c:v>1169.1822</c:v>
                </c:pt>
                <c:pt idx="29">
                  <c:v>1170.8721</c:v>
                </c:pt>
                <c:pt idx="30">
                  <c:v>1176.2749</c:v>
                </c:pt>
                <c:pt idx="31">
                  <c:v>1209.6488</c:v>
                </c:pt>
                <c:pt idx="32">
                  <c:v>1204.0777</c:v>
                </c:pt>
                <c:pt idx="33">
                  <c:v>1171.6023</c:v>
                </c:pt>
                <c:pt idx="34">
                  <c:v>1176.1516</c:v>
                </c:pt>
                <c:pt idx="35">
                  <c:v>1221.6984</c:v>
                </c:pt>
                <c:pt idx="36">
                  <c:v>1349.1185</c:v>
                </c:pt>
                <c:pt idx="37">
                  <c:v>1347.3514</c:v>
                </c:pt>
                <c:pt idx="38">
                  <c:v>1349.0993</c:v>
                </c:pt>
                <c:pt idx="39">
                  <c:v>1272.0585</c:v>
                </c:pt>
                <c:pt idx="40">
                  <c:v>1286.1429</c:v>
                </c:pt>
                <c:pt idx="41">
                  <c:v>1334.2961</c:v>
                </c:pt>
                <c:pt idx="42">
                  <c:v>1355.5159</c:v>
                </c:pt>
                <c:pt idx="43">
                  <c:v>1360.7875</c:v>
                </c:pt>
                <c:pt idx="44">
                  <c:v>1249.9116</c:v>
                </c:pt>
                <c:pt idx="45">
                  <c:v>1185.78</c:v>
                </c:pt>
                <c:pt idx="46">
                  <c:v>1157.1193</c:v>
                </c:pt>
                <c:pt idx="47">
                  <c:v>1151.2165</c:v>
                </c:pt>
                <c:pt idx="48">
                  <c:v>1166.3939</c:v>
                </c:pt>
                <c:pt idx="49">
                  <c:v>1182.1122</c:v>
                </c:pt>
                <c:pt idx="50">
                  <c:v>1139.7798</c:v>
                </c:pt>
                <c:pt idx="51">
                  <c:v>1125.8886</c:v>
                </c:pt>
                <c:pt idx="52">
                  <c:v>1071.7670916012223</c:v>
                </c:pt>
                <c:pt idx="53">
                  <c:v>1071.7670916012223</c:v>
                </c:pt>
                <c:pt idx="54">
                  <c:v>1183.7252711808276</c:v>
                </c:pt>
              </c:numCache>
            </c:numRef>
          </c:xVal>
          <c:yVal>
            <c:numRef>
              <c:f>Sheet1!$B$187:$B$241</c:f>
              <c:numCache>
                <c:formatCode>General</c:formatCode>
                <c:ptCount val="55"/>
                <c:pt idx="0">
                  <c:v>0.1308021477028745</c:v>
                </c:pt>
                <c:pt idx="1">
                  <c:v>0.1306854114084874</c:v>
                </c:pt>
                <c:pt idx="2">
                  <c:v>0.13416230957528474</c:v>
                </c:pt>
                <c:pt idx="3">
                  <c:v>0.14312773857340946</c:v>
                </c:pt>
                <c:pt idx="4">
                  <c:v>0.13187967329100142</c:v>
                </c:pt>
                <c:pt idx="5">
                  <c:v>0.13470593585043464</c:v>
                </c:pt>
                <c:pt idx="6">
                  <c:v>0.15006971722163803</c:v>
                </c:pt>
                <c:pt idx="7">
                  <c:v>0.15177043130106316</c:v>
                </c:pt>
                <c:pt idx="8">
                  <c:v>0.14085445955024659</c:v>
                </c:pt>
                <c:pt idx="9">
                  <c:v>0.14692051441873932</c:v>
                </c:pt>
                <c:pt idx="10">
                  <c:v>0.14518191235559486</c:v>
                </c:pt>
                <c:pt idx="11">
                  <c:v>0.1598719071845639</c:v>
                </c:pt>
                <c:pt idx="12">
                  <c:v>0.15264743868733202</c:v>
                </c:pt>
                <c:pt idx="13">
                  <c:v>0.14475818395624598</c:v>
                </c:pt>
                <c:pt idx="14">
                  <c:v>0.14695684710837603</c:v>
                </c:pt>
                <c:pt idx="15">
                  <c:v>0.14175693806419762</c:v>
                </c:pt>
                <c:pt idx="16">
                  <c:v>0.1404343644198614</c:v>
                </c:pt>
                <c:pt idx="17">
                  <c:v>0.1458350083872045</c:v>
                </c:pt>
                <c:pt idx="18">
                  <c:v>0.1360070413371048</c:v>
                </c:pt>
                <c:pt idx="19">
                  <c:v>0.11693417678985743</c:v>
                </c:pt>
                <c:pt idx="20">
                  <c:v>0.10973585508085182</c:v>
                </c:pt>
                <c:pt idx="21">
                  <c:v>0.11997656148522426</c:v>
                </c:pt>
                <c:pt idx="22">
                  <c:v>0.12621564919457273</c:v>
                </c:pt>
                <c:pt idx="23">
                  <c:v>0.12498380528783101</c:v>
                </c:pt>
                <c:pt idx="24">
                  <c:v>0.13078390486818323</c:v>
                </c:pt>
                <c:pt idx="25">
                  <c:v>0.13496197295172</c:v>
                </c:pt>
                <c:pt idx="26">
                  <c:v>0.13440772733254644</c:v>
                </c:pt>
                <c:pt idx="27">
                  <c:v>0.13723780163731347</c:v>
                </c:pt>
                <c:pt idx="28">
                  <c:v>0.1347958369477392</c:v>
                </c:pt>
                <c:pt idx="29">
                  <c:v>0.13458040322066184</c:v>
                </c:pt>
                <c:pt idx="30">
                  <c:v>0.1338916374116475</c:v>
                </c:pt>
                <c:pt idx="31">
                  <c:v>0.12963702846194275</c:v>
                </c:pt>
                <c:pt idx="32">
                  <c:v>0.130347249680311</c:v>
                </c:pt>
                <c:pt idx="33">
                  <c:v>0.134487315045319</c:v>
                </c:pt>
                <c:pt idx="34">
                  <c:v>0.13390735608053242</c:v>
                </c:pt>
                <c:pt idx="35">
                  <c:v>0.12810090784072792</c:v>
                </c:pt>
                <c:pt idx="36">
                  <c:v>0.1118569957467781</c:v>
                </c:pt>
                <c:pt idx="37">
                  <c:v>0.11208227117083772</c:v>
                </c:pt>
                <c:pt idx="38">
                  <c:v>0.11185944342271151</c:v>
                </c:pt>
                <c:pt idx="39">
                  <c:v>0.12168084509205226</c:v>
                </c:pt>
                <c:pt idx="40">
                  <c:v>0.11988532181514364</c:v>
                </c:pt>
                <c:pt idx="41">
                  <c:v>0.11374660156737754</c:v>
                </c:pt>
                <c:pt idx="42">
                  <c:v>0.11104143522508775</c:v>
                </c:pt>
                <c:pt idx="43">
                  <c:v>0.11036939520161843</c:v>
                </c:pt>
                <c:pt idx="44">
                  <c:v>0.1245042010363146</c:v>
                </c:pt>
                <c:pt idx="45">
                  <c:v>0.13267989759317142</c:v>
                </c:pt>
                <c:pt idx="46">
                  <c:v>0.1363336530944704</c:v>
                </c:pt>
                <c:pt idx="47">
                  <c:v>0.1370861604642509</c:v>
                </c:pt>
                <c:pt idx="48">
                  <c:v>0.1351512981355075</c:v>
                </c:pt>
                <c:pt idx="49">
                  <c:v>0.13314748018632735</c:v>
                </c:pt>
                <c:pt idx="50">
                  <c:v>0.13854414668027862</c:v>
                </c:pt>
                <c:pt idx="51">
                  <c:v>0.14031504021810723</c:v>
                </c:pt>
                <c:pt idx="52">
                  <c:v>0.14721461905081662</c:v>
                </c:pt>
                <c:pt idx="53">
                  <c:v>0.14721461905081662</c:v>
                </c:pt>
                <c:pt idx="54">
                  <c:v>0.132941840836941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9.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050632911392405"/>
          <c:min val="0.03678160919540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495917553552416</c:v>
                </c:pt>
                <c:pt idx="1">
                  <c:v>0.4179867921863018</c:v>
                </c:pt>
                <c:pt idx="2">
                  <c:v>0.45806583187552263</c:v>
                </c:pt>
                <c:pt idx="3">
                  <c:v>0.4683912976033789</c:v>
                </c:pt>
                <c:pt idx="4">
                  <c:v>0.5108591224178791</c:v>
                </c:pt>
                <c:pt idx="5">
                  <c:v>0.4718564207570671</c:v>
                </c:pt>
                <c:pt idx="6">
                  <c:v>0.4256873737347642</c:v>
                </c:pt>
                <c:pt idx="7">
                  <c:v>0.3855656241250841</c:v>
                </c:pt>
                <c:pt idx="8">
                  <c:v>0.4096774607221547</c:v>
                </c:pt>
                <c:pt idx="9">
                  <c:v>0.3960003472377605</c:v>
                </c:pt>
                <c:pt idx="10">
                  <c:v>0.4206861727732421</c:v>
                </c:pt>
                <c:pt idx="11">
                  <c:v>0.43720541597710477</c:v>
                </c:pt>
                <c:pt idx="12">
                  <c:v>0.40930270133136676</c:v>
                </c:pt>
                <c:pt idx="13">
                  <c:v>0.42036558747467717</c:v>
                </c:pt>
                <c:pt idx="14">
                  <c:v>0.342215198234186</c:v>
                </c:pt>
                <c:pt idx="15">
                  <c:v>0.33428909100251786</c:v>
                </c:pt>
                <c:pt idx="16">
                  <c:v>0.33614459807266733</c:v>
                </c:pt>
                <c:pt idx="17">
                  <c:v>0.3731772521737615</c:v>
                </c:pt>
                <c:pt idx="18">
                  <c:v>0.3252042482946861</c:v>
                </c:pt>
                <c:pt idx="19">
                  <c:v>0.3807780541714862</c:v>
                </c:pt>
                <c:pt idx="20">
                  <c:v>0.39441826444538475</c:v>
                </c:pt>
                <c:pt idx="21">
                  <c:v>0.37752484096464856</c:v>
                </c:pt>
                <c:pt idx="22">
                  <c:v>0.35157267981596013</c:v>
                </c:pt>
                <c:pt idx="23">
                  <c:v>0.3410829619449821</c:v>
                </c:pt>
                <c:pt idx="24">
                  <c:v>0.31301201286221264</c:v>
                </c:pt>
                <c:pt idx="25">
                  <c:v>0.31330053855414053</c:v>
                </c:pt>
                <c:pt idx="26">
                  <c:v>0.2996679589812267</c:v>
                </c:pt>
                <c:pt idx="27">
                  <c:v>0.2658821613501608</c:v>
                </c:pt>
                <c:pt idx="28">
                  <c:v>0.33220257216445814</c:v>
                </c:pt>
                <c:pt idx="29">
                  <c:v>0.2683361996432917</c:v>
                </c:pt>
                <c:pt idx="30">
                  <c:v>0.24531874320381533</c:v>
                </c:pt>
                <c:pt idx="31">
                  <c:v>0.3115725859808322</c:v>
                </c:pt>
                <c:pt idx="32">
                  <c:v>0.33132632345979796</c:v>
                </c:pt>
                <c:pt idx="33">
                  <c:v>0.3165300988748711</c:v>
                </c:pt>
                <c:pt idx="34">
                  <c:v>0.3366966176053813</c:v>
                </c:pt>
                <c:pt idx="35">
                  <c:v>0.3079731656228692</c:v>
                </c:pt>
                <c:pt idx="36">
                  <c:v>0.27970364508762513</c:v>
                </c:pt>
                <c:pt idx="37">
                  <c:v>0.398519543058161</c:v>
                </c:pt>
                <c:pt idx="38">
                  <c:v>0.39463859611192187</c:v>
                </c:pt>
                <c:pt idx="39">
                  <c:v>0.3912921867141846</c:v>
                </c:pt>
                <c:pt idx="40">
                  <c:v>0.4055017392442436</c:v>
                </c:pt>
                <c:pt idx="41">
                  <c:v>0.42914291035419805</c:v>
                </c:pt>
                <c:pt idx="42">
                  <c:v>0.4166569012329443</c:v>
                </c:pt>
                <c:pt idx="43">
                  <c:v>0.4553241053356028</c:v>
                </c:pt>
                <c:pt idx="44">
                  <c:v>0.4099823494921571</c:v>
                </c:pt>
                <c:pt idx="45">
                  <c:v>0.44851994728316075</c:v>
                </c:pt>
                <c:pt idx="46">
                  <c:v>0.46966057931790883</c:v>
                </c:pt>
                <c:pt idx="47">
                  <c:v>0.4721242351669954</c:v>
                </c:pt>
                <c:pt idx="48">
                  <c:v>0.4602213522134744</c:v>
                </c:pt>
                <c:pt idx="49">
                  <c:v>0.36661075804600585</c:v>
                </c:pt>
                <c:pt idx="50">
                  <c:v>0.2599035327350984</c:v>
                </c:pt>
                <c:pt idx="51">
                  <c:v>0.25553745256558325</c:v>
                </c:pt>
                <c:pt idx="52">
                  <c:v>0.23766488949016465</c:v>
                </c:pt>
                <c:pt idx="53">
                  <c:v>0.22130554446790623</c:v>
                </c:pt>
                <c:pt idx="54">
                  <c:v>0.19230936777133295</c:v>
                </c:pt>
                <c:pt idx="55">
                  <c:v>0.23029383376108106</c:v>
                </c:pt>
                <c:pt idx="56">
                  <c:v>0.2932881535586886</c:v>
                </c:pt>
                <c:pt idx="57">
                  <c:v>0.5250631677098595</c:v>
                </c:pt>
                <c:pt idx="58">
                  <c:v>0.3691823250473365</c:v>
                </c:pt>
                <c:pt idx="59">
                  <c:v>0.33343153506581136</c:v>
                </c:pt>
                <c:pt idx="60">
                  <c:v>0.31972998451504436</c:v>
                </c:pt>
                <c:pt idx="61">
                  <c:v>0.2764760791417334</c:v>
                </c:pt>
                <c:pt idx="62">
                  <c:v>0.4169160597124886</c:v>
                </c:pt>
                <c:pt idx="63">
                  <c:v>0.37979435927205063</c:v>
                </c:pt>
                <c:pt idx="64">
                  <c:v>0.3826228932797487</c:v>
                </c:pt>
                <c:pt idx="65">
                  <c:v>0.3361561460482767</c:v>
                </c:pt>
                <c:pt idx="66">
                  <c:v>0.37543396438126064</c:v>
                </c:pt>
                <c:pt idx="67">
                  <c:v>0.4692179640256049</c:v>
                </c:pt>
                <c:pt idx="68">
                  <c:v>0.43470847449341254</c:v>
                </c:pt>
                <c:pt idx="69">
                  <c:v>0.3977256532977427</c:v>
                </c:pt>
                <c:pt idx="70">
                  <c:v>0.41048010672987634</c:v>
                </c:pt>
                <c:pt idx="71">
                  <c:v>0.38921364491610566</c:v>
                </c:pt>
                <c:pt idx="72">
                  <c:v>0.37283164591758405</c:v>
                </c:pt>
                <c:pt idx="73">
                  <c:v>0.38052639737744826</c:v>
                </c:pt>
                <c:pt idx="74">
                  <c:v>0.3483492194878032</c:v>
                </c:pt>
                <c:pt idx="75">
                  <c:v>0.33304573555522854</c:v>
                </c:pt>
                <c:pt idx="76">
                  <c:v>0.3591853843392367</c:v>
                </c:pt>
                <c:pt idx="77">
                  <c:v>0.3507328059572402</c:v>
                </c:pt>
                <c:pt idx="78">
                  <c:v>0.36650591745430083</c:v>
                </c:pt>
                <c:pt idx="79">
                  <c:v>0.3633758781297038</c:v>
                </c:pt>
                <c:pt idx="80">
                  <c:v>0.34574755438540367</c:v>
                </c:pt>
                <c:pt idx="81">
                  <c:v>0.4091978135421295</c:v>
                </c:pt>
                <c:pt idx="82">
                  <c:v>0.43094525988563953</c:v>
                </c:pt>
                <c:pt idx="83">
                  <c:v>0.3561636283975562</c:v>
                </c:pt>
                <c:pt idx="84">
                  <c:v>0.3200434540978952</c:v>
                </c:pt>
                <c:pt idx="85">
                  <c:v>0.3102050019420922</c:v>
                </c:pt>
                <c:pt idx="86">
                  <c:v>0.29964445357705743</c:v>
                </c:pt>
                <c:pt idx="87">
                  <c:v>0.2808848800622484</c:v>
                </c:pt>
                <c:pt idx="88">
                  <c:v>0.2604411841474064</c:v>
                </c:pt>
                <c:pt idx="89">
                  <c:v>0.2588122537866195</c:v>
                </c:pt>
                <c:pt idx="90">
                  <c:v>0.2865712700614732</c:v>
                </c:pt>
                <c:pt idx="91">
                  <c:v>0.2942894003958538</c:v>
                </c:pt>
                <c:pt idx="92">
                  <c:v>0.2793785081760645</c:v>
                </c:pt>
                <c:pt idx="93">
                  <c:v>0.3017778583119856</c:v>
                </c:pt>
                <c:pt idx="94">
                  <c:v>0.3206380500305775</c:v>
                </c:pt>
                <c:pt idx="95">
                  <c:v>0.4177700644946872</c:v>
                </c:pt>
                <c:pt idx="96">
                  <c:v>0.3778185019565</c:v>
                </c:pt>
                <c:pt idx="97">
                  <c:v>0.3595726687051077</c:v>
                </c:pt>
                <c:pt idx="98">
                  <c:v>0.3992582837621079</c:v>
                </c:pt>
                <c:pt idx="99">
                  <c:v>0.41909109516002263</c:v>
                </c:pt>
                <c:pt idx="100">
                  <c:v>0.3913859167637825</c:v>
                </c:pt>
                <c:pt idx="101">
                  <c:v>0.36570211258204255</c:v>
                </c:pt>
                <c:pt idx="102">
                  <c:v>0.3741508780097082</c:v>
                </c:pt>
                <c:pt idx="103">
                  <c:v>0.34366792773376353</c:v>
                </c:pt>
                <c:pt idx="104">
                  <c:v>0.3348997787639084</c:v>
                </c:pt>
              </c:numCache>
            </c:numRef>
          </c:xVal>
          <c:yVal>
            <c:numRef>
              <c:f>Sheet1!$B$2:$B$106</c:f>
              <c:numCache>
                <c:formatCode>General</c:formatCode>
                <c:ptCount val="105"/>
                <c:pt idx="0">
                  <c:v>0.19794980558501238</c:v>
                </c:pt>
                <c:pt idx="1">
                  <c:v>0.18756512678013199</c:v>
                </c:pt>
                <c:pt idx="2">
                  <c:v>0.1481262909412806</c:v>
                </c:pt>
                <c:pt idx="3">
                  <c:v>0.1518821603927987</c:v>
                </c:pt>
                <c:pt idx="4">
                  <c:v>0.13005202080832334</c:v>
                </c:pt>
                <c:pt idx="5">
                  <c:v>0.11329661683713611</c:v>
                </c:pt>
                <c:pt idx="6">
                  <c:v>0.13740808823529413</c:v>
                </c:pt>
                <c:pt idx="7">
                  <c:v>0.12734082397003746</c:v>
                </c:pt>
                <c:pt idx="8">
                  <c:v>0.15060240963855423</c:v>
                </c:pt>
                <c:pt idx="9">
                  <c:v>0.19344413665743307</c:v>
                </c:pt>
                <c:pt idx="10">
                  <c:v>0.19127205199628597</c:v>
                </c:pt>
                <c:pt idx="11">
                  <c:v>0.17037754114230397</c:v>
                </c:pt>
                <c:pt idx="12">
                  <c:v>0.19852262234533702</c:v>
                </c:pt>
                <c:pt idx="13">
                  <c:v>0.20884729902169288</c:v>
                </c:pt>
                <c:pt idx="14">
                  <c:v>0.2044153720359771</c:v>
                </c:pt>
                <c:pt idx="15">
                  <c:v>0.21116138763197587</c:v>
                </c:pt>
                <c:pt idx="16">
                  <c:v>0.20122699386503068</c:v>
                </c:pt>
                <c:pt idx="17">
                  <c:v>0.18121252498334445</c:v>
                </c:pt>
                <c:pt idx="18">
                  <c:v>0.15421686746987953</c:v>
                </c:pt>
                <c:pt idx="19">
                  <c:v>0.15014367816091953</c:v>
                </c:pt>
                <c:pt idx="20">
                  <c:v>0.1679340937896071</c:v>
                </c:pt>
                <c:pt idx="21">
                  <c:v>0.15496575342465754</c:v>
                </c:pt>
                <c:pt idx="22">
                  <c:v>0.15773353751914243</c:v>
                </c:pt>
                <c:pt idx="23">
                  <c:v>0.16978193146417445</c:v>
                </c:pt>
                <c:pt idx="24">
                  <c:v>0.17470300489168414</c:v>
                </c:pt>
                <c:pt idx="25">
                  <c:v>0.16876971608832808</c:v>
                </c:pt>
                <c:pt idx="26">
                  <c:v>0.1939487975174554</c:v>
                </c:pt>
                <c:pt idx="27">
                  <c:v>0.16865776528461</c:v>
                </c:pt>
                <c:pt idx="28">
                  <c:v>0.16516129032258065</c:v>
                </c:pt>
                <c:pt idx="29">
                  <c:v>0.18161180476730987</c:v>
                </c:pt>
                <c:pt idx="30">
                  <c:v>0.18115942028985507</c:v>
                </c:pt>
                <c:pt idx="31">
                  <c:v>0.1782178217821782</c:v>
                </c:pt>
                <c:pt idx="32">
                  <c:v>0.16777188328912468</c:v>
                </c:pt>
                <c:pt idx="33">
                  <c:v>0.19970486965076242</c:v>
                </c:pt>
                <c:pt idx="34">
                  <c:v>0.19049927290353855</c:v>
                </c:pt>
                <c:pt idx="35">
                  <c:v>0.17608695652173914</c:v>
                </c:pt>
                <c:pt idx="36">
                  <c:v>0.12649006622516556</c:v>
                </c:pt>
                <c:pt idx="37">
                  <c:v>0.1293499671700591</c:v>
                </c:pt>
                <c:pt idx="38">
                  <c:v>0.12483829236739974</c:v>
                </c:pt>
                <c:pt idx="39">
                  <c:v>0.11550151975683891</c:v>
                </c:pt>
                <c:pt idx="40">
                  <c:v>0.1135</c:v>
                </c:pt>
                <c:pt idx="41">
                  <c:v>0.09668353007307476</c:v>
                </c:pt>
                <c:pt idx="42">
                  <c:v>0.10329670329670329</c:v>
                </c:pt>
                <c:pt idx="43">
                  <c:v>0.10967472894078399</c:v>
                </c:pt>
                <c:pt idx="44">
                  <c:v>0.1340670335167584</c:v>
                </c:pt>
                <c:pt idx="45">
                  <c:v>0.1523099133782483</c:v>
                </c:pt>
                <c:pt idx="46">
                  <c:v>0.15603939865215138</c:v>
                </c:pt>
                <c:pt idx="47">
                  <c:v>0.1617954070981211</c:v>
                </c:pt>
                <c:pt idx="48">
                  <c:v>0.16697796040343668</c:v>
                </c:pt>
                <c:pt idx="49">
                  <c:v>0.19410244718042255</c:v>
                </c:pt>
                <c:pt idx="50">
                  <c:v>0.15138888888888888</c:v>
                </c:pt>
                <c:pt idx="51">
                  <c:v>0.12678288431061807</c:v>
                </c:pt>
                <c:pt idx="52">
                  <c:v>0.14330708661417324</c:v>
                </c:pt>
                <c:pt idx="53">
                  <c:v>0.11383399209486166</c:v>
                </c:pt>
                <c:pt idx="54">
                  <c:v>0.116</c:v>
                </c:pt>
                <c:pt idx="55">
                  <c:v>0.10035366931918656</c:v>
                </c:pt>
                <c:pt idx="56">
                  <c:v>0.09734093067426401</c:v>
                </c:pt>
                <c:pt idx="57">
                  <c:v>0.08905764584052468</c:v>
                </c:pt>
                <c:pt idx="58">
                  <c:v>0.12207792207792208</c:v>
                </c:pt>
                <c:pt idx="59">
                  <c:v>0.14146134239592184</c:v>
                </c:pt>
                <c:pt idx="60">
                  <c:v>0.15256723716381418</c:v>
                </c:pt>
                <c:pt idx="61">
                  <c:v>0.1332194705380017</c:v>
                </c:pt>
                <c:pt idx="62">
                  <c:v>0.15171924849344204</c:v>
                </c:pt>
                <c:pt idx="63">
                  <c:v>0.17974217311233887</c:v>
                </c:pt>
                <c:pt idx="64">
                  <c:v>0.17391304347826086</c:v>
                </c:pt>
                <c:pt idx="65">
                  <c:v>0.1466950959488273</c:v>
                </c:pt>
                <c:pt idx="66">
                  <c:v>0.1513157894736842</c:v>
                </c:pt>
                <c:pt idx="67">
                  <c:v>0.1335676625659051</c:v>
                </c:pt>
                <c:pt idx="68">
                  <c:v>0.1133032694475761</c:v>
                </c:pt>
                <c:pt idx="69">
                  <c:v>0.09857142857142857</c:v>
                </c:pt>
                <c:pt idx="70">
                  <c:v>0.08416458852867831</c:v>
                </c:pt>
                <c:pt idx="71">
                  <c:v>0.09887193098871931</c:v>
                </c:pt>
                <c:pt idx="72">
                  <c:v>0.11236702127659574</c:v>
                </c:pt>
                <c:pt idx="73">
                  <c:v>0.10191082802547771</c:v>
                </c:pt>
                <c:pt idx="74">
                  <c:v>0.10887316276537834</c:v>
                </c:pt>
                <c:pt idx="75">
                  <c:v>0.11503856041131105</c:v>
                </c:pt>
                <c:pt idx="76">
                  <c:v>0.10506980161645849</c:v>
                </c:pt>
                <c:pt idx="77">
                  <c:v>0.10526315789473684</c:v>
                </c:pt>
                <c:pt idx="78">
                  <c:v>0.1059190031152648</c:v>
                </c:pt>
                <c:pt idx="79">
                  <c:v>0.08854860186418109</c:v>
                </c:pt>
                <c:pt idx="80">
                  <c:v>0.07486979166666667</c:v>
                </c:pt>
                <c:pt idx="81">
                  <c:v>0.09898762654668167</c:v>
                </c:pt>
                <c:pt idx="82">
                  <c:v>0.08339709257842387</c:v>
                </c:pt>
                <c:pt idx="83">
                  <c:v>0.07986688851913477</c:v>
                </c:pt>
                <c:pt idx="84">
                  <c:v>0.08617747440273038</c:v>
                </c:pt>
                <c:pt idx="85">
                  <c:v>0.10357403355215171</c:v>
                </c:pt>
                <c:pt idx="86">
                  <c:v>0.12103407755581669</c:v>
                </c:pt>
                <c:pt idx="87">
                  <c:v>0.13126188966391883</c:v>
                </c:pt>
                <c:pt idx="88">
                  <c:v>0.0903954802259887</c:v>
                </c:pt>
                <c:pt idx="89">
                  <c:v>0.10278884462151394</c:v>
                </c:pt>
                <c:pt idx="90">
                  <c:v>0.10328997704667177</c:v>
                </c:pt>
                <c:pt idx="91">
                  <c:v>0.09789156626506024</c:v>
                </c:pt>
                <c:pt idx="92">
                  <c:v>0.09993792675356922</c:v>
                </c:pt>
                <c:pt idx="93">
                  <c:v>0.10608598548297041</c:v>
                </c:pt>
                <c:pt idx="94">
                  <c:v>0.10619469026548672</c:v>
                </c:pt>
                <c:pt idx="95">
                  <c:v>0.11448275862068966</c:v>
                </c:pt>
                <c:pt idx="96">
                  <c:v>0.12112676056338029</c:v>
                </c:pt>
                <c:pt idx="97">
                  <c:v>0.14569842738205366</c:v>
                </c:pt>
                <c:pt idx="98">
                  <c:v>0.15508684863523572</c:v>
                </c:pt>
                <c:pt idx="99">
                  <c:v>0.15998501311352567</c:v>
                </c:pt>
                <c:pt idx="100">
                  <c:v>0.1871713985278654</c:v>
                </c:pt>
                <c:pt idx="101">
                  <c:v>0.14728682170542637</c:v>
                </c:pt>
                <c:pt idx="102">
                  <c:v>0.11682070240295749</c:v>
                </c:pt>
                <c:pt idx="103">
                  <c:v>0.1290545203588682</c:v>
                </c:pt>
                <c:pt idx="104">
                  <c:v>0.123902439024390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2728227954729444</c:v>
                </c:pt>
                <c:pt idx="1">
                  <c:v>0.3771550930171349</c:v>
                </c:pt>
                <c:pt idx="2">
                  <c:v>0.35875664602087937</c:v>
                </c:pt>
                <c:pt idx="3">
                  <c:v>0.3699640724219327</c:v>
                </c:pt>
                <c:pt idx="4">
                  <c:v>0.35014084792100497</c:v>
                </c:pt>
                <c:pt idx="5">
                  <c:v>0.3115740117792104</c:v>
                </c:pt>
                <c:pt idx="6">
                  <c:v>0.3438487994549654</c:v>
                </c:pt>
                <c:pt idx="7">
                  <c:v>0.3611815076347113</c:v>
                </c:pt>
                <c:pt idx="8">
                  <c:v>0.3408463100414657</c:v>
                </c:pt>
                <c:pt idx="9">
                  <c:v>0.3195572459495812</c:v>
                </c:pt>
                <c:pt idx="10">
                  <c:v>0.3588099665505074</c:v>
                </c:pt>
                <c:pt idx="11">
                  <c:v>0.3332730803315726</c:v>
                </c:pt>
                <c:pt idx="12">
                  <c:v>0.36917546362028625</c:v>
                </c:pt>
                <c:pt idx="13">
                  <c:v>0.4374045217608399</c:v>
                </c:pt>
                <c:pt idx="14">
                  <c:v>0.41923291055250733</c:v>
                </c:pt>
                <c:pt idx="15">
                  <c:v>0.35538619505378866</c:v>
                </c:pt>
                <c:pt idx="16">
                  <c:v>0.3562338130602543</c:v>
                </c:pt>
                <c:pt idx="17">
                  <c:v>0.3308880515545816</c:v>
                </c:pt>
                <c:pt idx="18">
                  <c:v>0.2530601743872089</c:v>
                </c:pt>
                <c:pt idx="19">
                  <c:v>0.3011708542735396</c:v>
                </c:pt>
                <c:pt idx="20">
                  <c:v>0.32598048198076096</c:v>
                </c:pt>
                <c:pt idx="21">
                  <c:v>0.2835835302048855</c:v>
                </c:pt>
                <c:pt idx="22">
                  <c:v>0.3186125386440303</c:v>
                </c:pt>
                <c:pt idx="23">
                  <c:v>0.2871415886408334</c:v>
                </c:pt>
                <c:pt idx="24">
                  <c:v>0.30951531270057275</c:v>
                </c:pt>
                <c:pt idx="25">
                  <c:v>0.2887764012302977</c:v>
                </c:pt>
                <c:pt idx="26">
                  <c:v>0.2969178182399671</c:v>
                </c:pt>
                <c:pt idx="27">
                  <c:v>0.31728022594384375</c:v>
                </c:pt>
                <c:pt idx="28">
                  <c:v>0.36209115808283104</c:v>
                </c:pt>
                <c:pt idx="29">
                  <c:v>0.3595788183952567</c:v>
                </c:pt>
                <c:pt idx="30">
                  <c:v>0.3264455320595319</c:v>
                </c:pt>
                <c:pt idx="31">
                  <c:v>0.24970590516540045</c:v>
                </c:pt>
                <c:pt idx="32">
                  <c:v>0.2290853374728051</c:v>
                </c:pt>
                <c:pt idx="33">
                  <c:v>0.2280117387943639</c:v>
                </c:pt>
                <c:pt idx="34">
                  <c:v>0.24649275857248457</c:v>
                </c:pt>
                <c:pt idx="35">
                  <c:v>0.24778952611378516</c:v>
                </c:pt>
                <c:pt idx="36">
                  <c:v>0.25567351685824513</c:v>
                </c:pt>
                <c:pt idx="37">
                  <c:v>0.2858921300915388</c:v>
                </c:pt>
                <c:pt idx="38">
                  <c:v>0.2929470257490002</c:v>
                </c:pt>
                <c:pt idx="39">
                  <c:v>0.31805908346122974</c:v>
                </c:pt>
                <c:pt idx="40">
                  <c:v>0.295176281153417</c:v>
                </c:pt>
                <c:pt idx="41">
                  <c:v>0.3333577718744964</c:v>
                </c:pt>
                <c:pt idx="42">
                  <c:v>0.30324438178410484</c:v>
                </c:pt>
                <c:pt idx="43">
                  <c:v>0.35077061410636967</c:v>
                </c:pt>
                <c:pt idx="44">
                  <c:v>0.35997113636482725</c:v>
                </c:pt>
                <c:pt idx="45">
                  <c:v>0.37440602970322834</c:v>
                </c:pt>
                <c:pt idx="46">
                  <c:v>0.36302476086878677</c:v>
                </c:pt>
                <c:pt idx="47">
                  <c:v>0.3868096674921473</c:v>
                </c:pt>
                <c:pt idx="48">
                  <c:v>0.4075668934331769</c:v>
                </c:pt>
                <c:pt idx="49">
                  <c:v>0.43905261946698154</c:v>
                </c:pt>
                <c:pt idx="50">
                  <c:v>0.39005683660995344</c:v>
                </c:pt>
                <c:pt idx="51">
                  <c:v>0.3289386014682929</c:v>
                </c:pt>
              </c:numCache>
            </c:numRef>
          </c:xVal>
          <c:yVal>
            <c:numRef>
              <c:f>Sheet1!$B$109:$B$160</c:f>
              <c:numCache>
                <c:formatCode>General</c:formatCode>
                <c:ptCount val="52"/>
                <c:pt idx="0">
                  <c:v>0.12361396303901437</c:v>
                </c:pt>
                <c:pt idx="1">
                  <c:v>0.13385182153090464</c:v>
                </c:pt>
                <c:pt idx="2">
                  <c:v>0.1339541547277937</c:v>
                </c:pt>
                <c:pt idx="3">
                  <c:v>0.1366344005956813</c:v>
                </c:pt>
                <c:pt idx="4">
                  <c:v>0.11455431754874652</c:v>
                </c:pt>
                <c:pt idx="5">
                  <c:v>0.13367052023121387</c:v>
                </c:pt>
                <c:pt idx="6">
                  <c:v>0.13989927252378287</c:v>
                </c:pt>
                <c:pt idx="7">
                  <c:v>0.12285927029039465</c:v>
                </c:pt>
                <c:pt idx="8">
                  <c:v>0.12360867018160515</c:v>
                </c:pt>
                <c:pt idx="9">
                  <c:v>0.1281645569620253</c:v>
                </c:pt>
                <c:pt idx="10">
                  <c:v>0.12506253126563283</c:v>
                </c:pt>
                <c:pt idx="11">
                  <c:v>0.15347091932457785</c:v>
                </c:pt>
                <c:pt idx="12">
                  <c:v>0.15868263473053892</c:v>
                </c:pt>
                <c:pt idx="13">
                  <c:v>0.14135575407251708</c:v>
                </c:pt>
                <c:pt idx="14">
                  <c:v>0.13583655438983988</c:v>
                </c:pt>
                <c:pt idx="15">
                  <c:v>0.13412462908011868</c:v>
                </c:pt>
                <c:pt idx="16">
                  <c:v>0.1094941094941095</c:v>
                </c:pt>
                <c:pt idx="17">
                  <c:v>0.10669456066945607</c:v>
                </c:pt>
                <c:pt idx="18">
                  <c:v>0.12472160356347439</c:v>
                </c:pt>
                <c:pt idx="19">
                  <c:v>0.12243285939968404</c:v>
                </c:pt>
                <c:pt idx="20">
                  <c:v>0.0853462157809984</c:v>
                </c:pt>
                <c:pt idx="21">
                  <c:v>0.08512931034482758</c:v>
                </c:pt>
                <c:pt idx="22">
                  <c:v>0.08081896551724138</c:v>
                </c:pt>
                <c:pt idx="23">
                  <c:v>0.09051254089422028</c:v>
                </c:pt>
                <c:pt idx="24">
                  <c:v>0.08003518029903255</c:v>
                </c:pt>
                <c:pt idx="25">
                  <c:v>0.0933589990375361</c:v>
                </c:pt>
                <c:pt idx="26">
                  <c:v>0.07692307692307693</c:v>
                </c:pt>
                <c:pt idx="27">
                  <c:v>0.09237228831350595</c:v>
                </c:pt>
                <c:pt idx="28">
                  <c:v>0.10035419126328217</c:v>
                </c:pt>
                <c:pt idx="29">
                  <c:v>0.10779315367807721</c:v>
                </c:pt>
                <c:pt idx="30">
                  <c:v>0.10930576070901034</c:v>
                </c:pt>
                <c:pt idx="31">
                  <c:v>0.125</c:v>
                </c:pt>
                <c:pt idx="32">
                  <c:v>0.149079754601227</c:v>
                </c:pt>
                <c:pt idx="33">
                  <c:v>0.15241057542768274</c:v>
                </c:pt>
                <c:pt idx="34">
                  <c:v>0.17523714428357465</c:v>
                </c:pt>
                <c:pt idx="35">
                  <c:v>0.1498913830557567</c:v>
                </c:pt>
                <c:pt idx="36">
                  <c:v>0.13911472448057813</c:v>
                </c:pt>
                <c:pt idx="37">
                  <c:v>0.11021721641190668</c:v>
                </c:pt>
                <c:pt idx="38">
                  <c:v>0.10585404971932638</c:v>
                </c:pt>
                <c:pt idx="39">
                  <c:v>0.12072304712717882</c:v>
                </c:pt>
                <c:pt idx="40">
                  <c:v>0.10323886639676114</c:v>
                </c:pt>
                <c:pt idx="41">
                  <c:v>0.09583858764186633</c:v>
                </c:pt>
                <c:pt idx="42">
                  <c:v>0.09947249434815374</c:v>
                </c:pt>
                <c:pt idx="43">
                  <c:v>0.0976926853215513</c:v>
                </c:pt>
                <c:pt idx="44">
                  <c:v>0.10364963503649635</c:v>
                </c:pt>
                <c:pt idx="45">
                  <c:v>0.12558139534883722</c:v>
                </c:pt>
                <c:pt idx="46">
                  <c:v>0.1173758865248227</c:v>
                </c:pt>
                <c:pt idx="47">
                  <c:v>0.11167341430499325</c:v>
                </c:pt>
                <c:pt idx="48">
                  <c:v>0.1109320440504969</c:v>
                </c:pt>
                <c:pt idx="49">
                  <c:v>0.13607188703465983</c:v>
                </c:pt>
                <c:pt idx="50">
                  <c:v>0.16997700188166423</c:v>
                </c:pt>
                <c:pt idx="51">
                  <c:v>0.1505864547862277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4079314408636683</c:v>
                </c:pt>
              </c:numCache>
            </c:numRef>
          </c:xVal>
          <c:yVal>
            <c:numRef>
              <c:f>Sheet1!$B$163:$B$164</c:f>
              <c:numCache>
                <c:formatCode>General</c:formatCode>
                <c:ptCount val="2"/>
                <c:pt idx="0">
                  <c:v>0.18367233250188036</c:v>
                </c:pt>
                <c:pt idx="1">
                  <c:v>0.183672332501880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4079314408636683</c:v>
                </c:pt>
                <c:pt idx="1">
                  <c:v>3.4079314408636683</c:v>
                </c:pt>
              </c:numCache>
            </c:numRef>
          </c:xVal>
          <c:yVal>
            <c:numRef>
              <c:f>Sheet1!$B$167:$B$168</c:f>
              <c:numCache>
                <c:formatCode>General</c:formatCode>
                <c:ptCount val="2"/>
                <c:pt idx="0">
                  <c:v>0.183672332501880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3792297168097256</c:v>
                </c:pt>
              </c:numCache>
            </c:numRef>
          </c:xVal>
          <c:yVal>
            <c:numRef>
              <c:f>Sheet1!$B$171:$B$172</c:f>
              <c:numCache>
                <c:formatCode>General</c:formatCode>
                <c:ptCount val="2"/>
                <c:pt idx="0">
                  <c:v>0.14189184693826218</c:v>
                </c:pt>
                <c:pt idx="1">
                  <c:v>0.141891846938262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3792297168097256</c:v>
                </c:pt>
                <c:pt idx="1">
                  <c:v>1.3792297168097256</c:v>
                </c:pt>
              </c:numCache>
            </c:numRef>
          </c:xVal>
          <c:yVal>
            <c:numRef>
              <c:f>Sheet1!$B$175:$B$176</c:f>
              <c:numCache>
                <c:formatCode>General</c:formatCode>
                <c:ptCount val="2"/>
                <c:pt idx="0">
                  <c:v>0.141891846938262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520512186832034</c:v>
                </c:pt>
              </c:numCache>
            </c:numRef>
          </c:xVal>
          <c:yVal>
            <c:numRef>
              <c:f>Sheet1!$B$179:$B$180</c:f>
              <c:numCache>
                <c:formatCode>General</c:formatCode>
                <c:ptCount val="2"/>
                <c:pt idx="0">
                  <c:v>0.11867795383105458</c:v>
                </c:pt>
                <c:pt idx="1">
                  <c:v>0.118677953831054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520512186832034</c:v>
                </c:pt>
                <c:pt idx="1">
                  <c:v>0.2520512186832034</c:v>
                </c:pt>
              </c:numCache>
            </c:numRef>
          </c:xVal>
          <c:yVal>
            <c:numRef>
              <c:f>Sheet1!$B$183:$B$184</c:f>
              <c:numCache>
                <c:formatCode>General</c:formatCode>
                <c:ptCount val="2"/>
                <c:pt idx="0">
                  <c:v>0.118677953831054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2728227954729444</c:v>
                </c:pt>
                <c:pt idx="1">
                  <c:v>0.3771550930171349</c:v>
                </c:pt>
                <c:pt idx="2">
                  <c:v>0.35875664602087937</c:v>
                </c:pt>
                <c:pt idx="3">
                  <c:v>0.3699640724219327</c:v>
                </c:pt>
                <c:pt idx="4">
                  <c:v>0.35014084792100497</c:v>
                </c:pt>
                <c:pt idx="5">
                  <c:v>0.3115740117792104</c:v>
                </c:pt>
                <c:pt idx="6">
                  <c:v>0.3438487994549654</c:v>
                </c:pt>
                <c:pt idx="7">
                  <c:v>0.3611815076347113</c:v>
                </c:pt>
                <c:pt idx="8">
                  <c:v>0.3408463100414657</c:v>
                </c:pt>
                <c:pt idx="9">
                  <c:v>0.3195572459495812</c:v>
                </c:pt>
                <c:pt idx="10">
                  <c:v>0.3588099665505074</c:v>
                </c:pt>
                <c:pt idx="11">
                  <c:v>0.3332730803315726</c:v>
                </c:pt>
                <c:pt idx="12">
                  <c:v>0.36917546362028625</c:v>
                </c:pt>
                <c:pt idx="13">
                  <c:v>0.4374045217608399</c:v>
                </c:pt>
                <c:pt idx="14">
                  <c:v>0.41923291055250733</c:v>
                </c:pt>
                <c:pt idx="15">
                  <c:v>0.35538619505378866</c:v>
                </c:pt>
                <c:pt idx="16">
                  <c:v>0.3562338130602543</c:v>
                </c:pt>
                <c:pt idx="17">
                  <c:v>0.3308880515545816</c:v>
                </c:pt>
                <c:pt idx="18">
                  <c:v>0.2530601743872089</c:v>
                </c:pt>
                <c:pt idx="19">
                  <c:v>0.3011708542735396</c:v>
                </c:pt>
                <c:pt idx="20">
                  <c:v>0.32598048198076096</c:v>
                </c:pt>
                <c:pt idx="21">
                  <c:v>0.2835835302048855</c:v>
                </c:pt>
                <c:pt idx="22">
                  <c:v>0.3186125386440303</c:v>
                </c:pt>
                <c:pt idx="23">
                  <c:v>0.2871415886408334</c:v>
                </c:pt>
                <c:pt idx="24">
                  <c:v>0.30951531270057275</c:v>
                </c:pt>
                <c:pt idx="25">
                  <c:v>0.2887764012302977</c:v>
                </c:pt>
                <c:pt idx="26">
                  <c:v>0.2969178182399671</c:v>
                </c:pt>
                <c:pt idx="27">
                  <c:v>0.31728022594384375</c:v>
                </c:pt>
                <c:pt idx="28">
                  <c:v>0.36209115808283104</c:v>
                </c:pt>
                <c:pt idx="29">
                  <c:v>0.3595788183952567</c:v>
                </c:pt>
                <c:pt idx="30">
                  <c:v>0.3264455320595319</c:v>
                </c:pt>
                <c:pt idx="31">
                  <c:v>0.24970590516540045</c:v>
                </c:pt>
                <c:pt idx="32">
                  <c:v>0.2290853374728051</c:v>
                </c:pt>
                <c:pt idx="33">
                  <c:v>0.2280117387943639</c:v>
                </c:pt>
                <c:pt idx="34">
                  <c:v>0.24649275857248457</c:v>
                </c:pt>
                <c:pt idx="35">
                  <c:v>0.24778952611378516</c:v>
                </c:pt>
                <c:pt idx="36">
                  <c:v>0.25567351685824513</c:v>
                </c:pt>
                <c:pt idx="37">
                  <c:v>0.2858921300915388</c:v>
                </c:pt>
                <c:pt idx="38">
                  <c:v>0.2929470257490002</c:v>
                </c:pt>
                <c:pt idx="39">
                  <c:v>0.31805908346122974</c:v>
                </c:pt>
                <c:pt idx="40">
                  <c:v>0.295176281153417</c:v>
                </c:pt>
                <c:pt idx="41">
                  <c:v>0.3333577718744964</c:v>
                </c:pt>
                <c:pt idx="42">
                  <c:v>0.30324438178410484</c:v>
                </c:pt>
                <c:pt idx="43">
                  <c:v>0.35077061410636967</c:v>
                </c:pt>
                <c:pt idx="44">
                  <c:v>0.35997113636482725</c:v>
                </c:pt>
                <c:pt idx="45">
                  <c:v>0.37440602970322834</c:v>
                </c:pt>
                <c:pt idx="46">
                  <c:v>0.36302476086878677</c:v>
                </c:pt>
                <c:pt idx="47">
                  <c:v>0.3868096674921473</c:v>
                </c:pt>
                <c:pt idx="48">
                  <c:v>0.4075668934331769</c:v>
                </c:pt>
                <c:pt idx="49">
                  <c:v>0.43905261946698154</c:v>
                </c:pt>
                <c:pt idx="50">
                  <c:v>0.39005683660995344</c:v>
                </c:pt>
                <c:pt idx="51">
                  <c:v>0.3289386014682929</c:v>
                </c:pt>
                <c:pt idx="52">
                  <c:v>1.3792297168097256</c:v>
                </c:pt>
                <c:pt idx="53">
                  <c:v>3.4079314408636683</c:v>
                </c:pt>
                <c:pt idx="54">
                  <c:v>0.2520512186832034</c:v>
                </c:pt>
              </c:numCache>
            </c:numRef>
          </c:xVal>
          <c:yVal>
            <c:numRef>
              <c:f>Sheet1!$B$187:$B$241</c:f>
              <c:numCache>
                <c:formatCode>General</c:formatCode>
                <c:ptCount val="55"/>
                <c:pt idx="0">
                  <c:v>0.12022731429893391</c:v>
                </c:pt>
                <c:pt idx="1">
                  <c:v>0.12125442949210771</c:v>
                </c:pt>
                <c:pt idx="2">
                  <c:v>0.12087551915748052</c:v>
                </c:pt>
                <c:pt idx="3">
                  <c:v>0.12110633264346643</c:v>
                </c:pt>
                <c:pt idx="4">
                  <c:v>0.12069807945608789</c:v>
                </c:pt>
                <c:pt idx="5">
                  <c:v>0.11990380737480985</c:v>
                </c:pt>
                <c:pt idx="6">
                  <c:v>0.1205684966608529</c:v>
                </c:pt>
                <c:pt idx="7">
                  <c:v>0.12092545843364381</c:v>
                </c:pt>
                <c:pt idx="8">
                  <c:v>0.12050666131852127</c:v>
                </c:pt>
                <c:pt idx="9">
                  <c:v>0.12006821961740391</c:v>
                </c:pt>
                <c:pt idx="10">
                  <c:v>0.12087661727732335</c:v>
                </c:pt>
                <c:pt idx="11">
                  <c:v>0.12035069299118537</c:v>
                </c:pt>
                <c:pt idx="12">
                  <c:v>0.12109009148871122</c:v>
                </c:pt>
                <c:pt idx="13">
                  <c:v>0.12249524787264934</c:v>
                </c:pt>
                <c:pt idx="14">
                  <c:v>0.12212100915102975</c:v>
                </c:pt>
                <c:pt idx="15">
                  <c:v>0.12080610576057561</c:v>
                </c:pt>
                <c:pt idx="16">
                  <c:v>0.12082356219168262</c:v>
                </c:pt>
                <c:pt idx="17">
                  <c:v>0.12030157405999682</c:v>
                </c:pt>
                <c:pt idx="18">
                  <c:v>0.1186987329622229</c:v>
                </c:pt>
                <c:pt idx="19">
                  <c:v>0.11968955755837396</c:v>
                </c:pt>
                <c:pt idx="20">
                  <c:v>0.12020050418003353</c:v>
                </c:pt>
                <c:pt idx="21">
                  <c:v>0.11932735204997388</c:v>
                </c:pt>
                <c:pt idx="22">
                  <c:v>0.12004876366216248</c:v>
                </c:pt>
                <c:pt idx="23">
                  <c:v>0.11940062916476854</c:v>
                </c:pt>
                <c:pt idx="24">
                  <c:v>0.11986140910299146</c:v>
                </c:pt>
                <c:pt idx="25">
                  <c:v>0.1194342976252344</c:v>
                </c:pt>
                <c:pt idx="26">
                  <c:v>0.1196019675945585</c:v>
                </c:pt>
                <c:pt idx="27">
                  <c:v>0.12002132509350728</c:v>
                </c:pt>
                <c:pt idx="28">
                  <c:v>0.12094419240373167</c:v>
                </c:pt>
                <c:pt idx="29">
                  <c:v>0.12089245154365202</c:v>
                </c:pt>
                <c:pt idx="30">
                  <c:v>0.1202100817428029</c:v>
                </c:pt>
                <c:pt idx="31">
                  <c:v>0.11862965282336532</c:v>
                </c:pt>
                <c:pt idx="32">
                  <c:v>0.11820497859916618</c:v>
                </c:pt>
                <c:pt idx="33">
                  <c:v>0.11818286816590046</c:v>
                </c:pt>
                <c:pt idx="34">
                  <c:v>0.1185634790614725</c:v>
                </c:pt>
                <c:pt idx="35">
                  <c:v>0.11859018558855644</c:v>
                </c:pt>
                <c:pt idx="36">
                  <c:v>0.11875255394343927</c:v>
                </c:pt>
                <c:pt idx="37">
                  <c:v>0.11937489695176641</c:v>
                </c:pt>
                <c:pt idx="38">
                  <c:v>0.11952019034934898</c:v>
                </c:pt>
                <c:pt idx="39">
                  <c:v>0.12003736542357425</c:v>
                </c:pt>
                <c:pt idx="40">
                  <c:v>0.11956610117603064</c:v>
                </c:pt>
                <c:pt idx="41">
                  <c:v>0.12035243718735997</c:v>
                </c:pt>
                <c:pt idx="42">
                  <c:v>0.11973226121716901</c:v>
                </c:pt>
                <c:pt idx="43">
                  <c:v>0.12071104929620982</c:v>
                </c:pt>
                <c:pt idx="44">
                  <c:v>0.12090053121109137</c:v>
                </c:pt>
                <c:pt idx="45">
                  <c:v>0.1211978133820417</c:v>
                </c:pt>
                <c:pt idx="46">
                  <c:v>0.120963419664821</c:v>
                </c:pt>
                <c:pt idx="47">
                  <c:v>0.12145326247218233</c:v>
                </c:pt>
                <c:pt idx="48">
                  <c:v>0.12188075113080925</c:v>
                </c:pt>
                <c:pt idx="49">
                  <c:v>0.12252918993599085</c:v>
                </c:pt>
                <c:pt idx="50">
                  <c:v>0.12152013691746943</c:v>
                </c:pt>
                <c:pt idx="51">
                  <c:v>0.12026142573744085</c:v>
                </c:pt>
                <c:pt idx="52">
                  <c:v>0.14189184693826218</c:v>
                </c:pt>
                <c:pt idx="53">
                  <c:v>0.18367233250188036</c:v>
                </c:pt>
                <c:pt idx="54">
                  <c:v>0.118677953831054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339366515837103"/>
          <c:min val="0.059895833333333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5.4625</c:v>
                </c:pt>
                <c:pt idx="1">
                  <c:v>828.5167</c:v>
                </c:pt>
                <c:pt idx="2">
                  <c:v>894.3865</c:v>
                </c:pt>
                <c:pt idx="3">
                  <c:v>900.1121</c:v>
                </c:pt>
                <c:pt idx="4">
                  <c:v>897.8369</c:v>
                </c:pt>
                <c:pt idx="5">
                  <c:v>897.2431</c:v>
                </c:pt>
                <c:pt idx="6">
                  <c:v>823.8796</c:v>
                </c:pt>
                <c:pt idx="7">
                  <c:v>847.6373</c:v>
                </c:pt>
                <c:pt idx="8">
                  <c:v>862.555</c:v>
                </c:pt>
                <c:pt idx="9">
                  <c:v>794.6516</c:v>
                </c:pt>
                <c:pt idx="10">
                  <c:v>793.9709</c:v>
                </c:pt>
                <c:pt idx="11">
                  <c:v>851.1108</c:v>
                </c:pt>
                <c:pt idx="12">
                  <c:v>866.3698</c:v>
                </c:pt>
                <c:pt idx="13">
                  <c:v>857.4257</c:v>
                </c:pt>
                <c:pt idx="14">
                  <c:v>861.884</c:v>
                </c:pt>
                <c:pt idx="15">
                  <c:v>868.4976</c:v>
                </c:pt>
                <c:pt idx="16">
                  <c:v>875.189</c:v>
                </c:pt>
                <c:pt idx="17">
                  <c:v>873.6765</c:v>
                </c:pt>
                <c:pt idx="18">
                  <c:v>931.2383</c:v>
                </c:pt>
                <c:pt idx="19">
                  <c:v>981.7703</c:v>
                </c:pt>
                <c:pt idx="20">
                  <c:v>980.9736</c:v>
                </c:pt>
                <c:pt idx="21">
                  <c:v>991.7735</c:v>
                </c:pt>
                <c:pt idx="22">
                  <c:v>967.2039</c:v>
                </c:pt>
                <c:pt idx="23">
                  <c:v>956.9266</c:v>
                </c:pt>
                <c:pt idx="24">
                  <c:v>936.548</c:v>
                </c:pt>
                <c:pt idx="25">
                  <c:v>927.1542</c:v>
                </c:pt>
                <c:pt idx="26">
                  <c:v>916.988</c:v>
                </c:pt>
                <c:pt idx="27">
                  <c:v>950.5333</c:v>
                </c:pt>
                <c:pt idx="28">
                  <c:v>958.2734</c:v>
                </c:pt>
                <c:pt idx="29">
                  <c:v>833.35</c:v>
                </c:pt>
                <c:pt idx="30">
                  <c:v>886.9822</c:v>
                </c:pt>
                <c:pt idx="31">
                  <c:v>905.8175</c:v>
                </c:pt>
                <c:pt idx="32">
                  <c:v>887.0158</c:v>
                </c:pt>
                <c:pt idx="33">
                  <c:v>843.5222</c:v>
                </c:pt>
                <c:pt idx="34">
                  <c:v>886.3893</c:v>
                </c:pt>
                <c:pt idx="35">
                  <c:v>923.071</c:v>
                </c:pt>
                <c:pt idx="36">
                  <c:v>1031.1309</c:v>
                </c:pt>
                <c:pt idx="37">
                  <c:v>1038.8782</c:v>
                </c:pt>
                <c:pt idx="38">
                  <c:v>1095.1813</c:v>
                </c:pt>
                <c:pt idx="39">
                  <c:v>1099.2895</c:v>
                </c:pt>
                <c:pt idx="40">
                  <c:v>1098.9559</c:v>
                </c:pt>
                <c:pt idx="41">
                  <c:v>1100.9709</c:v>
                </c:pt>
                <c:pt idx="42">
                  <c:v>1116.7957</c:v>
                </c:pt>
                <c:pt idx="43">
                  <c:v>1122.7186</c:v>
                </c:pt>
                <c:pt idx="44">
                  <c:v>1016.3321</c:v>
                </c:pt>
                <c:pt idx="45">
                  <c:v>980.1327</c:v>
                </c:pt>
                <c:pt idx="46">
                  <c:v>961.9402</c:v>
                </c:pt>
                <c:pt idx="47">
                  <c:v>942.379</c:v>
                </c:pt>
                <c:pt idx="48">
                  <c:v>963.3635</c:v>
                </c:pt>
                <c:pt idx="49">
                  <c:v>952.6257</c:v>
                </c:pt>
                <c:pt idx="50">
                  <c:v>927.2248</c:v>
                </c:pt>
                <c:pt idx="51">
                  <c:v>929.2875</c:v>
                </c:pt>
                <c:pt idx="52">
                  <c:v>936.6615</c:v>
                </c:pt>
                <c:pt idx="53">
                  <c:v>1045.8854</c:v>
                </c:pt>
                <c:pt idx="54">
                  <c:v>1017.567</c:v>
                </c:pt>
                <c:pt idx="55">
                  <c:v>1035.4978</c:v>
                </c:pt>
                <c:pt idx="56">
                  <c:v>1079.1171</c:v>
                </c:pt>
                <c:pt idx="57">
                  <c:v>1088.1512</c:v>
                </c:pt>
                <c:pt idx="58">
                  <c:v>985.0851</c:v>
                </c:pt>
                <c:pt idx="59">
                  <c:v>1007.6336</c:v>
                </c:pt>
                <c:pt idx="60">
                  <c:v>1019.6907</c:v>
                </c:pt>
                <c:pt idx="61">
                  <c:v>1036.3846</c:v>
                </c:pt>
                <c:pt idx="62">
                  <c:v>945.2757</c:v>
                </c:pt>
                <c:pt idx="63">
                  <c:v>985.7664</c:v>
                </c:pt>
                <c:pt idx="64">
                  <c:v>1014.4599</c:v>
                </c:pt>
                <c:pt idx="65">
                  <c:v>1016.0814</c:v>
                </c:pt>
                <c:pt idx="66">
                  <c:v>992.3971</c:v>
                </c:pt>
                <c:pt idx="67">
                  <c:v>1049.7303</c:v>
                </c:pt>
                <c:pt idx="68">
                  <c:v>1111.5224</c:v>
                </c:pt>
                <c:pt idx="69">
                  <c:v>1000.8043</c:v>
                </c:pt>
                <c:pt idx="70">
                  <c:v>1097.1481</c:v>
                </c:pt>
                <c:pt idx="71">
                  <c:v>1156.9195</c:v>
                </c:pt>
                <c:pt idx="72">
                  <c:v>1214.284</c:v>
                </c:pt>
                <c:pt idx="73">
                  <c:v>1191.775</c:v>
                </c:pt>
                <c:pt idx="74">
                  <c:v>1144.875</c:v>
                </c:pt>
                <c:pt idx="75">
                  <c:v>1117.7654</c:v>
                </c:pt>
                <c:pt idx="76">
                  <c:v>1148.5175</c:v>
                </c:pt>
                <c:pt idx="77">
                  <c:v>1144.0411</c:v>
                </c:pt>
                <c:pt idx="78">
                  <c:v>1137.9485</c:v>
                </c:pt>
                <c:pt idx="79">
                  <c:v>1148.4737</c:v>
                </c:pt>
                <c:pt idx="80">
                  <c:v>1142.8609</c:v>
                </c:pt>
                <c:pt idx="81">
                  <c:v>1129.4489</c:v>
                </c:pt>
                <c:pt idx="82">
                  <c:v>1143.2661</c:v>
                </c:pt>
                <c:pt idx="83">
                  <c:v>1124.8229</c:v>
                </c:pt>
                <c:pt idx="84">
                  <c:v>1107.3564</c:v>
                </c:pt>
                <c:pt idx="85">
                  <c:v>1079.4366</c:v>
                </c:pt>
                <c:pt idx="86">
                  <c:v>1068.3058</c:v>
                </c:pt>
                <c:pt idx="87">
                  <c:v>1080.7198</c:v>
                </c:pt>
                <c:pt idx="88">
                  <c:v>1116.5536</c:v>
                </c:pt>
                <c:pt idx="89">
                  <c:v>1073.186</c:v>
                </c:pt>
                <c:pt idx="90">
                  <c:v>1167.0815</c:v>
                </c:pt>
                <c:pt idx="91">
                  <c:v>1192.2231</c:v>
                </c:pt>
                <c:pt idx="92">
                  <c:v>1152.5776</c:v>
                </c:pt>
                <c:pt idx="93">
                  <c:v>1174.2895</c:v>
                </c:pt>
                <c:pt idx="94">
                  <c:v>1211.1429</c:v>
                </c:pt>
                <c:pt idx="95">
                  <c:v>1162.494</c:v>
                </c:pt>
                <c:pt idx="96">
                  <c:v>1142.493</c:v>
                </c:pt>
                <c:pt idx="97">
                  <c:v>1110.7651</c:v>
                </c:pt>
                <c:pt idx="98">
                  <c:v>1088.0667</c:v>
                </c:pt>
                <c:pt idx="99">
                  <c:v>1029.5246</c:v>
                </c:pt>
                <c:pt idx="100">
                  <c:v>1046.9513</c:v>
                </c:pt>
                <c:pt idx="101">
                  <c:v>1046.9805</c:v>
                </c:pt>
                <c:pt idx="102">
                  <c:v>1078.5696</c:v>
                </c:pt>
                <c:pt idx="103">
                  <c:v>1052.5508</c:v>
                </c:pt>
                <c:pt idx="104">
                  <c:v>1142.6969</c:v>
                </c:pt>
              </c:numCache>
            </c:numRef>
          </c:xVal>
          <c:yVal>
            <c:numRef>
              <c:f>Sheet1!$B$2:$B$106</c:f>
              <c:numCache>
                <c:formatCode>General</c:formatCode>
                <c:ptCount val="105"/>
                <c:pt idx="0">
                  <c:v>0.19794980558501238</c:v>
                </c:pt>
                <c:pt idx="1">
                  <c:v>0.18756512678013199</c:v>
                </c:pt>
                <c:pt idx="2">
                  <c:v>0.1481262909412806</c:v>
                </c:pt>
                <c:pt idx="3">
                  <c:v>0.1518821603927987</c:v>
                </c:pt>
                <c:pt idx="4">
                  <c:v>0.13005202080832334</c:v>
                </c:pt>
                <c:pt idx="5">
                  <c:v>0.11329661683713611</c:v>
                </c:pt>
                <c:pt idx="6">
                  <c:v>0.13740808823529413</c:v>
                </c:pt>
                <c:pt idx="7">
                  <c:v>0.12734082397003746</c:v>
                </c:pt>
                <c:pt idx="8">
                  <c:v>0.15060240963855423</c:v>
                </c:pt>
                <c:pt idx="9">
                  <c:v>0.19344413665743307</c:v>
                </c:pt>
                <c:pt idx="10">
                  <c:v>0.19127205199628597</c:v>
                </c:pt>
                <c:pt idx="11">
                  <c:v>0.17037754114230397</c:v>
                </c:pt>
                <c:pt idx="12">
                  <c:v>0.19852262234533702</c:v>
                </c:pt>
                <c:pt idx="13">
                  <c:v>0.20884729902169288</c:v>
                </c:pt>
                <c:pt idx="14">
                  <c:v>0.2044153720359771</c:v>
                </c:pt>
                <c:pt idx="15">
                  <c:v>0.21116138763197587</c:v>
                </c:pt>
                <c:pt idx="16">
                  <c:v>0.20122699386503068</c:v>
                </c:pt>
                <c:pt idx="17">
                  <c:v>0.18121252498334445</c:v>
                </c:pt>
                <c:pt idx="18">
                  <c:v>0.15421686746987953</c:v>
                </c:pt>
                <c:pt idx="19">
                  <c:v>0.15014367816091953</c:v>
                </c:pt>
                <c:pt idx="20">
                  <c:v>0.1679340937896071</c:v>
                </c:pt>
                <c:pt idx="21">
                  <c:v>0.15496575342465754</c:v>
                </c:pt>
                <c:pt idx="22">
                  <c:v>0.15773353751914243</c:v>
                </c:pt>
                <c:pt idx="23">
                  <c:v>0.16978193146417445</c:v>
                </c:pt>
                <c:pt idx="24">
                  <c:v>0.17470300489168414</c:v>
                </c:pt>
                <c:pt idx="25">
                  <c:v>0.16876971608832808</c:v>
                </c:pt>
                <c:pt idx="26">
                  <c:v>0.1939487975174554</c:v>
                </c:pt>
                <c:pt idx="27">
                  <c:v>0.16865776528461</c:v>
                </c:pt>
                <c:pt idx="28">
                  <c:v>0.16516129032258065</c:v>
                </c:pt>
                <c:pt idx="29">
                  <c:v>0.18161180476730987</c:v>
                </c:pt>
                <c:pt idx="30">
                  <c:v>0.18115942028985507</c:v>
                </c:pt>
                <c:pt idx="31">
                  <c:v>0.1782178217821782</c:v>
                </c:pt>
                <c:pt idx="32">
                  <c:v>0.16777188328912468</c:v>
                </c:pt>
                <c:pt idx="33">
                  <c:v>0.19970486965076242</c:v>
                </c:pt>
                <c:pt idx="34">
                  <c:v>0.19049927290353855</c:v>
                </c:pt>
                <c:pt idx="35">
                  <c:v>0.17608695652173914</c:v>
                </c:pt>
                <c:pt idx="36">
                  <c:v>0.12649006622516556</c:v>
                </c:pt>
                <c:pt idx="37">
                  <c:v>0.1293499671700591</c:v>
                </c:pt>
                <c:pt idx="38">
                  <c:v>0.12483829236739974</c:v>
                </c:pt>
                <c:pt idx="39">
                  <c:v>0.11550151975683891</c:v>
                </c:pt>
                <c:pt idx="40">
                  <c:v>0.1135</c:v>
                </c:pt>
                <c:pt idx="41">
                  <c:v>0.09668353007307476</c:v>
                </c:pt>
                <c:pt idx="42">
                  <c:v>0.10329670329670329</c:v>
                </c:pt>
                <c:pt idx="43">
                  <c:v>0.10967472894078399</c:v>
                </c:pt>
                <c:pt idx="44">
                  <c:v>0.1340670335167584</c:v>
                </c:pt>
                <c:pt idx="45">
                  <c:v>0.1523099133782483</c:v>
                </c:pt>
                <c:pt idx="46">
                  <c:v>0.15603939865215138</c:v>
                </c:pt>
                <c:pt idx="47">
                  <c:v>0.1617954070981211</c:v>
                </c:pt>
                <c:pt idx="48">
                  <c:v>0.16697796040343668</c:v>
                </c:pt>
                <c:pt idx="49">
                  <c:v>0.19410244718042255</c:v>
                </c:pt>
                <c:pt idx="50">
                  <c:v>0.15138888888888888</c:v>
                </c:pt>
                <c:pt idx="51">
                  <c:v>0.12678288431061807</c:v>
                </c:pt>
                <c:pt idx="52">
                  <c:v>0.14330708661417324</c:v>
                </c:pt>
                <c:pt idx="53">
                  <c:v>0.11383399209486166</c:v>
                </c:pt>
                <c:pt idx="54">
                  <c:v>0.116</c:v>
                </c:pt>
                <c:pt idx="55">
                  <c:v>0.10035366931918656</c:v>
                </c:pt>
                <c:pt idx="56">
                  <c:v>0.09734093067426401</c:v>
                </c:pt>
                <c:pt idx="57">
                  <c:v>0.08905764584052468</c:v>
                </c:pt>
                <c:pt idx="58">
                  <c:v>0.12207792207792208</c:v>
                </c:pt>
                <c:pt idx="59">
                  <c:v>0.14146134239592184</c:v>
                </c:pt>
                <c:pt idx="60">
                  <c:v>0.15256723716381418</c:v>
                </c:pt>
                <c:pt idx="61">
                  <c:v>0.1332194705380017</c:v>
                </c:pt>
                <c:pt idx="62">
                  <c:v>0.15171924849344204</c:v>
                </c:pt>
                <c:pt idx="63">
                  <c:v>0.17974217311233887</c:v>
                </c:pt>
                <c:pt idx="64">
                  <c:v>0.17391304347826086</c:v>
                </c:pt>
                <c:pt idx="65">
                  <c:v>0.1466950959488273</c:v>
                </c:pt>
                <c:pt idx="66">
                  <c:v>0.1513157894736842</c:v>
                </c:pt>
                <c:pt idx="67">
                  <c:v>0.1335676625659051</c:v>
                </c:pt>
                <c:pt idx="68">
                  <c:v>0.1133032694475761</c:v>
                </c:pt>
                <c:pt idx="69">
                  <c:v>0.09857142857142857</c:v>
                </c:pt>
                <c:pt idx="70">
                  <c:v>0.08416458852867831</c:v>
                </c:pt>
                <c:pt idx="71">
                  <c:v>0.09887193098871931</c:v>
                </c:pt>
                <c:pt idx="72">
                  <c:v>0.11236702127659574</c:v>
                </c:pt>
                <c:pt idx="73">
                  <c:v>0.10191082802547771</c:v>
                </c:pt>
                <c:pt idx="74">
                  <c:v>0.10887316276537834</c:v>
                </c:pt>
                <c:pt idx="75">
                  <c:v>0.11503856041131105</c:v>
                </c:pt>
                <c:pt idx="76">
                  <c:v>0.10506980161645849</c:v>
                </c:pt>
                <c:pt idx="77">
                  <c:v>0.10526315789473684</c:v>
                </c:pt>
                <c:pt idx="78">
                  <c:v>0.1059190031152648</c:v>
                </c:pt>
                <c:pt idx="79">
                  <c:v>0.08854860186418109</c:v>
                </c:pt>
                <c:pt idx="80">
                  <c:v>0.07486979166666667</c:v>
                </c:pt>
                <c:pt idx="81">
                  <c:v>0.09898762654668167</c:v>
                </c:pt>
                <c:pt idx="82">
                  <c:v>0.08339709257842387</c:v>
                </c:pt>
                <c:pt idx="83">
                  <c:v>0.07986688851913477</c:v>
                </c:pt>
                <c:pt idx="84">
                  <c:v>0.08617747440273038</c:v>
                </c:pt>
                <c:pt idx="85">
                  <c:v>0.10357403355215171</c:v>
                </c:pt>
                <c:pt idx="86">
                  <c:v>0.12103407755581669</c:v>
                </c:pt>
                <c:pt idx="87">
                  <c:v>0.13126188966391883</c:v>
                </c:pt>
                <c:pt idx="88">
                  <c:v>0.0903954802259887</c:v>
                </c:pt>
                <c:pt idx="89">
                  <c:v>0.10278884462151394</c:v>
                </c:pt>
                <c:pt idx="90">
                  <c:v>0.10328997704667177</c:v>
                </c:pt>
                <c:pt idx="91">
                  <c:v>0.09789156626506024</c:v>
                </c:pt>
                <c:pt idx="92">
                  <c:v>0.09993792675356922</c:v>
                </c:pt>
                <c:pt idx="93">
                  <c:v>0.10608598548297041</c:v>
                </c:pt>
                <c:pt idx="94">
                  <c:v>0.10619469026548672</c:v>
                </c:pt>
                <c:pt idx="95">
                  <c:v>0.11448275862068966</c:v>
                </c:pt>
                <c:pt idx="96">
                  <c:v>0.12112676056338029</c:v>
                </c:pt>
                <c:pt idx="97">
                  <c:v>0.14569842738205366</c:v>
                </c:pt>
                <c:pt idx="98">
                  <c:v>0.15508684863523572</c:v>
                </c:pt>
                <c:pt idx="99">
                  <c:v>0.15998501311352567</c:v>
                </c:pt>
                <c:pt idx="100">
                  <c:v>0.1871713985278654</c:v>
                </c:pt>
                <c:pt idx="101">
                  <c:v>0.14728682170542637</c:v>
                </c:pt>
                <c:pt idx="102">
                  <c:v>0.11682070240295749</c:v>
                </c:pt>
                <c:pt idx="103">
                  <c:v>0.1290545203588682</c:v>
                </c:pt>
                <c:pt idx="104">
                  <c:v>0.123902439024390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7.598</c:v>
                </c:pt>
                <c:pt idx="1">
                  <c:v>1134.3303</c:v>
                </c:pt>
                <c:pt idx="2">
                  <c:v>1138.5535</c:v>
                </c:pt>
                <c:pt idx="3">
                  <c:v>1131.0872</c:v>
                </c:pt>
                <c:pt idx="4">
                  <c:v>1148.7325</c:v>
                </c:pt>
                <c:pt idx="5">
                  <c:v>1128.3703</c:v>
                </c:pt>
                <c:pt idx="6">
                  <c:v>1001.426</c:v>
                </c:pt>
                <c:pt idx="7">
                  <c:v>1016.6</c:v>
                </c:pt>
                <c:pt idx="8">
                  <c:v>1085.6682</c:v>
                </c:pt>
                <c:pt idx="9">
                  <c:v>1026.6214</c:v>
                </c:pt>
                <c:pt idx="10">
                  <c:v>1083.408</c:v>
                </c:pt>
                <c:pt idx="11">
                  <c:v>898.2714</c:v>
                </c:pt>
                <c:pt idx="12">
                  <c:v>948.6164</c:v>
                </c:pt>
                <c:pt idx="13">
                  <c:v>1047.0037</c:v>
                </c:pt>
                <c:pt idx="14">
                  <c:v>1026.7276</c:v>
                </c:pt>
                <c:pt idx="15">
                  <c:v>1057.4867</c:v>
                </c:pt>
                <c:pt idx="16">
                  <c:v>1117.9114</c:v>
                </c:pt>
                <c:pt idx="17">
                  <c:v>1077.4837</c:v>
                </c:pt>
                <c:pt idx="18">
                  <c:v>897.6488</c:v>
                </c:pt>
                <c:pt idx="19">
                  <c:v>1109.3161</c:v>
                </c:pt>
                <c:pt idx="20">
                  <c:v>1211.4811</c:v>
                </c:pt>
                <c:pt idx="21">
                  <c:v>1105.557</c:v>
                </c:pt>
                <c:pt idx="22">
                  <c:v>1218.84</c:v>
                </c:pt>
                <c:pt idx="23">
                  <c:v>1115.2892</c:v>
                </c:pt>
                <c:pt idx="24">
                  <c:v>1151.0989</c:v>
                </c:pt>
                <c:pt idx="25">
                  <c:v>1066.4021</c:v>
                </c:pt>
                <c:pt idx="26">
                  <c:v>1130.4118</c:v>
                </c:pt>
                <c:pt idx="27">
                  <c:v>1126.1136</c:v>
                </c:pt>
                <c:pt idx="28">
                  <c:v>1073.2471</c:v>
                </c:pt>
                <c:pt idx="29">
                  <c:v>1044.4189</c:v>
                </c:pt>
                <c:pt idx="30">
                  <c:v>964.1622</c:v>
                </c:pt>
                <c:pt idx="31">
                  <c:v>987.7184</c:v>
                </c:pt>
                <c:pt idx="32">
                  <c:v>974.1317</c:v>
                </c:pt>
                <c:pt idx="33">
                  <c:v>979.3469</c:v>
                </c:pt>
                <c:pt idx="34">
                  <c:v>1000.114</c:v>
                </c:pt>
                <c:pt idx="35">
                  <c:v>995.2754</c:v>
                </c:pt>
                <c:pt idx="36">
                  <c:v>1036.9156</c:v>
                </c:pt>
                <c:pt idx="37">
                  <c:v>1162.4818</c:v>
                </c:pt>
                <c:pt idx="38">
                  <c:v>1197.3864</c:v>
                </c:pt>
                <c:pt idx="39">
                  <c:v>1138.9358</c:v>
                </c:pt>
                <c:pt idx="40">
                  <c:v>1170.1307</c:v>
                </c:pt>
                <c:pt idx="41">
                  <c:v>1234.9342</c:v>
                </c:pt>
                <c:pt idx="42">
                  <c:v>1259.6667</c:v>
                </c:pt>
                <c:pt idx="43">
                  <c:v>1239.2864</c:v>
                </c:pt>
                <c:pt idx="44">
                  <c:v>1119.7359</c:v>
                </c:pt>
                <c:pt idx="45">
                  <c:v>1090.2048</c:v>
                </c:pt>
                <c:pt idx="46">
                  <c:v>1106.1208</c:v>
                </c:pt>
                <c:pt idx="47">
                  <c:v>1094.1511</c:v>
                </c:pt>
                <c:pt idx="48">
                  <c:v>1091.9661</c:v>
                </c:pt>
                <c:pt idx="49">
                  <c:v>1097.4057</c:v>
                </c:pt>
                <c:pt idx="50">
                  <c:v>965.7159</c:v>
                </c:pt>
                <c:pt idx="51">
                  <c:v>931.2437</c:v>
                </c:pt>
              </c:numCache>
            </c:numRef>
          </c:xVal>
          <c:yVal>
            <c:numRef>
              <c:f>Sheet1!$B$109:$B$160</c:f>
              <c:numCache>
                <c:formatCode>General</c:formatCode>
                <c:ptCount val="52"/>
                <c:pt idx="0">
                  <c:v>0.12361396303901437</c:v>
                </c:pt>
                <c:pt idx="1">
                  <c:v>0.13385182153090464</c:v>
                </c:pt>
                <c:pt idx="2">
                  <c:v>0.1339541547277937</c:v>
                </c:pt>
                <c:pt idx="3">
                  <c:v>0.1366344005956813</c:v>
                </c:pt>
                <c:pt idx="4">
                  <c:v>0.11455431754874652</c:v>
                </c:pt>
                <c:pt idx="5">
                  <c:v>0.13367052023121387</c:v>
                </c:pt>
                <c:pt idx="6">
                  <c:v>0.13989927252378287</c:v>
                </c:pt>
                <c:pt idx="7">
                  <c:v>0.12285927029039465</c:v>
                </c:pt>
                <c:pt idx="8">
                  <c:v>0.12360867018160515</c:v>
                </c:pt>
                <c:pt idx="9">
                  <c:v>0.1281645569620253</c:v>
                </c:pt>
                <c:pt idx="10">
                  <c:v>0.12506253126563283</c:v>
                </c:pt>
                <c:pt idx="11">
                  <c:v>0.15347091932457785</c:v>
                </c:pt>
                <c:pt idx="12">
                  <c:v>0.15868263473053892</c:v>
                </c:pt>
                <c:pt idx="13">
                  <c:v>0.14135575407251708</c:v>
                </c:pt>
                <c:pt idx="14">
                  <c:v>0.13583655438983988</c:v>
                </c:pt>
                <c:pt idx="15">
                  <c:v>0.13412462908011868</c:v>
                </c:pt>
                <c:pt idx="16">
                  <c:v>0.1094941094941095</c:v>
                </c:pt>
                <c:pt idx="17">
                  <c:v>0.10669456066945607</c:v>
                </c:pt>
                <c:pt idx="18">
                  <c:v>0.12472160356347439</c:v>
                </c:pt>
                <c:pt idx="19">
                  <c:v>0.12243285939968404</c:v>
                </c:pt>
                <c:pt idx="20">
                  <c:v>0.0853462157809984</c:v>
                </c:pt>
                <c:pt idx="21">
                  <c:v>0.08512931034482758</c:v>
                </c:pt>
                <c:pt idx="22">
                  <c:v>0.08081896551724138</c:v>
                </c:pt>
                <c:pt idx="23">
                  <c:v>0.09051254089422028</c:v>
                </c:pt>
                <c:pt idx="24">
                  <c:v>0.08003518029903255</c:v>
                </c:pt>
                <c:pt idx="25">
                  <c:v>0.0933589990375361</c:v>
                </c:pt>
                <c:pt idx="26">
                  <c:v>0.07692307692307693</c:v>
                </c:pt>
                <c:pt idx="27">
                  <c:v>0.09237228831350595</c:v>
                </c:pt>
                <c:pt idx="28">
                  <c:v>0.10035419126328217</c:v>
                </c:pt>
                <c:pt idx="29">
                  <c:v>0.10779315367807721</c:v>
                </c:pt>
                <c:pt idx="30">
                  <c:v>0.10930576070901034</c:v>
                </c:pt>
                <c:pt idx="31">
                  <c:v>0.125</c:v>
                </c:pt>
                <c:pt idx="32">
                  <c:v>0.149079754601227</c:v>
                </c:pt>
                <c:pt idx="33">
                  <c:v>0.15241057542768274</c:v>
                </c:pt>
                <c:pt idx="34">
                  <c:v>0.17523714428357465</c:v>
                </c:pt>
                <c:pt idx="35">
                  <c:v>0.1498913830557567</c:v>
                </c:pt>
                <c:pt idx="36">
                  <c:v>0.13911472448057813</c:v>
                </c:pt>
                <c:pt idx="37">
                  <c:v>0.11021721641190668</c:v>
                </c:pt>
                <c:pt idx="38">
                  <c:v>0.10585404971932638</c:v>
                </c:pt>
                <c:pt idx="39">
                  <c:v>0.12072304712717882</c:v>
                </c:pt>
                <c:pt idx="40">
                  <c:v>0.10323886639676114</c:v>
                </c:pt>
                <c:pt idx="41">
                  <c:v>0.09583858764186633</c:v>
                </c:pt>
                <c:pt idx="42">
                  <c:v>0.09947249434815374</c:v>
                </c:pt>
                <c:pt idx="43">
                  <c:v>0.0976926853215513</c:v>
                </c:pt>
                <c:pt idx="44">
                  <c:v>0.10364963503649635</c:v>
                </c:pt>
                <c:pt idx="45">
                  <c:v>0.12558139534883722</c:v>
                </c:pt>
                <c:pt idx="46">
                  <c:v>0.1173758865248227</c:v>
                </c:pt>
                <c:pt idx="47">
                  <c:v>0.11167341430499325</c:v>
                </c:pt>
                <c:pt idx="48">
                  <c:v>0.1109320440504969</c:v>
                </c:pt>
                <c:pt idx="49">
                  <c:v>0.13607188703465983</c:v>
                </c:pt>
                <c:pt idx="50">
                  <c:v>0.16997700188166423</c:v>
                </c:pt>
                <c:pt idx="51">
                  <c:v>0.1505864547862277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34.0854723761591</c:v>
                </c:pt>
              </c:numCache>
            </c:numRef>
          </c:xVal>
          <c:yVal>
            <c:numRef>
              <c:f>Sheet1!$B$163:$B$164</c:f>
              <c:numCache>
                <c:formatCode>General</c:formatCode>
                <c:ptCount val="2"/>
                <c:pt idx="0">
                  <c:v>0.18367233250188036</c:v>
                </c:pt>
                <c:pt idx="1">
                  <c:v>0.183672332501880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34.0854723761591</c:v>
                </c:pt>
                <c:pt idx="1">
                  <c:v>734.0854723761591</c:v>
                </c:pt>
              </c:numCache>
            </c:numRef>
          </c:xVal>
          <c:yVal>
            <c:numRef>
              <c:f>Sheet1!$B$167:$B$168</c:f>
              <c:numCache>
                <c:formatCode>General</c:formatCode>
                <c:ptCount val="2"/>
                <c:pt idx="0">
                  <c:v>0.183672332501880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63.8581459792927</c:v>
                </c:pt>
              </c:numCache>
            </c:numRef>
          </c:xVal>
          <c:yVal>
            <c:numRef>
              <c:f>Sheet1!$B$171:$B$172</c:f>
              <c:numCache>
                <c:formatCode>General</c:formatCode>
                <c:ptCount val="2"/>
                <c:pt idx="0">
                  <c:v>0.14189184693826218</c:v>
                </c:pt>
                <c:pt idx="1">
                  <c:v>0.141891846938262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63.8581459792927</c:v>
                </c:pt>
                <c:pt idx="1">
                  <c:v>963.8581459792927</c:v>
                </c:pt>
              </c:numCache>
            </c:numRef>
          </c:xVal>
          <c:yVal>
            <c:numRef>
              <c:f>Sheet1!$B$175:$B$176</c:f>
              <c:numCache>
                <c:formatCode>General</c:formatCode>
                <c:ptCount val="2"/>
                <c:pt idx="0">
                  <c:v>0.141891846938262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1.5234474238775</c:v>
                </c:pt>
              </c:numCache>
            </c:numRef>
          </c:xVal>
          <c:yVal>
            <c:numRef>
              <c:f>Sheet1!$B$179:$B$180</c:f>
              <c:numCache>
                <c:formatCode>General</c:formatCode>
                <c:ptCount val="2"/>
                <c:pt idx="0">
                  <c:v>0.11867795383105458</c:v>
                </c:pt>
                <c:pt idx="1">
                  <c:v>0.118677953831054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1.5234474238775</c:v>
                </c:pt>
                <c:pt idx="1">
                  <c:v>1091.5234474238775</c:v>
                </c:pt>
              </c:numCache>
            </c:numRef>
          </c:xVal>
          <c:yVal>
            <c:numRef>
              <c:f>Sheet1!$B$183:$B$184</c:f>
              <c:numCache>
                <c:formatCode>General</c:formatCode>
                <c:ptCount val="2"/>
                <c:pt idx="0">
                  <c:v>0.118677953831054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7.598</c:v>
                </c:pt>
                <c:pt idx="1">
                  <c:v>1134.3303</c:v>
                </c:pt>
                <c:pt idx="2">
                  <c:v>1138.5535</c:v>
                </c:pt>
                <c:pt idx="3">
                  <c:v>1131.0872</c:v>
                </c:pt>
                <c:pt idx="4">
                  <c:v>1148.7325</c:v>
                </c:pt>
                <c:pt idx="5">
                  <c:v>1128.3703</c:v>
                </c:pt>
                <c:pt idx="6">
                  <c:v>1001.426</c:v>
                </c:pt>
                <c:pt idx="7">
                  <c:v>1016.6</c:v>
                </c:pt>
                <c:pt idx="8">
                  <c:v>1085.6682</c:v>
                </c:pt>
                <c:pt idx="9">
                  <c:v>1026.6214</c:v>
                </c:pt>
                <c:pt idx="10">
                  <c:v>1083.408</c:v>
                </c:pt>
                <c:pt idx="11">
                  <c:v>898.2714</c:v>
                </c:pt>
                <c:pt idx="12">
                  <c:v>948.6164</c:v>
                </c:pt>
                <c:pt idx="13">
                  <c:v>1047.0037</c:v>
                </c:pt>
                <c:pt idx="14">
                  <c:v>1026.7276</c:v>
                </c:pt>
                <c:pt idx="15">
                  <c:v>1057.4867</c:v>
                </c:pt>
                <c:pt idx="16">
                  <c:v>1117.9114</c:v>
                </c:pt>
                <c:pt idx="17">
                  <c:v>1077.4837</c:v>
                </c:pt>
                <c:pt idx="18">
                  <c:v>897.6488</c:v>
                </c:pt>
                <c:pt idx="19">
                  <c:v>1109.3161</c:v>
                </c:pt>
                <c:pt idx="20">
                  <c:v>1211.4811</c:v>
                </c:pt>
                <c:pt idx="21">
                  <c:v>1105.557</c:v>
                </c:pt>
                <c:pt idx="22">
                  <c:v>1218.84</c:v>
                </c:pt>
                <c:pt idx="23">
                  <c:v>1115.2892</c:v>
                </c:pt>
                <c:pt idx="24">
                  <c:v>1151.0989</c:v>
                </c:pt>
                <c:pt idx="25">
                  <c:v>1066.4021</c:v>
                </c:pt>
                <c:pt idx="26">
                  <c:v>1130.4118</c:v>
                </c:pt>
                <c:pt idx="27">
                  <c:v>1126.1136</c:v>
                </c:pt>
                <c:pt idx="28">
                  <c:v>1073.2471</c:v>
                </c:pt>
                <c:pt idx="29">
                  <c:v>1044.4189</c:v>
                </c:pt>
                <c:pt idx="30">
                  <c:v>964.1622</c:v>
                </c:pt>
                <c:pt idx="31">
                  <c:v>987.7184</c:v>
                </c:pt>
                <c:pt idx="32">
                  <c:v>974.1317</c:v>
                </c:pt>
                <c:pt idx="33">
                  <c:v>979.3469</c:v>
                </c:pt>
                <c:pt idx="34">
                  <c:v>1000.114</c:v>
                </c:pt>
                <c:pt idx="35">
                  <c:v>995.2754</c:v>
                </c:pt>
                <c:pt idx="36">
                  <c:v>1036.9156</c:v>
                </c:pt>
                <c:pt idx="37">
                  <c:v>1162.4818</c:v>
                </c:pt>
                <c:pt idx="38">
                  <c:v>1197.3864</c:v>
                </c:pt>
                <c:pt idx="39">
                  <c:v>1138.9358</c:v>
                </c:pt>
                <c:pt idx="40">
                  <c:v>1170.1307</c:v>
                </c:pt>
                <c:pt idx="41">
                  <c:v>1234.9342</c:v>
                </c:pt>
                <c:pt idx="42">
                  <c:v>1259.6667</c:v>
                </c:pt>
                <c:pt idx="43">
                  <c:v>1239.2864</c:v>
                </c:pt>
                <c:pt idx="44">
                  <c:v>1119.7359</c:v>
                </c:pt>
                <c:pt idx="45">
                  <c:v>1090.2048</c:v>
                </c:pt>
                <c:pt idx="46">
                  <c:v>1106.1208</c:v>
                </c:pt>
                <c:pt idx="47">
                  <c:v>1094.1511</c:v>
                </c:pt>
                <c:pt idx="48">
                  <c:v>1091.9661</c:v>
                </c:pt>
                <c:pt idx="49">
                  <c:v>1097.4057</c:v>
                </c:pt>
                <c:pt idx="50">
                  <c:v>965.7159</c:v>
                </c:pt>
                <c:pt idx="51">
                  <c:v>931.2437</c:v>
                </c:pt>
                <c:pt idx="52">
                  <c:v>963.8581459792927</c:v>
                </c:pt>
                <c:pt idx="53">
                  <c:v>734.0854723761591</c:v>
                </c:pt>
                <c:pt idx="54">
                  <c:v>1091.5234474238775</c:v>
                </c:pt>
              </c:numCache>
            </c:numRef>
          </c:xVal>
          <c:yVal>
            <c:numRef>
              <c:f>Sheet1!$B$187:$B$241</c:f>
              <c:numCache>
                <c:formatCode>General</c:formatCode>
                <c:ptCount val="55"/>
                <c:pt idx="0">
                  <c:v>0.10848169333734772</c:v>
                </c:pt>
                <c:pt idx="1">
                  <c:v>0.11089421237026745</c:v>
                </c:pt>
                <c:pt idx="2">
                  <c:v>0.11012629099882956</c:v>
                </c:pt>
                <c:pt idx="3">
                  <c:v>0.11148391823305168</c:v>
                </c:pt>
                <c:pt idx="4">
                  <c:v>0.10827540265826635</c:v>
                </c:pt>
                <c:pt idx="5">
                  <c:v>0.11197794304221523</c:v>
                </c:pt>
                <c:pt idx="6">
                  <c:v>0.13506073356888337</c:v>
                </c:pt>
                <c:pt idx="7">
                  <c:v>0.13230158437154516</c:v>
                </c:pt>
                <c:pt idx="8">
                  <c:v>0.11974263692251419</c:v>
                </c:pt>
                <c:pt idx="9">
                  <c:v>0.13047935307022676</c:v>
                </c:pt>
                <c:pt idx="10">
                  <c:v>0.12015361814142972</c:v>
                </c:pt>
                <c:pt idx="11">
                  <c:v>0.15381774765822995</c:v>
                </c:pt>
                <c:pt idx="12">
                  <c:v>0.14466331465836224</c:v>
                </c:pt>
                <c:pt idx="13">
                  <c:v>0.12677315782277015</c:v>
                </c:pt>
                <c:pt idx="14">
                  <c:v>0.1304600422988575</c:v>
                </c:pt>
                <c:pt idx="15">
                  <c:v>0.12486699194457743</c:v>
                </c:pt>
                <c:pt idx="16">
                  <c:v>0.11387972672087882</c:v>
                </c:pt>
                <c:pt idx="17">
                  <c:v>0.12123085733938613</c:v>
                </c:pt>
                <c:pt idx="18">
                  <c:v>0.1539309575099673</c:v>
                </c:pt>
                <c:pt idx="19">
                  <c:v>0.11544264454715275</c:v>
                </c:pt>
                <c:pt idx="20">
                  <c:v>0.0968655733895108</c:v>
                </c:pt>
                <c:pt idx="21">
                  <c:v>0.11612617675670292</c:v>
                </c:pt>
                <c:pt idx="22">
                  <c:v>0.0955274751274644</c:v>
                </c:pt>
                <c:pt idx="23">
                  <c:v>0.11435653184973477</c:v>
                </c:pt>
                <c:pt idx="24">
                  <c:v>0.10784511066798161</c:v>
                </c:pt>
                <c:pt idx="25">
                  <c:v>0.12324586905318757</c:v>
                </c:pt>
                <c:pt idx="26">
                  <c:v>0.11160672892027204</c:v>
                </c:pt>
                <c:pt idx="27">
                  <c:v>0.112388287842112</c:v>
                </c:pt>
                <c:pt idx="28">
                  <c:v>0.12200121528649585</c:v>
                </c:pt>
                <c:pt idx="29">
                  <c:v>0.12724316235982563</c:v>
                </c:pt>
                <c:pt idx="30">
                  <c:v>0.14183655957783103</c:v>
                </c:pt>
                <c:pt idx="31">
                  <c:v>0.13755324138076114</c:v>
                </c:pt>
                <c:pt idx="32">
                  <c:v>0.14002376546139084</c:v>
                </c:pt>
                <c:pt idx="33">
                  <c:v>0.13907546475663546</c:v>
                </c:pt>
                <c:pt idx="34">
                  <c:v>0.13529929978391617</c:v>
                </c:pt>
                <c:pt idx="35">
                  <c:v>0.13617912180225286</c:v>
                </c:pt>
                <c:pt idx="36">
                  <c:v>0.12860751745224605</c:v>
                </c:pt>
                <c:pt idx="37">
                  <c:v>0.10577531236836507</c:v>
                </c:pt>
                <c:pt idx="38">
                  <c:v>0.09942846914486356</c:v>
                </c:pt>
                <c:pt idx="39">
                  <c:v>0.11005677585858029</c:v>
                </c:pt>
                <c:pt idx="40">
                  <c:v>0.10438448224476415</c:v>
                </c:pt>
                <c:pt idx="41">
                  <c:v>0.09260100227839357</c:v>
                </c:pt>
                <c:pt idx="42">
                  <c:v>0.08810379274081825</c:v>
                </c:pt>
                <c:pt idx="43">
                  <c:v>0.09180962432026418</c:v>
                </c:pt>
                <c:pt idx="44">
                  <c:v>0.11354797057809882</c:v>
                </c:pt>
                <c:pt idx="45">
                  <c:v>0.11891772877379636</c:v>
                </c:pt>
                <c:pt idx="46">
                  <c:v>0.11602365874448076</c:v>
                </c:pt>
                <c:pt idx="47">
                  <c:v>0.11820015723844274</c:v>
                </c:pt>
                <c:pt idx="48">
                  <c:v>0.11859746454015513</c:v>
                </c:pt>
                <c:pt idx="49">
                  <c:v>0.11760836028459687</c:v>
                </c:pt>
                <c:pt idx="50">
                  <c:v>0.14155404408370262</c:v>
                </c:pt>
                <c:pt idx="51">
                  <c:v>0.1478222622832863</c:v>
                </c:pt>
                <c:pt idx="52">
                  <c:v>0.14189184693826218</c:v>
                </c:pt>
                <c:pt idx="53">
                  <c:v>0.18367233250188036</c:v>
                </c:pt>
                <c:pt idx="54">
                  <c:v>0.11867795383105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2.0"/>
          <c:min val="58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339366515837103"/>
          <c:min val="0.059895833333333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655157861482882</c:v>
                </c:pt>
                <c:pt idx="1">
                  <c:v>1.9969767562375644</c:v>
                </c:pt>
                <c:pt idx="2">
                  <c:v>2.1483196423128317</c:v>
                </c:pt>
                <c:pt idx="3">
                  <c:v>2.147247785866858</c:v>
                </c:pt>
                <c:pt idx="4">
                  <c:v>2.1624687161827083</c:v>
                </c:pt>
                <c:pt idx="5">
                  <c:v>1.885528966129566</c:v>
                </c:pt>
                <c:pt idx="6">
                  <c:v>1.636210499055566</c:v>
                </c:pt>
                <c:pt idx="7">
                  <c:v>1.6887657590116174</c:v>
                </c:pt>
                <c:pt idx="8">
                  <c:v>1.7199645540401336</c:v>
                </c:pt>
                <c:pt idx="9">
                  <c:v>1.8100244608488614</c:v>
                </c:pt>
                <c:pt idx="10">
                  <c:v>1.6518839136603116</c:v>
                </c:pt>
                <c:pt idx="11">
                  <c:v>1.6965260228361345</c:v>
                </c:pt>
                <c:pt idx="12">
                  <c:v>1.740387209475879</c:v>
                </c:pt>
                <c:pt idx="13">
                  <c:v>1.6932506020694007</c:v>
                </c:pt>
                <c:pt idx="14">
                  <c:v>1.7442267330425494</c:v>
                </c:pt>
                <c:pt idx="15">
                  <c:v>1.7862029477674561</c:v>
                </c:pt>
                <c:pt idx="16">
                  <c:v>1.7587740354906252</c:v>
                </c:pt>
                <c:pt idx="17">
                  <c:v>2.0322217104895888</c:v>
                </c:pt>
                <c:pt idx="18">
                  <c:v>2.488866575297946</c:v>
                </c:pt>
                <c:pt idx="19">
                  <c:v>2.4755639718647604</c:v>
                </c:pt>
                <c:pt idx="20">
                  <c:v>2.4079572241029013</c:v>
                </c:pt>
                <c:pt idx="21">
                  <c:v>2.4904233657070236</c:v>
                </c:pt>
                <c:pt idx="22">
                  <c:v>2.393303676151092</c:v>
                </c:pt>
                <c:pt idx="23">
                  <c:v>2.5153273251739705</c:v>
                </c:pt>
                <c:pt idx="24">
                  <c:v>2.445295039164491</c:v>
                </c:pt>
                <c:pt idx="25">
                  <c:v>2.540122048044431</c:v>
                </c:pt>
                <c:pt idx="26">
                  <c:v>1.9807871928443614</c:v>
                </c:pt>
                <c:pt idx="27">
                  <c:v>1.9218479259933514</c:v>
                </c:pt>
                <c:pt idx="28">
                  <c:v>1.863313426067979</c:v>
                </c:pt>
                <c:pt idx="29">
                  <c:v>1.6681332600970755</c:v>
                </c:pt>
                <c:pt idx="30">
                  <c:v>1.7510944066118863</c:v>
                </c:pt>
                <c:pt idx="31">
                  <c:v>1.7336432446253887</c:v>
                </c:pt>
                <c:pt idx="32">
                  <c:v>1.6709390076682866</c:v>
                </c:pt>
                <c:pt idx="33">
                  <c:v>1.578747972574117</c:v>
                </c:pt>
                <c:pt idx="34">
                  <c:v>1.7053809227061012</c:v>
                </c:pt>
                <c:pt idx="35">
                  <c:v>1.8251097996903285</c:v>
                </c:pt>
                <c:pt idx="36">
                  <c:v>2.023892045053066</c:v>
                </c:pt>
                <c:pt idx="37">
                  <c:v>2.068966190244129</c:v>
                </c:pt>
                <c:pt idx="38">
                  <c:v>2.1994582396040587</c:v>
                </c:pt>
                <c:pt idx="39">
                  <c:v>2.2157541970832715</c:v>
                </c:pt>
                <c:pt idx="40">
                  <c:v>2.1800359412886214</c:v>
                </c:pt>
                <c:pt idx="41">
                  <c:v>2.2037206433032743</c:v>
                </c:pt>
                <c:pt idx="42">
                  <c:v>2.2236246695063384</c:v>
                </c:pt>
                <c:pt idx="43">
                  <c:v>2.2205404999149536</c:v>
                </c:pt>
                <c:pt idx="44">
                  <c:v>2.021244170437031</c:v>
                </c:pt>
                <c:pt idx="45">
                  <c:v>1.9528422560164302</c:v>
                </c:pt>
                <c:pt idx="46">
                  <c:v>1.9695737225332832</c:v>
                </c:pt>
                <c:pt idx="47">
                  <c:v>1.9499854016833897</c:v>
                </c:pt>
                <c:pt idx="48">
                  <c:v>1.9645216461414572</c:v>
                </c:pt>
                <c:pt idx="49">
                  <c:v>1.9352957046370678</c:v>
                </c:pt>
                <c:pt idx="50">
                  <c:v>1.8523460757963257</c:v>
                </c:pt>
                <c:pt idx="51">
                  <c:v>1.8728415578510866</c:v>
                </c:pt>
                <c:pt idx="52">
                  <c:v>1.886494504631336</c:v>
                </c:pt>
                <c:pt idx="53">
                  <c:v>2.0798395921954116</c:v>
                </c:pt>
                <c:pt idx="54">
                  <c:v>2.109607796348245</c:v>
                </c:pt>
                <c:pt idx="55">
                  <c:v>2.1652171912964566</c:v>
                </c:pt>
                <c:pt idx="56">
                  <c:v>2.278359328583994</c:v>
                </c:pt>
                <c:pt idx="57">
                  <c:v>2.255975794752973</c:v>
                </c:pt>
                <c:pt idx="58">
                  <c:v>2.0470066412873624</c:v>
                </c:pt>
                <c:pt idx="59">
                  <c:v>2.1816243466008305</c:v>
                </c:pt>
                <c:pt idx="60">
                  <c:v>2.224540105898412</c:v>
                </c:pt>
                <c:pt idx="61">
                  <c:v>2.1173850437335178</c:v>
                </c:pt>
                <c:pt idx="62">
                  <c:v>2.004393749133273</c:v>
                </c:pt>
                <c:pt idx="63">
                  <c:v>2.0990308739254555</c:v>
                </c:pt>
                <c:pt idx="64">
                  <c:v>2.1028540453815707</c:v>
                </c:pt>
                <c:pt idx="65">
                  <c:v>2.087705366185211</c:v>
                </c:pt>
                <c:pt idx="66">
                  <c:v>2.0476044670260234</c:v>
                </c:pt>
                <c:pt idx="67">
                  <c:v>2.1923642264604895</c:v>
                </c:pt>
                <c:pt idx="68">
                  <c:v>2.2456817208828435</c:v>
                </c:pt>
                <c:pt idx="69">
                  <c:v>2.030263742461096</c:v>
                </c:pt>
                <c:pt idx="70">
                  <c:v>2.207121340686461</c:v>
                </c:pt>
                <c:pt idx="71">
                  <c:v>2.306530527370972</c:v>
                </c:pt>
                <c:pt idx="72">
                  <c:v>2.3968845419932086</c:v>
                </c:pt>
                <c:pt idx="73">
                  <c:v>2.354947281310657</c:v>
                </c:pt>
                <c:pt idx="74">
                  <c:v>2.265758338109427</c:v>
                </c:pt>
                <c:pt idx="75">
                  <c:v>2.255318968630766</c:v>
                </c:pt>
                <c:pt idx="76">
                  <c:v>2.3705040314466252</c:v>
                </c:pt>
                <c:pt idx="77">
                  <c:v>2.4965839055557035</c:v>
                </c:pt>
                <c:pt idx="78">
                  <c:v>2.377820367809876</c:v>
                </c:pt>
                <c:pt idx="79">
                  <c:v>2.4661197631869567</c:v>
                </c:pt>
                <c:pt idx="80">
                  <c:v>2.4048564654113034</c:v>
                </c:pt>
                <c:pt idx="81">
                  <c:v>2.3803328612495047</c:v>
                </c:pt>
                <c:pt idx="82">
                  <c:v>2.372985274103182</c:v>
                </c:pt>
                <c:pt idx="83">
                  <c:v>2.376381053225795</c:v>
                </c:pt>
                <c:pt idx="84">
                  <c:v>2.2692059659064707</c:v>
                </c:pt>
                <c:pt idx="85">
                  <c:v>2.2186293183341483</c:v>
                </c:pt>
                <c:pt idx="86">
                  <c:v>2.241973127108462</c:v>
                </c:pt>
                <c:pt idx="87">
                  <c:v>2.24786226121191</c:v>
                </c:pt>
                <c:pt idx="88">
                  <c:v>2.3041225614669734</c:v>
                </c:pt>
                <c:pt idx="89">
                  <c:v>2.1871327176049156</c:v>
                </c:pt>
                <c:pt idx="90">
                  <c:v>2.3768546368747625</c:v>
                </c:pt>
                <c:pt idx="91">
                  <c:v>2.465936524772233</c:v>
                </c:pt>
                <c:pt idx="92">
                  <c:v>2.350695697894449</c:v>
                </c:pt>
                <c:pt idx="93">
                  <c:v>2.167662425691875</c:v>
                </c:pt>
                <c:pt idx="94">
                  <c:v>2.1369266046142994</c:v>
                </c:pt>
                <c:pt idx="95">
                  <c:v>2.1193326246369995</c:v>
                </c:pt>
                <c:pt idx="96">
                  <c:v>2.028112923889293</c:v>
                </c:pt>
                <c:pt idx="97">
                  <c:v>1.9771810685194513</c:v>
                </c:pt>
                <c:pt idx="98">
                  <c:v>2.0234066649310076</c:v>
                </c:pt>
                <c:pt idx="99">
                  <c:v>2.082130448877992</c:v>
                </c:pt>
                <c:pt idx="100">
                  <c:v>1.8367173544706585</c:v>
                </c:pt>
                <c:pt idx="101">
                  <c:v>1.7357569947999265</c:v>
                </c:pt>
                <c:pt idx="102">
                  <c:v>1.744524310160774</c:v>
                </c:pt>
                <c:pt idx="103">
                  <c:v>1.6942372155649825</c:v>
                </c:pt>
                <c:pt idx="104">
                  <c:v>1.8750979846785354</c:v>
                </c:pt>
              </c:numCache>
            </c:numRef>
          </c:xVal>
          <c:yVal>
            <c:numRef>
              <c:f>Sheet1!$B$2:$B$106</c:f>
              <c:numCache>
                <c:formatCode>General</c:formatCode>
                <c:ptCount val="105"/>
                <c:pt idx="0">
                  <c:v>0.19794980558501238</c:v>
                </c:pt>
                <c:pt idx="1">
                  <c:v>0.18756512678013199</c:v>
                </c:pt>
                <c:pt idx="2">
                  <c:v>0.1481262909412806</c:v>
                </c:pt>
                <c:pt idx="3">
                  <c:v>0.1518821603927987</c:v>
                </c:pt>
                <c:pt idx="4">
                  <c:v>0.13005202080832334</c:v>
                </c:pt>
                <c:pt idx="5">
                  <c:v>0.11329661683713611</c:v>
                </c:pt>
                <c:pt idx="6">
                  <c:v>0.13740808823529413</c:v>
                </c:pt>
                <c:pt idx="7">
                  <c:v>0.12734082397003746</c:v>
                </c:pt>
                <c:pt idx="8">
                  <c:v>0.15060240963855423</c:v>
                </c:pt>
                <c:pt idx="9">
                  <c:v>0.19344413665743307</c:v>
                </c:pt>
                <c:pt idx="10">
                  <c:v>0.19127205199628597</c:v>
                </c:pt>
                <c:pt idx="11">
                  <c:v>0.17037754114230397</c:v>
                </c:pt>
                <c:pt idx="12">
                  <c:v>0.19852262234533702</c:v>
                </c:pt>
                <c:pt idx="13">
                  <c:v>0.20884729902169288</c:v>
                </c:pt>
                <c:pt idx="14">
                  <c:v>0.2044153720359771</c:v>
                </c:pt>
                <c:pt idx="15">
                  <c:v>0.21116138763197587</c:v>
                </c:pt>
                <c:pt idx="16">
                  <c:v>0.20122699386503068</c:v>
                </c:pt>
                <c:pt idx="17">
                  <c:v>0.18121252498334445</c:v>
                </c:pt>
                <c:pt idx="18">
                  <c:v>0.15421686746987953</c:v>
                </c:pt>
                <c:pt idx="19">
                  <c:v>0.15014367816091953</c:v>
                </c:pt>
                <c:pt idx="20">
                  <c:v>0.1679340937896071</c:v>
                </c:pt>
                <c:pt idx="21">
                  <c:v>0.15496575342465754</c:v>
                </c:pt>
                <c:pt idx="22">
                  <c:v>0.15773353751914243</c:v>
                </c:pt>
                <c:pt idx="23">
                  <c:v>0.16978193146417445</c:v>
                </c:pt>
                <c:pt idx="24">
                  <c:v>0.17470300489168414</c:v>
                </c:pt>
                <c:pt idx="25">
                  <c:v>0.16876971608832808</c:v>
                </c:pt>
                <c:pt idx="26">
                  <c:v>0.1939487975174554</c:v>
                </c:pt>
                <c:pt idx="27">
                  <c:v>0.16865776528461</c:v>
                </c:pt>
                <c:pt idx="28">
                  <c:v>0.16516129032258065</c:v>
                </c:pt>
                <c:pt idx="29">
                  <c:v>0.18161180476730987</c:v>
                </c:pt>
                <c:pt idx="30">
                  <c:v>0.18115942028985507</c:v>
                </c:pt>
                <c:pt idx="31">
                  <c:v>0.1782178217821782</c:v>
                </c:pt>
                <c:pt idx="32">
                  <c:v>0.16777188328912468</c:v>
                </c:pt>
                <c:pt idx="33">
                  <c:v>0.19970486965076242</c:v>
                </c:pt>
                <c:pt idx="34">
                  <c:v>0.19049927290353855</c:v>
                </c:pt>
                <c:pt idx="35">
                  <c:v>0.17608695652173914</c:v>
                </c:pt>
                <c:pt idx="36">
                  <c:v>0.12649006622516556</c:v>
                </c:pt>
                <c:pt idx="37">
                  <c:v>0.1293499671700591</c:v>
                </c:pt>
                <c:pt idx="38">
                  <c:v>0.12483829236739974</c:v>
                </c:pt>
                <c:pt idx="39">
                  <c:v>0.11550151975683891</c:v>
                </c:pt>
                <c:pt idx="40">
                  <c:v>0.1135</c:v>
                </c:pt>
                <c:pt idx="41">
                  <c:v>0.09668353007307476</c:v>
                </c:pt>
                <c:pt idx="42">
                  <c:v>0.10329670329670329</c:v>
                </c:pt>
                <c:pt idx="43">
                  <c:v>0.10967472894078399</c:v>
                </c:pt>
                <c:pt idx="44">
                  <c:v>0.1340670335167584</c:v>
                </c:pt>
                <c:pt idx="45">
                  <c:v>0.1523099133782483</c:v>
                </c:pt>
                <c:pt idx="46">
                  <c:v>0.15603939865215138</c:v>
                </c:pt>
                <c:pt idx="47">
                  <c:v>0.1617954070981211</c:v>
                </c:pt>
                <c:pt idx="48">
                  <c:v>0.16697796040343668</c:v>
                </c:pt>
                <c:pt idx="49">
                  <c:v>0.19410244718042255</c:v>
                </c:pt>
                <c:pt idx="50">
                  <c:v>0.15138888888888888</c:v>
                </c:pt>
                <c:pt idx="51">
                  <c:v>0.12678288431061807</c:v>
                </c:pt>
                <c:pt idx="52">
                  <c:v>0.14330708661417324</c:v>
                </c:pt>
                <c:pt idx="53">
                  <c:v>0.11383399209486166</c:v>
                </c:pt>
                <c:pt idx="54">
                  <c:v>0.116</c:v>
                </c:pt>
                <c:pt idx="55">
                  <c:v>0.10035366931918656</c:v>
                </c:pt>
                <c:pt idx="56">
                  <c:v>0.09734093067426401</c:v>
                </c:pt>
                <c:pt idx="57">
                  <c:v>0.08905764584052468</c:v>
                </c:pt>
                <c:pt idx="58">
                  <c:v>0.12207792207792208</c:v>
                </c:pt>
                <c:pt idx="59">
                  <c:v>0.14146134239592184</c:v>
                </c:pt>
                <c:pt idx="60">
                  <c:v>0.15256723716381418</c:v>
                </c:pt>
                <c:pt idx="61">
                  <c:v>0.1332194705380017</c:v>
                </c:pt>
                <c:pt idx="62">
                  <c:v>0.15171924849344204</c:v>
                </c:pt>
                <c:pt idx="63">
                  <c:v>0.17974217311233887</c:v>
                </c:pt>
                <c:pt idx="64">
                  <c:v>0.17391304347826086</c:v>
                </c:pt>
                <c:pt idx="65">
                  <c:v>0.1466950959488273</c:v>
                </c:pt>
                <c:pt idx="66">
                  <c:v>0.1513157894736842</c:v>
                </c:pt>
                <c:pt idx="67">
                  <c:v>0.1335676625659051</c:v>
                </c:pt>
                <c:pt idx="68">
                  <c:v>0.1133032694475761</c:v>
                </c:pt>
                <c:pt idx="69">
                  <c:v>0.09857142857142857</c:v>
                </c:pt>
                <c:pt idx="70">
                  <c:v>0.08416458852867831</c:v>
                </c:pt>
                <c:pt idx="71">
                  <c:v>0.09887193098871931</c:v>
                </c:pt>
                <c:pt idx="72">
                  <c:v>0.11236702127659574</c:v>
                </c:pt>
                <c:pt idx="73">
                  <c:v>0.10191082802547771</c:v>
                </c:pt>
                <c:pt idx="74">
                  <c:v>0.10887316276537834</c:v>
                </c:pt>
                <c:pt idx="75">
                  <c:v>0.11503856041131105</c:v>
                </c:pt>
                <c:pt idx="76">
                  <c:v>0.10506980161645849</c:v>
                </c:pt>
                <c:pt idx="77">
                  <c:v>0.10526315789473684</c:v>
                </c:pt>
                <c:pt idx="78">
                  <c:v>0.1059190031152648</c:v>
                </c:pt>
                <c:pt idx="79">
                  <c:v>0.08854860186418109</c:v>
                </c:pt>
                <c:pt idx="80">
                  <c:v>0.07486979166666667</c:v>
                </c:pt>
                <c:pt idx="81">
                  <c:v>0.09898762654668167</c:v>
                </c:pt>
                <c:pt idx="82">
                  <c:v>0.08339709257842387</c:v>
                </c:pt>
                <c:pt idx="83">
                  <c:v>0.07986688851913477</c:v>
                </c:pt>
                <c:pt idx="84">
                  <c:v>0.08617747440273038</c:v>
                </c:pt>
                <c:pt idx="85">
                  <c:v>0.10357403355215171</c:v>
                </c:pt>
                <c:pt idx="86">
                  <c:v>0.12103407755581669</c:v>
                </c:pt>
                <c:pt idx="87">
                  <c:v>0.13126188966391883</c:v>
                </c:pt>
                <c:pt idx="88">
                  <c:v>0.0903954802259887</c:v>
                </c:pt>
                <c:pt idx="89">
                  <c:v>0.10278884462151394</c:v>
                </c:pt>
                <c:pt idx="90">
                  <c:v>0.10328997704667177</c:v>
                </c:pt>
                <c:pt idx="91">
                  <c:v>0.09789156626506024</c:v>
                </c:pt>
                <c:pt idx="92">
                  <c:v>0.09993792675356922</c:v>
                </c:pt>
                <c:pt idx="93">
                  <c:v>0.10608598548297041</c:v>
                </c:pt>
                <c:pt idx="94">
                  <c:v>0.10619469026548672</c:v>
                </c:pt>
                <c:pt idx="95">
                  <c:v>0.11448275862068966</c:v>
                </c:pt>
                <c:pt idx="96">
                  <c:v>0.12112676056338029</c:v>
                </c:pt>
                <c:pt idx="97">
                  <c:v>0.14569842738205366</c:v>
                </c:pt>
                <c:pt idx="98">
                  <c:v>0.15508684863523572</c:v>
                </c:pt>
                <c:pt idx="99">
                  <c:v>0.15998501311352567</c:v>
                </c:pt>
                <c:pt idx="100">
                  <c:v>0.1871713985278654</c:v>
                </c:pt>
                <c:pt idx="101">
                  <c:v>0.14728682170542637</c:v>
                </c:pt>
                <c:pt idx="102">
                  <c:v>0.11682070240295749</c:v>
                </c:pt>
                <c:pt idx="103">
                  <c:v>0.1290545203588682</c:v>
                </c:pt>
                <c:pt idx="104">
                  <c:v>0.123902439024390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175845754017785</c:v>
                </c:pt>
                <c:pt idx="1">
                  <c:v>1.7661620609313529</c:v>
                </c:pt>
                <c:pt idx="2">
                  <c:v>1.7204306843320478</c:v>
                </c:pt>
                <c:pt idx="3">
                  <c:v>1.7638528183758395</c:v>
                </c:pt>
                <c:pt idx="4">
                  <c:v>1.7581153084091152</c:v>
                </c:pt>
                <c:pt idx="5">
                  <c:v>1.6815657452286328</c:v>
                </c:pt>
                <c:pt idx="6">
                  <c:v>1.615528937285743</c:v>
                </c:pt>
                <c:pt idx="7">
                  <c:v>1.5558640279522926</c:v>
                </c:pt>
                <c:pt idx="8">
                  <c:v>1.6250418546226737</c:v>
                </c:pt>
                <c:pt idx="9">
                  <c:v>1.6137874878272875</c:v>
                </c:pt>
                <c:pt idx="10">
                  <c:v>1.6251119187444039</c:v>
                </c:pt>
                <c:pt idx="11">
                  <c:v>1.690468281962451</c:v>
                </c:pt>
                <c:pt idx="12">
                  <c:v>1.6526976695728044</c:v>
                </c:pt>
                <c:pt idx="13">
                  <c:v>1.567834352222401</c:v>
                </c:pt>
                <c:pt idx="14">
                  <c:v>1.5438570216615344</c:v>
                </c:pt>
                <c:pt idx="15">
                  <c:v>1.6165979228098797</c:v>
                </c:pt>
                <c:pt idx="16">
                  <c:v>1.701044125203727</c:v>
                </c:pt>
                <c:pt idx="17">
                  <c:v>1.6191827444052445</c:v>
                </c:pt>
                <c:pt idx="18">
                  <c:v>1.3593242514734298</c:v>
                </c:pt>
                <c:pt idx="19">
                  <c:v>1.7138430406437395</c:v>
                </c:pt>
                <c:pt idx="20">
                  <c:v>1.759127348867331</c:v>
                </c:pt>
                <c:pt idx="21">
                  <c:v>1.676459027967748</c:v>
                </c:pt>
                <c:pt idx="22">
                  <c:v>1.8457998981117971</c:v>
                </c:pt>
                <c:pt idx="23">
                  <c:v>1.647941693062605</c:v>
                </c:pt>
                <c:pt idx="24">
                  <c:v>1.7546559935026906</c:v>
                </c:pt>
                <c:pt idx="25">
                  <c:v>1.7165246560800573</c:v>
                </c:pt>
                <c:pt idx="26">
                  <c:v>1.6987620235675225</c:v>
                </c:pt>
                <c:pt idx="27">
                  <c:v>1.678866691454536</c:v>
                </c:pt>
                <c:pt idx="28">
                  <c:v>1.6408576728516173</c:v>
                </c:pt>
                <c:pt idx="29">
                  <c:v>1.5419798787373769</c:v>
                </c:pt>
                <c:pt idx="30">
                  <c:v>1.4185809014918636</c:v>
                </c:pt>
                <c:pt idx="31">
                  <c:v>1.4453798679324663</c:v>
                </c:pt>
                <c:pt idx="32">
                  <c:v>1.4791675872253034</c:v>
                </c:pt>
                <c:pt idx="33">
                  <c:v>1.4499646964643609</c:v>
                </c:pt>
                <c:pt idx="34">
                  <c:v>1.508015394479001</c:v>
                </c:pt>
                <c:pt idx="35">
                  <c:v>1.3954237717780098</c:v>
                </c:pt>
                <c:pt idx="36">
                  <c:v>1.4888011361180824</c:v>
                </c:pt>
                <c:pt idx="37">
                  <c:v>1.6924652886313618</c:v>
                </c:pt>
                <c:pt idx="38">
                  <c:v>1.7352156110313666</c:v>
                </c:pt>
                <c:pt idx="39">
                  <c:v>1.7331432804423461</c:v>
                </c:pt>
                <c:pt idx="40">
                  <c:v>1.7248556663434518</c:v>
                </c:pt>
                <c:pt idx="41">
                  <c:v>1.7727831278326562</c:v>
                </c:pt>
                <c:pt idx="42">
                  <c:v>1.831722130426077</c:v>
                </c:pt>
                <c:pt idx="43">
                  <c:v>1.8379798462178474</c:v>
                </c:pt>
                <c:pt idx="44">
                  <c:v>1.6570881645639866</c:v>
                </c:pt>
                <c:pt idx="45">
                  <c:v>1.7125124860334713</c:v>
                </c:pt>
                <c:pt idx="46">
                  <c:v>1.6818937454222436</c:v>
                </c:pt>
                <c:pt idx="47">
                  <c:v>1.761958892444527</c:v>
                </c:pt>
                <c:pt idx="48">
                  <c:v>1.6801269735373328</c:v>
                </c:pt>
                <c:pt idx="49">
                  <c:v>1.7361854997147506</c:v>
                </c:pt>
                <c:pt idx="50">
                  <c:v>1.5555015963078347</c:v>
                </c:pt>
                <c:pt idx="51">
                  <c:v>1.5055138149307241</c:v>
                </c:pt>
              </c:numCache>
            </c:numRef>
          </c:xVal>
          <c:yVal>
            <c:numRef>
              <c:f>Sheet1!$B$109:$B$160</c:f>
              <c:numCache>
                <c:formatCode>General</c:formatCode>
                <c:ptCount val="52"/>
                <c:pt idx="0">
                  <c:v>0.12361396303901437</c:v>
                </c:pt>
                <c:pt idx="1">
                  <c:v>0.13385182153090464</c:v>
                </c:pt>
                <c:pt idx="2">
                  <c:v>0.1339541547277937</c:v>
                </c:pt>
                <c:pt idx="3">
                  <c:v>0.1366344005956813</c:v>
                </c:pt>
                <c:pt idx="4">
                  <c:v>0.11455431754874652</c:v>
                </c:pt>
                <c:pt idx="5">
                  <c:v>0.13367052023121387</c:v>
                </c:pt>
                <c:pt idx="6">
                  <c:v>0.13989927252378287</c:v>
                </c:pt>
                <c:pt idx="7">
                  <c:v>0.12285927029039465</c:v>
                </c:pt>
                <c:pt idx="8">
                  <c:v>0.12360867018160515</c:v>
                </c:pt>
                <c:pt idx="9">
                  <c:v>0.1281645569620253</c:v>
                </c:pt>
                <c:pt idx="10">
                  <c:v>0.12506253126563283</c:v>
                </c:pt>
                <c:pt idx="11">
                  <c:v>0.15347091932457785</c:v>
                </c:pt>
                <c:pt idx="12">
                  <c:v>0.15868263473053892</c:v>
                </c:pt>
                <c:pt idx="13">
                  <c:v>0.14135575407251708</c:v>
                </c:pt>
                <c:pt idx="14">
                  <c:v>0.13583655438983988</c:v>
                </c:pt>
                <c:pt idx="15">
                  <c:v>0.13412462908011868</c:v>
                </c:pt>
                <c:pt idx="16">
                  <c:v>0.1094941094941095</c:v>
                </c:pt>
                <c:pt idx="17">
                  <c:v>0.10669456066945607</c:v>
                </c:pt>
                <c:pt idx="18">
                  <c:v>0.12472160356347439</c:v>
                </c:pt>
                <c:pt idx="19">
                  <c:v>0.12243285939968404</c:v>
                </c:pt>
                <c:pt idx="20">
                  <c:v>0.0853462157809984</c:v>
                </c:pt>
                <c:pt idx="21">
                  <c:v>0.08512931034482758</c:v>
                </c:pt>
                <c:pt idx="22">
                  <c:v>0.08081896551724138</c:v>
                </c:pt>
                <c:pt idx="23">
                  <c:v>0.09051254089422028</c:v>
                </c:pt>
                <c:pt idx="24">
                  <c:v>0.08003518029903255</c:v>
                </c:pt>
                <c:pt idx="25">
                  <c:v>0.0933589990375361</c:v>
                </c:pt>
                <c:pt idx="26">
                  <c:v>0.07692307692307693</c:v>
                </c:pt>
                <c:pt idx="27">
                  <c:v>0.09237228831350595</c:v>
                </c:pt>
                <c:pt idx="28">
                  <c:v>0.10035419126328217</c:v>
                </c:pt>
                <c:pt idx="29">
                  <c:v>0.10779315367807721</c:v>
                </c:pt>
                <c:pt idx="30">
                  <c:v>0.10930576070901034</c:v>
                </c:pt>
                <c:pt idx="31">
                  <c:v>0.125</c:v>
                </c:pt>
                <c:pt idx="32">
                  <c:v>0.149079754601227</c:v>
                </c:pt>
                <c:pt idx="33">
                  <c:v>0.15241057542768274</c:v>
                </c:pt>
                <c:pt idx="34">
                  <c:v>0.17523714428357465</c:v>
                </c:pt>
                <c:pt idx="35">
                  <c:v>0.1498913830557567</c:v>
                </c:pt>
                <c:pt idx="36">
                  <c:v>0.13911472448057813</c:v>
                </c:pt>
                <c:pt idx="37">
                  <c:v>0.11021721641190668</c:v>
                </c:pt>
                <c:pt idx="38">
                  <c:v>0.10585404971932638</c:v>
                </c:pt>
                <c:pt idx="39">
                  <c:v>0.12072304712717882</c:v>
                </c:pt>
                <c:pt idx="40">
                  <c:v>0.10323886639676114</c:v>
                </c:pt>
                <c:pt idx="41">
                  <c:v>0.09583858764186633</c:v>
                </c:pt>
                <c:pt idx="42">
                  <c:v>0.09947249434815374</c:v>
                </c:pt>
                <c:pt idx="43">
                  <c:v>0.0976926853215513</c:v>
                </c:pt>
                <c:pt idx="44">
                  <c:v>0.10364963503649635</c:v>
                </c:pt>
                <c:pt idx="45">
                  <c:v>0.12558139534883722</c:v>
                </c:pt>
                <c:pt idx="46">
                  <c:v>0.1173758865248227</c:v>
                </c:pt>
                <c:pt idx="47">
                  <c:v>0.11167341430499325</c:v>
                </c:pt>
                <c:pt idx="48">
                  <c:v>0.1109320440504969</c:v>
                </c:pt>
                <c:pt idx="49">
                  <c:v>0.13607188703465983</c:v>
                </c:pt>
                <c:pt idx="50">
                  <c:v>0.16997700188166423</c:v>
                </c:pt>
                <c:pt idx="51">
                  <c:v>0.1505864547862277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1119602701945</c:v>
                </c:pt>
              </c:numCache>
            </c:numRef>
          </c:xVal>
          <c:yVal>
            <c:numRef>
              <c:f>Sheet1!$B$163:$B$164</c:f>
              <c:numCache>
                <c:formatCode>General</c:formatCode>
                <c:ptCount val="2"/>
                <c:pt idx="0">
                  <c:v>0.18367233250188036</c:v>
                </c:pt>
                <c:pt idx="1">
                  <c:v>0.183672332501880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1119602701945</c:v>
                </c:pt>
                <c:pt idx="1">
                  <c:v>1.01119602701945</c:v>
                </c:pt>
              </c:numCache>
            </c:numRef>
          </c:xVal>
          <c:yVal>
            <c:numRef>
              <c:f>Sheet1!$B$167:$B$168</c:f>
              <c:numCache>
                <c:formatCode>General</c:formatCode>
                <c:ptCount val="2"/>
                <c:pt idx="0">
                  <c:v>0.183672332501880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318383716724996</c:v>
                </c:pt>
              </c:numCache>
            </c:numRef>
          </c:xVal>
          <c:yVal>
            <c:numRef>
              <c:f>Sheet1!$B$171:$B$172</c:f>
              <c:numCache>
                <c:formatCode>General</c:formatCode>
                <c:ptCount val="2"/>
                <c:pt idx="0">
                  <c:v>0.14189184693826218</c:v>
                </c:pt>
                <c:pt idx="1">
                  <c:v>0.141891846938262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318383716724996</c:v>
                </c:pt>
                <c:pt idx="1">
                  <c:v>1.4318383716724996</c:v>
                </c:pt>
              </c:numCache>
            </c:numRef>
          </c:xVal>
          <c:yVal>
            <c:numRef>
              <c:f>Sheet1!$B$175:$B$176</c:f>
              <c:numCache>
                <c:formatCode>General</c:formatCode>
                <c:ptCount val="2"/>
                <c:pt idx="0">
                  <c:v>0.141891846938262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655538561484404</c:v>
                </c:pt>
              </c:numCache>
            </c:numRef>
          </c:xVal>
          <c:yVal>
            <c:numRef>
              <c:f>Sheet1!$B$179:$B$180</c:f>
              <c:numCache>
                <c:formatCode>General</c:formatCode>
                <c:ptCount val="2"/>
                <c:pt idx="0">
                  <c:v>0.11867795383105458</c:v>
                </c:pt>
                <c:pt idx="1">
                  <c:v>0.118677953831054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655538561484404</c:v>
                </c:pt>
                <c:pt idx="1">
                  <c:v>1.6655538561484404</c:v>
                </c:pt>
              </c:numCache>
            </c:numRef>
          </c:xVal>
          <c:yVal>
            <c:numRef>
              <c:f>Sheet1!$B$183:$B$184</c:f>
              <c:numCache>
                <c:formatCode>General</c:formatCode>
                <c:ptCount val="2"/>
                <c:pt idx="0">
                  <c:v>0.118677953831054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175845754017785</c:v>
                </c:pt>
                <c:pt idx="1">
                  <c:v>1.7661620609313529</c:v>
                </c:pt>
                <c:pt idx="2">
                  <c:v>1.7204306843320478</c:v>
                </c:pt>
                <c:pt idx="3">
                  <c:v>1.7638528183758395</c:v>
                </c:pt>
                <c:pt idx="4">
                  <c:v>1.7581153084091152</c:v>
                </c:pt>
                <c:pt idx="5">
                  <c:v>1.6815657452286328</c:v>
                </c:pt>
                <c:pt idx="6">
                  <c:v>1.615528937285743</c:v>
                </c:pt>
                <c:pt idx="7">
                  <c:v>1.5558640279522926</c:v>
                </c:pt>
                <c:pt idx="8">
                  <c:v>1.6250418546226737</c:v>
                </c:pt>
                <c:pt idx="9">
                  <c:v>1.6137874878272875</c:v>
                </c:pt>
                <c:pt idx="10">
                  <c:v>1.6251119187444039</c:v>
                </c:pt>
                <c:pt idx="11">
                  <c:v>1.690468281962451</c:v>
                </c:pt>
                <c:pt idx="12">
                  <c:v>1.6526976695728044</c:v>
                </c:pt>
                <c:pt idx="13">
                  <c:v>1.567834352222401</c:v>
                </c:pt>
                <c:pt idx="14">
                  <c:v>1.5438570216615344</c:v>
                </c:pt>
                <c:pt idx="15">
                  <c:v>1.6165979228098797</c:v>
                </c:pt>
                <c:pt idx="16">
                  <c:v>1.701044125203727</c:v>
                </c:pt>
                <c:pt idx="17">
                  <c:v>1.6191827444052445</c:v>
                </c:pt>
                <c:pt idx="18">
                  <c:v>1.3593242514734298</c:v>
                </c:pt>
                <c:pt idx="19">
                  <c:v>1.7138430406437395</c:v>
                </c:pt>
                <c:pt idx="20">
                  <c:v>1.759127348867331</c:v>
                </c:pt>
                <c:pt idx="21">
                  <c:v>1.676459027967748</c:v>
                </c:pt>
                <c:pt idx="22">
                  <c:v>1.8457998981117971</c:v>
                </c:pt>
                <c:pt idx="23">
                  <c:v>1.647941693062605</c:v>
                </c:pt>
                <c:pt idx="24">
                  <c:v>1.7546559935026906</c:v>
                </c:pt>
                <c:pt idx="25">
                  <c:v>1.7165246560800573</c:v>
                </c:pt>
                <c:pt idx="26">
                  <c:v>1.6987620235675225</c:v>
                </c:pt>
                <c:pt idx="27">
                  <c:v>1.678866691454536</c:v>
                </c:pt>
                <c:pt idx="28">
                  <c:v>1.6408576728516173</c:v>
                </c:pt>
                <c:pt idx="29">
                  <c:v>1.5419798787373769</c:v>
                </c:pt>
                <c:pt idx="30">
                  <c:v>1.4185809014918636</c:v>
                </c:pt>
                <c:pt idx="31">
                  <c:v>1.4453798679324663</c:v>
                </c:pt>
                <c:pt idx="32">
                  <c:v>1.4791675872253034</c:v>
                </c:pt>
                <c:pt idx="33">
                  <c:v>1.4499646964643609</c:v>
                </c:pt>
                <c:pt idx="34">
                  <c:v>1.508015394479001</c:v>
                </c:pt>
                <c:pt idx="35">
                  <c:v>1.3954237717780098</c:v>
                </c:pt>
                <c:pt idx="36">
                  <c:v>1.4888011361180824</c:v>
                </c:pt>
                <c:pt idx="37">
                  <c:v>1.6924652886313618</c:v>
                </c:pt>
                <c:pt idx="38">
                  <c:v>1.7352156110313666</c:v>
                </c:pt>
                <c:pt idx="39">
                  <c:v>1.7331432804423461</c:v>
                </c:pt>
                <c:pt idx="40">
                  <c:v>1.7248556663434518</c:v>
                </c:pt>
                <c:pt idx="41">
                  <c:v>1.7727831278326562</c:v>
                </c:pt>
                <c:pt idx="42">
                  <c:v>1.831722130426077</c:v>
                </c:pt>
                <c:pt idx="43">
                  <c:v>1.8379798462178474</c:v>
                </c:pt>
                <c:pt idx="44">
                  <c:v>1.6570881645639866</c:v>
                </c:pt>
                <c:pt idx="45">
                  <c:v>1.7125124860334713</c:v>
                </c:pt>
                <c:pt idx="46">
                  <c:v>1.6818937454222436</c:v>
                </c:pt>
                <c:pt idx="47">
                  <c:v>1.761958892444527</c:v>
                </c:pt>
                <c:pt idx="48">
                  <c:v>1.6801269735373328</c:v>
                </c:pt>
                <c:pt idx="49">
                  <c:v>1.7361854997147506</c:v>
                </c:pt>
                <c:pt idx="50">
                  <c:v>1.5555015963078347</c:v>
                </c:pt>
                <c:pt idx="51">
                  <c:v>1.5055138149307241</c:v>
                </c:pt>
                <c:pt idx="52">
                  <c:v>1.4318383716724996</c:v>
                </c:pt>
                <c:pt idx="53">
                  <c:v>1.01119602701945</c:v>
                </c:pt>
                <c:pt idx="54">
                  <c:v>1.6655538561484404</c:v>
                </c:pt>
              </c:numCache>
            </c:numRef>
          </c:xVal>
          <c:yVal>
            <c:numRef>
              <c:f>Sheet1!$B$187:$B$241</c:f>
              <c:numCache>
                <c:formatCode>General</c:formatCode>
                <c:ptCount val="55"/>
                <c:pt idx="0">
                  <c:v>0.10357743589287668</c:v>
                </c:pt>
                <c:pt idx="1">
                  <c:v>0.10868499971945395</c:v>
                </c:pt>
                <c:pt idx="2">
                  <c:v>0.11322728877831606</c:v>
                </c:pt>
                <c:pt idx="3">
                  <c:v>0.10891436625014192</c:v>
                </c:pt>
                <c:pt idx="4">
                  <c:v>0.10948424694661235</c:v>
                </c:pt>
                <c:pt idx="5">
                  <c:v>0.11708756591822325</c:v>
                </c:pt>
                <c:pt idx="6">
                  <c:v>0.12364670086028673</c:v>
                </c:pt>
                <c:pt idx="7">
                  <c:v>0.1295729441754169</c:v>
                </c:pt>
                <c:pt idx="8">
                  <c:v>0.1227018261691965</c:v>
                </c:pt>
                <c:pt idx="9">
                  <c:v>0.12381967109232267</c:v>
                </c:pt>
                <c:pt idx="10">
                  <c:v>0.12269486701954435</c:v>
                </c:pt>
                <c:pt idx="11">
                  <c:v>0.11620331754852176</c:v>
                </c:pt>
                <c:pt idx="12">
                  <c:v>0.11995490020712515</c:v>
                </c:pt>
                <c:pt idx="13">
                  <c:v>0.12838398646177637</c:v>
                </c:pt>
                <c:pt idx="14">
                  <c:v>0.13076554534686358</c:v>
                </c:pt>
                <c:pt idx="15">
                  <c:v>0.12354052340376903</c:v>
                </c:pt>
                <c:pt idx="16">
                  <c:v>0.11515286727531004</c:v>
                </c:pt>
                <c:pt idx="17">
                  <c:v>0.12328378486395622</c:v>
                </c:pt>
                <c:pt idx="18">
                  <c:v>0.14909434376400285</c:v>
                </c:pt>
                <c:pt idx="19">
                  <c:v>0.11388160937992986</c:v>
                </c:pt>
                <c:pt idx="20">
                  <c:v>0.10938372558376869</c:v>
                </c:pt>
                <c:pt idx="21">
                  <c:v>0.11759479285223975</c:v>
                </c:pt>
                <c:pt idx="22">
                  <c:v>0.10077493657690531</c:v>
                </c:pt>
                <c:pt idx="23">
                  <c:v>0.12042728966208882</c:v>
                </c:pt>
                <c:pt idx="24">
                  <c:v>0.10982784491848818</c:v>
                </c:pt>
                <c:pt idx="25">
                  <c:v>0.11361525674936751</c:v>
                </c:pt>
                <c:pt idx="26">
                  <c:v>0.11537953802227155</c:v>
                </c:pt>
                <c:pt idx="27">
                  <c:v>0.1173556506193417</c:v>
                </c:pt>
                <c:pt idx="28">
                  <c:v>0.12113091307974941</c:v>
                </c:pt>
                <c:pt idx="29">
                  <c:v>0.1309519933919559</c:v>
                </c:pt>
                <c:pt idx="30">
                  <c:v>0.143208650984581</c:v>
                </c:pt>
                <c:pt idx="31">
                  <c:v>0.1405468318769136</c:v>
                </c:pt>
                <c:pt idx="32">
                  <c:v>0.13719085182382046</c:v>
                </c:pt>
                <c:pt idx="33">
                  <c:v>0.14009144177003674</c:v>
                </c:pt>
                <c:pt idx="34">
                  <c:v>0.13432553070285896</c:v>
                </c:pt>
                <c:pt idx="35">
                  <c:v>0.1455087430604335</c:v>
                </c:pt>
                <c:pt idx="36">
                  <c:v>0.1362339953504829</c:v>
                </c:pt>
                <c:pt idx="37">
                  <c:v>0.11600496398435622</c:v>
                </c:pt>
                <c:pt idx="38">
                  <c:v>0.11175876944265681</c:v>
                </c:pt>
                <c:pt idx="39">
                  <c:v>0.11196460458825783</c:v>
                </c:pt>
                <c:pt idx="40">
                  <c:v>0.11278777549726676</c:v>
                </c:pt>
                <c:pt idx="41">
                  <c:v>0.1080273593425351</c:v>
                </c:pt>
                <c:pt idx="42">
                  <c:v>0.1021732170330642</c:v>
                </c:pt>
                <c:pt idx="43">
                  <c:v>0.10155166666462723</c:v>
                </c:pt>
                <c:pt idx="44">
                  <c:v>0.11951881236450074</c:v>
                </c:pt>
                <c:pt idx="45">
                  <c:v>0.11401376730076823</c:v>
                </c:pt>
                <c:pt idx="46">
                  <c:v>0.117054987154986</c:v>
                </c:pt>
                <c:pt idx="47">
                  <c:v>0.10910248127478839</c:v>
                </c:pt>
                <c:pt idx="48">
                  <c:v>0.11723047254814728</c:v>
                </c:pt>
                <c:pt idx="49">
                  <c:v>0.11166243482335483</c:v>
                </c:pt>
                <c:pt idx="50">
                  <c:v>0.12960894285762653</c:v>
                </c:pt>
                <c:pt idx="51">
                  <c:v>0.13457400118979776</c:v>
                </c:pt>
                <c:pt idx="52">
                  <c:v>0.14189184693826218</c:v>
                </c:pt>
                <c:pt idx="53">
                  <c:v>0.18367233250188036</c:v>
                </c:pt>
                <c:pt idx="54">
                  <c:v>0.118677953831054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339366515837103"/>
          <c:min val="0.059895833333333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5.4625</c:v>
                </c:pt>
                <c:pt idx="1">
                  <c:v>828.5167</c:v>
                </c:pt>
                <c:pt idx="2">
                  <c:v>894.3865</c:v>
                </c:pt>
                <c:pt idx="3">
                  <c:v>900.1121</c:v>
                </c:pt>
                <c:pt idx="4">
                  <c:v>897.8369</c:v>
                </c:pt>
                <c:pt idx="5">
                  <c:v>897.2431</c:v>
                </c:pt>
                <c:pt idx="6">
                  <c:v>823.8796</c:v>
                </c:pt>
                <c:pt idx="7">
                  <c:v>847.6373</c:v>
                </c:pt>
                <c:pt idx="8">
                  <c:v>862.555</c:v>
                </c:pt>
                <c:pt idx="9">
                  <c:v>794.6516</c:v>
                </c:pt>
                <c:pt idx="10">
                  <c:v>793.9709</c:v>
                </c:pt>
                <c:pt idx="11">
                  <c:v>851.1108</c:v>
                </c:pt>
                <c:pt idx="12">
                  <c:v>866.3698</c:v>
                </c:pt>
                <c:pt idx="13">
                  <c:v>857.4257</c:v>
                </c:pt>
                <c:pt idx="14">
                  <c:v>861.884</c:v>
                </c:pt>
                <c:pt idx="15">
                  <c:v>868.4976</c:v>
                </c:pt>
                <c:pt idx="16">
                  <c:v>875.189</c:v>
                </c:pt>
                <c:pt idx="17">
                  <c:v>873.6765</c:v>
                </c:pt>
                <c:pt idx="18">
                  <c:v>931.2383</c:v>
                </c:pt>
                <c:pt idx="19">
                  <c:v>981.7703</c:v>
                </c:pt>
                <c:pt idx="20">
                  <c:v>980.9736</c:v>
                </c:pt>
                <c:pt idx="21">
                  <c:v>991.7735</c:v>
                </c:pt>
                <c:pt idx="22">
                  <c:v>967.2039</c:v>
                </c:pt>
                <c:pt idx="23">
                  <c:v>956.9266</c:v>
                </c:pt>
                <c:pt idx="24">
                  <c:v>936.548</c:v>
                </c:pt>
                <c:pt idx="25">
                  <c:v>927.1542</c:v>
                </c:pt>
                <c:pt idx="26">
                  <c:v>916.988</c:v>
                </c:pt>
                <c:pt idx="27">
                  <c:v>950.5333</c:v>
                </c:pt>
                <c:pt idx="28">
                  <c:v>958.2734</c:v>
                </c:pt>
                <c:pt idx="29">
                  <c:v>833.35</c:v>
                </c:pt>
                <c:pt idx="30">
                  <c:v>886.9822</c:v>
                </c:pt>
                <c:pt idx="31">
                  <c:v>905.8175</c:v>
                </c:pt>
                <c:pt idx="32">
                  <c:v>887.0158</c:v>
                </c:pt>
                <c:pt idx="33">
                  <c:v>843.5222</c:v>
                </c:pt>
                <c:pt idx="34">
                  <c:v>886.3893</c:v>
                </c:pt>
                <c:pt idx="35">
                  <c:v>923.071</c:v>
                </c:pt>
                <c:pt idx="36">
                  <c:v>1031.1309</c:v>
                </c:pt>
                <c:pt idx="37">
                  <c:v>1038.8782</c:v>
                </c:pt>
                <c:pt idx="38">
                  <c:v>1095.1813</c:v>
                </c:pt>
                <c:pt idx="39">
                  <c:v>1099.2895</c:v>
                </c:pt>
                <c:pt idx="40">
                  <c:v>1098.9559</c:v>
                </c:pt>
                <c:pt idx="41">
                  <c:v>1100.9709</c:v>
                </c:pt>
                <c:pt idx="42">
                  <c:v>1116.7957</c:v>
                </c:pt>
                <c:pt idx="43">
                  <c:v>1122.7186</c:v>
                </c:pt>
                <c:pt idx="44">
                  <c:v>1016.3321</c:v>
                </c:pt>
                <c:pt idx="45">
                  <c:v>980.1327</c:v>
                </c:pt>
                <c:pt idx="46">
                  <c:v>961.9402</c:v>
                </c:pt>
                <c:pt idx="47">
                  <c:v>942.379</c:v>
                </c:pt>
                <c:pt idx="48">
                  <c:v>963.3635</c:v>
                </c:pt>
                <c:pt idx="49">
                  <c:v>952.6257</c:v>
                </c:pt>
                <c:pt idx="50">
                  <c:v>927.2248</c:v>
                </c:pt>
                <c:pt idx="51">
                  <c:v>929.2875</c:v>
                </c:pt>
                <c:pt idx="52">
                  <c:v>936.6615</c:v>
                </c:pt>
                <c:pt idx="53">
                  <c:v>1045.8854</c:v>
                </c:pt>
                <c:pt idx="54">
                  <c:v>1017.567</c:v>
                </c:pt>
                <c:pt idx="55">
                  <c:v>1035.4978</c:v>
                </c:pt>
                <c:pt idx="56">
                  <c:v>1079.1171</c:v>
                </c:pt>
                <c:pt idx="57">
                  <c:v>1088.1512</c:v>
                </c:pt>
                <c:pt idx="58">
                  <c:v>985.0851</c:v>
                </c:pt>
                <c:pt idx="59">
                  <c:v>1007.6336</c:v>
                </c:pt>
                <c:pt idx="60">
                  <c:v>1019.6907</c:v>
                </c:pt>
                <c:pt idx="61">
                  <c:v>1036.3846</c:v>
                </c:pt>
                <c:pt idx="62">
                  <c:v>945.2757</c:v>
                </c:pt>
                <c:pt idx="63">
                  <c:v>985.7664</c:v>
                </c:pt>
                <c:pt idx="64">
                  <c:v>1014.4599</c:v>
                </c:pt>
                <c:pt idx="65">
                  <c:v>1016.0814</c:v>
                </c:pt>
                <c:pt idx="66">
                  <c:v>992.3971</c:v>
                </c:pt>
                <c:pt idx="67">
                  <c:v>1049.7303</c:v>
                </c:pt>
                <c:pt idx="68">
                  <c:v>1111.5224</c:v>
                </c:pt>
                <c:pt idx="69">
                  <c:v>1000.8043</c:v>
                </c:pt>
                <c:pt idx="70">
                  <c:v>1097.1481</c:v>
                </c:pt>
                <c:pt idx="71">
                  <c:v>1156.9195</c:v>
                </c:pt>
                <c:pt idx="72">
                  <c:v>1214.284</c:v>
                </c:pt>
                <c:pt idx="73">
                  <c:v>1191.775</c:v>
                </c:pt>
                <c:pt idx="74">
                  <c:v>1144.875</c:v>
                </c:pt>
                <c:pt idx="75">
                  <c:v>1117.7654</c:v>
                </c:pt>
                <c:pt idx="76">
                  <c:v>1148.5175</c:v>
                </c:pt>
                <c:pt idx="77">
                  <c:v>1144.0411</c:v>
                </c:pt>
                <c:pt idx="78">
                  <c:v>1137.9485</c:v>
                </c:pt>
                <c:pt idx="79">
                  <c:v>1148.4737</c:v>
                </c:pt>
                <c:pt idx="80">
                  <c:v>1142.8609</c:v>
                </c:pt>
                <c:pt idx="81">
                  <c:v>1129.4489</c:v>
                </c:pt>
                <c:pt idx="82">
                  <c:v>1143.2661</c:v>
                </c:pt>
                <c:pt idx="83">
                  <c:v>1124.8229</c:v>
                </c:pt>
                <c:pt idx="84">
                  <c:v>1107.3564</c:v>
                </c:pt>
                <c:pt idx="85">
                  <c:v>1079.4366</c:v>
                </c:pt>
                <c:pt idx="86">
                  <c:v>1068.3058</c:v>
                </c:pt>
                <c:pt idx="87">
                  <c:v>1080.7198</c:v>
                </c:pt>
                <c:pt idx="88">
                  <c:v>1116.5536</c:v>
                </c:pt>
                <c:pt idx="89">
                  <c:v>1073.186</c:v>
                </c:pt>
                <c:pt idx="90">
                  <c:v>1167.0815</c:v>
                </c:pt>
                <c:pt idx="91">
                  <c:v>1192.2231</c:v>
                </c:pt>
                <c:pt idx="92">
                  <c:v>1152.5776</c:v>
                </c:pt>
                <c:pt idx="93">
                  <c:v>1174.2895</c:v>
                </c:pt>
                <c:pt idx="94">
                  <c:v>1211.1429</c:v>
                </c:pt>
                <c:pt idx="95">
                  <c:v>1162.494</c:v>
                </c:pt>
                <c:pt idx="96">
                  <c:v>1142.493</c:v>
                </c:pt>
                <c:pt idx="97">
                  <c:v>1110.7651</c:v>
                </c:pt>
                <c:pt idx="98">
                  <c:v>1088.0667</c:v>
                </c:pt>
                <c:pt idx="99">
                  <c:v>1029.5246</c:v>
                </c:pt>
                <c:pt idx="100">
                  <c:v>1046.9513</c:v>
                </c:pt>
                <c:pt idx="101">
                  <c:v>1046.9805</c:v>
                </c:pt>
                <c:pt idx="102">
                  <c:v>1078.5696</c:v>
                </c:pt>
                <c:pt idx="103">
                  <c:v>1052.5508</c:v>
                </c:pt>
                <c:pt idx="104">
                  <c:v>1142.6969</c:v>
                </c:pt>
              </c:numCache>
            </c:numRef>
          </c:xVal>
          <c:yVal>
            <c:numRef>
              <c:f>Sheet1!$B$2:$B$106</c:f>
              <c:numCache>
                <c:formatCode>General</c:formatCode>
                <c:ptCount val="105"/>
                <c:pt idx="0">
                  <c:v>0.19794980558501238</c:v>
                </c:pt>
                <c:pt idx="1">
                  <c:v>0.18756512678013199</c:v>
                </c:pt>
                <c:pt idx="2">
                  <c:v>0.1481262909412806</c:v>
                </c:pt>
                <c:pt idx="3">
                  <c:v>0.1518821603927987</c:v>
                </c:pt>
                <c:pt idx="4">
                  <c:v>0.13005202080832334</c:v>
                </c:pt>
                <c:pt idx="5">
                  <c:v>0.11329661683713611</c:v>
                </c:pt>
                <c:pt idx="6">
                  <c:v>0.13740808823529413</c:v>
                </c:pt>
                <c:pt idx="7">
                  <c:v>0.12734082397003746</c:v>
                </c:pt>
                <c:pt idx="8">
                  <c:v>0.15060240963855423</c:v>
                </c:pt>
                <c:pt idx="9">
                  <c:v>0.19344413665743307</c:v>
                </c:pt>
                <c:pt idx="10">
                  <c:v>0.19127205199628597</c:v>
                </c:pt>
                <c:pt idx="11">
                  <c:v>0.17037754114230397</c:v>
                </c:pt>
                <c:pt idx="12">
                  <c:v>0.19852262234533702</c:v>
                </c:pt>
                <c:pt idx="13">
                  <c:v>0.20884729902169288</c:v>
                </c:pt>
                <c:pt idx="14">
                  <c:v>0.2044153720359771</c:v>
                </c:pt>
                <c:pt idx="15">
                  <c:v>0.21116138763197587</c:v>
                </c:pt>
                <c:pt idx="16">
                  <c:v>0.20122699386503068</c:v>
                </c:pt>
                <c:pt idx="17">
                  <c:v>0.18121252498334445</c:v>
                </c:pt>
                <c:pt idx="18">
                  <c:v>0.15421686746987953</c:v>
                </c:pt>
                <c:pt idx="19">
                  <c:v>0.15014367816091953</c:v>
                </c:pt>
                <c:pt idx="20">
                  <c:v>0.1679340937896071</c:v>
                </c:pt>
                <c:pt idx="21">
                  <c:v>0.15496575342465754</c:v>
                </c:pt>
                <c:pt idx="22">
                  <c:v>0.15773353751914243</c:v>
                </c:pt>
                <c:pt idx="23">
                  <c:v>0.16978193146417445</c:v>
                </c:pt>
                <c:pt idx="24">
                  <c:v>0.17470300489168414</c:v>
                </c:pt>
                <c:pt idx="25">
                  <c:v>0.16876971608832808</c:v>
                </c:pt>
                <c:pt idx="26">
                  <c:v>0.1939487975174554</c:v>
                </c:pt>
                <c:pt idx="27">
                  <c:v>0.16865776528461</c:v>
                </c:pt>
                <c:pt idx="28">
                  <c:v>0.16516129032258065</c:v>
                </c:pt>
                <c:pt idx="29">
                  <c:v>0.18161180476730987</c:v>
                </c:pt>
                <c:pt idx="30">
                  <c:v>0.18115942028985507</c:v>
                </c:pt>
                <c:pt idx="31">
                  <c:v>0.1782178217821782</c:v>
                </c:pt>
                <c:pt idx="32">
                  <c:v>0.16777188328912468</c:v>
                </c:pt>
                <c:pt idx="33">
                  <c:v>0.19970486965076242</c:v>
                </c:pt>
                <c:pt idx="34">
                  <c:v>0.19049927290353855</c:v>
                </c:pt>
                <c:pt idx="35">
                  <c:v>0.17608695652173914</c:v>
                </c:pt>
                <c:pt idx="36">
                  <c:v>0.12649006622516556</c:v>
                </c:pt>
                <c:pt idx="37">
                  <c:v>0.1293499671700591</c:v>
                </c:pt>
                <c:pt idx="38">
                  <c:v>0.12483829236739974</c:v>
                </c:pt>
                <c:pt idx="39">
                  <c:v>0.11550151975683891</c:v>
                </c:pt>
                <c:pt idx="40">
                  <c:v>0.1135</c:v>
                </c:pt>
                <c:pt idx="41">
                  <c:v>0.09668353007307476</c:v>
                </c:pt>
                <c:pt idx="42">
                  <c:v>0.10329670329670329</c:v>
                </c:pt>
                <c:pt idx="43">
                  <c:v>0.10967472894078399</c:v>
                </c:pt>
                <c:pt idx="44">
                  <c:v>0.1340670335167584</c:v>
                </c:pt>
                <c:pt idx="45">
                  <c:v>0.1523099133782483</c:v>
                </c:pt>
                <c:pt idx="46">
                  <c:v>0.15603939865215138</c:v>
                </c:pt>
                <c:pt idx="47">
                  <c:v>0.1617954070981211</c:v>
                </c:pt>
                <c:pt idx="48">
                  <c:v>0.16697796040343668</c:v>
                </c:pt>
                <c:pt idx="49">
                  <c:v>0.19410244718042255</c:v>
                </c:pt>
                <c:pt idx="50">
                  <c:v>0.15138888888888888</c:v>
                </c:pt>
                <c:pt idx="51">
                  <c:v>0.12678288431061807</c:v>
                </c:pt>
                <c:pt idx="52">
                  <c:v>0.14330708661417324</c:v>
                </c:pt>
                <c:pt idx="53">
                  <c:v>0.11383399209486166</c:v>
                </c:pt>
                <c:pt idx="54">
                  <c:v>0.116</c:v>
                </c:pt>
                <c:pt idx="55">
                  <c:v>0.10035366931918656</c:v>
                </c:pt>
                <c:pt idx="56">
                  <c:v>0.09734093067426401</c:v>
                </c:pt>
                <c:pt idx="57">
                  <c:v>0.08905764584052468</c:v>
                </c:pt>
                <c:pt idx="58">
                  <c:v>0.12207792207792208</c:v>
                </c:pt>
                <c:pt idx="59">
                  <c:v>0.14146134239592184</c:v>
                </c:pt>
                <c:pt idx="60">
                  <c:v>0.15256723716381418</c:v>
                </c:pt>
                <c:pt idx="61">
                  <c:v>0.1332194705380017</c:v>
                </c:pt>
                <c:pt idx="62">
                  <c:v>0.15171924849344204</c:v>
                </c:pt>
                <c:pt idx="63">
                  <c:v>0.17974217311233887</c:v>
                </c:pt>
                <c:pt idx="64">
                  <c:v>0.17391304347826086</c:v>
                </c:pt>
                <c:pt idx="65">
                  <c:v>0.1466950959488273</c:v>
                </c:pt>
                <c:pt idx="66">
                  <c:v>0.1513157894736842</c:v>
                </c:pt>
                <c:pt idx="67">
                  <c:v>0.1335676625659051</c:v>
                </c:pt>
                <c:pt idx="68">
                  <c:v>0.1133032694475761</c:v>
                </c:pt>
                <c:pt idx="69">
                  <c:v>0.09857142857142857</c:v>
                </c:pt>
                <c:pt idx="70">
                  <c:v>0.08416458852867831</c:v>
                </c:pt>
                <c:pt idx="71">
                  <c:v>0.09887193098871931</c:v>
                </c:pt>
                <c:pt idx="72">
                  <c:v>0.11236702127659574</c:v>
                </c:pt>
                <c:pt idx="73">
                  <c:v>0.10191082802547771</c:v>
                </c:pt>
                <c:pt idx="74">
                  <c:v>0.10887316276537834</c:v>
                </c:pt>
                <c:pt idx="75">
                  <c:v>0.11503856041131105</c:v>
                </c:pt>
                <c:pt idx="76">
                  <c:v>0.10506980161645849</c:v>
                </c:pt>
                <c:pt idx="77">
                  <c:v>0.10526315789473684</c:v>
                </c:pt>
                <c:pt idx="78">
                  <c:v>0.1059190031152648</c:v>
                </c:pt>
                <c:pt idx="79">
                  <c:v>0.08854860186418109</c:v>
                </c:pt>
                <c:pt idx="80">
                  <c:v>0.07486979166666667</c:v>
                </c:pt>
                <c:pt idx="81">
                  <c:v>0.09898762654668167</c:v>
                </c:pt>
                <c:pt idx="82">
                  <c:v>0.08339709257842387</c:v>
                </c:pt>
                <c:pt idx="83">
                  <c:v>0.07986688851913477</c:v>
                </c:pt>
                <c:pt idx="84">
                  <c:v>0.08617747440273038</c:v>
                </c:pt>
                <c:pt idx="85">
                  <c:v>0.10357403355215171</c:v>
                </c:pt>
                <c:pt idx="86">
                  <c:v>0.12103407755581669</c:v>
                </c:pt>
                <c:pt idx="87">
                  <c:v>0.13126188966391883</c:v>
                </c:pt>
                <c:pt idx="88">
                  <c:v>0.0903954802259887</c:v>
                </c:pt>
                <c:pt idx="89">
                  <c:v>0.10278884462151394</c:v>
                </c:pt>
                <c:pt idx="90">
                  <c:v>0.10328997704667177</c:v>
                </c:pt>
                <c:pt idx="91">
                  <c:v>0.09789156626506024</c:v>
                </c:pt>
                <c:pt idx="92">
                  <c:v>0.09993792675356922</c:v>
                </c:pt>
                <c:pt idx="93">
                  <c:v>0.10608598548297041</c:v>
                </c:pt>
                <c:pt idx="94">
                  <c:v>0.10619469026548672</c:v>
                </c:pt>
                <c:pt idx="95">
                  <c:v>0.11448275862068966</c:v>
                </c:pt>
                <c:pt idx="96">
                  <c:v>0.12112676056338029</c:v>
                </c:pt>
                <c:pt idx="97">
                  <c:v>0.14569842738205366</c:v>
                </c:pt>
                <c:pt idx="98">
                  <c:v>0.15508684863523572</c:v>
                </c:pt>
                <c:pt idx="99">
                  <c:v>0.15998501311352567</c:v>
                </c:pt>
                <c:pt idx="100">
                  <c:v>0.1871713985278654</c:v>
                </c:pt>
                <c:pt idx="101">
                  <c:v>0.14728682170542637</c:v>
                </c:pt>
                <c:pt idx="102">
                  <c:v>0.11682070240295749</c:v>
                </c:pt>
                <c:pt idx="103">
                  <c:v>0.1290545203588682</c:v>
                </c:pt>
                <c:pt idx="104">
                  <c:v>0.123902439024390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7.598</c:v>
                </c:pt>
                <c:pt idx="1">
                  <c:v>1134.3303</c:v>
                </c:pt>
                <c:pt idx="2">
                  <c:v>1138.5535</c:v>
                </c:pt>
                <c:pt idx="3">
                  <c:v>1131.0872</c:v>
                </c:pt>
                <c:pt idx="4">
                  <c:v>1148.7325</c:v>
                </c:pt>
                <c:pt idx="5">
                  <c:v>1128.3703</c:v>
                </c:pt>
                <c:pt idx="6">
                  <c:v>1001.426</c:v>
                </c:pt>
                <c:pt idx="7">
                  <c:v>1016.6</c:v>
                </c:pt>
                <c:pt idx="8">
                  <c:v>1085.6682</c:v>
                </c:pt>
                <c:pt idx="9">
                  <c:v>1026.6214</c:v>
                </c:pt>
                <c:pt idx="10">
                  <c:v>1083.408</c:v>
                </c:pt>
                <c:pt idx="11">
                  <c:v>898.2714</c:v>
                </c:pt>
                <c:pt idx="12">
                  <c:v>948.6164</c:v>
                </c:pt>
                <c:pt idx="13">
                  <c:v>1047.0037</c:v>
                </c:pt>
                <c:pt idx="14">
                  <c:v>1026.7276</c:v>
                </c:pt>
                <c:pt idx="15">
                  <c:v>1057.4867</c:v>
                </c:pt>
                <c:pt idx="16">
                  <c:v>1117.9114</c:v>
                </c:pt>
                <c:pt idx="17">
                  <c:v>1077.4837</c:v>
                </c:pt>
                <c:pt idx="18">
                  <c:v>897.6488</c:v>
                </c:pt>
                <c:pt idx="19">
                  <c:v>1109.3161</c:v>
                </c:pt>
                <c:pt idx="20">
                  <c:v>1211.4811</c:v>
                </c:pt>
                <c:pt idx="21">
                  <c:v>1105.557</c:v>
                </c:pt>
                <c:pt idx="22">
                  <c:v>1218.84</c:v>
                </c:pt>
                <c:pt idx="23">
                  <c:v>1115.2892</c:v>
                </c:pt>
                <c:pt idx="24">
                  <c:v>1151.0989</c:v>
                </c:pt>
                <c:pt idx="25">
                  <c:v>1066.4021</c:v>
                </c:pt>
                <c:pt idx="26">
                  <c:v>1130.4118</c:v>
                </c:pt>
                <c:pt idx="27">
                  <c:v>1126.1136</c:v>
                </c:pt>
                <c:pt idx="28">
                  <c:v>1073.2471</c:v>
                </c:pt>
                <c:pt idx="29">
                  <c:v>1044.4189</c:v>
                </c:pt>
                <c:pt idx="30">
                  <c:v>964.1622</c:v>
                </c:pt>
                <c:pt idx="31">
                  <c:v>987.7184</c:v>
                </c:pt>
                <c:pt idx="32">
                  <c:v>974.1317</c:v>
                </c:pt>
                <c:pt idx="33">
                  <c:v>979.3469</c:v>
                </c:pt>
                <c:pt idx="34">
                  <c:v>1000.114</c:v>
                </c:pt>
                <c:pt idx="35">
                  <c:v>995.2754</c:v>
                </c:pt>
                <c:pt idx="36">
                  <c:v>1036.9156</c:v>
                </c:pt>
                <c:pt idx="37">
                  <c:v>1162.4818</c:v>
                </c:pt>
                <c:pt idx="38">
                  <c:v>1197.3864</c:v>
                </c:pt>
                <c:pt idx="39">
                  <c:v>1138.9358</c:v>
                </c:pt>
                <c:pt idx="40">
                  <c:v>1170.1307</c:v>
                </c:pt>
                <c:pt idx="41">
                  <c:v>1234.9342</c:v>
                </c:pt>
                <c:pt idx="42">
                  <c:v>1259.6667</c:v>
                </c:pt>
                <c:pt idx="43">
                  <c:v>1239.2864</c:v>
                </c:pt>
                <c:pt idx="44">
                  <c:v>1119.7359</c:v>
                </c:pt>
                <c:pt idx="45">
                  <c:v>1090.2048</c:v>
                </c:pt>
                <c:pt idx="46">
                  <c:v>1106.1208</c:v>
                </c:pt>
                <c:pt idx="47">
                  <c:v>1094.1511</c:v>
                </c:pt>
                <c:pt idx="48">
                  <c:v>1091.9661</c:v>
                </c:pt>
                <c:pt idx="49">
                  <c:v>1097.4057</c:v>
                </c:pt>
                <c:pt idx="50">
                  <c:v>965.7159</c:v>
                </c:pt>
                <c:pt idx="51">
                  <c:v>931.2437</c:v>
                </c:pt>
              </c:numCache>
            </c:numRef>
          </c:xVal>
          <c:yVal>
            <c:numRef>
              <c:f>Sheet1!$B$109:$B$160</c:f>
              <c:numCache>
                <c:formatCode>General</c:formatCode>
                <c:ptCount val="52"/>
                <c:pt idx="0">
                  <c:v>0.12361396303901437</c:v>
                </c:pt>
                <c:pt idx="1">
                  <c:v>0.13385182153090464</c:v>
                </c:pt>
                <c:pt idx="2">
                  <c:v>0.1339541547277937</c:v>
                </c:pt>
                <c:pt idx="3">
                  <c:v>0.1366344005956813</c:v>
                </c:pt>
                <c:pt idx="4">
                  <c:v>0.11455431754874652</c:v>
                </c:pt>
                <c:pt idx="5">
                  <c:v>0.13367052023121387</c:v>
                </c:pt>
                <c:pt idx="6">
                  <c:v>0.13989927252378287</c:v>
                </c:pt>
                <c:pt idx="7">
                  <c:v>0.12285927029039465</c:v>
                </c:pt>
                <c:pt idx="8">
                  <c:v>0.12360867018160515</c:v>
                </c:pt>
                <c:pt idx="9">
                  <c:v>0.1281645569620253</c:v>
                </c:pt>
                <c:pt idx="10">
                  <c:v>0.12506253126563283</c:v>
                </c:pt>
                <c:pt idx="11">
                  <c:v>0.15347091932457785</c:v>
                </c:pt>
                <c:pt idx="12">
                  <c:v>0.15868263473053892</c:v>
                </c:pt>
                <c:pt idx="13">
                  <c:v>0.14135575407251708</c:v>
                </c:pt>
                <c:pt idx="14">
                  <c:v>0.13583655438983988</c:v>
                </c:pt>
                <c:pt idx="15">
                  <c:v>0.13412462908011868</c:v>
                </c:pt>
                <c:pt idx="16">
                  <c:v>0.1094941094941095</c:v>
                </c:pt>
                <c:pt idx="17">
                  <c:v>0.10669456066945607</c:v>
                </c:pt>
                <c:pt idx="18">
                  <c:v>0.12472160356347439</c:v>
                </c:pt>
                <c:pt idx="19">
                  <c:v>0.12243285939968404</c:v>
                </c:pt>
                <c:pt idx="20">
                  <c:v>0.0853462157809984</c:v>
                </c:pt>
                <c:pt idx="21">
                  <c:v>0.08512931034482758</c:v>
                </c:pt>
                <c:pt idx="22">
                  <c:v>0.08081896551724138</c:v>
                </c:pt>
                <c:pt idx="23">
                  <c:v>0.09051254089422028</c:v>
                </c:pt>
                <c:pt idx="24">
                  <c:v>0.08003518029903255</c:v>
                </c:pt>
                <c:pt idx="25">
                  <c:v>0.0933589990375361</c:v>
                </c:pt>
                <c:pt idx="26">
                  <c:v>0.07692307692307693</c:v>
                </c:pt>
                <c:pt idx="27">
                  <c:v>0.09237228831350595</c:v>
                </c:pt>
                <c:pt idx="28">
                  <c:v>0.10035419126328217</c:v>
                </c:pt>
                <c:pt idx="29">
                  <c:v>0.10779315367807721</c:v>
                </c:pt>
                <c:pt idx="30">
                  <c:v>0.10930576070901034</c:v>
                </c:pt>
                <c:pt idx="31">
                  <c:v>0.125</c:v>
                </c:pt>
                <c:pt idx="32">
                  <c:v>0.149079754601227</c:v>
                </c:pt>
                <c:pt idx="33">
                  <c:v>0.15241057542768274</c:v>
                </c:pt>
                <c:pt idx="34">
                  <c:v>0.17523714428357465</c:v>
                </c:pt>
                <c:pt idx="35">
                  <c:v>0.1498913830557567</c:v>
                </c:pt>
                <c:pt idx="36">
                  <c:v>0.13911472448057813</c:v>
                </c:pt>
                <c:pt idx="37">
                  <c:v>0.11021721641190668</c:v>
                </c:pt>
                <c:pt idx="38">
                  <c:v>0.10585404971932638</c:v>
                </c:pt>
                <c:pt idx="39">
                  <c:v>0.12072304712717882</c:v>
                </c:pt>
                <c:pt idx="40">
                  <c:v>0.10323886639676114</c:v>
                </c:pt>
                <c:pt idx="41">
                  <c:v>0.09583858764186633</c:v>
                </c:pt>
                <c:pt idx="42">
                  <c:v>0.09947249434815374</c:v>
                </c:pt>
                <c:pt idx="43">
                  <c:v>0.0976926853215513</c:v>
                </c:pt>
                <c:pt idx="44">
                  <c:v>0.10364963503649635</c:v>
                </c:pt>
                <c:pt idx="45">
                  <c:v>0.12558139534883722</c:v>
                </c:pt>
                <c:pt idx="46">
                  <c:v>0.1173758865248227</c:v>
                </c:pt>
                <c:pt idx="47">
                  <c:v>0.11167341430499325</c:v>
                </c:pt>
                <c:pt idx="48">
                  <c:v>0.1109320440504969</c:v>
                </c:pt>
                <c:pt idx="49">
                  <c:v>0.13607188703465983</c:v>
                </c:pt>
                <c:pt idx="50">
                  <c:v>0.16997700188166423</c:v>
                </c:pt>
                <c:pt idx="51">
                  <c:v>0.1505864547862277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34.0854723761591</c:v>
                </c:pt>
              </c:numCache>
            </c:numRef>
          </c:xVal>
          <c:yVal>
            <c:numRef>
              <c:f>Sheet1!$B$163:$B$164</c:f>
              <c:numCache>
                <c:formatCode>General</c:formatCode>
                <c:ptCount val="2"/>
                <c:pt idx="0">
                  <c:v>0.18367233250188036</c:v>
                </c:pt>
                <c:pt idx="1">
                  <c:v>0.183672332501880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34.0854723761591</c:v>
                </c:pt>
                <c:pt idx="1">
                  <c:v>734.0854723761591</c:v>
                </c:pt>
              </c:numCache>
            </c:numRef>
          </c:xVal>
          <c:yVal>
            <c:numRef>
              <c:f>Sheet1!$B$167:$B$168</c:f>
              <c:numCache>
                <c:formatCode>General</c:formatCode>
                <c:ptCount val="2"/>
                <c:pt idx="0">
                  <c:v>0.183672332501880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63.8581459792927</c:v>
                </c:pt>
              </c:numCache>
            </c:numRef>
          </c:xVal>
          <c:yVal>
            <c:numRef>
              <c:f>Sheet1!$B$171:$B$172</c:f>
              <c:numCache>
                <c:formatCode>General</c:formatCode>
                <c:ptCount val="2"/>
                <c:pt idx="0">
                  <c:v>0.14189184693826218</c:v>
                </c:pt>
                <c:pt idx="1">
                  <c:v>0.141891846938262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63.8581459792927</c:v>
                </c:pt>
                <c:pt idx="1">
                  <c:v>963.8581459792927</c:v>
                </c:pt>
              </c:numCache>
            </c:numRef>
          </c:xVal>
          <c:yVal>
            <c:numRef>
              <c:f>Sheet1!$B$175:$B$176</c:f>
              <c:numCache>
                <c:formatCode>General</c:formatCode>
                <c:ptCount val="2"/>
                <c:pt idx="0">
                  <c:v>0.141891846938262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1.5234474238775</c:v>
                </c:pt>
              </c:numCache>
            </c:numRef>
          </c:xVal>
          <c:yVal>
            <c:numRef>
              <c:f>Sheet1!$B$179:$B$180</c:f>
              <c:numCache>
                <c:formatCode>General</c:formatCode>
                <c:ptCount val="2"/>
                <c:pt idx="0">
                  <c:v>0.11867795383105458</c:v>
                </c:pt>
                <c:pt idx="1">
                  <c:v>0.118677953831054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1.5234474238775</c:v>
                </c:pt>
                <c:pt idx="1">
                  <c:v>1091.5234474238775</c:v>
                </c:pt>
              </c:numCache>
            </c:numRef>
          </c:xVal>
          <c:yVal>
            <c:numRef>
              <c:f>Sheet1!$B$183:$B$184</c:f>
              <c:numCache>
                <c:formatCode>General</c:formatCode>
                <c:ptCount val="2"/>
                <c:pt idx="0">
                  <c:v>0.118677953831054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7.598</c:v>
                </c:pt>
                <c:pt idx="1">
                  <c:v>1134.3303</c:v>
                </c:pt>
                <c:pt idx="2">
                  <c:v>1138.5535</c:v>
                </c:pt>
                <c:pt idx="3">
                  <c:v>1131.0872</c:v>
                </c:pt>
                <c:pt idx="4">
                  <c:v>1148.7325</c:v>
                </c:pt>
                <c:pt idx="5">
                  <c:v>1128.3703</c:v>
                </c:pt>
                <c:pt idx="6">
                  <c:v>1001.426</c:v>
                </c:pt>
                <c:pt idx="7">
                  <c:v>1016.6</c:v>
                </c:pt>
                <c:pt idx="8">
                  <c:v>1085.6682</c:v>
                </c:pt>
                <c:pt idx="9">
                  <c:v>1026.6214</c:v>
                </c:pt>
                <c:pt idx="10">
                  <c:v>1083.408</c:v>
                </c:pt>
                <c:pt idx="11">
                  <c:v>898.2714</c:v>
                </c:pt>
                <c:pt idx="12">
                  <c:v>948.6164</c:v>
                </c:pt>
                <c:pt idx="13">
                  <c:v>1047.0037</c:v>
                </c:pt>
                <c:pt idx="14">
                  <c:v>1026.7276</c:v>
                </c:pt>
                <c:pt idx="15">
                  <c:v>1057.4867</c:v>
                </c:pt>
                <c:pt idx="16">
                  <c:v>1117.9114</c:v>
                </c:pt>
                <c:pt idx="17">
                  <c:v>1077.4837</c:v>
                </c:pt>
                <c:pt idx="18">
                  <c:v>897.6488</c:v>
                </c:pt>
                <c:pt idx="19">
                  <c:v>1109.3161</c:v>
                </c:pt>
                <c:pt idx="20">
                  <c:v>1211.4811</c:v>
                </c:pt>
                <c:pt idx="21">
                  <c:v>1105.557</c:v>
                </c:pt>
                <c:pt idx="22">
                  <c:v>1218.84</c:v>
                </c:pt>
                <c:pt idx="23">
                  <c:v>1115.2892</c:v>
                </c:pt>
                <c:pt idx="24">
                  <c:v>1151.0989</c:v>
                </c:pt>
                <c:pt idx="25">
                  <c:v>1066.4021</c:v>
                </c:pt>
                <c:pt idx="26">
                  <c:v>1130.4118</c:v>
                </c:pt>
                <c:pt idx="27">
                  <c:v>1126.1136</c:v>
                </c:pt>
                <c:pt idx="28">
                  <c:v>1073.2471</c:v>
                </c:pt>
                <c:pt idx="29">
                  <c:v>1044.4189</c:v>
                </c:pt>
                <c:pt idx="30">
                  <c:v>964.1622</c:v>
                </c:pt>
                <c:pt idx="31">
                  <c:v>987.7184</c:v>
                </c:pt>
                <c:pt idx="32">
                  <c:v>974.1317</c:v>
                </c:pt>
                <c:pt idx="33">
                  <c:v>979.3469</c:v>
                </c:pt>
                <c:pt idx="34">
                  <c:v>1000.114</c:v>
                </c:pt>
                <c:pt idx="35">
                  <c:v>995.2754</c:v>
                </c:pt>
                <c:pt idx="36">
                  <c:v>1036.9156</c:v>
                </c:pt>
                <c:pt idx="37">
                  <c:v>1162.4818</c:v>
                </c:pt>
                <c:pt idx="38">
                  <c:v>1197.3864</c:v>
                </c:pt>
                <c:pt idx="39">
                  <c:v>1138.9358</c:v>
                </c:pt>
                <c:pt idx="40">
                  <c:v>1170.1307</c:v>
                </c:pt>
                <c:pt idx="41">
                  <c:v>1234.9342</c:v>
                </c:pt>
                <c:pt idx="42">
                  <c:v>1259.6667</c:v>
                </c:pt>
                <c:pt idx="43">
                  <c:v>1239.2864</c:v>
                </c:pt>
                <c:pt idx="44">
                  <c:v>1119.7359</c:v>
                </c:pt>
                <c:pt idx="45">
                  <c:v>1090.2048</c:v>
                </c:pt>
                <c:pt idx="46">
                  <c:v>1106.1208</c:v>
                </c:pt>
                <c:pt idx="47">
                  <c:v>1094.1511</c:v>
                </c:pt>
                <c:pt idx="48">
                  <c:v>1091.9661</c:v>
                </c:pt>
                <c:pt idx="49">
                  <c:v>1097.4057</c:v>
                </c:pt>
                <c:pt idx="50">
                  <c:v>965.7159</c:v>
                </c:pt>
                <c:pt idx="51">
                  <c:v>931.2437</c:v>
                </c:pt>
                <c:pt idx="52">
                  <c:v>963.8581459792927</c:v>
                </c:pt>
                <c:pt idx="53">
                  <c:v>734.0854723761591</c:v>
                </c:pt>
                <c:pt idx="54">
                  <c:v>1091.5234474238775</c:v>
                </c:pt>
              </c:numCache>
            </c:numRef>
          </c:xVal>
          <c:yVal>
            <c:numRef>
              <c:f>Sheet1!$B$187:$B$241</c:f>
              <c:numCache>
                <c:formatCode>General</c:formatCode>
                <c:ptCount val="55"/>
                <c:pt idx="0">
                  <c:v>0.10848169333734772</c:v>
                </c:pt>
                <c:pt idx="1">
                  <c:v>0.11089421237026745</c:v>
                </c:pt>
                <c:pt idx="2">
                  <c:v>0.11012629099882956</c:v>
                </c:pt>
                <c:pt idx="3">
                  <c:v>0.11148391823305168</c:v>
                </c:pt>
                <c:pt idx="4">
                  <c:v>0.10827540265826635</c:v>
                </c:pt>
                <c:pt idx="5">
                  <c:v>0.11197794304221523</c:v>
                </c:pt>
                <c:pt idx="6">
                  <c:v>0.13506073356888337</c:v>
                </c:pt>
                <c:pt idx="7">
                  <c:v>0.13230158437154516</c:v>
                </c:pt>
                <c:pt idx="8">
                  <c:v>0.11974263692251419</c:v>
                </c:pt>
                <c:pt idx="9">
                  <c:v>0.13047935307022676</c:v>
                </c:pt>
                <c:pt idx="10">
                  <c:v>0.12015361814142972</c:v>
                </c:pt>
                <c:pt idx="11">
                  <c:v>0.15381774765822995</c:v>
                </c:pt>
                <c:pt idx="12">
                  <c:v>0.14466331465836224</c:v>
                </c:pt>
                <c:pt idx="13">
                  <c:v>0.12677315782277015</c:v>
                </c:pt>
                <c:pt idx="14">
                  <c:v>0.1304600422988575</c:v>
                </c:pt>
                <c:pt idx="15">
                  <c:v>0.12486699194457743</c:v>
                </c:pt>
                <c:pt idx="16">
                  <c:v>0.11387972672087882</c:v>
                </c:pt>
                <c:pt idx="17">
                  <c:v>0.12123085733938613</c:v>
                </c:pt>
                <c:pt idx="18">
                  <c:v>0.1539309575099673</c:v>
                </c:pt>
                <c:pt idx="19">
                  <c:v>0.11544264454715275</c:v>
                </c:pt>
                <c:pt idx="20">
                  <c:v>0.0968655733895108</c:v>
                </c:pt>
                <c:pt idx="21">
                  <c:v>0.11612617675670292</c:v>
                </c:pt>
                <c:pt idx="22">
                  <c:v>0.0955274751274644</c:v>
                </c:pt>
                <c:pt idx="23">
                  <c:v>0.11435653184973477</c:v>
                </c:pt>
                <c:pt idx="24">
                  <c:v>0.10784511066798161</c:v>
                </c:pt>
                <c:pt idx="25">
                  <c:v>0.12324586905318757</c:v>
                </c:pt>
                <c:pt idx="26">
                  <c:v>0.11160672892027204</c:v>
                </c:pt>
                <c:pt idx="27">
                  <c:v>0.112388287842112</c:v>
                </c:pt>
                <c:pt idx="28">
                  <c:v>0.12200121528649585</c:v>
                </c:pt>
                <c:pt idx="29">
                  <c:v>0.12724316235982563</c:v>
                </c:pt>
                <c:pt idx="30">
                  <c:v>0.14183655957783103</c:v>
                </c:pt>
                <c:pt idx="31">
                  <c:v>0.13755324138076114</c:v>
                </c:pt>
                <c:pt idx="32">
                  <c:v>0.14002376546139084</c:v>
                </c:pt>
                <c:pt idx="33">
                  <c:v>0.13907546475663546</c:v>
                </c:pt>
                <c:pt idx="34">
                  <c:v>0.13529929978391617</c:v>
                </c:pt>
                <c:pt idx="35">
                  <c:v>0.13617912180225286</c:v>
                </c:pt>
                <c:pt idx="36">
                  <c:v>0.12860751745224605</c:v>
                </c:pt>
                <c:pt idx="37">
                  <c:v>0.10577531236836507</c:v>
                </c:pt>
                <c:pt idx="38">
                  <c:v>0.09942846914486356</c:v>
                </c:pt>
                <c:pt idx="39">
                  <c:v>0.11005677585858029</c:v>
                </c:pt>
                <c:pt idx="40">
                  <c:v>0.10438448224476415</c:v>
                </c:pt>
                <c:pt idx="41">
                  <c:v>0.09260100227839357</c:v>
                </c:pt>
                <c:pt idx="42">
                  <c:v>0.08810379274081825</c:v>
                </c:pt>
                <c:pt idx="43">
                  <c:v>0.09180962432026418</c:v>
                </c:pt>
                <c:pt idx="44">
                  <c:v>0.11354797057809882</c:v>
                </c:pt>
                <c:pt idx="45">
                  <c:v>0.11891772877379636</c:v>
                </c:pt>
                <c:pt idx="46">
                  <c:v>0.11602365874448076</c:v>
                </c:pt>
                <c:pt idx="47">
                  <c:v>0.11820015723844274</c:v>
                </c:pt>
                <c:pt idx="48">
                  <c:v>0.11859746454015513</c:v>
                </c:pt>
                <c:pt idx="49">
                  <c:v>0.11760836028459687</c:v>
                </c:pt>
                <c:pt idx="50">
                  <c:v>0.14155404408370262</c:v>
                </c:pt>
                <c:pt idx="51">
                  <c:v>0.1478222622832863</c:v>
                </c:pt>
                <c:pt idx="52">
                  <c:v>0.14189184693826218</c:v>
                </c:pt>
                <c:pt idx="53">
                  <c:v>0.18367233250188036</c:v>
                </c:pt>
                <c:pt idx="54">
                  <c:v>0.11867795383105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2.0"/>
          <c:min val="58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339366515837103"/>
          <c:min val="0.059895833333333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74009322292048</c:v>
                </c:pt>
                <c:pt idx="1">
                  <c:v>0.7625854865219531</c:v>
                </c:pt>
                <c:pt idx="2">
                  <c:v>0.784653282550026</c:v>
                </c:pt>
                <c:pt idx="3">
                  <c:v>0.7954211539588318</c:v>
                </c:pt>
                <c:pt idx="4">
                  <c:v>0.7891433575267028</c:v>
                </c:pt>
                <c:pt idx="5">
                  <c:v>0.8184915950241113</c:v>
                </c:pt>
                <c:pt idx="6">
                  <c:v>0.8337203558298418</c:v>
                </c:pt>
                <c:pt idx="7">
                  <c:v>0.7839402765094411</c:v>
                </c:pt>
                <c:pt idx="8">
                  <c:v>0.7884498278954718</c:v>
                </c:pt>
                <c:pt idx="9">
                  <c:v>0.7506292429263913</c:v>
                </c:pt>
                <c:pt idx="10">
                  <c:v>0.7864602743486214</c:v>
                </c:pt>
                <c:pt idx="11">
                  <c:v>0.844305705581653</c:v>
                </c:pt>
                <c:pt idx="12">
                  <c:v>0.8617230841957146</c:v>
                </c:pt>
                <c:pt idx="13">
                  <c:v>0.8763869061762117</c:v>
                </c:pt>
                <c:pt idx="14">
                  <c:v>0.8407265365796753</c:v>
                </c:pt>
                <c:pt idx="15">
                  <c:v>0.8900228689166191</c:v>
                </c:pt>
                <c:pt idx="16">
                  <c:v>0.9408310316933997</c:v>
                </c:pt>
                <c:pt idx="17">
                  <c:v>1.00078093364689</c:v>
                </c:pt>
                <c:pt idx="18">
                  <c:v>0.9801348832349009</c:v>
                </c:pt>
                <c:pt idx="19">
                  <c:v>1.0599742264217136</c:v>
                </c:pt>
                <c:pt idx="20">
                  <c:v>1.0823172409902166</c:v>
                </c:pt>
                <c:pt idx="21">
                  <c:v>0.9301444740656312</c:v>
                </c:pt>
                <c:pt idx="22">
                  <c:v>0.8491611467083914</c:v>
                </c:pt>
                <c:pt idx="23">
                  <c:v>0.8367683245057719</c:v>
                </c:pt>
                <c:pt idx="24">
                  <c:v>0.8062312857269133</c:v>
                </c:pt>
                <c:pt idx="25">
                  <c:v>0.7960277111160075</c:v>
                </c:pt>
                <c:pt idx="26">
                  <c:v>0.7880533040765454</c:v>
                </c:pt>
                <c:pt idx="27">
                  <c:v>0.8026778514685717</c:v>
                </c:pt>
                <c:pt idx="28">
                  <c:v>0.8033563873743121</c:v>
                </c:pt>
                <c:pt idx="29">
                  <c:v>0.7807916884185744</c:v>
                </c:pt>
                <c:pt idx="30">
                  <c:v>0.7505232592789385</c:v>
                </c:pt>
                <c:pt idx="31">
                  <c:v>0.780545049212467</c:v>
                </c:pt>
                <c:pt idx="32">
                  <c:v>0.7523504032774576</c:v>
                </c:pt>
                <c:pt idx="33">
                  <c:v>0.7379060956150041</c:v>
                </c:pt>
                <c:pt idx="34">
                  <c:v>0.7876626496256212</c:v>
                </c:pt>
                <c:pt idx="35">
                  <c:v>0.8272931543977586</c:v>
                </c:pt>
                <c:pt idx="36">
                  <c:v>0.937322599761205</c:v>
                </c:pt>
                <c:pt idx="37">
                  <c:v>0.9276795118122364</c:v>
                </c:pt>
                <c:pt idx="38">
                  <c:v>1.0124369395445656</c:v>
                </c:pt>
                <c:pt idx="39">
                  <c:v>1.0285800742202584</c:v>
                </c:pt>
                <c:pt idx="40">
                  <c:v>0.9618816691793779</c:v>
                </c:pt>
                <c:pt idx="41">
                  <c:v>0.9702604247220951</c:v>
                </c:pt>
                <c:pt idx="42">
                  <c:v>0.9573578251094771</c:v>
                </c:pt>
                <c:pt idx="43">
                  <c:v>0.9690238890750623</c:v>
                </c:pt>
                <c:pt idx="44">
                  <c:v>0.9619696839456153</c:v>
                </c:pt>
                <c:pt idx="45">
                  <c:v>0.9448921001225142</c:v>
                </c:pt>
                <c:pt idx="46">
                  <c:v>0.9357432959194246</c:v>
                </c:pt>
                <c:pt idx="47">
                  <c:v>0.9450417873804117</c:v>
                </c:pt>
                <c:pt idx="48">
                  <c:v>0.9308433431094815</c:v>
                </c:pt>
                <c:pt idx="49">
                  <c:v>0.8865438755756571</c:v>
                </c:pt>
                <c:pt idx="50">
                  <c:v>0.9230845992442029</c:v>
                </c:pt>
                <c:pt idx="51">
                  <c:v>0.9106230546738344</c:v>
                </c:pt>
                <c:pt idx="52">
                  <c:v>0.896826236671591</c:v>
                </c:pt>
                <c:pt idx="53">
                  <c:v>0.8799118429152409</c:v>
                </c:pt>
                <c:pt idx="54">
                  <c:v>0.8536770781910271</c:v>
                </c:pt>
                <c:pt idx="55">
                  <c:v>0.9030362315484903</c:v>
                </c:pt>
                <c:pt idx="56">
                  <c:v>0.9041822567101371</c:v>
                </c:pt>
                <c:pt idx="57">
                  <c:v>0.9040714830740484</c:v>
                </c:pt>
                <c:pt idx="58">
                  <c:v>0.8889183715706562</c:v>
                </c:pt>
                <c:pt idx="59">
                  <c:v>0.8506747368108587</c:v>
                </c:pt>
                <c:pt idx="60">
                  <c:v>0.8672921877864858</c:v>
                </c:pt>
                <c:pt idx="61">
                  <c:v>1.0045297939551718</c:v>
                </c:pt>
                <c:pt idx="62">
                  <c:v>0.9675044418284182</c:v>
                </c:pt>
                <c:pt idx="63">
                  <c:v>1.0226003105375039</c:v>
                </c:pt>
                <c:pt idx="64">
                  <c:v>1.048850394072911</c:v>
                </c:pt>
                <c:pt idx="65">
                  <c:v>1.0286304169062968</c:v>
                </c:pt>
                <c:pt idx="66">
                  <c:v>1.0002678038244912</c:v>
                </c:pt>
                <c:pt idx="67">
                  <c:v>1.0920438173522882</c:v>
                </c:pt>
                <c:pt idx="68">
                  <c:v>1.1621049790106124</c:v>
                </c:pt>
                <c:pt idx="69">
                  <c:v>1.1855206308741844</c:v>
                </c:pt>
                <c:pt idx="70">
                  <c:v>1.1994386202986793</c:v>
                </c:pt>
                <c:pt idx="71">
                  <c:v>1.0749462968093464</c:v>
                </c:pt>
                <c:pt idx="72">
                  <c:v>1.3123343162134307</c:v>
                </c:pt>
                <c:pt idx="73">
                  <c:v>1.0725959387251467</c:v>
                </c:pt>
                <c:pt idx="74">
                  <c:v>1.0105974686240555</c:v>
                </c:pt>
                <c:pt idx="75">
                  <c:v>0.9848621161628668</c:v>
                </c:pt>
                <c:pt idx="76">
                  <c:v>0.994435922058373</c:v>
                </c:pt>
                <c:pt idx="77">
                  <c:v>1.0321899021233507</c:v>
                </c:pt>
                <c:pt idx="78">
                  <c:v>1.0436966261098801</c:v>
                </c:pt>
                <c:pt idx="79">
                  <c:v>1.0324145339685242</c:v>
                </c:pt>
                <c:pt idx="80">
                  <c:v>1.0503029492267137</c:v>
                </c:pt>
                <c:pt idx="81">
                  <c:v>0.9967671098394696</c:v>
                </c:pt>
                <c:pt idx="82">
                  <c:v>1.0112822458859416</c:v>
                </c:pt>
                <c:pt idx="83">
                  <c:v>0.9820787886458767</c:v>
                </c:pt>
                <c:pt idx="84">
                  <c:v>1.023743371203563</c:v>
                </c:pt>
                <c:pt idx="85">
                  <c:v>0.9971953453130752</c:v>
                </c:pt>
                <c:pt idx="86">
                  <c:v>1.0069818939316686</c:v>
                </c:pt>
                <c:pt idx="87">
                  <c:v>0.9863394603899706</c:v>
                </c:pt>
                <c:pt idx="88">
                  <c:v>0.9238157656613656</c:v>
                </c:pt>
                <c:pt idx="89">
                  <c:v>0.9115177962794486</c:v>
                </c:pt>
                <c:pt idx="90">
                  <c:v>1.0132034850775515</c:v>
                </c:pt>
                <c:pt idx="91">
                  <c:v>1.056511356797653</c:v>
                </c:pt>
                <c:pt idx="92">
                  <c:v>1.0363885752150002</c:v>
                </c:pt>
                <c:pt idx="93">
                  <c:v>1.0098518142051454</c:v>
                </c:pt>
                <c:pt idx="94">
                  <c:v>1.0045261448123268</c:v>
                </c:pt>
                <c:pt idx="95">
                  <c:v>1.015766069323611</c:v>
                </c:pt>
                <c:pt idx="96">
                  <c:v>0.9791493565575474</c:v>
                </c:pt>
                <c:pt idx="97">
                  <c:v>0.9719437949101191</c:v>
                </c:pt>
                <c:pt idx="98">
                  <c:v>0.9652466079730139</c:v>
                </c:pt>
                <c:pt idx="99">
                  <c:v>0.950700355943842</c:v>
                </c:pt>
                <c:pt idx="100">
                  <c:v>0.9127269291467353</c:v>
                </c:pt>
                <c:pt idx="101">
                  <c:v>0.8912348084901813</c:v>
                </c:pt>
                <c:pt idx="102">
                  <c:v>0.9073523804025649</c:v>
                </c:pt>
                <c:pt idx="103">
                  <c:v>0.9443379956074441</c:v>
                </c:pt>
                <c:pt idx="104">
                  <c:v>0.9483843144733066</c:v>
                </c:pt>
              </c:numCache>
            </c:numRef>
          </c:xVal>
          <c:yVal>
            <c:numRef>
              <c:f>Sheet1!$B$2:$B$106</c:f>
              <c:numCache>
                <c:formatCode>General</c:formatCode>
                <c:ptCount val="105"/>
                <c:pt idx="0">
                  <c:v>0.5726329442282749</c:v>
                </c:pt>
                <c:pt idx="1">
                  <c:v>0.640761300555115</c:v>
                </c:pt>
                <c:pt idx="2">
                  <c:v>0.6980982567353408</c:v>
                </c:pt>
                <c:pt idx="3">
                  <c:v>0.6531302876480541</c:v>
                </c:pt>
                <c:pt idx="4">
                  <c:v>0.6428571428571429</c:v>
                </c:pt>
                <c:pt idx="5">
                  <c:v>0.5646879756468798</c:v>
                </c:pt>
                <c:pt idx="6">
                  <c:v>0.5414448669201521</c:v>
                </c:pt>
                <c:pt idx="7">
                  <c:v>0.6293302540415704</c:v>
                </c:pt>
                <c:pt idx="8">
                  <c:v>0.600263852242744</c:v>
                </c:pt>
                <c:pt idx="9">
                  <c:v>0.5916601101494886</c:v>
                </c:pt>
                <c:pt idx="10">
                  <c:v>0.5534804753820034</c:v>
                </c:pt>
                <c:pt idx="11">
                  <c:v>0.48094747682801237</c:v>
                </c:pt>
                <c:pt idx="12">
                  <c:v>0.46130952380952384</c:v>
                </c:pt>
                <c:pt idx="13">
                  <c:v>0.4290718038528897</c:v>
                </c:pt>
                <c:pt idx="14">
                  <c:v>0.4360313315926893</c:v>
                </c:pt>
                <c:pt idx="15">
                  <c:v>0.46794871794871795</c:v>
                </c:pt>
                <c:pt idx="16">
                  <c:v>0.43727598566308246</c:v>
                </c:pt>
                <c:pt idx="17">
                  <c:v>0.41032608695652173</c:v>
                </c:pt>
                <c:pt idx="18">
                  <c:v>0.441320293398533</c:v>
                </c:pt>
                <c:pt idx="19">
                  <c:v>0.40294117647058825</c:v>
                </c:pt>
                <c:pt idx="20">
                  <c:v>0.4040920716112532</c:v>
                </c:pt>
                <c:pt idx="21">
                  <c:v>0.5065176908752328</c:v>
                </c:pt>
                <c:pt idx="22">
                  <c:v>0.5186915887850467</c:v>
                </c:pt>
                <c:pt idx="23">
                  <c:v>0.5491525423728814</c:v>
                </c:pt>
                <c:pt idx="24">
                  <c:v>0.5710144927536231</c:v>
                </c:pt>
                <c:pt idx="25">
                  <c:v>0.567741935483871</c:v>
                </c:pt>
                <c:pt idx="26">
                  <c:v>0.5605442176870749</c:v>
                </c:pt>
                <c:pt idx="27">
                  <c:v>0.5371900826446281</c:v>
                </c:pt>
                <c:pt idx="28">
                  <c:v>0.5351089588377724</c:v>
                </c:pt>
                <c:pt idx="29">
                  <c:v>0.5203426124197003</c:v>
                </c:pt>
                <c:pt idx="30">
                  <c:v>0.5681198910081744</c:v>
                </c:pt>
                <c:pt idx="31">
                  <c:v>0.5804375804375804</c:v>
                </c:pt>
                <c:pt idx="32">
                  <c:v>0.5755305867665418</c:v>
                </c:pt>
                <c:pt idx="33">
                  <c:v>0.5776105362182502</c:v>
                </c:pt>
                <c:pt idx="34">
                  <c:v>0.5657407407407408</c:v>
                </c:pt>
                <c:pt idx="35">
                  <c:v>0.5585585585585585</c:v>
                </c:pt>
                <c:pt idx="36">
                  <c:v>0.5260416666666666</c:v>
                </c:pt>
                <c:pt idx="37">
                  <c:v>0.5356234096692112</c:v>
                </c:pt>
                <c:pt idx="38">
                  <c:v>0.5111402359108781</c:v>
                </c:pt>
                <c:pt idx="39">
                  <c:v>0.4666666666666667</c:v>
                </c:pt>
                <c:pt idx="40">
                  <c:v>0.4843137254901961</c:v>
                </c:pt>
                <c:pt idx="41">
                  <c:v>0.46929316338354576</c:v>
                </c:pt>
                <c:pt idx="42">
                  <c:v>0.4568014705882353</c:v>
                </c:pt>
                <c:pt idx="43">
                  <c:v>0.4509466437177281</c:v>
                </c:pt>
                <c:pt idx="44">
                  <c:v>0.42898792169929195</c:v>
                </c:pt>
                <c:pt idx="45">
                  <c:v>0.434715821812596</c:v>
                </c:pt>
                <c:pt idx="46">
                  <c:v>0.4622980251346499</c:v>
                </c:pt>
                <c:pt idx="47">
                  <c:v>0.45026881720430106</c:v>
                </c:pt>
                <c:pt idx="48">
                  <c:v>0.43421482206986617</c:v>
                </c:pt>
                <c:pt idx="49">
                  <c:v>0.46521635190054983</c:v>
                </c:pt>
                <c:pt idx="50">
                  <c:v>0.4481500781657113</c:v>
                </c:pt>
                <c:pt idx="51">
                  <c:v>0.4417989417989418</c:v>
                </c:pt>
                <c:pt idx="52">
                  <c:v>0.45440494590417313</c:v>
                </c:pt>
                <c:pt idx="53">
                  <c:v>0.46168958742632615</c:v>
                </c:pt>
                <c:pt idx="54">
                  <c:v>0.46381578947368424</c:v>
                </c:pt>
                <c:pt idx="55">
                  <c:v>0.47172995780590715</c:v>
                </c:pt>
                <c:pt idx="56">
                  <c:v>0.47871333964049195</c:v>
                </c:pt>
                <c:pt idx="57">
                  <c:v>0.4691689008042895</c:v>
                </c:pt>
                <c:pt idx="58">
                  <c:v>0.47202216066481995</c:v>
                </c:pt>
                <c:pt idx="59">
                  <c:v>0.5047110552763819</c:v>
                </c:pt>
                <c:pt idx="60">
                  <c:v>0.48381024096385544</c:v>
                </c:pt>
                <c:pt idx="61">
                  <c:v>0.4450909090909091</c:v>
                </c:pt>
                <c:pt idx="62">
                  <c:v>0.5482600131319764</c:v>
                </c:pt>
                <c:pt idx="63">
                  <c:v>0.5454545454545454</c:v>
                </c:pt>
                <c:pt idx="64">
                  <c:v>0.46035805626598464</c:v>
                </c:pt>
                <c:pt idx="65">
                  <c:v>0.45316070068545317</c:v>
                </c:pt>
                <c:pt idx="66">
                  <c:v>0.4641255605381166</c:v>
                </c:pt>
                <c:pt idx="67">
                  <c:v>0.4466095089633671</c:v>
                </c:pt>
                <c:pt idx="68">
                  <c:v>0.42515592515592515</c:v>
                </c:pt>
                <c:pt idx="69">
                  <c:v>0.4031620553359684</c:v>
                </c:pt>
                <c:pt idx="70">
                  <c:v>0.3912543153049482</c:v>
                </c:pt>
                <c:pt idx="71">
                  <c:v>0.4040660736975858</c:v>
                </c:pt>
                <c:pt idx="72">
                  <c:v>0.39539748953974896</c:v>
                </c:pt>
                <c:pt idx="73">
                  <c:v>0.4305717619603267</c:v>
                </c:pt>
                <c:pt idx="74">
                  <c:v>0.43052837573385516</c:v>
                </c:pt>
                <c:pt idx="75">
                  <c:v>0.4380630630630631</c:v>
                </c:pt>
                <c:pt idx="76">
                  <c:v>0.4337194337194337</c:v>
                </c:pt>
                <c:pt idx="77">
                  <c:v>0.43988684582743987</c:v>
                </c:pt>
                <c:pt idx="78">
                  <c:v>0.4331395348837209</c:v>
                </c:pt>
                <c:pt idx="79">
                  <c:v>0.4078282828282828</c:v>
                </c:pt>
                <c:pt idx="80">
                  <c:v>0.39227166276346603</c:v>
                </c:pt>
                <c:pt idx="81">
                  <c:v>0.41444114737883286</c:v>
                </c:pt>
                <c:pt idx="82">
                  <c:v>0.42450142450142453</c:v>
                </c:pt>
                <c:pt idx="83">
                  <c:v>0.4281098546042003</c:v>
                </c:pt>
                <c:pt idx="84">
                  <c:v>0.4155844155844156</c:v>
                </c:pt>
                <c:pt idx="85">
                  <c:v>0.4311050477489768</c:v>
                </c:pt>
                <c:pt idx="86">
                  <c:v>0.44273127753303965</c:v>
                </c:pt>
                <c:pt idx="87">
                  <c:v>0.4348302300109529</c:v>
                </c:pt>
                <c:pt idx="88">
                  <c:v>0.445095168374817</c:v>
                </c:pt>
                <c:pt idx="89">
                  <c:v>0.4664804469273743</c:v>
                </c:pt>
                <c:pt idx="90">
                  <c:v>0.41151685393258425</c:v>
                </c:pt>
                <c:pt idx="91">
                  <c:v>0.3825214899713467</c:v>
                </c:pt>
                <c:pt idx="92">
                  <c:v>0.37418655097613884</c:v>
                </c:pt>
                <c:pt idx="93">
                  <c:v>0.37254901960784315</c:v>
                </c:pt>
                <c:pt idx="94">
                  <c:v>0.3656480505795574</c:v>
                </c:pt>
                <c:pt idx="95">
                  <c:v>0.355397951142632</c:v>
                </c:pt>
                <c:pt idx="96">
                  <c:v>0.3859410430839002</c:v>
                </c:pt>
                <c:pt idx="97">
                  <c:v>0.4194560669456067</c:v>
                </c:pt>
                <c:pt idx="98">
                  <c:v>0.43336560180703454</c:v>
                </c:pt>
                <c:pt idx="99">
                  <c:v>0.43410625183445845</c:v>
                </c:pt>
                <c:pt idx="100">
                  <c:v>0.43906903765690375</c:v>
                </c:pt>
                <c:pt idx="101">
                  <c:v>0.4372945044621888</c:v>
                </c:pt>
                <c:pt idx="102">
                  <c:v>0.4284750337381916</c:v>
                </c:pt>
                <c:pt idx="103">
                  <c:v>0.3968622893666473</c:v>
                </c:pt>
                <c:pt idx="104">
                  <c:v>0.4120100083402835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366910657082105</c:v>
                </c:pt>
                <c:pt idx="1">
                  <c:v>0.8850719600531878</c:v>
                </c:pt>
                <c:pt idx="2">
                  <c:v>0.8954760904544662</c:v>
                </c:pt>
                <c:pt idx="3">
                  <c:v>0.8548997148820876</c:v>
                </c:pt>
                <c:pt idx="4">
                  <c:v>0.8965298200087137</c:v>
                </c:pt>
                <c:pt idx="5">
                  <c:v>0.8973946299233259</c:v>
                </c:pt>
                <c:pt idx="6">
                  <c:v>0.8927267368688105</c:v>
                </c:pt>
                <c:pt idx="7">
                  <c:v>0.9156988664672572</c:v>
                </c:pt>
                <c:pt idx="8">
                  <c:v>0.9335813973411687</c:v>
                </c:pt>
                <c:pt idx="9">
                  <c:v>0.9169736695874086</c:v>
                </c:pt>
                <c:pt idx="10">
                  <c:v>0.9490424715359502</c:v>
                </c:pt>
                <c:pt idx="11">
                  <c:v>0.8779641119640662</c:v>
                </c:pt>
                <c:pt idx="12">
                  <c:v>0.8744483539484057</c:v>
                </c:pt>
                <c:pt idx="13">
                  <c:v>0.8878146503825894</c:v>
                </c:pt>
                <c:pt idx="14">
                  <c:v>0.8346955165849332</c:v>
                </c:pt>
                <c:pt idx="15">
                  <c:v>0.87824973910134</c:v>
                </c:pt>
                <c:pt idx="16">
                  <c:v>0.8978876586188203</c:v>
                </c:pt>
                <c:pt idx="17">
                  <c:v>0.8931655395266043</c:v>
                </c:pt>
                <c:pt idx="18">
                  <c:v>0.858638934492523</c:v>
                </c:pt>
                <c:pt idx="19">
                  <c:v>0.8844121127007812</c:v>
                </c:pt>
                <c:pt idx="20">
                  <c:v>0.8982100756465131</c:v>
                </c:pt>
                <c:pt idx="21">
                  <c:v>0.8707741309540132</c:v>
                </c:pt>
                <c:pt idx="22">
                  <c:v>0.8814591935565559</c:v>
                </c:pt>
                <c:pt idx="23">
                  <c:v>0.8878625954733915</c:v>
                </c:pt>
                <c:pt idx="24">
                  <c:v>0.8986419015012619</c:v>
                </c:pt>
                <c:pt idx="25">
                  <c:v>0.9308928608654875</c:v>
                </c:pt>
                <c:pt idx="26">
                  <c:v>0.9047144924924749</c:v>
                </c:pt>
                <c:pt idx="27">
                  <c:v>0.9201948917504907</c:v>
                </c:pt>
                <c:pt idx="28">
                  <c:v>0.9084710797176061</c:v>
                </c:pt>
                <c:pt idx="29">
                  <c:v>0.8913442799124308</c:v>
                </c:pt>
                <c:pt idx="30">
                  <c:v>0.8683434731589205</c:v>
                </c:pt>
                <c:pt idx="31">
                  <c:v>0.901876165063878</c:v>
                </c:pt>
                <c:pt idx="32">
                  <c:v>0.9095719394531343</c:v>
                </c:pt>
                <c:pt idx="33">
                  <c:v>0.8837261151430527</c:v>
                </c:pt>
                <c:pt idx="34">
                  <c:v>0.8872261423616198</c:v>
                </c:pt>
                <c:pt idx="35">
                  <c:v>0.9134370843192856</c:v>
                </c:pt>
                <c:pt idx="36">
                  <c:v>0.9101795179723632</c:v>
                </c:pt>
                <c:pt idx="37">
                  <c:v>0.8928634743847506</c:v>
                </c:pt>
                <c:pt idx="38">
                  <c:v>0.8910742307256753</c:v>
                </c:pt>
                <c:pt idx="39">
                  <c:v>0.9155646384259123</c:v>
                </c:pt>
                <c:pt idx="40">
                  <c:v>0.9577356812265659</c:v>
                </c:pt>
                <c:pt idx="41">
                  <c:v>0.9660716270531269</c:v>
                </c:pt>
                <c:pt idx="42">
                  <c:v>0.9205618999552875</c:v>
                </c:pt>
                <c:pt idx="43">
                  <c:v>1.0149665042461986</c:v>
                </c:pt>
                <c:pt idx="44">
                  <c:v>1.0157934917872615</c:v>
                </c:pt>
                <c:pt idx="45">
                  <c:v>0.9592615361710872</c:v>
                </c:pt>
                <c:pt idx="46">
                  <c:v>0.9364803794771942</c:v>
                </c:pt>
                <c:pt idx="47">
                  <c:v>0.9528475068042613</c:v>
                </c:pt>
                <c:pt idx="48">
                  <c:v>1.025007946621209</c:v>
                </c:pt>
                <c:pt idx="49">
                  <c:v>1.021197273616131</c:v>
                </c:pt>
                <c:pt idx="50">
                  <c:v>0.9560870868142611</c:v>
                </c:pt>
                <c:pt idx="51">
                  <c:v>0.9723713944893201</c:v>
                </c:pt>
              </c:numCache>
            </c:numRef>
          </c:xVal>
          <c:yVal>
            <c:numRef>
              <c:f>Sheet1!$B$109:$B$160</c:f>
              <c:numCache>
                <c:formatCode>General</c:formatCode>
                <c:ptCount val="52"/>
                <c:pt idx="0">
                  <c:v>0.3941299790356394</c:v>
                </c:pt>
                <c:pt idx="1">
                  <c:v>0.3893229166666667</c:v>
                </c:pt>
                <c:pt idx="2">
                  <c:v>0.40662323561346364</c:v>
                </c:pt>
                <c:pt idx="3">
                  <c:v>0.43936731107205623</c:v>
                </c:pt>
                <c:pt idx="4">
                  <c:v>0.4105642256902761</c:v>
                </c:pt>
                <c:pt idx="5">
                  <c:v>0.40757238307349664</c:v>
                </c:pt>
                <c:pt idx="6">
                  <c:v>0.43657042869641294</c:v>
                </c:pt>
                <c:pt idx="7">
                  <c:v>0.43289224952741023</c:v>
                </c:pt>
                <c:pt idx="8">
                  <c:v>0.44813278008298757</c:v>
                </c:pt>
                <c:pt idx="9">
                  <c:v>0.47293447293447294</c:v>
                </c:pt>
                <c:pt idx="10">
                  <c:v>0.43109869646182497</c:v>
                </c:pt>
                <c:pt idx="11">
                  <c:v>0.46571072319201995</c:v>
                </c:pt>
                <c:pt idx="12">
                  <c:v>0.48398576512455516</c:v>
                </c:pt>
                <c:pt idx="13">
                  <c:v>0.47339449541284406</c:v>
                </c:pt>
                <c:pt idx="14">
                  <c:v>0.5028735632183908</c:v>
                </c:pt>
                <c:pt idx="15">
                  <c:v>0.46715328467153283</c:v>
                </c:pt>
                <c:pt idx="16">
                  <c:v>0.4661214953271028</c:v>
                </c:pt>
                <c:pt idx="17">
                  <c:v>0.46204620462046203</c:v>
                </c:pt>
                <c:pt idx="18">
                  <c:v>0.4795180722891566</c:v>
                </c:pt>
                <c:pt idx="19">
                  <c:v>0.45454545454545453</c:v>
                </c:pt>
                <c:pt idx="20">
                  <c:v>0.4272863568215892</c:v>
                </c:pt>
                <c:pt idx="21">
                  <c:v>0.4588910133843212</c:v>
                </c:pt>
                <c:pt idx="22">
                  <c:v>0.44609665427509293</c:v>
                </c:pt>
                <c:pt idx="23">
                  <c:v>0.44403669724770645</c:v>
                </c:pt>
                <c:pt idx="24">
                  <c:v>0.4635258358662614</c:v>
                </c:pt>
                <c:pt idx="25">
                  <c:v>0.4417808219178082</c:v>
                </c:pt>
                <c:pt idx="26">
                  <c:v>0.4329268292682927</c:v>
                </c:pt>
                <c:pt idx="27">
                  <c:v>0.4510035419126328</c:v>
                </c:pt>
                <c:pt idx="28">
                  <c:v>0.45158002038735984</c:v>
                </c:pt>
                <c:pt idx="29">
                  <c:v>0.4412171507607192</c:v>
                </c:pt>
                <c:pt idx="30">
                  <c:v>0.4375</c:v>
                </c:pt>
                <c:pt idx="31">
                  <c:v>0.3992146596858639</c:v>
                </c:pt>
                <c:pt idx="32">
                  <c:v>0.42663656884875845</c:v>
                </c:pt>
                <c:pt idx="33">
                  <c:v>0.43738140417457305</c:v>
                </c:pt>
                <c:pt idx="34">
                  <c:v>0.44854881266490765</c:v>
                </c:pt>
                <c:pt idx="35">
                  <c:v>0.4371794871794872</c:v>
                </c:pt>
                <c:pt idx="36">
                  <c:v>0.41379310344827586</c:v>
                </c:pt>
                <c:pt idx="37">
                  <c:v>0.44089456869009586</c:v>
                </c:pt>
                <c:pt idx="38">
                  <c:v>0.4539877300613497</c:v>
                </c:pt>
                <c:pt idx="39">
                  <c:v>0.4534461910519952</c:v>
                </c:pt>
                <c:pt idx="40">
                  <c:v>0.4609271523178808</c:v>
                </c:pt>
                <c:pt idx="41">
                  <c:v>0.4142857142857143</c:v>
                </c:pt>
                <c:pt idx="42">
                  <c:v>0.46143057503506313</c:v>
                </c:pt>
                <c:pt idx="43">
                  <c:v>0.441207075962539</c:v>
                </c:pt>
                <c:pt idx="44">
                  <c:v>0.4317241379310345</c:v>
                </c:pt>
                <c:pt idx="45">
                  <c:v>0.4333648393194707</c:v>
                </c:pt>
                <c:pt idx="46">
                  <c:v>0.44359255202628695</c:v>
                </c:pt>
                <c:pt idx="47">
                  <c:v>0.45080213903743316</c:v>
                </c:pt>
                <c:pt idx="48">
                  <c:v>0.407673860911271</c:v>
                </c:pt>
                <c:pt idx="49">
                  <c:v>0.43322859387274154</c:v>
                </c:pt>
                <c:pt idx="50">
                  <c:v>0.42664526484751203</c:v>
                </c:pt>
                <c:pt idx="51">
                  <c:v>0.4217311233885819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8879076806926595</c:v>
                </c:pt>
              </c:numCache>
            </c:numRef>
          </c:xVal>
          <c:yVal>
            <c:numRef>
              <c:f>Sheet1!$B$163:$B$164</c:f>
              <c:numCache>
                <c:formatCode>General</c:formatCode>
                <c:ptCount val="2"/>
                <c:pt idx="0">
                  <c:v>0.6159118756528082</c:v>
                </c:pt>
                <c:pt idx="1">
                  <c:v>0.61591187565280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8879076806926595</c:v>
                </c:pt>
                <c:pt idx="1">
                  <c:v>0.048879076806926595</c:v>
                </c:pt>
              </c:numCache>
            </c:numRef>
          </c:xVal>
          <c:yVal>
            <c:numRef>
              <c:f>Sheet1!$B$167:$B$168</c:f>
              <c:numCache>
                <c:formatCode>General</c:formatCode>
                <c:ptCount val="2"/>
                <c:pt idx="0">
                  <c:v>0.61591187565280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71990822282469</c:v>
                </c:pt>
              </c:numCache>
            </c:numRef>
          </c:xVal>
          <c:yVal>
            <c:numRef>
              <c:f>Sheet1!$B$171:$B$172</c:f>
              <c:numCache>
                <c:formatCode>General</c:formatCode>
                <c:ptCount val="2"/>
                <c:pt idx="0">
                  <c:v>0.46504304600028673</c:v>
                </c:pt>
                <c:pt idx="1">
                  <c:v>0.465043046000286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71990822282469</c:v>
                </c:pt>
                <c:pt idx="1">
                  <c:v>0.7971990822282469</c:v>
                </c:pt>
              </c:numCache>
            </c:numRef>
          </c:xVal>
          <c:yVal>
            <c:numRef>
              <c:f>Sheet1!$B$175:$B$176</c:f>
              <c:numCache>
                <c:formatCode>General</c:formatCode>
                <c:ptCount val="2"/>
                <c:pt idx="0">
                  <c:v>0.465043046000286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366535114568719</c:v>
                </c:pt>
              </c:numCache>
            </c:numRef>
          </c:xVal>
          <c:yVal>
            <c:numRef>
              <c:f>Sheet1!$B$179:$B$180</c:f>
              <c:numCache>
                <c:formatCode>General</c:formatCode>
                <c:ptCount val="2"/>
                <c:pt idx="0">
                  <c:v>0.43692763230673265</c:v>
                </c:pt>
                <c:pt idx="1">
                  <c:v>0.436927632306732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366535114568719</c:v>
                </c:pt>
                <c:pt idx="1">
                  <c:v>0.9366535114568719</c:v>
                </c:pt>
              </c:numCache>
            </c:numRef>
          </c:xVal>
          <c:yVal>
            <c:numRef>
              <c:f>Sheet1!$B$183:$B$184</c:f>
              <c:numCache>
                <c:formatCode>General</c:formatCode>
                <c:ptCount val="2"/>
                <c:pt idx="0">
                  <c:v>0.436927632306732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366910657082105</c:v>
                </c:pt>
                <c:pt idx="1">
                  <c:v>0.8850719600531878</c:v>
                </c:pt>
                <c:pt idx="2">
                  <c:v>0.8954760904544662</c:v>
                </c:pt>
                <c:pt idx="3">
                  <c:v>0.8548997148820876</c:v>
                </c:pt>
                <c:pt idx="4">
                  <c:v>0.8965298200087137</c:v>
                </c:pt>
                <c:pt idx="5">
                  <c:v>0.8973946299233259</c:v>
                </c:pt>
                <c:pt idx="6">
                  <c:v>0.8927267368688105</c:v>
                </c:pt>
                <c:pt idx="7">
                  <c:v>0.9156988664672572</c:v>
                </c:pt>
                <c:pt idx="8">
                  <c:v>0.9335813973411687</c:v>
                </c:pt>
                <c:pt idx="9">
                  <c:v>0.9169736695874086</c:v>
                </c:pt>
                <c:pt idx="10">
                  <c:v>0.9490424715359502</c:v>
                </c:pt>
                <c:pt idx="11">
                  <c:v>0.8779641119640662</c:v>
                </c:pt>
                <c:pt idx="12">
                  <c:v>0.8744483539484057</c:v>
                </c:pt>
                <c:pt idx="13">
                  <c:v>0.8878146503825894</c:v>
                </c:pt>
                <c:pt idx="14">
                  <c:v>0.8346955165849332</c:v>
                </c:pt>
                <c:pt idx="15">
                  <c:v>0.87824973910134</c:v>
                </c:pt>
                <c:pt idx="16">
                  <c:v>0.8978876586188203</c:v>
                </c:pt>
                <c:pt idx="17">
                  <c:v>0.8931655395266043</c:v>
                </c:pt>
                <c:pt idx="18">
                  <c:v>0.858638934492523</c:v>
                </c:pt>
                <c:pt idx="19">
                  <c:v>0.8844121127007812</c:v>
                </c:pt>
                <c:pt idx="20">
                  <c:v>0.8982100756465131</c:v>
                </c:pt>
                <c:pt idx="21">
                  <c:v>0.8707741309540132</c:v>
                </c:pt>
                <c:pt idx="22">
                  <c:v>0.8814591935565559</c:v>
                </c:pt>
                <c:pt idx="23">
                  <c:v>0.8878625954733915</c:v>
                </c:pt>
                <c:pt idx="24">
                  <c:v>0.8986419015012619</c:v>
                </c:pt>
                <c:pt idx="25">
                  <c:v>0.9308928608654875</c:v>
                </c:pt>
                <c:pt idx="26">
                  <c:v>0.9047144924924749</c:v>
                </c:pt>
                <c:pt idx="27">
                  <c:v>0.9201948917504907</c:v>
                </c:pt>
                <c:pt idx="28">
                  <c:v>0.9084710797176061</c:v>
                </c:pt>
                <c:pt idx="29">
                  <c:v>0.8913442799124308</c:v>
                </c:pt>
                <c:pt idx="30">
                  <c:v>0.8683434731589205</c:v>
                </c:pt>
                <c:pt idx="31">
                  <c:v>0.901876165063878</c:v>
                </c:pt>
                <c:pt idx="32">
                  <c:v>0.9095719394531343</c:v>
                </c:pt>
                <c:pt idx="33">
                  <c:v>0.8837261151430527</c:v>
                </c:pt>
                <c:pt idx="34">
                  <c:v>0.8872261423616198</c:v>
                </c:pt>
                <c:pt idx="35">
                  <c:v>0.9134370843192856</c:v>
                </c:pt>
                <c:pt idx="36">
                  <c:v>0.9101795179723632</c:v>
                </c:pt>
                <c:pt idx="37">
                  <c:v>0.8928634743847506</c:v>
                </c:pt>
                <c:pt idx="38">
                  <c:v>0.8910742307256753</c:v>
                </c:pt>
                <c:pt idx="39">
                  <c:v>0.9155646384259123</c:v>
                </c:pt>
                <c:pt idx="40">
                  <c:v>0.9577356812265659</c:v>
                </c:pt>
                <c:pt idx="41">
                  <c:v>0.9660716270531269</c:v>
                </c:pt>
                <c:pt idx="42">
                  <c:v>0.9205618999552875</c:v>
                </c:pt>
                <c:pt idx="43">
                  <c:v>1.0149665042461986</c:v>
                </c:pt>
                <c:pt idx="44">
                  <c:v>1.0157934917872615</c:v>
                </c:pt>
                <c:pt idx="45">
                  <c:v>0.9592615361710872</c:v>
                </c:pt>
                <c:pt idx="46">
                  <c:v>0.9364803794771942</c:v>
                </c:pt>
                <c:pt idx="47">
                  <c:v>0.9528475068042613</c:v>
                </c:pt>
                <c:pt idx="48">
                  <c:v>1.025007946621209</c:v>
                </c:pt>
                <c:pt idx="49">
                  <c:v>1.021197273616131</c:v>
                </c:pt>
                <c:pt idx="50">
                  <c:v>0.9560870868142611</c:v>
                </c:pt>
                <c:pt idx="51">
                  <c:v>0.9723713944893201</c:v>
                </c:pt>
                <c:pt idx="52">
                  <c:v>0.7971990822282469</c:v>
                </c:pt>
                <c:pt idx="53">
                  <c:v>0.048879076806926595</c:v>
                </c:pt>
                <c:pt idx="54">
                  <c:v>0.9366535114568719</c:v>
                </c:pt>
              </c:numCache>
            </c:numRef>
          </c:xVal>
          <c:yVal>
            <c:numRef>
              <c:f>Sheet1!$B$187:$B$241</c:f>
              <c:numCache>
                <c:formatCode>General</c:formatCode>
                <c:ptCount val="55"/>
                <c:pt idx="0">
                  <c:v>0.4369200609924461</c:v>
                </c:pt>
                <c:pt idx="1">
                  <c:v>0.4473269911846952</c:v>
                </c:pt>
                <c:pt idx="2">
                  <c:v>0.4452294139906854</c:v>
                </c:pt>
                <c:pt idx="3">
                  <c:v>0.45341001887869614</c:v>
                </c:pt>
                <c:pt idx="4">
                  <c:v>0.44501697152827907</c:v>
                </c:pt>
                <c:pt idx="5">
                  <c:v>0.44484261716284157</c:v>
                </c:pt>
                <c:pt idx="6">
                  <c:v>0.44578371128965344</c:v>
                </c:pt>
                <c:pt idx="7">
                  <c:v>0.44115229921723076</c:v>
                </c:pt>
                <c:pt idx="8">
                  <c:v>0.437547001370552</c:v>
                </c:pt>
                <c:pt idx="9">
                  <c:v>0.44089528610334733</c:v>
                </c:pt>
                <c:pt idx="10">
                  <c:v>0.4344298935128994</c:v>
                </c:pt>
                <c:pt idx="11">
                  <c:v>0.4487600047548054</c:v>
                </c:pt>
                <c:pt idx="12">
                  <c:v>0.4494688168850725</c:v>
                </c:pt>
                <c:pt idx="13">
                  <c:v>0.44677403726511755</c:v>
                </c:pt>
                <c:pt idx="14">
                  <c:v>0.45748338819807305</c:v>
                </c:pt>
                <c:pt idx="15">
                  <c:v>0.4487024194549266</c:v>
                </c:pt>
                <c:pt idx="16">
                  <c:v>0.4447432176255641</c:v>
                </c:pt>
                <c:pt idx="17">
                  <c:v>0.4456952442662542</c:v>
                </c:pt>
                <c:pt idx="18">
                  <c:v>0.45265615464634473</c:v>
                </c:pt>
                <c:pt idx="19">
                  <c:v>0.44746002303882937</c:v>
                </c:pt>
                <c:pt idx="20">
                  <c:v>0.44467821511423783</c:v>
                </c:pt>
                <c:pt idx="21">
                  <c:v>0.450209577146766</c:v>
                </c:pt>
                <c:pt idx="22">
                  <c:v>0.4480553611991355</c:v>
                </c:pt>
                <c:pt idx="23">
                  <c:v>0.44676437105322353</c:v>
                </c:pt>
                <c:pt idx="24">
                  <c:v>0.44459115468441146</c:v>
                </c:pt>
                <c:pt idx="25">
                  <c:v>0.438089037329267</c:v>
                </c:pt>
                <c:pt idx="26">
                  <c:v>0.4433668593439616</c:v>
                </c:pt>
                <c:pt idx="27">
                  <c:v>0.4402458553594487</c:v>
                </c:pt>
                <c:pt idx="28">
                  <c:v>0.4426094936260371</c:v>
                </c:pt>
                <c:pt idx="29">
                  <c:v>0.44606242849825806</c:v>
                </c:pt>
                <c:pt idx="30">
                  <c:v>0.4506996221731915</c:v>
                </c:pt>
                <c:pt idx="31">
                  <c:v>0.44393909466337145</c:v>
                </c:pt>
                <c:pt idx="32">
                  <c:v>0.4423875492456818</c:v>
                </c:pt>
                <c:pt idx="33">
                  <c:v>0.4475983270370243</c:v>
                </c:pt>
                <c:pt idx="34">
                  <c:v>0.44689268639346047</c:v>
                </c:pt>
                <c:pt idx="35">
                  <c:v>0.44160829721691186</c:v>
                </c:pt>
                <c:pt idx="36">
                  <c:v>0.4422650553133347</c:v>
                </c:pt>
                <c:pt idx="37">
                  <c:v>0.4457561436329691</c:v>
                </c:pt>
                <c:pt idx="38">
                  <c:v>0.4461168731268384</c:v>
                </c:pt>
                <c:pt idx="39">
                  <c:v>0.4411793609386301</c:v>
                </c:pt>
                <c:pt idx="40">
                  <c:v>0.4326772551196377</c:v>
                </c:pt>
                <c:pt idx="41">
                  <c:v>0.43099664470993476</c:v>
                </c:pt>
                <c:pt idx="42">
                  <c:v>0.44017186281891874</c:v>
                </c:pt>
                <c:pt idx="43">
                  <c:v>0.4211389463393436</c:v>
                </c:pt>
                <c:pt idx="44">
                  <c:v>0.42097221734432344</c:v>
                </c:pt>
                <c:pt idx="45">
                  <c:v>0.4323696274362514</c:v>
                </c:pt>
                <c:pt idx="46">
                  <c:v>0.43696253745287356</c:v>
                </c:pt>
                <c:pt idx="47">
                  <c:v>0.4336627601828296</c:v>
                </c:pt>
                <c:pt idx="48">
                  <c:v>0.41911449069447804</c:v>
                </c:pt>
                <c:pt idx="49">
                  <c:v>0.4198827606489086</c:v>
                </c:pt>
                <c:pt idx="50">
                  <c:v>0.4330096283125956</c:v>
                </c:pt>
                <c:pt idx="51">
                  <c:v>0.4297265483162851</c:v>
                </c:pt>
                <c:pt idx="52">
                  <c:v>0.46504304600028673</c:v>
                </c:pt>
                <c:pt idx="53">
                  <c:v>0.6159118756528082</c:v>
                </c:pt>
                <c:pt idx="54">
                  <c:v>0.436927632306732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77179080824089"/>
          <c:min val="0.2843183609141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5.5798</c:v>
                </c:pt>
                <c:pt idx="1">
                  <c:v>888.3626</c:v>
                </c:pt>
                <c:pt idx="2">
                  <c:v>965.8116</c:v>
                </c:pt>
                <c:pt idx="3">
                  <c:v>973.3614</c:v>
                </c:pt>
                <c:pt idx="4">
                  <c:v>963.6385</c:v>
                </c:pt>
                <c:pt idx="5">
                  <c:v>947.2278</c:v>
                </c:pt>
                <c:pt idx="6">
                  <c:v>898.0463</c:v>
                </c:pt>
                <c:pt idx="7">
                  <c:v>900.6018</c:v>
                </c:pt>
                <c:pt idx="8">
                  <c:v>914.367</c:v>
                </c:pt>
                <c:pt idx="9">
                  <c:v>824.0612</c:v>
                </c:pt>
                <c:pt idx="10">
                  <c:v>835.4724</c:v>
                </c:pt>
                <c:pt idx="11">
                  <c:v>932.4047</c:v>
                </c:pt>
                <c:pt idx="12">
                  <c:v>950.8237</c:v>
                </c:pt>
                <c:pt idx="13">
                  <c:v>952.7245</c:v>
                </c:pt>
                <c:pt idx="14">
                  <c:v>925.3613</c:v>
                </c:pt>
                <c:pt idx="15">
                  <c:v>980.4726</c:v>
                </c:pt>
                <c:pt idx="16">
                  <c:v>1032.8142</c:v>
                </c:pt>
                <c:pt idx="17">
                  <c:v>1082.755</c:v>
                </c:pt>
                <c:pt idx="18">
                  <c:v>1051.4543</c:v>
                </c:pt>
                <c:pt idx="19">
                  <c:v>1164.4526</c:v>
                </c:pt>
                <c:pt idx="20">
                  <c:v>1181.7152</c:v>
                </c:pt>
                <c:pt idx="21">
                  <c:v>1188.1912</c:v>
                </c:pt>
                <c:pt idx="22">
                  <c:v>1129.9159</c:v>
                </c:pt>
                <c:pt idx="23">
                  <c:v>1103.25</c:v>
                </c:pt>
                <c:pt idx="24">
                  <c:v>1092.698</c:v>
                </c:pt>
                <c:pt idx="25">
                  <c:v>1069.4091</c:v>
                </c:pt>
                <c:pt idx="26">
                  <c:v>1055.8811</c:v>
                </c:pt>
                <c:pt idx="27">
                  <c:v>1062.8308</c:v>
                </c:pt>
                <c:pt idx="28">
                  <c:v>1064.31</c:v>
                </c:pt>
                <c:pt idx="29">
                  <c:v>1050.3868</c:v>
                </c:pt>
                <c:pt idx="30">
                  <c:v>1012.4892</c:v>
                </c:pt>
                <c:pt idx="31">
                  <c:v>1047.2594</c:v>
                </c:pt>
                <c:pt idx="32">
                  <c:v>1023.7332</c:v>
                </c:pt>
                <c:pt idx="33">
                  <c:v>988.1775</c:v>
                </c:pt>
                <c:pt idx="34">
                  <c:v>994.8592</c:v>
                </c:pt>
                <c:pt idx="35">
                  <c:v>1001.043</c:v>
                </c:pt>
                <c:pt idx="36">
                  <c:v>1131.5619</c:v>
                </c:pt>
                <c:pt idx="37">
                  <c:v>1107.0713</c:v>
                </c:pt>
                <c:pt idx="38">
                  <c:v>1201.1564</c:v>
                </c:pt>
                <c:pt idx="39">
                  <c:v>1214.8622</c:v>
                </c:pt>
                <c:pt idx="40">
                  <c:v>1197.2267</c:v>
                </c:pt>
                <c:pt idx="41">
                  <c:v>1235.8469</c:v>
                </c:pt>
                <c:pt idx="42">
                  <c:v>1237.1288</c:v>
                </c:pt>
                <c:pt idx="43">
                  <c:v>1254.105</c:v>
                </c:pt>
                <c:pt idx="44">
                  <c:v>1173.9398</c:v>
                </c:pt>
                <c:pt idx="45">
                  <c:v>1128.727</c:v>
                </c:pt>
                <c:pt idx="46">
                  <c:v>1109.8942</c:v>
                </c:pt>
                <c:pt idx="47">
                  <c:v>1088.4945</c:v>
                </c:pt>
                <c:pt idx="48">
                  <c:v>1100.6624</c:v>
                </c:pt>
                <c:pt idx="49">
                  <c:v>1050.0098</c:v>
                </c:pt>
                <c:pt idx="50">
                  <c:v>1075.8047</c:v>
                </c:pt>
                <c:pt idx="51">
                  <c:v>1068.9835</c:v>
                </c:pt>
                <c:pt idx="52">
                  <c:v>1069.5408</c:v>
                </c:pt>
                <c:pt idx="53">
                  <c:v>1158.0965</c:v>
                </c:pt>
                <c:pt idx="54">
                  <c:v>1147.5479</c:v>
                </c:pt>
                <c:pt idx="55">
                  <c:v>1166.1306</c:v>
                </c:pt>
                <c:pt idx="56">
                  <c:v>1207.3854</c:v>
                </c:pt>
                <c:pt idx="57">
                  <c:v>1170.4971</c:v>
                </c:pt>
                <c:pt idx="58">
                  <c:v>1134.3298</c:v>
                </c:pt>
                <c:pt idx="59">
                  <c:v>1086.1176</c:v>
                </c:pt>
                <c:pt idx="60">
                  <c:v>1124.849</c:v>
                </c:pt>
                <c:pt idx="61">
                  <c:v>1199.5474</c:v>
                </c:pt>
                <c:pt idx="62">
                  <c:v>1063.8168</c:v>
                </c:pt>
                <c:pt idx="63">
                  <c:v>1121.0034</c:v>
                </c:pt>
                <c:pt idx="64">
                  <c:v>1162.9306</c:v>
                </c:pt>
                <c:pt idx="65">
                  <c:v>1160.963</c:v>
                </c:pt>
                <c:pt idx="66">
                  <c:v>1140.6924</c:v>
                </c:pt>
                <c:pt idx="67">
                  <c:v>1217.3909</c:v>
                </c:pt>
                <c:pt idx="68">
                  <c:v>1304.4303</c:v>
                </c:pt>
                <c:pt idx="69">
                  <c:v>1338.6765</c:v>
                </c:pt>
                <c:pt idx="70">
                  <c:v>1343.4882</c:v>
                </c:pt>
                <c:pt idx="71">
                  <c:v>1379.7327</c:v>
                </c:pt>
                <c:pt idx="72">
                  <c:v>1411.5212</c:v>
                </c:pt>
                <c:pt idx="73">
                  <c:v>1384.5772</c:v>
                </c:pt>
                <c:pt idx="74">
                  <c:v>1355.0295</c:v>
                </c:pt>
                <c:pt idx="75">
                  <c:v>1329.509</c:v>
                </c:pt>
                <c:pt idx="76">
                  <c:v>1335.2671</c:v>
                </c:pt>
                <c:pt idx="77">
                  <c:v>1357.701</c:v>
                </c:pt>
                <c:pt idx="78">
                  <c:v>1378.3926</c:v>
                </c:pt>
                <c:pt idx="79">
                  <c:v>1352.7771</c:v>
                </c:pt>
                <c:pt idx="80">
                  <c:v>1311.9373</c:v>
                </c:pt>
                <c:pt idx="81">
                  <c:v>1234.6396</c:v>
                </c:pt>
                <c:pt idx="82">
                  <c:v>1275.9698</c:v>
                </c:pt>
                <c:pt idx="83">
                  <c:v>1235.2642</c:v>
                </c:pt>
                <c:pt idx="84">
                  <c:v>1257.3828</c:v>
                </c:pt>
                <c:pt idx="85">
                  <c:v>1248.5854</c:v>
                </c:pt>
                <c:pt idx="86">
                  <c:v>1264.9627</c:v>
                </c:pt>
                <c:pt idx="87">
                  <c:v>1249.0781</c:v>
                </c:pt>
                <c:pt idx="88">
                  <c:v>1273.1118</c:v>
                </c:pt>
                <c:pt idx="89">
                  <c:v>1275.5389</c:v>
                </c:pt>
                <c:pt idx="90">
                  <c:v>1406.6382</c:v>
                </c:pt>
                <c:pt idx="91">
                  <c:v>1435.0</c:v>
                </c:pt>
                <c:pt idx="92">
                  <c:v>1365.1159</c:v>
                </c:pt>
                <c:pt idx="93">
                  <c:v>1385.3333</c:v>
                </c:pt>
                <c:pt idx="94">
                  <c:v>1380.3026</c:v>
                </c:pt>
                <c:pt idx="95">
                  <c:v>1352.8004</c:v>
                </c:pt>
                <c:pt idx="96">
                  <c:v>1264.5852</c:v>
                </c:pt>
                <c:pt idx="97">
                  <c:v>1189.2402</c:v>
                </c:pt>
                <c:pt idx="98">
                  <c:v>1164.8459</c:v>
                </c:pt>
                <c:pt idx="99">
                  <c:v>1126.5707</c:v>
                </c:pt>
                <c:pt idx="100">
                  <c:v>1134.0905</c:v>
                </c:pt>
                <c:pt idx="101">
                  <c:v>1163.1321</c:v>
                </c:pt>
                <c:pt idx="102">
                  <c:v>1194.4913</c:v>
                </c:pt>
                <c:pt idx="103">
                  <c:v>1225.4202</c:v>
                </c:pt>
                <c:pt idx="104">
                  <c:v>1295.0607</c:v>
                </c:pt>
              </c:numCache>
            </c:numRef>
          </c:xVal>
          <c:yVal>
            <c:numRef>
              <c:f>Sheet1!$B$2:$B$106</c:f>
              <c:numCache>
                <c:formatCode>General</c:formatCode>
                <c:ptCount val="105"/>
                <c:pt idx="0">
                  <c:v>0.5726329442282749</c:v>
                </c:pt>
                <c:pt idx="1">
                  <c:v>0.640761300555115</c:v>
                </c:pt>
                <c:pt idx="2">
                  <c:v>0.6980982567353408</c:v>
                </c:pt>
                <c:pt idx="3">
                  <c:v>0.6531302876480541</c:v>
                </c:pt>
                <c:pt idx="4">
                  <c:v>0.6428571428571429</c:v>
                </c:pt>
                <c:pt idx="5">
                  <c:v>0.5646879756468798</c:v>
                </c:pt>
                <c:pt idx="6">
                  <c:v>0.5414448669201521</c:v>
                </c:pt>
                <c:pt idx="7">
                  <c:v>0.6293302540415704</c:v>
                </c:pt>
                <c:pt idx="8">
                  <c:v>0.600263852242744</c:v>
                </c:pt>
                <c:pt idx="9">
                  <c:v>0.5916601101494886</c:v>
                </c:pt>
                <c:pt idx="10">
                  <c:v>0.5534804753820034</c:v>
                </c:pt>
                <c:pt idx="11">
                  <c:v>0.48094747682801237</c:v>
                </c:pt>
                <c:pt idx="12">
                  <c:v>0.46130952380952384</c:v>
                </c:pt>
                <c:pt idx="13">
                  <c:v>0.4290718038528897</c:v>
                </c:pt>
                <c:pt idx="14">
                  <c:v>0.4360313315926893</c:v>
                </c:pt>
                <c:pt idx="15">
                  <c:v>0.46794871794871795</c:v>
                </c:pt>
                <c:pt idx="16">
                  <c:v>0.43727598566308246</c:v>
                </c:pt>
                <c:pt idx="17">
                  <c:v>0.41032608695652173</c:v>
                </c:pt>
                <c:pt idx="18">
                  <c:v>0.441320293398533</c:v>
                </c:pt>
                <c:pt idx="19">
                  <c:v>0.40294117647058825</c:v>
                </c:pt>
                <c:pt idx="20">
                  <c:v>0.4040920716112532</c:v>
                </c:pt>
                <c:pt idx="21">
                  <c:v>0.5065176908752328</c:v>
                </c:pt>
                <c:pt idx="22">
                  <c:v>0.5186915887850467</c:v>
                </c:pt>
                <c:pt idx="23">
                  <c:v>0.5491525423728814</c:v>
                </c:pt>
                <c:pt idx="24">
                  <c:v>0.5710144927536231</c:v>
                </c:pt>
                <c:pt idx="25">
                  <c:v>0.567741935483871</c:v>
                </c:pt>
                <c:pt idx="26">
                  <c:v>0.5605442176870749</c:v>
                </c:pt>
                <c:pt idx="27">
                  <c:v>0.5371900826446281</c:v>
                </c:pt>
                <c:pt idx="28">
                  <c:v>0.5351089588377724</c:v>
                </c:pt>
                <c:pt idx="29">
                  <c:v>0.5203426124197003</c:v>
                </c:pt>
                <c:pt idx="30">
                  <c:v>0.5681198910081744</c:v>
                </c:pt>
                <c:pt idx="31">
                  <c:v>0.5804375804375804</c:v>
                </c:pt>
                <c:pt idx="32">
                  <c:v>0.5755305867665418</c:v>
                </c:pt>
                <c:pt idx="33">
                  <c:v>0.5776105362182502</c:v>
                </c:pt>
                <c:pt idx="34">
                  <c:v>0.5657407407407408</c:v>
                </c:pt>
                <c:pt idx="35">
                  <c:v>0.5585585585585585</c:v>
                </c:pt>
                <c:pt idx="36">
                  <c:v>0.5260416666666666</c:v>
                </c:pt>
                <c:pt idx="37">
                  <c:v>0.5356234096692112</c:v>
                </c:pt>
                <c:pt idx="38">
                  <c:v>0.5111402359108781</c:v>
                </c:pt>
                <c:pt idx="39">
                  <c:v>0.4666666666666667</c:v>
                </c:pt>
                <c:pt idx="40">
                  <c:v>0.4843137254901961</c:v>
                </c:pt>
                <c:pt idx="41">
                  <c:v>0.46929316338354576</c:v>
                </c:pt>
                <c:pt idx="42">
                  <c:v>0.4568014705882353</c:v>
                </c:pt>
                <c:pt idx="43">
                  <c:v>0.4509466437177281</c:v>
                </c:pt>
                <c:pt idx="44">
                  <c:v>0.42898792169929195</c:v>
                </c:pt>
                <c:pt idx="45">
                  <c:v>0.434715821812596</c:v>
                </c:pt>
                <c:pt idx="46">
                  <c:v>0.4622980251346499</c:v>
                </c:pt>
                <c:pt idx="47">
                  <c:v>0.45026881720430106</c:v>
                </c:pt>
                <c:pt idx="48">
                  <c:v>0.43421482206986617</c:v>
                </c:pt>
                <c:pt idx="49">
                  <c:v>0.46521635190054983</c:v>
                </c:pt>
                <c:pt idx="50">
                  <c:v>0.4481500781657113</c:v>
                </c:pt>
                <c:pt idx="51">
                  <c:v>0.4417989417989418</c:v>
                </c:pt>
                <c:pt idx="52">
                  <c:v>0.45440494590417313</c:v>
                </c:pt>
                <c:pt idx="53">
                  <c:v>0.46168958742632615</c:v>
                </c:pt>
                <c:pt idx="54">
                  <c:v>0.46381578947368424</c:v>
                </c:pt>
                <c:pt idx="55">
                  <c:v>0.47172995780590715</c:v>
                </c:pt>
                <c:pt idx="56">
                  <c:v>0.47871333964049195</c:v>
                </c:pt>
                <c:pt idx="57">
                  <c:v>0.4691689008042895</c:v>
                </c:pt>
                <c:pt idx="58">
                  <c:v>0.47202216066481995</c:v>
                </c:pt>
                <c:pt idx="59">
                  <c:v>0.5047110552763819</c:v>
                </c:pt>
                <c:pt idx="60">
                  <c:v>0.48381024096385544</c:v>
                </c:pt>
                <c:pt idx="61">
                  <c:v>0.4450909090909091</c:v>
                </c:pt>
                <c:pt idx="62">
                  <c:v>0.5482600131319764</c:v>
                </c:pt>
                <c:pt idx="63">
                  <c:v>0.5454545454545454</c:v>
                </c:pt>
                <c:pt idx="64">
                  <c:v>0.46035805626598464</c:v>
                </c:pt>
                <c:pt idx="65">
                  <c:v>0.45316070068545317</c:v>
                </c:pt>
                <c:pt idx="66">
                  <c:v>0.4641255605381166</c:v>
                </c:pt>
                <c:pt idx="67">
                  <c:v>0.4466095089633671</c:v>
                </c:pt>
                <c:pt idx="68">
                  <c:v>0.42515592515592515</c:v>
                </c:pt>
                <c:pt idx="69">
                  <c:v>0.4031620553359684</c:v>
                </c:pt>
                <c:pt idx="70">
                  <c:v>0.3912543153049482</c:v>
                </c:pt>
                <c:pt idx="71">
                  <c:v>0.4040660736975858</c:v>
                </c:pt>
                <c:pt idx="72">
                  <c:v>0.39539748953974896</c:v>
                </c:pt>
                <c:pt idx="73">
                  <c:v>0.4305717619603267</c:v>
                </c:pt>
                <c:pt idx="74">
                  <c:v>0.43052837573385516</c:v>
                </c:pt>
                <c:pt idx="75">
                  <c:v>0.4380630630630631</c:v>
                </c:pt>
                <c:pt idx="76">
                  <c:v>0.4337194337194337</c:v>
                </c:pt>
                <c:pt idx="77">
                  <c:v>0.43988684582743987</c:v>
                </c:pt>
                <c:pt idx="78">
                  <c:v>0.4331395348837209</c:v>
                </c:pt>
                <c:pt idx="79">
                  <c:v>0.4078282828282828</c:v>
                </c:pt>
                <c:pt idx="80">
                  <c:v>0.39227166276346603</c:v>
                </c:pt>
                <c:pt idx="81">
                  <c:v>0.41444114737883286</c:v>
                </c:pt>
                <c:pt idx="82">
                  <c:v>0.42450142450142453</c:v>
                </c:pt>
                <c:pt idx="83">
                  <c:v>0.4281098546042003</c:v>
                </c:pt>
                <c:pt idx="84">
                  <c:v>0.4155844155844156</c:v>
                </c:pt>
                <c:pt idx="85">
                  <c:v>0.4311050477489768</c:v>
                </c:pt>
                <c:pt idx="86">
                  <c:v>0.44273127753303965</c:v>
                </c:pt>
                <c:pt idx="87">
                  <c:v>0.4348302300109529</c:v>
                </c:pt>
                <c:pt idx="88">
                  <c:v>0.445095168374817</c:v>
                </c:pt>
                <c:pt idx="89">
                  <c:v>0.4664804469273743</c:v>
                </c:pt>
                <c:pt idx="90">
                  <c:v>0.41151685393258425</c:v>
                </c:pt>
                <c:pt idx="91">
                  <c:v>0.3825214899713467</c:v>
                </c:pt>
                <c:pt idx="92">
                  <c:v>0.37418655097613884</c:v>
                </c:pt>
                <c:pt idx="93">
                  <c:v>0.37254901960784315</c:v>
                </c:pt>
                <c:pt idx="94">
                  <c:v>0.3656480505795574</c:v>
                </c:pt>
                <c:pt idx="95">
                  <c:v>0.355397951142632</c:v>
                </c:pt>
                <c:pt idx="96">
                  <c:v>0.3859410430839002</c:v>
                </c:pt>
                <c:pt idx="97">
                  <c:v>0.4194560669456067</c:v>
                </c:pt>
                <c:pt idx="98">
                  <c:v>0.43336560180703454</c:v>
                </c:pt>
                <c:pt idx="99">
                  <c:v>0.43410625183445845</c:v>
                </c:pt>
                <c:pt idx="100">
                  <c:v>0.43906903765690375</c:v>
                </c:pt>
                <c:pt idx="101">
                  <c:v>0.4372945044621888</c:v>
                </c:pt>
                <c:pt idx="102">
                  <c:v>0.4284750337381916</c:v>
                </c:pt>
                <c:pt idx="103">
                  <c:v>0.3968622893666473</c:v>
                </c:pt>
                <c:pt idx="104">
                  <c:v>0.4120100083402835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44.1277</c:v>
                </c:pt>
                <c:pt idx="1">
                  <c:v>1321.7893</c:v>
                </c:pt>
                <c:pt idx="2">
                  <c:v>1313.506</c:v>
                </c:pt>
                <c:pt idx="3">
                  <c:v>1287.936</c:v>
                </c:pt>
                <c:pt idx="4">
                  <c:v>1354.2091</c:v>
                </c:pt>
                <c:pt idx="5">
                  <c:v>1284.5628</c:v>
                </c:pt>
                <c:pt idx="6">
                  <c:v>1131.6513</c:v>
                </c:pt>
                <c:pt idx="7">
                  <c:v>1171.4629</c:v>
                </c:pt>
                <c:pt idx="8">
                  <c:v>1229.2245</c:v>
                </c:pt>
                <c:pt idx="9">
                  <c:v>1174.1084</c:v>
                </c:pt>
                <c:pt idx="10">
                  <c:v>1228.1533</c:v>
                </c:pt>
                <c:pt idx="11">
                  <c:v>1029.2289</c:v>
                </c:pt>
                <c:pt idx="12">
                  <c:v>1100.6176</c:v>
                </c:pt>
                <c:pt idx="13">
                  <c:v>1192.2597</c:v>
                </c:pt>
                <c:pt idx="14">
                  <c:v>1121.101</c:v>
                </c:pt>
                <c:pt idx="15">
                  <c:v>1184.3304</c:v>
                </c:pt>
                <c:pt idx="16">
                  <c:v>1208.2331</c:v>
                </c:pt>
                <c:pt idx="17">
                  <c:v>1193.9619</c:v>
                </c:pt>
                <c:pt idx="18">
                  <c:v>1108.3593</c:v>
                </c:pt>
                <c:pt idx="19">
                  <c:v>1259.5134</c:v>
                </c:pt>
                <c:pt idx="20">
                  <c:v>1329.7684</c:v>
                </c:pt>
                <c:pt idx="21">
                  <c:v>1261.3583</c:v>
                </c:pt>
                <c:pt idx="22">
                  <c:v>1265.2958</c:v>
                </c:pt>
                <c:pt idx="23">
                  <c:v>1265.7893</c:v>
                </c:pt>
                <c:pt idx="24">
                  <c:v>1265.2</c:v>
                </c:pt>
                <c:pt idx="25">
                  <c:v>1219.0581</c:v>
                </c:pt>
                <c:pt idx="26">
                  <c:v>1209.5176</c:v>
                </c:pt>
                <c:pt idx="27">
                  <c:v>1219.4869</c:v>
                </c:pt>
                <c:pt idx="28">
                  <c:v>1230.8375</c:v>
                </c:pt>
                <c:pt idx="29">
                  <c:v>1246.1223</c:v>
                </c:pt>
                <c:pt idx="30">
                  <c:v>1239.2662</c:v>
                </c:pt>
                <c:pt idx="31">
                  <c:v>1247.0754</c:v>
                </c:pt>
                <c:pt idx="32">
                  <c:v>1254.7725</c:v>
                </c:pt>
                <c:pt idx="33">
                  <c:v>1209.3449</c:v>
                </c:pt>
                <c:pt idx="34">
                  <c:v>1215.2529</c:v>
                </c:pt>
                <c:pt idx="35">
                  <c:v>1271.9795</c:v>
                </c:pt>
                <c:pt idx="36">
                  <c:v>1349.8208</c:v>
                </c:pt>
                <c:pt idx="37">
                  <c:v>1353.2754</c:v>
                </c:pt>
                <c:pt idx="38">
                  <c:v>1351.8243</c:v>
                </c:pt>
                <c:pt idx="39">
                  <c:v>1295.632</c:v>
                </c:pt>
                <c:pt idx="40">
                  <c:v>1307.9914</c:v>
                </c:pt>
                <c:pt idx="41">
                  <c:v>1363.7155</c:v>
                </c:pt>
                <c:pt idx="42">
                  <c:v>1343.1915</c:v>
                </c:pt>
                <c:pt idx="43">
                  <c:v>1371.9693</c:v>
                </c:pt>
                <c:pt idx="44">
                  <c:v>1273.4681</c:v>
                </c:pt>
                <c:pt idx="45">
                  <c:v>1201.0153</c:v>
                </c:pt>
                <c:pt idx="46">
                  <c:v>1180.8407</c:v>
                </c:pt>
                <c:pt idx="47">
                  <c:v>1158.28</c:v>
                </c:pt>
                <c:pt idx="48">
                  <c:v>1166.0392</c:v>
                </c:pt>
                <c:pt idx="49">
                  <c:v>1171.2375</c:v>
                </c:pt>
                <c:pt idx="50">
                  <c:v>1128.1384</c:v>
                </c:pt>
                <c:pt idx="51">
                  <c:v>1092.5459</c:v>
                </c:pt>
              </c:numCache>
            </c:numRef>
          </c:xVal>
          <c:yVal>
            <c:numRef>
              <c:f>Sheet1!$B$109:$B$160</c:f>
              <c:numCache>
                <c:formatCode>General</c:formatCode>
                <c:ptCount val="52"/>
                <c:pt idx="0">
                  <c:v>0.3941299790356394</c:v>
                </c:pt>
                <c:pt idx="1">
                  <c:v>0.3893229166666667</c:v>
                </c:pt>
                <c:pt idx="2">
                  <c:v>0.40662323561346364</c:v>
                </c:pt>
                <c:pt idx="3">
                  <c:v>0.43936731107205623</c:v>
                </c:pt>
                <c:pt idx="4">
                  <c:v>0.4105642256902761</c:v>
                </c:pt>
                <c:pt idx="5">
                  <c:v>0.40757238307349664</c:v>
                </c:pt>
                <c:pt idx="6">
                  <c:v>0.43657042869641294</c:v>
                </c:pt>
                <c:pt idx="7">
                  <c:v>0.43289224952741023</c:v>
                </c:pt>
                <c:pt idx="8">
                  <c:v>0.44813278008298757</c:v>
                </c:pt>
                <c:pt idx="9">
                  <c:v>0.47293447293447294</c:v>
                </c:pt>
                <c:pt idx="10">
                  <c:v>0.43109869646182497</c:v>
                </c:pt>
                <c:pt idx="11">
                  <c:v>0.46571072319201995</c:v>
                </c:pt>
                <c:pt idx="12">
                  <c:v>0.48398576512455516</c:v>
                </c:pt>
                <c:pt idx="13">
                  <c:v>0.47339449541284406</c:v>
                </c:pt>
                <c:pt idx="14">
                  <c:v>0.5028735632183908</c:v>
                </c:pt>
                <c:pt idx="15">
                  <c:v>0.46715328467153283</c:v>
                </c:pt>
                <c:pt idx="16">
                  <c:v>0.4661214953271028</c:v>
                </c:pt>
                <c:pt idx="17">
                  <c:v>0.46204620462046203</c:v>
                </c:pt>
                <c:pt idx="18">
                  <c:v>0.4795180722891566</c:v>
                </c:pt>
                <c:pt idx="19">
                  <c:v>0.45454545454545453</c:v>
                </c:pt>
                <c:pt idx="20">
                  <c:v>0.4272863568215892</c:v>
                </c:pt>
                <c:pt idx="21">
                  <c:v>0.4588910133843212</c:v>
                </c:pt>
                <c:pt idx="22">
                  <c:v>0.44609665427509293</c:v>
                </c:pt>
                <c:pt idx="23">
                  <c:v>0.44403669724770645</c:v>
                </c:pt>
                <c:pt idx="24">
                  <c:v>0.4635258358662614</c:v>
                </c:pt>
                <c:pt idx="25">
                  <c:v>0.4417808219178082</c:v>
                </c:pt>
                <c:pt idx="26">
                  <c:v>0.4329268292682927</c:v>
                </c:pt>
                <c:pt idx="27">
                  <c:v>0.4510035419126328</c:v>
                </c:pt>
                <c:pt idx="28">
                  <c:v>0.45158002038735984</c:v>
                </c:pt>
                <c:pt idx="29">
                  <c:v>0.4412171507607192</c:v>
                </c:pt>
                <c:pt idx="30">
                  <c:v>0.4375</c:v>
                </c:pt>
                <c:pt idx="31">
                  <c:v>0.3992146596858639</c:v>
                </c:pt>
                <c:pt idx="32">
                  <c:v>0.42663656884875845</c:v>
                </c:pt>
                <c:pt idx="33">
                  <c:v>0.43738140417457305</c:v>
                </c:pt>
                <c:pt idx="34">
                  <c:v>0.44854881266490765</c:v>
                </c:pt>
                <c:pt idx="35">
                  <c:v>0.4371794871794872</c:v>
                </c:pt>
                <c:pt idx="36">
                  <c:v>0.41379310344827586</c:v>
                </c:pt>
                <c:pt idx="37">
                  <c:v>0.44089456869009586</c:v>
                </c:pt>
                <c:pt idx="38">
                  <c:v>0.4539877300613497</c:v>
                </c:pt>
                <c:pt idx="39">
                  <c:v>0.4534461910519952</c:v>
                </c:pt>
                <c:pt idx="40">
                  <c:v>0.4609271523178808</c:v>
                </c:pt>
                <c:pt idx="41">
                  <c:v>0.4142857142857143</c:v>
                </c:pt>
                <c:pt idx="42">
                  <c:v>0.46143057503506313</c:v>
                </c:pt>
                <c:pt idx="43">
                  <c:v>0.441207075962539</c:v>
                </c:pt>
                <c:pt idx="44">
                  <c:v>0.4317241379310345</c:v>
                </c:pt>
                <c:pt idx="45">
                  <c:v>0.4333648393194707</c:v>
                </c:pt>
                <c:pt idx="46">
                  <c:v>0.44359255202628695</c:v>
                </c:pt>
                <c:pt idx="47">
                  <c:v>0.45080213903743316</c:v>
                </c:pt>
                <c:pt idx="48">
                  <c:v>0.407673860911271</c:v>
                </c:pt>
                <c:pt idx="49">
                  <c:v>0.43322859387274154</c:v>
                </c:pt>
                <c:pt idx="50">
                  <c:v>0.42664526484751203</c:v>
                </c:pt>
                <c:pt idx="51">
                  <c:v>0.4217311233885819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56.83361839791687</c:v>
                </c:pt>
              </c:numCache>
            </c:numRef>
          </c:xVal>
          <c:yVal>
            <c:numRef>
              <c:f>Sheet1!$B$163:$B$164</c:f>
              <c:numCache>
                <c:formatCode>General</c:formatCode>
                <c:ptCount val="2"/>
                <c:pt idx="0">
                  <c:v>0.6159118756528082</c:v>
                </c:pt>
                <c:pt idx="1">
                  <c:v>0.61591187565280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56.83361839791687</c:v>
                </c:pt>
                <c:pt idx="1">
                  <c:v>-156.83361839791687</c:v>
                </c:pt>
              </c:numCache>
            </c:numRef>
          </c:xVal>
          <c:yVal>
            <c:numRef>
              <c:f>Sheet1!$B$167:$B$168</c:f>
              <c:numCache>
                <c:formatCode>General</c:formatCode>
                <c:ptCount val="2"/>
                <c:pt idx="0">
                  <c:v>0.61591187565280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8.4242515663748</c:v>
                </c:pt>
              </c:numCache>
            </c:numRef>
          </c:xVal>
          <c:yVal>
            <c:numRef>
              <c:f>Sheet1!$B$171:$B$172</c:f>
              <c:numCache>
                <c:formatCode>General</c:formatCode>
                <c:ptCount val="2"/>
                <c:pt idx="0">
                  <c:v>0.46504304600028673</c:v>
                </c:pt>
                <c:pt idx="1">
                  <c:v>0.465043046000286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8.4242515663748</c:v>
                </c:pt>
                <c:pt idx="1">
                  <c:v>1048.4242515663748</c:v>
                </c:pt>
              </c:numCache>
            </c:numRef>
          </c:xVal>
          <c:yVal>
            <c:numRef>
              <c:f>Sheet1!$B$175:$B$176</c:f>
              <c:numCache>
                <c:formatCode>General</c:formatCode>
                <c:ptCount val="2"/>
                <c:pt idx="0">
                  <c:v>0.465043046000286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3.032102634778</c:v>
                </c:pt>
              </c:numCache>
            </c:numRef>
          </c:xVal>
          <c:yVal>
            <c:numRef>
              <c:f>Sheet1!$B$179:$B$180</c:f>
              <c:numCache>
                <c:formatCode>General</c:formatCode>
                <c:ptCount val="2"/>
                <c:pt idx="0">
                  <c:v>0.43692763230673265</c:v>
                </c:pt>
                <c:pt idx="1">
                  <c:v>0.436927632306732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3.032102634778</c:v>
                </c:pt>
                <c:pt idx="1">
                  <c:v>1273.032102634778</c:v>
                </c:pt>
              </c:numCache>
            </c:numRef>
          </c:xVal>
          <c:yVal>
            <c:numRef>
              <c:f>Sheet1!$B$183:$B$184</c:f>
              <c:numCache>
                <c:formatCode>General</c:formatCode>
                <c:ptCount val="2"/>
                <c:pt idx="0">
                  <c:v>0.436927632306732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44.1277</c:v>
                </c:pt>
                <c:pt idx="1">
                  <c:v>1321.7893</c:v>
                </c:pt>
                <c:pt idx="2">
                  <c:v>1313.506</c:v>
                </c:pt>
                <c:pt idx="3">
                  <c:v>1287.936</c:v>
                </c:pt>
                <c:pt idx="4">
                  <c:v>1354.2091</c:v>
                </c:pt>
                <c:pt idx="5">
                  <c:v>1284.5628</c:v>
                </c:pt>
                <c:pt idx="6">
                  <c:v>1131.6513</c:v>
                </c:pt>
                <c:pt idx="7">
                  <c:v>1171.4629</c:v>
                </c:pt>
                <c:pt idx="8">
                  <c:v>1229.2245</c:v>
                </c:pt>
                <c:pt idx="9">
                  <c:v>1174.1084</c:v>
                </c:pt>
                <c:pt idx="10">
                  <c:v>1228.1533</c:v>
                </c:pt>
                <c:pt idx="11">
                  <c:v>1029.2289</c:v>
                </c:pt>
                <c:pt idx="12">
                  <c:v>1100.6176</c:v>
                </c:pt>
                <c:pt idx="13">
                  <c:v>1192.2597</c:v>
                </c:pt>
                <c:pt idx="14">
                  <c:v>1121.101</c:v>
                </c:pt>
                <c:pt idx="15">
                  <c:v>1184.3304</c:v>
                </c:pt>
                <c:pt idx="16">
                  <c:v>1208.2331</c:v>
                </c:pt>
                <c:pt idx="17">
                  <c:v>1193.9619</c:v>
                </c:pt>
                <c:pt idx="18">
                  <c:v>1108.3593</c:v>
                </c:pt>
                <c:pt idx="19">
                  <c:v>1259.5134</c:v>
                </c:pt>
                <c:pt idx="20">
                  <c:v>1329.7684</c:v>
                </c:pt>
                <c:pt idx="21">
                  <c:v>1261.3583</c:v>
                </c:pt>
                <c:pt idx="22">
                  <c:v>1265.2958</c:v>
                </c:pt>
                <c:pt idx="23">
                  <c:v>1265.7893</c:v>
                </c:pt>
                <c:pt idx="24">
                  <c:v>1265.2</c:v>
                </c:pt>
                <c:pt idx="25">
                  <c:v>1219.0581</c:v>
                </c:pt>
                <c:pt idx="26">
                  <c:v>1209.5176</c:v>
                </c:pt>
                <c:pt idx="27">
                  <c:v>1219.4869</c:v>
                </c:pt>
                <c:pt idx="28">
                  <c:v>1230.8375</c:v>
                </c:pt>
                <c:pt idx="29">
                  <c:v>1246.1223</c:v>
                </c:pt>
                <c:pt idx="30">
                  <c:v>1239.2662</c:v>
                </c:pt>
                <c:pt idx="31">
                  <c:v>1247.0754</c:v>
                </c:pt>
                <c:pt idx="32">
                  <c:v>1254.7725</c:v>
                </c:pt>
                <c:pt idx="33">
                  <c:v>1209.3449</c:v>
                </c:pt>
                <c:pt idx="34">
                  <c:v>1215.2529</c:v>
                </c:pt>
                <c:pt idx="35">
                  <c:v>1271.9795</c:v>
                </c:pt>
                <c:pt idx="36">
                  <c:v>1349.8208</c:v>
                </c:pt>
                <c:pt idx="37">
                  <c:v>1353.2754</c:v>
                </c:pt>
                <c:pt idx="38">
                  <c:v>1351.8243</c:v>
                </c:pt>
                <c:pt idx="39">
                  <c:v>1295.632</c:v>
                </c:pt>
                <c:pt idx="40">
                  <c:v>1307.9914</c:v>
                </c:pt>
                <c:pt idx="41">
                  <c:v>1363.7155</c:v>
                </c:pt>
                <c:pt idx="42">
                  <c:v>1343.1915</c:v>
                </c:pt>
                <c:pt idx="43">
                  <c:v>1371.9693</c:v>
                </c:pt>
                <c:pt idx="44">
                  <c:v>1273.4681</c:v>
                </c:pt>
                <c:pt idx="45">
                  <c:v>1201.0153</c:v>
                </c:pt>
                <c:pt idx="46">
                  <c:v>1180.8407</c:v>
                </c:pt>
                <c:pt idx="47">
                  <c:v>1158.28</c:v>
                </c:pt>
                <c:pt idx="48">
                  <c:v>1166.0392</c:v>
                </c:pt>
                <c:pt idx="49">
                  <c:v>1171.2375</c:v>
                </c:pt>
                <c:pt idx="50">
                  <c:v>1128.1384</c:v>
                </c:pt>
                <c:pt idx="51">
                  <c:v>1092.5459</c:v>
                </c:pt>
                <c:pt idx="52">
                  <c:v>1048.4242515663748</c:v>
                </c:pt>
                <c:pt idx="53">
                  <c:v>-156.83361839791687</c:v>
                </c:pt>
                <c:pt idx="54">
                  <c:v>1273.032102634778</c:v>
                </c:pt>
              </c:numCache>
            </c:numRef>
          </c:xVal>
          <c:yVal>
            <c:numRef>
              <c:f>Sheet1!$B$187:$B$241</c:f>
              <c:numCache>
                <c:formatCode>General</c:formatCode>
                <c:ptCount val="55"/>
                <c:pt idx="0">
                  <c:v>0.4280282010437319</c:v>
                </c:pt>
                <c:pt idx="1">
                  <c:v>0.43082442278871813</c:v>
                </c:pt>
                <c:pt idx="2">
                  <c:v>0.431861289510607</c:v>
                </c:pt>
                <c:pt idx="3">
                  <c:v>0.43506202859752896</c:v>
                </c:pt>
                <c:pt idx="4">
                  <c:v>0.4267662561461607</c:v>
                </c:pt>
                <c:pt idx="5">
                  <c:v>0.4354842707988589</c:v>
                </c:pt>
                <c:pt idx="6">
                  <c:v>0.454625053547778</c:v>
                </c:pt>
                <c:pt idx="7">
                  <c:v>0.4496416141956896</c:v>
                </c:pt>
                <c:pt idx="8">
                  <c:v>0.44241127352916043</c:v>
                </c:pt>
                <c:pt idx="9">
                  <c:v>0.44931046224987603</c:v>
                </c:pt>
                <c:pt idx="10">
                  <c:v>0.44254536158977487</c:v>
                </c:pt>
                <c:pt idx="11">
                  <c:v>0.4674458348953084</c:v>
                </c:pt>
                <c:pt idx="12">
                  <c:v>0.4585097143456587</c:v>
                </c:pt>
                <c:pt idx="13">
                  <c:v>0.44703836309506784</c:v>
                </c:pt>
                <c:pt idx="14">
                  <c:v>0.4559456932657581</c:v>
                </c:pt>
                <c:pt idx="15">
                  <c:v>0.4480309176684714</c:v>
                </c:pt>
                <c:pt idx="16">
                  <c:v>0.44503888379389306</c:v>
                </c:pt>
                <c:pt idx="17">
                  <c:v>0.44682528925565607</c:v>
                </c:pt>
                <c:pt idx="18">
                  <c:v>0.4575406427074411</c:v>
                </c:pt>
                <c:pt idx="19">
                  <c:v>0.43861984348888394</c:v>
                </c:pt>
                <c:pt idx="20">
                  <c:v>0.42982563447239197</c:v>
                </c:pt>
                <c:pt idx="21">
                  <c:v>0.4383889070969613</c:v>
                </c:pt>
                <c:pt idx="22">
                  <c:v>0.4378960283267323</c:v>
                </c:pt>
                <c:pt idx="23">
                  <c:v>0.4378342541875303</c:v>
                </c:pt>
                <c:pt idx="24">
                  <c:v>0.4379080201454467</c:v>
                </c:pt>
                <c:pt idx="25">
                  <c:v>0.4436838583493905</c:v>
                </c:pt>
                <c:pt idx="26">
                  <c:v>0.4448780957861828</c:v>
                </c:pt>
                <c:pt idx="27">
                  <c:v>0.4436301830689653</c:v>
                </c:pt>
                <c:pt idx="28">
                  <c:v>0.4422093653497625</c:v>
                </c:pt>
                <c:pt idx="29">
                  <c:v>0.440296081939681</c:v>
                </c:pt>
                <c:pt idx="30">
                  <c:v>0.44115429810134876</c:v>
                </c:pt>
                <c:pt idx="31">
                  <c:v>0.44017677711278447</c:v>
                </c:pt>
                <c:pt idx="32">
                  <c:v>0.43921328830457373</c:v>
                </c:pt>
                <c:pt idx="33">
                  <c:v>0.4448997136055145</c:v>
                </c:pt>
                <c:pt idx="34">
                  <c:v>0.4441601763929398</c:v>
                </c:pt>
                <c:pt idx="35">
                  <c:v>0.43705939243172803</c:v>
                </c:pt>
                <c:pt idx="36">
                  <c:v>0.42731556405915017</c:v>
                </c:pt>
                <c:pt idx="37">
                  <c:v>0.42688313256717986</c:v>
                </c:pt>
                <c:pt idx="38">
                  <c:v>0.4270647748233016</c:v>
                </c:pt>
                <c:pt idx="39">
                  <c:v>0.434098677482435</c:v>
                </c:pt>
                <c:pt idx="40">
                  <c:v>0.43255158265760507</c:v>
                </c:pt>
                <c:pt idx="41">
                  <c:v>0.42557628719598806</c:v>
                </c:pt>
                <c:pt idx="42">
                  <c:v>0.42814539040365274</c:v>
                </c:pt>
                <c:pt idx="43">
                  <c:v>0.4245431131531396</c:v>
                </c:pt>
                <c:pt idx="44">
                  <c:v>0.43687305609208027</c:v>
                </c:pt>
                <c:pt idx="45">
                  <c:v>0.4459423759558635</c:v>
                </c:pt>
                <c:pt idx="46">
                  <c:v>0.44846774282262203</c:v>
                </c:pt>
                <c:pt idx="47">
                  <c:v>0.45129179109475026</c:v>
                </c:pt>
                <c:pt idx="48">
                  <c:v>0.4503205288842206</c:v>
                </c:pt>
                <c:pt idx="49">
                  <c:v>0.4496698287670698</c:v>
                </c:pt>
                <c:pt idx="50">
                  <c:v>0.45506478277493667</c:v>
                </c:pt>
                <c:pt idx="51">
                  <c:v>0.4595200939189049</c:v>
                </c:pt>
                <c:pt idx="52">
                  <c:v>0.46504304600028673</c:v>
                </c:pt>
                <c:pt idx="53">
                  <c:v>0.6159118756528082</c:v>
                </c:pt>
                <c:pt idx="54">
                  <c:v>0.436927632306732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77179080824089"/>
          <c:min val="0.2843183609141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1552312946289972</c:v>
                </c:pt>
                <c:pt idx="8">
                  <c:v>0.00035217467864060575</c:v>
                </c:pt>
                <c:pt idx="9">
                  <c:v>0.0002533569799847986</c:v>
                </c:pt>
                <c:pt idx="10">
                  <c:v>0.00021701388888888888</c:v>
                </c:pt>
                <c:pt idx="11">
                  <c:v>0.0002145002145002145</c:v>
                </c:pt>
                <c:pt idx="12">
                  <c:v>0.000423908435777872</c:v>
                </c:pt>
                <c:pt idx="13">
                  <c:v>0.00022558087074216106</c:v>
                </c:pt>
                <c:pt idx="14">
                  <c:v>0.00022487069934787497</c:v>
                </c:pt>
                <c:pt idx="15">
                  <c:v>0.00025284450063211124</c:v>
                </c:pt>
                <c:pt idx="16">
                  <c:v>0.0008736167734420501</c:v>
                </c:pt>
                <c:pt idx="17">
                  <c:v>0.0007189072609633358</c:v>
                </c:pt>
                <c:pt idx="18">
                  <c:v>0.00037037037037037035</c:v>
                </c:pt>
                <c:pt idx="19">
                  <c:v>0.0004027386226339106</c:v>
                </c:pt>
                <c:pt idx="20">
                  <c:v>0.0010771992818671453</c:v>
                </c:pt>
                <c:pt idx="21">
                  <c:v>0.0007639419404125286</c:v>
                </c:pt>
                <c:pt idx="22">
                  <c:v>0.001379310344827586</c:v>
                </c:pt>
                <c:pt idx="23">
                  <c:v>0.0007905138339920949</c:v>
                </c:pt>
                <c:pt idx="24">
                  <c:v>0.0008673026886383347</c:v>
                </c:pt>
                <c:pt idx="25">
                  <c:v>0.0018124150430448573</c:v>
                </c:pt>
                <c:pt idx="26">
                  <c:v>0.003216911764705882</c:v>
                </c:pt>
                <c:pt idx="27">
                  <c:v>0.002102312543798178</c:v>
                </c:pt>
                <c:pt idx="28">
                  <c:v>0.0014540167211922936</c:v>
                </c:pt>
                <c:pt idx="29">
                  <c:v>0.0015142337976983646</c:v>
                </c:pt>
                <c:pt idx="30">
                  <c:v>0.0016129032258064516</c:v>
                </c:pt>
                <c:pt idx="31">
                  <c:v>0.0010325245224574084</c:v>
                </c:pt>
                <c:pt idx="32">
                  <c:v>0.0016189962223421479</c:v>
                </c:pt>
                <c:pt idx="33">
                  <c:v>0.0017006802721088435</c:v>
                </c:pt>
                <c:pt idx="34">
                  <c:v>0.0016600265604249668</c:v>
                </c:pt>
                <c:pt idx="35">
                  <c:v>0.0014645577035735209</c:v>
                </c:pt>
                <c:pt idx="36">
                  <c:v>0.0022361359570661895</c:v>
                </c:pt>
                <c:pt idx="37">
                  <c:v>0.0025680534155110425</c:v>
                </c:pt>
                <c:pt idx="38">
                  <c:v>0.0024962556165751375</c:v>
                </c:pt>
                <c:pt idx="39">
                  <c:v>0.002325581395348837</c:v>
                </c:pt>
                <c:pt idx="40">
                  <c:v>0.0019083969465648854</c:v>
                </c:pt>
                <c:pt idx="41">
                  <c:v>0.0034802784222737818</c:v>
                </c:pt>
                <c:pt idx="42">
                  <c:v>0.003084832904884319</c:v>
                </c:pt>
                <c:pt idx="43">
                  <c:v>0.002717391304347826</c:v>
                </c:pt>
                <c:pt idx="44">
                  <c:v>0.003787878787878788</c:v>
                </c:pt>
                <c:pt idx="45">
                  <c:v>0.0033606385213190504</c:v>
                </c:pt>
                <c:pt idx="46">
                  <c:v>0.0028633990230756273</c:v>
                </c:pt>
                <c:pt idx="47">
                  <c:v>0.0026838432635534087</c:v>
                </c:pt>
                <c:pt idx="48">
                  <c:v>0.0025013027618551328</c:v>
                </c:pt>
                <c:pt idx="49">
                  <c:v>0.003286628610966961</c:v>
                </c:pt>
                <c:pt idx="50">
                  <c:v>0.0026595744680851063</c:v>
                </c:pt>
                <c:pt idx="51">
                  <c:v>0.0026612077789150462</c:v>
                </c:pt>
                <c:pt idx="52">
                  <c:v>0.001737835153922542</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2582765907490021</c:v>
                </c:pt>
                <c:pt idx="1">
                  <c:v>0.0023603461841070024</c:v>
                </c:pt>
                <c:pt idx="2">
                  <c:v>0.0020403536613012923</c:v>
                </c:pt>
                <c:pt idx="3">
                  <c:v>0.002756086357372531</c:v>
                </c:pt>
                <c:pt idx="4">
                  <c:v>0.002477700693756194</c:v>
                </c:pt>
                <c:pt idx="5">
                  <c:v>0.001973359644795264</c:v>
                </c:pt>
                <c:pt idx="6">
                  <c:v>0.002068680182043856</c:v>
                </c:pt>
                <c:pt idx="7">
                  <c:v>0.0027078256160303275</c:v>
                </c:pt>
                <c:pt idx="8">
                  <c:v>0.0027981811822315496</c:v>
                </c:pt>
                <c:pt idx="9">
                  <c:v>0.0030553009471432934</c:v>
                </c:pt>
                <c:pt idx="10">
                  <c:v>0.0036663611365719525</c:v>
                </c:pt>
                <c:pt idx="11">
                  <c:v>0.002566633761105627</c:v>
                </c:pt>
                <c:pt idx="12">
                  <c:v>0.0033163265306122448</c:v>
                </c:pt>
                <c:pt idx="13">
                  <c:v>0.005139920045688178</c:v>
                </c:pt>
                <c:pt idx="14">
                  <c:v>0.00506404527852249</c:v>
                </c:pt>
                <c:pt idx="15">
                  <c:v>0.004884856943475227</c:v>
                </c:pt>
                <c:pt idx="16">
                  <c:v>0.004106776180698152</c:v>
                </c:pt>
                <c:pt idx="17">
                  <c:v>0.00660883932259397</c:v>
                </c:pt>
                <c:pt idx="18">
                  <c:v>0.0026869682042095834</c:v>
                </c:pt>
                <c:pt idx="19">
                  <c:v>0.002890173410404624</c:v>
                </c:pt>
                <c:pt idx="20">
                  <c:v>0.003634711494775102</c:v>
                </c:pt>
                <c:pt idx="21">
                  <c:v>0.0034965034965034965</c:v>
                </c:pt>
                <c:pt idx="22">
                  <c:v>0.002844950213371266</c:v>
                </c:pt>
                <c:pt idx="23">
                  <c:v>0.00303951367781155</c:v>
                </c:pt>
                <c:pt idx="24">
                  <c:v>0.0025940337224383916</c:v>
                </c:pt>
                <c:pt idx="25">
                  <c:v>0.003125</c:v>
                </c:pt>
                <c:pt idx="26">
                  <c:v>0.003865979381443299</c:v>
                </c:pt>
                <c:pt idx="27">
                  <c:v>0.002768987341772152</c:v>
                </c:pt>
                <c:pt idx="28">
                  <c:v>0.0025820730357801547</c:v>
                </c:pt>
                <c:pt idx="29">
                  <c:v>0.0026246719160104987</c:v>
                </c:pt>
                <c:pt idx="30">
                  <c:v>0.002861230329041488</c:v>
                </c:pt>
                <c:pt idx="31">
                  <c:v>0.0031413612565445027</c:v>
                </c:pt>
                <c:pt idx="32">
                  <c:v>0.002570694087403599</c:v>
                </c:pt>
                <c:pt idx="33">
                  <c:v>0.0027072758037225042</c:v>
                </c:pt>
                <c:pt idx="34">
                  <c:v>0.0024019215372297837</c:v>
                </c:pt>
                <c:pt idx="35">
                  <c:v>0.002969561989606533</c:v>
                </c:pt>
                <c:pt idx="36">
                  <c:v>0.00392156862745098</c:v>
                </c:pt>
                <c:pt idx="37">
                  <c:v>0.005142857142857143</c:v>
                </c:pt>
                <c:pt idx="38">
                  <c:v>0.006787330316742082</c:v>
                </c:pt>
                <c:pt idx="39">
                  <c:v>0.0036084799278304014</c:v>
                </c:pt>
                <c:pt idx="40">
                  <c:v>0.004070556309362279</c:v>
                </c:pt>
                <c:pt idx="41">
                  <c:v>0.003799071338117349</c:v>
                </c:pt>
                <c:pt idx="42">
                  <c:v>0.0027881040892193307</c:v>
                </c:pt>
                <c:pt idx="43">
                  <c:v>0.0026764804282368685</c:v>
                </c:pt>
                <c:pt idx="44">
                  <c:v>0.0021027335536197055</c:v>
                </c:pt>
                <c:pt idx="45">
                  <c:v>0.0016</c:v>
                </c:pt>
                <c:pt idx="46">
                  <c:v>0.0021812893843916625</c:v>
                </c:pt>
                <c:pt idx="47">
                  <c:v>0.0020780420226275687</c:v>
                </c:pt>
                <c:pt idx="48">
                  <c:v>0.002185792349726776</c:v>
                </c:pt>
                <c:pt idx="49">
                  <c:v>0.0016345804576825282</c:v>
                </c:pt>
                <c:pt idx="50">
                  <c:v>0.0012490632025980515</c:v>
                </c:pt>
                <c:pt idx="51">
                  <c:v>0.00202922077922077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41.743175433474</c:v>
                </c:pt>
              </c:numCache>
            </c:numRef>
          </c:xVal>
          <c:yVal>
            <c:numRef>
              <c:f>Sheet1!$B$111:$B$112</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41.743175433474</c:v>
                </c:pt>
                <c:pt idx="1">
                  <c:v>3641.743175433474</c:v>
                </c:pt>
              </c:numCache>
            </c:numRef>
          </c:xVal>
          <c:yVal>
            <c:numRef>
              <c:f>Sheet1!$B$115:$B$116</c:f>
              <c:numCache>
                <c:formatCode>General</c:formatCode>
                <c:ptCount val="2"/>
                <c:pt idx="0">
                  <c:v>0.0039321089809464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41.743175433474</c:v>
                </c:pt>
              </c:numCache>
            </c:numRef>
          </c:xVal>
          <c:yVal>
            <c:numRef>
              <c:f>Sheet1!$B$119:$B$120</c:f>
              <c:numCache>
                <c:formatCode>General</c:formatCode>
                <c:ptCount val="2"/>
                <c:pt idx="0">
                  <c:v>0.003932108980946457</c:v>
                </c:pt>
                <c:pt idx="1">
                  <c:v>0.003932108980946457</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41.743175433474</c:v>
                </c:pt>
                <c:pt idx="1">
                  <c:v>3641.743175433474</c:v>
                </c:pt>
              </c:numCache>
            </c:numRef>
          </c:xVal>
          <c:yVal>
            <c:numRef>
              <c:f>Sheet1!$B$123:$B$124</c:f>
              <c:numCache>
                <c:formatCode>General</c:formatCode>
                <c:ptCount val="2"/>
                <c:pt idx="0">
                  <c:v>0.0039321089809464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52.644059813359</c:v>
                </c:pt>
              </c:numCache>
            </c:numRef>
          </c:xVal>
          <c:yVal>
            <c:numRef>
              <c:f>Sheet1!$B$127:$B$128</c:f>
              <c:numCache>
                <c:formatCode>General</c:formatCode>
                <c:ptCount val="2"/>
                <c:pt idx="0">
                  <c:v>0.002461801064817946</c:v>
                </c:pt>
                <c:pt idx="1">
                  <c:v>0.002461801064817946</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52.644059813359</c:v>
                </c:pt>
                <c:pt idx="1">
                  <c:v>4652.644059813359</c:v>
                </c:pt>
              </c:numCache>
            </c:numRef>
          </c:xVal>
          <c:yVal>
            <c:numRef>
              <c:f>Sheet1!$B$131:$B$132</c:f>
              <c:numCache>
                <c:formatCode>General</c:formatCode>
                <c:ptCount val="2"/>
                <c:pt idx="0">
                  <c:v>0.0024618010648179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41.743175433474</c:v>
                </c:pt>
                <c:pt idx="53">
                  <c:v>3641.743175433474</c:v>
                </c:pt>
                <c:pt idx="54">
                  <c:v>4652.644059813359</c:v>
                </c:pt>
              </c:numCache>
            </c:numRef>
          </c:xVal>
          <c:yVal>
            <c:numRef>
              <c:f>Sheet1!$B$135:$B$189</c:f>
              <c:numCache>
                <c:formatCode>General</c:formatCode>
                <c:ptCount val="55"/>
                <c:pt idx="0">
                  <c:v>0.0040126559756220245</c:v>
                </c:pt>
                <c:pt idx="1">
                  <c:v>0.002586527922090201</c:v>
                </c:pt>
                <c:pt idx="2">
                  <c:v>0.002585073468999055</c:v>
                </c:pt>
                <c:pt idx="3">
                  <c:v>0.004473882831386449</c:v>
                </c:pt>
                <c:pt idx="4">
                  <c:v>0.0031095331092369774</c:v>
                </c:pt>
                <c:pt idx="5">
                  <c:v>0.0019234993360620015</c:v>
                </c:pt>
                <c:pt idx="6">
                  <c:v>0.0027613370392166343</c:v>
                </c:pt>
                <c:pt idx="7">
                  <c:v>0.003338318580474238</c:v>
                </c:pt>
                <c:pt idx="8">
                  <c:v>0.0026183643003569856</c:v>
                </c:pt>
                <c:pt idx="9">
                  <c:v>0.0034625288744581035</c:v>
                </c:pt>
                <c:pt idx="10">
                  <c:v>0.003388618368061266</c:v>
                </c:pt>
                <c:pt idx="11">
                  <c:v>0.00285521645932836</c:v>
                </c:pt>
                <c:pt idx="12">
                  <c:v>0.003994500619466486</c:v>
                </c:pt>
                <c:pt idx="13">
                  <c:v>0.004152973901254404</c:v>
                </c:pt>
                <c:pt idx="14">
                  <c:v>0.004457905227844283</c:v>
                </c:pt>
                <c:pt idx="15">
                  <c:v>0.0035431886249790946</c:v>
                </c:pt>
                <c:pt idx="16">
                  <c:v>0.0031026971797085915</c:v>
                </c:pt>
                <c:pt idx="17">
                  <c:v>0.0050031219499271865</c:v>
                </c:pt>
                <c:pt idx="18">
                  <c:v>0.0024654042684563657</c:v>
                </c:pt>
                <c:pt idx="19">
                  <c:v>0.0022532965744793488</c:v>
                </c:pt>
                <c:pt idx="20">
                  <c:v>0.0027296299618296523</c:v>
                </c:pt>
                <c:pt idx="21">
                  <c:v>0.0028485834260061887</c:v>
                </c:pt>
                <c:pt idx="22">
                  <c:v>0.0026384841863027354</c:v>
                </c:pt>
                <c:pt idx="23">
                  <c:v>0.003320622686050192</c:v>
                </c:pt>
                <c:pt idx="24">
                  <c:v>0.0027975044878982332</c:v>
                </c:pt>
                <c:pt idx="25">
                  <c:v>0.0033790432670263246</c:v>
                </c:pt>
                <c:pt idx="26">
                  <c:v>0.003744434172380815</c:v>
                </c:pt>
                <c:pt idx="27">
                  <c:v>0.0030891915646401374</c:v>
                </c:pt>
                <c:pt idx="28">
                  <c:v>0.0027349283889953873</c:v>
                </c:pt>
                <c:pt idx="29">
                  <c:v>0.0022925668079402895</c:v>
                </c:pt>
                <c:pt idx="30">
                  <c:v>0.0025812757465327636</c:v>
                </c:pt>
                <c:pt idx="31">
                  <c:v>0.0024743734443335354</c:v>
                </c:pt>
                <c:pt idx="32">
                  <c:v>0.0030925160080705703</c:v>
                </c:pt>
                <c:pt idx="33">
                  <c:v>0.0024071049888680345</c:v>
                </c:pt>
                <c:pt idx="34">
                  <c:v>0.0025986483160346484</c:v>
                </c:pt>
                <c:pt idx="35">
                  <c:v>0.0024820093230620514</c:v>
                </c:pt>
                <c:pt idx="36">
                  <c:v>0.003076759481398258</c:v>
                </c:pt>
                <c:pt idx="37">
                  <c:v>0.003716314794433762</c:v>
                </c:pt>
                <c:pt idx="38">
                  <c:v>0.004571815957708507</c:v>
                </c:pt>
                <c:pt idx="39">
                  <c:v>0.0036172099607014764</c:v>
                </c:pt>
                <c:pt idx="40">
                  <c:v>0.004052293458488479</c:v>
                </c:pt>
                <c:pt idx="41">
                  <c:v>0.004078635203867534</c:v>
                </c:pt>
                <c:pt idx="42">
                  <c:v>0.0012080295711606806</c:v>
                </c:pt>
                <c:pt idx="43">
                  <c:v>0.0020982155136359103</c:v>
                </c:pt>
                <c:pt idx="44">
                  <c:v>0.0027991320209072267</c:v>
                </c:pt>
                <c:pt idx="45">
                  <c:v>0.002121149184531791</c:v>
                </c:pt>
                <c:pt idx="46">
                  <c:v>0.0029270315351567827</c:v>
                </c:pt>
                <c:pt idx="47">
                  <c:v>0.003644238498830169</c:v>
                </c:pt>
                <c:pt idx="48">
                  <c:v>0.00360768329295447</c:v>
                </c:pt>
                <c:pt idx="49">
                  <c:v>0.002572791485316182</c:v>
                </c:pt>
                <c:pt idx="50">
                  <c:v>0.0023188924088900324</c:v>
                </c:pt>
                <c:pt idx="51">
                  <c:v>0.0031253866479304697</c:v>
                </c:pt>
                <c:pt idx="52">
                  <c:v>0.003932108980946457</c:v>
                </c:pt>
                <c:pt idx="53">
                  <c:v>0.003932108980946457</c:v>
                </c:pt>
                <c:pt idx="54">
                  <c:v>0.00246180106481794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1447963800904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2172729325430426</c:v>
                </c:pt>
                <c:pt idx="1">
                  <c:v>0.27804776212832555</c:v>
                </c:pt>
                <c:pt idx="2">
                  <c:v>0.2596267741935484</c:v>
                </c:pt>
                <c:pt idx="3">
                  <c:v>0.2930340361963468</c:v>
                </c:pt>
                <c:pt idx="4">
                  <c:v>0.304467140600316</c:v>
                </c:pt>
                <c:pt idx="5">
                  <c:v>0.25663175291248985</c:v>
                </c:pt>
                <c:pt idx="6">
                  <c:v>0.3743263307073486</c:v>
                </c:pt>
                <c:pt idx="7">
                  <c:v>0.2958613009198423</c:v>
                </c:pt>
                <c:pt idx="8">
                  <c:v>0.4272742990654205</c:v>
                </c:pt>
                <c:pt idx="9">
                  <c:v>0.20666111598746081</c:v>
                </c:pt>
                <c:pt idx="10">
                  <c:v>0.2873013755158184</c:v>
                </c:pt>
                <c:pt idx="11">
                  <c:v>0.3189162088824968</c:v>
                </c:pt>
                <c:pt idx="12">
                  <c:v>0.3078427659416926</c:v>
                </c:pt>
                <c:pt idx="13">
                  <c:v>0.3688441734417344</c:v>
                </c:pt>
                <c:pt idx="14">
                  <c:v>0.21122147911435746</c:v>
                </c:pt>
                <c:pt idx="15">
                  <c:v>0.24967471352177237</c:v>
                </c:pt>
                <c:pt idx="16">
                  <c:v>0.27574801762114537</c:v>
                </c:pt>
                <c:pt idx="17">
                  <c:v>0.3253959429000752</c:v>
                </c:pt>
                <c:pt idx="18">
                  <c:v>0.3447391147540984</c:v>
                </c:pt>
                <c:pt idx="19">
                  <c:v>0.33006026077097506</c:v>
                </c:pt>
                <c:pt idx="20">
                  <c:v>0.29616922305764415</c:v>
                </c:pt>
                <c:pt idx="21">
                  <c:v>0.29520278260869565</c:v>
                </c:pt>
                <c:pt idx="22">
                  <c:v>0.30387698165734633</c:v>
                </c:pt>
                <c:pt idx="23">
                  <c:v>0.32900099730617294</c:v>
                </c:pt>
                <c:pt idx="24">
                  <c:v>0.23983713784021074</c:v>
                </c:pt>
                <c:pt idx="25">
                  <c:v>0.35958611297915266</c:v>
                </c:pt>
                <c:pt idx="26">
                  <c:v>0.3616031164383562</c:v>
                </c:pt>
                <c:pt idx="27">
                  <c:v>0.3428486451612903</c:v>
                </c:pt>
                <c:pt idx="28">
                  <c:v>0.2978757346767422</c:v>
                </c:pt>
                <c:pt idx="29">
                  <c:v>0.22199868963330868</c:v>
                </c:pt>
                <c:pt idx="30">
                  <c:v>0.19656167734420502</c:v>
                </c:pt>
                <c:pt idx="31">
                  <c:v>0.3521383322125084</c:v>
                </c:pt>
                <c:pt idx="32">
                  <c:v>0.27556748317631224</c:v>
                </c:pt>
                <c:pt idx="33">
                  <c:v>0.2632332179009057</c:v>
                </c:pt>
                <c:pt idx="34">
                  <c:v>0.26321347329382244</c:v>
                </c:pt>
                <c:pt idx="35">
                  <c:v>0.2984327764924255</c:v>
                </c:pt>
                <c:pt idx="36">
                  <c:v>0.2115464385866517</c:v>
                </c:pt>
                <c:pt idx="37">
                  <c:v>0.2069679005421574</c:v>
                </c:pt>
                <c:pt idx="38">
                  <c:v>0.40105388981636064</c:v>
                </c:pt>
                <c:pt idx="39">
                  <c:v>0.3380250973845298</c:v>
                </c:pt>
                <c:pt idx="40">
                  <c:v>0.3351698488241881</c:v>
                </c:pt>
                <c:pt idx="41">
                  <c:v>0.3640912045967908</c:v>
                </c:pt>
                <c:pt idx="42">
                  <c:v>0.34569545132548946</c:v>
                </c:pt>
                <c:pt idx="43">
                  <c:v>0.3323232858562438</c:v>
                </c:pt>
                <c:pt idx="44">
                  <c:v>0.29352897934690203</c:v>
                </c:pt>
                <c:pt idx="45">
                  <c:v>0.2937863092139511</c:v>
                </c:pt>
                <c:pt idx="46">
                  <c:v>0.2922312269615587</c:v>
                </c:pt>
                <c:pt idx="47">
                  <c:v>0.3280821339763394</c:v>
                </c:pt>
                <c:pt idx="48">
                  <c:v>0.33395572524860406</c:v>
                </c:pt>
                <c:pt idx="49">
                  <c:v>0.2909259115593484</c:v>
                </c:pt>
                <c:pt idx="50">
                  <c:v>0.2985858173744102</c:v>
                </c:pt>
                <c:pt idx="51">
                  <c:v>0.3052784835290006</c:v>
                </c:pt>
                <c:pt idx="52">
                  <c:v>0.32732694720734506</c:v>
                </c:pt>
                <c:pt idx="53">
                  <c:v>0.3103706924278247</c:v>
                </c:pt>
                <c:pt idx="54">
                  <c:v>0.23595104348720058</c:v>
                </c:pt>
                <c:pt idx="55">
                  <c:v>0.23036953773212168</c:v>
                </c:pt>
                <c:pt idx="56">
                  <c:v>0.5555454379684883</c:v>
                </c:pt>
                <c:pt idx="57">
                  <c:v>0.2807396328808733</c:v>
                </c:pt>
                <c:pt idx="58">
                  <c:v>0.2353869682506744</c:v>
                </c:pt>
                <c:pt idx="59">
                  <c:v>0.2598263844358169</c:v>
                </c:pt>
                <c:pt idx="60">
                  <c:v>0.2705394679878782</c:v>
                </c:pt>
                <c:pt idx="61">
                  <c:v>0.2900610325232741</c:v>
                </c:pt>
                <c:pt idx="62">
                  <c:v>0.29030339746213674</c:v>
                </c:pt>
                <c:pt idx="63">
                  <c:v>0.34434139149132237</c:v>
                </c:pt>
                <c:pt idx="64">
                  <c:v>0.38738527648234505</c:v>
                </c:pt>
                <c:pt idx="65">
                  <c:v>0.3789455948324927</c:v>
                </c:pt>
                <c:pt idx="66">
                  <c:v>0.39354576505088834</c:v>
                </c:pt>
                <c:pt idx="67">
                  <c:v>0.38334970732287493</c:v>
                </c:pt>
                <c:pt idx="68">
                  <c:v>0.3363667612171222</c:v>
                </c:pt>
                <c:pt idx="69">
                  <c:v>0.3346272965879265</c:v>
                </c:pt>
                <c:pt idx="70">
                  <c:v>0.4084792338096686</c:v>
                </c:pt>
                <c:pt idx="71">
                  <c:v>0.32761075626261427</c:v>
                </c:pt>
                <c:pt idx="72">
                  <c:v>0.37106235541535226</c:v>
                </c:pt>
                <c:pt idx="73">
                  <c:v>0.3383619745845552</c:v>
                </c:pt>
                <c:pt idx="74">
                  <c:v>0.3215923816304735</c:v>
                </c:pt>
                <c:pt idx="75">
                  <c:v>0.2412464162583923</c:v>
                </c:pt>
                <c:pt idx="76">
                  <c:v>0.31219712415244333</c:v>
                </c:pt>
                <c:pt idx="77">
                  <c:v>0.2808068252326784</c:v>
                </c:pt>
                <c:pt idx="78">
                  <c:v>0.2833866365131579</c:v>
                </c:pt>
                <c:pt idx="79">
                  <c:v>0.39822699440682957</c:v>
                </c:pt>
                <c:pt idx="80">
                  <c:v>0.22952017144856543</c:v>
                </c:pt>
                <c:pt idx="81">
                  <c:v>0.3613755597834041</c:v>
                </c:pt>
                <c:pt idx="82">
                  <c:v>0.4142759090909091</c:v>
                </c:pt>
                <c:pt idx="83">
                  <c:v>0.3182030396702731</c:v>
                </c:pt>
                <c:pt idx="84">
                  <c:v>0.396400630517024</c:v>
                </c:pt>
                <c:pt idx="85">
                  <c:v>0.24291544747081711</c:v>
                </c:pt>
                <c:pt idx="86">
                  <c:v>0.3915081089445992</c:v>
                </c:pt>
                <c:pt idx="87">
                  <c:v>0.3223011482389369</c:v>
                </c:pt>
                <c:pt idx="88">
                  <c:v>0.3264807795871265</c:v>
                </c:pt>
                <c:pt idx="89">
                  <c:v>0.35774474828214836</c:v>
                </c:pt>
                <c:pt idx="90">
                  <c:v>0.2890154509965071</c:v>
                </c:pt>
                <c:pt idx="91">
                  <c:v>0.32807498856881573</c:v>
                </c:pt>
                <c:pt idx="92">
                  <c:v>0.3580162339365329</c:v>
                </c:pt>
                <c:pt idx="93">
                  <c:v>0.30502751335759626</c:v>
                </c:pt>
                <c:pt idx="94">
                  <c:v>0.3747767037740972</c:v>
                </c:pt>
                <c:pt idx="95">
                  <c:v>0.37525669902912623</c:v>
                </c:pt>
                <c:pt idx="96">
                  <c:v>0.3202089510666582</c:v>
                </c:pt>
                <c:pt idx="97">
                  <c:v>0.3118500590009178</c:v>
                </c:pt>
                <c:pt idx="98">
                  <c:v>0.3845645097391879</c:v>
                </c:pt>
                <c:pt idx="99">
                  <c:v>0.3559465086887836</c:v>
                </c:pt>
                <c:pt idx="100">
                  <c:v>0.3627735206826942</c:v>
                </c:pt>
                <c:pt idx="101">
                  <c:v>0.3716274921095638</c:v>
                </c:pt>
                <c:pt idx="102">
                  <c:v>0.3887052717214448</c:v>
                </c:pt>
                <c:pt idx="103">
                  <c:v>0.31840122710548047</c:v>
                </c:pt>
                <c:pt idx="104">
                  <c:v>0.3389323998953154</c:v>
                </c:pt>
              </c:numCache>
            </c:numRef>
          </c:xVal>
          <c:yVal>
            <c:numRef>
              <c:f>Sheet1!$B$2:$B$106</c:f>
              <c:numCache>
                <c:formatCode>General</c:formatCode>
                <c:ptCount val="105"/>
                <c:pt idx="0">
                  <c:v>0.5726329442282749</c:v>
                </c:pt>
                <c:pt idx="1">
                  <c:v>0.640761300555115</c:v>
                </c:pt>
                <c:pt idx="2">
                  <c:v>0.6980982567353408</c:v>
                </c:pt>
                <c:pt idx="3">
                  <c:v>0.6531302876480541</c:v>
                </c:pt>
                <c:pt idx="4">
                  <c:v>0.6428571428571429</c:v>
                </c:pt>
                <c:pt idx="5">
                  <c:v>0.5646879756468798</c:v>
                </c:pt>
                <c:pt idx="6">
                  <c:v>0.5414448669201521</c:v>
                </c:pt>
                <c:pt idx="7">
                  <c:v>0.6293302540415704</c:v>
                </c:pt>
                <c:pt idx="8">
                  <c:v>0.600263852242744</c:v>
                </c:pt>
                <c:pt idx="9">
                  <c:v>0.5916601101494886</c:v>
                </c:pt>
                <c:pt idx="10">
                  <c:v>0.5534804753820034</c:v>
                </c:pt>
                <c:pt idx="11">
                  <c:v>0.48094747682801237</c:v>
                </c:pt>
                <c:pt idx="12">
                  <c:v>0.46130952380952384</c:v>
                </c:pt>
                <c:pt idx="13">
                  <c:v>0.4290718038528897</c:v>
                </c:pt>
                <c:pt idx="14">
                  <c:v>0.4360313315926893</c:v>
                </c:pt>
                <c:pt idx="15">
                  <c:v>0.46794871794871795</c:v>
                </c:pt>
                <c:pt idx="16">
                  <c:v>0.43727598566308246</c:v>
                </c:pt>
                <c:pt idx="17">
                  <c:v>0.41032608695652173</c:v>
                </c:pt>
                <c:pt idx="18">
                  <c:v>0.441320293398533</c:v>
                </c:pt>
                <c:pt idx="19">
                  <c:v>0.40294117647058825</c:v>
                </c:pt>
                <c:pt idx="20">
                  <c:v>0.4040920716112532</c:v>
                </c:pt>
                <c:pt idx="21">
                  <c:v>0.5065176908752328</c:v>
                </c:pt>
                <c:pt idx="22">
                  <c:v>0.5186915887850467</c:v>
                </c:pt>
                <c:pt idx="23">
                  <c:v>0.5491525423728814</c:v>
                </c:pt>
                <c:pt idx="24">
                  <c:v>0.5710144927536231</c:v>
                </c:pt>
                <c:pt idx="25">
                  <c:v>0.567741935483871</c:v>
                </c:pt>
                <c:pt idx="26">
                  <c:v>0.5605442176870749</c:v>
                </c:pt>
                <c:pt idx="27">
                  <c:v>0.5371900826446281</c:v>
                </c:pt>
                <c:pt idx="28">
                  <c:v>0.5351089588377724</c:v>
                </c:pt>
                <c:pt idx="29">
                  <c:v>0.5203426124197003</c:v>
                </c:pt>
                <c:pt idx="30">
                  <c:v>0.5681198910081744</c:v>
                </c:pt>
                <c:pt idx="31">
                  <c:v>0.5804375804375804</c:v>
                </c:pt>
                <c:pt idx="32">
                  <c:v>0.5755305867665418</c:v>
                </c:pt>
                <c:pt idx="33">
                  <c:v>0.5776105362182502</c:v>
                </c:pt>
                <c:pt idx="34">
                  <c:v>0.5657407407407408</c:v>
                </c:pt>
                <c:pt idx="35">
                  <c:v>0.5585585585585585</c:v>
                </c:pt>
                <c:pt idx="36">
                  <c:v>0.5260416666666666</c:v>
                </c:pt>
                <c:pt idx="37">
                  <c:v>0.5356234096692112</c:v>
                </c:pt>
                <c:pt idx="38">
                  <c:v>0.5111402359108781</c:v>
                </c:pt>
                <c:pt idx="39">
                  <c:v>0.4666666666666667</c:v>
                </c:pt>
                <c:pt idx="40">
                  <c:v>0.4843137254901961</c:v>
                </c:pt>
                <c:pt idx="41">
                  <c:v>0.46929316338354576</c:v>
                </c:pt>
                <c:pt idx="42">
                  <c:v>0.4568014705882353</c:v>
                </c:pt>
                <c:pt idx="43">
                  <c:v>0.4509466437177281</c:v>
                </c:pt>
                <c:pt idx="44">
                  <c:v>0.42898792169929195</c:v>
                </c:pt>
                <c:pt idx="45">
                  <c:v>0.434715821812596</c:v>
                </c:pt>
                <c:pt idx="46">
                  <c:v>0.4622980251346499</c:v>
                </c:pt>
                <c:pt idx="47">
                  <c:v>0.45026881720430106</c:v>
                </c:pt>
                <c:pt idx="48">
                  <c:v>0.43421482206986617</c:v>
                </c:pt>
                <c:pt idx="49">
                  <c:v>0.46521635190054983</c:v>
                </c:pt>
                <c:pt idx="50">
                  <c:v>0.4481500781657113</c:v>
                </c:pt>
                <c:pt idx="51">
                  <c:v>0.4417989417989418</c:v>
                </c:pt>
                <c:pt idx="52">
                  <c:v>0.45440494590417313</c:v>
                </c:pt>
                <c:pt idx="53">
                  <c:v>0.46168958742632615</c:v>
                </c:pt>
                <c:pt idx="54">
                  <c:v>0.46381578947368424</c:v>
                </c:pt>
                <c:pt idx="55">
                  <c:v>0.47172995780590715</c:v>
                </c:pt>
                <c:pt idx="56">
                  <c:v>0.47871333964049195</c:v>
                </c:pt>
                <c:pt idx="57">
                  <c:v>0.4691689008042895</c:v>
                </c:pt>
                <c:pt idx="58">
                  <c:v>0.47202216066481995</c:v>
                </c:pt>
                <c:pt idx="59">
                  <c:v>0.5047110552763819</c:v>
                </c:pt>
                <c:pt idx="60">
                  <c:v>0.48381024096385544</c:v>
                </c:pt>
                <c:pt idx="61">
                  <c:v>0.4450909090909091</c:v>
                </c:pt>
                <c:pt idx="62">
                  <c:v>0.5482600131319764</c:v>
                </c:pt>
                <c:pt idx="63">
                  <c:v>0.5454545454545454</c:v>
                </c:pt>
                <c:pt idx="64">
                  <c:v>0.46035805626598464</c:v>
                </c:pt>
                <c:pt idx="65">
                  <c:v>0.45316070068545317</c:v>
                </c:pt>
                <c:pt idx="66">
                  <c:v>0.4641255605381166</c:v>
                </c:pt>
                <c:pt idx="67">
                  <c:v>0.4466095089633671</c:v>
                </c:pt>
                <c:pt idx="68">
                  <c:v>0.42515592515592515</c:v>
                </c:pt>
                <c:pt idx="69">
                  <c:v>0.4031620553359684</c:v>
                </c:pt>
                <c:pt idx="70">
                  <c:v>0.3912543153049482</c:v>
                </c:pt>
                <c:pt idx="71">
                  <c:v>0.4040660736975858</c:v>
                </c:pt>
                <c:pt idx="72">
                  <c:v>0.39539748953974896</c:v>
                </c:pt>
                <c:pt idx="73">
                  <c:v>0.4305717619603267</c:v>
                </c:pt>
                <c:pt idx="74">
                  <c:v>0.43052837573385516</c:v>
                </c:pt>
                <c:pt idx="75">
                  <c:v>0.4380630630630631</c:v>
                </c:pt>
                <c:pt idx="76">
                  <c:v>0.4337194337194337</c:v>
                </c:pt>
                <c:pt idx="77">
                  <c:v>0.43988684582743987</c:v>
                </c:pt>
                <c:pt idx="78">
                  <c:v>0.4331395348837209</c:v>
                </c:pt>
                <c:pt idx="79">
                  <c:v>0.4078282828282828</c:v>
                </c:pt>
                <c:pt idx="80">
                  <c:v>0.39227166276346603</c:v>
                </c:pt>
                <c:pt idx="81">
                  <c:v>0.41444114737883286</c:v>
                </c:pt>
                <c:pt idx="82">
                  <c:v>0.42450142450142453</c:v>
                </c:pt>
                <c:pt idx="83">
                  <c:v>0.4281098546042003</c:v>
                </c:pt>
                <c:pt idx="84">
                  <c:v>0.4155844155844156</c:v>
                </c:pt>
                <c:pt idx="85">
                  <c:v>0.4311050477489768</c:v>
                </c:pt>
                <c:pt idx="86">
                  <c:v>0.44273127753303965</c:v>
                </c:pt>
                <c:pt idx="87">
                  <c:v>0.4348302300109529</c:v>
                </c:pt>
                <c:pt idx="88">
                  <c:v>0.445095168374817</c:v>
                </c:pt>
                <c:pt idx="89">
                  <c:v>0.4664804469273743</c:v>
                </c:pt>
                <c:pt idx="90">
                  <c:v>0.41151685393258425</c:v>
                </c:pt>
                <c:pt idx="91">
                  <c:v>0.3825214899713467</c:v>
                </c:pt>
                <c:pt idx="92">
                  <c:v>0.37418655097613884</c:v>
                </c:pt>
                <c:pt idx="93">
                  <c:v>0.37254901960784315</c:v>
                </c:pt>
                <c:pt idx="94">
                  <c:v>0.3656480505795574</c:v>
                </c:pt>
                <c:pt idx="95">
                  <c:v>0.355397951142632</c:v>
                </c:pt>
                <c:pt idx="96">
                  <c:v>0.3859410430839002</c:v>
                </c:pt>
                <c:pt idx="97">
                  <c:v>0.4194560669456067</c:v>
                </c:pt>
                <c:pt idx="98">
                  <c:v>0.43336560180703454</c:v>
                </c:pt>
                <c:pt idx="99">
                  <c:v>0.43410625183445845</c:v>
                </c:pt>
                <c:pt idx="100">
                  <c:v>0.43906903765690375</c:v>
                </c:pt>
                <c:pt idx="101">
                  <c:v>0.4372945044621888</c:v>
                </c:pt>
                <c:pt idx="102">
                  <c:v>0.4284750337381916</c:v>
                </c:pt>
                <c:pt idx="103">
                  <c:v>0.3968622893666473</c:v>
                </c:pt>
                <c:pt idx="104">
                  <c:v>0.4120100083402835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4553411311053983</c:v>
                </c:pt>
                <c:pt idx="1">
                  <c:v>0.3167479750778816</c:v>
                </c:pt>
                <c:pt idx="2">
                  <c:v>0.3675787765153635</c:v>
                </c:pt>
                <c:pt idx="3">
                  <c:v>0.37204229013807844</c:v>
                </c:pt>
                <c:pt idx="4">
                  <c:v>0.3246141547312279</c:v>
                </c:pt>
                <c:pt idx="5">
                  <c:v>0.2807378430776</c:v>
                </c:pt>
                <c:pt idx="6">
                  <c:v>0.3403334611480771</c:v>
                </c:pt>
                <c:pt idx="7">
                  <c:v>0.3498157250358337</c:v>
                </c:pt>
                <c:pt idx="8">
                  <c:v>0.3733067602040816</c:v>
                </c:pt>
                <c:pt idx="9">
                  <c:v>0.2753968121610384</c:v>
                </c:pt>
                <c:pt idx="10">
                  <c:v>0.324222096092925</c:v>
                </c:pt>
                <c:pt idx="11">
                  <c:v>0.2676624146674469</c:v>
                </c:pt>
                <c:pt idx="12">
                  <c:v>0.2628654406496298</c:v>
                </c:pt>
                <c:pt idx="13">
                  <c:v>0.3542066844919786</c:v>
                </c:pt>
                <c:pt idx="14">
                  <c:v>0.3183137421919364</c:v>
                </c:pt>
                <c:pt idx="15">
                  <c:v>0.3317916795069338</c:v>
                </c:pt>
                <c:pt idx="16">
                  <c:v>0.24577565093572007</c:v>
                </c:pt>
                <c:pt idx="17">
                  <c:v>0.3097579193150863</c:v>
                </c:pt>
                <c:pt idx="18">
                  <c:v>0.27904312688821753</c:v>
                </c:pt>
                <c:pt idx="19">
                  <c:v>0.34844523839500885</c:v>
                </c:pt>
                <c:pt idx="20">
                  <c:v>0.45053986108758254</c:v>
                </c:pt>
                <c:pt idx="21">
                  <c:v>0.27462623557587634</c:v>
                </c:pt>
                <c:pt idx="22">
                  <c:v>0.2716976164913034</c:v>
                </c:pt>
                <c:pt idx="23">
                  <c:v>0.38097495861550035</c:v>
                </c:pt>
                <c:pt idx="24">
                  <c:v>0.25415829650462035</c:v>
                </c:pt>
                <c:pt idx="25">
                  <c:v>0.3404239318626082</c:v>
                </c:pt>
                <c:pt idx="26">
                  <c:v>0.24484161943319835</c:v>
                </c:pt>
                <c:pt idx="27">
                  <c:v>0.2399620031483668</c:v>
                </c:pt>
                <c:pt idx="28">
                  <c:v>0.27230918141592925</c:v>
                </c:pt>
                <c:pt idx="29">
                  <c:v>0.40451949358870315</c:v>
                </c:pt>
                <c:pt idx="30">
                  <c:v>0.22373464524282363</c:v>
                </c:pt>
                <c:pt idx="31">
                  <c:v>0.23292405677997757</c:v>
                </c:pt>
                <c:pt idx="32">
                  <c:v>0.2726580834419818</c:v>
                </c:pt>
                <c:pt idx="33">
                  <c:v>0.30431426774031206</c:v>
                </c:pt>
                <c:pt idx="34">
                  <c:v>0.28033515570934253</c:v>
                </c:pt>
                <c:pt idx="35">
                  <c:v>0.5302123801583993</c:v>
                </c:pt>
                <c:pt idx="36">
                  <c:v>0.2785432934378869</c:v>
                </c:pt>
                <c:pt idx="37">
                  <c:v>0.5739081424936386</c:v>
                </c:pt>
                <c:pt idx="38">
                  <c:v>0.4459504007691929</c:v>
                </c:pt>
                <c:pt idx="39">
                  <c:v>0.41400607125738936</c:v>
                </c:pt>
                <c:pt idx="40">
                  <c:v>0.288167305573915</c:v>
                </c:pt>
                <c:pt idx="41">
                  <c:v>0.42556264627867063</c:v>
                </c:pt>
                <c:pt idx="42">
                  <c:v>0.3878133391078389</c:v>
                </c:pt>
                <c:pt idx="43">
                  <c:v>0.4518506910950784</c:v>
                </c:pt>
                <c:pt idx="44">
                  <c:v>0.4038909292737076</c:v>
                </c:pt>
                <c:pt idx="45">
                  <c:v>0.32037753917972656</c:v>
                </c:pt>
                <c:pt idx="46">
                  <c:v>0.3393708004023567</c:v>
                </c:pt>
                <c:pt idx="47">
                  <c:v>0.36524398896334254</c:v>
                </c:pt>
                <c:pt idx="48">
                  <c:v>0.6724885918683405</c:v>
                </c:pt>
                <c:pt idx="49">
                  <c:v>0.30644623233908946</c:v>
                </c:pt>
                <c:pt idx="50">
                  <c:v>0.2867662430096594</c:v>
                </c:pt>
                <c:pt idx="51">
                  <c:v>0.27860408007140125</c:v>
                </c:pt>
              </c:numCache>
            </c:numRef>
          </c:xVal>
          <c:yVal>
            <c:numRef>
              <c:f>Sheet1!$B$109:$B$160</c:f>
              <c:numCache>
                <c:formatCode>General</c:formatCode>
                <c:ptCount val="52"/>
                <c:pt idx="0">
                  <c:v>0.3941299790356394</c:v>
                </c:pt>
                <c:pt idx="1">
                  <c:v>0.3893229166666667</c:v>
                </c:pt>
                <c:pt idx="2">
                  <c:v>0.40662323561346364</c:v>
                </c:pt>
                <c:pt idx="3">
                  <c:v>0.43936731107205623</c:v>
                </c:pt>
                <c:pt idx="4">
                  <c:v>0.4105642256902761</c:v>
                </c:pt>
                <c:pt idx="5">
                  <c:v>0.40757238307349664</c:v>
                </c:pt>
                <c:pt idx="6">
                  <c:v>0.43657042869641294</c:v>
                </c:pt>
                <c:pt idx="7">
                  <c:v>0.43289224952741023</c:v>
                </c:pt>
                <c:pt idx="8">
                  <c:v>0.44813278008298757</c:v>
                </c:pt>
                <c:pt idx="9">
                  <c:v>0.47293447293447294</c:v>
                </c:pt>
                <c:pt idx="10">
                  <c:v>0.43109869646182497</c:v>
                </c:pt>
                <c:pt idx="11">
                  <c:v>0.46571072319201995</c:v>
                </c:pt>
                <c:pt idx="12">
                  <c:v>0.48398576512455516</c:v>
                </c:pt>
                <c:pt idx="13">
                  <c:v>0.47339449541284406</c:v>
                </c:pt>
                <c:pt idx="14">
                  <c:v>0.5028735632183908</c:v>
                </c:pt>
                <c:pt idx="15">
                  <c:v>0.46715328467153283</c:v>
                </c:pt>
                <c:pt idx="16">
                  <c:v>0.4661214953271028</c:v>
                </c:pt>
                <c:pt idx="17">
                  <c:v>0.46204620462046203</c:v>
                </c:pt>
                <c:pt idx="18">
                  <c:v>0.4795180722891566</c:v>
                </c:pt>
                <c:pt idx="19">
                  <c:v>0.45454545454545453</c:v>
                </c:pt>
                <c:pt idx="20">
                  <c:v>0.4272863568215892</c:v>
                </c:pt>
                <c:pt idx="21">
                  <c:v>0.4588910133843212</c:v>
                </c:pt>
                <c:pt idx="22">
                  <c:v>0.44609665427509293</c:v>
                </c:pt>
                <c:pt idx="23">
                  <c:v>0.44403669724770645</c:v>
                </c:pt>
                <c:pt idx="24">
                  <c:v>0.4635258358662614</c:v>
                </c:pt>
                <c:pt idx="25">
                  <c:v>0.4417808219178082</c:v>
                </c:pt>
                <c:pt idx="26">
                  <c:v>0.4329268292682927</c:v>
                </c:pt>
                <c:pt idx="27">
                  <c:v>0.4510035419126328</c:v>
                </c:pt>
                <c:pt idx="28">
                  <c:v>0.45158002038735984</c:v>
                </c:pt>
                <c:pt idx="29">
                  <c:v>0.4412171507607192</c:v>
                </c:pt>
                <c:pt idx="30">
                  <c:v>0.4375</c:v>
                </c:pt>
                <c:pt idx="31">
                  <c:v>0.3992146596858639</c:v>
                </c:pt>
                <c:pt idx="32">
                  <c:v>0.42663656884875845</c:v>
                </c:pt>
                <c:pt idx="33">
                  <c:v>0.43738140417457305</c:v>
                </c:pt>
                <c:pt idx="34">
                  <c:v>0.44854881266490765</c:v>
                </c:pt>
                <c:pt idx="35">
                  <c:v>0.4371794871794872</c:v>
                </c:pt>
                <c:pt idx="36">
                  <c:v>0.41379310344827586</c:v>
                </c:pt>
                <c:pt idx="37">
                  <c:v>0.44089456869009586</c:v>
                </c:pt>
                <c:pt idx="38">
                  <c:v>0.4539877300613497</c:v>
                </c:pt>
                <c:pt idx="39">
                  <c:v>0.4534461910519952</c:v>
                </c:pt>
                <c:pt idx="40">
                  <c:v>0.4609271523178808</c:v>
                </c:pt>
                <c:pt idx="41">
                  <c:v>0.4142857142857143</c:v>
                </c:pt>
                <c:pt idx="42">
                  <c:v>0.46143057503506313</c:v>
                </c:pt>
                <c:pt idx="43">
                  <c:v>0.441207075962539</c:v>
                </c:pt>
                <c:pt idx="44">
                  <c:v>0.4317241379310345</c:v>
                </c:pt>
                <c:pt idx="45">
                  <c:v>0.4333648393194707</c:v>
                </c:pt>
                <c:pt idx="46">
                  <c:v>0.44359255202628695</c:v>
                </c:pt>
                <c:pt idx="47">
                  <c:v>0.45080213903743316</c:v>
                </c:pt>
                <c:pt idx="48">
                  <c:v>0.407673860911271</c:v>
                </c:pt>
                <c:pt idx="49">
                  <c:v>0.43322859387274154</c:v>
                </c:pt>
                <c:pt idx="50">
                  <c:v>0.42664526484751203</c:v>
                </c:pt>
                <c:pt idx="51">
                  <c:v>0.4217311233885819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199458217136912</c:v>
                </c:pt>
              </c:numCache>
            </c:numRef>
          </c:xVal>
          <c:yVal>
            <c:numRef>
              <c:f>Sheet1!$B$163:$B$164</c:f>
              <c:numCache>
                <c:formatCode>General</c:formatCode>
                <c:ptCount val="2"/>
                <c:pt idx="0">
                  <c:v>0.6159118756528082</c:v>
                </c:pt>
                <c:pt idx="1">
                  <c:v>0.615911875652808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199458217136912</c:v>
                </c:pt>
                <c:pt idx="1">
                  <c:v>-3.199458217136912</c:v>
                </c:pt>
              </c:numCache>
            </c:numRef>
          </c:xVal>
          <c:yVal>
            <c:numRef>
              <c:f>Sheet1!$B$167:$B$168</c:f>
              <c:numCache>
                <c:formatCode>General</c:formatCode>
                <c:ptCount val="2"/>
                <c:pt idx="0">
                  <c:v>0.61591187565280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389825524771508</c:v>
                </c:pt>
              </c:numCache>
            </c:numRef>
          </c:xVal>
          <c:yVal>
            <c:numRef>
              <c:f>Sheet1!$B$171:$B$172</c:f>
              <c:numCache>
                <c:formatCode>General</c:formatCode>
                <c:ptCount val="2"/>
                <c:pt idx="0">
                  <c:v>0.46504304600028673</c:v>
                </c:pt>
                <c:pt idx="1">
                  <c:v>0.465043046000286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389825524771508</c:v>
                </c:pt>
                <c:pt idx="1">
                  <c:v>-0.1389825524771508</c:v>
                </c:pt>
              </c:numCache>
            </c:numRef>
          </c:xVal>
          <c:yVal>
            <c:numRef>
              <c:f>Sheet1!$B$175:$B$176</c:f>
              <c:numCache>
                <c:formatCode>General</c:formatCode>
                <c:ptCount val="2"/>
                <c:pt idx="0">
                  <c:v>0.465043046000286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3135752114272796</c:v>
                </c:pt>
              </c:numCache>
            </c:numRef>
          </c:xVal>
          <c:yVal>
            <c:numRef>
              <c:f>Sheet1!$B$179:$B$180</c:f>
              <c:numCache>
                <c:formatCode>General</c:formatCode>
                <c:ptCount val="2"/>
                <c:pt idx="0">
                  <c:v>0.43692763230673265</c:v>
                </c:pt>
                <c:pt idx="1">
                  <c:v>0.436927632306732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3135752114272796</c:v>
                </c:pt>
                <c:pt idx="1">
                  <c:v>0.43135752114272796</c:v>
                </c:pt>
              </c:numCache>
            </c:numRef>
          </c:xVal>
          <c:yVal>
            <c:numRef>
              <c:f>Sheet1!$B$183:$B$184</c:f>
              <c:numCache>
                <c:formatCode>General</c:formatCode>
                <c:ptCount val="2"/>
                <c:pt idx="0">
                  <c:v>0.436927632306732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4553411311053983</c:v>
                </c:pt>
                <c:pt idx="1">
                  <c:v>0.3167479750778816</c:v>
                </c:pt>
                <c:pt idx="2">
                  <c:v>0.3675787765153635</c:v>
                </c:pt>
                <c:pt idx="3">
                  <c:v>0.37204229013807844</c:v>
                </c:pt>
                <c:pt idx="4">
                  <c:v>0.3246141547312279</c:v>
                </c:pt>
                <c:pt idx="5">
                  <c:v>0.2807378430776</c:v>
                </c:pt>
                <c:pt idx="6">
                  <c:v>0.3403334611480771</c:v>
                </c:pt>
                <c:pt idx="7">
                  <c:v>0.3498157250358337</c:v>
                </c:pt>
                <c:pt idx="8">
                  <c:v>0.3733067602040816</c:v>
                </c:pt>
                <c:pt idx="9">
                  <c:v>0.2753968121610384</c:v>
                </c:pt>
                <c:pt idx="10">
                  <c:v>0.324222096092925</c:v>
                </c:pt>
                <c:pt idx="11">
                  <c:v>0.2676624146674469</c:v>
                </c:pt>
                <c:pt idx="12">
                  <c:v>0.2628654406496298</c:v>
                </c:pt>
                <c:pt idx="13">
                  <c:v>0.3542066844919786</c:v>
                </c:pt>
                <c:pt idx="14">
                  <c:v>0.3183137421919364</c:v>
                </c:pt>
                <c:pt idx="15">
                  <c:v>0.3317916795069338</c:v>
                </c:pt>
                <c:pt idx="16">
                  <c:v>0.24577565093572007</c:v>
                </c:pt>
                <c:pt idx="17">
                  <c:v>0.3097579193150863</c:v>
                </c:pt>
                <c:pt idx="18">
                  <c:v>0.27904312688821753</c:v>
                </c:pt>
                <c:pt idx="19">
                  <c:v>0.34844523839500885</c:v>
                </c:pt>
                <c:pt idx="20">
                  <c:v>0.45053986108758254</c:v>
                </c:pt>
                <c:pt idx="21">
                  <c:v>0.27462623557587634</c:v>
                </c:pt>
                <c:pt idx="22">
                  <c:v>0.2716976164913034</c:v>
                </c:pt>
                <c:pt idx="23">
                  <c:v>0.38097495861550035</c:v>
                </c:pt>
                <c:pt idx="24">
                  <c:v>0.25415829650462035</c:v>
                </c:pt>
                <c:pt idx="25">
                  <c:v>0.3404239318626082</c:v>
                </c:pt>
                <c:pt idx="26">
                  <c:v>0.24484161943319835</c:v>
                </c:pt>
                <c:pt idx="27">
                  <c:v>0.2399620031483668</c:v>
                </c:pt>
                <c:pt idx="28">
                  <c:v>0.27230918141592925</c:v>
                </c:pt>
                <c:pt idx="29">
                  <c:v>0.40451949358870315</c:v>
                </c:pt>
                <c:pt idx="30">
                  <c:v>0.22373464524282363</c:v>
                </c:pt>
                <c:pt idx="31">
                  <c:v>0.23292405677997757</c:v>
                </c:pt>
                <c:pt idx="32">
                  <c:v>0.2726580834419818</c:v>
                </c:pt>
                <c:pt idx="33">
                  <c:v>0.30431426774031206</c:v>
                </c:pt>
                <c:pt idx="34">
                  <c:v>0.28033515570934253</c:v>
                </c:pt>
                <c:pt idx="35">
                  <c:v>0.5302123801583993</c:v>
                </c:pt>
                <c:pt idx="36">
                  <c:v>0.2785432934378869</c:v>
                </c:pt>
                <c:pt idx="37">
                  <c:v>0.5739081424936386</c:v>
                </c:pt>
                <c:pt idx="38">
                  <c:v>0.4459504007691929</c:v>
                </c:pt>
                <c:pt idx="39">
                  <c:v>0.41400607125738936</c:v>
                </c:pt>
                <c:pt idx="40">
                  <c:v>0.288167305573915</c:v>
                </c:pt>
                <c:pt idx="41">
                  <c:v>0.42556264627867063</c:v>
                </c:pt>
                <c:pt idx="42">
                  <c:v>0.3878133391078389</c:v>
                </c:pt>
                <c:pt idx="43">
                  <c:v>0.4518506910950784</c:v>
                </c:pt>
                <c:pt idx="44">
                  <c:v>0.4038909292737076</c:v>
                </c:pt>
                <c:pt idx="45">
                  <c:v>0.32037753917972656</c:v>
                </c:pt>
                <c:pt idx="46">
                  <c:v>0.3393708004023567</c:v>
                </c:pt>
                <c:pt idx="47">
                  <c:v>0.36524398896334254</c:v>
                </c:pt>
                <c:pt idx="48">
                  <c:v>0.6724885918683405</c:v>
                </c:pt>
                <c:pt idx="49">
                  <c:v>0.30644623233908946</c:v>
                </c:pt>
                <c:pt idx="50">
                  <c:v>0.2867662430096594</c:v>
                </c:pt>
                <c:pt idx="51">
                  <c:v>0.27860408007140125</c:v>
                </c:pt>
                <c:pt idx="52">
                  <c:v>-0.1389825524771508</c:v>
                </c:pt>
                <c:pt idx="53">
                  <c:v>-3.199458217136912</c:v>
                </c:pt>
                <c:pt idx="54">
                  <c:v>0.43135752114272796</c:v>
                </c:pt>
              </c:numCache>
            </c:numRef>
          </c:xVal>
          <c:yVal>
            <c:numRef>
              <c:f>Sheet1!$B$187:$B$241</c:f>
              <c:numCache>
                <c:formatCode>General</c:formatCode>
                <c:ptCount val="55"/>
                <c:pt idx="0">
                  <c:v>0.44115837240903844</c:v>
                </c:pt>
                <c:pt idx="1">
                  <c:v>0.44257741030741227</c:v>
                </c:pt>
                <c:pt idx="2">
                  <c:v>0.4400716614097078</c:v>
                </c:pt>
                <c:pt idx="3">
                  <c:v>0.4398516285944912</c:v>
                </c:pt>
                <c:pt idx="4">
                  <c:v>0.4421896400886059</c:v>
                </c:pt>
                <c:pt idx="5">
                  <c:v>0.44435256131849515</c:v>
                </c:pt>
                <c:pt idx="6">
                  <c:v>0.4414147431046356</c:v>
                </c:pt>
                <c:pt idx="7">
                  <c:v>0.4409473065973888</c:v>
                </c:pt>
                <c:pt idx="8">
                  <c:v>0.43978929543458684</c:v>
                </c:pt>
                <c:pt idx="9">
                  <c:v>0.4446158521176426</c:v>
                </c:pt>
                <c:pt idx="10">
                  <c:v>0.4422089669627251</c:v>
                </c:pt>
                <c:pt idx="11">
                  <c:v>0.4449971260194089</c:v>
                </c:pt>
                <c:pt idx="12">
                  <c:v>0.44523359705699905</c:v>
                </c:pt>
                <c:pt idx="13">
                  <c:v>0.44073085040338933</c:v>
                </c:pt>
                <c:pt idx="14">
                  <c:v>0.4425002244455106</c:v>
                </c:pt>
                <c:pt idx="15">
                  <c:v>0.44183581771543134</c:v>
                </c:pt>
                <c:pt idx="16">
                  <c:v>0.44607605321599353</c:v>
                </c:pt>
                <c:pt idx="17">
                  <c:v>0.44292199123132436</c:v>
                </c:pt>
                <c:pt idx="18">
                  <c:v>0.44443610383805765</c:v>
                </c:pt>
                <c:pt idx="19">
                  <c:v>0.44101486593724676</c:v>
                </c:pt>
                <c:pt idx="20">
                  <c:v>0.4359820220504921</c:v>
                </c:pt>
                <c:pt idx="21">
                  <c:v>0.44465383836563127</c:v>
                </c:pt>
                <c:pt idx="22">
                  <c:v>0.44479820720962815</c:v>
                </c:pt>
                <c:pt idx="23">
                  <c:v>0.4394112848745837</c:v>
                </c:pt>
                <c:pt idx="24">
                  <c:v>0.445662823357323</c:v>
                </c:pt>
                <c:pt idx="25">
                  <c:v>0.4414102832714871</c:v>
                </c:pt>
                <c:pt idx="26">
                  <c:v>0.44612209711736195</c:v>
                </c:pt>
                <c:pt idx="27">
                  <c:v>0.4463626420779205</c:v>
                </c:pt>
                <c:pt idx="28">
                  <c:v>0.4447680595807807</c:v>
                </c:pt>
                <c:pt idx="29">
                  <c:v>0.4382506363920169</c:v>
                </c:pt>
                <c:pt idx="30">
                  <c:v>0.44716258390520963</c:v>
                </c:pt>
                <c:pt idx="31">
                  <c:v>0.44670958381119974</c:v>
                </c:pt>
                <c:pt idx="32">
                  <c:v>0.44475086014967863</c:v>
                </c:pt>
                <c:pt idx="33">
                  <c:v>0.44319034080574043</c:v>
                </c:pt>
                <c:pt idx="34">
                  <c:v>0.44437241214517104</c:v>
                </c:pt>
                <c:pt idx="35">
                  <c:v>0.43205449540929636</c:v>
                </c:pt>
                <c:pt idx="36">
                  <c:v>0.4444607435659742</c:v>
                </c:pt>
                <c:pt idx="37">
                  <c:v>0.4299004745162646</c:v>
                </c:pt>
                <c:pt idx="38">
                  <c:v>0.43620826351843367</c:v>
                </c:pt>
                <c:pt idx="39">
                  <c:v>0.4377829872331592</c:v>
                </c:pt>
                <c:pt idx="40">
                  <c:v>0.4439863194546211</c:v>
                </c:pt>
                <c:pt idx="41">
                  <c:v>0.4372132957409558</c:v>
                </c:pt>
                <c:pt idx="42">
                  <c:v>0.43907418091603534</c:v>
                </c:pt>
                <c:pt idx="43">
                  <c:v>0.4359174035366486</c:v>
                </c:pt>
                <c:pt idx="44">
                  <c:v>0.4382816220207085</c:v>
                </c:pt>
                <c:pt idx="45">
                  <c:v>0.442398487764581</c:v>
                </c:pt>
                <c:pt idx="46">
                  <c:v>0.441462198309634</c:v>
                </c:pt>
                <c:pt idx="47">
                  <c:v>0.44018675680795855</c:v>
                </c:pt>
                <c:pt idx="48">
                  <c:v>0.4250408648825333</c:v>
                </c:pt>
                <c:pt idx="49">
                  <c:v>0.44308524374269487</c:v>
                </c:pt>
                <c:pt idx="50">
                  <c:v>0.44405538606141687</c:v>
                </c:pt>
                <c:pt idx="51">
                  <c:v>0.4444577470356104</c:v>
                </c:pt>
                <c:pt idx="52">
                  <c:v>0.46504304600028673</c:v>
                </c:pt>
                <c:pt idx="53">
                  <c:v>0.6159118756528082</c:v>
                </c:pt>
                <c:pt idx="54">
                  <c:v>0.436927632306732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77179080824089"/>
          <c:min val="0.2843183609141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5.5798</c:v>
                </c:pt>
                <c:pt idx="1">
                  <c:v>888.3626</c:v>
                </c:pt>
                <c:pt idx="2">
                  <c:v>965.8116</c:v>
                </c:pt>
                <c:pt idx="3">
                  <c:v>973.3614</c:v>
                </c:pt>
                <c:pt idx="4">
                  <c:v>963.6385</c:v>
                </c:pt>
                <c:pt idx="5">
                  <c:v>947.2278</c:v>
                </c:pt>
                <c:pt idx="6">
                  <c:v>898.0463</c:v>
                </c:pt>
                <c:pt idx="7">
                  <c:v>900.6018</c:v>
                </c:pt>
                <c:pt idx="8">
                  <c:v>914.367</c:v>
                </c:pt>
                <c:pt idx="9">
                  <c:v>824.0612</c:v>
                </c:pt>
                <c:pt idx="10">
                  <c:v>835.4724</c:v>
                </c:pt>
                <c:pt idx="11">
                  <c:v>932.4047</c:v>
                </c:pt>
                <c:pt idx="12">
                  <c:v>950.8237</c:v>
                </c:pt>
                <c:pt idx="13">
                  <c:v>952.7245</c:v>
                </c:pt>
                <c:pt idx="14">
                  <c:v>925.3613</c:v>
                </c:pt>
                <c:pt idx="15">
                  <c:v>980.4726</c:v>
                </c:pt>
                <c:pt idx="16">
                  <c:v>1032.8142</c:v>
                </c:pt>
                <c:pt idx="17">
                  <c:v>1082.755</c:v>
                </c:pt>
                <c:pt idx="18">
                  <c:v>1051.4543</c:v>
                </c:pt>
                <c:pt idx="19">
                  <c:v>1164.4526</c:v>
                </c:pt>
                <c:pt idx="20">
                  <c:v>1181.7152</c:v>
                </c:pt>
                <c:pt idx="21">
                  <c:v>1188.1912</c:v>
                </c:pt>
                <c:pt idx="22">
                  <c:v>1129.9159</c:v>
                </c:pt>
                <c:pt idx="23">
                  <c:v>1103.25</c:v>
                </c:pt>
                <c:pt idx="24">
                  <c:v>1092.698</c:v>
                </c:pt>
                <c:pt idx="25">
                  <c:v>1069.4091</c:v>
                </c:pt>
                <c:pt idx="26">
                  <c:v>1055.8811</c:v>
                </c:pt>
                <c:pt idx="27">
                  <c:v>1062.8308</c:v>
                </c:pt>
                <c:pt idx="28">
                  <c:v>1064.31</c:v>
                </c:pt>
                <c:pt idx="29">
                  <c:v>1050.3868</c:v>
                </c:pt>
                <c:pt idx="30">
                  <c:v>1012.4892</c:v>
                </c:pt>
                <c:pt idx="31">
                  <c:v>1047.2594</c:v>
                </c:pt>
                <c:pt idx="32">
                  <c:v>1023.7332</c:v>
                </c:pt>
                <c:pt idx="33">
                  <c:v>988.1775</c:v>
                </c:pt>
                <c:pt idx="34">
                  <c:v>994.8592</c:v>
                </c:pt>
                <c:pt idx="35">
                  <c:v>1001.043</c:v>
                </c:pt>
                <c:pt idx="36">
                  <c:v>1131.5619</c:v>
                </c:pt>
                <c:pt idx="37">
                  <c:v>1107.0713</c:v>
                </c:pt>
                <c:pt idx="38">
                  <c:v>1201.1564</c:v>
                </c:pt>
                <c:pt idx="39">
                  <c:v>1214.8622</c:v>
                </c:pt>
                <c:pt idx="40">
                  <c:v>1197.2267</c:v>
                </c:pt>
                <c:pt idx="41">
                  <c:v>1235.8469</c:v>
                </c:pt>
                <c:pt idx="42">
                  <c:v>1237.1288</c:v>
                </c:pt>
                <c:pt idx="43">
                  <c:v>1254.105</c:v>
                </c:pt>
                <c:pt idx="44">
                  <c:v>1173.9398</c:v>
                </c:pt>
                <c:pt idx="45">
                  <c:v>1128.727</c:v>
                </c:pt>
                <c:pt idx="46">
                  <c:v>1109.8942</c:v>
                </c:pt>
                <c:pt idx="47">
                  <c:v>1088.4945</c:v>
                </c:pt>
                <c:pt idx="48">
                  <c:v>1100.6624</c:v>
                </c:pt>
                <c:pt idx="49">
                  <c:v>1050.0098</c:v>
                </c:pt>
                <c:pt idx="50">
                  <c:v>1075.8047</c:v>
                </c:pt>
                <c:pt idx="51">
                  <c:v>1068.9835</c:v>
                </c:pt>
                <c:pt idx="52">
                  <c:v>1069.5408</c:v>
                </c:pt>
                <c:pt idx="53">
                  <c:v>1158.0965</c:v>
                </c:pt>
                <c:pt idx="54">
                  <c:v>1147.5479</c:v>
                </c:pt>
                <c:pt idx="55">
                  <c:v>1166.1306</c:v>
                </c:pt>
                <c:pt idx="56">
                  <c:v>1207.3854</c:v>
                </c:pt>
                <c:pt idx="57">
                  <c:v>1170.4971</c:v>
                </c:pt>
                <c:pt idx="58">
                  <c:v>1134.3298</c:v>
                </c:pt>
                <c:pt idx="59">
                  <c:v>1086.1176</c:v>
                </c:pt>
                <c:pt idx="60">
                  <c:v>1124.849</c:v>
                </c:pt>
                <c:pt idx="61">
                  <c:v>1199.5474</c:v>
                </c:pt>
                <c:pt idx="62">
                  <c:v>1063.8168</c:v>
                </c:pt>
                <c:pt idx="63">
                  <c:v>1121.0034</c:v>
                </c:pt>
                <c:pt idx="64">
                  <c:v>1162.9306</c:v>
                </c:pt>
                <c:pt idx="65">
                  <c:v>1160.963</c:v>
                </c:pt>
                <c:pt idx="66">
                  <c:v>1140.6924</c:v>
                </c:pt>
                <c:pt idx="67">
                  <c:v>1217.3909</c:v>
                </c:pt>
                <c:pt idx="68">
                  <c:v>1304.4303</c:v>
                </c:pt>
                <c:pt idx="69">
                  <c:v>1338.6765</c:v>
                </c:pt>
                <c:pt idx="70">
                  <c:v>1343.4882</c:v>
                </c:pt>
                <c:pt idx="71">
                  <c:v>1379.7327</c:v>
                </c:pt>
                <c:pt idx="72">
                  <c:v>1411.5212</c:v>
                </c:pt>
                <c:pt idx="73">
                  <c:v>1384.5772</c:v>
                </c:pt>
                <c:pt idx="74">
                  <c:v>1355.0295</c:v>
                </c:pt>
                <c:pt idx="75">
                  <c:v>1329.509</c:v>
                </c:pt>
                <c:pt idx="76">
                  <c:v>1335.2671</c:v>
                </c:pt>
                <c:pt idx="77">
                  <c:v>1357.701</c:v>
                </c:pt>
                <c:pt idx="78">
                  <c:v>1378.3926</c:v>
                </c:pt>
                <c:pt idx="79">
                  <c:v>1352.7771</c:v>
                </c:pt>
                <c:pt idx="80">
                  <c:v>1311.9373</c:v>
                </c:pt>
                <c:pt idx="81">
                  <c:v>1234.6396</c:v>
                </c:pt>
                <c:pt idx="82">
                  <c:v>1275.9698</c:v>
                </c:pt>
                <c:pt idx="83">
                  <c:v>1235.2642</c:v>
                </c:pt>
                <c:pt idx="84">
                  <c:v>1257.3828</c:v>
                </c:pt>
                <c:pt idx="85">
                  <c:v>1248.5854</c:v>
                </c:pt>
                <c:pt idx="86">
                  <c:v>1264.9627</c:v>
                </c:pt>
                <c:pt idx="87">
                  <c:v>1249.0781</c:v>
                </c:pt>
                <c:pt idx="88">
                  <c:v>1273.1118</c:v>
                </c:pt>
                <c:pt idx="89">
                  <c:v>1275.5389</c:v>
                </c:pt>
                <c:pt idx="90">
                  <c:v>1406.6382</c:v>
                </c:pt>
                <c:pt idx="91">
                  <c:v>1435.0</c:v>
                </c:pt>
                <c:pt idx="92">
                  <c:v>1365.1159</c:v>
                </c:pt>
                <c:pt idx="93">
                  <c:v>1385.3333</c:v>
                </c:pt>
                <c:pt idx="94">
                  <c:v>1380.3026</c:v>
                </c:pt>
                <c:pt idx="95">
                  <c:v>1352.8004</c:v>
                </c:pt>
                <c:pt idx="96">
                  <c:v>1264.5852</c:v>
                </c:pt>
                <c:pt idx="97">
                  <c:v>1189.2402</c:v>
                </c:pt>
                <c:pt idx="98">
                  <c:v>1164.8459</c:v>
                </c:pt>
                <c:pt idx="99">
                  <c:v>1126.5707</c:v>
                </c:pt>
                <c:pt idx="100">
                  <c:v>1134.0905</c:v>
                </c:pt>
                <c:pt idx="101">
                  <c:v>1163.1321</c:v>
                </c:pt>
                <c:pt idx="102">
                  <c:v>1194.4913</c:v>
                </c:pt>
                <c:pt idx="103">
                  <c:v>1225.4202</c:v>
                </c:pt>
                <c:pt idx="104">
                  <c:v>1295.0607</c:v>
                </c:pt>
              </c:numCache>
            </c:numRef>
          </c:xVal>
          <c:yVal>
            <c:numRef>
              <c:f>Sheet1!$B$2:$B$106</c:f>
              <c:numCache>
                <c:formatCode>General</c:formatCode>
                <c:ptCount val="105"/>
                <c:pt idx="0">
                  <c:v>0.5726329442282749</c:v>
                </c:pt>
                <c:pt idx="1">
                  <c:v>0.640761300555115</c:v>
                </c:pt>
                <c:pt idx="2">
                  <c:v>0.6980982567353408</c:v>
                </c:pt>
                <c:pt idx="3">
                  <c:v>0.6531302876480541</c:v>
                </c:pt>
                <c:pt idx="4">
                  <c:v>0.6428571428571429</c:v>
                </c:pt>
                <c:pt idx="5">
                  <c:v>0.5646879756468798</c:v>
                </c:pt>
                <c:pt idx="6">
                  <c:v>0.5414448669201521</c:v>
                </c:pt>
                <c:pt idx="7">
                  <c:v>0.6293302540415704</c:v>
                </c:pt>
                <c:pt idx="8">
                  <c:v>0.600263852242744</c:v>
                </c:pt>
                <c:pt idx="9">
                  <c:v>0.5916601101494886</c:v>
                </c:pt>
                <c:pt idx="10">
                  <c:v>0.5534804753820034</c:v>
                </c:pt>
                <c:pt idx="11">
                  <c:v>0.48094747682801237</c:v>
                </c:pt>
                <c:pt idx="12">
                  <c:v>0.46130952380952384</c:v>
                </c:pt>
                <c:pt idx="13">
                  <c:v>0.4290718038528897</c:v>
                </c:pt>
                <c:pt idx="14">
                  <c:v>0.4360313315926893</c:v>
                </c:pt>
                <c:pt idx="15">
                  <c:v>0.46794871794871795</c:v>
                </c:pt>
                <c:pt idx="16">
                  <c:v>0.43727598566308246</c:v>
                </c:pt>
                <c:pt idx="17">
                  <c:v>0.41032608695652173</c:v>
                </c:pt>
                <c:pt idx="18">
                  <c:v>0.441320293398533</c:v>
                </c:pt>
                <c:pt idx="19">
                  <c:v>0.40294117647058825</c:v>
                </c:pt>
                <c:pt idx="20">
                  <c:v>0.4040920716112532</c:v>
                </c:pt>
                <c:pt idx="21">
                  <c:v>0.5065176908752328</c:v>
                </c:pt>
                <c:pt idx="22">
                  <c:v>0.5186915887850467</c:v>
                </c:pt>
                <c:pt idx="23">
                  <c:v>0.5491525423728814</c:v>
                </c:pt>
                <c:pt idx="24">
                  <c:v>0.5710144927536231</c:v>
                </c:pt>
                <c:pt idx="25">
                  <c:v>0.567741935483871</c:v>
                </c:pt>
                <c:pt idx="26">
                  <c:v>0.5605442176870749</c:v>
                </c:pt>
                <c:pt idx="27">
                  <c:v>0.5371900826446281</c:v>
                </c:pt>
                <c:pt idx="28">
                  <c:v>0.5351089588377724</c:v>
                </c:pt>
                <c:pt idx="29">
                  <c:v>0.5203426124197003</c:v>
                </c:pt>
                <c:pt idx="30">
                  <c:v>0.5681198910081744</c:v>
                </c:pt>
                <c:pt idx="31">
                  <c:v>0.5804375804375804</c:v>
                </c:pt>
                <c:pt idx="32">
                  <c:v>0.5755305867665418</c:v>
                </c:pt>
                <c:pt idx="33">
                  <c:v>0.5776105362182502</c:v>
                </c:pt>
                <c:pt idx="34">
                  <c:v>0.5657407407407408</c:v>
                </c:pt>
                <c:pt idx="35">
                  <c:v>0.5585585585585585</c:v>
                </c:pt>
                <c:pt idx="36">
                  <c:v>0.5260416666666666</c:v>
                </c:pt>
                <c:pt idx="37">
                  <c:v>0.5356234096692112</c:v>
                </c:pt>
                <c:pt idx="38">
                  <c:v>0.5111402359108781</c:v>
                </c:pt>
                <c:pt idx="39">
                  <c:v>0.4666666666666667</c:v>
                </c:pt>
                <c:pt idx="40">
                  <c:v>0.4843137254901961</c:v>
                </c:pt>
                <c:pt idx="41">
                  <c:v>0.46929316338354576</c:v>
                </c:pt>
                <c:pt idx="42">
                  <c:v>0.4568014705882353</c:v>
                </c:pt>
                <c:pt idx="43">
                  <c:v>0.4509466437177281</c:v>
                </c:pt>
                <c:pt idx="44">
                  <c:v>0.42898792169929195</c:v>
                </c:pt>
                <c:pt idx="45">
                  <c:v>0.434715821812596</c:v>
                </c:pt>
                <c:pt idx="46">
                  <c:v>0.4622980251346499</c:v>
                </c:pt>
                <c:pt idx="47">
                  <c:v>0.45026881720430106</c:v>
                </c:pt>
                <c:pt idx="48">
                  <c:v>0.43421482206986617</c:v>
                </c:pt>
                <c:pt idx="49">
                  <c:v>0.46521635190054983</c:v>
                </c:pt>
                <c:pt idx="50">
                  <c:v>0.4481500781657113</c:v>
                </c:pt>
                <c:pt idx="51">
                  <c:v>0.4417989417989418</c:v>
                </c:pt>
                <c:pt idx="52">
                  <c:v>0.45440494590417313</c:v>
                </c:pt>
                <c:pt idx="53">
                  <c:v>0.46168958742632615</c:v>
                </c:pt>
                <c:pt idx="54">
                  <c:v>0.46381578947368424</c:v>
                </c:pt>
                <c:pt idx="55">
                  <c:v>0.47172995780590715</c:v>
                </c:pt>
                <c:pt idx="56">
                  <c:v>0.47871333964049195</c:v>
                </c:pt>
                <c:pt idx="57">
                  <c:v>0.4691689008042895</c:v>
                </c:pt>
                <c:pt idx="58">
                  <c:v>0.47202216066481995</c:v>
                </c:pt>
                <c:pt idx="59">
                  <c:v>0.5047110552763819</c:v>
                </c:pt>
                <c:pt idx="60">
                  <c:v>0.48381024096385544</c:v>
                </c:pt>
                <c:pt idx="61">
                  <c:v>0.4450909090909091</c:v>
                </c:pt>
                <c:pt idx="62">
                  <c:v>0.5482600131319764</c:v>
                </c:pt>
                <c:pt idx="63">
                  <c:v>0.5454545454545454</c:v>
                </c:pt>
                <c:pt idx="64">
                  <c:v>0.46035805626598464</c:v>
                </c:pt>
                <c:pt idx="65">
                  <c:v>0.45316070068545317</c:v>
                </c:pt>
                <c:pt idx="66">
                  <c:v>0.4641255605381166</c:v>
                </c:pt>
                <c:pt idx="67">
                  <c:v>0.4466095089633671</c:v>
                </c:pt>
                <c:pt idx="68">
                  <c:v>0.42515592515592515</c:v>
                </c:pt>
                <c:pt idx="69">
                  <c:v>0.4031620553359684</c:v>
                </c:pt>
                <c:pt idx="70">
                  <c:v>0.3912543153049482</c:v>
                </c:pt>
                <c:pt idx="71">
                  <c:v>0.4040660736975858</c:v>
                </c:pt>
                <c:pt idx="72">
                  <c:v>0.39539748953974896</c:v>
                </c:pt>
                <c:pt idx="73">
                  <c:v>0.4305717619603267</c:v>
                </c:pt>
                <c:pt idx="74">
                  <c:v>0.43052837573385516</c:v>
                </c:pt>
                <c:pt idx="75">
                  <c:v>0.4380630630630631</c:v>
                </c:pt>
                <c:pt idx="76">
                  <c:v>0.4337194337194337</c:v>
                </c:pt>
                <c:pt idx="77">
                  <c:v>0.43988684582743987</c:v>
                </c:pt>
                <c:pt idx="78">
                  <c:v>0.4331395348837209</c:v>
                </c:pt>
                <c:pt idx="79">
                  <c:v>0.4078282828282828</c:v>
                </c:pt>
                <c:pt idx="80">
                  <c:v>0.39227166276346603</c:v>
                </c:pt>
                <c:pt idx="81">
                  <c:v>0.41444114737883286</c:v>
                </c:pt>
                <c:pt idx="82">
                  <c:v>0.42450142450142453</c:v>
                </c:pt>
                <c:pt idx="83">
                  <c:v>0.4281098546042003</c:v>
                </c:pt>
                <c:pt idx="84">
                  <c:v>0.4155844155844156</c:v>
                </c:pt>
                <c:pt idx="85">
                  <c:v>0.4311050477489768</c:v>
                </c:pt>
                <c:pt idx="86">
                  <c:v>0.44273127753303965</c:v>
                </c:pt>
                <c:pt idx="87">
                  <c:v>0.4348302300109529</c:v>
                </c:pt>
                <c:pt idx="88">
                  <c:v>0.445095168374817</c:v>
                </c:pt>
                <c:pt idx="89">
                  <c:v>0.4664804469273743</c:v>
                </c:pt>
                <c:pt idx="90">
                  <c:v>0.41151685393258425</c:v>
                </c:pt>
                <c:pt idx="91">
                  <c:v>0.3825214899713467</c:v>
                </c:pt>
                <c:pt idx="92">
                  <c:v>0.37418655097613884</c:v>
                </c:pt>
                <c:pt idx="93">
                  <c:v>0.37254901960784315</c:v>
                </c:pt>
                <c:pt idx="94">
                  <c:v>0.3656480505795574</c:v>
                </c:pt>
                <c:pt idx="95">
                  <c:v>0.355397951142632</c:v>
                </c:pt>
                <c:pt idx="96">
                  <c:v>0.3859410430839002</c:v>
                </c:pt>
                <c:pt idx="97">
                  <c:v>0.4194560669456067</c:v>
                </c:pt>
                <c:pt idx="98">
                  <c:v>0.43336560180703454</c:v>
                </c:pt>
                <c:pt idx="99">
                  <c:v>0.43410625183445845</c:v>
                </c:pt>
                <c:pt idx="100">
                  <c:v>0.43906903765690375</c:v>
                </c:pt>
                <c:pt idx="101">
                  <c:v>0.4372945044621888</c:v>
                </c:pt>
                <c:pt idx="102">
                  <c:v>0.4284750337381916</c:v>
                </c:pt>
                <c:pt idx="103">
                  <c:v>0.3968622893666473</c:v>
                </c:pt>
                <c:pt idx="104">
                  <c:v>0.4120100083402835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44.1277</c:v>
                </c:pt>
                <c:pt idx="1">
                  <c:v>1321.7893</c:v>
                </c:pt>
                <c:pt idx="2">
                  <c:v>1313.506</c:v>
                </c:pt>
                <c:pt idx="3">
                  <c:v>1287.936</c:v>
                </c:pt>
                <c:pt idx="4">
                  <c:v>1354.2091</c:v>
                </c:pt>
                <c:pt idx="5">
                  <c:v>1284.5628</c:v>
                </c:pt>
                <c:pt idx="6">
                  <c:v>1131.6513</c:v>
                </c:pt>
                <c:pt idx="7">
                  <c:v>1171.4629</c:v>
                </c:pt>
                <c:pt idx="8">
                  <c:v>1229.2245</c:v>
                </c:pt>
                <c:pt idx="9">
                  <c:v>1174.1084</c:v>
                </c:pt>
                <c:pt idx="10">
                  <c:v>1228.1533</c:v>
                </c:pt>
                <c:pt idx="11">
                  <c:v>1029.2289</c:v>
                </c:pt>
                <c:pt idx="12">
                  <c:v>1100.6176</c:v>
                </c:pt>
                <c:pt idx="13">
                  <c:v>1192.2597</c:v>
                </c:pt>
                <c:pt idx="14">
                  <c:v>1121.101</c:v>
                </c:pt>
                <c:pt idx="15">
                  <c:v>1184.3304</c:v>
                </c:pt>
                <c:pt idx="16">
                  <c:v>1208.2331</c:v>
                </c:pt>
                <c:pt idx="17">
                  <c:v>1193.9619</c:v>
                </c:pt>
                <c:pt idx="18">
                  <c:v>1108.3593</c:v>
                </c:pt>
                <c:pt idx="19">
                  <c:v>1259.5134</c:v>
                </c:pt>
                <c:pt idx="20">
                  <c:v>1329.7684</c:v>
                </c:pt>
                <c:pt idx="21">
                  <c:v>1261.3583</c:v>
                </c:pt>
                <c:pt idx="22">
                  <c:v>1265.2958</c:v>
                </c:pt>
                <c:pt idx="23">
                  <c:v>1265.7893</c:v>
                </c:pt>
                <c:pt idx="24">
                  <c:v>1265.2</c:v>
                </c:pt>
                <c:pt idx="25">
                  <c:v>1219.0581</c:v>
                </c:pt>
                <c:pt idx="26">
                  <c:v>1209.5176</c:v>
                </c:pt>
                <c:pt idx="27">
                  <c:v>1219.4869</c:v>
                </c:pt>
                <c:pt idx="28">
                  <c:v>1230.8375</c:v>
                </c:pt>
                <c:pt idx="29">
                  <c:v>1246.1223</c:v>
                </c:pt>
                <c:pt idx="30">
                  <c:v>1239.2662</c:v>
                </c:pt>
                <c:pt idx="31">
                  <c:v>1247.0754</c:v>
                </c:pt>
                <c:pt idx="32">
                  <c:v>1254.7725</c:v>
                </c:pt>
                <c:pt idx="33">
                  <c:v>1209.3449</c:v>
                </c:pt>
                <c:pt idx="34">
                  <c:v>1215.2529</c:v>
                </c:pt>
                <c:pt idx="35">
                  <c:v>1271.9795</c:v>
                </c:pt>
                <c:pt idx="36">
                  <c:v>1349.8208</c:v>
                </c:pt>
                <c:pt idx="37">
                  <c:v>1353.2754</c:v>
                </c:pt>
                <c:pt idx="38">
                  <c:v>1351.8243</c:v>
                </c:pt>
                <c:pt idx="39">
                  <c:v>1295.632</c:v>
                </c:pt>
                <c:pt idx="40">
                  <c:v>1307.9914</c:v>
                </c:pt>
                <c:pt idx="41">
                  <c:v>1363.7155</c:v>
                </c:pt>
                <c:pt idx="42">
                  <c:v>1343.1915</c:v>
                </c:pt>
                <c:pt idx="43">
                  <c:v>1371.9693</c:v>
                </c:pt>
                <c:pt idx="44">
                  <c:v>1273.4681</c:v>
                </c:pt>
                <c:pt idx="45">
                  <c:v>1201.0153</c:v>
                </c:pt>
                <c:pt idx="46">
                  <c:v>1180.8407</c:v>
                </c:pt>
                <c:pt idx="47">
                  <c:v>1158.28</c:v>
                </c:pt>
                <c:pt idx="48">
                  <c:v>1166.0392</c:v>
                </c:pt>
                <c:pt idx="49">
                  <c:v>1171.2375</c:v>
                </c:pt>
                <c:pt idx="50">
                  <c:v>1128.1384</c:v>
                </c:pt>
                <c:pt idx="51">
                  <c:v>1092.5459</c:v>
                </c:pt>
              </c:numCache>
            </c:numRef>
          </c:xVal>
          <c:yVal>
            <c:numRef>
              <c:f>Sheet1!$B$109:$B$160</c:f>
              <c:numCache>
                <c:formatCode>General</c:formatCode>
                <c:ptCount val="52"/>
                <c:pt idx="0">
                  <c:v>0.3941299790356394</c:v>
                </c:pt>
                <c:pt idx="1">
                  <c:v>0.3893229166666667</c:v>
                </c:pt>
                <c:pt idx="2">
                  <c:v>0.40662323561346364</c:v>
                </c:pt>
                <c:pt idx="3">
                  <c:v>0.43936731107205623</c:v>
                </c:pt>
                <c:pt idx="4">
                  <c:v>0.4105642256902761</c:v>
                </c:pt>
                <c:pt idx="5">
                  <c:v>0.40757238307349664</c:v>
                </c:pt>
                <c:pt idx="6">
                  <c:v>0.43657042869641294</c:v>
                </c:pt>
                <c:pt idx="7">
                  <c:v>0.43289224952741023</c:v>
                </c:pt>
                <c:pt idx="8">
                  <c:v>0.44813278008298757</c:v>
                </c:pt>
                <c:pt idx="9">
                  <c:v>0.47293447293447294</c:v>
                </c:pt>
                <c:pt idx="10">
                  <c:v>0.43109869646182497</c:v>
                </c:pt>
                <c:pt idx="11">
                  <c:v>0.46571072319201995</c:v>
                </c:pt>
                <c:pt idx="12">
                  <c:v>0.48398576512455516</c:v>
                </c:pt>
                <c:pt idx="13">
                  <c:v>0.47339449541284406</c:v>
                </c:pt>
                <c:pt idx="14">
                  <c:v>0.5028735632183908</c:v>
                </c:pt>
                <c:pt idx="15">
                  <c:v>0.46715328467153283</c:v>
                </c:pt>
                <c:pt idx="16">
                  <c:v>0.4661214953271028</c:v>
                </c:pt>
                <c:pt idx="17">
                  <c:v>0.46204620462046203</c:v>
                </c:pt>
                <c:pt idx="18">
                  <c:v>0.4795180722891566</c:v>
                </c:pt>
                <c:pt idx="19">
                  <c:v>0.45454545454545453</c:v>
                </c:pt>
                <c:pt idx="20">
                  <c:v>0.4272863568215892</c:v>
                </c:pt>
                <c:pt idx="21">
                  <c:v>0.4588910133843212</c:v>
                </c:pt>
                <c:pt idx="22">
                  <c:v>0.44609665427509293</c:v>
                </c:pt>
                <c:pt idx="23">
                  <c:v>0.44403669724770645</c:v>
                </c:pt>
                <c:pt idx="24">
                  <c:v>0.4635258358662614</c:v>
                </c:pt>
                <c:pt idx="25">
                  <c:v>0.4417808219178082</c:v>
                </c:pt>
                <c:pt idx="26">
                  <c:v>0.4329268292682927</c:v>
                </c:pt>
                <c:pt idx="27">
                  <c:v>0.4510035419126328</c:v>
                </c:pt>
                <c:pt idx="28">
                  <c:v>0.45158002038735984</c:v>
                </c:pt>
                <c:pt idx="29">
                  <c:v>0.4412171507607192</c:v>
                </c:pt>
                <c:pt idx="30">
                  <c:v>0.4375</c:v>
                </c:pt>
                <c:pt idx="31">
                  <c:v>0.3992146596858639</c:v>
                </c:pt>
                <c:pt idx="32">
                  <c:v>0.42663656884875845</c:v>
                </c:pt>
                <c:pt idx="33">
                  <c:v>0.43738140417457305</c:v>
                </c:pt>
                <c:pt idx="34">
                  <c:v>0.44854881266490765</c:v>
                </c:pt>
                <c:pt idx="35">
                  <c:v>0.4371794871794872</c:v>
                </c:pt>
                <c:pt idx="36">
                  <c:v>0.41379310344827586</c:v>
                </c:pt>
                <c:pt idx="37">
                  <c:v>0.44089456869009586</c:v>
                </c:pt>
                <c:pt idx="38">
                  <c:v>0.4539877300613497</c:v>
                </c:pt>
                <c:pt idx="39">
                  <c:v>0.4534461910519952</c:v>
                </c:pt>
                <c:pt idx="40">
                  <c:v>0.4609271523178808</c:v>
                </c:pt>
                <c:pt idx="41">
                  <c:v>0.4142857142857143</c:v>
                </c:pt>
                <c:pt idx="42">
                  <c:v>0.46143057503506313</c:v>
                </c:pt>
                <c:pt idx="43">
                  <c:v>0.441207075962539</c:v>
                </c:pt>
                <c:pt idx="44">
                  <c:v>0.4317241379310345</c:v>
                </c:pt>
                <c:pt idx="45">
                  <c:v>0.4333648393194707</c:v>
                </c:pt>
                <c:pt idx="46">
                  <c:v>0.44359255202628695</c:v>
                </c:pt>
                <c:pt idx="47">
                  <c:v>0.45080213903743316</c:v>
                </c:pt>
                <c:pt idx="48">
                  <c:v>0.407673860911271</c:v>
                </c:pt>
                <c:pt idx="49">
                  <c:v>0.43322859387274154</c:v>
                </c:pt>
                <c:pt idx="50">
                  <c:v>0.42664526484751203</c:v>
                </c:pt>
                <c:pt idx="51">
                  <c:v>0.4217311233885819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56.83361839791687</c:v>
                </c:pt>
              </c:numCache>
            </c:numRef>
          </c:xVal>
          <c:yVal>
            <c:numRef>
              <c:f>Sheet1!$B$163:$B$164</c:f>
              <c:numCache>
                <c:formatCode>General</c:formatCode>
                <c:ptCount val="2"/>
                <c:pt idx="0">
                  <c:v>0.6159118756528082</c:v>
                </c:pt>
                <c:pt idx="1">
                  <c:v>0.615911875652808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56.83361839791687</c:v>
                </c:pt>
                <c:pt idx="1">
                  <c:v>-156.83361839791687</c:v>
                </c:pt>
              </c:numCache>
            </c:numRef>
          </c:xVal>
          <c:yVal>
            <c:numRef>
              <c:f>Sheet1!$B$167:$B$168</c:f>
              <c:numCache>
                <c:formatCode>General</c:formatCode>
                <c:ptCount val="2"/>
                <c:pt idx="0">
                  <c:v>0.61591187565280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8.4242515663748</c:v>
                </c:pt>
              </c:numCache>
            </c:numRef>
          </c:xVal>
          <c:yVal>
            <c:numRef>
              <c:f>Sheet1!$B$171:$B$172</c:f>
              <c:numCache>
                <c:formatCode>General</c:formatCode>
                <c:ptCount val="2"/>
                <c:pt idx="0">
                  <c:v>0.46504304600028673</c:v>
                </c:pt>
                <c:pt idx="1">
                  <c:v>0.465043046000286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8.4242515663748</c:v>
                </c:pt>
                <c:pt idx="1">
                  <c:v>1048.4242515663748</c:v>
                </c:pt>
              </c:numCache>
            </c:numRef>
          </c:xVal>
          <c:yVal>
            <c:numRef>
              <c:f>Sheet1!$B$175:$B$176</c:f>
              <c:numCache>
                <c:formatCode>General</c:formatCode>
                <c:ptCount val="2"/>
                <c:pt idx="0">
                  <c:v>0.465043046000286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3.032102634778</c:v>
                </c:pt>
              </c:numCache>
            </c:numRef>
          </c:xVal>
          <c:yVal>
            <c:numRef>
              <c:f>Sheet1!$B$179:$B$180</c:f>
              <c:numCache>
                <c:formatCode>General</c:formatCode>
                <c:ptCount val="2"/>
                <c:pt idx="0">
                  <c:v>0.43692763230673265</c:v>
                </c:pt>
                <c:pt idx="1">
                  <c:v>0.436927632306732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3.032102634778</c:v>
                </c:pt>
                <c:pt idx="1">
                  <c:v>1273.032102634778</c:v>
                </c:pt>
              </c:numCache>
            </c:numRef>
          </c:xVal>
          <c:yVal>
            <c:numRef>
              <c:f>Sheet1!$B$183:$B$184</c:f>
              <c:numCache>
                <c:formatCode>General</c:formatCode>
                <c:ptCount val="2"/>
                <c:pt idx="0">
                  <c:v>0.436927632306732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44.1277</c:v>
                </c:pt>
                <c:pt idx="1">
                  <c:v>1321.7893</c:v>
                </c:pt>
                <c:pt idx="2">
                  <c:v>1313.506</c:v>
                </c:pt>
                <c:pt idx="3">
                  <c:v>1287.936</c:v>
                </c:pt>
                <c:pt idx="4">
                  <c:v>1354.2091</c:v>
                </c:pt>
                <c:pt idx="5">
                  <c:v>1284.5628</c:v>
                </c:pt>
                <c:pt idx="6">
                  <c:v>1131.6513</c:v>
                </c:pt>
                <c:pt idx="7">
                  <c:v>1171.4629</c:v>
                </c:pt>
                <c:pt idx="8">
                  <c:v>1229.2245</c:v>
                </c:pt>
                <c:pt idx="9">
                  <c:v>1174.1084</c:v>
                </c:pt>
                <c:pt idx="10">
                  <c:v>1228.1533</c:v>
                </c:pt>
                <c:pt idx="11">
                  <c:v>1029.2289</c:v>
                </c:pt>
                <c:pt idx="12">
                  <c:v>1100.6176</c:v>
                </c:pt>
                <c:pt idx="13">
                  <c:v>1192.2597</c:v>
                </c:pt>
                <c:pt idx="14">
                  <c:v>1121.101</c:v>
                </c:pt>
                <c:pt idx="15">
                  <c:v>1184.3304</c:v>
                </c:pt>
                <c:pt idx="16">
                  <c:v>1208.2331</c:v>
                </c:pt>
                <c:pt idx="17">
                  <c:v>1193.9619</c:v>
                </c:pt>
                <c:pt idx="18">
                  <c:v>1108.3593</c:v>
                </c:pt>
                <c:pt idx="19">
                  <c:v>1259.5134</c:v>
                </c:pt>
                <c:pt idx="20">
                  <c:v>1329.7684</c:v>
                </c:pt>
                <c:pt idx="21">
                  <c:v>1261.3583</c:v>
                </c:pt>
                <c:pt idx="22">
                  <c:v>1265.2958</c:v>
                </c:pt>
                <c:pt idx="23">
                  <c:v>1265.7893</c:v>
                </c:pt>
                <c:pt idx="24">
                  <c:v>1265.2</c:v>
                </c:pt>
                <c:pt idx="25">
                  <c:v>1219.0581</c:v>
                </c:pt>
                <c:pt idx="26">
                  <c:v>1209.5176</c:v>
                </c:pt>
                <c:pt idx="27">
                  <c:v>1219.4869</c:v>
                </c:pt>
                <c:pt idx="28">
                  <c:v>1230.8375</c:v>
                </c:pt>
                <c:pt idx="29">
                  <c:v>1246.1223</c:v>
                </c:pt>
                <c:pt idx="30">
                  <c:v>1239.2662</c:v>
                </c:pt>
                <c:pt idx="31">
                  <c:v>1247.0754</c:v>
                </c:pt>
                <c:pt idx="32">
                  <c:v>1254.7725</c:v>
                </c:pt>
                <c:pt idx="33">
                  <c:v>1209.3449</c:v>
                </c:pt>
                <c:pt idx="34">
                  <c:v>1215.2529</c:v>
                </c:pt>
                <c:pt idx="35">
                  <c:v>1271.9795</c:v>
                </c:pt>
                <c:pt idx="36">
                  <c:v>1349.8208</c:v>
                </c:pt>
                <c:pt idx="37">
                  <c:v>1353.2754</c:v>
                </c:pt>
                <c:pt idx="38">
                  <c:v>1351.8243</c:v>
                </c:pt>
                <c:pt idx="39">
                  <c:v>1295.632</c:v>
                </c:pt>
                <c:pt idx="40">
                  <c:v>1307.9914</c:v>
                </c:pt>
                <c:pt idx="41">
                  <c:v>1363.7155</c:v>
                </c:pt>
                <c:pt idx="42">
                  <c:v>1343.1915</c:v>
                </c:pt>
                <c:pt idx="43">
                  <c:v>1371.9693</c:v>
                </c:pt>
                <c:pt idx="44">
                  <c:v>1273.4681</c:v>
                </c:pt>
                <c:pt idx="45">
                  <c:v>1201.0153</c:v>
                </c:pt>
                <c:pt idx="46">
                  <c:v>1180.8407</c:v>
                </c:pt>
                <c:pt idx="47">
                  <c:v>1158.28</c:v>
                </c:pt>
                <c:pt idx="48">
                  <c:v>1166.0392</c:v>
                </c:pt>
                <c:pt idx="49">
                  <c:v>1171.2375</c:v>
                </c:pt>
                <c:pt idx="50">
                  <c:v>1128.1384</c:v>
                </c:pt>
                <c:pt idx="51">
                  <c:v>1092.5459</c:v>
                </c:pt>
                <c:pt idx="52">
                  <c:v>1048.4242515663748</c:v>
                </c:pt>
                <c:pt idx="53">
                  <c:v>-156.83361839791687</c:v>
                </c:pt>
                <c:pt idx="54">
                  <c:v>1273.032102634778</c:v>
                </c:pt>
              </c:numCache>
            </c:numRef>
          </c:xVal>
          <c:yVal>
            <c:numRef>
              <c:f>Sheet1!$B$187:$B$241</c:f>
              <c:numCache>
                <c:formatCode>General</c:formatCode>
                <c:ptCount val="55"/>
                <c:pt idx="0">
                  <c:v>0.4280282010437319</c:v>
                </c:pt>
                <c:pt idx="1">
                  <c:v>0.43082442278871813</c:v>
                </c:pt>
                <c:pt idx="2">
                  <c:v>0.431861289510607</c:v>
                </c:pt>
                <c:pt idx="3">
                  <c:v>0.43506202859752896</c:v>
                </c:pt>
                <c:pt idx="4">
                  <c:v>0.4267662561461607</c:v>
                </c:pt>
                <c:pt idx="5">
                  <c:v>0.4354842707988589</c:v>
                </c:pt>
                <c:pt idx="6">
                  <c:v>0.454625053547778</c:v>
                </c:pt>
                <c:pt idx="7">
                  <c:v>0.4496416141956896</c:v>
                </c:pt>
                <c:pt idx="8">
                  <c:v>0.44241127352916043</c:v>
                </c:pt>
                <c:pt idx="9">
                  <c:v>0.44931046224987603</c:v>
                </c:pt>
                <c:pt idx="10">
                  <c:v>0.44254536158977487</c:v>
                </c:pt>
                <c:pt idx="11">
                  <c:v>0.4674458348953084</c:v>
                </c:pt>
                <c:pt idx="12">
                  <c:v>0.4585097143456587</c:v>
                </c:pt>
                <c:pt idx="13">
                  <c:v>0.44703836309506784</c:v>
                </c:pt>
                <c:pt idx="14">
                  <c:v>0.4559456932657581</c:v>
                </c:pt>
                <c:pt idx="15">
                  <c:v>0.4480309176684714</c:v>
                </c:pt>
                <c:pt idx="16">
                  <c:v>0.44503888379389306</c:v>
                </c:pt>
                <c:pt idx="17">
                  <c:v>0.44682528925565607</c:v>
                </c:pt>
                <c:pt idx="18">
                  <c:v>0.4575406427074411</c:v>
                </c:pt>
                <c:pt idx="19">
                  <c:v>0.43861984348888394</c:v>
                </c:pt>
                <c:pt idx="20">
                  <c:v>0.42982563447239197</c:v>
                </c:pt>
                <c:pt idx="21">
                  <c:v>0.4383889070969613</c:v>
                </c:pt>
                <c:pt idx="22">
                  <c:v>0.4378960283267323</c:v>
                </c:pt>
                <c:pt idx="23">
                  <c:v>0.4378342541875303</c:v>
                </c:pt>
                <c:pt idx="24">
                  <c:v>0.4379080201454467</c:v>
                </c:pt>
                <c:pt idx="25">
                  <c:v>0.4436838583493905</c:v>
                </c:pt>
                <c:pt idx="26">
                  <c:v>0.4448780957861828</c:v>
                </c:pt>
                <c:pt idx="27">
                  <c:v>0.4436301830689653</c:v>
                </c:pt>
                <c:pt idx="28">
                  <c:v>0.4422093653497625</c:v>
                </c:pt>
                <c:pt idx="29">
                  <c:v>0.440296081939681</c:v>
                </c:pt>
                <c:pt idx="30">
                  <c:v>0.44115429810134876</c:v>
                </c:pt>
                <c:pt idx="31">
                  <c:v>0.44017677711278447</c:v>
                </c:pt>
                <c:pt idx="32">
                  <c:v>0.43921328830457373</c:v>
                </c:pt>
                <c:pt idx="33">
                  <c:v>0.4448997136055145</c:v>
                </c:pt>
                <c:pt idx="34">
                  <c:v>0.4441601763929398</c:v>
                </c:pt>
                <c:pt idx="35">
                  <c:v>0.43705939243172803</c:v>
                </c:pt>
                <c:pt idx="36">
                  <c:v>0.42731556405915017</c:v>
                </c:pt>
                <c:pt idx="37">
                  <c:v>0.42688313256717986</c:v>
                </c:pt>
                <c:pt idx="38">
                  <c:v>0.4270647748233016</c:v>
                </c:pt>
                <c:pt idx="39">
                  <c:v>0.434098677482435</c:v>
                </c:pt>
                <c:pt idx="40">
                  <c:v>0.43255158265760507</c:v>
                </c:pt>
                <c:pt idx="41">
                  <c:v>0.42557628719598806</c:v>
                </c:pt>
                <c:pt idx="42">
                  <c:v>0.42814539040365274</c:v>
                </c:pt>
                <c:pt idx="43">
                  <c:v>0.4245431131531396</c:v>
                </c:pt>
                <c:pt idx="44">
                  <c:v>0.43687305609208027</c:v>
                </c:pt>
                <c:pt idx="45">
                  <c:v>0.4459423759558635</c:v>
                </c:pt>
                <c:pt idx="46">
                  <c:v>0.44846774282262203</c:v>
                </c:pt>
                <c:pt idx="47">
                  <c:v>0.45129179109475026</c:v>
                </c:pt>
                <c:pt idx="48">
                  <c:v>0.4503205288842206</c:v>
                </c:pt>
                <c:pt idx="49">
                  <c:v>0.4496698287670698</c:v>
                </c:pt>
                <c:pt idx="50">
                  <c:v>0.45506478277493667</c:v>
                </c:pt>
                <c:pt idx="51">
                  <c:v>0.4595200939189049</c:v>
                </c:pt>
                <c:pt idx="52">
                  <c:v>0.46504304600028673</c:v>
                </c:pt>
                <c:pt idx="53">
                  <c:v>0.6159118756528082</c:v>
                </c:pt>
                <c:pt idx="54">
                  <c:v>0.436927632306732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77179080824089"/>
          <c:min val="0.2843183609141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362705200058631</c:v>
                </c:pt>
                <c:pt idx="1">
                  <c:v>0.7583330607859615</c:v>
                </c:pt>
                <c:pt idx="2">
                  <c:v>0.8144050798256105</c:v>
                </c:pt>
                <c:pt idx="3">
                  <c:v>0.8158800763941854</c:v>
                </c:pt>
                <c:pt idx="4">
                  <c:v>0.7851276168912843</c:v>
                </c:pt>
                <c:pt idx="5">
                  <c:v>0.8260190426780896</c:v>
                </c:pt>
                <c:pt idx="6">
                  <c:v>0.846977589953835</c:v>
                </c:pt>
                <c:pt idx="7">
                  <c:v>0.8065913699019938</c:v>
                </c:pt>
                <c:pt idx="8">
                  <c:v>0.8161519396962428</c:v>
                </c:pt>
                <c:pt idx="9">
                  <c:v>0.8715583836873417</c:v>
                </c:pt>
                <c:pt idx="10">
                  <c:v>0.8653463989519542</c:v>
                </c:pt>
                <c:pt idx="11">
                  <c:v>0.8418794708066293</c:v>
                </c:pt>
                <c:pt idx="12">
                  <c:v>0.8707550003253585</c:v>
                </c:pt>
                <c:pt idx="13">
                  <c:v>0.8535157002787863</c:v>
                </c:pt>
                <c:pt idx="14">
                  <c:v>0.8597756854333811</c:v>
                </c:pt>
                <c:pt idx="15">
                  <c:v>0.8530206659009504</c:v>
                </c:pt>
                <c:pt idx="16">
                  <c:v>0.8777360972445909</c:v>
                </c:pt>
                <c:pt idx="17">
                  <c:v>0.9151287154080546</c:v>
                </c:pt>
                <c:pt idx="18">
                  <c:v>0.9428596144411511</c:v>
                </c:pt>
                <c:pt idx="19">
                  <c:v>0.9252363237960292</c:v>
                </c:pt>
                <c:pt idx="20">
                  <c:v>0.9080100795163679</c:v>
                </c:pt>
                <c:pt idx="21">
                  <c:v>0.7775483755816871</c:v>
                </c:pt>
                <c:pt idx="22">
                  <c:v>0.7519091014304545</c:v>
                </c:pt>
                <c:pt idx="23">
                  <c:v>0.7705619556312934</c:v>
                </c:pt>
                <c:pt idx="24">
                  <c:v>0.6864795643937744</c:v>
                </c:pt>
                <c:pt idx="25">
                  <c:v>0.6941749935984851</c:v>
                </c:pt>
                <c:pt idx="26">
                  <c:v>0.7079346349618618</c:v>
                </c:pt>
                <c:pt idx="27">
                  <c:v>0.651263497500163</c:v>
                </c:pt>
                <c:pt idx="28">
                  <c:v>0.6234502530590359</c:v>
                </c:pt>
                <c:pt idx="29">
                  <c:v>0.611553260526418</c:v>
                </c:pt>
                <c:pt idx="30">
                  <c:v>0.6124604942580096</c:v>
                </c:pt>
                <c:pt idx="31">
                  <c:v>0.6671918451084581</c:v>
                </c:pt>
                <c:pt idx="32">
                  <c:v>0.7037453811908798</c:v>
                </c:pt>
                <c:pt idx="33">
                  <c:v>0.6892164016021037</c:v>
                </c:pt>
                <c:pt idx="34">
                  <c:v>0.7391719456769964</c:v>
                </c:pt>
                <c:pt idx="35">
                  <c:v>0.8130730835412016</c:v>
                </c:pt>
                <c:pt idx="36">
                  <c:v>0.9325692300989094</c:v>
                </c:pt>
                <c:pt idx="37">
                  <c:v>0.9917091574338334</c:v>
                </c:pt>
                <c:pt idx="38">
                  <c:v>1.0253314814583803</c:v>
                </c:pt>
                <c:pt idx="39">
                  <c:v>0.9612126294157656</c:v>
                </c:pt>
                <c:pt idx="40">
                  <c:v>0.9141841843410089</c:v>
                </c:pt>
                <c:pt idx="41">
                  <c:v>0.8962898643115832</c:v>
                </c:pt>
                <c:pt idx="42">
                  <c:v>0.8836879496288748</c:v>
                </c:pt>
                <c:pt idx="43">
                  <c:v>0.8878274904823009</c:v>
                </c:pt>
                <c:pt idx="44">
                  <c:v>0.808334837683055</c:v>
                </c:pt>
                <c:pt idx="45">
                  <c:v>0.7927509498294975</c:v>
                </c:pt>
                <c:pt idx="46">
                  <c:v>0.7929843251429443</c:v>
                </c:pt>
                <c:pt idx="47">
                  <c:v>0.8085366919862742</c:v>
                </c:pt>
                <c:pt idx="48">
                  <c:v>0.7951197684575998</c:v>
                </c:pt>
                <c:pt idx="49">
                  <c:v>0.7669569775248871</c:v>
                </c:pt>
                <c:pt idx="50">
                  <c:v>0.7651732976937401</c:v>
                </c:pt>
                <c:pt idx="51">
                  <c:v>0.7839766031855774</c:v>
                </c:pt>
                <c:pt idx="52">
                  <c:v>0.7684867869287552</c:v>
                </c:pt>
                <c:pt idx="53">
                  <c:v>0.8052489585918208</c:v>
                </c:pt>
                <c:pt idx="54">
                  <c:v>0.8264075673324104</c:v>
                </c:pt>
                <c:pt idx="55">
                  <c:v>0.8666705592513599</c:v>
                </c:pt>
                <c:pt idx="56">
                  <c:v>0.8411846892848763</c:v>
                </c:pt>
                <c:pt idx="57">
                  <c:v>0.8617331043064728</c:v>
                </c:pt>
                <c:pt idx="58">
                  <c:v>0.8151797377387461</c:v>
                </c:pt>
                <c:pt idx="59">
                  <c:v>0.8189593614959727</c:v>
                </c:pt>
                <c:pt idx="60">
                  <c:v>0.8090673267916074</c:v>
                </c:pt>
                <c:pt idx="61">
                  <c:v>0.8381023234999097</c:v>
                </c:pt>
                <c:pt idx="62">
                  <c:v>0.897042528051547</c:v>
                </c:pt>
                <c:pt idx="63">
                  <c:v>0.8841737619800547</c:v>
                </c:pt>
                <c:pt idx="64">
                  <c:v>0.8914066608590137</c:v>
                </c:pt>
                <c:pt idx="65">
                  <c:v>0.8573079343601241</c:v>
                </c:pt>
                <c:pt idx="66">
                  <c:v>0.835928241903845</c:v>
                </c:pt>
                <c:pt idx="67">
                  <c:v>0.9362139919541228</c:v>
                </c:pt>
                <c:pt idx="68">
                  <c:v>0.9848161914061108</c:v>
                </c:pt>
                <c:pt idx="69">
                  <c:v>0.9753261788751517</c:v>
                </c:pt>
                <c:pt idx="70">
                  <c:v>0.9754479409158577</c:v>
                </c:pt>
                <c:pt idx="71">
                  <c:v>0.9221158044290757</c:v>
                </c:pt>
                <c:pt idx="72">
                  <c:v>1.1155898605450731</c:v>
                </c:pt>
                <c:pt idx="73">
                  <c:v>0.900508852354575</c:v>
                </c:pt>
                <c:pt idx="74">
                  <c:v>0.8426499690264213</c:v>
                </c:pt>
                <c:pt idx="75">
                  <c:v>0.810259504781049</c:v>
                </c:pt>
                <c:pt idx="76">
                  <c:v>0.8359835148802649</c:v>
                </c:pt>
                <c:pt idx="77">
                  <c:v>0.8672019524393213</c:v>
                </c:pt>
                <c:pt idx="78">
                  <c:v>0.8588095918839583</c:v>
                </c:pt>
                <c:pt idx="79">
                  <c:v>0.871842813294806</c:v>
                </c:pt>
                <c:pt idx="80">
                  <c:v>0.9569147061208769</c:v>
                </c:pt>
                <c:pt idx="81">
                  <c:v>0.9579023512809168</c:v>
                </c:pt>
                <c:pt idx="82">
                  <c:v>0.9219192372151798</c:v>
                </c:pt>
                <c:pt idx="83">
                  <c:v>0.9510050678737637</c:v>
                </c:pt>
                <c:pt idx="84">
                  <c:v>0.9604759958857557</c:v>
                </c:pt>
                <c:pt idx="85">
                  <c:v>0.9379426723374729</c:v>
                </c:pt>
                <c:pt idx="86">
                  <c:v>0.9055731205442225</c:v>
                </c:pt>
                <c:pt idx="87">
                  <c:v>0.8669288581011587</c:v>
                </c:pt>
                <c:pt idx="88">
                  <c:v>0.8136266315381437</c:v>
                </c:pt>
                <c:pt idx="89">
                  <c:v>0.7608472490688759</c:v>
                </c:pt>
                <c:pt idx="90">
                  <c:v>0.8167737598804644</c:v>
                </c:pt>
                <c:pt idx="91">
                  <c:v>0.8522390457442176</c:v>
                </c:pt>
                <c:pt idx="92">
                  <c:v>0.8474755338162722</c:v>
                </c:pt>
                <c:pt idx="93">
                  <c:v>0.8298231748458833</c:v>
                </c:pt>
                <c:pt idx="94">
                  <c:v>0.8218292879332716</c:v>
                </c:pt>
                <c:pt idx="95">
                  <c:v>0.8583055558287858</c:v>
                </c:pt>
                <c:pt idx="96">
                  <c:v>0.8590249227631351</c:v>
                </c:pt>
                <c:pt idx="97">
                  <c:v>0.9026295944592904</c:v>
                </c:pt>
                <c:pt idx="98">
                  <c:v>0.8918136093414424</c:v>
                </c:pt>
                <c:pt idx="99">
                  <c:v>0.8762125732168441</c:v>
                </c:pt>
                <c:pt idx="100">
                  <c:v>0.8611681698766364</c:v>
                </c:pt>
                <c:pt idx="101">
                  <c:v>0.8203987297936608</c:v>
                </c:pt>
                <c:pt idx="102">
                  <c:v>0.8485915236186797</c:v>
                </c:pt>
                <c:pt idx="103">
                  <c:v>0.690176318730012</c:v>
                </c:pt>
                <c:pt idx="104">
                  <c:v>0.8036084807800437</c:v>
                </c:pt>
              </c:numCache>
            </c:numRef>
          </c:xVal>
          <c:yVal>
            <c:numRef>
              <c:f>Sheet1!$B$2:$B$106</c:f>
              <c:numCache>
                <c:formatCode>General</c:formatCode>
                <c:ptCount val="105"/>
                <c:pt idx="0">
                  <c:v>0.10051880674448768</c:v>
                </c:pt>
                <c:pt idx="1">
                  <c:v>0.10864393338620143</c:v>
                </c:pt>
                <c:pt idx="2">
                  <c:v>0.08795562599049128</c:v>
                </c:pt>
                <c:pt idx="3">
                  <c:v>0.11505922165820642</c:v>
                </c:pt>
                <c:pt idx="4">
                  <c:v>0.12571428571428572</c:v>
                </c:pt>
                <c:pt idx="5">
                  <c:v>0.1126331811263318</c:v>
                </c:pt>
                <c:pt idx="6">
                  <c:v>0.10950570342205324</c:v>
                </c:pt>
                <c:pt idx="7">
                  <c:v>0.10739030023094688</c:v>
                </c:pt>
                <c:pt idx="8">
                  <c:v>0.09630606860158311</c:v>
                </c:pt>
                <c:pt idx="9">
                  <c:v>0.06136900078678206</c:v>
                </c:pt>
                <c:pt idx="10">
                  <c:v>0.07724957555178268</c:v>
                </c:pt>
                <c:pt idx="11">
                  <c:v>0.0937178166838311</c:v>
                </c:pt>
                <c:pt idx="12">
                  <c:v>0.09424603174603174</c:v>
                </c:pt>
                <c:pt idx="13">
                  <c:v>0.09457092819614711</c:v>
                </c:pt>
                <c:pt idx="14">
                  <c:v>0.1114012184508268</c:v>
                </c:pt>
                <c:pt idx="15">
                  <c:v>0.10683760683760683</c:v>
                </c:pt>
                <c:pt idx="16">
                  <c:v>0.1063321385902031</c:v>
                </c:pt>
                <c:pt idx="17">
                  <c:v>0.09375</c:v>
                </c:pt>
                <c:pt idx="18">
                  <c:v>0.09168704156479218</c:v>
                </c:pt>
                <c:pt idx="19">
                  <c:v>0.07794117647058824</c:v>
                </c:pt>
                <c:pt idx="20">
                  <c:v>0.08312020460358056</c:v>
                </c:pt>
                <c:pt idx="21">
                  <c:v>0.0856610800744879</c:v>
                </c:pt>
                <c:pt idx="22">
                  <c:v>0.0794392523364486</c:v>
                </c:pt>
                <c:pt idx="23">
                  <c:v>0.08305084745762711</c:v>
                </c:pt>
                <c:pt idx="24">
                  <c:v>0.08405797101449275</c:v>
                </c:pt>
                <c:pt idx="25">
                  <c:v>0.08387096774193549</c:v>
                </c:pt>
                <c:pt idx="26">
                  <c:v>0.08163265306122448</c:v>
                </c:pt>
                <c:pt idx="27">
                  <c:v>0.089728453364817</c:v>
                </c:pt>
                <c:pt idx="28">
                  <c:v>0.10411622276029056</c:v>
                </c:pt>
                <c:pt idx="29">
                  <c:v>0.12312633832976445</c:v>
                </c:pt>
                <c:pt idx="30">
                  <c:v>0.07493188010899182</c:v>
                </c:pt>
                <c:pt idx="31">
                  <c:v>0.06692406692406692</c:v>
                </c:pt>
                <c:pt idx="32">
                  <c:v>0.05867665418227216</c:v>
                </c:pt>
                <c:pt idx="33">
                  <c:v>0.07243650047036689</c:v>
                </c:pt>
                <c:pt idx="34">
                  <c:v>0.05740740740740741</c:v>
                </c:pt>
                <c:pt idx="35">
                  <c:v>0.055055055055055056</c:v>
                </c:pt>
                <c:pt idx="36">
                  <c:v>0.044270833333333336</c:v>
                </c:pt>
                <c:pt idx="37">
                  <c:v>0.03689567430025445</c:v>
                </c:pt>
                <c:pt idx="38">
                  <c:v>0.04325032765399738</c:v>
                </c:pt>
                <c:pt idx="39">
                  <c:v>0.08095238095238096</c:v>
                </c:pt>
                <c:pt idx="40">
                  <c:v>0.07647058823529412</c:v>
                </c:pt>
                <c:pt idx="41">
                  <c:v>0.08111239860950174</c:v>
                </c:pt>
                <c:pt idx="42">
                  <c:v>0.07904411764705882</c:v>
                </c:pt>
                <c:pt idx="43">
                  <c:v>0.08175559380378658</c:v>
                </c:pt>
                <c:pt idx="44">
                  <c:v>0.1116201582673886</c:v>
                </c:pt>
                <c:pt idx="45">
                  <c:v>0.13517665130568357</c:v>
                </c:pt>
                <c:pt idx="46">
                  <c:v>0.12836624775583483</c:v>
                </c:pt>
                <c:pt idx="47">
                  <c:v>0.1267921146953405</c:v>
                </c:pt>
                <c:pt idx="48">
                  <c:v>0.14854717597126998</c:v>
                </c:pt>
                <c:pt idx="49">
                  <c:v>0.17379870906048292</c:v>
                </c:pt>
                <c:pt idx="50">
                  <c:v>0.15476810838978636</c:v>
                </c:pt>
                <c:pt idx="51">
                  <c:v>0.11838624338624339</c:v>
                </c:pt>
                <c:pt idx="52">
                  <c:v>0.12210200927357033</c:v>
                </c:pt>
                <c:pt idx="53">
                  <c:v>0.09954158480681075</c:v>
                </c:pt>
                <c:pt idx="54">
                  <c:v>0.08305921052631579</c:v>
                </c:pt>
                <c:pt idx="55">
                  <c:v>0.08438818565400844</c:v>
                </c:pt>
                <c:pt idx="56">
                  <c:v>0.09366130558183539</c:v>
                </c:pt>
                <c:pt idx="57">
                  <c:v>0.08847184986595175</c:v>
                </c:pt>
                <c:pt idx="58">
                  <c:v>0.10914127423822714</c:v>
                </c:pt>
                <c:pt idx="59">
                  <c:v>0.11871859296482412</c:v>
                </c:pt>
                <c:pt idx="60">
                  <c:v>0.1592620481927711</c:v>
                </c:pt>
                <c:pt idx="61">
                  <c:v>0.2029090909090909</c:v>
                </c:pt>
                <c:pt idx="62">
                  <c:v>0.15036112934996718</c:v>
                </c:pt>
                <c:pt idx="63">
                  <c:v>0.14819427148194272</c:v>
                </c:pt>
                <c:pt idx="64">
                  <c:v>0.11828644501278772</c:v>
                </c:pt>
                <c:pt idx="65">
                  <c:v>0.10662604722010663</c:v>
                </c:pt>
                <c:pt idx="66">
                  <c:v>0.10612855007473841</c:v>
                </c:pt>
                <c:pt idx="67">
                  <c:v>0.09820732657833203</c:v>
                </c:pt>
                <c:pt idx="68">
                  <c:v>0.08004158004158005</c:v>
                </c:pt>
                <c:pt idx="69">
                  <c:v>0.07246376811594203</c:v>
                </c:pt>
                <c:pt idx="70">
                  <c:v>0.0713463751438435</c:v>
                </c:pt>
                <c:pt idx="71">
                  <c:v>0.08259212198221093</c:v>
                </c:pt>
                <c:pt idx="72">
                  <c:v>0.07845188284518828</c:v>
                </c:pt>
                <c:pt idx="73">
                  <c:v>0.09101516919486581</c:v>
                </c:pt>
                <c:pt idx="74">
                  <c:v>0.09295499021526418</c:v>
                </c:pt>
                <c:pt idx="75">
                  <c:v>0.08671171171171171</c:v>
                </c:pt>
                <c:pt idx="76">
                  <c:v>0.09137709137709138</c:v>
                </c:pt>
                <c:pt idx="77">
                  <c:v>0.0891089108910891</c:v>
                </c:pt>
                <c:pt idx="78">
                  <c:v>0.09447674418604651</c:v>
                </c:pt>
                <c:pt idx="79">
                  <c:v>0.07323232323232323</c:v>
                </c:pt>
                <c:pt idx="80">
                  <c:v>0.06557377049180328</c:v>
                </c:pt>
                <c:pt idx="81">
                  <c:v>0.06528189910979229</c:v>
                </c:pt>
                <c:pt idx="82">
                  <c:v>0.06552706552706553</c:v>
                </c:pt>
                <c:pt idx="83">
                  <c:v>0.0630048465266559</c:v>
                </c:pt>
                <c:pt idx="84">
                  <c:v>0.05519480519480519</c:v>
                </c:pt>
                <c:pt idx="85">
                  <c:v>0.058663028649386086</c:v>
                </c:pt>
                <c:pt idx="86">
                  <c:v>0.0671806167400881</c:v>
                </c:pt>
                <c:pt idx="87">
                  <c:v>0.07776560788608981</c:v>
                </c:pt>
                <c:pt idx="88">
                  <c:v>0.07320644216691069</c:v>
                </c:pt>
                <c:pt idx="89">
                  <c:v>0.09217877094972067</c:v>
                </c:pt>
                <c:pt idx="90">
                  <c:v>0.08426966292134831</c:v>
                </c:pt>
                <c:pt idx="91">
                  <c:v>0.08882521489971347</c:v>
                </c:pt>
                <c:pt idx="92">
                  <c:v>0.09219088937093275</c:v>
                </c:pt>
                <c:pt idx="93">
                  <c:v>0.08403361344537816</c:v>
                </c:pt>
                <c:pt idx="94">
                  <c:v>0.08851422550052687</c:v>
                </c:pt>
                <c:pt idx="95">
                  <c:v>0.09219858156028368</c:v>
                </c:pt>
                <c:pt idx="96">
                  <c:v>0.09115646258503401</c:v>
                </c:pt>
                <c:pt idx="97">
                  <c:v>0.11122733612273361</c:v>
                </c:pt>
                <c:pt idx="98">
                  <c:v>0.10616327847692804</c:v>
                </c:pt>
                <c:pt idx="99">
                  <c:v>0.11124156149104784</c:v>
                </c:pt>
                <c:pt idx="100">
                  <c:v>0.11532426778242678</c:v>
                </c:pt>
                <c:pt idx="101">
                  <c:v>0.12541099107562237</c:v>
                </c:pt>
                <c:pt idx="102">
                  <c:v>0.09986504723346828</c:v>
                </c:pt>
                <c:pt idx="103">
                  <c:v>0.14352120859965137</c:v>
                </c:pt>
                <c:pt idx="104">
                  <c:v>0.1034195162635529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17076569449601</c:v>
                </c:pt>
                <c:pt idx="1">
                  <c:v>0.6289247179203681</c:v>
                </c:pt>
                <c:pt idx="2">
                  <c:v>0.6228211260763219</c:v>
                </c:pt>
                <c:pt idx="3">
                  <c:v>0.6174614907616459</c:v>
                </c:pt>
                <c:pt idx="4">
                  <c:v>0.6096191005248656</c:v>
                </c:pt>
                <c:pt idx="5">
                  <c:v>0.6414762017269653</c:v>
                </c:pt>
                <c:pt idx="6">
                  <c:v>0.7307748620935401</c:v>
                </c:pt>
                <c:pt idx="7">
                  <c:v>0.8087921912918383</c:v>
                </c:pt>
                <c:pt idx="8">
                  <c:v>0.9132349386101959</c:v>
                </c:pt>
                <c:pt idx="9">
                  <c:v>0.9300063799542757</c:v>
                </c:pt>
                <c:pt idx="10">
                  <c:v>0.9269524787664731</c:v>
                </c:pt>
                <c:pt idx="11">
                  <c:v>0.9333184849078351</c:v>
                </c:pt>
                <c:pt idx="12">
                  <c:v>0.9546814813614226</c:v>
                </c:pt>
                <c:pt idx="13">
                  <c:v>0.9441491126281922</c:v>
                </c:pt>
                <c:pt idx="14">
                  <c:v>0.8627884195797906</c:v>
                </c:pt>
                <c:pt idx="15">
                  <c:v>0.8923679661457987</c:v>
                </c:pt>
                <c:pt idx="16">
                  <c:v>0.9213887523367142</c:v>
                </c:pt>
                <c:pt idx="17">
                  <c:v>0.9096335241307516</c:v>
                </c:pt>
                <c:pt idx="18">
                  <c:v>1.0113902435698876</c:v>
                </c:pt>
                <c:pt idx="19">
                  <c:v>0.8468357763539015</c:v>
                </c:pt>
                <c:pt idx="20">
                  <c:v>0.8743875572050075</c:v>
                </c:pt>
                <c:pt idx="21">
                  <c:v>0.8404104192045525</c:v>
                </c:pt>
                <c:pt idx="22">
                  <c:v>0.8214222394432319</c:v>
                </c:pt>
                <c:pt idx="23">
                  <c:v>0.8208192141318505</c:v>
                </c:pt>
                <c:pt idx="24">
                  <c:v>0.7829878536316051</c:v>
                </c:pt>
                <c:pt idx="25">
                  <c:v>0.8301445854360467</c:v>
                </c:pt>
                <c:pt idx="26">
                  <c:v>0.8366950897718785</c:v>
                </c:pt>
                <c:pt idx="27">
                  <c:v>0.8579436988610061</c:v>
                </c:pt>
                <c:pt idx="28">
                  <c:v>0.8102599928405093</c:v>
                </c:pt>
                <c:pt idx="29">
                  <c:v>0.7525312479927052</c:v>
                </c:pt>
                <c:pt idx="30">
                  <c:v>0.763026225556985</c:v>
                </c:pt>
                <c:pt idx="31">
                  <c:v>0.7692718632806578</c:v>
                </c:pt>
                <c:pt idx="32">
                  <c:v>0.7623979735557256</c:v>
                </c:pt>
                <c:pt idx="33">
                  <c:v>0.7615887830798564</c:v>
                </c:pt>
                <c:pt idx="34">
                  <c:v>0.742984359523544</c:v>
                </c:pt>
                <c:pt idx="35">
                  <c:v>0.7198432539681116</c:v>
                </c:pt>
                <c:pt idx="36">
                  <c:v>0.6662662918476872</c:v>
                </c:pt>
                <c:pt idx="37">
                  <c:v>0.837260286408996</c:v>
                </c:pt>
                <c:pt idx="38">
                  <c:v>0.8618572374189607</c:v>
                </c:pt>
                <c:pt idx="39">
                  <c:v>0.9130066891948233</c:v>
                </c:pt>
                <c:pt idx="40">
                  <c:v>0.9370439147395833</c:v>
                </c:pt>
                <c:pt idx="41">
                  <c:v>0.9539754313003509</c:v>
                </c:pt>
                <c:pt idx="42">
                  <c:v>0.9114068018386133</c:v>
                </c:pt>
                <c:pt idx="43">
                  <c:v>0.9769035948891003</c:v>
                </c:pt>
                <c:pt idx="44">
                  <c:v>0.947108577284757</c:v>
                </c:pt>
                <c:pt idx="45">
                  <c:v>0.9041923987358995</c:v>
                </c:pt>
                <c:pt idx="46">
                  <c:v>0.8767885540156398</c:v>
                </c:pt>
                <c:pt idx="47">
                  <c:v>0.9234609124641072</c:v>
                </c:pt>
                <c:pt idx="48">
                  <c:v>0.9854072256587257</c:v>
                </c:pt>
                <c:pt idx="49">
                  <c:v>0.968684809427079</c:v>
                </c:pt>
                <c:pt idx="50">
                  <c:v>0.8190723770833023</c:v>
                </c:pt>
                <c:pt idx="51">
                  <c:v>0.8491412919545055</c:v>
                </c:pt>
              </c:numCache>
            </c:numRef>
          </c:xVal>
          <c:yVal>
            <c:numRef>
              <c:f>Sheet1!$B$109:$B$160</c:f>
              <c:numCache>
                <c:formatCode>General</c:formatCode>
                <c:ptCount val="52"/>
                <c:pt idx="0">
                  <c:v>0.12858141160027953</c:v>
                </c:pt>
                <c:pt idx="1">
                  <c:v>0.201171875</c:v>
                </c:pt>
                <c:pt idx="2">
                  <c:v>0.1965255157437568</c:v>
                </c:pt>
                <c:pt idx="3">
                  <c:v>0.18570591681312243</c:v>
                </c:pt>
                <c:pt idx="4">
                  <c:v>0.1908763505402161</c:v>
                </c:pt>
                <c:pt idx="5">
                  <c:v>0.17761692650334077</c:v>
                </c:pt>
                <c:pt idx="6">
                  <c:v>0.13167104111986003</c:v>
                </c:pt>
                <c:pt idx="7">
                  <c:v>0.11405166981726528</c:v>
                </c:pt>
                <c:pt idx="8">
                  <c:v>0.0954356846473029</c:v>
                </c:pt>
                <c:pt idx="9">
                  <c:v>0.08831908831908832</c:v>
                </c:pt>
                <c:pt idx="10">
                  <c:v>0.08379888268156424</c:v>
                </c:pt>
                <c:pt idx="11">
                  <c:v>0.08291770573566085</c:v>
                </c:pt>
                <c:pt idx="12">
                  <c:v>0.07384341637010676</c:v>
                </c:pt>
                <c:pt idx="13">
                  <c:v>0.0834862385321101</c:v>
                </c:pt>
                <c:pt idx="14">
                  <c:v>0.09195402298850575</c:v>
                </c:pt>
                <c:pt idx="15">
                  <c:v>0.08759124087591241</c:v>
                </c:pt>
                <c:pt idx="16">
                  <c:v>0.07359813084112149</c:v>
                </c:pt>
                <c:pt idx="17">
                  <c:v>0.09130913091309131</c:v>
                </c:pt>
                <c:pt idx="18">
                  <c:v>0.06746987951807229</c:v>
                </c:pt>
                <c:pt idx="19">
                  <c:v>0.09226594301221167</c:v>
                </c:pt>
                <c:pt idx="20">
                  <c:v>0.09295352323838081</c:v>
                </c:pt>
                <c:pt idx="21">
                  <c:v>0.09177820267686425</c:v>
                </c:pt>
                <c:pt idx="22">
                  <c:v>0.09665427509293681</c:v>
                </c:pt>
                <c:pt idx="23">
                  <c:v>0.08807339449541285</c:v>
                </c:pt>
                <c:pt idx="24">
                  <c:v>0.08206686930091185</c:v>
                </c:pt>
                <c:pt idx="25">
                  <c:v>0.0839041095890411</c:v>
                </c:pt>
                <c:pt idx="26">
                  <c:v>0.10213414634146341</c:v>
                </c:pt>
                <c:pt idx="27">
                  <c:v>0.1038961038961039</c:v>
                </c:pt>
                <c:pt idx="28">
                  <c:v>0.10499490316004077</c:v>
                </c:pt>
                <c:pt idx="29">
                  <c:v>0.11894882434301521</c:v>
                </c:pt>
                <c:pt idx="30">
                  <c:v>0.11079545454545454</c:v>
                </c:pt>
                <c:pt idx="31">
                  <c:v>0.11518324607329843</c:v>
                </c:pt>
                <c:pt idx="32">
                  <c:v>0.12302483069977427</c:v>
                </c:pt>
                <c:pt idx="33">
                  <c:v>0.1204933586337761</c:v>
                </c:pt>
                <c:pt idx="34">
                  <c:v>0.13544415127528583</c:v>
                </c:pt>
                <c:pt idx="35">
                  <c:v>0.1358974358974359</c:v>
                </c:pt>
                <c:pt idx="36">
                  <c:v>0.15172413793103448</c:v>
                </c:pt>
                <c:pt idx="37">
                  <c:v>0.07667731629392971</c:v>
                </c:pt>
                <c:pt idx="38">
                  <c:v>0.10122699386503067</c:v>
                </c:pt>
                <c:pt idx="39">
                  <c:v>0.09915356711003627</c:v>
                </c:pt>
                <c:pt idx="40">
                  <c:v>0.09403973509933775</c:v>
                </c:pt>
                <c:pt idx="41">
                  <c:v>0.10595238095238095</c:v>
                </c:pt>
                <c:pt idx="42">
                  <c:v>0.1093969144460028</c:v>
                </c:pt>
                <c:pt idx="43">
                  <c:v>0.11446409989594172</c:v>
                </c:pt>
                <c:pt idx="44">
                  <c:v>0.10344827586206896</c:v>
                </c:pt>
                <c:pt idx="45">
                  <c:v>0.09782608695652174</c:v>
                </c:pt>
                <c:pt idx="46">
                  <c:v>0.08981380065717415</c:v>
                </c:pt>
                <c:pt idx="47">
                  <c:v>0.08342245989304813</c:v>
                </c:pt>
                <c:pt idx="48">
                  <c:v>0.07873701039168665</c:v>
                </c:pt>
                <c:pt idx="49">
                  <c:v>0.08208955223880597</c:v>
                </c:pt>
                <c:pt idx="50">
                  <c:v>0.12295345104333869</c:v>
                </c:pt>
                <c:pt idx="51">
                  <c:v>0.1215469613259668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994266578441912</c:v>
                </c:pt>
              </c:numCache>
            </c:numRef>
          </c:xVal>
          <c:yVal>
            <c:numRef>
              <c:f>Sheet1!$B$163:$B$164</c:f>
              <c:numCache>
                <c:formatCode>General</c:formatCode>
                <c:ptCount val="2"/>
                <c:pt idx="0">
                  <c:v>0.14568101191980298</c:v>
                </c:pt>
                <c:pt idx="1">
                  <c:v>0.145681011919802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994266578441912</c:v>
                </c:pt>
                <c:pt idx="1">
                  <c:v>0.6994266578441912</c:v>
                </c:pt>
              </c:numCache>
            </c:numRef>
          </c:xVal>
          <c:yVal>
            <c:numRef>
              <c:f>Sheet1!$B$167:$B$168</c:f>
              <c:numCache>
                <c:formatCode>General</c:formatCode>
                <c:ptCount val="2"/>
                <c:pt idx="0">
                  <c:v>0.145681011919802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531424756109165</c:v>
                </c:pt>
              </c:numCache>
            </c:numRef>
          </c:xVal>
          <c:yVal>
            <c:numRef>
              <c:f>Sheet1!$B$171:$B$172</c:f>
              <c:numCache>
                <c:formatCode>General</c:formatCode>
                <c:ptCount val="2"/>
                <c:pt idx="0">
                  <c:v>0.1579595990872382</c:v>
                </c:pt>
                <c:pt idx="1">
                  <c:v>0.15795959908723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531424756109165</c:v>
                </c:pt>
                <c:pt idx="1">
                  <c:v>0.6531424756109165</c:v>
                </c:pt>
              </c:numCache>
            </c:numRef>
          </c:xVal>
          <c:yVal>
            <c:numRef>
              <c:f>Sheet1!$B$175:$B$176</c:f>
              <c:numCache>
                <c:formatCode>General</c:formatCode>
                <c:ptCount val="2"/>
                <c:pt idx="0">
                  <c:v>0.15795959908723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707966732424295</c:v>
                </c:pt>
              </c:numCache>
            </c:numRef>
          </c:xVal>
          <c:yVal>
            <c:numRef>
              <c:f>Sheet1!$B$179:$B$180</c:f>
              <c:numCache>
                <c:formatCode>General</c:formatCode>
                <c:ptCount val="2"/>
                <c:pt idx="0">
                  <c:v>0.10021879199017773</c:v>
                </c:pt>
                <c:pt idx="1">
                  <c:v>0.1002187919901777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707966732424295</c:v>
                </c:pt>
                <c:pt idx="1">
                  <c:v>0.8707966732424295</c:v>
                </c:pt>
              </c:numCache>
            </c:numRef>
          </c:xVal>
          <c:yVal>
            <c:numRef>
              <c:f>Sheet1!$B$183:$B$184</c:f>
              <c:numCache>
                <c:formatCode>General</c:formatCode>
                <c:ptCount val="2"/>
                <c:pt idx="0">
                  <c:v>0.100218791990177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17076569449601</c:v>
                </c:pt>
                <c:pt idx="1">
                  <c:v>0.6289247179203681</c:v>
                </c:pt>
                <c:pt idx="2">
                  <c:v>0.6228211260763219</c:v>
                </c:pt>
                <c:pt idx="3">
                  <c:v>0.6174614907616459</c:v>
                </c:pt>
                <c:pt idx="4">
                  <c:v>0.6096191005248656</c:v>
                </c:pt>
                <c:pt idx="5">
                  <c:v>0.6414762017269653</c:v>
                </c:pt>
                <c:pt idx="6">
                  <c:v>0.7307748620935401</c:v>
                </c:pt>
                <c:pt idx="7">
                  <c:v>0.8087921912918383</c:v>
                </c:pt>
                <c:pt idx="8">
                  <c:v>0.9132349386101959</c:v>
                </c:pt>
                <c:pt idx="9">
                  <c:v>0.9300063799542757</c:v>
                </c:pt>
                <c:pt idx="10">
                  <c:v>0.9269524787664731</c:v>
                </c:pt>
                <c:pt idx="11">
                  <c:v>0.9333184849078351</c:v>
                </c:pt>
                <c:pt idx="12">
                  <c:v>0.9546814813614226</c:v>
                </c:pt>
                <c:pt idx="13">
                  <c:v>0.9441491126281922</c:v>
                </c:pt>
                <c:pt idx="14">
                  <c:v>0.8627884195797906</c:v>
                </c:pt>
                <c:pt idx="15">
                  <c:v>0.8923679661457987</c:v>
                </c:pt>
                <c:pt idx="16">
                  <c:v>0.9213887523367142</c:v>
                </c:pt>
                <c:pt idx="17">
                  <c:v>0.9096335241307516</c:v>
                </c:pt>
                <c:pt idx="18">
                  <c:v>1.0113902435698876</c:v>
                </c:pt>
                <c:pt idx="19">
                  <c:v>0.8468357763539015</c:v>
                </c:pt>
                <c:pt idx="20">
                  <c:v>0.8743875572050075</c:v>
                </c:pt>
                <c:pt idx="21">
                  <c:v>0.8404104192045525</c:v>
                </c:pt>
                <c:pt idx="22">
                  <c:v>0.8214222394432319</c:v>
                </c:pt>
                <c:pt idx="23">
                  <c:v>0.8208192141318505</c:v>
                </c:pt>
                <c:pt idx="24">
                  <c:v>0.7829878536316051</c:v>
                </c:pt>
                <c:pt idx="25">
                  <c:v>0.8301445854360467</c:v>
                </c:pt>
                <c:pt idx="26">
                  <c:v>0.8366950897718785</c:v>
                </c:pt>
                <c:pt idx="27">
                  <c:v>0.8579436988610061</c:v>
                </c:pt>
                <c:pt idx="28">
                  <c:v>0.8102599928405093</c:v>
                </c:pt>
                <c:pt idx="29">
                  <c:v>0.7525312479927052</c:v>
                </c:pt>
                <c:pt idx="30">
                  <c:v>0.763026225556985</c:v>
                </c:pt>
                <c:pt idx="31">
                  <c:v>0.7692718632806578</c:v>
                </c:pt>
                <c:pt idx="32">
                  <c:v>0.7623979735557256</c:v>
                </c:pt>
                <c:pt idx="33">
                  <c:v>0.7615887830798564</c:v>
                </c:pt>
                <c:pt idx="34">
                  <c:v>0.742984359523544</c:v>
                </c:pt>
                <c:pt idx="35">
                  <c:v>0.7198432539681116</c:v>
                </c:pt>
                <c:pt idx="36">
                  <c:v>0.6662662918476872</c:v>
                </c:pt>
                <c:pt idx="37">
                  <c:v>0.837260286408996</c:v>
                </c:pt>
                <c:pt idx="38">
                  <c:v>0.8618572374189607</c:v>
                </c:pt>
                <c:pt idx="39">
                  <c:v>0.9130066891948233</c:v>
                </c:pt>
                <c:pt idx="40">
                  <c:v>0.9370439147395833</c:v>
                </c:pt>
                <c:pt idx="41">
                  <c:v>0.9539754313003509</c:v>
                </c:pt>
                <c:pt idx="42">
                  <c:v>0.9114068018386133</c:v>
                </c:pt>
                <c:pt idx="43">
                  <c:v>0.9769035948891003</c:v>
                </c:pt>
                <c:pt idx="44">
                  <c:v>0.947108577284757</c:v>
                </c:pt>
                <c:pt idx="45">
                  <c:v>0.9041923987358995</c:v>
                </c:pt>
                <c:pt idx="46">
                  <c:v>0.8767885540156398</c:v>
                </c:pt>
                <c:pt idx="47">
                  <c:v>0.9234609124641072</c:v>
                </c:pt>
                <c:pt idx="48">
                  <c:v>0.9854072256587257</c:v>
                </c:pt>
                <c:pt idx="49">
                  <c:v>0.968684809427079</c:v>
                </c:pt>
                <c:pt idx="50">
                  <c:v>0.8190723770833023</c:v>
                </c:pt>
                <c:pt idx="51">
                  <c:v>0.8491412919545055</c:v>
                </c:pt>
                <c:pt idx="52">
                  <c:v>0.6531424756109165</c:v>
                </c:pt>
                <c:pt idx="53">
                  <c:v>0.6994266578441912</c:v>
                </c:pt>
                <c:pt idx="54">
                  <c:v>0.8707966732424295</c:v>
                </c:pt>
              </c:numCache>
            </c:numRef>
          </c:xVal>
          <c:yVal>
            <c:numRef>
              <c:f>Sheet1!$B$187:$B$241</c:f>
              <c:numCache>
                <c:formatCode>General</c:formatCode>
                <c:ptCount val="55"/>
                <c:pt idx="0">
                  <c:v>0.13446441679085602</c:v>
                </c:pt>
                <c:pt idx="1">
                  <c:v>0.16438425292047468</c:v>
                </c:pt>
                <c:pt idx="2">
                  <c:v>0.16600345587222717</c:v>
                </c:pt>
                <c:pt idx="3">
                  <c:v>0.16742529690347266</c:v>
                </c:pt>
                <c:pt idx="4">
                  <c:v>0.1695057802884448</c:v>
                </c:pt>
                <c:pt idx="5">
                  <c:v>0.1610545087062805</c:v>
                </c:pt>
                <c:pt idx="6">
                  <c:v>0.13736474403203475</c:v>
                </c:pt>
                <c:pt idx="7">
                  <c:v>0.11666776871758039</c:v>
                </c:pt>
                <c:pt idx="8">
                  <c:v>0.08896047618097563</c:v>
                </c:pt>
                <c:pt idx="9">
                  <c:v>0.08451123251866102</c:v>
                </c:pt>
                <c:pt idx="10">
                  <c:v>0.08532139249396703</c:v>
                </c:pt>
                <c:pt idx="11">
                  <c:v>0.08363257446708297</c:v>
                </c:pt>
                <c:pt idx="12">
                  <c:v>0.07796525138916965</c:v>
                </c:pt>
                <c:pt idx="13">
                  <c:v>0.0807593508272616</c:v>
                </c:pt>
                <c:pt idx="14">
                  <c:v>0.10234327676901764</c:v>
                </c:pt>
                <c:pt idx="15">
                  <c:v>0.094496210593074</c:v>
                </c:pt>
                <c:pt idx="16">
                  <c:v>0.0867973762242023</c:v>
                </c:pt>
                <c:pt idx="17">
                  <c:v>0.08991588425946445</c:v>
                </c:pt>
                <c:pt idx="18">
                  <c:v>0.06292115972898671</c:v>
                </c:pt>
                <c:pt idx="19">
                  <c:v>0.10657530401782694</c:v>
                </c:pt>
                <c:pt idx="20">
                  <c:v>0.09926617751985095</c:v>
                </c:pt>
                <c:pt idx="21">
                  <c:v>0.10827986708955961</c:v>
                </c:pt>
                <c:pt idx="22">
                  <c:v>0.11331718241200014</c:v>
                </c:pt>
                <c:pt idx="23">
                  <c:v>0.11347715712674497</c:v>
                </c:pt>
                <c:pt idx="24">
                  <c:v>0.12351332143064792</c:v>
                </c:pt>
                <c:pt idx="25">
                  <c:v>0.11100325829344218</c:v>
                </c:pt>
                <c:pt idx="26">
                  <c:v>0.10926549531271593</c:v>
                </c:pt>
                <c:pt idx="27">
                  <c:v>0.10362851770398027</c:v>
                </c:pt>
                <c:pt idx="28">
                  <c:v>0.11627838019670259</c:v>
                </c:pt>
                <c:pt idx="29">
                  <c:v>0.13159305988808967</c:v>
                </c:pt>
                <c:pt idx="30">
                  <c:v>0.12880887983725053</c:v>
                </c:pt>
                <c:pt idx="31">
                  <c:v>0.1271519939746068</c:v>
                </c:pt>
                <c:pt idx="32">
                  <c:v>0.12897554686231968</c:v>
                </c:pt>
                <c:pt idx="33">
                  <c:v>0.12919021449418885</c:v>
                </c:pt>
                <c:pt idx="34">
                  <c:v>0.1341257243231135</c:v>
                </c:pt>
                <c:pt idx="35">
                  <c:v>0.14026475645035552</c:v>
                </c:pt>
                <c:pt idx="36">
                  <c:v>0.1544780225775696</c:v>
                </c:pt>
                <c:pt idx="37">
                  <c:v>0.10911555604965167</c:v>
                </c:pt>
                <c:pt idx="38">
                  <c:v>0.10259030719666751</c:v>
                </c:pt>
                <c:pt idx="39">
                  <c:v>0.08902102776052917</c:v>
                </c:pt>
                <c:pt idx="40">
                  <c:v>0.08264426674037981</c:v>
                </c:pt>
                <c:pt idx="41">
                  <c:v>0.07815255722025788</c:v>
                </c:pt>
                <c:pt idx="42">
                  <c:v>0.08944545691566241</c:v>
                </c:pt>
                <c:pt idx="43">
                  <c:v>0.07207001580697825</c:v>
                </c:pt>
                <c:pt idx="44">
                  <c:v>0.07997424362645966</c:v>
                </c:pt>
                <c:pt idx="45">
                  <c:v>0.09135934354136155</c:v>
                </c:pt>
                <c:pt idx="46">
                  <c:v>0.09862922452196718</c:v>
                </c:pt>
                <c:pt idx="47">
                  <c:v>0.08624765929022163</c:v>
                </c:pt>
                <c:pt idx="48">
                  <c:v>0.06981411397169712</c:v>
                </c:pt>
                <c:pt idx="49">
                  <c:v>0.07425035191397178</c:v>
                </c:pt>
                <c:pt idx="50">
                  <c:v>0.11394057011003594</c:v>
                </c:pt>
                <c:pt idx="51">
                  <c:v>0.10596368093404376</c:v>
                </c:pt>
                <c:pt idx="52">
                  <c:v>0.1579595990872382</c:v>
                </c:pt>
                <c:pt idx="53">
                  <c:v>0.14568101191980298</c:v>
                </c:pt>
                <c:pt idx="54">
                  <c:v>0.100218791990177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349090909090906"/>
          <c:min val="0.02951653944020356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6.2194</c:v>
                </c:pt>
                <c:pt idx="1">
                  <c:v>883.4088</c:v>
                </c:pt>
                <c:pt idx="2">
                  <c:v>1002.4324</c:v>
                </c:pt>
                <c:pt idx="3">
                  <c:v>998.3971</c:v>
                </c:pt>
                <c:pt idx="4">
                  <c:v>958.7348</c:v>
                </c:pt>
                <c:pt idx="5">
                  <c:v>955.9392</c:v>
                </c:pt>
                <c:pt idx="6">
                  <c:v>912.3264</c:v>
                </c:pt>
                <c:pt idx="7">
                  <c:v>926.6237</c:v>
                </c:pt>
                <c:pt idx="8">
                  <c:v>946.4932</c:v>
                </c:pt>
                <c:pt idx="9">
                  <c:v>956.8205</c:v>
                </c:pt>
                <c:pt idx="10">
                  <c:v>919.2747</c:v>
                </c:pt>
                <c:pt idx="11">
                  <c:v>929.7253</c:v>
                </c:pt>
                <c:pt idx="12">
                  <c:v>960.7895</c:v>
                </c:pt>
                <c:pt idx="13">
                  <c:v>927.8611</c:v>
                </c:pt>
                <c:pt idx="14">
                  <c:v>946.3281</c:v>
                </c:pt>
                <c:pt idx="15">
                  <c:v>939.71</c:v>
                </c:pt>
                <c:pt idx="16">
                  <c:v>963.5506</c:v>
                </c:pt>
                <c:pt idx="17">
                  <c:v>990.087</c:v>
                </c:pt>
                <c:pt idx="18">
                  <c:v>1011.4667</c:v>
                </c:pt>
                <c:pt idx="19">
                  <c:v>1016.434</c:v>
                </c:pt>
                <c:pt idx="20">
                  <c:v>991.4</c:v>
                </c:pt>
                <c:pt idx="21">
                  <c:v>993.2609</c:v>
                </c:pt>
                <c:pt idx="22">
                  <c:v>1000.5098</c:v>
                </c:pt>
                <c:pt idx="23">
                  <c:v>1015.9592</c:v>
                </c:pt>
                <c:pt idx="24">
                  <c:v>930.3966</c:v>
                </c:pt>
                <c:pt idx="25">
                  <c:v>932.5769</c:v>
                </c:pt>
                <c:pt idx="26">
                  <c:v>948.5333</c:v>
                </c:pt>
                <c:pt idx="27">
                  <c:v>862.3421</c:v>
                </c:pt>
                <c:pt idx="28">
                  <c:v>825.9651</c:v>
                </c:pt>
                <c:pt idx="29">
                  <c:v>822.713</c:v>
                </c:pt>
                <c:pt idx="30">
                  <c:v>826.2364</c:v>
                </c:pt>
                <c:pt idx="31">
                  <c:v>895.1731</c:v>
                </c:pt>
                <c:pt idx="32">
                  <c:v>957.5957</c:v>
                </c:pt>
                <c:pt idx="33">
                  <c:v>922.974</c:v>
                </c:pt>
                <c:pt idx="34">
                  <c:v>933.6129</c:v>
                </c:pt>
                <c:pt idx="35">
                  <c:v>983.8364</c:v>
                </c:pt>
                <c:pt idx="36">
                  <c:v>1125.8235</c:v>
                </c:pt>
                <c:pt idx="37">
                  <c:v>1183.4828</c:v>
                </c:pt>
                <c:pt idx="38">
                  <c:v>1216.4545</c:v>
                </c:pt>
                <c:pt idx="39">
                  <c:v>1135.2941</c:v>
                </c:pt>
                <c:pt idx="40">
                  <c:v>1137.859</c:v>
                </c:pt>
                <c:pt idx="41">
                  <c:v>1141.6286</c:v>
                </c:pt>
                <c:pt idx="42">
                  <c:v>1141.9302</c:v>
                </c:pt>
                <c:pt idx="43">
                  <c:v>1149.0211</c:v>
                </c:pt>
                <c:pt idx="44">
                  <c:v>986.4515</c:v>
                </c:pt>
                <c:pt idx="45">
                  <c:v>946.9858</c:v>
                </c:pt>
                <c:pt idx="46">
                  <c:v>940.5664</c:v>
                </c:pt>
                <c:pt idx="47">
                  <c:v>931.2686</c:v>
                </c:pt>
                <c:pt idx="48">
                  <c:v>940.178</c:v>
                </c:pt>
                <c:pt idx="49">
                  <c:v>908.3728</c:v>
                </c:pt>
                <c:pt idx="50">
                  <c:v>891.7677</c:v>
                </c:pt>
                <c:pt idx="51">
                  <c:v>920.3128</c:v>
                </c:pt>
                <c:pt idx="52">
                  <c:v>916.4852</c:v>
                </c:pt>
                <c:pt idx="53">
                  <c:v>1059.8289</c:v>
                </c:pt>
                <c:pt idx="54">
                  <c:v>1110.8911</c:v>
                </c:pt>
                <c:pt idx="55">
                  <c:v>1119.17</c:v>
                </c:pt>
                <c:pt idx="56">
                  <c:v>1123.2626</c:v>
                </c:pt>
                <c:pt idx="57">
                  <c:v>1115.6818</c:v>
                </c:pt>
                <c:pt idx="58">
                  <c:v>1040.2335</c:v>
                </c:pt>
                <c:pt idx="59">
                  <c:v>1045.6243</c:v>
                </c:pt>
                <c:pt idx="60">
                  <c:v>1049.3333</c:v>
                </c:pt>
                <c:pt idx="61">
                  <c:v>1000.81</c:v>
                </c:pt>
                <c:pt idx="62">
                  <c:v>986.3406</c:v>
                </c:pt>
                <c:pt idx="63">
                  <c:v>969.2563</c:v>
                </c:pt>
                <c:pt idx="64">
                  <c:v>988.3622</c:v>
                </c:pt>
                <c:pt idx="65">
                  <c:v>967.6</c:v>
                </c:pt>
                <c:pt idx="66">
                  <c:v>953.2817</c:v>
                </c:pt>
                <c:pt idx="67">
                  <c:v>1043.6746</c:v>
                </c:pt>
                <c:pt idx="68">
                  <c:v>1105.4286</c:v>
                </c:pt>
                <c:pt idx="69">
                  <c:v>1101.3273</c:v>
                </c:pt>
                <c:pt idx="70">
                  <c:v>1092.5968</c:v>
                </c:pt>
                <c:pt idx="71">
                  <c:v>1183.5692</c:v>
                </c:pt>
                <c:pt idx="72">
                  <c:v>1199.9067</c:v>
                </c:pt>
                <c:pt idx="73">
                  <c:v>1162.4359</c:v>
                </c:pt>
                <c:pt idx="74">
                  <c:v>1129.8421</c:v>
                </c:pt>
                <c:pt idx="75">
                  <c:v>1093.8052</c:v>
                </c:pt>
                <c:pt idx="76">
                  <c:v>1122.507</c:v>
                </c:pt>
                <c:pt idx="77">
                  <c:v>1140.6825</c:v>
                </c:pt>
                <c:pt idx="78">
                  <c:v>1134.2154</c:v>
                </c:pt>
                <c:pt idx="79">
                  <c:v>1142.3793</c:v>
                </c:pt>
                <c:pt idx="80">
                  <c:v>1195.2857</c:v>
                </c:pt>
                <c:pt idx="81">
                  <c:v>1186.5</c:v>
                </c:pt>
                <c:pt idx="82">
                  <c:v>1163.2174</c:v>
                </c:pt>
                <c:pt idx="83">
                  <c:v>1196.1795</c:v>
                </c:pt>
                <c:pt idx="84">
                  <c:v>1179.6765</c:v>
                </c:pt>
                <c:pt idx="85">
                  <c:v>1174.3953</c:v>
                </c:pt>
                <c:pt idx="86">
                  <c:v>1137.5738</c:v>
                </c:pt>
                <c:pt idx="87">
                  <c:v>1097.8592</c:v>
                </c:pt>
                <c:pt idx="88">
                  <c:v>1121.26</c:v>
                </c:pt>
                <c:pt idx="89">
                  <c:v>1064.697</c:v>
                </c:pt>
                <c:pt idx="90">
                  <c:v>1133.9333</c:v>
                </c:pt>
                <c:pt idx="91">
                  <c:v>1157.5484</c:v>
                </c:pt>
                <c:pt idx="92">
                  <c:v>1116.2824</c:v>
                </c:pt>
                <c:pt idx="93">
                  <c:v>1138.3667</c:v>
                </c:pt>
                <c:pt idx="94">
                  <c:v>1129.2619</c:v>
                </c:pt>
                <c:pt idx="95">
                  <c:v>1143.094</c:v>
                </c:pt>
                <c:pt idx="96">
                  <c:v>1109.4428</c:v>
                </c:pt>
                <c:pt idx="97">
                  <c:v>1104.4295</c:v>
                </c:pt>
                <c:pt idx="98">
                  <c:v>1076.228</c:v>
                </c:pt>
                <c:pt idx="99">
                  <c:v>1038.3034</c:v>
                </c:pt>
                <c:pt idx="100">
                  <c:v>1070.0272</c:v>
                </c:pt>
                <c:pt idx="101">
                  <c:v>1070.6854</c:v>
                </c:pt>
                <c:pt idx="102">
                  <c:v>1117.1351</c:v>
                </c:pt>
                <c:pt idx="103">
                  <c:v>895.6073</c:v>
                </c:pt>
                <c:pt idx="104">
                  <c:v>1097.3629</c:v>
                </c:pt>
              </c:numCache>
            </c:numRef>
          </c:xVal>
          <c:yVal>
            <c:numRef>
              <c:f>Sheet1!$B$2:$B$106</c:f>
              <c:numCache>
                <c:formatCode>General</c:formatCode>
                <c:ptCount val="105"/>
                <c:pt idx="0">
                  <c:v>0.10051880674448768</c:v>
                </c:pt>
                <c:pt idx="1">
                  <c:v>0.10864393338620143</c:v>
                </c:pt>
                <c:pt idx="2">
                  <c:v>0.08795562599049128</c:v>
                </c:pt>
                <c:pt idx="3">
                  <c:v>0.11505922165820642</c:v>
                </c:pt>
                <c:pt idx="4">
                  <c:v>0.12571428571428572</c:v>
                </c:pt>
                <c:pt idx="5">
                  <c:v>0.1126331811263318</c:v>
                </c:pt>
                <c:pt idx="6">
                  <c:v>0.10950570342205324</c:v>
                </c:pt>
                <c:pt idx="7">
                  <c:v>0.10739030023094688</c:v>
                </c:pt>
                <c:pt idx="8">
                  <c:v>0.09630606860158311</c:v>
                </c:pt>
                <c:pt idx="9">
                  <c:v>0.06136900078678206</c:v>
                </c:pt>
                <c:pt idx="10">
                  <c:v>0.07724957555178268</c:v>
                </c:pt>
                <c:pt idx="11">
                  <c:v>0.0937178166838311</c:v>
                </c:pt>
                <c:pt idx="12">
                  <c:v>0.09424603174603174</c:v>
                </c:pt>
                <c:pt idx="13">
                  <c:v>0.09457092819614711</c:v>
                </c:pt>
                <c:pt idx="14">
                  <c:v>0.1114012184508268</c:v>
                </c:pt>
                <c:pt idx="15">
                  <c:v>0.10683760683760683</c:v>
                </c:pt>
                <c:pt idx="16">
                  <c:v>0.1063321385902031</c:v>
                </c:pt>
                <c:pt idx="17">
                  <c:v>0.09375</c:v>
                </c:pt>
                <c:pt idx="18">
                  <c:v>0.09168704156479218</c:v>
                </c:pt>
                <c:pt idx="19">
                  <c:v>0.07794117647058824</c:v>
                </c:pt>
                <c:pt idx="20">
                  <c:v>0.08312020460358056</c:v>
                </c:pt>
                <c:pt idx="21">
                  <c:v>0.0856610800744879</c:v>
                </c:pt>
                <c:pt idx="22">
                  <c:v>0.0794392523364486</c:v>
                </c:pt>
                <c:pt idx="23">
                  <c:v>0.08305084745762711</c:v>
                </c:pt>
                <c:pt idx="24">
                  <c:v>0.08405797101449275</c:v>
                </c:pt>
                <c:pt idx="25">
                  <c:v>0.08387096774193549</c:v>
                </c:pt>
                <c:pt idx="26">
                  <c:v>0.08163265306122448</c:v>
                </c:pt>
                <c:pt idx="27">
                  <c:v>0.089728453364817</c:v>
                </c:pt>
                <c:pt idx="28">
                  <c:v>0.10411622276029056</c:v>
                </c:pt>
                <c:pt idx="29">
                  <c:v>0.12312633832976445</c:v>
                </c:pt>
                <c:pt idx="30">
                  <c:v>0.07493188010899182</c:v>
                </c:pt>
                <c:pt idx="31">
                  <c:v>0.06692406692406692</c:v>
                </c:pt>
                <c:pt idx="32">
                  <c:v>0.05867665418227216</c:v>
                </c:pt>
                <c:pt idx="33">
                  <c:v>0.07243650047036689</c:v>
                </c:pt>
                <c:pt idx="34">
                  <c:v>0.05740740740740741</c:v>
                </c:pt>
                <c:pt idx="35">
                  <c:v>0.055055055055055056</c:v>
                </c:pt>
                <c:pt idx="36">
                  <c:v>0.044270833333333336</c:v>
                </c:pt>
                <c:pt idx="37">
                  <c:v>0.03689567430025445</c:v>
                </c:pt>
                <c:pt idx="38">
                  <c:v>0.04325032765399738</c:v>
                </c:pt>
                <c:pt idx="39">
                  <c:v>0.08095238095238096</c:v>
                </c:pt>
                <c:pt idx="40">
                  <c:v>0.07647058823529412</c:v>
                </c:pt>
                <c:pt idx="41">
                  <c:v>0.08111239860950174</c:v>
                </c:pt>
                <c:pt idx="42">
                  <c:v>0.07904411764705882</c:v>
                </c:pt>
                <c:pt idx="43">
                  <c:v>0.08175559380378658</c:v>
                </c:pt>
                <c:pt idx="44">
                  <c:v>0.1116201582673886</c:v>
                </c:pt>
                <c:pt idx="45">
                  <c:v>0.13517665130568357</c:v>
                </c:pt>
                <c:pt idx="46">
                  <c:v>0.12836624775583483</c:v>
                </c:pt>
                <c:pt idx="47">
                  <c:v>0.1267921146953405</c:v>
                </c:pt>
                <c:pt idx="48">
                  <c:v>0.14854717597126998</c:v>
                </c:pt>
                <c:pt idx="49">
                  <c:v>0.17379870906048292</c:v>
                </c:pt>
                <c:pt idx="50">
                  <c:v>0.15476810838978636</c:v>
                </c:pt>
                <c:pt idx="51">
                  <c:v>0.11838624338624339</c:v>
                </c:pt>
                <c:pt idx="52">
                  <c:v>0.12210200927357033</c:v>
                </c:pt>
                <c:pt idx="53">
                  <c:v>0.09954158480681075</c:v>
                </c:pt>
                <c:pt idx="54">
                  <c:v>0.08305921052631579</c:v>
                </c:pt>
                <c:pt idx="55">
                  <c:v>0.08438818565400844</c:v>
                </c:pt>
                <c:pt idx="56">
                  <c:v>0.09366130558183539</c:v>
                </c:pt>
                <c:pt idx="57">
                  <c:v>0.08847184986595175</c:v>
                </c:pt>
                <c:pt idx="58">
                  <c:v>0.10914127423822714</c:v>
                </c:pt>
                <c:pt idx="59">
                  <c:v>0.11871859296482412</c:v>
                </c:pt>
                <c:pt idx="60">
                  <c:v>0.1592620481927711</c:v>
                </c:pt>
                <c:pt idx="61">
                  <c:v>0.2029090909090909</c:v>
                </c:pt>
                <c:pt idx="62">
                  <c:v>0.15036112934996718</c:v>
                </c:pt>
                <c:pt idx="63">
                  <c:v>0.14819427148194272</c:v>
                </c:pt>
                <c:pt idx="64">
                  <c:v>0.11828644501278772</c:v>
                </c:pt>
                <c:pt idx="65">
                  <c:v>0.10662604722010663</c:v>
                </c:pt>
                <c:pt idx="66">
                  <c:v>0.10612855007473841</c:v>
                </c:pt>
                <c:pt idx="67">
                  <c:v>0.09820732657833203</c:v>
                </c:pt>
                <c:pt idx="68">
                  <c:v>0.08004158004158005</c:v>
                </c:pt>
                <c:pt idx="69">
                  <c:v>0.07246376811594203</c:v>
                </c:pt>
                <c:pt idx="70">
                  <c:v>0.0713463751438435</c:v>
                </c:pt>
                <c:pt idx="71">
                  <c:v>0.08259212198221093</c:v>
                </c:pt>
                <c:pt idx="72">
                  <c:v>0.07845188284518828</c:v>
                </c:pt>
                <c:pt idx="73">
                  <c:v>0.09101516919486581</c:v>
                </c:pt>
                <c:pt idx="74">
                  <c:v>0.09295499021526418</c:v>
                </c:pt>
                <c:pt idx="75">
                  <c:v>0.08671171171171171</c:v>
                </c:pt>
                <c:pt idx="76">
                  <c:v>0.09137709137709138</c:v>
                </c:pt>
                <c:pt idx="77">
                  <c:v>0.0891089108910891</c:v>
                </c:pt>
                <c:pt idx="78">
                  <c:v>0.09447674418604651</c:v>
                </c:pt>
                <c:pt idx="79">
                  <c:v>0.07323232323232323</c:v>
                </c:pt>
                <c:pt idx="80">
                  <c:v>0.06557377049180328</c:v>
                </c:pt>
                <c:pt idx="81">
                  <c:v>0.06528189910979229</c:v>
                </c:pt>
                <c:pt idx="82">
                  <c:v>0.06552706552706553</c:v>
                </c:pt>
                <c:pt idx="83">
                  <c:v>0.0630048465266559</c:v>
                </c:pt>
                <c:pt idx="84">
                  <c:v>0.05519480519480519</c:v>
                </c:pt>
                <c:pt idx="85">
                  <c:v>0.058663028649386086</c:v>
                </c:pt>
                <c:pt idx="86">
                  <c:v>0.0671806167400881</c:v>
                </c:pt>
                <c:pt idx="87">
                  <c:v>0.07776560788608981</c:v>
                </c:pt>
                <c:pt idx="88">
                  <c:v>0.07320644216691069</c:v>
                </c:pt>
                <c:pt idx="89">
                  <c:v>0.09217877094972067</c:v>
                </c:pt>
                <c:pt idx="90">
                  <c:v>0.08426966292134831</c:v>
                </c:pt>
                <c:pt idx="91">
                  <c:v>0.08882521489971347</c:v>
                </c:pt>
                <c:pt idx="92">
                  <c:v>0.09219088937093275</c:v>
                </c:pt>
                <c:pt idx="93">
                  <c:v>0.08403361344537816</c:v>
                </c:pt>
                <c:pt idx="94">
                  <c:v>0.08851422550052687</c:v>
                </c:pt>
                <c:pt idx="95">
                  <c:v>0.09219858156028368</c:v>
                </c:pt>
                <c:pt idx="96">
                  <c:v>0.09115646258503401</c:v>
                </c:pt>
                <c:pt idx="97">
                  <c:v>0.11122733612273361</c:v>
                </c:pt>
                <c:pt idx="98">
                  <c:v>0.10616327847692804</c:v>
                </c:pt>
                <c:pt idx="99">
                  <c:v>0.11124156149104784</c:v>
                </c:pt>
                <c:pt idx="100">
                  <c:v>0.11532426778242678</c:v>
                </c:pt>
                <c:pt idx="101">
                  <c:v>0.12541099107562237</c:v>
                </c:pt>
                <c:pt idx="102">
                  <c:v>0.09986504723346828</c:v>
                </c:pt>
                <c:pt idx="103">
                  <c:v>0.14352120859965137</c:v>
                </c:pt>
                <c:pt idx="104">
                  <c:v>0.1034195162635529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4.3315</c:v>
                </c:pt>
                <c:pt idx="1">
                  <c:v>939.2524</c:v>
                </c:pt>
                <c:pt idx="2">
                  <c:v>913.5691</c:v>
                </c:pt>
                <c:pt idx="3">
                  <c:v>930.2271</c:v>
                </c:pt>
                <c:pt idx="4">
                  <c:v>920.8302</c:v>
                </c:pt>
                <c:pt idx="5">
                  <c:v>918.232</c:v>
                </c:pt>
                <c:pt idx="6">
                  <c:v>926.3555</c:v>
                </c:pt>
                <c:pt idx="7">
                  <c:v>1034.6961</c:v>
                </c:pt>
                <c:pt idx="8">
                  <c:v>1202.4348</c:v>
                </c:pt>
                <c:pt idx="9">
                  <c:v>1190.7957</c:v>
                </c:pt>
                <c:pt idx="10">
                  <c:v>1199.5667</c:v>
                </c:pt>
                <c:pt idx="11">
                  <c:v>1094.1203</c:v>
                </c:pt>
                <c:pt idx="12">
                  <c:v>1201.6024</c:v>
                </c:pt>
                <c:pt idx="13">
                  <c:v>1267.9121</c:v>
                </c:pt>
                <c:pt idx="14">
                  <c:v>1158.8333</c:v>
                </c:pt>
                <c:pt idx="15">
                  <c:v>1203.369</c:v>
                </c:pt>
                <c:pt idx="16">
                  <c:v>1239.8571</c:v>
                </c:pt>
                <c:pt idx="17">
                  <c:v>1215.9759</c:v>
                </c:pt>
                <c:pt idx="18">
                  <c:v>1305.5357</c:v>
                </c:pt>
                <c:pt idx="19">
                  <c:v>1206.0</c:v>
                </c:pt>
                <c:pt idx="20">
                  <c:v>1294.5</c:v>
                </c:pt>
                <c:pt idx="21">
                  <c:v>1217.375</c:v>
                </c:pt>
                <c:pt idx="22">
                  <c:v>1179.1154</c:v>
                </c:pt>
                <c:pt idx="23">
                  <c:v>1170.2083</c:v>
                </c:pt>
                <c:pt idx="24">
                  <c:v>1102.3704</c:v>
                </c:pt>
                <c:pt idx="25">
                  <c:v>1087.1224</c:v>
                </c:pt>
                <c:pt idx="26">
                  <c:v>1118.5821</c:v>
                </c:pt>
                <c:pt idx="27">
                  <c:v>1136.9886</c:v>
                </c:pt>
                <c:pt idx="28">
                  <c:v>1097.7767</c:v>
                </c:pt>
                <c:pt idx="29">
                  <c:v>1052.0581</c:v>
                </c:pt>
                <c:pt idx="30">
                  <c:v>1088.9615</c:v>
                </c:pt>
                <c:pt idx="31">
                  <c:v>1063.7159</c:v>
                </c:pt>
                <c:pt idx="32">
                  <c:v>1051.7431</c:v>
                </c:pt>
                <c:pt idx="33">
                  <c:v>1042.2047</c:v>
                </c:pt>
                <c:pt idx="34">
                  <c:v>1017.6818</c:v>
                </c:pt>
                <c:pt idx="35">
                  <c:v>1002.3962</c:v>
                </c:pt>
                <c:pt idx="36">
                  <c:v>988.0909</c:v>
                </c:pt>
                <c:pt idx="37">
                  <c:v>1269.0</c:v>
                </c:pt>
                <c:pt idx="38">
                  <c:v>1307.5</c:v>
                </c:pt>
                <c:pt idx="39">
                  <c:v>1292.0122</c:v>
                </c:pt>
                <c:pt idx="40">
                  <c:v>1279.7324</c:v>
                </c:pt>
                <c:pt idx="41">
                  <c:v>1346.6404</c:v>
                </c:pt>
                <c:pt idx="42">
                  <c:v>1329.8333</c:v>
                </c:pt>
                <c:pt idx="43">
                  <c:v>1320.5182</c:v>
                </c:pt>
                <c:pt idx="44">
                  <c:v>1187.36</c:v>
                </c:pt>
                <c:pt idx="45">
                  <c:v>1132.0676</c:v>
                </c:pt>
                <c:pt idx="46">
                  <c:v>1105.5732</c:v>
                </c:pt>
                <c:pt idx="47">
                  <c:v>1122.5577</c:v>
                </c:pt>
                <c:pt idx="48">
                  <c:v>1120.9898</c:v>
                </c:pt>
                <c:pt idx="49">
                  <c:v>1111.0096</c:v>
                </c:pt>
                <c:pt idx="50">
                  <c:v>966.4674</c:v>
                </c:pt>
                <c:pt idx="51">
                  <c:v>954.0859</c:v>
                </c:pt>
              </c:numCache>
            </c:numRef>
          </c:xVal>
          <c:yVal>
            <c:numRef>
              <c:f>Sheet1!$B$109:$B$160</c:f>
              <c:numCache>
                <c:formatCode>General</c:formatCode>
                <c:ptCount val="52"/>
                <c:pt idx="0">
                  <c:v>0.12858141160027953</c:v>
                </c:pt>
                <c:pt idx="1">
                  <c:v>0.201171875</c:v>
                </c:pt>
                <c:pt idx="2">
                  <c:v>0.1965255157437568</c:v>
                </c:pt>
                <c:pt idx="3">
                  <c:v>0.18570591681312243</c:v>
                </c:pt>
                <c:pt idx="4">
                  <c:v>0.1908763505402161</c:v>
                </c:pt>
                <c:pt idx="5">
                  <c:v>0.17761692650334077</c:v>
                </c:pt>
                <c:pt idx="6">
                  <c:v>0.13167104111986003</c:v>
                </c:pt>
                <c:pt idx="7">
                  <c:v>0.11405166981726528</c:v>
                </c:pt>
                <c:pt idx="8">
                  <c:v>0.0954356846473029</c:v>
                </c:pt>
                <c:pt idx="9">
                  <c:v>0.08831908831908832</c:v>
                </c:pt>
                <c:pt idx="10">
                  <c:v>0.08379888268156424</c:v>
                </c:pt>
                <c:pt idx="11">
                  <c:v>0.08291770573566085</c:v>
                </c:pt>
                <c:pt idx="12">
                  <c:v>0.07384341637010676</c:v>
                </c:pt>
                <c:pt idx="13">
                  <c:v>0.0834862385321101</c:v>
                </c:pt>
                <c:pt idx="14">
                  <c:v>0.09195402298850575</c:v>
                </c:pt>
                <c:pt idx="15">
                  <c:v>0.08759124087591241</c:v>
                </c:pt>
                <c:pt idx="16">
                  <c:v>0.07359813084112149</c:v>
                </c:pt>
                <c:pt idx="17">
                  <c:v>0.09130913091309131</c:v>
                </c:pt>
                <c:pt idx="18">
                  <c:v>0.06746987951807229</c:v>
                </c:pt>
                <c:pt idx="19">
                  <c:v>0.09226594301221167</c:v>
                </c:pt>
                <c:pt idx="20">
                  <c:v>0.09295352323838081</c:v>
                </c:pt>
                <c:pt idx="21">
                  <c:v>0.09177820267686425</c:v>
                </c:pt>
                <c:pt idx="22">
                  <c:v>0.09665427509293681</c:v>
                </c:pt>
                <c:pt idx="23">
                  <c:v>0.08807339449541285</c:v>
                </c:pt>
                <c:pt idx="24">
                  <c:v>0.08206686930091185</c:v>
                </c:pt>
                <c:pt idx="25">
                  <c:v>0.0839041095890411</c:v>
                </c:pt>
                <c:pt idx="26">
                  <c:v>0.10213414634146341</c:v>
                </c:pt>
                <c:pt idx="27">
                  <c:v>0.1038961038961039</c:v>
                </c:pt>
                <c:pt idx="28">
                  <c:v>0.10499490316004077</c:v>
                </c:pt>
                <c:pt idx="29">
                  <c:v>0.11894882434301521</c:v>
                </c:pt>
                <c:pt idx="30">
                  <c:v>0.11079545454545454</c:v>
                </c:pt>
                <c:pt idx="31">
                  <c:v>0.11518324607329843</c:v>
                </c:pt>
                <c:pt idx="32">
                  <c:v>0.12302483069977427</c:v>
                </c:pt>
                <c:pt idx="33">
                  <c:v>0.1204933586337761</c:v>
                </c:pt>
                <c:pt idx="34">
                  <c:v>0.13544415127528583</c:v>
                </c:pt>
                <c:pt idx="35">
                  <c:v>0.1358974358974359</c:v>
                </c:pt>
                <c:pt idx="36">
                  <c:v>0.15172413793103448</c:v>
                </c:pt>
                <c:pt idx="37">
                  <c:v>0.07667731629392971</c:v>
                </c:pt>
                <c:pt idx="38">
                  <c:v>0.10122699386503067</c:v>
                </c:pt>
                <c:pt idx="39">
                  <c:v>0.09915356711003627</c:v>
                </c:pt>
                <c:pt idx="40">
                  <c:v>0.09403973509933775</c:v>
                </c:pt>
                <c:pt idx="41">
                  <c:v>0.10595238095238095</c:v>
                </c:pt>
                <c:pt idx="42">
                  <c:v>0.1093969144460028</c:v>
                </c:pt>
                <c:pt idx="43">
                  <c:v>0.11446409989594172</c:v>
                </c:pt>
                <c:pt idx="44">
                  <c:v>0.10344827586206896</c:v>
                </c:pt>
                <c:pt idx="45">
                  <c:v>0.09782608695652174</c:v>
                </c:pt>
                <c:pt idx="46">
                  <c:v>0.08981380065717415</c:v>
                </c:pt>
                <c:pt idx="47">
                  <c:v>0.08342245989304813</c:v>
                </c:pt>
                <c:pt idx="48">
                  <c:v>0.07873701039168665</c:v>
                </c:pt>
                <c:pt idx="49">
                  <c:v>0.08208955223880597</c:v>
                </c:pt>
                <c:pt idx="50">
                  <c:v>0.12295345104333869</c:v>
                </c:pt>
                <c:pt idx="51">
                  <c:v>0.1215469613259668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7.4295492508462</c:v>
                </c:pt>
              </c:numCache>
            </c:numRef>
          </c:xVal>
          <c:yVal>
            <c:numRef>
              <c:f>Sheet1!$B$163:$B$164</c:f>
              <c:numCache>
                <c:formatCode>General</c:formatCode>
                <c:ptCount val="2"/>
                <c:pt idx="0">
                  <c:v>0.14568101191980298</c:v>
                </c:pt>
                <c:pt idx="1">
                  <c:v>0.145681011919802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7.4295492508462</c:v>
                </c:pt>
                <c:pt idx="1">
                  <c:v>937.4295492508462</c:v>
                </c:pt>
              </c:numCache>
            </c:numRef>
          </c:xVal>
          <c:yVal>
            <c:numRef>
              <c:f>Sheet1!$B$167:$B$168</c:f>
              <c:numCache>
                <c:formatCode>General</c:formatCode>
                <c:ptCount val="2"/>
                <c:pt idx="0">
                  <c:v>0.145681011919802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73.1206503773104</c:v>
                </c:pt>
              </c:numCache>
            </c:numRef>
          </c:xVal>
          <c:yVal>
            <c:numRef>
              <c:f>Sheet1!$B$171:$B$172</c:f>
              <c:numCache>
                <c:formatCode>General</c:formatCode>
                <c:ptCount val="2"/>
                <c:pt idx="0">
                  <c:v>0.1579595990872382</c:v>
                </c:pt>
                <c:pt idx="1">
                  <c:v>0.15795959908723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73.1206503773104</c:v>
                </c:pt>
                <c:pt idx="1">
                  <c:v>873.1206503773104</c:v>
                </c:pt>
              </c:numCache>
            </c:numRef>
          </c:xVal>
          <c:yVal>
            <c:numRef>
              <c:f>Sheet1!$B$175:$B$176</c:f>
              <c:numCache>
                <c:formatCode>General</c:formatCode>
                <c:ptCount val="2"/>
                <c:pt idx="0">
                  <c:v>0.15795959908723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5.5371803775477</c:v>
                </c:pt>
              </c:numCache>
            </c:numRef>
          </c:xVal>
          <c:yVal>
            <c:numRef>
              <c:f>Sheet1!$B$179:$B$180</c:f>
              <c:numCache>
                <c:formatCode>General</c:formatCode>
                <c:ptCount val="2"/>
                <c:pt idx="0">
                  <c:v>0.10021879199017773</c:v>
                </c:pt>
                <c:pt idx="1">
                  <c:v>0.1002187919901777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5.5371803775477</c:v>
                </c:pt>
                <c:pt idx="1">
                  <c:v>1175.5371803775477</c:v>
                </c:pt>
              </c:numCache>
            </c:numRef>
          </c:xVal>
          <c:yVal>
            <c:numRef>
              <c:f>Sheet1!$B$183:$B$184</c:f>
              <c:numCache>
                <c:formatCode>General</c:formatCode>
                <c:ptCount val="2"/>
                <c:pt idx="0">
                  <c:v>0.100218791990177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4.3315</c:v>
                </c:pt>
                <c:pt idx="1">
                  <c:v>939.2524</c:v>
                </c:pt>
                <c:pt idx="2">
                  <c:v>913.5691</c:v>
                </c:pt>
                <c:pt idx="3">
                  <c:v>930.2271</c:v>
                </c:pt>
                <c:pt idx="4">
                  <c:v>920.8302</c:v>
                </c:pt>
                <c:pt idx="5">
                  <c:v>918.232</c:v>
                </c:pt>
                <c:pt idx="6">
                  <c:v>926.3555</c:v>
                </c:pt>
                <c:pt idx="7">
                  <c:v>1034.6961</c:v>
                </c:pt>
                <c:pt idx="8">
                  <c:v>1202.4348</c:v>
                </c:pt>
                <c:pt idx="9">
                  <c:v>1190.7957</c:v>
                </c:pt>
                <c:pt idx="10">
                  <c:v>1199.5667</c:v>
                </c:pt>
                <c:pt idx="11">
                  <c:v>1094.1203</c:v>
                </c:pt>
                <c:pt idx="12">
                  <c:v>1201.6024</c:v>
                </c:pt>
                <c:pt idx="13">
                  <c:v>1267.9121</c:v>
                </c:pt>
                <c:pt idx="14">
                  <c:v>1158.8333</c:v>
                </c:pt>
                <c:pt idx="15">
                  <c:v>1203.369</c:v>
                </c:pt>
                <c:pt idx="16">
                  <c:v>1239.8571</c:v>
                </c:pt>
                <c:pt idx="17">
                  <c:v>1215.9759</c:v>
                </c:pt>
                <c:pt idx="18">
                  <c:v>1305.5357</c:v>
                </c:pt>
                <c:pt idx="19">
                  <c:v>1206.0</c:v>
                </c:pt>
                <c:pt idx="20">
                  <c:v>1294.5</c:v>
                </c:pt>
                <c:pt idx="21">
                  <c:v>1217.375</c:v>
                </c:pt>
                <c:pt idx="22">
                  <c:v>1179.1154</c:v>
                </c:pt>
                <c:pt idx="23">
                  <c:v>1170.2083</c:v>
                </c:pt>
                <c:pt idx="24">
                  <c:v>1102.3704</c:v>
                </c:pt>
                <c:pt idx="25">
                  <c:v>1087.1224</c:v>
                </c:pt>
                <c:pt idx="26">
                  <c:v>1118.5821</c:v>
                </c:pt>
                <c:pt idx="27">
                  <c:v>1136.9886</c:v>
                </c:pt>
                <c:pt idx="28">
                  <c:v>1097.7767</c:v>
                </c:pt>
                <c:pt idx="29">
                  <c:v>1052.0581</c:v>
                </c:pt>
                <c:pt idx="30">
                  <c:v>1088.9615</c:v>
                </c:pt>
                <c:pt idx="31">
                  <c:v>1063.7159</c:v>
                </c:pt>
                <c:pt idx="32">
                  <c:v>1051.7431</c:v>
                </c:pt>
                <c:pt idx="33">
                  <c:v>1042.2047</c:v>
                </c:pt>
                <c:pt idx="34">
                  <c:v>1017.6818</c:v>
                </c:pt>
                <c:pt idx="35">
                  <c:v>1002.3962</c:v>
                </c:pt>
                <c:pt idx="36">
                  <c:v>988.0909</c:v>
                </c:pt>
                <c:pt idx="37">
                  <c:v>1269.0</c:v>
                </c:pt>
                <c:pt idx="38">
                  <c:v>1307.5</c:v>
                </c:pt>
                <c:pt idx="39">
                  <c:v>1292.0122</c:v>
                </c:pt>
                <c:pt idx="40">
                  <c:v>1279.7324</c:v>
                </c:pt>
                <c:pt idx="41">
                  <c:v>1346.6404</c:v>
                </c:pt>
                <c:pt idx="42">
                  <c:v>1329.8333</c:v>
                </c:pt>
                <c:pt idx="43">
                  <c:v>1320.5182</c:v>
                </c:pt>
                <c:pt idx="44">
                  <c:v>1187.36</c:v>
                </c:pt>
                <c:pt idx="45">
                  <c:v>1132.0676</c:v>
                </c:pt>
                <c:pt idx="46">
                  <c:v>1105.5732</c:v>
                </c:pt>
                <c:pt idx="47">
                  <c:v>1122.5577</c:v>
                </c:pt>
                <c:pt idx="48">
                  <c:v>1120.9898</c:v>
                </c:pt>
                <c:pt idx="49">
                  <c:v>1111.0096</c:v>
                </c:pt>
                <c:pt idx="50">
                  <c:v>966.4674</c:v>
                </c:pt>
                <c:pt idx="51">
                  <c:v>954.0859</c:v>
                </c:pt>
                <c:pt idx="52">
                  <c:v>873.1206503773104</c:v>
                </c:pt>
                <c:pt idx="53">
                  <c:v>937.4295492508462</c:v>
                </c:pt>
                <c:pt idx="54">
                  <c:v>1175.5371803775477</c:v>
                </c:pt>
              </c:numCache>
            </c:numRef>
          </c:xVal>
          <c:yVal>
            <c:numRef>
              <c:f>Sheet1!$B$187:$B$241</c:f>
              <c:numCache>
                <c:formatCode>General</c:formatCode>
                <c:ptCount val="55"/>
                <c:pt idx="0">
                  <c:v>0.12145144662969862</c:v>
                </c:pt>
                <c:pt idx="1">
                  <c:v>0.14533297250055055</c:v>
                </c:pt>
                <c:pt idx="2">
                  <c:v>0.15023672055597187</c:v>
                </c:pt>
                <c:pt idx="3">
                  <c:v>0.14705618553488004</c:v>
                </c:pt>
                <c:pt idx="4">
                  <c:v>0.14885034867209326</c:v>
                </c:pt>
                <c:pt idx="5">
                  <c:v>0.14934642659812283</c:v>
                </c:pt>
                <c:pt idx="6">
                  <c:v>0.14779539548731482</c:v>
                </c:pt>
                <c:pt idx="7">
                  <c:v>0.12710977461409445</c:v>
                </c:pt>
                <c:pt idx="8">
                  <c:v>0.09508319220669728</c:v>
                </c:pt>
                <c:pt idx="9">
                  <c:v>0.09730546169667151</c:v>
                </c:pt>
                <c:pt idx="10">
                  <c:v>0.09563080251369652</c:v>
                </c:pt>
                <c:pt idx="11">
                  <c:v>0.11576382977075386</c:v>
                </c:pt>
                <c:pt idx="12">
                  <c:v>0.09524212349205907</c:v>
                </c:pt>
                <c:pt idx="13">
                  <c:v>0.08258152059326598</c:v>
                </c:pt>
                <c:pt idx="14">
                  <c:v>0.10340808701532597</c:v>
                </c:pt>
                <c:pt idx="15">
                  <c:v>0.09490482410628284</c:v>
                </c:pt>
                <c:pt idx="16">
                  <c:v>0.0879381006158817</c:v>
                </c:pt>
                <c:pt idx="17">
                  <c:v>0.09249777122133848</c:v>
                </c:pt>
                <c:pt idx="18">
                  <c:v>0.07539799451453194</c:v>
                </c:pt>
                <c:pt idx="19">
                  <c:v>0.094402483630806</c:v>
                </c:pt>
                <c:pt idx="20">
                  <c:v>0.07750505600644353</c:v>
                </c:pt>
                <c:pt idx="21">
                  <c:v>0.09223063911976506</c:v>
                </c:pt>
                <c:pt idx="22">
                  <c:v>0.09953559755973185</c:v>
                </c:pt>
                <c:pt idx="23">
                  <c:v>0.10123624250428503</c:v>
                </c:pt>
                <c:pt idx="24">
                  <c:v>0.11418862674653069</c:v>
                </c:pt>
                <c:pt idx="25">
                  <c:v>0.11709994851394626</c:v>
                </c:pt>
                <c:pt idx="26">
                  <c:v>0.11109330440282583</c:v>
                </c:pt>
                <c:pt idx="27">
                  <c:v>0.10757892585403686</c:v>
                </c:pt>
                <c:pt idx="28">
                  <c:v>0.11506570825249718</c:v>
                </c:pt>
                <c:pt idx="29">
                  <c:v>0.12379482389755003</c:v>
                </c:pt>
                <c:pt idx="30">
                  <c:v>0.11674880660271503</c:v>
                </c:pt>
                <c:pt idx="31">
                  <c:v>0.12156898399066537</c:v>
                </c:pt>
                <c:pt idx="32">
                  <c:v>0.12385496728400963</c:v>
                </c:pt>
                <c:pt idx="33">
                  <c:v>0.1256761472122833</c:v>
                </c:pt>
                <c:pt idx="34">
                  <c:v>0.13035833848787062</c:v>
                </c:pt>
                <c:pt idx="35">
                  <c:v>0.13327683927538422</c:v>
                </c:pt>
                <c:pt idx="36">
                  <c:v>0.13600817002560786</c:v>
                </c:pt>
                <c:pt idx="37">
                  <c:v>0.08237380633888697</c:v>
                </c:pt>
                <c:pt idx="38">
                  <c:v>0.07502294799382533</c:v>
                </c:pt>
                <c:pt idx="39">
                  <c:v>0.07798005510750444</c:v>
                </c:pt>
                <c:pt idx="40">
                  <c:v>0.08032465433622357</c:v>
                </c:pt>
                <c:pt idx="41">
                  <c:v>0.06754981718943437</c:v>
                </c:pt>
                <c:pt idx="42">
                  <c:v>0.07075882008011714</c:v>
                </c:pt>
                <c:pt idx="43">
                  <c:v>0.07253736502998942</c:v>
                </c:pt>
                <c:pt idx="44">
                  <c:v>0.09796144465812937</c:v>
                </c:pt>
                <c:pt idx="45">
                  <c:v>0.10851849920250561</c:v>
                </c:pt>
                <c:pt idx="46">
                  <c:v>0.11357711170477577</c:v>
                </c:pt>
                <c:pt idx="47">
                  <c:v>0.11033423758629007</c:v>
                </c:pt>
                <c:pt idx="48">
                  <c:v>0.11063359890575039</c:v>
                </c:pt>
                <c:pt idx="49">
                  <c:v>0.11253913232017596</c:v>
                </c:pt>
                <c:pt idx="50">
                  <c:v>0.1401367748418271</c:v>
                </c:pt>
                <c:pt idx="51">
                  <c:v>0.14250079179246036</c:v>
                </c:pt>
                <c:pt idx="52">
                  <c:v>0.1579595990872382</c:v>
                </c:pt>
                <c:pt idx="53">
                  <c:v>0.14568101191980298</c:v>
                </c:pt>
                <c:pt idx="54">
                  <c:v>0.100218791990177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6.0"/>
          <c:min val="61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349090909090906"/>
          <c:min val="0.02951653944020356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2</c:f>
              <c:numCache>
                <c:formatCode>General</c:formatCode>
                <c:ptCount val="101"/>
                <c:pt idx="0">
                  <c:v>0.0</c:v>
                </c:pt>
                <c:pt idx="1">
                  <c:v>0.4907285420944559</c:v>
                </c:pt>
                <c:pt idx="2">
                  <c:v>1.4905421197891964</c:v>
                </c:pt>
                <c:pt idx="3">
                  <c:v>0.9505458010102855</c:v>
                </c:pt>
                <c:pt idx="4">
                  <c:v>0.43337600732600734</c:v>
                </c:pt>
                <c:pt idx="5">
                  <c:v>0.4341947446045266</c:v>
                </c:pt>
                <c:pt idx="6">
                  <c:v>0.35695368051972154</c:v>
                </c:pt>
                <c:pt idx="7">
                  <c:v>0.503098106060606</c:v>
                </c:pt>
                <c:pt idx="8">
                  <c:v>0.3033273875295975</c:v>
                </c:pt>
                <c:pt idx="9">
                  <c:v>0.5950370584659482</c:v>
                </c:pt>
                <c:pt idx="10">
                  <c:v>0.41426883721390395</c:v>
                </c:pt>
                <c:pt idx="11">
                  <c:v>0.6954632918886915</c:v>
                </c:pt>
                <c:pt idx="12">
                  <c:v>0.5933193349753695</c:v>
                </c:pt>
                <c:pt idx="13">
                  <c:v>0.7051901709401709</c:v>
                </c:pt>
                <c:pt idx="14">
                  <c:v>0.8117710272873194</c:v>
                </c:pt>
                <c:pt idx="15">
                  <c:v>0.5751500919507709</c:v>
                </c:pt>
                <c:pt idx="16">
                  <c:v>1.0271118575992395</c:v>
                </c:pt>
                <c:pt idx="17">
                  <c:v>0.7038164038972542</c:v>
                </c:pt>
                <c:pt idx="18">
                  <c:v>0.810457513163224</c:v>
                </c:pt>
                <c:pt idx="19">
                  <c:v>0.9363679262672812</c:v>
                </c:pt>
                <c:pt idx="20">
                  <c:v>0.5525467396327178</c:v>
                </c:pt>
                <c:pt idx="21">
                  <c:v>0.9899967091295117</c:v>
                </c:pt>
                <c:pt idx="22">
                  <c:v>0.7690216523275041</c:v>
                </c:pt>
                <c:pt idx="23">
                  <c:v>0.6979387248942905</c:v>
                </c:pt>
                <c:pt idx="24">
                  <c:v>0.7619604243542436</c:v>
                </c:pt>
                <c:pt idx="25">
                  <c:v>0.6989001776998043</c:v>
                </c:pt>
                <c:pt idx="26">
                  <c:v>0.6577267950963223</c:v>
                </c:pt>
                <c:pt idx="27">
                  <c:v>0.7613781699208652</c:v>
                </c:pt>
                <c:pt idx="28">
                  <c:v>0.8466805481874448</c:v>
                </c:pt>
                <c:pt idx="29">
                  <c:v>0.7994892826005703</c:v>
                </c:pt>
                <c:pt idx="30">
                  <c:v>0.9383598749353228</c:v>
                </c:pt>
                <c:pt idx="31">
                  <c:v>0.9939079676081638</c:v>
                </c:pt>
                <c:pt idx="32">
                  <c:v>0.9624666364544967</c:v>
                </c:pt>
                <c:pt idx="33">
                  <c:v>0.9361515582977377</c:v>
                </c:pt>
                <c:pt idx="34">
                  <c:v>1.086649345730443</c:v>
                </c:pt>
                <c:pt idx="35">
                  <c:v>0.988071453437772</c:v>
                </c:pt>
                <c:pt idx="36">
                  <c:v>0.9943603692173247</c:v>
                </c:pt>
                <c:pt idx="37">
                  <c:v>1.0101716319658929</c:v>
                </c:pt>
                <c:pt idx="38">
                  <c:v>0.9797350607009567</c:v>
                </c:pt>
                <c:pt idx="39">
                  <c:v>1.0834410625485724</c:v>
                </c:pt>
                <c:pt idx="40">
                  <c:v>0.7997174706120794</c:v>
                </c:pt>
                <c:pt idx="41">
                  <c:v>0.9723386553330188</c:v>
                </c:pt>
                <c:pt idx="42">
                  <c:v>0.8173423190322864</c:v>
                </c:pt>
                <c:pt idx="43">
                  <c:v>0.952100560258455</c:v>
                </c:pt>
                <c:pt idx="44">
                  <c:v>0.9283194615344664</c:v>
                </c:pt>
                <c:pt idx="45">
                  <c:v>0.8292565050976974</c:v>
                </c:pt>
                <c:pt idx="46">
                  <c:v>0.7926824</c:v>
                </c:pt>
                <c:pt idx="47">
                  <c:v>0.8261335727109516</c:v>
                </c:pt>
                <c:pt idx="48">
                  <c:v>0.856405126066926</c:v>
                </c:pt>
                <c:pt idx="49">
                  <c:v>0.9326195881731784</c:v>
                </c:pt>
                <c:pt idx="50">
                  <c:v>1.0616990781044626</c:v>
                </c:pt>
                <c:pt idx="51">
                  <c:v>1.0075351098307528</c:v>
                </c:pt>
                <c:pt idx="52">
                  <c:v>1.06601746227579</c:v>
                </c:pt>
                <c:pt idx="53">
                  <c:v>1.118994022306026</c:v>
                </c:pt>
                <c:pt idx="54">
                  <c:v>1.0643226334598876</c:v>
                </c:pt>
                <c:pt idx="55">
                  <c:v>1.1088274655355248</c:v>
                </c:pt>
                <c:pt idx="56">
                  <c:v>1.016446380643554</c:v>
                </c:pt>
                <c:pt idx="57">
                  <c:v>1.010336054523682</c:v>
                </c:pt>
                <c:pt idx="58">
                  <c:v>1.0718180929095353</c:v>
                </c:pt>
                <c:pt idx="59">
                  <c:v>1.0051436472378874</c:v>
                </c:pt>
                <c:pt idx="60">
                  <c:v>0.9734025600954295</c:v>
                </c:pt>
                <c:pt idx="61">
                  <c:v>0.9804028851972134</c:v>
                </c:pt>
                <c:pt idx="62">
                  <c:v>1.0278585972377428</c:v>
                </c:pt>
                <c:pt idx="63">
                  <c:v>1.0701915932594643</c:v>
                </c:pt>
                <c:pt idx="64">
                  <c:v>1.1595984288865342</c:v>
                </c:pt>
                <c:pt idx="65">
                  <c:v>1.0562601644418106</c:v>
                </c:pt>
                <c:pt idx="66">
                  <c:v>0.9788699296118248</c:v>
                </c:pt>
                <c:pt idx="67">
                  <c:v>1.1149968911917099</c:v>
                </c:pt>
                <c:pt idx="68">
                  <c:v>0.9300400483131366</c:v>
                </c:pt>
                <c:pt idx="69">
                  <c:v>1.1747709954522485</c:v>
                </c:pt>
                <c:pt idx="70">
                  <c:v>0.9801984389763321</c:v>
                </c:pt>
                <c:pt idx="71">
                  <c:v>0.8638714001876688</c:v>
                </c:pt>
                <c:pt idx="72">
                  <c:v>1.2143650976446225</c:v>
                </c:pt>
                <c:pt idx="73">
                  <c:v>1.1103848715114013</c:v>
                </c:pt>
                <c:pt idx="74">
                  <c:v>0.8662761781104408</c:v>
                </c:pt>
                <c:pt idx="75">
                  <c:v>1.1366150703323168</c:v>
                </c:pt>
                <c:pt idx="76">
                  <c:v>1.1213620382183291</c:v>
                </c:pt>
                <c:pt idx="77">
                  <c:v>1.3464375237669204</c:v>
                </c:pt>
                <c:pt idx="78">
                  <c:v>1.127786082967243</c:v>
                </c:pt>
                <c:pt idx="79">
                  <c:v>1.2359962541294007</c:v>
                </c:pt>
                <c:pt idx="80">
                  <c:v>1.0595262259744924</c:v>
                </c:pt>
                <c:pt idx="81">
                  <c:v>1.0466359085426917</c:v>
                </c:pt>
                <c:pt idx="82">
                  <c:v>0.9084733542685254</c:v>
                </c:pt>
                <c:pt idx="83">
                  <c:v>1.1837668150410718</c:v>
                </c:pt>
                <c:pt idx="84">
                  <c:v>0.9408297419200122</c:v>
                </c:pt>
                <c:pt idx="85">
                  <c:v>0.9389690448893199</c:v>
                </c:pt>
                <c:pt idx="86">
                  <c:v>1.0665956000061327</c:v>
                </c:pt>
                <c:pt idx="87">
                  <c:v>1.1066428298279158</c:v>
                </c:pt>
                <c:pt idx="88">
                  <c:v>1.2750227298686465</c:v>
                </c:pt>
                <c:pt idx="89">
                  <c:v>1.12679820091071</c:v>
                </c:pt>
                <c:pt idx="90">
                  <c:v>1.1897142556133535</c:v>
                </c:pt>
                <c:pt idx="91">
                  <c:v>1.180719638504326</c:v>
                </c:pt>
                <c:pt idx="92">
                  <c:v>1.2202214593413236</c:v>
                </c:pt>
                <c:pt idx="93">
                  <c:v>1.1209895422102087</c:v>
                </c:pt>
                <c:pt idx="94">
                  <c:v>1.2582164234942013</c:v>
                </c:pt>
                <c:pt idx="95">
                  <c:v>1.2362389835131766</c:v>
                </c:pt>
                <c:pt idx="96">
                  <c:v>1.3253674580767203</c:v>
                </c:pt>
                <c:pt idx="97">
                  <c:v>1.0698702658444532</c:v>
                </c:pt>
                <c:pt idx="98">
                  <c:v>1.221337409359189</c:v>
                </c:pt>
                <c:pt idx="99">
                  <c:v>0.9788057923497268</c:v>
                </c:pt>
                <c:pt idx="100">
                  <c:v>1.1130467301701548</c:v>
                </c:pt>
              </c:numCache>
            </c:numRef>
          </c:xVal>
          <c:yVal>
            <c:numRef>
              <c:f>Sheet1!$B$2:$B$102</c:f>
              <c:numCache>
                <c:formatCode>General</c:formatCode>
                <c:ptCount val="101"/>
                <c:pt idx="0">
                  <c:v>0.08795562599049128</c:v>
                </c:pt>
                <c:pt idx="1">
                  <c:v>0.1126331811263318</c:v>
                </c:pt>
                <c:pt idx="2">
                  <c:v>0.10950570342205324</c:v>
                </c:pt>
                <c:pt idx="3">
                  <c:v>0.10739030023094688</c:v>
                </c:pt>
                <c:pt idx="4">
                  <c:v>0.09630606860158311</c:v>
                </c:pt>
                <c:pt idx="5">
                  <c:v>0.06136900078678206</c:v>
                </c:pt>
                <c:pt idx="6">
                  <c:v>0.07724957555178268</c:v>
                </c:pt>
                <c:pt idx="7">
                  <c:v>0.0937178166838311</c:v>
                </c:pt>
                <c:pt idx="8">
                  <c:v>0.09424603174603174</c:v>
                </c:pt>
                <c:pt idx="9">
                  <c:v>0.09457092819614711</c:v>
                </c:pt>
                <c:pt idx="10">
                  <c:v>0.1114012184508268</c:v>
                </c:pt>
                <c:pt idx="11">
                  <c:v>0.10683760683760683</c:v>
                </c:pt>
                <c:pt idx="12">
                  <c:v>0.1063321385902031</c:v>
                </c:pt>
                <c:pt idx="13">
                  <c:v>0.09375</c:v>
                </c:pt>
                <c:pt idx="14">
                  <c:v>0.09168704156479218</c:v>
                </c:pt>
                <c:pt idx="15">
                  <c:v>0.07794117647058824</c:v>
                </c:pt>
                <c:pt idx="16">
                  <c:v>0.08312020460358056</c:v>
                </c:pt>
                <c:pt idx="17">
                  <c:v>0.0856610800744879</c:v>
                </c:pt>
                <c:pt idx="18">
                  <c:v>0.0794392523364486</c:v>
                </c:pt>
                <c:pt idx="19">
                  <c:v>0.08305084745762711</c:v>
                </c:pt>
                <c:pt idx="20">
                  <c:v>0.08405797101449275</c:v>
                </c:pt>
                <c:pt idx="21">
                  <c:v>0.08387096774193549</c:v>
                </c:pt>
                <c:pt idx="22">
                  <c:v>0.08163265306122448</c:v>
                </c:pt>
                <c:pt idx="23">
                  <c:v>0.089728453364817</c:v>
                </c:pt>
                <c:pt idx="24">
                  <c:v>0.10411622276029056</c:v>
                </c:pt>
                <c:pt idx="25">
                  <c:v>0.12312633832976445</c:v>
                </c:pt>
                <c:pt idx="26">
                  <c:v>0.07493188010899182</c:v>
                </c:pt>
                <c:pt idx="27">
                  <c:v>0.06692406692406692</c:v>
                </c:pt>
                <c:pt idx="28">
                  <c:v>0.05867665418227216</c:v>
                </c:pt>
                <c:pt idx="29">
                  <c:v>0.07243650047036689</c:v>
                </c:pt>
                <c:pt idx="30">
                  <c:v>0.05740740740740741</c:v>
                </c:pt>
                <c:pt idx="31">
                  <c:v>0.055055055055055056</c:v>
                </c:pt>
                <c:pt idx="32">
                  <c:v>0.044270833333333336</c:v>
                </c:pt>
                <c:pt idx="33">
                  <c:v>0.03689567430025445</c:v>
                </c:pt>
                <c:pt idx="34">
                  <c:v>0.04325032765399738</c:v>
                </c:pt>
                <c:pt idx="35">
                  <c:v>0.08095238095238096</c:v>
                </c:pt>
                <c:pt idx="36">
                  <c:v>0.07647058823529412</c:v>
                </c:pt>
                <c:pt idx="37">
                  <c:v>0.08111239860950174</c:v>
                </c:pt>
                <c:pt idx="38">
                  <c:v>0.07904411764705882</c:v>
                </c:pt>
                <c:pt idx="39">
                  <c:v>0.08175559380378658</c:v>
                </c:pt>
                <c:pt idx="40">
                  <c:v>0.1116201582673886</c:v>
                </c:pt>
                <c:pt idx="41">
                  <c:v>0.13517665130568357</c:v>
                </c:pt>
                <c:pt idx="42">
                  <c:v>0.12836624775583483</c:v>
                </c:pt>
                <c:pt idx="43">
                  <c:v>0.1267921146953405</c:v>
                </c:pt>
                <c:pt idx="44">
                  <c:v>0.14854717597126998</c:v>
                </c:pt>
                <c:pt idx="45">
                  <c:v>0.17379870906048292</c:v>
                </c:pt>
                <c:pt idx="46">
                  <c:v>0.15476810838978636</c:v>
                </c:pt>
                <c:pt idx="47">
                  <c:v>0.11838624338624339</c:v>
                </c:pt>
                <c:pt idx="48">
                  <c:v>0.12210200927357033</c:v>
                </c:pt>
                <c:pt idx="49">
                  <c:v>0.09954158480681075</c:v>
                </c:pt>
                <c:pt idx="50">
                  <c:v>0.08305921052631579</c:v>
                </c:pt>
                <c:pt idx="51">
                  <c:v>0.08438818565400844</c:v>
                </c:pt>
                <c:pt idx="52">
                  <c:v>0.09366130558183539</c:v>
                </c:pt>
                <c:pt idx="53">
                  <c:v>0.08847184986595175</c:v>
                </c:pt>
                <c:pt idx="54">
                  <c:v>0.10914127423822714</c:v>
                </c:pt>
                <c:pt idx="55">
                  <c:v>0.11871859296482412</c:v>
                </c:pt>
                <c:pt idx="56">
                  <c:v>0.1592620481927711</c:v>
                </c:pt>
                <c:pt idx="57">
                  <c:v>0.2029090909090909</c:v>
                </c:pt>
                <c:pt idx="58">
                  <c:v>0.15036112934996718</c:v>
                </c:pt>
                <c:pt idx="59">
                  <c:v>0.14819427148194272</c:v>
                </c:pt>
                <c:pt idx="60">
                  <c:v>0.11828644501278772</c:v>
                </c:pt>
                <c:pt idx="61">
                  <c:v>0.10662604722010663</c:v>
                </c:pt>
                <c:pt idx="62">
                  <c:v>0.10612855007473841</c:v>
                </c:pt>
                <c:pt idx="63">
                  <c:v>0.09820732657833203</c:v>
                </c:pt>
                <c:pt idx="64">
                  <c:v>0.08004158004158005</c:v>
                </c:pt>
                <c:pt idx="65">
                  <c:v>0.07246376811594203</c:v>
                </c:pt>
                <c:pt idx="66">
                  <c:v>0.0713463751438435</c:v>
                </c:pt>
                <c:pt idx="67">
                  <c:v>0.08259212198221093</c:v>
                </c:pt>
                <c:pt idx="68">
                  <c:v>0.07845188284518828</c:v>
                </c:pt>
                <c:pt idx="69">
                  <c:v>0.09101516919486581</c:v>
                </c:pt>
                <c:pt idx="70">
                  <c:v>0.09295499021526418</c:v>
                </c:pt>
                <c:pt idx="71">
                  <c:v>0.08671171171171171</c:v>
                </c:pt>
                <c:pt idx="72">
                  <c:v>0.09137709137709138</c:v>
                </c:pt>
                <c:pt idx="73">
                  <c:v>0.0891089108910891</c:v>
                </c:pt>
                <c:pt idx="74">
                  <c:v>0.09447674418604651</c:v>
                </c:pt>
                <c:pt idx="75">
                  <c:v>0.07323232323232323</c:v>
                </c:pt>
                <c:pt idx="76">
                  <c:v>0.06557377049180328</c:v>
                </c:pt>
                <c:pt idx="77">
                  <c:v>0.06528189910979229</c:v>
                </c:pt>
                <c:pt idx="78">
                  <c:v>0.06552706552706553</c:v>
                </c:pt>
                <c:pt idx="79">
                  <c:v>0.0630048465266559</c:v>
                </c:pt>
                <c:pt idx="80">
                  <c:v>0.05519480519480519</c:v>
                </c:pt>
                <c:pt idx="81">
                  <c:v>0.058663028649386086</c:v>
                </c:pt>
                <c:pt idx="82">
                  <c:v>0.0671806167400881</c:v>
                </c:pt>
                <c:pt idx="83">
                  <c:v>0.07776560788608981</c:v>
                </c:pt>
                <c:pt idx="84">
                  <c:v>0.07320644216691069</c:v>
                </c:pt>
                <c:pt idx="85">
                  <c:v>0.09217877094972067</c:v>
                </c:pt>
                <c:pt idx="86">
                  <c:v>0.08426966292134831</c:v>
                </c:pt>
                <c:pt idx="87">
                  <c:v>0.08882521489971347</c:v>
                </c:pt>
                <c:pt idx="88">
                  <c:v>0.09219088937093275</c:v>
                </c:pt>
                <c:pt idx="89">
                  <c:v>0.08403361344537816</c:v>
                </c:pt>
                <c:pt idx="90">
                  <c:v>0.08851422550052687</c:v>
                </c:pt>
                <c:pt idx="91">
                  <c:v>0.09219858156028368</c:v>
                </c:pt>
                <c:pt idx="92">
                  <c:v>0.09115646258503401</c:v>
                </c:pt>
                <c:pt idx="93">
                  <c:v>0.11122733612273361</c:v>
                </c:pt>
                <c:pt idx="94">
                  <c:v>0.10616327847692804</c:v>
                </c:pt>
                <c:pt idx="95">
                  <c:v>0.11124156149104784</c:v>
                </c:pt>
                <c:pt idx="96">
                  <c:v>0.11532426778242678</c:v>
                </c:pt>
                <c:pt idx="97">
                  <c:v>0.12541099107562237</c:v>
                </c:pt>
                <c:pt idx="98">
                  <c:v>0.09986504723346828</c:v>
                </c:pt>
                <c:pt idx="99">
                  <c:v>0.14352120859965137</c:v>
                </c:pt>
                <c:pt idx="100">
                  <c:v>0.10341951626355296</c:v>
                </c:pt>
              </c:numCache>
            </c:numRef>
          </c:yVal>
          <c:smooth val="0"/>
          <c:extLst>
            <c:ext xmlns:c16="http://schemas.microsoft.com/office/drawing/2014/chart" uri="{C3380CC4-5D6E-409C-BE32-E72D297353CC}">
              <c16:uniqueId val="{00000000-096C-4121-9522-6AB7243CCAAE}"/>
            </c:ext>
          </c:extLst>
        </c:ser>
        <c:ser>
          <c:idx val="1"/>
          <c:order val="1"/>
          <c:tx>
            <c:strRef>
              <c:f>Sheet1!$B$10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5:$A$156</c:f>
              <c:numCache>
                <c:formatCode>General</c:formatCode>
                <c:ptCount val="52"/>
                <c:pt idx="0">
                  <c:v>1.1177284037120128</c:v>
                </c:pt>
                <c:pt idx="1">
                  <c:v>1.0301861031787014</c:v>
                </c:pt>
                <c:pt idx="2">
                  <c:v>0.9907318541692287</c:v>
                </c:pt>
                <c:pt idx="3">
                  <c:v>0.9390242548289394</c:v>
                </c:pt>
                <c:pt idx="4">
                  <c:v>1.2973824954914337</c:v>
                </c:pt>
                <c:pt idx="5">
                  <c:v>1.0317213483146066</c:v>
                </c:pt>
                <c:pt idx="6">
                  <c:v>1.0191329846507724</c:v>
                </c:pt>
                <c:pt idx="7">
                  <c:v>1.2417346090993435</c:v>
                </c:pt>
                <c:pt idx="8">
                  <c:v>1.2762764544529284</c:v>
                </c:pt>
                <c:pt idx="9">
                  <c:v>1.1457303446353542</c:v>
                </c:pt>
                <c:pt idx="10">
                  <c:v>1.4816579219331356</c:v>
                </c:pt>
                <c:pt idx="11">
                  <c:v>1.3035587888625413</c:v>
                </c:pt>
                <c:pt idx="12">
                  <c:v>1.4148983220488667</c:v>
                </c:pt>
                <c:pt idx="13">
                  <c:v>1.1886000292670864</c:v>
                </c:pt>
                <c:pt idx="14">
                  <c:v>1.1748618223562237</c:v>
                </c:pt>
                <c:pt idx="15">
                  <c:v>1.3835614091626685</c:v>
                </c:pt>
                <c:pt idx="16">
                  <c:v>1.0602247114530976</c:v>
                </c:pt>
                <c:pt idx="17">
                  <c:v>1.0053163771019775</c:v>
                </c:pt>
                <c:pt idx="18">
                  <c:v>1.0391846678962486</c:v>
                </c:pt>
                <c:pt idx="19">
                  <c:v>1.1271028037383177</c:v>
                </c:pt>
                <c:pt idx="20">
                  <c:v>1.1174370680937404</c:v>
                </c:pt>
                <c:pt idx="21">
                  <c:v>1.1203696946198234</c:v>
                </c:pt>
                <c:pt idx="22">
                  <c:v>1.0465802454101427</c:v>
                </c:pt>
                <c:pt idx="23">
                  <c:v>1.0289483988060344</c:v>
                </c:pt>
                <c:pt idx="24">
                  <c:v>1.1911795025179255</c:v>
                </c:pt>
                <c:pt idx="25">
                  <c:v>0.9346109094898148</c:v>
                </c:pt>
                <c:pt idx="26">
                  <c:v>1.1520689423259045</c:v>
                </c:pt>
                <c:pt idx="27">
                  <c:v>0.9453241321970484</c:v>
                </c:pt>
                <c:pt idx="28">
                  <c:v>0.9634998871299733</c:v>
                </c:pt>
                <c:pt idx="29">
                  <c:v>0.9351034076592827</c:v>
                </c:pt>
                <c:pt idx="30">
                  <c:v>0.9330674782441498</c:v>
                </c:pt>
                <c:pt idx="31">
                  <c:v>1.0203509832134292</c:v>
                </c:pt>
                <c:pt idx="32">
                  <c:v>0.7587913051577441</c:v>
                </c:pt>
                <c:pt idx="33">
                  <c:v>0.8391342190016103</c:v>
                </c:pt>
                <c:pt idx="34">
                  <c:v>0.8835813633495322</c:v>
                </c:pt>
                <c:pt idx="35">
                  <c:v>0.7296123737603494</c:v>
                </c:pt>
                <c:pt idx="36">
                  <c:v>0.838470529453914</c:v>
                </c:pt>
                <c:pt idx="37">
                  <c:v>1.124202693125443</c:v>
                </c:pt>
                <c:pt idx="38">
                  <c:v>1.248039766221868</c:v>
                </c:pt>
                <c:pt idx="39">
                  <c:v>1.4498576190420616</c:v>
                </c:pt>
                <c:pt idx="40">
                  <c:v>1.2367822903677135</c:v>
                </c:pt>
                <c:pt idx="41">
                  <c:v>1.3315033374584375</c:v>
                </c:pt>
                <c:pt idx="42">
                  <c:v>1.1578534988928924</c:v>
                </c:pt>
                <c:pt idx="43">
                  <c:v>1.0803748542270832</c:v>
                </c:pt>
                <c:pt idx="44">
                  <c:v>0.9592992629773955</c:v>
                </c:pt>
                <c:pt idx="45">
                  <c:v>0.9375167492438203</c:v>
                </c:pt>
                <c:pt idx="46">
                  <c:v>1.0148331148366214</c:v>
                </c:pt>
                <c:pt idx="47">
                  <c:v>0.9233558612357544</c:v>
                </c:pt>
                <c:pt idx="48">
                  <c:v>1.0136479305569797</c:v>
                </c:pt>
                <c:pt idx="49">
                  <c:v>0.9763898495001648</c:v>
                </c:pt>
                <c:pt idx="50">
                  <c:v>0.8239018888577256</c:v>
                </c:pt>
                <c:pt idx="51">
                  <c:v>0.8574651800721464</c:v>
                </c:pt>
              </c:numCache>
            </c:numRef>
          </c:xVal>
          <c:yVal>
            <c:numRef>
              <c:f>Sheet1!$B$105:$B$156</c:f>
              <c:numCache>
                <c:formatCode>General</c:formatCode>
                <c:ptCount val="52"/>
                <c:pt idx="0">
                  <c:v>0.12858141160027953</c:v>
                </c:pt>
                <c:pt idx="1">
                  <c:v>0.201171875</c:v>
                </c:pt>
                <c:pt idx="2">
                  <c:v>0.1965255157437568</c:v>
                </c:pt>
                <c:pt idx="3">
                  <c:v>0.18570591681312243</c:v>
                </c:pt>
                <c:pt idx="4">
                  <c:v>0.1908763505402161</c:v>
                </c:pt>
                <c:pt idx="5">
                  <c:v>0.17761692650334077</c:v>
                </c:pt>
                <c:pt idx="6">
                  <c:v>0.13167104111986003</c:v>
                </c:pt>
                <c:pt idx="7">
                  <c:v>0.11405166981726528</c:v>
                </c:pt>
                <c:pt idx="8">
                  <c:v>0.0954356846473029</c:v>
                </c:pt>
                <c:pt idx="9">
                  <c:v>0.08831908831908832</c:v>
                </c:pt>
                <c:pt idx="10">
                  <c:v>0.08379888268156424</c:v>
                </c:pt>
                <c:pt idx="11">
                  <c:v>0.08291770573566085</c:v>
                </c:pt>
                <c:pt idx="12">
                  <c:v>0.07384341637010676</c:v>
                </c:pt>
                <c:pt idx="13">
                  <c:v>0.0834862385321101</c:v>
                </c:pt>
                <c:pt idx="14">
                  <c:v>0.09195402298850575</c:v>
                </c:pt>
                <c:pt idx="15">
                  <c:v>0.08759124087591241</c:v>
                </c:pt>
                <c:pt idx="16">
                  <c:v>0.07359813084112149</c:v>
                </c:pt>
                <c:pt idx="17">
                  <c:v>0.09130913091309131</c:v>
                </c:pt>
                <c:pt idx="18">
                  <c:v>0.06746987951807229</c:v>
                </c:pt>
                <c:pt idx="19">
                  <c:v>0.09226594301221167</c:v>
                </c:pt>
                <c:pt idx="20">
                  <c:v>0.09295352323838081</c:v>
                </c:pt>
                <c:pt idx="21">
                  <c:v>0.09177820267686425</c:v>
                </c:pt>
                <c:pt idx="22">
                  <c:v>0.09665427509293681</c:v>
                </c:pt>
                <c:pt idx="23">
                  <c:v>0.08807339449541285</c:v>
                </c:pt>
                <c:pt idx="24">
                  <c:v>0.08206686930091185</c:v>
                </c:pt>
                <c:pt idx="25">
                  <c:v>0.0839041095890411</c:v>
                </c:pt>
                <c:pt idx="26">
                  <c:v>0.10213414634146341</c:v>
                </c:pt>
                <c:pt idx="27">
                  <c:v>0.1038961038961039</c:v>
                </c:pt>
                <c:pt idx="28">
                  <c:v>0.10499490316004077</c:v>
                </c:pt>
                <c:pt idx="29">
                  <c:v>0.11894882434301521</c:v>
                </c:pt>
                <c:pt idx="30">
                  <c:v>0.11079545454545454</c:v>
                </c:pt>
                <c:pt idx="31">
                  <c:v>0.11518324607329843</c:v>
                </c:pt>
                <c:pt idx="32">
                  <c:v>0.12302483069977427</c:v>
                </c:pt>
                <c:pt idx="33">
                  <c:v>0.1204933586337761</c:v>
                </c:pt>
                <c:pt idx="34">
                  <c:v>0.13544415127528583</c:v>
                </c:pt>
                <c:pt idx="35">
                  <c:v>0.1358974358974359</c:v>
                </c:pt>
                <c:pt idx="36">
                  <c:v>0.15172413793103448</c:v>
                </c:pt>
                <c:pt idx="37">
                  <c:v>0.07667731629392971</c:v>
                </c:pt>
                <c:pt idx="38">
                  <c:v>0.10122699386503067</c:v>
                </c:pt>
                <c:pt idx="39">
                  <c:v>0.09915356711003627</c:v>
                </c:pt>
                <c:pt idx="40">
                  <c:v>0.09403973509933775</c:v>
                </c:pt>
                <c:pt idx="41">
                  <c:v>0.10595238095238095</c:v>
                </c:pt>
                <c:pt idx="42">
                  <c:v>0.1093969144460028</c:v>
                </c:pt>
                <c:pt idx="43">
                  <c:v>0.11446409989594172</c:v>
                </c:pt>
                <c:pt idx="44">
                  <c:v>0.10344827586206896</c:v>
                </c:pt>
                <c:pt idx="45">
                  <c:v>0.09782608695652174</c:v>
                </c:pt>
                <c:pt idx="46">
                  <c:v>0.08981380065717415</c:v>
                </c:pt>
                <c:pt idx="47">
                  <c:v>0.08342245989304813</c:v>
                </c:pt>
                <c:pt idx="48">
                  <c:v>0.07873701039168665</c:v>
                </c:pt>
                <c:pt idx="49">
                  <c:v>0.08208955223880597</c:v>
                </c:pt>
                <c:pt idx="50">
                  <c:v>0.12295345104333869</c:v>
                </c:pt>
                <c:pt idx="51">
                  <c:v>0.12154696132596685</c:v>
                </c:pt>
              </c:numCache>
            </c:numRef>
          </c:yVal>
          <c:smooth val="0"/>
          <c:extLst>
            <c:ext xmlns:c16="http://schemas.microsoft.com/office/drawing/2014/chart" uri="{C3380CC4-5D6E-409C-BE32-E72D297353CC}">
              <c16:uniqueId val="{00000002-096C-4121-9522-6AB7243CCAAE}"/>
            </c:ext>
          </c:extLst>
        </c:ser>
        <c:ser>
          <c:idx val="2"/>
          <c:order val="2"/>
          <c:tx>
            <c:strRef>
              <c:f>Sheet1!$B$15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9:$A$160</c:f>
              <c:numCache>
                <c:formatCode>General</c:formatCode>
                <c:ptCount val="2"/>
                <c:pt idx="0">
                  <c:v>0</c:v>
                </c:pt>
                <c:pt idx="1">
                  <c:v>0.40103360492977885</c:v>
                </c:pt>
              </c:numCache>
            </c:numRef>
          </c:xVal>
          <c:yVal>
            <c:numRef>
              <c:f>Sheet1!$B$159:$B$160</c:f>
              <c:numCache>
                <c:formatCode>General</c:formatCode>
                <c:ptCount val="2"/>
                <c:pt idx="0">
                  <c:v>0.14568101191980298</c:v>
                </c:pt>
                <c:pt idx="1">
                  <c:v>0.14568101191980298</c:v>
                </c:pt>
              </c:numCache>
            </c:numRef>
          </c:yVal>
          <c:smooth val="0"/>
          <c:extLst>
            <c:ext xmlns:c16="http://schemas.microsoft.com/office/drawing/2014/chart" uri="{C3380CC4-5D6E-409C-BE32-E72D297353CC}">
              <c16:uniqueId val="{00000005-096C-4121-9522-6AB7243CCAAE}"/>
            </c:ext>
          </c:extLst>
        </c:ser>
        <c:ser>
          <c:idx val="3"/>
          <c:order val="3"/>
          <c:tx>
            <c:strRef>
              <c:f>Sheet1!$B$16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3:$A$164</c:f>
              <c:numCache>
                <c:formatCode>General</c:formatCode>
                <c:ptCount val="2"/>
                <c:pt idx="0">
                  <c:v>0.40103360492977885</c:v>
                </c:pt>
                <c:pt idx="1">
                  <c:v>0.40103360492977885</c:v>
                </c:pt>
              </c:numCache>
            </c:numRef>
          </c:xVal>
          <c:yVal>
            <c:numRef>
              <c:f>Sheet1!$B$163:$B$164</c:f>
              <c:numCache>
                <c:formatCode>General</c:formatCode>
                <c:ptCount val="2"/>
                <c:pt idx="0">
                  <c:v>0.145681011919802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7:$A$168</c:f>
              <c:numCache>
                <c:formatCode>General</c:formatCode>
                <c:ptCount val="2"/>
                <c:pt idx="0">
                  <c:v>0</c:v>
                </c:pt>
                <c:pt idx="1">
                  <c:v>0.17474869220606673</c:v>
                </c:pt>
              </c:numCache>
            </c:numRef>
          </c:xVal>
          <c:yVal>
            <c:numRef>
              <c:f>Sheet1!$B$167:$B$168</c:f>
              <c:numCache>
                <c:formatCode>General</c:formatCode>
                <c:ptCount val="2"/>
                <c:pt idx="0">
                  <c:v>0.1579595990872382</c:v>
                </c:pt>
                <c:pt idx="1">
                  <c:v>0.1579595990872382</c:v>
                </c:pt>
              </c:numCache>
            </c:numRef>
          </c:yVal>
          <c:smooth val="0"/>
          <c:extLst>
            <c:ext xmlns:c16="http://schemas.microsoft.com/office/drawing/2014/chart" uri="{C3380CC4-5D6E-409C-BE32-E72D297353CC}">
              <c16:uniqueId val="{0000000D-096C-4121-9522-6AB7243CCAAE}"/>
            </c:ext>
          </c:extLst>
        </c:ser>
        <c:ser>
          <c:idx val="5"/>
          <c:order val="5"/>
          <c:tx>
            <c:strRef>
              <c:f>Sheet1!$B$17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1:$A$172</c:f>
              <c:numCache>
                <c:formatCode>General</c:formatCode>
                <c:ptCount val="2"/>
                <c:pt idx="0">
                  <c:v>0.17474869220606673</c:v>
                </c:pt>
                <c:pt idx="1">
                  <c:v>0.17474869220606673</c:v>
                </c:pt>
              </c:numCache>
            </c:numRef>
          </c:xVal>
          <c:yVal>
            <c:numRef>
              <c:f>Sheet1!$B$171:$B$172</c:f>
              <c:numCache>
                <c:formatCode>General</c:formatCode>
                <c:ptCount val="2"/>
                <c:pt idx="0">
                  <c:v>0.15795959908723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5:$A$176</c:f>
              <c:numCache>
                <c:formatCode>General</c:formatCode>
                <c:ptCount val="2"/>
                <c:pt idx="0">
                  <c:v>0</c:v>
                </c:pt>
                <c:pt idx="1">
                  <c:v>1.2388673335761275</c:v>
                </c:pt>
              </c:numCache>
            </c:numRef>
          </c:xVal>
          <c:yVal>
            <c:numRef>
              <c:f>Sheet1!$B$175:$B$176</c:f>
              <c:numCache>
                <c:formatCode>General</c:formatCode>
                <c:ptCount val="2"/>
                <c:pt idx="0">
                  <c:v>0.10021879199017773</c:v>
                </c:pt>
                <c:pt idx="1">
                  <c:v>0.10021879199017773</c:v>
                </c:pt>
              </c:numCache>
            </c:numRef>
          </c:yVal>
          <c:smooth val="0"/>
          <c:extLst>
            <c:ext xmlns:c16="http://schemas.microsoft.com/office/drawing/2014/chart" uri="{C3380CC4-5D6E-409C-BE32-E72D297353CC}">
              <c16:uniqueId val="{00000015-096C-4121-9522-6AB7243CCAAE}"/>
            </c:ext>
          </c:extLst>
        </c:ser>
        <c:ser>
          <c:idx val="7"/>
          <c:order val="7"/>
          <c:tx>
            <c:strRef>
              <c:f>Sheet1!$B$17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9:$A$180</c:f>
              <c:numCache>
                <c:formatCode>General</c:formatCode>
                <c:ptCount val="2"/>
                <c:pt idx="0">
                  <c:v>1.2388673335761275</c:v>
                </c:pt>
                <c:pt idx="1">
                  <c:v>1.2388673335761275</c:v>
                </c:pt>
              </c:numCache>
            </c:numRef>
          </c:xVal>
          <c:yVal>
            <c:numRef>
              <c:f>Sheet1!$B$179:$B$180</c:f>
              <c:numCache>
                <c:formatCode>General</c:formatCode>
                <c:ptCount val="2"/>
                <c:pt idx="0">
                  <c:v>0.100218791990177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3:$A$237</c:f>
              <c:numCache>
                <c:formatCode>General</c:formatCode>
                <c:ptCount val="55"/>
                <c:pt idx="0">
                  <c:v>1.1177284037120128</c:v>
                </c:pt>
                <c:pt idx="1">
                  <c:v>1.0301861031787014</c:v>
                </c:pt>
                <c:pt idx="2">
                  <c:v>0.9907318541692287</c:v>
                </c:pt>
                <c:pt idx="3">
                  <c:v>0.9390242548289394</c:v>
                </c:pt>
                <c:pt idx="4">
                  <c:v>1.2973824954914337</c:v>
                </c:pt>
                <c:pt idx="5">
                  <c:v>1.0317213483146066</c:v>
                </c:pt>
                <c:pt idx="6">
                  <c:v>1.0191329846507724</c:v>
                </c:pt>
                <c:pt idx="7">
                  <c:v>1.2417346090993435</c:v>
                </c:pt>
                <c:pt idx="8">
                  <c:v>1.2762764544529284</c:v>
                </c:pt>
                <c:pt idx="9">
                  <c:v>1.1457303446353542</c:v>
                </c:pt>
                <c:pt idx="10">
                  <c:v>1.4816579219331356</c:v>
                </c:pt>
                <c:pt idx="11">
                  <c:v>1.3035587888625413</c:v>
                </c:pt>
                <c:pt idx="12">
                  <c:v>1.4148983220488667</c:v>
                </c:pt>
                <c:pt idx="13">
                  <c:v>1.1886000292670864</c:v>
                </c:pt>
                <c:pt idx="14">
                  <c:v>1.1748618223562237</c:v>
                </c:pt>
                <c:pt idx="15">
                  <c:v>1.3835614091626685</c:v>
                </c:pt>
                <c:pt idx="16">
                  <c:v>1.0602247114530976</c:v>
                </c:pt>
                <c:pt idx="17">
                  <c:v>1.0053163771019775</c:v>
                </c:pt>
                <c:pt idx="18">
                  <c:v>1.0391846678962486</c:v>
                </c:pt>
                <c:pt idx="19">
                  <c:v>1.1271028037383177</c:v>
                </c:pt>
                <c:pt idx="20">
                  <c:v>1.1174370680937404</c:v>
                </c:pt>
                <c:pt idx="21">
                  <c:v>1.1203696946198234</c:v>
                </c:pt>
                <c:pt idx="22">
                  <c:v>1.0465802454101427</c:v>
                </c:pt>
                <c:pt idx="23">
                  <c:v>1.0289483988060344</c:v>
                </c:pt>
                <c:pt idx="24">
                  <c:v>1.1911795025179255</c:v>
                </c:pt>
                <c:pt idx="25">
                  <c:v>0.9346109094898148</c:v>
                </c:pt>
                <c:pt idx="26">
                  <c:v>1.1520689423259045</c:v>
                </c:pt>
                <c:pt idx="27">
                  <c:v>0.9453241321970484</c:v>
                </c:pt>
                <c:pt idx="28">
                  <c:v>0.9634998871299733</c:v>
                </c:pt>
                <c:pt idx="29">
                  <c:v>0.9351034076592827</c:v>
                </c:pt>
                <c:pt idx="30">
                  <c:v>0.9330674782441498</c:v>
                </c:pt>
                <c:pt idx="31">
                  <c:v>1.0203509832134292</c:v>
                </c:pt>
                <c:pt idx="32">
                  <c:v>0.7587913051577441</c:v>
                </c:pt>
                <c:pt idx="33">
                  <c:v>0.8391342190016103</c:v>
                </c:pt>
                <c:pt idx="34">
                  <c:v>0.8835813633495322</c:v>
                </c:pt>
                <c:pt idx="35">
                  <c:v>0.7296123737603494</c:v>
                </c:pt>
                <c:pt idx="36">
                  <c:v>0.838470529453914</c:v>
                </c:pt>
                <c:pt idx="37">
                  <c:v>1.124202693125443</c:v>
                </c:pt>
                <c:pt idx="38">
                  <c:v>1.248039766221868</c:v>
                </c:pt>
                <c:pt idx="39">
                  <c:v>1.4498576190420616</c:v>
                </c:pt>
                <c:pt idx="40">
                  <c:v>1.2367822903677135</c:v>
                </c:pt>
                <c:pt idx="41">
                  <c:v>1.3315033374584375</c:v>
                </c:pt>
                <c:pt idx="42">
                  <c:v>1.1578534988928924</c:v>
                </c:pt>
                <c:pt idx="43">
                  <c:v>1.0803748542270832</c:v>
                </c:pt>
                <c:pt idx="44">
                  <c:v>0.9592992629773955</c:v>
                </c:pt>
                <c:pt idx="45">
                  <c:v>0.9375167492438203</c:v>
                </c:pt>
                <c:pt idx="46">
                  <c:v>1.0148331148366214</c:v>
                </c:pt>
                <c:pt idx="47">
                  <c:v>0.9233558612357544</c:v>
                </c:pt>
                <c:pt idx="48">
                  <c:v>1.0136479305569797</c:v>
                </c:pt>
                <c:pt idx="49">
                  <c:v>0.9763898495001648</c:v>
                </c:pt>
                <c:pt idx="50">
                  <c:v>0.8239018888577256</c:v>
                </c:pt>
                <c:pt idx="51">
                  <c:v>0.8574651800721464</c:v>
                </c:pt>
                <c:pt idx="52">
                  <c:v>0.17474869220606673</c:v>
                </c:pt>
                <c:pt idx="53">
                  <c:v>0.40103360492977885</c:v>
                </c:pt>
                <c:pt idx="54">
                  <c:v>1.2388673335761275</c:v>
                </c:pt>
              </c:numCache>
            </c:numRef>
          </c:xVal>
          <c:yVal>
            <c:numRef>
              <c:f>Sheet1!$B$183:$B$237</c:f>
              <c:numCache>
                <c:formatCode>General</c:formatCode>
                <c:ptCount val="55"/>
                <c:pt idx="0">
                  <c:v>0.10679198722358002</c:v>
                </c:pt>
                <c:pt idx="1">
                  <c:v>0.11154217474159847</c:v>
                </c:pt>
                <c:pt idx="2">
                  <c:v>0.11368302642171024</c:v>
                </c:pt>
                <c:pt idx="3">
                  <c:v>0.11648876480734335</c:v>
                </c:pt>
                <c:pt idx="4">
                  <c:v>0.09704366419422555</c:v>
                </c:pt>
                <c:pt idx="5">
                  <c:v>0.11145886984513986</c:v>
                </c:pt>
                <c:pt idx="6">
                  <c:v>0.11214193491864075</c:v>
                </c:pt>
                <c:pt idx="7">
                  <c:v>0.10006320895982411</c:v>
                </c:pt>
                <c:pt idx="8">
                  <c:v>0.09818891228669194</c:v>
                </c:pt>
                <c:pt idx="9">
                  <c:v>0.10527255639478048</c:v>
                </c:pt>
                <c:pt idx="10">
                  <c:v>0.08704458003458758</c:v>
                </c:pt>
                <c:pt idx="11">
                  <c:v>0.09670852847697431</c:v>
                </c:pt>
                <c:pt idx="12">
                  <c:v>0.09066706443522873</c:v>
                </c:pt>
                <c:pt idx="13">
                  <c:v>0.10294637762636265</c:v>
                </c:pt>
                <c:pt idx="14">
                  <c:v>0.10369183506340021</c:v>
                </c:pt>
                <c:pt idx="15">
                  <c:v>0.09236745626338966</c:v>
                </c:pt>
                <c:pt idx="16">
                  <c:v>0.10991223103193565</c:v>
                </c:pt>
                <c:pt idx="17">
                  <c:v>0.11289164650172476</c:v>
                </c:pt>
                <c:pt idx="18">
                  <c:v>0.11105389799377519</c:v>
                </c:pt>
                <c:pt idx="19">
                  <c:v>0.10628331704102156</c:v>
                </c:pt>
                <c:pt idx="20">
                  <c:v>0.1068077955677638</c:v>
                </c:pt>
                <c:pt idx="21">
                  <c:v>0.10664866648577323</c:v>
                </c:pt>
                <c:pt idx="22">
                  <c:v>0.11065260193711432</c:v>
                </c:pt>
                <c:pt idx="23">
                  <c:v>0.11160933459262161</c:v>
                </c:pt>
                <c:pt idx="24">
                  <c:v>0.10280641121510144</c:v>
                </c:pt>
                <c:pt idx="25">
                  <c:v>0.11672824009888698</c:v>
                </c:pt>
                <c:pt idx="26">
                  <c:v>0.10492861378134716</c:v>
                </c:pt>
                <c:pt idx="27">
                  <c:v>0.11614692322154163</c:v>
                </c:pt>
                <c:pt idx="28">
                  <c:v>0.11516067721604525</c:v>
                </c:pt>
                <c:pt idx="29">
                  <c:v>0.11670151634770612</c:v>
                </c:pt>
                <c:pt idx="30">
                  <c:v>0.11681198918696684</c:v>
                </c:pt>
                <c:pt idx="31">
                  <c:v>0.11207584433689854</c:v>
                </c:pt>
                <c:pt idx="32">
                  <c:v>0.12626849760677994</c:v>
                </c:pt>
                <c:pt idx="33">
                  <c:v>0.12190896051239958</c:v>
                </c:pt>
                <c:pt idx="34">
                  <c:v>0.11949718621578141</c:v>
                </c:pt>
                <c:pt idx="35">
                  <c:v>0.12785179385177958</c:v>
                </c:pt>
                <c:pt idx="36">
                  <c:v>0.12194497338601726</c:v>
                </c:pt>
                <c:pt idx="37">
                  <c:v>0.10644068175671018</c:v>
                </c:pt>
                <c:pt idx="38">
                  <c:v>0.0997210808859661</c:v>
                </c:pt>
                <c:pt idx="39">
                  <c:v>0.08877011615760626</c:v>
                </c:pt>
                <c:pt idx="40">
                  <c:v>0.10033192982369137</c:v>
                </c:pt>
                <c:pt idx="41">
                  <c:v>0.09519221184914733</c:v>
                </c:pt>
                <c:pt idx="42">
                  <c:v>0.10461473433981568</c:v>
                </c:pt>
                <c:pt idx="43">
                  <c:v>0.10881885153301725</c:v>
                </c:pt>
                <c:pt idx="44">
                  <c:v>0.11538860991025025</c:v>
                </c:pt>
                <c:pt idx="45">
                  <c:v>0.11657056451068849</c:v>
                </c:pt>
                <c:pt idx="46">
                  <c:v>0.1123752528437564</c:v>
                </c:pt>
                <c:pt idx="47">
                  <c:v>0.11733895731108532</c:v>
                </c:pt>
                <c:pt idx="48">
                  <c:v>0.11243956286916594</c:v>
                </c:pt>
                <c:pt idx="49">
                  <c:v>0.11446124690651949</c:v>
                </c:pt>
                <c:pt idx="50">
                  <c:v>0.12273549150460586</c:v>
                </c:pt>
                <c:pt idx="51">
                  <c:v>0.12091429276960466</c:v>
                </c:pt>
                <c:pt idx="52">
                  <c:v>0.1579595990872382</c:v>
                </c:pt>
                <c:pt idx="53">
                  <c:v>0.14568101191980298</c:v>
                </c:pt>
                <c:pt idx="54">
                  <c:v>0.100218791990177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349090909090906"/>
          <c:min val="0.02951653944020356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2</c:f>
              <c:numCache>
                <c:formatCode>General</c:formatCode>
                <c:ptCount val="101"/>
                <c:pt idx="0">
                  <c:v>1002.4324</c:v>
                </c:pt>
                <c:pt idx="1">
                  <c:v>955.9392</c:v>
                </c:pt>
                <c:pt idx="2">
                  <c:v>912.3264</c:v>
                </c:pt>
                <c:pt idx="3">
                  <c:v>926.6237</c:v>
                </c:pt>
                <c:pt idx="4">
                  <c:v>946.4932</c:v>
                </c:pt>
                <c:pt idx="5">
                  <c:v>956.8205</c:v>
                </c:pt>
                <c:pt idx="6">
                  <c:v>919.2747</c:v>
                </c:pt>
                <c:pt idx="7">
                  <c:v>929.7253</c:v>
                </c:pt>
                <c:pt idx="8">
                  <c:v>960.7895</c:v>
                </c:pt>
                <c:pt idx="9">
                  <c:v>927.8611</c:v>
                </c:pt>
                <c:pt idx="10">
                  <c:v>946.3281</c:v>
                </c:pt>
                <c:pt idx="11">
                  <c:v>939.71</c:v>
                </c:pt>
                <c:pt idx="12">
                  <c:v>963.5506</c:v>
                </c:pt>
                <c:pt idx="13">
                  <c:v>990.087</c:v>
                </c:pt>
                <c:pt idx="14">
                  <c:v>1011.4667</c:v>
                </c:pt>
                <c:pt idx="15">
                  <c:v>1016.434</c:v>
                </c:pt>
                <c:pt idx="16">
                  <c:v>991.4</c:v>
                </c:pt>
                <c:pt idx="17">
                  <c:v>993.2609</c:v>
                </c:pt>
                <c:pt idx="18">
                  <c:v>1000.5098</c:v>
                </c:pt>
                <c:pt idx="19">
                  <c:v>1015.9592</c:v>
                </c:pt>
                <c:pt idx="20">
                  <c:v>930.3966</c:v>
                </c:pt>
                <c:pt idx="21">
                  <c:v>932.5769</c:v>
                </c:pt>
                <c:pt idx="22">
                  <c:v>948.5333</c:v>
                </c:pt>
                <c:pt idx="23">
                  <c:v>862.3421</c:v>
                </c:pt>
                <c:pt idx="24">
                  <c:v>825.9651</c:v>
                </c:pt>
                <c:pt idx="25">
                  <c:v>822.713</c:v>
                </c:pt>
                <c:pt idx="26">
                  <c:v>826.2364</c:v>
                </c:pt>
                <c:pt idx="27">
                  <c:v>895.1731</c:v>
                </c:pt>
                <c:pt idx="28">
                  <c:v>957.5957</c:v>
                </c:pt>
                <c:pt idx="29">
                  <c:v>922.974</c:v>
                </c:pt>
                <c:pt idx="30">
                  <c:v>933.6129</c:v>
                </c:pt>
                <c:pt idx="31">
                  <c:v>983.8364</c:v>
                </c:pt>
                <c:pt idx="32">
                  <c:v>1125.8235</c:v>
                </c:pt>
                <c:pt idx="33">
                  <c:v>1183.4828</c:v>
                </c:pt>
                <c:pt idx="34">
                  <c:v>1216.4545</c:v>
                </c:pt>
                <c:pt idx="35">
                  <c:v>1135.2941</c:v>
                </c:pt>
                <c:pt idx="36">
                  <c:v>1137.859</c:v>
                </c:pt>
                <c:pt idx="37">
                  <c:v>1141.6286</c:v>
                </c:pt>
                <c:pt idx="38">
                  <c:v>1141.9302</c:v>
                </c:pt>
                <c:pt idx="39">
                  <c:v>1149.0211</c:v>
                </c:pt>
                <c:pt idx="40">
                  <c:v>986.4515</c:v>
                </c:pt>
                <c:pt idx="41">
                  <c:v>946.9858</c:v>
                </c:pt>
                <c:pt idx="42">
                  <c:v>940.5664</c:v>
                </c:pt>
                <c:pt idx="43">
                  <c:v>931.2686</c:v>
                </c:pt>
                <c:pt idx="44">
                  <c:v>940.178</c:v>
                </c:pt>
                <c:pt idx="45">
                  <c:v>908.3728</c:v>
                </c:pt>
                <c:pt idx="46">
                  <c:v>891.7677</c:v>
                </c:pt>
                <c:pt idx="47">
                  <c:v>920.3128</c:v>
                </c:pt>
                <c:pt idx="48">
                  <c:v>916.4852</c:v>
                </c:pt>
                <c:pt idx="49">
                  <c:v>1059.8289</c:v>
                </c:pt>
                <c:pt idx="50">
                  <c:v>1110.8911</c:v>
                </c:pt>
                <c:pt idx="51">
                  <c:v>1119.17</c:v>
                </c:pt>
                <c:pt idx="52">
                  <c:v>1123.2626</c:v>
                </c:pt>
                <c:pt idx="53">
                  <c:v>1115.6818</c:v>
                </c:pt>
                <c:pt idx="54">
                  <c:v>1040.2335</c:v>
                </c:pt>
                <c:pt idx="55">
                  <c:v>1045.6243</c:v>
                </c:pt>
                <c:pt idx="56">
                  <c:v>1049.3333</c:v>
                </c:pt>
                <c:pt idx="57">
                  <c:v>1000.81</c:v>
                </c:pt>
                <c:pt idx="58">
                  <c:v>986.3406</c:v>
                </c:pt>
                <c:pt idx="59">
                  <c:v>969.2563</c:v>
                </c:pt>
                <c:pt idx="60">
                  <c:v>988.3622</c:v>
                </c:pt>
                <c:pt idx="61">
                  <c:v>967.6</c:v>
                </c:pt>
                <c:pt idx="62">
                  <c:v>953.2817</c:v>
                </c:pt>
                <c:pt idx="63">
                  <c:v>1043.6746</c:v>
                </c:pt>
                <c:pt idx="64">
                  <c:v>1105.4286</c:v>
                </c:pt>
                <c:pt idx="65">
                  <c:v>1101.3273</c:v>
                </c:pt>
                <c:pt idx="66">
                  <c:v>1092.5968</c:v>
                </c:pt>
                <c:pt idx="67">
                  <c:v>1183.5692</c:v>
                </c:pt>
                <c:pt idx="68">
                  <c:v>1199.9067</c:v>
                </c:pt>
                <c:pt idx="69">
                  <c:v>1162.4359</c:v>
                </c:pt>
                <c:pt idx="70">
                  <c:v>1129.8421</c:v>
                </c:pt>
                <c:pt idx="71">
                  <c:v>1093.8052</c:v>
                </c:pt>
                <c:pt idx="72">
                  <c:v>1122.507</c:v>
                </c:pt>
                <c:pt idx="73">
                  <c:v>1140.6825</c:v>
                </c:pt>
                <c:pt idx="74">
                  <c:v>1134.2154</c:v>
                </c:pt>
                <c:pt idx="75">
                  <c:v>1142.3793</c:v>
                </c:pt>
                <c:pt idx="76">
                  <c:v>1195.2857</c:v>
                </c:pt>
                <c:pt idx="77">
                  <c:v>1186.5</c:v>
                </c:pt>
                <c:pt idx="78">
                  <c:v>1163.2174</c:v>
                </c:pt>
                <c:pt idx="79">
                  <c:v>1196.1795</c:v>
                </c:pt>
                <c:pt idx="80">
                  <c:v>1179.6765</c:v>
                </c:pt>
                <c:pt idx="81">
                  <c:v>1174.3953</c:v>
                </c:pt>
                <c:pt idx="82">
                  <c:v>1137.5738</c:v>
                </c:pt>
                <c:pt idx="83">
                  <c:v>1097.8592</c:v>
                </c:pt>
                <c:pt idx="84">
                  <c:v>1121.26</c:v>
                </c:pt>
                <c:pt idx="85">
                  <c:v>1064.697</c:v>
                </c:pt>
                <c:pt idx="86">
                  <c:v>1133.9333</c:v>
                </c:pt>
                <c:pt idx="87">
                  <c:v>1157.5484</c:v>
                </c:pt>
                <c:pt idx="88">
                  <c:v>1116.2824</c:v>
                </c:pt>
                <c:pt idx="89">
                  <c:v>1138.3667</c:v>
                </c:pt>
                <c:pt idx="90">
                  <c:v>1129.2619</c:v>
                </c:pt>
                <c:pt idx="91">
                  <c:v>1143.094</c:v>
                </c:pt>
                <c:pt idx="92">
                  <c:v>1109.4428</c:v>
                </c:pt>
                <c:pt idx="93">
                  <c:v>1104.4295</c:v>
                </c:pt>
                <c:pt idx="94">
                  <c:v>1076.228</c:v>
                </c:pt>
                <c:pt idx="95">
                  <c:v>1038.3034</c:v>
                </c:pt>
                <c:pt idx="96">
                  <c:v>1070.0272</c:v>
                </c:pt>
                <c:pt idx="97">
                  <c:v>1070.6854</c:v>
                </c:pt>
                <c:pt idx="98">
                  <c:v>1117.1351</c:v>
                </c:pt>
                <c:pt idx="99">
                  <c:v>895.6073</c:v>
                </c:pt>
                <c:pt idx="100">
                  <c:v>1097.3629</c:v>
                </c:pt>
              </c:numCache>
            </c:numRef>
          </c:xVal>
          <c:yVal>
            <c:numRef>
              <c:f>Sheet1!$B$2:$B$102</c:f>
              <c:numCache>
                <c:formatCode>General</c:formatCode>
                <c:ptCount val="101"/>
                <c:pt idx="0">
                  <c:v>0.08795562599049128</c:v>
                </c:pt>
                <c:pt idx="1">
                  <c:v>0.1126331811263318</c:v>
                </c:pt>
                <c:pt idx="2">
                  <c:v>0.10950570342205324</c:v>
                </c:pt>
                <c:pt idx="3">
                  <c:v>0.10739030023094688</c:v>
                </c:pt>
                <c:pt idx="4">
                  <c:v>0.09630606860158311</c:v>
                </c:pt>
                <c:pt idx="5">
                  <c:v>0.06136900078678206</c:v>
                </c:pt>
                <c:pt idx="6">
                  <c:v>0.07724957555178268</c:v>
                </c:pt>
                <c:pt idx="7">
                  <c:v>0.0937178166838311</c:v>
                </c:pt>
                <c:pt idx="8">
                  <c:v>0.09424603174603174</c:v>
                </c:pt>
                <c:pt idx="9">
                  <c:v>0.09457092819614711</c:v>
                </c:pt>
                <c:pt idx="10">
                  <c:v>0.1114012184508268</c:v>
                </c:pt>
                <c:pt idx="11">
                  <c:v>0.10683760683760683</c:v>
                </c:pt>
                <c:pt idx="12">
                  <c:v>0.1063321385902031</c:v>
                </c:pt>
                <c:pt idx="13">
                  <c:v>0.09375</c:v>
                </c:pt>
                <c:pt idx="14">
                  <c:v>0.09168704156479218</c:v>
                </c:pt>
                <c:pt idx="15">
                  <c:v>0.07794117647058824</c:v>
                </c:pt>
                <c:pt idx="16">
                  <c:v>0.08312020460358056</c:v>
                </c:pt>
                <c:pt idx="17">
                  <c:v>0.0856610800744879</c:v>
                </c:pt>
                <c:pt idx="18">
                  <c:v>0.0794392523364486</c:v>
                </c:pt>
                <c:pt idx="19">
                  <c:v>0.08305084745762711</c:v>
                </c:pt>
                <c:pt idx="20">
                  <c:v>0.08405797101449275</c:v>
                </c:pt>
                <c:pt idx="21">
                  <c:v>0.08387096774193549</c:v>
                </c:pt>
                <c:pt idx="22">
                  <c:v>0.08163265306122448</c:v>
                </c:pt>
                <c:pt idx="23">
                  <c:v>0.089728453364817</c:v>
                </c:pt>
                <c:pt idx="24">
                  <c:v>0.10411622276029056</c:v>
                </c:pt>
                <c:pt idx="25">
                  <c:v>0.12312633832976445</c:v>
                </c:pt>
                <c:pt idx="26">
                  <c:v>0.07493188010899182</c:v>
                </c:pt>
                <c:pt idx="27">
                  <c:v>0.06692406692406692</c:v>
                </c:pt>
                <c:pt idx="28">
                  <c:v>0.05867665418227216</c:v>
                </c:pt>
                <c:pt idx="29">
                  <c:v>0.07243650047036689</c:v>
                </c:pt>
                <c:pt idx="30">
                  <c:v>0.05740740740740741</c:v>
                </c:pt>
                <c:pt idx="31">
                  <c:v>0.055055055055055056</c:v>
                </c:pt>
                <c:pt idx="32">
                  <c:v>0.044270833333333336</c:v>
                </c:pt>
                <c:pt idx="33">
                  <c:v>0.03689567430025445</c:v>
                </c:pt>
                <c:pt idx="34">
                  <c:v>0.04325032765399738</c:v>
                </c:pt>
                <c:pt idx="35">
                  <c:v>0.08095238095238096</c:v>
                </c:pt>
                <c:pt idx="36">
                  <c:v>0.07647058823529412</c:v>
                </c:pt>
                <c:pt idx="37">
                  <c:v>0.08111239860950174</c:v>
                </c:pt>
                <c:pt idx="38">
                  <c:v>0.07904411764705882</c:v>
                </c:pt>
                <c:pt idx="39">
                  <c:v>0.08175559380378658</c:v>
                </c:pt>
                <c:pt idx="40">
                  <c:v>0.1116201582673886</c:v>
                </c:pt>
                <c:pt idx="41">
                  <c:v>0.13517665130568357</c:v>
                </c:pt>
                <c:pt idx="42">
                  <c:v>0.12836624775583483</c:v>
                </c:pt>
                <c:pt idx="43">
                  <c:v>0.1267921146953405</c:v>
                </c:pt>
                <c:pt idx="44">
                  <c:v>0.14854717597126998</c:v>
                </c:pt>
                <c:pt idx="45">
                  <c:v>0.17379870906048292</c:v>
                </c:pt>
                <c:pt idx="46">
                  <c:v>0.15476810838978636</c:v>
                </c:pt>
                <c:pt idx="47">
                  <c:v>0.11838624338624339</c:v>
                </c:pt>
                <c:pt idx="48">
                  <c:v>0.12210200927357033</c:v>
                </c:pt>
                <c:pt idx="49">
                  <c:v>0.09954158480681075</c:v>
                </c:pt>
                <c:pt idx="50">
                  <c:v>0.08305921052631579</c:v>
                </c:pt>
                <c:pt idx="51">
                  <c:v>0.08438818565400844</c:v>
                </c:pt>
                <c:pt idx="52">
                  <c:v>0.09366130558183539</c:v>
                </c:pt>
                <c:pt idx="53">
                  <c:v>0.08847184986595175</c:v>
                </c:pt>
                <c:pt idx="54">
                  <c:v>0.10914127423822714</c:v>
                </c:pt>
                <c:pt idx="55">
                  <c:v>0.11871859296482412</c:v>
                </c:pt>
                <c:pt idx="56">
                  <c:v>0.1592620481927711</c:v>
                </c:pt>
                <c:pt idx="57">
                  <c:v>0.2029090909090909</c:v>
                </c:pt>
                <c:pt idx="58">
                  <c:v>0.15036112934996718</c:v>
                </c:pt>
                <c:pt idx="59">
                  <c:v>0.14819427148194272</c:v>
                </c:pt>
                <c:pt idx="60">
                  <c:v>0.11828644501278772</c:v>
                </c:pt>
                <c:pt idx="61">
                  <c:v>0.10662604722010663</c:v>
                </c:pt>
                <c:pt idx="62">
                  <c:v>0.10612855007473841</c:v>
                </c:pt>
                <c:pt idx="63">
                  <c:v>0.09820732657833203</c:v>
                </c:pt>
                <c:pt idx="64">
                  <c:v>0.08004158004158005</c:v>
                </c:pt>
                <c:pt idx="65">
                  <c:v>0.07246376811594203</c:v>
                </c:pt>
                <c:pt idx="66">
                  <c:v>0.0713463751438435</c:v>
                </c:pt>
                <c:pt idx="67">
                  <c:v>0.08259212198221093</c:v>
                </c:pt>
                <c:pt idx="68">
                  <c:v>0.07845188284518828</c:v>
                </c:pt>
                <c:pt idx="69">
                  <c:v>0.09101516919486581</c:v>
                </c:pt>
                <c:pt idx="70">
                  <c:v>0.09295499021526418</c:v>
                </c:pt>
                <c:pt idx="71">
                  <c:v>0.08671171171171171</c:v>
                </c:pt>
                <c:pt idx="72">
                  <c:v>0.09137709137709138</c:v>
                </c:pt>
                <c:pt idx="73">
                  <c:v>0.0891089108910891</c:v>
                </c:pt>
                <c:pt idx="74">
                  <c:v>0.09447674418604651</c:v>
                </c:pt>
                <c:pt idx="75">
                  <c:v>0.07323232323232323</c:v>
                </c:pt>
                <c:pt idx="76">
                  <c:v>0.06557377049180328</c:v>
                </c:pt>
                <c:pt idx="77">
                  <c:v>0.06528189910979229</c:v>
                </c:pt>
                <c:pt idx="78">
                  <c:v>0.06552706552706553</c:v>
                </c:pt>
                <c:pt idx="79">
                  <c:v>0.0630048465266559</c:v>
                </c:pt>
                <c:pt idx="80">
                  <c:v>0.05519480519480519</c:v>
                </c:pt>
                <c:pt idx="81">
                  <c:v>0.058663028649386086</c:v>
                </c:pt>
                <c:pt idx="82">
                  <c:v>0.0671806167400881</c:v>
                </c:pt>
                <c:pt idx="83">
                  <c:v>0.07776560788608981</c:v>
                </c:pt>
                <c:pt idx="84">
                  <c:v>0.07320644216691069</c:v>
                </c:pt>
                <c:pt idx="85">
                  <c:v>0.09217877094972067</c:v>
                </c:pt>
                <c:pt idx="86">
                  <c:v>0.08426966292134831</c:v>
                </c:pt>
                <c:pt idx="87">
                  <c:v>0.08882521489971347</c:v>
                </c:pt>
                <c:pt idx="88">
                  <c:v>0.09219088937093275</c:v>
                </c:pt>
                <c:pt idx="89">
                  <c:v>0.08403361344537816</c:v>
                </c:pt>
                <c:pt idx="90">
                  <c:v>0.08851422550052687</c:v>
                </c:pt>
                <c:pt idx="91">
                  <c:v>0.09219858156028368</c:v>
                </c:pt>
                <c:pt idx="92">
                  <c:v>0.09115646258503401</c:v>
                </c:pt>
                <c:pt idx="93">
                  <c:v>0.11122733612273361</c:v>
                </c:pt>
                <c:pt idx="94">
                  <c:v>0.10616327847692804</c:v>
                </c:pt>
                <c:pt idx="95">
                  <c:v>0.11124156149104784</c:v>
                </c:pt>
                <c:pt idx="96">
                  <c:v>0.11532426778242678</c:v>
                </c:pt>
                <c:pt idx="97">
                  <c:v>0.12541099107562237</c:v>
                </c:pt>
                <c:pt idx="98">
                  <c:v>0.09986504723346828</c:v>
                </c:pt>
                <c:pt idx="99">
                  <c:v>0.14352120859965137</c:v>
                </c:pt>
                <c:pt idx="100">
                  <c:v>0.10341951626355296</c:v>
                </c:pt>
              </c:numCache>
            </c:numRef>
          </c:yVal>
          <c:smooth val="0"/>
          <c:extLst>
            <c:ext xmlns:c16="http://schemas.microsoft.com/office/drawing/2014/chart" uri="{C3380CC4-5D6E-409C-BE32-E72D297353CC}">
              <c16:uniqueId val="{00000000-F32D-48B7-BC20-E66FC6253BAD}"/>
            </c:ext>
          </c:extLst>
        </c:ser>
        <c:ser>
          <c:idx val="1"/>
          <c:order val="1"/>
          <c:tx>
            <c:strRef>
              <c:f>Sheet1!$B$10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5:$A$156</c:f>
              <c:numCache>
                <c:formatCode>General</c:formatCode>
                <c:ptCount val="52"/>
                <c:pt idx="0">
                  <c:v>1064.3315</c:v>
                </c:pt>
                <c:pt idx="1">
                  <c:v>939.2524</c:v>
                </c:pt>
                <c:pt idx="2">
                  <c:v>913.5691</c:v>
                </c:pt>
                <c:pt idx="3">
                  <c:v>930.2271</c:v>
                </c:pt>
                <c:pt idx="4">
                  <c:v>920.8302</c:v>
                </c:pt>
                <c:pt idx="5">
                  <c:v>918.232</c:v>
                </c:pt>
                <c:pt idx="6">
                  <c:v>926.3555</c:v>
                </c:pt>
                <c:pt idx="7">
                  <c:v>1034.6961</c:v>
                </c:pt>
                <c:pt idx="8">
                  <c:v>1202.4348</c:v>
                </c:pt>
                <c:pt idx="9">
                  <c:v>1190.7957</c:v>
                </c:pt>
                <c:pt idx="10">
                  <c:v>1199.5667</c:v>
                </c:pt>
                <c:pt idx="11">
                  <c:v>1094.1203</c:v>
                </c:pt>
                <c:pt idx="12">
                  <c:v>1201.6024</c:v>
                </c:pt>
                <c:pt idx="13">
                  <c:v>1267.9121</c:v>
                </c:pt>
                <c:pt idx="14">
                  <c:v>1158.8333</c:v>
                </c:pt>
                <c:pt idx="15">
                  <c:v>1203.369</c:v>
                </c:pt>
                <c:pt idx="16">
                  <c:v>1239.8571</c:v>
                </c:pt>
                <c:pt idx="17">
                  <c:v>1215.9759</c:v>
                </c:pt>
                <c:pt idx="18">
                  <c:v>1305.5357</c:v>
                </c:pt>
                <c:pt idx="19">
                  <c:v>1206.0</c:v>
                </c:pt>
                <c:pt idx="20">
                  <c:v>1294.5</c:v>
                </c:pt>
                <c:pt idx="21">
                  <c:v>1217.375</c:v>
                </c:pt>
                <c:pt idx="22">
                  <c:v>1179.1154</c:v>
                </c:pt>
                <c:pt idx="23">
                  <c:v>1170.2083</c:v>
                </c:pt>
                <c:pt idx="24">
                  <c:v>1102.3704</c:v>
                </c:pt>
                <c:pt idx="25">
                  <c:v>1087.1224</c:v>
                </c:pt>
                <c:pt idx="26">
                  <c:v>1118.5821</c:v>
                </c:pt>
                <c:pt idx="27">
                  <c:v>1136.9886</c:v>
                </c:pt>
                <c:pt idx="28">
                  <c:v>1097.7767</c:v>
                </c:pt>
                <c:pt idx="29">
                  <c:v>1052.0581</c:v>
                </c:pt>
                <c:pt idx="30">
                  <c:v>1088.9615</c:v>
                </c:pt>
                <c:pt idx="31">
                  <c:v>1063.7159</c:v>
                </c:pt>
                <c:pt idx="32">
                  <c:v>1051.7431</c:v>
                </c:pt>
                <c:pt idx="33">
                  <c:v>1042.2047</c:v>
                </c:pt>
                <c:pt idx="34">
                  <c:v>1017.6818</c:v>
                </c:pt>
                <c:pt idx="35">
                  <c:v>1002.3962</c:v>
                </c:pt>
                <c:pt idx="36">
                  <c:v>988.0909</c:v>
                </c:pt>
                <c:pt idx="37">
                  <c:v>1269.0</c:v>
                </c:pt>
                <c:pt idx="38">
                  <c:v>1307.5</c:v>
                </c:pt>
                <c:pt idx="39">
                  <c:v>1292.0122</c:v>
                </c:pt>
                <c:pt idx="40">
                  <c:v>1279.7324</c:v>
                </c:pt>
                <c:pt idx="41">
                  <c:v>1346.6404</c:v>
                </c:pt>
                <c:pt idx="42">
                  <c:v>1329.8333</c:v>
                </c:pt>
                <c:pt idx="43">
                  <c:v>1320.5182</c:v>
                </c:pt>
                <c:pt idx="44">
                  <c:v>1187.36</c:v>
                </c:pt>
                <c:pt idx="45">
                  <c:v>1132.0676</c:v>
                </c:pt>
                <c:pt idx="46">
                  <c:v>1105.5732</c:v>
                </c:pt>
                <c:pt idx="47">
                  <c:v>1122.5577</c:v>
                </c:pt>
                <c:pt idx="48">
                  <c:v>1120.9898</c:v>
                </c:pt>
                <c:pt idx="49">
                  <c:v>1111.0096</c:v>
                </c:pt>
                <c:pt idx="50">
                  <c:v>966.4674</c:v>
                </c:pt>
                <c:pt idx="51">
                  <c:v>954.0859</c:v>
                </c:pt>
              </c:numCache>
            </c:numRef>
          </c:xVal>
          <c:yVal>
            <c:numRef>
              <c:f>Sheet1!$B$105:$B$156</c:f>
              <c:numCache>
                <c:formatCode>General</c:formatCode>
                <c:ptCount val="52"/>
                <c:pt idx="0">
                  <c:v>0.12858141160027953</c:v>
                </c:pt>
                <c:pt idx="1">
                  <c:v>0.201171875</c:v>
                </c:pt>
                <c:pt idx="2">
                  <c:v>0.1965255157437568</c:v>
                </c:pt>
                <c:pt idx="3">
                  <c:v>0.18570591681312243</c:v>
                </c:pt>
                <c:pt idx="4">
                  <c:v>0.1908763505402161</c:v>
                </c:pt>
                <c:pt idx="5">
                  <c:v>0.17761692650334077</c:v>
                </c:pt>
                <c:pt idx="6">
                  <c:v>0.13167104111986003</c:v>
                </c:pt>
                <c:pt idx="7">
                  <c:v>0.11405166981726528</c:v>
                </c:pt>
                <c:pt idx="8">
                  <c:v>0.0954356846473029</c:v>
                </c:pt>
                <c:pt idx="9">
                  <c:v>0.08831908831908832</c:v>
                </c:pt>
                <c:pt idx="10">
                  <c:v>0.08379888268156424</c:v>
                </c:pt>
                <c:pt idx="11">
                  <c:v>0.08291770573566085</c:v>
                </c:pt>
                <c:pt idx="12">
                  <c:v>0.07384341637010676</c:v>
                </c:pt>
                <c:pt idx="13">
                  <c:v>0.0834862385321101</c:v>
                </c:pt>
                <c:pt idx="14">
                  <c:v>0.09195402298850575</c:v>
                </c:pt>
                <c:pt idx="15">
                  <c:v>0.08759124087591241</c:v>
                </c:pt>
                <c:pt idx="16">
                  <c:v>0.07359813084112149</c:v>
                </c:pt>
                <c:pt idx="17">
                  <c:v>0.09130913091309131</c:v>
                </c:pt>
                <c:pt idx="18">
                  <c:v>0.06746987951807229</c:v>
                </c:pt>
                <c:pt idx="19">
                  <c:v>0.09226594301221167</c:v>
                </c:pt>
                <c:pt idx="20">
                  <c:v>0.09295352323838081</c:v>
                </c:pt>
                <c:pt idx="21">
                  <c:v>0.09177820267686425</c:v>
                </c:pt>
                <c:pt idx="22">
                  <c:v>0.09665427509293681</c:v>
                </c:pt>
                <c:pt idx="23">
                  <c:v>0.08807339449541285</c:v>
                </c:pt>
                <c:pt idx="24">
                  <c:v>0.08206686930091185</c:v>
                </c:pt>
                <c:pt idx="25">
                  <c:v>0.0839041095890411</c:v>
                </c:pt>
                <c:pt idx="26">
                  <c:v>0.10213414634146341</c:v>
                </c:pt>
                <c:pt idx="27">
                  <c:v>0.1038961038961039</c:v>
                </c:pt>
                <c:pt idx="28">
                  <c:v>0.10499490316004077</c:v>
                </c:pt>
                <c:pt idx="29">
                  <c:v>0.11894882434301521</c:v>
                </c:pt>
                <c:pt idx="30">
                  <c:v>0.11079545454545454</c:v>
                </c:pt>
                <c:pt idx="31">
                  <c:v>0.11518324607329843</c:v>
                </c:pt>
                <c:pt idx="32">
                  <c:v>0.12302483069977427</c:v>
                </c:pt>
                <c:pt idx="33">
                  <c:v>0.1204933586337761</c:v>
                </c:pt>
                <c:pt idx="34">
                  <c:v>0.13544415127528583</c:v>
                </c:pt>
                <c:pt idx="35">
                  <c:v>0.1358974358974359</c:v>
                </c:pt>
                <c:pt idx="36">
                  <c:v>0.15172413793103448</c:v>
                </c:pt>
                <c:pt idx="37">
                  <c:v>0.07667731629392971</c:v>
                </c:pt>
                <c:pt idx="38">
                  <c:v>0.10122699386503067</c:v>
                </c:pt>
                <c:pt idx="39">
                  <c:v>0.09915356711003627</c:v>
                </c:pt>
                <c:pt idx="40">
                  <c:v>0.09403973509933775</c:v>
                </c:pt>
                <c:pt idx="41">
                  <c:v>0.10595238095238095</c:v>
                </c:pt>
                <c:pt idx="42">
                  <c:v>0.1093969144460028</c:v>
                </c:pt>
                <c:pt idx="43">
                  <c:v>0.11446409989594172</c:v>
                </c:pt>
                <c:pt idx="44">
                  <c:v>0.10344827586206896</c:v>
                </c:pt>
                <c:pt idx="45">
                  <c:v>0.09782608695652174</c:v>
                </c:pt>
                <c:pt idx="46">
                  <c:v>0.08981380065717415</c:v>
                </c:pt>
                <c:pt idx="47">
                  <c:v>0.08342245989304813</c:v>
                </c:pt>
                <c:pt idx="48">
                  <c:v>0.07873701039168665</c:v>
                </c:pt>
                <c:pt idx="49">
                  <c:v>0.08208955223880597</c:v>
                </c:pt>
                <c:pt idx="50">
                  <c:v>0.12295345104333869</c:v>
                </c:pt>
                <c:pt idx="51">
                  <c:v>0.12154696132596685</c:v>
                </c:pt>
              </c:numCache>
            </c:numRef>
          </c:yVal>
          <c:smooth val="0"/>
          <c:extLst>
            <c:ext xmlns:c16="http://schemas.microsoft.com/office/drawing/2014/chart" uri="{C3380CC4-5D6E-409C-BE32-E72D297353CC}">
              <c16:uniqueId val="{00000002-F32D-48B7-BC20-E66FC6253BAD}"/>
            </c:ext>
          </c:extLst>
        </c:ser>
        <c:ser>
          <c:idx val="2"/>
          <c:order val="2"/>
          <c:tx>
            <c:strRef>
              <c:f>Sheet1!$B$158</c:f>
              <c:strCache>
                <c:ptCount val="1"/>
                <c:pt idx="0">
                  <c:v>Custom Linep3yQ</c:v>
                </c:pt>
              </c:strCache>
            </c:strRef>
          </c:tx>
          <c:spPr>
            <a:ln w="19050" cap="rnd">
              <a:solidFill>
                <a:srgbClr val="C00000"/>
              </a:solidFill>
              <a:prstDash val="sysDot"/>
              <a:round/>
            </a:ln>
            <a:effectLst/>
          </c:spPr>
          <c:marker>
            <c:symbol val="none"/>
          </c:marker>
          <c:xVal>
            <c:numRef>
              <c:f>Sheet1!$A$159:$A$160</c:f>
              <c:numCache>
                <c:formatCode>General</c:formatCode>
                <c:ptCount val="2"/>
                <c:pt idx="0">
                  <c:v>0</c:v>
                </c:pt>
                <c:pt idx="1">
                  <c:v>937.4295492508462</c:v>
                </c:pt>
              </c:numCache>
            </c:numRef>
          </c:xVal>
          <c:yVal>
            <c:numRef>
              <c:f>Sheet1!$B$159:$B$160</c:f>
              <c:numCache>
                <c:formatCode>General</c:formatCode>
                <c:ptCount val="2"/>
                <c:pt idx="0">
                  <c:v>0.14568101191980298</c:v>
                </c:pt>
                <c:pt idx="1">
                  <c:v>0.14568101191980298</c:v>
                </c:pt>
              </c:numCache>
            </c:numRef>
          </c:yVal>
          <c:smooth val="0"/>
          <c:extLst>
            <c:ext xmlns:c16="http://schemas.microsoft.com/office/drawing/2014/chart" uri="{C3380CC4-5D6E-409C-BE32-E72D297353CC}">
              <c16:uniqueId val="{00000003-F32D-48B7-BC20-E66FC6253BAD}"/>
            </c:ext>
          </c:extLst>
        </c:ser>
        <c:ser>
          <c:idx val="3"/>
          <c:order val="3"/>
          <c:tx>
            <c:strRef>
              <c:f>Sheet1!$B$16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3:$A$164</c:f>
              <c:numCache>
                <c:formatCode>General</c:formatCode>
                <c:ptCount val="2"/>
                <c:pt idx="0">
                  <c:v>937.4295492508462</c:v>
                </c:pt>
                <c:pt idx="1">
                  <c:v>937.4295492508462</c:v>
                </c:pt>
              </c:numCache>
            </c:numRef>
          </c:xVal>
          <c:yVal>
            <c:numRef>
              <c:f>Sheet1!$B$163:$B$164</c:f>
              <c:numCache>
                <c:formatCode>General</c:formatCode>
                <c:ptCount val="2"/>
                <c:pt idx="0">
                  <c:v>0.145681011919802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7:$A$168</c:f>
              <c:numCache>
                <c:formatCode>General</c:formatCode>
                <c:ptCount val="2"/>
                <c:pt idx="0">
                  <c:v>0</c:v>
                </c:pt>
                <c:pt idx="1">
                  <c:v>873.1206503773104</c:v>
                </c:pt>
              </c:numCache>
            </c:numRef>
          </c:xVal>
          <c:yVal>
            <c:numRef>
              <c:f>Sheet1!$B$167:$B$168</c:f>
              <c:numCache>
                <c:formatCode>General</c:formatCode>
                <c:ptCount val="2"/>
                <c:pt idx="0">
                  <c:v>0.1579595990872382</c:v>
                </c:pt>
                <c:pt idx="1">
                  <c:v>0.1579595990872382</c:v>
                </c:pt>
              </c:numCache>
            </c:numRef>
          </c:yVal>
          <c:smooth val="0"/>
          <c:extLst>
            <c:ext xmlns:c16="http://schemas.microsoft.com/office/drawing/2014/chart" uri="{C3380CC4-5D6E-409C-BE32-E72D297353CC}">
              <c16:uniqueId val="{0000000A-F32D-48B7-BC20-E66FC6253BAD}"/>
            </c:ext>
          </c:extLst>
        </c:ser>
        <c:ser>
          <c:idx val="5"/>
          <c:order val="5"/>
          <c:tx>
            <c:strRef>
              <c:f>Sheet1!$B$17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1:$A$172</c:f>
              <c:numCache>
                <c:formatCode>General</c:formatCode>
                <c:ptCount val="2"/>
                <c:pt idx="0">
                  <c:v>873.1206503773104</c:v>
                </c:pt>
                <c:pt idx="1">
                  <c:v>873.1206503773104</c:v>
                </c:pt>
              </c:numCache>
            </c:numRef>
          </c:xVal>
          <c:yVal>
            <c:numRef>
              <c:f>Sheet1!$B$171:$B$172</c:f>
              <c:numCache>
                <c:formatCode>General</c:formatCode>
                <c:ptCount val="2"/>
                <c:pt idx="0">
                  <c:v>0.15795959908723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5:$A$176</c:f>
              <c:numCache>
                <c:formatCode>General</c:formatCode>
                <c:ptCount val="2"/>
                <c:pt idx="0">
                  <c:v>0</c:v>
                </c:pt>
                <c:pt idx="1">
                  <c:v>1175.5371803775477</c:v>
                </c:pt>
              </c:numCache>
            </c:numRef>
          </c:xVal>
          <c:yVal>
            <c:numRef>
              <c:f>Sheet1!$B$175:$B$176</c:f>
              <c:numCache>
                <c:formatCode>General</c:formatCode>
                <c:ptCount val="2"/>
                <c:pt idx="0">
                  <c:v>0.10021879199017773</c:v>
                </c:pt>
                <c:pt idx="1">
                  <c:v>0.10021879199017773</c:v>
                </c:pt>
              </c:numCache>
            </c:numRef>
          </c:yVal>
          <c:smooth val="0"/>
          <c:extLst>
            <c:ext xmlns:c16="http://schemas.microsoft.com/office/drawing/2014/chart" uri="{C3380CC4-5D6E-409C-BE32-E72D297353CC}">
              <c16:uniqueId val="{00000011-F32D-48B7-BC20-E66FC6253BAD}"/>
            </c:ext>
          </c:extLst>
        </c:ser>
        <c:ser>
          <c:idx val="7"/>
          <c:order val="7"/>
          <c:tx>
            <c:strRef>
              <c:f>Sheet1!$B$17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9:$A$180</c:f>
              <c:numCache>
                <c:formatCode>General</c:formatCode>
                <c:ptCount val="2"/>
                <c:pt idx="0">
                  <c:v>1175.5371803775477</c:v>
                </c:pt>
                <c:pt idx="1">
                  <c:v>1175.5371803775477</c:v>
                </c:pt>
              </c:numCache>
            </c:numRef>
          </c:xVal>
          <c:yVal>
            <c:numRef>
              <c:f>Sheet1!$B$179:$B$180</c:f>
              <c:numCache>
                <c:formatCode>General</c:formatCode>
                <c:ptCount val="2"/>
                <c:pt idx="0">
                  <c:v>0.100218791990177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3:$A$237</c:f>
              <c:numCache>
                <c:formatCode>General</c:formatCode>
                <c:ptCount val="55"/>
                <c:pt idx="0">
                  <c:v>1064.3315</c:v>
                </c:pt>
                <c:pt idx="1">
                  <c:v>939.2524</c:v>
                </c:pt>
                <c:pt idx="2">
                  <c:v>913.5691</c:v>
                </c:pt>
                <c:pt idx="3">
                  <c:v>930.2271</c:v>
                </c:pt>
                <c:pt idx="4">
                  <c:v>920.8302</c:v>
                </c:pt>
                <c:pt idx="5">
                  <c:v>918.232</c:v>
                </c:pt>
                <c:pt idx="6">
                  <c:v>926.3555</c:v>
                </c:pt>
                <c:pt idx="7">
                  <c:v>1034.6961</c:v>
                </c:pt>
                <c:pt idx="8">
                  <c:v>1202.4348</c:v>
                </c:pt>
                <c:pt idx="9">
                  <c:v>1190.7957</c:v>
                </c:pt>
                <c:pt idx="10">
                  <c:v>1199.5667</c:v>
                </c:pt>
                <c:pt idx="11">
                  <c:v>1094.1203</c:v>
                </c:pt>
                <c:pt idx="12">
                  <c:v>1201.6024</c:v>
                </c:pt>
                <c:pt idx="13">
                  <c:v>1267.9121</c:v>
                </c:pt>
                <c:pt idx="14">
                  <c:v>1158.8333</c:v>
                </c:pt>
                <c:pt idx="15">
                  <c:v>1203.369</c:v>
                </c:pt>
                <c:pt idx="16">
                  <c:v>1239.8571</c:v>
                </c:pt>
                <c:pt idx="17">
                  <c:v>1215.9759</c:v>
                </c:pt>
                <c:pt idx="18">
                  <c:v>1305.5357</c:v>
                </c:pt>
                <c:pt idx="19">
                  <c:v>1206.0</c:v>
                </c:pt>
                <c:pt idx="20">
                  <c:v>1294.5</c:v>
                </c:pt>
                <c:pt idx="21">
                  <c:v>1217.375</c:v>
                </c:pt>
                <c:pt idx="22">
                  <c:v>1179.1154</c:v>
                </c:pt>
                <c:pt idx="23">
                  <c:v>1170.2083</c:v>
                </c:pt>
                <c:pt idx="24">
                  <c:v>1102.3704</c:v>
                </c:pt>
                <c:pt idx="25">
                  <c:v>1087.1224</c:v>
                </c:pt>
                <c:pt idx="26">
                  <c:v>1118.5821</c:v>
                </c:pt>
                <c:pt idx="27">
                  <c:v>1136.9886</c:v>
                </c:pt>
                <c:pt idx="28">
                  <c:v>1097.7767</c:v>
                </c:pt>
                <c:pt idx="29">
                  <c:v>1052.0581</c:v>
                </c:pt>
                <c:pt idx="30">
                  <c:v>1088.9615</c:v>
                </c:pt>
                <c:pt idx="31">
                  <c:v>1063.7159</c:v>
                </c:pt>
                <c:pt idx="32">
                  <c:v>1051.7431</c:v>
                </c:pt>
                <c:pt idx="33">
                  <c:v>1042.2047</c:v>
                </c:pt>
                <c:pt idx="34">
                  <c:v>1017.6818</c:v>
                </c:pt>
                <c:pt idx="35">
                  <c:v>1002.3962</c:v>
                </c:pt>
                <c:pt idx="36">
                  <c:v>988.0909</c:v>
                </c:pt>
                <c:pt idx="37">
                  <c:v>1269.0</c:v>
                </c:pt>
                <c:pt idx="38">
                  <c:v>1307.5</c:v>
                </c:pt>
                <c:pt idx="39">
                  <c:v>1292.0122</c:v>
                </c:pt>
                <c:pt idx="40">
                  <c:v>1279.7324</c:v>
                </c:pt>
                <c:pt idx="41">
                  <c:v>1346.6404</c:v>
                </c:pt>
                <c:pt idx="42">
                  <c:v>1329.8333</c:v>
                </c:pt>
                <c:pt idx="43">
                  <c:v>1320.5182</c:v>
                </c:pt>
                <c:pt idx="44">
                  <c:v>1187.36</c:v>
                </c:pt>
                <c:pt idx="45">
                  <c:v>1132.0676</c:v>
                </c:pt>
                <c:pt idx="46">
                  <c:v>1105.5732</c:v>
                </c:pt>
                <c:pt idx="47">
                  <c:v>1122.5577</c:v>
                </c:pt>
                <c:pt idx="48">
                  <c:v>1120.9898</c:v>
                </c:pt>
                <c:pt idx="49">
                  <c:v>1111.0096</c:v>
                </c:pt>
                <c:pt idx="50">
                  <c:v>966.4674</c:v>
                </c:pt>
                <c:pt idx="51">
                  <c:v>954.0859</c:v>
                </c:pt>
                <c:pt idx="52">
                  <c:v>873.1206503773104</c:v>
                </c:pt>
                <c:pt idx="53">
                  <c:v>937.4295492508462</c:v>
                </c:pt>
                <c:pt idx="54">
                  <c:v>1175.5371803775477</c:v>
                </c:pt>
              </c:numCache>
            </c:numRef>
          </c:xVal>
          <c:yVal>
            <c:numRef>
              <c:f>Sheet1!$B$183:$B$237</c:f>
              <c:numCache>
                <c:formatCode>General</c:formatCode>
                <c:ptCount val="55"/>
                <c:pt idx="0">
                  <c:v>0.12145144662969862</c:v>
                </c:pt>
                <c:pt idx="1">
                  <c:v>0.14533297250055055</c:v>
                </c:pt>
                <c:pt idx="2">
                  <c:v>0.15023672055597187</c:v>
                </c:pt>
                <c:pt idx="3">
                  <c:v>0.14705618553488004</c:v>
                </c:pt>
                <c:pt idx="4">
                  <c:v>0.14885034867209326</c:v>
                </c:pt>
                <c:pt idx="5">
                  <c:v>0.14934642659812283</c:v>
                </c:pt>
                <c:pt idx="6">
                  <c:v>0.14779539548731482</c:v>
                </c:pt>
                <c:pt idx="7">
                  <c:v>0.12710977461409445</c:v>
                </c:pt>
                <c:pt idx="8">
                  <c:v>0.09508319220669728</c:v>
                </c:pt>
                <c:pt idx="9">
                  <c:v>0.09730546169667151</c:v>
                </c:pt>
                <c:pt idx="10">
                  <c:v>0.09563080251369652</c:v>
                </c:pt>
                <c:pt idx="11">
                  <c:v>0.11576382977075386</c:v>
                </c:pt>
                <c:pt idx="12">
                  <c:v>0.09524212349205907</c:v>
                </c:pt>
                <c:pt idx="13">
                  <c:v>0.08258152059326598</c:v>
                </c:pt>
                <c:pt idx="14">
                  <c:v>0.10340808701532597</c:v>
                </c:pt>
                <c:pt idx="15">
                  <c:v>0.09490482410628284</c:v>
                </c:pt>
                <c:pt idx="16">
                  <c:v>0.0879381006158817</c:v>
                </c:pt>
                <c:pt idx="17">
                  <c:v>0.09249777122133848</c:v>
                </c:pt>
                <c:pt idx="18">
                  <c:v>0.07539799451453194</c:v>
                </c:pt>
                <c:pt idx="19">
                  <c:v>0.094402483630806</c:v>
                </c:pt>
                <c:pt idx="20">
                  <c:v>0.07750505600644353</c:v>
                </c:pt>
                <c:pt idx="21">
                  <c:v>0.09223063911976506</c:v>
                </c:pt>
                <c:pt idx="22">
                  <c:v>0.09953559755973185</c:v>
                </c:pt>
                <c:pt idx="23">
                  <c:v>0.10123624250428503</c:v>
                </c:pt>
                <c:pt idx="24">
                  <c:v>0.11418862674653069</c:v>
                </c:pt>
                <c:pt idx="25">
                  <c:v>0.11709994851394626</c:v>
                </c:pt>
                <c:pt idx="26">
                  <c:v>0.11109330440282583</c:v>
                </c:pt>
                <c:pt idx="27">
                  <c:v>0.10757892585403686</c:v>
                </c:pt>
                <c:pt idx="28">
                  <c:v>0.11506570825249718</c:v>
                </c:pt>
                <c:pt idx="29">
                  <c:v>0.12379482389755003</c:v>
                </c:pt>
                <c:pt idx="30">
                  <c:v>0.11674880660271503</c:v>
                </c:pt>
                <c:pt idx="31">
                  <c:v>0.12156898399066537</c:v>
                </c:pt>
                <c:pt idx="32">
                  <c:v>0.12385496728400963</c:v>
                </c:pt>
                <c:pt idx="33">
                  <c:v>0.1256761472122833</c:v>
                </c:pt>
                <c:pt idx="34">
                  <c:v>0.13035833848787062</c:v>
                </c:pt>
                <c:pt idx="35">
                  <c:v>0.13327683927538422</c:v>
                </c:pt>
                <c:pt idx="36">
                  <c:v>0.13600817002560786</c:v>
                </c:pt>
                <c:pt idx="37">
                  <c:v>0.08237380633888697</c:v>
                </c:pt>
                <c:pt idx="38">
                  <c:v>0.07502294799382533</c:v>
                </c:pt>
                <c:pt idx="39">
                  <c:v>0.07798005510750444</c:v>
                </c:pt>
                <c:pt idx="40">
                  <c:v>0.08032465433622357</c:v>
                </c:pt>
                <c:pt idx="41">
                  <c:v>0.06754981718943437</c:v>
                </c:pt>
                <c:pt idx="42">
                  <c:v>0.07075882008011714</c:v>
                </c:pt>
                <c:pt idx="43">
                  <c:v>0.07253736502998942</c:v>
                </c:pt>
                <c:pt idx="44">
                  <c:v>0.09796144465812937</c:v>
                </c:pt>
                <c:pt idx="45">
                  <c:v>0.10851849920250561</c:v>
                </c:pt>
                <c:pt idx="46">
                  <c:v>0.11357711170477577</c:v>
                </c:pt>
                <c:pt idx="47">
                  <c:v>0.11033423758629007</c:v>
                </c:pt>
                <c:pt idx="48">
                  <c:v>0.11063359890575039</c:v>
                </c:pt>
                <c:pt idx="49">
                  <c:v>0.11253913232017596</c:v>
                </c:pt>
                <c:pt idx="50">
                  <c:v>0.1401367748418271</c:v>
                </c:pt>
                <c:pt idx="51">
                  <c:v>0.14250079179246036</c:v>
                </c:pt>
                <c:pt idx="52">
                  <c:v>0.1579595990872382</c:v>
                </c:pt>
                <c:pt idx="53">
                  <c:v>0.14568101191980298</c:v>
                </c:pt>
                <c:pt idx="54">
                  <c:v>0.100218791990177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6.0"/>
          <c:min val="65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4349090909090906"/>
          <c:min val="0.02951653944020356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11019584781895</c:v>
                </c:pt>
                <c:pt idx="1">
                  <c:v>0.6952768615852186</c:v>
                </c:pt>
                <c:pt idx="2">
                  <c:v>0.6573794238030893</c:v>
                </c:pt>
                <c:pt idx="3">
                  <c:v>0.6069987077326316</c:v>
                </c:pt>
                <c:pt idx="4">
                  <c:v>0.6192300813586503</c:v>
                </c:pt>
                <c:pt idx="5">
                  <c:v>0.6233398691336225</c:v>
                </c:pt>
                <c:pt idx="6">
                  <c:v>0.5884703771635255</c:v>
                </c:pt>
                <c:pt idx="7">
                  <c:v>0.5917362863949408</c:v>
                </c:pt>
                <c:pt idx="8">
                  <c:v>0.5965068498843806</c:v>
                </c:pt>
                <c:pt idx="9">
                  <c:v>0.6441183773568928</c:v>
                </c:pt>
                <c:pt idx="10">
                  <c:v>0.6354588713902265</c:v>
                </c:pt>
                <c:pt idx="11">
                  <c:v>0.6832791815472194</c:v>
                </c:pt>
                <c:pt idx="12">
                  <c:v>0.703198307451015</c:v>
                </c:pt>
                <c:pt idx="13">
                  <c:v>0.6914871806690113</c:v>
                </c:pt>
                <c:pt idx="14">
                  <c:v>0.6768298015858499</c:v>
                </c:pt>
                <c:pt idx="15">
                  <c:v>0.6442795324962544</c:v>
                </c:pt>
                <c:pt idx="16">
                  <c:v>0.6478956896480762</c:v>
                </c:pt>
                <c:pt idx="17">
                  <c:v>0.6357521338197902</c:v>
                </c:pt>
                <c:pt idx="18">
                  <c:v>0.6948673573287488</c:v>
                </c:pt>
                <c:pt idx="19">
                  <c:v>0.6763594372656435</c:v>
                </c:pt>
                <c:pt idx="20">
                  <c:v>0.6966009356249707</c:v>
                </c:pt>
                <c:pt idx="21">
                  <c:v>0.6552280217779947</c:v>
                </c:pt>
                <c:pt idx="22">
                  <c:v>0.6091972229625054</c:v>
                </c:pt>
                <c:pt idx="23">
                  <c:v>0.567100061746288</c:v>
                </c:pt>
                <c:pt idx="24">
                  <c:v>0.5505299851528072</c:v>
                </c:pt>
                <c:pt idx="25">
                  <c:v>0.5590767518705714</c:v>
                </c:pt>
                <c:pt idx="26">
                  <c:v>0.5560516313805149</c:v>
                </c:pt>
                <c:pt idx="27">
                  <c:v>0.5621656144407897</c:v>
                </c:pt>
                <c:pt idx="28">
                  <c:v>0.5521369803864288</c:v>
                </c:pt>
                <c:pt idx="29">
                  <c:v>0.5282395953268383</c:v>
                </c:pt>
                <c:pt idx="30">
                  <c:v>0.5358986273776705</c:v>
                </c:pt>
                <c:pt idx="31">
                  <c:v>0.5187493777250763</c:v>
                </c:pt>
                <c:pt idx="32">
                  <c:v>0.516589197428111</c:v>
                </c:pt>
                <c:pt idx="33">
                  <c:v>0.4400706572251114</c:v>
                </c:pt>
                <c:pt idx="34">
                  <c:v>0.5030257313606807</c:v>
                </c:pt>
                <c:pt idx="35">
                  <c:v>0.5734235698868613</c:v>
                </c:pt>
                <c:pt idx="36">
                  <c:v>0.617031897949122</c:v>
                </c:pt>
                <c:pt idx="37">
                  <c:v>0.596868139530005</c:v>
                </c:pt>
                <c:pt idx="38">
                  <c:v>0.6184351939253321</c:v>
                </c:pt>
                <c:pt idx="39">
                  <c:v>0.6148403972645488</c:v>
                </c:pt>
                <c:pt idx="40">
                  <c:v>0.6296861085202543</c:v>
                </c:pt>
                <c:pt idx="41">
                  <c:v>0.6012541684965295</c:v>
                </c:pt>
                <c:pt idx="42">
                  <c:v>0.6501292808234137</c:v>
                </c:pt>
                <c:pt idx="43">
                  <c:v>0.6566501796704151</c:v>
                </c:pt>
                <c:pt idx="44">
                  <c:v>0.6187344434660964</c:v>
                </c:pt>
                <c:pt idx="45">
                  <c:v>0.667002740315778</c:v>
                </c:pt>
                <c:pt idx="46">
                  <c:v>0.6559035266670078</c:v>
                </c:pt>
                <c:pt idx="47">
                  <c:v>0.6836978878630624</c:v>
                </c:pt>
                <c:pt idx="48">
                  <c:v>0.6884898275020814</c:v>
                </c:pt>
                <c:pt idx="49">
                  <c:v>0.7222265575583388</c:v>
                </c:pt>
                <c:pt idx="50">
                  <c:v>0.6468884824911098</c:v>
                </c:pt>
                <c:pt idx="51">
                  <c:v>0.6530673070490216</c:v>
                </c:pt>
                <c:pt idx="52">
                  <c:v>0.6652887209481485</c:v>
                </c:pt>
                <c:pt idx="53">
                  <c:v>0.6421005710086297</c:v>
                </c:pt>
                <c:pt idx="54">
                  <c:v>0.6120079968954418</c:v>
                </c:pt>
                <c:pt idx="55">
                  <c:v>0.6212519189762115</c:v>
                </c:pt>
                <c:pt idx="56">
                  <c:v>0.6328804629359086</c:v>
                </c:pt>
                <c:pt idx="57">
                  <c:v>0.6399348675349709</c:v>
                </c:pt>
                <c:pt idx="58">
                  <c:v>0.6015682979664343</c:v>
                </c:pt>
                <c:pt idx="59">
                  <c:v>0.6290203747666548</c:v>
                </c:pt>
                <c:pt idx="60">
                  <c:v>0.6391935800497635</c:v>
                </c:pt>
                <c:pt idx="61">
                  <c:v>0.6747413127826093</c:v>
                </c:pt>
                <c:pt idx="62">
                  <c:v>0.6566102128930407</c:v>
                </c:pt>
                <c:pt idx="63">
                  <c:v>0.6798560628232835</c:v>
                </c:pt>
                <c:pt idx="64">
                  <c:v>0.7272598898077919</c:v>
                </c:pt>
                <c:pt idx="65">
                  <c:v>0.7575671469907849</c:v>
                </c:pt>
                <c:pt idx="66">
                  <c:v>0.7357815247148309</c:v>
                </c:pt>
                <c:pt idx="67">
                  <c:v>0.7546561369278375</c:v>
                </c:pt>
                <c:pt idx="68">
                  <c:v>0.749915081002217</c:v>
                </c:pt>
                <c:pt idx="69">
                  <c:v>0.7746541357741098</c:v>
                </c:pt>
                <c:pt idx="70">
                  <c:v>0.7424017067584564</c:v>
                </c:pt>
                <c:pt idx="71">
                  <c:v>0.7120127100771416</c:v>
                </c:pt>
                <c:pt idx="72">
                  <c:v>0.8118516289461482</c:v>
                </c:pt>
                <c:pt idx="73">
                  <c:v>0.7769978074494772</c:v>
                </c:pt>
                <c:pt idx="74">
                  <c:v>0.7166966213383935</c:v>
                </c:pt>
                <c:pt idx="75">
                  <c:v>0.6787737059437025</c:v>
                </c:pt>
                <c:pt idx="76">
                  <c:v>0.6897118890412645</c:v>
                </c:pt>
                <c:pt idx="77">
                  <c:v>0.7164516136233497</c:v>
                </c:pt>
                <c:pt idx="78">
                  <c:v>0.7211140008184656</c:v>
                </c:pt>
                <c:pt idx="79">
                  <c:v>0.7177655850651301</c:v>
                </c:pt>
                <c:pt idx="80">
                  <c:v>0.750573100807279</c:v>
                </c:pt>
                <c:pt idx="81">
                  <c:v>0.7488324865698714</c:v>
                </c:pt>
                <c:pt idx="82">
                  <c:v>0.7206160270304658</c:v>
                </c:pt>
                <c:pt idx="83">
                  <c:v>0.673201300159857</c:v>
                </c:pt>
                <c:pt idx="84">
                  <c:v>0.6879792971550908</c:v>
                </c:pt>
                <c:pt idx="85">
                  <c:v>0.7026007846310738</c:v>
                </c:pt>
                <c:pt idx="86">
                  <c:v>0.6774308530156323</c:v>
                </c:pt>
                <c:pt idx="87">
                  <c:v>0.7136020860951284</c:v>
                </c:pt>
                <c:pt idx="88">
                  <c:v>0.6914621027648067</c:v>
                </c:pt>
                <c:pt idx="89">
                  <c:v>0.638503259574953</c:v>
                </c:pt>
                <c:pt idx="90">
                  <c:v>0.6615366228939781</c:v>
                </c:pt>
                <c:pt idx="91">
                  <c:v>0.6737464221530911</c:v>
                </c:pt>
                <c:pt idx="92">
                  <c:v>0.7014072490791051</c:v>
                </c:pt>
                <c:pt idx="93">
                  <c:v>0.7335002921562002</c:v>
                </c:pt>
                <c:pt idx="94">
                  <c:v>0.703081808966328</c:v>
                </c:pt>
                <c:pt idx="95">
                  <c:v>0.6873100996789807</c:v>
                </c:pt>
                <c:pt idx="96">
                  <c:v>0.7580256225510347</c:v>
                </c:pt>
                <c:pt idx="97">
                  <c:v>0.7699170103129359</c:v>
                </c:pt>
                <c:pt idx="98">
                  <c:v>0.7639581087384429</c:v>
                </c:pt>
                <c:pt idx="99">
                  <c:v>0.7779044876612247</c:v>
                </c:pt>
                <c:pt idx="100">
                  <c:v>0.7840220185412631</c:v>
                </c:pt>
                <c:pt idx="101">
                  <c:v>0.7346605906836857</c:v>
                </c:pt>
                <c:pt idx="102">
                  <c:v>0.73394395708787</c:v>
                </c:pt>
                <c:pt idx="103">
                  <c:v>0.7307984864815716</c:v>
                </c:pt>
                <c:pt idx="104">
                  <c:v>0.7399702410848821</c:v>
                </c:pt>
              </c:numCache>
            </c:numRef>
          </c:xVal>
          <c:yVal>
            <c:numRef>
              <c:f>Sheet1!$B$2:$B$106</c:f>
              <c:numCache>
                <c:formatCode>General</c:formatCode>
                <c:ptCount val="105"/>
                <c:pt idx="0">
                  <c:v>0.2629685157421289</c:v>
                </c:pt>
                <c:pt idx="1">
                  <c:v>0.249730118747751</c:v>
                </c:pt>
                <c:pt idx="2">
                  <c:v>0.24983096686950643</c:v>
                </c:pt>
                <c:pt idx="3">
                  <c:v>0.2524344569288389</c:v>
                </c:pt>
                <c:pt idx="4">
                  <c:v>0.2606466876971609</c:v>
                </c:pt>
                <c:pt idx="5">
                  <c:v>0.2700253715114172</c:v>
                </c:pt>
                <c:pt idx="6">
                  <c:v>0.2716049382716049</c:v>
                </c:pt>
                <c:pt idx="7">
                  <c:v>0.2949070887818307</c:v>
                </c:pt>
                <c:pt idx="8">
                  <c:v>0.27568602425015953</c:v>
                </c:pt>
                <c:pt idx="9">
                  <c:v>0.267364657814096</c:v>
                </c:pt>
                <c:pt idx="10">
                  <c:v>0.28165374677002586</c:v>
                </c:pt>
                <c:pt idx="11">
                  <c:v>0.255891322428611</c:v>
                </c:pt>
                <c:pt idx="12">
                  <c:v>0.25069098949695967</c:v>
                </c:pt>
                <c:pt idx="13">
                  <c:v>0.24028061970184156</c:v>
                </c:pt>
                <c:pt idx="14">
                  <c:v>0.22753579043557723</c:v>
                </c:pt>
                <c:pt idx="15">
                  <c:v>0.22026590010779734</c:v>
                </c:pt>
                <c:pt idx="16">
                  <c:v>0.2023047375160051</c:v>
                </c:pt>
                <c:pt idx="17">
                  <c:v>0.21162579473206175</c:v>
                </c:pt>
                <c:pt idx="18">
                  <c:v>0.18263607737291948</c:v>
                </c:pt>
                <c:pt idx="19">
                  <c:v>0.20189873417721518</c:v>
                </c:pt>
                <c:pt idx="20">
                  <c:v>0.18741126360624705</c:v>
                </c:pt>
                <c:pt idx="21">
                  <c:v>0.1867435158501441</c:v>
                </c:pt>
                <c:pt idx="22">
                  <c:v>0.2192454893384363</c:v>
                </c:pt>
                <c:pt idx="23">
                  <c:v>0.24433849821215733</c:v>
                </c:pt>
                <c:pt idx="24">
                  <c:v>0.24692954104718812</c:v>
                </c:pt>
                <c:pt idx="25">
                  <c:v>0.2334954829742877</c:v>
                </c:pt>
                <c:pt idx="26">
                  <c:v>0.2490566037735849</c:v>
                </c:pt>
                <c:pt idx="27">
                  <c:v>0.23557692307692307</c:v>
                </c:pt>
                <c:pt idx="28">
                  <c:v>0.29251101321585904</c:v>
                </c:pt>
                <c:pt idx="29">
                  <c:v>0.27710843373493976</c:v>
                </c:pt>
                <c:pt idx="30">
                  <c:v>0.27601809954751133</c:v>
                </c:pt>
                <c:pt idx="31">
                  <c:v>0.2884250474383302</c:v>
                </c:pt>
                <c:pt idx="32">
                  <c:v>0.28166351606805295</c:v>
                </c:pt>
                <c:pt idx="33">
                  <c:v>0.29924559932942163</c:v>
                </c:pt>
                <c:pt idx="34">
                  <c:v>0.28101945003353457</c:v>
                </c:pt>
                <c:pt idx="35">
                  <c:v>0.2772675086107922</c:v>
                </c:pt>
                <c:pt idx="36">
                  <c:v>0.26610049539985847</c:v>
                </c:pt>
                <c:pt idx="37">
                  <c:v>0.26137184115523465</c:v>
                </c:pt>
                <c:pt idx="38">
                  <c:v>0.266839378238342</c:v>
                </c:pt>
                <c:pt idx="39">
                  <c:v>0.25357483317445184</c:v>
                </c:pt>
                <c:pt idx="40">
                  <c:v>0.2541636495293266</c:v>
                </c:pt>
                <c:pt idx="41">
                  <c:v>0.26083815028901736</c:v>
                </c:pt>
                <c:pt idx="42">
                  <c:v>0.25427350427350426</c:v>
                </c:pt>
                <c:pt idx="43">
                  <c:v>0.25367904695164684</c:v>
                </c:pt>
                <c:pt idx="44">
                  <c:v>0.24076147816349383</c:v>
                </c:pt>
                <c:pt idx="45">
                  <c:v>0.24623493975903615</c:v>
                </c:pt>
                <c:pt idx="46">
                  <c:v>0.25053821313240043</c:v>
                </c:pt>
                <c:pt idx="47">
                  <c:v>0.2569945197577156</c:v>
                </c:pt>
                <c:pt idx="48">
                  <c:v>0.24988804299149125</c:v>
                </c:pt>
                <c:pt idx="49">
                  <c:v>0.2274495502066618</c:v>
                </c:pt>
                <c:pt idx="50">
                  <c:v>0.24701298701298702</c:v>
                </c:pt>
                <c:pt idx="51">
                  <c:v>0.2261647639617402</c:v>
                </c:pt>
                <c:pt idx="52">
                  <c:v>0.2217220033764772</c:v>
                </c:pt>
                <c:pt idx="53">
                  <c:v>0.22016616314199397</c:v>
                </c:pt>
                <c:pt idx="54">
                  <c:v>0.21341463414634146</c:v>
                </c:pt>
                <c:pt idx="55">
                  <c:v>0.20705009276437847</c:v>
                </c:pt>
                <c:pt idx="56">
                  <c:v>0.21353979114151964</c:v>
                </c:pt>
                <c:pt idx="57">
                  <c:v>0.21178509532062392</c:v>
                </c:pt>
                <c:pt idx="58">
                  <c:v>0.24503764544832307</c:v>
                </c:pt>
                <c:pt idx="59">
                  <c:v>0.22790565501562943</c:v>
                </c:pt>
                <c:pt idx="60">
                  <c:v>0.2190082644628099</c:v>
                </c:pt>
                <c:pt idx="61">
                  <c:v>0.22129489124936774</c:v>
                </c:pt>
                <c:pt idx="62">
                  <c:v>0.23839962121212122</c:v>
                </c:pt>
                <c:pt idx="63">
                  <c:v>0.22557194782980544</c:v>
                </c:pt>
                <c:pt idx="64">
                  <c:v>0.22763544729105417</c:v>
                </c:pt>
                <c:pt idx="65">
                  <c:v>0.2084487534626039</c:v>
                </c:pt>
                <c:pt idx="66">
                  <c:v>0.2179245283018868</c:v>
                </c:pt>
                <c:pt idx="67">
                  <c:v>0.21453590192644484</c:v>
                </c:pt>
                <c:pt idx="68">
                  <c:v>0.1948737278552582</c:v>
                </c:pt>
                <c:pt idx="69">
                  <c:v>0.1996124031007752</c:v>
                </c:pt>
                <c:pt idx="70">
                  <c:v>0.19958677685950413</c:v>
                </c:pt>
                <c:pt idx="71">
                  <c:v>0.19941634241245138</c:v>
                </c:pt>
                <c:pt idx="72">
                  <c:v>0.1773825809393525</c:v>
                </c:pt>
                <c:pt idx="73">
                  <c:v>0.19093851132686085</c:v>
                </c:pt>
                <c:pt idx="74">
                  <c:v>0.1953204476093591</c:v>
                </c:pt>
                <c:pt idx="75">
                  <c:v>0.2158403869407497</c:v>
                </c:pt>
                <c:pt idx="76">
                  <c:v>0.23302107728337237</c:v>
                </c:pt>
                <c:pt idx="77">
                  <c:v>0.18813314037626627</c:v>
                </c:pt>
                <c:pt idx="78">
                  <c:v>0.22230483271375465</c:v>
                </c:pt>
                <c:pt idx="79">
                  <c:v>0.20402858999350226</c:v>
                </c:pt>
                <c:pt idx="80">
                  <c:v>0.18922749822820695</c:v>
                </c:pt>
                <c:pt idx="81">
                  <c:v>0.20848056537102475</c:v>
                </c:pt>
                <c:pt idx="82">
                  <c:v>0.21893939393939393</c:v>
                </c:pt>
                <c:pt idx="83">
                  <c:v>0.21012006861063465</c:v>
                </c:pt>
                <c:pt idx="84">
                  <c:v>0.2268835616438356</c:v>
                </c:pt>
                <c:pt idx="85">
                  <c:v>0.22351121423047177</c:v>
                </c:pt>
                <c:pt idx="86">
                  <c:v>0.24177949709864605</c:v>
                </c:pt>
                <c:pt idx="87">
                  <c:v>0.2463851937536148</c:v>
                </c:pt>
                <c:pt idx="88">
                  <c:v>0.22864117168429618</c:v>
                </c:pt>
                <c:pt idx="89">
                  <c:v>0.2747349823321555</c:v>
                </c:pt>
                <c:pt idx="90">
                  <c:v>0.2563876651982379</c:v>
                </c:pt>
                <c:pt idx="91">
                  <c:v>0.23345588235294118</c:v>
                </c:pt>
                <c:pt idx="92">
                  <c:v>0.24008651766402306</c:v>
                </c:pt>
                <c:pt idx="93">
                  <c:v>0.2198581560283688</c:v>
                </c:pt>
                <c:pt idx="94">
                  <c:v>0.2359375</c:v>
                </c:pt>
                <c:pt idx="95">
                  <c:v>0.25906183368869934</c:v>
                </c:pt>
                <c:pt idx="96">
                  <c:v>0.22141119221411193</c:v>
                </c:pt>
                <c:pt idx="97">
                  <c:v>0.23490524460114587</c:v>
                </c:pt>
                <c:pt idx="98">
                  <c:v>0.23943661971830985</c:v>
                </c:pt>
                <c:pt idx="99">
                  <c:v>0.2415506958250497</c:v>
                </c:pt>
                <c:pt idx="100">
                  <c:v>0.23354958294717332</c:v>
                </c:pt>
                <c:pt idx="101">
                  <c:v>0.24292897548711503</c:v>
                </c:pt>
                <c:pt idx="102">
                  <c:v>0.22341696535244923</c:v>
                </c:pt>
                <c:pt idx="103">
                  <c:v>0.2237017310252996</c:v>
                </c:pt>
                <c:pt idx="104">
                  <c:v>0.2151898734177215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23854242133843</c:v>
                </c:pt>
                <c:pt idx="1">
                  <c:v>0.7121341172977407</c:v>
                </c:pt>
                <c:pt idx="2">
                  <c:v>0.728239957081964</c:v>
                </c:pt>
                <c:pt idx="3">
                  <c:v>0.6576738173508426</c:v>
                </c:pt>
                <c:pt idx="4">
                  <c:v>0.6886521557823579</c:v>
                </c:pt>
                <c:pt idx="5">
                  <c:v>0.7403099868424444</c:v>
                </c:pt>
                <c:pt idx="6">
                  <c:v>0.7291877976602371</c:v>
                </c:pt>
                <c:pt idx="7">
                  <c:v>0.7126747815801847</c:v>
                </c:pt>
                <c:pt idx="8">
                  <c:v>0.7151943740868716</c:v>
                </c:pt>
                <c:pt idx="9">
                  <c:v>0.7259168988879188</c:v>
                </c:pt>
                <c:pt idx="10">
                  <c:v>0.7478595828784388</c:v>
                </c:pt>
                <c:pt idx="11">
                  <c:v>0.7266275884836528</c:v>
                </c:pt>
                <c:pt idx="12">
                  <c:v>0.7241474370325094</c:v>
                </c:pt>
                <c:pt idx="13">
                  <c:v>0.7296734141638812</c:v>
                </c:pt>
                <c:pt idx="14">
                  <c:v>0.726076422036229</c:v>
                </c:pt>
                <c:pt idx="15">
                  <c:v>0.7004191013291378</c:v>
                </c:pt>
                <c:pt idx="16">
                  <c:v>0.7079774451199863</c:v>
                </c:pt>
                <c:pt idx="17">
                  <c:v>0.6541742652150899</c:v>
                </c:pt>
                <c:pt idx="18">
                  <c:v>0.6972431352996051</c:v>
                </c:pt>
                <c:pt idx="19">
                  <c:v>0.6847951587795363</c:v>
                </c:pt>
                <c:pt idx="20">
                  <c:v>0.6729865394326396</c:v>
                </c:pt>
                <c:pt idx="21">
                  <c:v>0.6562818871377402</c:v>
                </c:pt>
                <c:pt idx="22">
                  <c:v>0.6773054568698742</c:v>
                </c:pt>
                <c:pt idx="23">
                  <c:v>0.6888961606042313</c:v>
                </c:pt>
                <c:pt idx="24">
                  <c:v>0.6806891534397153</c:v>
                </c:pt>
                <c:pt idx="25">
                  <c:v>0.7174437803827561</c:v>
                </c:pt>
                <c:pt idx="26">
                  <c:v>0.6609122815404628</c:v>
                </c:pt>
                <c:pt idx="27">
                  <c:v>0.6816964470389557</c:v>
                </c:pt>
                <c:pt idx="28">
                  <c:v>0.7152013953382526</c:v>
                </c:pt>
                <c:pt idx="29">
                  <c:v>0.7001187685069602</c:v>
                </c:pt>
                <c:pt idx="30">
                  <c:v>0.6834002243381427</c:v>
                </c:pt>
                <c:pt idx="31">
                  <c:v>0.6570776134935405</c:v>
                </c:pt>
                <c:pt idx="32">
                  <c:v>0.6435596376036765</c:v>
                </c:pt>
                <c:pt idx="33">
                  <c:v>0.6770066195076925</c:v>
                </c:pt>
                <c:pt idx="34">
                  <c:v>0.7099910132730156</c:v>
                </c:pt>
                <c:pt idx="35">
                  <c:v>0.7102188752265465</c:v>
                </c:pt>
                <c:pt idx="36">
                  <c:v>0.6368053594724858</c:v>
                </c:pt>
                <c:pt idx="37">
                  <c:v>0.6159901425249004</c:v>
                </c:pt>
                <c:pt idx="38">
                  <c:v>0.6093280508812381</c:v>
                </c:pt>
                <c:pt idx="39">
                  <c:v>0.6729432383369072</c:v>
                </c:pt>
                <c:pt idx="40">
                  <c:v>0.7136065240368931</c:v>
                </c:pt>
                <c:pt idx="41">
                  <c:v>0.732774697541017</c:v>
                </c:pt>
                <c:pt idx="42">
                  <c:v>0.700996879685537</c:v>
                </c:pt>
                <c:pt idx="43">
                  <c:v>0.7411952137123314</c:v>
                </c:pt>
                <c:pt idx="44">
                  <c:v>0.7592450303317774</c:v>
                </c:pt>
                <c:pt idx="45">
                  <c:v>0.7697769015486053</c:v>
                </c:pt>
                <c:pt idx="46">
                  <c:v>0.7433887615229987</c:v>
                </c:pt>
                <c:pt idx="47">
                  <c:v>0.7625563726971296</c:v>
                </c:pt>
                <c:pt idx="48">
                  <c:v>0.7836439800929436</c:v>
                </c:pt>
                <c:pt idx="49">
                  <c:v>0.8477124095888389</c:v>
                </c:pt>
                <c:pt idx="50">
                  <c:v>0.8622297098379609</c:v>
                </c:pt>
                <c:pt idx="51">
                  <c:v>0.7914819508350677</c:v>
                </c:pt>
              </c:numCache>
            </c:numRef>
          </c:xVal>
          <c:yVal>
            <c:numRef>
              <c:f>Sheet1!$B$109:$B$160</c:f>
              <c:numCache>
                <c:formatCode>General</c:formatCode>
                <c:ptCount val="52"/>
                <c:pt idx="0">
                  <c:v>0.2172803499817718</c:v>
                </c:pt>
                <c:pt idx="1">
                  <c:v>0.21637931034482757</c:v>
                </c:pt>
                <c:pt idx="2">
                  <c:v>0.23109243697478993</c:v>
                </c:pt>
                <c:pt idx="3">
                  <c:v>0.24747650539505744</c:v>
                </c:pt>
                <c:pt idx="4">
                  <c:v>0.23210892970234326</c:v>
                </c:pt>
                <c:pt idx="5">
                  <c:v>0.22362869198312235</c:v>
                </c:pt>
                <c:pt idx="6">
                  <c:v>0.2250283768444949</c:v>
                </c:pt>
                <c:pt idx="7">
                  <c:v>0.23110865968008826</c:v>
                </c:pt>
                <c:pt idx="8">
                  <c:v>0.22423435419440746</c:v>
                </c:pt>
                <c:pt idx="9">
                  <c:v>0.2311815427639245</c:v>
                </c:pt>
                <c:pt idx="10">
                  <c:v>0.22986198243412798</c:v>
                </c:pt>
                <c:pt idx="11">
                  <c:v>0.22415600754875237</c:v>
                </c:pt>
                <c:pt idx="12">
                  <c:v>0.22284812978819288</c:v>
                </c:pt>
                <c:pt idx="13">
                  <c:v>0.2266526757607555</c:v>
                </c:pt>
                <c:pt idx="14">
                  <c:v>0.2294837361981498</c:v>
                </c:pt>
                <c:pt idx="15">
                  <c:v>0.21933085501858737</c:v>
                </c:pt>
                <c:pt idx="16">
                  <c:v>0.2164119066773934</c:v>
                </c:pt>
                <c:pt idx="17">
                  <c:v>0.24419114423498467</c:v>
                </c:pt>
                <c:pt idx="18">
                  <c:v>0.2171945701357466</c:v>
                </c:pt>
                <c:pt idx="19">
                  <c:v>0.2202914798206278</c:v>
                </c:pt>
                <c:pt idx="20">
                  <c:v>0.22608079376328843</c:v>
                </c:pt>
                <c:pt idx="21">
                  <c:v>0.22980132450331126</c:v>
                </c:pt>
                <c:pt idx="22">
                  <c:v>0.2177858439201452</c:v>
                </c:pt>
                <c:pt idx="23">
                  <c:v>0.2371756185878093</c:v>
                </c:pt>
                <c:pt idx="24">
                  <c:v>0.2236024844720497</c:v>
                </c:pt>
                <c:pt idx="25">
                  <c:v>0.234955185659411</c:v>
                </c:pt>
                <c:pt idx="26">
                  <c:v>0.25571725571725573</c:v>
                </c:pt>
                <c:pt idx="27">
                  <c:v>0.25709779179810727</c:v>
                </c:pt>
                <c:pt idx="28">
                  <c:v>0.21604938271604937</c:v>
                </c:pt>
                <c:pt idx="29">
                  <c:v>0.22835314091680814</c:v>
                </c:pt>
                <c:pt idx="30">
                  <c:v>0.2357581069237511</c:v>
                </c:pt>
                <c:pt idx="31">
                  <c:v>0.22025052192066805</c:v>
                </c:pt>
                <c:pt idx="32">
                  <c:v>0.21262766945218198</c:v>
                </c:pt>
                <c:pt idx="33">
                  <c:v>0.21289456010745467</c:v>
                </c:pt>
                <c:pt idx="34">
                  <c:v>0.25464788732394367</c:v>
                </c:pt>
                <c:pt idx="35">
                  <c:v>0.23731048121292023</c:v>
                </c:pt>
                <c:pt idx="36">
                  <c:v>0.2427536231884058</c:v>
                </c:pt>
                <c:pt idx="37">
                  <c:v>0.24495677233429394</c:v>
                </c:pt>
                <c:pt idx="38">
                  <c:v>0.27413479052823314</c:v>
                </c:pt>
                <c:pt idx="39">
                  <c:v>0.23210070810385522</c:v>
                </c:pt>
                <c:pt idx="40">
                  <c:v>0.23239917976760083</c:v>
                </c:pt>
                <c:pt idx="41">
                  <c:v>0.23617021276595745</c:v>
                </c:pt>
                <c:pt idx="42">
                  <c:v>0.21464646464646464</c:v>
                </c:pt>
                <c:pt idx="43">
                  <c:v>0.20994475138121546</c:v>
                </c:pt>
                <c:pt idx="44">
                  <c:v>0.2212290502793296</c:v>
                </c:pt>
                <c:pt idx="45">
                  <c:v>0.24556737588652483</c:v>
                </c:pt>
                <c:pt idx="46">
                  <c:v>0.2510572856593618</c:v>
                </c:pt>
                <c:pt idx="47">
                  <c:v>0.24812298891669646</c:v>
                </c:pt>
                <c:pt idx="48">
                  <c:v>0.2443280977312391</c:v>
                </c:pt>
                <c:pt idx="49">
                  <c:v>0.230578307272276</c:v>
                </c:pt>
                <c:pt idx="50">
                  <c:v>0.20980046948356806</c:v>
                </c:pt>
                <c:pt idx="51">
                  <c:v>0.228496388706500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2484736857853113</c:v>
                </c:pt>
              </c:numCache>
            </c:numRef>
          </c:xVal>
          <c:yVal>
            <c:numRef>
              <c:f>Sheet1!$B$163:$B$164</c:f>
              <c:numCache>
                <c:formatCode>General</c:formatCode>
                <c:ptCount val="2"/>
                <c:pt idx="0">
                  <c:v>0.26531490764448873</c:v>
                </c:pt>
                <c:pt idx="1">
                  <c:v>0.2653149076444887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2484736857853113</c:v>
                </c:pt>
                <c:pt idx="1">
                  <c:v>0.22484736857853113</c:v>
                </c:pt>
              </c:numCache>
            </c:numRef>
          </c:xVal>
          <c:yVal>
            <c:numRef>
              <c:f>Sheet1!$B$167:$B$168</c:f>
              <c:numCache>
                <c:formatCode>General</c:formatCode>
                <c:ptCount val="2"/>
                <c:pt idx="0">
                  <c:v>0.265314907644488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118328771208037</c:v>
                </c:pt>
              </c:numCache>
            </c:numRef>
          </c:xVal>
          <c:yVal>
            <c:numRef>
              <c:f>Sheet1!$B$171:$B$172</c:f>
              <c:numCache>
                <c:formatCode>General</c:formatCode>
                <c:ptCount val="2"/>
                <c:pt idx="0">
                  <c:v>0.23772259112852764</c:v>
                </c:pt>
                <c:pt idx="1">
                  <c:v>0.237722591128527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118328771208037</c:v>
                </c:pt>
                <c:pt idx="1">
                  <c:v>0.6118328771208037</c:v>
                </c:pt>
              </c:numCache>
            </c:numRef>
          </c:xVal>
          <c:yVal>
            <c:numRef>
              <c:f>Sheet1!$B$175:$B$176</c:f>
              <c:numCache>
                <c:formatCode>General</c:formatCode>
                <c:ptCount val="2"/>
                <c:pt idx="0">
                  <c:v>0.237722591128527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45630810871127</c:v>
                </c:pt>
              </c:numCache>
            </c:numRef>
          </c:xVal>
          <c:yVal>
            <c:numRef>
              <c:f>Sheet1!$B$179:$B$180</c:f>
              <c:numCache>
                <c:formatCode>General</c:formatCode>
                <c:ptCount val="2"/>
                <c:pt idx="0">
                  <c:v>0.23111086773850686</c:v>
                </c:pt>
                <c:pt idx="1">
                  <c:v>0.231110867738506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45630810871127</c:v>
                </c:pt>
                <c:pt idx="1">
                  <c:v>0.7045630810871127</c:v>
                </c:pt>
              </c:numCache>
            </c:numRef>
          </c:xVal>
          <c:yVal>
            <c:numRef>
              <c:f>Sheet1!$B$183:$B$184</c:f>
              <c:numCache>
                <c:formatCode>General</c:formatCode>
                <c:ptCount val="2"/>
                <c:pt idx="0">
                  <c:v>0.23111086773850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23854242133843</c:v>
                </c:pt>
                <c:pt idx="1">
                  <c:v>0.7121341172977407</c:v>
                </c:pt>
                <c:pt idx="2">
                  <c:v>0.728239957081964</c:v>
                </c:pt>
                <c:pt idx="3">
                  <c:v>0.6576738173508426</c:v>
                </c:pt>
                <c:pt idx="4">
                  <c:v>0.6886521557823579</c:v>
                </c:pt>
                <c:pt idx="5">
                  <c:v>0.7403099868424444</c:v>
                </c:pt>
                <c:pt idx="6">
                  <c:v>0.7291877976602371</c:v>
                </c:pt>
                <c:pt idx="7">
                  <c:v>0.7126747815801847</c:v>
                </c:pt>
                <c:pt idx="8">
                  <c:v>0.7151943740868716</c:v>
                </c:pt>
                <c:pt idx="9">
                  <c:v>0.7259168988879188</c:v>
                </c:pt>
                <c:pt idx="10">
                  <c:v>0.7478595828784388</c:v>
                </c:pt>
                <c:pt idx="11">
                  <c:v>0.7266275884836528</c:v>
                </c:pt>
                <c:pt idx="12">
                  <c:v>0.7241474370325094</c:v>
                </c:pt>
                <c:pt idx="13">
                  <c:v>0.7296734141638812</c:v>
                </c:pt>
                <c:pt idx="14">
                  <c:v>0.726076422036229</c:v>
                </c:pt>
                <c:pt idx="15">
                  <c:v>0.7004191013291378</c:v>
                </c:pt>
                <c:pt idx="16">
                  <c:v>0.7079774451199863</c:v>
                </c:pt>
                <c:pt idx="17">
                  <c:v>0.6541742652150899</c:v>
                </c:pt>
                <c:pt idx="18">
                  <c:v>0.6972431352996051</c:v>
                </c:pt>
                <c:pt idx="19">
                  <c:v>0.6847951587795363</c:v>
                </c:pt>
                <c:pt idx="20">
                  <c:v>0.6729865394326396</c:v>
                </c:pt>
                <c:pt idx="21">
                  <c:v>0.6562818871377402</c:v>
                </c:pt>
                <c:pt idx="22">
                  <c:v>0.6773054568698742</c:v>
                </c:pt>
                <c:pt idx="23">
                  <c:v>0.6888961606042313</c:v>
                </c:pt>
                <c:pt idx="24">
                  <c:v>0.6806891534397153</c:v>
                </c:pt>
                <c:pt idx="25">
                  <c:v>0.7174437803827561</c:v>
                </c:pt>
                <c:pt idx="26">
                  <c:v>0.6609122815404628</c:v>
                </c:pt>
                <c:pt idx="27">
                  <c:v>0.6816964470389557</c:v>
                </c:pt>
                <c:pt idx="28">
                  <c:v>0.7152013953382526</c:v>
                </c:pt>
                <c:pt idx="29">
                  <c:v>0.7001187685069602</c:v>
                </c:pt>
                <c:pt idx="30">
                  <c:v>0.6834002243381427</c:v>
                </c:pt>
                <c:pt idx="31">
                  <c:v>0.6570776134935405</c:v>
                </c:pt>
                <c:pt idx="32">
                  <c:v>0.6435596376036765</c:v>
                </c:pt>
                <c:pt idx="33">
                  <c:v>0.6770066195076925</c:v>
                </c:pt>
                <c:pt idx="34">
                  <c:v>0.7099910132730156</c:v>
                </c:pt>
                <c:pt idx="35">
                  <c:v>0.7102188752265465</c:v>
                </c:pt>
                <c:pt idx="36">
                  <c:v>0.6368053594724858</c:v>
                </c:pt>
                <c:pt idx="37">
                  <c:v>0.6159901425249004</c:v>
                </c:pt>
                <c:pt idx="38">
                  <c:v>0.6093280508812381</c:v>
                </c:pt>
                <c:pt idx="39">
                  <c:v>0.6729432383369072</c:v>
                </c:pt>
                <c:pt idx="40">
                  <c:v>0.7136065240368931</c:v>
                </c:pt>
                <c:pt idx="41">
                  <c:v>0.732774697541017</c:v>
                </c:pt>
                <c:pt idx="42">
                  <c:v>0.700996879685537</c:v>
                </c:pt>
                <c:pt idx="43">
                  <c:v>0.7411952137123314</c:v>
                </c:pt>
                <c:pt idx="44">
                  <c:v>0.7592450303317774</c:v>
                </c:pt>
                <c:pt idx="45">
                  <c:v>0.7697769015486053</c:v>
                </c:pt>
                <c:pt idx="46">
                  <c:v>0.7433887615229987</c:v>
                </c:pt>
                <c:pt idx="47">
                  <c:v>0.7625563726971296</c:v>
                </c:pt>
                <c:pt idx="48">
                  <c:v>0.7836439800929436</c:v>
                </c:pt>
                <c:pt idx="49">
                  <c:v>0.8477124095888389</c:v>
                </c:pt>
                <c:pt idx="50">
                  <c:v>0.8622297098379609</c:v>
                </c:pt>
                <c:pt idx="51">
                  <c:v>0.7914819508350677</c:v>
                </c:pt>
                <c:pt idx="52">
                  <c:v>0.6118328771208037</c:v>
                </c:pt>
                <c:pt idx="53">
                  <c:v>0.22484736857853113</c:v>
                </c:pt>
                <c:pt idx="54">
                  <c:v>0.7045630810871127</c:v>
                </c:pt>
              </c:numCache>
            </c:numRef>
          </c:xVal>
          <c:yVal>
            <c:numRef>
              <c:f>Sheet1!$B$187:$B$241</c:f>
              <c:numCache>
                <c:formatCode>General</c:formatCode>
                <c:ptCount val="55"/>
                <c:pt idx="0">
                  <c:v>0.22770110380950218</c:v>
                </c:pt>
                <c:pt idx="1">
                  <c:v>0.23057104797041178</c:v>
                </c:pt>
                <c:pt idx="2">
                  <c:v>0.22942269119923542</c:v>
                </c:pt>
                <c:pt idx="3">
                  <c:v>0.23445410250480359</c:v>
                </c:pt>
                <c:pt idx="4">
                  <c:v>0.2322453269815011</c:v>
                </c:pt>
                <c:pt idx="5">
                  <c:v>0.2285620902874267</c:v>
                </c:pt>
                <c:pt idx="6">
                  <c:v>0.22935510955427693</c:v>
                </c:pt>
                <c:pt idx="7">
                  <c:v>0.23053249825813377</c:v>
                </c:pt>
                <c:pt idx="8">
                  <c:v>0.23035284968628508</c:v>
                </c:pt>
                <c:pt idx="9">
                  <c:v>0.2295883267477513</c:v>
                </c:pt>
                <c:pt idx="10">
                  <c:v>0.22802379921762025</c:v>
                </c:pt>
                <c:pt idx="11">
                  <c:v>0.2295376541209029</c:v>
                </c:pt>
                <c:pt idx="12">
                  <c:v>0.22971449052003642</c:v>
                </c:pt>
                <c:pt idx="13">
                  <c:v>0.22932048478415468</c:v>
                </c:pt>
                <c:pt idx="14">
                  <c:v>0.22957695264432199</c:v>
                </c:pt>
                <c:pt idx="15">
                  <c:v>0.231406336169737</c:v>
                </c:pt>
                <c:pt idx="16">
                  <c:v>0.23086742137936375</c:v>
                </c:pt>
                <c:pt idx="17">
                  <c:v>0.2347036228306616</c:v>
                </c:pt>
                <c:pt idx="18">
                  <c:v>0.231632784597382</c:v>
                </c:pt>
                <c:pt idx="19">
                  <c:v>0.23252033335707278</c:v>
                </c:pt>
                <c:pt idx="20">
                  <c:v>0.2333622955376811</c:v>
                </c:pt>
                <c:pt idx="21">
                  <c:v>0.2345533480273368</c:v>
                </c:pt>
                <c:pt idx="22">
                  <c:v>0.23305435393701657</c:v>
                </c:pt>
                <c:pt idx="23">
                  <c:v>0.23222792928022307</c:v>
                </c:pt>
                <c:pt idx="24">
                  <c:v>0.23281309418778018</c:v>
                </c:pt>
                <c:pt idx="25">
                  <c:v>0.23019246556564232</c:v>
                </c:pt>
                <c:pt idx="26">
                  <c:v>0.23422319791800858</c:v>
                </c:pt>
                <c:pt idx="27">
                  <c:v>0.2327412735040563</c:v>
                </c:pt>
                <c:pt idx="28">
                  <c:v>0.23035234906653018</c:v>
                </c:pt>
                <c:pt idx="29">
                  <c:v>0.2314277500937903</c:v>
                </c:pt>
                <c:pt idx="30">
                  <c:v>0.23261979308302203</c:v>
                </c:pt>
                <c:pt idx="31">
                  <c:v>0.2344966122246137</c:v>
                </c:pt>
                <c:pt idx="32">
                  <c:v>0.23546045262993864</c:v>
                </c:pt>
                <c:pt idx="33">
                  <c:v>0.23307566123380702</c:v>
                </c:pt>
                <c:pt idx="34">
                  <c:v>0.23072385267051435</c:v>
                </c:pt>
                <c:pt idx="35">
                  <c:v>0.23070760596616757</c:v>
                </c:pt>
                <c:pt idx="36">
                  <c:v>0.23594203701984168</c:v>
                </c:pt>
                <c:pt idx="37">
                  <c:v>0.2374261754221546</c:v>
                </c:pt>
                <c:pt idx="38">
                  <c:v>0.23790118685600053</c:v>
                </c:pt>
                <c:pt idx="39">
                  <c:v>0.23336538293375295</c:v>
                </c:pt>
                <c:pt idx="40">
                  <c:v>0.2304660644196324</c:v>
                </c:pt>
                <c:pt idx="41">
                  <c:v>0.22909936127782504</c:v>
                </c:pt>
                <c:pt idx="42">
                  <c:v>0.23136514020003288</c:v>
                </c:pt>
                <c:pt idx="43">
                  <c:v>0.22849897304028643</c:v>
                </c:pt>
                <c:pt idx="44">
                  <c:v>0.22721200946613387</c:v>
                </c:pt>
                <c:pt idx="45">
                  <c:v>0.22646108025120099</c:v>
                </c:pt>
                <c:pt idx="46">
                  <c:v>0.22834257166569022</c:v>
                </c:pt>
                <c:pt idx="47">
                  <c:v>0.22697590861837427</c:v>
                </c:pt>
                <c:pt idx="48">
                  <c:v>0.22547234860130438</c:v>
                </c:pt>
                <c:pt idx="49">
                  <c:v>0.2209042282290704</c:v>
                </c:pt>
                <c:pt idx="50">
                  <c:v>0.2198691353519756</c:v>
                </c:pt>
                <c:pt idx="51">
                  <c:v>0.22491349622883652</c:v>
                </c:pt>
                <c:pt idx="52">
                  <c:v>0.23772259112852764</c:v>
                </c:pt>
                <c:pt idx="53">
                  <c:v>0.26531490764448873</c:v>
                </c:pt>
                <c:pt idx="54">
                  <c:v>0.231110867738506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909471919530594"/>
          <c:min val="0.141906064751482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519083030009268</c:v>
                </c:pt>
                <c:pt idx="1">
                  <c:v>0.47562349795849784</c:v>
                </c:pt>
                <c:pt idx="2">
                  <c:v>0.4676026256703904</c:v>
                </c:pt>
                <c:pt idx="3">
                  <c:v>0.486864780799462</c:v>
                </c:pt>
                <c:pt idx="4">
                  <c:v>0.4944320132336136</c:v>
                </c:pt>
                <c:pt idx="5">
                  <c:v>0.5309246837919638</c:v>
                </c:pt>
                <c:pt idx="6">
                  <c:v>0.48167172360968596</c:v>
                </c:pt>
                <c:pt idx="7">
                  <c:v>0.48999118718029705</c:v>
                </c:pt>
                <c:pt idx="8">
                  <c:v>0.5098889400456268</c:v>
                </c:pt>
                <c:pt idx="9">
                  <c:v>0.5430393400039604</c:v>
                </c:pt>
                <c:pt idx="10">
                  <c:v>0.5227388386707145</c:v>
                </c:pt>
                <c:pt idx="11">
                  <c:v>0.5368661002239342</c:v>
                </c:pt>
                <c:pt idx="12">
                  <c:v>0.5665045268785275</c:v>
                </c:pt>
                <c:pt idx="13">
                  <c:v>0.564761533871014</c:v>
                </c:pt>
                <c:pt idx="14">
                  <c:v>0.5588992440192215</c:v>
                </c:pt>
                <c:pt idx="15">
                  <c:v>0.5520922693068946</c:v>
                </c:pt>
                <c:pt idx="16">
                  <c:v>0.5522628279270059</c:v>
                </c:pt>
                <c:pt idx="17">
                  <c:v>0.5827436021872652</c:v>
                </c:pt>
                <c:pt idx="18">
                  <c:v>0.5811597354427163</c:v>
                </c:pt>
                <c:pt idx="19">
                  <c:v>0.5641689035833891</c:v>
                </c:pt>
                <c:pt idx="20">
                  <c:v>0.5579910439726716</c:v>
                </c:pt>
                <c:pt idx="21">
                  <c:v>0.4549604210142601</c:v>
                </c:pt>
                <c:pt idx="22">
                  <c:v>0.45740174054211385</c:v>
                </c:pt>
                <c:pt idx="23">
                  <c:v>0.4335793440167006</c:v>
                </c:pt>
                <c:pt idx="24">
                  <c:v>0.44350700800410436</c:v>
                </c:pt>
                <c:pt idx="25">
                  <c:v>0.42289235629004074</c:v>
                </c:pt>
                <c:pt idx="26">
                  <c:v>0.4354561851648267</c:v>
                </c:pt>
                <c:pt idx="27">
                  <c:v>0.46567065201736085</c:v>
                </c:pt>
                <c:pt idx="28">
                  <c:v>0.45688703436239037</c:v>
                </c:pt>
                <c:pt idx="29">
                  <c:v>0.4314252414530922</c:v>
                </c:pt>
                <c:pt idx="30">
                  <c:v>0.43811149976887376</c:v>
                </c:pt>
                <c:pt idx="31">
                  <c:v>0.41299433917289474</c:v>
                </c:pt>
                <c:pt idx="32">
                  <c:v>0.41904259805989036</c:v>
                </c:pt>
                <c:pt idx="33">
                  <c:v>0.39906075211344133</c:v>
                </c:pt>
                <c:pt idx="34">
                  <c:v>0.44531172602569163</c:v>
                </c:pt>
                <c:pt idx="35">
                  <c:v>0.45826567001045326</c:v>
                </c:pt>
                <c:pt idx="36">
                  <c:v>0.48510030398297155</c:v>
                </c:pt>
                <c:pt idx="37">
                  <c:v>0.4475780105801006</c:v>
                </c:pt>
                <c:pt idx="38">
                  <c:v>0.4560632327966353</c:v>
                </c:pt>
                <c:pt idx="39">
                  <c:v>0.4858975771954105</c:v>
                </c:pt>
                <c:pt idx="40">
                  <c:v>0.4702405728389776</c:v>
                </c:pt>
                <c:pt idx="41">
                  <c:v>0.4162647188669328</c:v>
                </c:pt>
                <c:pt idx="42">
                  <c:v>0.45462190016002857</c:v>
                </c:pt>
                <c:pt idx="43">
                  <c:v>0.44871259672040714</c:v>
                </c:pt>
                <c:pt idx="44">
                  <c:v>0.49576903161010577</c:v>
                </c:pt>
                <c:pt idx="45">
                  <c:v>0.5083792160058573</c:v>
                </c:pt>
                <c:pt idx="46">
                  <c:v>0.4947770412924364</c:v>
                </c:pt>
                <c:pt idx="47">
                  <c:v>0.5046477412530757</c:v>
                </c:pt>
                <c:pt idx="48">
                  <c:v>0.4731934232544922</c:v>
                </c:pt>
                <c:pt idx="49">
                  <c:v>0.468290378802966</c:v>
                </c:pt>
                <c:pt idx="50">
                  <c:v>0.48570837018449153</c:v>
                </c:pt>
                <c:pt idx="51">
                  <c:v>0.4993017057655332</c:v>
                </c:pt>
                <c:pt idx="52">
                  <c:v>0.49934319766798274</c:v>
                </c:pt>
                <c:pt idx="53">
                  <c:v>0.45296866314439643</c:v>
                </c:pt>
                <c:pt idx="54">
                  <c:v>0.4506459766165841</c:v>
                </c:pt>
                <c:pt idx="55">
                  <c:v>0.4512517635556259</c:v>
                </c:pt>
                <c:pt idx="56">
                  <c:v>0.4485819634958296</c:v>
                </c:pt>
                <c:pt idx="57">
                  <c:v>0.4509527413074561</c:v>
                </c:pt>
                <c:pt idx="58">
                  <c:v>0.4286584050859631</c:v>
                </c:pt>
                <c:pt idx="59">
                  <c:v>0.42439373648487944</c:v>
                </c:pt>
                <c:pt idx="60">
                  <c:v>0.42925113327677344</c:v>
                </c:pt>
                <c:pt idx="61">
                  <c:v>0.47728579580007136</c:v>
                </c:pt>
                <c:pt idx="62">
                  <c:v>0.5052989352615851</c:v>
                </c:pt>
                <c:pt idx="63">
                  <c:v>0.5016727343635743</c:v>
                </c:pt>
                <c:pt idx="64">
                  <c:v>0.5381503650099564</c:v>
                </c:pt>
                <c:pt idx="65">
                  <c:v>0.5211767353226053</c:v>
                </c:pt>
                <c:pt idx="66">
                  <c:v>0.5236155223750173</c:v>
                </c:pt>
                <c:pt idx="67">
                  <c:v>0.5155151336408592</c:v>
                </c:pt>
                <c:pt idx="68">
                  <c:v>0.4760932188161652</c:v>
                </c:pt>
                <c:pt idx="69">
                  <c:v>0.4208338324410823</c:v>
                </c:pt>
                <c:pt idx="70">
                  <c:v>0.4261945506226264</c:v>
                </c:pt>
                <c:pt idx="71">
                  <c:v>0.4584503228551514</c:v>
                </c:pt>
                <c:pt idx="72">
                  <c:v>0.4854711009468406</c:v>
                </c:pt>
                <c:pt idx="73">
                  <c:v>0.5031548865933168</c:v>
                </c:pt>
                <c:pt idx="74">
                  <c:v>0.4491977158885473</c:v>
                </c:pt>
                <c:pt idx="75">
                  <c:v>0.45310987134286435</c:v>
                </c:pt>
                <c:pt idx="76">
                  <c:v>0.44134042375457094</c:v>
                </c:pt>
                <c:pt idx="77">
                  <c:v>0.4677452117531286</c:v>
                </c:pt>
                <c:pt idx="78">
                  <c:v>0.4635464668352503</c:v>
                </c:pt>
                <c:pt idx="79">
                  <c:v>0.5129182934319559</c:v>
                </c:pt>
                <c:pt idx="80">
                  <c:v>0.5472330085636512</c:v>
                </c:pt>
                <c:pt idx="81">
                  <c:v>0.5369828813762864</c:v>
                </c:pt>
                <c:pt idx="82">
                  <c:v>0.553236245153054</c:v>
                </c:pt>
                <c:pt idx="83">
                  <c:v>0.5213721171699747</c:v>
                </c:pt>
                <c:pt idx="84">
                  <c:v>0.5515932207353609</c:v>
                </c:pt>
                <c:pt idx="85">
                  <c:v>0.5358405593882851</c:v>
                </c:pt>
                <c:pt idx="86">
                  <c:v>0.5203307413075723</c:v>
                </c:pt>
                <c:pt idx="87">
                  <c:v>0.5018721740950717</c:v>
                </c:pt>
                <c:pt idx="88">
                  <c:v>0.5035055494902151</c:v>
                </c:pt>
                <c:pt idx="89">
                  <c:v>0.4698899918169756</c:v>
                </c:pt>
                <c:pt idx="90">
                  <c:v>0.46708064253796133</c:v>
                </c:pt>
                <c:pt idx="91">
                  <c:v>0.38760726103456655</c:v>
                </c:pt>
                <c:pt idx="92">
                  <c:v>0.4655391412059193</c:v>
                </c:pt>
                <c:pt idx="93">
                  <c:v>0.47466916690754407</c:v>
                </c:pt>
                <c:pt idx="94">
                  <c:v>0.4775536208500065</c:v>
                </c:pt>
                <c:pt idx="95">
                  <c:v>0.47665752724325855</c:v>
                </c:pt>
                <c:pt idx="96">
                  <c:v>0.522071855243217</c:v>
                </c:pt>
                <c:pt idx="97">
                  <c:v>0.5510619085779261</c:v>
                </c:pt>
                <c:pt idx="98">
                  <c:v>0.5349425057780204</c:v>
                </c:pt>
                <c:pt idx="99">
                  <c:v>0.5239927945449981</c:v>
                </c:pt>
                <c:pt idx="100">
                  <c:v>0.504544862176295</c:v>
                </c:pt>
                <c:pt idx="101">
                  <c:v>0.4852799090670713</c:v>
                </c:pt>
                <c:pt idx="102">
                  <c:v>0.5133964659677684</c:v>
                </c:pt>
                <c:pt idx="103">
                  <c:v>0.5257223448594331</c:v>
                </c:pt>
                <c:pt idx="104">
                  <c:v>0.48790647875800636</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18154087042269</c:v>
                </c:pt>
                <c:pt idx="1">
                  <c:v>0.4352954425122318</c:v>
                </c:pt>
                <c:pt idx="2">
                  <c:v>0.4200601347638429</c:v>
                </c:pt>
                <c:pt idx="3">
                  <c:v>0.44543052951926604</c:v>
                </c:pt>
                <c:pt idx="4">
                  <c:v>0.4437972486381682</c:v>
                </c:pt>
                <c:pt idx="5">
                  <c:v>0.4734259211522309</c:v>
                </c:pt>
                <c:pt idx="6">
                  <c:v>0.516221873051801</c:v>
                </c:pt>
                <c:pt idx="7">
                  <c:v>0.5040146029133931</c:v>
                </c:pt>
                <c:pt idx="8">
                  <c:v>0.5111125391615992</c:v>
                </c:pt>
                <c:pt idx="9">
                  <c:v>0.5100111508506712</c:v>
                </c:pt>
                <c:pt idx="10">
                  <c:v>0.49592729884243014</c:v>
                </c:pt>
                <c:pt idx="11">
                  <c:v>0.5308224612611153</c:v>
                </c:pt>
                <c:pt idx="12">
                  <c:v>0.5097428147920433</c:v>
                </c:pt>
                <c:pt idx="13">
                  <c:v>0.47598882452147373</c:v>
                </c:pt>
                <c:pt idx="14">
                  <c:v>0.44811433102324116</c:v>
                </c:pt>
                <c:pt idx="15">
                  <c:v>0.4388817624478749</c:v>
                </c:pt>
                <c:pt idx="16">
                  <c:v>0.5005189313993512</c:v>
                </c:pt>
                <c:pt idx="17">
                  <c:v>0.48462800548139506</c:v>
                </c:pt>
                <c:pt idx="18">
                  <c:v>0.37841370336677144</c:v>
                </c:pt>
                <c:pt idx="19">
                  <c:v>0.37244229129337714</c:v>
                </c:pt>
                <c:pt idx="20">
                  <c:v>0.47029369206688404</c:v>
                </c:pt>
                <c:pt idx="21">
                  <c:v>0.4424884392656001</c:v>
                </c:pt>
                <c:pt idx="22">
                  <c:v>0.4857168967273244</c:v>
                </c:pt>
                <c:pt idx="23">
                  <c:v>0.4892569947862081</c:v>
                </c:pt>
                <c:pt idx="24">
                  <c:v>0.48281261412021875</c:v>
                </c:pt>
                <c:pt idx="25">
                  <c:v>0.4649447418191738</c:v>
                </c:pt>
                <c:pt idx="26">
                  <c:v>0.5273610185119512</c:v>
                </c:pt>
                <c:pt idx="27">
                  <c:v>0.4566606044153714</c:v>
                </c:pt>
                <c:pt idx="28">
                  <c:v>0.5171148244626916</c:v>
                </c:pt>
                <c:pt idx="29">
                  <c:v>0.49527122161832166</c:v>
                </c:pt>
                <c:pt idx="30">
                  <c:v>0.4949671663492077</c:v>
                </c:pt>
                <c:pt idx="31">
                  <c:v>0.5374916619574159</c:v>
                </c:pt>
                <c:pt idx="32">
                  <c:v>0.5262345795826568</c:v>
                </c:pt>
                <c:pt idx="33">
                  <c:v>0.5410808017778737</c:v>
                </c:pt>
                <c:pt idx="34">
                  <c:v>0.5210778835704357</c:v>
                </c:pt>
                <c:pt idx="35">
                  <c:v>0.5223582349397701</c:v>
                </c:pt>
                <c:pt idx="36">
                  <c:v>0.4469397892189404</c:v>
                </c:pt>
                <c:pt idx="37">
                  <c:v>0.47136509882028493</c:v>
                </c:pt>
                <c:pt idx="38">
                  <c:v>0.44571157775422776</c:v>
                </c:pt>
                <c:pt idx="39">
                  <c:v>0.49114701121388343</c:v>
                </c:pt>
                <c:pt idx="40">
                  <c:v>0.5304202612997336</c:v>
                </c:pt>
                <c:pt idx="41">
                  <c:v>0.4822309085897845</c:v>
                </c:pt>
                <c:pt idx="42">
                  <c:v>0.4963082013068304</c:v>
                </c:pt>
                <c:pt idx="43">
                  <c:v>0.5315704601950899</c:v>
                </c:pt>
                <c:pt idx="44">
                  <c:v>0.5654741560839082</c:v>
                </c:pt>
                <c:pt idx="45">
                  <c:v>0.5598522910821745</c:v>
                </c:pt>
                <c:pt idx="46">
                  <c:v>0.5683369442930388</c:v>
                </c:pt>
                <c:pt idx="47">
                  <c:v>0.57158848857464</c:v>
                </c:pt>
                <c:pt idx="48">
                  <c:v>0.6164056508748021</c:v>
                </c:pt>
                <c:pt idx="49">
                  <c:v>0.6271189323585864</c:v>
                </c:pt>
                <c:pt idx="50">
                  <c:v>0.6069399973993407</c:v>
                </c:pt>
                <c:pt idx="51">
                  <c:v>0.6416775967889682</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3921928808777623</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3921928808777623</c:v>
                </c:pt>
                <c:pt idx="1">
                  <c:v>0.23921928808777623</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952223546352821</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952223546352821</c:v>
                </c:pt>
                <c:pt idx="1">
                  <c:v>0.3952223546352821</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749219065486215</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749219065486215</c:v>
                </c:pt>
                <c:pt idx="1">
                  <c:v>0.5749219065486215</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18154087042269</c:v>
                </c:pt>
                <c:pt idx="1">
                  <c:v>0.4352954425122318</c:v>
                </c:pt>
                <c:pt idx="2">
                  <c:v>0.4200601347638429</c:v>
                </c:pt>
                <c:pt idx="3">
                  <c:v>0.44543052951926604</c:v>
                </c:pt>
                <c:pt idx="4">
                  <c:v>0.4437972486381682</c:v>
                </c:pt>
                <c:pt idx="5">
                  <c:v>0.4734259211522309</c:v>
                </c:pt>
                <c:pt idx="6">
                  <c:v>0.516221873051801</c:v>
                </c:pt>
                <c:pt idx="7">
                  <c:v>0.5040146029133931</c:v>
                </c:pt>
                <c:pt idx="8">
                  <c:v>0.5111125391615992</c:v>
                </c:pt>
                <c:pt idx="9">
                  <c:v>0.5100111508506712</c:v>
                </c:pt>
                <c:pt idx="10">
                  <c:v>0.49592729884243014</c:v>
                </c:pt>
                <c:pt idx="11">
                  <c:v>0.5308224612611153</c:v>
                </c:pt>
                <c:pt idx="12">
                  <c:v>0.5097428147920433</c:v>
                </c:pt>
                <c:pt idx="13">
                  <c:v>0.47598882452147373</c:v>
                </c:pt>
                <c:pt idx="14">
                  <c:v>0.44811433102324116</c:v>
                </c:pt>
                <c:pt idx="15">
                  <c:v>0.4388817624478749</c:v>
                </c:pt>
                <c:pt idx="16">
                  <c:v>0.5005189313993512</c:v>
                </c:pt>
                <c:pt idx="17">
                  <c:v>0.48462800548139506</c:v>
                </c:pt>
                <c:pt idx="18">
                  <c:v>0.37841370336677144</c:v>
                </c:pt>
                <c:pt idx="19">
                  <c:v>0.37244229129337714</c:v>
                </c:pt>
                <c:pt idx="20">
                  <c:v>0.47029369206688404</c:v>
                </c:pt>
                <c:pt idx="21">
                  <c:v>0.4424884392656001</c:v>
                </c:pt>
                <c:pt idx="22">
                  <c:v>0.4857168967273244</c:v>
                </c:pt>
                <c:pt idx="23">
                  <c:v>0.4892569947862081</c:v>
                </c:pt>
                <c:pt idx="24">
                  <c:v>0.48281261412021875</c:v>
                </c:pt>
                <c:pt idx="25">
                  <c:v>0.4649447418191738</c:v>
                </c:pt>
                <c:pt idx="26">
                  <c:v>0.5273610185119512</c:v>
                </c:pt>
                <c:pt idx="27">
                  <c:v>0.4566606044153714</c:v>
                </c:pt>
                <c:pt idx="28">
                  <c:v>0.5171148244626916</c:v>
                </c:pt>
                <c:pt idx="29">
                  <c:v>0.49527122161832166</c:v>
                </c:pt>
                <c:pt idx="30">
                  <c:v>0.4949671663492077</c:v>
                </c:pt>
                <c:pt idx="31">
                  <c:v>0.5374916619574159</c:v>
                </c:pt>
                <c:pt idx="32">
                  <c:v>0.5262345795826568</c:v>
                </c:pt>
                <c:pt idx="33">
                  <c:v>0.5410808017778737</c:v>
                </c:pt>
                <c:pt idx="34">
                  <c:v>0.5210778835704357</c:v>
                </c:pt>
                <c:pt idx="35">
                  <c:v>0.5223582349397701</c:v>
                </c:pt>
                <c:pt idx="36">
                  <c:v>0.4469397892189404</c:v>
                </c:pt>
                <c:pt idx="37">
                  <c:v>0.47136509882028493</c:v>
                </c:pt>
                <c:pt idx="38">
                  <c:v>0.44571157775422776</c:v>
                </c:pt>
                <c:pt idx="39">
                  <c:v>0.49114701121388343</c:v>
                </c:pt>
                <c:pt idx="40">
                  <c:v>0.5304202612997336</c:v>
                </c:pt>
                <c:pt idx="41">
                  <c:v>0.4822309085897845</c:v>
                </c:pt>
                <c:pt idx="42">
                  <c:v>0.4963082013068304</c:v>
                </c:pt>
                <c:pt idx="43">
                  <c:v>0.5315704601950899</c:v>
                </c:pt>
                <c:pt idx="44">
                  <c:v>0.5654741560839082</c:v>
                </c:pt>
                <c:pt idx="45">
                  <c:v>0.5598522910821745</c:v>
                </c:pt>
                <c:pt idx="46">
                  <c:v>0.5683369442930388</c:v>
                </c:pt>
                <c:pt idx="47">
                  <c:v>0.57158848857464</c:v>
                </c:pt>
                <c:pt idx="48">
                  <c:v>0.6164056508748021</c:v>
                </c:pt>
                <c:pt idx="49">
                  <c:v>0.6271189323585864</c:v>
                </c:pt>
                <c:pt idx="50">
                  <c:v>0.6069399973993407</c:v>
                </c:pt>
                <c:pt idx="51">
                  <c:v>0.6416775967889682</c:v>
                </c:pt>
                <c:pt idx="52">
                  <c:v>0.3952223546352821</c:v>
                </c:pt>
                <c:pt idx="53">
                  <c:v>0.23921928808777623</c:v>
                </c:pt>
                <c:pt idx="54">
                  <c:v>0.5749219065486215</c:v>
                </c:pt>
              </c:numCache>
            </c:numRef>
          </c:xVal>
          <c:yVal>
            <c:numRef>
              <c:f>Sheet1!$B$187:$B$241</c:f>
              <c:numCache>
                <c:formatCode>General</c:formatCode>
                <c:ptCount val="55"/>
                <c:pt idx="0">
                  <c:v>0.12770475436322903</c:v>
                </c:pt>
                <c:pt idx="1">
                  <c:v>0.13205576364940264</c:v>
                </c:pt>
                <c:pt idx="2">
                  <c:v>0.1360684211040573</c:v>
                </c:pt>
                <c:pt idx="3">
                  <c:v>0.1293863963413054</c:v>
                </c:pt>
                <c:pt idx="4">
                  <c:v>0.1298165679408108</c:v>
                </c:pt>
                <c:pt idx="5">
                  <c:v>0.12201300298508168</c:v>
                </c:pt>
                <c:pt idx="6">
                  <c:v>0.11074145545516631</c:v>
                </c:pt>
                <c:pt idx="7">
                  <c:v>0.11395659192177598</c:v>
                </c:pt>
                <c:pt idx="8">
                  <c:v>0.11208714581216</c:v>
                </c:pt>
                <c:pt idx="9">
                  <c:v>0.11237722817146004</c:v>
                </c:pt>
                <c:pt idx="10">
                  <c:v>0.11608661656613148</c:v>
                </c:pt>
                <c:pt idx="11">
                  <c:v>0.1068959696869747</c:v>
                </c:pt>
                <c:pt idx="12">
                  <c:v>0.11244790220731071</c:v>
                </c:pt>
                <c:pt idx="13">
                  <c:v>0.12133798850687141</c:v>
                </c:pt>
                <c:pt idx="14">
                  <c:v>0.12867953985441372</c:v>
                </c:pt>
                <c:pt idx="15">
                  <c:v>0.1311112029183562</c:v>
                </c:pt>
                <c:pt idx="16">
                  <c:v>0.1148772777780448</c:v>
                </c:pt>
                <c:pt idx="17">
                  <c:v>0.11906261117590775</c:v>
                </c:pt>
                <c:pt idx="18">
                  <c:v>0.14703720927460778</c:v>
                </c:pt>
                <c:pt idx="19">
                  <c:v>0.14860995277062639</c:v>
                </c:pt>
                <c:pt idx="20">
                  <c:v>0.12283796580149296</c:v>
                </c:pt>
                <c:pt idx="21">
                  <c:v>0.13016128061562454</c:v>
                </c:pt>
                <c:pt idx="22">
                  <c:v>0.11877582027890413</c:v>
                </c:pt>
                <c:pt idx="23">
                  <c:v>0.11784343341145206</c:v>
                </c:pt>
                <c:pt idx="24">
                  <c:v>0.11954074681969282</c:v>
                </c:pt>
                <c:pt idx="25">
                  <c:v>0.12424676603319956</c:v>
                </c:pt>
                <c:pt idx="26">
                  <c:v>0.10780764041136576</c:v>
                </c:pt>
                <c:pt idx="27">
                  <c:v>0.12642863240949687</c:v>
                </c:pt>
                <c:pt idx="28">
                  <c:v>0.11050627096170351</c:v>
                </c:pt>
                <c:pt idx="29">
                  <c:v>0.11625941341458546</c:v>
                </c:pt>
                <c:pt idx="30">
                  <c:v>0.11633949513412711</c:v>
                </c:pt>
                <c:pt idx="31">
                  <c:v>0.1051394434432939</c:v>
                </c:pt>
                <c:pt idx="32">
                  <c:v>0.10810432057309888</c:v>
                </c:pt>
                <c:pt idx="33">
                  <c:v>0.10419414001429814</c:v>
                </c:pt>
                <c:pt idx="34">
                  <c:v>0.10946248511014378</c:v>
                </c:pt>
                <c:pt idx="35">
                  <c:v>0.10912526767078617</c:v>
                </c:pt>
                <c:pt idx="36">
                  <c:v>0.12898888929484953</c:v>
                </c:pt>
                <c:pt idx="37">
                  <c:v>0.12255577994958877</c:v>
                </c:pt>
                <c:pt idx="38">
                  <c:v>0.12931237418738756</c:v>
                </c:pt>
                <c:pt idx="39">
                  <c:v>0.11734564310533022</c:v>
                </c:pt>
                <c:pt idx="40">
                  <c:v>0.10700190064025467</c:v>
                </c:pt>
                <c:pt idx="41">
                  <c:v>0.11969395573884692</c:v>
                </c:pt>
                <c:pt idx="42">
                  <c:v>0.11598629492258386</c:v>
                </c:pt>
                <c:pt idx="43">
                  <c:v>0.10669896260657594</c:v>
                </c:pt>
                <c:pt idx="44">
                  <c:v>0.09776944701717155</c:v>
                </c:pt>
                <c:pt idx="45">
                  <c:v>0.09925012721614254</c:v>
                </c:pt>
                <c:pt idx="46">
                  <c:v>0.09701544922216931</c:v>
                </c:pt>
                <c:pt idx="47">
                  <c:v>0.0961590613095532</c:v>
                </c:pt>
                <c:pt idx="48">
                  <c:v>0.08435516975907026</c:v>
                </c:pt>
                <c:pt idx="49">
                  <c:v>0.08153351826901312</c:v>
                </c:pt>
                <c:pt idx="50">
                  <c:v>0.08684822245014603</c:v>
                </c:pt>
                <c:pt idx="51">
                  <c:v>0.07769907433646009</c:v>
                </c:pt>
                <c:pt idx="52">
                  <c:v>0.14261016645216051</c:v>
                </c:pt>
                <c:pt idx="53">
                  <c:v>0.18369807082987408</c:v>
                </c:pt>
                <c:pt idx="54">
                  <c:v>0.09528110960003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4.7222</c:v>
                </c:pt>
                <c:pt idx="1">
                  <c:v>660.6535</c:v>
                </c:pt>
                <c:pt idx="2">
                  <c:v>657.3402</c:v>
                </c:pt>
                <c:pt idx="3">
                  <c:v>655.5978</c:v>
                </c:pt>
                <c:pt idx="4">
                  <c:v>658.4051</c:v>
                </c:pt>
                <c:pt idx="5">
                  <c:v>651.9487</c:v>
                </c:pt>
                <c:pt idx="6">
                  <c:v>625.3294</c:v>
                </c:pt>
                <c:pt idx="7">
                  <c:v>647.8491</c:v>
                </c:pt>
                <c:pt idx="8">
                  <c:v>654.8444</c:v>
                </c:pt>
                <c:pt idx="9">
                  <c:v>639.25</c:v>
                </c:pt>
                <c:pt idx="10">
                  <c:v>612.8219</c:v>
                </c:pt>
                <c:pt idx="11">
                  <c:v>641.36</c:v>
                </c:pt>
                <c:pt idx="12">
                  <c:v>656.0779</c:v>
                </c:pt>
                <c:pt idx="13">
                  <c:v>658.1034</c:v>
                </c:pt>
                <c:pt idx="14">
                  <c:v>665.5432</c:v>
                </c:pt>
                <c:pt idx="15">
                  <c:v>654.0</c:v>
                </c:pt>
                <c:pt idx="16">
                  <c:v>656.8254</c:v>
                </c:pt>
                <c:pt idx="17">
                  <c:v>659.8298</c:v>
                </c:pt>
                <c:pt idx="18">
                  <c:v>657.9808</c:v>
                </c:pt>
                <c:pt idx="19">
                  <c:v>653.913</c:v>
                </c:pt>
                <c:pt idx="20">
                  <c:v>640.18</c:v>
                </c:pt>
                <c:pt idx="21">
                  <c:v>623.5405</c:v>
                </c:pt>
                <c:pt idx="22">
                  <c:v>654.6744</c:v>
                </c:pt>
                <c:pt idx="23">
                  <c:v>622.5882</c:v>
                </c:pt>
                <c:pt idx="24">
                  <c:v>636.9429</c:v>
                </c:pt>
                <c:pt idx="25">
                  <c:v>617.6471</c:v>
                </c:pt>
                <c:pt idx="26">
                  <c:v>619.5</c:v>
                </c:pt>
                <c:pt idx="27">
                  <c:v>646.3158</c:v>
                </c:pt>
                <c:pt idx="28">
                  <c:v>645.8</c:v>
                </c:pt>
                <c:pt idx="29">
                  <c:v>613.8462</c:v>
                </c:pt>
                <c:pt idx="30">
                  <c:v>628.375</c:v>
                </c:pt>
                <c:pt idx="31">
                  <c:v>602.7742</c:v>
                </c:pt>
                <c:pt idx="32">
                  <c:v>608.0526</c:v>
                </c:pt>
                <c:pt idx="33">
                  <c:v>582.5769</c:v>
                </c:pt>
                <c:pt idx="34">
                  <c:v>626.6</c:v>
                </c:pt>
                <c:pt idx="35">
                  <c:v>629.6667</c:v>
                </c:pt>
                <c:pt idx="36">
                  <c:v>653.1667</c:v>
                </c:pt>
                <c:pt idx="37">
                  <c:v>612.0</c:v>
                </c:pt>
                <c:pt idx="38">
                  <c:v>613.9697</c:v>
                </c:pt>
                <c:pt idx="39">
                  <c:v>637.0625</c:v>
                </c:pt>
                <c:pt idx="40">
                  <c:v>651.9744</c:v>
                </c:pt>
                <c:pt idx="41">
                  <c:v>587.8</c:v>
                </c:pt>
                <c:pt idx="42">
                  <c:v>657.5217</c:v>
                </c:pt>
                <c:pt idx="43">
                  <c:v>651.6964</c:v>
                </c:pt>
                <c:pt idx="44">
                  <c:v>659.093</c:v>
                </c:pt>
                <c:pt idx="45">
                  <c:v>660.3208</c:v>
                </c:pt>
                <c:pt idx="46">
                  <c:v>648.4444</c:v>
                </c:pt>
                <c:pt idx="47">
                  <c:v>645.807</c:v>
                </c:pt>
                <c:pt idx="48">
                  <c:v>642.7391</c:v>
                </c:pt>
                <c:pt idx="49">
                  <c:v>643.825</c:v>
                </c:pt>
                <c:pt idx="50">
                  <c:v>643.2523</c:v>
                </c:pt>
                <c:pt idx="51">
                  <c:v>649.641</c:v>
                </c:pt>
                <c:pt idx="52">
                  <c:v>663.1023</c:v>
                </c:pt>
                <c:pt idx="53">
                  <c:v>657.1957</c:v>
                </c:pt>
                <c:pt idx="54">
                  <c:v>658.4483</c:v>
                </c:pt>
                <c:pt idx="55">
                  <c:v>648.55</c:v>
                </c:pt>
                <c:pt idx="56">
                  <c:v>648.3788</c:v>
                </c:pt>
                <c:pt idx="57">
                  <c:v>641.7361</c:v>
                </c:pt>
                <c:pt idx="58">
                  <c:v>630.4881</c:v>
                </c:pt>
                <c:pt idx="59">
                  <c:v>635.9569</c:v>
                </c:pt>
                <c:pt idx="60">
                  <c:v>641.7025</c:v>
                </c:pt>
                <c:pt idx="61">
                  <c:v>648.6765</c:v>
                </c:pt>
                <c:pt idx="62">
                  <c:v>620.4792</c:v>
                </c:pt>
                <c:pt idx="63">
                  <c:v>643.1758</c:v>
                </c:pt>
                <c:pt idx="64">
                  <c:v>642.6667</c:v>
                </c:pt>
                <c:pt idx="65">
                  <c:v>623.2603</c:v>
                </c:pt>
                <c:pt idx="66">
                  <c:v>632.7681</c:v>
                </c:pt>
                <c:pt idx="67">
                  <c:v>620.5217</c:v>
                </c:pt>
                <c:pt idx="68">
                  <c:v>555.0678</c:v>
                </c:pt>
                <c:pt idx="69">
                  <c:v>493.2558</c:v>
                </c:pt>
                <c:pt idx="70">
                  <c:v>497.1842</c:v>
                </c:pt>
                <c:pt idx="71">
                  <c:v>631.6176</c:v>
                </c:pt>
                <c:pt idx="72">
                  <c:v>695.125</c:v>
                </c:pt>
                <c:pt idx="73">
                  <c:v>711.1724</c:v>
                </c:pt>
                <c:pt idx="74">
                  <c:v>655.6944</c:v>
                </c:pt>
                <c:pt idx="75">
                  <c:v>662.4194</c:v>
                </c:pt>
                <c:pt idx="76">
                  <c:v>648.7879</c:v>
                </c:pt>
                <c:pt idx="77">
                  <c:v>657.6522</c:v>
                </c:pt>
                <c:pt idx="78">
                  <c:v>654.8571</c:v>
                </c:pt>
                <c:pt idx="79">
                  <c:v>711.25</c:v>
                </c:pt>
                <c:pt idx="80">
                  <c:v>712.2051</c:v>
                </c:pt>
                <c:pt idx="81">
                  <c:v>709.1818</c:v>
                </c:pt>
                <c:pt idx="82">
                  <c:v>725.8667</c:v>
                </c:pt>
                <c:pt idx="83">
                  <c:v>705.3</c:v>
                </c:pt>
                <c:pt idx="84">
                  <c:v>735.8889</c:v>
                </c:pt>
                <c:pt idx="85">
                  <c:v>711.087</c:v>
                </c:pt>
                <c:pt idx="86">
                  <c:v>688.1667</c:v>
                </c:pt>
                <c:pt idx="87">
                  <c:v>681.6061</c:v>
                </c:pt>
                <c:pt idx="88">
                  <c:v>736.2381</c:v>
                </c:pt>
                <c:pt idx="89">
                  <c:v>701.8182</c:v>
                </c:pt>
                <c:pt idx="90">
                  <c:v>700.4211</c:v>
                </c:pt>
                <c:pt idx="91">
                  <c:v>576.3913</c:v>
                </c:pt>
                <c:pt idx="92">
                  <c:v>682.5909</c:v>
                </c:pt>
                <c:pt idx="93">
                  <c:v>706.2903</c:v>
                </c:pt>
                <c:pt idx="94">
                  <c:v>721.2308</c:v>
                </c:pt>
                <c:pt idx="95">
                  <c:v>687.7027</c:v>
                </c:pt>
                <c:pt idx="96">
                  <c:v>722.1111</c:v>
                </c:pt>
                <c:pt idx="97">
                  <c:v>725.6818</c:v>
                </c:pt>
                <c:pt idx="98">
                  <c:v>703.3247</c:v>
                </c:pt>
                <c:pt idx="99">
                  <c:v>682.7984</c:v>
                </c:pt>
                <c:pt idx="100">
                  <c:v>699.2016</c:v>
                </c:pt>
                <c:pt idx="101">
                  <c:v>690.8652</c:v>
                </c:pt>
                <c:pt idx="102">
                  <c:v>714.8</c:v>
                </c:pt>
                <c:pt idx="103">
                  <c:v>714.7302</c:v>
                </c:pt>
                <c:pt idx="104">
                  <c:v>726.1154</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2.2204615194932</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2.2204615194932</c:v>
                </c:pt>
                <c:pt idx="1">
                  <c:v>492.2204615194932</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24.9846303399306</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24.9846303399306</c:v>
                </c:pt>
                <c:pt idx="1">
                  <c:v>624.9846303399306</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77.9153526338698</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77.9153526338698</c:v>
                </c:pt>
                <c:pt idx="1">
                  <c:v>777.9153526338698</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pt idx="52">
                  <c:v>624.9846303399306</c:v>
                </c:pt>
                <c:pt idx="53">
                  <c:v>492.2204615194932</c:v>
                </c:pt>
                <c:pt idx="54">
                  <c:v>777.9153526338698</c:v>
                </c:pt>
              </c:numCache>
            </c:numRef>
          </c:xVal>
          <c:yVal>
            <c:numRef>
              <c:f>Sheet1!$B$187:$B$241</c:f>
              <c:numCache>
                <c:formatCode>General</c:formatCode>
                <c:ptCount val="55"/>
                <c:pt idx="0">
                  <c:v>0.12298998679108294</c:v>
                </c:pt>
                <c:pt idx="1">
                  <c:v>0.11675565943385524</c:v>
                </c:pt>
                <c:pt idx="2">
                  <c:v>0.1282713621863173</c:v>
                </c:pt>
                <c:pt idx="3">
                  <c:v>0.11061996347123892</c:v>
                </c:pt>
                <c:pt idx="4">
                  <c:v>0.11289059001383087</c:v>
                </c:pt>
                <c:pt idx="5">
                  <c:v>0.11066904705826547</c:v>
                </c:pt>
                <c:pt idx="6">
                  <c:v>0.12230714929792169</c:v>
                </c:pt>
                <c:pt idx="7">
                  <c:v>0.12124482697240258</c:v>
                </c:pt>
                <c:pt idx="8">
                  <c:v>0.11351425485983277</c:v>
                </c:pt>
                <c:pt idx="9">
                  <c:v>0.1212168808947954</c:v>
                </c:pt>
                <c:pt idx="10">
                  <c:v>0.12321776434500187</c:v>
                </c:pt>
                <c:pt idx="11">
                  <c:v>0.1314688205474913</c:v>
                </c:pt>
                <c:pt idx="12">
                  <c:v>0.12789011331583805</c:v>
                </c:pt>
                <c:pt idx="13">
                  <c:v>0.1225225166889165</c:v>
                </c:pt>
                <c:pt idx="14">
                  <c:v>0.13590543831884372</c:v>
                </c:pt>
                <c:pt idx="15">
                  <c:v>0.13929585769206723</c:v>
                </c:pt>
                <c:pt idx="16">
                  <c:v>0.1173200278405489</c:v>
                </c:pt>
                <c:pt idx="17">
                  <c:v>0.12234304902109366</c:v>
                </c:pt>
                <c:pt idx="18">
                  <c:v>0.1756794534259618</c:v>
                </c:pt>
                <c:pt idx="19">
                  <c:v>0.15746046770831917</c:v>
                </c:pt>
                <c:pt idx="20">
                  <c:v>0.10715492838028462</c:v>
                </c:pt>
                <c:pt idx="21">
                  <c:v>0.12239891022827082</c:v>
                </c:pt>
                <c:pt idx="22">
                  <c:v>0.10558029224667126</c:v>
                </c:pt>
                <c:pt idx="23">
                  <c:v>0.10534666551371827</c:v>
                </c:pt>
                <c:pt idx="24">
                  <c:v>0.11446745440612391</c:v>
                </c:pt>
                <c:pt idx="25">
                  <c:v>0.1359980038981605</c:v>
                </c:pt>
                <c:pt idx="26">
                  <c:v>0.10592384640781988</c:v>
                </c:pt>
                <c:pt idx="27">
                  <c:v>0.14267504292778088</c:v>
                </c:pt>
                <c:pt idx="28">
                  <c:v>0.11094671284817856</c:v>
                </c:pt>
                <c:pt idx="29">
                  <c:v>0.11227633337114301</c:v>
                </c:pt>
                <c:pt idx="30">
                  <c:v>0.11141421389838224</c:v>
                </c:pt>
                <c:pt idx="31">
                  <c:v>0.094512160008445</c:v>
                </c:pt>
                <c:pt idx="32">
                  <c:v>0.10581992289884434</c:v>
                </c:pt>
                <c:pt idx="33">
                  <c:v>0.10126960203875576</c:v>
                </c:pt>
                <c:pt idx="34">
                  <c:v>0.1043775586762975</c:v>
                </c:pt>
                <c:pt idx="35">
                  <c:v>0.09796552768936836</c:v>
                </c:pt>
                <c:pt idx="36">
                  <c:v>0.11239424539294071</c:v>
                </c:pt>
                <c:pt idx="37">
                  <c:v>0.09799381419538494</c:v>
                </c:pt>
                <c:pt idx="38">
                  <c:v>0.1087292240854886</c:v>
                </c:pt>
                <c:pt idx="39">
                  <c:v>0.10779459336152783</c:v>
                </c:pt>
                <c:pt idx="40">
                  <c:v>0.09337927615807054</c:v>
                </c:pt>
                <c:pt idx="41">
                  <c:v>0.10417033061909081</c:v>
                </c:pt>
                <c:pt idx="42">
                  <c:v>0.09553861355882931</c:v>
                </c:pt>
                <c:pt idx="43">
                  <c:v>0.10398024777450252</c:v>
                </c:pt>
                <c:pt idx="44">
                  <c:v>0.10848111367111796</c:v>
                </c:pt>
                <c:pt idx="45">
                  <c:v>0.10971575466786268</c:v>
                </c:pt>
                <c:pt idx="46">
                  <c:v>0.10433435521634224</c:v>
                </c:pt>
                <c:pt idx="47">
                  <c:v>0.11016669851815517</c:v>
                </c:pt>
                <c:pt idx="48">
                  <c:v>0.11065843188149993</c:v>
                </c:pt>
                <c:pt idx="49">
                  <c:v>0.10325881807893134</c:v>
                </c:pt>
                <c:pt idx="50">
                  <c:v>0.1004284343871911</c:v>
                </c:pt>
                <c:pt idx="51">
                  <c:v>0.1046062337232957</c:v>
                </c:pt>
                <c:pt idx="52">
                  <c:v>0.14261016645216051</c:v>
                </c:pt>
                <c:pt idx="53">
                  <c:v>0.18369807082987408</c:v>
                </c:pt>
                <c:pt idx="54">
                  <c:v>0.09528110960003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9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050895619757689</c:v>
                </c:pt>
                <c:pt idx="1">
                  <c:v>0.31637858322048756</c:v>
                </c:pt>
                <c:pt idx="2">
                  <c:v>0.3210477992036958</c:v>
                </c:pt>
                <c:pt idx="3">
                  <c:v>0.33656645618358233</c:v>
                </c:pt>
                <c:pt idx="4">
                  <c:v>0.348969157651479</c:v>
                </c:pt>
                <c:pt idx="5">
                  <c:v>0.32465479060359176</c:v>
                </c:pt>
                <c:pt idx="6">
                  <c:v>0.32307224626278314</c:v>
                </c:pt>
                <c:pt idx="7">
                  <c:v>0.3373974369737483</c:v>
                </c:pt>
                <c:pt idx="8">
                  <c:v>0.3162596725408191</c:v>
                </c:pt>
                <c:pt idx="9">
                  <c:v>0.30975330166492465</c:v>
                </c:pt>
                <c:pt idx="10">
                  <c:v>0.29569860279200344</c:v>
                </c:pt>
                <c:pt idx="11">
                  <c:v>0.30042626747484225</c:v>
                </c:pt>
                <c:pt idx="12">
                  <c:v>0.311431521539246</c:v>
                </c:pt>
                <c:pt idx="13">
                  <c:v>0.31557131395333</c:v>
                </c:pt>
                <c:pt idx="14">
                  <c:v>0.32762223035659327</c:v>
                </c:pt>
                <c:pt idx="15">
                  <c:v>0.3205184125575781</c:v>
                </c:pt>
                <c:pt idx="16">
                  <c:v>0.31269459046424064</c:v>
                </c:pt>
                <c:pt idx="17">
                  <c:v>0.31934974075421885</c:v>
                </c:pt>
                <c:pt idx="18">
                  <c:v>0.3251797003861004</c:v>
                </c:pt>
                <c:pt idx="19">
                  <c:v>0.3547127746135069</c:v>
                </c:pt>
                <c:pt idx="20">
                  <c:v>0.34938601757354143</c:v>
                </c:pt>
                <c:pt idx="21">
                  <c:v>0.2894018996619903</c:v>
                </c:pt>
                <c:pt idx="22">
                  <c:v>0.3277086085515018</c:v>
                </c:pt>
                <c:pt idx="23">
                  <c:v>0.30875545093135226</c:v>
                </c:pt>
                <c:pt idx="24">
                  <c:v>0.29387626912177933</c:v>
                </c:pt>
                <c:pt idx="25">
                  <c:v>0.30412232072344475</c:v>
                </c:pt>
                <c:pt idx="26">
                  <c:v>0.27849436818753665</c:v>
                </c:pt>
                <c:pt idx="27">
                  <c:v>0.29732756756756756</c:v>
                </c:pt>
                <c:pt idx="28">
                  <c:v>0.30486916849790374</c:v>
                </c:pt>
                <c:pt idx="29">
                  <c:v>0.3068336119770669</c:v>
                </c:pt>
                <c:pt idx="30">
                  <c:v>0.29619373085081313</c:v>
                </c:pt>
                <c:pt idx="31">
                  <c:v>0.289072606944178</c:v>
                </c:pt>
                <c:pt idx="32">
                  <c:v>0.30126471182930986</c:v>
                </c:pt>
                <c:pt idx="33">
                  <c:v>0.2784396171910446</c:v>
                </c:pt>
                <c:pt idx="34">
                  <c:v>0.3035766229140372</c:v>
                </c:pt>
                <c:pt idx="35">
                  <c:v>0.3091964665180265</c:v>
                </c:pt>
                <c:pt idx="36">
                  <c:v>0.3283444748424889</c:v>
                </c:pt>
                <c:pt idx="37">
                  <c:v>0.2927152360958828</c:v>
                </c:pt>
                <c:pt idx="38">
                  <c:v>0.29831708307680765</c:v>
                </c:pt>
                <c:pt idx="39">
                  <c:v>0.3024988129154796</c:v>
                </c:pt>
                <c:pt idx="40">
                  <c:v>0.3259872</c:v>
                </c:pt>
                <c:pt idx="41">
                  <c:v>0.29019654076639334</c:v>
                </c:pt>
                <c:pt idx="42">
                  <c:v>0.32656136126348206</c:v>
                </c:pt>
                <c:pt idx="43">
                  <c:v>0.3227189716275619</c:v>
                </c:pt>
                <c:pt idx="44">
                  <c:v>0.32891217642216103</c:v>
                </c:pt>
                <c:pt idx="45">
                  <c:v>0.3303603506022019</c:v>
                </c:pt>
                <c:pt idx="46">
                  <c:v>0.3325022201618022</c:v>
                </c:pt>
                <c:pt idx="47">
                  <c:v>0.3330154646312069</c:v>
                </c:pt>
                <c:pt idx="48">
                  <c:v>0.32081755132119677</c:v>
                </c:pt>
                <c:pt idx="49">
                  <c:v>0.317632278001025</c:v>
                </c:pt>
                <c:pt idx="50">
                  <c:v>0.3301904651908887</c:v>
                </c:pt>
                <c:pt idx="51">
                  <c:v>0.3119324943090077</c:v>
                </c:pt>
                <c:pt idx="52">
                  <c:v>0.32932219856346295</c:v>
                </c:pt>
                <c:pt idx="53">
                  <c:v>0.3202566221603536</c:v>
                </c:pt>
                <c:pt idx="54">
                  <c:v>0.31736668022509595</c:v>
                </c:pt>
                <c:pt idx="55">
                  <c:v>0.3153352457820781</c:v>
                </c:pt>
                <c:pt idx="56">
                  <c:v>0.31616371067012317</c:v>
                </c:pt>
                <c:pt idx="57">
                  <c:v>0.31205012204864335</c:v>
                </c:pt>
                <c:pt idx="58">
                  <c:v>0.28745814452911467</c:v>
                </c:pt>
                <c:pt idx="59">
                  <c:v>0.2834495726195542</c:v>
                </c:pt>
                <c:pt idx="60">
                  <c:v>0.287269091076437</c:v>
                </c:pt>
                <c:pt idx="61">
                  <c:v>0.2901806373925366</c:v>
                </c:pt>
                <c:pt idx="62">
                  <c:v>0.32702847330243473</c:v>
                </c:pt>
                <c:pt idx="63">
                  <c:v>0.32022194525920505</c:v>
                </c:pt>
                <c:pt idx="64">
                  <c:v>0.30277809408769113</c:v>
                </c:pt>
                <c:pt idx="65">
                  <c:v>0.27042691775291594</c:v>
                </c:pt>
                <c:pt idx="66">
                  <c:v>0.27776635967429814</c:v>
                </c:pt>
                <c:pt idx="67">
                  <c:v>0.2643858922486003</c:v>
                </c:pt>
                <c:pt idx="68">
                  <c:v>0.247894958968347</c:v>
                </c:pt>
                <c:pt idx="69">
                  <c:v>0.20364799141241074</c:v>
                </c:pt>
                <c:pt idx="70">
                  <c:v>0.2219527237281564</c:v>
                </c:pt>
                <c:pt idx="71">
                  <c:v>0.2811644477729779</c:v>
                </c:pt>
                <c:pt idx="72">
                  <c:v>0.2974828022736609</c:v>
                </c:pt>
                <c:pt idx="73">
                  <c:v>0.29636299074367284</c:v>
                </c:pt>
                <c:pt idx="74">
                  <c:v>0.2876168000877289</c:v>
                </c:pt>
                <c:pt idx="75">
                  <c:v>0.28412234522916413</c:v>
                </c:pt>
                <c:pt idx="76">
                  <c:v>0.2816816220197166</c:v>
                </c:pt>
                <c:pt idx="77">
                  <c:v>0.292373953415669</c:v>
                </c:pt>
                <c:pt idx="78">
                  <c:v>0.29143000798024926</c:v>
                </c:pt>
                <c:pt idx="79">
                  <c:v>0.29606632851486514</c:v>
                </c:pt>
                <c:pt idx="80">
                  <c:v>0.30942489220712344</c:v>
                </c:pt>
                <c:pt idx="81">
                  <c:v>0.3155815210440694</c:v>
                </c:pt>
                <c:pt idx="82">
                  <c:v>0.31532764214461484</c:v>
                </c:pt>
                <c:pt idx="83">
                  <c:v>0.2997874709579559</c:v>
                </c:pt>
                <c:pt idx="84">
                  <c:v>0.3268853169598292</c:v>
                </c:pt>
                <c:pt idx="85">
                  <c:v>0.3146270121718766</c:v>
                </c:pt>
                <c:pt idx="86">
                  <c:v>0.3023225266178168</c:v>
                </c:pt>
                <c:pt idx="87">
                  <c:v>0.2985712119915919</c:v>
                </c:pt>
                <c:pt idx="88">
                  <c:v>0.3077428302598959</c:v>
                </c:pt>
                <c:pt idx="89">
                  <c:v>0.3047617550504223</c:v>
                </c:pt>
                <c:pt idx="90">
                  <c:v>0.30559384816753926</c:v>
                </c:pt>
                <c:pt idx="91">
                  <c:v>0.24335710365210048</c:v>
                </c:pt>
                <c:pt idx="92">
                  <c:v>0.28525618737527714</c:v>
                </c:pt>
                <c:pt idx="93">
                  <c:v>0.3019097001888212</c:v>
                </c:pt>
                <c:pt idx="94">
                  <c:v>0.30811796791463497</c:v>
                </c:pt>
                <c:pt idx="95">
                  <c:v>0.27834374747161295</c:v>
                </c:pt>
                <c:pt idx="96">
                  <c:v>0.2893459691552561</c:v>
                </c:pt>
                <c:pt idx="97">
                  <c:v>0.2891974261301628</c:v>
                </c:pt>
                <c:pt idx="98">
                  <c:v>0.2960862502256458</c:v>
                </c:pt>
                <c:pt idx="99">
                  <c:v>0.29386708121475674</c:v>
                </c:pt>
                <c:pt idx="100">
                  <c:v>0.27978034252286144</c:v>
                </c:pt>
                <c:pt idx="101">
                  <c:v>0.31587824198434017</c:v>
                </c:pt>
                <c:pt idx="102">
                  <c:v>0.3365876575641554</c:v>
                </c:pt>
                <c:pt idx="103">
                  <c:v>0.30688286818376986</c:v>
                </c:pt>
                <c:pt idx="104">
                  <c:v>0.3033063492063492</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7732091087583155</c:v>
                </c:pt>
                <c:pt idx="1">
                  <c:v>0.3157048112295664</c:v>
                </c:pt>
                <c:pt idx="2">
                  <c:v>0.29967346082422686</c:v>
                </c:pt>
                <c:pt idx="3">
                  <c:v>0.30766167662141264</c:v>
                </c:pt>
                <c:pt idx="4">
                  <c:v>0.2809827845750017</c:v>
                </c:pt>
                <c:pt idx="5">
                  <c:v>0.3151256558540933</c:v>
                </c:pt>
                <c:pt idx="6">
                  <c:v>0.30504153578537146</c:v>
                </c:pt>
                <c:pt idx="7">
                  <c:v>0.2924122886331205</c:v>
                </c:pt>
                <c:pt idx="8">
                  <c:v>0.35343083272580755</c:v>
                </c:pt>
                <c:pt idx="9">
                  <c:v>0.3197772992430967</c:v>
                </c:pt>
                <c:pt idx="10">
                  <c:v>0.28858426447598967</c:v>
                </c:pt>
                <c:pt idx="11">
                  <c:v>0.27594209674894327</c:v>
                </c:pt>
                <c:pt idx="12">
                  <c:v>0.3107586896547167</c:v>
                </c:pt>
                <c:pt idx="13">
                  <c:v>0.3222677043562774</c:v>
                </c:pt>
                <c:pt idx="14">
                  <c:v>0.26153654196157733</c:v>
                </c:pt>
                <c:pt idx="15">
                  <c:v>0.25513774158749775</c:v>
                </c:pt>
                <c:pt idx="16">
                  <c:v>0.2898549910279416</c:v>
                </c:pt>
                <c:pt idx="17">
                  <c:v>0.29077669308019205</c:v>
                </c:pt>
                <c:pt idx="18">
                  <c:v>0.20080844200162296</c:v>
                </c:pt>
                <c:pt idx="19">
                  <c:v>0.2261858094864759</c:v>
                </c:pt>
                <c:pt idx="20">
                  <c:v>0.2943717457283365</c:v>
                </c:pt>
                <c:pt idx="21">
                  <c:v>0.25346687963574943</c:v>
                </c:pt>
                <c:pt idx="22">
                  <c:v>0.3239075169622283</c:v>
                </c:pt>
                <c:pt idx="23">
                  <c:v>0.33410636485880774</c:v>
                </c:pt>
                <c:pt idx="24">
                  <c:v>0.30035713349240895</c:v>
                </c:pt>
                <c:pt idx="25">
                  <c:v>0.2813527445179962</c:v>
                </c:pt>
                <c:pt idx="26">
                  <c:v>0.3103926944451692</c:v>
                </c:pt>
                <c:pt idx="27">
                  <c:v>0.24068158451403196</c:v>
                </c:pt>
                <c:pt idx="28">
                  <c:v>0.3050564976064289</c:v>
                </c:pt>
                <c:pt idx="29">
                  <c:v>0.29288585128406947</c:v>
                </c:pt>
                <c:pt idx="30">
                  <c:v>0.29287695334174024</c:v>
                </c:pt>
                <c:pt idx="31">
                  <c:v>0.3495586665062507</c:v>
                </c:pt>
                <c:pt idx="32">
                  <c:v>0.33515152197812104</c:v>
                </c:pt>
                <c:pt idx="33">
                  <c:v>0.3073291603362706</c:v>
                </c:pt>
                <c:pt idx="34">
                  <c:v>0.3050042114568169</c:v>
                </c:pt>
                <c:pt idx="35">
                  <c:v>0.3184793668811953</c:v>
                </c:pt>
                <c:pt idx="36">
                  <c:v>0.28997552166934193</c:v>
                </c:pt>
                <c:pt idx="37">
                  <c:v>0.29866037145560925</c:v>
                </c:pt>
                <c:pt idx="38">
                  <c:v>0.2940825997800091</c:v>
                </c:pt>
                <c:pt idx="39">
                  <c:v>0.2930960924243589</c:v>
                </c:pt>
                <c:pt idx="40">
                  <c:v>0.30639880466807834</c:v>
                </c:pt>
                <c:pt idx="41">
                  <c:v>0.2934489013727377</c:v>
                </c:pt>
                <c:pt idx="42">
                  <c:v>0.29173658177166184</c:v>
                </c:pt>
                <c:pt idx="43">
                  <c:v>0.2892366256029825</c:v>
                </c:pt>
                <c:pt idx="44">
                  <c:v>0.28210963959294066</c:v>
                </c:pt>
                <c:pt idx="45">
                  <c:v>0.29551088218513094</c:v>
                </c:pt>
                <c:pt idx="46">
                  <c:v>0.3241523640457222</c:v>
                </c:pt>
                <c:pt idx="47">
                  <c:v>0.31496222330794</c:v>
                </c:pt>
                <c:pt idx="48">
                  <c:v>0.28465409105448275</c:v>
                </c:pt>
                <c:pt idx="49">
                  <c:v>0.29095004152822795</c:v>
                </c:pt>
                <c:pt idx="50">
                  <c:v>0.3075623671908674</c:v>
                </c:pt>
                <c:pt idx="51">
                  <c:v>0.3015884878300682</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2523431886928413</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2523431886928413</c:v>
                </c:pt>
                <c:pt idx="1">
                  <c:v>0.12523431886928413</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757957519838404</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757957519838404</c:v>
                </c:pt>
                <c:pt idx="1">
                  <c:v>0.22757957519838404</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454708263757741</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454708263757741</c:v>
                </c:pt>
                <c:pt idx="1">
                  <c:v>0.3454708263757741</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7732091087583155</c:v>
                </c:pt>
                <c:pt idx="1">
                  <c:v>0.3157048112295664</c:v>
                </c:pt>
                <c:pt idx="2">
                  <c:v>0.29967346082422686</c:v>
                </c:pt>
                <c:pt idx="3">
                  <c:v>0.30766167662141264</c:v>
                </c:pt>
                <c:pt idx="4">
                  <c:v>0.2809827845750017</c:v>
                </c:pt>
                <c:pt idx="5">
                  <c:v>0.3151256558540933</c:v>
                </c:pt>
                <c:pt idx="6">
                  <c:v>0.30504153578537146</c:v>
                </c:pt>
                <c:pt idx="7">
                  <c:v>0.2924122886331205</c:v>
                </c:pt>
                <c:pt idx="8">
                  <c:v>0.35343083272580755</c:v>
                </c:pt>
                <c:pt idx="9">
                  <c:v>0.3197772992430967</c:v>
                </c:pt>
                <c:pt idx="10">
                  <c:v>0.28858426447598967</c:v>
                </c:pt>
                <c:pt idx="11">
                  <c:v>0.27594209674894327</c:v>
                </c:pt>
                <c:pt idx="12">
                  <c:v>0.3107586896547167</c:v>
                </c:pt>
                <c:pt idx="13">
                  <c:v>0.3222677043562774</c:v>
                </c:pt>
                <c:pt idx="14">
                  <c:v>0.26153654196157733</c:v>
                </c:pt>
                <c:pt idx="15">
                  <c:v>0.25513774158749775</c:v>
                </c:pt>
                <c:pt idx="16">
                  <c:v>0.2898549910279416</c:v>
                </c:pt>
                <c:pt idx="17">
                  <c:v>0.29077669308019205</c:v>
                </c:pt>
                <c:pt idx="18">
                  <c:v>0.20080844200162296</c:v>
                </c:pt>
                <c:pt idx="19">
                  <c:v>0.2261858094864759</c:v>
                </c:pt>
                <c:pt idx="20">
                  <c:v>0.2943717457283365</c:v>
                </c:pt>
                <c:pt idx="21">
                  <c:v>0.25346687963574943</c:v>
                </c:pt>
                <c:pt idx="22">
                  <c:v>0.3239075169622283</c:v>
                </c:pt>
                <c:pt idx="23">
                  <c:v>0.33410636485880774</c:v>
                </c:pt>
                <c:pt idx="24">
                  <c:v>0.30035713349240895</c:v>
                </c:pt>
                <c:pt idx="25">
                  <c:v>0.2813527445179962</c:v>
                </c:pt>
                <c:pt idx="26">
                  <c:v>0.3103926944451692</c:v>
                </c:pt>
                <c:pt idx="27">
                  <c:v>0.24068158451403196</c:v>
                </c:pt>
                <c:pt idx="28">
                  <c:v>0.3050564976064289</c:v>
                </c:pt>
                <c:pt idx="29">
                  <c:v>0.29288585128406947</c:v>
                </c:pt>
                <c:pt idx="30">
                  <c:v>0.29287695334174024</c:v>
                </c:pt>
                <c:pt idx="31">
                  <c:v>0.3495586665062507</c:v>
                </c:pt>
                <c:pt idx="32">
                  <c:v>0.33515152197812104</c:v>
                </c:pt>
                <c:pt idx="33">
                  <c:v>0.3073291603362706</c:v>
                </c:pt>
                <c:pt idx="34">
                  <c:v>0.3050042114568169</c:v>
                </c:pt>
                <c:pt idx="35">
                  <c:v>0.3184793668811953</c:v>
                </c:pt>
                <c:pt idx="36">
                  <c:v>0.28997552166934193</c:v>
                </c:pt>
                <c:pt idx="37">
                  <c:v>0.29866037145560925</c:v>
                </c:pt>
                <c:pt idx="38">
                  <c:v>0.2940825997800091</c:v>
                </c:pt>
                <c:pt idx="39">
                  <c:v>0.2930960924243589</c:v>
                </c:pt>
                <c:pt idx="40">
                  <c:v>0.30639880466807834</c:v>
                </c:pt>
                <c:pt idx="41">
                  <c:v>0.2934489013727377</c:v>
                </c:pt>
                <c:pt idx="42">
                  <c:v>0.29173658177166184</c:v>
                </c:pt>
                <c:pt idx="43">
                  <c:v>0.2892366256029825</c:v>
                </c:pt>
                <c:pt idx="44">
                  <c:v>0.28210963959294066</c:v>
                </c:pt>
                <c:pt idx="45">
                  <c:v>0.29551088218513094</c:v>
                </c:pt>
                <c:pt idx="46">
                  <c:v>0.3241523640457222</c:v>
                </c:pt>
                <c:pt idx="47">
                  <c:v>0.31496222330794</c:v>
                </c:pt>
                <c:pt idx="48">
                  <c:v>0.28465409105448275</c:v>
                </c:pt>
                <c:pt idx="49">
                  <c:v>0.29095004152822795</c:v>
                </c:pt>
                <c:pt idx="50">
                  <c:v>0.3075623671908674</c:v>
                </c:pt>
                <c:pt idx="51">
                  <c:v>0.3015884878300682</c:v>
                </c:pt>
                <c:pt idx="52">
                  <c:v>0.22757957519838404</c:v>
                </c:pt>
                <c:pt idx="53">
                  <c:v>0.12523431886928413</c:v>
                </c:pt>
                <c:pt idx="54">
                  <c:v>0.3454708263757741</c:v>
                </c:pt>
              </c:numCache>
            </c:numRef>
          </c:xVal>
          <c:yVal>
            <c:numRef>
              <c:f>Sheet1!$B$187:$B$241</c:f>
              <c:numCache>
                <c:formatCode>General</c:formatCode>
                <c:ptCount val="55"/>
                <c:pt idx="0">
                  <c:v>0.12264082622829311</c:v>
                </c:pt>
                <c:pt idx="1">
                  <c:v>0.10723108391149636</c:v>
                </c:pt>
                <c:pt idx="2">
                  <c:v>0.11366708901936497</c:v>
                </c:pt>
                <c:pt idx="3">
                  <c:v>0.11046011041971308</c:v>
                </c:pt>
                <c:pt idx="4">
                  <c:v>0.12117071689649414</c:v>
                </c:pt>
                <c:pt idx="5">
                  <c:v>0.10746359376628392</c:v>
                </c:pt>
                <c:pt idx="6">
                  <c:v>0.1115120018310866</c:v>
                </c:pt>
                <c:pt idx="7">
                  <c:v>0.1165821860092922</c:v>
                </c:pt>
                <c:pt idx="8">
                  <c:v>0.09208545606915944</c:v>
                </c:pt>
                <c:pt idx="9">
                  <c:v>0.10559612784141476</c:v>
                </c:pt>
                <c:pt idx="10">
                  <c:v>0.11811899871723056</c:v>
                </c:pt>
                <c:pt idx="11">
                  <c:v>0.12319437003708533</c:v>
                </c:pt>
                <c:pt idx="12">
                  <c:v>0.10921677213581893</c:v>
                </c:pt>
                <c:pt idx="13">
                  <c:v>0.104596320612215</c:v>
                </c:pt>
                <c:pt idx="14">
                  <c:v>0.12897767723510456</c:v>
                </c:pt>
                <c:pt idx="15">
                  <c:v>0.1315465632522233</c:v>
                </c:pt>
                <c:pt idx="16">
                  <c:v>0.11760884814523989</c:v>
                </c:pt>
                <c:pt idx="17">
                  <c:v>0.11723881823720163</c:v>
                </c:pt>
                <c:pt idx="18">
                  <c:v>0.1533578044016372</c:v>
                </c:pt>
                <c:pt idx="19">
                  <c:v>0.1431697127794634</c:v>
                </c:pt>
                <c:pt idx="20">
                  <c:v>0.11579553513119405</c:v>
                </c:pt>
                <c:pt idx="21">
                  <c:v>0.13221735365877657</c:v>
                </c:pt>
                <c:pt idx="22">
                  <c:v>0.10393799539063339</c:v>
                </c:pt>
                <c:pt idx="23">
                  <c:v>0.09984352826858123</c:v>
                </c:pt>
                <c:pt idx="24">
                  <c:v>0.11339261926645729</c:v>
                </c:pt>
                <c:pt idx="25">
                  <c:v>0.12102219141220143</c:v>
                </c:pt>
                <c:pt idx="26">
                  <c:v>0.10936370592358759</c:v>
                </c:pt>
                <c:pt idx="27">
                  <c:v>0.13735018543080085</c:v>
                </c:pt>
                <c:pt idx="28">
                  <c:v>0.11150599520317855</c:v>
                </c:pt>
                <c:pt idx="29">
                  <c:v>0.11639206779945081</c:v>
                </c:pt>
                <c:pt idx="30">
                  <c:v>0.11639564000022196</c:v>
                </c:pt>
                <c:pt idx="31">
                  <c:v>0.09363999021241437</c:v>
                </c:pt>
                <c:pt idx="32">
                  <c:v>0.09942393563362859</c:v>
                </c:pt>
                <c:pt idx="33">
                  <c:v>0.11059360363491415</c:v>
                </c:pt>
                <c:pt idx="34">
                  <c:v>0.11152698619379788</c:v>
                </c:pt>
                <c:pt idx="35">
                  <c:v>0.1061172005582885</c:v>
                </c:pt>
                <c:pt idx="36">
                  <c:v>0.11756045946904647</c:v>
                </c:pt>
                <c:pt idx="37">
                  <c:v>0.11407380761675641</c:v>
                </c:pt>
                <c:pt idx="38">
                  <c:v>0.11591161673089102</c:v>
                </c:pt>
                <c:pt idx="39">
                  <c:v>0.11630766361523834</c:v>
                </c:pt>
                <c:pt idx="40">
                  <c:v>0.1109671076555502</c:v>
                </c:pt>
                <c:pt idx="41">
                  <c:v>0.11616602363255095</c:v>
                </c:pt>
                <c:pt idx="42">
                  <c:v>0.11685345778002972</c:v>
                </c:pt>
                <c:pt idx="43">
                  <c:v>0.11785709941122434</c:v>
                </c:pt>
                <c:pt idx="44">
                  <c:v>0.12071832552159992</c:v>
                </c:pt>
                <c:pt idx="45">
                  <c:v>0.11533821320452427</c:v>
                </c:pt>
                <c:pt idx="46">
                  <c:v>0.10383969817672631</c:v>
                </c:pt>
                <c:pt idx="47">
                  <c:v>0.1075292059995169</c:v>
                </c:pt>
                <c:pt idx="48">
                  <c:v>0.11969682064589374</c:v>
                </c:pt>
                <c:pt idx="49">
                  <c:v>0.11716922512939777</c:v>
                </c:pt>
                <c:pt idx="50">
                  <c:v>0.11049997955026593</c:v>
                </c:pt>
                <c:pt idx="51">
                  <c:v>0.11289827520894535</c:v>
                </c:pt>
                <c:pt idx="52">
                  <c:v>0.14261016645216051</c:v>
                </c:pt>
                <c:pt idx="53">
                  <c:v>0.18369807082987408</c:v>
                </c:pt>
                <c:pt idx="54">
                  <c:v>0.09528110960003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4.7222</c:v>
                </c:pt>
                <c:pt idx="1">
                  <c:v>660.6535</c:v>
                </c:pt>
                <c:pt idx="2">
                  <c:v>657.3402</c:v>
                </c:pt>
                <c:pt idx="3">
                  <c:v>655.5978</c:v>
                </c:pt>
                <c:pt idx="4">
                  <c:v>658.4051</c:v>
                </c:pt>
                <c:pt idx="5">
                  <c:v>651.9487</c:v>
                </c:pt>
                <c:pt idx="6">
                  <c:v>625.3294</c:v>
                </c:pt>
                <c:pt idx="7">
                  <c:v>647.8491</c:v>
                </c:pt>
                <c:pt idx="8">
                  <c:v>654.8444</c:v>
                </c:pt>
                <c:pt idx="9">
                  <c:v>639.25</c:v>
                </c:pt>
                <c:pt idx="10">
                  <c:v>612.8219</c:v>
                </c:pt>
                <c:pt idx="11">
                  <c:v>641.36</c:v>
                </c:pt>
                <c:pt idx="12">
                  <c:v>656.0779</c:v>
                </c:pt>
                <c:pt idx="13">
                  <c:v>658.1034</c:v>
                </c:pt>
                <c:pt idx="14">
                  <c:v>665.5432</c:v>
                </c:pt>
                <c:pt idx="15">
                  <c:v>654.0</c:v>
                </c:pt>
                <c:pt idx="16">
                  <c:v>656.8254</c:v>
                </c:pt>
                <c:pt idx="17">
                  <c:v>659.8298</c:v>
                </c:pt>
                <c:pt idx="18">
                  <c:v>657.9808</c:v>
                </c:pt>
                <c:pt idx="19">
                  <c:v>653.913</c:v>
                </c:pt>
                <c:pt idx="20">
                  <c:v>640.18</c:v>
                </c:pt>
                <c:pt idx="21">
                  <c:v>623.5405</c:v>
                </c:pt>
                <c:pt idx="22">
                  <c:v>654.6744</c:v>
                </c:pt>
                <c:pt idx="23">
                  <c:v>622.5882</c:v>
                </c:pt>
                <c:pt idx="24">
                  <c:v>636.9429</c:v>
                </c:pt>
                <c:pt idx="25">
                  <c:v>617.6471</c:v>
                </c:pt>
                <c:pt idx="26">
                  <c:v>619.5</c:v>
                </c:pt>
                <c:pt idx="27">
                  <c:v>646.3158</c:v>
                </c:pt>
                <c:pt idx="28">
                  <c:v>645.8</c:v>
                </c:pt>
                <c:pt idx="29">
                  <c:v>613.8462</c:v>
                </c:pt>
                <c:pt idx="30">
                  <c:v>628.375</c:v>
                </c:pt>
                <c:pt idx="31">
                  <c:v>602.7742</c:v>
                </c:pt>
                <c:pt idx="32">
                  <c:v>608.0526</c:v>
                </c:pt>
                <c:pt idx="33">
                  <c:v>582.5769</c:v>
                </c:pt>
                <c:pt idx="34">
                  <c:v>626.6</c:v>
                </c:pt>
                <c:pt idx="35">
                  <c:v>629.6667</c:v>
                </c:pt>
                <c:pt idx="36">
                  <c:v>653.1667</c:v>
                </c:pt>
                <c:pt idx="37">
                  <c:v>612.0</c:v>
                </c:pt>
                <c:pt idx="38">
                  <c:v>613.9697</c:v>
                </c:pt>
                <c:pt idx="39">
                  <c:v>637.0625</c:v>
                </c:pt>
                <c:pt idx="40">
                  <c:v>651.9744</c:v>
                </c:pt>
                <c:pt idx="41">
                  <c:v>587.8</c:v>
                </c:pt>
                <c:pt idx="42">
                  <c:v>657.5217</c:v>
                </c:pt>
                <c:pt idx="43">
                  <c:v>651.6964</c:v>
                </c:pt>
                <c:pt idx="44">
                  <c:v>659.093</c:v>
                </c:pt>
                <c:pt idx="45">
                  <c:v>660.3208</c:v>
                </c:pt>
                <c:pt idx="46">
                  <c:v>648.4444</c:v>
                </c:pt>
                <c:pt idx="47">
                  <c:v>645.807</c:v>
                </c:pt>
                <c:pt idx="48">
                  <c:v>642.7391</c:v>
                </c:pt>
                <c:pt idx="49">
                  <c:v>643.825</c:v>
                </c:pt>
                <c:pt idx="50">
                  <c:v>643.2523</c:v>
                </c:pt>
                <c:pt idx="51">
                  <c:v>649.641</c:v>
                </c:pt>
                <c:pt idx="52">
                  <c:v>663.1023</c:v>
                </c:pt>
                <c:pt idx="53">
                  <c:v>657.1957</c:v>
                </c:pt>
                <c:pt idx="54">
                  <c:v>658.4483</c:v>
                </c:pt>
                <c:pt idx="55">
                  <c:v>648.55</c:v>
                </c:pt>
                <c:pt idx="56">
                  <c:v>648.3788</c:v>
                </c:pt>
                <c:pt idx="57">
                  <c:v>641.7361</c:v>
                </c:pt>
                <c:pt idx="58">
                  <c:v>630.4881</c:v>
                </c:pt>
                <c:pt idx="59">
                  <c:v>635.9569</c:v>
                </c:pt>
                <c:pt idx="60">
                  <c:v>641.7025</c:v>
                </c:pt>
                <c:pt idx="61">
                  <c:v>648.6765</c:v>
                </c:pt>
                <c:pt idx="62">
                  <c:v>620.4792</c:v>
                </c:pt>
                <c:pt idx="63">
                  <c:v>643.1758</c:v>
                </c:pt>
                <c:pt idx="64">
                  <c:v>642.6667</c:v>
                </c:pt>
                <c:pt idx="65">
                  <c:v>623.2603</c:v>
                </c:pt>
                <c:pt idx="66">
                  <c:v>632.7681</c:v>
                </c:pt>
                <c:pt idx="67">
                  <c:v>620.5217</c:v>
                </c:pt>
                <c:pt idx="68">
                  <c:v>555.0678</c:v>
                </c:pt>
                <c:pt idx="69">
                  <c:v>493.2558</c:v>
                </c:pt>
                <c:pt idx="70">
                  <c:v>497.1842</c:v>
                </c:pt>
                <c:pt idx="71">
                  <c:v>631.6176</c:v>
                </c:pt>
                <c:pt idx="72">
                  <c:v>695.125</c:v>
                </c:pt>
                <c:pt idx="73">
                  <c:v>711.1724</c:v>
                </c:pt>
                <c:pt idx="74">
                  <c:v>655.6944</c:v>
                </c:pt>
                <c:pt idx="75">
                  <c:v>662.4194</c:v>
                </c:pt>
                <c:pt idx="76">
                  <c:v>648.7879</c:v>
                </c:pt>
                <c:pt idx="77">
                  <c:v>657.6522</c:v>
                </c:pt>
                <c:pt idx="78">
                  <c:v>654.8571</c:v>
                </c:pt>
                <c:pt idx="79">
                  <c:v>711.25</c:v>
                </c:pt>
                <c:pt idx="80">
                  <c:v>712.2051</c:v>
                </c:pt>
                <c:pt idx="81">
                  <c:v>709.1818</c:v>
                </c:pt>
                <c:pt idx="82">
                  <c:v>725.8667</c:v>
                </c:pt>
                <c:pt idx="83">
                  <c:v>705.3</c:v>
                </c:pt>
                <c:pt idx="84">
                  <c:v>735.8889</c:v>
                </c:pt>
                <c:pt idx="85">
                  <c:v>711.087</c:v>
                </c:pt>
                <c:pt idx="86">
                  <c:v>688.1667</c:v>
                </c:pt>
                <c:pt idx="87">
                  <c:v>681.6061</c:v>
                </c:pt>
                <c:pt idx="88">
                  <c:v>736.2381</c:v>
                </c:pt>
                <c:pt idx="89">
                  <c:v>701.8182</c:v>
                </c:pt>
                <c:pt idx="90">
                  <c:v>700.4211</c:v>
                </c:pt>
                <c:pt idx="91">
                  <c:v>576.3913</c:v>
                </c:pt>
                <c:pt idx="92">
                  <c:v>682.5909</c:v>
                </c:pt>
                <c:pt idx="93">
                  <c:v>706.2903</c:v>
                </c:pt>
                <c:pt idx="94">
                  <c:v>721.2308</c:v>
                </c:pt>
                <c:pt idx="95">
                  <c:v>687.7027</c:v>
                </c:pt>
                <c:pt idx="96">
                  <c:v>722.1111</c:v>
                </c:pt>
                <c:pt idx="97">
                  <c:v>725.6818</c:v>
                </c:pt>
                <c:pt idx="98">
                  <c:v>703.3247</c:v>
                </c:pt>
                <c:pt idx="99">
                  <c:v>682.7984</c:v>
                </c:pt>
                <c:pt idx="100">
                  <c:v>699.2016</c:v>
                </c:pt>
                <c:pt idx="101">
                  <c:v>690.8652</c:v>
                </c:pt>
                <c:pt idx="102">
                  <c:v>714.8</c:v>
                </c:pt>
                <c:pt idx="103">
                  <c:v>714.7302</c:v>
                </c:pt>
                <c:pt idx="104">
                  <c:v>726.1154</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2.2204615194932</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2.2204615194932</c:v>
                </c:pt>
                <c:pt idx="1">
                  <c:v>492.2204615194932</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24.9846303399306</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24.9846303399306</c:v>
                </c:pt>
                <c:pt idx="1">
                  <c:v>624.9846303399306</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77.9153526338698</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77.9153526338698</c:v>
                </c:pt>
                <c:pt idx="1">
                  <c:v>777.9153526338698</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pt idx="52">
                  <c:v>624.9846303399306</c:v>
                </c:pt>
                <c:pt idx="53">
                  <c:v>492.2204615194932</c:v>
                </c:pt>
                <c:pt idx="54">
                  <c:v>777.9153526338698</c:v>
                </c:pt>
              </c:numCache>
            </c:numRef>
          </c:xVal>
          <c:yVal>
            <c:numRef>
              <c:f>Sheet1!$B$187:$B$241</c:f>
              <c:numCache>
                <c:formatCode>General</c:formatCode>
                <c:ptCount val="55"/>
                <c:pt idx="0">
                  <c:v>0.12298998679108294</c:v>
                </c:pt>
                <c:pt idx="1">
                  <c:v>0.11675565943385524</c:v>
                </c:pt>
                <c:pt idx="2">
                  <c:v>0.1282713621863173</c:v>
                </c:pt>
                <c:pt idx="3">
                  <c:v>0.11061996347123892</c:v>
                </c:pt>
                <c:pt idx="4">
                  <c:v>0.11289059001383087</c:v>
                </c:pt>
                <c:pt idx="5">
                  <c:v>0.11066904705826547</c:v>
                </c:pt>
                <c:pt idx="6">
                  <c:v>0.12230714929792169</c:v>
                </c:pt>
                <c:pt idx="7">
                  <c:v>0.12124482697240258</c:v>
                </c:pt>
                <c:pt idx="8">
                  <c:v>0.11351425485983277</c:v>
                </c:pt>
                <c:pt idx="9">
                  <c:v>0.1212168808947954</c:v>
                </c:pt>
                <c:pt idx="10">
                  <c:v>0.12321776434500187</c:v>
                </c:pt>
                <c:pt idx="11">
                  <c:v>0.1314688205474913</c:v>
                </c:pt>
                <c:pt idx="12">
                  <c:v>0.12789011331583805</c:v>
                </c:pt>
                <c:pt idx="13">
                  <c:v>0.1225225166889165</c:v>
                </c:pt>
                <c:pt idx="14">
                  <c:v>0.13590543831884372</c:v>
                </c:pt>
                <c:pt idx="15">
                  <c:v>0.13929585769206723</c:v>
                </c:pt>
                <c:pt idx="16">
                  <c:v>0.1173200278405489</c:v>
                </c:pt>
                <c:pt idx="17">
                  <c:v>0.12234304902109366</c:v>
                </c:pt>
                <c:pt idx="18">
                  <c:v>0.1756794534259618</c:v>
                </c:pt>
                <c:pt idx="19">
                  <c:v>0.15746046770831917</c:v>
                </c:pt>
                <c:pt idx="20">
                  <c:v>0.10715492838028462</c:v>
                </c:pt>
                <c:pt idx="21">
                  <c:v>0.12239891022827082</c:v>
                </c:pt>
                <c:pt idx="22">
                  <c:v>0.10558029224667126</c:v>
                </c:pt>
                <c:pt idx="23">
                  <c:v>0.10534666551371827</c:v>
                </c:pt>
                <c:pt idx="24">
                  <c:v>0.11446745440612391</c:v>
                </c:pt>
                <c:pt idx="25">
                  <c:v>0.1359980038981605</c:v>
                </c:pt>
                <c:pt idx="26">
                  <c:v>0.10592384640781988</c:v>
                </c:pt>
                <c:pt idx="27">
                  <c:v>0.14267504292778088</c:v>
                </c:pt>
                <c:pt idx="28">
                  <c:v>0.11094671284817856</c:v>
                </c:pt>
                <c:pt idx="29">
                  <c:v>0.11227633337114301</c:v>
                </c:pt>
                <c:pt idx="30">
                  <c:v>0.11141421389838224</c:v>
                </c:pt>
                <c:pt idx="31">
                  <c:v>0.094512160008445</c:v>
                </c:pt>
                <c:pt idx="32">
                  <c:v>0.10581992289884434</c:v>
                </c:pt>
                <c:pt idx="33">
                  <c:v>0.10126960203875576</c:v>
                </c:pt>
                <c:pt idx="34">
                  <c:v>0.1043775586762975</c:v>
                </c:pt>
                <c:pt idx="35">
                  <c:v>0.09796552768936836</c:v>
                </c:pt>
                <c:pt idx="36">
                  <c:v>0.11239424539294071</c:v>
                </c:pt>
                <c:pt idx="37">
                  <c:v>0.09799381419538494</c:v>
                </c:pt>
                <c:pt idx="38">
                  <c:v>0.1087292240854886</c:v>
                </c:pt>
                <c:pt idx="39">
                  <c:v>0.10779459336152783</c:v>
                </c:pt>
                <c:pt idx="40">
                  <c:v>0.09337927615807054</c:v>
                </c:pt>
                <c:pt idx="41">
                  <c:v>0.10417033061909081</c:v>
                </c:pt>
                <c:pt idx="42">
                  <c:v>0.09553861355882931</c:v>
                </c:pt>
                <c:pt idx="43">
                  <c:v>0.10398024777450252</c:v>
                </c:pt>
                <c:pt idx="44">
                  <c:v>0.10848111367111796</c:v>
                </c:pt>
                <c:pt idx="45">
                  <c:v>0.10971575466786268</c:v>
                </c:pt>
                <c:pt idx="46">
                  <c:v>0.10433435521634224</c:v>
                </c:pt>
                <c:pt idx="47">
                  <c:v>0.11016669851815517</c:v>
                </c:pt>
                <c:pt idx="48">
                  <c:v>0.11065843188149993</c:v>
                </c:pt>
                <c:pt idx="49">
                  <c:v>0.10325881807893134</c:v>
                </c:pt>
                <c:pt idx="50">
                  <c:v>0.1004284343871911</c:v>
                </c:pt>
                <c:pt idx="51">
                  <c:v>0.1046062337232957</c:v>
                </c:pt>
                <c:pt idx="52">
                  <c:v>0.14261016645216051</c:v>
                </c:pt>
                <c:pt idx="53">
                  <c:v>0.18369807082987408</c:v>
                </c:pt>
                <c:pt idx="54">
                  <c:v>0.09528110960003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9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0093822854520425</c:v>
                </c:pt>
                <c:pt idx="1">
                  <c:v>0.06374093052119081</c:v>
                </c:pt>
                <c:pt idx="2">
                  <c:v>0.05900057892965331</c:v>
                </c:pt>
                <c:pt idx="3">
                  <c:v>0.0648939678894542</c:v>
                </c:pt>
                <c:pt idx="4">
                  <c:v>0.06992593261290922</c:v>
                </c:pt>
                <c:pt idx="5">
                  <c:v>0.0680152353178997</c:v>
                </c:pt>
                <c:pt idx="6">
                  <c:v>0.0844742928160376</c:v>
                </c:pt>
                <c:pt idx="7">
                  <c:v>0.07663769607495209</c:v>
                </c:pt>
                <c:pt idx="8">
                  <c:v>0.06940342001484992</c:v>
                </c:pt>
                <c:pt idx="9">
                  <c:v>0.07010088825529115</c:v>
                </c:pt>
                <c:pt idx="10">
                  <c:v>0.07264882518908411</c:v>
                </c:pt>
                <c:pt idx="11">
                  <c:v>0.0706732782369146</c:v>
                </c:pt>
                <c:pt idx="12">
                  <c:v>0.07264463376631222</c:v>
                </c:pt>
                <c:pt idx="13">
                  <c:v>0.06193914352941176</c:v>
                </c:pt>
                <c:pt idx="14">
                  <c:v>0.07729287675250512</c:v>
                </c:pt>
                <c:pt idx="15">
                  <c:v>0.07783552218762853</c:v>
                </c:pt>
                <c:pt idx="16">
                  <c:v>0.062465563480741795</c:v>
                </c:pt>
                <c:pt idx="17">
                  <c:v>0.05896602323503128</c:v>
                </c:pt>
                <c:pt idx="18">
                  <c:v>0.0719130894680568</c:v>
                </c:pt>
                <c:pt idx="19">
                  <c:v>0.055742306708720483</c:v>
                </c:pt>
                <c:pt idx="20">
                  <c:v>0.06645467151022377</c:v>
                </c:pt>
                <c:pt idx="21">
                  <c:v>0.047511467540384024</c:v>
                </c:pt>
                <c:pt idx="22">
                  <c:v>0.05835667870036101</c:v>
                </c:pt>
                <c:pt idx="23">
                  <c:v>0.07002454167135305</c:v>
                </c:pt>
                <c:pt idx="24">
                  <c:v>0.04678587483472896</c:v>
                </c:pt>
                <c:pt idx="25">
                  <c:v>0.06950397794407247</c:v>
                </c:pt>
                <c:pt idx="26">
                  <c:v>0.052100416298725874</c:v>
                </c:pt>
                <c:pt idx="27">
                  <c:v>0.060525906229205256</c:v>
                </c:pt>
                <c:pt idx="28">
                  <c:v>0.061219072897905014</c:v>
                </c:pt>
                <c:pt idx="29">
                  <c:v>0.04861506322963288</c:v>
                </c:pt>
                <c:pt idx="30">
                  <c:v>0.06092841002239305</c:v>
                </c:pt>
                <c:pt idx="31">
                  <c:v>0.04146340154772141</c:v>
                </c:pt>
                <c:pt idx="32">
                  <c:v>0.058039669737030494</c:v>
                </c:pt>
                <c:pt idx="33">
                  <c:v>0.046962124906793495</c:v>
                </c:pt>
                <c:pt idx="34">
                  <c:v>0.05621545969999283</c:v>
                </c:pt>
                <c:pt idx="35">
                  <c:v>0.0516458907480315</c:v>
                </c:pt>
                <c:pt idx="36">
                  <c:v>0.057961371905226725</c:v>
                </c:pt>
                <c:pt idx="37">
                  <c:v>0.05662603224537947</c:v>
                </c:pt>
                <c:pt idx="38">
                  <c:v>0.05129665803325257</c:v>
                </c:pt>
                <c:pt idx="39">
                  <c:v>0.06048827383213065</c:v>
                </c:pt>
                <c:pt idx="40">
                  <c:v>0.06077173816792114</c:v>
                </c:pt>
                <c:pt idx="41">
                  <c:v>0.05494587672231674</c:v>
                </c:pt>
                <c:pt idx="42">
                  <c:v>0.05708050038197097</c:v>
                </c:pt>
                <c:pt idx="43">
                  <c:v>0.0629430303030303</c:v>
                </c:pt>
                <c:pt idx="44">
                  <c:v>0.059913006771950626</c:v>
                </c:pt>
                <c:pt idx="45">
                  <c:v>0.06662504288164665</c:v>
                </c:pt>
                <c:pt idx="46">
                  <c:v>0.0667982899819727</c:v>
                </c:pt>
                <c:pt idx="47">
                  <c:v>0.06452262963333001</c:v>
                </c:pt>
                <c:pt idx="48">
                  <c:v>0.060555784812511775</c:v>
                </c:pt>
                <c:pt idx="49">
                  <c:v>0.06355268371140448</c:v>
                </c:pt>
                <c:pt idx="50">
                  <c:v>0.06411748933455604</c:v>
                </c:pt>
                <c:pt idx="51">
                  <c:v>0.05511036647438072</c:v>
                </c:pt>
                <c:pt idx="52">
                  <c:v>0.06299541144952595</c:v>
                </c:pt>
                <c:pt idx="53">
                  <c:v>0.06498340099301259</c:v>
                </c:pt>
                <c:pt idx="54">
                  <c:v>0.062282283390087026</c:v>
                </c:pt>
                <c:pt idx="55">
                  <c:v>0.05984921191539626</c:v>
                </c:pt>
                <c:pt idx="56">
                  <c:v>0.049681343984062216</c:v>
                </c:pt>
                <c:pt idx="57">
                  <c:v>0.07077243151440292</c:v>
                </c:pt>
                <c:pt idx="58">
                  <c:v>0.0764104511449077</c:v>
                </c:pt>
                <c:pt idx="59">
                  <c:v>0.07205933650041985</c:v>
                </c:pt>
                <c:pt idx="60">
                  <c:v>0.0619008114984385</c:v>
                </c:pt>
                <c:pt idx="61">
                  <c:v>0.06252217499577764</c:v>
                </c:pt>
                <c:pt idx="62">
                  <c:v>0.05806377697626596</c:v>
                </c:pt>
                <c:pt idx="63">
                  <c:v>0.058131252146562784</c:v>
                </c:pt>
                <c:pt idx="64">
                  <c:v>0.07009772240077386</c:v>
                </c:pt>
                <c:pt idx="65">
                  <c:v>0.0678437632664613</c:v>
                </c:pt>
                <c:pt idx="66">
                  <c:v>0.0638527619124503</c:v>
                </c:pt>
                <c:pt idx="67">
                  <c:v>0.052383856115080465</c:v>
                </c:pt>
                <c:pt idx="68">
                  <c:v>0.04325091285096254</c:v>
                </c:pt>
                <c:pt idx="69">
                  <c:v>0.04051049605781866</c:v>
                </c:pt>
                <c:pt idx="70">
                  <c:v>0.03651112806352474</c:v>
                </c:pt>
                <c:pt idx="71">
                  <c:v>0.05444627287028856</c:v>
                </c:pt>
                <c:pt idx="72">
                  <c:v>0.05143739825366287</c:v>
                </c:pt>
                <c:pt idx="73">
                  <c:v>0.057375748285599035</c:v>
                </c:pt>
                <c:pt idx="74">
                  <c:v>0.05366011424456193</c:v>
                </c:pt>
                <c:pt idx="75">
                  <c:v>0.06096959433028832</c:v>
                </c:pt>
                <c:pt idx="76">
                  <c:v>0.05094926181875295</c:v>
                </c:pt>
                <c:pt idx="77">
                  <c:v>0.0493078898125412</c:v>
                </c:pt>
                <c:pt idx="78">
                  <c:v>0.058351291854724686</c:v>
                </c:pt>
                <c:pt idx="79">
                  <c:v>0.06743623779273727</c:v>
                </c:pt>
                <c:pt idx="80">
                  <c:v>0.05007418266188568</c:v>
                </c:pt>
                <c:pt idx="81">
                  <c:v>0.05581911058638331</c:v>
                </c:pt>
                <c:pt idx="82">
                  <c:v>0.05557370624636001</c:v>
                </c:pt>
                <c:pt idx="83">
                  <c:v>0.05483808264976869</c:v>
                </c:pt>
                <c:pt idx="84">
                  <c:v>0.056129735708020295</c:v>
                </c:pt>
                <c:pt idx="85">
                  <c:v>0.04849422607068476</c:v>
                </c:pt>
                <c:pt idx="86">
                  <c:v>0.05412030199362982</c:v>
                </c:pt>
                <c:pt idx="87">
                  <c:v>0.0613690964544745</c:v>
                </c:pt>
                <c:pt idx="88">
                  <c:v>0.06292633333333333</c:v>
                </c:pt>
                <c:pt idx="89">
                  <c:v>0.04867427860025366</c:v>
                </c:pt>
                <c:pt idx="90">
                  <c:v>0.04995633338891082</c:v>
                </c:pt>
                <c:pt idx="91">
                  <c:v>0.05299987449580051</c:v>
                </c:pt>
                <c:pt idx="92">
                  <c:v>0.04518225384742678</c:v>
                </c:pt>
                <c:pt idx="93">
                  <c:v>0.05601588579359572</c:v>
                </c:pt>
                <c:pt idx="94">
                  <c:v>0.049484102915951976</c:v>
                </c:pt>
                <c:pt idx="95">
                  <c:v>0.052852775578704304</c:v>
                </c:pt>
                <c:pt idx="96">
                  <c:v>0.06437218693588286</c:v>
                </c:pt>
                <c:pt idx="97">
                  <c:v>0.061398295154091835</c:v>
                </c:pt>
                <c:pt idx="98">
                  <c:v>0.06423496586524191</c:v>
                </c:pt>
                <c:pt idx="99">
                  <c:v>0.05108217443620405</c:v>
                </c:pt>
                <c:pt idx="100">
                  <c:v>0.05116483632664625</c:v>
                </c:pt>
                <c:pt idx="101">
                  <c:v>0.07172355632668981</c:v>
                </c:pt>
                <c:pt idx="102">
                  <c:v>0.06101405582716114</c:v>
                </c:pt>
                <c:pt idx="103">
                  <c:v>0.05988857375049178</c:v>
                </c:pt>
                <c:pt idx="104">
                  <c:v>0.07110181176715022</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51212533041010457</c:v>
                </c:pt>
                <c:pt idx="1">
                  <c:v>0.05324162987732712</c:v>
                </c:pt>
                <c:pt idx="2">
                  <c:v>0.05350627665085881</c:v>
                </c:pt>
                <c:pt idx="3">
                  <c:v>0.05401302211757726</c:v>
                </c:pt>
                <c:pt idx="4">
                  <c:v>0.05493867723255105</c:v>
                </c:pt>
                <c:pt idx="5">
                  <c:v>0.049594326772457946</c:v>
                </c:pt>
                <c:pt idx="6">
                  <c:v>0.0652332524412068</c:v>
                </c:pt>
                <c:pt idx="7">
                  <c:v>0.07064603876374481</c:v>
                </c:pt>
                <c:pt idx="8">
                  <c:v>0.06852970891553405</c:v>
                </c:pt>
                <c:pt idx="9">
                  <c:v>0.04940644173962559</c:v>
                </c:pt>
                <c:pt idx="10">
                  <c:v>0.06209271750417626</c:v>
                </c:pt>
                <c:pt idx="11">
                  <c:v>0.06798234627570413</c:v>
                </c:pt>
                <c:pt idx="12">
                  <c:v>0.05274682561468178</c:v>
                </c:pt>
                <c:pt idx="13">
                  <c:v>0.0699747068887678</c:v>
                </c:pt>
                <c:pt idx="14">
                  <c:v>0.05100761979885624</c:v>
                </c:pt>
                <c:pt idx="15">
                  <c:v>0.05127700901409587</c:v>
                </c:pt>
                <c:pt idx="16">
                  <c:v>0.055097080263516944</c:v>
                </c:pt>
                <c:pt idx="17">
                  <c:v>0.048756422151920865</c:v>
                </c:pt>
                <c:pt idx="18">
                  <c:v>0.046682620055860886</c:v>
                </c:pt>
                <c:pt idx="19">
                  <c:v>0.04305006341863762</c:v>
                </c:pt>
                <c:pt idx="20">
                  <c:v>0.0623644137116836</c:v>
                </c:pt>
                <c:pt idx="21">
                  <c:v>0.060058440706306546</c:v>
                </c:pt>
                <c:pt idx="22">
                  <c:v>0.06444092789603914</c:v>
                </c:pt>
                <c:pt idx="23">
                  <c:v>0.06154028359718467</c:v>
                </c:pt>
                <c:pt idx="24">
                  <c:v>0.05072649988362423</c:v>
                </c:pt>
                <c:pt idx="25">
                  <c:v>0.05507725971447271</c:v>
                </c:pt>
                <c:pt idx="26">
                  <c:v>0.06330442519316319</c:v>
                </c:pt>
                <c:pt idx="27">
                  <c:v>0.06479589720188338</c:v>
                </c:pt>
                <c:pt idx="28">
                  <c:v>0.09240984749654757</c:v>
                </c:pt>
                <c:pt idx="29">
                  <c:v>0.1124134381542777</c:v>
                </c:pt>
                <c:pt idx="30">
                  <c:v>0.06571407746772179</c:v>
                </c:pt>
                <c:pt idx="31">
                  <c:v>0.06892531618738076</c:v>
                </c:pt>
                <c:pt idx="32">
                  <c:v>0.07054168800379328</c:v>
                </c:pt>
                <c:pt idx="33">
                  <c:v>0.0709018955396867</c:v>
                </c:pt>
                <c:pt idx="34">
                  <c:v>0.08261232034945067</c:v>
                </c:pt>
                <c:pt idx="35">
                  <c:v>0.09043667098522029</c:v>
                </c:pt>
                <c:pt idx="36">
                  <c:v>0.07551328613288363</c:v>
                </c:pt>
                <c:pt idx="37">
                  <c:v>0.06260250279784312</c:v>
                </c:pt>
                <c:pt idx="38">
                  <c:v>0.06288413130586663</c:v>
                </c:pt>
                <c:pt idx="39">
                  <c:v>0.06579369256847176</c:v>
                </c:pt>
                <c:pt idx="40">
                  <c:v>0.06356389136603162</c:v>
                </c:pt>
                <c:pt idx="41">
                  <c:v>0.06754500416976582</c:v>
                </c:pt>
                <c:pt idx="42">
                  <c:v>0.06022967756936909</c:v>
                </c:pt>
                <c:pt idx="43">
                  <c:v>0.06930460301321749</c:v>
                </c:pt>
                <c:pt idx="44">
                  <c:v>0.08296574797596547</c:v>
                </c:pt>
                <c:pt idx="45">
                  <c:v>0.06397174399888025</c:v>
                </c:pt>
                <c:pt idx="46">
                  <c:v>0.05923312696560318</c:v>
                </c:pt>
                <c:pt idx="47">
                  <c:v>0.06824926590233228</c:v>
                </c:pt>
                <c:pt idx="48">
                  <c:v>0.06933333252088915</c:v>
                </c:pt>
                <c:pt idx="49">
                  <c:v>0.058913787769009344</c:v>
                </c:pt>
                <c:pt idx="50">
                  <c:v>0.0639008855500063</c:v>
                </c:pt>
                <c:pt idx="51">
                  <c:v>0.05559868632283654</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6800074757837534</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6800074757837534</c:v>
                </c:pt>
                <c:pt idx="1">
                  <c:v>-0.016800074757837534</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31358728583131545</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31358728583131545</c:v>
                </c:pt>
                <c:pt idx="1">
                  <c:v>0.031358728583131545</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683273670732078</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683273670732078</c:v>
                </c:pt>
                <c:pt idx="1">
                  <c:v>0.08683273670732078</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51212533041010457</c:v>
                </c:pt>
                <c:pt idx="1">
                  <c:v>0.05324162987732712</c:v>
                </c:pt>
                <c:pt idx="2">
                  <c:v>0.05350627665085881</c:v>
                </c:pt>
                <c:pt idx="3">
                  <c:v>0.05401302211757726</c:v>
                </c:pt>
                <c:pt idx="4">
                  <c:v>0.05493867723255105</c:v>
                </c:pt>
                <c:pt idx="5">
                  <c:v>0.049594326772457946</c:v>
                </c:pt>
                <c:pt idx="6">
                  <c:v>0.0652332524412068</c:v>
                </c:pt>
                <c:pt idx="7">
                  <c:v>0.07064603876374481</c:v>
                </c:pt>
                <c:pt idx="8">
                  <c:v>0.06852970891553405</c:v>
                </c:pt>
                <c:pt idx="9">
                  <c:v>0.04940644173962559</c:v>
                </c:pt>
                <c:pt idx="10">
                  <c:v>0.06209271750417626</c:v>
                </c:pt>
                <c:pt idx="11">
                  <c:v>0.06798234627570413</c:v>
                </c:pt>
                <c:pt idx="12">
                  <c:v>0.05274682561468178</c:v>
                </c:pt>
                <c:pt idx="13">
                  <c:v>0.0699747068887678</c:v>
                </c:pt>
                <c:pt idx="14">
                  <c:v>0.05100761979885624</c:v>
                </c:pt>
                <c:pt idx="15">
                  <c:v>0.05127700901409587</c:v>
                </c:pt>
                <c:pt idx="16">
                  <c:v>0.055097080263516944</c:v>
                </c:pt>
                <c:pt idx="17">
                  <c:v>0.048756422151920865</c:v>
                </c:pt>
                <c:pt idx="18">
                  <c:v>0.046682620055860886</c:v>
                </c:pt>
                <c:pt idx="19">
                  <c:v>0.04305006341863762</c:v>
                </c:pt>
                <c:pt idx="20">
                  <c:v>0.0623644137116836</c:v>
                </c:pt>
                <c:pt idx="21">
                  <c:v>0.060058440706306546</c:v>
                </c:pt>
                <c:pt idx="22">
                  <c:v>0.06444092789603914</c:v>
                </c:pt>
                <c:pt idx="23">
                  <c:v>0.06154028359718467</c:v>
                </c:pt>
                <c:pt idx="24">
                  <c:v>0.05072649988362423</c:v>
                </c:pt>
                <c:pt idx="25">
                  <c:v>0.05507725971447271</c:v>
                </c:pt>
                <c:pt idx="26">
                  <c:v>0.06330442519316319</c:v>
                </c:pt>
                <c:pt idx="27">
                  <c:v>0.06479589720188338</c:v>
                </c:pt>
                <c:pt idx="28">
                  <c:v>0.09240984749654757</c:v>
                </c:pt>
                <c:pt idx="29">
                  <c:v>0.1124134381542777</c:v>
                </c:pt>
                <c:pt idx="30">
                  <c:v>0.06571407746772179</c:v>
                </c:pt>
                <c:pt idx="31">
                  <c:v>0.06892531618738076</c:v>
                </c:pt>
                <c:pt idx="32">
                  <c:v>0.07054168800379328</c:v>
                </c:pt>
                <c:pt idx="33">
                  <c:v>0.0709018955396867</c:v>
                </c:pt>
                <c:pt idx="34">
                  <c:v>0.08261232034945067</c:v>
                </c:pt>
                <c:pt idx="35">
                  <c:v>0.09043667098522029</c:v>
                </c:pt>
                <c:pt idx="36">
                  <c:v>0.07551328613288363</c:v>
                </c:pt>
                <c:pt idx="37">
                  <c:v>0.06260250279784312</c:v>
                </c:pt>
                <c:pt idx="38">
                  <c:v>0.06288413130586663</c:v>
                </c:pt>
                <c:pt idx="39">
                  <c:v>0.06579369256847176</c:v>
                </c:pt>
                <c:pt idx="40">
                  <c:v>0.06356389136603162</c:v>
                </c:pt>
                <c:pt idx="41">
                  <c:v>0.06754500416976582</c:v>
                </c:pt>
                <c:pt idx="42">
                  <c:v>0.06022967756936909</c:v>
                </c:pt>
                <c:pt idx="43">
                  <c:v>0.06930460301321749</c:v>
                </c:pt>
                <c:pt idx="44">
                  <c:v>0.08296574797596547</c:v>
                </c:pt>
                <c:pt idx="45">
                  <c:v>0.06397174399888025</c:v>
                </c:pt>
                <c:pt idx="46">
                  <c:v>0.05923312696560318</c:v>
                </c:pt>
                <c:pt idx="47">
                  <c:v>0.06824926590233228</c:v>
                </c:pt>
                <c:pt idx="48">
                  <c:v>0.06933333252088915</c:v>
                </c:pt>
                <c:pt idx="49">
                  <c:v>0.058913787769009344</c:v>
                </c:pt>
                <c:pt idx="50">
                  <c:v>0.0639008855500063</c:v>
                </c:pt>
                <c:pt idx="51">
                  <c:v>0.05559868632283654</c:v>
                </c:pt>
                <c:pt idx="52">
                  <c:v>0.031358728583131545</c:v>
                </c:pt>
                <c:pt idx="53">
                  <c:v>-0.016800074757837534</c:v>
                </c:pt>
                <c:pt idx="54">
                  <c:v>0.08683273670732078</c:v>
                </c:pt>
              </c:numCache>
            </c:numRef>
          </c:xVal>
          <c:yVal>
            <c:numRef>
              <c:f>Sheet1!$B$187:$B$241</c:f>
              <c:numCache>
                <c:formatCode>General</c:formatCode>
                <c:ptCount val="55"/>
                <c:pt idx="0">
                  <c:v>0.12567138968639346</c:v>
                </c:pt>
                <c:pt idx="1">
                  <c:v>0.12394021426258936</c:v>
                </c:pt>
                <c:pt idx="2">
                  <c:v>0.12371442415630801</c:v>
                </c:pt>
                <c:pt idx="3">
                  <c:v>0.12328208141031094</c:v>
                </c:pt>
                <c:pt idx="4">
                  <c:v>0.12249233527435516</c:v>
                </c:pt>
                <c:pt idx="5">
                  <c:v>0.1270520034021238</c:v>
                </c:pt>
                <c:pt idx="6">
                  <c:v>0.11370925736463905</c:v>
                </c:pt>
                <c:pt idx="7">
                  <c:v>0.10909120144529189</c:v>
                </c:pt>
                <c:pt idx="8">
                  <c:v>0.11089680192542282</c:v>
                </c:pt>
                <c:pt idx="9">
                  <c:v>0.1272123022826496</c:v>
                </c:pt>
                <c:pt idx="10">
                  <c:v>0.11638868439014002</c:v>
                </c:pt>
                <c:pt idx="11">
                  <c:v>0.11136379824271156</c:v>
                </c:pt>
                <c:pt idx="12">
                  <c:v>0.1243623690675025</c:v>
                </c:pt>
                <c:pt idx="13">
                  <c:v>0.10966396525940647</c:v>
                </c:pt>
                <c:pt idx="14">
                  <c:v>0.12584621661553763</c:v>
                </c:pt>
                <c:pt idx="15">
                  <c:v>0.12561638037484482</c:v>
                </c:pt>
                <c:pt idx="16">
                  <c:v>0.12235718971138537</c:v>
                </c:pt>
                <c:pt idx="17">
                  <c:v>0.12776688297839817</c:v>
                </c:pt>
                <c:pt idx="18">
                  <c:v>0.12953619982827774</c:v>
                </c:pt>
                <c:pt idx="19">
                  <c:v>0.13263540764496964</c:v>
                </c:pt>
                <c:pt idx="20">
                  <c:v>0.11615687988048867</c:v>
                </c:pt>
                <c:pt idx="21">
                  <c:v>0.11812427922950694</c:v>
                </c:pt>
                <c:pt idx="22">
                  <c:v>0.11438524914370116</c:v>
                </c:pt>
                <c:pt idx="23">
                  <c:v>0.11686000738761508</c:v>
                </c:pt>
                <c:pt idx="24">
                  <c:v>0.12608606120041954</c:v>
                </c:pt>
                <c:pt idx="25">
                  <c:v>0.12237410011545163</c:v>
                </c:pt>
                <c:pt idx="26">
                  <c:v>0.115354885246371</c:v>
                </c:pt>
                <c:pt idx="27">
                  <c:v>0.11408239807839772</c:v>
                </c:pt>
                <c:pt idx="28">
                  <c:v>0.09052285609466065</c:v>
                </c:pt>
                <c:pt idx="29">
                  <c:v>0.07345628543391215</c:v>
                </c:pt>
                <c:pt idx="30">
                  <c:v>0.11329902929954398</c:v>
                </c:pt>
                <c:pt idx="31">
                  <c:v>0.11055927954884545</c:v>
                </c:pt>
                <c:pt idx="32">
                  <c:v>0.10918023094248006</c:v>
                </c:pt>
                <c:pt idx="33">
                  <c:v>0.10887291074836863</c:v>
                </c:pt>
                <c:pt idx="34">
                  <c:v>0.09888186484551784</c:v>
                </c:pt>
                <c:pt idx="35">
                  <c:v>0.09220632167506049</c:v>
                </c:pt>
                <c:pt idx="36">
                  <c:v>0.1049385859189064</c:v>
                </c:pt>
                <c:pt idx="37">
                  <c:v>0.1159537481386919</c:v>
                </c:pt>
                <c:pt idx="38">
                  <c:v>0.115713469634972</c:v>
                </c:pt>
                <c:pt idx="39">
                  <c:v>0.1132311036573</c:v>
                </c:pt>
                <c:pt idx="40">
                  <c:v>0.11513351510092554</c:v>
                </c:pt>
                <c:pt idx="41">
                  <c:v>0.11173692775138966</c:v>
                </c:pt>
                <c:pt idx="42">
                  <c:v>0.11797818415721789</c:v>
                </c:pt>
                <c:pt idx="43">
                  <c:v>0.11023568137466806</c:v>
                </c:pt>
                <c:pt idx="44">
                  <c:v>0.0985803291030313</c:v>
                </c:pt>
                <c:pt idx="45">
                  <c:v>0.114785545284067</c:v>
                </c:pt>
                <c:pt idx="46">
                  <c:v>0.11882841657734641</c:v>
                </c:pt>
                <c:pt idx="47">
                  <c:v>0.11113606899417139</c:v>
                </c:pt>
                <c:pt idx="48">
                  <c:v>0.1102111700666176</c:v>
                </c:pt>
                <c:pt idx="49">
                  <c:v>0.11910086891136323</c:v>
                </c:pt>
                <c:pt idx="50">
                  <c:v>0.11484599996669424</c:v>
                </c:pt>
                <c:pt idx="51">
                  <c:v>0.12192923178114601</c:v>
                </c:pt>
                <c:pt idx="52">
                  <c:v>0.14261016645216051</c:v>
                </c:pt>
                <c:pt idx="53">
                  <c:v>0.18369807082987408</c:v>
                </c:pt>
                <c:pt idx="54">
                  <c:v>0.095281109600032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0.0696</c:v>
                </c:pt>
                <c:pt idx="1">
                  <c:v>859.8069</c:v>
                </c:pt>
                <c:pt idx="2">
                  <c:v>925.7645</c:v>
                </c:pt>
                <c:pt idx="3">
                  <c:v>930.7893</c:v>
                </c:pt>
                <c:pt idx="4">
                  <c:v>931.3722</c:v>
                </c:pt>
                <c:pt idx="5">
                  <c:v>928.553</c:v>
                </c:pt>
                <c:pt idx="6">
                  <c:v>900.8883</c:v>
                </c:pt>
                <c:pt idx="7">
                  <c:v>899.741</c:v>
                </c:pt>
                <c:pt idx="8">
                  <c:v>897.0613</c:v>
                </c:pt>
                <c:pt idx="9">
                  <c:v>886.9226</c:v>
                </c:pt>
                <c:pt idx="10">
                  <c:v>865.7064</c:v>
                </c:pt>
                <c:pt idx="11">
                  <c:v>913.5114</c:v>
                </c:pt>
                <c:pt idx="12">
                  <c:v>935.3991</c:v>
                </c:pt>
                <c:pt idx="13">
                  <c:v>924.1545</c:v>
                </c:pt>
                <c:pt idx="14">
                  <c:v>923.2303</c:v>
                </c:pt>
                <c:pt idx="15">
                  <c:v>923.4829</c:v>
                </c:pt>
                <c:pt idx="16">
                  <c:v>952.3755</c:v>
                </c:pt>
                <c:pt idx="17">
                  <c:v>914.8498</c:v>
                </c:pt>
                <c:pt idx="18">
                  <c:v>996.4236</c:v>
                </c:pt>
                <c:pt idx="19">
                  <c:v>1002.047</c:v>
                </c:pt>
                <c:pt idx="20">
                  <c:v>1033.3333</c:v>
                </c:pt>
                <c:pt idx="21">
                  <c:v>1048.4012</c:v>
                </c:pt>
                <c:pt idx="22">
                  <c:v>1021.1122</c:v>
                </c:pt>
                <c:pt idx="23">
                  <c:v>1004.0341</c:v>
                </c:pt>
                <c:pt idx="24">
                  <c:v>1030.3717</c:v>
                </c:pt>
                <c:pt idx="25">
                  <c:v>1022.3571</c:v>
                </c:pt>
                <c:pt idx="26">
                  <c:v>1048.7394</c:v>
                </c:pt>
                <c:pt idx="27">
                  <c:v>1052.9082</c:v>
                </c:pt>
                <c:pt idx="28">
                  <c:v>1043.6867</c:v>
                </c:pt>
                <c:pt idx="29">
                  <c:v>1007.8232</c:v>
                </c:pt>
                <c:pt idx="30">
                  <c:v>1022.259</c:v>
                </c:pt>
                <c:pt idx="31">
                  <c:v>1010.2599</c:v>
                </c:pt>
                <c:pt idx="32">
                  <c:v>994.1678</c:v>
                </c:pt>
                <c:pt idx="33">
                  <c:v>869.0896</c:v>
                </c:pt>
                <c:pt idx="34">
                  <c:v>942.8663</c:v>
                </c:pt>
                <c:pt idx="35">
                  <c:v>992.3623</c:v>
                </c:pt>
                <c:pt idx="36">
                  <c:v>1067.8085</c:v>
                </c:pt>
                <c:pt idx="37">
                  <c:v>1064.0773</c:v>
                </c:pt>
                <c:pt idx="38">
                  <c:v>1129.0485</c:v>
                </c:pt>
                <c:pt idx="39">
                  <c:v>1150.2519</c:v>
                </c:pt>
                <c:pt idx="40">
                  <c:v>1123.1225</c:v>
                </c:pt>
                <c:pt idx="41">
                  <c:v>1147.0139</c:v>
                </c:pt>
                <c:pt idx="42">
                  <c:v>1190.7227</c:v>
                </c:pt>
                <c:pt idx="43">
                  <c:v>1178.163</c:v>
                </c:pt>
                <c:pt idx="44">
                  <c:v>1145.8186</c:v>
                </c:pt>
                <c:pt idx="45">
                  <c:v>1117.9771</c:v>
                </c:pt>
                <c:pt idx="46">
                  <c:v>1074.0537</c:v>
                </c:pt>
                <c:pt idx="47">
                  <c:v>1057.1414</c:v>
                </c:pt>
                <c:pt idx="48">
                  <c:v>1056.3118</c:v>
                </c:pt>
                <c:pt idx="49">
                  <c:v>1016.2031</c:v>
                </c:pt>
                <c:pt idx="50">
                  <c:v>1010.0967</c:v>
                </c:pt>
                <c:pt idx="51">
                  <c:v>1040.5853</c:v>
                </c:pt>
                <c:pt idx="52">
                  <c:v>1057.0203</c:v>
                </c:pt>
                <c:pt idx="53">
                  <c:v>1141.4374</c:v>
                </c:pt>
                <c:pt idx="54">
                  <c:v>1114.3482</c:v>
                </c:pt>
                <c:pt idx="55">
                  <c:v>1128.9265</c:v>
                </c:pt>
                <c:pt idx="56">
                  <c:v>1141.7049</c:v>
                </c:pt>
                <c:pt idx="57">
                  <c:v>1127.689</c:v>
                </c:pt>
                <c:pt idx="58">
                  <c:v>1075.567</c:v>
                </c:pt>
                <c:pt idx="59">
                  <c:v>1107.4127</c:v>
                </c:pt>
                <c:pt idx="60">
                  <c:v>1121.3892</c:v>
                </c:pt>
                <c:pt idx="61">
                  <c:v>1122.9051</c:v>
                </c:pt>
                <c:pt idx="62">
                  <c:v>1079.5253</c:v>
                </c:pt>
                <c:pt idx="63">
                  <c:v>1103.8502</c:v>
                </c:pt>
                <c:pt idx="64">
                  <c:v>1088.7362</c:v>
                </c:pt>
                <c:pt idx="65">
                  <c:v>1104.5604</c:v>
                </c:pt>
                <c:pt idx="66">
                  <c:v>1087.7435</c:v>
                </c:pt>
                <c:pt idx="67">
                  <c:v>1098.1415</c:v>
                </c:pt>
                <c:pt idx="68">
                  <c:v>1127.7118</c:v>
                </c:pt>
                <c:pt idx="69">
                  <c:v>1153.4951</c:v>
                </c:pt>
                <c:pt idx="70">
                  <c:v>1171.2381</c:v>
                </c:pt>
                <c:pt idx="71">
                  <c:v>1215.4</c:v>
                </c:pt>
                <c:pt idx="72">
                  <c:v>1316.0231</c:v>
                </c:pt>
                <c:pt idx="73">
                  <c:v>1292.3559</c:v>
                </c:pt>
                <c:pt idx="74">
                  <c:v>1272.0677</c:v>
                </c:pt>
                <c:pt idx="75">
                  <c:v>1214.7003</c:v>
                </c:pt>
                <c:pt idx="76">
                  <c:v>1230.5754</c:v>
                </c:pt>
                <c:pt idx="77">
                  <c:v>1283.7423</c:v>
                </c:pt>
                <c:pt idx="78">
                  <c:v>1270.6589</c:v>
                </c:pt>
                <c:pt idx="79">
                  <c:v>1297.9045</c:v>
                </c:pt>
                <c:pt idx="80">
                  <c:v>1288.9775</c:v>
                </c:pt>
                <c:pt idx="81">
                  <c:v>1274.2994</c:v>
                </c:pt>
                <c:pt idx="82">
                  <c:v>1278.8408</c:v>
                </c:pt>
                <c:pt idx="83">
                  <c:v>1221.0163</c:v>
                </c:pt>
                <c:pt idx="84">
                  <c:v>1239.3623</c:v>
                </c:pt>
                <c:pt idx="85">
                  <c:v>1236.3529</c:v>
                </c:pt>
                <c:pt idx="86">
                  <c:v>1187.64</c:v>
                </c:pt>
                <c:pt idx="87">
                  <c:v>1188.6714</c:v>
                </c:pt>
                <c:pt idx="88">
                  <c:v>1256.9609</c:v>
                </c:pt>
                <c:pt idx="89">
                  <c:v>1239.1125</c:v>
                </c:pt>
                <c:pt idx="90">
                  <c:v>1322.9416</c:v>
                </c:pt>
                <c:pt idx="91">
                  <c:v>1287.2205</c:v>
                </c:pt>
                <c:pt idx="92">
                  <c:v>1264.7718</c:v>
                </c:pt>
                <c:pt idx="93">
                  <c:v>1293.3584</c:v>
                </c:pt>
                <c:pt idx="94">
                  <c:v>1245.2483</c:v>
                </c:pt>
                <c:pt idx="95">
                  <c:v>1164.2675</c:v>
                </c:pt>
                <c:pt idx="96">
                  <c:v>1239.5473</c:v>
                </c:pt>
                <c:pt idx="97">
                  <c:v>1204.439</c:v>
                </c:pt>
                <c:pt idx="98">
                  <c:v>1144.6735</c:v>
                </c:pt>
                <c:pt idx="99">
                  <c:v>1114.4115</c:v>
                </c:pt>
                <c:pt idx="100">
                  <c:v>1102.2328</c:v>
                </c:pt>
                <c:pt idx="101">
                  <c:v>1142.0401</c:v>
                </c:pt>
                <c:pt idx="102">
                  <c:v>1139.9768</c:v>
                </c:pt>
                <c:pt idx="103">
                  <c:v>1112.3646</c:v>
                </c:pt>
                <c:pt idx="104">
                  <c:v>1178.6246</c:v>
                </c:pt>
              </c:numCache>
            </c:numRef>
          </c:xVal>
          <c:yVal>
            <c:numRef>
              <c:f>Sheet1!$B$2:$B$106</c:f>
              <c:numCache>
                <c:formatCode>General</c:formatCode>
                <c:ptCount val="105"/>
                <c:pt idx="0">
                  <c:v>0.2629685157421289</c:v>
                </c:pt>
                <c:pt idx="1">
                  <c:v>0.249730118747751</c:v>
                </c:pt>
                <c:pt idx="2">
                  <c:v>0.24983096686950643</c:v>
                </c:pt>
                <c:pt idx="3">
                  <c:v>0.2524344569288389</c:v>
                </c:pt>
                <c:pt idx="4">
                  <c:v>0.2606466876971609</c:v>
                </c:pt>
                <c:pt idx="5">
                  <c:v>0.2700253715114172</c:v>
                </c:pt>
                <c:pt idx="6">
                  <c:v>0.2716049382716049</c:v>
                </c:pt>
                <c:pt idx="7">
                  <c:v>0.2949070887818307</c:v>
                </c:pt>
                <c:pt idx="8">
                  <c:v>0.27568602425015953</c:v>
                </c:pt>
                <c:pt idx="9">
                  <c:v>0.267364657814096</c:v>
                </c:pt>
                <c:pt idx="10">
                  <c:v>0.28165374677002586</c:v>
                </c:pt>
                <c:pt idx="11">
                  <c:v>0.255891322428611</c:v>
                </c:pt>
                <c:pt idx="12">
                  <c:v>0.25069098949695967</c:v>
                </c:pt>
                <c:pt idx="13">
                  <c:v>0.24028061970184156</c:v>
                </c:pt>
                <c:pt idx="14">
                  <c:v>0.22753579043557723</c:v>
                </c:pt>
                <c:pt idx="15">
                  <c:v>0.22026590010779734</c:v>
                </c:pt>
                <c:pt idx="16">
                  <c:v>0.2023047375160051</c:v>
                </c:pt>
                <c:pt idx="17">
                  <c:v>0.21162579473206175</c:v>
                </c:pt>
                <c:pt idx="18">
                  <c:v>0.18263607737291948</c:v>
                </c:pt>
                <c:pt idx="19">
                  <c:v>0.20189873417721518</c:v>
                </c:pt>
                <c:pt idx="20">
                  <c:v>0.18741126360624705</c:v>
                </c:pt>
                <c:pt idx="21">
                  <c:v>0.1867435158501441</c:v>
                </c:pt>
                <c:pt idx="22">
                  <c:v>0.2192454893384363</c:v>
                </c:pt>
                <c:pt idx="23">
                  <c:v>0.24433849821215733</c:v>
                </c:pt>
                <c:pt idx="24">
                  <c:v>0.24692954104718812</c:v>
                </c:pt>
                <c:pt idx="25">
                  <c:v>0.2334954829742877</c:v>
                </c:pt>
                <c:pt idx="26">
                  <c:v>0.2490566037735849</c:v>
                </c:pt>
                <c:pt idx="27">
                  <c:v>0.23557692307692307</c:v>
                </c:pt>
                <c:pt idx="28">
                  <c:v>0.29251101321585904</c:v>
                </c:pt>
                <c:pt idx="29">
                  <c:v>0.27710843373493976</c:v>
                </c:pt>
                <c:pt idx="30">
                  <c:v>0.27601809954751133</c:v>
                </c:pt>
                <c:pt idx="31">
                  <c:v>0.2884250474383302</c:v>
                </c:pt>
                <c:pt idx="32">
                  <c:v>0.28166351606805295</c:v>
                </c:pt>
                <c:pt idx="33">
                  <c:v>0.29924559932942163</c:v>
                </c:pt>
                <c:pt idx="34">
                  <c:v>0.28101945003353457</c:v>
                </c:pt>
                <c:pt idx="35">
                  <c:v>0.2772675086107922</c:v>
                </c:pt>
                <c:pt idx="36">
                  <c:v>0.26610049539985847</c:v>
                </c:pt>
                <c:pt idx="37">
                  <c:v>0.26137184115523465</c:v>
                </c:pt>
                <c:pt idx="38">
                  <c:v>0.266839378238342</c:v>
                </c:pt>
                <c:pt idx="39">
                  <c:v>0.25357483317445184</c:v>
                </c:pt>
                <c:pt idx="40">
                  <c:v>0.2541636495293266</c:v>
                </c:pt>
                <c:pt idx="41">
                  <c:v>0.26083815028901736</c:v>
                </c:pt>
                <c:pt idx="42">
                  <c:v>0.25427350427350426</c:v>
                </c:pt>
                <c:pt idx="43">
                  <c:v>0.25367904695164684</c:v>
                </c:pt>
                <c:pt idx="44">
                  <c:v>0.24076147816349383</c:v>
                </c:pt>
                <c:pt idx="45">
                  <c:v>0.24623493975903615</c:v>
                </c:pt>
                <c:pt idx="46">
                  <c:v>0.25053821313240043</c:v>
                </c:pt>
                <c:pt idx="47">
                  <c:v>0.2569945197577156</c:v>
                </c:pt>
                <c:pt idx="48">
                  <c:v>0.24988804299149125</c:v>
                </c:pt>
                <c:pt idx="49">
                  <c:v>0.2274495502066618</c:v>
                </c:pt>
                <c:pt idx="50">
                  <c:v>0.24701298701298702</c:v>
                </c:pt>
                <c:pt idx="51">
                  <c:v>0.2261647639617402</c:v>
                </c:pt>
                <c:pt idx="52">
                  <c:v>0.2217220033764772</c:v>
                </c:pt>
                <c:pt idx="53">
                  <c:v>0.22016616314199397</c:v>
                </c:pt>
                <c:pt idx="54">
                  <c:v>0.21341463414634146</c:v>
                </c:pt>
                <c:pt idx="55">
                  <c:v>0.20705009276437847</c:v>
                </c:pt>
                <c:pt idx="56">
                  <c:v>0.21353979114151964</c:v>
                </c:pt>
                <c:pt idx="57">
                  <c:v>0.21178509532062392</c:v>
                </c:pt>
                <c:pt idx="58">
                  <c:v>0.24503764544832307</c:v>
                </c:pt>
                <c:pt idx="59">
                  <c:v>0.22790565501562943</c:v>
                </c:pt>
                <c:pt idx="60">
                  <c:v>0.2190082644628099</c:v>
                </c:pt>
                <c:pt idx="61">
                  <c:v>0.22129489124936774</c:v>
                </c:pt>
                <c:pt idx="62">
                  <c:v>0.23839962121212122</c:v>
                </c:pt>
                <c:pt idx="63">
                  <c:v>0.22557194782980544</c:v>
                </c:pt>
                <c:pt idx="64">
                  <c:v>0.22763544729105417</c:v>
                </c:pt>
                <c:pt idx="65">
                  <c:v>0.2084487534626039</c:v>
                </c:pt>
                <c:pt idx="66">
                  <c:v>0.2179245283018868</c:v>
                </c:pt>
                <c:pt idx="67">
                  <c:v>0.21453590192644484</c:v>
                </c:pt>
                <c:pt idx="68">
                  <c:v>0.1948737278552582</c:v>
                </c:pt>
                <c:pt idx="69">
                  <c:v>0.1996124031007752</c:v>
                </c:pt>
                <c:pt idx="70">
                  <c:v>0.19958677685950413</c:v>
                </c:pt>
                <c:pt idx="71">
                  <c:v>0.19941634241245138</c:v>
                </c:pt>
                <c:pt idx="72">
                  <c:v>0.1773825809393525</c:v>
                </c:pt>
                <c:pt idx="73">
                  <c:v>0.19093851132686085</c:v>
                </c:pt>
                <c:pt idx="74">
                  <c:v>0.1953204476093591</c:v>
                </c:pt>
                <c:pt idx="75">
                  <c:v>0.2158403869407497</c:v>
                </c:pt>
                <c:pt idx="76">
                  <c:v>0.23302107728337237</c:v>
                </c:pt>
                <c:pt idx="77">
                  <c:v>0.18813314037626627</c:v>
                </c:pt>
                <c:pt idx="78">
                  <c:v>0.22230483271375465</c:v>
                </c:pt>
                <c:pt idx="79">
                  <c:v>0.20402858999350226</c:v>
                </c:pt>
                <c:pt idx="80">
                  <c:v>0.18922749822820695</c:v>
                </c:pt>
                <c:pt idx="81">
                  <c:v>0.20848056537102475</c:v>
                </c:pt>
                <c:pt idx="82">
                  <c:v>0.21893939393939393</c:v>
                </c:pt>
                <c:pt idx="83">
                  <c:v>0.21012006861063465</c:v>
                </c:pt>
                <c:pt idx="84">
                  <c:v>0.2268835616438356</c:v>
                </c:pt>
                <c:pt idx="85">
                  <c:v>0.22351121423047177</c:v>
                </c:pt>
                <c:pt idx="86">
                  <c:v>0.24177949709864605</c:v>
                </c:pt>
                <c:pt idx="87">
                  <c:v>0.2463851937536148</c:v>
                </c:pt>
                <c:pt idx="88">
                  <c:v>0.22864117168429618</c:v>
                </c:pt>
                <c:pt idx="89">
                  <c:v>0.2747349823321555</c:v>
                </c:pt>
                <c:pt idx="90">
                  <c:v>0.2563876651982379</c:v>
                </c:pt>
                <c:pt idx="91">
                  <c:v>0.23345588235294118</c:v>
                </c:pt>
                <c:pt idx="92">
                  <c:v>0.24008651766402306</c:v>
                </c:pt>
                <c:pt idx="93">
                  <c:v>0.2198581560283688</c:v>
                </c:pt>
                <c:pt idx="94">
                  <c:v>0.2359375</c:v>
                </c:pt>
                <c:pt idx="95">
                  <c:v>0.25906183368869934</c:v>
                </c:pt>
                <c:pt idx="96">
                  <c:v>0.22141119221411193</c:v>
                </c:pt>
                <c:pt idx="97">
                  <c:v>0.23490524460114587</c:v>
                </c:pt>
                <c:pt idx="98">
                  <c:v>0.23943661971830985</c:v>
                </c:pt>
                <c:pt idx="99">
                  <c:v>0.2415506958250497</c:v>
                </c:pt>
                <c:pt idx="100">
                  <c:v>0.23354958294717332</c:v>
                </c:pt>
                <c:pt idx="101">
                  <c:v>0.24292897548711503</c:v>
                </c:pt>
                <c:pt idx="102">
                  <c:v>0.22341696535244923</c:v>
                </c:pt>
                <c:pt idx="103">
                  <c:v>0.2237017310252996</c:v>
                </c:pt>
                <c:pt idx="104">
                  <c:v>0.2151898734177215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8.5151</c:v>
                </c:pt>
                <c:pt idx="1">
                  <c:v>1224.6235</c:v>
                </c:pt>
                <c:pt idx="2">
                  <c:v>1238.2682</c:v>
                </c:pt>
                <c:pt idx="3">
                  <c:v>1188.4669</c:v>
                </c:pt>
                <c:pt idx="4">
                  <c:v>1242.5293</c:v>
                </c:pt>
                <c:pt idx="5">
                  <c:v>1243.6255</c:v>
                </c:pt>
                <c:pt idx="6">
                  <c:v>1172.8398</c:v>
                </c:pt>
                <c:pt idx="7">
                  <c:v>1172.7804</c:v>
                </c:pt>
                <c:pt idx="8">
                  <c:v>1194.6295</c:v>
                </c:pt>
                <c:pt idx="9">
                  <c:v>1153.2228</c:v>
                </c:pt>
                <c:pt idx="10">
                  <c:v>1179.2478</c:v>
                </c:pt>
                <c:pt idx="11">
                  <c:v>1094.3555</c:v>
                </c:pt>
                <c:pt idx="12">
                  <c:v>1122.18</c:v>
                </c:pt>
                <c:pt idx="13">
                  <c:v>1161.1806</c:v>
                </c:pt>
                <c:pt idx="14">
                  <c:v>1134.3953</c:v>
                </c:pt>
                <c:pt idx="15">
                  <c:v>1150.5655</c:v>
                </c:pt>
                <c:pt idx="16">
                  <c:v>1190.777</c:v>
                </c:pt>
                <c:pt idx="17">
                  <c:v>1110.4075</c:v>
                </c:pt>
                <c:pt idx="18">
                  <c:v>1200.9458</c:v>
                </c:pt>
                <c:pt idx="19">
                  <c:v>1273.2621</c:v>
                </c:pt>
                <c:pt idx="20">
                  <c:v>1266.2163</c:v>
                </c:pt>
                <c:pt idx="21">
                  <c:v>1216.9395</c:v>
                </c:pt>
                <c:pt idx="22">
                  <c:v>1249.3611</c:v>
                </c:pt>
                <c:pt idx="23">
                  <c:v>1247.7837</c:v>
                </c:pt>
                <c:pt idx="24">
                  <c:v>1282.2</c:v>
                </c:pt>
                <c:pt idx="25">
                  <c:v>1261.3161</c:v>
                </c:pt>
                <c:pt idx="26">
                  <c:v>1216.5799</c:v>
                </c:pt>
                <c:pt idx="27">
                  <c:v>1260.6534</c:v>
                </c:pt>
                <c:pt idx="28">
                  <c:v>1319.9571</c:v>
                </c:pt>
                <c:pt idx="29">
                  <c:v>1339.8922</c:v>
                </c:pt>
                <c:pt idx="30">
                  <c:v>1315.3903</c:v>
                </c:pt>
                <c:pt idx="31">
                  <c:v>1291.8389</c:v>
                </c:pt>
                <c:pt idx="32">
                  <c:v>1295.8908</c:v>
                </c:pt>
                <c:pt idx="33">
                  <c:v>1304.7256</c:v>
                </c:pt>
                <c:pt idx="34">
                  <c:v>1316.6084</c:v>
                </c:pt>
                <c:pt idx="35">
                  <c:v>1360.0722</c:v>
                </c:pt>
                <c:pt idx="36">
                  <c:v>1349.5709</c:v>
                </c:pt>
                <c:pt idx="37">
                  <c:v>1301.9843</c:v>
                </c:pt>
                <c:pt idx="38">
                  <c:v>1245.5282</c:v>
                </c:pt>
                <c:pt idx="39">
                  <c:v>1306.0407</c:v>
                </c:pt>
                <c:pt idx="40">
                  <c:v>1331.2471</c:v>
                </c:pt>
                <c:pt idx="41">
                  <c:v>1398.033</c:v>
                </c:pt>
                <c:pt idx="42">
                  <c:v>1370.0412</c:v>
                </c:pt>
                <c:pt idx="43">
                  <c:v>1359.9263</c:v>
                </c:pt>
                <c:pt idx="44">
                  <c:v>1284.8712</c:v>
                </c:pt>
                <c:pt idx="45">
                  <c:v>1244.5181</c:v>
                </c:pt>
                <c:pt idx="46">
                  <c:v>1206.6279</c:v>
                </c:pt>
                <c:pt idx="47">
                  <c:v>1187.4553</c:v>
                </c:pt>
                <c:pt idx="48">
                  <c:v>1188.8271</c:v>
                </c:pt>
                <c:pt idx="49">
                  <c:v>1202.0161</c:v>
                </c:pt>
                <c:pt idx="50">
                  <c:v>1177.0797</c:v>
                </c:pt>
                <c:pt idx="51">
                  <c:v>1127.4009</c:v>
                </c:pt>
              </c:numCache>
            </c:numRef>
          </c:xVal>
          <c:yVal>
            <c:numRef>
              <c:f>Sheet1!$B$109:$B$160</c:f>
              <c:numCache>
                <c:formatCode>General</c:formatCode>
                <c:ptCount val="52"/>
                <c:pt idx="0">
                  <c:v>0.2172803499817718</c:v>
                </c:pt>
                <c:pt idx="1">
                  <c:v>0.21637931034482757</c:v>
                </c:pt>
                <c:pt idx="2">
                  <c:v>0.23109243697478993</c:v>
                </c:pt>
                <c:pt idx="3">
                  <c:v>0.24747650539505744</c:v>
                </c:pt>
                <c:pt idx="4">
                  <c:v>0.23210892970234326</c:v>
                </c:pt>
                <c:pt idx="5">
                  <c:v>0.22362869198312235</c:v>
                </c:pt>
                <c:pt idx="6">
                  <c:v>0.2250283768444949</c:v>
                </c:pt>
                <c:pt idx="7">
                  <c:v>0.23110865968008826</c:v>
                </c:pt>
                <c:pt idx="8">
                  <c:v>0.22423435419440746</c:v>
                </c:pt>
                <c:pt idx="9">
                  <c:v>0.2311815427639245</c:v>
                </c:pt>
                <c:pt idx="10">
                  <c:v>0.22986198243412798</c:v>
                </c:pt>
                <c:pt idx="11">
                  <c:v>0.22415600754875237</c:v>
                </c:pt>
                <c:pt idx="12">
                  <c:v>0.22284812978819288</c:v>
                </c:pt>
                <c:pt idx="13">
                  <c:v>0.2266526757607555</c:v>
                </c:pt>
                <c:pt idx="14">
                  <c:v>0.2294837361981498</c:v>
                </c:pt>
                <c:pt idx="15">
                  <c:v>0.21933085501858737</c:v>
                </c:pt>
                <c:pt idx="16">
                  <c:v>0.2164119066773934</c:v>
                </c:pt>
                <c:pt idx="17">
                  <c:v>0.24419114423498467</c:v>
                </c:pt>
                <c:pt idx="18">
                  <c:v>0.2171945701357466</c:v>
                </c:pt>
                <c:pt idx="19">
                  <c:v>0.2202914798206278</c:v>
                </c:pt>
                <c:pt idx="20">
                  <c:v>0.22608079376328843</c:v>
                </c:pt>
                <c:pt idx="21">
                  <c:v>0.22980132450331126</c:v>
                </c:pt>
                <c:pt idx="22">
                  <c:v>0.2177858439201452</c:v>
                </c:pt>
                <c:pt idx="23">
                  <c:v>0.2371756185878093</c:v>
                </c:pt>
                <c:pt idx="24">
                  <c:v>0.2236024844720497</c:v>
                </c:pt>
                <c:pt idx="25">
                  <c:v>0.234955185659411</c:v>
                </c:pt>
                <c:pt idx="26">
                  <c:v>0.25571725571725573</c:v>
                </c:pt>
                <c:pt idx="27">
                  <c:v>0.25709779179810727</c:v>
                </c:pt>
                <c:pt idx="28">
                  <c:v>0.21604938271604937</c:v>
                </c:pt>
                <c:pt idx="29">
                  <c:v>0.22835314091680814</c:v>
                </c:pt>
                <c:pt idx="30">
                  <c:v>0.2357581069237511</c:v>
                </c:pt>
                <c:pt idx="31">
                  <c:v>0.22025052192066805</c:v>
                </c:pt>
                <c:pt idx="32">
                  <c:v>0.21262766945218198</c:v>
                </c:pt>
                <c:pt idx="33">
                  <c:v>0.21289456010745467</c:v>
                </c:pt>
                <c:pt idx="34">
                  <c:v>0.25464788732394367</c:v>
                </c:pt>
                <c:pt idx="35">
                  <c:v>0.23731048121292023</c:v>
                </c:pt>
                <c:pt idx="36">
                  <c:v>0.2427536231884058</c:v>
                </c:pt>
                <c:pt idx="37">
                  <c:v>0.24495677233429394</c:v>
                </c:pt>
                <c:pt idx="38">
                  <c:v>0.27413479052823314</c:v>
                </c:pt>
                <c:pt idx="39">
                  <c:v>0.23210070810385522</c:v>
                </c:pt>
                <c:pt idx="40">
                  <c:v>0.23239917976760083</c:v>
                </c:pt>
                <c:pt idx="41">
                  <c:v>0.23617021276595745</c:v>
                </c:pt>
                <c:pt idx="42">
                  <c:v>0.21464646464646464</c:v>
                </c:pt>
                <c:pt idx="43">
                  <c:v>0.20994475138121546</c:v>
                </c:pt>
                <c:pt idx="44">
                  <c:v>0.2212290502793296</c:v>
                </c:pt>
                <c:pt idx="45">
                  <c:v>0.24556737588652483</c:v>
                </c:pt>
                <c:pt idx="46">
                  <c:v>0.2510572856593618</c:v>
                </c:pt>
                <c:pt idx="47">
                  <c:v>0.24812298891669646</c:v>
                </c:pt>
                <c:pt idx="48">
                  <c:v>0.2443280977312391</c:v>
                </c:pt>
                <c:pt idx="49">
                  <c:v>0.230578307272276</c:v>
                </c:pt>
                <c:pt idx="50">
                  <c:v>0.20980046948356806</c:v>
                </c:pt>
                <c:pt idx="51">
                  <c:v>0.228496388706500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830.977786150917</c:v>
                </c:pt>
              </c:numCache>
            </c:numRef>
          </c:xVal>
          <c:yVal>
            <c:numRef>
              <c:f>Sheet1!$B$163:$B$164</c:f>
              <c:numCache>
                <c:formatCode>General</c:formatCode>
                <c:ptCount val="2"/>
                <c:pt idx="0">
                  <c:v>0.26531490764448873</c:v>
                </c:pt>
                <c:pt idx="1">
                  <c:v>0.2653149076444887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830.977786150917</c:v>
                </c:pt>
                <c:pt idx="1">
                  <c:v>-11830.977786150917</c:v>
                </c:pt>
              </c:numCache>
            </c:numRef>
          </c:xVal>
          <c:yVal>
            <c:numRef>
              <c:f>Sheet1!$B$167:$B$168</c:f>
              <c:numCache>
                <c:formatCode>General</c:formatCode>
                <c:ptCount val="2"/>
                <c:pt idx="0">
                  <c:v>0.265314907644488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12.126483602945</c:v>
                </c:pt>
              </c:numCache>
            </c:numRef>
          </c:xVal>
          <c:yVal>
            <c:numRef>
              <c:f>Sheet1!$B$171:$B$172</c:f>
              <c:numCache>
                <c:formatCode>General</c:formatCode>
                <c:ptCount val="2"/>
                <c:pt idx="0">
                  <c:v>0.23772259112852764</c:v>
                </c:pt>
                <c:pt idx="1">
                  <c:v>0.237722591128527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12.126483602945</c:v>
                </c:pt>
                <c:pt idx="1">
                  <c:v>-1412.126483602945</c:v>
                </c:pt>
              </c:numCache>
            </c:numRef>
          </c:xVal>
          <c:yVal>
            <c:numRef>
              <c:f>Sheet1!$B$175:$B$176</c:f>
              <c:numCache>
                <c:formatCode>General</c:formatCode>
                <c:ptCount val="2"/>
                <c:pt idx="0">
                  <c:v>0.237722591128527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4.4584919411234</c:v>
                </c:pt>
              </c:numCache>
            </c:numRef>
          </c:xVal>
          <c:yVal>
            <c:numRef>
              <c:f>Sheet1!$B$179:$B$180</c:f>
              <c:numCache>
                <c:formatCode>General</c:formatCode>
                <c:ptCount val="2"/>
                <c:pt idx="0">
                  <c:v>0.23111086773850686</c:v>
                </c:pt>
                <c:pt idx="1">
                  <c:v>0.231110867738506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4.4584919411234</c:v>
                </c:pt>
                <c:pt idx="1">
                  <c:v>1084.4584919411234</c:v>
                </c:pt>
              </c:numCache>
            </c:numRef>
          </c:xVal>
          <c:yVal>
            <c:numRef>
              <c:f>Sheet1!$B$183:$B$184</c:f>
              <c:numCache>
                <c:formatCode>General</c:formatCode>
                <c:ptCount val="2"/>
                <c:pt idx="0">
                  <c:v>0.23111086773850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8.5151</c:v>
                </c:pt>
                <c:pt idx="1">
                  <c:v>1224.6235</c:v>
                </c:pt>
                <c:pt idx="2">
                  <c:v>1238.2682</c:v>
                </c:pt>
                <c:pt idx="3">
                  <c:v>1188.4669</c:v>
                </c:pt>
                <c:pt idx="4">
                  <c:v>1242.5293</c:v>
                </c:pt>
                <c:pt idx="5">
                  <c:v>1243.6255</c:v>
                </c:pt>
                <c:pt idx="6">
                  <c:v>1172.8398</c:v>
                </c:pt>
                <c:pt idx="7">
                  <c:v>1172.7804</c:v>
                </c:pt>
                <c:pt idx="8">
                  <c:v>1194.6295</c:v>
                </c:pt>
                <c:pt idx="9">
                  <c:v>1153.2228</c:v>
                </c:pt>
                <c:pt idx="10">
                  <c:v>1179.2478</c:v>
                </c:pt>
                <c:pt idx="11">
                  <c:v>1094.3555</c:v>
                </c:pt>
                <c:pt idx="12">
                  <c:v>1122.18</c:v>
                </c:pt>
                <c:pt idx="13">
                  <c:v>1161.1806</c:v>
                </c:pt>
                <c:pt idx="14">
                  <c:v>1134.3953</c:v>
                </c:pt>
                <c:pt idx="15">
                  <c:v>1150.5655</c:v>
                </c:pt>
                <c:pt idx="16">
                  <c:v>1190.777</c:v>
                </c:pt>
                <c:pt idx="17">
                  <c:v>1110.4075</c:v>
                </c:pt>
                <c:pt idx="18">
                  <c:v>1200.9458</c:v>
                </c:pt>
                <c:pt idx="19">
                  <c:v>1273.2621</c:v>
                </c:pt>
                <c:pt idx="20">
                  <c:v>1266.2163</c:v>
                </c:pt>
                <c:pt idx="21">
                  <c:v>1216.9395</c:v>
                </c:pt>
                <c:pt idx="22">
                  <c:v>1249.3611</c:v>
                </c:pt>
                <c:pt idx="23">
                  <c:v>1247.7837</c:v>
                </c:pt>
                <c:pt idx="24">
                  <c:v>1282.2</c:v>
                </c:pt>
                <c:pt idx="25">
                  <c:v>1261.3161</c:v>
                </c:pt>
                <c:pt idx="26">
                  <c:v>1216.5799</c:v>
                </c:pt>
                <c:pt idx="27">
                  <c:v>1260.6534</c:v>
                </c:pt>
                <c:pt idx="28">
                  <c:v>1319.9571</c:v>
                </c:pt>
                <c:pt idx="29">
                  <c:v>1339.8922</c:v>
                </c:pt>
                <c:pt idx="30">
                  <c:v>1315.3903</c:v>
                </c:pt>
                <c:pt idx="31">
                  <c:v>1291.8389</c:v>
                </c:pt>
                <c:pt idx="32">
                  <c:v>1295.8908</c:v>
                </c:pt>
                <c:pt idx="33">
                  <c:v>1304.7256</c:v>
                </c:pt>
                <c:pt idx="34">
                  <c:v>1316.6084</c:v>
                </c:pt>
                <c:pt idx="35">
                  <c:v>1360.0722</c:v>
                </c:pt>
                <c:pt idx="36">
                  <c:v>1349.5709</c:v>
                </c:pt>
                <c:pt idx="37">
                  <c:v>1301.9843</c:v>
                </c:pt>
                <c:pt idx="38">
                  <c:v>1245.5282</c:v>
                </c:pt>
                <c:pt idx="39">
                  <c:v>1306.0407</c:v>
                </c:pt>
                <c:pt idx="40">
                  <c:v>1331.2471</c:v>
                </c:pt>
                <c:pt idx="41">
                  <c:v>1398.033</c:v>
                </c:pt>
                <c:pt idx="42">
                  <c:v>1370.0412</c:v>
                </c:pt>
                <c:pt idx="43">
                  <c:v>1359.9263</c:v>
                </c:pt>
                <c:pt idx="44">
                  <c:v>1284.8712</c:v>
                </c:pt>
                <c:pt idx="45">
                  <c:v>1244.5181</c:v>
                </c:pt>
                <c:pt idx="46">
                  <c:v>1206.6279</c:v>
                </c:pt>
                <c:pt idx="47">
                  <c:v>1187.4553</c:v>
                </c:pt>
                <c:pt idx="48">
                  <c:v>1188.8271</c:v>
                </c:pt>
                <c:pt idx="49">
                  <c:v>1202.0161</c:v>
                </c:pt>
                <c:pt idx="50">
                  <c:v>1177.0797</c:v>
                </c:pt>
                <c:pt idx="51">
                  <c:v>1127.4009</c:v>
                </c:pt>
                <c:pt idx="52">
                  <c:v>-1412.126483602945</c:v>
                </c:pt>
                <c:pt idx="53">
                  <c:v>-11830.977786150917</c:v>
                </c:pt>
                <c:pt idx="54">
                  <c:v>1084.4584919411234</c:v>
                </c:pt>
              </c:numCache>
            </c:numRef>
          </c:xVal>
          <c:yVal>
            <c:numRef>
              <c:f>Sheet1!$B$187:$B$241</c:f>
              <c:numCache>
                <c:formatCode>General</c:formatCode>
                <c:ptCount val="55"/>
                <c:pt idx="0">
                  <c:v>0.2307823277588049</c:v>
                </c:pt>
                <c:pt idx="1">
                  <c:v>0.23073966777082167</c:v>
                </c:pt>
                <c:pt idx="2">
                  <c:v>0.23070353241671854</c:v>
                </c:pt>
                <c:pt idx="3">
                  <c:v>0.2308354215465855</c:v>
                </c:pt>
                <c:pt idx="4">
                  <c:v>0.23069224771589192</c:v>
                </c:pt>
                <c:pt idx="5">
                  <c:v>0.23068934464179225</c:v>
                </c:pt>
                <c:pt idx="6">
                  <c:v>0.23087680690442444</c:v>
                </c:pt>
                <c:pt idx="7">
                  <c:v>0.2308769642138584</c:v>
                </c:pt>
                <c:pt idx="8">
                  <c:v>0.2308191010900569</c:v>
                </c:pt>
                <c:pt idx="9">
                  <c:v>0.23092875874223992</c:v>
                </c:pt>
                <c:pt idx="10">
                  <c:v>0.2308598365533656</c:v>
                </c:pt>
                <c:pt idx="11">
                  <c:v>0.23108465742308998</c:v>
                </c:pt>
                <c:pt idx="12">
                  <c:v>0.23101096960582448</c:v>
                </c:pt>
                <c:pt idx="13">
                  <c:v>0.23090768404504014</c:v>
                </c:pt>
                <c:pt idx="14">
                  <c:v>0.2309786197417032</c:v>
                </c:pt>
                <c:pt idx="15">
                  <c:v>0.23093579608834927</c:v>
                </c:pt>
                <c:pt idx="16">
                  <c:v>0.23082930369265586</c:v>
                </c:pt>
                <c:pt idx="17">
                  <c:v>0.23104214679961982</c:v>
                </c:pt>
                <c:pt idx="18">
                  <c:v>0.2308023735887471</c:v>
                </c:pt>
                <c:pt idx="19">
                  <c:v>0.23061085782746782</c:v>
                </c:pt>
                <c:pt idx="20">
                  <c:v>0.23062951726871167</c:v>
                </c:pt>
                <c:pt idx="21">
                  <c:v>0.23076001736157326</c:v>
                </c:pt>
                <c:pt idx="22">
                  <c:v>0.2306741550123395</c:v>
                </c:pt>
                <c:pt idx="23">
                  <c:v>0.2306783324517528</c:v>
                </c:pt>
                <c:pt idx="24">
                  <c:v>0.2305871875246075</c:v>
                </c:pt>
                <c:pt idx="25">
                  <c:v>0.2306424945025223</c:v>
                </c:pt>
                <c:pt idx="26">
                  <c:v>0.2307609696927594</c:v>
                </c:pt>
                <c:pt idx="27">
                  <c:v>0.23064424953555082</c:v>
                </c:pt>
                <c:pt idx="28">
                  <c:v>0.2304871951335394</c:v>
                </c:pt>
                <c:pt idx="29">
                  <c:v>0.230434400869277</c:v>
                </c:pt>
                <c:pt idx="30">
                  <c:v>0.2304992894218065</c:v>
                </c:pt>
                <c:pt idx="31">
                  <c:v>0.23056166075856174</c:v>
                </c:pt>
                <c:pt idx="32">
                  <c:v>0.2305509300835531</c:v>
                </c:pt>
                <c:pt idx="33">
                  <c:v>0.2305275328211413</c:v>
                </c:pt>
                <c:pt idx="34">
                  <c:v>0.23049606351908727</c:v>
                </c:pt>
                <c:pt idx="35">
                  <c:v>0.23038095803463784</c:v>
                </c:pt>
                <c:pt idx="36">
                  <c:v>0.23040876870061386</c:v>
                </c:pt>
                <c:pt idx="37">
                  <c:v>0.23053479262503607</c:v>
                </c:pt>
                <c:pt idx="38">
                  <c:v>0.2306843057081219</c:v>
                </c:pt>
                <c:pt idx="39">
                  <c:v>0.23052405003264606</c:v>
                </c:pt>
                <c:pt idx="40">
                  <c:v>0.23045729574785673</c:v>
                </c:pt>
                <c:pt idx="41">
                  <c:v>0.2302804261834401</c:v>
                </c:pt>
                <c:pt idx="42">
                  <c:v>0.23035455706246152</c:v>
                </c:pt>
                <c:pt idx="43">
                  <c:v>0.23038134442262465</c:v>
                </c:pt>
                <c:pt idx="44">
                  <c:v>0.23058011336703127</c:v>
                </c:pt>
                <c:pt idx="45">
                  <c:v>0.23068698076299152</c:v>
                </c:pt>
                <c:pt idx="46">
                  <c:v>0.23078732564371723</c:v>
                </c:pt>
                <c:pt idx="47">
                  <c:v>0.23083810057391557</c:v>
                </c:pt>
                <c:pt idx="48">
                  <c:v>0.23083446762641519</c:v>
                </c:pt>
                <c:pt idx="49">
                  <c:v>0.23079953910579795</c:v>
                </c:pt>
                <c:pt idx="50">
                  <c:v>0.23086557834770557</c:v>
                </c:pt>
                <c:pt idx="51">
                  <c:v>0.2309971430599688</c:v>
                </c:pt>
                <c:pt idx="52">
                  <c:v>0.23772259112852764</c:v>
                </c:pt>
                <c:pt idx="53">
                  <c:v>0.26531490764448873</c:v>
                </c:pt>
                <c:pt idx="54">
                  <c:v>0.231110867738506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909471919530594"/>
          <c:min val="0.141906064751482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4.7222</c:v>
                </c:pt>
                <c:pt idx="1">
                  <c:v>660.6535</c:v>
                </c:pt>
                <c:pt idx="2">
                  <c:v>657.3402</c:v>
                </c:pt>
                <c:pt idx="3">
                  <c:v>655.5978</c:v>
                </c:pt>
                <c:pt idx="4">
                  <c:v>658.4051</c:v>
                </c:pt>
                <c:pt idx="5">
                  <c:v>651.9487</c:v>
                </c:pt>
                <c:pt idx="6">
                  <c:v>625.3294</c:v>
                </c:pt>
                <c:pt idx="7">
                  <c:v>647.8491</c:v>
                </c:pt>
                <c:pt idx="8">
                  <c:v>654.8444</c:v>
                </c:pt>
                <c:pt idx="9">
                  <c:v>639.25</c:v>
                </c:pt>
                <c:pt idx="10">
                  <c:v>612.8219</c:v>
                </c:pt>
                <c:pt idx="11">
                  <c:v>641.36</c:v>
                </c:pt>
                <c:pt idx="12">
                  <c:v>656.0779</c:v>
                </c:pt>
                <c:pt idx="13">
                  <c:v>658.1034</c:v>
                </c:pt>
                <c:pt idx="14">
                  <c:v>665.5432</c:v>
                </c:pt>
                <c:pt idx="15">
                  <c:v>654.0</c:v>
                </c:pt>
                <c:pt idx="16">
                  <c:v>656.8254</c:v>
                </c:pt>
                <c:pt idx="17">
                  <c:v>659.8298</c:v>
                </c:pt>
                <c:pt idx="18">
                  <c:v>657.9808</c:v>
                </c:pt>
                <c:pt idx="19">
                  <c:v>653.913</c:v>
                </c:pt>
                <c:pt idx="20">
                  <c:v>640.18</c:v>
                </c:pt>
                <c:pt idx="21">
                  <c:v>623.5405</c:v>
                </c:pt>
                <c:pt idx="22">
                  <c:v>654.6744</c:v>
                </c:pt>
                <c:pt idx="23">
                  <c:v>622.5882</c:v>
                </c:pt>
                <c:pt idx="24">
                  <c:v>636.9429</c:v>
                </c:pt>
                <c:pt idx="25">
                  <c:v>617.6471</c:v>
                </c:pt>
                <c:pt idx="26">
                  <c:v>619.5</c:v>
                </c:pt>
                <c:pt idx="27">
                  <c:v>646.3158</c:v>
                </c:pt>
                <c:pt idx="28">
                  <c:v>645.8</c:v>
                </c:pt>
                <c:pt idx="29">
                  <c:v>613.8462</c:v>
                </c:pt>
                <c:pt idx="30">
                  <c:v>628.375</c:v>
                </c:pt>
                <c:pt idx="31">
                  <c:v>602.7742</c:v>
                </c:pt>
                <c:pt idx="32">
                  <c:v>608.0526</c:v>
                </c:pt>
                <c:pt idx="33">
                  <c:v>582.5769</c:v>
                </c:pt>
                <c:pt idx="34">
                  <c:v>626.6</c:v>
                </c:pt>
                <c:pt idx="35">
                  <c:v>629.6667</c:v>
                </c:pt>
                <c:pt idx="36">
                  <c:v>653.1667</c:v>
                </c:pt>
                <c:pt idx="37">
                  <c:v>612.0</c:v>
                </c:pt>
                <c:pt idx="38">
                  <c:v>613.9697</c:v>
                </c:pt>
                <c:pt idx="39">
                  <c:v>637.0625</c:v>
                </c:pt>
                <c:pt idx="40">
                  <c:v>651.9744</c:v>
                </c:pt>
                <c:pt idx="41">
                  <c:v>587.8</c:v>
                </c:pt>
                <c:pt idx="42">
                  <c:v>657.5217</c:v>
                </c:pt>
                <c:pt idx="43">
                  <c:v>651.6964</c:v>
                </c:pt>
                <c:pt idx="44">
                  <c:v>659.093</c:v>
                </c:pt>
                <c:pt idx="45">
                  <c:v>660.3208</c:v>
                </c:pt>
                <c:pt idx="46">
                  <c:v>648.4444</c:v>
                </c:pt>
                <c:pt idx="47">
                  <c:v>645.807</c:v>
                </c:pt>
                <c:pt idx="48">
                  <c:v>642.7391</c:v>
                </c:pt>
                <c:pt idx="49">
                  <c:v>643.825</c:v>
                </c:pt>
                <c:pt idx="50">
                  <c:v>643.2523</c:v>
                </c:pt>
                <c:pt idx="51">
                  <c:v>649.641</c:v>
                </c:pt>
                <c:pt idx="52">
                  <c:v>663.1023</c:v>
                </c:pt>
                <c:pt idx="53">
                  <c:v>657.1957</c:v>
                </c:pt>
                <c:pt idx="54">
                  <c:v>658.4483</c:v>
                </c:pt>
                <c:pt idx="55">
                  <c:v>648.55</c:v>
                </c:pt>
                <c:pt idx="56">
                  <c:v>648.3788</c:v>
                </c:pt>
                <c:pt idx="57">
                  <c:v>641.7361</c:v>
                </c:pt>
                <c:pt idx="58">
                  <c:v>630.4881</c:v>
                </c:pt>
                <c:pt idx="59">
                  <c:v>635.9569</c:v>
                </c:pt>
                <c:pt idx="60">
                  <c:v>641.7025</c:v>
                </c:pt>
                <c:pt idx="61">
                  <c:v>648.6765</c:v>
                </c:pt>
                <c:pt idx="62">
                  <c:v>620.4792</c:v>
                </c:pt>
                <c:pt idx="63">
                  <c:v>643.1758</c:v>
                </c:pt>
                <c:pt idx="64">
                  <c:v>642.6667</c:v>
                </c:pt>
                <c:pt idx="65">
                  <c:v>623.2603</c:v>
                </c:pt>
                <c:pt idx="66">
                  <c:v>632.7681</c:v>
                </c:pt>
                <c:pt idx="67">
                  <c:v>620.5217</c:v>
                </c:pt>
                <c:pt idx="68">
                  <c:v>555.0678</c:v>
                </c:pt>
                <c:pt idx="69">
                  <c:v>493.2558</c:v>
                </c:pt>
                <c:pt idx="70">
                  <c:v>497.1842</c:v>
                </c:pt>
                <c:pt idx="71">
                  <c:v>631.6176</c:v>
                </c:pt>
                <c:pt idx="72">
                  <c:v>695.125</c:v>
                </c:pt>
                <c:pt idx="73">
                  <c:v>711.1724</c:v>
                </c:pt>
                <c:pt idx="74">
                  <c:v>655.6944</c:v>
                </c:pt>
                <c:pt idx="75">
                  <c:v>662.4194</c:v>
                </c:pt>
                <c:pt idx="76">
                  <c:v>648.7879</c:v>
                </c:pt>
                <c:pt idx="77">
                  <c:v>657.6522</c:v>
                </c:pt>
                <c:pt idx="78">
                  <c:v>654.8571</c:v>
                </c:pt>
                <c:pt idx="79">
                  <c:v>711.25</c:v>
                </c:pt>
                <c:pt idx="80">
                  <c:v>712.2051</c:v>
                </c:pt>
                <c:pt idx="81">
                  <c:v>709.1818</c:v>
                </c:pt>
                <c:pt idx="82">
                  <c:v>725.8667</c:v>
                </c:pt>
                <c:pt idx="83">
                  <c:v>705.3</c:v>
                </c:pt>
                <c:pt idx="84">
                  <c:v>735.8889</c:v>
                </c:pt>
                <c:pt idx="85">
                  <c:v>711.087</c:v>
                </c:pt>
                <c:pt idx="86">
                  <c:v>688.1667</c:v>
                </c:pt>
                <c:pt idx="87">
                  <c:v>681.6061</c:v>
                </c:pt>
                <c:pt idx="88">
                  <c:v>736.2381</c:v>
                </c:pt>
                <c:pt idx="89">
                  <c:v>701.8182</c:v>
                </c:pt>
                <c:pt idx="90">
                  <c:v>700.4211</c:v>
                </c:pt>
                <c:pt idx="91">
                  <c:v>576.3913</c:v>
                </c:pt>
                <c:pt idx="92">
                  <c:v>682.5909</c:v>
                </c:pt>
                <c:pt idx="93">
                  <c:v>706.2903</c:v>
                </c:pt>
                <c:pt idx="94">
                  <c:v>721.2308</c:v>
                </c:pt>
                <c:pt idx="95">
                  <c:v>687.7027</c:v>
                </c:pt>
                <c:pt idx="96">
                  <c:v>722.1111</c:v>
                </c:pt>
                <c:pt idx="97">
                  <c:v>725.6818</c:v>
                </c:pt>
                <c:pt idx="98">
                  <c:v>703.3247</c:v>
                </c:pt>
                <c:pt idx="99">
                  <c:v>682.7984</c:v>
                </c:pt>
                <c:pt idx="100">
                  <c:v>699.2016</c:v>
                </c:pt>
                <c:pt idx="101">
                  <c:v>690.8652</c:v>
                </c:pt>
                <c:pt idx="102">
                  <c:v>714.8</c:v>
                </c:pt>
                <c:pt idx="103">
                  <c:v>714.7302</c:v>
                </c:pt>
                <c:pt idx="104">
                  <c:v>726.1154</c:v>
                </c:pt>
              </c:numCache>
            </c:numRef>
          </c:xVal>
          <c:yVal>
            <c:numRef>
              <c:f>Sheet1!$B$2:$B$106</c:f>
              <c:numCache>
                <c:formatCode>General</c:formatCode>
                <c:ptCount val="105"/>
                <c:pt idx="0">
                  <c:v>0.13211009174311927</c:v>
                </c:pt>
                <c:pt idx="1">
                  <c:v>0.23933649289099526</c:v>
                </c:pt>
                <c:pt idx="2">
                  <c:v>0.19635627530364372</c:v>
                </c:pt>
                <c:pt idx="3">
                  <c:v>0.16140350877192983</c:v>
                </c:pt>
                <c:pt idx="4">
                  <c:v>0.17136659436008678</c:v>
                </c:pt>
                <c:pt idx="5">
                  <c:v>0.19451371571072318</c:v>
                </c:pt>
                <c:pt idx="6">
                  <c:v>0.24147727272727273</c:v>
                </c:pt>
                <c:pt idx="7">
                  <c:v>0.1620795107033639</c:v>
                </c:pt>
                <c:pt idx="8">
                  <c:v>0.15463917525773196</c:v>
                </c:pt>
                <c:pt idx="9">
                  <c:v>0.14096916299559473</c:v>
                </c:pt>
                <c:pt idx="10">
                  <c:v>0.17339667458432304</c:v>
                </c:pt>
                <c:pt idx="11">
                  <c:v>0.1893939393939394</c:v>
                </c:pt>
                <c:pt idx="12">
                  <c:v>0.19395465994962216</c:v>
                </c:pt>
                <c:pt idx="13">
                  <c:v>0.21804511278195488</c:v>
                </c:pt>
                <c:pt idx="14">
                  <c:v>0.19331742243436753</c:v>
                </c:pt>
                <c:pt idx="15">
                  <c:v>0.15560640732265446</c:v>
                </c:pt>
                <c:pt idx="16">
                  <c:v>0.16363636363636364</c:v>
                </c:pt>
                <c:pt idx="17">
                  <c:v>0.12771739130434784</c:v>
                </c:pt>
                <c:pt idx="18">
                  <c:v>0.1368421052631579</c:v>
                </c:pt>
                <c:pt idx="19">
                  <c:v>0.13569321533923304</c:v>
                </c:pt>
                <c:pt idx="20">
                  <c:v>0.1362397820163488</c:v>
                </c:pt>
                <c:pt idx="21">
                  <c:v>0.16444444444444445</c:v>
                </c:pt>
                <c:pt idx="22">
                  <c:v>0.1762295081967213</c:v>
                </c:pt>
                <c:pt idx="23">
                  <c:v>0.15813953488372093</c:v>
                </c:pt>
                <c:pt idx="24">
                  <c:v>0.14112903225806453</c:v>
                </c:pt>
                <c:pt idx="25">
                  <c:v>0.1471861471861472</c:v>
                </c:pt>
                <c:pt idx="26">
                  <c:v>0.16279069767441862</c:v>
                </c:pt>
                <c:pt idx="27">
                  <c:v>0.12709030100334448</c:v>
                </c:pt>
                <c:pt idx="28">
                  <c:v>0.13559322033898305</c:v>
                </c:pt>
                <c:pt idx="29">
                  <c:v>0.1489971346704871</c:v>
                </c:pt>
                <c:pt idx="30">
                  <c:v>0.1322314049586777</c:v>
                </c:pt>
                <c:pt idx="31">
                  <c:v>0.12550607287449392</c:v>
                </c:pt>
                <c:pt idx="32">
                  <c:v>0.13523131672597866</c:v>
                </c:pt>
                <c:pt idx="33">
                  <c:v>0.13941018766756033</c:v>
                </c:pt>
                <c:pt idx="34">
                  <c:v>0.12254901960784313</c:v>
                </c:pt>
                <c:pt idx="35">
                  <c:v>0.13872832369942195</c:v>
                </c:pt>
                <c:pt idx="36">
                  <c:v>0.10526315789473684</c:v>
                </c:pt>
                <c:pt idx="37">
                  <c:v>0.12012987012987013</c:v>
                </c:pt>
                <c:pt idx="38">
                  <c:v>0.10679611650485436</c:v>
                </c:pt>
                <c:pt idx="39">
                  <c:v>0.09937888198757763</c:v>
                </c:pt>
                <c:pt idx="40">
                  <c:v>0.09774436090225563</c:v>
                </c:pt>
                <c:pt idx="41">
                  <c:v>0.12931034482758622</c:v>
                </c:pt>
                <c:pt idx="42">
                  <c:v>0.107981220657277</c:v>
                </c:pt>
                <c:pt idx="43">
                  <c:v>0.11594202898550725</c:v>
                </c:pt>
                <c:pt idx="44">
                  <c:v>0.08634538152610442</c:v>
                </c:pt>
                <c:pt idx="45">
                  <c:v>0.0957542908762421</c:v>
                </c:pt>
                <c:pt idx="46">
                  <c:v>0.12013348164627363</c:v>
                </c:pt>
                <c:pt idx="47">
                  <c:v>0.13768115942028986</c:v>
                </c:pt>
                <c:pt idx="48">
                  <c:v>0.16531895777178796</c:v>
                </c:pt>
                <c:pt idx="49">
                  <c:v>0.1744186046511628</c:v>
                </c:pt>
                <c:pt idx="50">
                  <c:v>0.1494413407821229</c:v>
                </c:pt>
                <c:pt idx="51">
                  <c:v>0.14311926605504588</c:v>
                </c:pt>
                <c:pt idx="52">
                  <c:v>0.12790697674418605</c:v>
                </c:pt>
                <c:pt idx="53">
                  <c:v>0.15889464594127806</c:v>
                </c:pt>
                <c:pt idx="54">
                  <c:v>0.1324200913242009</c:v>
                </c:pt>
                <c:pt idx="55">
                  <c:v>0.13157894736842105</c:v>
                </c:pt>
                <c:pt idx="56">
                  <c:v>0.15827338129496402</c:v>
                </c:pt>
                <c:pt idx="57">
                  <c:v>0.13457943925233645</c:v>
                </c:pt>
                <c:pt idx="58">
                  <c:v>0.13884297520661157</c:v>
                </c:pt>
                <c:pt idx="59">
                  <c:v>0.1345707656612529</c:v>
                </c:pt>
                <c:pt idx="60">
                  <c:v>0.13844393592677345</c:v>
                </c:pt>
                <c:pt idx="61">
                  <c:v>0.13793103448275862</c:v>
                </c:pt>
                <c:pt idx="62">
                  <c:v>0.1426448736998514</c:v>
                </c:pt>
                <c:pt idx="63">
                  <c:v>0.152428810720268</c:v>
                </c:pt>
                <c:pt idx="64">
                  <c:v>0.1070063694267516</c:v>
                </c:pt>
                <c:pt idx="65">
                  <c:v>0.10518731988472622</c:v>
                </c:pt>
                <c:pt idx="66">
                  <c:v>0.11219512195121951</c:v>
                </c:pt>
                <c:pt idx="67">
                  <c:v>0.10815047021943573</c:v>
                </c:pt>
                <c:pt idx="68">
                  <c:v>0.11324376199616124</c:v>
                </c:pt>
                <c:pt idx="69">
                  <c:v>0.10831234256926953</c:v>
                </c:pt>
                <c:pt idx="70">
                  <c:v>0.08775981524249422</c:v>
                </c:pt>
                <c:pt idx="71">
                  <c:v>0.09497206703910614</c:v>
                </c:pt>
                <c:pt idx="72">
                  <c:v>0.0862533692722372</c:v>
                </c:pt>
                <c:pt idx="73">
                  <c:v>0.0777479892761394</c:v>
                </c:pt>
                <c:pt idx="74">
                  <c:v>0.08977556109725686</c:v>
                </c:pt>
                <c:pt idx="75">
                  <c:v>0.08908045977011494</c:v>
                </c:pt>
                <c:pt idx="76">
                  <c:v>0.10377358490566038</c:v>
                </c:pt>
                <c:pt idx="77">
                  <c:v>0.076158940397351</c:v>
                </c:pt>
                <c:pt idx="78">
                  <c:v>0.1044776119402985</c:v>
                </c:pt>
                <c:pt idx="79">
                  <c:v>0.07868852459016394</c:v>
                </c:pt>
                <c:pt idx="80">
                  <c:v>0.1</c:v>
                </c:pt>
                <c:pt idx="81">
                  <c:v>0.05527638190954774</c:v>
                </c:pt>
                <c:pt idx="82">
                  <c:v>0.047619047619047616</c:v>
                </c:pt>
                <c:pt idx="83">
                  <c:v>0.07462686567164178</c:v>
                </c:pt>
                <c:pt idx="84">
                  <c:v>0.06870229007633588</c:v>
                </c:pt>
                <c:pt idx="85">
                  <c:v>0.0696969696969697</c:v>
                </c:pt>
                <c:pt idx="86">
                  <c:v>0.0702576112412178</c:v>
                </c:pt>
                <c:pt idx="87">
                  <c:v>0.08549222797927461</c:v>
                </c:pt>
                <c:pt idx="88">
                  <c:v>0.07394366197183098</c:v>
                </c:pt>
                <c:pt idx="89">
                  <c:v>0.08148148148148149</c:v>
                </c:pt>
                <c:pt idx="90">
                  <c:v>0.06761565836298933</c:v>
                </c:pt>
                <c:pt idx="91">
                  <c:v>0.08041958041958042</c:v>
                </c:pt>
                <c:pt idx="92">
                  <c:v>0.060941828254847646</c:v>
                </c:pt>
                <c:pt idx="93">
                  <c:v>0.07259953161592506</c:v>
                </c:pt>
                <c:pt idx="94">
                  <c:v>0.07162534435261708</c:v>
                </c:pt>
                <c:pt idx="95">
                  <c:v>0.07535641547861507</c:v>
                </c:pt>
                <c:pt idx="96">
                  <c:v>0.05798969072164949</c:v>
                </c:pt>
                <c:pt idx="97">
                  <c:v>0.06261859582542695</c:v>
                </c:pt>
                <c:pt idx="98">
                  <c:v>0.06936936936936937</c:v>
                </c:pt>
                <c:pt idx="99">
                  <c:v>0.10122448979591837</c:v>
                </c:pt>
                <c:pt idx="100">
                  <c:v>0.0981012658227848</c:v>
                </c:pt>
                <c:pt idx="101">
                  <c:v>0.12378303198887343</c:v>
                </c:pt>
                <c:pt idx="102">
                  <c:v>0.08064516129032258</c:v>
                </c:pt>
                <c:pt idx="103">
                  <c:v>0.1024390243902439</c:v>
                </c:pt>
                <c:pt idx="104">
                  <c:v>0.1158129175946547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numCache>
            </c:numRef>
          </c:xVal>
          <c:yVal>
            <c:numRef>
              <c:f>Sheet1!$B$109:$B$160</c:f>
              <c:numCache>
                <c:formatCode>General</c:formatCode>
                <c:ptCount val="52"/>
                <c:pt idx="0">
                  <c:v>0.10476190476190476</c:v>
                </c:pt>
                <c:pt idx="1">
                  <c:v>0.11585365853658537</c:v>
                </c:pt>
                <c:pt idx="2">
                  <c:v>0.14157706093189965</c:v>
                </c:pt>
                <c:pt idx="3">
                  <c:v>0.13271028037383178</c:v>
                </c:pt>
                <c:pt idx="4">
                  <c:v>0.11538461538461539</c:v>
                </c:pt>
                <c:pt idx="5">
                  <c:v>0.10877192982456141</c:v>
                </c:pt>
                <c:pt idx="6">
                  <c:v>0.11440107671601615</c:v>
                </c:pt>
                <c:pt idx="7">
                  <c:v>0.08450704225352113</c:v>
                </c:pt>
                <c:pt idx="8">
                  <c:v>0.09511568123393316</c:v>
                </c:pt>
                <c:pt idx="9">
                  <c:v>0.1066350710900474</c:v>
                </c:pt>
                <c:pt idx="10">
                  <c:v>0.10884353741496598</c:v>
                </c:pt>
                <c:pt idx="11">
                  <c:v>0.12244897959183673</c:v>
                </c:pt>
                <c:pt idx="12">
                  <c:v>0.15538847117794485</c:v>
                </c:pt>
                <c:pt idx="13">
                  <c:v>0.16169154228855723</c:v>
                </c:pt>
                <c:pt idx="14">
                  <c:v>0.1642651296829971</c:v>
                </c:pt>
                <c:pt idx="15">
                  <c:v>0.15654952076677317</c:v>
                </c:pt>
                <c:pt idx="16">
                  <c:v>0.13602941176470587</c:v>
                </c:pt>
                <c:pt idx="17">
                  <c:v>0.138996138996139</c:v>
                </c:pt>
                <c:pt idx="18">
                  <c:v>0.1678832116788321</c:v>
                </c:pt>
                <c:pt idx="19">
                  <c:v>0.16810344827586207</c:v>
                </c:pt>
                <c:pt idx="20">
                  <c:v>0.12916666666666668</c:v>
                </c:pt>
                <c:pt idx="21">
                  <c:v>0.13793103448275862</c:v>
                </c:pt>
                <c:pt idx="22">
                  <c:v>0.12941176470588237</c:v>
                </c:pt>
                <c:pt idx="23">
                  <c:v>0.13690476190476192</c:v>
                </c:pt>
                <c:pt idx="24">
                  <c:v>0.12562814070351758</c:v>
                </c:pt>
                <c:pt idx="25">
                  <c:v>0.09174311926605505</c:v>
                </c:pt>
                <c:pt idx="26">
                  <c:v>0.09844559585492228</c:v>
                </c:pt>
                <c:pt idx="27">
                  <c:v>0.1413427561837456</c:v>
                </c:pt>
                <c:pt idx="28">
                  <c:v>0.09747292418772563</c:v>
                </c:pt>
                <c:pt idx="29">
                  <c:v>0.10822510822510822</c:v>
                </c:pt>
                <c:pt idx="30">
                  <c:v>0.12017167381974249</c:v>
                </c:pt>
                <c:pt idx="31">
                  <c:v>0.08438818565400844</c:v>
                </c:pt>
                <c:pt idx="32">
                  <c:v>0.08895705521472393</c:v>
                </c:pt>
                <c:pt idx="33">
                  <c:v>0.12105263157894737</c:v>
                </c:pt>
                <c:pt idx="34">
                  <c:v>0.1116751269035533</c:v>
                </c:pt>
                <c:pt idx="35">
                  <c:v>0.10431654676258993</c:v>
                </c:pt>
                <c:pt idx="36">
                  <c:v>0.1044776119402985</c:v>
                </c:pt>
                <c:pt idx="37">
                  <c:v>0.0970873786407767</c:v>
                </c:pt>
                <c:pt idx="38">
                  <c:v>0.12037037037037036</c:v>
                </c:pt>
                <c:pt idx="39">
                  <c:v>0.10112359550561797</c:v>
                </c:pt>
                <c:pt idx="40">
                  <c:v>0.1213235294117647</c:v>
                </c:pt>
                <c:pt idx="41">
                  <c:v>0.0931899641577061</c:v>
                </c:pt>
                <c:pt idx="42">
                  <c:v>0.09266409266409266</c:v>
                </c:pt>
                <c:pt idx="43">
                  <c:v>0.08333333333333333</c:v>
                </c:pt>
                <c:pt idx="44">
                  <c:v>0.08520179372197309</c:v>
                </c:pt>
                <c:pt idx="45">
                  <c:v>0.09271523178807947</c:v>
                </c:pt>
                <c:pt idx="46">
                  <c:v>0.1010498687664042</c:v>
                </c:pt>
                <c:pt idx="47">
                  <c:v>0.0872093023255814</c:v>
                </c:pt>
                <c:pt idx="48">
                  <c:v>0.07876370887337986</c:v>
                </c:pt>
                <c:pt idx="49">
                  <c:v>0.09749552772808587</c:v>
                </c:pt>
                <c:pt idx="50">
                  <c:v>0.09560067681895093</c:v>
                </c:pt>
                <c:pt idx="51">
                  <c:v>0.108983799705449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2.2204615194932</c:v>
                </c:pt>
              </c:numCache>
            </c:numRef>
          </c:xVal>
          <c:yVal>
            <c:numRef>
              <c:f>Sheet1!$B$163:$B$164</c:f>
              <c:numCache>
                <c:formatCode>General</c:formatCode>
                <c:ptCount val="2"/>
                <c:pt idx="0">
                  <c:v>0.18369807082987408</c:v>
                </c:pt>
                <c:pt idx="1">
                  <c:v>0.183698070829874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2.2204615194932</c:v>
                </c:pt>
                <c:pt idx="1">
                  <c:v>492.2204615194932</c:v>
                </c:pt>
              </c:numCache>
            </c:numRef>
          </c:xVal>
          <c:yVal>
            <c:numRef>
              <c:f>Sheet1!$B$167:$B$168</c:f>
              <c:numCache>
                <c:formatCode>General</c:formatCode>
                <c:ptCount val="2"/>
                <c:pt idx="0">
                  <c:v>0.183698070829874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24.9846303399306</c:v>
                </c:pt>
              </c:numCache>
            </c:numRef>
          </c:xVal>
          <c:yVal>
            <c:numRef>
              <c:f>Sheet1!$B$171:$B$172</c:f>
              <c:numCache>
                <c:formatCode>General</c:formatCode>
                <c:ptCount val="2"/>
                <c:pt idx="0">
                  <c:v>0.14261016645216051</c:v>
                </c:pt>
                <c:pt idx="1">
                  <c:v>0.1426101664521605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24.9846303399306</c:v>
                </c:pt>
                <c:pt idx="1">
                  <c:v>624.9846303399306</c:v>
                </c:pt>
              </c:numCache>
            </c:numRef>
          </c:xVal>
          <c:yVal>
            <c:numRef>
              <c:f>Sheet1!$B$175:$B$176</c:f>
              <c:numCache>
                <c:formatCode>General</c:formatCode>
                <c:ptCount val="2"/>
                <c:pt idx="0">
                  <c:v>0.1426101664521605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77.9153526338698</c:v>
                </c:pt>
              </c:numCache>
            </c:numRef>
          </c:xVal>
          <c:yVal>
            <c:numRef>
              <c:f>Sheet1!$B$179:$B$180</c:f>
              <c:numCache>
                <c:formatCode>General</c:formatCode>
                <c:ptCount val="2"/>
                <c:pt idx="0">
                  <c:v>0.09528110960003221</c:v>
                </c:pt>
                <c:pt idx="1">
                  <c:v>0.0952811096000322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77.9153526338698</c:v>
                </c:pt>
                <c:pt idx="1">
                  <c:v>777.9153526338698</c:v>
                </c:pt>
              </c:numCache>
            </c:numRef>
          </c:xVal>
          <c:yVal>
            <c:numRef>
              <c:f>Sheet1!$B$183:$B$184</c:f>
              <c:numCache>
                <c:formatCode>General</c:formatCode>
                <c:ptCount val="2"/>
                <c:pt idx="0">
                  <c:v>0.095281109600032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8.3818</c:v>
                </c:pt>
                <c:pt idx="1">
                  <c:v>708.5263</c:v>
                </c:pt>
                <c:pt idx="2">
                  <c:v>671.3165</c:v>
                </c:pt>
                <c:pt idx="3">
                  <c:v>728.3521</c:v>
                </c:pt>
                <c:pt idx="4">
                  <c:v>721.0152</c:v>
                </c:pt>
                <c:pt idx="5">
                  <c:v>728.1935</c:v>
                </c:pt>
                <c:pt idx="6">
                  <c:v>690.5882</c:v>
                </c:pt>
                <c:pt idx="7">
                  <c:v>694.0208</c:v>
                </c:pt>
                <c:pt idx="8">
                  <c:v>719.0</c:v>
                </c:pt>
                <c:pt idx="9">
                  <c:v>694.1111</c:v>
                </c:pt>
                <c:pt idx="10">
                  <c:v>687.6458</c:v>
                </c:pt>
                <c:pt idx="11">
                  <c:v>660.9848</c:v>
                </c:pt>
                <c:pt idx="12">
                  <c:v>672.5484</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15.9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pt idx="52">
                  <c:v>624.9846303399306</c:v>
                </c:pt>
                <c:pt idx="53">
                  <c:v>492.2204615194932</c:v>
                </c:pt>
                <c:pt idx="54">
                  <c:v>777.9153526338698</c:v>
                </c:pt>
              </c:numCache>
            </c:numRef>
          </c:xVal>
          <c:yVal>
            <c:numRef>
              <c:f>Sheet1!$B$187:$B$241</c:f>
              <c:numCache>
                <c:formatCode>General</c:formatCode>
                <c:ptCount val="55"/>
                <c:pt idx="0">
                  <c:v>0.12298998679108294</c:v>
                </c:pt>
                <c:pt idx="1">
                  <c:v>0.11675565943385524</c:v>
                </c:pt>
                <c:pt idx="2">
                  <c:v>0.1282713621863173</c:v>
                </c:pt>
                <c:pt idx="3">
                  <c:v>0.11061996347123892</c:v>
                </c:pt>
                <c:pt idx="4">
                  <c:v>0.11289059001383087</c:v>
                </c:pt>
                <c:pt idx="5">
                  <c:v>0.11066904705826547</c:v>
                </c:pt>
                <c:pt idx="6">
                  <c:v>0.12230714929792169</c:v>
                </c:pt>
                <c:pt idx="7">
                  <c:v>0.12124482697240258</c:v>
                </c:pt>
                <c:pt idx="8">
                  <c:v>0.11351425485983277</c:v>
                </c:pt>
                <c:pt idx="9">
                  <c:v>0.1212168808947954</c:v>
                </c:pt>
                <c:pt idx="10">
                  <c:v>0.12321776434500187</c:v>
                </c:pt>
                <c:pt idx="11">
                  <c:v>0.1314688205474913</c:v>
                </c:pt>
                <c:pt idx="12">
                  <c:v>0.12789011331583805</c:v>
                </c:pt>
                <c:pt idx="13">
                  <c:v>0.1225225166889165</c:v>
                </c:pt>
                <c:pt idx="14">
                  <c:v>0.13590543831884372</c:v>
                </c:pt>
                <c:pt idx="15">
                  <c:v>0.13929585769206723</c:v>
                </c:pt>
                <c:pt idx="16">
                  <c:v>0.1173200278405489</c:v>
                </c:pt>
                <c:pt idx="17">
                  <c:v>0.12234304902109366</c:v>
                </c:pt>
                <c:pt idx="18">
                  <c:v>0.1756794534259618</c:v>
                </c:pt>
                <c:pt idx="19">
                  <c:v>0.15746046770831917</c:v>
                </c:pt>
                <c:pt idx="20">
                  <c:v>0.10715492838028462</c:v>
                </c:pt>
                <c:pt idx="21">
                  <c:v>0.12239891022827082</c:v>
                </c:pt>
                <c:pt idx="22">
                  <c:v>0.10558029224667126</c:v>
                </c:pt>
                <c:pt idx="23">
                  <c:v>0.10534666551371827</c:v>
                </c:pt>
                <c:pt idx="24">
                  <c:v>0.11446745440612391</c:v>
                </c:pt>
                <c:pt idx="25">
                  <c:v>0.1359980038981605</c:v>
                </c:pt>
                <c:pt idx="26">
                  <c:v>0.10592384640781988</c:v>
                </c:pt>
                <c:pt idx="27">
                  <c:v>0.14267504292778088</c:v>
                </c:pt>
                <c:pt idx="28">
                  <c:v>0.11094671284817856</c:v>
                </c:pt>
                <c:pt idx="29">
                  <c:v>0.11227633337114301</c:v>
                </c:pt>
                <c:pt idx="30">
                  <c:v>0.11141421389838224</c:v>
                </c:pt>
                <c:pt idx="31">
                  <c:v>0.094512160008445</c:v>
                </c:pt>
                <c:pt idx="32">
                  <c:v>0.10581992289884434</c:v>
                </c:pt>
                <c:pt idx="33">
                  <c:v>0.10126960203875576</c:v>
                </c:pt>
                <c:pt idx="34">
                  <c:v>0.1043775586762975</c:v>
                </c:pt>
                <c:pt idx="35">
                  <c:v>0.09796552768936836</c:v>
                </c:pt>
                <c:pt idx="36">
                  <c:v>0.11239424539294071</c:v>
                </c:pt>
                <c:pt idx="37">
                  <c:v>0.09799381419538494</c:v>
                </c:pt>
                <c:pt idx="38">
                  <c:v>0.1087292240854886</c:v>
                </c:pt>
                <c:pt idx="39">
                  <c:v>0.10779459336152783</c:v>
                </c:pt>
                <c:pt idx="40">
                  <c:v>0.09337927615807054</c:v>
                </c:pt>
                <c:pt idx="41">
                  <c:v>0.10417033061909081</c:v>
                </c:pt>
                <c:pt idx="42">
                  <c:v>0.09553861355882931</c:v>
                </c:pt>
                <c:pt idx="43">
                  <c:v>0.10398024777450252</c:v>
                </c:pt>
                <c:pt idx="44">
                  <c:v>0.10848111367111796</c:v>
                </c:pt>
                <c:pt idx="45">
                  <c:v>0.10971575466786268</c:v>
                </c:pt>
                <c:pt idx="46">
                  <c:v>0.10433435521634224</c:v>
                </c:pt>
                <c:pt idx="47">
                  <c:v>0.11016669851815517</c:v>
                </c:pt>
                <c:pt idx="48">
                  <c:v>0.11065843188149993</c:v>
                </c:pt>
                <c:pt idx="49">
                  <c:v>0.10325881807893134</c:v>
                </c:pt>
                <c:pt idx="50">
                  <c:v>0.1004284343871911</c:v>
                </c:pt>
                <c:pt idx="51">
                  <c:v>0.1046062337232957</c:v>
                </c:pt>
                <c:pt idx="52">
                  <c:v>0.14261016645216051</c:v>
                </c:pt>
                <c:pt idx="53">
                  <c:v>0.18369807082987408</c:v>
                </c:pt>
                <c:pt idx="54">
                  <c:v>0.09528110960003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9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7727272727273"/>
          <c:min val="0.038095238095238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521146318732525</c:v>
                </c:pt>
                <c:pt idx="1">
                  <c:v>0.1498968069661248</c:v>
                </c:pt>
                <c:pt idx="2">
                  <c:v>0.15726619388802032</c:v>
                </c:pt>
                <c:pt idx="3">
                  <c:v>0.162854099286411</c:v>
                </c:pt>
                <c:pt idx="4">
                  <c:v>0.16475568134507698</c:v>
                </c:pt>
                <c:pt idx="5">
                  <c:v>0.155598818601793</c:v>
                </c:pt>
                <c:pt idx="6">
                  <c:v>0.15728280548059348</c:v>
                </c:pt>
                <c:pt idx="7">
                  <c:v>0.1645442480023815</c:v>
                </c:pt>
                <c:pt idx="8">
                  <c:v>0.152026312875228</c:v>
                </c:pt>
                <c:pt idx="9">
                  <c:v>0.15471122294479958</c:v>
                </c:pt>
                <c:pt idx="10">
                  <c:v>0.14948082092996492</c:v>
                </c:pt>
                <c:pt idx="11">
                  <c:v>0.14862411036964807</c:v>
                </c:pt>
                <c:pt idx="12">
                  <c:v>0.1524494171368202</c:v>
                </c:pt>
                <c:pt idx="13">
                  <c:v>0.1548837681235587</c:v>
                </c:pt>
                <c:pt idx="14">
                  <c:v>0.15926482110082982</c:v>
                </c:pt>
                <c:pt idx="15">
                  <c:v>0.15705191476915517</c:v>
                </c:pt>
                <c:pt idx="16">
                  <c:v>0.15573968763075546</c:v>
                </c:pt>
                <c:pt idx="17">
                  <c:v>0.1573767982999629</c:v>
                </c:pt>
                <c:pt idx="18">
                  <c:v>0.16360362007722007</c:v>
                </c:pt>
                <c:pt idx="19">
                  <c:v>0.18159262272850557</c:v>
                </c:pt>
                <c:pt idx="20">
                  <c:v>0.1827348141679856</c:v>
                </c:pt>
                <c:pt idx="21">
                  <c:v>0.15444814781586771</c:v>
                </c:pt>
                <c:pt idx="22">
                  <c:v>0.16929186693739348</c:v>
                </c:pt>
                <c:pt idx="23">
                  <c:v>0.16826647935345998</c:v>
                </c:pt>
                <c:pt idx="24">
                  <c:v>0.16900835227859423</c:v>
                </c:pt>
                <c:pt idx="25">
                  <c:v>0.17337545158794548</c:v>
                </c:pt>
                <c:pt idx="26">
                  <c:v>0.1619653565593291</c:v>
                </c:pt>
                <c:pt idx="27">
                  <c:v>0.16643247843588269</c:v>
                </c:pt>
                <c:pt idx="28">
                  <c:v>0.16909900302872272</c:v>
                </c:pt>
                <c:pt idx="29">
                  <c:v>0.17910731335206087</c:v>
                </c:pt>
                <c:pt idx="30">
                  <c:v>0.17301560216827716</c:v>
                </c:pt>
                <c:pt idx="31">
                  <c:v>0.18250316516401308</c:v>
                </c:pt>
                <c:pt idx="32">
                  <c:v>0.18766434661708253</c:v>
                </c:pt>
                <c:pt idx="33">
                  <c:v>0.17865711554464417</c:v>
                </c:pt>
                <c:pt idx="34">
                  <c:v>0.18894064452039838</c:v>
                </c:pt>
                <c:pt idx="35">
                  <c:v>0.18990302541933646</c:v>
                </c:pt>
                <c:pt idx="36">
                  <c:v>0.19423948260085208</c:v>
                </c:pt>
                <c:pt idx="37">
                  <c:v>0.18544371133839163</c:v>
                </c:pt>
                <c:pt idx="38">
                  <c:v>0.189678001347935</c:v>
                </c:pt>
                <c:pt idx="39">
                  <c:v>0.1909849477682811</c:v>
                </c:pt>
                <c:pt idx="40">
                  <c:v>0.2047222</c:v>
                </c:pt>
                <c:pt idx="41">
                  <c:v>0.19160683276098756</c:v>
                </c:pt>
                <c:pt idx="42">
                  <c:v>0.19962099272768122</c:v>
                </c:pt>
                <c:pt idx="43">
                  <c:v>0.1956382039374309</c:v>
                </c:pt>
                <c:pt idx="44">
                  <c:v>0.18132600373549593</c:v>
                </c:pt>
                <c:pt idx="45">
                  <c:v>0.17834089082417132</c:v>
                </c:pt>
                <c:pt idx="46">
                  <c:v>0.18448194711946087</c:v>
                </c:pt>
                <c:pt idx="47">
                  <c:v>0.1886932935547974</c:v>
                </c:pt>
                <c:pt idx="48">
                  <c:v>0.1847529141359377</c:v>
                </c:pt>
                <c:pt idx="49">
                  <c:v>0.19111282819494188</c:v>
                </c:pt>
                <c:pt idx="50">
                  <c:v>0.19760313121591275</c:v>
                </c:pt>
                <c:pt idx="51">
                  <c:v>0.1892315848402117</c:v>
                </c:pt>
                <c:pt idx="52">
                  <c:v>0.19268723498743456</c:v>
                </c:pt>
                <c:pt idx="53">
                  <c:v>0.19510363795288016</c:v>
                </c:pt>
                <c:pt idx="54">
                  <c:v>0.1914578425150602</c:v>
                </c:pt>
                <c:pt idx="55">
                  <c:v>0.19524558759177324</c:v>
                </c:pt>
                <c:pt idx="56">
                  <c:v>0.19570963909541841</c:v>
                </c:pt>
                <c:pt idx="57">
                  <c:v>0.18957697437914542</c:v>
                </c:pt>
                <c:pt idx="58">
                  <c:v>0.15701925855462864</c:v>
                </c:pt>
                <c:pt idx="59">
                  <c:v>0.17747721965082264</c:v>
                </c:pt>
                <c:pt idx="60">
                  <c:v>0.16632667843374535</c:v>
                </c:pt>
                <c:pt idx="61">
                  <c:v>0.1729888628242233</c:v>
                </c:pt>
                <c:pt idx="62">
                  <c:v>0.19547618812952786</c:v>
                </c:pt>
                <c:pt idx="63">
                  <c:v>0.20379587811252928</c:v>
                </c:pt>
                <c:pt idx="64">
                  <c:v>0.18953425586107614</c:v>
                </c:pt>
                <c:pt idx="65">
                  <c:v>0.17882185020327568</c:v>
                </c:pt>
                <c:pt idx="66">
                  <c:v>0.17220569548073122</c:v>
                </c:pt>
                <c:pt idx="67">
                  <c:v>0.16548657254233148</c:v>
                </c:pt>
                <c:pt idx="68">
                  <c:v>0.1854891084687099</c:v>
                </c:pt>
                <c:pt idx="69">
                  <c:v>0.16707852689814626</c:v>
                </c:pt>
                <c:pt idx="70">
                  <c:v>0.17195905172461898</c:v>
                </c:pt>
                <c:pt idx="71">
                  <c:v>0.1860726160403142</c:v>
                </c:pt>
                <c:pt idx="72">
                  <c:v>0.1909919404360793</c:v>
                </c:pt>
                <c:pt idx="73">
                  <c:v>0.1798249731931522</c:v>
                </c:pt>
                <c:pt idx="74">
                  <c:v>0.18354350257703694</c:v>
                </c:pt>
                <c:pt idx="75">
                  <c:v>0.17527476258099922</c:v>
                </c:pt>
                <c:pt idx="76">
                  <c:v>0.18048357144224764</c:v>
                </c:pt>
                <c:pt idx="77">
                  <c:v>0.17740773357528736</c:v>
                </c:pt>
                <c:pt idx="78">
                  <c:v>0.18953973204661978</c:v>
                </c:pt>
                <c:pt idx="79">
                  <c:v>0.17725192420219127</c:v>
                </c:pt>
                <c:pt idx="80">
                  <c:v>0.20226797871960966</c:v>
                </c:pt>
                <c:pt idx="81">
                  <c:v>0.19665216016466908</c:v>
                </c:pt>
                <c:pt idx="82">
                  <c:v>0.19006332212020413</c:v>
                </c:pt>
                <c:pt idx="83">
                  <c:v>0.1764504083812637</c:v>
                </c:pt>
                <c:pt idx="84">
                  <c:v>0.19424001526642753</c:v>
                </c:pt>
                <c:pt idx="85">
                  <c:v>0.18652816040669434</c:v>
                </c:pt>
                <c:pt idx="86">
                  <c:v>0.19268774612394934</c:v>
                </c:pt>
                <c:pt idx="87">
                  <c:v>0.18941611321319543</c:v>
                </c:pt>
                <c:pt idx="88">
                  <c:v>0.18767913639173694</c:v>
                </c:pt>
                <c:pt idx="89">
                  <c:v>0.18657653514324757</c:v>
                </c:pt>
                <c:pt idx="90">
                  <c:v>0.19272569808027923</c:v>
                </c:pt>
                <c:pt idx="91">
                  <c:v>0.19123470550981633</c:v>
                </c:pt>
                <c:pt idx="92">
                  <c:v>0.17610554335467088</c:v>
                </c:pt>
                <c:pt idx="93">
                  <c:v>0.18514842059903078</c:v>
                </c:pt>
                <c:pt idx="94">
                  <c:v>0.1890313149748379</c:v>
                </c:pt>
                <c:pt idx="95">
                  <c:v>0.17674248593220118</c:v>
                </c:pt>
                <c:pt idx="96">
                  <c:v>0.17825657568777112</c:v>
                </c:pt>
                <c:pt idx="97">
                  <c:v>0.1724986156473002</c:v>
                </c:pt>
                <c:pt idx="98">
                  <c:v>0.18080615143995668</c:v>
                </c:pt>
                <c:pt idx="99">
                  <c:v>0.183727136803452</c:v>
                </c:pt>
                <c:pt idx="100">
                  <c:v>0.17690748275055299</c:v>
                </c:pt>
                <c:pt idx="101">
                  <c:v>0.19887203520603533</c:v>
                </c:pt>
                <c:pt idx="102">
                  <c:v>0.21307745702279926</c:v>
                </c:pt>
                <c:pt idx="103">
                  <c:v>0.17162125375697723</c:v>
                </c:pt>
                <c:pt idx="104">
                  <c:v>0.16832205513784462</c:v>
                </c:pt>
              </c:numCache>
            </c:numRef>
          </c:xVal>
          <c:yVal>
            <c:numRef>
              <c:f>Sheet1!$B$2:$B$106</c:f>
              <c:numCache>
                <c:formatCode>General</c:formatCode>
                <c:ptCount val="105"/>
                <c:pt idx="0">
                  <c:v>0.1853211009174312</c:v>
                </c:pt>
                <c:pt idx="1">
                  <c:v>0.22274881516587677</c:v>
                </c:pt>
                <c:pt idx="2">
                  <c:v>0.22064777327935223</c:v>
                </c:pt>
                <c:pt idx="3">
                  <c:v>0.14912280701754385</c:v>
                </c:pt>
                <c:pt idx="4">
                  <c:v>0.21258134490238612</c:v>
                </c:pt>
                <c:pt idx="5">
                  <c:v>0.19950124688279303</c:v>
                </c:pt>
                <c:pt idx="6">
                  <c:v>0.23011363636363635</c:v>
                </c:pt>
                <c:pt idx="7">
                  <c:v>0.1743119266055046</c:v>
                </c:pt>
                <c:pt idx="8">
                  <c:v>0.17525773195876287</c:v>
                </c:pt>
                <c:pt idx="9">
                  <c:v>0.14757709251101322</c:v>
                </c:pt>
                <c:pt idx="10">
                  <c:v>0.1828978622327791</c:v>
                </c:pt>
                <c:pt idx="11">
                  <c:v>0.18434343434343434</c:v>
                </c:pt>
                <c:pt idx="12">
                  <c:v>0.19143576826196473</c:v>
                </c:pt>
                <c:pt idx="13">
                  <c:v>0.22556390977443608</c:v>
                </c:pt>
                <c:pt idx="14">
                  <c:v>0.2315035799522673</c:v>
                </c:pt>
                <c:pt idx="15">
                  <c:v>0.18077803203661327</c:v>
                </c:pt>
                <c:pt idx="16">
                  <c:v>0.17142857142857143</c:v>
                </c:pt>
                <c:pt idx="17">
                  <c:v>0.16304347826086957</c:v>
                </c:pt>
                <c:pt idx="18">
                  <c:v>0.12631578947368421</c:v>
                </c:pt>
                <c:pt idx="19">
                  <c:v>0.13864306784660768</c:v>
                </c:pt>
                <c:pt idx="20">
                  <c:v>0.10899182561307902</c:v>
                </c:pt>
                <c:pt idx="21">
                  <c:v>0.15555555555555556</c:v>
                </c:pt>
                <c:pt idx="22">
                  <c:v>0.14344262295081966</c:v>
                </c:pt>
                <c:pt idx="23">
                  <c:v>0.18604651162790697</c:v>
                </c:pt>
                <c:pt idx="24">
                  <c:v>0.1975806451612903</c:v>
                </c:pt>
                <c:pt idx="25">
                  <c:v>0.19480519480519481</c:v>
                </c:pt>
                <c:pt idx="26">
                  <c:v>0.13565891472868216</c:v>
                </c:pt>
                <c:pt idx="27">
                  <c:v>0.15384615384615385</c:v>
                </c:pt>
                <c:pt idx="28">
                  <c:v>0.15254237288135594</c:v>
                </c:pt>
                <c:pt idx="29">
                  <c:v>0.1346704871060172</c:v>
                </c:pt>
                <c:pt idx="30">
                  <c:v>0.15702479338842976</c:v>
                </c:pt>
                <c:pt idx="31">
                  <c:v>0.145748987854251</c:v>
                </c:pt>
                <c:pt idx="32">
                  <c:v>0.1387900355871886</c:v>
                </c:pt>
                <c:pt idx="33">
                  <c:v>0.1903485254691689</c:v>
                </c:pt>
                <c:pt idx="34">
                  <c:v>0.15931372549019607</c:v>
                </c:pt>
                <c:pt idx="35">
                  <c:v>0.18208092485549132</c:v>
                </c:pt>
                <c:pt idx="36">
                  <c:v>0.15087719298245614</c:v>
                </c:pt>
                <c:pt idx="37">
                  <c:v>0.16233766233766234</c:v>
                </c:pt>
                <c:pt idx="38">
                  <c:v>0.11974110032362459</c:v>
                </c:pt>
                <c:pt idx="39">
                  <c:v>0.17391304347826086</c:v>
                </c:pt>
                <c:pt idx="40">
                  <c:v>0.13533834586466165</c:v>
                </c:pt>
                <c:pt idx="41">
                  <c:v>0.13793103448275862</c:v>
                </c:pt>
                <c:pt idx="42">
                  <c:v>0.13615023474178403</c:v>
                </c:pt>
                <c:pt idx="43">
                  <c:v>0.14699792960662525</c:v>
                </c:pt>
                <c:pt idx="44">
                  <c:v>0.14859437751004015</c:v>
                </c:pt>
                <c:pt idx="45">
                  <c:v>0.15898825654923215</c:v>
                </c:pt>
                <c:pt idx="46">
                  <c:v>0.1935483870967742</c:v>
                </c:pt>
                <c:pt idx="47">
                  <c:v>0.19927536231884058</c:v>
                </c:pt>
                <c:pt idx="48">
                  <c:v>0.20305480682839172</c:v>
                </c:pt>
                <c:pt idx="49">
                  <c:v>0.20857558139534885</c:v>
                </c:pt>
                <c:pt idx="50">
                  <c:v>0.18854748603351956</c:v>
                </c:pt>
                <c:pt idx="51">
                  <c:v>0.1651376146788991</c:v>
                </c:pt>
                <c:pt idx="52">
                  <c:v>0.1686046511627907</c:v>
                </c:pt>
                <c:pt idx="53">
                  <c:v>0.18652849740932642</c:v>
                </c:pt>
                <c:pt idx="54">
                  <c:v>0.18493150684931506</c:v>
                </c:pt>
                <c:pt idx="55">
                  <c:v>0.1600877192982456</c:v>
                </c:pt>
                <c:pt idx="56">
                  <c:v>0.18225419664268586</c:v>
                </c:pt>
                <c:pt idx="57">
                  <c:v>0.17009345794392525</c:v>
                </c:pt>
                <c:pt idx="58">
                  <c:v>0.20991735537190082</c:v>
                </c:pt>
                <c:pt idx="59">
                  <c:v>0.14965197215777262</c:v>
                </c:pt>
                <c:pt idx="60">
                  <c:v>0.13958810068649885</c:v>
                </c:pt>
                <c:pt idx="61">
                  <c:v>0.1845841784989858</c:v>
                </c:pt>
                <c:pt idx="62">
                  <c:v>0.16344725111441308</c:v>
                </c:pt>
                <c:pt idx="63">
                  <c:v>0.18760469011725292</c:v>
                </c:pt>
                <c:pt idx="64">
                  <c:v>0.14904458598726114</c:v>
                </c:pt>
                <c:pt idx="65">
                  <c:v>0.17002881844380405</c:v>
                </c:pt>
                <c:pt idx="66">
                  <c:v>0.15447154471544716</c:v>
                </c:pt>
                <c:pt idx="67">
                  <c:v>0.15987460815047022</c:v>
                </c:pt>
                <c:pt idx="68">
                  <c:v>0.14971209213051823</c:v>
                </c:pt>
                <c:pt idx="69">
                  <c:v>0.11838790931989925</c:v>
                </c:pt>
                <c:pt idx="70">
                  <c:v>0.11778290993071594</c:v>
                </c:pt>
                <c:pt idx="71">
                  <c:v>0.11731843575418995</c:v>
                </c:pt>
                <c:pt idx="72">
                  <c:v>0.12129380053908356</c:v>
                </c:pt>
                <c:pt idx="73">
                  <c:v>0.13404825737265416</c:v>
                </c:pt>
                <c:pt idx="74">
                  <c:v>0.14962593516209477</c:v>
                </c:pt>
                <c:pt idx="75">
                  <c:v>0.13793103448275862</c:v>
                </c:pt>
                <c:pt idx="76">
                  <c:v>0.1792452830188679</c:v>
                </c:pt>
                <c:pt idx="77">
                  <c:v>0.18874172185430463</c:v>
                </c:pt>
                <c:pt idx="78">
                  <c:v>0.15671641791044777</c:v>
                </c:pt>
                <c:pt idx="79">
                  <c:v>0.14426229508196722</c:v>
                </c:pt>
                <c:pt idx="80">
                  <c:v>0.14615384615384616</c:v>
                </c:pt>
                <c:pt idx="81">
                  <c:v>0.09547738693467336</c:v>
                </c:pt>
                <c:pt idx="82">
                  <c:v>0.10476190476190476</c:v>
                </c:pt>
                <c:pt idx="83">
                  <c:v>0.11567164179104478</c:v>
                </c:pt>
                <c:pt idx="84">
                  <c:v>0.11068702290076336</c:v>
                </c:pt>
                <c:pt idx="85">
                  <c:v>0.10606060606060606</c:v>
                </c:pt>
                <c:pt idx="86">
                  <c:v>0.10772833723653395</c:v>
                </c:pt>
                <c:pt idx="87">
                  <c:v>0.12435233160621761</c:v>
                </c:pt>
                <c:pt idx="88">
                  <c:v>0.09507042253521127</c:v>
                </c:pt>
                <c:pt idx="89">
                  <c:v>0.11851851851851852</c:v>
                </c:pt>
                <c:pt idx="90">
                  <c:v>0.11743772241992882</c:v>
                </c:pt>
                <c:pt idx="91">
                  <c:v>0.11538461538461539</c:v>
                </c:pt>
                <c:pt idx="92">
                  <c:v>0.1440443213296399</c:v>
                </c:pt>
                <c:pt idx="93">
                  <c:v>0.1358313817330211</c:v>
                </c:pt>
                <c:pt idx="94">
                  <c:v>0.12121212121212122</c:v>
                </c:pt>
                <c:pt idx="95">
                  <c:v>0.13238289205702647</c:v>
                </c:pt>
                <c:pt idx="96">
                  <c:v>0.10824742268041238</c:v>
                </c:pt>
                <c:pt idx="97">
                  <c:v>0.09487666034155598</c:v>
                </c:pt>
                <c:pt idx="98">
                  <c:v>0.11081081081081082</c:v>
                </c:pt>
                <c:pt idx="99">
                  <c:v>0.13959183673469389</c:v>
                </c:pt>
                <c:pt idx="100">
                  <c:v>0.16376582278481014</c:v>
                </c:pt>
                <c:pt idx="101">
                  <c:v>0.19888734353268428</c:v>
                </c:pt>
                <c:pt idx="102">
                  <c:v>0.16308243727598568</c:v>
                </c:pt>
                <c:pt idx="103">
                  <c:v>0.16585365853658537</c:v>
                </c:pt>
                <c:pt idx="104">
                  <c:v>0.180400890868596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7595203977863536</c:v>
                </c:pt>
                <c:pt idx="1">
                  <c:v>0.19305971572115507</c:v>
                </c:pt>
                <c:pt idx="2">
                  <c:v>0.2003099778587244</c:v>
                </c:pt>
                <c:pt idx="3">
                  <c:v>0.1919935540555382</c:v>
                </c:pt>
                <c:pt idx="4">
                  <c:v>0.1764997656317833</c:v>
                </c:pt>
                <c:pt idx="5">
                  <c:v>0.1936067175938275</c:v>
                </c:pt>
                <c:pt idx="6">
                  <c:v>0.18967904850503903</c:v>
                </c:pt>
                <c:pt idx="7">
                  <c:v>0.1701325894093297</c:v>
                </c:pt>
                <c:pt idx="8">
                  <c:v>0.2214347885950279</c:v>
                </c:pt>
                <c:pt idx="9">
                  <c:v>0.20224749952524815</c:v>
                </c:pt>
                <c:pt idx="10">
                  <c:v>0.17851231206655968</c:v>
                </c:pt>
                <c:pt idx="11">
                  <c:v>0.18950406512550225</c:v>
                </c:pt>
                <c:pt idx="12">
                  <c:v>0.2148090879909628</c:v>
                </c:pt>
                <c:pt idx="13">
                  <c:v>0.21442402074532163</c:v>
                </c:pt>
                <c:pt idx="14">
                  <c:v>0.18748258847320526</c:v>
                </c:pt>
                <c:pt idx="15">
                  <c:v>0.18841703673432758</c:v>
                </c:pt>
                <c:pt idx="16">
                  <c:v>0.1984311714944886</c:v>
                </c:pt>
                <c:pt idx="17">
                  <c:v>0.1793400505664394</c:v>
                </c:pt>
                <c:pt idx="18">
                  <c:v>0.17221912128343056</c:v>
                </c:pt>
                <c:pt idx="19">
                  <c:v>0.16570203841630732</c:v>
                </c:pt>
                <c:pt idx="20">
                  <c:v>0.15967684675134172</c:v>
                </c:pt>
                <c:pt idx="21">
                  <c:v>0.14065866196665933</c:v>
                </c:pt>
                <c:pt idx="22">
                  <c:v>0.18825292799865256</c:v>
                </c:pt>
                <c:pt idx="23">
                  <c:v>0.18750493052442851</c:v>
                </c:pt>
                <c:pt idx="24">
                  <c:v>0.1743761281694942</c:v>
                </c:pt>
                <c:pt idx="25">
                  <c:v>0.10932117920818235</c:v>
                </c:pt>
                <c:pt idx="26">
                  <c:v>0.16308027239283013</c:v>
                </c:pt>
                <c:pt idx="27">
                  <c:v>0.1627208215737299</c:v>
                </c:pt>
                <c:pt idx="28">
                  <c:v>0.1819153887336312</c:v>
                </c:pt>
                <c:pt idx="29">
                  <c:v>0.17141810832603988</c:v>
                </c:pt>
                <c:pt idx="30">
                  <c:v>0.17265517276166456</c:v>
                </c:pt>
                <c:pt idx="31">
                  <c:v>0.19551209493590543</c:v>
                </c:pt>
                <c:pt idx="32">
                  <c:v>0.1859553138572999</c:v>
                </c:pt>
                <c:pt idx="33">
                  <c:v>0.14977717005975894</c:v>
                </c:pt>
                <c:pt idx="34">
                  <c:v>0.17651270675836644</c:v>
                </c:pt>
                <c:pt idx="35">
                  <c:v>0.14450567164581998</c:v>
                </c:pt>
                <c:pt idx="36">
                  <c:v>0.17373643659711074</c:v>
                </c:pt>
                <c:pt idx="37">
                  <c:v>0.16891844640070472</c:v>
                </c:pt>
                <c:pt idx="38">
                  <c:v>0.18342755080578252</c:v>
                </c:pt>
                <c:pt idx="39">
                  <c:v>0.18004269573299012</c:v>
                </c:pt>
                <c:pt idx="40">
                  <c:v>0.16967714744439577</c:v>
                </c:pt>
                <c:pt idx="41">
                  <c:v>0.17931584654454494</c:v>
                </c:pt>
                <c:pt idx="42">
                  <c:v>0.13842561951994314</c:v>
                </c:pt>
                <c:pt idx="43">
                  <c:v>0.156343230556084</c:v>
                </c:pt>
                <c:pt idx="44">
                  <c:v>0.1705399180371584</c:v>
                </c:pt>
                <c:pt idx="45">
                  <c:v>0.17612804804250465</c:v>
                </c:pt>
                <c:pt idx="46">
                  <c:v>0.17864227571873917</c:v>
                </c:pt>
                <c:pt idx="47">
                  <c:v>0.18317732817591975</c:v>
                </c:pt>
                <c:pt idx="48">
                  <c:v>0.1614091645502467</c:v>
                </c:pt>
                <c:pt idx="49">
                  <c:v>0.1662603717576175</c:v>
                </c:pt>
                <c:pt idx="50">
                  <c:v>0.17967064446140996</c:v>
                </c:pt>
                <c:pt idx="51">
                  <c:v>0.18132229049763135</c:v>
                </c:pt>
              </c:numCache>
            </c:numRef>
          </c:xVal>
          <c:yVal>
            <c:numRef>
              <c:f>Sheet1!$B$109:$B$160</c:f>
              <c:numCache>
                <c:formatCode>General</c:formatCode>
                <c:ptCount val="52"/>
                <c:pt idx="0">
                  <c:v>0.17333333333333334</c:v>
                </c:pt>
                <c:pt idx="1">
                  <c:v>0.21951219512195122</c:v>
                </c:pt>
                <c:pt idx="2">
                  <c:v>0.18996415770609318</c:v>
                </c:pt>
                <c:pt idx="3">
                  <c:v>0.21495327102803738</c:v>
                </c:pt>
                <c:pt idx="4">
                  <c:v>0.2062937062937063</c:v>
                </c:pt>
                <c:pt idx="5">
                  <c:v>0.1631578947368421</c:v>
                </c:pt>
                <c:pt idx="6">
                  <c:v>0.17092866756393002</c:v>
                </c:pt>
                <c:pt idx="7">
                  <c:v>0.19190140845070422</c:v>
                </c:pt>
                <c:pt idx="8">
                  <c:v>0.15167095115681234</c:v>
                </c:pt>
                <c:pt idx="9">
                  <c:v>0.13744075829383887</c:v>
                </c:pt>
                <c:pt idx="10">
                  <c:v>0.1746031746031746</c:v>
                </c:pt>
                <c:pt idx="11">
                  <c:v>0.1391465677179963</c:v>
                </c:pt>
                <c:pt idx="12">
                  <c:v>0.14035087719298245</c:v>
                </c:pt>
                <c:pt idx="13">
                  <c:v>0.1865671641791045</c:v>
                </c:pt>
                <c:pt idx="14">
                  <c:v>0.1988472622478386</c:v>
                </c:pt>
                <c:pt idx="15">
                  <c:v>0.1757188498402556</c:v>
                </c:pt>
                <c:pt idx="16">
                  <c:v>0.18382352941176472</c:v>
                </c:pt>
                <c:pt idx="17">
                  <c:v>0.16216216216216217</c:v>
                </c:pt>
                <c:pt idx="18">
                  <c:v>0.20072992700729927</c:v>
                </c:pt>
                <c:pt idx="19">
                  <c:v>0.21982758620689655</c:v>
                </c:pt>
                <c:pt idx="20">
                  <c:v>0.24166666666666667</c:v>
                </c:pt>
                <c:pt idx="21">
                  <c:v>0.2471264367816092</c:v>
                </c:pt>
                <c:pt idx="22">
                  <c:v>0.21176470588235294</c:v>
                </c:pt>
                <c:pt idx="23">
                  <c:v>0.20238095238095238</c:v>
                </c:pt>
                <c:pt idx="24">
                  <c:v>0.22110552763819097</c:v>
                </c:pt>
                <c:pt idx="25">
                  <c:v>0.25688073394495414</c:v>
                </c:pt>
                <c:pt idx="26">
                  <c:v>0.19170984455958548</c:v>
                </c:pt>
                <c:pt idx="27">
                  <c:v>0.19434628975265017</c:v>
                </c:pt>
                <c:pt idx="28">
                  <c:v>0.1624548736462094</c:v>
                </c:pt>
                <c:pt idx="29">
                  <c:v>0.19913419913419914</c:v>
                </c:pt>
                <c:pt idx="30">
                  <c:v>0.15450643776824036</c:v>
                </c:pt>
                <c:pt idx="31">
                  <c:v>0.15611814345991562</c:v>
                </c:pt>
                <c:pt idx="32">
                  <c:v>0.17791411042944785</c:v>
                </c:pt>
                <c:pt idx="33">
                  <c:v>0.16842105263157894</c:v>
                </c:pt>
                <c:pt idx="34">
                  <c:v>0.19035532994923857</c:v>
                </c:pt>
                <c:pt idx="35">
                  <c:v>0.21942446043165467</c:v>
                </c:pt>
                <c:pt idx="36">
                  <c:v>0.20398009950248755</c:v>
                </c:pt>
                <c:pt idx="37">
                  <c:v>0.22815533980582525</c:v>
                </c:pt>
                <c:pt idx="38">
                  <c:v>0.2222222222222222</c:v>
                </c:pt>
                <c:pt idx="39">
                  <c:v>0.1947565543071161</c:v>
                </c:pt>
                <c:pt idx="40">
                  <c:v>0.1875</c:v>
                </c:pt>
                <c:pt idx="41">
                  <c:v>0.1827956989247312</c:v>
                </c:pt>
                <c:pt idx="42">
                  <c:v>0.20463320463320464</c:v>
                </c:pt>
                <c:pt idx="43">
                  <c:v>0.18010752688172044</c:v>
                </c:pt>
                <c:pt idx="44">
                  <c:v>0.14050822122571002</c:v>
                </c:pt>
                <c:pt idx="45">
                  <c:v>0.13796909492273732</c:v>
                </c:pt>
                <c:pt idx="46">
                  <c:v>0.13517060367454067</c:v>
                </c:pt>
                <c:pt idx="47">
                  <c:v>0.13226744186046513</c:v>
                </c:pt>
                <c:pt idx="48">
                  <c:v>0.14556331006979062</c:v>
                </c:pt>
                <c:pt idx="49">
                  <c:v>0.15295169946332737</c:v>
                </c:pt>
                <c:pt idx="50">
                  <c:v>0.16835871404399322</c:v>
                </c:pt>
                <c:pt idx="51">
                  <c:v>0.206185567010309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6090152449024145</c:v>
                </c:pt>
              </c:numCache>
            </c:numRef>
          </c:xVal>
          <c:yVal>
            <c:numRef>
              <c:f>Sheet1!$B$163:$B$164</c:f>
              <c:numCache>
                <c:formatCode>General</c:formatCode>
                <c:ptCount val="2"/>
                <c:pt idx="0">
                  <c:v>0.1966229314548097</c:v>
                </c:pt>
                <c:pt idx="1">
                  <c:v>0.19662293145480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6090152449024145</c:v>
                </c:pt>
                <c:pt idx="1">
                  <c:v>0.16090152449024145</c:v>
                </c:pt>
              </c:numCache>
            </c:numRef>
          </c:xVal>
          <c:yVal>
            <c:numRef>
              <c:f>Sheet1!$B$167:$B$168</c:f>
              <c:numCache>
                <c:formatCode>General</c:formatCode>
                <c:ptCount val="2"/>
                <c:pt idx="0">
                  <c:v>0.19662293145480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83392891775139</c:v>
                </c:pt>
              </c:numCache>
            </c:numRef>
          </c:xVal>
          <c:yVal>
            <c:numRef>
              <c:f>Sheet1!$B$171:$B$172</c:f>
              <c:numCache>
                <c:formatCode>General</c:formatCode>
                <c:ptCount val="2"/>
                <c:pt idx="0">
                  <c:v>0.19131478470596278</c:v>
                </c:pt>
                <c:pt idx="1">
                  <c:v>0.191314784705962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83392891775139</c:v>
                </c:pt>
                <c:pt idx="1">
                  <c:v>0.1683392891775139</c:v>
                </c:pt>
              </c:numCache>
            </c:numRef>
          </c:xVal>
          <c:yVal>
            <c:numRef>
              <c:f>Sheet1!$B$175:$B$176</c:f>
              <c:numCache>
                <c:formatCode>General</c:formatCode>
                <c:ptCount val="2"/>
                <c:pt idx="0">
                  <c:v>0.191314784705962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0264973128475486</c:v>
                </c:pt>
              </c:numCache>
            </c:numRef>
          </c:xVal>
          <c:yVal>
            <c:numRef>
              <c:f>Sheet1!$B$179:$B$180</c:f>
              <c:numCache>
                <c:formatCode>General</c:formatCode>
                <c:ptCount val="2"/>
                <c:pt idx="0">
                  <c:v>0.16682827977058817</c:v>
                </c:pt>
                <c:pt idx="1">
                  <c:v>0.166828279770588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0264973128475486</c:v>
                </c:pt>
                <c:pt idx="1">
                  <c:v>0.20264973128475486</c:v>
                </c:pt>
              </c:numCache>
            </c:numRef>
          </c:xVal>
          <c:yVal>
            <c:numRef>
              <c:f>Sheet1!$B$183:$B$184</c:f>
              <c:numCache>
                <c:formatCode>General</c:formatCode>
                <c:ptCount val="2"/>
                <c:pt idx="0">
                  <c:v>0.166828279770588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7595203977863536</c:v>
                </c:pt>
                <c:pt idx="1">
                  <c:v>0.19305971572115507</c:v>
                </c:pt>
                <c:pt idx="2">
                  <c:v>0.2003099778587244</c:v>
                </c:pt>
                <c:pt idx="3">
                  <c:v>0.1919935540555382</c:v>
                </c:pt>
                <c:pt idx="4">
                  <c:v>0.1764997656317833</c:v>
                </c:pt>
                <c:pt idx="5">
                  <c:v>0.1936067175938275</c:v>
                </c:pt>
                <c:pt idx="6">
                  <c:v>0.18967904850503903</c:v>
                </c:pt>
                <c:pt idx="7">
                  <c:v>0.1701325894093297</c:v>
                </c:pt>
                <c:pt idx="8">
                  <c:v>0.2214347885950279</c:v>
                </c:pt>
                <c:pt idx="9">
                  <c:v>0.20224749952524815</c:v>
                </c:pt>
                <c:pt idx="10">
                  <c:v>0.17851231206655968</c:v>
                </c:pt>
                <c:pt idx="11">
                  <c:v>0.18950406512550225</c:v>
                </c:pt>
                <c:pt idx="12">
                  <c:v>0.2148090879909628</c:v>
                </c:pt>
                <c:pt idx="13">
                  <c:v>0.21442402074532163</c:v>
                </c:pt>
                <c:pt idx="14">
                  <c:v>0.18748258847320526</c:v>
                </c:pt>
                <c:pt idx="15">
                  <c:v>0.18841703673432758</c:v>
                </c:pt>
                <c:pt idx="16">
                  <c:v>0.1984311714944886</c:v>
                </c:pt>
                <c:pt idx="17">
                  <c:v>0.1793400505664394</c:v>
                </c:pt>
                <c:pt idx="18">
                  <c:v>0.17221912128343056</c:v>
                </c:pt>
                <c:pt idx="19">
                  <c:v>0.16570203841630732</c:v>
                </c:pt>
                <c:pt idx="20">
                  <c:v>0.15967684675134172</c:v>
                </c:pt>
                <c:pt idx="21">
                  <c:v>0.14065866196665933</c:v>
                </c:pt>
                <c:pt idx="22">
                  <c:v>0.18825292799865256</c:v>
                </c:pt>
                <c:pt idx="23">
                  <c:v>0.18750493052442851</c:v>
                </c:pt>
                <c:pt idx="24">
                  <c:v>0.1743761281694942</c:v>
                </c:pt>
                <c:pt idx="25">
                  <c:v>0.10932117920818235</c:v>
                </c:pt>
                <c:pt idx="26">
                  <c:v>0.16308027239283013</c:v>
                </c:pt>
                <c:pt idx="27">
                  <c:v>0.1627208215737299</c:v>
                </c:pt>
                <c:pt idx="28">
                  <c:v>0.1819153887336312</c:v>
                </c:pt>
                <c:pt idx="29">
                  <c:v>0.17141810832603988</c:v>
                </c:pt>
                <c:pt idx="30">
                  <c:v>0.17265517276166456</c:v>
                </c:pt>
                <c:pt idx="31">
                  <c:v>0.19551209493590543</c:v>
                </c:pt>
                <c:pt idx="32">
                  <c:v>0.1859553138572999</c:v>
                </c:pt>
                <c:pt idx="33">
                  <c:v>0.14977717005975894</c:v>
                </c:pt>
                <c:pt idx="34">
                  <c:v>0.17651270675836644</c:v>
                </c:pt>
                <c:pt idx="35">
                  <c:v>0.14450567164581998</c:v>
                </c:pt>
                <c:pt idx="36">
                  <c:v>0.17373643659711074</c:v>
                </c:pt>
                <c:pt idx="37">
                  <c:v>0.16891844640070472</c:v>
                </c:pt>
                <c:pt idx="38">
                  <c:v>0.18342755080578252</c:v>
                </c:pt>
                <c:pt idx="39">
                  <c:v>0.18004269573299012</c:v>
                </c:pt>
                <c:pt idx="40">
                  <c:v>0.16967714744439577</c:v>
                </c:pt>
                <c:pt idx="41">
                  <c:v>0.17931584654454494</c:v>
                </c:pt>
                <c:pt idx="42">
                  <c:v>0.13842561951994314</c:v>
                </c:pt>
                <c:pt idx="43">
                  <c:v>0.156343230556084</c:v>
                </c:pt>
                <c:pt idx="44">
                  <c:v>0.1705399180371584</c:v>
                </c:pt>
                <c:pt idx="45">
                  <c:v>0.17612804804250465</c:v>
                </c:pt>
                <c:pt idx="46">
                  <c:v>0.17864227571873917</c:v>
                </c:pt>
                <c:pt idx="47">
                  <c:v>0.18317732817591975</c:v>
                </c:pt>
                <c:pt idx="48">
                  <c:v>0.1614091645502467</c:v>
                </c:pt>
                <c:pt idx="49">
                  <c:v>0.1662603717576175</c:v>
                </c:pt>
                <c:pt idx="50">
                  <c:v>0.17967064446140996</c:v>
                </c:pt>
                <c:pt idx="51">
                  <c:v>0.18132229049763135</c:v>
                </c:pt>
                <c:pt idx="52">
                  <c:v>0.1683392891775139</c:v>
                </c:pt>
                <c:pt idx="53">
                  <c:v>0.16090152449024145</c:v>
                </c:pt>
                <c:pt idx="54">
                  <c:v>0.20264973128475486</c:v>
                </c:pt>
              </c:numCache>
            </c:numRef>
          </c:xVal>
          <c:yVal>
            <c:numRef>
              <c:f>Sheet1!$B$187:$B$241</c:f>
              <c:numCache>
                <c:formatCode>General</c:formatCode>
                <c:ptCount val="55"/>
                <c:pt idx="0">
                  <c:v>0.18588175488421074</c:v>
                </c:pt>
                <c:pt idx="1">
                  <c:v>0.17367243417391623</c:v>
                </c:pt>
                <c:pt idx="2">
                  <c:v>0.1684981033081276</c:v>
                </c:pt>
                <c:pt idx="3">
                  <c:v>0.1744333271057367</c:v>
                </c:pt>
                <c:pt idx="4">
                  <c:v>0.1854908566333395</c:v>
                </c:pt>
                <c:pt idx="5">
                  <c:v>0.17328205260981433</c:v>
                </c:pt>
                <c:pt idx="6">
                  <c:v>0.17608513186558528</c:v>
                </c:pt>
                <c:pt idx="7">
                  <c:v>0.19003495115442426</c:v>
                </c:pt>
                <c:pt idx="8">
                  <c:v>0.15342185390462068</c:v>
                </c:pt>
                <c:pt idx="9">
                  <c:v>0.16711534252348248</c:v>
                </c:pt>
                <c:pt idx="10">
                  <c:v>0.18405455254685202</c:v>
                </c:pt>
                <c:pt idx="11">
                  <c:v>0.17621001312981507</c:v>
                </c:pt>
                <c:pt idx="12">
                  <c:v>0.15815045081499143</c:v>
                </c:pt>
                <c:pt idx="13">
                  <c:v>0.15842526368337048</c:v>
                </c:pt>
                <c:pt idx="14">
                  <c:v>0.17765269048933438</c:v>
                </c:pt>
                <c:pt idx="15">
                  <c:v>0.17698579812209803</c:v>
                </c:pt>
                <c:pt idx="16">
                  <c:v>0.16983896044913085</c:v>
                </c:pt>
                <c:pt idx="17">
                  <c:v>0.18346381626898206</c:v>
                </c:pt>
                <c:pt idx="18">
                  <c:v>0.1885458455091722</c:v>
                </c:pt>
                <c:pt idx="19">
                  <c:v>0.19319692465561025</c:v>
                </c:pt>
                <c:pt idx="20">
                  <c:v>0.19749695334599024</c:v>
                </c:pt>
                <c:pt idx="21">
                  <c:v>0.21106975646337447</c:v>
                </c:pt>
                <c:pt idx="22">
                  <c:v>0.17710291842481765</c:v>
                </c:pt>
                <c:pt idx="23">
                  <c:v>0.1776367455258205</c:v>
                </c:pt>
                <c:pt idx="24">
                  <c:v>0.1870064436094197</c:v>
                </c:pt>
                <c:pt idx="25">
                  <c:v>0.23343453462126712</c:v>
                </c:pt>
                <c:pt idx="26">
                  <c:v>0.19506801353498449</c:v>
                </c:pt>
                <c:pt idx="27">
                  <c:v>0.19532454460002907</c:v>
                </c:pt>
                <c:pt idx="28">
                  <c:v>0.1816258617901649</c:v>
                </c:pt>
                <c:pt idx="29">
                  <c:v>0.18911750843537817</c:v>
                </c:pt>
                <c:pt idx="30">
                  <c:v>0.18823464646835306</c:v>
                </c:pt>
                <c:pt idx="31">
                  <c:v>0.17192223242607219</c:v>
                </c:pt>
                <c:pt idx="32">
                  <c:v>0.17874266820816262</c:v>
                </c:pt>
                <c:pt idx="33">
                  <c:v>0.20456210515631612</c:v>
                </c:pt>
                <c:pt idx="34">
                  <c:v>0.18548162087476325</c:v>
                </c:pt>
                <c:pt idx="35">
                  <c:v>0.20832424181215636</c:v>
                </c:pt>
                <c:pt idx="36">
                  <c:v>0.18746297549540725</c:v>
                </c:pt>
                <c:pt idx="37">
                  <c:v>0.19090145467192549</c:v>
                </c:pt>
                <c:pt idx="38">
                  <c:v>0.18054666951607276</c:v>
                </c:pt>
                <c:pt idx="39">
                  <c:v>0.1829623559763754</c:v>
                </c:pt>
                <c:pt idx="40">
                  <c:v>0.19035998870093196</c:v>
                </c:pt>
                <c:pt idx="41">
                  <c:v>0.18348109007442362</c:v>
                </c:pt>
                <c:pt idx="42">
                  <c:v>0.21266342304224017</c:v>
                </c:pt>
                <c:pt idx="43">
                  <c:v>0.19987607190012263</c:v>
                </c:pt>
                <c:pt idx="44">
                  <c:v>0.18974425089400582</c:v>
                </c:pt>
                <c:pt idx="45">
                  <c:v>0.18575614218565</c:v>
                </c:pt>
                <c:pt idx="46">
                  <c:v>0.18396180073675977</c:v>
                </c:pt>
                <c:pt idx="47">
                  <c:v>0.18072524715263968</c:v>
                </c:pt>
                <c:pt idx="48">
                  <c:v>0.19626064143255173</c:v>
                </c:pt>
                <c:pt idx="49">
                  <c:v>0.19279845610557397</c:v>
                </c:pt>
                <c:pt idx="50">
                  <c:v>0.18322787966940404</c:v>
                </c:pt>
                <c:pt idx="51">
                  <c:v>0.1820491411765855</c:v>
                </c:pt>
                <c:pt idx="52">
                  <c:v>0.19131478470596275</c:v>
                </c:pt>
                <c:pt idx="53">
                  <c:v>0.1966229314548097</c:v>
                </c:pt>
                <c:pt idx="54">
                  <c:v>0.166828279770588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25688073394497"/>
          <c:min val="0.075901328273244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6238</c:v>
                </c:pt>
                <c:pt idx="1">
                  <c:v>313.0106</c:v>
                </c:pt>
                <c:pt idx="2">
                  <c:v>322.0</c:v>
                </c:pt>
                <c:pt idx="3">
                  <c:v>317.2235</c:v>
                </c:pt>
                <c:pt idx="4">
                  <c:v>310.8469</c:v>
                </c:pt>
                <c:pt idx="5">
                  <c:v>312.4625</c:v>
                </c:pt>
                <c:pt idx="6">
                  <c:v>304.4321</c:v>
                </c:pt>
                <c:pt idx="7">
                  <c:v>315.9474</c:v>
                </c:pt>
                <c:pt idx="8">
                  <c:v>314.7843</c:v>
                </c:pt>
                <c:pt idx="9">
                  <c:v>319.2836</c:v>
                </c:pt>
                <c:pt idx="10">
                  <c:v>309.7922</c:v>
                </c:pt>
                <c:pt idx="11">
                  <c:v>317.2877</c:v>
                </c:pt>
                <c:pt idx="12">
                  <c:v>321.1579</c:v>
                </c:pt>
                <c:pt idx="13">
                  <c:v>323.0</c:v>
                </c:pt>
                <c:pt idx="14">
                  <c:v>323.5361</c:v>
                </c:pt>
                <c:pt idx="15">
                  <c:v>320.4557</c:v>
                </c:pt>
                <c:pt idx="16">
                  <c:v>327.1364</c:v>
                </c:pt>
                <c:pt idx="17">
                  <c:v>325.1667</c:v>
                </c:pt>
                <c:pt idx="18">
                  <c:v>331.0417</c:v>
                </c:pt>
                <c:pt idx="19">
                  <c:v>334.766</c:v>
                </c:pt>
                <c:pt idx="20">
                  <c:v>334.825</c:v>
                </c:pt>
                <c:pt idx="21">
                  <c:v>332.7714</c:v>
                </c:pt>
                <c:pt idx="22">
                  <c:v>338.2</c:v>
                </c:pt>
                <c:pt idx="23">
                  <c:v>339.3</c:v>
                </c:pt>
                <c:pt idx="24">
                  <c:v>366.3061</c:v>
                </c:pt>
                <c:pt idx="25">
                  <c:v>352.1111</c:v>
                </c:pt>
                <c:pt idx="26">
                  <c:v>360.2857</c:v>
                </c:pt>
                <c:pt idx="27">
                  <c:v>361.7826</c:v>
                </c:pt>
                <c:pt idx="28">
                  <c:v>358.2</c:v>
                </c:pt>
                <c:pt idx="29">
                  <c:v>358.3191</c:v>
                </c:pt>
                <c:pt idx="30">
                  <c:v>367.0526</c:v>
                </c:pt>
                <c:pt idx="31">
                  <c:v>380.5556</c:v>
                </c:pt>
                <c:pt idx="32">
                  <c:v>378.7692</c:v>
                </c:pt>
                <c:pt idx="33">
                  <c:v>373.8028</c:v>
                </c:pt>
                <c:pt idx="34">
                  <c:v>389.9846</c:v>
                </c:pt>
                <c:pt idx="35">
                  <c:v>386.7302</c:v>
                </c:pt>
                <c:pt idx="36">
                  <c:v>386.3953</c:v>
                </c:pt>
                <c:pt idx="37">
                  <c:v>387.72</c:v>
                </c:pt>
                <c:pt idx="38">
                  <c:v>390.3784</c:v>
                </c:pt>
                <c:pt idx="39">
                  <c:v>402.2143</c:v>
                </c:pt>
                <c:pt idx="40">
                  <c:v>409.4444</c:v>
                </c:pt>
                <c:pt idx="41">
                  <c:v>388.1042</c:v>
                </c:pt>
                <c:pt idx="42">
                  <c:v>401.931</c:v>
                </c:pt>
                <c:pt idx="43">
                  <c:v>395.0704</c:v>
                </c:pt>
                <c:pt idx="44">
                  <c:v>363.3514</c:v>
                </c:pt>
                <c:pt idx="45">
                  <c:v>356.4659</c:v>
                </c:pt>
                <c:pt idx="46">
                  <c:v>359.7759</c:v>
                </c:pt>
                <c:pt idx="47">
                  <c:v>365.9273</c:v>
                </c:pt>
                <c:pt idx="48">
                  <c:v>370.1416</c:v>
                </c:pt>
                <c:pt idx="49">
                  <c:v>387.3763</c:v>
                </c:pt>
                <c:pt idx="50">
                  <c:v>384.9556</c:v>
                </c:pt>
                <c:pt idx="51">
                  <c:v>394.1</c:v>
                </c:pt>
                <c:pt idx="52">
                  <c:v>387.9828</c:v>
                </c:pt>
                <c:pt idx="53">
                  <c:v>400.3704</c:v>
                </c:pt>
                <c:pt idx="54">
                  <c:v>397.2222</c:v>
                </c:pt>
                <c:pt idx="55">
                  <c:v>401.5616</c:v>
                </c:pt>
                <c:pt idx="56">
                  <c:v>401.3553</c:v>
                </c:pt>
                <c:pt idx="57">
                  <c:v>389.8681</c:v>
                </c:pt>
                <c:pt idx="58">
                  <c:v>344.3937</c:v>
                </c:pt>
                <c:pt idx="59">
                  <c:v>398.1938</c:v>
                </c:pt>
                <c:pt idx="60">
                  <c:v>371.541</c:v>
                </c:pt>
                <c:pt idx="61">
                  <c:v>386.7033</c:v>
                </c:pt>
                <c:pt idx="62">
                  <c:v>370.8818</c:v>
                </c:pt>
                <c:pt idx="63">
                  <c:v>409.3304</c:v>
                </c:pt>
                <c:pt idx="64">
                  <c:v>402.2991</c:v>
                </c:pt>
                <c:pt idx="65">
                  <c:v>412.1356</c:v>
                </c:pt>
                <c:pt idx="66">
                  <c:v>392.2947</c:v>
                </c:pt>
                <c:pt idx="67">
                  <c:v>388.402</c:v>
                </c:pt>
                <c:pt idx="68">
                  <c:v>415.3333</c:v>
                </c:pt>
                <c:pt idx="69">
                  <c:v>404.6809</c:v>
                </c:pt>
                <c:pt idx="70">
                  <c:v>385.1961</c:v>
                </c:pt>
                <c:pt idx="71">
                  <c:v>418.0</c:v>
                </c:pt>
                <c:pt idx="72">
                  <c:v>446.2889</c:v>
                </c:pt>
                <c:pt idx="73">
                  <c:v>431.52</c:v>
                </c:pt>
                <c:pt idx="74">
                  <c:v>418.4333</c:v>
                </c:pt>
                <c:pt idx="75">
                  <c:v>408.6458</c:v>
                </c:pt>
                <c:pt idx="76">
                  <c:v>415.7018</c:v>
                </c:pt>
                <c:pt idx="77">
                  <c:v>399.0526</c:v>
                </c:pt>
                <c:pt idx="78">
                  <c:v>425.9048</c:v>
                </c:pt>
                <c:pt idx="79">
                  <c:v>425.8182</c:v>
                </c:pt>
                <c:pt idx="80">
                  <c:v>465.5614</c:v>
                </c:pt>
                <c:pt idx="81">
                  <c:v>441.9211</c:v>
                </c:pt>
                <c:pt idx="82">
                  <c:v>437.5152</c:v>
                </c:pt>
                <c:pt idx="83">
                  <c:v>415.129</c:v>
                </c:pt>
                <c:pt idx="84">
                  <c:v>437.2759</c:v>
                </c:pt>
                <c:pt idx="85">
                  <c:v>421.5714</c:v>
                </c:pt>
                <c:pt idx="86">
                  <c:v>438.6087</c:v>
                </c:pt>
                <c:pt idx="87">
                  <c:v>432.4167</c:v>
                </c:pt>
                <c:pt idx="88">
                  <c:v>449.0</c:v>
                </c:pt>
                <c:pt idx="89">
                  <c:v>429.6563</c:v>
                </c:pt>
                <c:pt idx="90">
                  <c:v>441.7273</c:v>
                </c:pt>
                <c:pt idx="91">
                  <c:v>452.9394</c:v>
                </c:pt>
                <c:pt idx="92">
                  <c:v>421.4038</c:v>
                </c:pt>
                <c:pt idx="93">
                  <c:v>433.1379</c:v>
                </c:pt>
                <c:pt idx="94">
                  <c:v>442.4773</c:v>
                </c:pt>
                <c:pt idx="95">
                  <c:v>436.6769</c:v>
                </c:pt>
                <c:pt idx="96">
                  <c:v>444.869</c:v>
                </c:pt>
                <c:pt idx="97">
                  <c:v>432.85</c:v>
                </c:pt>
                <c:pt idx="98">
                  <c:v>429.4878</c:v>
                </c:pt>
                <c:pt idx="99">
                  <c:v>426.8889</c:v>
                </c:pt>
                <c:pt idx="100">
                  <c:v>442.1111</c:v>
                </c:pt>
                <c:pt idx="101">
                  <c:v>434.958</c:v>
                </c:pt>
                <c:pt idx="102">
                  <c:v>452.5055</c:v>
                </c:pt>
                <c:pt idx="103">
                  <c:v>399.7059</c:v>
                </c:pt>
                <c:pt idx="104">
                  <c:v>402.963</c:v>
                </c:pt>
              </c:numCache>
            </c:numRef>
          </c:xVal>
          <c:yVal>
            <c:numRef>
              <c:f>Sheet1!$B$2:$B$106</c:f>
              <c:numCache>
                <c:formatCode>General</c:formatCode>
                <c:ptCount val="105"/>
                <c:pt idx="0">
                  <c:v>0.1853211009174312</c:v>
                </c:pt>
                <c:pt idx="1">
                  <c:v>0.22274881516587677</c:v>
                </c:pt>
                <c:pt idx="2">
                  <c:v>0.22064777327935223</c:v>
                </c:pt>
                <c:pt idx="3">
                  <c:v>0.14912280701754385</c:v>
                </c:pt>
                <c:pt idx="4">
                  <c:v>0.21258134490238612</c:v>
                </c:pt>
                <c:pt idx="5">
                  <c:v>0.19950124688279303</c:v>
                </c:pt>
                <c:pt idx="6">
                  <c:v>0.23011363636363635</c:v>
                </c:pt>
                <c:pt idx="7">
                  <c:v>0.1743119266055046</c:v>
                </c:pt>
                <c:pt idx="8">
                  <c:v>0.17525773195876287</c:v>
                </c:pt>
                <c:pt idx="9">
                  <c:v>0.14757709251101322</c:v>
                </c:pt>
                <c:pt idx="10">
                  <c:v>0.1828978622327791</c:v>
                </c:pt>
                <c:pt idx="11">
                  <c:v>0.18434343434343434</c:v>
                </c:pt>
                <c:pt idx="12">
                  <c:v>0.19143576826196473</c:v>
                </c:pt>
                <c:pt idx="13">
                  <c:v>0.22556390977443608</c:v>
                </c:pt>
                <c:pt idx="14">
                  <c:v>0.2315035799522673</c:v>
                </c:pt>
                <c:pt idx="15">
                  <c:v>0.18077803203661327</c:v>
                </c:pt>
                <c:pt idx="16">
                  <c:v>0.17142857142857143</c:v>
                </c:pt>
                <c:pt idx="17">
                  <c:v>0.16304347826086957</c:v>
                </c:pt>
                <c:pt idx="18">
                  <c:v>0.12631578947368421</c:v>
                </c:pt>
                <c:pt idx="19">
                  <c:v>0.13864306784660768</c:v>
                </c:pt>
                <c:pt idx="20">
                  <c:v>0.10899182561307902</c:v>
                </c:pt>
                <c:pt idx="21">
                  <c:v>0.15555555555555556</c:v>
                </c:pt>
                <c:pt idx="22">
                  <c:v>0.14344262295081966</c:v>
                </c:pt>
                <c:pt idx="23">
                  <c:v>0.18604651162790697</c:v>
                </c:pt>
                <c:pt idx="24">
                  <c:v>0.1975806451612903</c:v>
                </c:pt>
                <c:pt idx="25">
                  <c:v>0.19480519480519481</c:v>
                </c:pt>
                <c:pt idx="26">
                  <c:v>0.13565891472868216</c:v>
                </c:pt>
                <c:pt idx="27">
                  <c:v>0.15384615384615385</c:v>
                </c:pt>
                <c:pt idx="28">
                  <c:v>0.15254237288135594</c:v>
                </c:pt>
                <c:pt idx="29">
                  <c:v>0.1346704871060172</c:v>
                </c:pt>
                <c:pt idx="30">
                  <c:v>0.15702479338842976</c:v>
                </c:pt>
                <c:pt idx="31">
                  <c:v>0.145748987854251</c:v>
                </c:pt>
                <c:pt idx="32">
                  <c:v>0.1387900355871886</c:v>
                </c:pt>
                <c:pt idx="33">
                  <c:v>0.1903485254691689</c:v>
                </c:pt>
                <c:pt idx="34">
                  <c:v>0.15931372549019607</c:v>
                </c:pt>
                <c:pt idx="35">
                  <c:v>0.18208092485549132</c:v>
                </c:pt>
                <c:pt idx="36">
                  <c:v>0.15087719298245614</c:v>
                </c:pt>
                <c:pt idx="37">
                  <c:v>0.16233766233766234</c:v>
                </c:pt>
                <c:pt idx="38">
                  <c:v>0.11974110032362459</c:v>
                </c:pt>
                <c:pt idx="39">
                  <c:v>0.17391304347826086</c:v>
                </c:pt>
                <c:pt idx="40">
                  <c:v>0.13533834586466165</c:v>
                </c:pt>
                <c:pt idx="41">
                  <c:v>0.13793103448275862</c:v>
                </c:pt>
                <c:pt idx="42">
                  <c:v>0.13615023474178403</c:v>
                </c:pt>
                <c:pt idx="43">
                  <c:v>0.14699792960662525</c:v>
                </c:pt>
                <c:pt idx="44">
                  <c:v>0.14859437751004015</c:v>
                </c:pt>
                <c:pt idx="45">
                  <c:v>0.15898825654923215</c:v>
                </c:pt>
                <c:pt idx="46">
                  <c:v>0.1935483870967742</c:v>
                </c:pt>
                <c:pt idx="47">
                  <c:v>0.19927536231884058</c:v>
                </c:pt>
                <c:pt idx="48">
                  <c:v>0.20305480682839172</c:v>
                </c:pt>
                <c:pt idx="49">
                  <c:v>0.20857558139534885</c:v>
                </c:pt>
                <c:pt idx="50">
                  <c:v>0.18854748603351956</c:v>
                </c:pt>
                <c:pt idx="51">
                  <c:v>0.1651376146788991</c:v>
                </c:pt>
                <c:pt idx="52">
                  <c:v>0.1686046511627907</c:v>
                </c:pt>
                <c:pt idx="53">
                  <c:v>0.18652849740932642</c:v>
                </c:pt>
                <c:pt idx="54">
                  <c:v>0.18493150684931506</c:v>
                </c:pt>
                <c:pt idx="55">
                  <c:v>0.1600877192982456</c:v>
                </c:pt>
                <c:pt idx="56">
                  <c:v>0.18225419664268586</c:v>
                </c:pt>
                <c:pt idx="57">
                  <c:v>0.17009345794392525</c:v>
                </c:pt>
                <c:pt idx="58">
                  <c:v>0.20991735537190082</c:v>
                </c:pt>
                <c:pt idx="59">
                  <c:v>0.14965197215777262</c:v>
                </c:pt>
                <c:pt idx="60">
                  <c:v>0.13958810068649885</c:v>
                </c:pt>
                <c:pt idx="61">
                  <c:v>0.1845841784989858</c:v>
                </c:pt>
                <c:pt idx="62">
                  <c:v>0.16344725111441308</c:v>
                </c:pt>
                <c:pt idx="63">
                  <c:v>0.18760469011725292</c:v>
                </c:pt>
                <c:pt idx="64">
                  <c:v>0.14904458598726114</c:v>
                </c:pt>
                <c:pt idx="65">
                  <c:v>0.17002881844380405</c:v>
                </c:pt>
                <c:pt idx="66">
                  <c:v>0.15447154471544716</c:v>
                </c:pt>
                <c:pt idx="67">
                  <c:v>0.15987460815047022</c:v>
                </c:pt>
                <c:pt idx="68">
                  <c:v>0.14971209213051823</c:v>
                </c:pt>
                <c:pt idx="69">
                  <c:v>0.11838790931989925</c:v>
                </c:pt>
                <c:pt idx="70">
                  <c:v>0.11778290993071594</c:v>
                </c:pt>
                <c:pt idx="71">
                  <c:v>0.11731843575418995</c:v>
                </c:pt>
                <c:pt idx="72">
                  <c:v>0.12129380053908356</c:v>
                </c:pt>
                <c:pt idx="73">
                  <c:v>0.13404825737265416</c:v>
                </c:pt>
                <c:pt idx="74">
                  <c:v>0.14962593516209477</c:v>
                </c:pt>
                <c:pt idx="75">
                  <c:v>0.13793103448275862</c:v>
                </c:pt>
                <c:pt idx="76">
                  <c:v>0.1792452830188679</c:v>
                </c:pt>
                <c:pt idx="77">
                  <c:v>0.18874172185430463</c:v>
                </c:pt>
                <c:pt idx="78">
                  <c:v>0.15671641791044777</c:v>
                </c:pt>
                <c:pt idx="79">
                  <c:v>0.14426229508196722</c:v>
                </c:pt>
                <c:pt idx="80">
                  <c:v>0.14615384615384616</c:v>
                </c:pt>
                <c:pt idx="81">
                  <c:v>0.09547738693467336</c:v>
                </c:pt>
                <c:pt idx="82">
                  <c:v>0.10476190476190476</c:v>
                </c:pt>
                <c:pt idx="83">
                  <c:v>0.11567164179104478</c:v>
                </c:pt>
                <c:pt idx="84">
                  <c:v>0.11068702290076336</c:v>
                </c:pt>
                <c:pt idx="85">
                  <c:v>0.10606060606060606</c:v>
                </c:pt>
                <c:pt idx="86">
                  <c:v>0.10772833723653395</c:v>
                </c:pt>
                <c:pt idx="87">
                  <c:v>0.12435233160621761</c:v>
                </c:pt>
                <c:pt idx="88">
                  <c:v>0.09507042253521127</c:v>
                </c:pt>
                <c:pt idx="89">
                  <c:v>0.11851851851851852</c:v>
                </c:pt>
                <c:pt idx="90">
                  <c:v>0.11743772241992882</c:v>
                </c:pt>
                <c:pt idx="91">
                  <c:v>0.11538461538461539</c:v>
                </c:pt>
                <c:pt idx="92">
                  <c:v>0.1440443213296399</c:v>
                </c:pt>
                <c:pt idx="93">
                  <c:v>0.1358313817330211</c:v>
                </c:pt>
                <c:pt idx="94">
                  <c:v>0.12121212121212122</c:v>
                </c:pt>
                <c:pt idx="95">
                  <c:v>0.13238289205702647</c:v>
                </c:pt>
                <c:pt idx="96">
                  <c:v>0.10824742268041238</c:v>
                </c:pt>
                <c:pt idx="97">
                  <c:v>0.09487666034155598</c:v>
                </c:pt>
                <c:pt idx="98">
                  <c:v>0.11081081081081082</c:v>
                </c:pt>
                <c:pt idx="99">
                  <c:v>0.13959183673469389</c:v>
                </c:pt>
                <c:pt idx="100">
                  <c:v>0.16376582278481014</c:v>
                </c:pt>
                <c:pt idx="101">
                  <c:v>0.19888734353268428</c:v>
                </c:pt>
                <c:pt idx="102">
                  <c:v>0.16308243727598568</c:v>
                </c:pt>
                <c:pt idx="103">
                  <c:v>0.16585365853658537</c:v>
                </c:pt>
                <c:pt idx="104">
                  <c:v>0.180400890868596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27.8611</c:v>
                </c:pt>
                <c:pt idx="31">
                  <c:v>436.4865</c:v>
                </c:pt>
                <c:pt idx="32">
                  <c:v>412.7241</c:v>
                </c:pt>
                <c:pt idx="33">
                  <c:v>369.6875</c:v>
                </c:pt>
                <c:pt idx="34">
                  <c:v>433.1867</c:v>
                </c:pt>
                <c:pt idx="35">
                  <c:v>349.0328</c:v>
                </c:pt>
                <c:pt idx="36">
                  <c:v>432.9512</c:v>
                </c:pt>
                <c:pt idx="37">
                  <c:v>435.0213</c:v>
                </c:pt>
                <c:pt idx="38">
                  <c:v>458.1042</c:v>
                </c:pt>
                <c:pt idx="39">
                  <c:v>453.0192</c:v>
                </c:pt>
                <c:pt idx="40">
                  <c:v>434.1961</c:v>
                </c:pt>
                <c:pt idx="41">
                  <c:v>457.8039</c:v>
                </c:pt>
                <c:pt idx="42">
                  <c:v>368.717</c:v>
                </c:pt>
                <c:pt idx="43">
                  <c:v>405.2985</c:v>
                </c:pt>
                <c:pt idx="44">
                  <c:v>444.4787</c:v>
                </c:pt>
                <c:pt idx="45">
                  <c:v>435.848</c:v>
                </c:pt>
                <c:pt idx="46">
                  <c:v>412.5922</c:v>
                </c:pt>
                <c:pt idx="47">
                  <c:v>424.4505</c:v>
                </c:pt>
                <c:pt idx="48">
                  <c:v>412.9315</c:v>
                </c:pt>
                <c:pt idx="49">
                  <c:v>429.8012</c:v>
                </c:pt>
                <c:pt idx="50">
                  <c:v>444.7236</c:v>
                </c:pt>
                <c:pt idx="51">
                  <c:v>449.5857</c:v>
                </c:pt>
              </c:numCache>
            </c:numRef>
          </c:xVal>
          <c:yVal>
            <c:numRef>
              <c:f>Sheet1!$B$109:$B$160</c:f>
              <c:numCache>
                <c:formatCode>General</c:formatCode>
                <c:ptCount val="52"/>
                <c:pt idx="0">
                  <c:v>0.17333333333333334</c:v>
                </c:pt>
                <c:pt idx="1">
                  <c:v>0.21951219512195122</c:v>
                </c:pt>
                <c:pt idx="2">
                  <c:v>0.18996415770609318</c:v>
                </c:pt>
                <c:pt idx="3">
                  <c:v>0.21495327102803738</c:v>
                </c:pt>
                <c:pt idx="4">
                  <c:v>0.2062937062937063</c:v>
                </c:pt>
                <c:pt idx="5">
                  <c:v>0.1631578947368421</c:v>
                </c:pt>
                <c:pt idx="6">
                  <c:v>0.17092866756393002</c:v>
                </c:pt>
                <c:pt idx="7">
                  <c:v>0.19190140845070422</c:v>
                </c:pt>
                <c:pt idx="8">
                  <c:v>0.15167095115681234</c:v>
                </c:pt>
                <c:pt idx="9">
                  <c:v>0.13744075829383887</c:v>
                </c:pt>
                <c:pt idx="10">
                  <c:v>0.1746031746031746</c:v>
                </c:pt>
                <c:pt idx="11">
                  <c:v>0.1391465677179963</c:v>
                </c:pt>
                <c:pt idx="12">
                  <c:v>0.14035087719298245</c:v>
                </c:pt>
                <c:pt idx="13">
                  <c:v>0.1865671641791045</c:v>
                </c:pt>
                <c:pt idx="14">
                  <c:v>0.1988472622478386</c:v>
                </c:pt>
                <c:pt idx="15">
                  <c:v>0.1757188498402556</c:v>
                </c:pt>
                <c:pt idx="16">
                  <c:v>0.18382352941176472</c:v>
                </c:pt>
                <c:pt idx="17">
                  <c:v>0.16216216216216217</c:v>
                </c:pt>
                <c:pt idx="18">
                  <c:v>0.20072992700729927</c:v>
                </c:pt>
                <c:pt idx="19">
                  <c:v>0.21982758620689655</c:v>
                </c:pt>
                <c:pt idx="20">
                  <c:v>0.24166666666666667</c:v>
                </c:pt>
                <c:pt idx="21">
                  <c:v>0.2471264367816092</c:v>
                </c:pt>
                <c:pt idx="22">
                  <c:v>0.21176470588235294</c:v>
                </c:pt>
                <c:pt idx="23">
                  <c:v>0.20238095238095238</c:v>
                </c:pt>
                <c:pt idx="24">
                  <c:v>0.22110552763819097</c:v>
                </c:pt>
                <c:pt idx="25">
                  <c:v>0.25688073394495414</c:v>
                </c:pt>
                <c:pt idx="26">
                  <c:v>0.19170984455958548</c:v>
                </c:pt>
                <c:pt idx="27">
                  <c:v>0.19434628975265017</c:v>
                </c:pt>
                <c:pt idx="28">
                  <c:v>0.1624548736462094</c:v>
                </c:pt>
                <c:pt idx="29">
                  <c:v>0.19913419913419914</c:v>
                </c:pt>
                <c:pt idx="30">
                  <c:v>0.15450643776824036</c:v>
                </c:pt>
                <c:pt idx="31">
                  <c:v>0.15611814345991562</c:v>
                </c:pt>
                <c:pt idx="32">
                  <c:v>0.17791411042944785</c:v>
                </c:pt>
                <c:pt idx="33">
                  <c:v>0.16842105263157894</c:v>
                </c:pt>
                <c:pt idx="34">
                  <c:v>0.19035532994923857</c:v>
                </c:pt>
                <c:pt idx="35">
                  <c:v>0.21942446043165467</c:v>
                </c:pt>
                <c:pt idx="36">
                  <c:v>0.20398009950248755</c:v>
                </c:pt>
                <c:pt idx="37">
                  <c:v>0.22815533980582525</c:v>
                </c:pt>
                <c:pt idx="38">
                  <c:v>0.2222222222222222</c:v>
                </c:pt>
                <c:pt idx="39">
                  <c:v>0.1947565543071161</c:v>
                </c:pt>
                <c:pt idx="40">
                  <c:v>0.1875</c:v>
                </c:pt>
                <c:pt idx="41">
                  <c:v>0.1827956989247312</c:v>
                </c:pt>
                <c:pt idx="42">
                  <c:v>0.20463320463320464</c:v>
                </c:pt>
                <c:pt idx="43">
                  <c:v>0.18010752688172044</c:v>
                </c:pt>
                <c:pt idx="44">
                  <c:v>0.14050822122571002</c:v>
                </c:pt>
                <c:pt idx="45">
                  <c:v>0.13796909492273732</c:v>
                </c:pt>
                <c:pt idx="46">
                  <c:v>0.13517060367454067</c:v>
                </c:pt>
                <c:pt idx="47">
                  <c:v>0.13226744186046513</c:v>
                </c:pt>
                <c:pt idx="48">
                  <c:v>0.14556331006979062</c:v>
                </c:pt>
                <c:pt idx="49">
                  <c:v>0.15295169946332737</c:v>
                </c:pt>
                <c:pt idx="50">
                  <c:v>0.16835871404399322</c:v>
                </c:pt>
                <c:pt idx="51">
                  <c:v>0.206185567010309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1.2231248455451</c:v>
                </c:pt>
              </c:numCache>
            </c:numRef>
          </c:xVal>
          <c:yVal>
            <c:numRef>
              <c:f>Sheet1!$B$163:$B$164</c:f>
              <c:numCache>
                <c:formatCode>General</c:formatCode>
                <c:ptCount val="2"/>
                <c:pt idx="0">
                  <c:v>0.1966229314548097</c:v>
                </c:pt>
                <c:pt idx="1">
                  <c:v>0.19662293145480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1.2231248455451</c:v>
                </c:pt>
                <c:pt idx="1">
                  <c:v>391.2231248455451</c:v>
                </c:pt>
              </c:numCache>
            </c:numRef>
          </c:xVal>
          <c:yVal>
            <c:numRef>
              <c:f>Sheet1!$B$167:$B$168</c:f>
              <c:numCache>
                <c:formatCode>General</c:formatCode>
                <c:ptCount val="2"/>
                <c:pt idx="0">
                  <c:v>0.19662293145480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07.5955472799296</c:v>
                </c:pt>
              </c:numCache>
            </c:numRef>
          </c:xVal>
          <c:yVal>
            <c:numRef>
              <c:f>Sheet1!$B$171:$B$172</c:f>
              <c:numCache>
                <c:formatCode>General</c:formatCode>
                <c:ptCount val="2"/>
                <c:pt idx="0">
                  <c:v>0.19131478470596278</c:v>
                </c:pt>
                <c:pt idx="1">
                  <c:v>0.191314784705962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07.5955472799296</c:v>
                </c:pt>
                <c:pt idx="1">
                  <c:v>407.5955472799296</c:v>
                </c:pt>
              </c:numCache>
            </c:numRef>
          </c:xVal>
          <c:yVal>
            <c:numRef>
              <c:f>Sheet1!$B$175:$B$176</c:f>
              <c:numCache>
                <c:formatCode>General</c:formatCode>
                <c:ptCount val="2"/>
                <c:pt idx="0">
                  <c:v>0.191314784705962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83.1216059426221</c:v>
                </c:pt>
              </c:numCache>
            </c:numRef>
          </c:xVal>
          <c:yVal>
            <c:numRef>
              <c:f>Sheet1!$B$179:$B$180</c:f>
              <c:numCache>
                <c:formatCode>General</c:formatCode>
                <c:ptCount val="2"/>
                <c:pt idx="0">
                  <c:v>0.16682827977058817</c:v>
                </c:pt>
                <c:pt idx="1">
                  <c:v>0.166828279770588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83.1216059426221</c:v>
                </c:pt>
                <c:pt idx="1">
                  <c:v>483.1216059426221</c:v>
                </c:pt>
              </c:numCache>
            </c:numRef>
          </c:xVal>
          <c:yVal>
            <c:numRef>
              <c:f>Sheet1!$B$183:$B$184</c:f>
              <c:numCache>
                <c:formatCode>General</c:formatCode>
                <c:ptCount val="2"/>
                <c:pt idx="0">
                  <c:v>0.166828279770588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27.8611</c:v>
                </c:pt>
                <c:pt idx="31">
                  <c:v>436.4865</c:v>
                </c:pt>
                <c:pt idx="32">
                  <c:v>412.7241</c:v>
                </c:pt>
                <c:pt idx="33">
                  <c:v>369.6875</c:v>
                </c:pt>
                <c:pt idx="34">
                  <c:v>433.1867</c:v>
                </c:pt>
                <c:pt idx="35">
                  <c:v>349.0328</c:v>
                </c:pt>
                <c:pt idx="36">
                  <c:v>432.9512</c:v>
                </c:pt>
                <c:pt idx="37">
                  <c:v>435.0213</c:v>
                </c:pt>
                <c:pt idx="38">
                  <c:v>458.1042</c:v>
                </c:pt>
                <c:pt idx="39">
                  <c:v>453.0192</c:v>
                </c:pt>
                <c:pt idx="40">
                  <c:v>434.1961</c:v>
                </c:pt>
                <c:pt idx="41">
                  <c:v>457.8039</c:v>
                </c:pt>
                <c:pt idx="42">
                  <c:v>368.717</c:v>
                </c:pt>
                <c:pt idx="43">
                  <c:v>405.2985</c:v>
                </c:pt>
                <c:pt idx="44">
                  <c:v>444.4787</c:v>
                </c:pt>
                <c:pt idx="45">
                  <c:v>435.848</c:v>
                </c:pt>
                <c:pt idx="46">
                  <c:v>412.5922</c:v>
                </c:pt>
                <c:pt idx="47">
                  <c:v>424.4505</c:v>
                </c:pt>
                <c:pt idx="48">
                  <c:v>412.9315</c:v>
                </c:pt>
                <c:pt idx="49">
                  <c:v>429.8012</c:v>
                </c:pt>
                <c:pt idx="50">
                  <c:v>444.7236</c:v>
                </c:pt>
                <c:pt idx="51">
                  <c:v>449.5857</c:v>
                </c:pt>
                <c:pt idx="52">
                  <c:v>407.5955472799296</c:v>
                </c:pt>
                <c:pt idx="53">
                  <c:v>391.2231248455451</c:v>
                </c:pt>
                <c:pt idx="54">
                  <c:v>483.1216059426221</c:v>
                </c:pt>
              </c:numCache>
            </c:numRef>
          </c:xVal>
          <c:yVal>
            <c:numRef>
              <c:f>Sheet1!$B$187:$B$241</c:f>
              <c:numCache>
                <c:formatCode>General</c:formatCode>
                <c:ptCount val="55"/>
                <c:pt idx="0">
                  <c:v>0.1818598832798493</c:v>
                </c:pt>
                <c:pt idx="1">
                  <c:v>0.1829882730473823</c:v>
                </c:pt>
                <c:pt idx="2">
                  <c:v>0.1779796412341683</c:v>
                </c:pt>
                <c:pt idx="3">
                  <c:v>0.17610073156292824</c:v>
                </c:pt>
                <c:pt idx="4">
                  <c:v>0.17662430259947262</c:v>
                </c:pt>
                <c:pt idx="5">
                  <c:v>0.17841385925958406</c:v>
                </c:pt>
                <c:pt idx="6">
                  <c:v>0.18423989604978463</c:v>
                </c:pt>
                <c:pt idx="7">
                  <c:v>0.19254593279653906</c:v>
                </c:pt>
                <c:pt idx="8">
                  <c:v>0.1774128526490628</c:v>
                </c:pt>
                <c:pt idx="9">
                  <c:v>0.1811330633221274</c:v>
                </c:pt>
                <c:pt idx="10">
                  <c:v>0.18555415693952385</c:v>
                </c:pt>
                <c:pt idx="11">
                  <c:v>0.17629149829641189</c:v>
                </c:pt>
                <c:pt idx="12">
                  <c:v>0.1727382571470456</c:v>
                </c:pt>
                <c:pt idx="13">
                  <c:v>0.17464015349640255</c:v>
                </c:pt>
                <c:pt idx="14">
                  <c:v>0.1731734153891967</c:v>
                </c:pt>
                <c:pt idx="15">
                  <c:v>0.17125932864354645</c:v>
                </c:pt>
                <c:pt idx="16">
                  <c:v>0.16660833582371415</c:v>
                </c:pt>
                <c:pt idx="17">
                  <c:v>0.18539415798817416</c:v>
                </c:pt>
                <c:pt idx="18">
                  <c:v>0.17939411625939325</c:v>
                </c:pt>
                <c:pt idx="19">
                  <c:v>0.1864158169456072</c:v>
                </c:pt>
                <c:pt idx="20">
                  <c:v>0.19340282687641197</c:v>
                </c:pt>
                <c:pt idx="21">
                  <c:v>0.19926634265096116</c:v>
                </c:pt>
                <c:pt idx="22">
                  <c:v>0.18315037938106993</c:v>
                </c:pt>
                <c:pt idx="23">
                  <c:v>0.18783664653911267</c:v>
                </c:pt>
                <c:pt idx="24">
                  <c:v>0.18870783839761684</c:v>
                </c:pt>
                <c:pt idx="25">
                  <c:v>0.24203871479851502</c:v>
                </c:pt>
                <c:pt idx="26">
                  <c:v>0.19680919968745725</c:v>
                </c:pt>
                <c:pt idx="27">
                  <c:v>0.1865149936005573</c:v>
                </c:pt>
                <c:pt idx="28">
                  <c:v>0.1828477916986086</c:v>
                </c:pt>
                <c:pt idx="29">
                  <c:v>0.1862711208321576</c:v>
                </c:pt>
                <c:pt idx="30">
                  <c:v>0.18474443580275404</c:v>
                </c:pt>
                <c:pt idx="31">
                  <c:v>0.1819479718615752</c:v>
                </c:pt>
                <c:pt idx="32">
                  <c:v>0.1896520429488139</c:v>
                </c:pt>
                <c:pt idx="33">
                  <c:v>0.20360505382957755</c:v>
                </c:pt>
                <c:pt idx="34">
                  <c:v>0.1830178088213802</c:v>
                </c:pt>
                <c:pt idx="35">
                  <c:v>0.21030156921041407</c:v>
                </c:pt>
                <c:pt idx="36">
                  <c:v>0.18309416090454708</c:v>
                </c:pt>
                <c:pt idx="37">
                  <c:v>0.18242300826181346</c:v>
                </c:pt>
                <c:pt idx="38">
                  <c:v>0.17493923968205627</c:v>
                </c:pt>
                <c:pt idx="39">
                  <c:v>0.17658786109565963</c:v>
                </c:pt>
                <c:pt idx="40">
                  <c:v>0.18269054855493155</c:v>
                </c:pt>
                <c:pt idx="41">
                  <c:v>0.17503660074606905</c:v>
                </c:pt>
                <c:pt idx="42">
                  <c:v>0.20391970222326528</c:v>
                </c:pt>
                <c:pt idx="43">
                  <c:v>0.1920595165316759</c:v>
                </c:pt>
                <c:pt idx="44">
                  <c:v>0.17935679938137836</c:v>
                </c:pt>
                <c:pt idx="45">
                  <c:v>0.18215498164969432</c:v>
                </c:pt>
                <c:pt idx="46">
                  <c:v>0.18969480659964072</c:v>
                </c:pt>
                <c:pt idx="47">
                  <c:v>0.18585019552610424</c:v>
                </c:pt>
                <c:pt idx="48">
                  <c:v>0.18958480124160026</c:v>
                </c:pt>
                <c:pt idx="49">
                  <c:v>0.18411543080677925</c:v>
                </c:pt>
                <c:pt idx="50">
                  <c:v>0.17927739969913814</c:v>
                </c:pt>
                <c:pt idx="51">
                  <c:v>0.17770104528909272</c:v>
                </c:pt>
                <c:pt idx="52">
                  <c:v>0.19131478470596278</c:v>
                </c:pt>
                <c:pt idx="53">
                  <c:v>0.1966229314548097</c:v>
                </c:pt>
                <c:pt idx="54">
                  <c:v>0.166828279770588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1.0"/>
          <c:min val="20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25688073394497"/>
          <c:min val="0.075901328273244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28602459843965124</c:v>
                </c:pt>
                <c:pt idx="1">
                  <c:v>0.03019977477905778</c:v>
                </c:pt>
                <c:pt idx="2">
                  <c:v>0.028901604398070234</c:v>
                </c:pt>
                <c:pt idx="3">
                  <c:v>0.031400184111020926</c:v>
                </c:pt>
                <c:pt idx="4">
                  <c:v>0.03301350396941295</c:v>
                </c:pt>
                <c:pt idx="5">
                  <c:v>0.032597979665454094</c:v>
                </c:pt>
                <c:pt idx="6">
                  <c:v>0.04112502364034258</c:v>
                </c:pt>
                <c:pt idx="7">
                  <c:v>0.037375186315565335</c:v>
                </c:pt>
                <c:pt idx="8">
                  <c:v>0.03336228726546416</c:v>
                </c:pt>
                <c:pt idx="9">
                  <c:v>0.03501300581204079</c:v>
                </c:pt>
                <c:pt idx="10">
                  <c:v>0.03672525310003082</c:v>
                </c:pt>
                <c:pt idx="11">
                  <c:v>0.03496283195592286</c:v>
                </c:pt>
                <c:pt idx="12">
                  <c:v>0.035560408339707715</c:v>
                </c:pt>
                <c:pt idx="13">
                  <c:v>0.0304</c:v>
                </c:pt>
                <c:pt idx="14">
                  <c:v>0.0375738733447899</c:v>
                </c:pt>
                <c:pt idx="15">
                  <c:v>0.038138894109330315</c:v>
                </c:pt>
                <c:pt idx="16">
                  <c:v>0.03111140275796481</c:v>
                </c:pt>
                <c:pt idx="17">
                  <c:v>0.029058686327077747</c:v>
                </c:pt>
                <c:pt idx="18">
                  <c:v>0.036180738692918726</c:v>
                </c:pt>
                <c:pt idx="19">
                  <c:v>0.028536868127184385</c:v>
                </c:pt>
                <c:pt idx="20">
                  <c:v>0.03475692053549107</c:v>
                </c:pt>
                <c:pt idx="21">
                  <c:v>0.025355943309966475</c:v>
                </c:pt>
                <c:pt idx="22">
                  <c:v>0.030146632794045548</c:v>
                </c:pt>
                <c:pt idx="23">
                  <c:v>0.03816218648071083</c:v>
                </c:pt>
                <c:pt idx="24">
                  <c:v>0.026906574114881742</c:v>
                </c:pt>
                <c:pt idx="25">
                  <c:v>0.0396231474708828</c:v>
                </c:pt>
                <c:pt idx="26">
                  <c:v>0.030300298557672092</c:v>
                </c:pt>
                <c:pt idx="27">
                  <c:v>0.03388006253747483</c:v>
                </c:pt>
                <c:pt idx="28">
                  <c:v>0.03395582519670111</c:v>
                </c:pt>
                <c:pt idx="29">
                  <c:v>0.028377964550216565</c:v>
                </c:pt>
                <c:pt idx="30">
                  <c:v>0.0355901035410152</c:v>
                </c:pt>
                <c:pt idx="31">
                  <c:v>0.026177513327601033</c:v>
                </c:pt>
                <c:pt idx="32">
                  <c:v>0.0361541736266883</c:v>
                </c:pt>
                <c:pt idx="33">
                  <c:v>0.030132629330323853</c:v>
                </c:pt>
                <c:pt idx="34">
                  <c:v>0.03498749371994545</c:v>
                </c:pt>
                <c:pt idx="35">
                  <c:v>0.03171999671916011</c:v>
                </c:pt>
                <c:pt idx="36">
                  <c:v>0.034288339692963</c:v>
                </c:pt>
                <c:pt idx="37">
                  <c:v>0.035874256898984526</c:v>
                </c:pt>
                <c:pt idx="38">
                  <c:v>0.03261579079288161</c:v>
                </c:pt>
                <c:pt idx="39">
                  <c:v>0.03818973604253703</c:v>
                </c:pt>
                <c:pt idx="40">
                  <c:v>0.03816506886025214</c:v>
                </c:pt>
                <c:pt idx="41">
                  <c:v>0.03627887976967227</c:v>
                </c:pt>
                <c:pt idx="42">
                  <c:v>0.034892266824085</c:v>
                </c:pt>
                <c:pt idx="43">
                  <c:v>0.0381572280574671</c:v>
                </c:pt>
                <c:pt idx="44">
                  <c:v>0.033029443324079824</c:v>
                </c:pt>
                <c:pt idx="45">
                  <c:v>0.0359666935727979</c:v>
                </c:pt>
                <c:pt idx="46">
                  <c:v>0.037061643059490085</c:v>
                </c:pt>
                <c:pt idx="47">
                  <c:v>0.03655982615645919</c:v>
                </c:pt>
                <c:pt idx="48">
                  <c:v>0.03487296024119088</c:v>
                </c:pt>
                <c:pt idx="49">
                  <c:v>0.0382383465556543</c:v>
                </c:pt>
                <c:pt idx="50">
                  <c:v>0.03837123719149954</c:v>
                </c:pt>
                <c:pt idx="51">
                  <c:v>0.033432304038004755</c:v>
                </c:pt>
                <c:pt idx="52">
                  <c:v>0.03685877144648591</c:v>
                </c:pt>
                <c:pt idx="53">
                  <c:v>0.03958855824670315</c:v>
                </c:pt>
                <c:pt idx="54">
                  <c:v>0.03757304199772985</c:v>
                </c:pt>
                <c:pt idx="55">
                  <c:v>0.03705673470894393</c:v>
                </c:pt>
                <c:pt idx="56">
                  <c:v>0.03075342796391012</c:v>
                </c:pt>
                <c:pt idx="57">
                  <c:v>0.04299573205699413</c:v>
                </c:pt>
                <c:pt idx="58">
                  <c:v>0.04173794555117535</c:v>
                </c:pt>
                <c:pt idx="59">
                  <c:v>0.04511875101375719</c:v>
                </c:pt>
                <c:pt idx="60">
                  <c:v>0.03584011189755586</c:v>
                </c:pt>
                <c:pt idx="61">
                  <c:v>0.03727209386195538</c:v>
                </c:pt>
                <c:pt idx="62">
                  <c:v>0.03470672041827684</c:v>
                </c:pt>
                <c:pt idx="63">
                  <c:v>0.03699593282840151</c:v>
                </c:pt>
                <c:pt idx="64">
                  <c:v>0.04388005576433502</c:v>
                </c:pt>
                <c:pt idx="65">
                  <c:v>0.04486220296733321</c:v>
                </c:pt>
                <c:pt idx="66">
                  <c:v>0.03958654059617752</c:v>
                </c:pt>
                <c:pt idx="67">
                  <c:v>0.03278853017196575</c:v>
                </c:pt>
                <c:pt idx="68">
                  <c:v>0.03236279309014625</c:v>
                </c:pt>
                <c:pt idx="69">
                  <c:v>0.03323594776609724</c:v>
                </c:pt>
                <c:pt idx="70">
                  <c:v>0.028287190414881012</c:v>
                </c:pt>
                <c:pt idx="71">
                  <c:v>0.036032153093549985</c:v>
                </c:pt>
                <c:pt idx="72">
                  <c:v>0.03302418972916975</c:v>
                </c:pt>
                <c:pt idx="73">
                  <c:v>0.03481403791851553</c:v>
                </c:pt>
                <c:pt idx="74">
                  <c:v>0.03424335892105995</c:v>
                </c:pt>
                <c:pt idx="75">
                  <c:v>0.03761207574955706</c:v>
                </c:pt>
                <c:pt idx="76">
                  <c:v>0.03264502905607036</c:v>
                </c:pt>
                <c:pt idx="77">
                  <c:v>0.029919221178318994</c:v>
                </c:pt>
                <c:pt idx="78">
                  <c:v>0.037950409772037515</c:v>
                </c:pt>
                <c:pt idx="79">
                  <c:v>0.040373395278278185</c:v>
                </c:pt>
                <c:pt idx="80">
                  <c:v>0.032732995851789355</c:v>
                </c:pt>
                <c:pt idx="81">
                  <c:v>0.034783242817788274</c:v>
                </c:pt>
                <c:pt idx="82">
                  <c:v>0.03349697844400005</c:v>
                </c:pt>
                <c:pt idx="83">
                  <c:v>0.03227687283753839</c:v>
                </c:pt>
                <c:pt idx="84">
                  <c:v>0.03335310628885244</c:v>
                </c:pt>
                <c:pt idx="85">
                  <c:v>0.028750038710502475</c:v>
                </c:pt>
                <c:pt idx="86">
                  <c:v>0.03449401911053439</c:v>
                </c:pt>
                <c:pt idx="87">
                  <c:v>0.03893307611364623</c:v>
                </c:pt>
                <c:pt idx="88">
                  <c:v>0.03837606837606838</c:v>
                </c:pt>
                <c:pt idx="89">
                  <c:v>0.029798615152120827</c:v>
                </c:pt>
                <c:pt idx="90">
                  <c:v>0.03150544189171832</c:v>
                </c:pt>
                <c:pt idx="91">
                  <c:v>0.041648323550690626</c:v>
                </c:pt>
                <c:pt idx="92">
                  <c:v>0.027893681946053284</c:v>
                </c:pt>
                <c:pt idx="93">
                  <c:v>0.034352168137206304</c:v>
                </c:pt>
                <c:pt idx="94">
                  <c:v>0.030358648370497426</c:v>
                </c:pt>
                <c:pt idx="95">
                  <c:v>0.03356041236438988</c:v>
                </c:pt>
                <c:pt idx="96">
                  <c:v>0.039657596220275905</c:v>
                </c:pt>
                <c:pt idx="97">
                  <c:v>0.03662245912388688</c:v>
                </c:pt>
                <c:pt idx="98">
                  <c:v>0.03922531680252072</c:v>
                </c:pt>
                <c:pt idx="99">
                  <c:v>0.03193682535676602</c:v>
                </c:pt>
                <c:pt idx="100">
                  <c:v>0.03235195982059185</c:v>
                </c:pt>
                <c:pt idx="101">
                  <c:v>0.04515603711511935</c:v>
                </c:pt>
                <c:pt idx="102">
                  <c:v>0.03862506412856389</c:v>
                </c:pt>
                <c:pt idx="103">
                  <c:v>0.03349210131411362</c:v>
                </c:pt>
                <c:pt idx="104">
                  <c:v>0.03945846538322442</c:v>
                </c:pt>
              </c:numCache>
            </c:numRef>
          </c:xVal>
          <c:yVal>
            <c:numRef>
              <c:f>Sheet1!$B$2:$B$106</c:f>
              <c:numCache>
                <c:formatCode>General</c:formatCode>
                <c:ptCount val="105"/>
                <c:pt idx="0">
                  <c:v>0.1853211009174312</c:v>
                </c:pt>
                <c:pt idx="1">
                  <c:v>0.22274881516587677</c:v>
                </c:pt>
                <c:pt idx="2">
                  <c:v>0.22064777327935223</c:v>
                </c:pt>
                <c:pt idx="3">
                  <c:v>0.14912280701754385</c:v>
                </c:pt>
                <c:pt idx="4">
                  <c:v>0.21258134490238612</c:v>
                </c:pt>
                <c:pt idx="5">
                  <c:v>0.19950124688279303</c:v>
                </c:pt>
                <c:pt idx="6">
                  <c:v>0.23011363636363635</c:v>
                </c:pt>
                <c:pt idx="7">
                  <c:v>0.1743119266055046</c:v>
                </c:pt>
                <c:pt idx="8">
                  <c:v>0.17525773195876287</c:v>
                </c:pt>
                <c:pt idx="9">
                  <c:v>0.14757709251101322</c:v>
                </c:pt>
                <c:pt idx="10">
                  <c:v>0.1828978622327791</c:v>
                </c:pt>
                <c:pt idx="11">
                  <c:v>0.18434343434343434</c:v>
                </c:pt>
                <c:pt idx="12">
                  <c:v>0.19143576826196473</c:v>
                </c:pt>
                <c:pt idx="13">
                  <c:v>0.22556390977443608</c:v>
                </c:pt>
                <c:pt idx="14">
                  <c:v>0.2315035799522673</c:v>
                </c:pt>
                <c:pt idx="15">
                  <c:v>0.18077803203661327</c:v>
                </c:pt>
                <c:pt idx="16">
                  <c:v>0.17142857142857143</c:v>
                </c:pt>
                <c:pt idx="17">
                  <c:v>0.16304347826086957</c:v>
                </c:pt>
                <c:pt idx="18">
                  <c:v>0.12631578947368421</c:v>
                </c:pt>
                <c:pt idx="19">
                  <c:v>0.13864306784660768</c:v>
                </c:pt>
                <c:pt idx="20">
                  <c:v>0.10899182561307902</c:v>
                </c:pt>
                <c:pt idx="21">
                  <c:v>0.15555555555555556</c:v>
                </c:pt>
                <c:pt idx="22">
                  <c:v>0.14344262295081966</c:v>
                </c:pt>
                <c:pt idx="23">
                  <c:v>0.18604651162790697</c:v>
                </c:pt>
                <c:pt idx="24">
                  <c:v>0.1975806451612903</c:v>
                </c:pt>
                <c:pt idx="25">
                  <c:v>0.19480519480519481</c:v>
                </c:pt>
                <c:pt idx="26">
                  <c:v>0.13565891472868216</c:v>
                </c:pt>
                <c:pt idx="27">
                  <c:v>0.15384615384615385</c:v>
                </c:pt>
                <c:pt idx="28">
                  <c:v>0.15254237288135594</c:v>
                </c:pt>
                <c:pt idx="29">
                  <c:v>0.1346704871060172</c:v>
                </c:pt>
                <c:pt idx="30">
                  <c:v>0.15702479338842976</c:v>
                </c:pt>
                <c:pt idx="31">
                  <c:v>0.145748987854251</c:v>
                </c:pt>
                <c:pt idx="32">
                  <c:v>0.1387900355871886</c:v>
                </c:pt>
                <c:pt idx="33">
                  <c:v>0.1903485254691689</c:v>
                </c:pt>
                <c:pt idx="34">
                  <c:v>0.15931372549019607</c:v>
                </c:pt>
                <c:pt idx="35">
                  <c:v>0.18208092485549132</c:v>
                </c:pt>
                <c:pt idx="36">
                  <c:v>0.15087719298245614</c:v>
                </c:pt>
                <c:pt idx="37">
                  <c:v>0.16233766233766234</c:v>
                </c:pt>
                <c:pt idx="38">
                  <c:v>0.11974110032362459</c:v>
                </c:pt>
                <c:pt idx="39">
                  <c:v>0.17391304347826086</c:v>
                </c:pt>
                <c:pt idx="40">
                  <c:v>0.13533834586466165</c:v>
                </c:pt>
                <c:pt idx="41">
                  <c:v>0.13793103448275862</c:v>
                </c:pt>
                <c:pt idx="42">
                  <c:v>0.13615023474178403</c:v>
                </c:pt>
                <c:pt idx="43">
                  <c:v>0.14699792960662525</c:v>
                </c:pt>
                <c:pt idx="44">
                  <c:v>0.14859437751004015</c:v>
                </c:pt>
                <c:pt idx="45">
                  <c:v>0.15898825654923215</c:v>
                </c:pt>
                <c:pt idx="46">
                  <c:v>0.1935483870967742</c:v>
                </c:pt>
                <c:pt idx="47">
                  <c:v>0.19927536231884058</c:v>
                </c:pt>
                <c:pt idx="48">
                  <c:v>0.20305480682839172</c:v>
                </c:pt>
                <c:pt idx="49">
                  <c:v>0.20857558139534885</c:v>
                </c:pt>
                <c:pt idx="50">
                  <c:v>0.18854748603351956</c:v>
                </c:pt>
                <c:pt idx="51">
                  <c:v>0.1651376146788991</c:v>
                </c:pt>
                <c:pt idx="52">
                  <c:v>0.1686046511627907</c:v>
                </c:pt>
                <c:pt idx="53">
                  <c:v>0.18652849740932642</c:v>
                </c:pt>
                <c:pt idx="54">
                  <c:v>0.18493150684931506</c:v>
                </c:pt>
                <c:pt idx="55">
                  <c:v>0.1600877192982456</c:v>
                </c:pt>
                <c:pt idx="56">
                  <c:v>0.18225419664268586</c:v>
                </c:pt>
                <c:pt idx="57">
                  <c:v>0.17009345794392525</c:v>
                </c:pt>
                <c:pt idx="58">
                  <c:v>0.20991735537190082</c:v>
                </c:pt>
                <c:pt idx="59">
                  <c:v>0.14965197215777262</c:v>
                </c:pt>
                <c:pt idx="60">
                  <c:v>0.13958810068649885</c:v>
                </c:pt>
                <c:pt idx="61">
                  <c:v>0.1845841784989858</c:v>
                </c:pt>
                <c:pt idx="62">
                  <c:v>0.16344725111441308</c:v>
                </c:pt>
                <c:pt idx="63">
                  <c:v>0.18760469011725292</c:v>
                </c:pt>
                <c:pt idx="64">
                  <c:v>0.14904458598726114</c:v>
                </c:pt>
                <c:pt idx="65">
                  <c:v>0.17002881844380405</c:v>
                </c:pt>
                <c:pt idx="66">
                  <c:v>0.15447154471544716</c:v>
                </c:pt>
                <c:pt idx="67">
                  <c:v>0.15987460815047022</c:v>
                </c:pt>
                <c:pt idx="68">
                  <c:v>0.14971209213051823</c:v>
                </c:pt>
                <c:pt idx="69">
                  <c:v>0.11838790931989925</c:v>
                </c:pt>
                <c:pt idx="70">
                  <c:v>0.11778290993071594</c:v>
                </c:pt>
                <c:pt idx="71">
                  <c:v>0.11731843575418995</c:v>
                </c:pt>
                <c:pt idx="72">
                  <c:v>0.12129380053908356</c:v>
                </c:pt>
                <c:pt idx="73">
                  <c:v>0.13404825737265416</c:v>
                </c:pt>
                <c:pt idx="74">
                  <c:v>0.14962593516209477</c:v>
                </c:pt>
                <c:pt idx="75">
                  <c:v>0.13793103448275862</c:v>
                </c:pt>
                <c:pt idx="76">
                  <c:v>0.1792452830188679</c:v>
                </c:pt>
                <c:pt idx="77">
                  <c:v>0.18874172185430463</c:v>
                </c:pt>
                <c:pt idx="78">
                  <c:v>0.15671641791044777</c:v>
                </c:pt>
                <c:pt idx="79">
                  <c:v>0.14426229508196722</c:v>
                </c:pt>
                <c:pt idx="80">
                  <c:v>0.14615384615384616</c:v>
                </c:pt>
                <c:pt idx="81">
                  <c:v>0.09547738693467336</c:v>
                </c:pt>
                <c:pt idx="82">
                  <c:v>0.10476190476190476</c:v>
                </c:pt>
                <c:pt idx="83">
                  <c:v>0.11567164179104478</c:v>
                </c:pt>
                <c:pt idx="84">
                  <c:v>0.11068702290076336</c:v>
                </c:pt>
                <c:pt idx="85">
                  <c:v>0.10606060606060606</c:v>
                </c:pt>
                <c:pt idx="86">
                  <c:v>0.10772833723653395</c:v>
                </c:pt>
                <c:pt idx="87">
                  <c:v>0.12435233160621761</c:v>
                </c:pt>
                <c:pt idx="88">
                  <c:v>0.09507042253521127</c:v>
                </c:pt>
                <c:pt idx="89">
                  <c:v>0.11851851851851852</c:v>
                </c:pt>
                <c:pt idx="90">
                  <c:v>0.11743772241992882</c:v>
                </c:pt>
                <c:pt idx="91">
                  <c:v>0.11538461538461539</c:v>
                </c:pt>
                <c:pt idx="92">
                  <c:v>0.1440443213296399</c:v>
                </c:pt>
                <c:pt idx="93">
                  <c:v>0.1358313817330211</c:v>
                </c:pt>
                <c:pt idx="94">
                  <c:v>0.12121212121212122</c:v>
                </c:pt>
                <c:pt idx="95">
                  <c:v>0.13238289205702647</c:v>
                </c:pt>
                <c:pt idx="96">
                  <c:v>0.10824742268041238</c:v>
                </c:pt>
                <c:pt idx="97">
                  <c:v>0.09487666034155598</c:v>
                </c:pt>
                <c:pt idx="98">
                  <c:v>0.11081081081081082</c:v>
                </c:pt>
                <c:pt idx="99">
                  <c:v>0.13959183673469389</c:v>
                </c:pt>
                <c:pt idx="100">
                  <c:v>0.16376582278481014</c:v>
                </c:pt>
                <c:pt idx="101">
                  <c:v>0.19888734353268428</c:v>
                </c:pt>
                <c:pt idx="102">
                  <c:v>0.16308243727598568</c:v>
                </c:pt>
                <c:pt idx="103">
                  <c:v>0.16585365853658537</c:v>
                </c:pt>
                <c:pt idx="104">
                  <c:v>0.180400890868596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32492860427792036</c:v>
                </c:pt>
                <c:pt idx="1">
                  <c:v>0.032558306250117415</c:v>
                </c:pt>
                <c:pt idx="2">
                  <c:v>0.035765065954648706</c:v>
                </c:pt>
                <c:pt idx="3">
                  <c:v>0.03370634976547582</c:v>
                </c:pt>
                <c:pt idx="4">
                  <c:v>0.03450981408107284</c:v>
                </c:pt>
                <c:pt idx="5">
                  <c:v>0.030469733705645985</c:v>
                </c:pt>
                <c:pt idx="6">
                  <c:v>0.04056293914886097</c:v>
                </c:pt>
                <c:pt idx="7">
                  <c:v>0.041103585497625404</c:v>
                </c:pt>
                <c:pt idx="8">
                  <c:v>0.04293587372996054</c:v>
                </c:pt>
                <c:pt idx="9">
                  <c:v>0.031247775642394476</c:v>
                </c:pt>
                <c:pt idx="10">
                  <c:v>0.03840928258612127</c:v>
                </c:pt>
                <c:pt idx="11">
                  <c:v>0.0466870808325291</c:v>
                </c:pt>
                <c:pt idx="12">
                  <c:v>0.03646075840163131</c:v>
                </c:pt>
                <c:pt idx="13">
                  <c:v>0.046558366844532614</c:v>
                </c:pt>
                <c:pt idx="14">
                  <c:v>0.03656483533819759</c:v>
                </c:pt>
                <c:pt idx="15">
                  <c:v>0.0378676319345016</c:v>
                </c:pt>
                <c:pt idx="16">
                  <c:v>0.037718785327252174</c:v>
                </c:pt>
                <c:pt idx="17">
                  <c:v>0.03007111444022334</c:v>
                </c:pt>
                <c:pt idx="18">
                  <c:v>0.04003636363636364</c:v>
                </c:pt>
                <c:pt idx="19">
                  <c:v>0.03153815563679773</c:v>
                </c:pt>
                <c:pt idx="20">
                  <c:v>0.033828494328962344</c:v>
                </c:pt>
                <c:pt idx="21">
                  <c:v>0.03332877227073237</c:v>
                </c:pt>
                <c:pt idx="22">
                  <c:v>0.037452645351216306</c:v>
                </c:pt>
                <c:pt idx="23">
                  <c:v>0.03453722471052034</c:v>
                </c:pt>
                <c:pt idx="24">
                  <c:v>0.029449910319910035</c:v>
                </c:pt>
                <c:pt idx="25">
                  <c:v>0.021400576667047026</c:v>
                </c:pt>
                <c:pt idx="26">
                  <c:v>0.03326013494817054</c:v>
                </c:pt>
                <c:pt idx="27">
                  <c:v>0.04380742983966314</c:v>
                </c:pt>
                <c:pt idx="28">
                  <c:v>0.055107081678484944</c:v>
                </c:pt>
                <c:pt idx="29">
                  <c:v>0.06579252235760241</c:v>
                </c:pt>
                <c:pt idx="30">
                  <c:v>0.03873939300653713</c:v>
                </c:pt>
                <c:pt idx="31">
                  <c:v>0.03855070479756942</c:v>
                </c:pt>
                <c:pt idx="32">
                  <c:v>0.03913931721194879</c:v>
                </c:pt>
                <c:pt idx="33">
                  <c:v>0.03455410887202303</c:v>
                </c:pt>
                <c:pt idx="34">
                  <c:v>0.04780958337204921</c:v>
                </c:pt>
                <c:pt idx="35">
                  <c:v>0.04103440675014397</c:v>
                </c:pt>
                <c:pt idx="36">
                  <c:v>0.04524316112249377</c:v>
                </c:pt>
                <c:pt idx="37">
                  <c:v>0.03540716654797029</c:v>
                </c:pt>
                <c:pt idx="38">
                  <c:v>0.0392225932394945</c:v>
                </c:pt>
                <c:pt idx="39">
                  <c:v>0.04041566598269248</c:v>
                </c:pt>
                <c:pt idx="40">
                  <c:v>0.0352003323875152</c:v>
                </c:pt>
                <c:pt idx="41">
                  <c:v>0.04127427141794577</c:v>
                </c:pt>
                <c:pt idx="42">
                  <c:v>0.028578282436831498</c:v>
                </c:pt>
                <c:pt idx="43">
                  <c:v>0.03746173398650522</c:v>
                </c:pt>
                <c:pt idx="44">
                  <c:v>0.0501541594967418</c:v>
                </c:pt>
                <c:pt idx="45">
                  <c:v>0.03812793057596753</c:v>
                </c:pt>
                <c:pt idx="46">
                  <c:v>0.032643724904563166</c:v>
                </c:pt>
                <c:pt idx="47">
                  <c:v>0.03969275440926179</c:v>
                </c:pt>
                <c:pt idx="48">
                  <c:v>0.039314507078484974</c:v>
                </c:pt>
                <c:pt idx="49">
                  <c:v>0.03366567058961756</c:v>
                </c:pt>
                <c:pt idx="50">
                  <c:v>0.037329382633147265</c:v>
                </c:pt>
                <c:pt idx="51">
                  <c:v>0.03342727444688276</c:v>
                </c:pt>
              </c:numCache>
            </c:numRef>
          </c:xVal>
          <c:yVal>
            <c:numRef>
              <c:f>Sheet1!$B$109:$B$160</c:f>
              <c:numCache>
                <c:formatCode>General</c:formatCode>
                <c:ptCount val="52"/>
                <c:pt idx="0">
                  <c:v>0.17333333333333334</c:v>
                </c:pt>
                <c:pt idx="1">
                  <c:v>0.21951219512195122</c:v>
                </c:pt>
                <c:pt idx="2">
                  <c:v>0.18996415770609318</c:v>
                </c:pt>
                <c:pt idx="3">
                  <c:v>0.21495327102803738</c:v>
                </c:pt>
                <c:pt idx="4">
                  <c:v>0.2062937062937063</c:v>
                </c:pt>
                <c:pt idx="5">
                  <c:v>0.1631578947368421</c:v>
                </c:pt>
                <c:pt idx="6">
                  <c:v>0.17092866756393002</c:v>
                </c:pt>
                <c:pt idx="7">
                  <c:v>0.19190140845070422</c:v>
                </c:pt>
                <c:pt idx="8">
                  <c:v>0.15167095115681234</c:v>
                </c:pt>
                <c:pt idx="9">
                  <c:v>0.13744075829383887</c:v>
                </c:pt>
                <c:pt idx="10">
                  <c:v>0.1746031746031746</c:v>
                </c:pt>
                <c:pt idx="11">
                  <c:v>0.1391465677179963</c:v>
                </c:pt>
                <c:pt idx="12">
                  <c:v>0.14035087719298245</c:v>
                </c:pt>
                <c:pt idx="13">
                  <c:v>0.1865671641791045</c:v>
                </c:pt>
                <c:pt idx="14">
                  <c:v>0.1988472622478386</c:v>
                </c:pt>
                <c:pt idx="15">
                  <c:v>0.1757188498402556</c:v>
                </c:pt>
                <c:pt idx="16">
                  <c:v>0.18382352941176472</c:v>
                </c:pt>
                <c:pt idx="17">
                  <c:v>0.16216216216216217</c:v>
                </c:pt>
                <c:pt idx="18">
                  <c:v>0.20072992700729927</c:v>
                </c:pt>
                <c:pt idx="19">
                  <c:v>0.21982758620689655</c:v>
                </c:pt>
                <c:pt idx="20">
                  <c:v>0.24166666666666667</c:v>
                </c:pt>
                <c:pt idx="21">
                  <c:v>0.2471264367816092</c:v>
                </c:pt>
                <c:pt idx="22">
                  <c:v>0.21176470588235294</c:v>
                </c:pt>
                <c:pt idx="23">
                  <c:v>0.20238095238095238</c:v>
                </c:pt>
                <c:pt idx="24">
                  <c:v>0.22110552763819097</c:v>
                </c:pt>
                <c:pt idx="25">
                  <c:v>0.25688073394495414</c:v>
                </c:pt>
                <c:pt idx="26">
                  <c:v>0.19170984455958548</c:v>
                </c:pt>
                <c:pt idx="27">
                  <c:v>0.19434628975265017</c:v>
                </c:pt>
                <c:pt idx="28">
                  <c:v>0.1624548736462094</c:v>
                </c:pt>
                <c:pt idx="29">
                  <c:v>0.19913419913419914</c:v>
                </c:pt>
                <c:pt idx="30">
                  <c:v>0.15450643776824036</c:v>
                </c:pt>
                <c:pt idx="31">
                  <c:v>0.15611814345991562</c:v>
                </c:pt>
                <c:pt idx="32">
                  <c:v>0.17791411042944785</c:v>
                </c:pt>
                <c:pt idx="33">
                  <c:v>0.16842105263157894</c:v>
                </c:pt>
                <c:pt idx="34">
                  <c:v>0.19035532994923857</c:v>
                </c:pt>
                <c:pt idx="35">
                  <c:v>0.21942446043165467</c:v>
                </c:pt>
                <c:pt idx="36">
                  <c:v>0.20398009950248755</c:v>
                </c:pt>
                <c:pt idx="37">
                  <c:v>0.22815533980582525</c:v>
                </c:pt>
                <c:pt idx="38">
                  <c:v>0.2222222222222222</c:v>
                </c:pt>
                <c:pt idx="39">
                  <c:v>0.1947565543071161</c:v>
                </c:pt>
                <c:pt idx="40">
                  <c:v>0.1875</c:v>
                </c:pt>
                <c:pt idx="41">
                  <c:v>0.1827956989247312</c:v>
                </c:pt>
                <c:pt idx="42">
                  <c:v>0.20463320463320464</c:v>
                </c:pt>
                <c:pt idx="43">
                  <c:v>0.18010752688172044</c:v>
                </c:pt>
                <c:pt idx="44">
                  <c:v>0.14050822122571002</c:v>
                </c:pt>
                <c:pt idx="45">
                  <c:v>0.13796909492273732</c:v>
                </c:pt>
                <c:pt idx="46">
                  <c:v>0.13517060367454067</c:v>
                </c:pt>
                <c:pt idx="47">
                  <c:v>0.13226744186046513</c:v>
                </c:pt>
                <c:pt idx="48">
                  <c:v>0.14556331006979062</c:v>
                </c:pt>
                <c:pt idx="49">
                  <c:v>0.15295169946332737</c:v>
                </c:pt>
                <c:pt idx="50">
                  <c:v>0.16835871404399322</c:v>
                </c:pt>
                <c:pt idx="51">
                  <c:v>0.206185567010309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7225280539771513</c:v>
                </c:pt>
              </c:numCache>
            </c:numRef>
          </c:xVal>
          <c:yVal>
            <c:numRef>
              <c:f>Sheet1!$B$163:$B$164</c:f>
              <c:numCache>
                <c:formatCode>General</c:formatCode>
                <c:ptCount val="2"/>
                <c:pt idx="0">
                  <c:v>0.1966229314548097</c:v>
                </c:pt>
                <c:pt idx="1">
                  <c:v>0.19662293145480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7225280539771513</c:v>
                </c:pt>
                <c:pt idx="1">
                  <c:v>0.027225280539771513</c:v>
                </c:pt>
              </c:numCache>
            </c:numRef>
          </c:xVal>
          <c:yVal>
            <c:numRef>
              <c:f>Sheet1!$B$167:$B$168</c:f>
              <c:numCache>
                <c:formatCode>General</c:formatCode>
                <c:ptCount val="2"/>
                <c:pt idx="0">
                  <c:v>0.19662293145480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321077139199865</c:v>
                </c:pt>
              </c:numCache>
            </c:numRef>
          </c:xVal>
          <c:yVal>
            <c:numRef>
              <c:f>Sheet1!$B$171:$B$172</c:f>
              <c:numCache>
                <c:formatCode>General</c:formatCode>
                <c:ptCount val="2"/>
                <c:pt idx="0">
                  <c:v>0.19131478470596278</c:v>
                </c:pt>
                <c:pt idx="1">
                  <c:v>0.191314784705962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321077139199865</c:v>
                </c:pt>
                <c:pt idx="1">
                  <c:v>0.0321077139199865</c:v>
                </c:pt>
              </c:numCache>
            </c:numRef>
          </c:xVal>
          <c:yVal>
            <c:numRef>
              <c:f>Sheet1!$B$175:$B$176</c:f>
              <c:numCache>
                <c:formatCode>General</c:formatCode>
                <c:ptCount val="2"/>
                <c:pt idx="0">
                  <c:v>0.191314784705962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5463040116242993</c:v>
                </c:pt>
              </c:numCache>
            </c:numRef>
          </c:xVal>
          <c:yVal>
            <c:numRef>
              <c:f>Sheet1!$B$179:$B$180</c:f>
              <c:numCache>
                <c:formatCode>General</c:formatCode>
                <c:ptCount val="2"/>
                <c:pt idx="0">
                  <c:v>0.16682827977058817</c:v>
                </c:pt>
                <c:pt idx="1">
                  <c:v>0.166828279770588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5463040116242993</c:v>
                </c:pt>
                <c:pt idx="1">
                  <c:v>0.05463040116242993</c:v>
                </c:pt>
              </c:numCache>
            </c:numRef>
          </c:xVal>
          <c:yVal>
            <c:numRef>
              <c:f>Sheet1!$B$183:$B$184</c:f>
              <c:numCache>
                <c:formatCode>General</c:formatCode>
                <c:ptCount val="2"/>
                <c:pt idx="0">
                  <c:v>0.166828279770588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32492860427792036</c:v>
                </c:pt>
                <c:pt idx="1">
                  <c:v>0.032558306250117415</c:v>
                </c:pt>
                <c:pt idx="2">
                  <c:v>0.035765065954648706</c:v>
                </c:pt>
                <c:pt idx="3">
                  <c:v>0.03370634976547582</c:v>
                </c:pt>
                <c:pt idx="4">
                  <c:v>0.03450981408107284</c:v>
                </c:pt>
                <c:pt idx="5">
                  <c:v>0.030469733705645985</c:v>
                </c:pt>
                <c:pt idx="6">
                  <c:v>0.04056293914886097</c:v>
                </c:pt>
                <c:pt idx="7">
                  <c:v>0.041103585497625404</c:v>
                </c:pt>
                <c:pt idx="8">
                  <c:v>0.04293587372996054</c:v>
                </c:pt>
                <c:pt idx="9">
                  <c:v>0.031247775642394476</c:v>
                </c:pt>
                <c:pt idx="10">
                  <c:v>0.03840928258612127</c:v>
                </c:pt>
                <c:pt idx="11">
                  <c:v>0.0466870808325291</c:v>
                </c:pt>
                <c:pt idx="12">
                  <c:v>0.03646075840163131</c:v>
                </c:pt>
                <c:pt idx="13">
                  <c:v>0.046558366844532614</c:v>
                </c:pt>
                <c:pt idx="14">
                  <c:v>0.03656483533819759</c:v>
                </c:pt>
                <c:pt idx="15">
                  <c:v>0.0378676319345016</c:v>
                </c:pt>
                <c:pt idx="16">
                  <c:v>0.037718785327252174</c:v>
                </c:pt>
                <c:pt idx="17">
                  <c:v>0.03007111444022334</c:v>
                </c:pt>
                <c:pt idx="18">
                  <c:v>0.04003636363636364</c:v>
                </c:pt>
                <c:pt idx="19">
                  <c:v>0.03153815563679773</c:v>
                </c:pt>
                <c:pt idx="20">
                  <c:v>0.033828494328962344</c:v>
                </c:pt>
                <c:pt idx="21">
                  <c:v>0.03332877227073237</c:v>
                </c:pt>
                <c:pt idx="22">
                  <c:v>0.037452645351216306</c:v>
                </c:pt>
                <c:pt idx="23">
                  <c:v>0.03453722471052034</c:v>
                </c:pt>
                <c:pt idx="24">
                  <c:v>0.029449910319910035</c:v>
                </c:pt>
                <c:pt idx="25">
                  <c:v>0.021400576667047026</c:v>
                </c:pt>
                <c:pt idx="26">
                  <c:v>0.03326013494817054</c:v>
                </c:pt>
                <c:pt idx="27">
                  <c:v>0.04380742983966314</c:v>
                </c:pt>
                <c:pt idx="28">
                  <c:v>0.055107081678484944</c:v>
                </c:pt>
                <c:pt idx="29">
                  <c:v>0.06579252235760241</c:v>
                </c:pt>
                <c:pt idx="30">
                  <c:v>0.03873939300653713</c:v>
                </c:pt>
                <c:pt idx="31">
                  <c:v>0.03855070479756942</c:v>
                </c:pt>
                <c:pt idx="32">
                  <c:v>0.03913931721194879</c:v>
                </c:pt>
                <c:pt idx="33">
                  <c:v>0.03455410887202303</c:v>
                </c:pt>
                <c:pt idx="34">
                  <c:v>0.04780958337204921</c:v>
                </c:pt>
                <c:pt idx="35">
                  <c:v>0.04103440675014397</c:v>
                </c:pt>
                <c:pt idx="36">
                  <c:v>0.04524316112249377</c:v>
                </c:pt>
                <c:pt idx="37">
                  <c:v>0.03540716654797029</c:v>
                </c:pt>
                <c:pt idx="38">
                  <c:v>0.0392225932394945</c:v>
                </c:pt>
                <c:pt idx="39">
                  <c:v>0.04041566598269248</c:v>
                </c:pt>
                <c:pt idx="40">
                  <c:v>0.0352003323875152</c:v>
                </c:pt>
                <c:pt idx="41">
                  <c:v>0.04127427141794577</c:v>
                </c:pt>
                <c:pt idx="42">
                  <c:v>0.028578282436831498</c:v>
                </c:pt>
                <c:pt idx="43">
                  <c:v>0.03746173398650522</c:v>
                </c:pt>
                <c:pt idx="44">
                  <c:v>0.0501541594967418</c:v>
                </c:pt>
                <c:pt idx="45">
                  <c:v>0.03812793057596753</c:v>
                </c:pt>
                <c:pt idx="46">
                  <c:v>0.032643724904563166</c:v>
                </c:pt>
                <c:pt idx="47">
                  <c:v>0.03969275440926179</c:v>
                </c:pt>
                <c:pt idx="48">
                  <c:v>0.039314507078484974</c:v>
                </c:pt>
                <c:pt idx="49">
                  <c:v>0.03366567058961756</c:v>
                </c:pt>
                <c:pt idx="50">
                  <c:v>0.037329382633147265</c:v>
                </c:pt>
                <c:pt idx="51">
                  <c:v>0.03342727444688276</c:v>
                </c:pt>
                <c:pt idx="52">
                  <c:v>0.0321077139199865</c:v>
                </c:pt>
                <c:pt idx="53">
                  <c:v>0.027225280539771513</c:v>
                </c:pt>
                <c:pt idx="54">
                  <c:v>0.05463040116242993</c:v>
                </c:pt>
              </c:numCache>
            </c:numRef>
          </c:xVal>
          <c:yVal>
            <c:numRef>
              <c:f>Sheet1!$B$187:$B$241</c:f>
              <c:numCache>
                <c:formatCode>General</c:formatCode>
                <c:ptCount val="55"/>
                <c:pt idx="0">
                  <c:v>0.19089605616958943</c:v>
                </c:pt>
                <c:pt idx="1">
                  <c:v>0.19082490393832505</c:v>
                </c:pt>
                <c:pt idx="2">
                  <c:v>0.18733853765856814</c:v>
                </c:pt>
                <c:pt idx="3">
                  <c:v>0.1895767592164167</c:v>
                </c:pt>
                <c:pt idx="4">
                  <c:v>0.18870323854290716</c:v>
                </c:pt>
                <c:pt idx="5">
                  <c:v>0.19309558511271493</c:v>
                </c:pt>
                <c:pt idx="6">
                  <c:v>0.1821223241408496</c:v>
                </c:pt>
                <c:pt idx="7">
                  <c:v>0.18153453728643</c:v>
                </c:pt>
                <c:pt idx="8">
                  <c:v>0.17954248658834307</c:v>
                </c:pt>
                <c:pt idx="9">
                  <c:v>0.19224970346817394</c:v>
                </c:pt>
                <c:pt idx="10">
                  <c:v>0.18446376419571345</c:v>
                </c:pt>
                <c:pt idx="11">
                  <c:v>0.1754642009805067</c:v>
                </c:pt>
                <c:pt idx="12">
                  <c:v>0.18658218579197383</c:v>
                </c:pt>
                <c:pt idx="13">
                  <c:v>0.17560413791025226</c:v>
                </c:pt>
                <c:pt idx="14">
                  <c:v>0.18646903408882862</c:v>
                </c:pt>
                <c:pt idx="15">
                  <c:v>0.18505264292103446</c:v>
                </c:pt>
                <c:pt idx="16">
                  <c:v>0.1852144678908435</c:v>
                </c:pt>
                <c:pt idx="17">
                  <c:v>0.1935289611350802</c:v>
                </c:pt>
                <c:pt idx="18">
                  <c:v>0.1826948132824346</c:v>
                </c:pt>
                <c:pt idx="19">
                  <c:v>0.19193400440928501</c:v>
                </c:pt>
                <c:pt idx="20">
                  <c:v>0.18944396451814438</c:v>
                </c:pt>
                <c:pt idx="21">
                  <c:v>0.18998725877577208</c:v>
                </c:pt>
                <c:pt idx="22">
                  <c:v>0.18550381337464625</c:v>
                </c:pt>
                <c:pt idx="23">
                  <c:v>0.18867343790206786</c:v>
                </c:pt>
                <c:pt idx="24">
                  <c:v>0.19420432982417968</c:v>
                </c:pt>
                <c:pt idx="25">
                  <c:v>0.20295550796272244</c:v>
                </c:pt>
                <c:pt idx="26">
                  <c:v>0.19006188078333136</c:v>
                </c:pt>
                <c:pt idx="27">
                  <c:v>0.17859493700192108</c:v>
                </c:pt>
                <c:pt idx="28">
                  <c:v>0.16631003611327796</c:v>
                </c:pt>
                <c:pt idx="29">
                  <c:v>0.1546929012168349</c:v>
                </c:pt>
                <c:pt idx="30">
                  <c:v>0.18410487050102595</c:v>
                </c:pt>
                <c:pt idx="31">
                  <c:v>0.18431001097606783</c:v>
                </c:pt>
                <c:pt idx="32">
                  <c:v>0.18367007575721161</c:v>
                </c:pt>
                <c:pt idx="33">
                  <c:v>0.1886550815621021</c:v>
                </c:pt>
                <c:pt idx="34">
                  <c:v>0.1742438242253683</c:v>
                </c:pt>
                <c:pt idx="35">
                  <c:v>0.1816097479273004</c:v>
                </c:pt>
                <c:pt idx="36">
                  <c:v>0.17703402019104192</c:v>
                </c:pt>
                <c:pt idx="37">
                  <c:v>0.1877276433409258</c:v>
                </c:pt>
                <c:pt idx="38">
                  <c:v>0.18357953865399892</c:v>
                </c:pt>
                <c:pt idx="39">
                  <c:v>0.18228243847673745</c:v>
                </c:pt>
                <c:pt idx="40">
                  <c:v>0.18795251196500556</c:v>
                </c:pt>
                <c:pt idx="41">
                  <c:v>0.18134896877121093</c:v>
                </c:pt>
                <c:pt idx="42">
                  <c:v>0.19515195744210406</c:v>
                </c:pt>
                <c:pt idx="43">
                  <c:v>0.1854939322751814</c:v>
                </c:pt>
                <c:pt idx="44">
                  <c:v>0.17169481778441137</c:v>
                </c:pt>
                <c:pt idx="45">
                  <c:v>0.18476964809451502</c:v>
                </c:pt>
                <c:pt idx="46">
                  <c:v>0.1907320373864281</c:v>
                </c:pt>
                <c:pt idx="47">
                  <c:v>0.18306838278347592</c:v>
                </c:pt>
                <c:pt idx="48">
                  <c:v>0.18347961058378942</c:v>
                </c:pt>
                <c:pt idx="49">
                  <c:v>0.18962098532628086</c:v>
                </c:pt>
                <c:pt idx="50">
                  <c:v>0.18563782372260584</c:v>
                </c:pt>
                <c:pt idx="51">
                  <c:v>0.18988016791239115</c:v>
                </c:pt>
                <c:pt idx="52">
                  <c:v>0.19131478470596278</c:v>
                </c:pt>
                <c:pt idx="53">
                  <c:v>0.1966229314548097</c:v>
                </c:pt>
                <c:pt idx="54">
                  <c:v>0.166828279770588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25688073394497"/>
          <c:min val="0.075901328273244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6238</c:v>
                </c:pt>
                <c:pt idx="1">
                  <c:v>313.0106</c:v>
                </c:pt>
                <c:pt idx="2">
                  <c:v>322.0</c:v>
                </c:pt>
                <c:pt idx="3">
                  <c:v>317.2235</c:v>
                </c:pt>
                <c:pt idx="4">
                  <c:v>310.8469</c:v>
                </c:pt>
                <c:pt idx="5">
                  <c:v>312.4625</c:v>
                </c:pt>
                <c:pt idx="6">
                  <c:v>304.4321</c:v>
                </c:pt>
                <c:pt idx="7">
                  <c:v>315.9474</c:v>
                </c:pt>
                <c:pt idx="8">
                  <c:v>314.7843</c:v>
                </c:pt>
                <c:pt idx="9">
                  <c:v>319.2836</c:v>
                </c:pt>
                <c:pt idx="10">
                  <c:v>309.7922</c:v>
                </c:pt>
                <c:pt idx="11">
                  <c:v>317.2877</c:v>
                </c:pt>
                <c:pt idx="12">
                  <c:v>321.1579</c:v>
                </c:pt>
                <c:pt idx="13">
                  <c:v>323.0</c:v>
                </c:pt>
                <c:pt idx="14">
                  <c:v>323.5361</c:v>
                </c:pt>
                <c:pt idx="15">
                  <c:v>320.4557</c:v>
                </c:pt>
                <c:pt idx="16">
                  <c:v>327.1364</c:v>
                </c:pt>
                <c:pt idx="17">
                  <c:v>325.1667</c:v>
                </c:pt>
                <c:pt idx="18">
                  <c:v>331.0417</c:v>
                </c:pt>
                <c:pt idx="19">
                  <c:v>334.766</c:v>
                </c:pt>
                <c:pt idx="20">
                  <c:v>334.825</c:v>
                </c:pt>
                <c:pt idx="21">
                  <c:v>332.7714</c:v>
                </c:pt>
                <c:pt idx="22">
                  <c:v>338.2</c:v>
                </c:pt>
                <c:pt idx="23">
                  <c:v>339.3</c:v>
                </c:pt>
                <c:pt idx="24">
                  <c:v>366.3061</c:v>
                </c:pt>
                <c:pt idx="25">
                  <c:v>352.1111</c:v>
                </c:pt>
                <c:pt idx="26">
                  <c:v>360.2857</c:v>
                </c:pt>
                <c:pt idx="27">
                  <c:v>361.7826</c:v>
                </c:pt>
                <c:pt idx="28">
                  <c:v>358.2</c:v>
                </c:pt>
                <c:pt idx="29">
                  <c:v>358.3191</c:v>
                </c:pt>
                <c:pt idx="30">
                  <c:v>367.0526</c:v>
                </c:pt>
                <c:pt idx="31">
                  <c:v>380.5556</c:v>
                </c:pt>
                <c:pt idx="32">
                  <c:v>378.7692</c:v>
                </c:pt>
                <c:pt idx="33">
                  <c:v>373.8028</c:v>
                </c:pt>
                <c:pt idx="34">
                  <c:v>389.9846</c:v>
                </c:pt>
                <c:pt idx="35">
                  <c:v>386.7302</c:v>
                </c:pt>
                <c:pt idx="36">
                  <c:v>386.3953</c:v>
                </c:pt>
                <c:pt idx="37">
                  <c:v>387.72</c:v>
                </c:pt>
                <c:pt idx="38">
                  <c:v>390.3784</c:v>
                </c:pt>
                <c:pt idx="39">
                  <c:v>402.2143</c:v>
                </c:pt>
                <c:pt idx="40">
                  <c:v>409.4444</c:v>
                </c:pt>
                <c:pt idx="41">
                  <c:v>388.1042</c:v>
                </c:pt>
                <c:pt idx="42">
                  <c:v>401.931</c:v>
                </c:pt>
                <c:pt idx="43">
                  <c:v>395.0704</c:v>
                </c:pt>
                <c:pt idx="44">
                  <c:v>363.3514</c:v>
                </c:pt>
                <c:pt idx="45">
                  <c:v>356.4659</c:v>
                </c:pt>
                <c:pt idx="46">
                  <c:v>359.7759</c:v>
                </c:pt>
                <c:pt idx="47">
                  <c:v>365.9273</c:v>
                </c:pt>
                <c:pt idx="48">
                  <c:v>370.1416</c:v>
                </c:pt>
                <c:pt idx="49">
                  <c:v>387.3763</c:v>
                </c:pt>
                <c:pt idx="50">
                  <c:v>384.9556</c:v>
                </c:pt>
                <c:pt idx="51">
                  <c:v>394.1</c:v>
                </c:pt>
                <c:pt idx="52">
                  <c:v>387.9828</c:v>
                </c:pt>
                <c:pt idx="53">
                  <c:v>400.3704</c:v>
                </c:pt>
                <c:pt idx="54">
                  <c:v>397.2222</c:v>
                </c:pt>
                <c:pt idx="55">
                  <c:v>401.5616</c:v>
                </c:pt>
                <c:pt idx="56">
                  <c:v>401.3553</c:v>
                </c:pt>
                <c:pt idx="57">
                  <c:v>389.8681</c:v>
                </c:pt>
                <c:pt idx="58">
                  <c:v>344.3937</c:v>
                </c:pt>
                <c:pt idx="59">
                  <c:v>398.1938</c:v>
                </c:pt>
                <c:pt idx="60">
                  <c:v>371.541</c:v>
                </c:pt>
                <c:pt idx="61">
                  <c:v>386.7033</c:v>
                </c:pt>
                <c:pt idx="62">
                  <c:v>370.8818</c:v>
                </c:pt>
                <c:pt idx="63">
                  <c:v>409.3304</c:v>
                </c:pt>
                <c:pt idx="64">
                  <c:v>402.2991</c:v>
                </c:pt>
                <c:pt idx="65">
                  <c:v>412.1356</c:v>
                </c:pt>
                <c:pt idx="66">
                  <c:v>392.2947</c:v>
                </c:pt>
                <c:pt idx="67">
                  <c:v>388.402</c:v>
                </c:pt>
                <c:pt idx="68">
                  <c:v>415.3333</c:v>
                </c:pt>
                <c:pt idx="69">
                  <c:v>404.6809</c:v>
                </c:pt>
                <c:pt idx="70">
                  <c:v>385.1961</c:v>
                </c:pt>
                <c:pt idx="71">
                  <c:v>418.0</c:v>
                </c:pt>
                <c:pt idx="72">
                  <c:v>446.2889</c:v>
                </c:pt>
                <c:pt idx="73">
                  <c:v>431.52</c:v>
                </c:pt>
                <c:pt idx="74">
                  <c:v>418.4333</c:v>
                </c:pt>
                <c:pt idx="75">
                  <c:v>408.6458</c:v>
                </c:pt>
                <c:pt idx="76">
                  <c:v>415.7018</c:v>
                </c:pt>
                <c:pt idx="77">
                  <c:v>399.0526</c:v>
                </c:pt>
                <c:pt idx="78">
                  <c:v>425.9048</c:v>
                </c:pt>
                <c:pt idx="79">
                  <c:v>425.8182</c:v>
                </c:pt>
                <c:pt idx="80">
                  <c:v>465.5614</c:v>
                </c:pt>
                <c:pt idx="81">
                  <c:v>441.9211</c:v>
                </c:pt>
                <c:pt idx="82">
                  <c:v>437.5152</c:v>
                </c:pt>
                <c:pt idx="83">
                  <c:v>415.129</c:v>
                </c:pt>
                <c:pt idx="84">
                  <c:v>437.2759</c:v>
                </c:pt>
                <c:pt idx="85">
                  <c:v>421.5714</c:v>
                </c:pt>
                <c:pt idx="86">
                  <c:v>438.6087</c:v>
                </c:pt>
                <c:pt idx="87">
                  <c:v>432.4167</c:v>
                </c:pt>
                <c:pt idx="88">
                  <c:v>449.0</c:v>
                </c:pt>
                <c:pt idx="89">
                  <c:v>429.6563</c:v>
                </c:pt>
                <c:pt idx="90">
                  <c:v>441.7273</c:v>
                </c:pt>
                <c:pt idx="91">
                  <c:v>452.9394</c:v>
                </c:pt>
                <c:pt idx="92">
                  <c:v>421.4038</c:v>
                </c:pt>
                <c:pt idx="93">
                  <c:v>433.1379</c:v>
                </c:pt>
                <c:pt idx="94">
                  <c:v>442.4773</c:v>
                </c:pt>
                <c:pt idx="95">
                  <c:v>436.6769</c:v>
                </c:pt>
                <c:pt idx="96">
                  <c:v>444.869</c:v>
                </c:pt>
                <c:pt idx="97">
                  <c:v>432.85</c:v>
                </c:pt>
                <c:pt idx="98">
                  <c:v>429.4878</c:v>
                </c:pt>
                <c:pt idx="99">
                  <c:v>426.8889</c:v>
                </c:pt>
                <c:pt idx="100">
                  <c:v>442.1111</c:v>
                </c:pt>
                <c:pt idx="101">
                  <c:v>434.958</c:v>
                </c:pt>
                <c:pt idx="102">
                  <c:v>452.5055</c:v>
                </c:pt>
                <c:pt idx="103">
                  <c:v>399.7059</c:v>
                </c:pt>
                <c:pt idx="104">
                  <c:v>402.963</c:v>
                </c:pt>
              </c:numCache>
            </c:numRef>
          </c:xVal>
          <c:yVal>
            <c:numRef>
              <c:f>Sheet1!$B$2:$B$106</c:f>
              <c:numCache>
                <c:formatCode>General</c:formatCode>
                <c:ptCount val="105"/>
                <c:pt idx="0">
                  <c:v>0.1853211009174312</c:v>
                </c:pt>
                <c:pt idx="1">
                  <c:v>0.22274881516587677</c:v>
                </c:pt>
                <c:pt idx="2">
                  <c:v>0.22064777327935223</c:v>
                </c:pt>
                <c:pt idx="3">
                  <c:v>0.14912280701754385</c:v>
                </c:pt>
                <c:pt idx="4">
                  <c:v>0.21258134490238612</c:v>
                </c:pt>
                <c:pt idx="5">
                  <c:v>0.19950124688279303</c:v>
                </c:pt>
                <c:pt idx="6">
                  <c:v>0.23011363636363635</c:v>
                </c:pt>
                <c:pt idx="7">
                  <c:v>0.1743119266055046</c:v>
                </c:pt>
                <c:pt idx="8">
                  <c:v>0.17525773195876287</c:v>
                </c:pt>
                <c:pt idx="9">
                  <c:v>0.14757709251101322</c:v>
                </c:pt>
                <c:pt idx="10">
                  <c:v>0.1828978622327791</c:v>
                </c:pt>
                <c:pt idx="11">
                  <c:v>0.18434343434343434</c:v>
                </c:pt>
                <c:pt idx="12">
                  <c:v>0.19143576826196473</c:v>
                </c:pt>
                <c:pt idx="13">
                  <c:v>0.22556390977443608</c:v>
                </c:pt>
                <c:pt idx="14">
                  <c:v>0.2315035799522673</c:v>
                </c:pt>
                <c:pt idx="15">
                  <c:v>0.18077803203661327</c:v>
                </c:pt>
                <c:pt idx="16">
                  <c:v>0.17142857142857143</c:v>
                </c:pt>
                <c:pt idx="17">
                  <c:v>0.16304347826086957</c:v>
                </c:pt>
                <c:pt idx="18">
                  <c:v>0.12631578947368421</c:v>
                </c:pt>
                <c:pt idx="19">
                  <c:v>0.13864306784660768</c:v>
                </c:pt>
                <c:pt idx="20">
                  <c:v>0.10899182561307902</c:v>
                </c:pt>
                <c:pt idx="21">
                  <c:v>0.15555555555555556</c:v>
                </c:pt>
                <c:pt idx="22">
                  <c:v>0.14344262295081966</c:v>
                </c:pt>
                <c:pt idx="23">
                  <c:v>0.18604651162790697</c:v>
                </c:pt>
                <c:pt idx="24">
                  <c:v>0.1975806451612903</c:v>
                </c:pt>
                <c:pt idx="25">
                  <c:v>0.19480519480519481</c:v>
                </c:pt>
                <c:pt idx="26">
                  <c:v>0.13565891472868216</c:v>
                </c:pt>
                <c:pt idx="27">
                  <c:v>0.15384615384615385</c:v>
                </c:pt>
                <c:pt idx="28">
                  <c:v>0.15254237288135594</c:v>
                </c:pt>
                <c:pt idx="29">
                  <c:v>0.1346704871060172</c:v>
                </c:pt>
                <c:pt idx="30">
                  <c:v>0.15702479338842976</c:v>
                </c:pt>
                <c:pt idx="31">
                  <c:v>0.145748987854251</c:v>
                </c:pt>
                <c:pt idx="32">
                  <c:v>0.1387900355871886</c:v>
                </c:pt>
                <c:pt idx="33">
                  <c:v>0.1903485254691689</c:v>
                </c:pt>
                <c:pt idx="34">
                  <c:v>0.15931372549019607</c:v>
                </c:pt>
                <c:pt idx="35">
                  <c:v>0.18208092485549132</c:v>
                </c:pt>
                <c:pt idx="36">
                  <c:v>0.15087719298245614</c:v>
                </c:pt>
                <c:pt idx="37">
                  <c:v>0.16233766233766234</c:v>
                </c:pt>
                <c:pt idx="38">
                  <c:v>0.11974110032362459</c:v>
                </c:pt>
                <c:pt idx="39">
                  <c:v>0.17391304347826086</c:v>
                </c:pt>
                <c:pt idx="40">
                  <c:v>0.13533834586466165</c:v>
                </c:pt>
                <c:pt idx="41">
                  <c:v>0.13793103448275862</c:v>
                </c:pt>
                <c:pt idx="42">
                  <c:v>0.13615023474178403</c:v>
                </c:pt>
                <c:pt idx="43">
                  <c:v>0.14699792960662525</c:v>
                </c:pt>
                <c:pt idx="44">
                  <c:v>0.14859437751004015</c:v>
                </c:pt>
                <c:pt idx="45">
                  <c:v>0.15898825654923215</c:v>
                </c:pt>
                <c:pt idx="46">
                  <c:v>0.1935483870967742</c:v>
                </c:pt>
                <c:pt idx="47">
                  <c:v>0.19927536231884058</c:v>
                </c:pt>
                <c:pt idx="48">
                  <c:v>0.20305480682839172</c:v>
                </c:pt>
                <c:pt idx="49">
                  <c:v>0.20857558139534885</c:v>
                </c:pt>
                <c:pt idx="50">
                  <c:v>0.18854748603351956</c:v>
                </c:pt>
                <c:pt idx="51">
                  <c:v>0.1651376146788991</c:v>
                </c:pt>
                <c:pt idx="52">
                  <c:v>0.1686046511627907</c:v>
                </c:pt>
                <c:pt idx="53">
                  <c:v>0.18652849740932642</c:v>
                </c:pt>
                <c:pt idx="54">
                  <c:v>0.18493150684931506</c:v>
                </c:pt>
                <c:pt idx="55">
                  <c:v>0.1600877192982456</c:v>
                </c:pt>
                <c:pt idx="56">
                  <c:v>0.18225419664268586</c:v>
                </c:pt>
                <c:pt idx="57">
                  <c:v>0.17009345794392525</c:v>
                </c:pt>
                <c:pt idx="58">
                  <c:v>0.20991735537190082</c:v>
                </c:pt>
                <c:pt idx="59">
                  <c:v>0.14965197215777262</c:v>
                </c:pt>
                <c:pt idx="60">
                  <c:v>0.13958810068649885</c:v>
                </c:pt>
                <c:pt idx="61">
                  <c:v>0.1845841784989858</c:v>
                </c:pt>
                <c:pt idx="62">
                  <c:v>0.16344725111441308</c:v>
                </c:pt>
                <c:pt idx="63">
                  <c:v>0.18760469011725292</c:v>
                </c:pt>
                <c:pt idx="64">
                  <c:v>0.14904458598726114</c:v>
                </c:pt>
                <c:pt idx="65">
                  <c:v>0.17002881844380405</c:v>
                </c:pt>
                <c:pt idx="66">
                  <c:v>0.15447154471544716</c:v>
                </c:pt>
                <c:pt idx="67">
                  <c:v>0.15987460815047022</c:v>
                </c:pt>
                <c:pt idx="68">
                  <c:v>0.14971209213051823</c:v>
                </c:pt>
                <c:pt idx="69">
                  <c:v>0.11838790931989925</c:v>
                </c:pt>
                <c:pt idx="70">
                  <c:v>0.11778290993071594</c:v>
                </c:pt>
                <c:pt idx="71">
                  <c:v>0.11731843575418995</c:v>
                </c:pt>
                <c:pt idx="72">
                  <c:v>0.12129380053908356</c:v>
                </c:pt>
                <c:pt idx="73">
                  <c:v>0.13404825737265416</c:v>
                </c:pt>
                <c:pt idx="74">
                  <c:v>0.14962593516209477</c:v>
                </c:pt>
                <c:pt idx="75">
                  <c:v>0.13793103448275862</c:v>
                </c:pt>
                <c:pt idx="76">
                  <c:v>0.1792452830188679</c:v>
                </c:pt>
                <c:pt idx="77">
                  <c:v>0.18874172185430463</c:v>
                </c:pt>
                <c:pt idx="78">
                  <c:v>0.15671641791044777</c:v>
                </c:pt>
                <c:pt idx="79">
                  <c:v>0.14426229508196722</c:v>
                </c:pt>
                <c:pt idx="80">
                  <c:v>0.14615384615384616</c:v>
                </c:pt>
                <c:pt idx="81">
                  <c:v>0.09547738693467336</c:v>
                </c:pt>
                <c:pt idx="82">
                  <c:v>0.10476190476190476</c:v>
                </c:pt>
                <c:pt idx="83">
                  <c:v>0.11567164179104478</c:v>
                </c:pt>
                <c:pt idx="84">
                  <c:v>0.11068702290076336</c:v>
                </c:pt>
                <c:pt idx="85">
                  <c:v>0.10606060606060606</c:v>
                </c:pt>
                <c:pt idx="86">
                  <c:v>0.10772833723653395</c:v>
                </c:pt>
                <c:pt idx="87">
                  <c:v>0.12435233160621761</c:v>
                </c:pt>
                <c:pt idx="88">
                  <c:v>0.09507042253521127</c:v>
                </c:pt>
                <c:pt idx="89">
                  <c:v>0.11851851851851852</c:v>
                </c:pt>
                <c:pt idx="90">
                  <c:v>0.11743772241992882</c:v>
                </c:pt>
                <c:pt idx="91">
                  <c:v>0.11538461538461539</c:v>
                </c:pt>
                <c:pt idx="92">
                  <c:v>0.1440443213296399</c:v>
                </c:pt>
                <c:pt idx="93">
                  <c:v>0.1358313817330211</c:v>
                </c:pt>
                <c:pt idx="94">
                  <c:v>0.12121212121212122</c:v>
                </c:pt>
                <c:pt idx="95">
                  <c:v>0.13238289205702647</c:v>
                </c:pt>
                <c:pt idx="96">
                  <c:v>0.10824742268041238</c:v>
                </c:pt>
                <c:pt idx="97">
                  <c:v>0.09487666034155598</c:v>
                </c:pt>
                <c:pt idx="98">
                  <c:v>0.11081081081081082</c:v>
                </c:pt>
                <c:pt idx="99">
                  <c:v>0.13959183673469389</c:v>
                </c:pt>
                <c:pt idx="100">
                  <c:v>0.16376582278481014</c:v>
                </c:pt>
                <c:pt idx="101">
                  <c:v>0.19888734353268428</c:v>
                </c:pt>
                <c:pt idx="102">
                  <c:v>0.16308243727598568</c:v>
                </c:pt>
                <c:pt idx="103">
                  <c:v>0.16585365853658537</c:v>
                </c:pt>
                <c:pt idx="104">
                  <c:v>0.180400890868596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27.8611</c:v>
                </c:pt>
                <c:pt idx="31">
                  <c:v>436.4865</c:v>
                </c:pt>
                <c:pt idx="32">
                  <c:v>412.7241</c:v>
                </c:pt>
                <c:pt idx="33">
                  <c:v>369.6875</c:v>
                </c:pt>
                <c:pt idx="34">
                  <c:v>433.1867</c:v>
                </c:pt>
                <c:pt idx="35">
                  <c:v>349.0328</c:v>
                </c:pt>
                <c:pt idx="36">
                  <c:v>432.9512</c:v>
                </c:pt>
                <c:pt idx="37">
                  <c:v>435.0213</c:v>
                </c:pt>
                <c:pt idx="38">
                  <c:v>458.1042</c:v>
                </c:pt>
                <c:pt idx="39">
                  <c:v>453.0192</c:v>
                </c:pt>
                <c:pt idx="40">
                  <c:v>434.1961</c:v>
                </c:pt>
                <c:pt idx="41">
                  <c:v>457.8039</c:v>
                </c:pt>
                <c:pt idx="42">
                  <c:v>368.717</c:v>
                </c:pt>
                <c:pt idx="43">
                  <c:v>405.2985</c:v>
                </c:pt>
                <c:pt idx="44">
                  <c:v>444.4787</c:v>
                </c:pt>
                <c:pt idx="45">
                  <c:v>435.848</c:v>
                </c:pt>
                <c:pt idx="46">
                  <c:v>412.5922</c:v>
                </c:pt>
                <c:pt idx="47">
                  <c:v>424.4505</c:v>
                </c:pt>
                <c:pt idx="48">
                  <c:v>412.9315</c:v>
                </c:pt>
                <c:pt idx="49">
                  <c:v>429.8012</c:v>
                </c:pt>
                <c:pt idx="50">
                  <c:v>444.7236</c:v>
                </c:pt>
                <c:pt idx="51">
                  <c:v>449.5857</c:v>
                </c:pt>
              </c:numCache>
            </c:numRef>
          </c:xVal>
          <c:yVal>
            <c:numRef>
              <c:f>Sheet1!$B$109:$B$160</c:f>
              <c:numCache>
                <c:formatCode>General</c:formatCode>
                <c:ptCount val="52"/>
                <c:pt idx="0">
                  <c:v>0.17333333333333334</c:v>
                </c:pt>
                <c:pt idx="1">
                  <c:v>0.21951219512195122</c:v>
                </c:pt>
                <c:pt idx="2">
                  <c:v>0.18996415770609318</c:v>
                </c:pt>
                <c:pt idx="3">
                  <c:v>0.21495327102803738</c:v>
                </c:pt>
                <c:pt idx="4">
                  <c:v>0.2062937062937063</c:v>
                </c:pt>
                <c:pt idx="5">
                  <c:v>0.1631578947368421</c:v>
                </c:pt>
                <c:pt idx="6">
                  <c:v>0.17092866756393002</c:v>
                </c:pt>
                <c:pt idx="7">
                  <c:v>0.19190140845070422</c:v>
                </c:pt>
                <c:pt idx="8">
                  <c:v>0.15167095115681234</c:v>
                </c:pt>
                <c:pt idx="9">
                  <c:v>0.13744075829383887</c:v>
                </c:pt>
                <c:pt idx="10">
                  <c:v>0.1746031746031746</c:v>
                </c:pt>
                <c:pt idx="11">
                  <c:v>0.1391465677179963</c:v>
                </c:pt>
                <c:pt idx="12">
                  <c:v>0.14035087719298245</c:v>
                </c:pt>
                <c:pt idx="13">
                  <c:v>0.1865671641791045</c:v>
                </c:pt>
                <c:pt idx="14">
                  <c:v>0.1988472622478386</c:v>
                </c:pt>
                <c:pt idx="15">
                  <c:v>0.1757188498402556</c:v>
                </c:pt>
                <c:pt idx="16">
                  <c:v>0.18382352941176472</c:v>
                </c:pt>
                <c:pt idx="17">
                  <c:v>0.16216216216216217</c:v>
                </c:pt>
                <c:pt idx="18">
                  <c:v>0.20072992700729927</c:v>
                </c:pt>
                <c:pt idx="19">
                  <c:v>0.21982758620689655</c:v>
                </c:pt>
                <c:pt idx="20">
                  <c:v>0.24166666666666667</c:v>
                </c:pt>
                <c:pt idx="21">
                  <c:v>0.2471264367816092</c:v>
                </c:pt>
                <c:pt idx="22">
                  <c:v>0.21176470588235294</c:v>
                </c:pt>
                <c:pt idx="23">
                  <c:v>0.20238095238095238</c:v>
                </c:pt>
                <c:pt idx="24">
                  <c:v>0.22110552763819097</c:v>
                </c:pt>
                <c:pt idx="25">
                  <c:v>0.25688073394495414</c:v>
                </c:pt>
                <c:pt idx="26">
                  <c:v>0.19170984455958548</c:v>
                </c:pt>
                <c:pt idx="27">
                  <c:v>0.19434628975265017</c:v>
                </c:pt>
                <c:pt idx="28">
                  <c:v>0.1624548736462094</c:v>
                </c:pt>
                <c:pt idx="29">
                  <c:v>0.19913419913419914</c:v>
                </c:pt>
                <c:pt idx="30">
                  <c:v>0.15450643776824036</c:v>
                </c:pt>
                <c:pt idx="31">
                  <c:v>0.15611814345991562</c:v>
                </c:pt>
                <c:pt idx="32">
                  <c:v>0.17791411042944785</c:v>
                </c:pt>
                <c:pt idx="33">
                  <c:v>0.16842105263157894</c:v>
                </c:pt>
                <c:pt idx="34">
                  <c:v>0.19035532994923857</c:v>
                </c:pt>
                <c:pt idx="35">
                  <c:v>0.21942446043165467</c:v>
                </c:pt>
                <c:pt idx="36">
                  <c:v>0.20398009950248755</c:v>
                </c:pt>
                <c:pt idx="37">
                  <c:v>0.22815533980582525</c:v>
                </c:pt>
                <c:pt idx="38">
                  <c:v>0.2222222222222222</c:v>
                </c:pt>
                <c:pt idx="39">
                  <c:v>0.1947565543071161</c:v>
                </c:pt>
                <c:pt idx="40">
                  <c:v>0.1875</c:v>
                </c:pt>
                <c:pt idx="41">
                  <c:v>0.1827956989247312</c:v>
                </c:pt>
                <c:pt idx="42">
                  <c:v>0.20463320463320464</c:v>
                </c:pt>
                <c:pt idx="43">
                  <c:v>0.18010752688172044</c:v>
                </c:pt>
                <c:pt idx="44">
                  <c:v>0.14050822122571002</c:v>
                </c:pt>
                <c:pt idx="45">
                  <c:v>0.13796909492273732</c:v>
                </c:pt>
                <c:pt idx="46">
                  <c:v>0.13517060367454067</c:v>
                </c:pt>
                <c:pt idx="47">
                  <c:v>0.13226744186046513</c:v>
                </c:pt>
                <c:pt idx="48">
                  <c:v>0.14556331006979062</c:v>
                </c:pt>
                <c:pt idx="49">
                  <c:v>0.15295169946332737</c:v>
                </c:pt>
                <c:pt idx="50">
                  <c:v>0.16835871404399322</c:v>
                </c:pt>
                <c:pt idx="51">
                  <c:v>0.206185567010309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1.2231248455451</c:v>
                </c:pt>
              </c:numCache>
            </c:numRef>
          </c:xVal>
          <c:yVal>
            <c:numRef>
              <c:f>Sheet1!$B$163:$B$164</c:f>
              <c:numCache>
                <c:formatCode>General</c:formatCode>
                <c:ptCount val="2"/>
                <c:pt idx="0">
                  <c:v>0.1966229314548097</c:v>
                </c:pt>
                <c:pt idx="1">
                  <c:v>0.19662293145480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1.2231248455451</c:v>
                </c:pt>
                <c:pt idx="1">
                  <c:v>391.2231248455451</c:v>
                </c:pt>
              </c:numCache>
            </c:numRef>
          </c:xVal>
          <c:yVal>
            <c:numRef>
              <c:f>Sheet1!$B$167:$B$168</c:f>
              <c:numCache>
                <c:formatCode>General</c:formatCode>
                <c:ptCount val="2"/>
                <c:pt idx="0">
                  <c:v>0.19662293145480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07.5955472799296</c:v>
                </c:pt>
              </c:numCache>
            </c:numRef>
          </c:xVal>
          <c:yVal>
            <c:numRef>
              <c:f>Sheet1!$B$171:$B$172</c:f>
              <c:numCache>
                <c:formatCode>General</c:formatCode>
                <c:ptCount val="2"/>
                <c:pt idx="0">
                  <c:v>0.19131478470596278</c:v>
                </c:pt>
                <c:pt idx="1">
                  <c:v>0.191314784705962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07.5955472799296</c:v>
                </c:pt>
                <c:pt idx="1">
                  <c:v>407.5955472799296</c:v>
                </c:pt>
              </c:numCache>
            </c:numRef>
          </c:xVal>
          <c:yVal>
            <c:numRef>
              <c:f>Sheet1!$B$175:$B$176</c:f>
              <c:numCache>
                <c:formatCode>General</c:formatCode>
                <c:ptCount val="2"/>
                <c:pt idx="0">
                  <c:v>0.191314784705962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83.1216059426221</c:v>
                </c:pt>
              </c:numCache>
            </c:numRef>
          </c:xVal>
          <c:yVal>
            <c:numRef>
              <c:f>Sheet1!$B$179:$B$180</c:f>
              <c:numCache>
                <c:formatCode>General</c:formatCode>
                <c:ptCount val="2"/>
                <c:pt idx="0">
                  <c:v>0.16682827977058817</c:v>
                </c:pt>
                <c:pt idx="1">
                  <c:v>0.166828279770588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83.1216059426221</c:v>
                </c:pt>
                <c:pt idx="1">
                  <c:v>483.1216059426221</c:v>
                </c:pt>
              </c:numCache>
            </c:numRef>
          </c:xVal>
          <c:yVal>
            <c:numRef>
              <c:f>Sheet1!$B$183:$B$184</c:f>
              <c:numCache>
                <c:formatCode>General</c:formatCode>
                <c:ptCount val="2"/>
                <c:pt idx="0">
                  <c:v>0.166828279770588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27.8611</c:v>
                </c:pt>
                <c:pt idx="31">
                  <c:v>436.4865</c:v>
                </c:pt>
                <c:pt idx="32">
                  <c:v>412.7241</c:v>
                </c:pt>
                <c:pt idx="33">
                  <c:v>369.6875</c:v>
                </c:pt>
                <c:pt idx="34">
                  <c:v>433.1867</c:v>
                </c:pt>
                <c:pt idx="35">
                  <c:v>349.0328</c:v>
                </c:pt>
                <c:pt idx="36">
                  <c:v>432.9512</c:v>
                </c:pt>
                <c:pt idx="37">
                  <c:v>435.0213</c:v>
                </c:pt>
                <c:pt idx="38">
                  <c:v>458.1042</c:v>
                </c:pt>
                <c:pt idx="39">
                  <c:v>453.0192</c:v>
                </c:pt>
                <c:pt idx="40">
                  <c:v>434.1961</c:v>
                </c:pt>
                <c:pt idx="41">
                  <c:v>457.8039</c:v>
                </c:pt>
                <c:pt idx="42">
                  <c:v>368.717</c:v>
                </c:pt>
                <c:pt idx="43">
                  <c:v>405.2985</c:v>
                </c:pt>
                <c:pt idx="44">
                  <c:v>444.4787</c:v>
                </c:pt>
                <c:pt idx="45">
                  <c:v>435.848</c:v>
                </c:pt>
                <c:pt idx="46">
                  <c:v>412.5922</c:v>
                </c:pt>
                <c:pt idx="47">
                  <c:v>424.4505</c:v>
                </c:pt>
                <c:pt idx="48">
                  <c:v>412.9315</c:v>
                </c:pt>
                <c:pt idx="49">
                  <c:v>429.8012</c:v>
                </c:pt>
                <c:pt idx="50">
                  <c:v>444.7236</c:v>
                </c:pt>
                <c:pt idx="51">
                  <c:v>449.5857</c:v>
                </c:pt>
                <c:pt idx="52">
                  <c:v>407.5955472799296</c:v>
                </c:pt>
                <c:pt idx="53">
                  <c:v>391.2231248455451</c:v>
                </c:pt>
                <c:pt idx="54">
                  <c:v>483.1216059426221</c:v>
                </c:pt>
              </c:numCache>
            </c:numRef>
          </c:xVal>
          <c:yVal>
            <c:numRef>
              <c:f>Sheet1!$B$187:$B$241</c:f>
              <c:numCache>
                <c:formatCode>General</c:formatCode>
                <c:ptCount val="55"/>
                <c:pt idx="0">
                  <c:v>0.1818598832798493</c:v>
                </c:pt>
                <c:pt idx="1">
                  <c:v>0.1829882730473823</c:v>
                </c:pt>
                <c:pt idx="2">
                  <c:v>0.1779796412341683</c:v>
                </c:pt>
                <c:pt idx="3">
                  <c:v>0.17610073156292824</c:v>
                </c:pt>
                <c:pt idx="4">
                  <c:v>0.17662430259947262</c:v>
                </c:pt>
                <c:pt idx="5">
                  <c:v>0.17841385925958406</c:v>
                </c:pt>
                <c:pt idx="6">
                  <c:v>0.18423989604978463</c:v>
                </c:pt>
                <c:pt idx="7">
                  <c:v>0.19254593279653906</c:v>
                </c:pt>
                <c:pt idx="8">
                  <c:v>0.1774128526490628</c:v>
                </c:pt>
                <c:pt idx="9">
                  <c:v>0.1811330633221274</c:v>
                </c:pt>
                <c:pt idx="10">
                  <c:v>0.18555415693952385</c:v>
                </c:pt>
                <c:pt idx="11">
                  <c:v>0.17629149829641189</c:v>
                </c:pt>
                <c:pt idx="12">
                  <c:v>0.1727382571470456</c:v>
                </c:pt>
                <c:pt idx="13">
                  <c:v>0.17464015349640255</c:v>
                </c:pt>
                <c:pt idx="14">
                  <c:v>0.1731734153891967</c:v>
                </c:pt>
                <c:pt idx="15">
                  <c:v>0.17125932864354645</c:v>
                </c:pt>
                <c:pt idx="16">
                  <c:v>0.16660833582371415</c:v>
                </c:pt>
                <c:pt idx="17">
                  <c:v>0.18539415798817416</c:v>
                </c:pt>
                <c:pt idx="18">
                  <c:v>0.17939411625939325</c:v>
                </c:pt>
                <c:pt idx="19">
                  <c:v>0.1864158169456072</c:v>
                </c:pt>
                <c:pt idx="20">
                  <c:v>0.19340282687641197</c:v>
                </c:pt>
                <c:pt idx="21">
                  <c:v>0.19926634265096116</c:v>
                </c:pt>
                <c:pt idx="22">
                  <c:v>0.18315037938106993</c:v>
                </c:pt>
                <c:pt idx="23">
                  <c:v>0.18783664653911267</c:v>
                </c:pt>
                <c:pt idx="24">
                  <c:v>0.18870783839761684</c:v>
                </c:pt>
                <c:pt idx="25">
                  <c:v>0.24203871479851502</c:v>
                </c:pt>
                <c:pt idx="26">
                  <c:v>0.19680919968745725</c:v>
                </c:pt>
                <c:pt idx="27">
                  <c:v>0.1865149936005573</c:v>
                </c:pt>
                <c:pt idx="28">
                  <c:v>0.1828477916986086</c:v>
                </c:pt>
                <c:pt idx="29">
                  <c:v>0.1862711208321576</c:v>
                </c:pt>
                <c:pt idx="30">
                  <c:v>0.18474443580275404</c:v>
                </c:pt>
                <c:pt idx="31">
                  <c:v>0.1819479718615752</c:v>
                </c:pt>
                <c:pt idx="32">
                  <c:v>0.1896520429488139</c:v>
                </c:pt>
                <c:pt idx="33">
                  <c:v>0.20360505382957755</c:v>
                </c:pt>
                <c:pt idx="34">
                  <c:v>0.1830178088213802</c:v>
                </c:pt>
                <c:pt idx="35">
                  <c:v>0.21030156921041407</c:v>
                </c:pt>
                <c:pt idx="36">
                  <c:v>0.18309416090454708</c:v>
                </c:pt>
                <c:pt idx="37">
                  <c:v>0.18242300826181346</c:v>
                </c:pt>
                <c:pt idx="38">
                  <c:v>0.17493923968205627</c:v>
                </c:pt>
                <c:pt idx="39">
                  <c:v>0.17658786109565963</c:v>
                </c:pt>
                <c:pt idx="40">
                  <c:v>0.18269054855493155</c:v>
                </c:pt>
                <c:pt idx="41">
                  <c:v>0.17503660074606905</c:v>
                </c:pt>
                <c:pt idx="42">
                  <c:v>0.20391970222326528</c:v>
                </c:pt>
                <c:pt idx="43">
                  <c:v>0.1920595165316759</c:v>
                </c:pt>
                <c:pt idx="44">
                  <c:v>0.17935679938137836</c:v>
                </c:pt>
                <c:pt idx="45">
                  <c:v>0.18215498164969432</c:v>
                </c:pt>
                <c:pt idx="46">
                  <c:v>0.18969480659964072</c:v>
                </c:pt>
                <c:pt idx="47">
                  <c:v>0.18585019552610424</c:v>
                </c:pt>
                <c:pt idx="48">
                  <c:v>0.18958480124160026</c:v>
                </c:pt>
                <c:pt idx="49">
                  <c:v>0.18411543080677925</c:v>
                </c:pt>
                <c:pt idx="50">
                  <c:v>0.17927739969913814</c:v>
                </c:pt>
                <c:pt idx="51">
                  <c:v>0.17770104528909272</c:v>
                </c:pt>
                <c:pt idx="52">
                  <c:v>0.19131478470596278</c:v>
                </c:pt>
                <c:pt idx="53">
                  <c:v>0.1966229314548097</c:v>
                </c:pt>
                <c:pt idx="54">
                  <c:v>0.166828279770588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1.0"/>
          <c:min val="20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25688073394497"/>
          <c:min val="0.075901328273244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2752039317448726</c:v>
                </c:pt>
                <c:pt idx="2">
                  <c:v>0.36275654930752543</c:v>
                </c:pt>
                <c:pt idx="3">
                  <c:v>0.33224436458673634</c:v>
                </c:pt>
                <c:pt idx="4">
                  <c:v>0.42661672783335847</c:v>
                </c:pt>
                <c:pt idx="5">
                  <c:v>0.4210762331838565</c:v>
                </c:pt>
                <c:pt idx="6">
                  <c:v>0.5383639700603101</c:v>
                </c:pt>
                <c:pt idx="7">
                  <c:v>0.5212460361872785</c:v>
                </c:pt>
                <c:pt idx="8">
                  <c:v>0.5529159962354655</c:v>
                </c:pt>
                <c:pt idx="9">
                  <c:v>0.504365219343253</c:v>
                </c:pt>
                <c:pt idx="10">
                  <c:v>0.6032782486757209</c:v>
                </c:pt>
                <c:pt idx="11">
                  <c:v>0.5743764589362714</c:v>
                </c:pt>
                <c:pt idx="12">
                  <c:v>0.3537868444301662</c:v>
                </c:pt>
                <c:pt idx="13">
                  <c:v>0.3701451257955154</c:v>
                </c:pt>
                <c:pt idx="14">
                  <c:v>0.35384940583720287</c:v>
                </c:pt>
                <c:pt idx="15">
                  <c:v>0.5021972608138733</c:v>
                </c:pt>
                <c:pt idx="16">
                  <c:v>0.535018014775013</c:v>
                </c:pt>
              </c:numCache>
            </c:numRef>
          </c:xVal>
          <c:yVal>
            <c:numRef>
              <c:f>Sheet1!$B$4:$B$20</c:f>
              <c:numCache>
                <c:formatCode>General</c:formatCode>
                <c:ptCount val="17"/>
                <c:pt idx="0">
                  <c:v>0.0</c:v>
                </c:pt>
                <c:pt idx="1">
                  <c:v>0.06666666666666667</c:v>
                </c:pt>
                <c:pt idx="2">
                  <c:v>0.045454545454545456</c:v>
                </c:pt>
                <c:pt idx="3">
                  <c:v>0.05</c:v>
                </c:pt>
                <c:pt idx="4">
                  <c:v>0.09090909090909091</c:v>
                </c:pt>
                <c:pt idx="5">
                  <c:v>0.1</c:v>
                </c:pt>
                <c:pt idx="6">
                  <c:v>0.125</c:v>
                </c:pt>
                <c:pt idx="7">
                  <c:v>0.08333333333333333</c:v>
                </c:pt>
                <c:pt idx="8">
                  <c:v>0.06060606060606061</c:v>
                </c:pt>
                <c:pt idx="9">
                  <c:v>0.09302325581395349</c:v>
                </c:pt>
                <c:pt idx="10">
                  <c:v>0.07407407407407407</c:v>
                </c:pt>
                <c:pt idx="11">
                  <c:v>0.057692307692307696</c:v>
                </c:pt>
                <c:pt idx="12">
                  <c:v>0.09615384615384616</c:v>
                </c:pt>
                <c:pt idx="13">
                  <c:v>0.078125</c:v>
                </c:pt>
                <c:pt idx="14">
                  <c:v>0.10344827586206896</c:v>
                </c:pt>
                <c:pt idx="15">
                  <c:v>0.10638297872340426</c:v>
                </c:pt>
                <c:pt idx="16">
                  <c:v>0.05714285714285714</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5226006808824649</c:v>
                </c:pt>
              </c:numCache>
            </c:numRef>
          </c:xVal>
          <c:yVal>
            <c:numRef>
              <c:f>Sheet1!$B$23:$B$24</c:f>
              <c:numCache>
                <c:formatCode>General</c:formatCode>
                <c:ptCount val="2"/>
                <c:pt idx="0">
                  <c:v>0.08627477793208259</c:v>
                </c:pt>
                <c:pt idx="1">
                  <c:v>0.08627477793208259</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5226006808824649</c:v>
                </c:pt>
                <c:pt idx="1">
                  <c:v>0.5226006808824649</c:v>
                </c:pt>
              </c:numCache>
            </c:numRef>
          </c:xVal>
          <c:yVal>
            <c:numRef>
              <c:f>Sheet1!$B$27:$B$28</c:f>
              <c:numCache>
                <c:formatCode>General</c:formatCode>
                <c:ptCount val="2"/>
                <c:pt idx="0">
                  <c:v>0.0862747779320825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5226006808824649</c:v>
                </c:pt>
              </c:numCache>
            </c:numRef>
          </c:xVal>
          <c:yVal>
            <c:numRef>
              <c:f>Sheet1!$B$31:$B$32</c:f>
              <c:numCache>
                <c:formatCode>General</c:formatCode>
                <c:ptCount val="2"/>
                <c:pt idx="0">
                  <c:v>0.08627477793208259</c:v>
                </c:pt>
                <c:pt idx="1">
                  <c:v>0.08627477793208259</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5226006808824649</c:v>
                </c:pt>
                <c:pt idx="1">
                  <c:v>0.5226006808824649</c:v>
                </c:pt>
              </c:numCache>
            </c:numRef>
          </c:xVal>
          <c:yVal>
            <c:numRef>
              <c:f>Sheet1!$B$35:$B$36</c:f>
              <c:numCache>
                <c:formatCode>General</c:formatCode>
                <c:ptCount val="2"/>
                <c:pt idx="0">
                  <c:v>0.086274777932082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5256815578227381</c:v>
                </c:pt>
              </c:numCache>
            </c:numRef>
          </c:xVal>
          <c:yVal>
            <c:numRef>
              <c:f>Sheet1!$B$39:$B$40</c:f>
              <c:numCache>
                <c:formatCode>General</c:formatCode>
                <c:ptCount val="2"/>
                <c:pt idx="0">
                  <c:v>0.08660700617776897</c:v>
                </c:pt>
                <c:pt idx="1">
                  <c:v>0.0866070061777689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5256815578227381</c:v>
                </c:pt>
                <c:pt idx="1">
                  <c:v>0.5256815578227381</c:v>
                </c:pt>
              </c:numCache>
            </c:numRef>
          </c:xVal>
          <c:yVal>
            <c:numRef>
              <c:f>Sheet1!$B$43:$B$44</c:f>
              <c:numCache>
                <c:formatCode>General</c:formatCode>
                <c:ptCount val="2"/>
                <c:pt idx="0">
                  <c:v>0.086607006177768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2752039317448726</c:v>
                </c:pt>
                <c:pt idx="2">
                  <c:v>0.36275654930752543</c:v>
                </c:pt>
                <c:pt idx="3">
                  <c:v>0.33224436458673634</c:v>
                </c:pt>
                <c:pt idx="4">
                  <c:v>0.42661672783335847</c:v>
                </c:pt>
                <c:pt idx="5">
                  <c:v>0.4210762331838565</c:v>
                </c:pt>
                <c:pt idx="6">
                  <c:v>0.5383639700603101</c:v>
                </c:pt>
                <c:pt idx="7">
                  <c:v>0.5212460361872785</c:v>
                </c:pt>
                <c:pt idx="8">
                  <c:v>0.5529159962354655</c:v>
                </c:pt>
                <c:pt idx="9">
                  <c:v>0.504365219343253</c:v>
                </c:pt>
                <c:pt idx="10">
                  <c:v>0.6032782486757209</c:v>
                </c:pt>
                <c:pt idx="11">
                  <c:v>0.5743764589362714</c:v>
                </c:pt>
                <c:pt idx="12">
                  <c:v>0.3537868444301662</c:v>
                </c:pt>
                <c:pt idx="13">
                  <c:v>0.3701451257955154</c:v>
                </c:pt>
                <c:pt idx="14">
                  <c:v>0.35384940583720287</c:v>
                </c:pt>
                <c:pt idx="15">
                  <c:v>0.5021972608138733</c:v>
                </c:pt>
                <c:pt idx="16">
                  <c:v>0.535018014775013</c:v>
                </c:pt>
                <c:pt idx="17">
                  <c:v>0.5226006808824649</c:v>
                </c:pt>
                <c:pt idx="18">
                  <c:v>0.5226006808824649</c:v>
                </c:pt>
                <c:pt idx="19">
                  <c:v>0.5256815578227381</c:v>
                </c:pt>
              </c:numCache>
            </c:numRef>
          </c:xVal>
          <c:yVal>
            <c:numRef>
              <c:f>Sheet1!$B$47:$B$66</c:f>
              <c:numCache>
                <c:formatCode>General</c:formatCode>
                <c:ptCount val="20"/>
                <c:pt idx="0">
                  <c:v>0.02991981446875915</c:v>
                </c:pt>
                <c:pt idx="1">
                  <c:v>0.059596598456595776</c:v>
                </c:pt>
                <c:pt idx="2">
                  <c:v>0.06903788842110563</c:v>
                </c:pt>
                <c:pt idx="3">
                  <c:v>0.06574758835447986</c:v>
                </c:pt>
                <c:pt idx="4">
                  <c:v>0.07592428975817932</c:v>
                </c:pt>
                <c:pt idx="5">
                  <c:v>0.07532682713525625</c:v>
                </c:pt>
                <c:pt idx="6">
                  <c:v>0.08797462184384178</c:v>
                </c:pt>
                <c:pt idx="7">
                  <c:v>0.08612869899438563</c:v>
                </c:pt>
                <c:pt idx="8">
                  <c:v>0.0895438484702469</c:v>
                </c:pt>
                <c:pt idx="9">
                  <c:v>0.08430834580450897</c:v>
                </c:pt>
                <c:pt idx="10">
                  <c:v>0.09497469270758836</c:v>
                </c:pt>
                <c:pt idx="11">
                  <c:v>0.09185805056689884</c:v>
                </c:pt>
                <c:pt idx="12">
                  <c:v>0.06807063481977697</c:v>
                </c:pt>
                <c:pt idx="13">
                  <c:v>0.06983464007731001</c:v>
                </c:pt>
                <c:pt idx="14">
                  <c:v>0.06807738116729763</c:v>
                </c:pt>
                <c:pt idx="15">
                  <c:v>0.08407456267298513</c:v>
                </c:pt>
                <c:pt idx="16">
                  <c:v>0.08761380871299314</c:v>
                </c:pt>
                <c:pt idx="17">
                  <c:v>0.08627477793208259</c:v>
                </c:pt>
                <c:pt idx="18">
                  <c:v>0.08627477793208259</c:v>
                </c:pt>
                <c:pt idx="19">
                  <c:v>0.086607006177768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4667.0</c:v>
                </c:pt>
                <c:pt idx="2">
                  <c:v>4348.0</c:v>
                </c:pt>
                <c:pt idx="3">
                  <c:v>4068.0</c:v>
                </c:pt>
                <c:pt idx="4">
                  <c:v>5091.5</c:v>
                </c:pt>
                <c:pt idx="5">
                  <c:v>4695.0</c:v>
                </c:pt>
                <c:pt idx="6">
                  <c:v>5998.6667</c:v>
                </c:pt>
                <c:pt idx="7">
                  <c:v>6986.0</c:v>
                </c:pt>
                <c:pt idx="8">
                  <c:v>7285.0</c:v>
                </c:pt>
                <c:pt idx="9">
                  <c:v>6291.25</c:v>
                </c:pt>
                <c:pt idx="10">
                  <c:v>5533.0</c:v>
                </c:pt>
                <c:pt idx="11">
                  <c:v>5894.3333</c:v>
                </c:pt>
                <c:pt idx="12">
                  <c:v>4405.0</c:v>
                </c:pt>
                <c:pt idx="13">
                  <c:v>4978.6</c:v>
                </c:pt>
                <c:pt idx="14">
                  <c:v>4222.3333</c:v>
                </c:pt>
                <c:pt idx="15">
                  <c:v>5096.8</c:v>
                </c:pt>
                <c:pt idx="16">
                  <c:v>5667.0</c:v>
                </c:pt>
              </c:numCache>
            </c:numRef>
          </c:xVal>
          <c:yVal>
            <c:numRef>
              <c:f>Sheet1!$B$4:$B$20</c:f>
              <c:numCache>
                <c:formatCode>General</c:formatCode>
                <c:ptCount val="17"/>
                <c:pt idx="0">
                  <c:v>0.0</c:v>
                </c:pt>
                <c:pt idx="1">
                  <c:v>0.06666666666666667</c:v>
                </c:pt>
                <c:pt idx="2">
                  <c:v>0.045454545454545456</c:v>
                </c:pt>
                <c:pt idx="3">
                  <c:v>0.05</c:v>
                </c:pt>
                <c:pt idx="4">
                  <c:v>0.09090909090909091</c:v>
                </c:pt>
                <c:pt idx="5">
                  <c:v>0.1</c:v>
                </c:pt>
                <c:pt idx="6">
                  <c:v>0.125</c:v>
                </c:pt>
                <c:pt idx="7">
                  <c:v>0.08333333333333333</c:v>
                </c:pt>
                <c:pt idx="8">
                  <c:v>0.06060606060606061</c:v>
                </c:pt>
                <c:pt idx="9">
                  <c:v>0.09302325581395349</c:v>
                </c:pt>
                <c:pt idx="10">
                  <c:v>0.07407407407407407</c:v>
                </c:pt>
                <c:pt idx="11">
                  <c:v>0.057692307692307696</c:v>
                </c:pt>
                <c:pt idx="12">
                  <c:v>0.09615384615384616</c:v>
                </c:pt>
                <c:pt idx="13">
                  <c:v>0.078125</c:v>
                </c:pt>
                <c:pt idx="14">
                  <c:v>0.10344827586206896</c:v>
                </c:pt>
                <c:pt idx="15">
                  <c:v>0.10638297872340426</c:v>
                </c:pt>
                <c:pt idx="16">
                  <c:v>0.05714285714285714</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6056.817834462581</c:v>
                </c:pt>
              </c:numCache>
            </c:numRef>
          </c:xVal>
          <c:yVal>
            <c:numRef>
              <c:f>Sheet1!$B$23:$B$24</c:f>
              <c:numCache>
                <c:formatCode>General</c:formatCode>
                <c:ptCount val="2"/>
                <c:pt idx="0">
                  <c:v>0.08627477793208259</c:v>
                </c:pt>
                <c:pt idx="1">
                  <c:v>0.08627477793208259</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6056.817834462581</c:v>
                </c:pt>
                <c:pt idx="1">
                  <c:v>6056.817834462581</c:v>
                </c:pt>
              </c:numCache>
            </c:numRef>
          </c:xVal>
          <c:yVal>
            <c:numRef>
              <c:f>Sheet1!$B$27:$B$28</c:f>
              <c:numCache>
                <c:formatCode>General</c:formatCode>
                <c:ptCount val="2"/>
                <c:pt idx="0">
                  <c:v>0.0862747779320825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6056.817834462581</c:v>
                </c:pt>
              </c:numCache>
            </c:numRef>
          </c:xVal>
          <c:yVal>
            <c:numRef>
              <c:f>Sheet1!$B$31:$B$32</c:f>
              <c:numCache>
                <c:formatCode>General</c:formatCode>
                <c:ptCount val="2"/>
                <c:pt idx="0">
                  <c:v>0.08627477793208259</c:v>
                </c:pt>
                <c:pt idx="1">
                  <c:v>0.08627477793208259</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6056.817834462581</c:v>
                </c:pt>
                <c:pt idx="1">
                  <c:v>6056.817834462581</c:v>
                </c:pt>
              </c:numCache>
            </c:numRef>
          </c:xVal>
          <c:yVal>
            <c:numRef>
              <c:f>Sheet1!$B$35:$B$36</c:f>
              <c:numCache>
                <c:formatCode>General</c:formatCode>
                <c:ptCount val="2"/>
                <c:pt idx="0">
                  <c:v>0.086274777932082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6089.803613792658</c:v>
                </c:pt>
              </c:numCache>
            </c:numRef>
          </c:xVal>
          <c:yVal>
            <c:numRef>
              <c:f>Sheet1!$B$39:$B$40</c:f>
              <c:numCache>
                <c:formatCode>General</c:formatCode>
                <c:ptCount val="2"/>
                <c:pt idx="0">
                  <c:v>0.08660700617776897</c:v>
                </c:pt>
                <c:pt idx="1">
                  <c:v>0.0866070061777689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6089.803613792658</c:v>
                </c:pt>
                <c:pt idx="1">
                  <c:v>6089.803613792658</c:v>
                </c:pt>
              </c:numCache>
            </c:numRef>
          </c:xVal>
          <c:yVal>
            <c:numRef>
              <c:f>Sheet1!$B$43:$B$44</c:f>
              <c:numCache>
                <c:formatCode>General</c:formatCode>
                <c:ptCount val="2"/>
                <c:pt idx="0">
                  <c:v>0.086607006177768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4667.0</c:v>
                </c:pt>
                <c:pt idx="2">
                  <c:v>4348.0</c:v>
                </c:pt>
                <c:pt idx="3">
                  <c:v>4068.0</c:v>
                </c:pt>
                <c:pt idx="4">
                  <c:v>5091.5</c:v>
                </c:pt>
                <c:pt idx="5">
                  <c:v>4695.0</c:v>
                </c:pt>
                <c:pt idx="6">
                  <c:v>5998.6667</c:v>
                </c:pt>
                <c:pt idx="7">
                  <c:v>6986.0</c:v>
                </c:pt>
                <c:pt idx="8">
                  <c:v>7285.0</c:v>
                </c:pt>
                <c:pt idx="9">
                  <c:v>6291.25</c:v>
                </c:pt>
                <c:pt idx="10">
                  <c:v>5533.0</c:v>
                </c:pt>
                <c:pt idx="11">
                  <c:v>5894.3333</c:v>
                </c:pt>
                <c:pt idx="12">
                  <c:v>4405.0</c:v>
                </c:pt>
                <c:pt idx="13">
                  <c:v>4978.6</c:v>
                </c:pt>
                <c:pt idx="14">
                  <c:v>4222.3333</c:v>
                </c:pt>
                <c:pt idx="15">
                  <c:v>5096.8</c:v>
                </c:pt>
                <c:pt idx="16">
                  <c:v>5667.0</c:v>
                </c:pt>
                <c:pt idx="17">
                  <c:v>6056.817834462581</c:v>
                </c:pt>
                <c:pt idx="18">
                  <c:v>6056.817834462581</c:v>
                </c:pt>
                <c:pt idx="19">
                  <c:v>6089.803613792658</c:v>
                </c:pt>
              </c:numCache>
            </c:numRef>
          </c:xVal>
          <c:yVal>
            <c:numRef>
              <c:f>Sheet1!$B$47:$B$66</c:f>
              <c:numCache>
                <c:formatCode>General</c:formatCode>
                <c:ptCount val="20"/>
                <c:pt idx="0">
                  <c:v>0.025271339345727107</c:v>
                </c:pt>
                <c:pt idx="1">
                  <c:v>0.07227672330536912</c:v>
                </c:pt>
                <c:pt idx="2">
                  <c:v>0.06906379905357443</c:v>
                </c:pt>
                <c:pt idx="3">
                  <c:v>0.06624367745325307</c:v>
                </c:pt>
                <c:pt idx="4">
                  <c:v>0.07655222908871345</c:v>
                </c:pt>
                <c:pt idx="5">
                  <c:v>0.07255873546540124</c:v>
                </c:pt>
                <c:pt idx="6">
                  <c:v>0.08568908768072146</c:v>
                </c:pt>
                <c:pt idx="7">
                  <c:v>0.09563337327374491</c:v>
                </c:pt>
                <c:pt idx="8">
                  <c:v>0.09864486026837378</c:v>
                </c:pt>
                <c:pt idx="9">
                  <c:v>0.08863594655294754</c:v>
                </c:pt>
                <c:pt idx="10">
                  <c:v>0.08099895654064873</c:v>
                </c:pt>
                <c:pt idx="11">
                  <c:v>0.0846382559843823</c:v>
                </c:pt>
                <c:pt idx="12">
                  <c:v>0.069637895236497</c:v>
                </c:pt>
                <c:pt idx="13">
                  <c:v>0.07541511577201246</c:v>
                </c:pt>
                <c:pt idx="14">
                  <c:v>0.06779810128532049</c:v>
                </c:pt>
                <c:pt idx="15">
                  <c:v>0.0766056099618624</c:v>
                </c:pt>
                <c:pt idx="16">
                  <c:v>0.08234858616365967</c:v>
                </c:pt>
                <c:pt idx="17">
                  <c:v>0.08627477793208259</c:v>
                </c:pt>
                <c:pt idx="18">
                  <c:v>0.08627477793208259</c:v>
                </c:pt>
                <c:pt idx="19">
                  <c:v>0.086607006177768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74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250050584667766</c:v>
                </c:pt>
                <c:pt idx="1">
                  <c:v>0.3809340029825857</c:v>
                </c:pt>
                <c:pt idx="2">
                  <c:v>0.4053530281684745</c:v>
                </c:pt>
                <c:pt idx="3">
                  <c:v>0.32987626733411973</c:v>
                </c:pt>
                <c:pt idx="4">
                  <c:v>0.39901060922650256</c:v>
                </c:pt>
                <c:pt idx="5">
                  <c:v>0.42572165673984136</c:v>
                </c:pt>
                <c:pt idx="6">
                  <c:v>0.39604508088168544</c:v>
                </c:pt>
                <c:pt idx="7">
                  <c:v>0.3387144323230501</c:v>
                </c:pt>
                <c:pt idx="8">
                  <c:v>0.3553656325810859</c:v>
                </c:pt>
                <c:pt idx="9">
                  <c:v>0.3891149223327716</c:v>
                </c:pt>
                <c:pt idx="10">
                  <c:v>0.34324194437095107</c:v>
                </c:pt>
                <c:pt idx="11">
                  <c:v>0.3140653413469477</c:v>
                </c:pt>
                <c:pt idx="12">
                  <c:v>0.29726273007256504</c:v>
                </c:pt>
                <c:pt idx="13">
                  <c:v>0.2564332053231517</c:v>
                </c:pt>
                <c:pt idx="14">
                  <c:v>0.20483606696863466</c:v>
                </c:pt>
                <c:pt idx="15">
                  <c:v>0.24956749166352124</c:v>
                </c:pt>
                <c:pt idx="16">
                  <c:v>0.29903842105159045</c:v>
                </c:pt>
                <c:pt idx="17">
                  <c:v>0.2768112989504285</c:v>
                </c:pt>
                <c:pt idx="18">
                  <c:v>0.3140026980777055</c:v>
                </c:pt>
                <c:pt idx="19">
                  <c:v>0.3079313179426113</c:v>
                </c:pt>
                <c:pt idx="20">
                  <c:v>0.42553399232902206</c:v>
                </c:pt>
                <c:pt idx="21">
                  <c:v>0.4518808441058992</c:v>
                </c:pt>
                <c:pt idx="22">
                  <c:v>0.37219597008179395</c:v>
                </c:pt>
                <c:pt idx="23">
                  <c:v>0.36728475347781053</c:v>
                </c:pt>
                <c:pt idx="24">
                  <c:v>0.35369710647292746</c:v>
                </c:pt>
                <c:pt idx="25">
                  <c:v>0.3336800282882717</c:v>
                </c:pt>
                <c:pt idx="26">
                  <c:v>0.3569929125255212</c:v>
                </c:pt>
                <c:pt idx="27">
                  <c:v>0.34669745178205025</c:v>
                </c:pt>
                <c:pt idx="28">
                  <c:v>0.34243643362723347</c:v>
                </c:pt>
                <c:pt idx="29">
                  <c:v>0.28269935483870967</c:v>
                </c:pt>
                <c:pt idx="30">
                  <c:v>0.29960258495625797</c:v>
                </c:pt>
                <c:pt idx="31">
                  <c:v>0.3047753369978217</c:v>
                </c:pt>
                <c:pt idx="32">
                  <c:v>0.22379405885641224</c:v>
                </c:pt>
                <c:pt idx="33">
                  <c:v>0.23114768098599936</c:v>
                </c:pt>
                <c:pt idx="34">
                  <c:v>0.3256608433152347</c:v>
                </c:pt>
                <c:pt idx="35">
                  <c:v>0.3985082999413338</c:v>
                </c:pt>
                <c:pt idx="36">
                  <c:v>0.41255206119847004</c:v>
                </c:pt>
                <c:pt idx="37">
                  <c:v>0.3874414233126886</c:v>
                </c:pt>
                <c:pt idx="38">
                  <c:v>0.3846057024117728</c:v>
                </c:pt>
                <c:pt idx="39">
                  <c:v>0.32368954423574386</c:v>
                </c:pt>
                <c:pt idx="40">
                  <c:v>0.3060786948505601</c:v>
                </c:pt>
                <c:pt idx="41">
                  <c:v>0.35362452732195776</c:v>
                </c:pt>
                <c:pt idx="42">
                  <c:v>0.37225242028238376</c:v>
                </c:pt>
                <c:pt idx="43">
                  <c:v>0.41991980783877536</c:v>
                </c:pt>
                <c:pt idx="44">
                  <c:v>0.40473987990109506</c:v>
                </c:pt>
                <c:pt idx="45">
                  <c:v>0.4382597376409007</c:v>
                </c:pt>
                <c:pt idx="46">
                  <c:v>0.4456063789720151</c:v>
                </c:pt>
                <c:pt idx="47">
                  <c:v>0.4386812490759152</c:v>
                </c:pt>
                <c:pt idx="48">
                  <c:v>0.4350855708157596</c:v>
                </c:pt>
                <c:pt idx="49">
                  <c:v>0.37763279807769806</c:v>
                </c:pt>
                <c:pt idx="50">
                  <c:v>0.30096773017089634</c:v>
                </c:pt>
                <c:pt idx="51">
                  <c:v>0.2878316178398488</c:v>
                </c:pt>
                <c:pt idx="52">
                  <c:v>0.27044023242369253</c:v>
                </c:pt>
                <c:pt idx="53">
                  <c:v>0.24125280628966506</c:v>
                </c:pt>
                <c:pt idx="54">
                  <c:v>0.23197936769860228</c:v>
                </c:pt>
                <c:pt idx="55">
                  <c:v>0.2513449891826675</c:v>
                </c:pt>
                <c:pt idx="56">
                  <c:v>0.28699392933901435</c:v>
                </c:pt>
                <c:pt idx="57">
                  <c:v>0.36766165590595673</c:v>
                </c:pt>
                <c:pt idx="58">
                  <c:v>0.3874338899930637</c:v>
                </c:pt>
                <c:pt idx="59">
                  <c:v>0.2888325030646045</c:v>
                </c:pt>
                <c:pt idx="60">
                  <c:v>0.3204152237270701</c:v>
                </c:pt>
                <c:pt idx="61">
                  <c:v>0.3029147828432695</c:v>
                </c:pt>
                <c:pt idx="62">
                  <c:v>0.38915263971604164</c:v>
                </c:pt>
                <c:pt idx="63">
                  <c:v>0.3894785451820788</c:v>
                </c:pt>
                <c:pt idx="64">
                  <c:v>0.3327953214207758</c:v>
                </c:pt>
                <c:pt idx="65">
                  <c:v>0.38765477090768097</c:v>
                </c:pt>
                <c:pt idx="66">
                  <c:v>0.3008542819101262</c:v>
                </c:pt>
                <c:pt idx="67">
                  <c:v>0.3606216026343133</c:v>
                </c:pt>
                <c:pt idx="68">
                  <c:v>0.37531622565557926</c:v>
                </c:pt>
                <c:pt idx="69">
                  <c:v>0.3827857576678104</c:v>
                </c:pt>
                <c:pt idx="70">
                  <c:v>0.40520408066537106</c:v>
                </c:pt>
                <c:pt idx="71">
                  <c:v>0.357846074015782</c:v>
                </c:pt>
                <c:pt idx="72">
                  <c:v>0.3755744747400634</c:v>
                </c:pt>
                <c:pt idx="73">
                  <c:v>0.3691507891038759</c:v>
                </c:pt>
                <c:pt idx="74">
                  <c:v>0.3744577201742785</c:v>
                </c:pt>
                <c:pt idx="75">
                  <c:v>0.37480759757985493</c:v>
                </c:pt>
                <c:pt idx="76">
                  <c:v>0.39241450719042364</c:v>
                </c:pt>
                <c:pt idx="77">
                  <c:v>0.4494298027573361</c:v>
                </c:pt>
                <c:pt idx="78">
                  <c:v>0.4176334716035057</c:v>
                </c:pt>
                <c:pt idx="79">
                  <c:v>0.4073247845742977</c:v>
                </c:pt>
                <c:pt idx="80">
                  <c:v>0.43350765981720457</c:v>
                </c:pt>
                <c:pt idx="81">
                  <c:v>0.42742193944465046</c:v>
                </c:pt>
                <c:pt idx="82">
                  <c:v>0.4313745993771646</c:v>
                </c:pt>
                <c:pt idx="83">
                  <c:v>0.4407707978408078</c:v>
                </c:pt>
                <c:pt idx="84">
                  <c:v>0.3922555312671572</c:v>
                </c:pt>
                <c:pt idx="85">
                  <c:v>0.3410103674796992</c:v>
                </c:pt>
                <c:pt idx="86">
                  <c:v>0.2993885102361281</c:v>
                </c:pt>
                <c:pt idx="87">
                  <c:v>0.3282836675539588</c:v>
                </c:pt>
                <c:pt idx="88">
                  <c:v>0.3464402146860603</c:v>
                </c:pt>
                <c:pt idx="89">
                  <c:v>0.306137280246619</c:v>
                </c:pt>
                <c:pt idx="90">
                  <c:v>0.29350018368420583</c:v>
                </c:pt>
                <c:pt idx="91">
                  <c:v>0.3152793855755267</c:v>
                </c:pt>
                <c:pt idx="92">
                  <c:v>0.3491174099636267</c:v>
                </c:pt>
                <c:pt idx="93">
                  <c:v>0.3396959604979776</c:v>
                </c:pt>
                <c:pt idx="94">
                  <c:v>0.30999927457207843</c:v>
                </c:pt>
                <c:pt idx="95">
                  <c:v>0.41298545812887</c:v>
                </c:pt>
                <c:pt idx="96">
                  <c:v>0.4046708563220267</c:v>
                </c:pt>
                <c:pt idx="97">
                  <c:v>0.3453203454960965</c:v>
                </c:pt>
                <c:pt idx="98">
                  <c:v>0.38249338665753857</c:v>
                </c:pt>
                <c:pt idx="99">
                  <c:v>0.45025302835873915</c:v>
                </c:pt>
                <c:pt idx="100">
                  <c:v>0.43396806590889747</c:v>
                </c:pt>
                <c:pt idx="101">
                  <c:v>0.3811864395182333</c:v>
                </c:pt>
                <c:pt idx="102">
                  <c:v>0.4100101335707124</c:v>
                </c:pt>
                <c:pt idx="103">
                  <c:v>0.3813871785234745</c:v>
                </c:pt>
                <c:pt idx="104">
                  <c:v>0.33414959088083807</c:v>
                </c:pt>
              </c:numCache>
            </c:numRef>
          </c:xVal>
          <c:yVal>
            <c:numRef>
              <c:f>Sheet1!$B$2:$B$106</c:f>
              <c:numCache>
                <c:formatCode>General</c:formatCode>
                <c:ptCount val="105"/>
                <c:pt idx="0">
                  <c:v>0.2629685157421289</c:v>
                </c:pt>
                <c:pt idx="1">
                  <c:v>0.249730118747751</c:v>
                </c:pt>
                <c:pt idx="2">
                  <c:v>0.24983096686950643</c:v>
                </c:pt>
                <c:pt idx="3">
                  <c:v>0.2524344569288389</c:v>
                </c:pt>
                <c:pt idx="4">
                  <c:v>0.2606466876971609</c:v>
                </c:pt>
                <c:pt idx="5">
                  <c:v>0.2700253715114172</c:v>
                </c:pt>
                <c:pt idx="6">
                  <c:v>0.2716049382716049</c:v>
                </c:pt>
                <c:pt idx="7">
                  <c:v>0.2949070887818307</c:v>
                </c:pt>
                <c:pt idx="8">
                  <c:v>0.27568602425015953</c:v>
                </c:pt>
                <c:pt idx="9">
                  <c:v>0.267364657814096</c:v>
                </c:pt>
                <c:pt idx="10">
                  <c:v>0.28165374677002586</c:v>
                </c:pt>
                <c:pt idx="11">
                  <c:v>0.255891322428611</c:v>
                </c:pt>
                <c:pt idx="12">
                  <c:v>0.25069098949695967</c:v>
                </c:pt>
                <c:pt idx="13">
                  <c:v>0.24028061970184156</c:v>
                </c:pt>
                <c:pt idx="14">
                  <c:v>0.22753579043557723</c:v>
                </c:pt>
                <c:pt idx="15">
                  <c:v>0.22026590010779734</c:v>
                </c:pt>
                <c:pt idx="16">
                  <c:v>0.2023047375160051</c:v>
                </c:pt>
                <c:pt idx="17">
                  <c:v>0.21162579473206175</c:v>
                </c:pt>
                <c:pt idx="18">
                  <c:v>0.18263607737291948</c:v>
                </c:pt>
                <c:pt idx="19">
                  <c:v>0.20189873417721518</c:v>
                </c:pt>
                <c:pt idx="20">
                  <c:v>0.18741126360624705</c:v>
                </c:pt>
                <c:pt idx="21">
                  <c:v>0.1867435158501441</c:v>
                </c:pt>
                <c:pt idx="22">
                  <c:v>0.2192454893384363</c:v>
                </c:pt>
                <c:pt idx="23">
                  <c:v>0.24433849821215733</c:v>
                </c:pt>
                <c:pt idx="24">
                  <c:v>0.24692954104718812</c:v>
                </c:pt>
                <c:pt idx="25">
                  <c:v>0.2334954829742877</c:v>
                </c:pt>
                <c:pt idx="26">
                  <c:v>0.2490566037735849</c:v>
                </c:pt>
                <c:pt idx="27">
                  <c:v>0.23557692307692307</c:v>
                </c:pt>
                <c:pt idx="28">
                  <c:v>0.29251101321585904</c:v>
                </c:pt>
                <c:pt idx="29">
                  <c:v>0.27710843373493976</c:v>
                </c:pt>
                <c:pt idx="30">
                  <c:v>0.27601809954751133</c:v>
                </c:pt>
                <c:pt idx="31">
                  <c:v>0.2884250474383302</c:v>
                </c:pt>
                <c:pt idx="32">
                  <c:v>0.28166351606805295</c:v>
                </c:pt>
                <c:pt idx="33">
                  <c:v>0.29924559932942163</c:v>
                </c:pt>
                <c:pt idx="34">
                  <c:v>0.28101945003353457</c:v>
                </c:pt>
                <c:pt idx="35">
                  <c:v>0.2772675086107922</c:v>
                </c:pt>
                <c:pt idx="36">
                  <c:v>0.26610049539985847</c:v>
                </c:pt>
                <c:pt idx="37">
                  <c:v>0.26137184115523465</c:v>
                </c:pt>
                <c:pt idx="38">
                  <c:v>0.266839378238342</c:v>
                </c:pt>
                <c:pt idx="39">
                  <c:v>0.25357483317445184</c:v>
                </c:pt>
                <c:pt idx="40">
                  <c:v>0.2541636495293266</c:v>
                </c:pt>
                <c:pt idx="41">
                  <c:v>0.26083815028901736</c:v>
                </c:pt>
                <c:pt idx="42">
                  <c:v>0.25427350427350426</c:v>
                </c:pt>
                <c:pt idx="43">
                  <c:v>0.25367904695164684</c:v>
                </c:pt>
                <c:pt idx="44">
                  <c:v>0.24076147816349383</c:v>
                </c:pt>
                <c:pt idx="45">
                  <c:v>0.24623493975903615</c:v>
                </c:pt>
                <c:pt idx="46">
                  <c:v>0.25053821313240043</c:v>
                </c:pt>
                <c:pt idx="47">
                  <c:v>0.2569945197577156</c:v>
                </c:pt>
                <c:pt idx="48">
                  <c:v>0.24988804299149125</c:v>
                </c:pt>
                <c:pt idx="49">
                  <c:v>0.2274495502066618</c:v>
                </c:pt>
                <c:pt idx="50">
                  <c:v>0.24701298701298702</c:v>
                </c:pt>
                <c:pt idx="51">
                  <c:v>0.2261647639617402</c:v>
                </c:pt>
                <c:pt idx="52">
                  <c:v>0.2217220033764772</c:v>
                </c:pt>
                <c:pt idx="53">
                  <c:v>0.22016616314199397</c:v>
                </c:pt>
                <c:pt idx="54">
                  <c:v>0.21341463414634146</c:v>
                </c:pt>
                <c:pt idx="55">
                  <c:v>0.20705009276437847</c:v>
                </c:pt>
                <c:pt idx="56">
                  <c:v>0.21353979114151964</c:v>
                </c:pt>
                <c:pt idx="57">
                  <c:v>0.21178509532062392</c:v>
                </c:pt>
                <c:pt idx="58">
                  <c:v>0.24503764544832307</c:v>
                </c:pt>
                <c:pt idx="59">
                  <c:v>0.22790565501562943</c:v>
                </c:pt>
                <c:pt idx="60">
                  <c:v>0.2190082644628099</c:v>
                </c:pt>
                <c:pt idx="61">
                  <c:v>0.22129489124936774</c:v>
                </c:pt>
                <c:pt idx="62">
                  <c:v>0.23839962121212122</c:v>
                </c:pt>
                <c:pt idx="63">
                  <c:v>0.22557194782980544</c:v>
                </c:pt>
                <c:pt idx="64">
                  <c:v>0.22763544729105417</c:v>
                </c:pt>
                <c:pt idx="65">
                  <c:v>0.2084487534626039</c:v>
                </c:pt>
                <c:pt idx="66">
                  <c:v>0.2179245283018868</c:v>
                </c:pt>
                <c:pt idx="67">
                  <c:v>0.21453590192644484</c:v>
                </c:pt>
                <c:pt idx="68">
                  <c:v>0.1948737278552582</c:v>
                </c:pt>
                <c:pt idx="69">
                  <c:v>0.1996124031007752</c:v>
                </c:pt>
                <c:pt idx="70">
                  <c:v>0.19958677685950413</c:v>
                </c:pt>
                <c:pt idx="71">
                  <c:v>0.19941634241245138</c:v>
                </c:pt>
                <c:pt idx="72">
                  <c:v>0.1773825809393525</c:v>
                </c:pt>
                <c:pt idx="73">
                  <c:v>0.19093851132686085</c:v>
                </c:pt>
                <c:pt idx="74">
                  <c:v>0.1953204476093591</c:v>
                </c:pt>
                <c:pt idx="75">
                  <c:v>0.2158403869407497</c:v>
                </c:pt>
                <c:pt idx="76">
                  <c:v>0.23302107728337237</c:v>
                </c:pt>
                <c:pt idx="77">
                  <c:v>0.18813314037626627</c:v>
                </c:pt>
                <c:pt idx="78">
                  <c:v>0.22230483271375465</c:v>
                </c:pt>
                <c:pt idx="79">
                  <c:v>0.20402858999350226</c:v>
                </c:pt>
                <c:pt idx="80">
                  <c:v>0.18922749822820695</c:v>
                </c:pt>
                <c:pt idx="81">
                  <c:v>0.20848056537102475</c:v>
                </c:pt>
                <c:pt idx="82">
                  <c:v>0.21893939393939393</c:v>
                </c:pt>
                <c:pt idx="83">
                  <c:v>0.21012006861063465</c:v>
                </c:pt>
                <c:pt idx="84">
                  <c:v>0.2268835616438356</c:v>
                </c:pt>
                <c:pt idx="85">
                  <c:v>0.22351121423047177</c:v>
                </c:pt>
                <c:pt idx="86">
                  <c:v>0.24177949709864605</c:v>
                </c:pt>
                <c:pt idx="87">
                  <c:v>0.2463851937536148</c:v>
                </c:pt>
                <c:pt idx="88">
                  <c:v>0.22864117168429618</c:v>
                </c:pt>
                <c:pt idx="89">
                  <c:v>0.2747349823321555</c:v>
                </c:pt>
                <c:pt idx="90">
                  <c:v>0.2563876651982379</c:v>
                </c:pt>
                <c:pt idx="91">
                  <c:v>0.23345588235294118</c:v>
                </c:pt>
                <c:pt idx="92">
                  <c:v>0.24008651766402306</c:v>
                </c:pt>
                <c:pt idx="93">
                  <c:v>0.2198581560283688</c:v>
                </c:pt>
                <c:pt idx="94">
                  <c:v>0.2359375</c:v>
                </c:pt>
                <c:pt idx="95">
                  <c:v>0.25906183368869934</c:v>
                </c:pt>
                <c:pt idx="96">
                  <c:v>0.22141119221411193</c:v>
                </c:pt>
                <c:pt idx="97">
                  <c:v>0.23490524460114587</c:v>
                </c:pt>
                <c:pt idx="98">
                  <c:v>0.23943661971830985</c:v>
                </c:pt>
                <c:pt idx="99">
                  <c:v>0.2415506958250497</c:v>
                </c:pt>
                <c:pt idx="100">
                  <c:v>0.23354958294717332</c:v>
                </c:pt>
                <c:pt idx="101">
                  <c:v>0.24292897548711503</c:v>
                </c:pt>
                <c:pt idx="102">
                  <c:v>0.22341696535244923</c:v>
                </c:pt>
                <c:pt idx="103">
                  <c:v>0.2237017310252996</c:v>
                </c:pt>
                <c:pt idx="104">
                  <c:v>0.2151898734177215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40171995164666</c:v>
                </c:pt>
                <c:pt idx="1">
                  <c:v>0.3508326601004979</c:v>
                </c:pt>
                <c:pt idx="2">
                  <c:v>0.3819405787848475</c:v>
                </c:pt>
                <c:pt idx="3">
                  <c:v>0.3958954244673451</c:v>
                </c:pt>
                <c:pt idx="4">
                  <c:v>0.3822829021212093</c:v>
                </c:pt>
                <c:pt idx="5">
                  <c:v>0.33050659781129715</c:v>
                </c:pt>
                <c:pt idx="6">
                  <c:v>0.4114569614766145</c:v>
                </c:pt>
                <c:pt idx="7">
                  <c:v>0.4271036773629375</c:v>
                </c:pt>
                <c:pt idx="8">
                  <c:v>0.3729600756816149</c:v>
                </c:pt>
                <c:pt idx="9">
                  <c:v>0.32010606926262225</c:v>
                </c:pt>
                <c:pt idx="10">
                  <c:v>0.3669820192012322</c:v>
                </c:pt>
                <c:pt idx="11">
                  <c:v>0.4009926216775737</c:v>
                </c:pt>
                <c:pt idx="12">
                  <c:v>0.4240008560269649</c:v>
                </c:pt>
                <c:pt idx="13">
                  <c:v>0.44374530504693815</c:v>
                </c:pt>
                <c:pt idx="14">
                  <c:v>0.45336075836251033</c:v>
                </c:pt>
                <c:pt idx="15">
                  <c:v>0.369184101132652</c:v>
                </c:pt>
                <c:pt idx="16">
                  <c:v>0.41649857283175046</c:v>
                </c:pt>
                <c:pt idx="17">
                  <c:v>0.34891543618298393</c:v>
                </c:pt>
                <c:pt idx="18">
                  <c:v>0.3470105884614552</c:v>
                </c:pt>
                <c:pt idx="19">
                  <c:v>0.3359087455480807</c:v>
                </c:pt>
                <c:pt idx="20">
                  <c:v>0.34044263694728355</c:v>
                </c:pt>
                <c:pt idx="21">
                  <c:v>0.31257148469692597</c:v>
                </c:pt>
                <c:pt idx="22">
                  <c:v>0.36715462469363647</c:v>
                </c:pt>
                <c:pt idx="23">
                  <c:v>0.3473983717722858</c:v>
                </c:pt>
                <c:pt idx="24">
                  <c:v>0.3495297663359982</c:v>
                </c:pt>
                <c:pt idx="25">
                  <c:v>0.3513264807763946</c:v>
                </c:pt>
                <c:pt idx="26">
                  <c:v>0.3161836681653975</c:v>
                </c:pt>
                <c:pt idx="27">
                  <c:v>0.3242921747183207</c:v>
                </c:pt>
                <c:pt idx="28">
                  <c:v>0.3983177709244107</c:v>
                </c:pt>
                <c:pt idx="29">
                  <c:v>0.4028597041857845</c:v>
                </c:pt>
                <c:pt idx="30">
                  <c:v>0.3804118716217013</c:v>
                </c:pt>
                <c:pt idx="31">
                  <c:v>0.30311959993547344</c:v>
                </c:pt>
                <c:pt idx="32">
                  <c:v>0.3002610127573026</c:v>
                </c:pt>
                <c:pt idx="33">
                  <c:v>0.2699856153278134</c:v>
                </c:pt>
                <c:pt idx="34">
                  <c:v>0.31348150442352296</c:v>
                </c:pt>
                <c:pt idx="35">
                  <c:v>0.3286238002092691</c:v>
                </c:pt>
                <c:pt idx="36">
                  <c:v>0.3069877104910626</c:v>
                </c:pt>
                <c:pt idx="37">
                  <c:v>0.29491750217628865</c:v>
                </c:pt>
                <c:pt idx="38">
                  <c:v>0.2909360057822426</c:v>
                </c:pt>
                <c:pt idx="39">
                  <c:v>0.31557548446334505</c:v>
                </c:pt>
                <c:pt idx="40">
                  <c:v>0.32282336192340044</c:v>
                </c:pt>
                <c:pt idx="41">
                  <c:v>0.33925353995311375</c:v>
                </c:pt>
                <c:pt idx="42">
                  <c:v>0.3387693212013714</c:v>
                </c:pt>
                <c:pt idx="43">
                  <c:v>0.33948323059165303</c:v>
                </c:pt>
                <c:pt idx="44">
                  <c:v>0.3600979037594711</c:v>
                </c:pt>
                <c:pt idx="45">
                  <c:v>0.40451578669375315</c:v>
                </c:pt>
                <c:pt idx="46">
                  <c:v>0.3755455648926237</c:v>
                </c:pt>
                <c:pt idx="47">
                  <c:v>0.4051493054421806</c:v>
                </c:pt>
                <c:pt idx="48">
                  <c:v>0.3997588252953871</c:v>
                </c:pt>
                <c:pt idx="49">
                  <c:v>0.4288978126825668</c:v>
                </c:pt>
                <c:pt idx="50">
                  <c:v>0.460966406048347</c:v>
                </c:pt>
                <c:pt idx="51">
                  <c:v>0.38563763322257694</c:v>
                </c:pt>
              </c:numCache>
            </c:numRef>
          </c:xVal>
          <c:yVal>
            <c:numRef>
              <c:f>Sheet1!$B$109:$B$160</c:f>
              <c:numCache>
                <c:formatCode>General</c:formatCode>
                <c:ptCount val="52"/>
                <c:pt idx="0">
                  <c:v>0.2172803499817718</c:v>
                </c:pt>
                <c:pt idx="1">
                  <c:v>0.21637931034482757</c:v>
                </c:pt>
                <c:pt idx="2">
                  <c:v>0.23109243697478993</c:v>
                </c:pt>
                <c:pt idx="3">
                  <c:v>0.24747650539505744</c:v>
                </c:pt>
                <c:pt idx="4">
                  <c:v>0.23210892970234326</c:v>
                </c:pt>
                <c:pt idx="5">
                  <c:v>0.22362869198312235</c:v>
                </c:pt>
                <c:pt idx="6">
                  <c:v>0.2250283768444949</c:v>
                </c:pt>
                <c:pt idx="7">
                  <c:v>0.23110865968008826</c:v>
                </c:pt>
                <c:pt idx="8">
                  <c:v>0.22423435419440746</c:v>
                </c:pt>
                <c:pt idx="9">
                  <c:v>0.2311815427639245</c:v>
                </c:pt>
                <c:pt idx="10">
                  <c:v>0.22986198243412798</c:v>
                </c:pt>
                <c:pt idx="11">
                  <c:v>0.22415600754875237</c:v>
                </c:pt>
                <c:pt idx="12">
                  <c:v>0.22284812978819288</c:v>
                </c:pt>
                <c:pt idx="13">
                  <c:v>0.2266526757607555</c:v>
                </c:pt>
                <c:pt idx="14">
                  <c:v>0.2294837361981498</c:v>
                </c:pt>
                <c:pt idx="15">
                  <c:v>0.21933085501858737</c:v>
                </c:pt>
                <c:pt idx="16">
                  <c:v>0.2164119066773934</c:v>
                </c:pt>
                <c:pt idx="17">
                  <c:v>0.24419114423498467</c:v>
                </c:pt>
                <c:pt idx="18">
                  <c:v>0.2171945701357466</c:v>
                </c:pt>
                <c:pt idx="19">
                  <c:v>0.2202914798206278</c:v>
                </c:pt>
                <c:pt idx="20">
                  <c:v>0.22608079376328843</c:v>
                </c:pt>
                <c:pt idx="21">
                  <c:v>0.22980132450331126</c:v>
                </c:pt>
                <c:pt idx="22">
                  <c:v>0.2177858439201452</c:v>
                </c:pt>
                <c:pt idx="23">
                  <c:v>0.2371756185878093</c:v>
                </c:pt>
                <c:pt idx="24">
                  <c:v>0.2236024844720497</c:v>
                </c:pt>
                <c:pt idx="25">
                  <c:v>0.234955185659411</c:v>
                </c:pt>
                <c:pt idx="26">
                  <c:v>0.25571725571725573</c:v>
                </c:pt>
                <c:pt idx="27">
                  <c:v>0.25709779179810727</c:v>
                </c:pt>
                <c:pt idx="28">
                  <c:v>0.21604938271604937</c:v>
                </c:pt>
                <c:pt idx="29">
                  <c:v>0.22835314091680814</c:v>
                </c:pt>
                <c:pt idx="30">
                  <c:v>0.2357581069237511</c:v>
                </c:pt>
                <c:pt idx="31">
                  <c:v>0.22025052192066805</c:v>
                </c:pt>
                <c:pt idx="32">
                  <c:v>0.21262766945218198</c:v>
                </c:pt>
                <c:pt idx="33">
                  <c:v>0.21289456010745467</c:v>
                </c:pt>
                <c:pt idx="34">
                  <c:v>0.25464788732394367</c:v>
                </c:pt>
                <c:pt idx="35">
                  <c:v>0.23731048121292023</c:v>
                </c:pt>
                <c:pt idx="36">
                  <c:v>0.2427536231884058</c:v>
                </c:pt>
                <c:pt idx="37">
                  <c:v>0.24495677233429394</c:v>
                </c:pt>
                <c:pt idx="38">
                  <c:v>0.27413479052823314</c:v>
                </c:pt>
                <c:pt idx="39">
                  <c:v>0.23210070810385522</c:v>
                </c:pt>
                <c:pt idx="40">
                  <c:v>0.23239917976760083</c:v>
                </c:pt>
                <c:pt idx="41">
                  <c:v>0.23617021276595745</c:v>
                </c:pt>
                <c:pt idx="42">
                  <c:v>0.21464646464646464</c:v>
                </c:pt>
                <c:pt idx="43">
                  <c:v>0.20994475138121546</c:v>
                </c:pt>
                <c:pt idx="44">
                  <c:v>0.2212290502793296</c:v>
                </c:pt>
                <c:pt idx="45">
                  <c:v>0.24556737588652483</c:v>
                </c:pt>
                <c:pt idx="46">
                  <c:v>0.2510572856593618</c:v>
                </c:pt>
                <c:pt idx="47">
                  <c:v>0.24812298891669646</c:v>
                </c:pt>
                <c:pt idx="48">
                  <c:v>0.2443280977312391</c:v>
                </c:pt>
                <c:pt idx="49">
                  <c:v>0.230578307272276</c:v>
                </c:pt>
                <c:pt idx="50">
                  <c:v>0.20980046948356806</c:v>
                </c:pt>
                <c:pt idx="51">
                  <c:v>0.228496388706500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539394075918219</c:v>
                </c:pt>
              </c:numCache>
            </c:numRef>
          </c:xVal>
          <c:yVal>
            <c:numRef>
              <c:f>Sheet1!$B$163:$B$164</c:f>
              <c:numCache>
                <c:formatCode>General</c:formatCode>
                <c:ptCount val="2"/>
                <c:pt idx="0">
                  <c:v>0.26531490764448873</c:v>
                </c:pt>
                <c:pt idx="1">
                  <c:v>0.2653149076444887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539394075918219</c:v>
                </c:pt>
                <c:pt idx="1">
                  <c:v>-0.2539394075918219</c:v>
                </c:pt>
              </c:numCache>
            </c:numRef>
          </c:xVal>
          <c:yVal>
            <c:numRef>
              <c:f>Sheet1!$B$167:$B$168</c:f>
              <c:numCache>
                <c:formatCode>General</c:formatCode>
                <c:ptCount val="2"/>
                <c:pt idx="0">
                  <c:v>0.265314907644488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690515371904186</c:v>
                </c:pt>
              </c:numCache>
            </c:numRef>
          </c:xVal>
          <c:yVal>
            <c:numRef>
              <c:f>Sheet1!$B$171:$B$172</c:f>
              <c:numCache>
                <c:formatCode>General</c:formatCode>
                <c:ptCount val="2"/>
                <c:pt idx="0">
                  <c:v>0.23772259112852764</c:v>
                </c:pt>
                <c:pt idx="1">
                  <c:v>0.237722591128527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690515371904186</c:v>
                </c:pt>
                <c:pt idx="1">
                  <c:v>0.23690515371904186</c:v>
                </c:pt>
              </c:numCache>
            </c:numRef>
          </c:xVal>
          <c:yVal>
            <c:numRef>
              <c:f>Sheet1!$B$175:$B$176</c:f>
              <c:numCache>
                <c:formatCode>General</c:formatCode>
                <c:ptCount val="2"/>
                <c:pt idx="0">
                  <c:v>0.237722591128527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5452226154709354</c:v>
                </c:pt>
              </c:numCache>
            </c:numRef>
          </c:xVal>
          <c:yVal>
            <c:numRef>
              <c:f>Sheet1!$B$179:$B$180</c:f>
              <c:numCache>
                <c:formatCode>General</c:formatCode>
                <c:ptCount val="2"/>
                <c:pt idx="0">
                  <c:v>0.23111086773850686</c:v>
                </c:pt>
                <c:pt idx="1">
                  <c:v>0.231110867738506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5452226154709354</c:v>
                </c:pt>
                <c:pt idx="1">
                  <c:v>0.35452226154709354</c:v>
                </c:pt>
              </c:numCache>
            </c:numRef>
          </c:xVal>
          <c:yVal>
            <c:numRef>
              <c:f>Sheet1!$B$183:$B$184</c:f>
              <c:numCache>
                <c:formatCode>General</c:formatCode>
                <c:ptCount val="2"/>
                <c:pt idx="0">
                  <c:v>0.23111086773850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40171995164666</c:v>
                </c:pt>
                <c:pt idx="1">
                  <c:v>0.3508326601004979</c:v>
                </c:pt>
                <c:pt idx="2">
                  <c:v>0.3819405787848475</c:v>
                </c:pt>
                <c:pt idx="3">
                  <c:v>0.3958954244673451</c:v>
                </c:pt>
                <c:pt idx="4">
                  <c:v>0.3822829021212093</c:v>
                </c:pt>
                <c:pt idx="5">
                  <c:v>0.33050659781129715</c:v>
                </c:pt>
                <c:pt idx="6">
                  <c:v>0.4114569614766145</c:v>
                </c:pt>
                <c:pt idx="7">
                  <c:v>0.4271036773629375</c:v>
                </c:pt>
                <c:pt idx="8">
                  <c:v>0.3729600756816149</c:v>
                </c:pt>
                <c:pt idx="9">
                  <c:v>0.32010606926262225</c:v>
                </c:pt>
                <c:pt idx="10">
                  <c:v>0.3669820192012322</c:v>
                </c:pt>
                <c:pt idx="11">
                  <c:v>0.4009926216775737</c:v>
                </c:pt>
                <c:pt idx="12">
                  <c:v>0.4240008560269649</c:v>
                </c:pt>
                <c:pt idx="13">
                  <c:v>0.44374530504693815</c:v>
                </c:pt>
                <c:pt idx="14">
                  <c:v>0.45336075836251033</c:v>
                </c:pt>
                <c:pt idx="15">
                  <c:v>0.369184101132652</c:v>
                </c:pt>
                <c:pt idx="16">
                  <c:v>0.41649857283175046</c:v>
                </c:pt>
                <c:pt idx="17">
                  <c:v>0.34891543618298393</c:v>
                </c:pt>
                <c:pt idx="18">
                  <c:v>0.3470105884614552</c:v>
                </c:pt>
                <c:pt idx="19">
                  <c:v>0.3359087455480807</c:v>
                </c:pt>
                <c:pt idx="20">
                  <c:v>0.34044263694728355</c:v>
                </c:pt>
                <c:pt idx="21">
                  <c:v>0.31257148469692597</c:v>
                </c:pt>
                <c:pt idx="22">
                  <c:v>0.36715462469363647</c:v>
                </c:pt>
                <c:pt idx="23">
                  <c:v>0.3473983717722858</c:v>
                </c:pt>
                <c:pt idx="24">
                  <c:v>0.3495297663359982</c:v>
                </c:pt>
                <c:pt idx="25">
                  <c:v>0.3513264807763946</c:v>
                </c:pt>
                <c:pt idx="26">
                  <c:v>0.3161836681653975</c:v>
                </c:pt>
                <c:pt idx="27">
                  <c:v>0.3242921747183207</c:v>
                </c:pt>
                <c:pt idx="28">
                  <c:v>0.3983177709244107</c:v>
                </c:pt>
                <c:pt idx="29">
                  <c:v>0.4028597041857845</c:v>
                </c:pt>
                <c:pt idx="30">
                  <c:v>0.3804118716217013</c:v>
                </c:pt>
                <c:pt idx="31">
                  <c:v>0.30311959993547344</c:v>
                </c:pt>
                <c:pt idx="32">
                  <c:v>0.3002610127573026</c:v>
                </c:pt>
                <c:pt idx="33">
                  <c:v>0.2699856153278134</c:v>
                </c:pt>
                <c:pt idx="34">
                  <c:v>0.31348150442352296</c:v>
                </c:pt>
                <c:pt idx="35">
                  <c:v>0.3286238002092691</c:v>
                </c:pt>
                <c:pt idx="36">
                  <c:v>0.3069877104910626</c:v>
                </c:pt>
                <c:pt idx="37">
                  <c:v>0.29491750217628865</c:v>
                </c:pt>
                <c:pt idx="38">
                  <c:v>0.2909360057822426</c:v>
                </c:pt>
                <c:pt idx="39">
                  <c:v>0.31557548446334505</c:v>
                </c:pt>
                <c:pt idx="40">
                  <c:v>0.32282336192340044</c:v>
                </c:pt>
                <c:pt idx="41">
                  <c:v>0.33925353995311375</c:v>
                </c:pt>
                <c:pt idx="42">
                  <c:v>0.3387693212013714</c:v>
                </c:pt>
                <c:pt idx="43">
                  <c:v>0.33948323059165303</c:v>
                </c:pt>
                <c:pt idx="44">
                  <c:v>0.3600979037594711</c:v>
                </c:pt>
                <c:pt idx="45">
                  <c:v>0.40451578669375315</c:v>
                </c:pt>
                <c:pt idx="46">
                  <c:v>0.3755455648926237</c:v>
                </c:pt>
                <c:pt idx="47">
                  <c:v>0.4051493054421806</c:v>
                </c:pt>
                <c:pt idx="48">
                  <c:v>0.3997588252953871</c:v>
                </c:pt>
                <c:pt idx="49">
                  <c:v>0.4288978126825668</c:v>
                </c:pt>
                <c:pt idx="50">
                  <c:v>0.460966406048347</c:v>
                </c:pt>
                <c:pt idx="51">
                  <c:v>0.38563763322257694</c:v>
                </c:pt>
                <c:pt idx="52">
                  <c:v>0.23690515371904186</c:v>
                </c:pt>
                <c:pt idx="53">
                  <c:v>-0.2539394075918219</c:v>
                </c:pt>
                <c:pt idx="54">
                  <c:v>0.35452226154709354</c:v>
                </c:pt>
              </c:numCache>
            </c:numRef>
          </c:xVal>
          <c:yVal>
            <c:numRef>
              <c:f>Sheet1!$B$187:$B$241</c:f>
              <c:numCache>
                <c:formatCode>General</c:formatCode>
                <c:ptCount val="55"/>
                <c:pt idx="0">
                  <c:v>0.23072414613920894</c:v>
                </c:pt>
                <c:pt idx="1">
                  <c:v>0.231318274846493</c:v>
                </c:pt>
                <c:pt idx="2">
                  <c:v>0.22956957555114166</c:v>
                </c:pt>
                <c:pt idx="3">
                  <c:v>0.22878511841470206</c:v>
                </c:pt>
                <c:pt idx="4">
                  <c:v>0.22955033220081814</c:v>
                </c:pt>
                <c:pt idx="5">
                  <c:v>0.23246088329815634</c:v>
                </c:pt>
                <c:pt idx="6">
                  <c:v>0.22791034279635175</c:v>
                </c:pt>
                <c:pt idx="7">
                  <c:v>0.2270307789360173</c:v>
                </c:pt>
                <c:pt idx="8">
                  <c:v>0.23007440519300465</c:v>
                </c:pt>
                <c:pt idx="9">
                  <c:v>0.23304553819355117</c:v>
                </c:pt>
                <c:pt idx="10">
                  <c:v>0.23041045542062966</c:v>
                </c:pt>
                <c:pt idx="11">
                  <c:v>0.22849858477481963</c:v>
                </c:pt>
                <c:pt idx="12">
                  <c:v>0.22720520081035975</c:v>
                </c:pt>
                <c:pt idx="13">
                  <c:v>0.22609528714372482</c:v>
                </c:pt>
                <c:pt idx="14">
                  <c:v>0.22555476443604897</c:v>
                </c:pt>
                <c:pt idx="15">
                  <c:v>0.23028666767510886</c:v>
                </c:pt>
                <c:pt idx="16">
                  <c:v>0.2276269338575018</c:v>
                </c:pt>
                <c:pt idx="17">
                  <c:v>0.2314260495950259</c:v>
                </c:pt>
                <c:pt idx="18">
                  <c:v>0.23153312862857323</c:v>
                </c:pt>
                <c:pt idx="19">
                  <c:v>0.23215720718158445</c:v>
                </c:pt>
                <c:pt idx="20">
                  <c:v>0.23190233919200806</c:v>
                </c:pt>
                <c:pt idx="21">
                  <c:v>0.2334690870286401</c:v>
                </c:pt>
                <c:pt idx="22">
                  <c:v>0.23040075258239082</c:v>
                </c:pt>
                <c:pt idx="23">
                  <c:v>0.23151132979306516</c:v>
                </c:pt>
                <c:pt idx="24">
                  <c:v>0.23139151566440233</c:v>
                </c:pt>
                <c:pt idx="25">
                  <c:v>0.2312905152307909</c:v>
                </c:pt>
                <c:pt idx="26">
                  <c:v>0.23326603189177642</c:v>
                </c:pt>
                <c:pt idx="27">
                  <c:v>0.2328102206290775</c:v>
                </c:pt>
                <c:pt idx="28">
                  <c:v>0.22864894872795608</c:v>
                </c:pt>
                <c:pt idx="29">
                  <c:v>0.22839362867346163</c:v>
                </c:pt>
                <c:pt idx="30">
                  <c:v>0.22965551023440084</c:v>
                </c:pt>
                <c:pt idx="31">
                  <c:v>0.23400041490016404</c:v>
                </c:pt>
                <c:pt idx="32">
                  <c:v>0.23416110740533902</c:v>
                </c:pt>
                <c:pt idx="33">
                  <c:v>0.23586300738420407</c:v>
                </c:pt>
                <c:pt idx="34">
                  <c:v>0.23341793121616666</c:v>
                </c:pt>
                <c:pt idx="35">
                  <c:v>0.23256672280716895</c:v>
                </c:pt>
                <c:pt idx="36">
                  <c:v>0.23378297308827248</c:v>
                </c:pt>
                <c:pt idx="37">
                  <c:v>0.23446148729518432</c:v>
                </c:pt>
                <c:pt idx="38">
                  <c:v>0.23468530297405887</c:v>
                </c:pt>
                <c:pt idx="39">
                  <c:v>0.23330022030605171</c:v>
                </c:pt>
                <c:pt idx="40">
                  <c:v>0.23289278841271943</c:v>
                </c:pt>
                <c:pt idx="41">
                  <c:v>0.23196918304282652</c:v>
                </c:pt>
                <c:pt idx="42">
                  <c:v>0.2319964028963487</c:v>
                </c:pt>
                <c:pt idx="43">
                  <c:v>0.23195627122246856</c:v>
                </c:pt>
                <c:pt idx="44">
                  <c:v>0.23079743881043072</c:v>
                </c:pt>
                <c:pt idx="45">
                  <c:v>0.22830053371766873</c:v>
                </c:pt>
                <c:pt idx="46">
                  <c:v>0.2299290646060208</c:v>
                </c:pt>
                <c:pt idx="47">
                  <c:v>0.2282649211201109</c:v>
                </c:pt>
                <c:pt idx="48">
                  <c:v>0.22856794135524627</c:v>
                </c:pt>
                <c:pt idx="49">
                  <c:v>0.2269299234849974</c:v>
                </c:pt>
                <c:pt idx="50">
                  <c:v>0.22512722086156983</c:v>
                </c:pt>
                <c:pt idx="51">
                  <c:v>0.22936174948101035</c:v>
                </c:pt>
                <c:pt idx="52">
                  <c:v>0.23772259112852764</c:v>
                </c:pt>
                <c:pt idx="53">
                  <c:v>0.26531490764448873</c:v>
                </c:pt>
                <c:pt idx="54">
                  <c:v>0.231110867738506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909471919530594"/>
          <c:min val="0.141906064751482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755798730278074</c:v>
                </c:pt>
                <c:pt idx="1">
                  <c:v>0.7522365614798695</c:v>
                </c:pt>
                <c:pt idx="2">
                  <c:v>0.7559107511665328</c:v>
                </c:pt>
                <c:pt idx="3">
                  <c:v>0.7547474782351246</c:v>
                </c:pt>
                <c:pt idx="4">
                  <c:v>0.8022925205873693</c:v>
                </c:pt>
                <c:pt idx="5">
                  <c:v>0.7904320317654298</c:v>
                </c:pt>
                <c:pt idx="6">
                  <c:v>0.6857829093071722</c:v>
                </c:pt>
                <c:pt idx="7">
                  <c:v>0.7234879459984829</c:v>
                </c:pt>
                <c:pt idx="8">
                  <c:v>0.7292170318617075</c:v>
                </c:pt>
                <c:pt idx="9">
                  <c:v>0.8276017905447773</c:v>
                </c:pt>
                <c:pt idx="10">
                  <c:v>0.7872504855835183</c:v>
                </c:pt>
                <c:pt idx="11">
                  <c:v>0.8777743074376593</c:v>
                </c:pt>
                <c:pt idx="12">
                  <c:v>0.8996979662339053</c:v>
                </c:pt>
                <c:pt idx="13">
                  <c:v>0.9278703366278576</c:v>
                </c:pt>
                <c:pt idx="14">
                  <c:v>0.9119008060034272</c:v>
                </c:pt>
                <c:pt idx="15">
                  <c:v>0.9479234911899859</c:v>
                </c:pt>
                <c:pt idx="16">
                  <c:v>0.9622133442713079</c:v>
                </c:pt>
                <c:pt idx="17">
                  <c:v>0.9582011784434045</c:v>
                </c:pt>
                <c:pt idx="18">
                  <c:v>0.9676913909950973</c:v>
                </c:pt>
                <c:pt idx="19">
                  <c:v>0.8641608087686877</c:v>
                </c:pt>
                <c:pt idx="20">
                  <c:v>0.909157627078668</c:v>
                </c:pt>
                <c:pt idx="21">
                  <c:v>0.7763738245928741</c:v>
                </c:pt>
                <c:pt idx="22">
                  <c:v>0.7486324245188017</c:v>
                </c:pt>
                <c:pt idx="23">
                  <c:v>0.7020797727379854</c:v>
                </c:pt>
                <c:pt idx="24">
                  <c:v>0.7269787205428195</c:v>
                </c:pt>
                <c:pt idx="25">
                  <c:v>0.6658158541467716</c:v>
                </c:pt>
                <c:pt idx="26">
                  <c:v>0.6679555943619807</c:v>
                </c:pt>
                <c:pt idx="27">
                  <c:v>0.6757384425800796</c:v>
                </c:pt>
                <c:pt idx="28">
                  <c:v>0.7006602202241903</c:v>
                </c:pt>
                <c:pt idx="29">
                  <c:v>0.6889193902327095</c:v>
                </c:pt>
                <c:pt idx="30">
                  <c:v>0.6983478024829025</c:v>
                </c:pt>
                <c:pt idx="31">
                  <c:v>0.6495227927363807</c:v>
                </c:pt>
                <c:pt idx="32">
                  <c:v>0.6803894650598438</c:v>
                </c:pt>
                <c:pt idx="33">
                  <c:v>0.556204764115172</c:v>
                </c:pt>
                <c:pt idx="34">
                  <c:v>0.7229638295087429</c:v>
                </c:pt>
                <c:pt idx="35">
                  <c:v>0.8292933103329666</c:v>
                </c:pt>
                <c:pt idx="36">
                  <c:v>0.9075546991913696</c:v>
                </c:pt>
                <c:pt idx="37">
                  <c:v>0.9589536999970012</c:v>
                </c:pt>
                <c:pt idx="38">
                  <c:v>1.0610608341952559</c:v>
                </c:pt>
                <c:pt idx="39">
                  <c:v>1.14480518333192</c:v>
                </c:pt>
                <c:pt idx="40">
                  <c:v>0.9450833310351803</c:v>
                </c:pt>
                <c:pt idx="41">
                  <c:v>0.8711328942583965</c:v>
                </c:pt>
                <c:pt idx="42">
                  <c:v>0.923791525711782</c:v>
                </c:pt>
                <c:pt idx="43">
                  <c:v>0.923642387903239</c:v>
                </c:pt>
                <c:pt idx="44">
                  <c:v>1.048938650551938</c:v>
                </c:pt>
                <c:pt idx="45">
                  <c:v>1.058856727642133</c:v>
                </c:pt>
                <c:pt idx="46">
                  <c:v>1.0504578885011557</c:v>
                </c:pt>
                <c:pt idx="47">
                  <c:v>1.0282257835662985</c:v>
                </c:pt>
                <c:pt idx="48">
                  <c:v>1.0169249778987168</c:v>
                </c:pt>
                <c:pt idx="49">
                  <c:v>0.9967642555920421</c:v>
                </c:pt>
                <c:pt idx="50">
                  <c:v>1.0142682576393087</c:v>
                </c:pt>
                <c:pt idx="51">
                  <c:v>0.9990156550559203</c:v>
                </c:pt>
                <c:pt idx="52">
                  <c:v>0.9426801267904038</c:v>
                </c:pt>
                <c:pt idx="53">
                  <c:v>0.8973168146816559</c:v>
                </c:pt>
                <c:pt idx="54">
                  <c:v>0.8493133554152866</c:v>
                </c:pt>
                <c:pt idx="55">
                  <c:v>0.899531322793171</c:v>
                </c:pt>
                <c:pt idx="56">
                  <c:v>0.8701183364734761</c:v>
                </c:pt>
                <c:pt idx="57">
                  <c:v>0.910164911125933</c:v>
                </c:pt>
                <c:pt idx="58">
                  <c:v>0.8066954588375989</c:v>
                </c:pt>
                <c:pt idx="59">
                  <c:v>0.8621391818617471</c:v>
                </c:pt>
                <c:pt idx="60">
                  <c:v>0.8432080392384842</c:v>
                </c:pt>
                <c:pt idx="61">
                  <c:v>1.051849154106429</c:v>
                </c:pt>
                <c:pt idx="62">
                  <c:v>1.038071459361755</c:v>
                </c:pt>
                <c:pt idx="63">
                  <c:v>1.036933062524733</c:v>
                </c:pt>
                <c:pt idx="64">
                  <c:v>1.0787338855736235</c:v>
                </c:pt>
                <c:pt idx="65">
                  <c:v>1.0875049924252858</c:v>
                </c:pt>
                <c:pt idx="66">
                  <c:v>1.0232213193035473</c:v>
                </c:pt>
                <c:pt idx="67">
                  <c:v>1.1087190035887038</c:v>
                </c:pt>
                <c:pt idx="68">
                  <c:v>1.1670115366180809</c:v>
                </c:pt>
                <c:pt idx="69">
                  <c:v>1.2468701724109572</c:v>
                </c:pt>
                <c:pt idx="70">
                  <c:v>1.1646470825008637</c:v>
                </c:pt>
                <c:pt idx="71">
                  <c:v>1.0033845570922235</c:v>
                </c:pt>
                <c:pt idx="72">
                  <c:v>1.0161491614648541</c:v>
                </c:pt>
                <c:pt idx="73">
                  <c:v>0.9496933685124654</c:v>
                </c:pt>
                <c:pt idx="74">
                  <c:v>0.998767740080902</c:v>
                </c:pt>
                <c:pt idx="75">
                  <c:v>0.8325342047065887</c:v>
                </c:pt>
                <c:pt idx="76">
                  <c:v>0.6489773640773335</c:v>
                </c:pt>
                <c:pt idx="77">
                  <c:v>1.0330227942548034</c:v>
                </c:pt>
                <c:pt idx="78">
                  <c:v>1.033038622518909</c:v>
                </c:pt>
                <c:pt idx="79">
                  <c:v>0.8108747855917666</c:v>
                </c:pt>
                <c:pt idx="80">
                  <c:v>1.0728945428603922</c:v>
                </c:pt>
                <c:pt idx="81">
                  <c:v>1.0535308661703864</c:v>
                </c:pt>
                <c:pt idx="82">
                  <c:v>1.066488314235595</c:v>
                </c:pt>
                <c:pt idx="83">
                  <c:v>0.9829253266358586</c:v>
                </c:pt>
                <c:pt idx="84">
                  <c:v>1.052581213448309</c:v>
                </c:pt>
                <c:pt idx="85">
                  <c:v>1.004628678609808</c:v>
                </c:pt>
                <c:pt idx="86">
                  <c:v>0.9919854850348915</c:v>
                </c:pt>
                <c:pt idx="87">
                  <c:v>1.0099255630328077</c:v>
                </c:pt>
                <c:pt idx="88">
                  <c:v>0.7867347619236614</c:v>
                </c:pt>
                <c:pt idx="89">
                  <c:v>0.8189905580044541</c:v>
                </c:pt>
                <c:pt idx="90">
                  <c:v>0.9515327425567184</c:v>
                </c:pt>
                <c:pt idx="91">
                  <c:v>1.0334727831763</c:v>
                </c:pt>
                <c:pt idx="92">
                  <c:v>0.9142493535303338</c:v>
                </c:pt>
                <c:pt idx="93">
                  <c:v>0.9236383481690136</c:v>
                </c:pt>
                <c:pt idx="94">
                  <c:v>0.9538770705171588</c:v>
                </c:pt>
                <c:pt idx="95">
                  <c:v>1.002469645246402</c:v>
                </c:pt>
                <c:pt idx="96">
                  <c:v>1.050563098221554</c:v>
                </c:pt>
                <c:pt idx="97">
                  <c:v>1.1290947399390143</c:v>
                </c:pt>
                <c:pt idx="98">
                  <c:v>1.0840670838871935</c:v>
                </c:pt>
                <c:pt idx="99">
                  <c:v>1.0626393082754781</c:v>
                </c:pt>
                <c:pt idx="100">
                  <c:v>1.0453556480045958</c:v>
                </c:pt>
                <c:pt idx="101">
                  <c:v>0.9474484880254427</c:v>
                </c:pt>
                <c:pt idx="102">
                  <c:v>1.030029991206608</c:v>
                </c:pt>
                <c:pt idx="103">
                  <c:v>1.0239653522908365</c:v>
                </c:pt>
                <c:pt idx="104">
                  <c:v>0.9367531583134446</c:v>
                </c:pt>
              </c:numCache>
            </c:numRef>
          </c:xVal>
          <c:yVal>
            <c:numRef>
              <c:f>Sheet1!$B$2:$B$106</c:f>
              <c:numCache>
                <c:formatCode>General</c:formatCode>
                <c:ptCount val="105"/>
                <c:pt idx="0">
                  <c:v>0.24564183835182252</c:v>
                </c:pt>
                <c:pt idx="1">
                  <c:v>0.31568998109640833</c:v>
                </c:pt>
                <c:pt idx="2">
                  <c:v>0.2977941176470588</c:v>
                </c:pt>
                <c:pt idx="3">
                  <c:v>0.31305903398926654</c:v>
                </c:pt>
                <c:pt idx="4">
                  <c:v>0.29711751662971175</c:v>
                </c:pt>
                <c:pt idx="5">
                  <c:v>0.3067226890756303</c:v>
                </c:pt>
                <c:pt idx="6">
                  <c:v>0.3339622641509434</c:v>
                </c:pt>
                <c:pt idx="7">
                  <c:v>0.33242506811989103</c:v>
                </c:pt>
                <c:pt idx="8">
                  <c:v>0.3606060606060606</c:v>
                </c:pt>
                <c:pt idx="9">
                  <c:v>0.31533477321814257</c:v>
                </c:pt>
                <c:pt idx="10">
                  <c:v>0.30740037950664134</c:v>
                </c:pt>
                <c:pt idx="11">
                  <c:v>0.3192771084337349</c:v>
                </c:pt>
                <c:pt idx="12">
                  <c:v>0.2910284463894967</c:v>
                </c:pt>
                <c:pt idx="13">
                  <c:v>0.28085106382978725</c:v>
                </c:pt>
                <c:pt idx="14">
                  <c:v>0.3078556263269639</c:v>
                </c:pt>
                <c:pt idx="15">
                  <c:v>0.2743142144638404</c:v>
                </c:pt>
                <c:pt idx="16">
                  <c:v>0.23870967741935484</c:v>
                </c:pt>
                <c:pt idx="17">
                  <c:v>0.2784313725490196</c:v>
                </c:pt>
                <c:pt idx="18">
                  <c:v>0.26693227091633465</c:v>
                </c:pt>
                <c:pt idx="19">
                  <c:v>0.319672131147541</c:v>
                </c:pt>
                <c:pt idx="20">
                  <c:v>0.2717391304347826</c:v>
                </c:pt>
                <c:pt idx="21">
                  <c:v>0.36024844720496896</c:v>
                </c:pt>
                <c:pt idx="22">
                  <c:v>0.3465909090909091</c:v>
                </c:pt>
                <c:pt idx="23">
                  <c:v>0.31446540880503143</c:v>
                </c:pt>
                <c:pt idx="24">
                  <c:v>0.31</c:v>
                </c:pt>
                <c:pt idx="25">
                  <c:v>0.2808988764044944</c:v>
                </c:pt>
                <c:pt idx="26">
                  <c:v>0.31645569620253167</c:v>
                </c:pt>
                <c:pt idx="27">
                  <c:v>0.3185840707964602</c:v>
                </c:pt>
                <c:pt idx="28">
                  <c:v>0.29770992366412213</c:v>
                </c:pt>
                <c:pt idx="29">
                  <c:v>0.3322784810126582</c:v>
                </c:pt>
                <c:pt idx="30">
                  <c:v>0.3157894736842105</c:v>
                </c:pt>
                <c:pt idx="31">
                  <c:v>0.29464285714285715</c:v>
                </c:pt>
                <c:pt idx="32">
                  <c:v>0.32432432432432434</c:v>
                </c:pt>
                <c:pt idx="33">
                  <c:v>0.3450134770889488</c:v>
                </c:pt>
                <c:pt idx="34">
                  <c:v>0.3236009732360097</c:v>
                </c:pt>
                <c:pt idx="35">
                  <c:v>0.3125</c:v>
                </c:pt>
                <c:pt idx="36">
                  <c:v>0.24904214559386972</c:v>
                </c:pt>
                <c:pt idx="37">
                  <c:v>0.20784313725490197</c:v>
                </c:pt>
                <c:pt idx="38">
                  <c:v>0.2</c:v>
                </c:pt>
                <c:pt idx="39">
                  <c:v>0.1947565543071161</c:v>
                </c:pt>
                <c:pt idx="40">
                  <c:v>0.23183391003460208</c:v>
                </c:pt>
                <c:pt idx="41">
                  <c:v>0.25333333333333335</c:v>
                </c:pt>
                <c:pt idx="42">
                  <c:v>0.24161073825503357</c:v>
                </c:pt>
                <c:pt idx="43">
                  <c:v>0.2435064935064935</c:v>
                </c:pt>
                <c:pt idx="44">
                  <c:v>0.1972318339100346</c:v>
                </c:pt>
                <c:pt idx="45">
                  <c:v>0.22700296735905046</c:v>
                </c:pt>
                <c:pt idx="46">
                  <c:v>0.22544283413848631</c:v>
                </c:pt>
                <c:pt idx="47">
                  <c:v>0.20711974110032363</c:v>
                </c:pt>
                <c:pt idx="48">
                  <c:v>0.2390194075587334</c:v>
                </c:pt>
                <c:pt idx="49">
                  <c:v>0.2465642683912692</c:v>
                </c:pt>
                <c:pt idx="50">
                  <c:v>0.23390557939914164</c:v>
                </c:pt>
                <c:pt idx="51">
                  <c:v>0.22099447513812154</c:v>
                </c:pt>
                <c:pt idx="52">
                  <c:v>0.2631578947368421</c:v>
                </c:pt>
                <c:pt idx="53">
                  <c:v>0.23822714681440443</c:v>
                </c:pt>
                <c:pt idx="54">
                  <c:v>0.2796934865900383</c:v>
                </c:pt>
                <c:pt idx="55">
                  <c:v>0.27106227106227104</c:v>
                </c:pt>
                <c:pt idx="56">
                  <c:v>0.299625468164794</c:v>
                </c:pt>
                <c:pt idx="57">
                  <c:v>0.24793388429752067</c:v>
                </c:pt>
                <c:pt idx="58">
                  <c:v>0.28205128205128205</c:v>
                </c:pt>
                <c:pt idx="59">
                  <c:v>0.24891774891774893</c:v>
                </c:pt>
                <c:pt idx="60">
                  <c:v>0.2752577319587629</c:v>
                </c:pt>
                <c:pt idx="61">
                  <c:v>0.2821969696969697</c:v>
                </c:pt>
                <c:pt idx="62">
                  <c:v>0.26695526695526695</c:v>
                </c:pt>
                <c:pt idx="63">
                  <c:v>0.2667660208643815</c:v>
                </c:pt>
                <c:pt idx="64">
                  <c:v>0.28545454545454546</c:v>
                </c:pt>
                <c:pt idx="65">
                  <c:v>0.2811158798283262</c:v>
                </c:pt>
                <c:pt idx="66">
                  <c:v>0.3115124153498871</c:v>
                </c:pt>
                <c:pt idx="67">
                  <c:v>0.28603603603603606</c:v>
                </c:pt>
                <c:pt idx="68">
                  <c:v>0.23793103448275862</c:v>
                </c:pt>
                <c:pt idx="69">
                  <c:v>0.24875621890547264</c:v>
                </c:pt>
                <c:pt idx="70">
                  <c:v>0.24789915966386555</c:v>
                </c:pt>
                <c:pt idx="71">
                  <c:v>0.2777777777777778</c:v>
                </c:pt>
                <c:pt idx="72">
                  <c:v>0.28342245989304815</c:v>
                </c:pt>
                <c:pt idx="73">
                  <c:v>0.27918781725888325</c:v>
                </c:pt>
                <c:pt idx="74">
                  <c:v>0.3063063063063063</c:v>
                </c:pt>
                <c:pt idx="75">
                  <c:v>0.3415841584158416</c:v>
                </c:pt>
                <c:pt idx="76">
                  <c:v>0.39303482587064675</c:v>
                </c:pt>
                <c:pt idx="77">
                  <c:v>0.3352941176470588</c:v>
                </c:pt>
                <c:pt idx="78">
                  <c:v>0.29651162790697677</c:v>
                </c:pt>
                <c:pt idx="79">
                  <c:v>0.32432432432432434</c:v>
                </c:pt>
                <c:pt idx="80">
                  <c:v>0.3048128342245989</c:v>
                </c:pt>
                <c:pt idx="81">
                  <c:v>0.3063063063063063</c:v>
                </c:pt>
                <c:pt idx="82">
                  <c:v>0.3151515151515151</c:v>
                </c:pt>
                <c:pt idx="83">
                  <c:v>0.29457364341085274</c:v>
                </c:pt>
                <c:pt idx="84">
                  <c:v>0.28378378378378377</c:v>
                </c:pt>
                <c:pt idx="85">
                  <c:v>0.3128491620111732</c:v>
                </c:pt>
                <c:pt idx="86">
                  <c:v>0.35687732342007433</c:v>
                </c:pt>
                <c:pt idx="87">
                  <c:v>0.34710743801652894</c:v>
                </c:pt>
                <c:pt idx="88">
                  <c:v>0.35877862595419846</c:v>
                </c:pt>
                <c:pt idx="89">
                  <c:v>0.3333333333333333</c:v>
                </c:pt>
                <c:pt idx="90">
                  <c:v>0.291044776119403</c:v>
                </c:pt>
                <c:pt idx="91">
                  <c:v>0.273972602739726</c:v>
                </c:pt>
                <c:pt idx="92">
                  <c:v>0.27692307692307694</c:v>
                </c:pt>
                <c:pt idx="93">
                  <c:v>0.2803738317757009</c:v>
                </c:pt>
                <c:pt idx="94">
                  <c:v>0.27472527472527475</c:v>
                </c:pt>
                <c:pt idx="95">
                  <c:v>0.2697841726618705</c:v>
                </c:pt>
                <c:pt idx="96">
                  <c:v>0.25812619502868067</c:v>
                </c:pt>
                <c:pt idx="97">
                  <c:v>0.2447089947089947</c:v>
                </c:pt>
                <c:pt idx="98">
                  <c:v>0.2493857493857494</c:v>
                </c:pt>
                <c:pt idx="99">
                  <c:v>0.2566287878787879</c:v>
                </c:pt>
                <c:pt idx="100">
                  <c:v>0.2359249329758713</c:v>
                </c:pt>
                <c:pt idx="101">
                  <c:v>0.26405451448040884</c:v>
                </c:pt>
                <c:pt idx="102">
                  <c:v>0.23544303797468355</c:v>
                </c:pt>
                <c:pt idx="103">
                  <c:v>0.248868778280543</c:v>
                </c:pt>
                <c:pt idx="104">
                  <c:v>0.265100671140939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38137714413051</c:v>
                </c:pt>
                <c:pt idx="1">
                  <c:v>0.7984154065305785</c:v>
                </c:pt>
                <c:pt idx="2">
                  <c:v>0.8313541727580659</c:v>
                </c:pt>
                <c:pt idx="3">
                  <c:v>0.8566905361798223</c:v>
                </c:pt>
                <c:pt idx="4">
                  <c:v>0.8388192759150117</c:v>
                </c:pt>
                <c:pt idx="5">
                  <c:v>0.8786846620681167</c:v>
                </c:pt>
                <c:pt idx="6">
                  <c:v>0.9044180259520892</c:v>
                </c:pt>
                <c:pt idx="7">
                  <c:v>0.945720295045718</c:v>
                </c:pt>
                <c:pt idx="8">
                  <c:v>1.0102900306965952</c:v>
                </c:pt>
                <c:pt idx="9">
                  <c:v>1.0070726925694724</c:v>
                </c:pt>
                <c:pt idx="10">
                  <c:v>0.9721881930521789</c:v>
                </c:pt>
                <c:pt idx="11">
                  <c:v>0.9260081816538427</c:v>
                </c:pt>
                <c:pt idx="12">
                  <c:v>0.9260151469664064</c:v>
                </c:pt>
                <c:pt idx="13">
                  <c:v>0.9282682785513823</c:v>
                </c:pt>
                <c:pt idx="14">
                  <c:v>0.9207335061100217</c:v>
                </c:pt>
                <c:pt idx="15">
                  <c:v>0.9566138737407317</c:v>
                </c:pt>
                <c:pt idx="16">
                  <c:v>1.0134785042207535</c:v>
                </c:pt>
                <c:pt idx="17">
                  <c:v>0.979403880592918</c:v>
                </c:pt>
                <c:pt idx="18">
                  <c:v>0.7233880583495963</c:v>
                </c:pt>
                <c:pt idx="19">
                  <c:v>0.8603790361445783</c:v>
                </c:pt>
                <c:pt idx="20">
                  <c:v>0.8568861687114004</c:v>
                </c:pt>
                <c:pt idx="21">
                  <c:v>0.5611108796551267</c:v>
                </c:pt>
                <c:pt idx="22">
                  <c:v>0.8081883753768652</c:v>
                </c:pt>
                <c:pt idx="23">
                  <c:v>0.9553587076510975</c:v>
                </c:pt>
                <c:pt idx="24">
                  <c:v>0.9818163151136031</c:v>
                </c:pt>
                <c:pt idx="25">
                  <c:v>1.047733392488541</c:v>
                </c:pt>
                <c:pt idx="26">
                  <c:v>0.9024046090718206</c:v>
                </c:pt>
                <c:pt idx="27">
                  <c:v>1.0354696470328293</c:v>
                </c:pt>
                <c:pt idx="28">
                  <c:v>1.076253684736833</c:v>
                </c:pt>
                <c:pt idx="29">
                  <c:v>1.1009231403382922</c:v>
                </c:pt>
                <c:pt idx="30">
                  <c:v>0.8893939709242558</c:v>
                </c:pt>
                <c:pt idx="31">
                  <c:v>1.0488827950596764</c:v>
                </c:pt>
                <c:pt idx="32">
                  <c:v>0.9310492037112335</c:v>
                </c:pt>
                <c:pt idx="33">
                  <c:v>1.0125581458369146</c:v>
                </c:pt>
                <c:pt idx="34">
                  <c:v>1.046652433725543</c:v>
                </c:pt>
                <c:pt idx="35">
                  <c:v>0.9973509249101965</c:v>
                </c:pt>
                <c:pt idx="36">
                  <c:v>1.065029305523425</c:v>
                </c:pt>
                <c:pt idx="37">
                  <c:v>0.9701714484596461</c:v>
                </c:pt>
                <c:pt idx="38">
                  <c:v>0.8528575126478835</c:v>
                </c:pt>
                <c:pt idx="39">
                  <c:v>1.0223400819209159</c:v>
                </c:pt>
                <c:pt idx="40">
                  <c:v>1.0111993272212367</c:v>
                </c:pt>
                <c:pt idx="41">
                  <c:v>1.0289949655696153</c:v>
                </c:pt>
                <c:pt idx="42">
                  <c:v>0.9586303687199371</c:v>
                </c:pt>
                <c:pt idx="43">
                  <c:v>1.1405399814425914</c:v>
                </c:pt>
                <c:pt idx="44">
                  <c:v>1.180831843575419</c:v>
                </c:pt>
                <c:pt idx="45">
                  <c:v>1.137390073952006</c:v>
                </c:pt>
                <c:pt idx="46">
                  <c:v>1.0780908059481091</c:v>
                </c:pt>
                <c:pt idx="47">
                  <c:v>1.0876482918226271</c:v>
                </c:pt>
                <c:pt idx="48">
                  <c:v>1.1391076227646566</c:v>
                </c:pt>
                <c:pt idx="49">
                  <c:v>1.2230302075914286</c:v>
                </c:pt>
                <c:pt idx="50">
                  <c:v>1.114867885885103</c:v>
                </c:pt>
                <c:pt idx="51">
                  <c:v>1.1233624156850819</c:v>
                </c:pt>
              </c:numCache>
            </c:numRef>
          </c:xVal>
          <c:yVal>
            <c:numRef>
              <c:f>Sheet1!$B$109:$B$160</c:f>
              <c:numCache>
                <c:formatCode>General</c:formatCode>
                <c:ptCount val="52"/>
                <c:pt idx="0">
                  <c:v>0.2878338278931751</c:v>
                </c:pt>
                <c:pt idx="1">
                  <c:v>0.2772020725388601</c:v>
                </c:pt>
                <c:pt idx="2">
                  <c:v>0.24288840262582057</c:v>
                </c:pt>
                <c:pt idx="3">
                  <c:v>0.2549450549450549</c:v>
                </c:pt>
                <c:pt idx="4">
                  <c:v>0.26014319809069214</c:v>
                </c:pt>
                <c:pt idx="5">
                  <c:v>0.2255813953488372</c:v>
                </c:pt>
                <c:pt idx="6">
                  <c:v>0.29944547134935307</c:v>
                </c:pt>
                <c:pt idx="7">
                  <c:v>0.27467811158798283</c:v>
                </c:pt>
                <c:pt idx="8">
                  <c:v>0.25622775800711745</c:v>
                </c:pt>
                <c:pt idx="9">
                  <c:v>0.25573770491803277</c:v>
                </c:pt>
                <c:pt idx="10">
                  <c:v>0.2672672672672673</c:v>
                </c:pt>
                <c:pt idx="11">
                  <c:v>0.24364406779661016</c:v>
                </c:pt>
                <c:pt idx="12">
                  <c:v>0.2471264367816092</c:v>
                </c:pt>
                <c:pt idx="13">
                  <c:v>0.25609756097560976</c:v>
                </c:pt>
                <c:pt idx="14">
                  <c:v>0.26006191950464397</c:v>
                </c:pt>
                <c:pt idx="15">
                  <c:v>0.23465703971119134</c:v>
                </c:pt>
                <c:pt idx="16">
                  <c:v>0.2183406113537118</c:v>
                </c:pt>
                <c:pt idx="17">
                  <c:v>0.2231404958677686</c:v>
                </c:pt>
                <c:pt idx="18">
                  <c:v>0.3595890410958904</c:v>
                </c:pt>
                <c:pt idx="19">
                  <c:v>0.2922374429223744</c:v>
                </c:pt>
                <c:pt idx="20">
                  <c:v>0.2751677852348993</c:v>
                </c:pt>
                <c:pt idx="21">
                  <c:v>0.3951612903225806</c:v>
                </c:pt>
                <c:pt idx="22">
                  <c:v>0.24271844660194175</c:v>
                </c:pt>
                <c:pt idx="23">
                  <c:v>0.224</c:v>
                </c:pt>
                <c:pt idx="24">
                  <c:v>0.17391304347826086</c:v>
                </c:pt>
                <c:pt idx="25">
                  <c:v>0.21428571428571427</c:v>
                </c:pt>
                <c:pt idx="26">
                  <c:v>0.2709677419354839</c:v>
                </c:pt>
                <c:pt idx="27">
                  <c:v>0.233502538071066</c:v>
                </c:pt>
                <c:pt idx="28">
                  <c:v>0.20535714285714285</c:v>
                </c:pt>
                <c:pt idx="29">
                  <c:v>0.2088607594936709</c:v>
                </c:pt>
                <c:pt idx="30">
                  <c:v>0.2621951219512195</c:v>
                </c:pt>
                <c:pt idx="31">
                  <c:v>0.22085889570552147</c:v>
                </c:pt>
                <c:pt idx="32">
                  <c:v>0.23148148148148148</c:v>
                </c:pt>
                <c:pt idx="33">
                  <c:v>0.24014336917562723</c:v>
                </c:pt>
                <c:pt idx="34">
                  <c:v>0.24921135646687698</c:v>
                </c:pt>
                <c:pt idx="35">
                  <c:v>0.24064171122994651</c:v>
                </c:pt>
                <c:pt idx="36">
                  <c:v>0.18487394957983194</c:v>
                </c:pt>
                <c:pt idx="37">
                  <c:v>0.2108843537414966</c:v>
                </c:pt>
                <c:pt idx="38">
                  <c:v>0.2925170068027211</c:v>
                </c:pt>
                <c:pt idx="39">
                  <c:v>0.2879581151832461</c:v>
                </c:pt>
                <c:pt idx="40">
                  <c:v>0.21301775147928995</c:v>
                </c:pt>
                <c:pt idx="41">
                  <c:v>0.23756906077348067</c:v>
                </c:pt>
                <c:pt idx="42">
                  <c:v>0.2635135135135135</c:v>
                </c:pt>
                <c:pt idx="43">
                  <c:v>0.22093023255813954</c:v>
                </c:pt>
                <c:pt idx="44">
                  <c:v>0.20954907161803712</c:v>
                </c:pt>
                <c:pt idx="45">
                  <c:v>0.2289156626506024</c:v>
                </c:pt>
                <c:pt idx="46">
                  <c:v>0.23515439429928742</c:v>
                </c:pt>
                <c:pt idx="47">
                  <c:v>0.2553699284009546</c:v>
                </c:pt>
                <c:pt idx="48">
                  <c:v>0.24874791318864775</c:v>
                </c:pt>
                <c:pt idx="49">
                  <c:v>0.2679083094555874</c:v>
                </c:pt>
                <c:pt idx="50">
                  <c:v>0.27460510328068044</c:v>
                </c:pt>
                <c:pt idx="51">
                  <c:v>0.28985507246376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27090549952826</c:v>
                </c:pt>
              </c:numCache>
            </c:numRef>
          </c:xVal>
          <c:yVal>
            <c:numRef>
              <c:f>Sheet1!$B$163:$B$164</c:f>
              <c:numCache>
                <c:formatCode>General</c:formatCode>
                <c:ptCount val="2"/>
                <c:pt idx="0">
                  <c:v>0.3227512404854277</c:v>
                </c:pt>
                <c:pt idx="1">
                  <c:v>0.322751240485427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27090549952826</c:v>
                </c:pt>
                <c:pt idx="1">
                  <c:v>0.5827090549952826</c:v>
                </c:pt>
              </c:numCache>
            </c:numRef>
          </c:xVal>
          <c:yVal>
            <c:numRef>
              <c:f>Sheet1!$B$167:$B$168</c:f>
              <c:numCache>
                <c:formatCode>General</c:formatCode>
                <c:ptCount val="2"/>
                <c:pt idx="0">
                  <c:v>0.32275124048542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604135129807878</c:v>
                </c:pt>
              </c:numCache>
            </c:numRef>
          </c:xVal>
          <c:yVal>
            <c:numRef>
              <c:f>Sheet1!$B$171:$B$172</c:f>
              <c:numCache>
                <c:formatCode>General</c:formatCode>
                <c:ptCount val="2"/>
                <c:pt idx="0">
                  <c:v>0.27140220490401457</c:v>
                </c:pt>
                <c:pt idx="1">
                  <c:v>0.271402204904014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604135129807878</c:v>
                </c:pt>
                <c:pt idx="1">
                  <c:v>0.8604135129807878</c:v>
                </c:pt>
              </c:numCache>
            </c:numRef>
          </c:xVal>
          <c:yVal>
            <c:numRef>
              <c:f>Sheet1!$B$175:$B$176</c:f>
              <c:numCache>
                <c:formatCode>General</c:formatCode>
                <c:ptCount val="2"/>
                <c:pt idx="0">
                  <c:v>0.271402204904014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831934027108254</c:v>
                </c:pt>
              </c:numCache>
            </c:numRef>
          </c:xVal>
          <c:yVal>
            <c:numRef>
              <c:f>Sheet1!$B$179:$B$180</c:f>
              <c:numCache>
                <c:formatCode>General</c:formatCode>
                <c:ptCount val="2"/>
                <c:pt idx="0">
                  <c:v>0.24869954837424885</c:v>
                </c:pt>
                <c:pt idx="1">
                  <c:v>0.2486995483742488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831934027108254</c:v>
                </c:pt>
                <c:pt idx="1">
                  <c:v>0.9831934027108254</c:v>
                </c:pt>
              </c:numCache>
            </c:numRef>
          </c:xVal>
          <c:yVal>
            <c:numRef>
              <c:f>Sheet1!$B$183:$B$184</c:f>
              <c:numCache>
                <c:formatCode>General</c:formatCode>
                <c:ptCount val="2"/>
                <c:pt idx="0">
                  <c:v>0.248699548374248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38137714413051</c:v>
                </c:pt>
                <c:pt idx="1">
                  <c:v>0.7984154065305785</c:v>
                </c:pt>
                <c:pt idx="2">
                  <c:v>0.8313541727580659</c:v>
                </c:pt>
                <c:pt idx="3">
                  <c:v>0.8566905361798223</c:v>
                </c:pt>
                <c:pt idx="4">
                  <c:v>0.8388192759150117</c:v>
                </c:pt>
                <c:pt idx="5">
                  <c:v>0.8786846620681167</c:v>
                </c:pt>
                <c:pt idx="6">
                  <c:v>0.9044180259520892</c:v>
                </c:pt>
                <c:pt idx="7">
                  <c:v>0.945720295045718</c:v>
                </c:pt>
                <c:pt idx="8">
                  <c:v>1.0102900306965952</c:v>
                </c:pt>
                <c:pt idx="9">
                  <c:v>1.0070726925694724</c:v>
                </c:pt>
                <c:pt idx="10">
                  <c:v>0.9721881930521789</c:v>
                </c:pt>
                <c:pt idx="11">
                  <c:v>0.9260081816538427</c:v>
                </c:pt>
                <c:pt idx="12">
                  <c:v>0.9260151469664064</c:v>
                </c:pt>
                <c:pt idx="13">
                  <c:v>0.9282682785513823</c:v>
                </c:pt>
                <c:pt idx="14">
                  <c:v>0.9207335061100217</c:v>
                </c:pt>
                <c:pt idx="15">
                  <c:v>0.9566138737407317</c:v>
                </c:pt>
                <c:pt idx="16">
                  <c:v>1.0134785042207535</c:v>
                </c:pt>
                <c:pt idx="17">
                  <c:v>0.979403880592918</c:v>
                </c:pt>
                <c:pt idx="18">
                  <c:v>0.7233880583495963</c:v>
                </c:pt>
                <c:pt idx="19">
                  <c:v>0.8603790361445783</c:v>
                </c:pt>
                <c:pt idx="20">
                  <c:v>0.8568861687114004</c:v>
                </c:pt>
                <c:pt idx="21">
                  <c:v>0.5611108796551267</c:v>
                </c:pt>
                <c:pt idx="22">
                  <c:v>0.8081883753768652</c:v>
                </c:pt>
                <c:pt idx="23">
                  <c:v>0.9553587076510975</c:v>
                </c:pt>
                <c:pt idx="24">
                  <c:v>0.9818163151136031</c:v>
                </c:pt>
                <c:pt idx="25">
                  <c:v>1.047733392488541</c:v>
                </c:pt>
                <c:pt idx="26">
                  <c:v>0.9024046090718206</c:v>
                </c:pt>
                <c:pt idx="27">
                  <c:v>1.0354696470328293</c:v>
                </c:pt>
                <c:pt idx="28">
                  <c:v>1.076253684736833</c:v>
                </c:pt>
                <c:pt idx="29">
                  <c:v>1.1009231403382922</c:v>
                </c:pt>
                <c:pt idx="30">
                  <c:v>0.8893939709242558</c:v>
                </c:pt>
                <c:pt idx="31">
                  <c:v>1.0488827950596764</c:v>
                </c:pt>
                <c:pt idx="32">
                  <c:v>0.9310492037112335</c:v>
                </c:pt>
                <c:pt idx="33">
                  <c:v>1.0125581458369146</c:v>
                </c:pt>
                <c:pt idx="34">
                  <c:v>1.046652433725543</c:v>
                </c:pt>
                <c:pt idx="35">
                  <c:v>0.9973509249101965</c:v>
                </c:pt>
                <c:pt idx="36">
                  <c:v>1.065029305523425</c:v>
                </c:pt>
                <c:pt idx="37">
                  <c:v>0.9701714484596461</c:v>
                </c:pt>
                <c:pt idx="38">
                  <c:v>0.8528575126478835</c:v>
                </c:pt>
                <c:pt idx="39">
                  <c:v>1.0223400819209159</c:v>
                </c:pt>
                <c:pt idx="40">
                  <c:v>1.0111993272212367</c:v>
                </c:pt>
                <c:pt idx="41">
                  <c:v>1.0289949655696153</c:v>
                </c:pt>
                <c:pt idx="42">
                  <c:v>0.9586303687199371</c:v>
                </c:pt>
                <c:pt idx="43">
                  <c:v>1.1405399814425914</c:v>
                </c:pt>
                <c:pt idx="44">
                  <c:v>1.180831843575419</c:v>
                </c:pt>
                <c:pt idx="45">
                  <c:v>1.137390073952006</c:v>
                </c:pt>
                <c:pt idx="46">
                  <c:v>1.0780908059481091</c:v>
                </c:pt>
                <c:pt idx="47">
                  <c:v>1.0876482918226271</c:v>
                </c:pt>
                <c:pt idx="48">
                  <c:v>1.1391076227646566</c:v>
                </c:pt>
                <c:pt idx="49">
                  <c:v>1.2230302075914286</c:v>
                </c:pt>
                <c:pt idx="50">
                  <c:v>1.114867885885103</c:v>
                </c:pt>
                <c:pt idx="51">
                  <c:v>1.1233624156850819</c:v>
                </c:pt>
                <c:pt idx="52">
                  <c:v>0.8604135129807878</c:v>
                </c:pt>
                <c:pt idx="53">
                  <c:v>0.5827090549952826</c:v>
                </c:pt>
                <c:pt idx="54">
                  <c:v>0.9831934027108254</c:v>
                </c:pt>
              </c:numCache>
            </c:numRef>
          </c:xVal>
          <c:yVal>
            <c:numRef>
              <c:f>Sheet1!$B$187:$B$241</c:f>
              <c:numCache>
                <c:formatCode>General</c:formatCode>
                <c:ptCount val="55"/>
                <c:pt idx="0">
                  <c:v>0.27447158565913965</c:v>
                </c:pt>
                <c:pt idx="1">
                  <c:v>0.2828659854899863</c:v>
                </c:pt>
                <c:pt idx="2">
                  <c:v>0.27677543191626086</c:v>
                </c:pt>
                <c:pt idx="3">
                  <c:v>0.27209060317319733</c:v>
                </c:pt>
                <c:pt idx="4">
                  <c:v>0.27539509452302774</c:v>
                </c:pt>
                <c:pt idx="5">
                  <c:v>0.26802377197785854</c:v>
                </c:pt>
                <c:pt idx="6">
                  <c:v>0.263265535731696</c:v>
                </c:pt>
                <c:pt idx="7">
                  <c:v>0.2556285258663644</c:v>
                </c:pt>
                <c:pt idx="8">
                  <c:v>0.24368923732389391</c:v>
                </c:pt>
                <c:pt idx="9">
                  <c:v>0.24428414030516216</c:v>
                </c:pt>
                <c:pt idx="10">
                  <c:v>0.25073447034288443</c:v>
                </c:pt>
                <c:pt idx="11">
                  <c:v>0.2592734007786609</c:v>
                </c:pt>
                <c:pt idx="12">
                  <c:v>0.2592721128552143</c:v>
                </c:pt>
                <c:pt idx="13">
                  <c:v>0.25885549680675113</c:v>
                </c:pt>
                <c:pt idx="14">
                  <c:v>0.2602487164222946</c:v>
                </c:pt>
                <c:pt idx="15">
                  <c:v>0.25361424505835384</c:v>
                </c:pt>
                <c:pt idx="16">
                  <c:v>0.24309967156168008</c:v>
                </c:pt>
                <c:pt idx="17">
                  <c:v>0.24940025122749268</c:v>
                </c:pt>
                <c:pt idx="18">
                  <c:v>0.2967389423710941</c:v>
                </c:pt>
                <c:pt idx="19">
                  <c:v>0.27140857985493216</c:v>
                </c:pt>
                <c:pt idx="20">
                  <c:v>0.2720544296745875</c:v>
                </c:pt>
                <c:pt idx="21">
                  <c:v>0.32674485831238076</c:v>
                </c:pt>
                <c:pt idx="22">
                  <c:v>0.2810589114204364</c:v>
                </c:pt>
                <c:pt idx="23">
                  <c:v>0.25384633196349304</c:v>
                </c:pt>
                <c:pt idx="24">
                  <c:v>0.24895417921648105</c:v>
                </c:pt>
                <c:pt idx="25">
                  <c:v>0.23676576000239297</c:v>
                </c:pt>
                <c:pt idx="26">
                  <c:v>0.26363782725259954</c:v>
                </c:pt>
                <c:pt idx="27">
                  <c:v>0.2390333919530461</c:v>
                </c:pt>
                <c:pt idx="28">
                  <c:v>0.23149220583594787</c:v>
                </c:pt>
                <c:pt idx="29">
                  <c:v>0.22693069190620194</c:v>
                </c:pt>
                <c:pt idx="30">
                  <c:v>0.26604356364596726</c:v>
                </c:pt>
                <c:pt idx="31">
                  <c:v>0.23655322933597608</c:v>
                </c:pt>
                <c:pt idx="32">
                  <c:v>0.25834128891099634</c:v>
                </c:pt>
                <c:pt idx="33">
                  <c:v>0.2432698507361241</c:v>
                </c:pt>
                <c:pt idx="34">
                  <c:v>0.2369656350436</c:v>
                </c:pt>
                <c:pt idx="35">
                  <c:v>0.24608174700212215</c:v>
                </c:pt>
                <c:pt idx="36">
                  <c:v>0.23356765342432848</c:v>
                </c:pt>
                <c:pt idx="37">
                  <c:v>0.251107377175536</c:v>
                </c:pt>
                <c:pt idx="38">
                  <c:v>0.2727993496699359</c:v>
                </c:pt>
                <c:pt idx="39">
                  <c:v>0.24146111857648875</c:v>
                </c:pt>
                <c:pt idx="40">
                  <c:v>0.2435211035462204</c:v>
                </c:pt>
                <c:pt idx="41">
                  <c:v>0.24023059509211217</c:v>
                </c:pt>
                <c:pt idx="42">
                  <c:v>0.253241384380538</c:v>
                </c:pt>
                <c:pt idx="43">
                  <c:v>0.21960532666631793</c:v>
                </c:pt>
                <c:pt idx="44">
                  <c:v>0.21215514643763775</c:v>
                </c:pt>
                <c:pt idx="45">
                  <c:v>0.22018776136320953</c:v>
                </c:pt>
                <c:pt idx="46">
                  <c:v>0.2311525123246175</c:v>
                </c:pt>
                <c:pt idx="47">
                  <c:v>0.22938528220595267</c:v>
                </c:pt>
                <c:pt idx="48">
                  <c:v>0.21987017742619466</c:v>
                </c:pt>
                <c:pt idx="49">
                  <c:v>0.20435244384130927</c:v>
                </c:pt>
                <c:pt idx="50">
                  <c:v>0.22435223407210295</c:v>
                </c:pt>
                <c:pt idx="51">
                  <c:v>0.22278155020152118</c:v>
                </c:pt>
                <c:pt idx="52">
                  <c:v>0.27140220490401457</c:v>
                </c:pt>
                <c:pt idx="53">
                  <c:v>0.3227512404854277</c:v>
                </c:pt>
                <c:pt idx="54">
                  <c:v>0.248699548374248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1935483870967"/>
          <c:min val="0.13913043478260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9.3097</c:v>
                </c:pt>
                <c:pt idx="1">
                  <c:v>1036.9581</c:v>
                </c:pt>
                <c:pt idx="2">
                  <c:v>1114.216</c:v>
                </c:pt>
                <c:pt idx="3">
                  <c:v>1110.4457</c:v>
                </c:pt>
                <c:pt idx="4">
                  <c:v>1118.209</c:v>
                </c:pt>
                <c:pt idx="5">
                  <c:v>1077.4315</c:v>
                </c:pt>
                <c:pt idx="6">
                  <c:v>950.9718</c:v>
                </c:pt>
                <c:pt idx="7">
                  <c:v>1017.2705</c:v>
                </c:pt>
                <c:pt idx="8">
                  <c:v>1000.4706</c:v>
                </c:pt>
                <c:pt idx="9">
                  <c:v>1009.0342</c:v>
                </c:pt>
                <c:pt idx="10">
                  <c:v>938.2963</c:v>
                </c:pt>
                <c:pt idx="11">
                  <c:v>1026.3585</c:v>
                </c:pt>
                <c:pt idx="12">
                  <c:v>1065.2782</c:v>
                </c:pt>
                <c:pt idx="13">
                  <c:v>1073.4621</c:v>
                </c:pt>
                <c:pt idx="14">
                  <c:v>1074.2621</c:v>
                </c:pt>
                <c:pt idx="15">
                  <c:v>1096.8727</c:v>
                </c:pt>
                <c:pt idx="16">
                  <c:v>1109.5946</c:v>
                </c:pt>
                <c:pt idx="17">
                  <c:v>1162.0282</c:v>
                </c:pt>
                <c:pt idx="18">
                  <c:v>1203.2537</c:v>
                </c:pt>
                <c:pt idx="19">
                  <c:v>1087.141</c:v>
                </c:pt>
                <c:pt idx="20">
                  <c:v>1164.1067</c:v>
                </c:pt>
                <c:pt idx="21">
                  <c:v>1214.6207</c:v>
                </c:pt>
                <c:pt idx="22">
                  <c:v>1176.1639</c:v>
                </c:pt>
                <c:pt idx="23">
                  <c:v>1133.5</c:v>
                </c:pt>
                <c:pt idx="24">
                  <c:v>1163.2742</c:v>
                </c:pt>
                <c:pt idx="25">
                  <c:v>1098.46</c:v>
                </c:pt>
                <c:pt idx="26">
                  <c:v>1071.0</c:v>
                </c:pt>
                <c:pt idx="27">
                  <c:v>1086.6806</c:v>
                </c:pt>
                <c:pt idx="28">
                  <c:v>1121.4359</c:v>
                </c:pt>
                <c:pt idx="29">
                  <c:v>1073.3619</c:v>
                </c:pt>
                <c:pt idx="30">
                  <c:v>1105.2273</c:v>
                </c:pt>
                <c:pt idx="31">
                  <c:v>1037.2879</c:v>
                </c:pt>
                <c:pt idx="32">
                  <c:v>1063.2917</c:v>
                </c:pt>
                <c:pt idx="33">
                  <c:v>868.2422</c:v>
                </c:pt>
                <c:pt idx="34">
                  <c:v>972.1203</c:v>
                </c:pt>
                <c:pt idx="35">
                  <c:v>992.3478</c:v>
                </c:pt>
                <c:pt idx="36">
                  <c:v>1096.8923</c:v>
                </c:pt>
                <c:pt idx="37">
                  <c:v>1116.0377</c:v>
                </c:pt>
                <c:pt idx="38">
                  <c:v>1242.5294</c:v>
                </c:pt>
                <c:pt idx="39">
                  <c:v>1295.8462</c:v>
                </c:pt>
                <c:pt idx="40">
                  <c:v>1315.9552</c:v>
                </c:pt>
                <c:pt idx="41">
                  <c:v>1321.9649</c:v>
                </c:pt>
                <c:pt idx="42">
                  <c:v>1421.9583</c:v>
                </c:pt>
                <c:pt idx="43">
                  <c:v>1425.6</c:v>
                </c:pt>
                <c:pt idx="44">
                  <c:v>1398.9035</c:v>
                </c:pt>
                <c:pt idx="45">
                  <c:v>1335.8366</c:v>
                </c:pt>
                <c:pt idx="46">
                  <c:v>1298.0214</c:v>
                </c:pt>
                <c:pt idx="47">
                  <c:v>1250.0547</c:v>
                </c:pt>
                <c:pt idx="48">
                  <c:v>1257.6239</c:v>
                </c:pt>
                <c:pt idx="49">
                  <c:v>1267.6787</c:v>
                </c:pt>
                <c:pt idx="50">
                  <c:v>1276.6697</c:v>
                </c:pt>
                <c:pt idx="51">
                  <c:v>1295.525</c:v>
                </c:pt>
                <c:pt idx="52">
                  <c:v>1227.8074</c:v>
                </c:pt>
                <c:pt idx="53">
                  <c:v>1337.7558</c:v>
                </c:pt>
                <c:pt idx="54">
                  <c:v>1358.9863</c:v>
                </c:pt>
                <c:pt idx="55">
                  <c:v>1400.2432</c:v>
                </c:pt>
                <c:pt idx="56">
                  <c:v>1374.9</c:v>
                </c:pt>
                <c:pt idx="57">
                  <c:v>1401.3</c:v>
                </c:pt>
                <c:pt idx="58">
                  <c:v>1214.0519</c:v>
                </c:pt>
                <c:pt idx="59">
                  <c:v>1330.0391</c:v>
                </c:pt>
                <c:pt idx="60">
                  <c:v>1346.7266</c:v>
                </c:pt>
                <c:pt idx="61">
                  <c:v>1282.3356</c:v>
                </c:pt>
                <c:pt idx="62">
                  <c:v>1194.2054</c:v>
                </c:pt>
                <c:pt idx="63">
                  <c:v>1206.6536</c:v>
                </c:pt>
                <c:pt idx="64">
                  <c:v>1242.1529</c:v>
                </c:pt>
                <c:pt idx="65">
                  <c:v>1263.4198</c:v>
                </c:pt>
                <c:pt idx="66">
                  <c:v>1187.2174</c:v>
                </c:pt>
                <c:pt idx="67">
                  <c:v>1260.0709</c:v>
                </c:pt>
                <c:pt idx="68">
                  <c:v>1336.4783</c:v>
                </c:pt>
                <c:pt idx="69">
                  <c:v>1379.7</c:v>
                </c:pt>
                <c:pt idx="70">
                  <c:v>1304.0678</c:v>
                </c:pt>
                <c:pt idx="71">
                  <c:v>1417.8182</c:v>
                </c:pt>
                <c:pt idx="72">
                  <c:v>1629.0</c:v>
                </c:pt>
                <c:pt idx="73">
                  <c:v>1500.1818</c:v>
                </c:pt>
                <c:pt idx="74">
                  <c:v>1537.7941</c:v>
                </c:pt>
                <c:pt idx="75">
                  <c:v>1263.2029</c:v>
                </c:pt>
                <c:pt idx="76">
                  <c:v>1007.1139</c:v>
                </c:pt>
                <c:pt idx="77">
                  <c:v>1384.5088</c:v>
                </c:pt>
                <c:pt idx="78">
                  <c:v>1498.1373</c:v>
                </c:pt>
                <c:pt idx="79">
                  <c:v>1181.85</c:v>
                </c:pt>
                <c:pt idx="80">
                  <c:v>1383.0175</c:v>
                </c:pt>
                <c:pt idx="81">
                  <c:v>1355.4706</c:v>
                </c:pt>
                <c:pt idx="82">
                  <c:v>1334.9808</c:v>
                </c:pt>
                <c:pt idx="83">
                  <c:v>1269.3421</c:v>
                </c:pt>
                <c:pt idx="84">
                  <c:v>1311.2381</c:v>
                </c:pt>
                <c:pt idx="85">
                  <c:v>1285.25</c:v>
                </c:pt>
                <c:pt idx="86">
                  <c:v>1258.2083</c:v>
                </c:pt>
                <c:pt idx="87">
                  <c:v>1327.2976</c:v>
                </c:pt>
                <c:pt idx="88">
                  <c:v>1270.617</c:v>
                </c:pt>
                <c:pt idx="89">
                  <c:v>1333.2326</c:v>
                </c:pt>
                <c:pt idx="90">
                  <c:v>1525.9487</c:v>
                </c:pt>
                <c:pt idx="91">
                  <c:v>1629.25</c:v>
                </c:pt>
                <c:pt idx="92">
                  <c:v>1451.5185</c:v>
                </c:pt>
                <c:pt idx="93">
                  <c:v>1510.8333</c:v>
                </c:pt>
                <c:pt idx="94">
                  <c:v>1540.0</c:v>
                </c:pt>
                <c:pt idx="95">
                  <c:v>1459.0667</c:v>
                </c:pt>
                <c:pt idx="96">
                  <c:v>1405.5407</c:v>
                </c:pt>
                <c:pt idx="97">
                  <c:v>1418.4378</c:v>
                </c:pt>
                <c:pt idx="98">
                  <c:v>1374.5911</c:v>
                </c:pt>
                <c:pt idx="99">
                  <c:v>1329.2214</c:v>
                </c:pt>
                <c:pt idx="100">
                  <c:v>1350.9545</c:v>
                </c:pt>
                <c:pt idx="101">
                  <c:v>1294.1161</c:v>
                </c:pt>
                <c:pt idx="102">
                  <c:v>1394.2796</c:v>
                </c:pt>
                <c:pt idx="103">
                  <c:v>1361.7364</c:v>
                </c:pt>
                <c:pt idx="104">
                  <c:v>1471.8734</c:v>
                </c:pt>
              </c:numCache>
            </c:numRef>
          </c:xVal>
          <c:yVal>
            <c:numRef>
              <c:f>Sheet1!$B$2:$B$106</c:f>
              <c:numCache>
                <c:formatCode>General</c:formatCode>
                <c:ptCount val="105"/>
                <c:pt idx="0">
                  <c:v>0.24564183835182252</c:v>
                </c:pt>
                <c:pt idx="1">
                  <c:v>0.31568998109640833</c:v>
                </c:pt>
                <c:pt idx="2">
                  <c:v>0.2977941176470588</c:v>
                </c:pt>
                <c:pt idx="3">
                  <c:v>0.31305903398926654</c:v>
                </c:pt>
                <c:pt idx="4">
                  <c:v>0.29711751662971175</c:v>
                </c:pt>
                <c:pt idx="5">
                  <c:v>0.3067226890756303</c:v>
                </c:pt>
                <c:pt idx="6">
                  <c:v>0.3339622641509434</c:v>
                </c:pt>
                <c:pt idx="7">
                  <c:v>0.33242506811989103</c:v>
                </c:pt>
                <c:pt idx="8">
                  <c:v>0.3606060606060606</c:v>
                </c:pt>
                <c:pt idx="9">
                  <c:v>0.31533477321814257</c:v>
                </c:pt>
                <c:pt idx="10">
                  <c:v>0.30740037950664134</c:v>
                </c:pt>
                <c:pt idx="11">
                  <c:v>0.3192771084337349</c:v>
                </c:pt>
                <c:pt idx="12">
                  <c:v>0.2910284463894967</c:v>
                </c:pt>
                <c:pt idx="13">
                  <c:v>0.28085106382978725</c:v>
                </c:pt>
                <c:pt idx="14">
                  <c:v>0.3078556263269639</c:v>
                </c:pt>
                <c:pt idx="15">
                  <c:v>0.2743142144638404</c:v>
                </c:pt>
                <c:pt idx="16">
                  <c:v>0.23870967741935484</c:v>
                </c:pt>
                <c:pt idx="17">
                  <c:v>0.2784313725490196</c:v>
                </c:pt>
                <c:pt idx="18">
                  <c:v>0.26693227091633465</c:v>
                </c:pt>
                <c:pt idx="19">
                  <c:v>0.319672131147541</c:v>
                </c:pt>
                <c:pt idx="20">
                  <c:v>0.2717391304347826</c:v>
                </c:pt>
                <c:pt idx="21">
                  <c:v>0.36024844720496896</c:v>
                </c:pt>
                <c:pt idx="22">
                  <c:v>0.3465909090909091</c:v>
                </c:pt>
                <c:pt idx="23">
                  <c:v>0.31446540880503143</c:v>
                </c:pt>
                <c:pt idx="24">
                  <c:v>0.31</c:v>
                </c:pt>
                <c:pt idx="25">
                  <c:v>0.2808988764044944</c:v>
                </c:pt>
                <c:pt idx="26">
                  <c:v>0.31645569620253167</c:v>
                </c:pt>
                <c:pt idx="27">
                  <c:v>0.3185840707964602</c:v>
                </c:pt>
                <c:pt idx="28">
                  <c:v>0.29770992366412213</c:v>
                </c:pt>
                <c:pt idx="29">
                  <c:v>0.3322784810126582</c:v>
                </c:pt>
                <c:pt idx="30">
                  <c:v>0.3157894736842105</c:v>
                </c:pt>
                <c:pt idx="31">
                  <c:v>0.29464285714285715</c:v>
                </c:pt>
                <c:pt idx="32">
                  <c:v>0.32432432432432434</c:v>
                </c:pt>
                <c:pt idx="33">
                  <c:v>0.3450134770889488</c:v>
                </c:pt>
                <c:pt idx="34">
                  <c:v>0.3236009732360097</c:v>
                </c:pt>
                <c:pt idx="35">
                  <c:v>0.3125</c:v>
                </c:pt>
                <c:pt idx="36">
                  <c:v>0.24904214559386972</c:v>
                </c:pt>
                <c:pt idx="37">
                  <c:v>0.20784313725490197</c:v>
                </c:pt>
                <c:pt idx="38">
                  <c:v>0.2</c:v>
                </c:pt>
                <c:pt idx="39">
                  <c:v>0.1947565543071161</c:v>
                </c:pt>
                <c:pt idx="40">
                  <c:v>0.23183391003460208</c:v>
                </c:pt>
                <c:pt idx="41">
                  <c:v>0.25333333333333335</c:v>
                </c:pt>
                <c:pt idx="42">
                  <c:v>0.24161073825503357</c:v>
                </c:pt>
                <c:pt idx="43">
                  <c:v>0.2435064935064935</c:v>
                </c:pt>
                <c:pt idx="44">
                  <c:v>0.1972318339100346</c:v>
                </c:pt>
                <c:pt idx="45">
                  <c:v>0.22700296735905046</c:v>
                </c:pt>
                <c:pt idx="46">
                  <c:v>0.22544283413848631</c:v>
                </c:pt>
                <c:pt idx="47">
                  <c:v>0.20711974110032363</c:v>
                </c:pt>
                <c:pt idx="48">
                  <c:v>0.2390194075587334</c:v>
                </c:pt>
                <c:pt idx="49">
                  <c:v>0.2465642683912692</c:v>
                </c:pt>
                <c:pt idx="50">
                  <c:v>0.23390557939914164</c:v>
                </c:pt>
                <c:pt idx="51">
                  <c:v>0.22099447513812154</c:v>
                </c:pt>
                <c:pt idx="52">
                  <c:v>0.2631578947368421</c:v>
                </c:pt>
                <c:pt idx="53">
                  <c:v>0.23822714681440443</c:v>
                </c:pt>
                <c:pt idx="54">
                  <c:v>0.2796934865900383</c:v>
                </c:pt>
                <c:pt idx="55">
                  <c:v>0.27106227106227104</c:v>
                </c:pt>
                <c:pt idx="56">
                  <c:v>0.299625468164794</c:v>
                </c:pt>
                <c:pt idx="57">
                  <c:v>0.24793388429752067</c:v>
                </c:pt>
                <c:pt idx="58">
                  <c:v>0.28205128205128205</c:v>
                </c:pt>
                <c:pt idx="59">
                  <c:v>0.24891774891774893</c:v>
                </c:pt>
                <c:pt idx="60">
                  <c:v>0.2752577319587629</c:v>
                </c:pt>
                <c:pt idx="61">
                  <c:v>0.2821969696969697</c:v>
                </c:pt>
                <c:pt idx="62">
                  <c:v>0.26695526695526695</c:v>
                </c:pt>
                <c:pt idx="63">
                  <c:v>0.2667660208643815</c:v>
                </c:pt>
                <c:pt idx="64">
                  <c:v>0.28545454545454546</c:v>
                </c:pt>
                <c:pt idx="65">
                  <c:v>0.2811158798283262</c:v>
                </c:pt>
                <c:pt idx="66">
                  <c:v>0.3115124153498871</c:v>
                </c:pt>
                <c:pt idx="67">
                  <c:v>0.28603603603603606</c:v>
                </c:pt>
                <c:pt idx="68">
                  <c:v>0.23793103448275862</c:v>
                </c:pt>
                <c:pt idx="69">
                  <c:v>0.24875621890547264</c:v>
                </c:pt>
                <c:pt idx="70">
                  <c:v>0.24789915966386555</c:v>
                </c:pt>
                <c:pt idx="71">
                  <c:v>0.2777777777777778</c:v>
                </c:pt>
                <c:pt idx="72">
                  <c:v>0.28342245989304815</c:v>
                </c:pt>
                <c:pt idx="73">
                  <c:v>0.27918781725888325</c:v>
                </c:pt>
                <c:pt idx="74">
                  <c:v>0.3063063063063063</c:v>
                </c:pt>
                <c:pt idx="75">
                  <c:v>0.3415841584158416</c:v>
                </c:pt>
                <c:pt idx="76">
                  <c:v>0.39303482587064675</c:v>
                </c:pt>
                <c:pt idx="77">
                  <c:v>0.3352941176470588</c:v>
                </c:pt>
                <c:pt idx="78">
                  <c:v>0.29651162790697677</c:v>
                </c:pt>
                <c:pt idx="79">
                  <c:v>0.32432432432432434</c:v>
                </c:pt>
                <c:pt idx="80">
                  <c:v>0.3048128342245989</c:v>
                </c:pt>
                <c:pt idx="81">
                  <c:v>0.3063063063063063</c:v>
                </c:pt>
                <c:pt idx="82">
                  <c:v>0.3151515151515151</c:v>
                </c:pt>
                <c:pt idx="83">
                  <c:v>0.29457364341085274</c:v>
                </c:pt>
                <c:pt idx="84">
                  <c:v>0.28378378378378377</c:v>
                </c:pt>
                <c:pt idx="85">
                  <c:v>0.3128491620111732</c:v>
                </c:pt>
                <c:pt idx="86">
                  <c:v>0.35687732342007433</c:v>
                </c:pt>
                <c:pt idx="87">
                  <c:v>0.34710743801652894</c:v>
                </c:pt>
                <c:pt idx="88">
                  <c:v>0.35877862595419846</c:v>
                </c:pt>
                <c:pt idx="89">
                  <c:v>0.3333333333333333</c:v>
                </c:pt>
                <c:pt idx="90">
                  <c:v>0.291044776119403</c:v>
                </c:pt>
                <c:pt idx="91">
                  <c:v>0.273972602739726</c:v>
                </c:pt>
                <c:pt idx="92">
                  <c:v>0.27692307692307694</c:v>
                </c:pt>
                <c:pt idx="93">
                  <c:v>0.2803738317757009</c:v>
                </c:pt>
                <c:pt idx="94">
                  <c:v>0.27472527472527475</c:v>
                </c:pt>
                <c:pt idx="95">
                  <c:v>0.2697841726618705</c:v>
                </c:pt>
                <c:pt idx="96">
                  <c:v>0.25812619502868067</c:v>
                </c:pt>
                <c:pt idx="97">
                  <c:v>0.2447089947089947</c:v>
                </c:pt>
                <c:pt idx="98">
                  <c:v>0.2493857493857494</c:v>
                </c:pt>
                <c:pt idx="99">
                  <c:v>0.2566287878787879</c:v>
                </c:pt>
                <c:pt idx="100">
                  <c:v>0.2359249329758713</c:v>
                </c:pt>
                <c:pt idx="101">
                  <c:v>0.26405451448040884</c:v>
                </c:pt>
                <c:pt idx="102">
                  <c:v>0.23544303797468355</c:v>
                </c:pt>
                <c:pt idx="103">
                  <c:v>0.248868778280543</c:v>
                </c:pt>
                <c:pt idx="104">
                  <c:v>0.265100671140939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0.134</c:v>
                </c:pt>
                <c:pt idx="1">
                  <c:v>1440.1869</c:v>
                </c:pt>
                <c:pt idx="2">
                  <c:v>1479.955</c:v>
                </c:pt>
                <c:pt idx="3">
                  <c:v>1545.819</c:v>
                </c:pt>
                <c:pt idx="4">
                  <c:v>1515.8257</c:v>
                </c:pt>
                <c:pt idx="5">
                  <c:v>1553.4948</c:v>
                </c:pt>
                <c:pt idx="6">
                  <c:v>1350.1543</c:v>
                </c:pt>
                <c:pt idx="7">
                  <c:v>1308.1484</c:v>
                </c:pt>
                <c:pt idx="8">
                  <c:v>1399.2917</c:v>
                </c:pt>
                <c:pt idx="9">
                  <c:v>1400.1667</c:v>
                </c:pt>
                <c:pt idx="10">
                  <c:v>1316.0112</c:v>
                </c:pt>
                <c:pt idx="11">
                  <c:v>1244.7652</c:v>
                </c:pt>
                <c:pt idx="12">
                  <c:v>1306.2791</c:v>
                </c:pt>
                <c:pt idx="13">
                  <c:v>1312.9524</c:v>
                </c:pt>
                <c:pt idx="14">
                  <c:v>1243.7619</c:v>
                </c:pt>
                <c:pt idx="15">
                  <c:v>1320.6</c:v>
                </c:pt>
                <c:pt idx="16">
                  <c:v>1360.4</c:v>
                </c:pt>
                <c:pt idx="17">
                  <c:v>1291.6111</c:v>
                </c:pt>
                <c:pt idx="18">
                  <c:v>740.3429</c:v>
                </c:pt>
                <c:pt idx="19">
                  <c:v>1071.1719</c:v>
                </c:pt>
                <c:pt idx="20">
                  <c:v>1387.561</c:v>
                </c:pt>
                <c:pt idx="21">
                  <c:v>884.8571</c:v>
                </c:pt>
                <c:pt idx="22">
                  <c:v>1323.56</c:v>
                </c:pt>
                <c:pt idx="23">
                  <c:v>1492.5357</c:v>
                </c:pt>
                <c:pt idx="24">
                  <c:v>1544.4167</c:v>
                </c:pt>
                <c:pt idx="25">
                  <c:v>1405.5926</c:v>
                </c:pt>
                <c:pt idx="26">
                  <c:v>1280.9286</c:v>
                </c:pt>
                <c:pt idx="27">
                  <c:v>1405.9348</c:v>
                </c:pt>
                <c:pt idx="28">
                  <c:v>1465.0217</c:v>
                </c:pt>
                <c:pt idx="29">
                  <c:v>1569.3939</c:v>
                </c:pt>
                <c:pt idx="30">
                  <c:v>1282.1628</c:v>
                </c:pt>
                <c:pt idx="31">
                  <c:v>1397.8611</c:v>
                </c:pt>
                <c:pt idx="32">
                  <c:v>1330.14</c:v>
                </c:pt>
                <c:pt idx="33">
                  <c:v>1434.8358</c:v>
                </c:pt>
                <c:pt idx="34">
                  <c:v>1491.1899</c:v>
                </c:pt>
                <c:pt idx="35">
                  <c:v>1377.5778</c:v>
                </c:pt>
                <c:pt idx="36">
                  <c:v>1701.0909</c:v>
                </c:pt>
                <c:pt idx="37">
                  <c:v>1604.4839</c:v>
                </c:pt>
                <c:pt idx="38">
                  <c:v>1452.3256</c:v>
                </c:pt>
                <c:pt idx="39">
                  <c:v>1609.8182</c:v>
                </c:pt>
                <c:pt idx="40">
                  <c:v>1555.4444</c:v>
                </c:pt>
                <c:pt idx="41">
                  <c:v>1617.6977</c:v>
                </c:pt>
                <c:pt idx="42">
                  <c:v>1518.8205</c:v>
                </c:pt>
                <c:pt idx="43">
                  <c:v>1619.8421</c:v>
                </c:pt>
                <c:pt idx="44">
                  <c:v>1479.5823</c:v>
                </c:pt>
                <c:pt idx="45">
                  <c:v>1457.8346</c:v>
                </c:pt>
                <c:pt idx="46">
                  <c:v>1402.3333</c:v>
                </c:pt>
                <c:pt idx="47">
                  <c:v>1335.9907</c:v>
                </c:pt>
                <c:pt idx="48">
                  <c:v>1279.4966</c:v>
                </c:pt>
                <c:pt idx="49">
                  <c:v>1394.8717</c:v>
                </c:pt>
                <c:pt idx="50">
                  <c:v>1319.0575</c:v>
                </c:pt>
                <c:pt idx="51">
                  <c:v>1208.65</c:v>
                </c:pt>
              </c:numCache>
            </c:numRef>
          </c:xVal>
          <c:yVal>
            <c:numRef>
              <c:f>Sheet1!$B$109:$B$160</c:f>
              <c:numCache>
                <c:formatCode>General</c:formatCode>
                <c:ptCount val="52"/>
                <c:pt idx="0">
                  <c:v>0.2878338278931751</c:v>
                </c:pt>
                <c:pt idx="1">
                  <c:v>0.2772020725388601</c:v>
                </c:pt>
                <c:pt idx="2">
                  <c:v>0.24288840262582057</c:v>
                </c:pt>
                <c:pt idx="3">
                  <c:v>0.2549450549450549</c:v>
                </c:pt>
                <c:pt idx="4">
                  <c:v>0.26014319809069214</c:v>
                </c:pt>
                <c:pt idx="5">
                  <c:v>0.2255813953488372</c:v>
                </c:pt>
                <c:pt idx="6">
                  <c:v>0.29944547134935307</c:v>
                </c:pt>
                <c:pt idx="7">
                  <c:v>0.27467811158798283</c:v>
                </c:pt>
                <c:pt idx="8">
                  <c:v>0.25622775800711745</c:v>
                </c:pt>
                <c:pt idx="9">
                  <c:v>0.25573770491803277</c:v>
                </c:pt>
                <c:pt idx="10">
                  <c:v>0.2672672672672673</c:v>
                </c:pt>
                <c:pt idx="11">
                  <c:v>0.24364406779661016</c:v>
                </c:pt>
                <c:pt idx="12">
                  <c:v>0.2471264367816092</c:v>
                </c:pt>
                <c:pt idx="13">
                  <c:v>0.25609756097560976</c:v>
                </c:pt>
                <c:pt idx="14">
                  <c:v>0.26006191950464397</c:v>
                </c:pt>
                <c:pt idx="15">
                  <c:v>0.23465703971119134</c:v>
                </c:pt>
                <c:pt idx="16">
                  <c:v>0.2183406113537118</c:v>
                </c:pt>
                <c:pt idx="17">
                  <c:v>0.2231404958677686</c:v>
                </c:pt>
                <c:pt idx="18">
                  <c:v>0.3595890410958904</c:v>
                </c:pt>
                <c:pt idx="19">
                  <c:v>0.2922374429223744</c:v>
                </c:pt>
                <c:pt idx="20">
                  <c:v>0.2751677852348993</c:v>
                </c:pt>
                <c:pt idx="21">
                  <c:v>0.3951612903225806</c:v>
                </c:pt>
                <c:pt idx="22">
                  <c:v>0.24271844660194175</c:v>
                </c:pt>
                <c:pt idx="23">
                  <c:v>0.224</c:v>
                </c:pt>
                <c:pt idx="24">
                  <c:v>0.17391304347826086</c:v>
                </c:pt>
                <c:pt idx="25">
                  <c:v>0.21428571428571427</c:v>
                </c:pt>
                <c:pt idx="26">
                  <c:v>0.2709677419354839</c:v>
                </c:pt>
                <c:pt idx="27">
                  <c:v>0.233502538071066</c:v>
                </c:pt>
                <c:pt idx="28">
                  <c:v>0.20535714285714285</c:v>
                </c:pt>
                <c:pt idx="29">
                  <c:v>0.2088607594936709</c:v>
                </c:pt>
                <c:pt idx="30">
                  <c:v>0.2621951219512195</c:v>
                </c:pt>
                <c:pt idx="31">
                  <c:v>0.22085889570552147</c:v>
                </c:pt>
                <c:pt idx="32">
                  <c:v>0.23148148148148148</c:v>
                </c:pt>
                <c:pt idx="33">
                  <c:v>0.24014336917562723</c:v>
                </c:pt>
                <c:pt idx="34">
                  <c:v>0.24921135646687698</c:v>
                </c:pt>
                <c:pt idx="35">
                  <c:v>0.24064171122994651</c:v>
                </c:pt>
                <c:pt idx="36">
                  <c:v>0.18487394957983194</c:v>
                </c:pt>
                <c:pt idx="37">
                  <c:v>0.2108843537414966</c:v>
                </c:pt>
                <c:pt idx="38">
                  <c:v>0.2925170068027211</c:v>
                </c:pt>
                <c:pt idx="39">
                  <c:v>0.2879581151832461</c:v>
                </c:pt>
                <c:pt idx="40">
                  <c:v>0.21301775147928995</c:v>
                </c:pt>
                <c:pt idx="41">
                  <c:v>0.23756906077348067</c:v>
                </c:pt>
                <c:pt idx="42">
                  <c:v>0.2635135135135135</c:v>
                </c:pt>
                <c:pt idx="43">
                  <c:v>0.22093023255813954</c:v>
                </c:pt>
                <c:pt idx="44">
                  <c:v>0.20954907161803712</c:v>
                </c:pt>
                <c:pt idx="45">
                  <c:v>0.2289156626506024</c:v>
                </c:pt>
                <c:pt idx="46">
                  <c:v>0.23515439429928742</c:v>
                </c:pt>
                <c:pt idx="47">
                  <c:v>0.2553699284009546</c:v>
                </c:pt>
                <c:pt idx="48">
                  <c:v>0.24874791318864775</c:v>
                </c:pt>
                <c:pt idx="49">
                  <c:v>0.2679083094555874</c:v>
                </c:pt>
                <c:pt idx="50">
                  <c:v>0.27460510328068044</c:v>
                </c:pt>
                <c:pt idx="51">
                  <c:v>0.28985507246376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9612534539184</c:v>
                </c:pt>
              </c:numCache>
            </c:numRef>
          </c:xVal>
          <c:yVal>
            <c:numRef>
              <c:f>Sheet1!$B$163:$B$164</c:f>
              <c:numCache>
                <c:formatCode>General</c:formatCode>
                <c:ptCount val="2"/>
                <c:pt idx="0">
                  <c:v>0.3227512404854277</c:v>
                </c:pt>
                <c:pt idx="1">
                  <c:v>0.322751240485427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9612534539184</c:v>
                </c:pt>
                <c:pt idx="1">
                  <c:v>934.9612534539184</c:v>
                </c:pt>
              </c:numCache>
            </c:numRef>
          </c:xVal>
          <c:yVal>
            <c:numRef>
              <c:f>Sheet1!$B$167:$B$168</c:f>
              <c:numCache>
                <c:formatCode>General</c:formatCode>
                <c:ptCount val="2"/>
                <c:pt idx="0">
                  <c:v>0.32275124048542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60.3124376085107</c:v>
                </c:pt>
              </c:numCache>
            </c:numRef>
          </c:xVal>
          <c:yVal>
            <c:numRef>
              <c:f>Sheet1!$B$171:$B$172</c:f>
              <c:numCache>
                <c:formatCode>General</c:formatCode>
                <c:ptCount val="2"/>
                <c:pt idx="0">
                  <c:v>0.27140220490401457</c:v>
                </c:pt>
                <c:pt idx="1">
                  <c:v>0.271402204904014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60.3124376085107</c:v>
                </c:pt>
                <c:pt idx="1">
                  <c:v>1260.3124376085107</c:v>
                </c:pt>
              </c:numCache>
            </c:numRef>
          </c:xVal>
          <c:yVal>
            <c:numRef>
              <c:f>Sheet1!$B$175:$B$176</c:f>
              <c:numCache>
                <c:formatCode>General</c:formatCode>
                <c:ptCount val="2"/>
                <c:pt idx="0">
                  <c:v>0.271402204904014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4.1581029025226</c:v>
                </c:pt>
              </c:numCache>
            </c:numRef>
          </c:xVal>
          <c:yVal>
            <c:numRef>
              <c:f>Sheet1!$B$179:$B$180</c:f>
              <c:numCache>
                <c:formatCode>General</c:formatCode>
                <c:ptCount val="2"/>
                <c:pt idx="0">
                  <c:v>0.24869954837424885</c:v>
                </c:pt>
                <c:pt idx="1">
                  <c:v>0.2486995483742488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4.1581029025226</c:v>
                </c:pt>
                <c:pt idx="1">
                  <c:v>1404.1581029025226</c:v>
                </c:pt>
              </c:numCache>
            </c:numRef>
          </c:xVal>
          <c:yVal>
            <c:numRef>
              <c:f>Sheet1!$B$183:$B$184</c:f>
              <c:numCache>
                <c:formatCode>General</c:formatCode>
                <c:ptCount val="2"/>
                <c:pt idx="0">
                  <c:v>0.248699548374248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0.134</c:v>
                </c:pt>
                <c:pt idx="1">
                  <c:v>1440.1869</c:v>
                </c:pt>
                <c:pt idx="2">
                  <c:v>1479.955</c:v>
                </c:pt>
                <c:pt idx="3">
                  <c:v>1545.819</c:v>
                </c:pt>
                <c:pt idx="4">
                  <c:v>1515.8257</c:v>
                </c:pt>
                <c:pt idx="5">
                  <c:v>1553.4948</c:v>
                </c:pt>
                <c:pt idx="6">
                  <c:v>1350.1543</c:v>
                </c:pt>
                <c:pt idx="7">
                  <c:v>1308.1484</c:v>
                </c:pt>
                <c:pt idx="8">
                  <c:v>1399.2917</c:v>
                </c:pt>
                <c:pt idx="9">
                  <c:v>1400.1667</c:v>
                </c:pt>
                <c:pt idx="10">
                  <c:v>1316.0112</c:v>
                </c:pt>
                <c:pt idx="11">
                  <c:v>1244.7652</c:v>
                </c:pt>
                <c:pt idx="12">
                  <c:v>1306.2791</c:v>
                </c:pt>
                <c:pt idx="13">
                  <c:v>1312.9524</c:v>
                </c:pt>
                <c:pt idx="14">
                  <c:v>1243.7619</c:v>
                </c:pt>
                <c:pt idx="15">
                  <c:v>1320.6</c:v>
                </c:pt>
                <c:pt idx="16">
                  <c:v>1360.4</c:v>
                </c:pt>
                <c:pt idx="17">
                  <c:v>1291.6111</c:v>
                </c:pt>
                <c:pt idx="18">
                  <c:v>740.3429</c:v>
                </c:pt>
                <c:pt idx="19">
                  <c:v>1071.1719</c:v>
                </c:pt>
                <c:pt idx="20">
                  <c:v>1387.561</c:v>
                </c:pt>
                <c:pt idx="21">
                  <c:v>884.8571</c:v>
                </c:pt>
                <c:pt idx="22">
                  <c:v>1323.56</c:v>
                </c:pt>
                <c:pt idx="23">
                  <c:v>1492.5357</c:v>
                </c:pt>
                <c:pt idx="24">
                  <c:v>1544.4167</c:v>
                </c:pt>
                <c:pt idx="25">
                  <c:v>1405.5926</c:v>
                </c:pt>
                <c:pt idx="26">
                  <c:v>1280.9286</c:v>
                </c:pt>
                <c:pt idx="27">
                  <c:v>1405.9348</c:v>
                </c:pt>
                <c:pt idx="28">
                  <c:v>1465.0217</c:v>
                </c:pt>
                <c:pt idx="29">
                  <c:v>1569.3939</c:v>
                </c:pt>
                <c:pt idx="30">
                  <c:v>1282.1628</c:v>
                </c:pt>
                <c:pt idx="31">
                  <c:v>1397.8611</c:v>
                </c:pt>
                <c:pt idx="32">
                  <c:v>1330.14</c:v>
                </c:pt>
                <c:pt idx="33">
                  <c:v>1434.8358</c:v>
                </c:pt>
                <c:pt idx="34">
                  <c:v>1491.1899</c:v>
                </c:pt>
                <c:pt idx="35">
                  <c:v>1377.5778</c:v>
                </c:pt>
                <c:pt idx="36">
                  <c:v>1701.0909</c:v>
                </c:pt>
                <c:pt idx="37">
                  <c:v>1604.4839</c:v>
                </c:pt>
                <c:pt idx="38">
                  <c:v>1452.3256</c:v>
                </c:pt>
                <c:pt idx="39">
                  <c:v>1609.8182</c:v>
                </c:pt>
                <c:pt idx="40">
                  <c:v>1555.4444</c:v>
                </c:pt>
                <c:pt idx="41">
                  <c:v>1617.6977</c:v>
                </c:pt>
                <c:pt idx="42">
                  <c:v>1518.8205</c:v>
                </c:pt>
                <c:pt idx="43">
                  <c:v>1619.8421</c:v>
                </c:pt>
                <c:pt idx="44">
                  <c:v>1479.5823</c:v>
                </c:pt>
                <c:pt idx="45">
                  <c:v>1457.8346</c:v>
                </c:pt>
                <c:pt idx="46">
                  <c:v>1402.3333</c:v>
                </c:pt>
                <c:pt idx="47">
                  <c:v>1335.9907</c:v>
                </c:pt>
                <c:pt idx="48">
                  <c:v>1279.4966</c:v>
                </c:pt>
                <c:pt idx="49">
                  <c:v>1394.8717</c:v>
                </c:pt>
                <c:pt idx="50">
                  <c:v>1319.0575</c:v>
                </c:pt>
                <c:pt idx="51">
                  <c:v>1208.65</c:v>
                </c:pt>
                <c:pt idx="52">
                  <c:v>1260.3124376085107</c:v>
                </c:pt>
                <c:pt idx="53">
                  <c:v>934.9612534539184</c:v>
                </c:pt>
                <c:pt idx="54">
                  <c:v>1404.1581029025226</c:v>
                </c:pt>
              </c:numCache>
            </c:numRef>
          </c:xVal>
          <c:yVal>
            <c:numRef>
              <c:f>Sheet1!$B$187:$B$241</c:f>
              <c:numCache>
                <c:formatCode>General</c:formatCode>
                <c:ptCount val="55"/>
                <c:pt idx="0">
                  <c:v>0.2398650689816853</c:v>
                </c:pt>
                <c:pt idx="1">
                  <c:v>0.24301324977072256</c:v>
                </c:pt>
                <c:pt idx="2">
                  <c:v>0.23673679011310256</c:v>
                </c:pt>
                <c:pt idx="3">
                  <c:v>0.2263417061415403</c:v>
                </c:pt>
                <c:pt idx="4">
                  <c:v>0.23107544341963238</c:v>
                </c:pt>
                <c:pt idx="5">
                  <c:v>0.2251302615656124</c:v>
                </c:pt>
                <c:pt idx="6">
                  <c:v>0.2572227790610492</c:v>
                </c:pt>
                <c:pt idx="7">
                  <c:v>0.2638524228391532</c:v>
                </c:pt>
                <c:pt idx="8">
                  <c:v>0.24946759566580684</c:v>
                </c:pt>
                <c:pt idx="9">
                  <c:v>0.24932949748660246</c:v>
                </c:pt>
                <c:pt idx="10">
                  <c:v>0.26261146470949825</c:v>
                </c:pt>
                <c:pt idx="11">
                  <c:v>0.27385597085303526</c:v>
                </c:pt>
                <c:pt idx="12">
                  <c:v>0.26414744789788097</c:v>
                </c:pt>
                <c:pt idx="13">
                  <c:v>0.2630942243786986</c:v>
                </c:pt>
                <c:pt idx="14">
                  <c:v>0.2740143181709732</c:v>
                </c:pt>
                <c:pt idx="15">
                  <c:v>0.26188723050980334</c:v>
                </c:pt>
                <c:pt idx="16">
                  <c:v>0.2556057361871357</c:v>
                </c:pt>
                <c:pt idx="17">
                  <c:v>0.2664624468608178</c:v>
                </c:pt>
                <c:pt idx="18">
                  <c:v>0.35346717220170154</c:v>
                </c:pt>
                <c:pt idx="19">
                  <c:v>0.30125359216969677</c:v>
                </c:pt>
                <c:pt idx="20">
                  <c:v>0.25131901087814146</c:v>
                </c:pt>
                <c:pt idx="21">
                  <c:v>0.3306590031854994</c:v>
                </c:pt>
                <c:pt idx="22">
                  <c:v>0.2614200640978662</c:v>
                </c:pt>
                <c:pt idx="23">
                  <c:v>0.2347512223838266</c:v>
                </c:pt>
                <c:pt idx="24">
                  <c:v>0.2265630262291955</c:v>
                </c:pt>
                <c:pt idx="25">
                  <c:v>0.24847314673169388</c:v>
                </c:pt>
                <c:pt idx="26">
                  <c:v>0.2681484283457901</c:v>
                </c:pt>
                <c:pt idx="27">
                  <c:v>0.2484191385066382</c:v>
                </c:pt>
                <c:pt idx="28">
                  <c:v>0.2390936604439742</c:v>
                </c:pt>
                <c:pt idx="29">
                  <c:v>0.2226209624101972</c:v>
                </c:pt>
                <c:pt idx="30">
                  <c:v>0.26795363889119117</c:v>
                </c:pt>
                <c:pt idx="31">
                  <c:v>0.24969338224314372</c:v>
                </c:pt>
                <c:pt idx="32">
                  <c:v>0.2603815657902493</c:v>
                </c:pt>
                <c:pt idx="33">
                  <c:v>0.2438577951041403</c:v>
                </c:pt>
                <c:pt idx="34">
                  <c:v>0.2349636252747674</c:v>
                </c:pt>
                <c:pt idx="35">
                  <c:v>0.25289462429829357</c:v>
                </c:pt>
                <c:pt idx="36">
                  <c:v>0.20183568708827887</c:v>
                </c:pt>
                <c:pt idx="37">
                  <c:v>0.2170828308578755</c:v>
                </c:pt>
                <c:pt idx="38">
                  <c:v>0.24109744135025613</c:v>
                </c:pt>
                <c:pt idx="39">
                  <c:v>0.21624093700949848</c:v>
                </c:pt>
                <c:pt idx="40">
                  <c:v>0.22482256303969597</c:v>
                </c:pt>
                <c:pt idx="41">
                  <c:v>0.21499734317745173</c:v>
                </c:pt>
                <c:pt idx="42">
                  <c:v>0.23060278464582523</c:v>
                </c:pt>
                <c:pt idx="43">
                  <c:v>0.21465890005118216</c:v>
                </c:pt>
                <c:pt idx="44">
                  <c:v>0.23679561204611907</c:v>
                </c:pt>
                <c:pt idx="45">
                  <c:v>0.24022797521398537</c:v>
                </c:pt>
                <c:pt idx="46">
                  <c:v>0.2489875506122434</c:v>
                </c:pt>
                <c:pt idx="47">
                  <c:v>0.2594581703421681</c:v>
                </c:pt>
                <c:pt idx="48">
                  <c:v>0.2683744358802137</c:v>
                </c:pt>
                <c:pt idx="49">
                  <c:v>0.2501651887539021</c:v>
                </c:pt>
                <c:pt idx="50">
                  <c:v>0.2621306778714293</c:v>
                </c:pt>
                <c:pt idx="51">
                  <c:v>0.27955590612343734</c:v>
                </c:pt>
                <c:pt idx="52">
                  <c:v>0.27140220490401457</c:v>
                </c:pt>
                <c:pt idx="53">
                  <c:v>0.3227512404854277</c:v>
                </c:pt>
                <c:pt idx="54">
                  <c:v>0.2486995483742488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41.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1935483870967"/>
          <c:min val="0.13913043478260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2429053750738334</c:v>
                </c:pt>
                <c:pt idx="1">
                  <c:v>0.19677868810943966</c:v>
                </c:pt>
                <c:pt idx="2">
                  <c:v>0.2227244121620175</c:v>
                </c:pt>
                <c:pt idx="3">
                  <c:v>0.2020216543237013</c:v>
                </c:pt>
                <c:pt idx="4">
                  <c:v>0.21483362151777138</c:v>
                </c:pt>
                <c:pt idx="5">
                  <c:v>0.2613222168324036</c:v>
                </c:pt>
                <c:pt idx="6">
                  <c:v>0.22620642245480496</c:v>
                </c:pt>
                <c:pt idx="7">
                  <c:v>0.1771014101671309</c:v>
                </c:pt>
                <c:pt idx="8">
                  <c:v>0.178772518784755</c:v>
                </c:pt>
                <c:pt idx="9">
                  <c:v>0.2133264693446089</c:v>
                </c:pt>
                <c:pt idx="10">
                  <c:v>0.1938228258624251</c:v>
                </c:pt>
                <c:pt idx="11">
                  <c:v>0.2380053740280233</c:v>
                </c:pt>
                <c:pt idx="12">
                  <c:v>0.21356820368885324</c:v>
                </c:pt>
                <c:pt idx="13">
                  <c:v>0.20221571065272675</c:v>
                </c:pt>
                <c:pt idx="14">
                  <c:v>0.17171708759590792</c:v>
                </c:pt>
                <c:pt idx="15">
                  <c:v>0.24485587287107766</c:v>
                </c:pt>
                <c:pt idx="16">
                  <c:v>0.15921862534079492</c:v>
                </c:pt>
                <c:pt idx="17">
                  <c:v>0.26022353599820847</c:v>
                </c:pt>
                <c:pt idx="18">
                  <c:v>0.2580797258745959</c:v>
                </c:pt>
                <c:pt idx="19">
                  <c:v>0.2158096277915633</c:v>
                </c:pt>
                <c:pt idx="20">
                  <c:v>0.2314097405824471</c:v>
                </c:pt>
                <c:pt idx="21">
                  <c:v>0.2585949968064722</c:v>
                </c:pt>
                <c:pt idx="22">
                  <c:v>0.26490177927927927</c:v>
                </c:pt>
                <c:pt idx="23">
                  <c:v>0.21580199904807235</c:v>
                </c:pt>
                <c:pt idx="24">
                  <c:v>0.2236205690119185</c:v>
                </c:pt>
                <c:pt idx="25">
                  <c:v>0.16716785877339826</c:v>
                </c:pt>
                <c:pt idx="26">
                  <c:v>0.19447975304158344</c:v>
                </c:pt>
                <c:pt idx="27">
                  <c:v>0.1815825215139109</c:v>
                </c:pt>
                <c:pt idx="28">
                  <c:v>0.18699948307487077</c:v>
                </c:pt>
                <c:pt idx="29">
                  <c:v>0.20913721640018976</c:v>
                </c:pt>
                <c:pt idx="30">
                  <c:v>0.24988182229256162</c:v>
                </c:pt>
                <c:pt idx="31">
                  <c:v>0.20787332665330663</c:v>
                </c:pt>
                <c:pt idx="32">
                  <c:v>0.20881612333071484</c:v>
                </c:pt>
                <c:pt idx="33">
                  <c:v>0.1403106334841629</c:v>
                </c:pt>
                <c:pt idx="34">
                  <c:v>0.21645965263861056</c:v>
                </c:pt>
                <c:pt idx="35">
                  <c:v>0.21127268469235683</c:v>
                </c:pt>
                <c:pt idx="36">
                  <c:v>0.23842029243283372</c:v>
                </c:pt>
                <c:pt idx="37">
                  <c:v>0.17922558214228362</c:v>
                </c:pt>
                <c:pt idx="38">
                  <c:v>0.2009589843118227</c:v>
                </c:pt>
                <c:pt idx="39">
                  <c:v>0.22676458132820018</c:v>
                </c:pt>
                <c:pt idx="40">
                  <c:v>0.22749679315411878</c:v>
                </c:pt>
                <c:pt idx="41">
                  <c:v>0.23203222110947938</c:v>
                </c:pt>
                <c:pt idx="42">
                  <c:v>0.2386036244651397</c:v>
                </c:pt>
                <c:pt idx="43">
                  <c:v>0.3160041400620965</c:v>
                </c:pt>
                <c:pt idx="44">
                  <c:v>0.25553082473285227</c:v>
                </c:pt>
                <c:pt idx="45">
                  <c:v>0.24769823845725944</c:v>
                </c:pt>
                <c:pt idx="46">
                  <c:v>0.29922116182572617</c:v>
                </c:pt>
                <c:pt idx="47">
                  <c:v>0.23585937735849055</c:v>
                </c:pt>
                <c:pt idx="48">
                  <c:v>0.2524588778480378</c:v>
                </c:pt>
                <c:pt idx="49">
                  <c:v>0.24833316029188499</c:v>
                </c:pt>
                <c:pt idx="50">
                  <c:v>0.2740957973270356</c:v>
                </c:pt>
                <c:pt idx="51">
                  <c:v>0.24626241505488763</c:v>
                </c:pt>
                <c:pt idx="52">
                  <c:v>0.24263769576601946</c:v>
                </c:pt>
                <c:pt idx="53">
                  <c:v>0.26983123392668046</c:v>
                </c:pt>
                <c:pt idx="54">
                  <c:v>0.2747462044258117</c:v>
                </c:pt>
                <c:pt idx="55">
                  <c:v>0.27947571478469135</c:v>
                </c:pt>
                <c:pt idx="56">
                  <c:v>0.28526868880787964</c:v>
                </c:pt>
                <c:pt idx="57">
                  <c:v>0.3137355871487742</c:v>
                </c:pt>
                <c:pt idx="58">
                  <c:v>0.2517996266721974</c:v>
                </c:pt>
                <c:pt idx="59">
                  <c:v>0.24575740946045824</c:v>
                </c:pt>
                <c:pt idx="60">
                  <c:v>0.2676738467245593</c:v>
                </c:pt>
                <c:pt idx="61">
                  <c:v>0.2699369750552574</c:v>
                </c:pt>
                <c:pt idx="62">
                  <c:v>0.28827436875392265</c:v>
                </c:pt>
                <c:pt idx="63">
                  <c:v>0.2651184751860702</c:v>
                </c:pt>
                <c:pt idx="64">
                  <c:v>0.26704925398804663</c:v>
                </c:pt>
                <c:pt idx="65">
                  <c:v>0.2648678825995807</c:v>
                </c:pt>
                <c:pt idx="66">
                  <c:v>0.21325981677743847</c:v>
                </c:pt>
                <c:pt idx="67">
                  <c:v>0.20680631872640734</c:v>
                </c:pt>
                <c:pt idx="68">
                  <c:v>0.25172243377525383</c:v>
                </c:pt>
                <c:pt idx="69">
                  <c:v>0.2747129506518414</c:v>
                </c:pt>
                <c:pt idx="70">
                  <c:v>0.25071798417532676</c:v>
                </c:pt>
                <c:pt idx="71">
                  <c:v>0.24344405906593405</c:v>
                </c:pt>
                <c:pt idx="72">
                  <c:v>0.3422268907563025</c:v>
                </c:pt>
                <c:pt idx="73">
                  <c:v>0.24124496261156228</c:v>
                </c:pt>
                <c:pt idx="74">
                  <c:v>0.3188459672403069</c:v>
                </c:pt>
                <c:pt idx="75">
                  <c:v>0.21996799849101464</c:v>
                </c:pt>
                <c:pt idx="76">
                  <c:v>0.2587651336073998</c:v>
                </c:pt>
                <c:pt idx="77">
                  <c:v>0.3064202457131704</c:v>
                </c:pt>
                <c:pt idx="78">
                  <c:v>0.2717216468667816</c:v>
                </c:pt>
                <c:pt idx="79">
                  <c:v>0.23982345779220776</c:v>
                </c:pt>
                <c:pt idx="80">
                  <c:v>0.25016897950056666</c:v>
                </c:pt>
                <c:pt idx="81">
                  <c:v>0.31942278779309535</c:v>
                </c:pt>
                <c:pt idx="82">
                  <c:v>0.24673889658996398</c:v>
                </c:pt>
                <c:pt idx="83">
                  <c:v>0.30638235578083517</c:v>
                </c:pt>
                <c:pt idx="84">
                  <c:v>0.3322955144450076</c:v>
                </c:pt>
                <c:pt idx="85">
                  <c:v>0.32666158342864404</c:v>
                </c:pt>
                <c:pt idx="86">
                  <c:v>0.1956321697893182</c:v>
                </c:pt>
                <c:pt idx="87">
                  <c:v>0.26784332559782065</c:v>
                </c:pt>
                <c:pt idx="88">
                  <c:v>0.3024198500535523</c:v>
                </c:pt>
                <c:pt idx="89">
                  <c:v>0.2614950671766206</c:v>
                </c:pt>
                <c:pt idx="90">
                  <c:v>0.3100891485470433</c:v>
                </c:pt>
                <c:pt idx="91">
                  <c:v>0.31521668828055793</c:v>
                </c:pt>
                <c:pt idx="92">
                  <c:v>0.24977374813452877</c:v>
                </c:pt>
                <c:pt idx="93">
                  <c:v>0.26098346864743477</c:v>
                </c:pt>
                <c:pt idx="94">
                  <c:v>0.3064473355428982</c:v>
                </c:pt>
                <c:pt idx="95">
                  <c:v>0.22561724137931036</c:v>
                </c:pt>
                <c:pt idx="96">
                  <c:v>0.25500575129721686</c:v>
                </c:pt>
                <c:pt idx="97">
                  <c:v>0.22775173410404623</c:v>
                </c:pt>
                <c:pt idx="98">
                  <c:v>0.23994956802077527</c:v>
                </c:pt>
                <c:pt idx="99">
                  <c:v>0.23306822629326016</c:v>
                </c:pt>
                <c:pt idx="100">
                  <c:v>0.22923954727482523</c:v>
                </c:pt>
                <c:pt idx="101">
                  <c:v>0.2503803931432109</c:v>
                </c:pt>
                <c:pt idx="102">
                  <c:v>0.2922317837095175</c:v>
                </c:pt>
                <c:pt idx="103">
                  <c:v>0.2579412605957286</c:v>
                </c:pt>
                <c:pt idx="104">
                  <c:v>0.2579744807641749</c:v>
                </c:pt>
              </c:numCache>
            </c:numRef>
          </c:xVal>
          <c:yVal>
            <c:numRef>
              <c:f>Sheet1!$B$2:$B$106</c:f>
              <c:numCache>
                <c:formatCode>General</c:formatCode>
                <c:ptCount val="105"/>
                <c:pt idx="0">
                  <c:v>0.24564183835182252</c:v>
                </c:pt>
                <c:pt idx="1">
                  <c:v>0.31568998109640833</c:v>
                </c:pt>
                <c:pt idx="2">
                  <c:v>0.2977941176470588</c:v>
                </c:pt>
                <c:pt idx="3">
                  <c:v>0.31305903398926654</c:v>
                </c:pt>
                <c:pt idx="4">
                  <c:v>0.29711751662971175</c:v>
                </c:pt>
                <c:pt idx="5">
                  <c:v>0.3067226890756303</c:v>
                </c:pt>
                <c:pt idx="6">
                  <c:v>0.3339622641509434</c:v>
                </c:pt>
                <c:pt idx="7">
                  <c:v>0.33242506811989103</c:v>
                </c:pt>
                <c:pt idx="8">
                  <c:v>0.3606060606060606</c:v>
                </c:pt>
                <c:pt idx="9">
                  <c:v>0.31533477321814257</c:v>
                </c:pt>
                <c:pt idx="10">
                  <c:v>0.30740037950664134</c:v>
                </c:pt>
                <c:pt idx="11">
                  <c:v>0.3192771084337349</c:v>
                </c:pt>
                <c:pt idx="12">
                  <c:v>0.2910284463894967</c:v>
                </c:pt>
                <c:pt idx="13">
                  <c:v>0.28085106382978725</c:v>
                </c:pt>
                <c:pt idx="14">
                  <c:v>0.3078556263269639</c:v>
                </c:pt>
                <c:pt idx="15">
                  <c:v>0.2743142144638404</c:v>
                </c:pt>
                <c:pt idx="16">
                  <c:v>0.23870967741935484</c:v>
                </c:pt>
                <c:pt idx="17">
                  <c:v>0.2784313725490196</c:v>
                </c:pt>
                <c:pt idx="18">
                  <c:v>0.26693227091633465</c:v>
                </c:pt>
                <c:pt idx="19">
                  <c:v>0.319672131147541</c:v>
                </c:pt>
                <c:pt idx="20">
                  <c:v>0.2717391304347826</c:v>
                </c:pt>
                <c:pt idx="21">
                  <c:v>0.36024844720496896</c:v>
                </c:pt>
                <c:pt idx="22">
                  <c:v>0.3465909090909091</c:v>
                </c:pt>
                <c:pt idx="23">
                  <c:v>0.31446540880503143</c:v>
                </c:pt>
                <c:pt idx="24">
                  <c:v>0.31</c:v>
                </c:pt>
                <c:pt idx="25">
                  <c:v>0.2808988764044944</c:v>
                </c:pt>
                <c:pt idx="26">
                  <c:v>0.31645569620253167</c:v>
                </c:pt>
                <c:pt idx="27">
                  <c:v>0.3185840707964602</c:v>
                </c:pt>
                <c:pt idx="28">
                  <c:v>0.29770992366412213</c:v>
                </c:pt>
                <c:pt idx="29">
                  <c:v>0.3322784810126582</c:v>
                </c:pt>
                <c:pt idx="30">
                  <c:v>0.3157894736842105</c:v>
                </c:pt>
                <c:pt idx="31">
                  <c:v>0.29464285714285715</c:v>
                </c:pt>
                <c:pt idx="32">
                  <c:v>0.32432432432432434</c:v>
                </c:pt>
                <c:pt idx="33">
                  <c:v>0.3450134770889488</c:v>
                </c:pt>
                <c:pt idx="34">
                  <c:v>0.3236009732360097</c:v>
                </c:pt>
                <c:pt idx="35">
                  <c:v>0.3125</c:v>
                </c:pt>
                <c:pt idx="36">
                  <c:v>0.24904214559386972</c:v>
                </c:pt>
                <c:pt idx="37">
                  <c:v>0.20784313725490197</c:v>
                </c:pt>
                <c:pt idx="38">
                  <c:v>0.2</c:v>
                </c:pt>
                <c:pt idx="39">
                  <c:v>0.1947565543071161</c:v>
                </c:pt>
                <c:pt idx="40">
                  <c:v>0.23183391003460208</c:v>
                </c:pt>
                <c:pt idx="41">
                  <c:v>0.25333333333333335</c:v>
                </c:pt>
                <c:pt idx="42">
                  <c:v>0.24161073825503357</c:v>
                </c:pt>
                <c:pt idx="43">
                  <c:v>0.2435064935064935</c:v>
                </c:pt>
                <c:pt idx="44">
                  <c:v>0.1972318339100346</c:v>
                </c:pt>
                <c:pt idx="45">
                  <c:v>0.22700296735905046</c:v>
                </c:pt>
                <c:pt idx="46">
                  <c:v>0.22544283413848631</c:v>
                </c:pt>
                <c:pt idx="47">
                  <c:v>0.20711974110032363</c:v>
                </c:pt>
                <c:pt idx="48">
                  <c:v>0.2390194075587334</c:v>
                </c:pt>
                <c:pt idx="49">
                  <c:v>0.2465642683912692</c:v>
                </c:pt>
                <c:pt idx="50">
                  <c:v>0.23390557939914164</c:v>
                </c:pt>
                <c:pt idx="51">
                  <c:v>0.22099447513812154</c:v>
                </c:pt>
                <c:pt idx="52">
                  <c:v>0.2631578947368421</c:v>
                </c:pt>
                <c:pt idx="53">
                  <c:v>0.23822714681440443</c:v>
                </c:pt>
                <c:pt idx="54">
                  <c:v>0.2796934865900383</c:v>
                </c:pt>
                <c:pt idx="55">
                  <c:v>0.27106227106227104</c:v>
                </c:pt>
                <c:pt idx="56">
                  <c:v>0.299625468164794</c:v>
                </c:pt>
                <c:pt idx="57">
                  <c:v>0.24793388429752067</c:v>
                </c:pt>
                <c:pt idx="58">
                  <c:v>0.28205128205128205</c:v>
                </c:pt>
                <c:pt idx="59">
                  <c:v>0.24891774891774893</c:v>
                </c:pt>
                <c:pt idx="60">
                  <c:v>0.2752577319587629</c:v>
                </c:pt>
                <c:pt idx="61">
                  <c:v>0.2821969696969697</c:v>
                </c:pt>
                <c:pt idx="62">
                  <c:v>0.26695526695526695</c:v>
                </c:pt>
                <c:pt idx="63">
                  <c:v>0.2667660208643815</c:v>
                </c:pt>
                <c:pt idx="64">
                  <c:v>0.28545454545454546</c:v>
                </c:pt>
                <c:pt idx="65">
                  <c:v>0.2811158798283262</c:v>
                </c:pt>
                <c:pt idx="66">
                  <c:v>0.3115124153498871</c:v>
                </c:pt>
                <c:pt idx="67">
                  <c:v>0.28603603603603606</c:v>
                </c:pt>
                <c:pt idx="68">
                  <c:v>0.23793103448275862</c:v>
                </c:pt>
                <c:pt idx="69">
                  <c:v>0.24875621890547264</c:v>
                </c:pt>
                <c:pt idx="70">
                  <c:v>0.24789915966386555</c:v>
                </c:pt>
                <c:pt idx="71">
                  <c:v>0.2777777777777778</c:v>
                </c:pt>
                <c:pt idx="72">
                  <c:v>0.28342245989304815</c:v>
                </c:pt>
                <c:pt idx="73">
                  <c:v>0.27918781725888325</c:v>
                </c:pt>
                <c:pt idx="74">
                  <c:v>0.3063063063063063</c:v>
                </c:pt>
                <c:pt idx="75">
                  <c:v>0.3415841584158416</c:v>
                </c:pt>
                <c:pt idx="76">
                  <c:v>0.39303482587064675</c:v>
                </c:pt>
                <c:pt idx="77">
                  <c:v>0.3352941176470588</c:v>
                </c:pt>
                <c:pt idx="78">
                  <c:v>0.29651162790697677</c:v>
                </c:pt>
                <c:pt idx="79">
                  <c:v>0.32432432432432434</c:v>
                </c:pt>
                <c:pt idx="80">
                  <c:v>0.3048128342245989</c:v>
                </c:pt>
                <c:pt idx="81">
                  <c:v>0.3063063063063063</c:v>
                </c:pt>
                <c:pt idx="82">
                  <c:v>0.3151515151515151</c:v>
                </c:pt>
                <c:pt idx="83">
                  <c:v>0.29457364341085274</c:v>
                </c:pt>
                <c:pt idx="84">
                  <c:v>0.28378378378378377</c:v>
                </c:pt>
                <c:pt idx="85">
                  <c:v>0.3128491620111732</c:v>
                </c:pt>
                <c:pt idx="86">
                  <c:v>0.35687732342007433</c:v>
                </c:pt>
                <c:pt idx="87">
                  <c:v>0.34710743801652894</c:v>
                </c:pt>
                <c:pt idx="88">
                  <c:v>0.35877862595419846</c:v>
                </c:pt>
                <c:pt idx="89">
                  <c:v>0.3333333333333333</c:v>
                </c:pt>
                <c:pt idx="90">
                  <c:v>0.291044776119403</c:v>
                </c:pt>
                <c:pt idx="91">
                  <c:v>0.273972602739726</c:v>
                </c:pt>
                <c:pt idx="92">
                  <c:v>0.27692307692307694</c:v>
                </c:pt>
                <c:pt idx="93">
                  <c:v>0.2803738317757009</c:v>
                </c:pt>
                <c:pt idx="94">
                  <c:v>0.27472527472527475</c:v>
                </c:pt>
                <c:pt idx="95">
                  <c:v>0.2697841726618705</c:v>
                </c:pt>
                <c:pt idx="96">
                  <c:v>0.25812619502868067</c:v>
                </c:pt>
                <c:pt idx="97">
                  <c:v>0.2447089947089947</c:v>
                </c:pt>
                <c:pt idx="98">
                  <c:v>0.2493857493857494</c:v>
                </c:pt>
                <c:pt idx="99">
                  <c:v>0.2566287878787879</c:v>
                </c:pt>
                <c:pt idx="100">
                  <c:v>0.2359249329758713</c:v>
                </c:pt>
                <c:pt idx="101">
                  <c:v>0.26405451448040884</c:v>
                </c:pt>
                <c:pt idx="102">
                  <c:v>0.23544303797468355</c:v>
                </c:pt>
                <c:pt idx="103">
                  <c:v>0.248868778280543</c:v>
                </c:pt>
                <c:pt idx="104">
                  <c:v>0.265100671140939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514437747546065</c:v>
                </c:pt>
                <c:pt idx="1">
                  <c:v>0.2697080227723885</c:v>
                </c:pt>
                <c:pt idx="2">
                  <c:v>0.2659780381726034</c:v>
                </c:pt>
                <c:pt idx="3">
                  <c:v>0.3008015178050204</c:v>
                </c:pt>
                <c:pt idx="4">
                  <c:v>0.23846235323302387</c:v>
                </c:pt>
                <c:pt idx="5">
                  <c:v>0.28073515884142425</c:v>
                </c:pt>
                <c:pt idx="6">
                  <c:v>0.2653344404048344</c:v>
                </c:pt>
                <c:pt idx="7">
                  <c:v>0.2157058949624866</c:v>
                </c:pt>
                <c:pt idx="8">
                  <c:v>0.3127141737729874</c:v>
                </c:pt>
                <c:pt idx="9">
                  <c:v>0.26976864312894366</c:v>
                </c:pt>
                <c:pt idx="10">
                  <c:v>0.2648309503446194</c:v>
                </c:pt>
                <c:pt idx="11">
                  <c:v>0.2132786350635595</c:v>
                </c:pt>
                <c:pt idx="12">
                  <c:v>0.20133771578298396</c:v>
                </c:pt>
                <c:pt idx="13">
                  <c:v>0.23665328046142753</c:v>
                </c:pt>
                <c:pt idx="14">
                  <c:v>0.18838217392024117</c:v>
                </c:pt>
                <c:pt idx="15">
                  <c:v>0.23094141784285288</c:v>
                </c:pt>
                <c:pt idx="16">
                  <c:v>0.22821674215735616</c:v>
                </c:pt>
                <c:pt idx="17">
                  <c:v>0.19257657671089906</c:v>
                </c:pt>
                <c:pt idx="18">
                  <c:v>0.16704487815884475</c:v>
                </c:pt>
                <c:pt idx="19">
                  <c:v>0.1779798787073191</c:v>
                </c:pt>
                <c:pt idx="20">
                  <c:v>0.24906856937713157</c:v>
                </c:pt>
                <c:pt idx="21">
                  <c:v>0.1491164644421975</c:v>
                </c:pt>
                <c:pt idx="22">
                  <c:v>0.22984457758096727</c:v>
                </c:pt>
                <c:pt idx="23">
                  <c:v>0.280367371090448</c:v>
                </c:pt>
                <c:pt idx="24">
                  <c:v>0.3253915396122729</c:v>
                </c:pt>
                <c:pt idx="25">
                  <c:v>0.2159957894736842</c:v>
                </c:pt>
                <c:pt idx="26">
                  <c:v>0.22435039845870916</c:v>
                </c:pt>
                <c:pt idx="27">
                  <c:v>0.2399615634067247</c:v>
                </c:pt>
                <c:pt idx="28">
                  <c:v>0.2526625539101038</c:v>
                </c:pt>
                <c:pt idx="29">
                  <c:v>0.2889518674908056</c:v>
                </c:pt>
                <c:pt idx="30">
                  <c:v>0.21876178126599558</c:v>
                </c:pt>
                <c:pt idx="31">
                  <c:v>0.28365687905844156</c:v>
                </c:pt>
                <c:pt idx="32">
                  <c:v>0.26608121624324865</c:v>
                </c:pt>
                <c:pt idx="33">
                  <c:v>0.21914254295532648</c:v>
                </c:pt>
                <c:pt idx="34">
                  <c:v>0.25203919547029496</c:v>
                </c:pt>
                <c:pt idx="35">
                  <c:v>0.29357012253596165</c:v>
                </c:pt>
                <c:pt idx="36">
                  <c:v>0.3003868797457178</c:v>
                </c:pt>
                <c:pt idx="37">
                  <c:v>0.3061992175572519</c:v>
                </c:pt>
                <c:pt idx="38">
                  <c:v>0.18806417610877305</c:v>
                </c:pt>
                <c:pt idx="39">
                  <c:v>0.2553780643256408</c:v>
                </c:pt>
                <c:pt idx="40">
                  <c:v>0.2913726649476907</c:v>
                </c:pt>
                <c:pt idx="41">
                  <c:v>0.23078646123118624</c:v>
                </c:pt>
                <c:pt idx="42">
                  <c:v>0.22716429853425069</c:v>
                </c:pt>
                <c:pt idx="43">
                  <c:v>0.26139133451670166</c:v>
                </c:pt>
                <c:pt idx="44">
                  <c:v>0.24059552690879982</c:v>
                </c:pt>
                <c:pt idx="45">
                  <c:v>0.28280011639185254</c:v>
                </c:pt>
                <c:pt idx="46">
                  <c:v>0.2582922687295667</c:v>
                </c:pt>
                <c:pt idx="47">
                  <c:v>0.2535327260650916</c:v>
                </c:pt>
                <c:pt idx="48">
                  <c:v>0.20887182793943598</c:v>
                </c:pt>
                <c:pt idx="49">
                  <c:v>0.21796913773166235</c:v>
                </c:pt>
                <c:pt idx="50">
                  <c:v>0.21749577476400508</c:v>
                </c:pt>
                <c:pt idx="51">
                  <c:v>0.2405512986366803</c:v>
                </c:pt>
              </c:numCache>
            </c:numRef>
          </c:xVal>
          <c:yVal>
            <c:numRef>
              <c:f>Sheet1!$B$109:$B$160</c:f>
              <c:numCache>
                <c:formatCode>General</c:formatCode>
                <c:ptCount val="52"/>
                <c:pt idx="0">
                  <c:v>0.2878338278931751</c:v>
                </c:pt>
                <c:pt idx="1">
                  <c:v>0.2772020725388601</c:v>
                </c:pt>
                <c:pt idx="2">
                  <c:v>0.24288840262582057</c:v>
                </c:pt>
                <c:pt idx="3">
                  <c:v>0.2549450549450549</c:v>
                </c:pt>
                <c:pt idx="4">
                  <c:v>0.26014319809069214</c:v>
                </c:pt>
                <c:pt idx="5">
                  <c:v>0.2255813953488372</c:v>
                </c:pt>
                <c:pt idx="6">
                  <c:v>0.29944547134935307</c:v>
                </c:pt>
                <c:pt idx="7">
                  <c:v>0.27467811158798283</c:v>
                </c:pt>
                <c:pt idx="8">
                  <c:v>0.25622775800711745</c:v>
                </c:pt>
                <c:pt idx="9">
                  <c:v>0.25573770491803277</c:v>
                </c:pt>
                <c:pt idx="10">
                  <c:v>0.2672672672672673</c:v>
                </c:pt>
                <c:pt idx="11">
                  <c:v>0.24364406779661016</c:v>
                </c:pt>
                <c:pt idx="12">
                  <c:v>0.2471264367816092</c:v>
                </c:pt>
                <c:pt idx="13">
                  <c:v>0.25609756097560976</c:v>
                </c:pt>
                <c:pt idx="14">
                  <c:v>0.26006191950464397</c:v>
                </c:pt>
                <c:pt idx="15">
                  <c:v>0.23465703971119134</c:v>
                </c:pt>
                <c:pt idx="16">
                  <c:v>0.2183406113537118</c:v>
                </c:pt>
                <c:pt idx="17">
                  <c:v>0.2231404958677686</c:v>
                </c:pt>
                <c:pt idx="18">
                  <c:v>0.3595890410958904</c:v>
                </c:pt>
                <c:pt idx="19">
                  <c:v>0.2922374429223744</c:v>
                </c:pt>
                <c:pt idx="20">
                  <c:v>0.2751677852348993</c:v>
                </c:pt>
                <c:pt idx="21">
                  <c:v>0.3951612903225806</c:v>
                </c:pt>
                <c:pt idx="22">
                  <c:v>0.24271844660194175</c:v>
                </c:pt>
                <c:pt idx="23">
                  <c:v>0.224</c:v>
                </c:pt>
                <c:pt idx="24">
                  <c:v>0.17391304347826086</c:v>
                </c:pt>
                <c:pt idx="25">
                  <c:v>0.21428571428571427</c:v>
                </c:pt>
                <c:pt idx="26">
                  <c:v>0.2709677419354839</c:v>
                </c:pt>
                <c:pt idx="27">
                  <c:v>0.233502538071066</c:v>
                </c:pt>
                <c:pt idx="28">
                  <c:v>0.20535714285714285</c:v>
                </c:pt>
                <c:pt idx="29">
                  <c:v>0.2088607594936709</c:v>
                </c:pt>
                <c:pt idx="30">
                  <c:v>0.2621951219512195</c:v>
                </c:pt>
                <c:pt idx="31">
                  <c:v>0.22085889570552147</c:v>
                </c:pt>
                <c:pt idx="32">
                  <c:v>0.23148148148148148</c:v>
                </c:pt>
                <c:pt idx="33">
                  <c:v>0.24014336917562723</c:v>
                </c:pt>
                <c:pt idx="34">
                  <c:v>0.24921135646687698</c:v>
                </c:pt>
                <c:pt idx="35">
                  <c:v>0.24064171122994651</c:v>
                </c:pt>
                <c:pt idx="36">
                  <c:v>0.18487394957983194</c:v>
                </c:pt>
                <c:pt idx="37">
                  <c:v>0.2108843537414966</c:v>
                </c:pt>
                <c:pt idx="38">
                  <c:v>0.2925170068027211</c:v>
                </c:pt>
                <c:pt idx="39">
                  <c:v>0.2879581151832461</c:v>
                </c:pt>
                <c:pt idx="40">
                  <c:v>0.21301775147928995</c:v>
                </c:pt>
                <c:pt idx="41">
                  <c:v>0.23756906077348067</c:v>
                </c:pt>
                <c:pt idx="42">
                  <c:v>0.2635135135135135</c:v>
                </c:pt>
                <c:pt idx="43">
                  <c:v>0.22093023255813954</c:v>
                </c:pt>
                <c:pt idx="44">
                  <c:v>0.20954907161803712</c:v>
                </c:pt>
                <c:pt idx="45">
                  <c:v>0.2289156626506024</c:v>
                </c:pt>
                <c:pt idx="46">
                  <c:v>0.23515439429928742</c:v>
                </c:pt>
                <c:pt idx="47">
                  <c:v>0.2553699284009546</c:v>
                </c:pt>
                <c:pt idx="48">
                  <c:v>0.24874791318864775</c:v>
                </c:pt>
                <c:pt idx="49">
                  <c:v>0.2679083094555874</c:v>
                </c:pt>
                <c:pt idx="50">
                  <c:v>0.27460510328068044</c:v>
                </c:pt>
                <c:pt idx="51">
                  <c:v>0.28985507246376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2298047982956611</c:v>
                </c:pt>
              </c:numCache>
            </c:numRef>
          </c:xVal>
          <c:yVal>
            <c:numRef>
              <c:f>Sheet1!$B$163:$B$164</c:f>
              <c:numCache>
                <c:formatCode>General</c:formatCode>
                <c:ptCount val="2"/>
                <c:pt idx="0">
                  <c:v>0.3227512404854277</c:v>
                </c:pt>
                <c:pt idx="1">
                  <c:v>0.322751240485427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2298047982956611</c:v>
                </c:pt>
                <c:pt idx="1">
                  <c:v>0.12298047982956611</c:v>
                </c:pt>
              </c:numCache>
            </c:numRef>
          </c:xVal>
          <c:yVal>
            <c:numRef>
              <c:f>Sheet1!$B$167:$B$168</c:f>
              <c:numCache>
                <c:formatCode>General</c:formatCode>
                <c:ptCount val="2"/>
                <c:pt idx="0">
                  <c:v>0.32275124048542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1020335374209234</c:v>
                </c:pt>
              </c:numCache>
            </c:numRef>
          </c:xVal>
          <c:yVal>
            <c:numRef>
              <c:f>Sheet1!$B$171:$B$172</c:f>
              <c:numCache>
                <c:formatCode>General</c:formatCode>
                <c:ptCount val="2"/>
                <c:pt idx="0">
                  <c:v>0.27140220490401457</c:v>
                </c:pt>
                <c:pt idx="1">
                  <c:v>0.271402204904014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1020335374209234</c:v>
                </c:pt>
                <c:pt idx="1">
                  <c:v>0.21020335374209234</c:v>
                </c:pt>
              </c:numCache>
            </c:numRef>
          </c:xVal>
          <c:yVal>
            <c:numRef>
              <c:f>Sheet1!$B$175:$B$176</c:f>
              <c:numCache>
                <c:formatCode>General</c:formatCode>
                <c:ptCount val="2"/>
                <c:pt idx="0">
                  <c:v>0.271402204904014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4876670601451395</c:v>
                </c:pt>
              </c:numCache>
            </c:numRef>
          </c:xVal>
          <c:yVal>
            <c:numRef>
              <c:f>Sheet1!$B$179:$B$180</c:f>
              <c:numCache>
                <c:formatCode>General</c:formatCode>
                <c:ptCount val="2"/>
                <c:pt idx="0">
                  <c:v>0.24869954837424885</c:v>
                </c:pt>
                <c:pt idx="1">
                  <c:v>0.2486995483742488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4876670601451395</c:v>
                </c:pt>
                <c:pt idx="1">
                  <c:v>0.24876670601451395</c:v>
                </c:pt>
              </c:numCache>
            </c:numRef>
          </c:xVal>
          <c:yVal>
            <c:numRef>
              <c:f>Sheet1!$B$183:$B$184</c:f>
              <c:numCache>
                <c:formatCode>General</c:formatCode>
                <c:ptCount val="2"/>
                <c:pt idx="0">
                  <c:v>0.248699548374248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514437747546065</c:v>
                </c:pt>
                <c:pt idx="1">
                  <c:v>0.2697080227723885</c:v>
                </c:pt>
                <c:pt idx="2">
                  <c:v>0.2659780381726034</c:v>
                </c:pt>
                <c:pt idx="3">
                  <c:v>0.3008015178050204</c:v>
                </c:pt>
                <c:pt idx="4">
                  <c:v>0.23846235323302387</c:v>
                </c:pt>
                <c:pt idx="5">
                  <c:v>0.28073515884142425</c:v>
                </c:pt>
                <c:pt idx="6">
                  <c:v>0.2653344404048344</c:v>
                </c:pt>
                <c:pt idx="7">
                  <c:v>0.2157058949624866</c:v>
                </c:pt>
                <c:pt idx="8">
                  <c:v>0.3127141737729874</c:v>
                </c:pt>
                <c:pt idx="9">
                  <c:v>0.26976864312894366</c:v>
                </c:pt>
                <c:pt idx="10">
                  <c:v>0.2648309503446194</c:v>
                </c:pt>
                <c:pt idx="11">
                  <c:v>0.2132786350635595</c:v>
                </c:pt>
                <c:pt idx="12">
                  <c:v>0.20133771578298396</c:v>
                </c:pt>
                <c:pt idx="13">
                  <c:v>0.23665328046142753</c:v>
                </c:pt>
                <c:pt idx="14">
                  <c:v>0.18838217392024117</c:v>
                </c:pt>
                <c:pt idx="15">
                  <c:v>0.23094141784285288</c:v>
                </c:pt>
                <c:pt idx="16">
                  <c:v>0.22821674215735616</c:v>
                </c:pt>
                <c:pt idx="17">
                  <c:v>0.19257657671089906</c:v>
                </c:pt>
                <c:pt idx="18">
                  <c:v>0.16704487815884475</c:v>
                </c:pt>
                <c:pt idx="19">
                  <c:v>0.1779798787073191</c:v>
                </c:pt>
                <c:pt idx="20">
                  <c:v>0.24906856937713157</c:v>
                </c:pt>
                <c:pt idx="21">
                  <c:v>0.1491164644421975</c:v>
                </c:pt>
                <c:pt idx="22">
                  <c:v>0.22984457758096727</c:v>
                </c:pt>
                <c:pt idx="23">
                  <c:v>0.280367371090448</c:v>
                </c:pt>
                <c:pt idx="24">
                  <c:v>0.3253915396122729</c:v>
                </c:pt>
                <c:pt idx="25">
                  <c:v>0.2159957894736842</c:v>
                </c:pt>
                <c:pt idx="26">
                  <c:v>0.22435039845870916</c:v>
                </c:pt>
                <c:pt idx="27">
                  <c:v>0.2399615634067247</c:v>
                </c:pt>
                <c:pt idx="28">
                  <c:v>0.2526625539101038</c:v>
                </c:pt>
                <c:pt idx="29">
                  <c:v>0.2889518674908056</c:v>
                </c:pt>
                <c:pt idx="30">
                  <c:v>0.21876178126599558</c:v>
                </c:pt>
                <c:pt idx="31">
                  <c:v>0.28365687905844156</c:v>
                </c:pt>
                <c:pt idx="32">
                  <c:v>0.26608121624324865</c:v>
                </c:pt>
                <c:pt idx="33">
                  <c:v>0.21914254295532648</c:v>
                </c:pt>
                <c:pt idx="34">
                  <c:v>0.25203919547029496</c:v>
                </c:pt>
                <c:pt idx="35">
                  <c:v>0.29357012253596165</c:v>
                </c:pt>
                <c:pt idx="36">
                  <c:v>0.3003868797457178</c:v>
                </c:pt>
                <c:pt idx="37">
                  <c:v>0.3061992175572519</c:v>
                </c:pt>
                <c:pt idx="38">
                  <c:v>0.18806417610877305</c:v>
                </c:pt>
                <c:pt idx="39">
                  <c:v>0.2553780643256408</c:v>
                </c:pt>
                <c:pt idx="40">
                  <c:v>0.2913726649476907</c:v>
                </c:pt>
                <c:pt idx="41">
                  <c:v>0.23078646123118624</c:v>
                </c:pt>
                <c:pt idx="42">
                  <c:v>0.22716429853425069</c:v>
                </c:pt>
                <c:pt idx="43">
                  <c:v>0.26139133451670166</c:v>
                </c:pt>
                <c:pt idx="44">
                  <c:v>0.24059552690879982</c:v>
                </c:pt>
                <c:pt idx="45">
                  <c:v>0.28280011639185254</c:v>
                </c:pt>
                <c:pt idx="46">
                  <c:v>0.2582922687295667</c:v>
                </c:pt>
                <c:pt idx="47">
                  <c:v>0.2535327260650916</c:v>
                </c:pt>
                <c:pt idx="48">
                  <c:v>0.20887182793943598</c:v>
                </c:pt>
                <c:pt idx="49">
                  <c:v>0.21796913773166235</c:v>
                </c:pt>
                <c:pt idx="50">
                  <c:v>0.21749577476400508</c:v>
                </c:pt>
                <c:pt idx="51">
                  <c:v>0.2405512986366803</c:v>
                </c:pt>
                <c:pt idx="52">
                  <c:v>0.21020335374209234</c:v>
                </c:pt>
                <c:pt idx="53">
                  <c:v>0.12298047982956611</c:v>
                </c:pt>
                <c:pt idx="54">
                  <c:v>0.24876670601451395</c:v>
                </c:pt>
              </c:numCache>
            </c:numRef>
          </c:xVal>
          <c:yVal>
            <c:numRef>
              <c:f>Sheet1!$B$187:$B$241</c:f>
              <c:numCache>
                <c:formatCode>General</c:formatCode>
                <c:ptCount val="55"/>
                <c:pt idx="0">
                  <c:v>0.24712352947206545</c:v>
                </c:pt>
                <c:pt idx="1">
                  <c:v>0.23637117198527371</c:v>
                </c:pt>
                <c:pt idx="2">
                  <c:v>0.23856705367709424</c:v>
                </c:pt>
                <c:pt idx="3">
                  <c:v>0.21806610003382298</c:v>
                </c:pt>
                <c:pt idx="4">
                  <c:v>0.25476583069086695</c:v>
                </c:pt>
                <c:pt idx="5">
                  <c:v>0.2298793794431263</c:v>
                </c:pt>
                <c:pt idx="6">
                  <c:v>0.23894594654309215</c:v>
                </c:pt>
                <c:pt idx="7">
                  <c:v>0.2681628002359503</c:v>
                </c:pt>
                <c:pt idx="8">
                  <c:v>0.21105299248841314</c:v>
                </c:pt>
                <c:pt idx="9">
                  <c:v>0.23633548413521696</c:v>
                </c:pt>
                <c:pt idx="10">
                  <c:v>0.23924235650824413</c:v>
                </c:pt>
                <c:pt idx="11">
                  <c:v>0.26959175401062574</c:v>
                </c:pt>
                <c:pt idx="12">
                  <c:v>0.2766215004694271</c:v>
                </c:pt>
                <c:pt idx="13">
                  <c:v>0.25583085111442266</c:v>
                </c:pt>
                <c:pt idx="14">
                  <c:v>0.28424856605721815</c:v>
                </c:pt>
                <c:pt idx="15">
                  <c:v>0.2591934855207537</c:v>
                </c:pt>
                <c:pt idx="16">
                  <c:v>0.2607975311391392</c:v>
                </c:pt>
                <c:pt idx="17">
                  <c:v>0.28177927642619466</c:v>
                </c:pt>
                <c:pt idx="18">
                  <c:v>0.296810059506309</c:v>
                </c:pt>
                <c:pt idx="19">
                  <c:v>0.2903725081271892</c:v>
                </c:pt>
                <c:pt idx="20">
                  <c:v>0.24852183819511256</c:v>
                </c:pt>
                <c:pt idx="21">
                  <c:v>0.307364707760363</c:v>
                </c:pt>
                <c:pt idx="22">
                  <c:v>0.2598392070741523</c:v>
                </c:pt>
                <c:pt idx="23">
                  <c:v>0.23009590001237776</c:v>
                </c:pt>
                <c:pt idx="24">
                  <c:v>0.20358969209071118</c:v>
                </c:pt>
                <c:pt idx="25">
                  <c:v>0.26799213624722107</c:v>
                </c:pt>
                <c:pt idx="26">
                  <c:v>0.2630736888859122</c:v>
                </c:pt>
                <c:pt idx="27">
                  <c:v>0.2538832296815195</c:v>
                </c:pt>
                <c:pt idx="28">
                  <c:v>0.24640602119225025</c:v>
                </c:pt>
                <c:pt idx="29">
                  <c:v>0.22504211547929132</c:v>
                </c:pt>
                <c:pt idx="30">
                  <c:v>0.26636376739636514</c:v>
                </c:pt>
                <c:pt idx="31">
                  <c:v>0.22815933160873583</c:v>
                </c:pt>
                <c:pt idx="32">
                  <c:v>0.23850631164712977</c:v>
                </c:pt>
                <c:pt idx="33">
                  <c:v>0.26613960893131494</c:v>
                </c:pt>
                <c:pt idx="34">
                  <c:v>0.24677299895014684</c:v>
                </c:pt>
                <c:pt idx="35">
                  <c:v>0.22232329950820115</c:v>
                </c:pt>
                <c:pt idx="36">
                  <c:v>0.21831020187896386</c:v>
                </c:pt>
                <c:pt idx="37">
                  <c:v>0.21488841665557196</c:v>
                </c:pt>
                <c:pt idx="38">
                  <c:v>0.2844357747583699</c:v>
                </c:pt>
                <c:pt idx="39">
                  <c:v>0.24480737126598265</c:v>
                </c:pt>
                <c:pt idx="40">
                  <c:v>0.22361696621312918</c:v>
                </c:pt>
                <c:pt idx="41">
                  <c:v>0.2592847101297252</c:v>
                </c:pt>
                <c:pt idx="42">
                  <c:v>0.261417115918064</c:v>
                </c:pt>
                <c:pt idx="43">
                  <c:v>0.24126729500902397</c:v>
                </c:pt>
                <c:pt idx="44">
                  <c:v>0.2535100086104273</c:v>
                </c:pt>
                <c:pt idx="45">
                  <c:v>0.2286637169227949</c:v>
                </c:pt>
                <c:pt idx="46">
                  <c:v>0.24309174807087017</c:v>
                </c:pt>
                <c:pt idx="47">
                  <c:v>0.24589374156943897</c:v>
                </c:pt>
                <c:pt idx="48">
                  <c:v>0.2721860883367795</c:v>
                </c:pt>
                <c:pt idx="49">
                  <c:v>0.266830405093819</c:v>
                </c:pt>
                <c:pt idx="50">
                  <c:v>0.26710907891845737</c:v>
                </c:pt>
                <c:pt idx="51">
                  <c:v>0.25353604626565346</c:v>
                </c:pt>
                <c:pt idx="52">
                  <c:v>0.27140220490401457</c:v>
                </c:pt>
                <c:pt idx="53">
                  <c:v>0.3227512404854277</c:v>
                </c:pt>
                <c:pt idx="54">
                  <c:v>0.248699548374248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1935483870967"/>
          <c:min val="0.13913043478260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9.3097</c:v>
                </c:pt>
                <c:pt idx="1">
                  <c:v>1036.9581</c:v>
                </c:pt>
                <c:pt idx="2">
                  <c:v>1114.216</c:v>
                </c:pt>
                <c:pt idx="3">
                  <c:v>1110.4457</c:v>
                </c:pt>
                <c:pt idx="4">
                  <c:v>1118.209</c:v>
                </c:pt>
                <c:pt idx="5">
                  <c:v>1077.4315</c:v>
                </c:pt>
                <c:pt idx="6">
                  <c:v>950.9718</c:v>
                </c:pt>
                <c:pt idx="7">
                  <c:v>1017.2705</c:v>
                </c:pt>
                <c:pt idx="8">
                  <c:v>1000.4706</c:v>
                </c:pt>
                <c:pt idx="9">
                  <c:v>1009.0342</c:v>
                </c:pt>
                <c:pt idx="10">
                  <c:v>938.2963</c:v>
                </c:pt>
                <c:pt idx="11">
                  <c:v>1026.3585</c:v>
                </c:pt>
                <c:pt idx="12">
                  <c:v>1065.2782</c:v>
                </c:pt>
                <c:pt idx="13">
                  <c:v>1073.4621</c:v>
                </c:pt>
                <c:pt idx="14">
                  <c:v>1074.2621</c:v>
                </c:pt>
                <c:pt idx="15">
                  <c:v>1096.8727</c:v>
                </c:pt>
                <c:pt idx="16">
                  <c:v>1109.5946</c:v>
                </c:pt>
                <c:pt idx="17">
                  <c:v>1162.0282</c:v>
                </c:pt>
                <c:pt idx="18">
                  <c:v>1203.2537</c:v>
                </c:pt>
                <c:pt idx="19">
                  <c:v>1087.141</c:v>
                </c:pt>
                <c:pt idx="20">
                  <c:v>1164.1067</c:v>
                </c:pt>
                <c:pt idx="21">
                  <c:v>1214.6207</c:v>
                </c:pt>
                <c:pt idx="22">
                  <c:v>1176.1639</c:v>
                </c:pt>
                <c:pt idx="23">
                  <c:v>1133.5</c:v>
                </c:pt>
                <c:pt idx="24">
                  <c:v>1163.2742</c:v>
                </c:pt>
                <c:pt idx="25">
                  <c:v>1098.46</c:v>
                </c:pt>
                <c:pt idx="26">
                  <c:v>1071.0</c:v>
                </c:pt>
                <c:pt idx="27">
                  <c:v>1086.6806</c:v>
                </c:pt>
                <c:pt idx="28">
                  <c:v>1121.4359</c:v>
                </c:pt>
                <c:pt idx="29">
                  <c:v>1073.3619</c:v>
                </c:pt>
                <c:pt idx="30">
                  <c:v>1105.2273</c:v>
                </c:pt>
                <c:pt idx="31">
                  <c:v>1037.2879</c:v>
                </c:pt>
                <c:pt idx="32">
                  <c:v>1063.2917</c:v>
                </c:pt>
                <c:pt idx="33">
                  <c:v>868.2422</c:v>
                </c:pt>
                <c:pt idx="34">
                  <c:v>972.1203</c:v>
                </c:pt>
                <c:pt idx="35">
                  <c:v>992.3478</c:v>
                </c:pt>
                <c:pt idx="36">
                  <c:v>1096.8923</c:v>
                </c:pt>
                <c:pt idx="37">
                  <c:v>1116.0377</c:v>
                </c:pt>
                <c:pt idx="38">
                  <c:v>1242.5294</c:v>
                </c:pt>
                <c:pt idx="39">
                  <c:v>1295.8462</c:v>
                </c:pt>
                <c:pt idx="40">
                  <c:v>1315.9552</c:v>
                </c:pt>
                <c:pt idx="41">
                  <c:v>1321.9649</c:v>
                </c:pt>
                <c:pt idx="42">
                  <c:v>1421.9583</c:v>
                </c:pt>
                <c:pt idx="43">
                  <c:v>1425.6</c:v>
                </c:pt>
                <c:pt idx="44">
                  <c:v>1398.9035</c:v>
                </c:pt>
                <c:pt idx="45">
                  <c:v>1335.8366</c:v>
                </c:pt>
                <c:pt idx="46">
                  <c:v>1298.0214</c:v>
                </c:pt>
                <c:pt idx="47">
                  <c:v>1250.0547</c:v>
                </c:pt>
                <c:pt idx="48">
                  <c:v>1257.6239</c:v>
                </c:pt>
                <c:pt idx="49">
                  <c:v>1267.6787</c:v>
                </c:pt>
                <c:pt idx="50">
                  <c:v>1276.6697</c:v>
                </c:pt>
                <c:pt idx="51">
                  <c:v>1295.525</c:v>
                </c:pt>
                <c:pt idx="52">
                  <c:v>1227.8074</c:v>
                </c:pt>
                <c:pt idx="53">
                  <c:v>1337.7558</c:v>
                </c:pt>
                <c:pt idx="54">
                  <c:v>1358.9863</c:v>
                </c:pt>
                <c:pt idx="55">
                  <c:v>1400.2432</c:v>
                </c:pt>
                <c:pt idx="56">
                  <c:v>1374.9</c:v>
                </c:pt>
                <c:pt idx="57">
                  <c:v>1401.3</c:v>
                </c:pt>
                <c:pt idx="58">
                  <c:v>1214.0519</c:v>
                </c:pt>
                <c:pt idx="59">
                  <c:v>1330.0391</c:v>
                </c:pt>
                <c:pt idx="60">
                  <c:v>1346.7266</c:v>
                </c:pt>
                <c:pt idx="61">
                  <c:v>1282.3356</c:v>
                </c:pt>
                <c:pt idx="62">
                  <c:v>1194.2054</c:v>
                </c:pt>
                <c:pt idx="63">
                  <c:v>1206.6536</c:v>
                </c:pt>
                <c:pt idx="64">
                  <c:v>1242.1529</c:v>
                </c:pt>
                <c:pt idx="65">
                  <c:v>1263.4198</c:v>
                </c:pt>
                <c:pt idx="66">
                  <c:v>1187.2174</c:v>
                </c:pt>
                <c:pt idx="67">
                  <c:v>1260.0709</c:v>
                </c:pt>
                <c:pt idx="68">
                  <c:v>1336.4783</c:v>
                </c:pt>
                <c:pt idx="69">
                  <c:v>1379.7</c:v>
                </c:pt>
                <c:pt idx="70">
                  <c:v>1304.0678</c:v>
                </c:pt>
                <c:pt idx="71">
                  <c:v>1417.8182</c:v>
                </c:pt>
                <c:pt idx="72">
                  <c:v>1629.0</c:v>
                </c:pt>
                <c:pt idx="73">
                  <c:v>1500.1818</c:v>
                </c:pt>
                <c:pt idx="74">
                  <c:v>1537.7941</c:v>
                </c:pt>
                <c:pt idx="75">
                  <c:v>1263.2029</c:v>
                </c:pt>
                <c:pt idx="76">
                  <c:v>1007.1139</c:v>
                </c:pt>
                <c:pt idx="77">
                  <c:v>1384.5088</c:v>
                </c:pt>
                <c:pt idx="78">
                  <c:v>1498.1373</c:v>
                </c:pt>
                <c:pt idx="79">
                  <c:v>1181.85</c:v>
                </c:pt>
                <c:pt idx="80">
                  <c:v>1383.0175</c:v>
                </c:pt>
                <c:pt idx="81">
                  <c:v>1355.4706</c:v>
                </c:pt>
                <c:pt idx="82">
                  <c:v>1334.9808</c:v>
                </c:pt>
                <c:pt idx="83">
                  <c:v>1269.3421</c:v>
                </c:pt>
                <c:pt idx="84">
                  <c:v>1311.2381</c:v>
                </c:pt>
                <c:pt idx="85">
                  <c:v>1285.25</c:v>
                </c:pt>
                <c:pt idx="86">
                  <c:v>1258.2083</c:v>
                </c:pt>
                <c:pt idx="87">
                  <c:v>1327.2976</c:v>
                </c:pt>
                <c:pt idx="88">
                  <c:v>1270.617</c:v>
                </c:pt>
                <c:pt idx="89">
                  <c:v>1333.2326</c:v>
                </c:pt>
                <c:pt idx="90">
                  <c:v>1525.9487</c:v>
                </c:pt>
                <c:pt idx="91">
                  <c:v>1629.25</c:v>
                </c:pt>
                <c:pt idx="92">
                  <c:v>1451.5185</c:v>
                </c:pt>
                <c:pt idx="93">
                  <c:v>1510.8333</c:v>
                </c:pt>
                <c:pt idx="94">
                  <c:v>1540.0</c:v>
                </c:pt>
                <c:pt idx="95">
                  <c:v>1459.0667</c:v>
                </c:pt>
                <c:pt idx="96">
                  <c:v>1405.5407</c:v>
                </c:pt>
                <c:pt idx="97">
                  <c:v>1418.4378</c:v>
                </c:pt>
                <c:pt idx="98">
                  <c:v>1374.5911</c:v>
                </c:pt>
                <c:pt idx="99">
                  <c:v>1329.2214</c:v>
                </c:pt>
                <c:pt idx="100">
                  <c:v>1350.9545</c:v>
                </c:pt>
                <c:pt idx="101">
                  <c:v>1294.1161</c:v>
                </c:pt>
                <c:pt idx="102">
                  <c:v>1394.2796</c:v>
                </c:pt>
                <c:pt idx="103">
                  <c:v>1361.7364</c:v>
                </c:pt>
                <c:pt idx="104">
                  <c:v>1471.8734</c:v>
                </c:pt>
              </c:numCache>
            </c:numRef>
          </c:xVal>
          <c:yVal>
            <c:numRef>
              <c:f>Sheet1!$B$2:$B$106</c:f>
              <c:numCache>
                <c:formatCode>General</c:formatCode>
                <c:ptCount val="105"/>
                <c:pt idx="0">
                  <c:v>0.24564183835182252</c:v>
                </c:pt>
                <c:pt idx="1">
                  <c:v>0.31568998109640833</c:v>
                </c:pt>
                <c:pt idx="2">
                  <c:v>0.2977941176470588</c:v>
                </c:pt>
                <c:pt idx="3">
                  <c:v>0.31305903398926654</c:v>
                </c:pt>
                <c:pt idx="4">
                  <c:v>0.29711751662971175</c:v>
                </c:pt>
                <c:pt idx="5">
                  <c:v>0.3067226890756303</c:v>
                </c:pt>
                <c:pt idx="6">
                  <c:v>0.3339622641509434</c:v>
                </c:pt>
                <c:pt idx="7">
                  <c:v>0.33242506811989103</c:v>
                </c:pt>
                <c:pt idx="8">
                  <c:v>0.3606060606060606</c:v>
                </c:pt>
                <c:pt idx="9">
                  <c:v>0.31533477321814257</c:v>
                </c:pt>
                <c:pt idx="10">
                  <c:v>0.30740037950664134</c:v>
                </c:pt>
                <c:pt idx="11">
                  <c:v>0.3192771084337349</c:v>
                </c:pt>
                <c:pt idx="12">
                  <c:v>0.2910284463894967</c:v>
                </c:pt>
                <c:pt idx="13">
                  <c:v>0.28085106382978725</c:v>
                </c:pt>
                <c:pt idx="14">
                  <c:v>0.3078556263269639</c:v>
                </c:pt>
                <c:pt idx="15">
                  <c:v>0.2743142144638404</c:v>
                </c:pt>
                <c:pt idx="16">
                  <c:v>0.23870967741935484</c:v>
                </c:pt>
                <c:pt idx="17">
                  <c:v>0.2784313725490196</c:v>
                </c:pt>
                <c:pt idx="18">
                  <c:v>0.26693227091633465</c:v>
                </c:pt>
                <c:pt idx="19">
                  <c:v>0.319672131147541</c:v>
                </c:pt>
                <c:pt idx="20">
                  <c:v>0.2717391304347826</c:v>
                </c:pt>
                <c:pt idx="21">
                  <c:v>0.36024844720496896</c:v>
                </c:pt>
                <c:pt idx="22">
                  <c:v>0.3465909090909091</c:v>
                </c:pt>
                <c:pt idx="23">
                  <c:v>0.31446540880503143</c:v>
                </c:pt>
                <c:pt idx="24">
                  <c:v>0.31</c:v>
                </c:pt>
                <c:pt idx="25">
                  <c:v>0.2808988764044944</c:v>
                </c:pt>
                <c:pt idx="26">
                  <c:v>0.31645569620253167</c:v>
                </c:pt>
                <c:pt idx="27">
                  <c:v>0.3185840707964602</c:v>
                </c:pt>
                <c:pt idx="28">
                  <c:v>0.29770992366412213</c:v>
                </c:pt>
                <c:pt idx="29">
                  <c:v>0.3322784810126582</c:v>
                </c:pt>
                <c:pt idx="30">
                  <c:v>0.3157894736842105</c:v>
                </c:pt>
                <c:pt idx="31">
                  <c:v>0.29464285714285715</c:v>
                </c:pt>
                <c:pt idx="32">
                  <c:v>0.32432432432432434</c:v>
                </c:pt>
                <c:pt idx="33">
                  <c:v>0.3450134770889488</c:v>
                </c:pt>
                <c:pt idx="34">
                  <c:v>0.3236009732360097</c:v>
                </c:pt>
                <c:pt idx="35">
                  <c:v>0.3125</c:v>
                </c:pt>
                <c:pt idx="36">
                  <c:v>0.24904214559386972</c:v>
                </c:pt>
                <c:pt idx="37">
                  <c:v>0.20784313725490197</c:v>
                </c:pt>
                <c:pt idx="38">
                  <c:v>0.2</c:v>
                </c:pt>
                <c:pt idx="39">
                  <c:v>0.1947565543071161</c:v>
                </c:pt>
                <c:pt idx="40">
                  <c:v>0.23183391003460208</c:v>
                </c:pt>
                <c:pt idx="41">
                  <c:v>0.25333333333333335</c:v>
                </c:pt>
                <c:pt idx="42">
                  <c:v>0.24161073825503357</c:v>
                </c:pt>
                <c:pt idx="43">
                  <c:v>0.2435064935064935</c:v>
                </c:pt>
                <c:pt idx="44">
                  <c:v>0.1972318339100346</c:v>
                </c:pt>
                <c:pt idx="45">
                  <c:v>0.22700296735905046</c:v>
                </c:pt>
                <c:pt idx="46">
                  <c:v>0.22544283413848631</c:v>
                </c:pt>
                <c:pt idx="47">
                  <c:v>0.20711974110032363</c:v>
                </c:pt>
                <c:pt idx="48">
                  <c:v>0.2390194075587334</c:v>
                </c:pt>
                <c:pt idx="49">
                  <c:v>0.2465642683912692</c:v>
                </c:pt>
                <c:pt idx="50">
                  <c:v>0.23390557939914164</c:v>
                </c:pt>
                <c:pt idx="51">
                  <c:v>0.22099447513812154</c:v>
                </c:pt>
                <c:pt idx="52">
                  <c:v>0.2631578947368421</c:v>
                </c:pt>
                <c:pt idx="53">
                  <c:v>0.23822714681440443</c:v>
                </c:pt>
                <c:pt idx="54">
                  <c:v>0.2796934865900383</c:v>
                </c:pt>
                <c:pt idx="55">
                  <c:v>0.27106227106227104</c:v>
                </c:pt>
                <c:pt idx="56">
                  <c:v>0.299625468164794</c:v>
                </c:pt>
                <c:pt idx="57">
                  <c:v>0.24793388429752067</c:v>
                </c:pt>
                <c:pt idx="58">
                  <c:v>0.28205128205128205</c:v>
                </c:pt>
                <c:pt idx="59">
                  <c:v>0.24891774891774893</c:v>
                </c:pt>
                <c:pt idx="60">
                  <c:v>0.2752577319587629</c:v>
                </c:pt>
                <c:pt idx="61">
                  <c:v>0.2821969696969697</c:v>
                </c:pt>
                <c:pt idx="62">
                  <c:v>0.26695526695526695</c:v>
                </c:pt>
                <c:pt idx="63">
                  <c:v>0.2667660208643815</c:v>
                </c:pt>
                <c:pt idx="64">
                  <c:v>0.28545454545454546</c:v>
                </c:pt>
                <c:pt idx="65">
                  <c:v>0.2811158798283262</c:v>
                </c:pt>
                <c:pt idx="66">
                  <c:v>0.3115124153498871</c:v>
                </c:pt>
                <c:pt idx="67">
                  <c:v>0.28603603603603606</c:v>
                </c:pt>
                <c:pt idx="68">
                  <c:v>0.23793103448275862</c:v>
                </c:pt>
                <c:pt idx="69">
                  <c:v>0.24875621890547264</c:v>
                </c:pt>
                <c:pt idx="70">
                  <c:v>0.24789915966386555</c:v>
                </c:pt>
                <c:pt idx="71">
                  <c:v>0.2777777777777778</c:v>
                </c:pt>
                <c:pt idx="72">
                  <c:v>0.28342245989304815</c:v>
                </c:pt>
                <c:pt idx="73">
                  <c:v>0.27918781725888325</c:v>
                </c:pt>
                <c:pt idx="74">
                  <c:v>0.3063063063063063</c:v>
                </c:pt>
                <c:pt idx="75">
                  <c:v>0.3415841584158416</c:v>
                </c:pt>
                <c:pt idx="76">
                  <c:v>0.39303482587064675</c:v>
                </c:pt>
                <c:pt idx="77">
                  <c:v>0.3352941176470588</c:v>
                </c:pt>
                <c:pt idx="78">
                  <c:v>0.29651162790697677</c:v>
                </c:pt>
                <c:pt idx="79">
                  <c:v>0.32432432432432434</c:v>
                </c:pt>
                <c:pt idx="80">
                  <c:v>0.3048128342245989</c:v>
                </c:pt>
                <c:pt idx="81">
                  <c:v>0.3063063063063063</c:v>
                </c:pt>
                <c:pt idx="82">
                  <c:v>0.3151515151515151</c:v>
                </c:pt>
                <c:pt idx="83">
                  <c:v>0.29457364341085274</c:v>
                </c:pt>
                <c:pt idx="84">
                  <c:v>0.28378378378378377</c:v>
                </c:pt>
                <c:pt idx="85">
                  <c:v>0.3128491620111732</c:v>
                </c:pt>
                <c:pt idx="86">
                  <c:v>0.35687732342007433</c:v>
                </c:pt>
                <c:pt idx="87">
                  <c:v>0.34710743801652894</c:v>
                </c:pt>
                <c:pt idx="88">
                  <c:v>0.35877862595419846</c:v>
                </c:pt>
                <c:pt idx="89">
                  <c:v>0.3333333333333333</c:v>
                </c:pt>
                <c:pt idx="90">
                  <c:v>0.291044776119403</c:v>
                </c:pt>
                <c:pt idx="91">
                  <c:v>0.273972602739726</c:v>
                </c:pt>
                <c:pt idx="92">
                  <c:v>0.27692307692307694</c:v>
                </c:pt>
                <c:pt idx="93">
                  <c:v>0.2803738317757009</c:v>
                </c:pt>
                <c:pt idx="94">
                  <c:v>0.27472527472527475</c:v>
                </c:pt>
                <c:pt idx="95">
                  <c:v>0.2697841726618705</c:v>
                </c:pt>
                <c:pt idx="96">
                  <c:v>0.25812619502868067</c:v>
                </c:pt>
                <c:pt idx="97">
                  <c:v>0.2447089947089947</c:v>
                </c:pt>
                <c:pt idx="98">
                  <c:v>0.2493857493857494</c:v>
                </c:pt>
                <c:pt idx="99">
                  <c:v>0.2566287878787879</c:v>
                </c:pt>
                <c:pt idx="100">
                  <c:v>0.2359249329758713</c:v>
                </c:pt>
                <c:pt idx="101">
                  <c:v>0.26405451448040884</c:v>
                </c:pt>
                <c:pt idx="102">
                  <c:v>0.23544303797468355</c:v>
                </c:pt>
                <c:pt idx="103">
                  <c:v>0.248868778280543</c:v>
                </c:pt>
                <c:pt idx="104">
                  <c:v>0.265100671140939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0.134</c:v>
                </c:pt>
                <c:pt idx="1">
                  <c:v>1440.1869</c:v>
                </c:pt>
                <c:pt idx="2">
                  <c:v>1479.955</c:v>
                </c:pt>
                <c:pt idx="3">
                  <c:v>1545.819</c:v>
                </c:pt>
                <c:pt idx="4">
                  <c:v>1515.8257</c:v>
                </c:pt>
                <c:pt idx="5">
                  <c:v>1553.4948</c:v>
                </c:pt>
                <c:pt idx="6">
                  <c:v>1350.1543</c:v>
                </c:pt>
                <c:pt idx="7">
                  <c:v>1308.1484</c:v>
                </c:pt>
                <c:pt idx="8">
                  <c:v>1399.2917</c:v>
                </c:pt>
                <c:pt idx="9">
                  <c:v>1400.1667</c:v>
                </c:pt>
                <c:pt idx="10">
                  <c:v>1316.0112</c:v>
                </c:pt>
                <c:pt idx="11">
                  <c:v>1244.7652</c:v>
                </c:pt>
                <c:pt idx="12">
                  <c:v>1306.2791</c:v>
                </c:pt>
                <c:pt idx="13">
                  <c:v>1312.9524</c:v>
                </c:pt>
                <c:pt idx="14">
                  <c:v>1243.7619</c:v>
                </c:pt>
                <c:pt idx="15">
                  <c:v>1320.6</c:v>
                </c:pt>
                <c:pt idx="16">
                  <c:v>1360.4</c:v>
                </c:pt>
                <c:pt idx="17">
                  <c:v>1291.6111</c:v>
                </c:pt>
                <c:pt idx="18">
                  <c:v>740.3429</c:v>
                </c:pt>
                <c:pt idx="19">
                  <c:v>1071.1719</c:v>
                </c:pt>
                <c:pt idx="20">
                  <c:v>1387.561</c:v>
                </c:pt>
                <c:pt idx="21">
                  <c:v>884.8571</c:v>
                </c:pt>
                <c:pt idx="22">
                  <c:v>1323.56</c:v>
                </c:pt>
                <c:pt idx="23">
                  <c:v>1492.5357</c:v>
                </c:pt>
                <c:pt idx="24">
                  <c:v>1544.4167</c:v>
                </c:pt>
                <c:pt idx="25">
                  <c:v>1405.5926</c:v>
                </c:pt>
                <c:pt idx="26">
                  <c:v>1280.9286</c:v>
                </c:pt>
                <c:pt idx="27">
                  <c:v>1405.9348</c:v>
                </c:pt>
                <c:pt idx="28">
                  <c:v>1465.0217</c:v>
                </c:pt>
                <c:pt idx="29">
                  <c:v>1569.3939</c:v>
                </c:pt>
                <c:pt idx="30">
                  <c:v>1282.1628</c:v>
                </c:pt>
                <c:pt idx="31">
                  <c:v>1397.8611</c:v>
                </c:pt>
                <c:pt idx="32">
                  <c:v>1330.14</c:v>
                </c:pt>
                <c:pt idx="33">
                  <c:v>1434.8358</c:v>
                </c:pt>
                <c:pt idx="34">
                  <c:v>1491.1899</c:v>
                </c:pt>
                <c:pt idx="35">
                  <c:v>1377.5778</c:v>
                </c:pt>
                <c:pt idx="36">
                  <c:v>1701.0909</c:v>
                </c:pt>
                <c:pt idx="37">
                  <c:v>1604.4839</c:v>
                </c:pt>
                <c:pt idx="38">
                  <c:v>1452.3256</c:v>
                </c:pt>
                <c:pt idx="39">
                  <c:v>1609.8182</c:v>
                </c:pt>
                <c:pt idx="40">
                  <c:v>1555.4444</c:v>
                </c:pt>
                <c:pt idx="41">
                  <c:v>1617.6977</c:v>
                </c:pt>
                <c:pt idx="42">
                  <c:v>1518.8205</c:v>
                </c:pt>
                <c:pt idx="43">
                  <c:v>1619.8421</c:v>
                </c:pt>
                <c:pt idx="44">
                  <c:v>1479.5823</c:v>
                </c:pt>
                <c:pt idx="45">
                  <c:v>1457.8346</c:v>
                </c:pt>
                <c:pt idx="46">
                  <c:v>1402.3333</c:v>
                </c:pt>
                <c:pt idx="47">
                  <c:v>1335.9907</c:v>
                </c:pt>
                <c:pt idx="48">
                  <c:v>1279.4966</c:v>
                </c:pt>
                <c:pt idx="49">
                  <c:v>1394.8717</c:v>
                </c:pt>
                <c:pt idx="50">
                  <c:v>1319.0575</c:v>
                </c:pt>
                <c:pt idx="51">
                  <c:v>1208.65</c:v>
                </c:pt>
              </c:numCache>
            </c:numRef>
          </c:xVal>
          <c:yVal>
            <c:numRef>
              <c:f>Sheet1!$B$109:$B$160</c:f>
              <c:numCache>
                <c:formatCode>General</c:formatCode>
                <c:ptCount val="52"/>
                <c:pt idx="0">
                  <c:v>0.2878338278931751</c:v>
                </c:pt>
                <c:pt idx="1">
                  <c:v>0.2772020725388601</c:v>
                </c:pt>
                <c:pt idx="2">
                  <c:v>0.24288840262582057</c:v>
                </c:pt>
                <c:pt idx="3">
                  <c:v>0.2549450549450549</c:v>
                </c:pt>
                <c:pt idx="4">
                  <c:v>0.26014319809069214</c:v>
                </c:pt>
                <c:pt idx="5">
                  <c:v>0.2255813953488372</c:v>
                </c:pt>
                <c:pt idx="6">
                  <c:v>0.29944547134935307</c:v>
                </c:pt>
                <c:pt idx="7">
                  <c:v>0.27467811158798283</c:v>
                </c:pt>
                <c:pt idx="8">
                  <c:v>0.25622775800711745</c:v>
                </c:pt>
                <c:pt idx="9">
                  <c:v>0.25573770491803277</c:v>
                </c:pt>
                <c:pt idx="10">
                  <c:v>0.2672672672672673</c:v>
                </c:pt>
                <c:pt idx="11">
                  <c:v>0.24364406779661016</c:v>
                </c:pt>
                <c:pt idx="12">
                  <c:v>0.2471264367816092</c:v>
                </c:pt>
                <c:pt idx="13">
                  <c:v>0.25609756097560976</c:v>
                </c:pt>
                <c:pt idx="14">
                  <c:v>0.26006191950464397</c:v>
                </c:pt>
                <c:pt idx="15">
                  <c:v>0.23465703971119134</c:v>
                </c:pt>
                <c:pt idx="16">
                  <c:v>0.2183406113537118</c:v>
                </c:pt>
                <c:pt idx="17">
                  <c:v>0.2231404958677686</c:v>
                </c:pt>
                <c:pt idx="18">
                  <c:v>0.3595890410958904</c:v>
                </c:pt>
                <c:pt idx="19">
                  <c:v>0.2922374429223744</c:v>
                </c:pt>
                <c:pt idx="20">
                  <c:v>0.2751677852348993</c:v>
                </c:pt>
                <c:pt idx="21">
                  <c:v>0.3951612903225806</c:v>
                </c:pt>
                <c:pt idx="22">
                  <c:v>0.24271844660194175</c:v>
                </c:pt>
                <c:pt idx="23">
                  <c:v>0.224</c:v>
                </c:pt>
                <c:pt idx="24">
                  <c:v>0.17391304347826086</c:v>
                </c:pt>
                <c:pt idx="25">
                  <c:v>0.21428571428571427</c:v>
                </c:pt>
                <c:pt idx="26">
                  <c:v>0.2709677419354839</c:v>
                </c:pt>
                <c:pt idx="27">
                  <c:v>0.233502538071066</c:v>
                </c:pt>
                <c:pt idx="28">
                  <c:v>0.20535714285714285</c:v>
                </c:pt>
                <c:pt idx="29">
                  <c:v>0.2088607594936709</c:v>
                </c:pt>
                <c:pt idx="30">
                  <c:v>0.2621951219512195</c:v>
                </c:pt>
                <c:pt idx="31">
                  <c:v>0.22085889570552147</c:v>
                </c:pt>
                <c:pt idx="32">
                  <c:v>0.23148148148148148</c:v>
                </c:pt>
                <c:pt idx="33">
                  <c:v>0.24014336917562723</c:v>
                </c:pt>
                <c:pt idx="34">
                  <c:v>0.24921135646687698</c:v>
                </c:pt>
                <c:pt idx="35">
                  <c:v>0.24064171122994651</c:v>
                </c:pt>
                <c:pt idx="36">
                  <c:v>0.18487394957983194</c:v>
                </c:pt>
                <c:pt idx="37">
                  <c:v>0.2108843537414966</c:v>
                </c:pt>
                <c:pt idx="38">
                  <c:v>0.2925170068027211</c:v>
                </c:pt>
                <c:pt idx="39">
                  <c:v>0.2879581151832461</c:v>
                </c:pt>
                <c:pt idx="40">
                  <c:v>0.21301775147928995</c:v>
                </c:pt>
                <c:pt idx="41">
                  <c:v>0.23756906077348067</c:v>
                </c:pt>
                <c:pt idx="42">
                  <c:v>0.2635135135135135</c:v>
                </c:pt>
                <c:pt idx="43">
                  <c:v>0.22093023255813954</c:v>
                </c:pt>
                <c:pt idx="44">
                  <c:v>0.20954907161803712</c:v>
                </c:pt>
                <c:pt idx="45">
                  <c:v>0.2289156626506024</c:v>
                </c:pt>
                <c:pt idx="46">
                  <c:v>0.23515439429928742</c:v>
                </c:pt>
                <c:pt idx="47">
                  <c:v>0.2553699284009546</c:v>
                </c:pt>
                <c:pt idx="48">
                  <c:v>0.24874791318864775</c:v>
                </c:pt>
                <c:pt idx="49">
                  <c:v>0.2679083094555874</c:v>
                </c:pt>
                <c:pt idx="50">
                  <c:v>0.27460510328068044</c:v>
                </c:pt>
                <c:pt idx="51">
                  <c:v>0.28985507246376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9612534539184</c:v>
                </c:pt>
              </c:numCache>
            </c:numRef>
          </c:xVal>
          <c:yVal>
            <c:numRef>
              <c:f>Sheet1!$B$163:$B$164</c:f>
              <c:numCache>
                <c:formatCode>General</c:formatCode>
                <c:ptCount val="2"/>
                <c:pt idx="0">
                  <c:v>0.3227512404854277</c:v>
                </c:pt>
                <c:pt idx="1">
                  <c:v>0.322751240485427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9612534539184</c:v>
                </c:pt>
                <c:pt idx="1">
                  <c:v>934.9612534539184</c:v>
                </c:pt>
              </c:numCache>
            </c:numRef>
          </c:xVal>
          <c:yVal>
            <c:numRef>
              <c:f>Sheet1!$B$167:$B$168</c:f>
              <c:numCache>
                <c:formatCode>General</c:formatCode>
                <c:ptCount val="2"/>
                <c:pt idx="0">
                  <c:v>0.32275124048542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60.3124376085107</c:v>
                </c:pt>
              </c:numCache>
            </c:numRef>
          </c:xVal>
          <c:yVal>
            <c:numRef>
              <c:f>Sheet1!$B$171:$B$172</c:f>
              <c:numCache>
                <c:formatCode>General</c:formatCode>
                <c:ptCount val="2"/>
                <c:pt idx="0">
                  <c:v>0.27140220490401457</c:v>
                </c:pt>
                <c:pt idx="1">
                  <c:v>0.271402204904014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60.3124376085107</c:v>
                </c:pt>
                <c:pt idx="1">
                  <c:v>1260.3124376085107</c:v>
                </c:pt>
              </c:numCache>
            </c:numRef>
          </c:xVal>
          <c:yVal>
            <c:numRef>
              <c:f>Sheet1!$B$175:$B$176</c:f>
              <c:numCache>
                <c:formatCode>General</c:formatCode>
                <c:ptCount val="2"/>
                <c:pt idx="0">
                  <c:v>0.271402204904014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4.1581029025226</c:v>
                </c:pt>
              </c:numCache>
            </c:numRef>
          </c:xVal>
          <c:yVal>
            <c:numRef>
              <c:f>Sheet1!$B$179:$B$180</c:f>
              <c:numCache>
                <c:formatCode>General</c:formatCode>
                <c:ptCount val="2"/>
                <c:pt idx="0">
                  <c:v>0.24869954837424885</c:v>
                </c:pt>
                <c:pt idx="1">
                  <c:v>0.2486995483742488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4.1581029025226</c:v>
                </c:pt>
                <c:pt idx="1">
                  <c:v>1404.1581029025226</c:v>
                </c:pt>
              </c:numCache>
            </c:numRef>
          </c:xVal>
          <c:yVal>
            <c:numRef>
              <c:f>Sheet1!$B$183:$B$184</c:f>
              <c:numCache>
                <c:formatCode>General</c:formatCode>
                <c:ptCount val="2"/>
                <c:pt idx="0">
                  <c:v>0.248699548374248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0.134</c:v>
                </c:pt>
                <c:pt idx="1">
                  <c:v>1440.1869</c:v>
                </c:pt>
                <c:pt idx="2">
                  <c:v>1479.955</c:v>
                </c:pt>
                <c:pt idx="3">
                  <c:v>1545.819</c:v>
                </c:pt>
                <c:pt idx="4">
                  <c:v>1515.8257</c:v>
                </c:pt>
                <c:pt idx="5">
                  <c:v>1553.4948</c:v>
                </c:pt>
                <c:pt idx="6">
                  <c:v>1350.1543</c:v>
                </c:pt>
                <c:pt idx="7">
                  <c:v>1308.1484</c:v>
                </c:pt>
                <c:pt idx="8">
                  <c:v>1399.2917</c:v>
                </c:pt>
                <c:pt idx="9">
                  <c:v>1400.1667</c:v>
                </c:pt>
                <c:pt idx="10">
                  <c:v>1316.0112</c:v>
                </c:pt>
                <c:pt idx="11">
                  <c:v>1244.7652</c:v>
                </c:pt>
                <c:pt idx="12">
                  <c:v>1306.2791</c:v>
                </c:pt>
                <c:pt idx="13">
                  <c:v>1312.9524</c:v>
                </c:pt>
                <c:pt idx="14">
                  <c:v>1243.7619</c:v>
                </c:pt>
                <c:pt idx="15">
                  <c:v>1320.6</c:v>
                </c:pt>
                <c:pt idx="16">
                  <c:v>1360.4</c:v>
                </c:pt>
                <c:pt idx="17">
                  <c:v>1291.6111</c:v>
                </c:pt>
                <c:pt idx="18">
                  <c:v>740.3429</c:v>
                </c:pt>
                <c:pt idx="19">
                  <c:v>1071.1719</c:v>
                </c:pt>
                <c:pt idx="20">
                  <c:v>1387.561</c:v>
                </c:pt>
                <c:pt idx="21">
                  <c:v>884.8571</c:v>
                </c:pt>
                <c:pt idx="22">
                  <c:v>1323.56</c:v>
                </c:pt>
                <c:pt idx="23">
                  <c:v>1492.5357</c:v>
                </c:pt>
                <c:pt idx="24">
                  <c:v>1544.4167</c:v>
                </c:pt>
                <c:pt idx="25">
                  <c:v>1405.5926</c:v>
                </c:pt>
                <c:pt idx="26">
                  <c:v>1280.9286</c:v>
                </c:pt>
                <c:pt idx="27">
                  <c:v>1405.9348</c:v>
                </c:pt>
                <c:pt idx="28">
                  <c:v>1465.0217</c:v>
                </c:pt>
                <c:pt idx="29">
                  <c:v>1569.3939</c:v>
                </c:pt>
                <c:pt idx="30">
                  <c:v>1282.1628</c:v>
                </c:pt>
                <c:pt idx="31">
                  <c:v>1397.8611</c:v>
                </c:pt>
                <c:pt idx="32">
                  <c:v>1330.14</c:v>
                </c:pt>
                <c:pt idx="33">
                  <c:v>1434.8358</c:v>
                </c:pt>
                <c:pt idx="34">
                  <c:v>1491.1899</c:v>
                </c:pt>
                <c:pt idx="35">
                  <c:v>1377.5778</c:v>
                </c:pt>
                <c:pt idx="36">
                  <c:v>1701.0909</c:v>
                </c:pt>
                <c:pt idx="37">
                  <c:v>1604.4839</c:v>
                </c:pt>
                <c:pt idx="38">
                  <c:v>1452.3256</c:v>
                </c:pt>
                <c:pt idx="39">
                  <c:v>1609.8182</c:v>
                </c:pt>
                <c:pt idx="40">
                  <c:v>1555.4444</c:v>
                </c:pt>
                <c:pt idx="41">
                  <c:v>1617.6977</c:v>
                </c:pt>
                <c:pt idx="42">
                  <c:v>1518.8205</c:v>
                </c:pt>
                <c:pt idx="43">
                  <c:v>1619.8421</c:v>
                </c:pt>
                <c:pt idx="44">
                  <c:v>1479.5823</c:v>
                </c:pt>
                <c:pt idx="45">
                  <c:v>1457.8346</c:v>
                </c:pt>
                <c:pt idx="46">
                  <c:v>1402.3333</c:v>
                </c:pt>
                <c:pt idx="47">
                  <c:v>1335.9907</c:v>
                </c:pt>
                <c:pt idx="48">
                  <c:v>1279.4966</c:v>
                </c:pt>
                <c:pt idx="49">
                  <c:v>1394.8717</c:v>
                </c:pt>
                <c:pt idx="50">
                  <c:v>1319.0575</c:v>
                </c:pt>
                <c:pt idx="51">
                  <c:v>1208.65</c:v>
                </c:pt>
                <c:pt idx="52">
                  <c:v>1260.3124376085107</c:v>
                </c:pt>
                <c:pt idx="53">
                  <c:v>934.9612534539184</c:v>
                </c:pt>
                <c:pt idx="54">
                  <c:v>1404.1581029025226</c:v>
                </c:pt>
              </c:numCache>
            </c:numRef>
          </c:xVal>
          <c:yVal>
            <c:numRef>
              <c:f>Sheet1!$B$187:$B$241</c:f>
              <c:numCache>
                <c:formatCode>General</c:formatCode>
                <c:ptCount val="55"/>
                <c:pt idx="0">
                  <c:v>0.2398650689816853</c:v>
                </c:pt>
                <c:pt idx="1">
                  <c:v>0.24301324977072256</c:v>
                </c:pt>
                <c:pt idx="2">
                  <c:v>0.23673679011310256</c:v>
                </c:pt>
                <c:pt idx="3">
                  <c:v>0.2263417061415403</c:v>
                </c:pt>
                <c:pt idx="4">
                  <c:v>0.23107544341963238</c:v>
                </c:pt>
                <c:pt idx="5">
                  <c:v>0.2251302615656124</c:v>
                </c:pt>
                <c:pt idx="6">
                  <c:v>0.2572227790610492</c:v>
                </c:pt>
                <c:pt idx="7">
                  <c:v>0.2638524228391532</c:v>
                </c:pt>
                <c:pt idx="8">
                  <c:v>0.24946759566580684</c:v>
                </c:pt>
                <c:pt idx="9">
                  <c:v>0.24932949748660246</c:v>
                </c:pt>
                <c:pt idx="10">
                  <c:v>0.26261146470949825</c:v>
                </c:pt>
                <c:pt idx="11">
                  <c:v>0.27385597085303526</c:v>
                </c:pt>
                <c:pt idx="12">
                  <c:v>0.26414744789788097</c:v>
                </c:pt>
                <c:pt idx="13">
                  <c:v>0.2630942243786986</c:v>
                </c:pt>
                <c:pt idx="14">
                  <c:v>0.2740143181709732</c:v>
                </c:pt>
                <c:pt idx="15">
                  <c:v>0.26188723050980334</c:v>
                </c:pt>
                <c:pt idx="16">
                  <c:v>0.2556057361871357</c:v>
                </c:pt>
                <c:pt idx="17">
                  <c:v>0.2664624468608178</c:v>
                </c:pt>
                <c:pt idx="18">
                  <c:v>0.35346717220170154</c:v>
                </c:pt>
                <c:pt idx="19">
                  <c:v>0.30125359216969677</c:v>
                </c:pt>
                <c:pt idx="20">
                  <c:v>0.25131901087814146</c:v>
                </c:pt>
                <c:pt idx="21">
                  <c:v>0.3306590031854994</c:v>
                </c:pt>
                <c:pt idx="22">
                  <c:v>0.2614200640978662</c:v>
                </c:pt>
                <c:pt idx="23">
                  <c:v>0.2347512223838266</c:v>
                </c:pt>
                <c:pt idx="24">
                  <c:v>0.2265630262291955</c:v>
                </c:pt>
                <c:pt idx="25">
                  <c:v>0.24847314673169388</c:v>
                </c:pt>
                <c:pt idx="26">
                  <c:v>0.2681484283457901</c:v>
                </c:pt>
                <c:pt idx="27">
                  <c:v>0.2484191385066382</c:v>
                </c:pt>
                <c:pt idx="28">
                  <c:v>0.2390936604439742</c:v>
                </c:pt>
                <c:pt idx="29">
                  <c:v>0.2226209624101972</c:v>
                </c:pt>
                <c:pt idx="30">
                  <c:v>0.26795363889119117</c:v>
                </c:pt>
                <c:pt idx="31">
                  <c:v>0.24969338224314372</c:v>
                </c:pt>
                <c:pt idx="32">
                  <c:v>0.2603815657902493</c:v>
                </c:pt>
                <c:pt idx="33">
                  <c:v>0.2438577951041403</c:v>
                </c:pt>
                <c:pt idx="34">
                  <c:v>0.2349636252747674</c:v>
                </c:pt>
                <c:pt idx="35">
                  <c:v>0.25289462429829357</c:v>
                </c:pt>
                <c:pt idx="36">
                  <c:v>0.20183568708827887</c:v>
                </c:pt>
                <c:pt idx="37">
                  <c:v>0.2170828308578755</c:v>
                </c:pt>
                <c:pt idx="38">
                  <c:v>0.24109744135025613</c:v>
                </c:pt>
                <c:pt idx="39">
                  <c:v>0.21624093700949848</c:v>
                </c:pt>
                <c:pt idx="40">
                  <c:v>0.22482256303969597</c:v>
                </c:pt>
                <c:pt idx="41">
                  <c:v>0.21499734317745173</c:v>
                </c:pt>
                <c:pt idx="42">
                  <c:v>0.23060278464582523</c:v>
                </c:pt>
                <c:pt idx="43">
                  <c:v>0.21465890005118216</c:v>
                </c:pt>
                <c:pt idx="44">
                  <c:v>0.23679561204611907</c:v>
                </c:pt>
                <c:pt idx="45">
                  <c:v>0.24022797521398537</c:v>
                </c:pt>
                <c:pt idx="46">
                  <c:v>0.2489875506122434</c:v>
                </c:pt>
                <c:pt idx="47">
                  <c:v>0.2594581703421681</c:v>
                </c:pt>
                <c:pt idx="48">
                  <c:v>0.2683744358802137</c:v>
                </c:pt>
                <c:pt idx="49">
                  <c:v>0.2501651887539021</c:v>
                </c:pt>
                <c:pt idx="50">
                  <c:v>0.2621306778714293</c:v>
                </c:pt>
                <c:pt idx="51">
                  <c:v>0.27955590612343734</c:v>
                </c:pt>
                <c:pt idx="52">
                  <c:v>0.27140220490401457</c:v>
                </c:pt>
                <c:pt idx="53">
                  <c:v>0.3227512404854277</c:v>
                </c:pt>
                <c:pt idx="54">
                  <c:v>0.2486995483742488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41.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1935483870967"/>
          <c:min val="0.13913043478260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700887273515025</c:v>
                </c:pt>
                <c:pt idx="1">
                  <c:v>0.7617941965904969</c:v>
                </c:pt>
                <c:pt idx="2">
                  <c:v>0.7957035008097328</c:v>
                </c:pt>
                <c:pt idx="3">
                  <c:v>0.7841549109820006</c:v>
                </c:pt>
                <c:pt idx="4">
                  <c:v>0.8348277962058512</c:v>
                </c:pt>
                <c:pt idx="5">
                  <c:v>0.8372900609269266</c:v>
                </c:pt>
                <c:pt idx="6">
                  <c:v>0.73547862107539</c:v>
                </c:pt>
                <c:pt idx="7">
                  <c:v>0.730030748240372</c:v>
                </c:pt>
                <c:pt idx="8">
                  <c:v>0.8105079144056995</c:v>
                </c:pt>
                <c:pt idx="9">
                  <c:v>0.8842900175988602</c:v>
                </c:pt>
                <c:pt idx="10">
                  <c:v>0.88456662457577</c:v>
                </c:pt>
                <c:pt idx="11">
                  <c:v>0.949325470219208</c:v>
                </c:pt>
                <c:pt idx="12">
                  <c:v>0.9820075304901069</c:v>
                </c:pt>
                <c:pt idx="13">
                  <c:v>0.9893737591943226</c:v>
                </c:pt>
                <c:pt idx="14">
                  <c:v>0.9946985990628049</c:v>
                </c:pt>
                <c:pt idx="15">
                  <c:v>1.0202843737547338</c:v>
                </c:pt>
                <c:pt idx="16">
                  <c:v>1.0439554826742654</c:v>
                </c:pt>
                <c:pt idx="17">
                  <c:v>1.020982199989709</c:v>
                </c:pt>
                <c:pt idx="18">
                  <c:v>1.0595800911850803</c:v>
                </c:pt>
                <c:pt idx="19">
                  <c:v>1.0173747719551245</c:v>
                </c:pt>
                <c:pt idx="20">
                  <c:v>1.0834957405495713</c:v>
                </c:pt>
                <c:pt idx="21">
                  <c:v>0.8654038353466126</c:v>
                </c:pt>
                <c:pt idx="22">
                  <c:v>0.8669014558298723</c:v>
                </c:pt>
                <c:pt idx="23">
                  <c:v>0.8144255435884384</c:v>
                </c:pt>
                <c:pt idx="24">
                  <c:v>0.6898530505504832</c:v>
                </c:pt>
                <c:pt idx="25">
                  <c:v>0.7278094769927546</c:v>
                </c:pt>
                <c:pt idx="26">
                  <c:v>0.7183785081701384</c:v>
                </c:pt>
                <c:pt idx="27">
                  <c:v>0.7505575237049013</c:v>
                </c:pt>
                <c:pt idx="28">
                  <c:v>0.7478291880805106</c:v>
                </c:pt>
                <c:pt idx="29">
                  <c:v>0.6961166519151983</c:v>
                </c:pt>
                <c:pt idx="30">
                  <c:v>0.72326452978697</c:v>
                </c:pt>
                <c:pt idx="31">
                  <c:v>0.6950782717595492</c:v>
                </c:pt>
                <c:pt idx="32">
                  <c:v>0.7243732471819895</c:v>
                </c:pt>
                <c:pt idx="33">
                  <c:v>0.6381302178497306</c:v>
                </c:pt>
                <c:pt idx="34">
                  <c:v>0.8611490727574532</c:v>
                </c:pt>
                <c:pt idx="35">
                  <c:v>1.0026077649135656</c:v>
                </c:pt>
                <c:pt idx="36">
                  <c:v>0.9396612130539532</c:v>
                </c:pt>
                <c:pt idx="37">
                  <c:v>0.8987500254552362</c:v>
                </c:pt>
                <c:pt idx="38">
                  <c:v>1.0913090200589979</c:v>
                </c:pt>
                <c:pt idx="39">
                  <c:v>1.1157195283125547</c:v>
                </c:pt>
                <c:pt idx="40">
                  <c:v>0.9698969939007015</c:v>
                </c:pt>
                <c:pt idx="41">
                  <c:v>0.8917515494649904</c:v>
                </c:pt>
                <c:pt idx="42">
                  <c:v>0.9212982549053339</c:v>
                </c:pt>
                <c:pt idx="43">
                  <c:v>0.9502823698398624</c:v>
                </c:pt>
                <c:pt idx="44">
                  <c:v>1.0082991092554339</c:v>
                </c:pt>
                <c:pt idx="45">
                  <c:v>1.0132514373399977</c:v>
                </c:pt>
                <c:pt idx="46">
                  <c:v>1.0307216640014503</c:v>
                </c:pt>
                <c:pt idx="47">
                  <c:v>1.0353859523360063</c:v>
                </c:pt>
                <c:pt idx="48">
                  <c:v>1.0312860209676953</c:v>
                </c:pt>
                <c:pt idx="49">
                  <c:v>0.9443098445432079</c:v>
                </c:pt>
                <c:pt idx="50">
                  <c:v>0.9373556309749163</c:v>
                </c:pt>
                <c:pt idx="51">
                  <c:v>0.9102433949991575</c:v>
                </c:pt>
                <c:pt idx="52">
                  <c:v>0.9427135250135416</c:v>
                </c:pt>
                <c:pt idx="53">
                  <c:v>0.8570559550320626</c:v>
                </c:pt>
                <c:pt idx="54">
                  <c:v>0.8795940253734142</c:v>
                </c:pt>
                <c:pt idx="55">
                  <c:v>0.8728473136051552</c:v>
                </c:pt>
                <c:pt idx="56">
                  <c:v>0.8626268637787311</c:v>
                </c:pt>
                <c:pt idx="57">
                  <c:v>0.86504715379098</c:v>
                </c:pt>
                <c:pt idx="58">
                  <c:v>0.8005590545933396</c:v>
                </c:pt>
                <c:pt idx="59">
                  <c:v>0.7653705984308102</c:v>
                </c:pt>
                <c:pt idx="60">
                  <c:v>0.7355913481438738</c:v>
                </c:pt>
                <c:pt idx="61">
                  <c:v>1.0756245667999589</c:v>
                </c:pt>
                <c:pt idx="62">
                  <c:v>1.0521560312922107</c:v>
                </c:pt>
                <c:pt idx="63">
                  <c:v>1.0805181513231137</c:v>
                </c:pt>
                <c:pt idx="64">
                  <c:v>1.1338844446528697</c:v>
                </c:pt>
                <c:pt idx="65">
                  <c:v>1.0978103911306982</c:v>
                </c:pt>
                <c:pt idx="66">
                  <c:v>1.0123550095007707</c:v>
                </c:pt>
                <c:pt idx="67">
                  <c:v>1.0803363382620452</c:v>
                </c:pt>
                <c:pt idx="68">
                  <c:v>1.036201172129967</c:v>
                </c:pt>
                <c:pt idx="69">
                  <c:v>1.156928240393894</c:v>
                </c:pt>
                <c:pt idx="70">
                  <c:v>1.1306008775302405</c:v>
                </c:pt>
                <c:pt idx="71">
                  <c:v>1.0216843778256983</c:v>
                </c:pt>
                <c:pt idx="72">
                  <c:v>0.7846179843680203</c:v>
                </c:pt>
                <c:pt idx="73">
                  <c:v>0.8647355494126985</c:v>
                </c:pt>
                <c:pt idx="74">
                  <c:v>0.9320602167421342</c:v>
                </c:pt>
                <c:pt idx="75">
                  <c:v>0.9419537421278673</c:v>
                </c:pt>
                <c:pt idx="76">
                  <c:v>0.9397650864534047</c:v>
                </c:pt>
                <c:pt idx="77">
                  <c:v>1.1097716097742958</c:v>
                </c:pt>
                <c:pt idx="78">
                  <c:v>1.049874160810617</c:v>
                </c:pt>
                <c:pt idx="79">
                  <c:v>0.9994854202401372</c:v>
                </c:pt>
                <c:pt idx="80">
                  <c:v>1.0399325830458743</c:v>
                </c:pt>
                <c:pt idx="81">
                  <c:v>1.0583865401925499</c:v>
                </c:pt>
                <c:pt idx="82">
                  <c:v>1.108684471339332</c:v>
                </c:pt>
                <c:pt idx="83">
                  <c:v>1.077787367772548</c:v>
                </c:pt>
                <c:pt idx="84">
                  <c:v>0.9864317136908164</c:v>
                </c:pt>
                <c:pt idx="85">
                  <c:v>1.0954966684082053</c:v>
                </c:pt>
                <c:pt idx="86">
                  <c:v>1.0801949772373867</c:v>
                </c:pt>
                <c:pt idx="87">
                  <c:v>1.0661175638265665</c:v>
                </c:pt>
                <c:pt idx="88">
                  <c:v>0.7956609799329594</c:v>
                </c:pt>
                <c:pt idx="89">
                  <c:v>0.7886730453651439</c:v>
                </c:pt>
                <c:pt idx="90">
                  <c:v>0.940574346014378</c:v>
                </c:pt>
                <c:pt idx="91">
                  <c:v>0.934359619222765</c:v>
                </c:pt>
                <c:pt idx="92">
                  <c:v>0.7605992209296504</c:v>
                </c:pt>
                <c:pt idx="93">
                  <c:v>0.8647036585005011</c:v>
                </c:pt>
                <c:pt idx="94">
                  <c:v>0.9008390897336936</c:v>
                </c:pt>
                <c:pt idx="95">
                  <c:v>0.9450004610187678</c:v>
                </c:pt>
                <c:pt idx="96">
                  <c:v>0.9310263820110536</c:v>
                </c:pt>
                <c:pt idx="97">
                  <c:v>1.0292105677713017</c:v>
                </c:pt>
                <c:pt idx="98">
                  <c:v>0.9988040168943951</c:v>
                </c:pt>
                <c:pt idx="99">
                  <c:v>1.0169293656028746</c:v>
                </c:pt>
                <c:pt idx="100">
                  <c:v>0.9940493195441817</c:v>
                </c:pt>
                <c:pt idx="101">
                  <c:v>0.911522033888378</c:v>
                </c:pt>
                <c:pt idx="102">
                  <c:v>0.9275728280569411</c:v>
                </c:pt>
                <c:pt idx="103">
                  <c:v>0.9176156660029654</c:v>
                </c:pt>
                <c:pt idx="104">
                  <c:v>0.8524313126491647</c:v>
                </c:pt>
              </c:numCache>
            </c:numRef>
          </c:xVal>
          <c:yVal>
            <c:numRef>
              <c:f>Sheet1!$B$2:$B$106</c:f>
              <c:numCache>
                <c:formatCode>General</c:formatCode>
                <c:ptCount val="105"/>
                <c:pt idx="0">
                  <c:v>0.21553090332805072</c:v>
                </c:pt>
                <c:pt idx="1">
                  <c:v>0.2835538752362949</c:v>
                </c:pt>
                <c:pt idx="2">
                  <c:v>0.2702205882352941</c:v>
                </c:pt>
                <c:pt idx="3">
                  <c:v>0.26118067978533094</c:v>
                </c:pt>
                <c:pt idx="4">
                  <c:v>0.25942350332594233</c:v>
                </c:pt>
                <c:pt idx="5">
                  <c:v>0.25630252100840334</c:v>
                </c:pt>
                <c:pt idx="6">
                  <c:v>0.2943396226415094</c:v>
                </c:pt>
                <c:pt idx="7">
                  <c:v>0.3188010899182561</c:v>
                </c:pt>
                <c:pt idx="8">
                  <c:v>0.28484848484848485</c:v>
                </c:pt>
                <c:pt idx="9">
                  <c:v>0.3023758099352052</c:v>
                </c:pt>
                <c:pt idx="10">
                  <c:v>0.30740037950664134</c:v>
                </c:pt>
                <c:pt idx="11">
                  <c:v>0.28112449799196787</c:v>
                </c:pt>
                <c:pt idx="12">
                  <c:v>0.2735229759299781</c:v>
                </c:pt>
                <c:pt idx="13">
                  <c:v>0.26595744680851063</c:v>
                </c:pt>
                <c:pt idx="14">
                  <c:v>0.2356687898089172</c:v>
                </c:pt>
                <c:pt idx="15">
                  <c:v>0.26433915211970077</c:v>
                </c:pt>
                <c:pt idx="16">
                  <c:v>0.22580645161290322</c:v>
                </c:pt>
                <c:pt idx="17">
                  <c:v>0.23921568627450981</c:v>
                </c:pt>
                <c:pt idx="18">
                  <c:v>0.18725099601593626</c:v>
                </c:pt>
                <c:pt idx="19">
                  <c:v>0.18442622950819673</c:v>
                </c:pt>
                <c:pt idx="20">
                  <c:v>0.1956521739130435</c:v>
                </c:pt>
                <c:pt idx="21">
                  <c:v>0.19875776397515527</c:v>
                </c:pt>
                <c:pt idx="22">
                  <c:v>0.2215909090909091</c:v>
                </c:pt>
                <c:pt idx="23">
                  <c:v>0.2641509433962264</c:v>
                </c:pt>
                <c:pt idx="24">
                  <c:v>0.34</c:v>
                </c:pt>
                <c:pt idx="25">
                  <c:v>0.3202247191011236</c:v>
                </c:pt>
                <c:pt idx="26">
                  <c:v>0.3333333333333333</c:v>
                </c:pt>
                <c:pt idx="27">
                  <c:v>0.30973451327433627</c:v>
                </c:pt>
                <c:pt idx="28">
                  <c:v>0.33587786259541985</c:v>
                </c:pt>
                <c:pt idx="29">
                  <c:v>0.33544303797468356</c:v>
                </c:pt>
                <c:pt idx="30">
                  <c:v>0.2966507177033493</c:v>
                </c:pt>
                <c:pt idx="31">
                  <c:v>0.33482142857142855</c:v>
                </c:pt>
                <c:pt idx="32">
                  <c:v>0.31981981981981983</c:v>
                </c:pt>
                <c:pt idx="33">
                  <c:v>0.3557951482479784</c:v>
                </c:pt>
                <c:pt idx="34">
                  <c:v>0.30656934306569344</c:v>
                </c:pt>
                <c:pt idx="35">
                  <c:v>0.3125</c:v>
                </c:pt>
                <c:pt idx="36">
                  <c:v>0.25287356321839083</c:v>
                </c:pt>
                <c:pt idx="37">
                  <c:v>0.2823529411764706</c:v>
                </c:pt>
                <c:pt idx="38">
                  <c:v>0.23921568627450981</c:v>
                </c:pt>
                <c:pt idx="39">
                  <c:v>0.24344569288389514</c:v>
                </c:pt>
                <c:pt idx="40">
                  <c:v>0.27335640138408307</c:v>
                </c:pt>
                <c:pt idx="41">
                  <c:v>0.26222222222222225</c:v>
                </c:pt>
                <c:pt idx="42">
                  <c:v>0.2785234899328859</c:v>
                </c:pt>
                <c:pt idx="43">
                  <c:v>0.275974025974026</c:v>
                </c:pt>
                <c:pt idx="44">
                  <c:v>0.2698961937716263</c:v>
                </c:pt>
                <c:pt idx="45">
                  <c:v>0.2655786350148368</c:v>
                </c:pt>
                <c:pt idx="46">
                  <c:v>0.2946859903381642</c:v>
                </c:pt>
                <c:pt idx="47">
                  <c:v>0.2961165048543689</c:v>
                </c:pt>
                <c:pt idx="48">
                  <c:v>0.29519918283963226</c:v>
                </c:pt>
                <c:pt idx="49">
                  <c:v>0.34842360549717055</c:v>
                </c:pt>
                <c:pt idx="50">
                  <c:v>0.33476394849785407</c:v>
                </c:pt>
                <c:pt idx="51">
                  <c:v>0.3342541436464088</c:v>
                </c:pt>
                <c:pt idx="52">
                  <c:v>0.3138401559454191</c:v>
                </c:pt>
                <c:pt idx="53">
                  <c:v>0.33240997229916897</c:v>
                </c:pt>
                <c:pt idx="54">
                  <c:v>0.2796934865900383</c:v>
                </c:pt>
                <c:pt idx="55">
                  <c:v>0.31135531135531136</c:v>
                </c:pt>
                <c:pt idx="56">
                  <c:v>0.299625468164794</c:v>
                </c:pt>
                <c:pt idx="57">
                  <c:v>0.31955922865013775</c:v>
                </c:pt>
                <c:pt idx="58">
                  <c:v>0.3498168498168498</c:v>
                </c:pt>
                <c:pt idx="59">
                  <c:v>0.3582251082251082</c:v>
                </c:pt>
                <c:pt idx="60">
                  <c:v>0.37731958762886597</c:v>
                </c:pt>
                <c:pt idx="61">
                  <c:v>0.30113636363636365</c:v>
                </c:pt>
                <c:pt idx="62">
                  <c:v>0.2756132756132756</c:v>
                </c:pt>
                <c:pt idx="63">
                  <c:v>0.22801788375558868</c:v>
                </c:pt>
                <c:pt idx="64">
                  <c:v>0.21818181818181817</c:v>
                </c:pt>
                <c:pt idx="65">
                  <c:v>0.21888412017167383</c:v>
                </c:pt>
                <c:pt idx="66">
                  <c:v>0.23702031602708803</c:v>
                </c:pt>
                <c:pt idx="67">
                  <c:v>0.22972972972972974</c:v>
                </c:pt>
                <c:pt idx="68">
                  <c:v>0.2</c:v>
                </c:pt>
                <c:pt idx="69">
                  <c:v>0.1691542288557214</c:v>
                </c:pt>
                <c:pt idx="70">
                  <c:v>0.15546218487394958</c:v>
                </c:pt>
                <c:pt idx="71">
                  <c:v>0.1717171717171717</c:v>
                </c:pt>
                <c:pt idx="72">
                  <c:v>0.25133689839572193</c:v>
                </c:pt>
                <c:pt idx="73">
                  <c:v>0.233502538071066</c:v>
                </c:pt>
                <c:pt idx="74">
                  <c:v>0.21171171171171171</c:v>
                </c:pt>
                <c:pt idx="75">
                  <c:v>0.19801980198019803</c:v>
                </c:pt>
                <c:pt idx="76">
                  <c:v>0.21393034825870647</c:v>
                </c:pt>
                <c:pt idx="77">
                  <c:v>0.20588235294117646</c:v>
                </c:pt>
                <c:pt idx="78">
                  <c:v>0.22093023255813954</c:v>
                </c:pt>
                <c:pt idx="79">
                  <c:v>0.21621621621621623</c:v>
                </c:pt>
                <c:pt idx="80">
                  <c:v>0.1925133689839572</c:v>
                </c:pt>
                <c:pt idx="81">
                  <c:v>0.17567567567567569</c:v>
                </c:pt>
                <c:pt idx="82">
                  <c:v>0.18181818181818182</c:v>
                </c:pt>
                <c:pt idx="83">
                  <c:v>0.20155038759689922</c:v>
                </c:pt>
                <c:pt idx="84">
                  <c:v>0.20270270270270271</c:v>
                </c:pt>
                <c:pt idx="85">
                  <c:v>0.18994413407821228</c:v>
                </c:pt>
                <c:pt idx="86">
                  <c:v>0.20446096654275092</c:v>
                </c:pt>
                <c:pt idx="87">
                  <c:v>0.2231404958677686</c:v>
                </c:pt>
                <c:pt idx="88">
                  <c:v>0.22900763358778625</c:v>
                </c:pt>
                <c:pt idx="89">
                  <c:v>0.2558139534883721</c:v>
                </c:pt>
                <c:pt idx="90">
                  <c:v>0.23880597014925373</c:v>
                </c:pt>
                <c:pt idx="91">
                  <c:v>0.2191780821917808</c:v>
                </c:pt>
                <c:pt idx="92">
                  <c:v>0.27692307692307694</c:v>
                </c:pt>
                <c:pt idx="93">
                  <c:v>0.2383177570093458</c:v>
                </c:pt>
                <c:pt idx="94">
                  <c:v>0.23626373626373626</c:v>
                </c:pt>
                <c:pt idx="95">
                  <c:v>0.2302158273381295</c:v>
                </c:pt>
                <c:pt idx="96">
                  <c:v>0.22753346080305928</c:v>
                </c:pt>
                <c:pt idx="97">
                  <c:v>0.24735449735449735</c:v>
                </c:pt>
                <c:pt idx="98">
                  <c:v>0.25184275184275184</c:v>
                </c:pt>
                <c:pt idx="99">
                  <c:v>0.2566287878787879</c:v>
                </c:pt>
                <c:pt idx="100">
                  <c:v>0.257372654155496</c:v>
                </c:pt>
                <c:pt idx="101">
                  <c:v>0.26916524701873934</c:v>
                </c:pt>
                <c:pt idx="102">
                  <c:v>0.26582278481012656</c:v>
                </c:pt>
                <c:pt idx="103">
                  <c:v>0.24434389140271492</c:v>
                </c:pt>
                <c:pt idx="104">
                  <c:v>0.271812080536912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3643156396816</c:v>
                </c:pt>
                <c:pt idx="1">
                  <c:v>0.6920019968882472</c:v>
                </c:pt>
                <c:pt idx="2">
                  <c:v>0.6420624412030758</c:v>
                </c:pt>
                <c:pt idx="3">
                  <c:v>0.6215481678558565</c:v>
                </c:pt>
                <c:pt idx="4">
                  <c:v>0.6212587664895223</c:v>
                </c:pt>
                <c:pt idx="5">
                  <c:v>0.6724073879669065</c:v>
                </c:pt>
                <c:pt idx="6">
                  <c:v>0.7797433112868116</c:v>
                </c:pt>
                <c:pt idx="7">
                  <c:v>0.8441774348830132</c:v>
                </c:pt>
                <c:pt idx="8">
                  <c:v>0.9053716586875927</c:v>
                </c:pt>
                <c:pt idx="9">
                  <c:v>0.8547542520919265</c:v>
                </c:pt>
                <c:pt idx="10">
                  <c:v>0.9094291035947092</c:v>
                </c:pt>
                <c:pt idx="11">
                  <c:v>0.734286024607451</c:v>
                </c:pt>
                <c:pt idx="12">
                  <c:v>0.6251753541197983</c:v>
                </c:pt>
                <c:pt idx="13">
                  <c:v>0.6379887592746236</c:v>
                </c:pt>
                <c:pt idx="14">
                  <c:v>0.6610450948933111</c:v>
                </c:pt>
                <c:pt idx="15">
                  <c:v>0.6670034059539398</c:v>
                </c:pt>
                <c:pt idx="16">
                  <c:v>0.6449806553296238</c:v>
                </c:pt>
                <c:pt idx="17">
                  <c:v>0.7033756461594936</c:v>
                </c:pt>
                <c:pt idx="18">
                  <c:v>0.9868395558070391</c:v>
                </c:pt>
                <c:pt idx="19">
                  <c:v>0.9209250602409639</c:v>
                </c:pt>
                <c:pt idx="20">
                  <c:v>0.6517057522354791</c:v>
                </c:pt>
                <c:pt idx="21">
                  <c:v>0.7971978226396548</c:v>
                </c:pt>
                <c:pt idx="22">
                  <c:v>0.6427966263404954</c:v>
                </c:pt>
                <c:pt idx="23">
                  <c:v>0.7201776790273792</c:v>
                </c:pt>
                <c:pt idx="24">
                  <c:v>0.6625553394108149</c:v>
                </c:pt>
                <c:pt idx="25">
                  <c:v>0.7083144373591375</c:v>
                </c:pt>
                <c:pt idx="26">
                  <c:v>0.7522448477820639</c:v>
                </c:pt>
                <c:pt idx="27">
                  <c:v>0.7867651120399182</c:v>
                </c:pt>
                <c:pt idx="28">
                  <c:v>0.885097479223469</c:v>
                </c:pt>
                <c:pt idx="29">
                  <c:v>0.7808095176697658</c:v>
                </c:pt>
                <c:pt idx="30">
                  <c:v>0.7906144779393096</c:v>
                </c:pt>
                <c:pt idx="31">
                  <c:v>0.9126915648762828</c:v>
                </c:pt>
                <c:pt idx="32">
                  <c:v>0.8298872856073611</c:v>
                </c:pt>
                <c:pt idx="33">
                  <c:v>0.7836900062976327</c:v>
                </c:pt>
                <c:pt idx="34">
                  <c:v>0.9396807702493208</c:v>
                </c:pt>
                <c:pt idx="35">
                  <c:v>0.7990650842780905</c:v>
                </c:pt>
                <c:pt idx="36">
                  <c:v>0.7676660982848685</c:v>
                </c:pt>
                <c:pt idx="37">
                  <c:v>0.647426422837672</c:v>
                </c:pt>
                <c:pt idx="38">
                  <c:v>0.6430368286074949</c:v>
                </c:pt>
                <c:pt idx="39">
                  <c:v>0.8638252436778273</c:v>
                </c:pt>
                <c:pt idx="40">
                  <c:v>0.8505805486272616</c:v>
                </c:pt>
                <c:pt idx="41">
                  <c:v>0.7705164948884442</c:v>
                </c:pt>
                <c:pt idx="42">
                  <c:v>0.9783316358079334</c:v>
                </c:pt>
                <c:pt idx="43">
                  <c:v>0.9242944896550683</c:v>
                </c:pt>
                <c:pt idx="44">
                  <c:v>1.084286033519553</c:v>
                </c:pt>
                <c:pt idx="45">
                  <c:v>1.0312491637323018</c:v>
                </c:pt>
                <c:pt idx="46">
                  <c:v>0.9526954397757244</c:v>
                </c:pt>
                <c:pt idx="47">
                  <c:v>0.9899375550391724</c:v>
                </c:pt>
                <c:pt idx="48">
                  <c:v>1.047194346877399</c:v>
                </c:pt>
                <c:pt idx="49">
                  <c:v>1.111073632576876</c:v>
                </c:pt>
                <c:pt idx="50">
                  <c:v>0.9460571149220632</c:v>
                </c:pt>
                <c:pt idx="51">
                  <c:v>0.9886637661458076</c:v>
                </c:pt>
              </c:numCache>
            </c:numRef>
          </c:xVal>
          <c:yVal>
            <c:numRef>
              <c:f>Sheet1!$B$109:$B$160</c:f>
              <c:numCache>
                <c:formatCode>General</c:formatCode>
                <c:ptCount val="52"/>
                <c:pt idx="0">
                  <c:v>0.27002967359050445</c:v>
                </c:pt>
                <c:pt idx="1">
                  <c:v>0.3160621761658031</c:v>
                </c:pt>
                <c:pt idx="2">
                  <c:v>0.38074398249452956</c:v>
                </c:pt>
                <c:pt idx="3">
                  <c:v>0.3758241758241758</c:v>
                </c:pt>
                <c:pt idx="4">
                  <c:v>0.35799522673031026</c:v>
                </c:pt>
                <c:pt idx="5">
                  <c:v>0.3744186046511628</c:v>
                </c:pt>
                <c:pt idx="6">
                  <c:v>0.2680221811460259</c:v>
                </c:pt>
                <c:pt idx="7">
                  <c:v>0.3197424892703863</c:v>
                </c:pt>
                <c:pt idx="8">
                  <c:v>0.2918149466192171</c:v>
                </c:pt>
                <c:pt idx="9">
                  <c:v>0.29180327868852457</c:v>
                </c:pt>
                <c:pt idx="10">
                  <c:v>0.26426426426426425</c:v>
                </c:pt>
                <c:pt idx="11">
                  <c:v>0.3601694915254237</c:v>
                </c:pt>
                <c:pt idx="12">
                  <c:v>0.3764367816091954</c:v>
                </c:pt>
                <c:pt idx="13">
                  <c:v>0.3871951219512195</c:v>
                </c:pt>
                <c:pt idx="14">
                  <c:v>0.35294117647058826</c:v>
                </c:pt>
                <c:pt idx="15">
                  <c:v>0.3862815884476534</c:v>
                </c:pt>
                <c:pt idx="16">
                  <c:v>0.34934497816593885</c:v>
                </c:pt>
                <c:pt idx="17">
                  <c:v>0.3347107438016529</c:v>
                </c:pt>
                <c:pt idx="18">
                  <c:v>0.2226027397260274</c:v>
                </c:pt>
                <c:pt idx="19">
                  <c:v>0.2648401826484018</c:v>
                </c:pt>
                <c:pt idx="20">
                  <c:v>0.30201342281879195</c:v>
                </c:pt>
                <c:pt idx="21">
                  <c:v>0.20161290322580644</c:v>
                </c:pt>
                <c:pt idx="22">
                  <c:v>0.2912621359223301</c:v>
                </c:pt>
                <c:pt idx="23">
                  <c:v>0.272</c:v>
                </c:pt>
                <c:pt idx="24">
                  <c:v>0.34057971014492755</c:v>
                </c:pt>
                <c:pt idx="25">
                  <c:v>0.29365079365079366</c:v>
                </c:pt>
                <c:pt idx="26">
                  <c:v>0.2967741935483871</c:v>
                </c:pt>
                <c:pt idx="27">
                  <c:v>0.2639593908629442</c:v>
                </c:pt>
                <c:pt idx="28">
                  <c:v>0.29017857142857145</c:v>
                </c:pt>
                <c:pt idx="29">
                  <c:v>0.2974683544303797</c:v>
                </c:pt>
                <c:pt idx="30">
                  <c:v>0.2804878048780488</c:v>
                </c:pt>
                <c:pt idx="31">
                  <c:v>0.25766871165644173</c:v>
                </c:pt>
                <c:pt idx="32">
                  <c:v>0.30092592592592593</c:v>
                </c:pt>
                <c:pt idx="33">
                  <c:v>0.35125448028673834</c:v>
                </c:pt>
                <c:pt idx="34">
                  <c:v>0.29337539432176657</c:v>
                </c:pt>
                <c:pt idx="35">
                  <c:v>0.28342245989304815</c:v>
                </c:pt>
                <c:pt idx="36">
                  <c:v>0.31092436974789917</c:v>
                </c:pt>
                <c:pt idx="37">
                  <c:v>0.3197278911564626</c:v>
                </c:pt>
                <c:pt idx="38">
                  <c:v>0.2925170068027211</c:v>
                </c:pt>
                <c:pt idx="39">
                  <c:v>0.2931937172774869</c:v>
                </c:pt>
                <c:pt idx="40">
                  <c:v>0.26627218934911245</c:v>
                </c:pt>
                <c:pt idx="41">
                  <c:v>0.27624309392265195</c:v>
                </c:pt>
                <c:pt idx="42">
                  <c:v>0.19594594594594594</c:v>
                </c:pt>
                <c:pt idx="43">
                  <c:v>0.2364341085271318</c:v>
                </c:pt>
                <c:pt idx="44">
                  <c:v>0.20424403183023873</c:v>
                </c:pt>
                <c:pt idx="45">
                  <c:v>0.20481927710843373</c:v>
                </c:pt>
                <c:pt idx="46">
                  <c:v>0.2327790973871734</c:v>
                </c:pt>
                <c:pt idx="47">
                  <c:v>0.23627684964200477</c:v>
                </c:pt>
                <c:pt idx="48">
                  <c:v>0.2287145242070117</c:v>
                </c:pt>
                <c:pt idx="49">
                  <c:v>0.22492836676217765</c:v>
                </c:pt>
                <c:pt idx="50">
                  <c:v>0.2660996354799514</c:v>
                </c:pt>
                <c:pt idx="51">
                  <c:v>0.26328502415458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933657623666225</c:v>
                </c:pt>
              </c:numCache>
            </c:numRef>
          </c:xVal>
          <c:yVal>
            <c:numRef>
              <c:f>Sheet1!$B$163:$B$164</c:f>
              <c:numCache>
                <c:formatCode>General</c:formatCode>
                <c:ptCount val="2"/>
                <c:pt idx="0">
                  <c:v>0.32726815762744305</c:v>
                </c:pt>
                <c:pt idx="1">
                  <c:v>0.327268157627443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933657623666225</c:v>
                </c:pt>
                <c:pt idx="1">
                  <c:v>0.6933657623666225</c:v>
                </c:pt>
              </c:numCache>
            </c:numRef>
          </c:xVal>
          <c:yVal>
            <c:numRef>
              <c:f>Sheet1!$B$167:$B$168</c:f>
              <c:numCache>
                <c:formatCode>General</c:formatCode>
                <c:ptCount val="2"/>
                <c:pt idx="0">
                  <c:v>0.327268157627443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899885380318955</c:v>
                </c:pt>
              </c:numCache>
            </c:numRef>
          </c:xVal>
          <c:yVal>
            <c:numRef>
              <c:f>Sheet1!$B$171:$B$172</c:f>
              <c:numCache>
                <c:formatCode>General</c:formatCode>
                <c:ptCount val="2"/>
                <c:pt idx="0">
                  <c:v>0.3282948284991239</c:v>
                </c:pt>
                <c:pt idx="1">
                  <c:v>0.328294828499123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899885380318955</c:v>
                </c:pt>
                <c:pt idx="1">
                  <c:v>0.6899885380318955</c:v>
                </c:pt>
              </c:numCache>
            </c:numRef>
          </c:xVal>
          <c:yVal>
            <c:numRef>
              <c:f>Sheet1!$B$175:$B$176</c:f>
              <c:numCache>
                <c:formatCode>General</c:formatCode>
                <c:ptCount val="2"/>
                <c:pt idx="0">
                  <c:v>0.328294828499123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780965379335269</c:v>
                </c:pt>
              </c:numCache>
            </c:numRef>
          </c:xVal>
          <c:yVal>
            <c:numRef>
              <c:f>Sheet1!$B$179:$B$180</c:f>
              <c:numCache>
                <c:formatCode>General</c:formatCode>
                <c:ptCount val="2"/>
                <c:pt idx="0">
                  <c:v>0.2407104508918392</c:v>
                </c:pt>
                <c:pt idx="1">
                  <c:v>0.2407104508918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780965379335269</c:v>
                </c:pt>
                <c:pt idx="1">
                  <c:v>0.9780965379335269</c:v>
                </c:pt>
              </c:numCache>
            </c:numRef>
          </c:xVal>
          <c:yVal>
            <c:numRef>
              <c:f>Sheet1!$B$183:$B$184</c:f>
              <c:numCache>
                <c:formatCode>General</c:formatCode>
                <c:ptCount val="2"/>
                <c:pt idx="0">
                  <c:v>0.2407104508918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3643156396816</c:v>
                </c:pt>
                <c:pt idx="1">
                  <c:v>0.6920019968882472</c:v>
                </c:pt>
                <c:pt idx="2">
                  <c:v>0.6420624412030758</c:v>
                </c:pt>
                <c:pt idx="3">
                  <c:v>0.6215481678558565</c:v>
                </c:pt>
                <c:pt idx="4">
                  <c:v>0.6212587664895223</c:v>
                </c:pt>
                <c:pt idx="5">
                  <c:v>0.6724073879669065</c:v>
                </c:pt>
                <c:pt idx="6">
                  <c:v>0.7797433112868116</c:v>
                </c:pt>
                <c:pt idx="7">
                  <c:v>0.8441774348830132</c:v>
                </c:pt>
                <c:pt idx="8">
                  <c:v>0.9053716586875927</c:v>
                </c:pt>
                <c:pt idx="9">
                  <c:v>0.8547542520919265</c:v>
                </c:pt>
                <c:pt idx="10">
                  <c:v>0.9094291035947092</c:v>
                </c:pt>
                <c:pt idx="11">
                  <c:v>0.734286024607451</c:v>
                </c:pt>
                <c:pt idx="12">
                  <c:v>0.6251753541197983</c:v>
                </c:pt>
                <c:pt idx="13">
                  <c:v>0.6379887592746236</c:v>
                </c:pt>
                <c:pt idx="14">
                  <c:v>0.6610450948933111</c:v>
                </c:pt>
                <c:pt idx="15">
                  <c:v>0.6670034059539398</c:v>
                </c:pt>
                <c:pt idx="16">
                  <c:v>0.6449806553296238</c:v>
                </c:pt>
                <c:pt idx="17">
                  <c:v>0.7033756461594936</c:v>
                </c:pt>
                <c:pt idx="18">
                  <c:v>0.9868395558070391</c:v>
                </c:pt>
                <c:pt idx="19">
                  <c:v>0.9209250602409639</c:v>
                </c:pt>
                <c:pt idx="20">
                  <c:v>0.6517057522354791</c:v>
                </c:pt>
                <c:pt idx="21">
                  <c:v>0.7971978226396548</c:v>
                </c:pt>
                <c:pt idx="22">
                  <c:v>0.6427966263404954</c:v>
                </c:pt>
                <c:pt idx="23">
                  <c:v>0.7201776790273792</c:v>
                </c:pt>
                <c:pt idx="24">
                  <c:v>0.6625553394108149</c:v>
                </c:pt>
                <c:pt idx="25">
                  <c:v>0.7083144373591375</c:v>
                </c:pt>
                <c:pt idx="26">
                  <c:v>0.7522448477820639</c:v>
                </c:pt>
                <c:pt idx="27">
                  <c:v>0.7867651120399182</c:v>
                </c:pt>
                <c:pt idx="28">
                  <c:v>0.885097479223469</c:v>
                </c:pt>
                <c:pt idx="29">
                  <c:v>0.7808095176697658</c:v>
                </c:pt>
                <c:pt idx="30">
                  <c:v>0.7906144779393096</c:v>
                </c:pt>
                <c:pt idx="31">
                  <c:v>0.9126915648762828</c:v>
                </c:pt>
                <c:pt idx="32">
                  <c:v>0.8298872856073611</c:v>
                </c:pt>
                <c:pt idx="33">
                  <c:v>0.7836900062976327</c:v>
                </c:pt>
                <c:pt idx="34">
                  <c:v>0.9396807702493208</c:v>
                </c:pt>
                <c:pt idx="35">
                  <c:v>0.7990650842780905</c:v>
                </c:pt>
                <c:pt idx="36">
                  <c:v>0.7676660982848685</c:v>
                </c:pt>
                <c:pt idx="37">
                  <c:v>0.647426422837672</c:v>
                </c:pt>
                <c:pt idx="38">
                  <c:v>0.6430368286074949</c:v>
                </c:pt>
                <c:pt idx="39">
                  <c:v>0.8638252436778273</c:v>
                </c:pt>
                <c:pt idx="40">
                  <c:v>0.8505805486272616</c:v>
                </c:pt>
                <c:pt idx="41">
                  <c:v>0.7705164948884442</c:v>
                </c:pt>
                <c:pt idx="42">
                  <c:v>0.9783316358079334</c:v>
                </c:pt>
                <c:pt idx="43">
                  <c:v>0.9242944896550683</c:v>
                </c:pt>
                <c:pt idx="44">
                  <c:v>1.084286033519553</c:v>
                </c:pt>
                <c:pt idx="45">
                  <c:v>1.0312491637323018</c:v>
                </c:pt>
                <c:pt idx="46">
                  <c:v>0.9526954397757244</c:v>
                </c:pt>
                <c:pt idx="47">
                  <c:v>0.9899375550391724</c:v>
                </c:pt>
                <c:pt idx="48">
                  <c:v>1.047194346877399</c:v>
                </c:pt>
                <c:pt idx="49">
                  <c:v>1.111073632576876</c:v>
                </c:pt>
                <c:pt idx="50">
                  <c:v>0.9460571149220632</c:v>
                </c:pt>
                <c:pt idx="51">
                  <c:v>0.9886637661458076</c:v>
                </c:pt>
                <c:pt idx="52">
                  <c:v>0.6899885380318955</c:v>
                </c:pt>
                <c:pt idx="53">
                  <c:v>0.6933657623666225</c:v>
                </c:pt>
                <c:pt idx="54">
                  <c:v>0.9780965379335269</c:v>
                </c:pt>
              </c:numCache>
            </c:numRef>
          </c:xVal>
          <c:yVal>
            <c:numRef>
              <c:f>Sheet1!$B$187:$B$241</c:f>
              <c:numCache>
                <c:formatCode>General</c:formatCode>
                <c:ptCount val="55"/>
                <c:pt idx="0">
                  <c:v>0.28766403529717355</c:v>
                </c:pt>
                <c:pt idx="1">
                  <c:v>0.3276827401821329</c:v>
                </c:pt>
                <c:pt idx="2">
                  <c:v>0.34286428635288646</c:v>
                </c:pt>
                <c:pt idx="3">
                  <c:v>0.3491005930982575</c:v>
                </c:pt>
                <c:pt idx="4">
                  <c:v>0.3491885706572206</c:v>
                </c:pt>
                <c:pt idx="5">
                  <c:v>0.33363947039240033</c:v>
                </c:pt>
                <c:pt idx="6">
                  <c:v>0.3010095189780456</c:v>
                </c:pt>
                <c:pt idx="7">
                  <c:v>0.2814216470211024</c:v>
                </c:pt>
                <c:pt idx="8">
                  <c:v>0.2628186994913048</c:v>
                </c:pt>
                <c:pt idx="9">
                  <c:v>0.2782063112698391</c:v>
                </c:pt>
                <c:pt idx="10">
                  <c:v>0.2615852426383643</c:v>
                </c:pt>
                <c:pt idx="11">
                  <c:v>0.3148284624398276</c:v>
                </c:pt>
                <c:pt idx="12">
                  <c:v>0.3479979341942996</c:v>
                </c:pt>
                <c:pt idx="13">
                  <c:v>0.3441026792347063</c:v>
                </c:pt>
                <c:pt idx="14">
                  <c:v>0.33709358956778657</c:v>
                </c:pt>
                <c:pt idx="15">
                  <c:v>0.3352822724019532</c:v>
                </c:pt>
                <c:pt idx="16">
                  <c:v>0.34197715386060656</c:v>
                </c:pt>
                <c:pt idx="17">
                  <c:v>0.32422516874057006</c:v>
                </c:pt>
                <c:pt idx="18">
                  <c:v>0.23805258724653122</c:v>
                </c:pt>
                <c:pt idx="19">
                  <c:v>0.25809048994768474</c:v>
                </c:pt>
                <c:pt idx="20">
                  <c:v>0.3399327350070894</c:v>
                </c:pt>
                <c:pt idx="21">
                  <c:v>0.2957033750535451</c:v>
                </c:pt>
                <c:pt idx="22">
                  <c:v>0.34264109522896286</c:v>
                </c:pt>
                <c:pt idx="23">
                  <c:v>0.3191173772465007</c:v>
                </c:pt>
                <c:pt idx="24">
                  <c:v>0.3366344776162075</c:v>
                </c:pt>
                <c:pt idx="25">
                  <c:v>0.32272378400463486</c:v>
                </c:pt>
                <c:pt idx="26">
                  <c:v>0.30936900851683763</c:v>
                </c:pt>
                <c:pt idx="27">
                  <c:v>0.2988749026228831</c:v>
                </c:pt>
                <c:pt idx="28">
                  <c:v>0.2689820180748566</c:v>
                </c:pt>
                <c:pt idx="29">
                  <c:v>0.3006853939190961</c:v>
                </c:pt>
                <c:pt idx="30">
                  <c:v>0.2977047014601385</c:v>
                </c:pt>
                <c:pt idx="31">
                  <c:v>0.2605934595538542</c:v>
                </c:pt>
                <c:pt idx="32">
                  <c:v>0.28576582986451704</c:v>
                </c:pt>
                <c:pt idx="33">
                  <c:v>0.2998097299189201</c:v>
                </c:pt>
                <c:pt idx="34">
                  <c:v>0.2523887836839727</c:v>
                </c:pt>
                <c:pt idx="35">
                  <c:v>0.2951357304602391</c:v>
                </c:pt>
                <c:pt idx="36">
                  <c:v>0.30468097268418</c:v>
                </c:pt>
                <c:pt idx="37">
                  <c:v>0.3412336443952753</c:v>
                </c:pt>
                <c:pt idx="38">
                  <c:v>0.34256807411860773</c:v>
                </c:pt>
                <c:pt idx="39">
                  <c:v>0.2754487441331983</c:v>
                </c:pt>
                <c:pt idx="40">
                  <c:v>0.2794751105409279</c:v>
                </c:pt>
                <c:pt idx="41">
                  <c:v>0.3038144566119316</c:v>
                </c:pt>
                <c:pt idx="42">
                  <c:v>0.24063898150878243</c:v>
                </c:pt>
                <c:pt idx="43">
                  <c:v>0.2570661887195801</c:v>
                </c:pt>
                <c:pt idx="44">
                  <c:v>0.20842901170060157</c:v>
                </c:pt>
                <c:pt idx="45">
                  <c:v>0.22455213647374572</c:v>
                </c:pt>
                <c:pt idx="46">
                  <c:v>0.24843234467282505</c:v>
                </c:pt>
                <c:pt idx="47">
                  <c:v>0.23711080036568488</c:v>
                </c:pt>
                <c:pt idx="48">
                  <c:v>0.2197048259441029</c:v>
                </c:pt>
                <c:pt idx="49">
                  <c:v>0.20028562383275283</c:v>
                </c:pt>
                <c:pt idx="50">
                  <c:v>0.25045038495931965</c:v>
                </c:pt>
                <c:pt idx="51">
                  <c:v>0.23749803018042975</c:v>
                </c:pt>
                <c:pt idx="52">
                  <c:v>0.3282948284991239</c:v>
                </c:pt>
                <c:pt idx="53">
                  <c:v>0.327268157627443</c:v>
                </c:pt>
                <c:pt idx="54">
                  <c:v>0.240710450891839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46341463414634"/>
          <c:min val="0.124369747899159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0.0696</c:v>
                </c:pt>
                <c:pt idx="1">
                  <c:v>859.8069</c:v>
                </c:pt>
                <c:pt idx="2">
                  <c:v>925.7645</c:v>
                </c:pt>
                <c:pt idx="3">
                  <c:v>930.7893</c:v>
                </c:pt>
                <c:pt idx="4">
                  <c:v>931.3722</c:v>
                </c:pt>
                <c:pt idx="5">
                  <c:v>928.553</c:v>
                </c:pt>
                <c:pt idx="6">
                  <c:v>900.8883</c:v>
                </c:pt>
                <c:pt idx="7">
                  <c:v>899.741</c:v>
                </c:pt>
                <c:pt idx="8">
                  <c:v>897.0613</c:v>
                </c:pt>
                <c:pt idx="9">
                  <c:v>886.9226</c:v>
                </c:pt>
                <c:pt idx="10">
                  <c:v>865.7064</c:v>
                </c:pt>
                <c:pt idx="11">
                  <c:v>913.5114</c:v>
                </c:pt>
                <c:pt idx="12">
                  <c:v>935.3991</c:v>
                </c:pt>
                <c:pt idx="13">
                  <c:v>924.1545</c:v>
                </c:pt>
                <c:pt idx="14">
                  <c:v>923.2303</c:v>
                </c:pt>
                <c:pt idx="15">
                  <c:v>923.4829</c:v>
                </c:pt>
                <c:pt idx="16">
                  <c:v>952.3755</c:v>
                </c:pt>
                <c:pt idx="17">
                  <c:v>914.8498</c:v>
                </c:pt>
                <c:pt idx="18">
                  <c:v>996.4236</c:v>
                </c:pt>
                <c:pt idx="19">
                  <c:v>1002.047</c:v>
                </c:pt>
                <c:pt idx="20">
                  <c:v>1033.3333</c:v>
                </c:pt>
                <c:pt idx="21">
                  <c:v>1048.4012</c:v>
                </c:pt>
                <c:pt idx="22">
                  <c:v>1021.1122</c:v>
                </c:pt>
                <c:pt idx="23">
                  <c:v>1004.0341</c:v>
                </c:pt>
                <c:pt idx="24">
                  <c:v>1030.3717</c:v>
                </c:pt>
                <c:pt idx="25">
                  <c:v>1022.3571</c:v>
                </c:pt>
                <c:pt idx="26">
                  <c:v>1048.7394</c:v>
                </c:pt>
                <c:pt idx="27">
                  <c:v>1052.9082</c:v>
                </c:pt>
                <c:pt idx="28">
                  <c:v>1043.6867</c:v>
                </c:pt>
                <c:pt idx="29">
                  <c:v>1007.8232</c:v>
                </c:pt>
                <c:pt idx="30">
                  <c:v>1022.259</c:v>
                </c:pt>
                <c:pt idx="31">
                  <c:v>1010.2599</c:v>
                </c:pt>
                <c:pt idx="32">
                  <c:v>994.1678</c:v>
                </c:pt>
                <c:pt idx="33">
                  <c:v>869.0896</c:v>
                </c:pt>
                <c:pt idx="34">
                  <c:v>942.8663</c:v>
                </c:pt>
                <c:pt idx="35">
                  <c:v>992.3623</c:v>
                </c:pt>
                <c:pt idx="36">
                  <c:v>1067.8085</c:v>
                </c:pt>
                <c:pt idx="37">
                  <c:v>1064.0773</c:v>
                </c:pt>
                <c:pt idx="38">
                  <c:v>1129.0485</c:v>
                </c:pt>
                <c:pt idx="39">
                  <c:v>1150.2519</c:v>
                </c:pt>
                <c:pt idx="40">
                  <c:v>1123.1225</c:v>
                </c:pt>
                <c:pt idx="41">
                  <c:v>1147.0139</c:v>
                </c:pt>
                <c:pt idx="42">
                  <c:v>1190.7227</c:v>
                </c:pt>
                <c:pt idx="43">
                  <c:v>1178.163</c:v>
                </c:pt>
                <c:pt idx="44">
                  <c:v>1145.8186</c:v>
                </c:pt>
                <c:pt idx="45">
                  <c:v>1117.9771</c:v>
                </c:pt>
                <c:pt idx="46">
                  <c:v>1074.0537</c:v>
                </c:pt>
                <c:pt idx="47">
                  <c:v>1057.1414</c:v>
                </c:pt>
                <c:pt idx="48">
                  <c:v>1056.3118</c:v>
                </c:pt>
                <c:pt idx="49">
                  <c:v>1016.2031</c:v>
                </c:pt>
                <c:pt idx="50">
                  <c:v>1010.0967</c:v>
                </c:pt>
                <c:pt idx="51">
                  <c:v>1040.5853</c:v>
                </c:pt>
                <c:pt idx="52">
                  <c:v>1057.0203</c:v>
                </c:pt>
                <c:pt idx="53">
                  <c:v>1141.4374</c:v>
                </c:pt>
                <c:pt idx="54">
                  <c:v>1114.3482</c:v>
                </c:pt>
                <c:pt idx="55">
                  <c:v>1128.9265</c:v>
                </c:pt>
                <c:pt idx="56">
                  <c:v>1141.7049</c:v>
                </c:pt>
                <c:pt idx="57">
                  <c:v>1127.689</c:v>
                </c:pt>
                <c:pt idx="58">
                  <c:v>1075.567</c:v>
                </c:pt>
                <c:pt idx="59">
                  <c:v>1107.4127</c:v>
                </c:pt>
                <c:pt idx="60">
                  <c:v>1121.3892</c:v>
                </c:pt>
                <c:pt idx="61">
                  <c:v>1122.9051</c:v>
                </c:pt>
                <c:pt idx="62">
                  <c:v>1079.5253</c:v>
                </c:pt>
                <c:pt idx="63">
                  <c:v>1103.8502</c:v>
                </c:pt>
                <c:pt idx="64">
                  <c:v>1088.7362</c:v>
                </c:pt>
                <c:pt idx="65">
                  <c:v>1104.5604</c:v>
                </c:pt>
                <c:pt idx="66">
                  <c:v>1087.7435</c:v>
                </c:pt>
                <c:pt idx="67">
                  <c:v>1098.1415</c:v>
                </c:pt>
                <c:pt idx="68">
                  <c:v>1127.7118</c:v>
                </c:pt>
                <c:pt idx="69">
                  <c:v>1153.4951</c:v>
                </c:pt>
                <c:pt idx="70">
                  <c:v>1171.2381</c:v>
                </c:pt>
                <c:pt idx="71">
                  <c:v>1215.4</c:v>
                </c:pt>
                <c:pt idx="72">
                  <c:v>1316.0231</c:v>
                </c:pt>
                <c:pt idx="73">
                  <c:v>1292.3559</c:v>
                </c:pt>
                <c:pt idx="74">
                  <c:v>1272.0677</c:v>
                </c:pt>
                <c:pt idx="75">
                  <c:v>1214.7003</c:v>
                </c:pt>
                <c:pt idx="76">
                  <c:v>1230.5754</c:v>
                </c:pt>
                <c:pt idx="77">
                  <c:v>1283.7423</c:v>
                </c:pt>
                <c:pt idx="78">
                  <c:v>1270.6589</c:v>
                </c:pt>
                <c:pt idx="79">
                  <c:v>1297.9045</c:v>
                </c:pt>
                <c:pt idx="80">
                  <c:v>1288.9775</c:v>
                </c:pt>
                <c:pt idx="81">
                  <c:v>1274.2994</c:v>
                </c:pt>
                <c:pt idx="82">
                  <c:v>1278.8408</c:v>
                </c:pt>
                <c:pt idx="83">
                  <c:v>1221.0163</c:v>
                </c:pt>
                <c:pt idx="84">
                  <c:v>1239.3623</c:v>
                </c:pt>
                <c:pt idx="85">
                  <c:v>1236.3529</c:v>
                </c:pt>
                <c:pt idx="86">
                  <c:v>1187.64</c:v>
                </c:pt>
                <c:pt idx="87">
                  <c:v>1188.6714</c:v>
                </c:pt>
                <c:pt idx="88">
                  <c:v>1256.9609</c:v>
                </c:pt>
                <c:pt idx="89">
                  <c:v>1239.1125</c:v>
                </c:pt>
                <c:pt idx="90">
                  <c:v>1322.9416</c:v>
                </c:pt>
                <c:pt idx="91">
                  <c:v>1287.2205</c:v>
                </c:pt>
                <c:pt idx="92">
                  <c:v>1264.7718</c:v>
                </c:pt>
                <c:pt idx="93">
                  <c:v>1293.3584</c:v>
                </c:pt>
                <c:pt idx="94">
                  <c:v>1245.2483</c:v>
                </c:pt>
                <c:pt idx="95">
                  <c:v>1164.2675</c:v>
                </c:pt>
                <c:pt idx="96">
                  <c:v>1239.5473</c:v>
                </c:pt>
                <c:pt idx="97">
                  <c:v>1204.439</c:v>
                </c:pt>
                <c:pt idx="98">
                  <c:v>1144.6735</c:v>
                </c:pt>
                <c:pt idx="99">
                  <c:v>1114.4115</c:v>
                </c:pt>
                <c:pt idx="100">
                  <c:v>1102.2328</c:v>
                </c:pt>
                <c:pt idx="101">
                  <c:v>1142.0401</c:v>
                </c:pt>
                <c:pt idx="102">
                  <c:v>1139.9768</c:v>
                </c:pt>
                <c:pt idx="103">
                  <c:v>1112.3646</c:v>
                </c:pt>
                <c:pt idx="104">
                  <c:v>1178.6246</c:v>
                </c:pt>
              </c:numCache>
            </c:numRef>
          </c:xVal>
          <c:yVal>
            <c:numRef>
              <c:f>Sheet1!$B$2:$B$106</c:f>
              <c:numCache>
                <c:formatCode>General</c:formatCode>
                <c:ptCount val="105"/>
                <c:pt idx="0">
                  <c:v>0.2629685157421289</c:v>
                </c:pt>
                <c:pt idx="1">
                  <c:v>0.249730118747751</c:v>
                </c:pt>
                <c:pt idx="2">
                  <c:v>0.24983096686950643</c:v>
                </c:pt>
                <c:pt idx="3">
                  <c:v>0.2524344569288389</c:v>
                </c:pt>
                <c:pt idx="4">
                  <c:v>0.2606466876971609</c:v>
                </c:pt>
                <c:pt idx="5">
                  <c:v>0.2700253715114172</c:v>
                </c:pt>
                <c:pt idx="6">
                  <c:v>0.2716049382716049</c:v>
                </c:pt>
                <c:pt idx="7">
                  <c:v>0.2949070887818307</c:v>
                </c:pt>
                <c:pt idx="8">
                  <c:v>0.27568602425015953</c:v>
                </c:pt>
                <c:pt idx="9">
                  <c:v>0.267364657814096</c:v>
                </c:pt>
                <c:pt idx="10">
                  <c:v>0.28165374677002586</c:v>
                </c:pt>
                <c:pt idx="11">
                  <c:v>0.255891322428611</c:v>
                </c:pt>
                <c:pt idx="12">
                  <c:v>0.25069098949695967</c:v>
                </c:pt>
                <c:pt idx="13">
                  <c:v>0.24028061970184156</c:v>
                </c:pt>
                <c:pt idx="14">
                  <c:v>0.22753579043557723</c:v>
                </c:pt>
                <c:pt idx="15">
                  <c:v>0.22026590010779734</c:v>
                </c:pt>
                <c:pt idx="16">
                  <c:v>0.2023047375160051</c:v>
                </c:pt>
                <c:pt idx="17">
                  <c:v>0.21162579473206175</c:v>
                </c:pt>
                <c:pt idx="18">
                  <c:v>0.18263607737291948</c:v>
                </c:pt>
                <c:pt idx="19">
                  <c:v>0.20189873417721518</c:v>
                </c:pt>
                <c:pt idx="20">
                  <c:v>0.18741126360624705</c:v>
                </c:pt>
                <c:pt idx="21">
                  <c:v>0.1867435158501441</c:v>
                </c:pt>
                <c:pt idx="22">
                  <c:v>0.2192454893384363</c:v>
                </c:pt>
                <c:pt idx="23">
                  <c:v>0.24433849821215733</c:v>
                </c:pt>
                <c:pt idx="24">
                  <c:v>0.24692954104718812</c:v>
                </c:pt>
                <c:pt idx="25">
                  <c:v>0.2334954829742877</c:v>
                </c:pt>
                <c:pt idx="26">
                  <c:v>0.2490566037735849</c:v>
                </c:pt>
                <c:pt idx="27">
                  <c:v>0.23557692307692307</c:v>
                </c:pt>
                <c:pt idx="28">
                  <c:v>0.29251101321585904</c:v>
                </c:pt>
                <c:pt idx="29">
                  <c:v>0.27710843373493976</c:v>
                </c:pt>
                <c:pt idx="30">
                  <c:v>0.27601809954751133</c:v>
                </c:pt>
                <c:pt idx="31">
                  <c:v>0.2884250474383302</c:v>
                </c:pt>
                <c:pt idx="32">
                  <c:v>0.28166351606805295</c:v>
                </c:pt>
                <c:pt idx="33">
                  <c:v>0.29924559932942163</c:v>
                </c:pt>
                <c:pt idx="34">
                  <c:v>0.28101945003353457</c:v>
                </c:pt>
                <c:pt idx="35">
                  <c:v>0.2772675086107922</c:v>
                </c:pt>
                <c:pt idx="36">
                  <c:v>0.26610049539985847</c:v>
                </c:pt>
                <c:pt idx="37">
                  <c:v>0.26137184115523465</c:v>
                </c:pt>
                <c:pt idx="38">
                  <c:v>0.266839378238342</c:v>
                </c:pt>
                <c:pt idx="39">
                  <c:v>0.25357483317445184</c:v>
                </c:pt>
                <c:pt idx="40">
                  <c:v>0.2541636495293266</c:v>
                </c:pt>
                <c:pt idx="41">
                  <c:v>0.26083815028901736</c:v>
                </c:pt>
                <c:pt idx="42">
                  <c:v>0.25427350427350426</c:v>
                </c:pt>
                <c:pt idx="43">
                  <c:v>0.25367904695164684</c:v>
                </c:pt>
                <c:pt idx="44">
                  <c:v>0.24076147816349383</c:v>
                </c:pt>
                <c:pt idx="45">
                  <c:v>0.24623493975903615</c:v>
                </c:pt>
                <c:pt idx="46">
                  <c:v>0.25053821313240043</c:v>
                </c:pt>
                <c:pt idx="47">
                  <c:v>0.2569945197577156</c:v>
                </c:pt>
                <c:pt idx="48">
                  <c:v>0.24988804299149125</c:v>
                </c:pt>
                <c:pt idx="49">
                  <c:v>0.2274495502066618</c:v>
                </c:pt>
                <c:pt idx="50">
                  <c:v>0.24701298701298702</c:v>
                </c:pt>
                <c:pt idx="51">
                  <c:v>0.2261647639617402</c:v>
                </c:pt>
                <c:pt idx="52">
                  <c:v>0.2217220033764772</c:v>
                </c:pt>
                <c:pt idx="53">
                  <c:v>0.22016616314199397</c:v>
                </c:pt>
                <c:pt idx="54">
                  <c:v>0.21341463414634146</c:v>
                </c:pt>
                <c:pt idx="55">
                  <c:v>0.20705009276437847</c:v>
                </c:pt>
                <c:pt idx="56">
                  <c:v>0.21353979114151964</c:v>
                </c:pt>
                <c:pt idx="57">
                  <c:v>0.21178509532062392</c:v>
                </c:pt>
                <c:pt idx="58">
                  <c:v>0.24503764544832307</c:v>
                </c:pt>
                <c:pt idx="59">
                  <c:v>0.22790565501562943</c:v>
                </c:pt>
                <c:pt idx="60">
                  <c:v>0.2190082644628099</c:v>
                </c:pt>
                <c:pt idx="61">
                  <c:v>0.22129489124936774</c:v>
                </c:pt>
                <c:pt idx="62">
                  <c:v>0.23839962121212122</c:v>
                </c:pt>
                <c:pt idx="63">
                  <c:v>0.22557194782980544</c:v>
                </c:pt>
                <c:pt idx="64">
                  <c:v>0.22763544729105417</c:v>
                </c:pt>
                <c:pt idx="65">
                  <c:v>0.2084487534626039</c:v>
                </c:pt>
                <c:pt idx="66">
                  <c:v>0.2179245283018868</c:v>
                </c:pt>
                <c:pt idx="67">
                  <c:v>0.21453590192644484</c:v>
                </c:pt>
                <c:pt idx="68">
                  <c:v>0.1948737278552582</c:v>
                </c:pt>
                <c:pt idx="69">
                  <c:v>0.1996124031007752</c:v>
                </c:pt>
                <c:pt idx="70">
                  <c:v>0.19958677685950413</c:v>
                </c:pt>
                <c:pt idx="71">
                  <c:v>0.19941634241245138</c:v>
                </c:pt>
                <c:pt idx="72">
                  <c:v>0.1773825809393525</c:v>
                </c:pt>
                <c:pt idx="73">
                  <c:v>0.19093851132686085</c:v>
                </c:pt>
                <c:pt idx="74">
                  <c:v>0.1953204476093591</c:v>
                </c:pt>
                <c:pt idx="75">
                  <c:v>0.2158403869407497</c:v>
                </c:pt>
                <c:pt idx="76">
                  <c:v>0.23302107728337237</c:v>
                </c:pt>
                <c:pt idx="77">
                  <c:v>0.18813314037626627</c:v>
                </c:pt>
                <c:pt idx="78">
                  <c:v>0.22230483271375465</c:v>
                </c:pt>
                <c:pt idx="79">
                  <c:v>0.20402858999350226</c:v>
                </c:pt>
                <c:pt idx="80">
                  <c:v>0.18922749822820695</c:v>
                </c:pt>
                <c:pt idx="81">
                  <c:v>0.20848056537102475</c:v>
                </c:pt>
                <c:pt idx="82">
                  <c:v>0.21893939393939393</c:v>
                </c:pt>
                <c:pt idx="83">
                  <c:v>0.21012006861063465</c:v>
                </c:pt>
                <c:pt idx="84">
                  <c:v>0.2268835616438356</c:v>
                </c:pt>
                <c:pt idx="85">
                  <c:v>0.22351121423047177</c:v>
                </c:pt>
                <c:pt idx="86">
                  <c:v>0.24177949709864605</c:v>
                </c:pt>
                <c:pt idx="87">
                  <c:v>0.2463851937536148</c:v>
                </c:pt>
                <c:pt idx="88">
                  <c:v>0.22864117168429618</c:v>
                </c:pt>
                <c:pt idx="89">
                  <c:v>0.2747349823321555</c:v>
                </c:pt>
                <c:pt idx="90">
                  <c:v>0.2563876651982379</c:v>
                </c:pt>
                <c:pt idx="91">
                  <c:v>0.23345588235294118</c:v>
                </c:pt>
                <c:pt idx="92">
                  <c:v>0.24008651766402306</c:v>
                </c:pt>
                <c:pt idx="93">
                  <c:v>0.2198581560283688</c:v>
                </c:pt>
                <c:pt idx="94">
                  <c:v>0.2359375</c:v>
                </c:pt>
                <c:pt idx="95">
                  <c:v>0.25906183368869934</c:v>
                </c:pt>
                <c:pt idx="96">
                  <c:v>0.22141119221411193</c:v>
                </c:pt>
                <c:pt idx="97">
                  <c:v>0.23490524460114587</c:v>
                </c:pt>
                <c:pt idx="98">
                  <c:v>0.23943661971830985</c:v>
                </c:pt>
                <c:pt idx="99">
                  <c:v>0.2415506958250497</c:v>
                </c:pt>
                <c:pt idx="100">
                  <c:v>0.23354958294717332</c:v>
                </c:pt>
                <c:pt idx="101">
                  <c:v>0.24292897548711503</c:v>
                </c:pt>
                <c:pt idx="102">
                  <c:v>0.22341696535244923</c:v>
                </c:pt>
                <c:pt idx="103">
                  <c:v>0.2237017310252996</c:v>
                </c:pt>
                <c:pt idx="104">
                  <c:v>0.2151898734177215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8.5151</c:v>
                </c:pt>
                <c:pt idx="1">
                  <c:v>1224.6235</c:v>
                </c:pt>
                <c:pt idx="2">
                  <c:v>1238.2682</c:v>
                </c:pt>
                <c:pt idx="3">
                  <c:v>1188.4669</c:v>
                </c:pt>
                <c:pt idx="4">
                  <c:v>1242.5293</c:v>
                </c:pt>
                <c:pt idx="5">
                  <c:v>1243.6255</c:v>
                </c:pt>
                <c:pt idx="6">
                  <c:v>1172.8398</c:v>
                </c:pt>
                <c:pt idx="7">
                  <c:v>1172.7804</c:v>
                </c:pt>
                <c:pt idx="8">
                  <c:v>1194.6295</c:v>
                </c:pt>
                <c:pt idx="9">
                  <c:v>1153.2228</c:v>
                </c:pt>
                <c:pt idx="10">
                  <c:v>1179.2478</c:v>
                </c:pt>
                <c:pt idx="11">
                  <c:v>1094.3555</c:v>
                </c:pt>
                <c:pt idx="12">
                  <c:v>1122.18</c:v>
                </c:pt>
                <c:pt idx="13">
                  <c:v>1161.1806</c:v>
                </c:pt>
                <c:pt idx="14">
                  <c:v>1134.3953</c:v>
                </c:pt>
                <c:pt idx="15">
                  <c:v>1150.5655</c:v>
                </c:pt>
                <c:pt idx="16">
                  <c:v>1190.777</c:v>
                </c:pt>
                <c:pt idx="17">
                  <c:v>1110.4075</c:v>
                </c:pt>
                <c:pt idx="18">
                  <c:v>1200.9458</c:v>
                </c:pt>
                <c:pt idx="19">
                  <c:v>1273.2621</c:v>
                </c:pt>
                <c:pt idx="20">
                  <c:v>1266.2163</c:v>
                </c:pt>
                <c:pt idx="21">
                  <c:v>1216.9395</c:v>
                </c:pt>
                <c:pt idx="22">
                  <c:v>1249.3611</c:v>
                </c:pt>
                <c:pt idx="23">
                  <c:v>1247.7837</c:v>
                </c:pt>
                <c:pt idx="24">
                  <c:v>1282.2</c:v>
                </c:pt>
                <c:pt idx="25">
                  <c:v>1261.3161</c:v>
                </c:pt>
                <c:pt idx="26">
                  <c:v>1216.5799</c:v>
                </c:pt>
                <c:pt idx="27">
                  <c:v>1260.6534</c:v>
                </c:pt>
                <c:pt idx="28">
                  <c:v>1319.9571</c:v>
                </c:pt>
                <c:pt idx="29">
                  <c:v>1339.8922</c:v>
                </c:pt>
                <c:pt idx="30">
                  <c:v>1315.3903</c:v>
                </c:pt>
                <c:pt idx="31">
                  <c:v>1291.8389</c:v>
                </c:pt>
                <c:pt idx="32">
                  <c:v>1295.8908</c:v>
                </c:pt>
                <c:pt idx="33">
                  <c:v>1304.7256</c:v>
                </c:pt>
                <c:pt idx="34">
                  <c:v>1316.6084</c:v>
                </c:pt>
                <c:pt idx="35">
                  <c:v>1360.0722</c:v>
                </c:pt>
                <c:pt idx="36">
                  <c:v>1349.5709</c:v>
                </c:pt>
                <c:pt idx="37">
                  <c:v>1301.9843</c:v>
                </c:pt>
                <c:pt idx="38">
                  <c:v>1245.5282</c:v>
                </c:pt>
                <c:pt idx="39">
                  <c:v>1306.0407</c:v>
                </c:pt>
                <c:pt idx="40">
                  <c:v>1331.2471</c:v>
                </c:pt>
                <c:pt idx="41">
                  <c:v>1398.033</c:v>
                </c:pt>
                <c:pt idx="42">
                  <c:v>1370.0412</c:v>
                </c:pt>
                <c:pt idx="43">
                  <c:v>1359.9263</c:v>
                </c:pt>
                <c:pt idx="44">
                  <c:v>1284.8712</c:v>
                </c:pt>
                <c:pt idx="45">
                  <c:v>1244.5181</c:v>
                </c:pt>
                <c:pt idx="46">
                  <c:v>1206.6279</c:v>
                </c:pt>
                <c:pt idx="47">
                  <c:v>1187.4553</c:v>
                </c:pt>
                <c:pt idx="48">
                  <c:v>1188.8271</c:v>
                </c:pt>
                <c:pt idx="49">
                  <c:v>1202.0161</c:v>
                </c:pt>
                <c:pt idx="50">
                  <c:v>1177.0797</c:v>
                </c:pt>
                <c:pt idx="51">
                  <c:v>1127.4009</c:v>
                </c:pt>
              </c:numCache>
            </c:numRef>
          </c:xVal>
          <c:yVal>
            <c:numRef>
              <c:f>Sheet1!$B$109:$B$160</c:f>
              <c:numCache>
                <c:formatCode>General</c:formatCode>
                <c:ptCount val="52"/>
                <c:pt idx="0">
                  <c:v>0.2172803499817718</c:v>
                </c:pt>
                <c:pt idx="1">
                  <c:v>0.21637931034482757</c:v>
                </c:pt>
                <c:pt idx="2">
                  <c:v>0.23109243697478993</c:v>
                </c:pt>
                <c:pt idx="3">
                  <c:v>0.24747650539505744</c:v>
                </c:pt>
                <c:pt idx="4">
                  <c:v>0.23210892970234326</c:v>
                </c:pt>
                <c:pt idx="5">
                  <c:v>0.22362869198312235</c:v>
                </c:pt>
                <c:pt idx="6">
                  <c:v>0.2250283768444949</c:v>
                </c:pt>
                <c:pt idx="7">
                  <c:v>0.23110865968008826</c:v>
                </c:pt>
                <c:pt idx="8">
                  <c:v>0.22423435419440746</c:v>
                </c:pt>
                <c:pt idx="9">
                  <c:v>0.2311815427639245</c:v>
                </c:pt>
                <c:pt idx="10">
                  <c:v>0.22986198243412798</c:v>
                </c:pt>
                <c:pt idx="11">
                  <c:v>0.22415600754875237</c:v>
                </c:pt>
                <c:pt idx="12">
                  <c:v>0.22284812978819288</c:v>
                </c:pt>
                <c:pt idx="13">
                  <c:v>0.2266526757607555</c:v>
                </c:pt>
                <c:pt idx="14">
                  <c:v>0.2294837361981498</c:v>
                </c:pt>
                <c:pt idx="15">
                  <c:v>0.21933085501858737</c:v>
                </c:pt>
                <c:pt idx="16">
                  <c:v>0.2164119066773934</c:v>
                </c:pt>
                <c:pt idx="17">
                  <c:v>0.24419114423498467</c:v>
                </c:pt>
                <c:pt idx="18">
                  <c:v>0.2171945701357466</c:v>
                </c:pt>
                <c:pt idx="19">
                  <c:v>0.2202914798206278</c:v>
                </c:pt>
                <c:pt idx="20">
                  <c:v>0.22608079376328843</c:v>
                </c:pt>
                <c:pt idx="21">
                  <c:v>0.22980132450331126</c:v>
                </c:pt>
                <c:pt idx="22">
                  <c:v>0.2177858439201452</c:v>
                </c:pt>
                <c:pt idx="23">
                  <c:v>0.2371756185878093</c:v>
                </c:pt>
                <c:pt idx="24">
                  <c:v>0.2236024844720497</c:v>
                </c:pt>
                <c:pt idx="25">
                  <c:v>0.234955185659411</c:v>
                </c:pt>
                <c:pt idx="26">
                  <c:v>0.25571725571725573</c:v>
                </c:pt>
                <c:pt idx="27">
                  <c:v>0.25709779179810727</c:v>
                </c:pt>
                <c:pt idx="28">
                  <c:v>0.21604938271604937</c:v>
                </c:pt>
                <c:pt idx="29">
                  <c:v>0.22835314091680814</c:v>
                </c:pt>
                <c:pt idx="30">
                  <c:v>0.2357581069237511</c:v>
                </c:pt>
                <c:pt idx="31">
                  <c:v>0.22025052192066805</c:v>
                </c:pt>
                <c:pt idx="32">
                  <c:v>0.21262766945218198</c:v>
                </c:pt>
                <c:pt idx="33">
                  <c:v>0.21289456010745467</c:v>
                </c:pt>
                <c:pt idx="34">
                  <c:v>0.25464788732394367</c:v>
                </c:pt>
                <c:pt idx="35">
                  <c:v>0.23731048121292023</c:v>
                </c:pt>
                <c:pt idx="36">
                  <c:v>0.2427536231884058</c:v>
                </c:pt>
                <c:pt idx="37">
                  <c:v>0.24495677233429394</c:v>
                </c:pt>
                <c:pt idx="38">
                  <c:v>0.27413479052823314</c:v>
                </c:pt>
                <c:pt idx="39">
                  <c:v>0.23210070810385522</c:v>
                </c:pt>
                <c:pt idx="40">
                  <c:v>0.23239917976760083</c:v>
                </c:pt>
                <c:pt idx="41">
                  <c:v>0.23617021276595745</c:v>
                </c:pt>
                <c:pt idx="42">
                  <c:v>0.21464646464646464</c:v>
                </c:pt>
                <c:pt idx="43">
                  <c:v>0.20994475138121546</c:v>
                </c:pt>
                <c:pt idx="44">
                  <c:v>0.2212290502793296</c:v>
                </c:pt>
                <c:pt idx="45">
                  <c:v>0.24556737588652483</c:v>
                </c:pt>
                <c:pt idx="46">
                  <c:v>0.2510572856593618</c:v>
                </c:pt>
                <c:pt idx="47">
                  <c:v>0.24812298891669646</c:v>
                </c:pt>
                <c:pt idx="48">
                  <c:v>0.2443280977312391</c:v>
                </c:pt>
                <c:pt idx="49">
                  <c:v>0.230578307272276</c:v>
                </c:pt>
                <c:pt idx="50">
                  <c:v>0.20980046948356806</c:v>
                </c:pt>
                <c:pt idx="51">
                  <c:v>0.228496388706500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830.977786150917</c:v>
                </c:pt>
              </c:numCache>
            </c:numRef>
          </c:xVal>
          <c:yVal>
            <c:numRef>
              <c:f>Sheet1!$B$163:$B$164</c:f>
              <c:numCache>
                <c:formatCode>General</c:formatCode>
                <c:ptCount val="2"/>
                <c:pt idx="0">
                  <c:v>0.26531490764448873</c:v>
                </c:pt>
                <c:pt idx="1">
                  <c:v>0.2653149076444887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830.977786150917</c:v>
                </c:pt>
                <c:pt idx="1">
                  <c:v>-11830.977786150917</c:v>
                </c:pt>
              </c:numCache>
            </c:numRef>
          </c:xVal>
          <c:yVal>
            <c:numRef>
              <c:f>Sheet1!$B$167:$B$168</c:f>
              <c:numCache>
                <c:formatCode>General</c:formatCode>
                <c:ptCount val="2"/>
                <c:pt idx="0">
                  <c:v>0.265314907644488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12.126483602945</c:v>
                </c:pt>
              </c:numCache>
            </c:numRef>
          </c:xVal>
          <c:yVal>
            <c:numRef>
              <c:f>Sheet1!$B$171:$B$172</c:f>
              <c:numCache>
                <c:formatCode>General</c:formatCode>
                <c:ptCount val="2"/>
                <c:pt idx="0">
                  <c:v>0.23772259112852764</c:v>
                </c:pt>
                <c:pt idx="1">
                  <c:v>0.237722591128527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12.126483602945</c:v>
                </c:pt>
                <c:pt idx="1">
                  <c:v>-1412.126483602945</c:v>
                </c:pt>
              </c:numCache>
            </c:numRef>
          </c:xVal>
          <c:yVal>
            <c:numRef>
              <c:f>Sheet1!$B$175:$B$176</c:f>
              <c:numCache>
                <c:formatCode>General</c:formatCode>
                <c:ptCount val="2"/>
                <c:pt idx="0">
                  <c:v>0.237722591128527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4.4584919411234</c:v>
                </c:pt>
              </c:numCache>
            </c:numRef>
          </c:xVal>
          <c:yVal>
            <c:numRef>
              <c:f>Sheet1!$B$179:$B$180</c:f>
              <c:numCache>
                <c:formatCode>General</c:formatCode>
                <c:ptCount val="2"/>
                <c:pt idx="0">
                  <c:v>0.23111086773850686</c:v>
                </c:pt>
                <c:pt idx="1">
                  <c:v>0.231110867738506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4.4584919411234</c:v>
                </c:pt>
                <c:pt idx="1">
                  <c:v>1084.4584919411234</c:v>
                </c:pt>
              </c:numCache>
            </c:numRef>
          </c:xVal>
          <c:yVal>
            <c:numRef>
              <c:f>Sheet1!$B$183:$B$184</c:f>
              <c:numCache>
                <c:formatCode>General</c:formatCode>
                <c:ptCount val="2"/>
                <c:pt idx="0">
                  <c:v>0.23111086773850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8.5151</c:v>
                </c:pt>
                <c:pt idx="1">
                  <c:v>1224.6235</c:v>
                </c:pt>
                <c:pt idx="2">
                  <c:v>1238.2682</c:v>
                </c:pt>
                <c:pt idx="3">
                  <c:v>1188.4669</c:v>
                </c:pt>
                <c:pt idx="4">
                  <c:v>1242.5293</c:v>
                </c:pt>
                <c:pt idx="5">
                  <c:v>1243.6255</c:v>
                </c:pt>
                <c:pt idx="6">
                  <c:v>1172.8398</c:v>
                </c:pt>
                <c:pt idx="7">
                  <c:v>1172.7804</c:v>
                </c:pt>
                <c:pt idx="8">
                  <c:v>1194.6295</c:v>
                </c:pt>
                <c:pt idx="9">
                  <c:v>1153.2228</c:v>
                </c:pt>
                <c:pt idx="10">
                  <c:v>1179.2478</c:v>
                </c:pt>
                <c:pt idx="11">
                  <c:v>1094.3555</c:v>
                </c:pt>
                <c:pt idx="12">
                  <c:v>1122.18</c:v>
                </c:pt>
                <c:pt idx="13">
                  <c:v>1161.1806</c:v>
                </c:pt>
                <c:pt idx="14">
                  <c:v>1134.3953</c:v>
                </c:pt>
                <c:pt idx="15">
                  <c:v>1150.5655</c:v>
                </c:pt>
                <c:pt idx="16">
                  <c:v>1190.777</c:v>
                </c:pt>
                <c:pt idx="17">
                  <c:v>1110.4075</c:v>
                </c:pt>
                <c:pt idx="18">
                  <c:v>1200.9458</c:v>
                </c:pt>
                <c:pt idx="19">
                  <c:v>1273.2621</c:v>
                </c:pt>
                <c:pt idx="20">
                  <c:v>1266.2163</c:v>
                </c:pt>
                <c:pt idx="21">
                  <c:v>1216.9395</c:v>
                </c:pt>
                <c:pt idx="22">
                  <c:v>1249.3611</c:v>
                </c:pt>
                <c:pt idx="23">
                  <c:v>1247.7837</c:v>
                </c:pt>
                <c:pt idx="24">
                  <c:v>1282.2</c:v>
                </c:pt>
                <c:pt idx="25">
                  <c:v>1261.3161</c:v>
                </c:pt>
                <c:pt idx="26">
                  <c:v>1216.5799</c:v>
                </c:pt>
                <c:pt idx="27">
                  <c:v>1260.6534</c:v>
                </c:pt>
                <c:pt idx="28">
                  <c:v>1319.9571</c:v>
                </c:pt>
                <c:pt idx="29">
                  <c:v>1339.8922</c:v>
                </c:pt>
                <c:pt idx="30">
                  <c:v>1315.3903</c:v>
                </c:pt>
                <c:pt idx="31">
                  <c:v>1291.8389</c:v>
                </c:pt>
                <c:pt idx="32">
                  <c:v>1295.8908</c:v>
                </c:pt>
                <c:pt idx="33">
                  <c:v>1304.7256</c:v>
                </c:pt>
                <c:pt idx="34">
                  <c:v>1316.6084</c:v>
                </c:pt>
                <c:pt idx="35">
                  <c:v>1360.0722</c:v>
                </c:pt>
                <c:pt idx="36">
                  <c:v>1349.5709</c:v>
                </c:pt>
                <c:pt idx="37">
                  <c:v>1301.9843</c:v>
                </c:pt>
                <c:pt idx="38">
                  <c:v>1245.5282</c:v>
                </c:pt>
                <c:pt idx="39">
                  <c:v>1306.0407</c:v>
                </c:pt>
                <c:pt idx="40">
                  <c:v>1331.2471</c:v>
                </c:pt>
                <c:pt idx="41">
                  <c:v>1398.033</c:v>
                </c:pt>
                <c:pt idx="42">
                  <c:v>1370.0412</c:v>
                </c:pt>
                <c:pt idx="43">
                  <c:v>1359.9263</c:v>
                </c:pt>
                <c:pt idx="44">
                  <c:v>1284.8712</c:v>
                </c:pt>
                <c:pt idx="45">
                  <c:v>1244.5181</c:v>
                </c:pt>
                <c:pt idx="46">
                  <c:v>1206.6279</c:v>
                </c:pt>
                <c:pt idx="47">
                  <c:v>1187.4553</c:v>
                </c:pt>
                <c:pt idx="48">
                  <c:v>1188.8271</c:v>
                </c:pt>
                <c:pt idx="49">
                  <c:v>1202.0161</c:v>
                </c:pt>
                <c:pt idx="50">
                  <c:v>1177.0797</c:v>
                </c:pt>
                <c:pt idx="51">
                  <c:v>1127.4009</c:v>
                </c:pt>
                <c:pt idx="52">
                  <c:v>-1412.126483602945</c:v>
                </c:pt>
                <c:pt idx="53">
                  <c:v>-11830.977786150917</c:v>
                </c:pt>
                <c:pt idx="54">
                  <c:v>1084.4584919411234</c:v>
                </c:pt>
              </c:numCache>
            </c:numRef>
          </c:xVal>
          <c:yVal>
            <c:numRef>
              <c:f>Sheet1!$B$187:$B$241</c:f>
              <c:numCache>
                <c:formatCode>General</c:formatCode>
                <c:ptCount val="55"/>
                <c:pt idx="0">
                  <c:v>0.2307823277588049</c:v>
                </c:pt>
                <c:pt idx="1">
                  <c:v>0.23073966777082167</c:v>
                </c:pt>
                <c:pt idx="2">
                  <c:v>0.23070353241671854</c:v>
                </c:pt>
                <c:pt idx="3">
                  <c:v>0.2308354215465855</c:v>
                </c:pt>
                <c:pt idx="4">
                  <c:v>0.23069224771589192</c:v>
                </c:pt>
                <c:pt idx="5">
                  <c:v>0.23068934464179225</c:v>
                </c:pt>
                <c:pt idx="6">
                  <c:v>0.23087680690442444</c:v>
                </c:pt>
                <c:pt idx="7">
                  <c:v>0.2308769642138584</c:v>
                </c:pt>
                <c:pt idx="8">
                  <c:v>0.2308191010900569</c:v>
                </c:pt>
                <c:pt idx="9">
                  <c:v>0.23092875874223992</c:v>
                </c:pt>
                <c:pt idx="10">
                  <c:v>0.2308598365533656</c:v>
                </c:pt>
                <c:pt idx="11">
                  <c:v>0.23108465742308998</c:v>
                </c:pt>
                <c:pt idx="12">
                  <c:v>0.23101096960582448</c:v>
                </c:pt>
                <c:pt idx="13">
                  <c:v>0.23090768404504014</c:v>
                </c:pt>
                <c:pt idx="14">
                  <c:v>0.2309786197417032</c:v>
                </c:pt>
                <c:pt idx="15">
                  <c:v>0.23093579608834927</c:v>
                </c:pt>
                <c:pt idx="16">
                  <c:v>0.23082930369265586</c:v>
                </c:pt>
                <c:pt idx="17">
                  <c:v>0.23104214679961982</c:v>
                </c:pt>
                <c:pt idx="18">
                  <c:v>0.2308023735887471</c:v>
                </c:pt>
                <c:pt idx="19">
                  <c:v>0.23061085782746782</c:v>
                </c:pt>
                <c:pt idx="20">
                  <c:v>0.23062951726871167</c:v>
                </c:pt>
                <c:pt idx="21">
                  <c:v>0.23076001736157326</c:v>
                </c:pt>
                <c:pt idx="22">
                  <c:v>0.2306741550123395</c:v>
                </c:pt>
                <c:pt idx="23">
                  <c:v>0.2306783324517528</c:v>
                </c:pt>
                <c:pt idx="24">
                  <c:v>0.2305871875246075</c:v>
                </c:pt>
                <c:pt idx="25">
                  <c:v>0.2306424945025223</c:v>
                </c:pt>
                <c:pt idx="26">
                  <c:v>0.2307609696927594</c:v>
                </c:pt>
                <c:pt idx="27">
                  <c:v>0.23064424953555082</c:v>
                </c:pt>
                <c:pt idx="28">
                  <c:v>0.2304871951335394</c:v>
                </c:pt>
                <c:pt idx="29">
                  <c:v>0.230434400869277</c:v>
                </c:pt>
                <c:pt idx="30">
                  <c:v>0.2304992894218065</c:v>
                </c:pt>
                <c:pt idx="31">
                  <c:v>0.23056166075856174</c:v>
                </c:pt>
                <c:pt idx="32">
                  <c:v>0.2305509300835531</c:v>
                </c:pt>
                <c:pt idx="33">
                  <c:v>0.2305275328211413</c:v>
                </c:pt>
                <c:pt idx="34">
                  <c:v>0.23049606351908727</c:v>
                </c:pt>
                <c:pt idx="35">
                  <c:v>0.23038095803463784</c:v>
                </c:pt>
                <c:pt idx="36">
                  <c:v>0.23040876870061386</c:v>
                </c:pt>
                <c:pt idx="37">
                  <c:v>0.23053479262503607</c:v>
                </c:pt>
                <c:pt idx="38">
                  <c:v>0.2306843057081219</c:v>
                </c:pt>
                <c:pt idx="39">
                  <c:v>0.23052405003264606</c:v>
                </c:pt>
                <c:pt idx="40">
                  <c:v>0.23045729574785673</c:v>
                </c:pt>
                <c:pt idx="41">
                  <c:v>0.2302804261834401</c:v>
                </c:pt>
                <c:pt idx="42">
                  <c:v>0.23035455706246152</c:v>
                </c:pt>
                <c:pt idx="43">
                  <c:v>0.23038134442262465</c:v>
                </c:pt>
                <c:pt idx="44">
                  <c:v>0.23058011336703127</c:v>
                </c:pt>
                <c:pt idx="45">
                  <c:v>0.23068698076299152</c:v>
                </c:pt>
                <c:pt idx="46">
                  <c:v>0.23078732564371723</c:v>
                </c:pt>
                <c:pt idx="47">
                  <c:v>0.23083810057391557</c:v>
                </c:pt>
                <c:pt idx="48">
                  <c:v>0.23083446762641519</c:v>
                </c:pt>
                <c:pt idx="49">
                  <c:v>0.23079953910579795</c:v>
                </c:pt>
                <c:pt idx="50">
                  <c:v>0.23086557834770557</c:v>
                </c:pt>
                <c:pt idx="51">
                  <c:v>0.2309971430599688</c:v>
                </c:pt>
                <c:pt idx="52">
                  <c:v>0.23772259112852764</c:v>
                </c:pt>
                <c:pt idx="53">
                  <c:v>0.26531490764448873</c:v>
                </c:pt>
                <c:pt idx="54">
                  <c:v>0.231110867738506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909471919530594"/>
          <c:min val="0.141906064751482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4632</c:v>
                </c:pt>
                <c:pt idx="1">
                  <c:v>1050.1333</c:v>
                </c:pt>
                <c:pt idx="2">
                  <c:v>1172.8707</c:v>
                </c:pt>
                <c:pt idx="3">
                  <c:v>1153.7123</c:v>
                </c:pt>
                <c:pt idx="4">
                  <c:v>1163.5556</c:v>
                </c:pt>
                <c:pt idx="5">
                  <c:v>1141.3033</c:v>
                </c:pt>
                <c:pt idx="6">
                  <c:v>1019.8846</c:v>
                </c:pt>
                <c:pt idx="7">
                  <c:v>1026.4701</c:v>
                </c:pt>
                <c:pt idx="8">
                  <c:v>1112.0</c:v>
                </c:pt>
                <c:pt idx="9">
                  <c:v>1078.15</c:v>
                </c:pt>
                <c:pt idx="10">
                  <c:v>1054.284</c:v>
                </c:pt>
                <c:pt idx="11">
                  <c:v>1110.0214</c:v>
                </c:pt>
                <c:pt idx="12">
                  <c:v>1162.736</c:v>
                </c:pt>
                <c:pt idx="13">
                  <c:v>1144.616</c:v>
                </c:pt>
                <c:pt idx="14">
                  <c:v>1171.8018</c:v>
                </c:pt>
                <c:pt idx="15">
                  <c:v>1180.6038</c:v>
                </c:pt>
                <c:pt idx="16">
                  <c:v>1203.8571</c:v>
                </c:pt>
                <c:pt idx="17">
                  <c:v>1238.1639</c:v>
                </c:pt>
                <c:pt idx="18">
                  <c:v>1317.5106</c:v>
                </c:pt>
                <c:pt idx="19">
                  <c:v>1279.8889</c:v>
                </c:pt>
                <c:pt idx="20">
                  <c:v>1387.3333</c:v>
                </c:pt>
                <c:pt idx="21">
                  <c:v>1353.9063</c:v>
                </c:pt>
                <c:pt idx="22">
                  <c:v>1361.9744</c:v>
                </c:pt>
                <c:pt idx="23">
                  <c:v>1314.881</c:v>
                </c:pt>
                <c:pt idx="24">
                  <c:v>1103.8676</c:v>
                </c:pt>
                <c:pt idx="25">
                  <c:v>1200.7368</c:v>
                </c:pt>
                <c:pt idx="26">
                  <c:v>1151.8481</c:v>
                </c:pt>
                <c:pt idx="27">
                  <c:v>1207.0</c:v>
                </c:pt>
                <c:pt idx="28">
                  <c:v>1196.9318</c:v>
                </c:pt>
                <c:pt idx="29">
                  <c:v>1084.5755</c:v>
                </c:pt>
                <c:pt idx="30">
                  <c:v>1144.6613</c:v>
                </c:pt>
                <c:pt idx="31">
                  <c:v>1110.04</c:v>
                </c:pt>
                <c:pt idx="32">
                  <c:v>1132.0282</c:v>
                </c:pt>
                <c:pt idx="33">
                  <c:v>996.1288</c:v>
                </c:pt>
                <c:pt idx="34">
                  <c:v>1157.9286</c:v>
                </c:pt>
                <c:pt idx="35">
                  <c:v>1199.7391</c:v>
                </c:pt>
                <c:pt idx="36">
                  <c:v>1135.697</c:v>
                </c:pt>
                <c:pt idx="37">
                  <c:v>1045.9722</c:v>
                </c:pt>
                <c:pt idx="38">
                  <c:v>1277.9508</c:v>
                </c:pt>
                <c:pt idx="39">
                  <c:v>1262.9231</c:v>
                </c:pt>
                <c:pt idx="40">
                  <c:v>1350.5063</c:v>
                </c:pt>
                <c:pt idx="41">
                  <c:v>1353.2542</c:v>
                </c:pt>
                <c:pt idx="42">
                  <c:v>1418.1205</c:v>
                </c:pt>
                <c:pt idx="43">
                  <c:v>1466.7176</c:v>
                </c:pt>
                <c:pt idx="44">
                  <c:v>1344.7051</c:v>
                </c:pt>
                <c:pt idx="45">
                  <c:v>1278.3017</c:v>
                </c:pt>
                <c:pt idx="46">
                  <c:v>1273.6339</c:v>
                </c:pt>
                <c:pt idx="47">
                  <c:v>1258.7596</c:v>
                </c:pt>
                <c:pt idx="48">
                  <c:v>1275.3841</c:v>
                </c:pt>
                <c:pt idx="49">
                  <c:v>1200.9675</c:v>
                </c:pt>
                <c:pt idx="50">
                  <c:v>1179.859</c:v>
                </c:pt>
                <c:pt idx="51">
                  <c:v>1180.405</c:v>
                </c:pt>
                <c:pt idx="52">
                  <c:v>1227.8509</c:v>
                </c:pt>
                <c:pt idx="53">
                  <c:v>1277.7333</c:v>
                </c:pt>
                <c:pt idx="54">
                  <c:v>1407.4384</c:v>
                </c:pt>
                <c:pt idx="55">
                  <c:v>1358.7059</c:v>
                </c:pt>
                <c:pt idx="56">
                  <c:v>1363.0625</c:v>
                </c:pt>
                <c:pt idx="57">
                  <c:v>1331.8362</c:v>
                </c:pt>
                <c:pt idx="58">
                  <c:v>1204.8168</c:v>
                </c:pt>
                <c:pt idx="59">
                  <c:v>1180.7523</c:v>
                </c:pt>
                <c:pt idx="60">
                  <c:v>1174.847</c:v>
                </c:pt>
                <c:pt idx="61">
                  <c:v>1311.3208</c:v>
                </c:pt>
                <c:pt idx="62">
                  <c:v>1210.4084</c:v>
                </c:pt>
                <c:pt idx="63">
                  <c:v>1257.3725</c:v>
                </c:pt>
                <c:pt idx="64">
                  <c:v>1305.6583</c:v>
                </c:pt>
                <c:pt idx="65">
                  <c:v>1275.3922</c:v>
                </c:pt>
                <c:pt idx="66">
                  <c:v>1174.6095</c:v>
                </c:pt>
                <c:pt idx="67">
                  <c:v>1227.8137</c:v>
                </c:pt>
                <c:pt idx="68">
                  <c:v>1186.6724</c:v>
                </c:pt>
                <c:pt idx="69">
                  <c:v>1280.1765</c:v>
                </c:pt>
                <c:pt idx="70">
                  <c:v>1265.9459</c:v>
                </c:pt>
                <c:pt idx="71">
                  <c:v>1443.6765</c:v>
                </c:pt>
                <c:pt idx="72">
                  <c:v>1257.8298</c:v>
                </c:pt>
                <c:pt idx="73">
                  <c:v>1365.9783</c:v>
                </c:pt>
                <c:pt idx="74">
                  <c:v>1435.0851</c:v>
                </c:pt>
                <c:pt idx="75">
                  <c:v>1429.225</c:v>
                </c:pt>
                <c:pt idx="76">
                  <c:v>1458.3721</c:v>
                </c:pt>
                <c:pt idx="77">
                  <c:v>1487.3714</c:v>
                </c:pt>
                <c:pt idx="78">
                  <c:v>1522.5526</c:v>
                </c:pt>
                <c:pt idx="79">
                  <c:v>1456.75</c:v>
                </c:pt>
                <c:pt idx="80">
                  <c:v>1340.5278</c:v>
                </c:pt>
                <c:pt idx="81">
                  <c:v>1361.7179</c:v>
                </c:pt>
                <c:pt idx="82">
                  <c:v>1387.8</c:v>
                </c:pt>
                <c:pt idx="83">
                  <c:v>1391.8462</c:v>
                </c:pt>
                <c:pt idx="84">
                  <c:v>1228.8333</c:v>
                </c:pt>
                <c:pt idx="85">
                  <c:v>1401.5</c:v>
                </c:pt>
                <c:pt idx="86">
                  <c:v>1370.0909</c:v>
                </c:pt>
                <c:pt idx="87">
                  <c:v>1401.1481</c:v>
                </c:pt>
                <c:pt idx="88">
                  <c:v>1285.0333</c:v>
                </c:pt>
                <c:pt idx="89">
                  <c:v>1283.8788</c:v>
                </c:pt>
                <c:pt idx="90">
                  <c:v>1508.375</c:v>
                </c:pt>
                <c:pt idx="91">
                  <c:v>1473.0</c:v>
                </c:pt>
                <c:pt idx="92">
                  <c:v>1207.5741</c:v>
                </c:pt>
                <c:pt idx="93">
                  <c:v>1414.4314</c:v>
                </c:pt>
                <c:pt idx="94">
                  <c:v>1454.3721</c:v>
                </c:pt>
                <c:pt idx="95">
                  <c:v>1375.4219</c:v>
                </c:pt>
                <c:pt idx="96">
                  <c:v>1245.6134</c:v>
                </c:pt>
                <c:pt idx="97">
                  <c:v>1292.9572</c:v>
                </c:pt>
                <c:pt idx="98">
                  <c:v>1266.478</c:v>
                </c:pt>
                <c:pt idx="99">
                  <c:v>1272.0443</c:v>
                </c:pt>
                <c:pt idx="100">
                  <c:v>1284.6493</c:v>
                </c:pt>
                <c:pt idx="101">
                  <c:v>1245.0443</c:v>
                </c:pt>
                <c:pt idx="102">
                  <c:v>1255.5905</c:v>
                </c:pt>
                <c:pt idx="103">
                  <c:v>1220.3056</c:v>
                </c:pt>
                <c:pt idx="104">
                  <c:v>1339.3827</c:v>
                </c:pt>
              </c:numCache>
            </c:numRef>
          </c:xVal>
          <c:yVal>
            <c:numRef>
              <c:f>Sheet1!$B$2:$B$106</c:f>
              <c:numCache>
                <c:formatCode>General</c:formatCode>
                <c:ptCount val="105"/>
                <c:pt idx="0">
                  <c:v>0.21553090332805072</c:v>
                </c:pt>
                <c:pt idx="1">
                  <c:v>0.2835538752362949</c:v>
                </c:pt>
                <c:pt idx="2">
                  <c:v>0.2702205882352941</c:v>
                </c:pt>
                <c:pt idx="3">
                  <c:v>0.26118067978533094</c:v>
                </c:pt>
                <c:pt idx="4">
                  <c:v>0.25942350332594233</c:v>
                </c:pt>
                <c:pt idx="5">
                  <c:v>0.25630252100840334</c:v>
                </c:pt>
                <c:pt idx="6">
                  <c:v>0.2943396226415094</c:v>
                </c:pt>
                <c:pt idx="7">
                  <c:v>0.3188010899182561</c:v>
                </c:pt>
                <c:pt idx="8">
                  <c:v>0.28484848484848485</c:v>
                </c:pt>
                <c:pt idx="9">
                  <c:v>0.3023758099352052</c:v>
                </c:pt>
                <c:pt idx="10">
                  <c:v>0.30740037950664134</c:v>
                </c:pt>
                <c:pt idx="11">
                  <c:v>0.28112449799196787</c:v>
                </c:pt>
                <c:pt idx="12">
                  <c:v>0.2735229759299781</c:v>
                </c:pt>
                <c:pt idx="13">
                  <c:v>0.26595744680851063</c:v>
                </c:pt>
                <c:pt idx="14">
                  <c:v>0.2356687898089172</c:v>
                </c:pt>
                <c:pt idx="15">
                  <c:v>0.26433915211970077</c:v>
                </c:pt>
                <c:pt idx="16">
                  <c:v>0.22580645161290322</c:v>
                </c:pt>
                <c:pt idx="17">
                  <c:v>0.23921568627450981</c:v>
                </c:pt>
                <c:pt idx="18">
                  <c:v>0.18725099601593626</c:v>
                </c:pt>
                <c:pt idx="19">
                  <c:v>0.18442622950819673</c:v>
                </c:pt>
                <c:pt idx="20">
                  <c:v>0.1956521739130435</c:v>
                </c:pt>
                <c:pt idx="21">
                  <c:v>0.19875776397515527</c:v>
                </c:pt>
                <c:pt idx="22">
                  <c:v>0.2215909090909091</c:v>
                </c:pt>
                <c:pt idx="23">
                  <c:v>0.2641509433962264</c:v>
                </c:pt>
                <c:pt idx="24">
                  <c:v>0.34</c:v>
                </c:pt>
                <c:pt idx="25">
                  <c:v>0.3202247191011236</c:v>
                </c:pt>
                <c:pt idx="26">
                  <c:v>0.3333333333333333</c:v>
                </c:pt>
                <c:pt idx="27">
                  <c:v>0.30973451327433627</c:v>
                </c:pt>
                <c:pt idx="28">
                  <c:v>0.33587786259541985</c:v>
                </c:pt>
                <c:pt idx="29">
                  <c:v>0.33544303797468356</c:v>
                </c:pt>
                <c:pt idx="30">
                  <c:v>0.2966507177033493</c:v>
                </c:pt>
                <c:pt idx="31">
                  <c:v>0.33482142857142855</c:v>
                </c:pt>
                <c:pt idx="32">
                  <c:v>0.31981981981981983</c:v>
                </c:pt>
                <c:pt idx="33">
                  <c:v>0.3557951482479784</c:v>
                </c:pt>
                <c:pt idx="34">
                  <c:v>0.30656934306569344</c:v>
                </c:pt>
                <c:pt idx="35">
                  <c:v>0.3125</c:v>
                </c:pt>
                <c:pt idx="36">
                  <c:v>0.25287356321839083</c:v>
                </c:pt>
                <c:pt idx="37">
                  <c:v>0.2823529411764706</c:v>
                </c:pt>
                <c:pt idx="38">
                  <c:v>0.23921568627450981</c:v>
                </c:pt>
                <c:pt idx="39">
                  <c:v>0.24344569288389514</c:v>
                </c:pt>
                <c:pt idx="40">
                  <c:v>0.27335640138408307</c:v>
                </c:pt>
                <c:pt idx="41">
                  <c:v>0.26222222222222225</c:v>
                </c:pt>
                <c:pt idx="42">
                  <c:v>0.2785234899328859</c:v>
                </c:pt>
                <c:pt idx="43">
                  <c:v>0.275974025974026</c:v>
                </c:pt>
                <c:pt idx="44">
                  <c:v>0.2698961937716263</c:v>
                </c:pt>
                <c:pt idx="45">
                  <c:v>0.2655786350148368</c:v>
                </c:pt>
                <c:pt idx="46">
                  <c:v>0.2946859903381642</c:v>
                </c:pt>
                <c:pt idx="47">
                  <c:v>0.2961165048543689</c:v>
                </c:pt>
                <c:pt idx="48">
                  <c:v>0.29519918283963226</c:v>
                </c:pt>
                <c:pt idx="49">
                  <c:v>0.34842360549717055</c:v>
                </c:pt>
                <c:pt idx="50">
                  <c:v>0.33476394849785407</c:v>
                </c:pt>
                <c:pt idx="51">
                  <c:v>0.3342541436464088</c:v>
                </c:pt>
                <c:pt idx="52">
                  <c:v>0.3138401559454191</c:v>
                </c:pt>
                <c:pt idx="53">
                  <c:v>0.33240997229916897</c:v>
                </c:pt>
                <c:pt idx="54">
                  <c:v>0.2796934865900383</c:v>
                </c:pt>
                <c:pt idx="55">
                  <c:v>0.31135531135531136</c:v>
                </c:pt>
                <c:pt idx="56">
                  <c:v>0.299625468164794</c:v>
                </c:pt>
                <c:pt idx="57">
                  <c:v>0.31955922865013775</c:v>
                </c:pt>
                <c:pt idx="58">
                  <c:v>0.3498168498168498</c:v>
                </c:pt>
                <c:pt idx="59">
                  <c:v>0.3582251082251082</c:v>
                </c:pt>
                <c:pt idx="60">
                  <c:v>0.37731958762886597</c:v>
                </c:pt>
                <c:pt idx="61">
                  <c:v>0.30113636363636365</c:v>
                </c:pt>
                <c:pt idx="62">
                  <c:v>0.2756132756132756</c:v>
                </c:pt>
                <c:pt idx="63">
                  <c:v>0.22801788375558868</c:v>
                </c:pt>
                <c:pt idx="64">
                  <c:v>0.21818181818181817</c:v>
                </c:pt>
                <c:pt idx="65">
                  <c:v>0.21888412017167383</c:v>
                </c:pt>
                <c:pt idx="66">
                  <c:v>0.23702031602708803</c:v>
                </c:pt>
                <c:pt idx="67">
                  <c:v>0.22972972972972974</c:v>
                </c:pt>
                <c:pt idx="68">
                  <c:v>0.2</c:v>
                </c:pt>
                <c:pt idx="69">
                  <c:v>0.1691542288557214</c:v>
                </c:pt>
                <c:pt idx="70">
                  <c:v>0.15546218487394958</c:v>
                </c:pt>
                <c:pt idx="71">
                  <c:v>0.1717171717171717</c:v>
                </c:pt>
                <c:pt idx="72">
                  <c:v>0.25133689839572193</c:v>
                </c:pt>
                <c:pt idx="73">
                  <c:v>0.233502538071066</c:v>
                </c:pt>
                <c:pt idx="74">
                  <c:v>0.21171171171171171</c:v>
                </c:pt>
                <c:pt idx="75">
                  <c:v>0.19801980198019803</c:v>
                </c:pt>
                <c:pt idx="76">
                  <c:v>0.21393034825870647</c:v>
                </c:pt>
                <c:pt idx="77">
                  <c:v>0.20588235294117646</c:v>
                </c:pt>
                <c:pt idx="78">
                  <c:v>0.22093023255813954</c:v>
                </c:pt>
                <c:pt idx="79">
                  <c:v>0.21621621621621623</c:v>
                </c:pt>
                <c:pt idx="80">
                  <c:v>0.1925133689839572</c:v>
                </c:pt>
                <c:pt idx="81">
                  <c:v>0.17567567567567569</c:v>
                </c:pt>
                <c:pt idx="82">
                  <c:v>0.18181818181818182</c:v>
                </c:pt>
                <c:pt idx="83">
                  <c:v>0.20155038759689922</c:v>
                </c:pt>
                <c:pt idx="84">
                  <c:v>0.20270270270270271</c:v>
                </c:pt>
                <c:pt idx="85">
                  <c:v>0.18994413407821228</c:v>
                </c:pt>
                <c:pt idx="86">
                  <c:v>0.20446096654275092</c:v>
                </c:pt>
                <c:pt idx="87">
                  <c:v>0.2231404958677686</c:v>
                </c:pt>
                <c:pt idx="88">
                  <c:v>0.22900763358778625</c:v>
                </c:pt>
                <c:pt idx="89">
                  <c:v>0.2558139534883721</c:v>
                </c:pt>
                <c:pt idx="90">
                  <c:v>0.23880597014925373</c:v>
                </c:pt>
                <c:pt idx="91">
                  <c:v>0.2191780821917808</c:v>
                </c:pt>
                <c:pt idx="92">
                  <c:v>0.27692307692307694</c:v>
                </c:pt>
                <c:pt idx="93">
                  <c:v>0.2383177570093458</c:v>
                </c:pt>
                <c:pt idx="94">
                  <c:v>0.23626373626373626</c:v>
                </c:pt>
                <c:pt idx="95">
                  <c:v>0.2302158273381295</c:v>
                </c:pt>
                <c:pt idx="96">
                  <c:v>0.22753346080305928</c:v>
                </c:pt>
                <c:pt idx="97">
                  <c:v>0.24735449735449735</c:v>
                </c:pt>
                <c:pt idx="98">
                  <c:v>0.25184275184275184</c:v>
                </c:pt>
                <c:pt idx="99">
                  <c:v>0.2566287878787879</c:v>
                </c:pt>
                <c:pt idx="100">
                  <c:v>0.257372654155496</c:v>
                </c:pt>
                <c:pt idx="101">
                  <c:v>0.26916524701873934</c:v>
                </c:pt>
                <c:pt idx="102">
                  <c:v>0.26582278481012656</c:v>
                </c:pt>
                <c:pt idx="103">
                  <c:v>0.24434389140271492</c:v>
                </c:pt>
                <c:pt idx="104">
                  <c:v>0.271812080536912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25.2308</c:v>
                </c:pt>
                <c:pt idx="1">
                  <c:v>1248.2377</c:v>
                </c:pt>
                <c:pt idx="2">
                  <c:v>1142.9828</c:v>
                </c:pt>
                <c:pt idx="3">
                  <c:v>1121.5263</c:v>
                </c:pt>
                <c:pt idx="4">
                  <c:v>1122.6733</c:v>
                </c:pt>
                <c:pt idx="5">
                  <c:v>1188.8012</c:v>
                </c:pt>
                <c:pt idx="6">
                  <c:v>1164.0345</c:v>
                </c:pt>
                <c:pt idx="7">
                  <c:v>1167.6913</c:v>
                </c:pt>
                <c:pt idx="8">
                  <c:v>1253.9756</c:v>
                </c:pt>
                <c:pt idx="9">
                  <c:v>1188.3933</c:v>
                </c:pt>
                <c:pt idx="10">
                  <c:v>1231.0568</c:v>
                </c:pt>
                <c:pt idx="11">
                  <c:v>987.0471</c:v>
                </c:pt>
                <c:pt idx="12">
                  <c:v>881.9008</c:v>
                </c:pt>
                <c:pt idx="13">
                  <c:v>902.378</c:v>
                </c:pt>
                <c:pt idx="14">
                  <c:v>892.9649</c:v>
                </c:pt>
                <c:pt idx="15">
                  <c:v>920.7944</c:v>
                </c:pt>
                <c:pt idx="16">
                  <c:v>865.7625</c:v>
                </c:pt>
                <c:pt idx="17">
                  <c:v>927.5926</c:v>
                </c:pt>
                <c:pt idx="18">
                  <c:v>1009.9692</c:v>
                </c:pt>
                <c:pt idx="19">
                  <c:v>1146.5517</c:v>
                </c:pt>
                <c:pt idx="20">
                  <c:v>1055.3111</c:v>
                </c:pt>
                <c:pt idx="21">
                  <c:v>1257.16</c:v>
                </c:pt>
                <c:pt idx="22">
                  <c:v>1052.7</c:v>
                </c:pt>
                <c:pt idx="23">
                  <c:v>1125.1176</c:v>
                </c:pt>
                <c:pt idx="24">
                  <c:v>1042.2128</c:v>
                </c:pt>
                <c:pt idx="25">
                  <c:v>950.2432</c:v>
                </c:pt>
                <c:pt idx="26">
                  <c:v>1067.7826</c:v>
                </c:pt>
                <c:pt idx="27">
                  <c:v>1068.25</c:v>
                </c:pt>
                <c:pt idx="28">
                  <c:v>1204.8154</c:v>
                </c:pt>
                <c:pt idx="29">
                  <c:v>1113.0638</c:v>
                </c:pt>
                <c:pt idx="30">
                  <c:v>1139.7609</c:v>
                </c:pt>
                <c:pt idx="31">
                  <c:v>1216.3571</c:v>
                </c:pt>
                <c:pt idx="32">
                  <c:v>1185.6154</c:v>
                </c:pt>
                <c:pt idx="33">
                  <c:v>1110.5204</c:v>
                </c:pt>
                <c:pt idx="34">
                  <c:v>1338.7849</c:v>
                </c:pt>
                <c:pt idx="35">
                  <c:v>1103.6981</c:v>
                </c:pt>
                <c:pt idx="36">
                  <c:v>1226.1351</c:v>
                </c:pt>
                <c:pt idx="37">
                  <c:v>1070.7234</c:v>
                </c:pt>
                <c:pt idx="38">
                  <c:v>1095.0233</c:v>
                </c:pt>
                <c:pt idx="39">
                  <c:v>1360.2143</c:v>
                </c:pt>
                <c:pt idx="40">
                  <c:v>1308.3778</c:v>
                </c:pt>
                <c:pt idx="41">
                  <c:v>1211.34</c:v>
                </c:pt>
                <c:pt idx="42">
                  <c:v>1550.0345</c:v>
                </c:pt>
                <c:pt idx="43">
                  <c:v>1312.7213</c:v>
                </c:pt>
                <c:pt idx="44">
                  <c:v>1358.6104</c:v>
                </c:pt>
                <c:pt idx="45">
                  <c:v>1321.7899</c:v>
                </c:pt>
                <c:pt idx="46">
                  <c:v>1239.2245</c:v>
                </c:pt>
                <c:pt idx="47">
                  <c:v>1215.9697</c:v>
                </c:pt>
                <c:pt idx="48">
                  <c:v>1176.2555</c:v>
                </c:pt>
                <c:pt idx="49">
                  <c:v>1267.1847</c:v>
                </c:pt>
                <c:pt idx="50">
                  <c:v>1119.3288</c:v>
                </c:pt>
                <c:pt idx="51">
                  <c:v>1063.7248</c:v>
                </c:pt>
              </c:numCache>
            </c:numRef>
          </c:xVal>
          <c:yVal>
            <c:numRef>
              <c:f>Sheet1!$B$109:$B$160</c:f>
              <c:numCache>
                <c:formatCode>General</c:formatCode>
                <c:ptCount val="52"/>
                <c:pt idx="0">
                  <c:v>0.27002967359050445</c:v>
                </c:pt>
                <c:pt idx="1">
                  <c:v>0.3160621761658031</c:v>
                </c:pt>
                <c:pt idx="2">
                  <c:v>0.38074398249452956</c:v>
                </c:pt>
                <c:pt idx="3">
                  <c:v>0.3758241758241758</c:v>
                </c:pt>
                <c:pt idx="4">
                  <c:v>0.35799522673031026</c:v>
                </c:pt>
                <c:pt idx="5">
                  <c:v>0.3744186046511628</c:v>
                </c:pt>
                <c:pt idx="6">
                  <c:v>0.2680221811460259</c:v>
                </c:pt>
                <c:pt idx="7">
                  <c:v>0.3197424892703863</c:v>
                </c:pt>
                <c:pt idx="8">
                  <c:v>0.2918149466192171</c:v>
                </c:pt>
                <c:pt idx="9">
                  <c:v>0.29180327868852457</c:v>
                </c:pt>
                <c:pt idx="10">
                  <c:v>0.26426426426426425</c:v>
                </c:pt>
                <c:pt idx="11">
                  <c:v>0.3601694915254237</c:v>
                </c:pt>
                <c:pt idx="12">
                  <c:v>0.3764367816091954</c:v>
                </c:pt>
                <c:pt idx="13">
                  <c:v>0.3871951219512195</c:v>
                </c:pt>
                <c:pt idx="14">
                  <c:v>0.35294117647058826</c:v>
                </c:pt>
                <c:pt idx="15">
                  <c:v>0.3862815884476534</c:v>
                </c:pt>
                <c:pt idx="16">
                  <c:v>0.34934497816593885</c:v>
                </c:pt>
                <c:pt idx="17">
                  <c:v>0.3347107438016529</c:v>
                </c:pt>
                <c:pt idx="18">
                  <c:v>0.2226027397260274</c:v>
                </c:pt>
                <c:pt idx="19">
                  <c:v>0.2648401826484018</c:v>
                </c:pt>
                <c:pt idx="20">
                  <c:v>0.30201342281879195</c:v>
                </c:pt>
                <c:pt idx="21">
                  <c:v>0.20161290322580644</c:v>
                </c:pt>
                <c:pt idx="22">
                  <c:v>0.2912621359223301</c:v>
                </c:pt>
                <c:pt idx="23">
                  <c:v>0.272</c:v>
                </c:pt>
                <c:pt idx="24">
                  <c:v>0.34057971014492755</c:v>
                </c:pt>
                <c:pt idx="25">
                  <c:v>0.29365079365079366</c:v>
                </c:pt>
                <c:pt idx="26">
                  <c:v>0.2967741935483871</c:v>
                </c:pt>
                <c:pt idx="27">
                  <c:v>0.2639593908629442</c:v>
                </c:pt>
                <c:pt idx="28">
                  <c:v>0.29017857142857145</c:v>
                </c:pt>
                <c:pt idx="29">
                  <c:v>0.2974683544303797</c:v>
                </c:pt>
                <c:pt idx="30">
                  <c:v>0.2804878048780488</c:v>
                </c:pt>
                <c:pt idx="31">
                  <c:v>0.25766871165644173</c:v>
                </c:pt>
                <c:pt idx="32">
                  <c:v>0.30092592592592593</c:v>
                </c:pt>
                <c:pt idx="33">
                  <c:v>0.35125448028673834</c:v>
                </c:pt>
                <c:pt idx="34">
                  <c:v>0.29337539432176657</c:v>
                </c:pt>
                <c:pt idx="35">
                  <c:v>0.28342245989304815</c:v>
                </c:pt>
                <c:pt idx="36">
                  <c:v>0.31092436974789917</c:v>
                </c:pt>
                <c:pt idx="37">
                  <c:v>0.3197278911564626</c:v>
                </c:pt>
                <c:pt idx="38">
                  <c:v>0.2925170068027211</c:v>
                </c:pt>
                <c:pt idx="39">
                  <c:v>0.2931937172774869</c:v>
                </c:pt>
                <c:pt idx="40">
                  <c:v>0.26627218934911245</c:v>
                </c:pt>
                <c:pt idx="41">
                  <c:v>0.27624309392265195</c:v>
                </c:pt>
                <c:pt idx="42">
                  <c:v>0.19594594594594594</c:v>
                </c:pt>
                <c:pt idx="43">
                  <c:v>0.2364341085271318</c:v>
                </c:pt>
                <c:pt idx="44">
                  <c:v>0.20424403183023873</c:v>
                </c:pt>
                <c:pt idx="45">
                  <c:v>0.20481927710843373</c:v>
                </c:pt>
                <c:pt idx="46">
                  <c:v>0.2327790973871734</c:v>
                </c:pt>
                <c:pt idx="47">
                  <c:v>0.23627684964200477</c:v>
                </c:pt>
                <c:pt idx="48">
                  <c:v>0.2287145242070117</c:v>
                </c:pt>
                <c:pt idx="49">
                  <c:v>0.22492836676217765</c:v>
                </c:pt>
                <c:pt idx="50">
                  <c:v>0.2660996354799514</c:v>
                </c:pt>
                <c:pt idx="51">
                  <c:v>0.26328502415458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92.7597825940893</c:v>
                </c:pt>
              </c:numCache>
            </c:numRef>
          </c:xVal>
          <c:yVal>
            <c:numRef>
              <c:f>Sheet1!$B$163:$B$164</c:f>
              <c:numCache>
                <c:formatCode>General</c:formatCode>
                <c:ptCount val="2"/>
                <c:pt idx="0">
                  <c:v>0.32726815762744305</c:v>
                </c:pt>
                <c:pt idx="1">
                  <c:v>0.327268157627443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92.7597825940893</c:v>
                </c:pt>
                <c:pt idx="1">
                  <c:v>992.7597825940893</c:v>
                </c:pt>
              </c:numCache>
            </c:numRef>
          </c:xVal>
          <c:yVal>
            <c:numRef>
              <c:f>Sheet1!$B$167:$B$168</c:f>
              <c:numCache>
                <c:formatCode>General</c:formatCode>
                <c:ptCount val="2"/>
                <c:pt idx="0">
                  <c:v>0.327268157627443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8.1524953840657</c:v>
                </c:pt>
              </c:numCache>
            </c:numRef>
          </c:xVal>
          <c:yVal>
            <c:numRef>
              <c:f>Sheet1!$B$171:$B$172</c:f>
              <c:numCache>
                <c:formatCode>General</c:formatCode>
                <c:ptCount val="2"/>
                <c:pt idx="0">
                  <c:v>0.3282948284991239</c:v>
                </c:pt>
                <c:pt idx="1">
                  <c:v>0.328294828499123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8.1524953840657</c:v>
                </c:pt>
                <c:pt idx="1">
                  <c:v>988.1524953840657</c:v>
                </c:pt>
              </c:numCache>
            </c:numRef>
          </c:xVal>
          <c:yVal>
            <c:numRef>
              <c:f>Sheet1!$B$175:$B$176</c:f>
              <c:numCache>
                <c:formatCode>General</c:formatCode>
                <c:ptCount val="2"/>
                <c:pt idx="0">
                  <c:v>0.328294828499123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1.1960635601854</c:v>
                </c:pt>
              </c:numCache>
            </c:numRef>
          </c:xVal>
          <c:yVal>
            <c:numRef>
              <c:f>Sheet1!$B$179:$B$180</c:f>
              <c:numCache>
                <c:formatCode>General</c:formatCode>
                <c:ptCount val="2"/>
                <c:pt idx="0">
                  <c:v>0.2407104508918392</c:v>
                </c:pt>
                <c:pt idx="1">
                  <c:v>0.2407104508918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1.1960635601854</c:v>
                </c:pt>
                <c:pt idx="1">
                  <c:v>1381.1960635601854</c:v>
                </c:pt>
              </c:numCache>
            </c:numRef>
          </c:xVal>
          <c:yVal>
            <c:numRef>
              <c:f>Sheet1!$B$183:$B$184</c:f>
              <c:numCache>
                <c:formatCode>General</c:formatCode>
                <c:ptCount val="2"/>
                <c:pt idx="0">
                  <c:v>0.2407104508918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25.2308</c:v>
                </c:pt>
                <c:pt idx="1">
                  <c:v>1248.2377</c:v>
                </c:pt>
                <c:pt idx="2">
                  <c:v>1142.9828</c:v>
                </c:pt>
                <c:pt idx="3">
                  <c:v>1121.5263</c:v>
                </c:pt>
                <c:pt idx="4">
                  <c:v>1122.6733</c:v>
                </c:pt>
                <c:pt idx="5">
                  <c:v>1188.8012</c:v>
                </c:pt>
                <c:pt idx="6">
                  <c:v>1164.0345</c:v>
                </c:pt>
                <c:pt idx="7">
                  <c:v>1167.6913</c:v>
                </c:pt>
                <c:pt idx="8">
                  <c:v>1253.9756</c:v>
                </c:pt>
                <c:pt idx="9">
                  <c:v>1188.3933</c:v>
                </c:pt>
                <c:pt idx="10">
                  <c:v>1231.0568</c:v>
                </c:pt>
                <c:pt idx="11">
                  <c:v>987.0471</c:v>
                </c:pt>
                <c:pt idx="12">
                  <c:v>881.9008</c:v>
                </c:pt>
                <c:pt idx="13">
                  <c:v>902.378</c:v>
                </c:pt>
                <c:pt idx="14">
                  <c:v>892.9649</c:v>
                </c:pt>
                <c:pt idx="15">
                  <c:v>920.7944</c:v>
                </c:pt>
                <c:pt idx="16">
                  <c:v>865.7625</c:v>
                </c:pt>
                <c:pt idx="17">
                  <c:v>927.5926</c:v>
                </c:pt>
                <c:pt idx="18">
                  <c:v>1009.9692</c:v>
                </c:pt>
                <c:pt idx="19">
                  <c:v>1146.5517</c:v>
                </c:pt>
                <c:pt idx="20">
                  <c:v>1055.3111</c:v>
                </c:pt>
                <c:pt idx="21">
                  <c:v>1257.16</c:v>
                </c:pt>
                <c:pt idx="22">
                  <c:v>1052.7</c:v>
                </c:pt>
                <c:pt idx="23">
                  <c:v>1125.1176</c:v>
                </c:pt>
                <c:pt idx="24">
                  <c:v>1042.2128</c:v>
                </c:pt>
                <c:pt idx="25">
                  <c:v>950.2432</c:v>
                </c:pt>
                <c:pt idx="26">
                  <c:v>1067.7826</c:v>
                </c:pt>
                <c:pt idx="27">
                  <c:v>1068.25</c:v>
                </c:pt>
                <c:pt idx="28">
                  <c:v>1204.8154</c:v>
                </c:pt>
                <c:pt idx="29">
                  <c:v>1113.0638</c:v>
                </c:pt>
                <c:pt idx="30">
                  <c:v>1139.7609</c:v>
                </c:pt>
                <c:pt idx="31">
                  <c:v>1216.3571</c:v>
                </c:pt>
                <c:pt idx="32">
                  <c:v>1185.6154</c:v>
                </c:pt>
                <c:pt idx="33">
                  <c:v>1110.5204</c:v>
                </c:pt>
                <c:pt idx="34">
                  <c:v>1338.7849</c:v>
                </c:pt>
                <c:pt idx="35">
                  <c:v>1103.6981</c:v>
                </c:pt>
                <c:pt idx="36">
                  <c:v>1226.1351</c:v>
                </c:pt>
                <c:pt idx="37">
                  <c:v>1070.7234</c:v>
                </c:pt>
                <c:pt idx="38">
                  <c:v>1095.0233</c:v>
                </c:pt>
                <c:pt idx="39">
                  <c:v>1360.2143</c:v>
                </c:pt>
                <c:pt idx="40">
                  <c:v>1308.3778</c:v>
                </c:pt>
                <c:pt idx="41">
                  <c:v>1211.34</c:v>
                </c:pt>
                <c:pt idx="42">
                  <c:v>1550.0345</c:v>
                </c:pt>
                <c:pt idx="43">
                  <c:v>1312.7213</c:v>
                </c:pt>
                <c:pt idx="44">
                  <c:v>1358.6104</c:v>
                </c:pt>
                <c:pt idx="45">
                  <c:v>1321.7899</c:v>
                </c:pt>
                <c:pt idx="46">
                  <c:v>1239.2245</c:v>
                </c:pt>
                <c:pt idx="47">
                  <c:v>1215.9697</c:v>
                </c:pt>
                <c:pt idx="48">
                  <c:v>1176.2555</c:v>
                </c:pt>
                <c:pt idx="49">
                  <c:v>1267.1847</c:v>
                </c:pt>
                <c:pt idx="50">
                  <c:v>1119.3288</c:v>
                </c:pt>
                <c:pt idx="51">
                  <c:v>1063.7248</c:v>
                </c:pt>
                <c:pt idx="52">
                  <c:v>988.1524953840657</c:v>
                </c:pt>
                <c:pt idx="53">
                  <c:v>992.7597825940893</c:v>
                </c:pt>
                <c:pt idx="54">
                  <c:v>1381.1960635601854</c:v>
                </c:pt>
              </c:numCache>
            </c:numRef>
          </c:xVal>
          <c:yVal>
            <c:numRef>
              <c:f>Sheet1!$B$187:$B$241</c:f>
              <c:numCache>
                <c:formatCode>General</c:formatCode>
                <c:ptCount val="55"/>
                <c:pt idx="0">
                  <c:v>0.23089791280075966</c:v>
                </c:pt>
                <c:pt idx="1">
                  <c:v>0.27033840174252927</c:v>
                </c:pt>
                <c:pt idx="2">
                  <c:v>0.29379301505523503</c:v>
                </c:pt>
                <c:pt idx="3">
                  <c:v>0.2985743022973878</c:v>
                </c:pt>
                <c:pt idx="4">
                  <c:v>0.29831870905213587</c:v>
                </c:pt>
                <c:pt idx="5">
                  <c:v>0.28358301196172697</c:v>
                </c:pt>
                <c:pt idx="6">
                  <c:v>0.2891019319505521</c:v>
                </c:pt>
                <c:pt idx="7">
                  <c:v>0.28828706413953425</c:v>
                </c:pt>
                <c:pt idx="8">
                  <c:v>0.2690597892909762</c:v>
                </c:pt>
                <c:pt idx="9">
                  <c:v>0.28367390689175165</c:v>
                </c:pt>
                <c:pt idx="10">
                  <c:v>0.2741669300662868</c:v>
                </c:pt>
                <c:pt idx="11">
                  <c:v>0.32854115072536616</c:v>
                </c:pt>
                <c:pt idx="12">
                  <c:v>0.3519715640150254</c:v>
                </c:pt>
                <c:pt idx="13">
                  <c:v>0.3474085003692765</c:v>
                </c:pt>
                <c:pt idx="14">
                  <c:v>0.34950608081991424</c:v>
                </c:pt>
                <c:pt idx="15">
                  <c:v>0.3433046577870108</c:v>
                </c:pt>
                <c:pt idx="16">
                  <c:v>0.35556776320408395</c:v>
                </c:pt>
                <c:pt idx="17">
                  <c:v>0.34178977199810756</c:v>
                </c:pt>
                <c:pt idx="18">
                  <c:v>0.32343327459023924</c:v>
                </c:pt>
                <c:pt idx="19">
                  <c:v>0.2929977345556885</c:v>
                </c:pt>
                <c:pt idx="20">
                  <c:v>0.31332945299748327</c:v>
                </c:pt>
                <c:pt idx="21">
                  <c:v>0.2683501893518476</c:v>
                </c:pt>
                <c:pt idx="22">
                  <c:v>0.3139113008812474</c:v>
                </c:pt>
                <c:pt idx="23">
                  <c:v>0.2977740302645426</c:v>
                </c:pt>
                <c:pt idx="24">
                  <c:v>0.31624822981028544</c:v>
                </c:pt>
                <c:pt idx="25">
                  <c:v>0.33674239592059696</c:v>
                </c:pt>
                <c:pt idx="26">
                  <c:v>0.31055034998252234</c:v>
                </c:pt>
                <c:pt idx="27">
                  <c:v>0.3104461962921729</c:v>
                </c:pt>
                <c:pt idx="28">
                  <c:v>0.2800144667584886</c:v>
                </c:pt>
                <c:pt idx="29">
                  <c:v>0.30046005455366065</c:v>
                </c:pt>
                <c:pt idx="30">
                  <c:v>0.29451097135591275</c:v>
                </c:pt>
                <c:pt idx="31">
                  <c:v>0.27744255694268666</c:v>
                </c:pt>
                <c:pt idx="32">
                  <c:v>0.2842929238716867</c:v>
                </c:pt>
                <c:pt idx="33">
                  <c:v>0.30102681641937457</c:v>
                </c:pt>
                <c:pt idx="34">
                  <c:v>0.2501611979966872</c:v>
                </c:pt>
                <c:pt idx="35">
                  <c:v>0.30254707256330016</c:v>
                </c:pt>
                <c:pt idx="36">
                  <c:v>0.27526366352326737</c:v>
                </c:pt>
                <c:pt idx="37">
                  <c:v>0.30989503296801746</c:v>
                </c:pt>
                <c:pt idx="38">
                  <c:v>0.304480132967757</c:v>
                </c:pt>
                <c:pt idx="39">
                  <c:v>0.2453859496184806</c:v>
                </c:pt>
                <c:pt idx="40">
                  <c:v>0.25693700389703744</c:v>
                </c:pt>
                <c:pt idx="41">
                  <c:v>0.27856054898344845</c:v>
                </c:pt>
                <c:pt idx="42">
                  <c:v>0.20308711707063276</c:v>
                </c:pt>
                <c:pt idx="43">
                  <c:v>0.25596911439333037</c:v>
                </c:pt>
                <c:pt idx="44">
                  <c:v>0.2457433567728482</c:v>
                </c:pt>
                <c:pt idx="45">
                  <c:v>0.2539483010507914</c:v>
                </c:pt>
                <c:pt idx="46">
                  <c:v>0.27234686995360613</c:v>
                </c:pt>
                <c:pt idx="47">
                  <c:v>0.27752888372839774</c:v>
                </c:pt>
                <c:pt idx="48">
                  <c:v>0.28637864943073993</c:v>
                </c:pt>
                <c:pt idx="49">
                  <c:v>0.2661163222152499</c:v>
                </c:pt>
                <c:pt idx="50">
                  <c:v>0.2990639850841718</c:v>
                </c:pt>
                <c:pt idx="51">
                  <c:v>0.31145457515303976</c:v>
                </c:pt>
                <c:pt idx="52">
                  <c:v>0.3282948284991239</c:v>
                </c:pt>
                <c:pt idx="53">
                  <c:v>0.32726815762744305</c:v>
                </c:pt>
                <c:pt idx="54">
                  <c:v>0.240710450891839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0.0"/>
          <c:min val="69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46341463414634"/>
          <c:min val="0.124369747899159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337018931456981</c:v>
                </c:pt>
                <c:pt idx="1">
                  <c:v>1.359571853961678</c:v>
                </c:pt>
                <c:pt idx="2">
                  <c:v>1.8808061257216162</c:v>
                </c:pt>
                <c:pt idx="3">
                  <c:v>1.0722897971463472</c:v>
                </c:pt>
                <c:pt idx="4">
                  <c:v>1.385185238095238</c:v>
                </c:pt>
                <c:pt idx="5">
                  <c:v>1.0733820455952339</c:v>
                </c:pt>
                <c:pt idx="6">
                  <c:v>1.0353051597631238</c:v>
                </c:pt>
                <c:pt idx="7">
                  <c:v>0.8394634899210742</c:v>
                </c:pt>
                <c:pt idx="8">
                  <c:v>1.0860622274589349</c:v>
                </c:pt>
                <c:pt idx="9">
                  <c:v>1.1231747043742506</c:v>
                </c:pt>
                <c:pt idx="10">
                  <c:v>1.101575748457008</c:v>
                </c:pt>
                <c:pt idx="11">
                  <c:v>1.1967347667495705</c:v>
                </c:pt>
                <c:pt idx="12">
                  <c:v>1.3550911951517979</c:v>
                </c:pt>
                <c:pt idx="13">
                  <c:v>1.210745720508451</c:v>
                </c:pt>
                <c:pt idx="14">
                  <c:v>1.1983364440468858</c:v>
                </c:pt>
                <c:pt idx="15">
                  <c:v>1.3868690961192578</c:v>
                </c:pt>
                <c:pt idx="16">
                  <c:v>1.4067664148170187</c:v>
                </c:pt>
                <c:pt idx="17">
                  <c:v>1.4306250264307072</c:v>
                </c:pt>
                <c:pt idx="18">
                  <c:v>2.023909747408879</c:v>
                </c:pt>
                <c:pt idx="19">
                  <c:v>1.5037297497282769</c:v>
                </c:pt>
                <c:pt idx="20">
                  <c:v>1.8916619022874337</c:v>
                </c:pt>
                <c:pt idx="21">
                  <c:v>1.6425918107370339</c:v>
                </c:pt>
                <c:pt idx="22">
                  <c:v>2.0834589372660557</c:v>
                </c:pt>
                <c:pt idx="23">
                  <c:v>1.994056718228693</c:v>
                </c:pt>
                <c:pt idx="24">
                  <c:v>1.4969145487441091</c:v>
                </c:pt>
                <c:pt idx="25">
                  <c:v>1.6832129640013456</c:v>
                </c:pt>
                <c:pt idx="26">
                  <c:v>1.417833702609552</c:v>
                </c:pt>
                <c:pt idx="27">
                  <c:v>1.4199273331305986</c:v>
                </c:pt>
                <c:pt idx="28">
                  <c:v>1.2902606076083145</c:v>
                </c:pt>
                <c:pt idx="29">
                  <c:v>1.0394628138777073</c:v>
                </c:pt>
                <c:pt idx="30">
                  <c:v>1.210184181098815</c:v>
                </c:pt>
                <c:pt idx="31">
                  <c:v>1.104267661652245</c:v>
                </c:pt>
                <c:pt idx="32">
                  <c:v>1.2553681175492097</c:v>
                </c:pt>
                <c:pt idx="33">
                  <c:v>0.9375329882352941</c:v>
                </c:pt>
                <c:pt idx="34">
                  <c:v>1.1732365208291706</c:v>
                </c:pt>
                <c:pt idx="35">
                  <c:v>1.0745819012162074</c:v>
                </c:pt>
                <c:pt idx="36">
                  <c:v>1.0682629041740153</c:v>
                </c:pt>
                <c:pt idx="37">
                  <c:v>1.2342804425780012</c:v>
                </c:pt>
                <c:pt idx="38">
                  <c:v>1.506936597151922</c:v>
                </c:pt>
                <c:pt idx="39">
                  <c:v>1.2886970408163265</c:v>
                </c:pt>
                <c:pt idx="40">
                  <c:v>1.364894609505019</c:v>
                </c:pt>
                <c:pt idx="41">
                  <c:v>1.2820110510762228</c:v>
                </c:pt>
                <c:pt idx="42">
                  <c:v>1.4653930541517992</c:v>
                </c:pt>
                <c:pt idx="43">
                  <c:v>1.5469785604654949</c:v>
                </c:pt>
                <c:pt idx="44">
                  <c:v>1.5213644144404053</c:v>
                </c:pt>
                <c:pt idx="45">
                  <c:v>1.4642289000348674</c:v>
                </c:pt>
                <c:pt idx="46">
                  <c:v>1.4194860964056841</c:v>
                </c:pt>
                <c:pt idx="47">
                  <c:v>1.2573732202873111</c:v>
                </c:pt>
                <c:pt idx="48">
                  <c:v>1.3902101778954916</c:v>
                </c:pt>
                <c:pt idx="49">
                  <c:v>1.2189958389603033</c:v>
                </c:pt>
                <c:pt idx="50">
                  <c:v>1.1728220675944334</c:v>
                </c:pt>
                <c:pt idx="51">
                  <c:v>0.9295683297947043</c:v>
                </c:pt>
                <c:pt idx="52">
                  <c:v>1.225870628586581</c:v>
                </c:pt>
                <c:pt idx="53">
                  <c:v>1.1746031439602869</c:v>
                </c:pt>
                <c:pt idx="54">
                  <c:v>1.119903242490551</c:v>
                </c:pt>
                <c:pt idx="55">
                  <c:v>1.0931299730479906</c:v>
                </c:pt>
                <c:pt idx="56">
                  <c:v>1.038349762325553</c:v>
                </c:pt>
                <c:pt idx="57">
                  <c:v>1.091883813209156</c:v>
                </c:pt>
                <c:pt idx="58">
                  <c:v>0.9597584960105815</c:v>
                </c:pt>
                <c:pt idx="59">
                  <c:v>0.9087303282297536</c:v>
                </c:pt>
                <c:pt idx="60">
                  <c:v>0.9709479338842975</c:v>
                </c:pt>
                <c:pt idx="61">
                  <c:v>1.0409302226632944</c:v>
                </c:pt>
                <c:pt idx="62">
                  <c:v>0.9821482168542897</c:v>
                </c:pt>
                <c:pt idx="63">
                  <c:v>1.077846403099712</c:v>
                </c:pt>
                <c:pt idx="64">
                  <c:v>1.0186615201174716</c:v>
                </c:pt>
                <c:pt idx="65">
                  <c:v>1.2040115334323875</c:v>
                </c:pt>
                <c:pt idx="66">
                  <c:v>1.0702592255125285</c:v>
                </c:pt>
                <c:pt idx="67">
                  <c:v>1.1051881062635778</c:v>
                </c:pt>
                <c:pt idx="68">
                  <c:v>1.2614701364156427</c:v>
                </c:pt>
                <c:pt idx="69">
                  <c:v>1.2872564102564104</c:v>
                </c:pt>
                <c:pt idx="70">
                  <c:v>1.186388135311756</c:v>
                </c:pt>
                <c:pt idx="71">
                  <c:v>1.3631020390589805</c:v>
                </c:pt>
                <c:pt idx="72">
                  <c:v>1.2157891486091588</c:v>
                </c:pt>
                <c:pt idx="73">
                  <c:v>1.3226255444297892</c:v>
                </c:pt>
                <c:pt idx="74">
                  <c:v>1.1477759021663445</c:v>
                </c:pt>
                <c:pt idx="75">
                  <c:v>1.544154238127928</c:v>
                </c:pt>
                <c:pt idx="76">
                  <c:v>1.4069311787760024</c:v>
                </c:pt>
                <c:pt idx="77">
                  <c:v>1.2177309422752995</c:v>
                </c:pt>
                <c:pt idx="78">
                  <c:v>1.2645785714285713</c:v>
                </c:pt>
                <c:pt idx="79">
                  <c:v>1.3029964221824686</c:v>
                </c:pt>
                <c:pt idx="80">
                  <c:v>1.0754002383400112</c:v>
                </c:pt>
                <c:pt idx="81">
                  <c:v>1.128476013880976</c:v>
                </c:pt>
                <c:pt idx="82">
                  <c:v>1.2863498335799963</c:v>
                </c:pt>
                <c:pt idx="83">
                  <c:v>1.165781666342384</c:v>
                </c:pt>
                <c:pt idx="84">
                  <c:v>1.1738389454076517</c:v>
                </c:pt>
                <c:pt idx="85">
                  <c:v>1.3745160506990957</c:v>
                </c:pt>
                <c:pt idx="86">
                  <c:v>1.154506155679629</c:v>
                </c:pt>
                <c:pt idx="87">
                  <c:v>1.4909796222399576</c:v>
                </c:pt>
                <c:pt idx="88">
                  <c:v>1.0798599159663866</c:v>
                </c:pt>
                <c:pt idx="89">
                  <c:v>0.9766431689798585</c:v>
                </c:pt>
                <c:pt idx="90">
                  <c:v>1.392169755229168</c:v>
                </c:pt>
                <c:pt idx="91">
                  <c:v>1.118498244876549</c:v>
                </c:pt>
                <c:pt idx="92">
                  <c:v>1.0382771898437186</c:v>
                </c:pt>
                <c:pt idx="93">
                  <c:v>1.1293767167039284</c:v>
                </c:pt>
                <c:pt idx="94">
                  <c:v>1.0589059785723236</c:v>
                </c:pt>
                <c:pt idx="95">
                  <c:v>1.1944211157507976</c:v>
                </c:pt>
                <c:pt idx="96">
                  <c:v>1.2628579782648015</c:v>
                </c:pt>
                <c:pt idx="97">
                  <c:v>1.2183857766985855</c:v>
                </c:pt>
                <c:pt idx="98">
                  <c:v>1.2272073643410852</c:v>
                </c:pt>
                <c:pt idx="99">
                  <c:v>1.0618435549885168</c:v>
                </c:pt>
                <c:pt idx="100">
                  <c:v>1.1295275536203855</c:v>
                </c:pt>
                <c:pt idx="101">
                  <c:v>0.8979764154345474</c:v>
                </c:pt>
                <c:pt idx="102">
                  <c:v>0.9839568986628789</c:v>
                </c:pt>
                <c:pt idx="103">
                  <c:v>0.7984660205291784</c:v>
                </c:pt>
                <c:pt idx="104">
                  <c:v>1.0500329854475967</c:v>
                </c:pt>
              </c:numCache>
            </c:numRef>
          </c:xVal>
          <c:yVal>
            <c:numRef>
              <c:f>Sheet1!$B$2:$B$106</c:f>
              <c:numCache>
                <c:formatCode>General</c:formatCode>
                <c:ptCount val="105"/>
                <c:pt idx="0">
                  <c:v>0.21553090332805072</c:v>
                </c:pt>
                <c:pt idx="1">
                  <c:v>0.2835538752362949</c:v>
                </c:pt>
                <c:pt idx="2">
                  <c:v>0.2702205882352941</c:v>
                </c:pt>
                <c:pt idx="3">
                  <c:v>0.26118067978533094</c:v>
                </c:pt>
                <c:pt idx="4">
                  <c:v>0.25942350332594233</c:v>
                </c:pt>
                <c:pt idx="5">
                  <c:v>0.25630252100840334</c:v>
                </c:pt>
                <c:pt idx="6">
                  <c:v>0.2943396226415094</c:v>
                </c:pt>
                <c:pt idx="7">
                  <c:v>0.3188010899182561</c:v>
                </c:pt>
                <c:pt idx="8">
                  <c:v>0.28484848484848485</c:v>
                </c:pt>
                <c:pt idx="9">
                  <c:v>0.3023758099352052</c:v>
                </c:pt>
                <c:pt idx="10">
                  <c:v>0.30740037950664134</c:v>
                </c:pt>
                <c:pt idx="11">
                  <c:v>0.28112449799196787</c:v>
                </c:pt>
                <c:pt idx="12">
                  <c:v>0.2735229759299781</c:v>
                </c:pt>
                <c:pt idx="13">
                  <c:v>0.26595744680851063</c:v>
                </c:pt>
                <c:pt idx="14">
                  <c:v>0.2356687898089172</c:v>
                </c:pt>
                <c:pt idx="15">
                  <c:v>0.26433915211970077</c:v>
                </c:pt>
                <c:pt idx="16">
                  <c:v>0.22580645161290322</c:v>
                </c:pt>
                <c:pt idx="17">
                  <c:v>0.23921568627450981</c:v>
                </c:pt>
                <c:pt idx="18">
                  <c:v>0.18725099601593626</c:v>
                </c:pt>
                <c:pt idx="19">
                  <c:v>0.18442622950819673</c:v>
                </c:pt>
                <c:pt idx="20">
                  <c:v>0.1956521739130435</c:v>
                </c:pt>
                <c:pt idx="21">
                  <c:v>0.19875776397515527</c:v>
                </c:pt>
                <c:pt idx="22">
                  <c:v>0.2215909090909091</c:v>
                </c:pt>
                <c:pt idx="23">
                  <c:v>0.2641509433962264</c:v>
                </c:pt>
                <c:pt idx="24">
                  <c:v>0.34</c:v>
                </c:pt>
                <c:pt idx="25">
                  <c:v>0.3202247191011236</c:v>
                </c:pt>
                <c:pt idx="26">
                  <c:v>0.3333333333333333</c:v>
                </c:pt>
                <c:pt idx="27">
                  <c:v>0.30973451327433627</c:v>
                </c:pt>
                <c:pt idx="28">
                  <c:v>0.33587786259541985</c:v>
                </c:pt>
                <c:pt idx="29">
                  <c:v>0.33544303797468356</c:v>
                </c:pt>
                <c:pt idx="30">
                  <c:v>0.2966507177033493</c:v>
                </c:pt>
                <c:pt idx="31">
                  <c:v>0.33482142857142855</c:v>
                </c:pt>
                <c:pt idx="32">
                  <c:v>0.31981981981981983</c:v>
                </c:pt>
                <c:pt idx="33">
                  <c:v>0.3557951482479784</c:v>
                </c:pt>
                <c:pt idx="34">
                  <c:v>0.30656934306569344</c:v>
                </c:pt>
                <c:pt idx="35">
                  <c:v>0.3125</c:v>
                </c:pt>
                <c:pt idx="36">
                  <c:v>0.25287356321839083</c:v>
                </c:pt>
                <c:pt idx="37">
                  <c:v>0.2823529411764706</c:v>
                </c:pt>
                <c:pt idx="38">
                  <c:v>0.23921568627450981</c:v>
                </c:pt>
                <c:pt idx="39">
                  <c:v>0.24344569288389514</c:v>
                </c:pt>
                <c:pt idx="40">
                  <c:v>0.27335640138408307</c:v>
                </c:pt>
                <c:pt idx="41">
                  <c:v>0.26222222222222225</c:v>
                </c:pt>
                <c:pt idx="42">
                  <c:v>0.2785234899328859</c:v>
                </c:pt>
                <c:pt idx="43">
                  <c:v>0.275974025974026</c:v>
                </c:pt>
                <c:pt idx="44">
                  <c:v>0.2698961937716263</c:v>
                </c:pt>
                <c:pt idx="45">
                  <c:v>0.2655786350148368</c:v>
                </c:pt>
                <c:pt idx="46">
                  <c:v>0.2946859903381642</c:v>
                </c:pt>
                <c:pt idx="47">
                  <c:v>0.2961165048543689</c:v>
                </c:pt>
                <c:pt idx="48">
                  <c:v>0.29519918283963226</c:v>
                </c:pt>
                <c:pt idx="49">
                  <c:v>0.34842360549717055</c:v>
                </c:pt>
                <c:pt idx="50">
                  <c:v>0.33476394849785407</c:v>
                </c:pt>
                <c:pt idx="51">
                  <c:v>0.3342541436464088</c:v>
                </c:pt>
                <c:pt idx="52">
                  <c:v>0.3138401559454191</c:v>
                </c:pt>
                <c:pt idx="53">
                  <c:v>0.33240997229916897</c:v>
                </c:pt>
                <c:pt idx="54">
                  <c:v>0.2796934865900383</c:v>
                </c:pt>
                <c:pt idx="55">
                  <c:v>0.31135531135531136</c:v>
                </c:pt>
                <c:pt idx="56">
                  <c:v>0.299625468164794</c:v>
                </c:pt>
                <c:pt idx="57">
                  <c:v>0.31955922865013775</c:v>
                </c:pt>
                <c:pt idx="58">
                  <c:v>0.3498168498168498</c:v>
                </c:pt>
                <c:pt idx="59">
                  <c:v>0.3582251082251082</c:v>
                </c:pt>
                <c:pt idx="60">
                  <c:v>0.37731958762886597</c:v>
                </c:pt>
                <c:pt idx="61">
                  <c:v>0.30113636363636365</c:v>
                </c:pt>
                <c:pt idx="62">
                  <c:v>0.2756132756132756</c:v>
                </c:pt>
                <c:pt idx="63">
                  <c:v>0.22801788375558868</c:v>
                </c:pt>
                <c:pt idx="64">
                  <c:v>0.21818181818181817</c:v>
                </c:pt>
                <c:pt idx="65">
                  <c:v>0.21888412017167383</c:v>
                </c:pt>
                <c:pt idx="66">
                  <c:v>0.23702031602708803</c:v>
                </c:pt>
                <c:pt idx="67">
                  <c:v>0.22972972972972974</c:v>
                </c:pt>
                <c:pt idx="68">
                  <c:v>0.2</c:v>
                </c:pt>
                <c:pt idx="69">
                  <c:v>0.1691542288557214</c:v>
                </c:pt>
                <c:pt idx="70">
                  <c:v>0.15546218487394958</c:v>
                </c:pt>
                <c:pt idx="71">
                  <c:v>0.1717171717171717</c:v>
                </c:pt>
                <c:pt idx="72">
                  <c:v>0.25133689839572193</c:v>
                </c:pt>
                <c:pt idx="73">
                  <c:v>0.233502538071066</c:v>
                </c:pt>
                <c:pt idx="74">
                  <c:v>0.21171171171171171</c:v>
                </c:pt>
                <c:pt idx="75">
                  <c:v>0.19801980198019803</c:v>
                </c:pt>
                <c:pt idx="76">
                  <c:v>0.21393034825870647</c:v>
                </c:pt>
                <c:pt idx="77">
                  <c:v>0.20588235294117646</c:v>
                </c:pt>
                <c:pt idx="78">
                  <c:v>0.22093023255813954</c:v>
                </c:pt>
                <c:pt idx="79">
                  <c:v>0.21621621621621623</c:v>
                </c:pt>
                <c:pt idx="80">
                  <c:v>0.1925133689839572</c:v>
                </c:pt>
                <c:pt idx="81">
                  <c:v>0.17567567567567569</c:v>
                </c:pt>
                <c:pt idx="82">
                  <c:v>0.18181818181818182</c:v>
                </c:pt>
                <c:pt idx="83">
                  <c:v>0.20155038759689922</c:v>
                </c:pt>
                <c:pt idx="84">
                  <c:v>0.20270270270270271</c:v>
                </c:pt>
                <c:pt idx="85">
                  <c:v>0.18994413407821228</c:v>
                </c:pt>
                <c:pt idx="86">
                  <c:v>0.20446096654275092</c:v>
                </c:pt>
                <c:pt idx="87">
                  <c:v>0.2231404958677686</c:v>
                </c:pt>
                <c:pt idx="88">
                  <c:v>0.22900763358778625</c:v>
                </c:pt>
                <c:pt idx="89">
                  <c:v>0.2558139534883721</c:v>
                </c:pt>
                <c:pt idx="90">
                  <c:v>0.23880597014925373</c:v>
                </c:pt>
                <c:pt idx="91">
                  <c:v>0.2191780821917808</c:v>
                </c:pt>
                <c:pt idx="92">
                  <c:v>0.27692307692307694</c:v>
                </c:pt>
                <c:pt idx="93">
                  <c:v>0.2383177570093458</c:v>
                </c:pt>
                <c:pt idx="94">
                  <c:v>0.23626373626373626</c:v>
                </c:pt>
                <c:pt idx="95">
                  <c:v>0.2302158273381295</c:v>
                </c:pt>
                <c:pt idx="96">
                  <c:v>0.22753346080305928</c:v>
                </c:pt>
                <c:pt idx="97">
                  <c:v>0.24735449735449735</c:v>
                </c:pt>
                <c:pt idx="98">
                  <c:v>0.25184275184275184</c:v>
                </c:pt>
                <c:pt idx="99">
                  <c:v>0.2566287878787879</c:v>
                </c:pt>
                <c:pt idx="100">
                  <c:v>0.257372654155496</c:v>
                </c:pt>
                <c:pt idx="101">
                  <c:v>0.26916524701873934</c:v>
                </c:pt>
                <c:pt idx="102">
                  <c:v>0.26582278481012656</c:v>
                </c:pt>
                <c:pt idx="103">
                  <c:v>0.24434389140271492</c:v>
                </c:pt>
                <c:pt idx="104">
                  <c:v>0.271812080536912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409148254883126</c:v>
                </c:pt>
                <c:pt idx="1">
                  <c:v>0.9263624229708975</c:v>
                </c:pt>
                <c:pt idx="2">
                  <c:v>0.9623167750334731</c:v>
                </c:pt>
                <c:pt idx="3">
                  <c:v>1.003588494161292</c:v>
                </c:pt>
                <c:pt idx="4">
                  <c:v>0.9695531313416043</c:v>
                </c:pt>
                <c:pt idx="5">
                  <c:v>0.9436178580134372</c:v>
                </c:pt>
                <c:pt idx="6">
                  <c:v>1.0177822447728726</c:v>
                </c:pt>
                <c:pt idx="7">
                  <c:v>0.9598777640772708</c:v>
                </c:pt>
                <c:pt idx="8">
                  <c:v>0.9315543122703616</c:v>
                </c:pt>
                <c:pt idx="9">
                  <c:v>1.1875183364896744</c:v>
                </c:pt>
                <c:pt idx="10">
                  <c:v>0.9963325968959562</c:v>
                </c:pt>
                <c:pt idx="11">
                  <c:v>0.7693979588464227</c:v>
                </c:pt>
                <c:pt idx="12">
                  <c:v>0.7395049757009233</c:v>
                </c:pt>
                <c:pt idx="13">
                  <c:v>0.8922446878555558</c:v>
                </c:pt>
                <c:pt idx="14">
                  <c:v>0.721102226678391</c:v>
                </c:pt>
                <c:pt idx="15">
                  <c:v>0.7667353413017227</c:v>
                </c:pt>
                <c:pt idx="16">
                  <c:v>0.766840124003543</c:v>
                </c:pt>
                <c:pt idx="17">
                  <c:v>0.7505933141152076</c:v>
                </c:pt>
                <c:pt idx="18">
                  <c:v>1.0048730866284723</c:v>
                </c:pt>
                <c:pt idx="19">
                  <c:v>0.9045772781065089</c:v>
                </c:pt>
                <c:pt idx="20">
                  <c:v>0.6967129464580444</c:v>
                </c:pt>
                <c:pt idx="21">
                  <c:v>0.9304638234413144</c:v>
                </c:pt>
                <c:pt idx="22">
                  <c:v>0.8499006229052215</c:v>
                </c:pt>
                <c:pt idx="23">
                  <c:v>1.1813808636303977</c:v>
                </c:pt>
                <c:pt idx="24">
                  <c:v>0.7400462271135775</c:v>
                </c:pt>
                <c:pt idx="25">
                  <c:v>0.8912171736175695</c:v>
                </c:pt>
                <c:pt idx="26">
                  <c:v>0.9121799362762137</c:v>
                </c:pt>
                <c:pt idx="27">
                  <c:v>0.9467678502188002</c:v>
                </c:pt>
                <c:pt idx="28">
                  <c:v>1.1017637963105467</c:v>
                </c:pt>
                <c:pt idx="29">
                  <c:v>1.0187294526816768</c:v>
                </c:pt>
                <c:pt idx="30">
                  <c:v>1.3167863672467326</c:v>
                </c:pt>
                <c:pt idx="31">
                  <c:v>1.3135605831533477</c:v>
                </c:pt>
                <c:pt idx="32">
                  <c:v>1.070887669985177</c:v>
                </c:pt>
                <c:pt idx="33">
                  <c:v>0.7910158772240548</c:v>
                </c:pt>
                <c:pt idx="34">
                  <c:v>1.2138669451544102</c:v>
                </c:pt>
                <c:pt idx="35">
                  <c:v>0.9225159645603477</c:v>
                </c:pt>
                <c:pt idx="36">
                  <c:v>1.001437549770291</c:v>
                </c:pt>
                <c:pt idx="37">
                  <c:v>0.8938834811154441</c:v>
                </c:pt>
                <c:pt idx="38">
                  <c:v>0.816627540226254</c:v>
                </c:pt>
                <c:pt idx="39">
                  <c:v>1.1592229009993824</c:v>
                </c:pt>
                <c:pt idx="40">
                  <c:v>1.2276016138112216</c:v>
                </c:pt>
                <c:pt idx="41">
                  <c:v>1.226440549262798</c:v>
                </c:pt>
                <c:pt idx="42">
                  <c:v>1.0270884915772003</c:v>
                </c:pt>
                <c:pt idx="43">
                  <c:v>0.9456964916072329</c:v>
                </c:pt>
                <c:pt idx="44">
                  <c:v>1.0417381389712206</c:v>
                </c:pt>
                <c:pt idx="45">
                  <c:v>0.9940219852149944</c:v>
                </c:pt>
                <c:pt idx="46">
                  <c:v>0.8295328333743005</c:v>
                </c:pt>
                <c:pt idx="47">
                  <c:v>0.8523332924913454</c:v>
                </c:pt>
                <c:pt idx="48">
                  <c:v>0.9175159906396255</c:v>
                </c:pt>
                <c:pt idx="49">
                  <c:v>1.024781210370827</c:v>
                </c:pt>
                <c:pt idx="50">
                  <c:v>0.7544426246082296</c:v>
                </c:pt>
                <c:pt idx="51">
                  <c:v>0.7969468439782731</c:v>
                </c:pt>
              </c:numCache>
            </c:numRef>
          </c:xVal>
          <c:yVal>
            <c:numRef>
              <c:f>Sheet1!$B$109:$B$160</c:f>
              <c:numCache>
                <c:formatCode>General</c:formatCode>
                <c:ptCount val="52"/>
                <c:pt idx="0">
                  <c:v>0.27002967359050445</c:v>
                </c:pt>
                <c:pt idx="1">
                  <c:v>0.3160621761658031</c:v>
                </c:pt>
                <c:pt idx="2">
                  <c:v>0.38074398249452956</c:v>
                </c:pt>
                <c:pt idx="3">
                  <c:v>0.3758241758241758</c:v>
                </c:pt>
                <c:pt idx="4">
                  <c:v>0.35799522673031026</c:v>
                </c:pt>
                <c:pt idx="5">
                  <c:v>0.3744186046511628</c:v>
                </c:pt>
                <c:pt idx="6">
                  <c:v>0.2680221811460259</c:v>
                </c:pt>
                <c:pt idx="7">
                  <c:v>0.3197424892703863</c:v>
                </c:pt>
                <c:pt idx="8">
                  <c:v>0.2918149466192171</c:v>
                </c:pt>
                <c:pt idx="9">
                  <c:v>0.29180327868852457</c:v>
                </c:pt>
                <c:pt idx="10">
                  <c:v>0.26426426426426425</c:v>
                </c:pt>
                <c:pt idx="11">
                  <c:v>0.3601694915254237</c:v>
                </c:pt>
                <c:pt idx="12">
                  <c:v>0.3764367816091954</c:v>
                </c:pt>
                <c:pt idx="13">
                  <c:v>0.3871951219512195</c:v>
                </c:pt>
                <c:pt idx="14">
                  <c:v>0.35294117647058826</c:v>
                </c:pt>
                <c:pt idx="15">
                  <c:v>0.3862815884476534</c:v>
                </c:pt>
                <c:pt idx="16">
                  <c:v>0.34934497816593885</c:v>
                </c:pt>
                <c:pt idx="17">
                  <c:v>0.3347107438016529</c:v>
                </c:pt>
                <c:pt idx="18">
                  <c:v>0.2226027397260274</c:v>
                </c:pt>
                <c:pt idx="19">
                  <c:v>0.2648401826484018</c:v>
                </c:pt>
                <c:pt idx="20">
                  <c:v>0.30201342281879195</c:v>
                </c:pt>
                <c:pt idx="21">
                  <c:v>0.20161290322580644</c:v>
                </c:pt>
                <c:pt idx="22">
                  <c:v>0.2912621359223301</c:v>
                </c:pt>
                <c:pt idx="23">
                  <c:v>0.272</c:v>
                </c:pt>
                <c:pt idx="24">
                  <c:v>0.34057971014492755</c:v>
                </c:pt>
                <c:pt idx="25">
                  <c:v>0.29365079365079366</c:v>
                </c:pt>
                <c:pt idx="26">
                  <c:v>0.2967741935483871</c:v>
                </c:pt>
                <c:pt idx="27">
                  <c:v>0.2639593908629442</c:v>
                </c:pt>
                <c:pt idx="28">
                  <c:v>0.29017857142857145</c:v>
                </c:pt>
                <c:pt idx="29">
                  <c:v>0.2974683544303797</c:v>
                </c:pt>
                <c:pt idx="30">
                  <c:v>0.2804878048780488</c:v>
                </c:pt>
                <c:pt idx="31">
                  <c:v>0.25766871165644173</c:v>
                </c:pt>
                <c:pt idx="32">
                  <c:v>0.30092592592592593</c:v>
                </c:pt>
                <c:pt idx="33">
                  <c:v>0.35125448028673834</c:v>
                </c:pt>
                <c:pt idx="34">
                  <c:v>0.29337539432176657</c:v>
                </c:pt>
                <c:pt idx="35">
                  <c:v>0.28342245989304815</c:v>
                </c:pt>
                <c:pt idx="36">
                  <c:v>0.31092436974789917</c:v>
                </c:pt>
                <c:pt idx="37">
                  <c:v>0.3197278911564626</c:v>
                </c:pt>
                <c:pt idx="38">
                  <c:v>0.2925170068027211</c:v>
                </c:pt>
                <c:pt idx="39">
                  <c:v>0.2931937172774869</c:v>
                </c:pt>
                <c:pt idx="40">
                  <c:v>0.26627218934911245</c:v>
                </c:pt>
                <c:pt idx="41">
                  <c:v>0.27624309392265195</c:v>
                </c:pt>
                <c:pt idx="42">
                  <c:v>0.19594594594594594</c:v>
                </c:pt>
                <c:pt idx="43">
                  <c:v>0.2364341085271318</c:v>
                </c:pt>
                <c:pt idx="44">
                  <c:v>0.20424403183023873</c:v>
                </c:pt>
                <c:pt idx="45">
                  <c:v>0.20481927710843373</c:v>
                </c:pt>
                <c:pt idx="46">
                  <c:v>0.2327790973871734</c:v>
                </c:pt>
                <c:pt idx="47">
                  <c:v>0.23627684964200477</c:v>
                </c:pt>
                <c:pt idx="48">
                  <c:v>0.2287145242070117</c:v>
                </c:pt>
                <c:pt idx="49">
                  <c:v>0.22492836676217765</c:v>
                </c:pt>
                <c:pt idx="50">
                  <c:v>0.2660996354799514</c:v>
                </c:pt>
                <c:pt idx="51">
                  <c:v>0.26328502415458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49041251220153</c:v>
                </c:pt>
              </c:numCache>
            </c:numRef>
          </c:xVal>
          <c:yVal>
            <c:numRef>
              <c:f>Sheet1!$B$163:$B$164</c:f>
              <c:numCache>
                <c:formatCode>General</c:formatCode>
                <c:ptCount val="2"/>
                <c:pt idx="0">
                  <c:v>0.32726815762744305</c:v>
                </c:pt>
                <c:pt idx="1">
                  <c:v>0.327268157627443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49041251220153</c:v>
                </c:pt>
                <c:pt idx="1">
                  <c:v>0.649041251220153</c:v>
                </c:pt>
              </c:numCache>
            </c:numRef>
          </c:xVal>
          <c:yVal>
            <c:numRef>
              <c:f>Sheet1!$B$167:$B$168</c:f>
              <c:numCache>
                <c:formatCode>General</c:formatCode>
                <c:ptCount val="2"/>
                <c:pt idx="0">
                  <c:v>0.327268157627443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399268384191404</c:v>
                </c:pt>
              </c:numCache>
            </c:numRef>
          </c:xVal>
          <c:yVal>
            <c:numRef>
              <c:f>Sheet1!$B$171:$B$172</c:f>
              <c:numCache>
                <c:formatCode>General</c:formatCode>
                <c:ptCount val="2"/>
                <c:pt idx="0">
                  <c:v>0.3282948284991239</c:v>
                </c:pt>
                <c:pt idx="1">
                  <c:v>0.328294828499123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399268384191404</c:v>
                </c:pt>
                <c:pt idx="1">
                  <c:v>0.6399268384191404</c:v>
                </c:pt>
              </c:numCache>
            </c:numRef>
          </c:xVal>
          <c:yVal>
            <c:numRef>
              <c:f>Sheet1!$B$175:$B$176</c:f>
              <c:numCache>
                <c:formatCode>General</c:formatCode>
                <c:ptCount val="2"/>
                <c:pt idx="0">
                  <c:v>0.328294828499123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174692762654866</c:v>
                </c:pt>
              </c:numCache>
            </c:numRef>
          </c:xVal>
          <c:yVal>
            <c:numRef>
              <c:f>Sheet1!$B$179:$B$180</c:f>
              <c:numCache>
                <c:formatCode>General</c:formatCode>
                <c:ptCount val="2"/>
                <c:pt idx="0">
                  <c:v>0.2407104508918392</c:v>
                </c:pt>
                <c:pt idx="1">
                  <c:v>0.2407104508918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174692762654866</c:v>
                </c:pt>
                <c:pt idx="1">
                  <c:v>1.4174692762654866</c:v>
                </c:pt>
              </c:numCache>
            </c:numRef>
          </c:xVal>
          <c:yVal>
            <c:numRef>
              <c:f>Sheet1!$B$183:$B$184</c:f>
              <c:numCache>
                <c:formatCode>General</c:formatCode>
                <c:ptCount val="2"/>
                <c:pt idx="0">
                  <c:v>0.2407104508918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409148254883126</c:v>
                </c:pt>
                <c:pt idx="1">
                  <c:v>0.9263624229708975</c:v>
                </c:pt>
                <c:pt idx="2">
                  <c:v>0.9623167750334731</c:v>
                </c:pt>
                <c:pt idx="3">
                  <c:v>1.003588494161292</c:v>
                </c:pt>
                <c:pt idx="4">
                  <c:v>0.9695531313416043</c:v>
                </c:pt>
                <c:pt idx="5">
                  <c:v>0.9436178580134372</c:v>
                </c:pt>
                <c:pt idx="6">
                  <c:v>1.0177822447728726</c:v>
                </c:pt>
                <c:pt idx="7">
                  <c:v>0.9598777640772708</c:v>
                </c:pt>
                <c:pt idx="8">
                  <c:v>0.9315543122703616</c:v>
                </c:pt>
                <c:pt idx="9">
                  <c:v>1.1875183364896744</c:v>
                </c:pt>
                <c:pt idx="10">
                  <c:v>0.9963325968959562</c:v>
                </c:pt>
                <c:pt idx="11">
                  <c:v>0.7693979588464227</c:v>
                </c:pt>
                <c:pt idx="12">
                  <c:v>0.7395049757009233</c:v>
                </c:pt>
                <c:pt idx="13">
                  <c:v>0.8922446878555558</c:v>
                </c:pt>
                <c:pt idx="14">
                  <c:v>0.721102226678391</c:v>
                </c:pt>
                <c:pt idx="15">
                  <c:v>0.7667353413017227</c:v>
                </c:pt>
                <c:pt idx="16">
                  <c:v>0.766840124003543</c:v>
                </c:pt>
                <c:pt idx="17">
                  <c:v>0.7505933141152076</c:v>
                </c:pt>
                <c:pt idx="18">
                  <c:v>1.0048730866284723</c:v>
                </c:pt>
                <c:pt idx="19">
                  <c:v>0.9045772781065089</c:v>
                </c:pt>
                <c:pt idx="20">
                  <c:v>0.6967129464580444</c:v>
                </c:pt>
                <c:pt idx="21">
                  <c:v>0.9304638234413144</c:v>
                </c:pt>
                <c:pt idx="22">
                  <c:v>0.8499006229052215</c:v>
                </c:pt>
                <c:pt idx="23">
                  <c:v>1.1813808636303977</c:v>
                </c:pt>
                <c:pt idx="24">
                  <c:v>0.7400462271135775</c:v>
                </c:pt>
                <c:pt idx="25">
                  <c:v>0.8912171736175695</c:v>
                </c:pt>
                <c:pt idx="26">
                  <c:v>0.9121799362762137</c:v>
                </c:pt>
                <c:pt idx="27">
                  <c:v>0.9467678502188002</c:v>
                </c:pt>
                <c:pt idx="28">
                  <c:v>1.1017637963105467</c:v>
                </c:pt>
                <c:pt idx="29">
                  <c:v>1.0187294526816768</c:v>
                </c:pt>
                <c:pt idx="30">
                  <c:v>1.3167863672467326</c:v>
                </c:pt>
                <c:pt idx="31">
                  <c:v>1.3135605831533477</c:v>
                </c:pt>
                <c:pt idx="32">
                  <c:v>1.070887669985177</c:v>
                </c:pt>
                <c:pt idx="33">
                  <c:v>0.7910158772240548</c:v>
                </c:pt>
                <c:pt idx="34">
                  <c:v>1.2138669451544102</c:v>
                </c:pt>
                <c:pt idx="35">
                  <c:v>0.9225159645603477</c:v>
                </c:pt>
                <c:pt idx="36">
                  <c:v>1.001437549770291</c:v>
                </c:pt>
                <c:pt idx="37">
                  <c:v>0.8938834811154441</c:v>
                </c:pt>
                <c:pt idx="38">
                  <c:v>0.816627540226254</c:v>
                </c:pt>
                <c:pt idx="39">
                  <c:v>1.1592229009993824</c:v>
                </c:pt>
                <c:pt idx="40">
                  <c:v>1.2276016138112216</c:v>
                </c:pt>
                <c:pt idx="41">
                  <c:v>1.226440549262798</c:v>
                </c:pt>
                <c:pt idx="42">
                  <c:v>1.0270884915772003</c:v>
                </c:pt>
                <c:pt idx="43">
                  <c:v>0.9456964916072329</c:v>
                </c:pt>
                <c:pt idx="44">
                  <c:v>1.0417381389712206</c:v>
                </c:pt>
                <c:pt idx="45">
                  <c:v>0.9940219852149944</c:v>
                </c:pt>
                <c:pt idx="46">
                  <c:v>0.8295328333743005</c:v>
                </c:pt>
                <c:pt idx="47">
                  <c:v>0.8523332924913454</c:v>
                </c:pt>
                <c:pt idx="48">
                  <c:v>0.9175159906396255</c:v>
                </c:pt>
                <c:pt idx="49">
                  <c:v>1.024781210370827</c:v>
                </c:pt>
                <c:pt idx="50">
                  <c:v>0.7544426246082296</c:v>
                </c:pt>
                <c:pt idx="51">
                  <c:v>0.7969468439782731</c:v>
                </c:pt>
                <c:pt idx="52">
                  <c:v>0.6399268384191404</c:v>
                </c:pt>
                <c:pt idx="53">
                  <c:v>0.649041251220153</c:v>
                </c:pt>
                <c:pt idx="54">
                  <c:v>1.4174692762654866</c:v>
                </c:pt>
              </c:numCache>
            </c:numRef>
          </c:xVal>
          <c:yVal>
            <c:numRef>
              <c:f>Sheet1!$B$187:$B$241</c:f>
              <c:numCache>
                <c:formatCode>General</c:formatCode>
                <c:ptCount val="55"/>
                <c:pt idx="0">
                  <c:v>0.2718622546608186</c:v>
                </c:pt>
                <c:pt idx="1">
                  <c:v>0.29602998843839134</c:v>
                </c:pt>
                <c:pt idx="2">
                  <c:v>0.2919799978598756</c:v>
                </c:pt>
                <c:pt idx="3">
                  <c:v>0.28733104539548676</c:v>
                </c:pt>
                <c:pt idx="4">
                  <c:v>0.29116487609604275</c:v>
                </c:pt>
                <c:pt idx="5">
                  <c:v>0.2940862919081675</c:v>
                </c:pt>
                <c:pt idx="6">
                  <c:v>0.28573222486464656</c:v>
                </c:pt>
                <c:pt idx="7">
                  <c:v>0.2922547343194932</c:v>
                </c:pt>
                <c:pt idx="8">
                  <c:v>0.2954451606903922</c:v>
                </c:pt>
                <c:pt idx="9">
                  <c:v>0.2666127154630943</c:v>
                </c:pt>
                <c:pt idx="10">
                  <c:v>0.28814836830293744</c:v>
                </c:pt>
                <c:pt idx="11">
                  <c:v>0.3137108688992465</c:v>
                </c:pt>
                <c:pt idx="12">
                  <c:v>0.3170780913120519</c:v>
                </c:pt>
                <c:pt idx="13">
                  <c:v>0.29987309776593385</c:v>
                </c:pt>
                <c:pt idx="14">
                  <c:v>0.31915102423628683</c:v>
                </c:pt>
                <c:pt idx="15">
                  <c:v>0.3140107929794095</c:v>
                </c:pt>
                <c:pt idx="16">
                  <c:v>0.31399898998670295</c:v>
                </c:pt>
                <c:pt idx="17">
                  <c:v>0.3158290723885267</c:v>
                </c:pt>
                <c:pt idx="18">
                  <c:v>0.28718634560002787</c:v>
                </c:pt>
                <c:pt idx="19">
                  <c:v>0.29848392311920047</c:v>
                </c:pt>
                <c:pt idx="20">
                  <c:v>0.32189829541328574</c:v>
                </c:pt>
                <c:pt idx="21">
                  <c:v>0.29556799615342405</c:v>
                </c:pt>
                <c:pt idx="22">
                  <c:v>0.30464284201849173</c:v>
                </c:pt>
                <c:pt idx="23">
                  <c:v>0.2673040561723554</c:v>
                </c:pt>
                <c:pt idx="24">
                  <c:v>0.3170171233625241</c:v>
                </c:pt>
                <c:pt idx="25">
                  <c:v>0.2999888396092549</c:v>
                </c:pt>
                <c:pt idx="26">
                  <c:v>0.29762754017269677</c:v>
                </c:pt>
                <c:pt idx="27">
                  <c:v>0.29373146869422345</c:v>
                </c:pt>
                <c:pt idx="28">
                  <c:v>0.276272327161449</c:v>
                </c:pt>
                <c:pt idx="29">
                  <c:v>0.2856255289325414</c:v>
                </c:pt>
                <c:pt idx="30">
                  <c:v>0.2520516324053826</c:v>
                </c:pt>
                <c:pt idx="31">
                  <c:v>0.2524149930122932</c:v>
                </c:pt>
                <c:pt idx="32">
                  <c:v>0.2797502933476056</c:v>
                </c:pt>
                <c:pt idx="33">
                  <c:v>0.31127577103948934</c:v>
                </c:pt>
                <c:pt idx="34">
                  <c:v>0.2636447404968522</c:v>
                </c:pt>
                <c:pt idx="35">
                  <c:v>0.2964632633948213</c:v>
                </c:pt>
                <c:pt idx="36">
                  <c:v>0.2875733332971935</c:v>
                </c:pt>
                <c:pt idx="37">
                  <c:v>0.2996884998832872</c:v>
                </c:pt>
                <c:pt idx="38">
                  <c:v>0.3083908075257957</c:v>
                </c:pt>
                <c:pt idx="39">
                  <c:v>0.26979998600411914</c:v>
                </c:pt>
                <c:pt idx="40">
                  <c:v>0.2620976321367207</c:v>
                </c:pt>
                <c:pt idx="41">
                  <c:v>0.26222841743008324</c:v>
                </c:pt>
                <c:pt idx="42">
                  <c:v>0.284683945318035</c:v>
                </c:pt>
                <c:pt idx="43">
                  <c:v>0.2938521492804153</c:v>
                </c:pt>
                <c:pt idx="44">
                  <c:v>0.2830337714024795</c:v>
                </c:pt>
                <c:pt idx="45">
                  <c:v>0.2884086415383504</c:v>
                </c:pt>
                <c:pt idx="46">
                  <c:v>0.3069371221535323</c:v>
                </c:pt>
                <c:pt idx="47">
                  <c:v>0.30436881986708997</c:v>
                </c:pt>
                <c:pt idx="48">
                  <c:v>0.2970264733015527</c:v>
                </c:pt>
                <c:pt idx="49">
                  <c:v>0.2849438434002347</c:v>
                </c:pt>
                <c:pt idx="50">
                  <c:v>0.31539547616620045</c:v>
                </c:pt>
                <c:pt idx="51">
                  <c:v>0.31060769170839003</c:v>
                </c:pt>
                <c:pt idx="52">
                  <c:v>0.3282948284991239</c:v>
                </c:pt>
                <c:pt idx="53">
                  <c:v>0.32726815762744305</c:v>
                </c:pt>
                <c:pt idx="54">
                  <c:v>0.2407104508918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46341463414634"/>
          <c:min val="0.124369747899159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4.4632</c:v>
                </c:pt>
                <c:pt idx="1">
                  <c:v>1050.1333</c:v>
                </c:pt>
                <c:pt idx="2">
                  <c:v>1172.8707</c:v>
                </c:pt>
                <c:pt idx="3">
                  <c:v>1153.7123</c:v>
                </c:pt>
                <c:pt idx="4">
                  <c:v>1163.5556</c:v>
                </c:pt>
                <c:pt idx="5">
                  <c:v>1141.3033</c:v>
                </c:pt>
                <c:pt idx="6">
                  <c:v>1019.8846</c:v>
                </c:pt>
                <c:pt idx="7">
                  <c:v>1026.4701</c:v>
                </c:pt>
                <c:pt idx="8">
                  <c:v>1112.0</c:v>
                </c:pt>
                <c:pt idx="9">
                  <c:v>1078.15</c:v>
                </c:pt>
                <c:pt idx="10">
                  <c:v>1054.284</c:v>
                </c:pt>
                <c:pt idx="11">
                  <c:v>1110.0214</c:v>
                </c:pt>
                <c:pt idx="12">
                  <c:v>1162.736</c:v>
                </c:pt>
                <c:pt idx="13">
                  <c:v>1144.616</c:v>
                </c:pt>
                <c:pt idx="14">
                  <c:v>1171.8018</c:v>
                </c:pt>
                <c:pt idx="15">
                  <c:v>1180.6038</c:v>
                </c:pt>
                <c:pt idx="16">
                  <c:v>1203.8571</c:v>
                </c:pt>
                <c:pt idx="17">
                  <c:v>1238.1639</c:v>
                </c:pt>
                <c:pt idx="18">
                  <c:v>1317.5106</c:v>
                </c:pt>
                <c:pt idx="19">
                  <c:v>1279.8889</c:v>
                </c:pt>
                <c:pt idx="20">
                  <c:v>1387.3333</c:v>
                </c:pt>
                <c:pt idx="21">
                  <c:v>1353.9063</c:v>
                </c:pt>
                <c:pt idx="22">
                  <c:v>1361.9744</c:v>
                </c:pt>
                <c:pt idx="23">
                  <c:v>1314.881</c:v>
                </c:pt>
                <c:pt idx="24">
                  <c:v>1103.8676</c:v>
                </c:pt>
                <c:pt idx="25">
                  <c:v>1200.7368</c:v>
                </c:pt>
                <c:pt idx="26">
                  <c:v>1151.8481</c:v>
                </c:pt>
                <c:pt idx="27">
                  <c:v>1207.0</c:v>
                </c:pt>
                <c:pt idx="28">
                  <c:v>1196.9318</c:v>
                </c:pt>
                <c:pt idx="29">
                  <c:v>1084.5755</c:v>
                </c:pt>
                <c:pt idx="30">
                  <c:v>1144.6613</c:v>
                </c:pt>
                <c:pt idx="31">
                  <c:v>1110.04</c:v>
                </c:pt>
                <c:pt idx="32">
                  <c:v>1132.0282</c:v>
                </c:pt>
                <c:pt idx="33">
                  <c:v>996.1288</c:v>
                </c:pt>
                <c:pt idx="34">
                  <c:v>1157.9286</c:v>
                </c:pt>
                <c:pt idx="35">
                  <c:v>1199.7391</c:v>
                </c:pt>
                <c:pt idx="36">
                  <c:v>1135.697</c:v>
                </c:pt>
                <c:pt idx="37">
                  <c:v>1045.9722</c:v>
                </c:pt>
                <c:pt idx="38">
                  <c:v>1277.9508</c:v>
                </c:pt>
                <c:pt idx="39">
                  <c:v>1262.9231</c:v>
                </c:pt>
                <c:pt idx="40">
                  <c:v>1350.5063</c:v>
                </c:pt>
                <c:pt idx="41">
                  <c:v>1353.2542</c:v>
                </c:pt>
                <c:pt idx="42">
                  <c:v>1418.1205</c:v>
                </c:pt>
                <c:pt idx="43">
                  <c:v>1466.7176</c:v>
                </c:pt>
                <c:pt idx="44">
                  <c:v>1344.7051</c:v>
                </c:pt>
                <c:pt idx="45">
                  <c:v>1278.3017</c:v>
                </c:pt>
                <c:pt idx="46">
                  <c:v>1273.6339</c:v>
                </c:pt>
                <c:pt idx="47">
                  <c:v>1258.7596</c:v>
                </c:pt>
                <c:pt idx="48">
                  <c:v>1275.3841</c:v>
                </c:pt>
                <c:pt idx="49">
                  <c:v>1200.9675</c:v>
                </c:pt>
                <c:pt idx="50">
                  <c:v>1179.859</c:v>
                </c:pt>
                <c:pt idx="51">
                  <c:v>1180.405</c:v>
                </c:pt>
                <c:pt idx="52">
                  <c:v>1227.8509</c:v>
                </c:pt>
                <c:pt idx="53">
                  <c:v>1277.7333</c:v>
                </c:pt>
                <c:pt idx="54">
                  <c:v>1407.4384</c:v>
                </c:pt>
                <c:pt idx="55">
                  <c:v>1358.7059</c:v>
                </c:pt>
                <c:pt idx="56">
                  <c:v>1363.0625</c:v>
                </c:pt>
                <c:pt idx="57">
                  <c:v>1331.8362</c:v>
                </c:pt>
                <c:pt idx="58">
                  <c:v>1204.8168</c:v>
                </c:pt>
                <c:pt idx="59">
                  <c:v>1180.7523</c:v>
                </c:pt>
                <c:pt idx="60">
                  <c:v>1174.847</c:v>
                </c:pt>
                <c:pt idx="61">
                  <c:v>1311.3208</c:v>
                </c:pt>
                <c:pt idx="62">
                  <c:v>1210.4084</c:v>
                </c:pt>
                <c:pt idx="63">
                  <c:v>1257.3725</c:v>
                </c:pt>
                <c:pt idx="64">
                  <c:v>1305.6583</c:v>
                </c:pt>
                <c:pt idx="65">
                  <c:v>1275.3922</c:v>
                </c:pt>
                <c:pt idx="66">
                  <c:v>1174.6095</c:v>
                </c:pt>
                <c:pt idx="67">
                  <c:v>1227.8137</c:v>
                </c:pt>
                <c:pt idx="68">
                  <c:v>1186.6724</c:v>
                </c:pt>
                <c:pt idx="69">
                  <c:v>1280.1765</c:v>
                </c:pt>
                <c:pt idx="70">
                  <c:v>1265.9459</c:v>
                </c:pt>
                <c:pt idx="71">
                  <c:v>1443.6765</c:v>
                </c:pt>
                <c:pt idx="72">
                  <c:v>1257.8298</c:v>
                </c:pt>
                <c:pt idx="73">
                  <c:v>1365.9783</c:v>
                </c:pt>
                <c:pt idx="74">
                  <c:v>1435.0851</c:v>
                </c:pt>
                <c:pt idx="75">
                  <c:v>1429.225</c:v>
                </c:pt>
                <c:pt idx="76">
                  <c:v>1458.3721</c:v>
                </c:pt>
                <c:pt idx="77">
                  <c:v>1487.3714</c:v>
                </c:pt>
                <c:pt idx="78">
                  <c:v>1522.5526</c:v>
                </c:pt>
                <c:pt idx="79">
                  <c:v>1456.75</c:v>
                </c:pt>
                <c:pt idx="80">
                  <c:v>1340.5278</c:v>
                </c:pt>
                <c:pt idx="81">
                  <c:v>1361.7179</c:v>
                </c:pt>
                <c:pt idx="82">
                  <c:v>1387.8</c:v>
                </c:pt>
                <c:pt idx="83">
                  <c:v>1391.8462</c:v>
                </c:pt>
                <c:pt idx="84">
                  <c:v>1228.8333</c:v>
                </c:pt>
                <c:pt idx="85">
                  <c:v>1401.5</c:v>
                </c:pt>
                <c:pt idx="86">
                  <c:v>1370.0909</c:v>
                </c:pt>
                <c:pt idx="87">
                  <c:v>1401.1481</c:v>
                </c:pt>
                <c:pt idx="88">
                  <c:v>1285.0333</c:v>
                </c:pt>
                <c:pt idx="89">
                  <c:v>1283.8788</c:v>
                </c:pt>
                <c:pt idx="90">
                  <c:v>1508.375</c:v>
                </c:pt>
                <c:pt idx="91">
                  <c:v>1473.0</c:v>
                </c:pt>
                <c:pt idx="92">
                  <c:v>1207.5741</c:v>
                </c:pt>
                <c:pt idx="93">
                  <c:v>1414.4314</c:v>
                </c:pt>
                <c:pt idx="94">
                  <c:v>1454.3721</c:v>
                </c:pt>
                <c:pt idx="95">
                  <c:v>1375.4219</c:v>
                </c:pt>
                <c:pt idx="96">
                  <c:v>1245.6134</c:v>
                </c:pt>
                <c:pt idx="97">
                  <c:v>1292.9572</c:v>
                </c:pt>
                <c:pt idx="98">
                  <c:v>1266.478</c:v>
                </c:pt>
                <c:pt idx="99">
                  <c:v>1272.0443</c:v>
                </c:pt>
                <c:pt idx="100">
                  <c:v>1284.6493</c:v>
                </c:pt>
                <c:pt idx="101">
                  <c:v>1245.0443</c:v>
                </c:pt>
                <c:pt idx="102">
                  <c:v>1255.5905</c:v>
                </c:pt>
                <c:pt idx="103">
                  <c:v>1220.3056</c:v>
                </c:pt>
                <c:pt idx="104">
                  <c:v>1339.3827</c:v>
                </c:pt>
              </c:numCache>
            </c:numRef>
          </c:xVal>
          <c:yVal>
            <c:numRef>
              <c:f>Sheet1!$B$2:$B$106</c:f>
              <c:numCache>
                <c:formatCode>General</c:formatCode>
                <c:ptCount val="105"/>
                <c:pt idx="0">
                  <c:v>0.21553090332805072</c:v>
                </c:pt>
                <c:pt idx="1">
                  <c:v>0.2835538752362949</c:v>
                </c:pt>
                <c:pt idx="2">
                  <c:v>0.2702205882352941</c:v>
                </c:pt>
                <c:pt idx="3">
                  <c:v>0.26118067978533094</c:v>
                </c:pt>
                <c:pt idx="4">
                  <c:v>0.25942350332594233</c:v>
                </c:pt>
                <c:pt idx="5">
                  <c:v>0.25630252100840334</c:v>
                </c:pt>
                <c:pt idx="6">
                  <c:v>0.2943396226415094</c:v>
                </c:pt>
                <c:pt idx="7">
                  <c:v>0.3188010899182561</c:v>
                </c:pt>
                <c:pt idx="8">
                  <c:v>0.28484848484848485</c:v>
                </c:pt>
                <c:pt idx="9">
                  <c:v>0.3023758099352052</c:v>
                </c:pt>
                <c:pt idx="10">
                  <c:v>0.30740037950664134</c:v>
                </c:pt>
                <c:pt idx="11">
                  <c:v>0.28112449799196787</c:v>
                </c:pt>
                <c:pt idx="12">
                  <c:v>0.2735229759299781</c:v>
                </c:pt>
                <c:pt idx="13">
                  <c:v>0.26595744680851063</c:v>
                </c:pt>
                <c:pt idx="14">
                  <c:v>0.2356687898089172</c:v>
                </c:pt>
                <c:pt idx="15">
                  <c:v>0.26433915211970077</c:v>
                </c:pt>
                <c:pt idx="16">
                  <c:v>0.22580645161290322</c:v>
                </c:pt>
                <c:pt idx="17">
                  <c:v>0.23921568627450981</c:v>
                </c:pt>
                <c:pt idx="18">
                  <c:v>0.18725099601593626</c:v>
                </c:pt>
                <c:pt idx="19">
                  <c:v>0.18442622950819673</c:v>
                </c:pt>
                <c:pt idx="20">
                  <c:v>0.1956521739130435</c:v>
                </c:pt>
                <c:pt idx="21">
                  <c:v>0.19875776397515527</c:v>
                </c:pt>
                <c:pt idx="22">
                  <c:v>0.2215909090909091</c:v>
                </c:pt>
                <c:pt idx="23">
                  <c:v>0.2641509433962264</c:v>
                </c:pt>
                <c:pt idx="24">
                  <c:v>0.34</c:v>
                </c:pt>
                <c:pt idx="25">
                  <c:v>0.3202247191011236</c:v>
                </c:pt>
                <c:pt idx="26">
                  <c:v>0.3333333333333333</c:v>
                </c:pt>
                <c:pt idx="27">
                  <c:v>0.30973451327433627</c:v>
                </c:pt>
                <c:pt idx="28">
                  <c:v>0.33587786259541985</c:v>
                </c:pt>
                <c:pt idx="29">
                  <c:v>0.33544303797468356</c:v>
                </c:pt>
                <c:pt idx="30">
                  <c:v>0.2966507177033493</c:v>
                </c:pt>
                <c:pt idx="31">
                  <c:v>0.33482142857142855</c:v>
                </c:pt>
                <c:pt idx="32">
                  <c:v>0.31981981981981983</c:v>
                </c:pt>
                <c:pt idx="33">
                  <c:v>0.3557951482479784</c:v>
                </c:pt>
                <c:pt idx="34">
                  <c:v>0.30656934306569344</c:v>
                </c:pt>
                <c:pt idx="35">
                  <c:v>0.3125</c:v>
                </c:pt>
                <c:pt idx="36">
                  <c:v>0.25287356321839083</c:v>
                </c:pt>
                <c:pt idx="37">
                  <c:v>0.2823529411764706</c:v>
                </c:pt>
                <c:pt idx="38">
                  <c:v>0.23921568627450981</c:v>
                </c:pt>
                <c:pt idx="39">
                  <c:v>0.24344569288389514</c:v>
                </c:pt>
                <c:pt idx="40">
                  <c:v>0.27335640138408307</c:v>
                </c:pt>
                <c:pt idx="41">
                  <c:v>0.26222222222222225</c:v>
                </c:pt>
                <c:pt idx="42">
                  <c:v>0.2785234899328859</c:v>
                </c:pt>
                <c:pt idx="43">
                  <c:v>0.275974025974026</c:v>
                </c:pt>
                <c:pt idx="44">
                  <c:v>0.2698961937716263</c:v>
                </c:pt>
                <c:pt idx="45">
                  <c:v>0.2655786350148368</c:v>
                </c:pt>
                <c:pt idx="46">
                  <c:v>0.2946859903381642</c:v>
                </c:pt>
                <c:pt idx="47">
                  <c:v>0.2961165048543689</c:v>
                </c:pt>
                <c:pt idx="48">
                  <c:v>0.29519918283963226</c:v>
                </c:pt>
                <c:pt idx="49">
                  <c:v>0.34842360549717055</c:v>
                </c:pt>
                <c:pt idx="50">
                  <c:v>0.33476394849785407</c:v>
                </c:pt>
                <c:pt idx="51">
                  <c:v>0.3342541436464088</c:v>
                </c:pt>
                <c:pt idx="52">
                  <c:v>0.3138401559454191</c:v>
                </c:pt>
                <c:pt idx="53">
                  <c:v>0.33240997229916897</c:v>
                </c:pt>
                <c:pt idx="54">
                  <c:v>0.2796934865900383</c:v>
                </c:pt>
                <c:pt idx="55">
                  <c:v>0.31135531135531136</c:v>
                </c:pt>
                <c:pt idx="56">
                  <c:v>0.299625468164794</c:v>
                </c:pt>
                <c:pt idx="57">
                  <c:v>0.31955922865013775</c:v>
                </c:pt>
                <c:pt idx="58">
                  <c:v>0.3498168498168498</c:v>
                </c:pt>
                <c:pt idx="59">
                  <c:v>0.3582251082251082</c:v>
                </c:pt>
                <c:pt idx="60">
                  <c:v>0.37731958762886597</c:v>
                </c:pt>
                <c:pt idx="61">
                  <c:v>0.30113636363636365</c:v>
                </c:pt>
                <c:pt idx="62">
                  <c:v>0.2756132756132756</c:v>
                </c:pt>
                <c:pt idx="63">
                  <c:v>0.22801788375558868</c:v>
                </c:pt>
                <c:pt idx="64">
                  <c:v>0.21818181818181817</c:v>
                </c:pt>
                <c:pt idx="65">
                  <c:v>0.21888412017167383</c:v>
                </c:pt>
                <c:pt idx="66">
                  <c:v>0.23702031602708803</c:v>
                </c:pt>
                <c:pt idx="67">
                  <c:v>0.22972972972972974</c:v>
                </c:pt>
                <c:pt idx="68">
                  <c:v>0.2</c:v>
                </c:pt>
                <c:pt idx="69">
                  <c:v>0.1691542288557214</c:v>
                </c:pt>
                <c:pt idx="70">
                  <c:v>0.15546218487394958</c:v>
                </c:pt>
                <c:pt idx="71">
                  <c:v>0.1717171717171717</c:v>
                </c:pt>
                <c:pt idx="72">
                  <c:v>0.25133689839572193</c:v>
                </c:pt>
                <c:pt idx="73">
                  <c:v>0.233502538071066</c:v>
                </c:pt>
                <c:pt idx="74">
                  <c:v>0.21171171171171171</c:v>
                </c:pt>
                <c:pt idx="75">
                  <c:v>0.19801980198019803</c:v>
                </c:pt>
                <c:pt idx="76">
                  <c:v>0.21393034825870647</c:v>
                </c:pt>
                <c:pt idx="77">
                  <c:v>0.20588235294117646</c:v>
                </c:pt>
                <c:pt idx="78">
                  <c:v>0.22093023255813954</c:v>
                </c:pt>
                <c:pt idx="79">
                  <c:v>0.21621621621621623</c:v>
                </c:pt>
                <c:pt idx="80">
                  <c:v>0.1925133689839572</c:v>
                </c:pt>
                <c:pt idx="81">
                  <c:v>0.17567567567567569</c:v>
                </c:pt>
                <c:pt idx="82">
                  <c:v>0.18181818181818182</c:v>
                </c:pt>
                <c:pt idx="83">
                  <c:v>0.20155038759689922</c:v>
                </c:pt>
                <c:pt idx="84">
                  <c:v>0.20270270270270271</c:v>
                </c:pt>
                <c:pt idx="85">
                  <c:v>0.18994413407821228</c:v>
                </c:pt>
                <c:pt idx="86">
                  <c:v>0.20446096654275092</c:v>
                </c:pt>
                <c:pt idx="87">
                  <c:v>0.2231404958677686</c:v>
                </c:pt>
                <c:pt idx="88">
                  <c:v>0.22900763358778625</c:v>
                </c:pt>
                <c:pt idx="89">
                  <c:v>0.2558139534883721</c:v>
                </c:pt>
                <c:pt idx="90">
                  <c:v>0.23880597014925373</c:v>
                </c:pt>
                <c:pt idx="91">
                  <c:v>0.2191780821917808</c:v>
                </c:pt>
                <c:pt idx="92">
                  <c:v>0.27692307692307694</c:v>
                </c:pt>
                <c:pt idx="93">
                  <c:v>0.2383177570093458</c:v>
                </c:pt>
                <c:pt idx="94">
                  <c:v>0.23626373626373626</c:v>
                </c:pt>
                <c:pt idx="95">
                  <c:v>0.2302158273381295</c:v>
                </c:pt>
                <c:pt idx="96">
                  <c:v>0.22753346080305928</c:v>
                </c:pt>
                <c:pt idx="97">
                  <c:v>0.24735449735449735</c:v>
                </c:pt>
                <c:pt idx="98">
                  <c:v>0.25184275184275184</c:v>
                </c:pt>
                <c:pt idx="99">
                  <c:v>0.2566287878787879</c:v>
                </c:pt>
                <c:pt idx="100">
                  <c:v>0.257372654155496</c:v>
                </c:pt>
                <c:pt idx="101">
                  <c:v>0.26916524701873934</c:v>
                </c:pt>
                <c:pt idx="102">
                  <c:v>0.26582278481012656</c:v>
                </c:pt>
                <c:pt idx="103">
                  <c:v>0.24434389140271492</c:v>
                </c:pt>
                <c:pt idx="104">
                  <c:v>0.271812080536912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25.2308</c:v>
                </c:pt>
                <c:pt idx="1">
                  <c:v>1248.2377</c:v>
                </c:pt>
                <c:pt idx="2">
                  <c:v>1142.9828</c:v>
                </c:pt>
                <c:pt idx="3">
                  <c:v>1121.5263</c:v>
                </c:pt>
                <c:pt idx="4">
                  <c:v>1122.6733</c:v>
                </c:pt>
                <c:pt idx="5">
                  <c:v>1188.8012</c:v>
                </c:pt>
                <c:pt idx="6">
                  <c:v>1164.0345</c:v>
                </c:pt>
                <c:pt idx="7">
                  <c:v>1167.6913</c:v>
                </c:pt>
                <c:pt idx="8">
                  <c:v>1253.9756</c:v>
                </c:pt>
                <c:pt idx="9">
                  <c:v>1188.3933</c:v>
                </c:pt>
                <c:pt idx="10">
                  <c:v>1231.0568</c:v>
                </c:pt>
                <c:pt idx="11">
                  <c:v>987.0471</c:v>
                </c:pt>
                <c:pt idx="12">
                  <c:v>881.9008</c:v>
                </c:pt>
                <c:pt idx="13">
                  <c:v>902.378</c:v>
                </c:pt>
                <c:pt idx="14">
                  <c:v>892.9649</c:v>
                </c:pt>
                <c:pt idx="15">
                  <c:v>920.7944</c:v>
                </c:pt>
                <c:pt idx="16">
                  <c:v>865.7625</c:v>
                </c:pt>
                <c:pt idx="17">
                  <c:v>927.5926</c:v>
                </c:pt>
                <c:pt idx="18">
                  <c:v>1009.9692</c:v>
                </c:pt>
                <c:pt idx="19">
                  <c:v>1146.5517</c:v>
                </c:pt>
                <c:pt idx="20">
                  <c:v>1055.3111</c:v>
                </c:pt>
                <c:pt idx="21">
                  <c:v>1257.16</c:v>
                </c:pt>
                <c:pt idx="22">
                  <c:v>1052.7</c:v>
                </c:pt>
                <c:pt idx="23">
                  <c:v>1125.1176</c:v>
                </c:pt>
                <c:pt idx="24">
                  <c:v>1042.2128</c:v>
                </c:pt>
                <c:pt idx="25">
                  <c:v>950.2432</c:v>
                </c:pt>
                <c:pt idx="26">
                  <c:v>1067.7826</c:v>
                </c:pt>
                <c:pt idx="27">
                  <c:v>1068.25</c:v>
                </c:pt>
                <c:pt idx="28">
                  <c:v>1204.8154</c:v>
                </c:pt>
                <c:pt idx="29">
                  <c:v>1113.0638</c:v>
                </c:pt>
                <c:pt idx="30">
                  <c:v>1139.7609</c:v>
                </c:pt>
                <c:pt idx="31">
                  <c:v>1216.3571</c:v>
                </c:pt>
                <c:pt idx="32">
                  <c:v>1185.6154</c:v>
                </c:pt>
                <c:pt idx="33">
                  <c:v>1110.5204</c:v>
                </c:pt>
                <c:pt idx="34">
                  <c:v>1338.7849</c:v>
                </c:pt>
                <c:pt idx="35">
                  <c:v>1103.6981</c:v>
                </c:pt>
                <c:pt idx="36">
                  <c:v>1226.1351</c:v>
                </c:pt>
                <c:pt idx="37">
                  <c:v>1070.7234</c:v>
                </c:pt>
                <c:pt idx="38">
                  <c:v>1095.0233</c:v>
                </c:pt>
                <c:pt idx="39">
                  <c:v>1360.2143</c:v>
                </c:pt>
                <c:pt idx="40">
                  <c:v>1308.3778</c:v>
                </c:pt>
                <c:pt idx="41">
                  <c:v>1211.34</c:v>
                </c:pt>
                <c:pt idx="42">
                  <c:v>1550.0345</c:v>
                </c:pt>
                <c:pt idx="43">
                  <c:v>1312.7213</c:v>
                </c:pt>
                <c:pt idx="44">
                  <c:v>1358.6104</c:v>
                </c:pt>
                <c:pt idx="45">
                  <c:v>1321.7899</c:v>
                </c:pt>
                <c:pt idx="46">
                  <c:v>1239.2245</c:v>
                </c:pt>
                <c:pt idx="47">
                  <c:v>1215.9697</c:v>
                </c:pt>
                <c:pt idx="48">
                  <c:v>1176.2555</c:v>
                </c:pt>
                <c:pt idx="49">
                  <c:v>1267.1847</c:v>
                </c:pt>
                <c:pt idx="50">
                  <c:v>1119.3288</c:v>
                </c:pt>
                <c:pt idx="51">
                  <c:v>1063.7248</c:v>
                </c:pt>
              </c:numCache>
            </c:numRef>
          </c:xVal>
          <c:yVal>
            <c:numRef>
              <c:f>Sheet1!$B$109:$B$160</c:f>
              <c:numCache>
                <c:formatCode>General</c:formatCode>
                <c:ptCount val="52"/>
                <c:pt idx="0">
                  <c:v>0.27002967359050445</c:v>
                </c:pt>
                <c:pt idx="1">
                  <c:v>0.3160621761658031</c:v>
                </c:pt>
                <c:pt idx="2">
                  <c:v>0.38074398249452956</c:v>
                </c:pt>
                <c:pt idx="3">
                  <c:v>0.3758241758241758</c:v>
                </c:pt>
                <c:pt idx="4">
                  <c:v>0.35799522673031026</c:v>
                </c:pt>
                <c:pt idx="5">
                  <c:v>0.3744186046511628</c:v>
                </c:pt>
                <c:pt idx="6">
                  <c:v>0.2680221811460259</c:v>
                </c:pt>
                <c:pt idx="7">
                  <c:v>0.3197424892703863</c:v>
                </c:pt>
                <c:pt idx="8">
                  <c:v>0.2918149466192171</c:v>
                </c:pt>
                <c:pt idx="9">
                  <c:v>0.29180327868852457</c:v>
                </c:pt>
                <c:pt idx="10">
                  <c:v>0.26426426426426425</c:v>
                </c:pt>
                <c:pt idx="11">
                  <c:v>0.3601694915254237</c:v>
                </c:pt>
                <c:pt idx="12">
                  <c:v>0.3764367816091954</c:v>
                </c:pt>
                <c:pt idx="13">
                  <c:v>0.3871951219512195</c:v>
                </c:pt>
                <c:pt idx="14">
                  <c:v>0.35294117647058826</c:v>
                </c:pt>
                <c:pt idx="15">
                  <c:v>0.3862815884476534</c:v>
                </c:pt>
                <c:pt idx="16">
                  <c:v>0.34934497816593885</c:v>
                </c:pt>
                <c:pt idx="17">
                  <c:v>0.3347107438016529</c:v>
                </c:pt>
                <c:pt idx="18">
                  <c:v>0.2226027397260274</c:v>
                </c:pt>
                <c:pt idx="19">
                  <c:v>0.2648401826484018</c:v>
                </c:pt>
                <c:pt idx="20">
                  <c:v>0.30201342281879195</c:v>
                </c:pt>
                <c:pt idx="21">
                  <c:v>0.20161290322580644</c:v>
                </c:pt>
                <c:pt idx="22">
                  <c:v>0.2912621359223301</c:v>
                </c:pt>
                <c:pt idx="23">
                  <c:v>0.272</c:v>
                </c:pt>
                <c:pt idx="24">
                  <c:v>0.34057971014492755</c:v>
                </c:pt>
                <c:pt idx="25">
                  <c:v>0.29365079365079366</c:v>
                </c:pt>
                <c:pt idx="26">
                  <c:v>0.2967741935483871</c:v>
                </c:pt>
                <c:pt idx="27">
                  <c:v>0.2639593908629442</c:v>
                </c:pt>
                <c:pt idx="28">
                  <c:v>0.29017857142857145</c:v>
                </c:pt>
                <c:pt idx="29">
                  <c:v>0.2974683544303797</c:v>
                </c:pt>
                <c:pt idx="30">
                  <c:v>0.2804878048780488</c:v>
                </c:pt>
                <c:pt idx="31">
                  <c:v>0.25766871165644173</c:v>
                </c:pt>
                <c:pt idx="32">
                  <c:v>0.30092592592592593</c:v>
                </c:pt>
                <c:pt idx="33">
                  <c:v>0.35125448028673834</c:v>
                </c:pt>
                <c:pt idx="34">
                  <c:v>0.29337539432176657</c:v>
                </c:pt>
                <c:pt idx="35">
                  <c:v>0.28342245989304815</c:v>
                </c:pt>
                <c:pt idx="36">
                  <c:v>0.31092436974789917</c:v>
                </c:pt>
                <c:pt idx="37">
                  <c:v>0.3197278911564626</c:v>
                </c:pt>
                <c:pt idx="38">
                  <c:v>0.2925170068027211</c:v>
                </c:pt>
                <c:pt idx="39">
                  <c:v>0.2931937172774869</c:v>
                </c:pt>
                <c:pt idx="40">
                  <c:v>0.26627218934911245</c:v>
                </c:pt>
                <c:pt idx="41">
                  <c:v>0.27624309392265195</c:v>
                </c:pt>
                <c:pt idx="42">
                  <c:v>0.19594594594594594</c:v>
                </c:pt>
                <c:pt idx="43">
                  <c:v>0.2364341085271318</c:v>
                </c:pt>
                <c:pt idx="44">
                  <c:v>0.20424403183023873</c:v>
                </c:pt>
                <c:pt idx="45">
                  <c:v>0.20481927710843373</c:v>
                </c:pt>
                <c:pt idx="46">
                  <c:v>0.2327790973871734</c:v>
                </c:pt>
                <c:pt idx="47">
                  <c:v>0.23627684964200477</c:v>
                </c:pt>
                <c:pt idx="48">
                  <c:v>0.2287145242070117</c:v>
                </c:pt>
                <c:pt idx="49">
                  <c:v>0.22492836676217765</c:v>
                </c:pt>
                <c:pt idx="50">
                  <c:v>0.2660996354799514</c:v>
                </c:pt>
                <c:pt idx="51">
                  <c:v>0.26328502415458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92.7597825940893</c:v>
                </c:pt>
              </c:numCache>
            </c:numRef>
          </c:xVal>
          <c:yVal>
            <c:numRef>
              <c:f>Sheet1!$B$163:$B$164</c:f>
              <c:numCache>
                <c:formatCode>General</c:formatCode>
                <c:ptCount val="2"/>
                <c:pt idx="0">
                  <c:v>0.32726815762744305</c:v>
                </c:pt>
                <c:pt idx="1">
                  <c:v>0.327268157627443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92.7597825940893</c:v>
                </c:pt>
                <c:pt idx="1">
                  <c:v>992.7597825940893</c:v>
                </c:pt>
              </c:numCache>
            </c:numRef>
          </c:xVal>
          <c:yVal>
            <c:numRef>
              <c:f>Sheet1!$B$167:$B$168</c:f>
              <c:numCache>
                <c:formatCode>General</c:formatCode>
                <c:ptCount val="2"/>
                <c:pt idx="0">
                  <c:v>0.327268157627443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8.1524953840657</c:v>
                </c:pt>
              </c:numCache>
            </c:numRef>
          </c:xVal>
          <c:yVal>
            <c:numRef>
              <c:f>Sheet1!$B$171:$B$172</c:f>
              <c:numCache>
                <c:formatCode>General</c:formatCode>
                <c:ptCount val="2"/>
                <c:pt idx="0">
                  <c:v>0.3282948284991239</c:v>
                </c:pt>
                <c:pt idx="1">
                  <c:v>0.328294828499123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8.1524953840657</c:v>
                </c:pt>
                <c:pt idx="1">
                  <c:v>988.1524953840657</c:v>
                </c:pt>
              </c:numCache>
            </c:numRef>
          </c:xVal>
          <c:yVal>
            <c:numRef>
              <c:f>Sheet1!$B$175:$B$176</c:f>
              <c:numCache>
                <c:formatCode>General</c:formatCode>
                <c:ptCount val="2"/>
                <c:pt idx="0">
                  <c:v>0.328294828499123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1.1960635601854</c:v>
                </c:pt>
              </c:numCache>
            </c:numRef>
          </c:xVal>
          <c:yVal>
            <c:numRef>
              <c:f>Sheet1!$B$179:$B$180</c:f>
              <c:numCache>
                <c:formatCode>General</c:formatCode>
                <c:ptCount val="2"/>
                <c:pt idx="0">
                  <c:v>0.2407104508918392</c:v>
                </c:pt>
                <c:pt idx="1">
                  <c:v>0.2407104508918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1.1960635601854</c:v>
                </c:pt>
                <c:pt idx="1">
                  <c:v>1381.1960635601854</c:v>
                </c:pt>
              </c:numCache>
            </c:numRef>
          </c:xVal>
          <c:yVal>
            <c:numRef>
              <c:f>Sheet1!$B$183:$B$184</c:f>
              <c:numCache>
                <c:formatCode>General</c:formatCode>
                <c:ptCount val="2"/>
                <c:pt idx="0">
                  <c:v>0.2407104508918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25.2308</c:v>
                </c:pt>
                <c:pt idx="1">
                  <c:v>1248.2377</c:v>
                </c:pt>
                <c:pt idx="2">
                  <c:v>1142.9828</c:v>
                </c:pt>
                <c:pt idx="3">
                  <c:v>1121.5263</c:v>
                </c:pt>
                <c:pt idx="4">
                  <c:v>1122.6733</c:v>
                </c:pt>
                <c:pt idx="5">
                  <c:v>1188.8012</c:v>
                </c:pt>
                <c:pt idx="6">
                  <c:v>1164.0345</c:v>
                </c:pt>
                <c:pt idx="7">
                  <c:v>1167.6913</c:v>
                </c:pt>
                <c:pt idx="8">
                  <c:v>1253.9756</c:v>
                </c:pt>
                <c:pt idx="9">
                  <c:v>1188.3933</c:v>
                </c:pt>
                <c:pt idx="10">
                  <c:v>1231.0568</c:v>
                </c:pt>
                <c:pt idx="11">
                  <c:v>987.0471</c:v>
                </c:pt>
                <c:pt idx="12">
                  <c:v>881.9008</c:v>
                </c:pt>
                <c:pt idx="13">
                  <c:v>902.378</c:v>
                </c:pt>
                <c:pt idx="14">
                  <c:v>892.9649</c:v>
                </c:pt>
                <c:pt idx="15">
                  <c:v>920.7944</c:v>
                </c:pt>
                <c:pt idx="16">
                  <c:v>865.7625</c:v>
                </c:pt>
                <c:pt idx="17">
                  <c:v>927.5926</c:v>
                </c:pt>
                <c:pt idx="18">
                  <c:v>1009.9692</c:v>
                </c:pt>
                <c:pt idx="19">
                  <c:v>1146.5517</c:v>
                </c:pt>
                <c:pt idx="20">
                  <c:v>1055.3111</c:v>
                </c:pt>
                <c:pt idx="21">
                  <c:v>1257.16</c:v>
                </c:pt>
                <c:pt idx="22">
                  <c:v>1052.7</c:v>
                </c:pt>
                <c:pt idx="23">
                  <c:v>1125.1176</c:v>
                </c:pt>
                <c:pt idx="24">
                  <c:v>1042.2128</c:v>
                </c:pt>
                <c:pt idx="25">
                  <c:v>950.2432</c:v>
                </c:pt>
                <c:pt idx="26">
                  <c:v>1067.7826</c:v>
                </c:pt>
                <c:pt idx="27">
                  <c:v>1068.25</c:v>
                </c:pt>
                <c:pt idx="28">
                  <c:v>1204.8154</c:v>
                </c:pt>
                <c:pt idx="29">
                  <c:v>1113.0638</c:v>
                </c:pt>
                <c:pt idx="30">
                  <c:v>1139.7609</c:v>
                </c:pt>
                <c:pt idx="31">
                  <c:v>1216.3571</c:v>
                </c:pt>
                <c:pt idx="32">
                  <c:v>1185.6154</c:v>
                </c:pt>
                <c:pt idx="33">
                  <c:v>1110.5204</c:v>
                </c:pt>
                <c:pt idx="34">
                  <c:v>1338.7849</c:v>
                </c:pt>
                <c:pt idx="35">
                  <c:v>1103.6981</c:v>
                </c:pt>
                <c:pt idx="36">
                  <c:v>1226.1351</c:v>
                </c:pt>
                <c:pt idx="37">
                  <c:v>1070.7234</c:v>
                </c:pt>
                <c:pt idx="38">
                  <c:v>1095.0233</c:v>
                </c:pt>
                <c:pt idx="39">
                  <c:v>1360.2143</c:v>
                </c:pt>
                <c:pt idx="40">
                  <c:v>1308.3778</c:v>
                </c:pt>
                <c:pt idx="41">
                  <c:v>1211.34</c:v>
                </c:pt>
                <c:pt idx="42">
                  <c:v>1550.0345</c:v>
                </c:pt>
                <c:pt idx="43">
                  <c:v>1312.7213</c:v>
                </c:pt>
                <c:pt idx="44">
                  <c:v>1358.6104</c:v>
                </c:pt>
                <c:pt idx="45">
                  <c:v>1321.7899</c:v>
                </c:pt>
                <c:pt idx="46">
                  <c:v>1239.2245</c:v>
                </c:pt>
                <c:pt idx="47">
                  <c:v>1215.9697</c:v>
                </c:pt>
                <c:pt idx="48">
                  <c:v>1176.2555</c:v>
                </c:pt>
                <c:pt idx="49">
                  <c:v>1267.1847</c:v>
                </c:pt>
                <c:pt idx="50">
                  <c:v>1119.3288</c:v>
                </c:pt>
                <c:pt idx="51">
                  <c:v>1063.7248</c:v>
                </c:pt>
                <c:pt idx="52">
                  <c:v>988.1524953840657</c:v>
                </c:pt>
                <c:pt idx="53">
                  <c:v>992.7597825940893</c:v>
                </c:pt>
                <c:pt idx="54">
                  <c:v>1381.1960635601854</c:v>
                </c:pt>
              </c:numCache>
            </c:numRef>
          </c:xVal>
          <c:yVal>
            <c:numRef>
              <c:f>Sheet1!$B$187:$B$241</c:f>
              <c:numCache>
                <c:formatCode>General</c:formatCode>
                <c:ptCount val="55"/>
                <c:pt idx="0">
                  <c:v>0.23089791280075966</c:v>
                </c:pt>
                <c:pt idx="1">
                  <c:v>0.27033840174252927</c:v>
                </c:pt>
                <c:pt idx="2">
                  <c:v>0.29379301505523503</c:v>
                </c:pt>
                <c:pt idx="3">
                  <c:v>0.2985743022973878</c:v>
                </c:pt>
                <c:pt idx="4">
                  <c:v>0.29831870905213587</c:v>
                </c:pt>
                <c:pt idx="5">
                  <c:v>0.28358301196172697</c:v>
                </c:pt>
                <c:pt idx="6">
                  <c:v>0.2891019319505521</c:v>
                </c:pt>
                <c:pt idx="7">
                  <c:v>0.28828706413953425</c:v>
                </c:pt>
                <c:pt idx="8">
                  <c:v>0.2690597892909762</c:v>
                </c:pt>
                <c:pt idx="9">
                  <c:v>0.28367390689175165</c:v>
                </c:pt>
                <c:pt idx="10">
                  <c:v>0.2741669300662868</c:v>
                </c:pt>
                <c:pt idx="11">
                  <c:v>0.32854115072536616</c:v>
                </c:pt>
                <c:pt idx="12">
                  <c:v>0.3519715640150254</c:v>
                </c:pt>
                <c:pt idx="13">
                  <c:v>0.3474085003692765</c:v>
                </c:pt>
                <c:pt idx="14">
                  <c:v>0.34950608081991424</c:v>
                </c:pt>
                <c:pt idx="15">
                  <c:v>0.3433046577870108</c:v>
                </c:pt>
                <c:pt idx="16">
                  <c:v>0.35556776320408395</c:v>
                </c:pt>
                <c:pt idx="17">
                  <c:v>0.34178977199810756</c:v>
                </c:pt>
                <c:pt idx="18">
                  <c:v>0.32343327459023924</c:v>
                </c:pt>
                <c:pt idx="19">
                  <c:v>0.2929977345556885</c:v>
                </c:pt>
                <c:pt idx="20">
                  <c:v>0.31332945299748327</c:v>
                </c:pt>
                <c:pt idx="21">
                  <c:v>0.2683501893518476</c:v>
                </c:pt>
                <c:pt idx="22">
                  <c:v>0.3139113008812474</c:v>
                </c:pt>
                <c:pt idx="23">
                  <c:v>0.2977740302645426</c:v>
                </c:pt>
                <c:pt idx="24">
                  <c:v>0.31624822981028544</c:v>
                </c:pt>
                <c:pt idx="25">
                  <c:v>0.33674239592059696</c:v>
                </c:pt>
                <c:pt idx="26">
                  <c:v>0.31055034998252234</c:v>
                </c:pt>
                <c:pt idx="27">
                  <c:v>0.3104461962921729</c:v>
                </c:pt>
                <c:pt idx="28">
                  <c:v>0.2800144667584886</c:v>
                </c:pt>
                <c:pt idx="29">
                  <c:v>0.30046005455366065</c:v>
                </c:pt>
                <c:pt idx="30">
                  <c:v>0.29451097135591275</c:v>
                </c:pt>
                <c:pt idx="31">
                  <c:v>0.27744255694268666</c:v>
                </c:pt>
                <c:pt idx="32">
                  <c:v>0.2842929238716867</c:v>
                </c:pt>
                <c:pt idx="33">
                  <c:v>0.30102681641937457</c:v>
                </c:pt>
                <c:pt idx="34">
                  <c:v>0.2501611979966872</c:v>
                </c:pt>
                <c:pt idx="35">
                  <c:v>0.30254707256330016</c:v>
                </c:pt>
                <c:pt idx="36">
                  <c:v>0.27526366352326737</c:v>
                </c:pt>
                <c:pt idx="37">
                  <c:v>0.30989503296801746</c:v>
                </c:pt>
                <c:pt idx="38">
                  <c:v>0.304480132967757</c:v>
                </c:pt>
                <c:pt idx="39">
                  <c:v>0.2453859496184806</c:v>
                </c:pt>
                <c:pt idx="40">
                  <c:v>0.25693700389703744</c:v>
                </c:pt>
                <c:pt idx="41">
                  <c:v>0.27856054898344845</c:v>
                </c:pt>
                <c:pt idx="42">
                  <c:v>0.20308711707063276</c:v>
                </c:pt>
                <c:pt idx="43">
                  <c:v>0.25596911439333037</c:v>
                </c:pt>
                <c:pt idx="44">
                  <c:v>0.2457433567728482</c:v>
                </c:pt>
                <c:pt idx="45">
                  <c:v>0.2539483010507914</c:v>
                </c:pt>
                <c:pt idx="46">
                  <c:v>0.27234686995360613</c:v>
                </c:pt>
                <c:pt idx="47">
                  <c:v>0.27752888372839774</c:v>
                </c:pt>
                <c:pt idx="48">
                  <c:v>0.28637864943073993</c:v>
                </c:pt>
                <c:pt idx="49">
                  <c:v>0.2661163222152499</c:v>
                </c:pt>
                <c:pt idx="50">
                  <c:v>0.2990639850841718</c:v>
                </c:pt>
                <c:pt idx="51">
                  <c:v>0.31145457515303976</c:v>
                </c:pt>
                <c:pt idx="52">
                  <c:v>0.3282948284991239</c:v>
                </c:pt>
                <c:pt idx="53">
                  <c:v>0.32726815762744305</c:v>
                </c:pt>
                <c:pt idx="54">
                  <c:v>0.240710450891839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0.0"/>
          <c:min val="69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46341463414634"/>
          <c:min val="0.124369747899159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5275898554752586</c:v>
                </c:pt>
                <c:pt idx="1">
                  <c:v>0.4270960382099064</c:v>
                </c:pt>
                <c:pt idx="2">
                  <c:v>0.4935818820829281</c:v>
                </c:pt>
                <c:pt idx="3">
                  <c:v>0.5063043707264467</c:v>
                </c:pt>
                <c:pt idx="4">
                  <c:v>0.5239926547043102</c:v>
                </c:pt>
                <c:pt idx="5">
                  <c:v>0.4663927593756819</c:v>
                </c:pt>
                <c:pt idx="6">
                  <c:v>0.46133430170184253</c:v>
                </c:pt>
                <c:pt idx="7">
                  <c:v>0.4966887780179453</c:v>
                </c:pt>
                <c:pt idx="8">
                  <c:v>0.4703498855922515</c:v>
                </c:pt>
                <c:pt idx="9">
                  <c:v>0.4675359992760576</c:v>
                </c:pt>
                <c:pt idx="10">
                  <c:v>0.48160200489556415</c:v>
                </c:pt>
                <c:pt idx="11">
                  <c:v>0.47033984556769615</c:v>
                </c:pt>
                <c:pt idx="12">
                  <c:v>0.4870392637326306</c:v>
                </c:pt>
                <c:pt idx="13">
                  <c:v>0.4884239158526686</c:v>
                </c:pt>
                <c:pt idx="14">
                  <c:v>0.4889076074584753</c:v>
                </c:pt>
                <c:pt idx="15">
                  <c:v>0.4741808709467356</c:v>
                </c:pt>
                <c:pt idx="16">
                  <c:v>0.46284342337279694</c:v>
                </c:pt>
                <c:pt idx="17">
                  <c:v>0.4446591071202979</c:v>
                </c:pt>
                <c:pt idx="18">
                  <c:v>0.43953125754381545</c:v>
                </c:pt>
                <c:pt idx="19">
                  <c:v>0.47139913200538536</c:v>
                </c:pt>
                <c:pt idx="20">
                  <c:v>0.4958273245789425</c:v>
                </c:pt>
                <c:pt idx="21">
                  <c:v>0.4531753114876213</c:v>
                </c:pt>
                <c:pt idx="22">
                  <c:v>0.3954295114523864</c:v>
                </c:pt>
                <c:pt idx="23">
                  <c:v>0.3747061181620756</c:v>
                </c:pt>
                <c:pt idx="24">
                  <c:v>0.391521174750209</c:v>
                </c:pt>
                <c:pt idx="25">
                  <c:v>0.34164778644367344</c:v>
                </c:pt>
                <c:pt idx="26">
                  <c:v>0.33433292395640735</c:v>
                </c:pt>
                <c:pt idx="27">
                  <c:v>0.36544312553732594</c:v>
                </c:pt>
                <c:pt idx="28">
                  <c:v>0.3433084859988392</c:v>
                </c:pt>
                <c:pt idx="29">
                  <c:v>0.3339388476311678</c:v>
                </c:pt>
                <c:pt idx="30">
                  <c:v>0.3070800140320712</c:v>
                </c:pt>
                <c:pt idx="31">
                  <c:v>0.3071313778941853</c:v>
                </c:pt>
                <c:pt idx="32">
                  <c:v>0.32256007060826963</c:v>
                </c:pt>
                <c:pt idx="33">
                  <c:v>0.3161210362842868</c:v>
                </c:pt>
                <c:pt idx="34">
                  <c:v>0.29918414935332144</c:v>
                </c:pt>
                <c:pt idx="35">
                  <c:v>0.3292495252394243</c:v>
                </c:pt>
                <c:pt idx="36">
                  <c:v>0.39377311517347063</c:v>
                </c:pt>
                <c:pt idx="37">
                  <c:v>0.3879242621734182</c:v>
                </c:pt>
                <c:pt idx="38">
                  <c:v>0.3728075130809638</c:v>
                </c:pt>
                <c:pt idx="39">
                  <c:v>0.37954013442023415</c:v>
                </c:pt>
                <c:pt idx="40">
                  <c:v>0.36914656859483935</c:v>
                </c:pt>
                <c:pt idx="41">
                  <c:v>0.39017365420999983</c:v>
                </c:pt>
                <c:pt idx="42">
                  <c:v>0.408467768381954</c:v>
                </c:pt>
                <c:pt idx="43">
                  <c:v>0.43454932948093383</c:v>
                </c:pt>
                <c:pt idx="44">
                  <c:v>0.43162621568637055</c:v>
                </c:pt>
                <c:pt idx="45">
                  <c:v>0.44059127992779473</c:v>
                </c:pt>
                <c:pt idx="46">
                  <c:v>0.4350871854879818</c:v>
                </c:pt>
                <c:pt idx="47">
                  <c:v>0.4346292951125815</c:v>
                </c:pt>
                <c:pt idx="48">
                  <c:v>0.4450957687355955</c:v>
                </c:pt>
                <c:pt idx="49">
                  <c:v>0.4663667919872615</c:v>
                </c:pt>
                <c:pt idx="50">
                  <c:v>0.418328529636486</c:v>
                </c:pt>
                <c:pt idx="51">
                  <c:v>0.4135720032142406</c:v>
                </c:pt>
                <c:pt idx="52">
                  <c:v>0.45528626191592975</c:v>
                </c:pt>
                <c:pt idx="53">
                  <c:v>0.4460569037797127</c:v>
                </c:pt>
                <c:pt idx="54">
                  <c:v>0.4175900830512101</c:v>
                </c:pt>
                <c:pt idx="55">
                  <c:v>0.4260509847209833</c:v>
                </c:pt>
                <c:pt idx="56">
                  <c:v>0.43441302034315593</c:v>
                </c:pt>
                <c:pt idx="57">
                  <c:v>0.45042702340715685</c:v>
                </c:pt>
                <c:pt idx="58">
                  <c:v>0.44827566694009807</c:v>
                </c:pt>
                <c:pt idx="59">
                  <c:v>0.4648446954330602</c:v>
                </c:pt>
                <c:pt idx="60">
                  <c:v>0.44936850555833074</c:v>
                </c:pt>
                <c:pt idx="61">
                  <c:v>0.46022312630003226</c:v>
                </c:pt>
                <c:pt idx="62">
                  <c:v>0.38385679595942457</c:v>
                </c:pt>
                <c:pt idx="63">
                  <c:v>0.3947295097048953</c:v>
                </c:pt>
                <c:pt idx="64">
                  <c:v>0.3894410247236015</c:v>
                </c:pt>
                <c:pt idx="65">
                  <c:v>0.38795151761242513</c:v>
                </c:pt>
                <c:pt idx="66">
                  <c:v>0.4606830850868356</c:v>
                </c:pt>
                <c:pt idx="67">
                  <c:v>0.49012965267871816</c:v>
                </c:pt>
                <c:pt idx="68">
                  <c:v>0.4620350649593071</c:v>
                </c:pt>
                <c:pt idx="69">
                  <c:v>0.47743938692066623</c:v>
                </c:pt>
                <c:pt idx="70">
                  <c:v>0.45969427152921816</c:v>
                </c:pt>
                <c:pt idx="71">
                  <c:v>0.4704027842941233</c:v>
                </c:pt>
                <c:pt idx="72">
                  <c:v>0.46758176039596766</c:v>
                </c:pt>
                <c:pt idx="73">
                  <c:v>0.48258792183025373</c:v>
                </c:pt>
                <c:pt idx="74">
                  <c:v>0.4726254676658861</c:v>
                </c:pt>
                <c:pt idx="75">
                  <c:v>0.4300930418429458</c:v>
                </c:pt>
                <c:pt idx="76">
                  <c:v>0.3978103036681071</c:v>
                </c:pt>
                <c:pt idx="77">
                  <c:v>0.39489458866947386</c:v>
                </c:pt>
                <c:pt idx="78">
                  <c:v>0.4112902903950483</c:v>
                </c:pt>
                <c:pt idx="79">
                  <c:v>0.4383471000455094</c:v>
                </c:pt>
                <c:pt idx="80">
                  <c:v>0.4334456449198519</c:v>
                </c:pt>
                <c:pt idx="81">
                  <c:v>0.4572322240004376</c:v>
                </c:pt>
                <c:pt idx="82">
                  <c:v>0.41295728568703116</c:v>
                </c:pt>
                <c:pt idx="83">
                  <c:v>0.3998166638153313</c:v>
                </c:pt>
                <c:pt idx="84">
                  <c:v>0.4091549638732274</c:v>
                </c:pt>
                <c:pt idx="85">
                  <c:v>0.40937909402290934</c:v>
                </c:pt>
                <c:pt idx="86">
                  <c:v>0.37975243991329516</c:v>
                </c:pt>
                <c:pt idx="87">
                  <c:v>0.3943297235747405</c:v>
                </c:pt>
                <c:pt idx="88">
                  <c:v>0.4061110693266144</c:v>
                </c:pt>
                <c:pt idx="89">
                  <c:v>0.35789305492946416</c:v>
                </c:pt>
                <c:pt idx="90">
                  <c:v>0.4063939245467908</c:v>
                </c:pt>
                <c:pt idx="91">
                  <c:v>0.4074486257289615</c:v>
                </c:pt>
                <c:pt idx="92">
                  <c:v>0.4340007010442834</c:v>
                </c:pt>
                <c:pt idx="93">
                  <c:v>0.43966078432694683</c:v>
                </c:pt>
                <c:pt idx="94">
                  <c:v>0.37795785079353844</c:v>
                </c:pt>
                <c:pt idx="95">
                  <c:v>0.3936489519558698</c:v>
                </c:pt>
                <c:pt idx="96">
                  <c:v>0.33691753373029554</c:v>
                </c:pt>
                <c:pt idx="97">
                  <c:v>0.3935794857352863</c:v>
                </c:pt>
                <c:pt idx="98">
                  <c:v>0.41783385360556047</c:v>
                </c:pt>
                <c:pt idx="99">
                  <c:v>0.4878727625816284</c:v>
                </c:pt>
                <c:pt idx="100">
                  <c:v>0.5514129939453113</c:v>
                </c:pt>
                <c:pt idx="101">
                  <c:v>0.48905329460094127</c:v>
                </c:pt>
                <c:pt idx="102">
                  <c:v>0.47358480717312024</c:v>
                </c:pt>
                <c:pt idx="103">
                  <c:v>0.5222307046413563</c:v>
                </c:pt>
                <c:pt idx="104">
                  <c:v>0.5266291112315432</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278212409731708</c:v>
                </c:pt>
                <c:pt idx="1">
                  <c:v>0.4778437018305979</c:v>
                </c:pt>
                <c:pt idx="2">
                  <c:v>0.510785411929671</c:v>
                </c:pt>
                <c:pt idx="3">
                  <c:v>0.48619899277974993</c:v>
                </c:pt>
                <c:pt idx="4">
                  <c:v>0.44756420398354796</c:v>
                </c:pt>
                <c:pt idx="5">
                  <c:v>0.4970403940897056</c:v>
                </c:pt>
                <c:pt idx="6">
                  <c:v>0.5674457851187426</c:v>
                </c:pt>
                <c:pt idx="7">
                  <c:v>0.5249830083015508</c:v>
                </c:pt>
                <c:pt idx="8">
                  <c:v>0.5421923625580023</c:v>
                </c:pt>
                <c:pt idx="9">
                  <c:v>0.5226866853914601</c:v>
                </c:pt>
                <c:pt idx="10">
                  <c:v>0.5445102235244966</c:v>
                </c:pt>
                <c:pt idx="11">
                  <c:v>0.5309689485648197</c:v>
                </c:pt>
                <c:pt idx="12">
                  <c:v>0.5299996754063755</c:v>
                </c:pt>
                <c:pt idx="13">
                  <c:v>0.5343243353635311</c:v>
                </c:pt>
                <c:pt idx="14">
                  <c:v>0.4758944192862696</c:v>
                </c:pt>
                <c:pt idx="15">
                  <c:v>0.47171427282888617</c:v>
                </c:pt>
                <c:pt idx="16">
                  <c:v>0.5226549693603245</c:v>
                </c:pt>
                <c:pt idx="17">
                  <c:v>0.468002625194505</c:v>
                </c:pt>
                <c:pt idx="18">
                  <c:v>0.4877977808941334</c:v>
                </c:pt>
                <c:pt idx="19">
                  <c:v>0.4933871498795246</c:v>
                </c:pt>
                <c:pt idx="20">
                  <c:v>0.48736056107223474</c:v>
                </c:pt>
                <c:pt idx="21">
                  <c:v>0.4634207163474028</c:v>
                </c:pt>
                <c:pt idx="22">
                  <c:v>0.46435809422206653</c:v>
                </c:pt>
                <c:pt idx="23">
                  <c:v>0.4446842480862228</c:v>
                </c:pt>
                <c:pt idx="24">
                  <c:v>0.45653850718462147</c:v>
                </c:pt>
                <c:pt idx="25">
                  <c:v>0.4697940301903594</c:v>
                </c:pt>
                <c:pt idx="26">
                  <c:v>0.45158348581888835</c:v>
                </c:pt>
                <c:pt idx="27">
                  <c:v>0.4500632320012356</c:v>
                </c:pt>
                <c:pt idx="28">
                  <c:v>0.44787666928780134</c:v>
                </c:pt>
                <c:pt idx="29">
                  <c:v>0.4421523583105251</c:v>
                </c:pt>
                <c:pt idx="30">
                  <c:v>0.4141861108232002</c:v>
                </c:pt>
                <c:pt idx="31">
                  <c:v>0.4158945147208659</c:v>
                </c:pt>
                <c:pt idx="32">
                  <c:v>0.4238463240140641</c:v>
                </c:pt>
                <c:pt idx="33">
                  <c:v>0.3903889267550174</c:v>
                </c:pt>
                <c:pt idx="34">
                  <c:v>0.40797180618610973</c:v>
                </c:pt>
                <c:pt idx="35">
                  <c:v>0.4231842496021939</c:v>
                </c:pt>
                <c:pt idx="36">
                  <c:v>0.42035240791204803</c:v>
                </c:pt>
                <c:pt idx="37">
                  <c:v>0.4364493802873293</c:v>
                </c:pt>
                <c:pt idx="38">
                  <c:v>0.4163697705016704</c:v>
                </c:pt>
                <c:pt idx="39">
                  <c:v>0.41247980634752557</c:v>
                </c:pt>
                <c:pt idx="40">
                  <c:v>0.45489281037508017</c:v>
                </c:pt>
                <c:pt idx="41">
                  <c:v>0.47255057676773654</c:v>
                </c:pt>
                <c:pt idx="42">
                  <c:v>0.4409899978942227</c:v>
                </c:pt>
                <c:pt idx="43">
                  <c:v>0.4705918714504314</c:v>
                </c:pt>
                <c:pt idx="44">
                  <c:v>0.4952026223872216</c:v>
                </c:pt>
                <c:pt idx="45">
                  <c:v>0.5507772709259696</c:v>
                </c:pt>
                <c:pt idx="46">
                  <c:v>0.5296450847759386</c:v>
                </c:pt>
                <c:pt idx="47">
                  <c:v>0.5440613720553156</c:v>
                </c:pt>
                <c:pt idx="48">
                  <c:v>0.6040820839164674</c:v>
                </c:pt>
                <c:pt idx="49">
                  <c:v>0.6414066431011628</c:v>
                </c:pt>
                <c:pt idx="50">
                  <c:v>0.6402865769801266</c:v>
                </c:pt>
                <c:pt idx="51">
                  <c:v>0.5657855482720027</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17163206792542</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17163206792542</c:v>
                </c:pt>
                <c:pt idx="1">
                  <c:v>0.5817163206792542</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17163206792542</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17163206792542</c:v>
                </c:pt>
                <c:pt idx="1">
                  <c:v>0.5817163206792542</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8004502320014186</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8004502320014186</c:v>
                </c:pt>
                <c:pt idx="1">
                  <c:v>0.48004502320014186</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278212409731708</c:v>
                </c:pt>
                <c:pt idx="1">
                  <c:v>0.4778437018305979</c:v>
                </c:pt>
                <c:pt idx="2">
                  <c:v>0.510785411929671</c:v>
                </c:pt>
                <c:pt idx="3">
                  <c:v>0.48619899277974993</c:v>
                </c:pt>
                <c:pt idx="4">
                  <c:v>0.44756420398354796</c:v>
                </c:pt>
                <c:pt idx="5">
                  <c:v>0.4970403940897056</c:v>
                </c:pt>
                <c:pt idx="6">
                  <c:v>0.5674457851187426</c:v>
                </c:pt>
                <c:pt idx="7">
                  <c:v>0.5249830083015508</c:v>
                </c:pt>
                <c:pt idx="8">
                  <c:v>0.5421923625580023</c:v>
                </c:pt>
                <c:pt idx="9">
                  <c:v>0.5226866853914601</c:v>
                </c:pt>
                <c:pt idx="10">
                  <c:v>0.5445102235244966</c:v>
                </c:pt>
                <c:pt idx="11">
                  <c:v>0.5309689485648197</c:v>
                </c:pt>
                <c:pt idx="12">
                  <c:v>0.5299996754063755</c:v>
                </c:pt>
                <c:pt idx="13">
                  <c:v>0.5343243353635311</c:v>
                </c:pt>
                <c:pt idx="14">
                  <c:v>0.4758944192862696</c:v>
                </c:pt>
                <c:pt idx="15">
                  <c:v>0.47171427282888617</c:v>
                </c:pt>
                <c:pt idx="16">
                  <c:v>0.5226549693603245</c:v>
                </c:pt>
                <c:pt idx="17">
                  <c:v>0.468002625194505</c:v>
                </c:pt>
                <c:pt idx="18">
                  <c:v>0.4877977808941334</c:v>
                </c:pt>
                <c:pt idx="19">
                  <c:v>0.4933871498795246</c:v>
                </c:pt>
                <c:pt idx="20">
                  <c:v>0.48736056107223474</c:v>
                </c:pt>
                <c:pt idx="21">
                  <c:v>0.4634207163474028</c:v>
                </c:pt>
                <c:pt idx="22">
                  <c:v>0.46435809422206653</c:v>
                </c:pt>
                <c:pt idx="23">
                  <c:v>0.4446842480862228</c:v>
                </c:pt>
                <c:pt idx="24">
                  <c:v>0.45653850718462147</c:v>
                </c:pt>
                <c:pt idx="25">
                  <c:v>0.4697940301903594</c:v>
                </c:pt>
                <c:pt idx="26">
                  <c:v>0.45158348581888835</c:v>
                </c:pt>
                <c:pt idx="27">
                  <c:v>0.4500632320012356</c:v>
                </c:pt>
                <c:pt idx="28">
                  <c:v>0.44787666928780134</c:v>
                </c:pt>
                <c:pt idx="29">
                  <c:v>0.4421523583105251</c:v>
                </c:pt>
                <c:pt idx="30">
                  <c:v>0.4141861108232002</c:v>
                </c:pt>
                <c:pt idx="31">
                  <c:v>0.4158945147208659</c:v>
                </c:pt>
                <c:pt idx="32">
                  <c:v>0.4238463240140641</c:v>
                </c:pt>
                <c:pt idx="33">
                  <c:v>0.3903889267550174</c:v>
                </c:pt>
                <c:pt idx="34">
                  <c:v>0.40797180618610973</c:v>
                </c:pt>
                <c:pt idx="35">
                  <c:v>0.4231842496021939</c:v>
                </c:pt>
                <c:pt idx="36">
                  <c:v>0.42035240791204803</c:v>
                </c:pt>
                <c:pt idx="37">
                  <c:v>0.4364493802873293</c:v>
                </c:pt>
                <c:pt idx="38">
                  <c:v>0.4163697705016704</c:v>
                </c:pt>
                <c:pt idx="39">
                  <c:v>0.41247980634752557</c:v>
                </c:pt>
                <c:pt idx="40">
                  <c:v>0.45489281037508017</c:v>
                </c:pt>
                <c:pt idx="41">
                  <c:v>0.47255057676773654</c:v>
                </c:pt>
                <c:pt idx="42">
                  <c:v>0.4409899978942227</c:v>
                </c:pt>
                <c:pt idx="43">
                  <c:v>0.4705918714504314</c:v>
                </c:pt>
                <c:pt idx="44">
                  <c:v>0.4952026223872216</c:v>
                </c:pt>
                <c:pt idx="45">
                  <c:v>0.5507772709259696</c:v>
                </c:pt>
                <c:pt idx="46">
                  <c:v>0.5296450847759386</c:v>
                </c:pt>
                <c:pt idx="47">
                  <c:v>0.5440613720553156</c:v>
                </c:pt>
                <c:pt idx="48">
                  <c:v>0.6040820839164674</c:v>
                </c:pt>
                <c:pt idx="49">
                  <c:v>0.6414066431011628</c:v>
                </c:pt>
                <c:pt idx="50">
                  <c:v>0.6402865769801266</c:v>
                </c:pt>
                <c:pt idx="51">
                  <c:v>0.5657855482720027</c:v>
                </c:pt>
                <c:pt idx="52">
                  <c:v>0.5817163206792542</c:v>
                </c:pt>
                <c:pt idx="53">
                  <c:v>0.5817163206792542</c:v>
                </c:pt>
                <c:pt idx="54">
                  <c:v>0.48004502320014186</c:v>
                </c:pt>
              </c:numCache>
            </c:numRef>
          </c:xVal>
          <c:yVal>
            <c:numRef>
              <c:f>Sheet1!$B$187:$B$241</c:f>
              <c:numCache>
                <c:formatCode>General</c:formatCode>
                <c:ptCount val="55"/>
                <c:pt idx="0">
                  <c:v>0.10232324092547437</c:v>
                </c:pt>
                <c:pt idx="1">
                  <c:v>0.09298067535067399</c:v>
                </c:pt>
                <c:pt idx="2">
                  <c:v>0.09913864335043274</c:v>
                </c:pt>
                <c:pt idx="3">
                  <c:v>0.09454257405413566</c:v>
                </c:pt>
                <c:pt idx="4">
                  <c:v>0.08732036875972551</c:v>
                </c:pt>
                <c:pt idx="5">
                  <c:v>0.09656921450900165</c:v>
                </c:pt>
                <c:pt idx="6">
                  <c:v>0.10973046641922081</c:v>
                </c:pt>
                <c:pt idx="7">
                  <c:v>0.10179267508917926</c:v>
                </c:pt>
                <c:pt idx="8">
                  <c:v>0.1050097106495378</c:v>
                </c:pt>
                <c:pt idx="9">
                  <c:v>0.10136341130915925</c:v>
                </c:pt>
                <c:pt idx="10">
                  <c:v>0.1054430006522922</c:v>
                </c:pt>
                <c:pt idx="11">
                  <c:v>0.10291165854446487</c:v>
                </c:pt>
                <c:pt idx="12">
                  <c:v>0.1027304671893478</c:v>
                </c:pt>
                <c:pt idx="13">
                  <c:v>0.10353889873543051</c:v>
                </c:pt>
                <c:pt idx="14">
                  <c:v>0.09261628566069248</c:v>
                </c:pt>
                <c:pt idx="15">
                  <c:v>0.0918348687870252</c:v>
                </c:pt>
                <c:pt idx="16">
                  <c:v>0.10135748246380712</c:v>
                </c:pt>
                <c:pt idx="17">
                  <c:v>0.09114103087484154</c:v>
                </c:pt>
                <c:pt idx="18">
                  <c:v>0.09484144396760275</c:v>
                </c:pt>
                <c:pt idx="19">
                  <c:v>0.09588629425762614</c:v>
                </c:pt>
                <c:pt idx="20">
                  <c:v>0.09475971215513719</c:v>
                </c:pt>
                <c:pt idx="21">
                  <c:v>0.0902845104339352</c:v>
                </c:pt>
                <c:pt idx="22">
                  <c:v>0.0904597394350557</c:v>
                </c:pt>
                <c:pt idx="23">
                  <c:v>0.08678200338029904</c:v>
                </c:pt>
                <c:pt idx="24">
                  <c:v>0.08899798269555753</c:v>
                </c:pt>
                <c:pt idx="25">
                  <c:v>0.09147590768014104</c:v>
                </c:pt>
                <c:pt idx="26">
                  <c:v>0.08807171435925874</c:v>
                </c:pt>
                <c:pt idx="27">
                  <c:v>0.08778752527701433</c:v>
                </c:pt>
                <c:pt idx="28">
                  <c:v>0.08737877955075125</c:v>
                </c:pt>
                <c:pt idx="29">
                  <c:v>0.08630870384087708</c:v>
                </c:pt>
                <c:pt idx="30">
                  <c:v>0.0810808253675878</c:v>
                </c:pt>
                <c:pt idx="31">
                  <c:v>0.0814001863388564</c:v>
                </c:pt>
                <c:pt idx="32">
                  <c:v>0.0828866600835536</c:v>
                </c:pt>
                <c:pt idx="33">
                  <c:v>0.07663229195704208</c:v>
                </c:pt>
                <c:pt idx="34">
                  <c:v>0.07991915255276232</c:v>
                </c:pt>
                <c:pt idx="35">
                  <c:v>0.08276289501399607</c:v>
                </c:pt>
                <c:pt idx="36">
                  <c:v>0.08223352387765084</c:v>
                </c:pt>
                <c:pt idx="37">
                  <c:v>0.08524261601287585</c:v>
                </c:pt>
                <c:pt idx="38">
                  <c:v>0.08148902841417953</c:v>
                </c:pt>
                <c:pt idx="39">
                  <c:v>0.08076185685236961</c:v>
                </c:pt>
                <c:pt idx="40">
                  <c:v>0.08869034389174371</c:v>
                </c:pt>
                <c:pt idx="41">
                  <c:v>0.091991203503044</c:v>
                </c:pt>
                <c:pt idx="42">
                  <c:v>0.08609141766398314</c:v>
                </c:pt>
                <c:pt idx="43">
                  <c:v>0.09162505236430085</c:v>
                </c:pt>
                <c:pt idx="44">
                  <c:v>0.09622567013013601</c:v>
                </c:pt>
                <c:pt idx="45">
                  <c:v>0.10661453295086366</c:v>
                </c:pt>
                <c:pt idx="46">
                  <c:v>0.10266418168842276</c:v>
                </c:pt>
                <c:pt idx="47">
                  <c:v>0.10535909447451489</c:v>
                </c:pt>
                <c:pt idx="48">
                  <c:v>0.11657908341413321</c:v>
                </c:pt>
                <c:pt idx="49">
                  <c:v>0.12355636056134855</c:v>
                </c:pt>
                <c:pt idx="50">
                  <c:v>0.12334698068063772</c:v>
                </c:pt>
                <c:pt idx="51">
                  <c:v>0.10942010956939435</c:v>
                </c:pt>
                <c:pt idx="52">
                  <c:v>0.11239813306605717</c:v>
                </c:pt>
                <c:pt idx="53">
                  <c:v>0.11239813306605717</c:v>
                </c:pt>
                <c:pt idx="54">
                  <c:v>0.093392179990538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0.3021</c:v>
                </c:pt>
                <c:pt idx="1">
                  <c:v>805.5402</c:v>
                </c:pt>
                <c:pt idx="2">
                  <c:v>810.1231</c:v>
                </c:pt>
                <c:pt idx="3">
                  <c:v>850.7164</c:v>
                </c:pt>
                <c:pt idx="4">
                  <c:v>843.3481</c:v>
                </c:pt>
                <c:pt idx="5">
                  <c:v>790.9906</c:v>
                </c:pt>
                <c:pt idx="6">
                  <c:v>812.3</c:v>
                </c:pt>
                <c:pt idx="7">
                  <c:v>824.6866</c:v>
                </c:pt>
                <c:pt idx="8">
                  <c:v>765.8496</c:v>
                </c:pt>
                <c:pt idx="9">
                  <c:v>802.8826</c:v>
                </c:pt>
                <c:pt idx="10">
                  <c:v>826.3712</c:v>
                </c:pt>
                <c:pt idx="11">
                  <c:v>840.1485</c:v>
                </c:pt>
                <c:pt idx="12">
                  <c:v>787.2565</c:v>
                </c:pt>
                <c:pt idx="13">
                  <c:v>772.9497</c:v>
                </c:pt>
                <c:pt idx="14">
                  <c:v>819.7838</c:v>
                </c:pt>
                <c:pt idx="15">
                  <c:v>862.0787</c:v>
                </c:pt>
                <c:pt idx="16">
                  <c:v>908.7957</c:v>
                </c:pt>
                <c:pt idx="17">
                  <c:v>893.3165</c:v>
                </c:pt>
                <c:pt idx="18">
                  <c:v>938.5932</c:v>
                </c:pt>
                <c:pt idx="19">
                  <c:v>928.1081</c:v>
                </c:pt>
                <c:pt idx="20">
                  <c:v>964.5263</c:v>
                </c:pt>
                <c:pt idx="21">
                  <c:v>967.3095</c:v>
                </c:pt>
                <c:pt idx="22">
                  <c:v>977.8039</c:v>
                </c:pt>
                <c:pt idx="23">
                  <c:v>931.2609</c:v>
                </c:pt>
                <c:pt idx="24">
                  <c:v>947.5294</c:v>
                </c:pt>
                <c:pt idx="25">
                  <c:v>908.8333</c:v>
                </c:pt>
                <c:pt idx="26">
                  <c:v>879.1094</c:v>
                </c:pt>
                <c:pt idx="27">
                  <c:v>985.5283</c:v>
                </c:pt>
                <c:pt idx="28">
                  <c:v>922.2794</c:v>
                </c:pt>
                <c:pt idx="29">
                  <c:v>922.0833</c:v>
                </c:pt>
                <c:pt idx="30">
                  <c:v>873.2653</c:v>
                </c:pt>
                <c:pt idx="31">
                  <c:v>867.3704</c:v>
                </c:pt>
                <c:pt idx="32">
                  <c:v>916.5846</c:v>
                </c:pt>
                <c:pt idx="33">
                  <c:v>871.403</c:v>
                </c:pt>
                <c:pt idx="34">
                  <c:v>824.4839</c:v>
                </c:pt>
                <c:pt idx="35">
                  <c:v>885.9545</c:v>
                </c:pt>
                <c:pt idx="36">
                  <c:v>1075.2766</c:v>
                </c:pt>
                <c:pt idx="37">
                  <c:v>1093.0784</c:v>
                </c:pt>
                <c:pt idx="38">
                  <c:v>1077.35</c:v>
                </c:pt>
                <c:pt idx="39">
                  <c:v>1044.6512</c:v>
                </c:pt>
                <c:pt idx="40">
                  <c:v>981.02</c:v>
                </c:pt>
                <c:pt idx="41">
                  <c:v>1055.4902</c:v>
                </c:pt>
                <c:pt idx="42">
                  <c:v>1140.32</c:v>
                </c:pt>
                <c:pt idx="43">
                  <c:v>1122.8228</c:v>
                </c:pt>
                <c:pt idx="44">
                  <c:v>1022.5541</c:v>
                </c:pt>
                <c:pt idx="45">
                  <c:v>983.1905</c:v>
                </c:pt>
                <c:pt idx="46">
                  <c:v>1004.9542</c:v>
                </c:pt>
                <c:pt idx="47">
                  <c:v>980.4947</c:v>
                </c:pt>
                <c:pt idx="48">
                  <c:v>1004.9342</c:v>
                </c:pt>
                <c:pt idx="49">
                  <c:v>974.3467</c:v>
                </c:pt>
                <c:pt idx="50">
                  <c:v>967.7288</c:v>
                </c:pt>
                <c:pt idx="51">
                  <c:v>968.1544</c:v>
                </c:pt>
                <c:pt idx="52">
                  <c:v>997.3535</c:v>
                </c:pt>
                <c:pt idx="53">
                  <c:v>1059.4645</c:v>
                </c:pt>
                <c:pt idx="54">
                  <c:v>1029.7908</c:v>
                </c:pt>
                <c:pt idx="55">
                  <c:v>1036.0537</c:v>
                </c:pt>
                <c:pt idx="56">
                  <c:v>1037.7273</c:v>
                </c:pt>
                <c:pt idx="57">
                  <c:v>992.2933</c:v>
                </c:pt>
                <c:pt idx="58">
                  <c:v>1006.0727</c:v>
                </c:pt>
                <c:pt idx="59">
                  <c:v>975.4732</c:v>
                </c:pt>
                <c:pt idx="60">
                  <c:v>959.2412</c:v>
                </c:pt>
                <c:pt idx="61">
                  <c:v>1027.7545</c:v>
                </c:pt>
                <c:pt idx="62">
                  <c:v>991.7143</c:v>
                </c:pt>
                <c:pt idx="63">
                  <c:v>988.5549</c:v>
                </c:pt>
                <c:pt idx="64">
                  <c:v>1011.8195</c:v>
                </c:pt>
                <c:pt idx="65">
                  <c:v>955.4276</c:v>
                </c:pt>
                <c:pt idx="66">
                  <c:v>971.7813</c:v>
                </c:pt>
                <c:pt idx="67">
                  <c:v>1023.8905</c:v>
                </c:pt>
                <c:pt idx="68">
                  <c:v>990.0857</c:v>
                </c:pt>
                <c:pt idx="69">
                  <c:v>1050.0376</c:v>
                </c:pt>
                <c:pt idx="70">
                  <c:v>972.3741</c:v>
                </c:pt>
                <c:pt idx="71">
                  <c:v>1073.2971</c:v>
                </c:pt>
                <c:pt idx="72">
                  <c:v>1176.8909</c:v>
                </c:pt>
                <c:pt idx="73">
                  <c:v>1210.6162</c:v>
                </c:pt>
                <c:pt idx="74">
                  <c:v>1180.4245</c:v>
                </c:pt>
                <c:pt idx="75">
                  <c:v>1108.3182</c:v>
                </c:pt>
                <c:pt idx="76">
                  <c:v>1025.1667</c:v>
                </c:pt>
                <c:pt idx="77">
                  <c:v>1016.7349</c:v>
                </c:pt>
                <c:pt idx="78">
                  <c:v>1112.9841</c:v>
                </c:pt>
                <c:pt idx="79">
                  <c:v>1189.8431</c:v>
                </c:pt>
                <c:pt idx="80">
                  <c:v>1150.3585</c:v>
                </c:pt>
                <c:pt idx="81">
                  <c:v>1180.2545</c:v>
                </c:pt>
                <c:pt idx="82">
                  <c:v>1093.1</c:v>
                </c:pt>
                <c:pt idx="83">
                  <c:v>1124.8049</c:v>
                </c:pt>
                <c:pt idx="84">
                  <c:v>1163.6136</c:v>
                </c:pt>
                <c:pt idx="85">
                  <c:v>1103.0</c:v>
                </c:pt>
                <c:pt idx="86">
                  <c:v>1042.7143</c:v>
                </c:pt>
                <c:pt idx="87">
                  <c:v>1073.5844</c:v>
                </c:pt>
                <c:pt idx="88">
                  <c:v>1218.1373</c:v>
                </c:pt>
                <c:pt idx="89">
                  <c:v>1144.1346</c:v>
                </c:pt>
                <c:pt idx="90">
                  <c:v>1244.175</c:v>
                </c:pt>
                <c:pt idx="91">
                  <c:v>1157.0</c:v>
                </c:pt>
                <c:pt idx="92">
                  <c:v>1139.9692</c:v>
                </c:pt>
                <c:pt idx="93">
                  <c:v>1199.7467</c:v>
                </c:pt>
                <c:pt idx="94">
                  <c:v>1157.5</c:v>
                </c:pt>
                <c:pt idx="95">
                  <c:v>1046.4574</c:v>
                </c:pt>
                <c:pt idx="96">
                  <c:v>812.1759</c:v>
                </c:pt>
                <c:pt idx="97">
                  <c:v>879.3443</c:v>
                </c:pt>
                <c:pt idx="98">
                  <c:v>889.9086</c:v>
                </c:pt>
                <c:pt idx="99">
                  <c:v>972.4095</c:v>
                </c:pt>
                <c:pt idx="100">
                  <c:v>1044.1321</c:v>
                </c:pt>
                <c:pt idx="101">
                  <c:v>1072.8457</c:v>
                </c:pt>
                <c:pt idx="102">
                  <c:v>1068.7771</c:v>
                </c:pt>
                <c:pt idx="103">
                  <c:v>1075.3571</c:v>
                </c:pt>
                <c:pt idx="104">
                  <c:v>1094.7626</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4.6905309464748</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4.6905309464748</c:v>
                </c:pt>
                <c:pt idx="1">
                  <c:v>1074.6905309464748</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4.6905309464748</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4.6905309464748</c:v>
                </c:pt>
                <c:pt idx="1">
                  <c:v>1074.6905309464748</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5.435864458767</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5.435864458767</c:v>
                </c:pt>
                <c:pt idx="1">
                  <c:v>1205.435864458767</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pt idx="52">
                  <c:v>1074.6905309464748</c:v>
                </c:pt>
                <c:pt idx="53">
                  <c:v>1074.6905309464748</c:v>
                </c:pt>
                <c:pt idx="54">
                  <c:v>1205.435864458767</c:v>
                </c:pt>
              </c:numCache>
            </c:numRef>
          </c:xVal>
          <c:yVal>
            <c:numRef>
              <c:f>Sheet1!$B$187:$B$241</c:f>
              <c:numCache>
                <c:formatCode>General</c:formatCode>
                <c:ptCount val="55"/>
                <c:pt idx="0">
                  <c:v>0.09734939182830812</c:v>
                </c:pt>
                <c:pt idx="1">
                  <c:v>0.10102943908772849</c:v>
                </c:pt>
                <c:pt idx="2">
                  <c:v>0.09999808039328742</c:v>
                </c:pt>
                <c:pt idx="3">
                  <c:v>0.11521420077911401</c:v>
                </c:pt>
                <c:pt idx="4">
                  <c:v>0.11435719431206343</c:v>
                </c:pt>
                <c:pt idx="5">
                  <c:v>0.10365581394009776</c:v>
                </c:pt>
                <c:pt idx="6">
                  <c:v>0.10890636861512684</c:v>
                </c:pt>
                <c:pt idx="7">
                  <c:v>0.11157234122199103</c:v>
                </c:pt>
                <c:pt idx="8">
                  <c:v>0.09995612770625648</c:v>
                </c:pt>
                <c:pt idx="9">
                  <c:v>0.09818989923098587</c:v>
                </c:pt>
                <c:pt idx="10">
                  <c:v>0.09771138275431088</c:v>
                </c:pt>
                <c:pt idx="11">
                  <c:v>0.11750193051815261</c:v>
                </c:pt>
                <c:pt idx="12">
                  <c:v>0.11718908790637422</c:v>
                </c:pt>
                <c:pt idx="13">
                  <c:v>0.102608450426384</c:v>
                </c:pt>
                <c:pt idx="14">
                  <c:v>0.1030526023319775</c:v>
                </c:pt>
                <c:pt idx="15">
                  <c:v>0.10501974144046172</c:v>
                </c:pt>
                <c:pt idx="16">
                  <c:v>0.0911417169802056</c:v>
                </c:pt>
                <c:pt idx="17">
                  <c:v>0.10136677590520582</c:v>
                </c:pt>
                <c:pt idx="18">
                  <c:v>0.08782927178233688</c:v>
                </c:pt>
                <c:pt idx="19">
                  <c:v>0.08318152169005147</c:v>
                </c:pt>
                <c:pt idx="20">
                  <c:v>0.07908167136453062</c:v>
                </c:pt>
                <c:pt idx="21">
                  <c:v>0.0855997030622902</c:v>
                </c:pt>
                <c:pt idx="22">
                  <c:v>0.08148440030907916</c:v>
                </c:pt>
                <c:pt idx="23">
                  <c:v>0.09430774933546329</c:v>
                </c:pt>
                <c:pt idx="24">
                  <c:v>0.08347235585825233</c:v>
                </c:pt>
                <c:pt idx="25">
                  <c:v>0.0879426428863404</c:v>
                </c:pt>
                <c:pt idx="26">
                  <c:v>0.08650252895744942</c:v>
                </c:pt>
                <c:pt idx="27">
                  <c:v>0.08835200865885523</c:v>
                </c:pt>
                <c:pt idx="28">
                  <c:v>0.08708249650924174</c:v>
                </c:pt>
                <c:pt idx="29">
                  <c:v>0.08185531672012594</c:v>
                </c:pt>
                <c:pt idx="30">
                  <c:v>0.08906686151312848</c:v>
                </c:pt>
                <c:pt idx="31">
                  <c:v>0.09030939369492164</c:v>
                </c:pt>
                <c:pt idx="32">
                  <c:v>0.08627709504529568</c:v>
                </c:pt>
                <c:pt idx="33">
                  <c:v>0.09308430373650856</c:v>
                </c:pt>
                <c:pt idx="34">
                  <c:v>0.0921123562104304</c:v>
                </c:pt>
                <c:pt idx="35">
                  <c:v>0.08188639601495343</c:v>
                </c:pt>
                <c:pt idx="36">
                  <c:v>0.07439054399639625</c:v>
                </c:pt>
                <c:pt idx="37">
                  <c:v>0.07377791265813177</c:v>
                </c:pt>
                <c:pt idx="38">
                  <c:v>0.08266663458865325</c:v>
                </c:pt>
                <c:pt idx="39">
                  <c:v>0.1002821550329126</c:v>
                </c:pt>
                <c:pt idx="40">
                  <c:v>0.08323629567644528</c:v>
                </c:pt>
                <c:pt idx="41">
                  <c:v>0.07795326619101181</c:v>
                </c:pt>
                <c:pt idx="42">
                  <c:v>0.07805201345469892</c:v>
                </c:pt>
                <c:pt idx="43">
                  <c:v>0.08414066245338733</c:v>
                </c:pt>
                <c:pt idx="44">
                  <c:v>0.10526744545536362</c:v>
                </c:pt>
                <c:pt idx="45">
                  <c:v>0.10004250430581912</c:v>
                </c:pt>
                <c:pt idx="46">
                  <c:v>0.09789063382284116</c:v>
                </c:pt>
                <c:pt idx="47">
                  <c:v>0.1026394570381085</c:v>
                </c:pt>
                <c:pt idx="48">
                  <c:v>0.09602891428689617</c:v>
                </c:pt>
                <c:pt idx="49">
                  <c:v>0.09747590403732756</c:v>
                </c:pt>
                <c:pt idx="50">
                  <c:v>0.10975237086038866</c:v>
                </c:pt>
                <c:pt idx="51">
                  <c:v>0.11310672513542655</c:v>
                </c:pt>
                <c:pt idx="52">
                  <c:v>0.11239813306605717</c:v>
                </c:pt>
                <c:pt idx="53">
                  <c:v>0.11239813306605717</c:v>
                </c:pt>
                <c:pt idx="54">
                  <c:v>0.09339217999053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58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8568360087940242</c:v>
                </c:pt>
                <c:pt idx="1">
                  <c:v>0.1024469286531858</c:v>
                </c:pt>
                <c:pt idx="2">
                  <c:v>0.09900206055529541</c:v>
                </c:pt>
                <c:pt idx="3">
                  <c:v>0.08834678152710745</c:v>
                </c:pt>
                <c:pt idx="4">
                  <c:v>0.08316884680776715</c:v>
                </c:pt>
                <c:pt idx="5">
                  <c:v>0.08355668197733417</c:v>
                </c:pt>
                <c:pt idx="6">
                  <c:v>0.09644163835382921</c:v>
                </c:pt>
                <c:pt idx="7">
                  <c:v>0.0963989683705018</c:v>
                </c:pt>
                <c:pt idx="8">
                  <c:v>0.072557366606857</c:v>
                </c:pt>
                <c:pt idx="9">
                  <c:v>0.0780737215301758</c:v>
                </c:pt>
                <c:pt idx="10">
                  <c:v>0.08176165705706151</c:v>
                </c:pt>
                <c:pt idx="11">
                  <c:v>0.08111127951599259</c:v>
                </c:pt>
                <c:pt idx="12">
                  <c:v>0.0806958571042898</c:v>
                </c:pt>
                <c:pt idx="13">
                  <c:v>0.07159707700408258</c:v>
                </c:pt>
                <c:pt idx="14">
                  <c:v>0.08269164839001888</c:v>
                </c:pt>
                <c:pt idx="15">
                  <c:v>0.09475549192593137</c:v>
                </c:pt>
                <c:pt idx="16">
                  <c:v>0.09381988520223813</c:v>
                </c:pt>
                <c:pt idx="17">
                  <c:v>0.08510815767536024</c:v>
                </c:pt>
                <c:pt idx="18">
                  <c:v>0.09996345226208941</c:v>
                </c:pt>
                <c:pt idx="19">
                  <c:v>0.09622782943015955</c:v>
                </c:pt>
                <c:pt idx="20">
                  <c:v>0.08776367510946274</c:v>
                </c:pt>
                <c:pt idx="21">
                  <c:v>0.09251467951954852</c:v>
                </c:pt>
                <c:pt idx="22">
                  <c:v>0.08314793704778976</c:v>
                </c:pt>
                <c:pt idx="23">
                  <c:v>0.08571307788898518</c:v>
                </c:pt>
                <c:pt idx="24">
                  <c:v>0.09412771454043095</c:v>
                </c:pt>
                <c:pt idx="25">
                  <c:v>0.08488432314886735</c:v>
                </c:pt>
                <c:pt idx="26">
                  <c:v>0.07715411349634024</c:v>
                </c:pt>
                <c:pt idx="27">
                  <c:v>0.08754674477726264</c:v>
                </c:pt>
                <c:pt idx="28">
                  <c:v>0.07915854721981899</c:v>
                </c:pt>
                <c:pt idx="29">
                  <c:v>0.10113937694010057</c:v>
                </c:pt>
                <c:pt idx="30">
                  <c:v>0.09779805859388084</c:v>
                </c:pt>
                <c:pt idx="31">
                  <c:v>0.09331982011060186</c:v>
                </c:pt>
                <c:pt idx="32">
                  <c:v>0.08897539193051858</c:v>
                </c:pt>
                <c:pt idx="33">
                  <c:v>0.0936690314952166</c:v>
                </c:pt>
                <c:pt idx="34">
                  <c:v>0.09990353576967817</c:v>
                </c:pt>
                <c:pt idx="35">
                  <c:v>0.08336065354044057</c:v>
                </c:pt>
                <c:pt idx="36">
                  <c:v>0.08906230394509038</c:v>
                </c:pt>
                <c:pt idx="37">
                  <c:v>0.105891246233332</c:v>
                </c:pt>
                <c:pt idx="38">
                  <c:v>0.11132652966537104</c:v>
                </c:pt>
                <c:pt idx="39">
                  <c:v>0.11673134941854803</c:v>
                </c:pt>
                <c:pt idx="40">
                  <c:v>0.1222116747765727</c:v>
                </c:pt>
                <c:pt idx="41">
                  <c:v>0.12931513480655207</c:v>
                </c:pt>
                <c:pt idx="42">
                  <c:v>0.11635992576483267</c:v>
                </c:pt>
                <c:pt idx="43">
                  <c:v>0.10547837029945721</c:v>
                </c:pt>
                <c:pt idx="44">
                  <c:v>0.10260711229452744</c:v>
                </c:pt>
                <c:pt idx="45">
                  <c:v>0.11392777625304819</c:v>
                </c:pt>
                <c:pt idx="46">
                  <c:v>0.1034130793932938</c:v>
                </c:pt>
                <c:pt idx="47">
                  <c:v>0.09123945812160213</c:v>
                </c:pt>
                <c:pt idx="48">
                  <c:v>0.09841390467014836</c:v>
                </c:pt>
                <c:pt idx="49">
                  <c:v>0.10619269712413813</c:v>
                </c:pt>
                <c:pt idx="50">
                  <c:v>0.09744945794357814</c:v>
                </c:pt>
                <c:pt idx="51">
                  <c:v>0.08565741932015082</c:v>
                </c:pt>
                <c:pt idx="52">
                  <c:v>0.10006266598733785</c:v>
                </c:pt>
                <c:pt idx="53">
                  <c:v>0.11290376878161712</c:v>
                </c:pt>
                <c:pt idx="54">
                  <c:v>0.10548168033264822</c:v>
                </c:pt>
                <c:pt idx="55">
                  <c:v>0.08818736562710415</c:v>
                </c:pt>
                <c:pt idx="56">
                  <c:v>0.09463414700873408</c:v>
                </c:pt>
                <c:pt idx="57">
                  <c:v>0.0944277704136794</c:v>
                </c:pt>
                <c:pt idx="58">
                  <c:v>0.10586981388916007</c:v>
                </c:pt>
                <c:pt idx="59">
                  <c:v>0.10671812966673534</c:v>
                </c:pt>
                <c:pt idx="60">
                  <c:v>0.08872825825548053</c:v>
                </c:pt>
                <c:pt idx="61">
                  <c:v>0.10138928609726403</c:v>
                </c:pt>
                <c:pt idx="62">
                  <c:v>0.09858660048380599</c:v>
                </c:pt>
                <c:pt idx="63">
                  <c:v>0.09561605348583954</c:v>
                </c:pt>
                <c:pt idx="64">
                  <c:v>0.09991568554491308</c:v>
                </c:pt>
                <c:pt idx="65">
                  <c:v>0.08528531671265684</c:v>
                </c:pt>
                <c:pt idx="66">
                  <c:v>0.09421532466854313</c:v>
                </c:pt>
                <c:pt idx="67">
                  <c:v>0.1126731634167235</c:v>
                </c:pt>
                <c:pt idx="68">
                  <c:v>0.09959581681468442</c:v>
                </c:pt>
                <c:pt idx="69">
                  <c:v>0.09710054200413948</c:v>
                </c:pt>
                <c:pt idx="70">
                  <c:v>0.09110857531523174</c:v>
                </c:pt>
                <c:pt idx="71">
                  <c:v>0.09304724051420786</c:v>
                </c:pt>
                <c:pt idx="72">
                  <c:v>0.10507368115618548</c:v>
                </c:pt>
                <c:pt idx="73">
                  <c:v>0.10384374903821869</c:v>
                </c:pt>
                <c:pt idx="74">
                  <c:v>0.10107066408658127</c:v>
                </c:pt>
                <c:pt idx="75">
                  <c:v>0.10021951266555174</c:v>
                </c:pt>
                <c:pt idx="76">
                  <c:v>0.08542979587240518</c:v>
                </c:pt>
                <c:pt idx="77">
                  <c:v>0.0832789033012608</c:v>
                </c:pt>
                <c:pt idx="78">
                  <c:v>0.09273321946342275</c:v>
                </c:pt>
                <c:pt idx="79">
                  <c:v>0.10176108288617194</c:v>
                </c:pt>
                <c:pt idx="80">
                  <c:v>0.10126936449218162</c:v>
                </c:pt>
                <c:pt idx="81">
                  <c:v>0.1309674940529444</c:v>
                </c:pt>
                <c:pt idx="82">
                  <c:v>0.12900580216901816</c:v>
                </c:pt>
                <c:pt idx="83">
                  <c:v>0.12420302623197785</c:v>
                </c:pt>
                <c:pt idx="84">
                  <c:v>0.11075634994778778</c:v>
                </c:pt>
                <c:pt idx="85">
                  <c:v>0.11756527286835881</c:v>
                </c:pt>
                <c:pt idx="86">
                  <c:v>0.1136169402964624</c:v>
                </c:pt>
                <c:pt idx="87">
                  <c:v>0.09969211625963413</c:v>
                </c:pt>
                <c:pt idx="88">
                  <c:v>0.10598080315850535</c:v>
                </c:pt>
                <c:pt idx="89">
                  <c:v>0.0967650439107268</c:v>
                </c:pt>
                <c:pt idx="90">
                  <c:v>0.10609655396550788</c:v>
                </c:pt>
                <c:pt idx="91">
                  <c:v>0.11706317018032564</c:v>
                </c:pt>
                <c:pt idx="92">
                  <c:v>0.11454772387573371</c:v>
                </c:pt>
                <c:pt idx="93">
                  <c:v>0.11611974639938992</c:v>
                </c:pt>
                <c:pt idx="94">
                  <c:v>0.10062009185297414</c:v>
                </c:pt>
                <c:pt idx="95">
                  <c:v>0.08265296667790367</c:v>
                </c:pt>
                <c:pt idx="96">
                  <c:v>0.07372972251047295</c:v>
                </c:pt>
                <c:pt idx="97">
                  <c:v>0.08744934324605354</c:v>
                </c:pt>
                <c:pt idx="98">
                  <c:v>0.08166246994695983</c:v>
                </c:pt>
                <c:pt idx="99">
                  <c:v>0.0868082285790804</c:v>
                </c:pt>
                <c:pt idx="100">
                  <c:v>0.10712195686069495</c:v>
                </c:pt>
                <c:pt idx="101">
                  <c:v>0.09996071714883406</c:v>
                </c:pt>
                <c:pt idx="102">
                  <c:v>0.08880663592557325</c:v>
                </c:pt>
                <c:pt idx="103">
                  <c:v>0.08498453301194821</c:v>
                </c:pt>
                <c:pt idx="104">
                  <c:v>0.10027461601515435</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916909526629609</c:v>
                </c:pt>
                <c:pt idx="1">
                  <c:v>0.11629722682383455</c:v>
                </c:pt>
                <c:pt idx="2">
                  <c:v>0.10228820327065413</c:v>
                </c:pt>
                <c:pt idx="3">
                  <c:v>0.08483929105777864</c:v>
                </c:pt>
                <c:pt idx="4">
                  <c:v>0.0823331527980801</c:v>
                </c:pt>
                <c:pt idx="5">
                  <c:v>0.09907475068480263</c:v>
                </c:pt>
                <c:pt idx="6">
                  <c:v>0.10138387745627252</c:v>
                </c:pt>
                <c:pt idx="7">
                  <c:v>0.0843464104164432</c:v>
                </c:pt>
                <c:pt idx="8">
                  <c:v>0.1079978323760623</c:v>
                </c:pt>
                <c:pt idx="9">
                  <c:v>0.10414947766762604</c:v>
                </c:pt>
                <c:pt idx="10">
                  <c:v>0.10538326903231897</c:v>
                </c:pt>
                <c:pt idx="11">
                  <c:v>0.10454484617627278</c:v>
                </c:pt>
                <c:pt idx="12">
                  <c:v>0.08682552925487581</c:v>
                </c:pt>
                <c:pt idx="13">
                  <c:v>0.09986734321336362</c:v>
                </c:pt>
                <c:pt idx="14">
                  <c:v>0.10292825240479932</c:v>
                </c:pt>
                <c:pt idx="15">
                  <c:v>0.10529005021441012</c:v>
                </c:pt>
                <c:pt idx="16">
                  <c:v>0.10657580566363735</c:v>
                </c:pt>
                <c:pt idx="17">
                  <c:v>0.09348451073311362</c:v>
                </c:pt>
                <c:pt idx="18">
                  <c:v>0.09264061354833632</c:v>
                </c:pt>
                <c:pt idx="19">
                  <c:v>0.10982218615001944</c:v>
                </c:pt>
                <c:pt idx="20">
                  <c:v>0.11015759726270435</c:v>
                </c:pt>
                <c:pt idx="21">
                  <c:v>0.10802970284269675</c:v>
                </c:pt>
                <c:pt idx="22">
                  <c:v>0.10633469347298168</c:v>
                </c:pt>
                <c:pt idx="23">
                  <c:v>0.10389138930283287</c:v>
                </c:pt>
                <c:pt idx="24">
                  <c:v>0.11159748973221618</c:v>
                </c:pt>
                <c:pt idx="25">
                  <c:v>0.10656510213040316</c:v>
                </c:pt>
                <c:pt idx="26">
                  <c:v>0.11078092723269398</c:v>
                </c:pt>
                <c:pt idx="27">
                  <c:v>0.11923412864794822</c:v>
                </c:pt>
                <c:pt idx="28">
                  <c:v>0.12821099900445726</c:v>
                </c:pt>
                <c:pt idx="29">
                  <c:v>0.13069528508214232</c:v>
                </c:pt>
                <c:pt idx="30">
                  <c:v>0.12122662303940289</c:v>
                </c:pt>
                <c:pt idx="31">
                  <c:v>0.11783630107245921</c:v>
                </c:pt>
                <c:pt idx="32">
                  <c:v>0.12268897885754775</c:v>
                </c:pt>
                <c:pt idx="33">
                  <c:v>0.11877967841168456</c:v>
                </c:pt>
                <c:pt idx="34">
                  <c:v>0.11274831378250173</c:v>
                </c:pt>
                <c:pt idx="35">
                  <c:v>0.10223135500219391</c:v>
                </c:pt>
                <c:pt idx="36">
                  <c:v>0.1022868971271098</c:v>
                </c:pt>
                <c:pt idx="37">
                  <c:v>0.10193739208708735</c:v>
                </c:pt>
                <c:pt idx="38">
                  <c:v>0.10897302770641958</c:v>
                </c:pt>
                <c:pt idx="39">
                  <c:v>0.09705740612229163</c:v>
                </c:pt>
                <c:pt idx="40">
                  <c:v>0.10746416169641056</c:v>
                </c:pt>
                <c:pt idx="41">
                  <c:v>0.11109512460474265</c:v>
                </c:pt>
                <c:pt idx="42">
                  <c:v>0.11168611129565059</c:v>
                </c:pt>
                <c:pt idx="43">
                  <c:v>0.11189010142768557</c:v>
                </c:pt>
                <c:pt idx="44">
                  <c:v>0.10632757644824611</c:v>
                </c:pt>
                <c:pt idx="45">
                  <c:v>0.10586951424897914</c:v>
                </c:pt>
                <c:pt idx="46">
                  <c:v>0.09640550570732333</c:v>
                </c:pt>
                <c:pt idx="47">
                  <c:v>0.0887428419540766</c:v>
                </c:pt>
                <c:pt idx="48">
                  <c:v>0.09047016728210472</c:v>
                </c:pt>
                <c:pt idx="49">
                  <c:v>0.1061881998762533</c:v>
                </c:pt>
                <c:pt idx="50">
                  <c:v>0.10658713609986833</c:v>
                </c:pt>
                <c:pt idx="51">
                  <c:v>0.10670598058626529</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8812516379267</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8812516379267</c:v>
                </c:pt>
                <c:pt idx="1">
                  <c:v>0.088812516379267</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8812516379267</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8812516379267</c:v>
                </c:pt>
                <c:pt idx="1">
                  <c:v>0.088812516379267</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697266609371496</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697266609371496</c:v>
                </c:pt>
                <c:pt idx="1">
                  <c:v>0.10697266609371496</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916909526629609</c:v>
                </c:pt>
                <c:pt idx="1">
                  <c:v>0.11629722682383455</c:v>
                </c:pt>
                <c:pt idx="2">
                  <c:v>0.10228820327065413</c:v>
                </c:pt>
                <c:pt idx="3">
                  <c:v>0.08483929105777864</c:v>
                </c:pt>
                <c:pt idx="4">
                  <c:v>0.0823331527980801</c:v>
                </c:pt>
                <c:pt idx="5">
                  <c:v>0.09907475068480263</c:v>
                </c:pt>
                <c:pt idx="6">
                  <c:v>0.10138387745627252</c:v>
                </c:pt>
                <c:pt idx="7">
                  <c:v>0.0843464104164432</c:v>
                </c:pt>
                <c:pt idx="8">
                  <c:v>0.1079978323760623</c:v>
                </c:pt>
                <c:pt idx="9">
                  <c:v>0.10414947766762604</c:v>
                </c:pt>
                <c:pt idx="10">
                  <c:v>0.10538326903231897</c:v>
                </c:pt>
                <c:pt idx="11">
                  <c:v>0.10454484617627278</c:v>
                </c:pt>
                <c:pt idx="12">
                  <c:v>0.08682552925487581</c:v>
                </c:pt>
                <c:pt idx="13">
                  <c:v>0.09986734321336362</c:v>
                </c:pt>
                <c:pt idx="14">
                  <c:v>0.10292825240479932</c:v>
                </c:pt>
                <c:pt idx="15">
                  <c:v>0.10529005021441012</c:v>
                </c:pt>
                <c:pt idx="16">
                  <c:v>0.10657580566363735</c:v>
                </c:pt>
                <c:pt idx="17">
                  <c:v>0.09348451073311362</c:v>
                </c:pt>
                <c:pt idx="18">
                  <c:v>0.09264061354833632</c:v>
                </c:pt>
                <c:pt idx="19">
                  <c:v>0.10982218615001944</c:v>
                </c:pt>
                <c:pt idx="20">
                  <c:v>0.11015759726270435</c:v>
                </c:pt>
                <c:pt idx="21">
                  <c:v>0.10802970284269675</c:v>
                </c:pt>
                <c:pt idx="22">
                  <c:v>0.10633469347298168</c:v>
                </c:pt>
                <c:pt idx="23">
                  <c:v>0.10389138930283287</c:v>
                </c:pt>
                <c:pt idx="24">
                  <c:v>0.11159748973221618</c:v>
                </c:pt>
                <c:pt idx="25">
                  <c:v>0.10656510213040316</c:v>
                </c:pt>
                <c:pt idx="26">
                  <c:v>0.11078092723269398</c:v>
                </c:pt>
                <c:pt idx="27">
                  <c:v>0.11923412864794822</c:v>
                </c:pt>
                <c:pt idx="28">
                  <c:v>0.12821099900445726</c:v>
                </c:pt>
                <c:pt idx="29">
                  <c:v>0.13069528508214232</c:v>
                </c:pt>
                <c:pt idx="30">
                  <c:v>0.12122662303940289</c:v>
                </c:pt>
                <c:pt idx="31">
                  <c:v>0.11783630107245921</c:v>
                </c:pt>
                <c:pt idx="32">
                  <c:v>0.12268897885754775</c:v>
                </c:pt>
                <c:pt idx="33">
                  <c:v>0.11877967841168456</c:v>
                </c:pt>
                <c:pt idx="34">
                  <c:v>0.11274831378250173</c:v>
                </c:pt>
                <c:pt idx="35">
                  <c:v>0.10223135500219391</c:v>
                </c:pt>
                <c:pt idx="36">
                  <c:v>0.1022868971271098</c:v>
                </c:pt>
                <c:pt idx="37">
                  <c:v>0.10193739208708735</c:v>
                </c:pt>
                <c:pt idx="38">
                  <c:v>0.10897302770641958</c:v>
                </c:pt>
                <c:pt idx="39">
                  <c:v>0.09705740612229163</c:v>
                </c:pt>
                <c:pt idx="40">
                  <c:v>0.10746416169641056</c:v>
                </c:pt>
                <c:pt idx="41">
                  <c:v>0.11109512460474265</c:v>
                </c:pt>
                <c:pt idx="42">
                  <c:v>0.11168611129565059</c:v>
                </c:pt>
                <c:pt idx="43">
                  <c:v>0.11189010142768557</c:v>
                </c:pt>
                <c:pt idx="44">
                  <c:v>0.10632757644824611</c:v>
                </c:pt>
                <c:pt idx="45">
                  <c:v>0.10586951424897914</c:v>
                </c:pt>
                <c:pt idx="46">
                  <c:v>0.09640550570732333</c:v>
                </c:pt>
                <c:pt idx="47">
                  <c:v>0.0887428419540766</c:v>
                </c:pt>
                <c:pt idx="48">
                  <c:v>0.09047016728210472</c:v>
                </c:pt>
                <c:pt idx="49">
                  <c:v>0.1061881998762533</c:v>
                </c:pt>
                <c:pt idx="50">
                  <c:v>0.10658713609986833</c:v>
                </c:pt>
                <c:pt idx="51">
                  <c:v>0.10670598058626529</c:v>
                </c:pt>
                <c:pt idx="52">
                  <c:v>0.088812516379267</c:v>
                </c:pt>
                <c:pt idx="53">
                  <c:v>0.088812516379267</c:v>
                </c:pt>
                <c:pt idx="54">
                  <c:v>0.10697266609371496</c:v>
                </c:pt>
              </c:numCache>
            </c:numRef>
          </c:xVal>
          <c:yVal>
            <c:numRef>
              <c:f>Sheet1!$B$187:$B$241</c:f>
              <c:numCache>
                <c:formatCode>General</c:formatCode>
                <c:ptCount val="55"/>
                <c:pt idx="0">
                  <c:v>0.08062770589820512</c:v>
                </c:pt>
                <c:pt idx="1">
                  <c:v>0.08363333072590474</c:v>
                </c:pt>
                <c:pt idx="2">
                  <c:v>0.09829482022198281</c:v>
                </c:pt>
                <c:pt idx="3">
                  <c:v>0.11655641012908116</c:v>
                </c:pt>
                <c:pt idx="4">
                  <c:v>0.11917927100377416</c:v>
                </c:pt>
                <c:pt idx="5">
                  <c:v>0.1016579383689939</c:v>
                </c:pt>
                <c:pt idx="6">
                  <c:v>0.09924126473171299</c:v>
                </c:pt>
                <c:pt idx="7">
                  <c:v>0.11707224653397601</c:v>
                </c:pt>
                <c:pt idx="8">
                  <c:v>0.09231926690538933</c:v>
                </c:pt>
                <c:pt idx="9">
                  <c:v>0.09634685754514605</c:v>
                </c:pt>
                <c:pt idx="10">
                  <c:v>0.0950556027289108</c:v>
                </c:pt>
                <c:pt idx="11">
                  <c:v>0.0959330748703865</c:v>
                </c:pt>
                <c:pt idx="12">
                  <c:v>0.11447766350174482</c:v>
                </c:pt>
                <c:pt idx="13">
                  <c:v>0.10082843108834344</c:v>
                </c:pt>
                <c:pt idx="14">
                  <c:v>0.09762496099720386</c:v>
                </c:pt>
                <c:pt idx="15">
                  <c:v>0.09515316318445712</c:v>
                </c:pt>
                <c:pt idx="16">
                  <c:v>0.09380752407250842</c:v>
                </c:pt>
                <c:pt idx="17">
                  <c:v>0.1075085420189276</c:v>
                </c:pt>
                <c:pt idx="18">
                  <c:v>0.10839174345430339</c:v>
                </c:pt>
                <c:pt idx="19">
                  <c:v>0.09040994441817496</c:v>
                </c:pt>
                <c:pt idx="20">
                  <c:v>0.09005891163656606</c:v>
                </c:pt>
                <c:pt idx="21">
                  <c:v>0.09228591208162004</c:v>
                </c:pt>
                <c:pt idx="22">
                  <c:v>0.09405986598893498</c:v>
                </c:pt>
                <c:pt idx="23">
                  <c:v>0.09661696629577456</c:v>
                </c:pt>
                <c:pt idx="24">
                  <c:v>0.08855195662024466</c:v>
                </c:pt>
                <c:pt idx="25">
                  <c:v>0.09381872611949536</c:v>
                </c:pt>
                <c:pt idx="26">
                  <c:v>0.08940655026584662</c:v>
                </c:pt>
                <c:pt idx="27">
                  <c:v>0.08055964360689925</c:v>
                </c:pt>
                <c:pt idx="28">
                  <c:v>0.07116467828758319</c:v>
                </c:pt>
                <c:pt idx="29">
                  <c:v>0.06856468735352816</c:v>
                </c:pt>
                <c:pt idx="30">
                  <c:v>0.07847434940488651</c:v>
                </c:pt>
                <c:pt idx="31">
                  <c:v>0.08202257456975766</c:v>
                </c:pt>
                <c:pt idx="32">
                  <c:v>0.07694388481641118</c:v>
                </c:pt>
                <c:pt idx="33">
                  <c:v>0.08103525972248192</c:v>
                </c:pt>
                <c:pt idx="34">
                  <c:v>0.08734753329544663</c:v>
                </c:pt>
                <c:pt idx="35">
                  <c:v>0.09835431618097923</c:v>
                </c:pt>
                <c:pt idx="36">
                  <c:v>0.0982961871987591</c:v>
                </c:pt>
                <c:pt idx="37">
                  <c:v>0.09866197032801596</c:v>
                </c:pt>
                <c:pt idx="38">
                  <c:v>0.09129865215387714</c:v>
                </c:pt>
                <c:pt idx="39">
                  <c:v>0.10376924013110067</c:v>
                </c:pt>
                <c:pt idx="40">
                  <c:v>0.09287779313203005</c:v>
                </c:pt>
                <c:pt idx="41">
                  <c:v>0.08907771924828858</c:v>
                </c:pt>
                <c:pt idx="42">
                  <c:v>0.08845920753487929</c:v>
                </c:pt>
                <c:pt idx="43">
                  <c:v>0.08824571662548214</c:v>
                </c:pt>
                <c:pt idx="44">
                  <c:v>0.0940673144868983</c:v>
                </c:pt>
                <c:pt idx="45">
                  <c:v>0.09454671079154499</c:v>
                </c:pt>
                <c:pt idx="46">
                  <c:v>0.10445150260644478</c:v>
                </c:pt>
                <c:pt idx="47">
                  <c:v>0.1124710525560699</c:v>
                </c:pt>
                <c:pt idx="48">
                  <c:v>0.11066327758466982</c:v>
                </c:pt>
                <c:pt idx="49">
                  <c:v>0.09421318247966129</c:v>
                </c:pt>
                <c:pt idx="50">
                  <c:v>0.09379566592471132</c:v>
                </c:pt>
                <c:pt idx="51">
                  <c:v>0.09367128629308595</c:v>
                </c:pt>
                <c:pt idx="52">
                  <c:v>0.11239813306605717</c:v>
                </c:pt>
                <c:pt idx="53">
                  <c:v>0.11239813306605717</c:v>
                </c:pt>
                <c:pt idx="54">
                  <c:v>0.093392179990538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0.3021</c:v>
                </c:pt>
                <c:pt idx="1">
                  <c:v>805.5402</c:v>
                </c:pt>
                <c:pt idx="2">
                  <c:v>810.1231</c:v>
                </c:pt>
                <c:pt idx="3">
                  <c:v>850.7164</c:v>
                </c:pt>
                <c:pt idx="4">
                  <c:v>843.3481</c:v>
                </c:pt>
                <c:pt idx="5">
                  <c:v>790.9906</c:v>
                </c:pt>
                <c:pt idx="6">
                  <c:v>812.3</c:v>
                </c:pt>
                <c:pt idx="7">
                  <c:v>824.6866</c:v>
                </c:pt>
                <c:pt idx="8">
                  <c:v>765.8496</c:v>
                </c:pt>
                <c:pt idx="9">
                  <c:v>802.8826</c:v>
                </c:pt>
                <c:pt idx="10">
                  <c:v>826.3712</c:v>
                </c:pt>
                <c:pt idx="11">
                  <c:v>840.1485</c:v>
                </c:pt>
                <c:pt idx="12">
                  <c:v>787.2565</c:v>
                </c:pt>
                <c:pt idx="13">
                  <c:v>772.9497</c:v>
                </c:pt>
                <c:pt idx="14">
                  <c:v>819.7838</c:v>
                </c:pt>
                <c:pt idx="15">
                  <c:v>862.0787</c:v>
                </c:pt>
                <c:pt idx="16">
                  <c:v>908.7957</c:v>
                </c:pt>
                <c:pt idx="17">
                  <c:v>893.3165</c:v>
                </c:pt>
                <c:pt idx="18">
                  <c:v>938.5932</c:v>
                </c:pt>
                <c:pt idx="19">
                  <c:v>928.1081</c:v>
                </c:pt>
                <c:pt idx="20">
                  <c:v>964.5263</c:v>
                </c:pt>
                <c:pt idx="21">
                  <c:v>967.3095</c:v>
                </c:pt>
                <c:pt idx="22">
                  <c:v>977.8039</c:v>
                </c:pt>
                <c:pt idx="23">
                  <c:v>931.2609</c:v>
                </c:pt>
                <c:pt idx="24">
                  <c:v>947.5294</c:v>
                </c:pt>
                <c:pt idx="25">
                  <c:v>908.8333</c:v>
                </c:pt>
                <c:pt idx="26">
                  <c:v>879.1094</c:v>
                </c:pt>
                <c:pt idx="27">
                  <c:v>985.5283</c:v>
                </c:pt>
                <c:pt idx="28">
                  <c:v>922.2794</c:v>
                </c:pt>
                <c:pt idx="29">
                  <c:v>922.0833</c:v>
                </c:pt>
                <c:pt idx="30">
                  <c:v>873.2653</c:v>
                </c:pt>
                <c:pt idx="31">
                  <c:v>867.3704</c:v>
                </c:pt>
                <c:pt idx="32">
                  <c:v>916.5846</c:v>
                </c:pt>
                <c:pt idx="33">
                  <c:v>871.403</c:v>
                </c:pt>
                <c:pt idx="34">
                  <c:v>824.4839</c:v>
                </c:pt>
                <c:pt idx="35">
                  <c:v>885.9545</c:v>
                </c:pt>
                <c:pt idx="36">
                  <c:v>1075.2766</c:v>
                </c:pt>
                <c:pt idx="37">
                  <c:v>1093.0784</c:v>
                </c:pt>
                <c:pt idx="38">
                  <c:v>1077.35</c:v>
                </c:pt>
                <c:pt idx="39">
                  <c:v>1044.6512</c:v>
                </c:pt>
                <c:pt idx="40">
                  <c:v>981.02</c:v>
                </c:pt>
                <c:pt idx="41">
                  <c:v>1055.4902</c:v>
                </c:pt>
                <c:pt idx="42">
                  <c:v>1140.32</c:v>
                </c:pt>
                <c:pt idx="43">
                  <c:v>1122.8228</c:v>
                </c:pt>
                <c:pt idx="44">
                  <c:v>1022.5541</c:v>
                </c:pt>
                <c:pt idx="45">
                  <c:v>983.1905</c:v>
                </c:pt>
                <c:pt idx="46">
                  <c:v>1004.9542</c:v>
                </c:pt>
                <c:pt idx="47">
                  <c:v>980.4947</c:v>
                </c:pt>
                <c:pt idx="48">
                  <c:v>1004.9342</c:v>
                </c:pt>
                <c:pt idx="49">
                  <c:v>974.3467</c:v>
                </c:pt>
                <c:pt idx="50">
                  <c:v>967.7288</c:v>
                </c:pt>
                <c:pt idx="51">
                  <c:v>968.1544</c:v>
                </c:pt>
                <c:pt idx="52">
                  <c:v>997.3535</c:v>
                </c:pt>
                <c:pt idx="53">
                  <c:v>1059.4645</c:v>
                </c:pt>
                <c:pt idx="54">
                  <c:v>1029.7908</c:v>
                </c:pt>
                <c:pt idx="55">
                  <c:v>1036.0537</c:v>
                </c:pt>
                <c:pt idx="56">
                  <c:v>1037.7273</c:v>
                </c:pt>
                <c:pt idx="57">
                  <c:v>992.2933</c:v>
                </c:pt>
                <c:pt idx="58">
                  <c:v>1006.0727</c:v>
                </c:pt>
                <c:pt idx="59">
                  <c:v>975.4732</c:v>
                </c:pt>
                <c:pt idx="60">
                  <c:v>959.2412</c:v>
                </c:pt>
                <c:pt idx="61">
                  <c:v>1027.7545</c:v>
                </c:pt>
                <c:pt idx="62">
                  <c:v>991.7143</c:v>
                </c:pt>
                <c:pt idx="63">
                  <c:v>988.5549</c:v>
                </c:pt>
                <c:pt idx="64">
                  <c:v>1011.8195</c:v>
                </c:pt>
                <c:pt idx="65">
                  <c:v>955.4276</c:v>
                </c:pt>
                <c:pt idx="66">
                  <c:v>971.7813</c:v>
                </c:pt>
                <c:pt idx="67">
                  <c:v>1023.8905</c:v>
                </c:pt>
                <c:pt idx="68">
                  <c:v>990.0857</c:v>
                </c:pt>
                <c:pt idx="69">
                  <c:v>1050.0376</c:v>
                </c:pt>
                <c:pt idx="70">
                  <c:v>972.3741</c:v>
                </c:pt>
                <c:pt idx="71">
                  <c:v>1073.2971</c:v>
                </c:pt>
                <c:pt idx="72">
                  <c:v>1176.8909</c:v>
                </c:pt>
                <c:pt idx="73">
                  <c:v>1210.6162</c:v>
                </c:pt>
                <c:pt idx="74">
                  <c:v>1180.4245</c:v>
                </c:pt>
                <c:pt idx="75">
                  <c:v>1108.3182</c:v>
                </c:pt>
                <c:pt idx="76">
                  <c:v>1025.1667</c:v>
                </c:pt>
                <c:pt idx="77">
                  <c:v>1016.7349</c:v>
                </c:pt>
                <c:pt idx="78">
                  <c:v>1112.9841</c:v>
                </c:pt>
                <c:pt idx="79">
                  <c:v>1189.8431</c:v>
                </c:pt>
                <c:pt idx="80">
                  <c:v>1150.3585</c:v>
                </c:pt>
                <c:pt idx="81">
                  <c:v>1180.2545</c:v>
                </c:pt>
                <c:pt idx="82">
                  <c:v>1093.1</c:v>
                </c:pt>
                <c:pt idx="83">
                  <c:v>1124.8049</c:v>
                </c:pt>
                <c:pt idx="84">
                  <c:v>1163.6136</c:v>
                </c:pt>
                <c:pt idx="85">
                  <c:v>1103.0</c:v>
                </c:pt>
                <c:pt idx="86">
                  <c:v>1042.7143</c:v>
                </c:pt>
                <c:pt idx="87">
                  <c:v>1073.5844</c:v>
                </c:pt>
                <c:pt idx="88">
                  <c:v>1218.1373</c:v>
                </c:pt>
                <c:pt idx="89">
                  <c:v>1144.1346</c:v>
                </c:pt>
                <c:pt idx="90">
                  <c:v>1244.175</c:v>
                </c:pt>
                <c:pt idx="91">
                  <c:v>1157.0</c:v>
                </c:pt>
                <c:pt idx="92">
                  <c:v>1139.9692</c:v>
                </c:pt>
                <c:pt idx="93">
                  <c:v>1199.7467</c:v>
                </c:pt>
                <c:pt idx="94">
                  <c:v>1157.5</c:v>
                </c:pt>
                <c:pt idx="95">
                  <c:v>1046.4574</c:v>
                </c:pt>
                <c:pt idx="96">
                  <c:v>812.1759</c:v>
                </c:pt>
                <c:pt idx="97">
                  <c:v>879.3443</c:v>
                </c:pt>
                <c:pt idx="98">
                  <c:v>889.9086</c:v>
                </c:pt>
                <c:pt idx="99">
                  <c:v>972.4095</c:v>
                </c:pt>
                <c:pt idx="100">
                  <c:v>1044.1321</c:v>
                </c:pt>
                <c:pt idx="101">
                  <c:v>1072.8457</c:v>
                </c:pt>
                <c:pt idx="102">
                  <c:v>1068.7771</c:v>
                </c:pt>
                <c:pt idx="103">
                  <c:v>1075.3571</c:v>
                </c:pt>
                <c:pt idx="104">
                  <c:v>1094.7626</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4.6905309464748</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4.6905309464748</c:v>
                </c:pt>
                <c:pt idx="1">
                  <c:v>1074.6905309464748</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4.6905309464748</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4.6905309464748</c:v>
                </c:pt>
                <c:pt idx="1">
                  <c:v>1074.6905309464748</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5.435864458767</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5.435864458767</c:v>
                </c:pt>
                <c:pt idx="1">
                  <c:v>1205.435864458767</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pt idx="52">
                  <c:v>1074.6905309464748</c:v>
                </c:pt>
                <c:pt idx="53">
                  <c:v>1074.6905309464748</c:v>
                </c:pt>
                <c:pt idx="54">
                  <c:v>1205.435864458767</c:v>
                </c:pt>
              </c:numCache>
            </c:numRef>
          </c:xVal>
          <c:yVal>
            <c:numRef>
              <c:f>Sheet1!$B$187:$B$241</c:f>
              <c:numCache>
                <c:formatCode>General</c:formatCode>
                <c:ptCount val="55"/>
                <c:pt idx="0">
                  <c:v>0.09734939182830812</c:v>
                </c:pt>
                <c:pt idx="1">
                  <c:v>0.10102943908772849</c:v>
                </c:pt>
                <c:pt idx="2">
                  <c:v>0.09999808039328742</c:v>
                </c:pt>
                <c:pt idx="3">
                  <c:v>0.11521420077911401</c:v>
                </c:pt>
                <c:pt idx="4">
                  <c:v>0.11435719431206343</c:v>
                </c:pt>
                <c:pt idx="5">
                  <c:v>0.10365581394009776</c:v>
                </c:pt>
                <c:pt idx="6">
                  <c:v>0.10890636861512684</c:v>
                </c:pt>
                <c:pt idx="7">
                  <c:v>0.11157234122199103</c:v>
                </c:pt>
                <c:pt idx="8">
                  <c:v>0.09995612770625648</c:v>
                </c:pt>
                <c:pt idx="9">
                  <c:v>0.09818989923098587</c:v>
                </c:pt>
                <c:pt idx="10">
                  <c:v>0.09771138275431088</c:v>
                </c:pt>
                <c:pt idx="11">
                  <c:v>0.11750193051815261</c:v>
                </c:pt>
                <c:pt idx="12">
                  <c:v>0.11718908790637422</c:v>
                </c:pt>
                <c:pt idx="13">
                  <c:v>0.102608450426384</c:v>
                </c:pt>
                <c:pt idx="14">
                  <c:v>0.1030526023319775</c:v>
                </c:pt>
                <c:pt idx="15">
                  <c:v>0.10501974144046172</c:v>
                </c:pt>
                <c:pt idx="16">
                  <c:v>0.0911417169802056</c:v>
                </c:pt>
                <c:pt idx="17">
                  <c:v>0.10136677590520582</c:v>
                </c:pt>
                <c:pt idx="18">
                  <c:v>0.08782927178233688</c:v>
                </c:pt>
                <c:pt idx="19">
                  <c:v>0.08318152169005147</c:v>
                </c:pt>
                <c:pt idx="20">
                  <c:v>0.07908167136453062</c:v>
                </c:pt>
                <c:pt idx="21">
                  <c:v>0.0855997030622902</c:v>
                </c:pt>
                <c:pt idx="22">
                  <c:v>0.08148440030907916</c:v>
                </c:pt>
                <c:pt idx="23">
                  <c:v>0.09430774933546329</c:v>
                </c:pt>
                <c:pt idx="24">
                  <c:v>0.08347235585825233</c:v>
                </c:pt>
                <c:pt idx="25">
                  <c:v>0.0879426428863404</c:v>
                </c:pt>
                <c:pt idx="26">
                  <c:v>0.08650252895744942</c:v>
                </c:pt>
                <c:pt idx="27">
                  <c:v>0.08835200865885523</c:v>
                </c:pt>
                <c:pt idx="28">
                  <c:v>0.08708249650924174</c:v>
                </c:pt>
                <c:pt idx="29">
                  <c:v>0.08185531672012594</c:v>
                </c:pt>
                <c:pt idx="30">
                  <c:v>0.08906686151312848</c:v>
                </c:pt>
                <c:pt idx="31">
                  <c:v>0.09030939369492164</c:v>
                </c:pt>
                <c:pt idx="32">
                  <c:v>0.08627709504529568</c:v>
                </c:pt>
                <c:pt idx="33">
                  <c:v>0.09308430373650856</c:v>
                </c:pt>
                <c:pt idx="34">
                  <c:v>0.0921123562104304</c:v>
                </c:pt>
                <c:pt idx="35">
                  <c:v>0.08188639601495343</c:v>
                </c:pt>
                <c:pt idx="36">
                  <c:v>0.07439054399639625</c:v>
                </c:pt>
                <c:pt idx="37">
                  <c:v>0.07377791265813177</c:v>
                </c:pt>
                <c:pt idx="38">
                  <c:v>0.08266663458865325</c:v>
                </c:pt>
                <c:pt idx="39">
                  <c:v>0.1002821550329126</c:v>
                </c:pt>
                <c:pt idx="40">
                  <c:v>0.08323629567644528</c:v>
                </c:pt>
                <c:pt idx="41">
                  <c:v>0.07795326619101181</c:v>
                </c:pt>
                <c:pt idx="42">
                  <c:v>0.07805201345469892</c:v>
                </c:pt>
                <c:pt idx="43">
                  <c:v>0.08414066245338733</c:v>
                </c:pt>
                <c:pt idx="44">
                  <c:v>0.10526744545536362</c:v>
                </c:pt>
                <c:pt idx="45">
                  <c:v>0.10004250430581912</c:v>
                </c:pt>
                <c:pt idx="46">
                  <c:v>0.09789063382284116</c:v>
                </c:pt>
                <c:pt idx="47">
                  <c:v>0.1026394570381085</c:v>
                </c:pt>
                <c:pt idx="48">
                  <c:v>0.09602891428689617</c:v>
                </c:pt>
                <c:pt idx="49">
                  <c:v>0.09747590403732756</c:v>
                </c:pt>
                <c:pt idx="50">
                  <c:v>0.10975237086038866</c:v>
                </c:pt>
                <c:pt idx="51">
                  <c:v>0.11310672513542655</c:v>
                </c:pt>
                <c:pt idx="52">
                  <c:v>0.11239813306605717</c:v>
                </c:pt>
                <c:pt idx="53">
                  <c:v>0.11239813306605717</c:v>
                </c:pt>
                <c:pt idx="54">
                  <c:v>0.09339217999053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58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719531595821306</c:v>
                </c:pt>
                <c:pt idx="1">
                  <c:v>0.38228122183604757</c:v>
                </c:pt>
                <c:pt idx="2">
                  <c:v>0.39096474907327683</c:v>
                </c:pt>
                <c:pt idx="3">
                  <c:v>0.4138723121258066</c:v>
                </c:pt>
                <c:pt idx="4">
                  <c:v>0.4447075672698501</c:v>
                </c:pt>
                <c:pt idx="5">
                  <c:v>0.4338791334403727</c:v>
                </c:pt>
                <c:pt idx="6">
                  <c:v>0.440908276477443</c:v>
                </c:pt>
                <c:pt idx="7">
                  <c:v>0.4248371881739931</c:v>
                </c:pt>
                <c:pt idx="8">
                  <c:v>0.39692413564846013</c:v>
                </c:pt>
                <c:pt idx="9">
                  <c:v>0.4677751899107054</c:v>
                </c:pt>
                <c:pt idx="10">
                  <c:v>0.46103378378491466</c:v>
                </c:pt>
                <c:pt idx="11">
                  <c:v>0.44607625812418794</c:v>
                </c:pt>
                <c:pt idx="12">
                  <c:v>0.4170142197893901</c:v>
                </c:pt>
                <c:pt idx="13">
                  <c:v>0.33182405809711546</c:v>
                </c:pt>
                <c:pt idx="14">
                  <c:v>0.2752491804728504</c:v>
                </c:pt>
                <c:pt idx="15">
                  <c:v>0.353891091954023</c:v>
                </c:pt>
                <c:pt idx="16">
                  <c:v>0.382683046993431</c:v>
                </c:pt>
                <c:pt idx="17">
                  <c:v>0.3869371512275185</c:v>
                </c:pt>
                <c:pt idx="18">
                  <c:v>0.35656667341739723</c:v>
                </c:pt>
                <c:pt idx="19">
                  <c:v>0.3998952551577463</c:v>
                </c:pt>
                <c:pt idx="20">
                  <c:v>0.4703137016565318</c:v>
                </c:pt>
                <c:pt idx="21">
                  <c:v>0.4149836142499847</c:v>
                </c:pt>
                <c:pt idx="22">
                  <c:v>0.3743327367564722</c:v>
                </c:pt>
                <c:pt idx="23">
                  <c:v>0.3203427126403158</c:v>
                </c:pt>
                <c:pt idx="24">
                  <c:v>0.34862460729898304</c:v>
                </c:pt>
                <c:pt idx="25">
                  <c:v>0.30979993411538587</c:v>
                </c:pt>
                <c:pt idx="26">
                  <c:v>0.28594988504553714</c:v>
                </c:pt>
                <c:pt idx="27">
                  <c:v>0.32259311855151435</c:v>
                </c:pt>
                <c:pt idx="28">
                  <c:v>0.2988533599476355</c:v>
                </c:pt>
                <c:pt idx="29">
                  <c:v>0.2814463803954227</c:v>
                </c:pt>
                <c:pt idx="30">
                  <c:v>0.26658077416203674</c:v>
                </c:pt>
                <c:pt idx="31">
                  <c:v>0.2645775975473302</c:v>
                </c:pt>
                <c:pt idx="32">
                  <c:v>0.2712655523066542</c:v>
                </c:pt>
                <c:pt idx="33">
                  <c:v>0.31405681986957207</c:v>
                </c:pt>
                <c:pt idx="34">
                  <c:v>0.2832635942725834</c:v>
                </c:pt>
                <c:pt idx="35">
                  <c:v>0.338722146749234</c:v>
                </c:pt>
                <c:pt idx="36">
                  <c:v>0.40103823909910663</c:v>
                </c:pt>
                <c:pt idx="37">
                  <c:v>0.3967025314955771</c:v>
                </c:pt>
                <c:pt idx="38">
                  <c:v>0.3720203923875031</c:v>
                </c:pt>
                <c:pt idx="39">
                  <c:v>0.3610066913938025</c:v>
                </c:pt>
                <c:pt idx="40">
                  <c:v>0.3721248723952548</c:v>
                </c:pt>
                <c:pt idx="41">
                  <c:v>0.4136863045045585</c:v>
                </c:pt>
                <c:pt idx="42">
                  <c:v>0.410297225495983</c:v>
                </c:pt>
                <c:pt idx="43">
                  <c:v>0.4326707070538921</c:v>
                </c:pt>
                <c:pt idx="44">
                  <c:v>0.43999746127366607</c:v>
                </c:pt>
                <c:pt idx="45">
                  <c:v>0.4364139371149493</c:v>
                </c:pt>
                <c:pt idx="46">
                  <c:v>0.4278420265429112</c:v>
                </c:pt>
                <c:pt idx="47">
                  <c:v>0.42275893758401595</c:v>
                </c:pt>
                <c:pt idx="48">
                  <c:v>0.4242341807807644</c:v>
                </c:pt>
                <c:pt idx="49">
                  <c:v>0.3327393169947024</c:v>
                </c:pt>
                <c:pt idx="50">
                  <c:v>0.31401509518475734</c:v>
                </c:pt>
                <c:pt idx="51">
                  <c:v>0.29497168114112926</c:v>
                </c:pt>
                <c:pt idx="52">
                  <c:v>0.27505852712501655</c:v>
                </c:pt>
                <c:pt idx="53">
                  <c:v>0.262470543228427</c:v>
                </c:pt>
                <c:pt idx="54">
                  <c:v>0.2163394326696638</c:v>
                </c:pt>
                <c:pt idx="55">
                  <c:v>0.2773378955015528</c:v>
                </c:pt>
                <c:pt idx="56">
                  <c:v>0.39837574309114404</c:v>
                </c:pt>
                <c:pt idx="57">
                  <c:v>0.42946120281110073</c:v>
                </c:pt>
                <c:pt idx="58">
                  <c:v>0.44274386658125175</c:v>
                </c:pt>
                <c:pt idx="59">
                  <c:v>0.40425998539236546</c:v>
                </c:pt>
                <c:pt idx="60">
                  <c:v>0.341477159195816</c:v>
                </c:pt>
                <c:pt idx="61">
                  <c:v>0.36844682856053235</c:v>
                </c:pt>
                <c:pt idx="62">
                  <c:v>0.33883411789309786</c:v>
                </c:pt>
                <c:pt idx="63">
                  <c:v>0.3468299346764467</c:v>
                </c:pt>
                <c:pt idx="64">
                  <c:v>0.3945299580811225</c:v>
                </c:pt>
                <c:pt idx="65">
                  <c:v>0.3702057244380409</c:v>
                </c:pt>
                <c:pt idx="66">
                  <c:v>0.3340149413209559</c:v>
                </c:pt>
                <c:pt idx="67">
                  <c:v>0.3902299523456929</c:v>
                </c:pt>
                <c:pt idx="68">
                  <c:v>0.33076749021422225</c:v>
                </c:pt>
                <c:pt idx="69">
                  <c:v>0.3092425792463899</c:v>
                </c:pt>
                <c:pt idx="70">
                  <c:v>0.3127664105659965</c:v>
                </c:pt>
                <c:pt idx="71">
                  <c:v>0.3714276637565942</c:v>
                </c:pt>
                <c:pt idx="72">
                  <c:v>0.43605449771146504</c:v>
                </c:pt>
                <c:pt idx="73">
                  <c:v>0.42626565508858816</c:v>
                </c:pt>
                <c:pt idx="74">
                  <c:v>0.38522103605207675</c:v>
                </c:pt>
                <c:pt idx="75">
                  <c:v>0.33349222825117536</c:v>
                </c:pt>
                <c:pt idx="76">
                  <c:v>0.28277151677864343</c:v>
                </c:pt>
                <c:pt idx="77">
                  <c:v>0.32622701360859313</c:v>
                </c:pt>
                <c:pt idx="78">
                  <c:v>0.3682806313353321</c:v>
                </c:pt>
                <c:pt idx="79">
                  <c:v>0.3775023776267795</c:v>
                </c:pt>
                <c:pt idx="80">
                  <c:v>0.38353664887566763</c:v>
                </c:pt>
                <c:pt idx="81">
                  <c:v>0.35765023434372184</c:v>
                </c:pt>
                <c:pt idx="82">
                  <c:v>0.3759756414837166</c:v>
                </c:pt>
                <c:pt idx="83">
                  <c:v>0.3575860819252595</c:v>
                </c:pt>
                <c:pt idx="84">
                  <c:v>0.33783312545148286</c:v>
                </c:pt>
                <c:pt idx="85">
                  <c:v>0.3143817210315699</c:v>
                </c:pt>
                <c:pt idx="86">
                  <c:v>0.310480103685295</c:v>
                </c:pt>
                <c:pt idx="87">
                  <c:v>0.2961507075914493</c:v>
                </c:pt>
                <c:pt idx="88">
                  <c:v>0.28299793455701816</c:v>
                </c:pt>
                <c:pt idx="89">
                  <c:v>0.2779291120252435</c:v>
                </c:pt>
                <c:pt idx="90">
                  <c:v>0.2553540929586798</c:v>
                </c:pt>
                <c:pt idx="91">
                  <c:v>0.25544166924352923</c:v>
                </c:pt>
                <c:pt idx="92">
                  <c:v>0.30602999540083553</c:v>
                </c:pt>
                <c:pt idx="93">
                  <c:v>0.3173308565015472</c:v>
                </c:pt>
                <c:pt idx="94">
                  <c:v>0.2712315486976973</c:v>
                </c:pt>
                <c:pt idx="95">
                  <c:v>0.31062945737280906</c:v>
                </c:pt>
                <c:pt idx="96">
                  <c:v>0.2491365010681868</c:v>
                </c:pt>
                <c:pt idx="97">
                  <c:v>0.28002967980364196</c:v>
                </c:pt>
                <c:pt idx="98">
                  <c:v>0.28096077110120815</c:v>
                </c:pt>
                <c:pt idx="99">
                  <c:v>0.375052690646997</c:v>
                </c:pt>
                <c:pt idx="100">
                  <c:v>0.40172208473232146</c:v>
                </c:pt>
                <c:pt idx="101">
                  <c:v>0.35816642758762884</c:v>
                </c:pt>
                <c:pt idx="102">
                  <c:v>0.3323083829415065</c:v>
                </c:pt>
                <c:pt idx="103">
                  <c:v>0.300325640381865</c:v>
                </c:pt>
                <c:pt idx="104">
                  <c:v>0.31563035723928634</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3632767725838364</c:v>
                </c:pt>
                <c:pt idx="1">
                  <c:v>0.34744326144879567</c:v>
                </c:pt>
                <c:pt idx="2">
                  <c:v>0.35079661271078394</c:v>
                </c:pt>
                <c:pt idx="3">
                  <c:v>0.35072189864176634</c:v>
                </c:pt>
                <c:pt idx="4">
                  <c:v>0.35261347247716845</c:v>
                </c:pt>
                <c:pt idx="5">
                  <c:v>0.33440314120697784</c:v>
                </c:pt>
                <c:pt idx="6">
                  <c:v>0.362596267569671</c:v>
                </c:pt>
                <c:pt idx="7">
                  <c:v>0.3589611632511289</c:v>
                </c:pt>
                <c:pt idx="8">
                  <c:v>0.35833871457449085</c:v>
                </c:pt>
                <c:pt idx="9">
                  <c:v>0.3691966221495017</c:v>
                </c:pt>
                <c:pt idx="10">
                  <c:v>0.3616871421769302</c:v>
                </c:pt>
                <c:pt idx="11">
                  <c:v>0.34623192323232915</c:v>
                </c:pt>
                <c:pt idx="12">
                  <c:v>0.34366130079884144</c:v>
                </c:pt>
                <c:pt idx="13">
                  <c:v>0.3754578462546597</c:v>
                </c:pt>
                <c:pt idx="14">
                  <c:v>0.3829570896312775</c:v>
                </c:pt>
                <c:pt idx="15">
                  <c:v>0.39096114273915183</c:v>
                </c:pt>
                <c:pt idx="16">
                  <c:v>0.4013888008085919</c:v>
                </c:pt>
                <c:pt idx="17">
                  <c:v>0.3395246413283095</c:v>
                </c:pt>
                <c:pt idx="18">
                  <c:v>0.3302631556934835</c:v>
                </c:pt>
                <c:pt idx="19">
                  <c:v>0.33489916482394827</c:v>
                </c:pt>
                <c:pt idx="20">
                  <c:v>0.35820113679404036</c:v>
                </c:pt>
                <c:pt idx="21">
                  <c:v>0.353440959418658</c:v>
                </c:pt>
                <c:pt idx="22">
                  <c:v>0.36608828098368895</c:v>
                </c:pt>
                <c:pt idx="23">
                  <c:v>0.34204367428248883</c:v>
                </c:pt>
                <c:pt idx="24">
                  <c:v>0.37968206448372654</c:v>
                </c:pt>
                <c:pt idx="25">
                  <c:v>0.36127972909634587</c:v>
                </c:pt>
                <c:pt idx="26">
                  <c:v>0.37928086639556585</c:v>
                </c:pt>
                <c:pt idx="27">
                  <c:v>0.3352735871106113</c:v>
                </c:pt>
                <c:pt idx="28">
                  <c:v>0.34953644849349963</c:v>
                </c:pt>
                <c:pt idx="29">
                  <c:v>0.39041914813872347</c:v>
                </c:pt>
                <c:pt idx="30">
                  <c:v>0.339686442691346</c:v>
                </c:pt>
                <c:pt idx="31">
                  <c:v>0.30172591469060855</c:v>
                </c:pt>
                <c:pt idx="32">
                  <c:v>0.29123391312104435</c:v>
                </c:pt>
                <c:pt idx="33">
                  <c:v>0.273444729262151</c:v>
                </c:pt>
                <c:pt idx="34">
                  <c:v>0.2892976269894215</c:v>
                </c:pt>
                <c:pt idx="35">
                  <c:v>0.2909689194696698</c:v>
                </c:pt>
                <c:pt idx="36">
                  <c:v>0.29256935116417243</c:v>
                </c:pt>
                <c:pt idx="37">
                  <c:v>0.2907790329880328</c:v>
                </c:pt>
                <c:pt idx="38">
                  <c:v>0.29850002209782417</c:v>
                </c:pt>
                <c:pt idx="39">
                  <c:v>0.30493114407072547</c:v>
                </c:pt>
                <c:pt idx="40">
                  <c:v>0.3311324394479817</c:v>
                </c:pt>
                <c:pt idx="41">
                  <c:v>0.34001066762835697</c:v>
                </c:pt>
                <c:pt idx="42">
                  <c:v>0.3114746873221697</c:v>
                </c:pt>
                <c:pt idx="43">
                  <c:v>0.34695336560665274</c:v>
                </c:pt>
                <c:pt idx="44">
                  <c:v>0.3603648724485706</c:v>
                </c:pt>
                <c:pt idx="45">
                  <c:v>0.39128350210356444</c:v>
                </c:pt>
                <c:pt idx="46">
                  <c:v>0.377126285924669</c:v>
                </c:pt>
                <c:pt idx="47">
                  <c:v>0.40152134880699525</c:v>
                </c:pt>
                <c:pt idx="48">
                  <c:v>0.4261412116672582</c:v>
                </c:pt>
                <c:pt idx="49">
                  <c:v>0.43495173923329833</c:v>
                </c:pt>
                <c:pt idx="50">
                  <c:v>0.45726052424176</c:v>
                </c:pt>
                <c:pt idx="51">
                  <c:v>0.4064229363469826</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66976939495566</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66976939495566</c:v>
                </c:pt>
                <c:pt idx="1">
                  <c:v>0.4366976939495566</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366976939495566</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366976939495566</c:v>
                </c:pt>
                <c:pt idx="1">
                  <c:v>0.4366976939495566</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4593011558182196</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4593011558182196</c:v>
                </c:pt>
                <c:pt idx="1">
                  <c:v>0.34593011558182196</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3632767725838364</c:v>
                </c:pt>
                <c:pt idx="1">
                  <c:v>0.34744326144879567</c:v>
                </c:pt>
                <c:pt idx="2">
                  <c:v>0.35079661271078394</c:v>
                </c:pt>
                <c:pt idx="3">
                  <c:v>0.35072189864176634</c:v>
                </c:pt>
                <c:pt idx="4">
                  <c:v>0.35261347247716845</c:v>
                </c:pt>
                <c:pt idx="5">
                  <c:v>0.33440314120697784</c:v>
                </c:pt>
                <c:pt idx="6">
                  <c:v>0.362596267569671</c:v>
                </c:pt>
                <c:pt idx="7">
                  <c:v>0.3589611632511289</c:v>
                </c:pt>
                <c:pt idx="8">
                  <c:v>0.35833871457449085</c:v>
                </c:pt>
                <c:pt idx="9">
                  <c:v>0.3691966221495017</c:v>
                </c:pt>
                <c:pt idx="10">
                  <c:v>0.3616871421769302</c:v>
                </c:pt>
                <c:pt idx="11">
                  <c:v>0.34623192323232915</c:v>
                </c:pt>
                <c:pt idx="12">
                  <c:v>0.34366130079884144</c:v>
                </c:pt>
                <c:pt idx="13">
                  <c:v>0.3754578462546597</c:v>
                </c:pt>
                <c:pt idx="14">
                  <c:v>0.3829570896312775</c:v>
                </c:pt>
                <c:pt idx="15">
                  <c:v>0.39096114273915183</c:v>
                </c:pt>
                <c:pt idx="16">
                  <c:v>0.4013888008085919</c:v>
                </c:pt>
                <c:pt idx="17">
                  <c:v>0.3395246413283095</c:v>
                </c:pt>
                <c:pt idx="18">
                  <c:v>0.3302631556934835</c:v>
                </c:pt>
                <c:pt idx="19">
                  <c:v>0.33489916482394827</c:v>
                </c:pt>
                <c:pt idx="20">
                  <c:v>0.35820113679404036</c:v>
                </c:pt>
                <c:pt idx="21">
                  <c:v>0.353440959418658</c:v>
                </c:pt>
                <c:pt idx="22">
                  <c:v>0.36608828098368895</c:v>
                </c:pt>
                <c:pt idx="23">
                  <c:v>0.34204367428248883</c:v>
                </c:pt>
                <c:pt idx="24">
                  <c:v>0.37968206448372654</c:v>
                </c:pt>
                <c:pt idx="25">
                  <c:v>0.36127972909634587</c:v>
                </c:pt>
                <c:pt idx="26">
                  <c:v>0.37928086639556585</c:v>
                </c:pt>
                <c:pt idx="27">
                  <c:v>0.3352735871106113</c:v>
                </c:pt>
                <c:pt idx="28">
                  <c:v>0.34953644849349963</c:v>
                </c:pt>
                <c:pt idx="29">
                  <c:v>0.39041914813872347</c:v>
                </c:pt>
                <c:pt idx="30">
                  <c:v>0.339686442691346</c:v>
                </c:pt>
                <c:pt idx="31">
                  <c:v>0.30172591469060855</c:v>
                </c:pt>
                <c:pt idx="32">
                  <c:v>0.29123391312104435</c:v>
                </c:pt>
                <c:pt idx="33">
                  <c:v>0.273444729262151</c:v>
                </c:pt>
                <c:pt idx="34">
                  <c:v>0.2892976269894215</c:v>
                </c:pt>
                <c:pt idx="35">
                  <c:v>0.2909689194696698</c:v>
                </c:pt>
                <c:pt idx="36">
                  <c:v>0.29256935116417243</c:v>
                </c:pt>
                <c:pt idx="37">
                  <c:v>0.2907790329880328</c:v>
                </c:pt>
                <c:pt idx="38">
                  <c:v>0.29850002209782417</c:v>
                </c:pt>
                <c:pt idx="39">
                  <c:v>0.30493114407072547</c:v>
                </c:pt>
                <c:pt idx="40">
                  <c:v>0.3311324394479817</c:v>
                </c:pt>
                <c:pt idx="41">
                  <c:v>0.34001066762835697</c:v>
                </c:pt>
                <c:pt idx="42">
                  <c:v>0.3114746873221697</c:v>
                </c:pt>
                <c:pt idx="43">
                  <c:v>0.34695336560665274</c:v>
                </c:pt>
                <c:pt idx="44">
                  <c:v>0.3603648724485706</c:v>
                </c:pt>
                <c:pt idx="45">
                  <c:v>0.39128350210356444</c:v>
                </c:pt>
                <c:pt idx="46">
                  <c:v>0.377126285924669</c:v>
                </c:pt>
                <c:pt idx="47">
                  <c:v>0.40152134880699525</c:v>
                </c:pt>
                <c:pt idx="48">
                  <c:v>0.4261412116672582</c:v>
                </c:pt>
                <c:pt idx="49">
                  <c:v>0.43495173923329833</c:v>
                </c:pt>
                <c:pt idx="50">
                  <c:v>0.45726052424176</c:v>
                </c:pt>
                <c:pt idx="51">
                  <c:v>0.4064229363469826</c:v>
                </c:pt>
                <c:pt idx="52">
                  <c:v>0.4366976939495566</c:v>
                </c:pt>
                <c:pt idx="53">
                  <c:v>0.4366976939495566</c:v>
                </c:pt>
                <c:pt idx="54">
                  <c:v>0.34593011558182196</c:v>
                </c:pt>
              </c:numCache>
            </c:numRef>
          </c:xVal>
          <c:yVal>
            <c:numRef>
              <c:f>Sheet1!$B$187:$B$241</c:f>
              <c:numCache>
                <c:formatCode>General</c:formatCode>
                <c:ptCount val="55"/>
                <c:pt idx="0">
                  <c:v>0.09138151169390897</c:v>
                </c:pt>
                <c:pt idx="1">
                  <c:v>0.09370901976814716</c:v>
                </c:pt>
                <c:pt idx="2">
                  <c:v>0.09441118278579286</c:v>
                </c:pt>
                <c:pt idx="3">
                  <c:v>0.09439553830000437</c:v>
                </c:pt>
                <c:pt idx="4">
                  <c:v>0.09479161765125553</c:v>
                </c:pt>
                <c:pt idx="5">
                  <c:v>0.09097853033709705</c:v>
                </c:pt>
                <c:pt idx="6">
                  <c:v>0.09688192939585162</c:v>
                </c:pt>
                <c:pt idx="7">
                  <c:v>0.09612076970265235</c:v>
                </c:pt>
                <c:pt idx="8">
                  <c:v>0.09599043428385146</c:v>
                </c:pt>
                <c:pt idx="9">
                  <c:v>0.09826398708298985</c:v>
                </c:pt>
                <c:pt idx="10">
                  <c:v>0.09669156632938102</c:v>
                </c:pt>
                <c:pt idx="11">
                  <c:v>0.09345537592620756</c:v>
                </c:pt>
                <c:pt idx="12">
                  <c:v>0.09291710961763862</c:v>
                </c:pt>
                <c:pt idx="13">
                  <c:v>0.09957503375491737</c:v>
                </c:pt>
                <c:pt idx="14">
                  <c:v>0.10114531105305623</c:v>
                </c:pt>
                <c:pt idx="15">
                  <c:v>0.1028212911829425</c:v>
                </c:pt>
                <c:pt idx="16">
                  <c:v>0.10500475342264662</c:v>
                </c:pt>
                <c:pt idx="17">
                  <c:v>0.09205092857370016</c:v>
                </c:pt>
                <c:pt idx="18">
                  <c:v>0.09011165284826486</c:v>
                </c:pt>
                <c:pt idx="19">
                  <c:v>0.09108239343180577</c:v>
                </c:pt>
                <c:pt idx="20">
                  <c:v>0.09596162667560082</c:v>
                </c:pt>
                <c:pt idx="21">
                  <c:v>0.09496488632563657</c:v>
                </c:pt>
                <c:pt idx="22">
                  <c:v>0.0976131270798641</c:v>
                </c:pt>
                <c:pt idx="23">
                  <c:v>0.09257839248739906</c:v>
                </c:pt>
                <c:pt idx="24">
                  <c:v>0.1004595488525564</c:v>
                </c:pt>
                <c:pt idx="25">
                  <c:v>0.09660625752164168</c:v>
                </c:pt>
                <c:pt idx="26">
                  <c:v>0.10037554141097106</c:v>
                </c:pt>
                <c:pt idx="27">
                  <c:v>0.09116079425001329</c:v>
                </c:pt>
                <c:pt idx="28">
                  <c:v>0.09414731519769746</c:v>
                </c:pt>
                <c:pt idx="29">
                  <c:v>0.10270780215824701</c:v>
                </c:pt>
                <c:pt idx="30">
                  <c:v>0.0920848083925598</c:v>
                </c:pt>
                <c:pt idx="31">
                  <c:v>0.0841361991327539</c:v>
                </c:pt>
                <c:pt idx="32">
                  <c:v>0.08193926391551679</c:v>
                </c:pt>
                <c:pt idx="33">
                  <c:v>0.07821436126025229</c:v>
                </c:pt>
                <c:pt idx="34">
                  <c:v>0.08153382219259997</c:v>
                </c:pt>
                <c:pt idx="35">
                  <c:v>0.08188377651578765</c:v>
                </c:pt>
                <c:pt idx="36">
                  <c:v>0.08221889319768322</c:v>
                </c:pt>
                <c:pt idx="37">
                  <c:v>0.0818440159137691</c:v>
                </c:pt>
                <c:pt idx="38">
                  <c:v>0.08346072486817974</c:v>
                </c:pt>
                <c:pt idx="39">
                  <c:v>0.08480734669766934</c:v>
                </c:pt>
                <c:pt idx="40">
                  <c:v>0.09029367341711124</c:v>
                </c:pt>
                <c:pt idx="41">
                  <c:v>0.09215269831591742</c:v>
                </c:pt>
                <c:pt idx="42">
                  <c:v>0.0861775085794893</c:v>
                </c:pt>
                <c:pt idx="43">
                  <c:v>0.09360643977697522</c:v>
                </c:pt>
                <c:pt idx="44">
                  <c:v>0.09641469437948094</c:v>
                </c:pt>
                <c:pt idx="45">
                  <c:v>0.1028887904713851</c:v>
                </c:pt>
                <c:pt idx="46">
                  <c:v>0.09992439072408824</c:v>
                </c:pt>
                <c:pt idx="47">
                  <c:v>0.1050325078376394</c:v>
                </c:pt>
                <c:pt idx="48">
                  <c:v>0.11018769614014234</c:v>
                </c:pt>
                <c:pt idx="49">
                  <c:v>0.1120325451104686</c:v>
                </c:pt>
                <c:pt idx="50">
                  <c:v>0.11670381351563495</c:v>
                </c:pt>
                <c:pt idx="51">
                  <c:v>0.10605885826425454</c:v>
                </c:pt>
                <c:pt idx="52">
                  <c:v>0.11239813306605717</c:v>
                </c:pt>
                <c:pt idx="53">
                  <c:v>0.11239813306605717</c:v>
                </c:pt>
                <c:pt idx="54">
                  <c:v>0.093392179990538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0.3021</c:v>
                </c:pt>
                <c:pt idx="1">
                  <c:v>805.5402</c:v>
                </c:pt>
                <c:pt idx="2">
                  <c:v>810.1231</c:v>
                </c:pt>
                <c:pt idx="3">
                  <c:v>850.7164</c:v>
                </c:pt>
                <c:pt idx="4">
                  <c:v>843.3481</c:v>
                </c:pt>
                <c:pt idx="5">
                  <c:v>790.9906</c:v>
                </c:pt>
                <c:pt idx="6">
                  <c:v>812.3</c:v>
                </c:pt>
                <c:pt idx="7">
                  <c:v>824.6866</c:v>
                </c:pt>
                <c:pt idx="8">
                  <c:v>765.8496</c:v>
                </c:pt>
                <c:pt idx="9">
                  <c:v>802.8826</c:v>
                </c:pt>
                <c:pt idx="10">
                  <c:v>826.3712</c:v>
                </c:pt>
                <c:pt idx="11">
                  <c:v>840.1485</c:v>
                </c:pt>
                <c:pt idx="12">
                  <c:v>787.2565</c:v>
                </c:pt>
                <c:pt idx="13">
                  <c:v>772.9497</c:v>
                </c:pt>
                <c:pt idx="14">
                  <c:v>819.7838</c:v>
                </c:pt>
                <c:pt idx="15">
                  <c:v>862.0787</c:v>
                </c:pt>
                <c:pt idx="16">
                  <c:v>908.7957</c:v>
                </c:pt>
                <c:pt idx="17">
                  <c:v>893.3165</c:v>
                </c:pt>
                <c:pt idx="18">
                  <c:v>938.5932</c:v>
                </c:pt>
                <c:pt idx="19">
                  <c:v>928.1081</c:v>
                </c:pt>
                <c:pt idx="20">
                  <c:v>964.5263</c:v>
                </c:pt>
                <c:pt idx="21">
                  <c:v>967.3095</c:v>
                </c:pt>
                <c:pt idx="22">
                  <c:v>977.8039</c:v>
                </c:pt>
                <c:pt idx="23">
                  <c:v>931.2609</c:v>
                </c:pt>
                <c:pt idx="24">
                  <c:v>947.5294</c:v>
                </c:pt>
                <c:pt idx="25">
                  <c:v>908.8333</c:v>
                </c:pt>
                <c:pt idx="26">
                  <c:v>879.1094</c:v>
                </c:pt>
                <c:pt idx="27">
                  <c:v>985.5283</c:v>
                </c:pt>
                <c:pt idx="28">
                  <c:v>922.2794</c:v>
                </c:pt>
                <c:pt idx="29">
                  <c:v>922.0833</c:v>
                </c:pt>
                <c:pt idx="30">
                  <c:v>873.2653</c:v>
                </c:pt>
                <c:pt idx="31">
                  <c:v>867.3704</c:v>
                </c:pt>
                <c:pt idx="32">
                  <c:v>916.5846</c:v>
                </c:pt>
                <c:pt idx="33">
                  <c:v>871.403</c:v>
                </c:pt>
                <c:pt idx="34">
                  <c:v>824.4839</c:v>
                </c:pt>
                <c:pt idx="35">
                  <c:v>885.9545</c:v>
                </c:pt>
                <c:pt idx="36">
                  <c:v>1075.2766</c:v>
                </c:pt>
                <c:pt idx="37">
                  <c:v>1093.0784</c:v>
                </c:pt>
                <c:pt idx="38">
                  <c:v>1077.35</c:v>
                </c:pt>
                <c:pt idx="39">
                  <c:v>1044.6512</c:v>
                </c:pt>
                <c:pt idx="40">
                  <c:v>981.02</c:v>
                </c:pt>
                <c:pt idx="41">
                  <c:v>1055.4902</c:v>
                </c:pt>
                <c:pt idx="42">
                  <c:v>1140.32</c:v>
                </c:pt>
                <c:pt idx="43">
                  <c:v>1122.8228</c:v>
                </c:pt>
                <c:pt idx="44">
                  <c:v>1022.5541</c:v>
                </c:pt>
                <c:pt idx="45">
                  <c:v>983.1905</c:v>
                </c:pt>
                <c:pt idx="46">
                  <c:v>1004.9542</c:v>
                </c:pt>
                <c:pt idx="47">
                  <c:v>980.4947</c:v>
                </c:pt>
                <c:pt idx="48">
                  <c:v>1004.9342</c:v>
                </c:pt>
                <c:pt idx="49">
                  <c:v>974.3467</c:v>
                </c:pt>
                <c:pt idx="50">
                  <c:v>967.7288</c:v>
                </c:pt>
                <c:pt idx="51">
                  <c:v>968.1544</c:v>
                </c:pt>
                <c:pt idx="52">
                  <c:v>997.3535</c:v>
                </c:pt>
                <c:pt idx="53">
                  <c:v>1059.4645</c:v>
                </c:pt>
                <c:pt idx="54">
                  <c:v>1029.7908</c:v>
                </c:pt>
                <c:pt idx="55">
                  <c:v>1036.0537</c:v>
                </c:pt>
                <c:pt idx="56">
                  <c:v>1037.7273</c:v>
                </c:pt>
                <c:pt idx="57">
                  <c:v>992.2933</c:v>
                </c:pt>
                <c:pt idx="58">
                  <c:v>1006.0727</c:v>
                </c:pt>
                <c:pt idx="59">
                  <c:v>975.4732</c:v>
                </c:pt>
                <c:pt idx="60">
                  <c:v>959.2412</c:v>
                </c:pt>
                <c:pt idx="61">
                  <c:v>1027.7545</c:v>
                </c:pt>
                <c:pt idx="62">
                  <c:v>991.7143</c:v>
                </c:pt>
                <c:pt idx="63">
                  <c:v>988.5549</c:v>
                </c:pt>
                <c:pt idx="64">
                  <c:v>1011.8195</c:v>
                </c:pt>
                <c:pt idx="65">
                  <c:v>955.4276</c:v>
                </c:pt>
                <c:pt idx="66">
                  <c:v>971.7813</c:v>
                </c:pt>
                <c:pt idx="67">
                  <c:v>1023.8905</c:v>
                </c:pt>
                <c:pt idx="68">
                  <c:v>990.0857</c:v>
                </c:pt>
                <c:pt idx="69">
                  <c:v>1050.0376</c:v>
                </c:pt>
                <c:pt idx="70">
                  <c:v>972.3741</c:v>
                </c:pt>
                <c:pt idx="71">
                  <c:v>1073.2971</c:v>
                </c:pt>
                <c:pt idx="72">
                  <c:v>1176.8909</c:v>
                </c:pt>
                <c:pt idx="73">
                  <c:v>1210.6162</c:v>
                </c:pt>
                <c:pt idx="74">
                  <c:v>1180.4245</c:v>
                </c:pt>
                <c:pt idx="75">
                  <c:v>1108.3182</c:v>
                </c:pt>
                <c:pt idx="76">
                  <c:v>1025.1667</c:v>
                </c:pt>
                <c:pt idx="77">
                  <c:v>1016.7349</c:v>
                </c:pt>
                <c:pt idx="78">
                  <c:v>1112.9841</c:v>
                </c:pt>
                <c:pt idx="79">
                  <c:v>1189.8431</c:v>
                </c:pt>
                <c:pt idx="80">
                  <c:v>1150.3585</c:v>
                </c:pt>
                <c:pt idx="81">
                  <c:v>1180.2545</c:v>
                </c:pt>
                <c:pt idx="82">
                  <c:v>1093.1</c:v>
                </c:pt>
                <c:pt idx="83">
                  <c:v>1124.8049</c:v>
                </c:pt>
                <c:pt idx="84">
                  <c:v>1163.6136</c:v>
                </c:pt>
                <c:pt idx="85">
                  <c:v>1103.0</c:v>
                </c:pt>
                <c:pt idx="86">
                  <c:v>1042.7143</c:v>
                </c:pt>
                <c:pt idx="87">
                  <c:v>1073.5844</c:v>
                </c:pt>
                <c:pt idx="88">
                  <c:v>1218.1373</c:v>
                </c:pt>
                <c:pt idx="89">
                  <c:v>1144.1346</c:v>
                </c:pt>
                <c:pt idx="90">
                  <c:v>1244.175</c:v>
                </c:pt>
                <c:pt idx="91">
                  <c:v>1157.0</c:v>
                </c:pt>
                <c:pt idx="92">
                  <c:v>1139.9692</c:v>
                </c:pt>
                <c:pt idx="93">
                  <c:v>1199.7467</c:v>
                </c:pt>
                <c:pt idx="94">
                  <c:v>1157.5</c:v>
                </c:pt>
                <c:pt idx="95">
                  <c:v>1046.4574</c:v>
                </c:pt>
                <c:pt idx="96">
                  <c:v>812.1759</c:v>
                </c:pt>
                <c:pt idx="97">
                  <c:v>879.3443</c:v>
                </c:pt>
                <c:pt idx="98">
                  <c:v>889.9086</c:v>
                </c:pt>
                <c:pt idx="99">
                  <c:v>972.4095</c:v>
                </c:pt>
                <c:pt idx="100">
                  <c:v>1044.1321</c:v>
                </c:pt>
                <c:pt idx="101">
                  <c:v>1072.8457</c:v>
                </c:pt>
                <c:pt idx="102">
                  <c:v>1068.7771</c:v>
                </c:pt>
                <c:pt idx="103">
                  <c:v>1075.3571</c:v>
                </c:pt>
                <c:pt idx="104">
                  <c:v>1094.7626</c:v>
                </c:pt>
              </c:numCache>
            </c:numRef>
          </c:xVal>
          <c:yVal>
            <c:numRef>
              <c:f>Sheet1!$B$2:$B$106</c:f>
              <c:numCache>
                <c:formatCode>General</c:formatCode>
                <c:ptCount val="105"/>
                <c:pt idx="0">
                  <c:v>0.0934761441090555</c:v>
                </c:pt>
                <c:pt idx="1">
                  <c:v>0.09435551811288964</c:v>
                </c:pt>
                <c:pt idx="2">
                  <c:v>0.10011551790527531</c:v>
                </c:pt>
                <c:pt idx="3">
                  <c:v>0.0911978221415608</c:v>
                </c:pt>
                <c:pt idx="4">
                  <c:v>0.09879912663755458</c:v>
                </c:pt>
                <c:pt idx="5">
                  <c:v>0.11019141231246767</c:v>
                </c:pt>
                <c:pt idx="6">
                  <c:v>0.10411502231036192</c:v>
                </c:pt>
                <c:pt idx="7">
                  <c:v>0.1079484425349087</c:v>
                </c:pt>
                <c:pt idx="8">
                  <c:v>0.1319034852546917</c:v>
                </c:pt>
                <c:pt idx="9">
                  <c:v>0.0907928388746803</c:v>
                </c:pt>
                <c:pt idx="10">
                  <c:v>0.09174679487179487</c:v>
                </c:pt>
                <c:pt idx="11">
                  <c:v>0.09934924078091106</c:v>
                </c:pt>
                <c:pt idx="12">
                  <c:v>0.07701612903225806</c:v>
                </c:pt>
                <c:pt idx="13">
                  <c:v>0.08446519524617997</c:v>
                </c:pt>
                <c:pt idx="14">
                  <c:v>0.0659536541889483</c:v>
                </c:pt>
                <c:pt idx="15">
                  <c:v>0.05165409170052235</c:v>
                </c:pt>
                <c:pt idx="16">
                  <c:v>0.06322229775662815</c:v>
                </c:pt>
                <c:pt idx="17">
                  <c:v>0.05899925317401045</c:v>
                </c:pt>
                <c:pt idx="18">
                  <c:v>0.0511265164644714</c:v>
                </c:pt>
                <c:pt idx="19">
                  <c:v>0.036345776031434185</c:v>
                </c:pt>
                <c:pt idx="20">
                  <c:v>0.04460093896713615</c:v>
                </c:pt>
                <c:pt idx="21">
                  <c:v>0.04065827686350436</c:v>
                </c:pt>
                <c:pt idx="22">
                  <c:v>0.05323590814196242</c:v>
                </c:pt>
                <c:pt idx="23">
                  <c:v>0.05430932703659976</c:v>
                </c:pt>
                <c:pt idx="24">
                  <c:v>0.05519480519480519</c:v>
                </c:pt>
                <c:pt idx="25">
                  <c:v>0.07180851063829788</c:v>
                </c:pt>
                <c:pt idx="26">
                  <c:v>0.08660351826792964</c:v>
                </c:pt>
                <c:pt idx="27">
                  <c:v>0.07142857142857142</c:v>
                </c:pt>
                <c:pt idx="28">
                  <c:v>0.09523809523809523</c:v>
                </c:pt>
                <c:pt idx="29">
                  <c:v>0.08053691275167785</c:v>
                </c:pt>
                <c:pt idx="30">
                  <c:v>0.08925318761384335</c:v>
                </c:pt>
                <c:pt idx="31">
                  <c:v>0.09015025041736227</c:v>
                </c:pt>
                <c:pt idx="32">
                  <c:v>0.10284810126582279</c:v>
                </c:pt>
                <c:pt idx="33">
                  <c:v>0.07919621749408984</c:v>
                </c:pt>
                <c:pt idx="34">
                  <c:v>0.08322147651006712</c:v>
                </c:pt>
                <c:pt idx="35">
                  <c:v>0.0832282471626734</c:v>
                </c:pt>
                <c:pt idx="36">
                  <c:v>0.06184210526315789</c:v>
                </c:pt>
                <c:pt idx="37">
                  <c:v>0.06631989596879063</c:v>
                </c:pt>
                <c:pt idx="38">
                  <c:v>0.07509386733416772</c:v>
                </c:pt>
                <c:pt idx="39">
                  <c:v>0.06332842415316642</c:v>
                </c:pt>
                <c:pt idx="40">
                  <c:v>0.06053268765133172</c:v>
                </c:pt>
                <c:pt idx="41">
                  <c:v>0.06219512195121951</c:v>
                </c:pt>
                <c:pt idx="42">
                  <c:v>0.05707762557077625</c:v>
                </c:pt>
                <c:pt idx="43">
                  <c:v>0.06523534269199009</c:v>
                </c:pt>
                <c:pt idx="44">
                  <c:v>0.0762493560020608</c:v>
                </c:pt>
                <c:pt idx="45">
                  <c:v>0.08104196816208394</c:v>
                </c:pt>
                <c:pt idx="46">
                  <c:v>0.08346972176759411</c:v>
                </c:pt>
                <c:pt idx="47">
                  <c:v>0.09184171958964338</c:v>
                </c:pt>
                <c:pt idx="48">
                  <c:v>0.09201060204468005</c:v>
                </c:pt>
                <c:pt idx="49">
                  <c:v>0.10003096934035305</c:v>
                </c:pt>
                <c:pt idx="50">
                  <c:v>0.085383502170767</c:v>
                </c:pt>
                <c:pt idx="51">
                  <c:v>0.08432371250707414</c:v>
                </c:pt>
                <c:pt idx="52">
                  <c:v>0.08710954685437748</c:v>
                </c:pt>
                <c:pt idx="53">
                  <c:v>0.07520621057738962</c:v>
                </c:pt>
                <c:pt idx="54">
                  <c:v>0.0828819068255688</c:v>
                </c:pt>
                <c:pt idx="55">
                  <c:v>0.08380202474690664</c:v>
                </c:pt>
                <c:pt idx="56">
                  <c:v>0.0801665799062988</c:v>
                </c:pt>
                <c:pt idx="57">
                  <c:v>0.0851063829787234</c:v>
                </c:pt>
                <c:pt idx="58">
                  <c:v>0.08190618019359643</c:v>
                </c:pt>
                <c:pt idx="59">
                  <c:v>0.09638283531790609</c:v>
                </c:pt>
                <c:pt idx="60">
                  <c:v>0.10818157107909758</c:v>
                </c:pt>
                <c:pt idx="61">
                  <c:v>0.1042921686746988</c:v>
                </c:pt>
                <c:pt idx="62">
                  <c:v>0.11048158640226628</c:v>
                </c:pt>
                <c:pt idx="63">
                  <c:v>0.12531691416153568</c:v>
                </c:pt>
                <c:pt idx="64">
                  <c:v>0.10996427153632393</c:v>
                </c:pt>
                <c:pt idx="65">
                  <c:v>0.12189995796553174</c:v>
                </c:pt>
                <c:pt idx="66">
                  <c:v>0.11183923110528615</c:v>
                </c:pt>
                <c:pt idx="67">
                  <c:v>0.097856477166822</c:v>
                </c:pt>
                <c:pt idx="68">
                  <c:v>0.10380622837370242</c:v>
                </c:pt>
                <c:pt idx="69">
                  <c:v>0.09084699453551913</c:v>
                </c:pt>
                <c:pt idx="70">
                  <c:v>0.08921694480102696</c:v>
                </c:pt>
                <c:pt idx="71">
                  <c:v>0.09550173010380623</c:v>
                </c:pt>
                <c:pt idx="72">
                  <c:v>0.08148148148148149</c:v>
                </c:pt>
                <c:pt idx="73">
                  <c:v>0.07945425361155699</c:v>
                </c:pt>
                <c:pt idx="74">
                  <c:v>0.08166409861325115</c:v>
                </c:pt>
                <c:pt idx="75">
                  <c:v>0.09371671991480299</c:v>
                </c:pt>
                <c:pt idx="76">
                  <c:v>0.10646387832699619</c:v>
                </c:pt>
                <c:pt idx="77">
                  <c:v>0.10246913580246914</c:v>
                </c:pt>
                <c:pt idx="78">
                  <c:v>0.08525033829499323</c:v>
                </c:pt>
                <c:pt idx="79">
                  <c:v>0.07093184979137691</c:v>
                </c:pt>
                <c:pt idx="80">
                  <c:v>0.0748587570621469</c:v>
                </c:pt>
                <c:pt idx="81">
                  <c:v>0.06257110352673492</c:v>
                </c:pt>
                <c:pt idx="82">
                  <c:v>0.07052186177715092</c:v>
                </c:pt>
                <c:pt idx="83">
                  <c:v>0.06937394247038917</c:v>
                </c:pt>
                <c:pt idx="84">
                  <c:v>0.07521367521367521</c:v>
                </c:pt>
                <c:pt idx="85">
                  <c:v>0.07355021216407355</c:v>
                </c:pt>
                <c:pt idx="86">
                  <c:v>0.08177570093457943</c:v>
                </c:pt>
                <c:pt idx="87">
                  <c:v>0.09661229611041405</c:v>
                </c:pt>
                <c:pt idx="88">
                  <c:v>0.0781010719754977</c:v>
                </c:pt>
                <c:pt idx="89">
                  <c:v>0.08</c:v>
                </c:pt>
                <c:pt idx="90">
                  <c:v>0.06688963210702341</c:v>
                </c:pt>
                <c:pt idx="91">
                  <c:v>0.07069219440353461</c:v>
                </c:pt>
                <c:pt idx="92">
                  <c:v>0.07080610021786492</c:v>
                </c:pt>
                <c:pt idx="93">
                  <c:v>0.08223684210526316</c:v>
                </c:pt>
                <c:pt idx="94">
                  <c:v>0.08530805687203792</c:v>
                </c:pt>
                <c:pt idx="95">
                  <c:v>0.08818011257035648</c:v>
                </c:pt>
                <c:pt idx="96">
                  <c:v>0.11733490566037735</c:v>
                </c:pt>
                <c:pt idx="97">
                  <c:v>0.10925373134328359</c:v>
                </c:pt>
                <c:pt idx="98">
                  <c:v>0.0976890756302521</c:v>
                </c:pt>
                <c:pt idx="99">
                  <c:v>0.0897052541648868</c:v>
                </c:pt>
                <c:pt idx="100">
                  <c:v>0.08439490445859872</c:v>
                </c:pt>
                <c:pt idx="101">
                  <c:v>0.08608058608058608</c:v>
                </c:pt>
                <c:pt idx="102">
                  <c:v>0.09747504403992954</c:v>
                </c:pt>
                <c:pt idx="103">
                  <c:v>0.08222103577148959</c:v>
                </c:pt>
                <c:pt idx="104">
                  <c:v>0.078619909502262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numCache>
            </c:numRef>
          </c:xVal>
          <c:yVal>
            <c:numRef>
              <c:f>Sheet1!$B$109:$B$160</c:f>
              <c:numCache>
                <c:formatCode>General</c:formatCode>
                <c:ptCount val="52"/>
                <c:pt idx="0">
                  <c:v>0.08</c:v>
                </c:pt>
                <c:pt idx="1">
                  <c:v>0.08274021352313167</c:v>
                </c:pt>
                <c:pt idx="2">
                  <c:v>0.11193111931119311</c:v>
                </c:pt>
                <c:pt idx="3">
                  <c:v>0.11852134146341463</c:v>
                </c:pt>
                <c:pt idx="4">
                  <c:v>0.11616161616161616</c:v>
                </c:pt>
                <c:pt idx="5">
                  <c:v>0.10549843540455968</c:v>
                </c:pt>
                <c:pt idx="6">
                  <c:v>0.11037770443711038</c:v>
                </c:pt>
                <c:pt idx="7">
                  <c:v>0.12212817412333736</c:v>
                </c:pt>
                <c:pt idx="8">
                  <c:v>0.1064891846921797</c:v>
                </c:pt>
                <c:pt idx="9">
                  <c:v>0.10384818133895625</c:v>
                </c:pt>
                <c:pt idx="10">
                  <c:v>0.11431742508324085</c:v>
                </c:pt>
                <c:pt idx="11">
                  <c:v>0.11327649208282582</c:v>
                </c:pt>
                <c:pt idx="12">
                  <c:v>0.11026422764227642</c:v>
                </c:pt>
                <c:pt idx="13">
                  <c:v>0.09416826003824091</c:v>
                </c:pt>
                <c:pt idx="14">
                  <c:v>0.10876623376623376</c:v>
                </c:pt>
                <c:pt idx="15">
                  <c:v>0.11631944444444445</c:v>
                </c:pt>
                <c:pt idx="16">
                  <c:v>0.10501672240802676</c:v>
                </c:pt>
                <c:pt idx="17">
                  <c:v>0.11631537861046058</c:v>
                </c:pt>
                <c:pt idx="18">
                  <c:v>0.11161731207289294</c:v>
                </c:pt>
                <c:pt idx="19">
                  <c:v>0.1014344262295082</c:v>
                </c:pt>
                <c:pt idx="20">
                  <c:v>0.09154228855721393</c:v>
                </c:pt>
                <c:pt idx="21">
                  <c:v>0.09948186528497409</c:v>
                </c:pt>
                <c:pt idx="22">
                  <c:v>0.09469302809573361</c:v>
                </c:pt>
                <c:pt idx="23">
                  <c:v>0.09248554913294797</c:v>
                </c:pt>
                <c:pt idx="24">
                  <c:v>0.08523409363745499</c:v>
                </c:pt>
                <c:pt idx="25">
                  <c:v>0.08870967741935484</c:v>
                </c:pt>
                <c:pt idx="26">
                  <c:v>0.08049886621315193</c:v>
                </c:pt>
                <c:pt idx="27">
                  <c:v>0.09124537607891492</c:v>
                </c:pt>
                <c:pt idx="28">
                  <c:v>0.07167235494880546</c:v>
                </c:pt>
                <c:pt idx="29">
                  <c:v>0.06451612903225806</c:v>
                </c:pt>
                <c:pt idx="30">
                  <c:v>0.06451612903225806</c:v>
                </c:pt>
                <c:pt idx="31">
                  <c:v>0.08171206225680934</c:v>
                </c:pt>
                <c:pt idx="32">
                  <c:v>0.08160237388724036</c:v>
                </c:pt>
                <c:pt idx="33">
                  <c:v>0.087248322147651</c:v>
                </c:pt>
                <c:pt idx="34">
                  <c:v>0.08751458576429405</c:v>
                </c:pt>
                <c:pt idx="35">
                  <c:v>0.08089260808926081</c:v>
                </c:pt>
                <c:pt idx="36">
                  <c:v>0.06991525423728813</c:v>
                </c:pt>
                <c:pt idx="37">
                  <c:v>0.07606679035250463</c:v>
                </c:pt>
                <c:pt idx="38">
                  <c:v>0.06911447084233262</c:v>
                </c:pt>
                <c:pt idx="39">
                  <c:v>0.07591240875912408</c:v>
                </c:pt>
                <c:pt idx="40">
                  <c:v>0.0720164609053498</c:v>
                </c:pt>
                <c:pt idx="41">
                  <c:v>0.08092485549132948</c:v>
                </c:pt>
                <c:pt idx="42">
                  <c:v>0.07482993197278912</c:v>
                </c:pt>
                <c:pt idx="43">
                  <c:v>0.0765262252794497</c:v>
                </c:pt>
                <c:pt idx="44">
                  <c:v>0.09029850746268657</c:v>
                </c:pt>
                <c:pt idx="45">
                  <c:v>0.08801295896328294</c:v>
                </c:pt>
                <c:pt idx="46">
                  <c:v>0.09928617780661908</c:v>
                </c:pt>
                <c:pt idx="47">
                  <c:v>0.10669828097213989</c:v>
                </c:pt>
                <c:pt idx="48">
                  <c:v>0.11572832886505809</c:v>
                </c:pt>
                <c:pt idx="49">
                  <c:v>0.11746857390550498</c:v>
                </c:pt>
                <c:pt idx="50">
                  <c:v>0.11185914034179181</c:v>
                </c:pt>
                <c:pt idx="51">
                  <c:v>0.1045364891518737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4.6905309464748</c:v>
                </c:pt>
              </c:numCache>
            </c:numRef>
          </c:xVal>
          <c:yVal>
            <c:numRef>
              <c:f>Sheet1!$B$163:$B$164</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4.6905309464748</c:v>
                </c:pt>
                <c:pt idx="1">
                  <c:v>1074.6905309464748</c:v>
                </c:pt>
              </c:numCache>
            </c:numRef>
          </c:xVal>
          <c:yVal>
            <c:numRef>
              <c:f>Sheet1!$B$167:$B$168</c:f>
              <c:numCache>
                <c:formatCode>General</c:formatCode>
                <c:ptCount val="2"/>
                <c:pt idx="0">
                  <c:v>0.112398133066057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4.6905309464748</c:v>
                </c:pt>
              </c:numCache>
            </c:numRef>
          </c:xVal>
          <c:yVal>
            <c:numRef>
              <c:f>Sheet1!$B$171:$B$172</c:f>
              <c:numCache>
                <c:formatCode>General</c:formatCode>
                <c:ptCount val="2"/>
                <c:pt idx="0">
                  <c:v>0.11239813306605717</c:v>
                </c:pt>
                <c:pt idx="1">
                  <c:v>0.112398133066057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4.6905309464748</c:v>
                </c:pt>
                <c:pt idx="1">
                  <c:v>1074.6905309464748</c:v>
                </c:pt>
              </c:numCache>
            </c:numRef>
          </c:xVal>
          <c:yVal>
            <c:numRef>
              <c:f>Sheet1!$B$175:$B$176</c:f>
              <c:numCache>
                <c:formatCode>General</c:formatCode>
                <c:ptCount val="2"/>
                <c:pt idx="0">
                  <c:v>0.112398133066057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5.435864458767</c:v>
                </c:pt>
              </c:numCache>
            </c:numRef>
          </c:xVal>
          <c:yVal>
            <c:numRef>
              <c:f>Sheet1!$B$179:$B$180</c:f>
              <c:numCache>
                <c:formatCode>General</c:formatCode>
                <c:ptCount val="2"/>
                <c:pt idx="0">
                  <c:v>0.09339217999053841</c:v>
                </c:pt>
                <c:pt idx="1">
                  <c:v>0.093392179990538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5.435864458767</c:v>
                </c:pt>
                <c:pt idx="1">
                  <c:v>1205.435864458767</c:v>
                </c:pt>
              </c:numCache>
            </c:numRef>
          </c:xVal>
          <c:yVal>
            <c:numRef>
              <c:f>Sheet1!$B$183:$B$184</c:f>
              <c:numCache>
                <c:formatCode>General</c:formatCode>
                <c:ptCount val="2"/>
                <c:pt idx="0">
                  <c:v>0.093392179990538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2135</c:v>
                </c:pt>
                <c:pt idx="1">
                  <c:v>1152.8978</c:v>
                </c:pt>
                <c:pt idx="2">
                  <c:v>1159.9927</c:v>
                </c:pt>
                <c:pt idx="3">
                  <c:v>1055.3183</c:v>
                </c:pt>
                <c:pt idx="4">
                  <c:v>1061.2138</c:v>
                </c:pt>
                <c:pt idx="5">
                  <c:v>1134.8305</c:v>
                </c:pt>
                <c:pt idx="6">
                  <c:v>1098.711</c:v>
                </c:pt>
                <c:pt idx="7">
                  <c:v>1080.3713</c:v>
                </c:pt>
                <c:pt idx="8">
                  <c:v>1160.2813</c:v>
                </c:pt>
                <c:pt idx="9">
                  <c:v>1172.4315</c:v>
                </c:pt>
                <c:pt idx="10">
                  <c:v>1175.7233</c:v>
                </c:pt>
                <c:pt idx="11">
                  <c:v>1039.5806</c:v>
                </c:pt>
                <c:pt idx="12">
                  <c:v>1041.7327</c:v>
                </c:pt>
                <c:pt idx="13">
                  <c:v>1142.0355</c:v>
                </c:pt>
                <c:pt idx="14">
                  <c:v>1138.9801</c:v>
                </c:pt>
                <c:pt idx="15">
                  <c:v>1125.4478</c:v>
                </c:pt>
                <c:pt idx="16">
                  <c:v>1220.9172</c:v>
                </c:pt>
                <c:pt idx="17">
                  <c:v>1150.5772</c:v>
                </c:pt>
                <c:pt idx="18">
                  <c:v>1243.7041</c:v>
                </c:pt>
                <c:pt idx="19">
                  <c:v>1275.6768</c:v>
                </c:pt>
                <c:pt idx="20">
                  <c:v>1303.8804</c:v>
                </c:pt>
                <c:pt idx="21">
                  <c:v>1259.0417</c:v>
                </c:pt>
                <c:pt idx="22">
                  <c:v>1287.3516</c:v>
                </c:pt>
                <c:pt idx="23">
                  <c:v>1199.1375</c:v>
                </c:pt>
                <c:pt idx="24">
                  <c:v>1273.6761</c:v>
                </c:pt>
                <c:pt idx="25">
                  <c:v>1242.9242</c:v>
                </c:pt>
                <c:pt idx="26">
                  <c:v>1252.831</c:v>
                </c:pt>
                <c:pt idx="27">
                  <c:v>1240.1081</c:v>
                </c:pt>
                <c:pt idx="28">
                  <c:v>1248.8413</c:v>
                </c:pt>
                <c:pt idx="29">
                  <c:v>1284.8</c:v>
                </c:pt>
                <c:pt idx="30">
                  <c:v>1235.1905</c:v>
                </c:pt>
                <c:pt idx="31">
                  <c:v>1226.6429</c:v>
                </c:pt>
                <c:pt idx="32">
                  <c:v>1254.3818</c:v>
                </c:pt>
                <c:pt idx="33">
                  <c:v>1207.5538</c:v>
                </c:pt>
                <c:pt idx="34">
                  <c:v>1214.24</c:v>
                </c:pt>
                <c:pt idx="35">
                  <c:v>1284.5862</c:v>
                </c:pt>
                <c:pt idx="36">
                  <c:v>1336.1515</c:v>
                </c:pt>
                <c:pt idx="37">
                  <c:v>1340.3659</c:v>
                </c:pt>
                <c:pt idx="38">
                  <c:v>1279.2188</c:v>
                </c:pt>
                <c:pt idx="39">
                  <c:v>1158.0385</c:v>
                </c:pt>
                <c:pt idx="40">
                  <c:v>1275.3</c:v>
                </c:pt>
                <c:pt idx="41">
                  <c:v>1311.6429</c:v>
                </c:pt>
                <c:pt idx="42">
                  <c:v>1310.9636</c:v>
                </c:pt>
                <c:pt idx="43">
                  <c:v>1269.0787</c:v>
                </c:pt>
                <c:pt idx="44">
                  <c:v>1123.7438</c:v>
                </c:pt>
                <c:pt idx="45">
                  <c:v>1159.6871</c:v>
                </c:pt>
                <c:pt idx="46">
                  <c:v>1174.4902</c:v>
                </c:pt>
                <c:pt idx="47">
                  <c:v>1141.8222</c:v>
                </c:pt>
                <c:pt idx="48">
                  <c:v>1187.2973</c:v>
                </c:pt>
                <c:pt idx="49">
                  <c:v>1177.3432</c:v>
                </c:pt>
                <c:pt idx="50">
                  <c:v>1092.8912</c:v>
                </c:pt>
                <c:pt idx="51">
                  <c:v>1069.816</c:v>
                </c:pt>
                <c:pt idx="52">
                  <c:v>1074.6905309464748</c:v>
                </c:pt>
                <c:pt idx="53">
                  <c:v>1074.6905309464748</c:v>
                </c:pt>
                <c:pt idx="54">
                  <c:v>1205.435864458767</c:v>
                </c:pt>
              </c:numCache>
            </c:numRef>
          </c:xVal>
          <c:yVal>
            <c:numRef>
              <c:f>Sheet1!$B$187:$B$241</c:f>
              <c:numCache>
                <c:formatCode>General</c:formatCode>
                <c:ptCount val="55"/>
                <c:pt idx="0">
                  <c:v>0.09734939182830812</c:v>
                </c:pt>
                <c:pt idx="1">
                  <c:v>0.10102943908772849</c:v>
                </c:pt>
                <c:pt idx="2">
                  <c:v>0.09999808039328742</c:v>
                </c:pt>
                <c:pt idx="3">
                  <c:v>0.11521420077911401</c:v>
                </c:pt>
                <c:pt idx="4">
                  <c:v>0.11435719431206343</c:v>
                </c:pt>
                <c:pt idx="5">
                  <c:v>0.10365581394009776</c:v>
                </c:pt>
                <c:pt idx="6">
                  <c:v>0.10890636861512684</c:v>
                </c:pt>
                <c:pt idx="7">
                  <c:v>0.11157234122199103</c:v>
                </c:pt>
                <c:pt idx="8">
                  <c:v>0.09995612770625648</c:v>
                </c:pt>
                <c:pt idx="9">
                  <c:v>0.09818989923098587</c:v>
                </c:pt>
                <c:pt idx="10">
                  <c:v>0.09771138275431088</c:v>
                </c:pt>
                <c:pt idx="11">
                  <c:v>0.11750193051815261</c:v>
                </c:pt>
                <c:pt idx="12">
                  <c:v>0.11718908790637422</c:v>
                </c:pt>
                <c:pt idx="13">
                  <c:v>0.102608450426384</c:v>
                </c:pt>
                <c:pt idx="14">
                  <c:v>0.1030526023319775</c:v>
                </c:pt>
                <c:pt idx="15">
                  <c:v>0.10501974144046172</c:v>
                </c:pt>
                <c:pt idx="16">
                  <c:v>0.0911417169802056</c:v>
                </c:pt>
                <c:pt idx="17">
                  <c:v>0.10136677590520582</c:v>
                </c:pt>
                <c:pt idx="18">
                  <c:v>0.08782927178233688</c:v>
                </c:pt>
                <c:pt idx="19">
                  <c:v>0.08318152169005147</c:v>
                </c:pt>
                <c:pt idx="20">
                  <c:v>0.07908167136453062</c:v>
                </c:pt>
                <c:pt idx="21">
                  <c:v>0.0855997030622902</c:v>
                </c:pt>
                <c:pt idx="22">
                  <c:v>0.08148440030907916</c:v>
                </c:pt>
                <c:pt idx="23">
                  <c:v>0.09430774933546329</c:v>
                </c:pt>
                <c:pt idx="24">
                  <c:v>0.08347235585825233</c:v>
                </c:pt>
                <c:pt idx="25">
                  <c:v>0.0879426428863404</c:v>
                </c:pt>
                <c:pt idx="26">
                  <c:v>0.08650252895744942</c:v>
                </c:pt>
                <c:pt idx="27">
                  <c:v>0.08835200865885523</c:v>
                </c:pt>
                <c:pt idx="28">
                  <c:v>0.08708249650924174</c:v>
                </c:pt>
                <c:pt idx="29">
                  <c:v>0.08185531672012594</c:v>
                </c:pt>
                <c:pt idx="30">
                  <c:v>0.08906686151312848</c:v>
                </c:pt>
                <c:pt idx="31">
                  <c:v>0.09030939369492164</c:v>
                </c:pt>
                <c:pt idx="32">
                  <c:v>0.08627709504529568</c:v>
                </c:pt>
                <c:pt idx="33">
                  <c:v>0.09308430373650856</c:v>
                </c:pt>
                <c:pt idx="34">
                  <c:v>0.0921123562104304</c:v>
                </c:pt>
                <c:pt idx="35">
                  <c:v>0.08188639601495343</c:v>
                </c:pt>
                <c:pt idx="36">
                  <c:v>0.07439054399639625</c:v>
                </c:pt>
                <c:pt idx="37">
                  <c:v>0.07377791265813177</c:v>
                </c:pt>
                <c:pt idx="38">
                  <c:v>0.08266663458865325</c:v>
                </c:pt>
                <c:pt idx="39">
                  <c:v>0.1002821550329126</c:v>
                </c:pt>
                <c:pt idx="40">
                  <c:v>0.08323629567644528</c:v>
                </c:pt>
                <c:pt idx="41">
                  <c:v>0.07795326619101181</c:v>
                </c:pt>
                <c:pt idx="42">
                  <c:v>0.07805201345469892</c:v>
                </c:pt>
                <c:pt idx="43">
                  <c:v>0.08414066245338733</c:v>
                </c:pt>
                <c:pt idx="44">
                  <c:v>0.10526744545536362</c:v>
                </c:pt>
                <c:pt idx="45">
                  <c:v>0.10004250430581912</c:v>
                </c:pt>
                <c:pt idx="46">
                  <c:v>0.09789063382284116</c:v>
                </c:pt>
                <c:pt idx="47">
                  <c:v>0.1026394570381085</c:v>
                </c:pt>
                <c:pt idx="48">
                  <c:v>0.09602891428689617</c:v>
                </c:pt>
                <c:pt idx="49">
                  <c:v>0.09747590403732756</c:v>
                </c:pt>
                <c:pt idx="50">
                  <c:v>0.10975237086038866</c:v>
                </c:pt>
                <c:pt idx="51">
                  <c:v>0.11310672513542655</c:v>
                </c:pt>
                <c:pt idx="52">
                  <c:v>0.11239813306605717</c:v>
                </c:pt>
                <c:pt idx="53">
                  <c:v>0.11239813306605717</c:v>
                </c:pt>
                <c:pt idx="54">
                  <c:v>0.09339217999053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58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828418230563004"/>
          <c:min val="0.0290766208251473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763576236415022</c:v>
                </c:pt>
                <c:pt idx="1">
                  <c:v>0.4274833480622419</c:v>
                </c:pt>
                <c:pt idx="2">
                  <c:v>0.5216470091502877</c:v>
                </c:pt>
                <c:pt idx="3">
                  <c:v>0.5301487221819173</c:v>
                </c:pt>
                <c:pt idx="4">
                  <c:v>0.5515517418670981</c:v>
                </c:pt>
                <c:pt idx="5">
                  <c:v>0.5171394890008126</c:v>
                </c:pt>
                <c:pt idx="6">
                  <c:v>0.5035941253168656</c:v>
                </c:pt>
                <c:pt idx="7">
                  <c:v>0.5425181114871521</c:v>
                </c:pt>
                <c:pt idx="8">
                  <c:v>0.5045518358886147</c:v>
                </c:pt>
                <c:pt idx="9">
                  <c:v>0.4921591832401745</c:v>
                </c:pt>
                <c:pt idx="10">
                  <c:v>0.49088249125128164</c:v>
                </c:pt>
                <c:pt idx="11">
                  <c:v>0.49191763073024597</c:v>
                </c:pt>
                <c:pt idx="12">
                  <c:v>0.5272895017906317</c:v>
                </c:pt>
                <c:pt idx="13">
                  <c:v>0.5334535284005079</c:v>
                </c:pt>
                <c:pt idx="14">
                  <c:v>0.49995720930221466</c:v>
                </c:pt>
                <c:pt idx="15">
                  <c:v>0.48326478598326095</c:v>
                </c:pt>
                <c:pt idx="16">
                  <c:v>0.4470311952748597</c:v>
                </c:pt>
                <c:pt idx="17">
                  <c:v>0.4360043181858681</c:v>
                </c:pt>
                <c:pt idx="18">
                  <c:v>0.4229883069134235</c:v>
                </c:pt>
                <c:pt idx="19">
                  <c:v>0.4556404895052008</c:v>
                </c:pt>
                <c:pt idx="20">
                  <c:v>0.4492111111436684</c:v>
                </c:pt>
                <c:pt idx="21">
                  <c:v>0.43713475894992543</c:v>
                </c:pt>
                <c:pt idx="22">
                  <c:v>0.3689879273158326</c:v>
                </c:pt>
                <c:pt idx="23">
                  <c:v>0.3543770252251419</c:v>
                </c:pt>
                <c:pt idx="24">
                  <c:v>0.3698407064434328</c:v>
                </c:pt>
                <c:pt idx="25">
                  <c:v>0.32381414725630375</c:v>
                </c:pt>
                <c:pt idx="26">
                  <c:v>0.3182119818451291</c:v>
                </c:pt>
                <c:pt idx="27">
                  <c:v>0.3300053934222497</c:v>
                </c:pt>
                <c:pt idx="28">
                  <c:v>0.3313181423286856</c:v>
                </c:pt>
                <c:pt idx="29">
                  <c:v>0.2134893312193027</c:v>
                </c:pt>
                <c:pt idx="30">
                  <c:v>0.2412553443118068</c:v>
                </c:pt>
                <c:pt idx="31">
                  <c:v>0.2695841885608814</c:v>
                </c:pt>
                <c:pt idx="32">
                  <c:v>0.25554221601365573</c:v>
                </c:pt>
                <c:pt idx="33">
                  <c:v>0.17769481735239495</c:v>
                </c:pt>
                <c:pt idx="34">
                  <c:v>0.2790402986601949</c:v>
                </c:pt>
                <c:pt idx="35">
                  <c:v>0.28511399828305767</c:v>
                </c:pt>
                <c:pt idx="36">
                  <c:v>0.33086010994466664</c:v>
                </c:pt>
                <c:pt idx="37">
                  <c:v>0.30195878119461034</c:v>
                </c:pt>
                <c:pt idx="38">
                  <c:v>0.3238661414268408</c:v>
                </c:pt>
                <c:pt idx="39">
                  <c:v>0.3581542813523988</c:v>
                </c:pt>
                <c:pt idx="40">
                  <c:v>0.3599615162199922</c:v>
                </c:pt>
                <c:pt idx="41">
                  <c:v>0.35503892050682306</c:v>
                </c:pt>
                <c:pt idx="42">
                  <c:v>0.3647259468625816</c:v>
                </c:pt>
                <c:pt idx="43">
                  <c:v>0.3635264548786112</c:v>
                </c:pt>
                <c:pt idx="44">
                  <c:v>0.3876747244449855</c:v>
                </c:pt>
                <c:pt idx="45">
                  <c:v>0.4115741292804639</c:v>
                </c:pt>
                <c:pt idx="46">
                  <c:v>0.39508613084053235</c:v>
                </c:pt>
                <c:pt idx="47">
                  <c:v>0.3950427523721557</c:v>
                </c:pt>
                <c:pt idx="48">
                  <c:v>0.4185758022479649</c:v>
                </c:pt>
                <c:pt idx="49">
                  <c:v>0.45606183871815253</c:v>
                </c:pt>
                <c:pt idx="50">
                  <c:v>0.3945997585723564</c:v>
                </c:pt>
                <c:pt idx="51">
                  <c:v>0.3816448937364214</c:v>
                </c:pt>
                <c:pt idx="52">
                  <c:v>0.43070700707452153</c:v>
                </c:pt>
                <c:pt idx="53">
                  <c:v>0.42117417815313957</c:v>
                </c:pt>
                <c:pt idx="54">
                  <c:v>0.4087173296607137</c:v>
                </c:pt>
                <c:pt idx="55">
                  <c:v>0.4159606382192584</c:v>
                </c:pt>
                <c:pt idx="56">
                  <c:v>0.4277645870731765</c:v>
                </c:pt>
                <c:pt idx="57">
                  <c:v>0.46726846871072547</c:v>
                </c:pt>
                <c:pt idx="58">
                  <c:v>0.4683070617920731</c:v>
                </c:pt>
                <c:pt idx="59">
                  <c:v>0.46491488867223607</c:v>
                </c:pt>
                <c:pt idx="60">
                  <c:v>0.46987245219071094</c:v>
                </c:pt>
                <c:pt idx="61">
                  <c:v>0.469987605487582</c:v>
                </c:pt>
                <c:pt idx="62">
                  <c:v>0.378861929974878</c:v>
                </c:pt>
                <c:pt idx="63">
                  <c:v>0.41247106675585415</c:v>
                </c:pt>
                <c:pt idx="64">
                  <c:v>0.3979136478320123</c:v>
                </c:pt>
                <c:pt idx="65">
                  <c:v>0.40176972896152674</c:v>
                </c:pt>
                <c:pt idx="66">
                  <c:v>0.46497162558553584</c:v>
                </c:pt>
                <c:pt idx="67">
                  <c:v>0.4829189499744785</c:v>
                </c:pt>
                <c:pt idx="68">
                  <c:v>0.4515096972298962</c:v>
                </c:pt>
                <c:pt idx="69">
                  <c:v>0.42676774014841373</c:v>
                </c:pt>
                <c:pt idx="70">
                  <c:v>0.4411412086612792</c:v>
                </c:pt>
                <c:pt idx="71">
                  <c:v>0.43501615384092823</c:v>
                </c:pt>
                <c:pt idx="72">
                  <c:v>0.40736833343696305</c:v>
                </c:pt>
                <c:pt idx="73">
                  <c:v>0.47028771518046775</c:v>
                </c:pt>
                <c:pt idx="74">
                  <c:v>0.4533596931473572</c:v>
                </c:pt>
                <c:pt idx="75">
                  <c:v>0.41362842853187987</c:v>
                </c:pt>
                <c:pt idx="76">
                  <c:v>0.4346960680226494</c:v>
                </c:pt>
                <c:pt idx="77">
                  <c:v>0.4445903687012795</c:v>
                </c:pt>
                <c:pt idx="78">
                  <c:v>0.39860500017885653</c:v>
                </c:pt>
                <c:pt idx="79">
                  <c:v>0.40909193560811935</c:v>
                </c:pt>
                <c:pt idx="80">
                  <c:v>0.41135196814933733</c:v>
                </c:pt>
                <c:pt idx="81">
                  <c:v>0.3709416654486122</c:v>
                </c:pt>
                <c:pt idx="82">
                  <c:v>0.34707410828464624</c:v>
                </c:pt>
                <c:pt idx="83">
                  <c:v>0.3500885809723145</c:v>
                </c:pt>
                <c:pt idx="84">
                  <c:v>0.34975441671045854</c:v>
                </c:pt>
                <c:pt idx="85">
                  <c:v>0.3844288300569026</c:v>
                </c:pt>
                <c:pt idx="86">
                  <c:v>0.38964659069876767</c:v>
                </c:pt>
                <c:pt idx="87">
                  <c:v>0.3873476426611164</c:v>
                </c:pt>
                <c:pt idx="88">
                  <c:v>0.32457505833604705</c:v>
                </c:pt>
                <c:pt idx="89">
                  <c:v>0.3207785935813238</c:v>
                </c:pt>
                <c:pt idx="90">
                  <c:v>0.3635382002286461</c:v>
                </c:pt>
                <c:pt idx="91">
                  <c:v>0.3895697659455918</c:v>
                </c:pt>
                <c:pt idx="92">
                  <c:v>0.36104964611045487</c:v>
                </c:pt>
                <c:pt idx="93">
                  <c:v>0.37885095900001203</c:v>
                </c:pt>
                <c:pt idx="94">
                  <c:v>0.3528079966281262</c:v>
                </c:pt>
                <c:pt idx="95">
                  <c:v>0.3927925942683734</c:v>
                </c:pt>
                <c:pt idx="96">
                  <c:v>0.4221772072880885</c:v>
                </c:pt>
                <c:pt idx="97">
                  <c:v>0.4582124281332896</c:v>
                </c:pt>
                <c:pt idx="98">
                  <c:v>0.49366426043207046</c:v>
                </c:pt>
                <c:pt idx="99">
                  <c:v>0.497296782835676</c:v>
                </c:pt>
                <c:pt idx="100">
                  <c:v>0.5200174824390051</c:v>
                </c:pt>
                <c:pt idx="101">
                  <c:v>0.4664190871448737</c:v>
                </c:pt>
                <c:pt idx="102">
                  <c:v>0.450111105163603</c:v>
                </c:pt>
                <c:pt idx="103">
                  <c:v>0.4866173164701546</c:v>
                </c:pt>
                <c:pt idx="104">
                  <c:v>0.5013750165118395</c:v>
                </c:pt>
              </c:numCache>
            </c:numRef>
          </c:xVal>
          <c:yVal>
            <c:numRef>
              <c:f>Sheet1!$B$2:$B$106</c:f>
              <c:numCache>
                <c:formatCode>General</c:formatCode>
                <c:ptCount val="105"/>
                <c:pt idx="0">
                  <c:v>0.22297955209347614</c:v>
                </c:pt>
                <c:pt idx="1">
                  <c:v>0.20850884582982307</c:v>
                </c:pt>
                <c:pt idx="2">
                  <c:v>0.16288024643819793</c:v>
                </c:pt>
                <c:pt idx="3">
                  <c:v>0.15108892921960074</c:v>
                </c:pt>
                <c:pt idx="4">
                  <c:v>0.12336244541484716</c:v>
                </c:pt>
                <c:pt idx="5">
                  <c:v>0.12053802379720642</c:v>
                </c:pt>
                <c:pt idx="6">
                  <c:v>0.11948438274665345</c:v>
                </c:pt>
                <c:pt idx="7">
                  <c:v>0.09774436090225563</c:v>
                </c:pt>
                <c:pt idx="8">
                  <c:v>0.13726541554959787</c:v>
                </c:pt>
                <c:pt idx="9">
                  <c:v>0.17348678601875533</c:v>
                </c:pt>
                <c:pt idx="10">
                  <c:v>0.1830929487179487</c:v>
                </c:pt>
                <c:pt idx="11">
                  <c:v>0.18872017353579176</c:v>
                </c:pt>
                <c:pt idx="12">
                  <c:v>0.1778225806451613</c:v>
                </c:pt>
                <c:pt idx="13">
                  <c:v>0.21137521222410866</c:v>
                </c:pt>
                <c:pt idx="14">
                  <c:v>0.19607843137254902</c:v>
                </c:pt>
                <c:pt idx="15">
                  <c:v>0.19849100406268136</c:v>
                </c:pt>
                <c:pt idx="16">
                  <c:v>0.19442556084296397</c:v>
                </c:pt>
                <c:pt idx="17">
                  <c:v>0.1896938013442868</c:v>
                </c:pt>
                <c:pt idx="18">
                  <c:v>0.1559792027729636</c:v>
                </c:pt>
                <c:pt idx="19">
                  <c:v>0.16797642436149313</c:v>
                </c:pt>
                <c:pt idx="20">
                  <c:v>0.20109546165884193</c:v>
                </c:pt>
                <c:pt idx="21">
                  <c:v>0.1781219748305905</c:v>
                </c:pt>
                <c:pt idx="22">
                  <c:v>0.17640918580375783</c:v>
                </c:pt>
                <c:pt idx="23">
                  <c:v>0.15702479338842976</c:v>
                </c:pt>
                <c:pt idx="24">
                  <c:v>0.16233766233766234</c:v>
                </c:pt>
                <c:pt idx="25">
                  <c:v>0.15558510638297873</c:v>
                </c:pt>
                <c:pt idx="26">
                  <c:v>0.15967523680649526</c:v>
                </c:pt>
                <c:pt idx="27">
                  <c:v>0.16711590296495957</c:v>
                </c:pt>
                <c:pt idx="28">
                  <c:v>0.14425770308123248</c:v>
                </c:pt>
                <c:pt idx="29">
                  <c:v>0.22281879194630871</c:v>
                </c:pt>
                <c:pt idx="30">
                  <c:v>0.14571948998178508</c:v>
                </c:pt>
                <c:pt idx="31">
                  <c:v>0.1352253756260434</c:v>
                </c:pt>
                <c:pt idx="32">
                  <c:v>0.16139240506329114</c:v>
                </c:pt>
                <c:pt idx="33">
                  <c:v>0.24231678486997635</c:v>
                </c:pt>
                <c:pt idx="34">
                  <c:v>0.1436241610738255</c:v>
                </c:pt>
                <c:pt idx="35">
                  <c:v>0.15006305170239598</c:v>
                </c:pt>
                <c:pt idx="36">
                  <c:v>0.09868421052631579</c:v>
                </c:pt>
                <c:pt idx="37">
                  <c:v>0.10273081924577374</c:v>
                </c:pt>
                <c:pt idx="38">
                  <c:v>0.09136420525657071</c:v>
                </c:pt>
                <c:pt idx="39">
                  <c:v>0.07658321060382917</c:v>
                </c:pt>
                <c:pt idx="40">
                  <c:v>0.09322033898305085</c:v>
                </c:pt>
                <c:pt idx="41">
                  <c:v>0.07682926829268293</c:v>
                </c:pt>
                <c:pt idx="42">
                  <c:v>0.0776255707762557</c:v>
                </c:pt>
                <c:pt idx="43">
                  <c:v>0.0990916597853014</c:v>
                </c:pt>
                <c:pt idx="44">
                  <c:v>0.11746522411128284</c:v>
                </c:pt>
                <c:pt idx="45">
                  <c:v>0.13217559093101786</c:v>
                </c:pt>
                <c:pt idx="46">
                  <c:v>0.1303873431533006</c:v>
                </c:pt>
                <c:pt idx="47">
                  <c:v>0.13873961895456766</c:v>
                </c:pt>
                <c:pt idx="48">
                  <c:v>0.15789473684210525</c:v>
                </c:pt>
                <c:pt idx="49">
                  <c:v>0.193248683803035</c:v>
                </c:pt>
                <c:pt idx="50">
                  <c:v>0.15050651230101303</c:v>
                </c:pt>
                <c:pt idx="51">
                  <c:v>0.1488398415393322</c:v>
                </c:pt>
                <c:pt idx="52">
                  <c:v>0.15442146942366916</c:v>
                </c:pt>
                <c:pt idx="53">
                  <c:v>0.12809315866084425</c:v>
                </c:pt>
                <c:pt idx="54">
                  <c:v>0.12080173347778982</c:v>
                </c:pt>
                <c:pt idx="55">
                  <c:v>0.11979752530933634</c:v>
                </c:pt>
                <c:pt idx="56">
                  <c:v>0.12805830296720458</c:v>
                </c:pt>
                <c:pt idx="57">
                  <c:v>0.11702127659574468</c:v>
                </c:pt>
                <c:pt idx="58">
                  <c:v>0.12620997766195086</c:v>
                </c:pt>
                <c:pt idx="59">
                  <c:v>0.15569534935969445</c:v>
                </c:pt>
                <c:pt idx="60">
                  <c:v>0.16607773851590105</c:v>
                </c:pt>
                <c:pt idx="61">
                  <c:v>0.1532379518072289</c:v>
                </c:pt>
                <c:pt idx="62">
                  <c:v>0.197895588830433</c:v>
                </c:pt>
                <c:pt idx="63">
                  <c:v>0.21658819268381022</c:v>
                </c:pt>
                <c:pt idx="64">
                  <c:v>0.23223501389440254</c:v>
                </c:pt>
                <c:pt idx="65">
                  <c:v>0.1971416561580496</c:v>
                </c:pt>
                <c:pt idx="66">
                  <c:v>0.1673219746614242</c:v>
                </c:pt>
                <c:pt idx="67">
                  <c:v>0.1509785647716682</c:v>
                </c:pt>
                <c:pt idx="68">
                  <c:v>0.15076618882847256</c:v>
                </c:pt>
                <c:pt idx="69">
                  <c:v>0.13319672131147542</c:v>
                </c:pt>
                <c:pt idx="70">
                  <c:v>0.12387676508344031</c:v>
                </c:pt>
                <c:pt idx="71">
                  <c:v>0.10934256055363321</c:v>
                </c:pt>
                <c:pt idx="72">
                  <c:v>0.1259259259259259</c:v>
                </c:pt>
                <c:pt idx="73">
                  <c:v>0.10032102728731943</c:v>
                </c:pt>
                <c:pt idx="74">
                  <c:v>0.09553158705701079</c:v>
                </c:pt>
                <c:pt idx="75">
                  <c:v>0.09691160809371673</c:v>
                </c:pt>
                <c:pt idx="76">
                  <c:v>0.09125475285171103</c:v>
                </c:pt>
                <c:pt idx="77">
                  <c:v>0.08271604938271605</c:v>
                </c:pt>
                <c:pt idx="78">
                  <c:v>0.09066305818673884</c:v>
                </c:pt>
                <c:pt idx="79">
                  <c:v>0.08344923504867872</c:v>
                </c:pt>
                <c:pt idx="80">
                  <c:v>0.07627118644067797</c:v>
                </c:pt>
                <c:pt idx="81">
                  <c:v>0.09101251422070535</c:v>
                </c:pt>
                <c:pt idx="82">
                  <c:v>0.08180535966149506</c:v>
                </c:pt>
                <c:pt idx="83">
                  <c:v>0.07106598984771574</c:v>
                </c:pt>
                <c:pt idx="84">
                  <c:v>0.07521367521367521</c:v>
                </c:pt>
                <c:pt idx="85">
                  <c:v>0.08203677510608204</c:v>
                </c:pt>
                <c:pt idx="86">
                  <c:v>0.0689252336448598</c:v>
                </c:pt>
                <c:pt idx="87">
                  <c:v>0.09159347553324969</c:v>
                </c:pt>
                <c:pt idx="88">
                  <c:v>0.0781010719754977</c:v>
                </c:pt>
                <c:pt idx="89">
                  <c:v>0.05076923076923077</c:v>
                </c:pt>
                <c:pt idx="90">
                  <c:v>0.06020066889632107</c:v>
                </c:pt>
                <c:pt idx="91">
                  <c:v>0.05743740795287187</c:v>
                </c:pt>
                <c:pt idx="92">
                  <c:v>0.07734204793028322</c:v>
                </c:pt>
                <c:pt idx="93">
                  <c:v>0.07456140350877193</c:v>
                </c:pt>
                <c:pt idx="94">
                  <c:v>0.07266982622432859</c:v>
                </c:pt>
                <c:pt idx="95">
                  <c:v>0.08818011257035648</c:v>
                </c:pt>
                <c:pt idx="96">
                  <c:v>0.10141509433962265</c:v>
                </c:pt>
                <c:pt idx="97">
                  <c:v>0.11164179104477612</c:v>
                </c:pt>
                <c:pt idx="98">
                  <c:v>0.11817226890756302</c:v>
                </c:pt>
                <c:pt idx="99">
                  <c:v>0.1371208885091841</c:v>
                </c:pt>
                <c:pt idx="100">
                  <c:v>0.16321656050955413</c:v>
                </c:pt>
                <c:pt idx="101">
                  <c:v>0.13553113553113552</c:v>
                </c:pt>
                <c:pt idx="102">
                  <c:v>0.1098062243100411</c:v>
                </c:pt>
                <c:pt idx="103">
                  <c:v>0.11425520555258943</c:v>
                </c:pt>
                <c:pt idx="104">
                  <c:v>0.130656108597285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77651721444927</c:v>
                </c:pt>
                <c:pt idx="1">
                  <c:v>0.414922935173699</c:v>
                </c:pt>
                <c:pt idx="2">
                  <c:v>0.4600716750929911</c:v>
                </c:pt>
                <c:pt idx="3">
                  <c:v>0.47405482513840635</c:v>
                </c:pt>
                <c:pt idx="4">
                  <c:v>0.4283498123413676</c:v>
                </c:pt>
                <c:pt idx="5">
                  <c:v>0.4462152188381831</c:v>
                </c:pt>
                <c:pt idx="6">
                  <c:v>0.4954243782639297</c:v>
                </c:pt>
                <c:pt idx="7">
                  <c:v>0.5202981733905944</c:v>
                </c:pt>
                <c:pt idx="8">
                  <c:v>0.5191992134135403</c:v>
                </c:pt>
                <c:pt idx="9">
                  <c:v>0.4711493528604736</c:v>
                </c:pt>
                <c:pt idx="10">
                  <c:v>0.49735056125771454</c:v>
                </c:pt>
                <c:pt idx="11">
                  <c:v>0.4589914343651192</c:v>
                </c:pt>
                <c:pt idx="12">
                  <c:v>0.4679857072981569</c:v>
                </c:pt>
                <c:pt idx="13">
                  <c:v>0.4900906269184139</c:v>
                </c:pt>
                <c:pt idx="14">
                  <c:v>0.4476049474162994</c:v>
                </c:pt>
                <c:pt idx="15">
                  <c:v>0.4597736270026049</c:v>
                </c:pt>
                <c:pt idx="16">
                  <c:v>0.48810080930113253</c:v>
                </c:pt>
                <c:pt idx="17">
                  <c:v>0.46398169278675544</c:v>
                </c:pt>
                <c:pt idx="18">
                  <c:v>0.4417918204226063</c:v>
                </c:pt>
                <c:pt idx="19">
                  <c:v>0.42903150212606656</c:v>
                </c:pt>
                <c:pt idx="20">
                  <c:v>0.4134867055168034</c:v>
                </c:pt>
                <c:pt idx="21">
                  <c:v>0.36592427580856873</c:v>
                </c:pt>
                <c:pt idx="22">
                  <c:v>0.3486777218155259</c:v>
                </c:pt>
                <c:pt idx="23">
                  <c:v>0.35788987068329337</c:v>
                </c:pt>
                <c:pt idx="24">
                  <c:v>0.3518959607466296</c:v>
                </c:pt>
                <c:pt idx="25">
                  <c:v>0.3663410413735</c:v>
                </c:pt>
                <c:pt idx="26">
                  <c:v>0.3737225501219854</c:v>
                </c:pt>
                <c:pt idx="27">
                  <c:v>0.39150404045338316</c:v>
                </c:pt>
                <c:pt idx="28">
                  <c:v>0.3734005202628441</c:v>
                </c:pt>
                <c:pt idx="29">
                  <c:v>0.3523190302712275</c:v>
                </c:pt>
                <c:pt idx="30">
                  <c:v>0.3326074513901815</c:v>
                </c:pt>
                <c:pt idx="31">
                  <c:v>0.35989830775233017</c:v>
                </c:pt>
                <c:pt idx="32">
                  <c:v>0.3403321815363118</c:v>
                </c:pt>
                <c:pt idx="33">
                  <c:v>0.3456967042394284</c:v>
                </c:pt>
                <c:pt idx="34">
                  <c:v>0.3587314463696527</c:v>
                </c:pt>
                <c:pt idx="35">
                  <c:v>0.3382882813731768</c:v>
                </c:pt>
                <c:pt idx="36">
                  <c:v>0.3428899915246932</c:v>
                </c:pt>
                <c:pt idx="37">
                  <c:v>0.3391806903421623</c:v>
                </c:pt>
                <c:pt idx="38">
                  <c:v>0.35347946009299896</c:v>
                </c:pt>
                <c:pt idx="39">
                  <c:v>0.37651429463934777</c:v>
                </c:pt>
                <c:pt idx="40">
                  <c:v>0.3952762415331368</c:v>
                </c:pt>
                <c:pt idx="41">
                  <c:v>0.4202982296109255</c:v>
                </c:pt>
                <c:pt idx="42">
                  <c:v>0.37126818251236055</c:v>
                </c:pt>
                <c:pt idx="43">
                  <c:v>0.4029889963976924</c:v>
                </c:pt>
                <c:pt idx="44">
                  <c:v>0.4671865805099688</c:v>
                </c:pt>
                <c:pt idx="45">
                  <c:v>0.5015271095426821</c:v>
                </c:pt>
                <c:pt idx="46">
                  <c:v>0.5075788807976102</c:v>
                </c:pt>
                <c:pt idx="47">
                  <c:v>0.5062945838261579</c:v>
                </c:pt>
                <c:pt idx="48">
                  <c:v>0.5412490602057974</c:v>
                </c:pt>
                <c:pt idx="49">
                  <c:v>0.5950386703947843</c:v>
                </c:pt>
                <c:pt idx="50">
                  <c:v>0.5559906383478328</c:v>
                </c:pt>
                <c:pt idx="51">
                  <c:v>0.47814557754348347</c:v>
                </c:pt>
              </c:numCache>
            </c:numRef>
          </c:xVal>
          <c:yVal>
            <c:numRef>
              <c:f>Sheet1!$B$109:$B$160</c:f>
              <c:numCache>
                <c:formatCode>General</c:formatCode>
                <c:ptCount val="52"/>
                <c:pt idx="0">
                  <c:v>0.13617977528089886</c:v>
                </c:pt>
                <c:pt idx="1">
                  <c:v>0.14101423487544484</c:v>
                </c:pt>
                <c:pt idx="2">
                  <c:v>0.14965149651496515</c:v>
                </c:pt>
                <c:pt idx="3">
                  <c:v>0.16653963414634146</c:v>
                </c:pt>
                <c:pt idx="4">
                  <c:v>0.15361952861952863</c:v>
                </c:pt>
                <c:pt idx="5">
                  <c:v>0.16003576218149307</c:v>
                </c:pt>
                <c:pt idx="6">
                  <c:v>0.16061606160616063</c:v>
                </c:pt>
                <c:pt idx="7">
                  <c:v>0.1457073760580411</c:v>
                </c:pt>
                <c:pt idx="8">
                  <c:v>0.15252357182473655</c:v>
                </c:pt>
                <c:pt idx="9">
                  <c:v>0.17554032683183976</c:v>
                </c:pt>
                <c:pt idx="10">
                  <c:v>0.1792452830188679</c:v>
                </c:pt>
                <c:pt idx="11">
                  <c:v>0.2090946000812018</c:v>
                </c:pt>
                <c:pt idx="12">
                  <c:v>0.19308943089430894</c:v>
                </c:pt>
                <c:pt idx="13">
                  <c:v>0.16491395793499045</c:v>
                </c:pt>
                <c:pt idx="14">
                  <c:v>0.16017316017316016</c:v>
                </c:pt>
                <c:pt idx="15">
                  <c:v>0.1550925925925926</c:v>
                </c:pt>
                <c:pt idx="16">
                  <c:v>0.13444816053511705</c:v>
                </c:pt>
                <c:pt idx="17">
                  <c:v>0.11397345823575332</c:v>
                </c:pt>
                <c:pt idx="18">
                  <c:v>0.11503416856492027</c:v>
                </c:pt>
                <c:pt idx="19">
                  <c:v>0.11987704918032786</c:v>
                </c:pt>
                <c:pt idx="20">
                  <c:v>0.11243781094527364</c:v>
                </c:pt>
                <c:pt idx="21">
                  <c:v>0.13678756476683937</c:v>
                </c:pt>
                <c:pt idx="22">
                  <c:v>0.13007284079084286</c:v>
                </c:pt>
                <c:pt idx="23">
                  <c:v>0.11907514450867052</c:v>
                </c:pt>
                <c:pt idx="24">
                  <c:v>0.1056422569027611</c:v>
                </c:pt>
                <c:pt idx="25">
                  <c:v>0.10349462365591398</c:v>
                </c:pt>
                <c:pt idx="26">
                  <c:v>0.07596371882086168</c:v>
                </c:pt>
                <c:pt idx="27">
                  <c:v>0.08508014796547472</c:v>
                </c:pt>
                <c:pt idx="28">
                  <c:v>0.09101251422070535</c:v>
                </c:pt>
                <c:pt idx="29">
                  <c:v>0.07096774193548387</c:v>
                </c:pt>
                <c:pt idx="30">
                  <c:v>0.08141321044546851</c:v>
                </c:pt>
                <c:pt idx="31">
                  <c:v>0.07587548638132295</c:v>
                </c:pt>
                <c:pt idx="32">
                  <c:v>0.07418397626112759</c:v>
                </c:pt>
                <c:pt idx="33">
                  <c:v>0.08187919463087248</c:v>
                </c:pt>
                <c:pt idx="34">
                  <c:v>0.09684947491248541</c:v>
                </c:pt>
                <c:pt idx="35">
                  <c:v>0.07112970711297072</c:v>
                </c:pt>
                <c:pt idx="36">
                  <c:v>0.057203389830508475</c:v>
                </c:pt>
                <c:pt idx="37">
                  <c:v>0.06307977736549165</c:v>
                </c:pt>
                <c:pt idx="38">
                  <c:v>0.06695464362850972</c:v>
                </c:pt>
                <c:pt idx="39">
                  <c:v>0.06715328467153285</c:v>
                </c:pt>
                <c:pt idx="40">
                  <c:v>0.06275720164609054</c:v>
                </c:pt>
                <c:pt idx="41">
                  <c:v>0.058959537572254334</c:v>
                </c:pt>
                <c:pt idx="42">
                  <c:v>0.0761904761904762</c:v>
                </c:pt>
                <c:pt idx="43">
                  <c:v>0.07824591573516768</c:v>
                </c:pt>
                <c:pt idx="44">
                  <c:v>0.08432835820895522</c:v>
                </c:pt>
                <c:pt idx="45">
                  <c:v>0.09503239740820735</c:v>
                </c:pt>
                <c:pt idx="46">
                  <c:v>0.07787151200519143</c:v>
                </c:pt>
                <c:pt idx="47">
                  <c:v>0.0972139893301719</c:v>
                </c:pt>
                <c:pt idx="48">
                  <c:v>0.10589812332439678</c:v>
                </c:pt>
                <c:pt idx="49">
                  <c:v>0.12527091460771564</c:v>
                </c:pt>
                <c:pt idx="50">
                  <c:v>0.1879854997410668</c:v>
                </c:pt>
                <c:pt idx="51">
                  <c:v>0.1597633136094674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209472741527702</c:v>
                </c:pt>
              </c:numCache>
            </c:numRef>
          </c:xVal>
          <c:yVal>
            <c:numRef>
              <c:f>Sheet1!$B$163:$B$164</c:f>
              <c:numCache>
                <c:formatCode>General</c:formatCode>
                <c:ptCount val="2"/>
                <c:pt idx="0">
                  <c:v>0.18587381249139506</c:v>
                </c:pt>
                <c:pt idx="1">
                  <c:v>0.1858738124913950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209472741527702</c:v>
                </c:pt>
                <c:pt idx="1">
                  <c:v>0.6209472741527702</c:v>
                </c:pt>
              </c:numCache>
            </c:numRef>
          </c:xVal>
          <c:yVal>
            <c:numRef>
              <c:f>Sheet1!$B$167:$B$168</c:f>
              <c:numCache>
                <c:formatCode>General</c:formatCode>
                <c:ptCount val="2"/>
                <c:pt idx="0">
                  <c:v>0.18587381249139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260846200627821</c:v>
                </c:pt>
              </c:numCache>
            </c:numRef>
          </c:xVal>
          <c:yVal>
            <c:numRef>
              <c:f>Sheet1!$B$171:$B$172</c:f>
              <c:numCache>
                <c:formatCode>General</c:formatCode>
                <c:ptCount val="2"/>
                <c:pt idx="0">
                  <c:v>0.15176527123417893</c:v>
                </c:pt>
                <c:pt idx="1">
                  <c:v>0.151765271234178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260846200627821</c:v>
                </c:pt>
                <c:pt idx="1">
                  <c:v>0.5260846200627821</c:v>
                </c:pt>
              </c:numCache>
            </c:numRef>
          </c:xVal>
          <c:yVal>
            <c:numRef>
              <c:f>Sheet1!$B$175:$B$176</c:f>
              <c:numCache>
                <c:formatCode>General</c:formatCode>
                <c:ptCount val="2"/>
                <c:pt idx="0">
                  <c:v>0.151765271234178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771240082606533</c:v>
                </c:pt>
              </c:numCache>
            </c:numRef>
          </c:xVal>
          <c:yVal>
            <c:numRef>
              <c:f>Sheet1!$B$179:$B$180</c:f>
              <c:numCache>
                <c:formatCode>General</c:formatCode>
                <c:ptCount val="2"/>
                <c:pt idx="0">
                  <c:v>0.09820542492697647</c:v>
                </c:pt>
                <c:pt idx="1">
                  <c:v>0.098205424926976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771240082606533</c:v>
                </c:pt>
                <c:pt idx="1">
                  <c:v>0.3771240082606533</c:v>
                </c:pt>
              </c:numCache>
            </c:numRef>
          </c:xVal>
          <c:yVal>
            <c:numRef>
              <c:f>Sheet1!$B$183:$B$184</c:f>
              <c:numCache>
                <c:formatCode>General</c:formatCode>
                <c:ptCount val="2"/>
                <c:pt idx="0">
                  <c:v>0.098205424926976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77651721444927</c:v>
                </c:pt>
                <c:pt idx="1">
                  <c:v>0.414922935173699</c:v>
                </c:pt>
                <c:pt idx="2">
                  <c:v>0.4600716750929911</c:v>
                </c:pt>
                <c:pt idx="3">
                  <c:v>0.47405482513840635</c:v>
                </c:pt>
                <c:pt idx="4">
                  <c:v>0.4283498123413676</c:v>
                </c:pt>
                <c:pt idx="5">
                  <c:v>0.4462152188381831</c:v>
                </c:pt>
                <c:pt idx="6">
                  <c:v>0.4954243782639297</c:v>
                </c:pt>
                <c:pt idx="7">
                  <c:v>0.5202981733905944</c:v>
                </c:pt>
                <c:pt idx="8">
                  <c:v>0.5191992134135403</c:v>
                </c:pt>
                <c:pt idx="9">
                  <c:v>0.4711493528604736</c:v>
                </c:pt>
                <c:pt idx="10">
                  <c:v>0.49735056125771454</c:v>
                </c:pt>
                <c:pt idx="11">
                  <c:v>0.4589914343651192</c:v>
                </c:pt>
                <c:pt idx="12">
                  <c:v>0.4679857072981569</c:v>
                </c:pt>
                <c:pt idx="13">
                  <c:v>0.4900906269184139</c:v>
                </c:pt>
                <c:pt idx="14">
                  <c:v>0.4476049474162994</c:v>
                </c:pt>
                <c:pt idx="15">
                  <c:v>0.4597736270026049</c:v>
                </c:pt>
                <c:pt idx="16">
                  <c:v>0.48810080930113253</c:v>
                </c:pt>
                <c:pt idx="17">
                  <c:v>0.46398169278675544</c:v>
                </c:pt>
                <c:pt idx="18">
                  <c:v>0.4417918204226063</c:v>
                </c:pt>
                <c:pt idx="19">
                  <c:v>0.42903150212606656</c:v>
                </c:pt>
                <c:pt idx="20">
                  <c:v>0.4134867055168034</c:v>
                </c:pt>
                <c:pt idx="21">
                  <c:v>0.36592427580856873</c:v>
                </c:pt>
                <c:pt idx="22">
                  <c:v>0.3486777218155259</c:v>
                </c:pt>
                <c:pt idx="23">
                  <c:v>0.35788987068329337</c:v>
                </c:pt>
                <c:pt idx="24">
                  <c:v>0.3518959607466296</c:v>
                </c:pt>
                <c:pt idx="25">
                  <c:v>0.3663410413735</c:v>
                </c:pt>
                <c:pt idx="26">
                  <c:v>0.3737225501219854</c:v>
                </c:pt>
                <c:pt idx="27">
                  <c:v>0.39150404045338316</c:v>
                </c:pt>
                <c:pt idx="28">
                  <c:v>0.3734005202628441</c:v>
                </c:pt>
                <c:pt idx="29">
                  <c:v>0.3523190302712275</c:v>
                </c:pt>
                <c:pt idx="30">
                  <c:v>0.3326074513901815</c:v>
                </c:pt>
                <c:pt idx="31">
                  <c:v>0.35989830775233017</c:v>
                </c:pt>
                <c:pt idx="32">
                  <c:v>0.3403321815363118</c:v>
                </c:pt>
                <c:pt idx="33">
                  <c:v>0.3456967042394284</c:v>
                </c:pt>
                <c:pt idx="34">
                  <c:v>0.3587314463696527</c:v>
                </c:pt>
                <c:pt idx="35">
                  <c:v>0.3382882813731768</c:v>
                </c:pt>
                <c:pt idx="36">
                  <c:v>0.3428899915246932</c:v>
                </c:pt>
                <c:pt idx="37">
                  <c:v>0.3391806903421623</c:v>
                </c:pt>
                <c:pt idx="38">
                  <c:v>0.35347946009299896</c:v>
                </c:pt>
                <c:pt idx="39">
                  <c:v>0.37651429463934777</c:v>
                </c:pt>
                <c:pt idx="40">
                  <c:v>0.3952762415331368</c:v>
                </c:pt>
                <c:pt idx="41">
                  <c:v>0.4202982296109255</c:v>
                </c:pt>
                <c:pt idx="42">
                  <c:v>0.37126818251236055</c:v>
                </c:pt>
                <c:pt idx="43">
                  <c:v>0.4029889963976924</c:v>
                </c:pt>
                <c:pt idx="44">
                  <c:v>0.4671865805099688</c:v>
                </c:pt>
                <c:pt idx="45">
                  <c:v>0.5015271095426821</c:v>
                </c:pt>
                <c:pt idx="46">
                  <c:v>0.5075788807976102</c:v>
                </c:pt>
                <c:pt idx="47">
                  <c:v>0.5062945838261579</c:v>
                </c:pt>
                <c:pt idx="48">
                  <c:v>0.5412490602057974</c:v>
                </c:pt>
                <c:pt idx="49">
                  <c:v>0.5950386703947843</c:v>
                </c:pt>
                <c:pt idx="50">
                  <c:v>0.5559906383478328</c:v>
                </c:pt>
                <c:pt idx="51">
                  <c:v>0.47814557754348347</c:v>
                </c:pt>
                <c:pt idx="52">
                  <c:v>0.5260846200627821</c:v>
                </c:pt>
                <c:pt idx="53">
                  <c:v>0.6209472741527702</c:v>
                </c:pt>
                <c:pt idx="54">
                  <c:v>0.3771240082606533</c:v>
                </c:pt>
              </c:numCache>
            </c:numRef>
          </c:xVal>
          <c:yVal>
            <c:numRef>
              <c:f>Sheet1!$B$187:$B$241</c:f>
              <c:numCache>
                <c:formatCode>General</c:formatCode>
                <c:ptCount val="55"/>
                <c:pt idx="0">
                  <c:v>0.1307960993877738</c:v>
                </c:pt>
                <c:pt idx="1">
                  <c:v>0.11179629765197004</c:v>
                </c:pt>
                <c:pt idx="2">
                  <c:v>0.1280298478622316</c:v>
                </c:pt>
                <c:pt idx="3">
                  <c:v>0.1330575888083942</c:v>
                </c:pt>
                <c:pt idx="4">
                  <c:v>0.11662402673273727</c:v>
                </c:pt>
                <c:pt idx="5">
                  <c:v>0.12304766056861453</c:v>
                </c:pt>
                <c:pt idx="6">
                  <c:v>0.14074116346084653</c:v>
                </c:pt>
                <c:pt idx="7">
                  <c:v>0.14968471322170995</c:v>
                </c:pt>
                <c:pt idx="8">
                  <c:v>0.1492895743540812</c:v>
                </c:pt>
                <c:pt idx="9">
                  <c:v>0.13201290560809537</c:v>
                </c:pt>
                <c:pt idx="10">
                  <c:v>0.141433736241386</c:v>
                </c:pt>
                <c:pt idx="11">
                  <c:v>0.1276414396336426</c:v>
                </c:pt>
                <c:pt idx="12">
                  <c:v>0.1308753943691296</c:v>
                </c:pt>
                <c:pt idx="13">
                  <c:v>0.13882337526938732</c:v>
                </c:pt>
                <c:pt idx="14">
                  <c:v>0.12354734735260488</c:v>
                </c:pt>
                <c:pt idx="15">
                  <c:v>0.12792268255376438</c:v>
                </c:pt>
                <c:pt idx="16">
                  <c:v>0.13810792220785906</c:v>
                </c:pt>
                <c:pt idx="17">
                  <c:v>0.12943572250387608</c:v>
                </c:pt>
                <c:pt idx="18">
                  <c:v>0.12145719624098057</c:v>
                </c:pt>
                <c:pt idx="19">
                  <c:v>0.11686913313808801</c:v>
                </c:pt>
                <c:pt idx="20">
                  <c:v>0.11127989107472426</c:v>
                </c:pt>
                <c:pt idx="21">
                  <c:v>0.09417848155209123</c:v>
                </c:pt>
                <c:pt idx="22">
                  <c:v>0.08797736053076201</c:v>
                </c:pt>
                <c:pt idx="23">
                  <c:v>0.09128965410654365</c:v>
                </c:pt>
                <c:pt idx="24">
                  <c:v>0.08913450120334955</c:v>
                </c:pt>
                <c:pt idx="25">
                  <c:v>0.09432833257199373</c:v>
                </c:pt>
                <c:pt idx="26">
                  <c:v>0.09698240648657537</c:v>
                </c:pt>
                <c:pt idx="27">
                  <c:v>0.10337586766897001</c:v>
                </c:pt>
                <c:pt idx="28">
                  <c:v>0.09686661836276685</c:v>
                </c:pt>
                <c:pt idx="29">
                  <c:v>0.08928661885673854</c:v>
                </c:pt>
                <c:pt idx="30">
                  <c:v>0.08219918062344554</c:v>
                </c:pt>
                <c:pt idx="31">
                  <c:v>0.09201180192423784</c:v>
                </c:pt>
                <c:pt idx="32">
                  <c:v>0.08497666223006606</c:v>
                </c:pt>
                <c:pt idx="33">
                  <c:v>0.08690551448177464</c:v>
                </c:pt>
                <c:pt idx="34">
                  <c:v>0.09159224862379199</c:v>
                </c:pt>
                <c:pt idx="35">
                  <c:v>0.08424176340493104</c:v>
                </c:pt>
                <c:pt idx="36">
                  <c:v>0.0858963409840894</c:v>
                </c:pt>
                <c:pt idx="37">
                  <c:v>0.0845626353901074</c:v>
                </c:pt>
                <c:pt idx="38">
                  <c:v>0.08970385964376572</c:v>
                </c:pt>
                <c:pt idx="39">
                  <c:v>0.09798619806254931</c:v>
                </c:pt>
                <c:pt idx="40">
                  <c:v>0.10473218936788896</c:v>
                </c:pt>
                <c:pt idx="41">
                  <c:v>0.11372902295720873</c:v>
                </c:pt>
                <c:pt idx="42">
                  <c:v>0.09609992117477024</c:v>
                </c:pt>
                <c:pt idx="43">
                  <c:v>0.10750536517693744</c:v>
                </c:pt>
                <c:pt idx="44">
                  <c:v>0.13058806265480916</c:v>
                </c:pt>
                <c:pt idx="45">
                  <c:v>0.14293544385074125</c:v>
                </c:pt>
                <c:pt idx="46">
                  <c:v>0.14511140120200977</c:v>
                </c:pt>
                <c:pt idx="47">
                  <c:v>0.14464962310126483</c:v>
                </c:pt>
                <c:pt idx="48">
                  <c:v>0.15721775342775074</c:v>
                </c:pt>
                <c:pt idx="49">
                  <c:v>0.1765581899350429</c:v>
                </c:pt>
                <c:pt idx="50">
                  <c:v>0.16251819258452482</c:v>
                </c:pt>
                <c:pt idx="51">
                  <c:v>0.1345284478995732</c:v>
                </c:pt>
                <c:pt idx="52">
                  <c:v>0.15176527123417893</c:v>
                </c:pt>
                <c:pt idx="53">
                  <c:v>0.18587381249139512</c:v>
                </c:pt>
                <c:pt idx="54">
                  <c:v>0.098205424926976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7801418439716"/>
          <c:min val="0.0406153846153846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8.3668</c:v>
                </c:pt>
                <c:pt idx="1">
                  <c:v>806.2707</c:v>
                </c:pt>
                <c:pt idx="2">
                  <c:v>856.1868</c:v>
                </c:pt>
                <c:pt idx="3">
                  <c:v>890.7808</c:v>
                </c:pt>
                <c:pt idx="4">
                  <c:v>887.7035</c:v>
                </c:pt>
                <c:pt idx="5">
                  <c:v>877.0558</c:v>
                </c:pt>
                <c:pt idx="6">
                  <c:v>886.7095</c:v>
                </c:pt>
                <c:pt idx="7">
                  <c:v>900.7802</c:v>
                </c:pt>
                <c:pt idx="8">
                  <c:v>821.5391</c:v>
                </c:pt>
                <c:pt idx="9">
                  <c:v>845.1671</c:v>
                </c:pt>
                <c:pt idx="10">
                  <c:v>842.2954</c:v>
                </c:pt>
                <c:pt idx="11">
                  <c:v>878.692</c:v>
                </c:pt>
                <c:pt idx="12">
                  <c:v>852.3175</c:v>
                </c:pt>
                <c:pt idx="13">
                  <c:v>844.2108</c:v>
                </c:pt>
                <c:pt idx="14">
                  <c:v>838.3114</c:v>
                </c:pt>
                <c:pt idx="15">
                  <c:v>878.5936</c:v>
                </c:pt>
                <c:pt idx="16">
                  <c:v>877.7483</c:v>
                </c:pt>
                <c:pt idx="17">
                  <c:v>875.9291</c:v>
                </c:pt>
                <c:pt idx="18">
                  <c:v>903.2667</c:v>
                </c:pt>
                <c:pt idx="19">
                  <c:v>897.0819</c:v>
                </c:pt>
                <c:pt idx="20">
                  <c:v>873.8444</c:v>
                </c:pt>
                <c:pt idx="21">
                  <c:v>933.0707</c:v>
                </c:pt>
                <c:pt idx="22">
                  <c:v>912.4201</c:v>
                </c:pt>
                <c:pt idx="23">
                  <c:v>880.7368</c:v>
                </c:pt>
                <c:pt idx="24">
                  <c:v>895.06</c:v>
                </c:pt>
                <c:pt idx="25">
                  <c:v>861.3932</c:v>
                </c:pt>
                <c:pt idx="26">
                  <c:v>836.7203</c:v>
                </c:pt>
                <c:pt idx="27">
                  <c:v>889.9597</c:v>
                </c:pt>
                <c:pt idx="28">
                  <c:v>890.068</c:v>
                </c:pt>
                <c:pt idx="29">
                  <c:v>589.494</c:v>
                </c:pt>
                <c:pt idx="30">
                  <c:v>686.075</c:v>
                </c:pt>
                <c:pt idx="31">
                  <c:v>761.3333</c:v>
                </c:pt>
                <c:pt idx="32">
                  <c:v>726.1471</c:v>
                </c:pt>
                <c:pt idx="33">
                  <c:v>489.8244</c:v>
                </c:pt>
                <c:pt idx="34">
                  <c:v>768.972</c:v>
                </c:pt>
                <c:pt idx="35">
                  <c:v>767.1933</c:v>
                </c:pt>
                <c:pt idx="36">
                  <c:v>903.48</c:v>
                </c:pt>
                <c:pt idx="37">
                  <c:v>850.8481</c:v>
                </c:pt>
                <c:pt idx="38">
                  <c:v>935.9178</c:v>
                </c:pt>
                <c:pt idx="39">
                  <c:v>985.7885</c:v>
                </c:pt>
                <c:pt idx="40">
                  <c:v>956.6104</c:v>
                </c:pt>
                <c:pt idx="41">
                  <c:v>960.4444</c:v>
                </c:pt>
                <c:pt idx="42">
                  <c:v>1018.2059</c:v>
                </c:pt>
                <c:pt idx="43">
                  <c:v>939.3083</c:v>
                </c:pt>
                <c:pt idx="44">
                  <c:v>918.4298</c:v>
                </c:pt>
                <c:pt idx="45">
                  <c:v>918.438</c:v>
                </c:pt>
                <c:pt idx="46">
                  <c:v>912.5607</c:v>
                </c:pt>
                <c:pt idx="47">
                  <c:v>891.1901</c:v>
                </c:pt>
                <c:pt idx="48">
                  <c:v>945.0576</c:v>
                </c:pt>
                <c:pt idx="49">
                  <c:v>952.8173</c:v>
                </c:pt>
                <c:pt idx="50">
                  <c:v>912.8365</c:v>
                </c:pt>
                <c:pt idx="51">
                  <c:v>893.4144</c:v>
                </c:pt>
                <c:pt idx="52">
                  <c:v>943.51</c:v>
                </c:pt>
                <c:pt idx="53">
                  <c:v>1000.3636</c:v>
                </c:pt>
                <c:pt idx="54">
                  <c:v>1007.9103</c:v>
                </c:pt>
                <c:pt idx="55">
                  <c:v>1011.5164</c:v>
                </c:pt>
                <c:pt idx="56">
                  <c:v>1021.8455</c:v>
                </c:pt>
                <c:pt idx="57">
                  <c:v>1029.3951</c:v>
                </c:pt>
                <c:pt idx="58">
                  <c:v>1051.0295</c:v>
                </c:pt>
                <c:pt idx="59">
                  <c:v>975.6205</c:v>
                </c:pt>
                <c:pt idx="60">
                  <c:v>1003.0098</c:v>
                </c:pt>
                <c:pt idx="61">
                  <c:v>1049.5602</c:v>
                </c:pt>
                <c:pt idx="62">
                  <c:v>978.8098</c:v>
                </c:pt>
                <c:pt idx="63">
                  <c:v>1032.9866</c:v>
                </c:pt>
                <c:pt idx="64">
                  <c:v>1033.8325</c:v>
                </c:pt>
                <c:pt idx="65">
                  <c:v>989.4584</c:v>
                </c:pt>
                <c:pt idx="66">
                  <c:v>980.8277</c:v>
                </c:pt>
                <c:pt idx="67">
                  <c:v>1008.8272</c:v>
                </c:pt>
                <c:pt idx="68">
                  <c:v>967.5311</c:v>
                </c:pt>
                <c:pt idx="69">
                  <c:v>938.5949</c:v>
                </c:pt>
                <c:pt idx="70">
                  <c:v>933.1295</c:v>
                </c:pt>
                <c:pt idx="71">
                  <c:v>992.557</c:v>
                </c:pt>
                <c:pt idx="72">
                  <c:v>1025.3353</c:v>
                </c:pt>
                <c:pt idx="73">
                  <c:v>1179.76</c:v>
                </c:pt>
                <c:pt idx="74">
                  <c:v>1132.3065</c:v>
                </c:pt>
                <c:pt idx="75">
                  <c:v>1065.8901</c:v>
                </c:pt>
                <c:pt idx="76">
                  <c:v>1120.2222</c:v>
                </c:pt>
                <c:pt idx="77">
                  <c:v>1144.6866</c:v>
                </c:pt>
                <c:pt idx="78">
                  <c:v>1078.6567</c:v>
                </c:pt>
                <c:pt idx="79">
                  <c:v>1110.4333</c:v>
                </c:pt>
                <c:pt idx="80">
                  <c:v>1091.7222</c:v>
                </c:pt>
                <c:pt idx="81">
                  <c:v>957.5125</c:v>
                </c:pt>
                <c:pt idx="82">
                  <c:v>918.7069</c:v>
                </c:pt>
                <c:pt idx="83">
                  <c:v>984.9048</c:v>
                </c:pt>
                <c:pt idx="84">
                  <c:v>994.6818</c:v>
                </c:pt>
                <c:pt idx="85">
                  <c:v>1035.7759</c:v>
                </c:pt>
                <c:pt idx="86">
                  <c:v>1069.8814</c:v>
                </c:pt>
                <c:pt idx="87">
                  <c:v>1054.5753</c:v>
                </c:pt>
                <c:pt idx="88">
                  <c:v>973.5686</c:v>
                </c:pt>
                <c:pt idx="89">
                  <c:v>1025.4848</c:v>
                </c:pt>
                <c:pt idx="90">
                  <c:v>1112.9722</c:v>
                </c:pt>
                <c:pt idx="91">
                  <c:v>1106.2308</c:v>
                </c:pt>
                <c:pt idx="92">
                  <c:v>948.3521</c:v>
                </c:pt>
                <c:pt idx="93">
                  <c:v>1033.8088</c:v>
                </c:pt>
                <c:pt idx="94">
                  <c:v>1080.4783</c:v>
                </c:pt>
                <c:pt idx="95">
                  <c:v>1044.1809</c:v>
                </c:pt>
                <c:pt idx="96">
                  <c:v>1017.7035</c:v>
                </c:pt>
                <c:pt idx="97">
                  <c:v>1023.7487</c:v>
                </c:pt>
                <c:pt idx="98">
                  <c:v>1051.4133</c:v>
                </c:pt>
                <c:pt idx="99">
                  <c:v>991.1931</c:v>
                </c:pt>
                <c:pt idx="100">
                  <c:v>984.6829</c:v>
                </c:pt>
                <c:pt idx="101">
                  <c:v>1023.1926</c:v>
                </c:pt>
                <c:pt idx="102">
                  <c:v>1015.8021</c:v>
                </c:pt>
                <c:pt idx="103">
                  <c:v>1002.0234</c:v>
                </c:pt>
                <c:pt idx="104">
                  <c:v>1042.2641</c:v>
                </c:pt>
              </c:numCache>
            </c:numRef>
          </c:xVal>
          <c:yVal>
            <c:numRef>
              <c:f>Sheet1!$B$2:$B$106</c:f>
              <c:numCache>
                <c:formatCode>General</c:formatCode>
                <c:ptCount val="105"/>
                <c:pt idx="0">
                  <c:v>0.22297955209347614</c:v>
                </c:pt>
                <c:pt idx="1">
                  <c:v>0.20850884582982307</c:v>
                </c:pt>
                <c:pt idx="2">
                  <c:v>0.16288024643819793</c:v>
                </c:pt>
                <c:pt idx="3">
                  <c:v>0.15108892921960074</c:v>
                </c:pt>
                <c:pt idx="4">
                  <c:v>0.12336244541484716</c:v>
                </c:pt>
                <c:pt idx="5">
                  <c:v>0.12053802379720642</c:v>
                </c:pt>
                <c:pt idx="6">
                  <c:v>0.11948438274665345</c:v>
                </c:pt>
                <c:pt idx="7">
                  <c:v>0.09774436090225563</c:v>
                </c:pt>
                <c:pt idx="8">
                  <c:v>0.13726541554959787</c:v>
                </c:pt>
                <c:pt idx="9">
                  <c:v>0.17348678601875533</c:v>
                </c:pt>
                <c:pt idx="10">
                  <c:v>0.1830929487179487</c:v>
                </c:pt>
                <c:pt idx="11">
                  <c:v>0.18872017353579176</c:v>
                </c:pt>
                <c:pt idx="12">
                  <c:v>0.1778225806451613</c:v>
                </c:pt>
                <c:pt idx="13">
                  <c:v>0.21137521222410866</c:v>
                </c:pt>
                <c:pt idx="14">
                  <c:v>0.19607843137254902</c:v>
                </c:pt>
                <c:pt idx="15">
                  <c:v>0.19849100406268136</c:v>
                </c:pt>
                <c:pt idx="16">
                  <c:v>0.19442556084296397</c:v>
                </c:pt>
                <c:pt idx="17">
                  <c:v>0.1896938013442868</c:v>
                </c:pt>
                <c:pt idx="18">
                  <c:v>0.1559792027729636</c:v>
                </c:pt>
                <c:pt idx="19">
                  <c:v>0.16797642436149313</c:v>
                </c:pt>
                <c:pt idx="20">
                  <c:v>0.20109546165884193</c:v>
                </c:pt>
                <c:pt idx="21">
                  <c:v>0.1781219748305905</c:v>
                </c:pt>
                <c:pt idx="22">
                  <c:v>0.17640918580375783</c:v>
                </c:pt>
                <c:pt idx="23">
                  <c:v>0.15702479338842976</c:v>
                </c:pt>
                <c:pt idx="24">
                  <c:v>0.16233766233766234</c:v>
                </c:pt>
                <c:pt idx="25">
                  <c:v>0.15558510638297873</c:v>
                </c:pt>
                <c:pt idx="26">
                  <c:v>0.15967523680649526</c:v>
                </c:pt>
                <c:pt idx="27">
                  <c:v>0.16711590296495957</c:v>
                </c:pt>
                <c:pt idx="28">
                  <c:v>0.14425770308123248</c:v>
                </c:pt>
                <c:pt idx="29">
                  <c:v>0.22281879194630871</c:v>
                </c:pt>
                <c:pt idx="30">
                  <c:v>0.14571948998178508</c:v>
                </c:pt>
                <c:pt idx="31">
                  <c:v>0.1352253756260434</c:v>
                </c:pt>
                <c:pt idx="32">
                  <c:v>0.16139240506329114</c:v>
                </c:pt>
                <c:pt idx="33">
                  <c:v>0.24231678486997635</c:v>
                </c:pt>
                <c:pt idx="34">
                  <c:v>0.1436241610738255</c:v>
                </c:pt>
                <c:pt idx="35">
                  <c:v>0.15006305170239598</c:v>
                </c:pt>
                <c:pt idx="36">
                  <c:v>0.09868421052631579</c:v>
                </c:pt>
                <c:pt idx="37">
                  <c:v>0.10273081924577374</c:v>
                </c:pt>
                <c:pt idx="38">
                  <c:v>0.09136420525657071</c:v>
                </c:pt>
                <c:pt idx="39">
                  <c:v>0.07658321060382917</c:v>
                </c:pt>
                <c:pt idx="40">
                  <c:v>0.09322033898305085</c:v>
                </c:pt>
                <c:pt idx="41">
                  <c:v>0.07682926829268293</c:v>
                </c:pt>
                <c:pt idx="42">
                  <c:v>0.0776255707762557</c:v>
                </c:pt>
                <c:pt idx="43">
                  <c:v>0.0990916597853014</c:v>
                </c:pt>
                <c:pt idx="44">
                  <c:v>0.11746522411128284</c:v>
                </c:pt>
                <c:pt idx="45">
                  <c:v>0.13217559093101786</c:v>
                </c:pt>
                <c:pt idx="46">
                  <c:v>0.1303873431533006</c:v>
                </c:pt>
                <c:pt idx="47">
                  <c:v>0.13873961895456766</c:v>
                </c:pt>
                <c:pt idx="48">
                  <c:v>0.15789473684210525</c:v>
                </c:pt>
                <c:pt idx="49">
                  <c:v>0.193248683803035</c:v>
                </c:pt>
                <c:pt idx="50">
                  <c:v>0.15050651230101303</c:v>
                </c:pt>
                <c:pt idx="51">
                  <c:v>0.1488398415393322</c:v>
                </c:pt>
                <c:pt idx="52">
                  <c:v>0.15442146942366916</c:v>
                </c:pt>
                <c:pt idx="53">
                  <c:v>0.12809315866084425</c:v>
                </c:pt>
                <c:pt idx="54">
                  <c:v>0.12080173347778982</c:v>
                </c:pt>
                <c:pt idx="55">
                  <c:v>0.11979752530933634</c:v>
                </c:pt>
                <c:pt idx="56">
                  <c:v>0.12805830296720458</c:v>
                </c:pt>
                <c:pt idx="57">
                  <c:v>0.11702127659574468</c:v>
                </c:pt>
                <c:pt idx="58">
                  <c:v>0.12620997766195086</c:v>
                </c:pt>
                <c:pt idx="59">
                  <c:v>0.15569534935969445</c:v>
                </c:pt>
                <c:pt idx="60">
                  <c:v>0.16607773851590105</c:v>
                </c:pt>
                <c:pt idx="61">
                  <c:v>0.1532379518072289</c:v>
                </c:pt>
                <c:pt idx="62">
                  <c:v>0.197895588830433</c:v>
                </c:pt>
                <c:pt idx="63">
                  <c:v>0.21658819268381022</c:v>
                </c:pt>
                <c:pt idx="64">
                  <c:v>0.23223501389440254</c:v>
                </c:pt>
                <c:pt idx="65">
                  <c:v>0.1971416561580496</c:v>
                </c:pt>
                <c:pt idx="66">
                  <c:v>0.1673219746614242</c:v>
                </c:pt>
                <c:pt idx="67">
                  <c:v>0.1509785647716682</c:v>
                </c:pt>
                <c:pt idx="68">
                  <c:v>0.15076618882847256</c:v>
                </c:pt>
                <c:pt idx="69">
                  <c:v>0.13319672131147542</c:v>
                </c:pt>
                <c:pt idx="70">
                  <c:v>0.12387676508344031</c:v>
                </c:pt>
                <c:pt idx="71">
                  <c:v>0.10934256055363321</c:v>
                </c:pt>
                <c:pt idx="72">
                  <c:v>0.1259259259259259</c:v>
                </c:pt>
                <c:pt idx="73">
                  <c:v>0.10032102728731943</c:v>
                </c:pt>
                <c:pt idx="74">
                  <c:v>0.09553158705701079</c:v>
                </c:pt>
                <c:pt idx="75">
                  <c:v>0.09691160809371673</c:v>
                </c:pt>
                <c:pt idx="76">
                  <c:v>0.09125475285171103</c:v>
                </c:pt>
                <c:pt idx="77">
                  <c:v>0.08271604938271605</c:v>
                </c:pt>
                <c:pt idx="78">
                  <c:v>0.09066305818673884</c:v>
                </c:pt>
                <c:pt idx="79">
                  <c:v>0.08344923504867872</c:v>
                </c:pt>
                <c:pt idx="80">
                  <c:v>0.07627118644067797</c:v>
                </c:pt>
                <c:pt idx="81">
                  <c:v>0.09101251422070535</c:v>
                </c:pt>
                <c:pt idx="82">
                  <c:v>0.08180535966149506</c:v>
                </c:pt>
                <c:pt idx="83">
                  <c:v>0.07106598984771574</c:v>
                </c:pt>
                <c:pt idx="84">
                  <c:v>0.07521367521367521</c:v>
                </c:pt>
                <c:pt idx="85">
                  <c:v>0.08203677510608204</c:v>
                </c:pt>
                <c:pt idx="86">
                  <c:v>0.0689252336448598</c:v>
                </c:pt>
                <c:pt idx="87">
                  <c:v>0.09159347553324969</c:v>
                </c:pt>
                <c:pt idx="88">
                  <c:v>0.0781010719754977</c:v>
                </c:pt>
                <c:pt idx="89">
                  <c:v>0.05076923076923077</c:v>
                </c:pt>
                <c:pt idx="90">
                  <c:v>0.06020066889632107</c:v>
                </c:pt>
                <c:pt idx="91">
                  <c:v>0.05743740795287187</c:v>
                </c:pt>
                <c:pt idx="92">
                  <c:v>0.07734204793028322</c:v>
                </c:pt>
                <c:pt idx="93">
                  <c:v>0.07456140350877193</c:v>
                </c:pt>
                <c:pt idx="94">
                  <c:v>0.07266982622432859</c:v>
                </c:pt>
                <c:pt idx="95">
                  <c:v>0.08818011257035648</c:v>
                </c:pt>
                <c:pt idx="96">
                  <c:v>0.10141509433962265</c:v>
                </c:pt>
                <c:pt idx="97">
                  <c:v>0.11164179104477612</c:v>
                </c:pt>
                <c:pt idx="98">
                  <c:v>0.11817226890756302</c:v>
                </c:pt>
                <c:pt idx="99">
                  <c:v>0.1371208885091841</c:v>
                </c:pt>
                <c:pt idx="100">
                  <c:v>0.16321656050955413</c:v>
                </c:pt>
                <c:pt idx="101">
                  <c:v>0.13553113553113552</c:v>
                </c:pt>
                <c:pt idx="102">
                  <c:v>0.1098062243100411</c:v>
                </c:pt>
                <c:pt idx="103">
                  <c:v>0.11425520555258943</c:v>
                </c:pt>
                <c:pt idx="104">
                  <c:v>0.130656108597285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44.1551</c:v>
                </c:pt>
                <c:pt idx="1">
                  <c:v>1001.0883</c:v>
                </c:pt>
                <c:pt idx="2">
                  <c:v>1044.8219</c:v>
                </c:pt>
                <c:pt idx="3">
                  <c:v>1028.9588</c:v>
                </c:pt>
                <c:pt idx="4">
                  <c:v>1015.6548</c:v>
                </c:pt>
                <c:pt idx="5">
                  <c:v>1018.7877</c:v>
                </c:pt>
                <c:pt idx="6">
                  <c:v>959.2603</c:v>
                </c:pt>
                <c:pt idx="7">
                  <c:v>1070.7303</c:v>
                </c:pt>
                <c:pt idx="8">
                  <c:v>1111.0764</c:v>
                </c:pt>
                <c:pt idx="9">
                  <c:v>1056.8288</c:v>
                </c:pt>
                <c:pt idx="10">
                  <c:v>1073.8947</c:v>
                </c:pt>
                <c:pt idx="11">
                  <c:v>898.6563</c:v>
                </c:pt>
                <c:pt idx="12">
                  <c:v>919.8421</c:v>
                </c:pt>
                <c:pt idx="13">
                  <c:v>1047.4928</c:v>
                </c:pt>
                <c:pt idx="14">
                  <c:v>1071.2736</c:v>
                </c:pt>
                <c:pt idx="15">
                  <c:v>1096.959</c:v>
                </c:pt>
                <c:pt idx="16">
                  <c:v>1140.199</c:v>
                </c:pt>
                <c:pt idx="17">
                  <c:v>1140.6918</c:v>
                </c:pt>
                <c:pt idx="18">
                  <c:v>1126.4059</c:v>
                </c:pt>
                <c:pt idx="19">
                  <c:v>1109.2821</c:v>
                </c:pt>
                <c:pt idx="20">
                  <c:v>1106.2389</c:v>
                </c:pt>
                <c:pt idx="21">
                  <c:v>994.1591</c:v>
                </c:pt>
                <c:pt idx="22">
                  <c:v>966.648</c:v>
                </c:pt>
                <c:pt idx="23">
                  <c:v>965.0874</c:v>
                </c:pt>
                <c:pt idx="24">
                  <c:v>981.7386</c:v>
                </c:pt>
                <c:pt idx="25">
                  <c:v>969.2208</c:v>
                </c:pt>
                <c:pt idx="26">
                  <c:v>1036.8209</c:v>
                </c:pt>
                <c:pt idx="27">
                  <c:v>1078.7536</c:v>
                </c:pt>
                <c:pt idx="28">
                  <c:v>1041.175</c:v>
                </c:pt>
                <c:pt idx="29">
                  <c:v>1023.7636</c:v>
                </c:pt>
                <c:pt idx="30">
                  <c:v>991.9057</c:v>
                </c:pt>
                <c:pt idx="31">
                  <c:v>1061.4872</c:v>
                </c:pt>
                <c:pt idx="32">
                  <c:v>1007.22</c:v>
                </c:pt>
                <c:pt idx="33">
                  <c:v>1069.3115</c:v>
                </c:pt>
                <c:pt idx="34">
                  <c:v>1067.6867</c:v>
                </c:pt>
                <c:pt idx="35">
                  <c:v>1026.8824</c:v>
                </c:pt>
                <c:pt idx="36">
                  <c:v>1089.9259</c:v>
                </c:pt>
                <c:pt idx="37">
                  <c:v>1041.6471</c:v>
                </c:pt>
                <c:pt idx="38">
                  <c:v>1086.0</c:v>
                </c:pt>
                <c:pt idx="39">
                  <c:v>1057.0652</c:v>
                </c:pt>
                <c:pt idx="40">
                  <c:v>1108.1639</c:v>
                </c:pt>
                <c:pt idx="41">
                  <c:v>1166.6078</c:v>
                </c:pt>
                <c:pt idx="42">
                  <c:v>1103.6964</c:v>
                </c:pt>
                <c:pt idx="43">
                  <c:v>1086.7692</c:v>
                </c:pt>
                <c:pt idx="44">
                  <c:v>1060.1681</c:v>
                </c:pt>
                <c:pt idx="45">
                  <c:v>1055.9886</c:v>
                </c:pt>
                <c:pt idx="46">
                  <c:v>1125.5583</c:v>
                </c:pt>
                <c:pt idx="47">
                  <c:v>1062.561</c:v>
                </c:pt>
                <c:pt idx="48">
                  <c:v>1063.8017</c:v>
                </c:pt>
                <c:pt idx="49">
                  <c:v>1092.2318</c:v>
                </c:pt>
                <c:pt idx="50">
                  <c:v>949.0083</c:v>
                </c:pt>
                <c:pt idx="51">
                  <c:v>904.1019</c:v>
                </c:pt>
              </c:numCache>
            </c:numRef>
          </c:xVal>
          <c:yVal>
            <c:numRef>
              <c:f>Sheet1!$B$109:$B$160</c:f>
              <c:numCache>
                <c:formatCode>General</c:formatCode>
                <c:ptCount val="52"/>
                <c:pt idx="0">
                  <c:v>0.13617977528089886</c:v>
                </c:pt>
                <c:pt idx="1">
                  <c:v>0.14101423487544484</c:v>
                </c:pt>
                <c:pt idx="2">
                  <c:v>0.14965149651496515</c:v>
                </c:pt>
                <c:pt idx="3">
                  <c:v>0.16653963414634146</c:v>
                </c:pt>
                <c:pt idx="4">
                  <c:v>0.15361952861952863</c:v>
                </c:pt>
                <c:pt idx="5">
                  <c:v>0.16003576218149307</c:v>
                </c:pt>
                <c:pt idx="6">
                  <c:v>0.16061606160616063</c:v>
                </c:pt>
                <c:pt idx="7">
                  <c:v>0.1457073760580411</c:v>
                </c:pt>
                <c:pt idx="8">
                  <c:v>0.15252357182473655</c:v>
                </c:pt>
                <c:pt idx="9">
                  <c:v>0.17554032683183976</c:v>
                </c:pt>
                <c:pt idx="10">
                  <c:v>0.1792452830188679</c:v>
                </c:pt>
                <c:pt idx="11">
                  <c:v>0.2090946000812018</c:v>
                </c:pt>
                <c:pt idx="12">
                  <c:v>0.19308943089430894</c:v>
                </c:pt>
                <c:pt idx="13">
                  <c:v>0.16491395793499045</c:v>
                </c:pt>
                <c:pt idx="14">
                  <c:v>0.16017316017316016</c:v>
                </c:pt>
                <c:pt idx="15">
                  <c:v>0.1550925925925926</c:v>
                </c:pt>
                <c:pt idx="16">
                  <c:v>0.13444816053511705</c:v>
                </c:pt>
                <c:pt idx="17">
                  <c:v>0.11397345823575332</c:v>
                </c:pt>
                <c:pt idx="18">
                  <c:v>0.11503416856492027</c:v>
                </c:pt>
                <c:pt idx="19">
                  <c:v>0.11987704918032786</c:v>
                </c:pt>
                <c:pt idx="20">
                  <c:v>0.11243781094527364</c:v>
                </c:pt>
                <c:pt idx="21">
                  <c:v>0.13678756476683937</c:v>
                </c:pt>
                <c:pt idx="22">
                  <c:v>0.13007284079084286</c:v>
                </c:pt>
                <c:pt idx="23">
                  <c:v>0.11907514450867052</c:v>
                </c:pt>
                <c:pt idx="24">
                  <c:v>0.1056422569027611</c:v>
                </c:pt>
                <c:pt idx="25">
                  <c:v>0.10349462365591398</c:v>
                </c:pt>
                <c:pt idx="26">
                  <c:v>0.07596371882086168</c:v>
                </c:pt>
                <c:pt idx="27">
                  <c:v>0.08508014796547472</c:v>
                </c:pt>
                <c:pt idx="28">
                  <c:v>0.09101251422070535</c:v>
                </c:pt>
                <c:pt idx="29">
                  <c:v>0.07096774193548387</c:v>
                </c:pt>
                <c:pt idx="30">
                  <c:v>0.08141321044546851</c:v>
                </c:pt>
                <c:pt idx="31">
                  <c:v>0.07587548638132295</c:v>
                </c:pt>
                <c:pt idx="32">
                  <c:v>0.07418397626112759</c:v>
                </c:pt>
                <c:pt idx="33">
                  <c:v>0.08187919463087248</c:v>
                </c:pt>
                <c:pt idx="34">
                  <c:v>0.09684947491248541</c:v>
                </c:pt>
                <c:pt idx="35">
                  <c:v>0.07112970711297072</c:v>
                </c:pt>
                <c:pt idx="36">
                  <c:v>0.057203389830508475</c:v>
                </c:pt>
                <c:pt idx="37">
                  <c:v>0.06307977736549165</c:v>
                </c:pt>
                <c:pt idx="38">
                  <c:v>0.06695464362850972</c:v>
                </c:pt>
                <c:pt idx="39">
                  <c:v>0.06715328467153285</c:v>
                </c:pt>
                <c:pt idx="40">
                  <c:v>0.06275720164609054</c:v>
                </c:pt>
                <c:pt idx="41">
                  <c:v>0.058959537572254334</c:v>
                </c:pt>
                <c:pt idx="42">
                  <c:v>0.0761904761904762</c:v>
                </c:pt>
                <c:pt idx="43">
                  <c:v>0.07824591573516768</c:v>
                </c:pt>
                <c:pt idx="44">
                  <c:v>0.08432835820895522</c:v>
                </c:pt>
                <c:pt idx="45">
                  <c:v>0.09503239740820735</c:v>
                </c:pt>
                <c:pt idx="46">
                  <c:v>0.07787151200519143</c:v>
                </c:pt>
                <c:pt idx="47">
                  <c:v>0.0972139893301719</c:v>
                </c:pt>
                <c:pt idx="48">
                  <c:v>0.10589812332439678</c:v>
                </c:pt>
                <c:pt idx="49">
                  <c:v>0.12527091460771564</c:v>
                </c:pt>
                <c:pt idx="50">
                  <c:v>0.1879854997410668</c:v>
                </c:pt>
                <c:pt idx="51">
                  <c:v>0.1597633136094674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8.7744218472011</c:v>
                </c:pt>
              </c:numCache>
            </c:numRef>
          </c:xVal>
          <c:yVal>
            <c:numRef>
              <c:f>Sheet1!$B$163:$B$164</c:f>
              <c:numCache>
                <c:formatCode>General</c:formatCode>
                <c:ptCount val="2"/>
                <c:pt idx="0">
                  <c:v>0.18587381249139506</c:v>
                </c:pt>
                <c:pt idx="1">
                  <c:v>0.1858738124913950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8.7744218472011</c:v>
                </c:pt>
                <c:pt idx="1">
                  <c:v>808.7744218472011</c:v>
                </c:pt>
              </c:numCache>
            </c:numRef>
          </c:xVal>
          <c:yVal>
            <c:numRef>
              <c:f>Sheet1!$B$167:$B$168</c:f>
              <c:numCache>
                <c:formatCode>General</c:formatCode>
                <c:ptCount val="2"/>
                <c:pt idx="0">
                  <c:v>0.18587381249139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5.7845422865361</c:v>
                </c:pt>
              </c:numCache>
            </c:numRef>
          </c:xVal>
          <c:yVal>
            <c:numRef>
              <c:f>Sheet1!$B$171:$B$172</c:f>
              <c:numCache>
                <c:formatCode>General</c:formatCode>
                <c:ptCount val="2"/>
                <c:pt idx="0">
                  <c:v>0.15176527123417893</c:v>
                </c:pt>
                <c:pt idx="1">
                  <c:v>0.151765271234178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5.7845422865361</c:v>
                </c:pt>
                <c:pt idx="1">
                  <c:v>925.7845422865361</c:v>
                </c:pt>
              </c:numCache>
            </c:numRef>
          </c:xVal>
          <c:yVal>
            <c:numRef>
              <c:f>Sheet1!$B$175:$B$176</c:f>
              <c:numCache>
                <c:formatCode>General</c:formatCode>
                <c:ptCount val="2"/>
                <c:pt idx="0">
                  <c:v>0.151765271234178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09.5228036169633</c:v>
                </c:pt>
              </c:numCache>
            </c:numRef>
          </c:xVal>
          <c:yVal>
            <c:numRef>
              <c:f>Sheet1!$B$179:$B$180</c:f>
              <c:numCache>
                <c:formatCode>General</c:formatCode>
                <c:ptCount val="2"/>
                <c:pt idx="0">
                  <c:v>0.09820542492697647</c:v>
                </c:pt>
                <c:pt idx="1">
                  <c:v>0.098205424926976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09.5228036169633</c:v>
                </c:pt>
                <c:pt idx="1">
                  <c:v>1109.5228036169633</c:v>
                </c:pt>
              </c:numCache>
            </c:numRef>
          </c:xVal>
          <c:yVal>
            <c:numRef>
              <c:f>Sheet1!$B$183:$B$184</c:f>
              <c:numCache>
                <c:formatCode>General</c:formatCode>
                <c:ptCount val="2"/>
                <c:pt idx="0">
                  <c:v>0.098205424926976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44.1551</c:v>
                </c:pt>
                <c:pt idx="1">
                  <c:v>1001.0883</c:v>
                </c:pt>
                <c:pt idx="2">
                  <c:v>1044.8219</c:v>
                </c:pt>
                <c:pt idx="3">
                  <c:v>1028.9588</c:v>
                </c:pt>
                <c:pt idx="4">
                  <c:v>1015.6548</c:v>
                </c:pt>
                <c:pt idx="5">
                  <c:v>1018.7877</c:v>
                </c:pt>
                <c:pt idx="6">
                  <c:v>959.2603</c:v>
                </c:pt>
                <c:pt idx="7">
                  <c:v>1070.7303</c:v>
                </c:pt>
                <c:pt idx="8">
                  <c:v>1111.0764</c:v>
                </c:pt>
                <c:pt idx="9">
                  <c:v>1056.8288</c:v>
                </c:pt>
                <c:pt idx="10">
                  <c:v>1073.8947</c:v>
                </c:pt>
                <c:pt idx="11">
                  <c:v>898.6563</c:v>
                </c:pt>
                <c:pt idx="12">
                  <c:v>919.8421</c:v>
                </c:pt>
                <c:pt idx="13">
                  <c:v>1047.4928</c:v>
                </c:pt>
                <c:pt idx="14">
                  <c:v>1071.2736</c:v>
                </c:pt>
                <c:pt idx="15">
                  <c:v>1096.959</c:v>
                </c:pt>
                <c:pt idx="16">
                  <c:v>1140.199</c:v>
                </c:pt>
                <c:pt idx="17">
                  <c:v>1140.6918</c:v>
                </c:pt>
                <c:pt idx="18">
                  <c:v>1126.4059</c:v>
                </c:pt>
                <c:pt idx="19">
                  <c:v>1109.2821</c:v>
                </c:pt>
                <c:pt idx="20">
                  <c:v>1106.2389</c:v>
                </c:pt>
                <c:pt idx="21">
                  <c:v>994.1591</c:v>
                </c:pt>
                <c:pt idx="22">
                  <c:v>966.648</c:v>
                </c:pt>
                <c:pt idx="23">
                  <c:v>965.0874</c:v>
                </c:pt>
                <c:pt idx="24">
                  <c:v>981.7386</c:v>
                </c:pt>
                <c:pt idx="25">
                  <c:v>969.2208</c:v>
                </c:pt>
                <c:pt idx="26">
                  <c:v>1036.8209</c:v>
                </c:pt>
                <c:pt idx="27">
                  <c:v>1078.7536</c:v>
                </c:pt>
                <c:pt idx="28">
                  <c:v>1041.175</c:v>
                </c:pt>
                <c:pt idx="29">
                  <c:v>1023.7636</c:v>
                </c:pt>
                <c:pt idx="30">
                  <c:v>991.9057</c:v>
                </c:pt>
                <c:pt idx="31">
                  <c:v>1061.4872</c:v>
                </c:pt>
                <c:pt idx="32">
                  <c:v>1007.22</c:v>
                </c:pt>
                <c:pt idx="33">
                  <c:v>1069.3115</c:v>
                </c:pt>
                <c:pt idx="34">
                  <c:v>1067.6867</c:v>
                </c:pt>
                <c:pt idx="35">
                  <c:v>1026.8824</c:v>
                </c:pt>
                <c:pt idx="36">
                  <c:v>1089.9259</c:v>
                </c:pt>
                <c:pt idx="37">
                  <c:v>1041.6471</c:v>
                </c:pt>
                <c:pt idx="38">
                  <c:v>1086.0</c:v>
                </c:pt>
                <c:pt idx="39">
                  <c:v>1057.0652</c:v>
                </c:pt>
                <c:pt idx="40">
                  <c:v>1108.1639</c:v>
                </c:pt>
                <c:pt idx="41">
                  <c:v>1166.6078</c:v>
                </c:pt>
                <c:pt idx="42">
                  <c:v>1103.6964</c:v>
                </c:pt>
                <c:pt idx="43">
                  <c:v>1086.7692</c:v>
                </c:pt>
                <c:pt idx="44">
                  <c:v>1060.1681</c:v>
                </c:pt>
                <c:pt idx="45">
                  <c:v>1055.9886</c:v>
                </c:pt>
                <c:pt idx="46">
                  <c:v>1125.5583</c:v>
                </c:pt>
                <c:pt idx="47">
                  <c:v>1062.561</c:v>
                </c:pt>
                <c:pt idx="48">
                  <c:v>1063.8017</c:v>
                </c:pt>
                <c:pt idx="49">
                  <c:v>1092.2318</c:v>
                </c:pt>
                <c:pt idx="50">
                  <c:v>949.0083</c:v>
                </c:pt>
                <c:pt idx="51">
                  <c:v>904.1019</c:v>
                </c:pt>
                <c:pt idx="52">
                  <c:v>925.7845422865361</c:v>
                </c:pt>
                <c:pt idx="53">
                  <c:v>808.7744218472011</c:v>
                </c:pt>
                <c:pt idx="54">
                  <c:v>1109.5228036169633</c:v>
                </c:pt>
              </c:numCache>
            </c:numRef>
          </c:xVal>
          <c:yVal>
            <c:numRef>
              <c:f>Sheet1!$B$187:$B$241</c:f>
              <c:numCache>
                <c:formatCode>General</c:formatCode>
                <c:ptCount val="55"/>
                <c:pt idx="0">
                  <c:v>0.1172601614517938</c:v>
                </c:pt>
                <c:pt idx="1">
                  <c:v>0.1298141672001928</c:v>
                </c:pt>
                <c:pt idx="2">
                  <c:v>0.11706578873236645</c:v>
                </c:pt>
                <c:pt idx="3">
                  <c:v>0.12168989473948627</c:v>
                </c:pt>
                <c:pt idx="4">
                  <c:v>0.1255680211031051</c:v>
                </c:pt>
                <c:pt idx="5">
                  <c:v>0.12465477831262245</c:v>
                </c:pt>
                <c:pt idx="6">
                  <c:v>0.14200706178358496</c:v>
                </c:pt>
                <c:pt idx="7">
                  <c:v>0.10951346995010675</c:v>
                </c:pt>
                <c:pt idx="8">
                  <c:v>0.0977525503710927</c:v>
                </c:pt>
                <c:pt idx="9">
                  <c:v>0.11356576802916923</c:v>
                </c:pt>
                <c:pt idx="10">
                  <c:v>0.10859104488508603</c:v>
                </c:pt>
                <c:pt idx="11">
                  <c:v>0.15967317499320294</c:v>
                </c:pt>
                <c:pt idx="12">
                  <c:v>0.15349749778977873</c:v>
                </c:pt>
                <c:pt idx="13">
                  <c:v>0.11628721930177494</c:v>
                </c:pt>
                <c:pt idx="14">
                  <c:v>0.10935509757688411</c:v>
                </c:pt>
                <c:pt idx="15">
                  <c:v>0.10186778346833808</c:v>
                </c:pt>
                <c:pt idx="16">
                  <c:v>0.0892632897850188</c:v>
                </c:pt>
                <c:pt idx="17">
                  <c:v>0.08911963820113494</c:v>
                </c:pt>
                <c:pt idx="18">
                  <c:v>0.09328398917963937</c:v>
                </c:pt>
                <c:pt idx="19">
                  <c:v>0.09827559021882581</c:v>
                </c:pt>
                <c:pt idx="20">
                  <c:v>0.09916268538943351</c:v>
                </c:pt>
                <c:pt idx="21">
                  <c:v>0.13183403439793695</c:v>
                </c:pt>
                <c:pt idx="22">
                  <c:v>0.13985354147867618</c:v>
                </c:pt>
                <c:pt idx="23">
                  <c:v>0.14030845759436045</c:v>
                </c:pt>
                <c:pt idx="24">
                  <c:v>0.13545461982332235</c:v>
                </c:pt>
                <c:pt idx="25">
                  <c:v>0.13910356827450304</c:v>
                </c:pt>
                <c:pt idx="26">
                  <c:v>0.11939808646502692</c:v>
                </c:pt>
                <c:pt idx="27">
                  <c:v>0.10717467175007495</c:v>
                </c:pt>
                <c:pt idx="28">
                  <c:v>0.11812886292324754</c:v>
                </c:pt>
                <c:pt idx="29">
                  <c:v>0.12320429958647011</c:v>
                </c:pt>
                <c:pt idx="30">
                  <c:v>0.13249090225330212</c:v>
                </c:pt>
                <c:pt idx="31">
                  <c:v>0.11220784080034468</c:v>
                </c:pt>
                <c:pt idx="32">
                  <c:v>0.12802677187368933</c:v>
                </c:pt>
                <c:pt idx="33">
                  <c:v>0.10992705125533092</c:v>
                </c:pt>
                <c:pt idx="34">
                  <c:v>0.11040068172102607</c:v>
                </c:pt>
                <c:pt idx="35">
                  <c:v>0.12229516695697112</c:v>
                </c:pt>
                <c:pt idx="36">
                  <c:v>0.10391793759701878</c:v>
                </c:pt>
                <c:pt idx="37">
                  <c:v>0.11799124540548861</c:v>
                </c:pt>
                <c:pt idx="38">
                  <c:v>0.10506234050523672</c:v>
                </c:pt>
                <c:pt idx="39">
                  <c:v>0.11349685724501718</c:v>
                </c:pt>
                <c:pt idx="40">
                  <c:v>0.09860154638988705</c:v>
                </c:pt>
                <c:pt idx="41">
                  <c:v>0.08156510401295497</c:v>
                </c:pt>
                <c:pt idx="42">
                  <c:v>0.09990382612000331</c:v>
                </c:pt>
                <c:pt idx="43">
                  <c:v>0.10483811810604132</c:v>
                </c:pt>
                <c:pt idx="44">
                  <c:v>0.11259235947790402</c:v>
                </c:pt>
                <c:pt idx="45">
                  <c:v>0.11381068698367264</c:v>
                </c:pt>
                <c:pt idx="46">
                  <c:v>0.09353106523990723</c:v>
                </c:pt>
                <c:pt idx="47">
                  <c:v>0.1118948272638704</c:v>
                </c:pt>
                <c:pt idx="48">
                  <c:v>0.11153316224738347</c:v>
                </c:pt>
                <c:pt idx="49">
                  <c:v>0.10324576595075685</c:v>
                </c:pt>
                <c:pt idx="50">
                  <c:v>0.14499552776974106</c:v>
                </c:pt>
                <c:pt idx="51">
                  <c:v>0.15808577835116128</c:v>
                </c:pt>
                <c:pt idx="52">
                  <c:v>0.15176527123417893</c:v>
                </c:pt>
                <c:pt idx="53">
                  <c:v>0.18587381249139506</c:v>
                </c:pt>
                <c:pt idx="54">
                  <c:v>0.098205424926976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16.0"/>
          <c:min val="3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7801418439716"/>
          <c:min val="0.0406153846153846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477056124828493</c:v>
                </c:pt>
                <c:pt idx="1">
                  <c:v>0.38262789160194033</c:v>
                </c:pt>
                <c:pt idx="2">
                  <c:v>0.41319505322320993</c:v>
                </c:pt>
                <c:pt idx="3">
                  <c:v>0.4333635854360815</c:v>
                </c:pt>
                <c:pt idx="4">
                  <c:v>0.4680967016371192</c:v>
                </c:pt>
                <c:pt idx="5">
                  <c:v>0.4810881576631288</c:v>
                </c:pt>
                <c:pt idx="6">
                  <c:v>0.4812970052704362</c:v>
                </c:pt>
                <c:pt idx="7">
                  <c:v>0.4640367957122222</c:v>
                </c:pt>
                <c:pt idx="8">
                  <c:v>0.425786860982775</c:v>
                </c:pt>
                <c:pt idx="9">
                  <c:v>0.4924109710545229</c:v>
                </c:pt>
                <c:pt idx="10">
                  <c:v>0.4699179198484025</c:v>
                </c:pt>
                <c:pt idx="11">
                  <c:v>0.46654090247576346</c:v>
                </c:pt>
                <c:pt idx="12">
                  <c:v>0.4514773993931374</c:v>
                </c:pt>
                <c:pt idx="13">
                  <c:v>0.36241614887154017</c:v>
                </c:pt>
                <c:pt idx="14">
                  <c:v>0.2814699751703411</c:v>
                </c:pt>
                <c:pt idx="15">
                  <c:v>0.36067060755336616</c:v>
                </c:pt>
                <c:pt idx="16">
                  <c:v>0.36960935657739596</c:v>
                </c:pt>
                <c:pt idx="17">
                  <c:v>0.37940585518266384</c:v>
                </c:pt>
                <c:pt idx="18">
                  <c:v>0.3431463198622259</c:v>
                </c:pt>
                <c:pt idx="19">
                  <c:v>0.38652695229994855</c:v>
                </c:pt>
                <c:pt idx="20">
                  <c:v>0.42609620332367404</c:v>
                </c:pt>
                <c:pt idx="21">
                  <c:v>0.40029489159029574</c:v>
                </c:pt>
                <c:pt idx="22">
                  <c:v>0.3493018519404699</c:v>
                </c:pt>
                <c:pt idx="23">
                  <c:v>0.3029630210332585</c:v>
                </c:pt>
                <c:pt idx="24">
                  <c:v>0.32931953458017</c:v>
                </c:pt>
                <c:pt idx="25">
                  <c:v>0.2936287178379593</c:v>
                </c:pt>
                <c:pt idx="26">
                  <c:v>0.27216188747414977</c:v>
                </c:pt>
                <c:pt idx="27">
                  <c:v>0.29131063512653077</c:v>
                </c:pt>
                <c:pt idx="28">
                  <c:v>0.28841564972813233</c:v>
                </c:pt>
                <c:pt idx="29">
                  <c:v>0.1799305470176277</c:v>
                </c:pt>
                <c:pt idx="30">
                  <c:v>0.20943738934000855</c:v>
                </c:pt>
                <c:pt idx="31">
                  <c:v>0.2322326602876704</c:v>
                </c:pt>
                <c:pt idx="32">
                  <c:v>0.21490508801628924</c:v>
                </c:pt>
                <c:pt idx="33">
                  <c:v>0.17653450052217082</c:v>
                </c:pt>
                <c:pt idx="34">
                  <c:v>0.264191662948151</c:v>
                </c:pt>
                <c:pt idx="35">
                  <c:v>0.29331682557922456</c:v>
                </c:pt>
                <c:pt idx="36">
                  <c:v>0.33696448733401335</c:v>
                </c:pt>
                <c:pt idx="37">
                  <c:v>0.308791752895494</c:v>
                </c:pt>
                <c:pt idx="38">
                  <c:v>0.323182352251774</c:v>
                </c:pt>
                <c:pt idx="39">
                  <c:v>0.3406651376067528</c:v>
                </c:pt>
                <c:pt idx="40">
                  <c:v>0.3628657142891824</c:v>
                </c:pt>
                <c:pt idx="41">
                  <c:v>0.3764342809796794</c:v>
                </c:pt>
                <c:pt idx="42">
                  <c:v>0.3663594918563564</c:v>
                </c:pt>
                <c:pt idx="43">
                  <c:v>0.361954875072531</c:v>
                </c:pt>
                <c:pt idx="44">
                  <c:v>0.3951935456110155</c:v>
                </c:pt>
                <c:pt idx="45">
                  <c:v>0.40767190445389756</c:v>
                </c:pt>
                <c:pt idx="46">
                  <c:v>0.38850707746822455</c:v>
                </c:pt>
                <c:pt idx="47">
                  <c:v>0.38425356084167817</c:v>
                </c:pt>
                <c:pt idx="48">
                  <c:v>0.3989572021000333</c:v>
                </c:pt>
                <c:pt idx="49">
                  <c:v>0.32538702868571984</c:v>
                </c:pt>
                <c:pt idx="50">
                  <c:v>0.296203275582602</c:v>
                </c:pt>
                <c:pt idx="51">
                  <c:v>0.27220033036434405</c:v>
                </c:pt>
                <c:pt idx="52">
                  <c:v>0.2602091143488485</c:v>
                </c:pt>
                <c:pt idx="53">
                  <c:v>0.24782895275674158</c:v>
                </c:pt>
                <c:pt idx="54">
                  <c:v>0.2117427563772279</c:v>
                </c:pt>
                <c:pt idx="55">
                  <c:v>0.2707695842805319</c:v>
                </c:pt>
                <c:pt idx="56">
                  <c:v>0.3922788389462642</c:v>
                </c:pt>
                <c:pt idx="57">
                  <c:v>0.4455187370647905</c:v>
                </c:pt>
                <c:pt idx="58">
                  <c:v>0.46252807050719075</c:v>
                </c:pt>
                <c:pt idx="59">
                  <c:v>0.4043210301200405</c:v>
                </c:pt>
                <c:pt idx="60">
                  <c:v>0.35705820095046326</c:v>
                </c:pt>
                <c:pt idx="61">
                  <c:v>0.376264104971915</c:v>
                </c:pt>
                <c:pt idx="62">
                  <c:v>0.33442510122937574</c:v>
                </c:pt>
                <c:pt idx="63">
                  <c:v>0.3624185920272559</c:v>
                </c:pt>
                <c:pt idx="64">
                  <c:v>0.4031132952941726</c:v>
                </c:pt>
                <c:pt idx="65">
                  <c:v>0.3833918590726339</c:v>
                </c:pt>
                <c:pt idx="66">
                  <c:v>0.33712431661472403</c:v>
                </c:pt>
                <c:pt idx="67">
                  <c:v>0.3844889567595742</c:v>
                </c:pt>
                <c:pt idx="68">
                  <c:v>0.3232324572016399</c:v>
                </c:pt>
                <c:pt idx="69">
                  <c:v>0.2764220135959964</c:v>
                </c:pt>
                <c:pt idx="70">
                  <c:v>0.3001432929036706</c:v>
                </c:pt>
                <c:pt idx="71">
                  <c:v>0.3434865589921503</c:v>
                </c:pt>
                <c:pt idx="72">
                  <c:v>0.3799010335005006</c:v>
                </c:pt>
                <c:pt idx="73">
                  <c:v>0.4154009910385412</c:v>
                </c:pt>
                <c:pt idx="74">
                  <c:v>0.36951815474729705</c:v>
                </c:pt>
                <c:pt idx="75">
                  <c:v>0.3207256404522349</c:v>
                </c:pt>
                <c:pt idx="76">
                  <c:v>0.3089906554935006</c:v>
                </c:pt>
                <c:pt idx="77">
                  <c:v>0.3672812756164603</c:v>
                </c:pt>
                <c:pt idx="78">
                  <c:v>0.3569218737896489</c:v>
                </c:pt>
                <c:pt idx="79">
                  <c:v>0.3523079731654963</c:v>
                </c:pt>
                <c:pt idx="80">
                  <c:v>0.36398694328000475</c:v>
                </c:pt>
                <c:pt idx="81">
                  <c:v>0.2901531576554404</c:v>
                </c:pt>
                <c:pt idx="82">
                  <c:v>0.31599251309396825</c:v>
                </c:pt>
                <c:pt idx="83">
                  <c:v>0.31311052121250654</c:v>
                </c:pt>
                <c:pt idx="84">
                  <c:v>0.2887869833454222</c:v>
                </c:pt>
                <c:pt idx="85">
                  <c:v>0.29522122397554246</c:v>
                </c:pt>
                <c:pt idx="86">
                  <c:v>0.3185694182989229</c:v>
                </c:pt>
                <c:pt idx="87">
                  <c:v>0.29090700396118363</c:v>
                </c:pt>
                <c:pt idx="88">
                  <c:v>0.2261796785547637</c:v>
                </c:pt>
                <c:pt idx="89">
                  <c:v>0.249107124161252</c:v>
                </c:pt>
                <c:pt idx="90">
                  <c:v>0.2284260707852403</c:v>
                </c:pt>
                <c:pt idx="91">
                  <c:v>0.24423287996595053</c:v>
                </c:pt>
                <c:pt idx="92">
                  <c:v>0.2545895001385763</c:v>
                </c:pt>
                <c:pt idx="93">
                  <c:v>0.273440578717855</c:v>
                </c:pt>
                <c:pt idx="94">
                  <c:v>0.2531834148105876</c:v>
                </c:pt>
                <c:pt idx="95">
                  <c:v>0.30995370319522936</c:v>
                </c:pt>
                <c:pt idx="96">
                  <c:v>0.3121824830247333</c:v>
                </c:pt>
                <c:pt idx="97">
                  <c:v>0.32601566947143995</c:v>
                </c:pt>
                <c:pt idx="98">
                  <c:v>0.3319508222687879</c:v>
                </c:pt>
                <c:pt idx="99">
                  <c:v>0.3822974159608045</c:v>
                </c:pt>
                <c:pt idx="100">
                  <c:v>0.3788494457629145</c:v>
                </c:pt>
                <c:pt idx="101">
                  <c:v>0.34158988405890767</c:v>
                </c:pt>
                <c:pt idx="102">
                  <c:v>0.31583718741689587</c:v>
                </c:pt>
                <c:pt idx="103">
                  <c:v>0.2798450108179075</c:v>
                </c:pt>
                <c:pt idx="104">
                  <c:v>0.30049454577703266</c:v>
                </c:pt>
              </c:numCache>
            </c:numRef>
          </c:xVal>
          <c:yVal>
            <c:numRef>
              <c:f>Sheet1!$B$2:$B$106</c:f>
              <c:numCache>
                <c:formatCode>General</c:formatCode>
                <c:ptCount val="105"/>
                <c:pt idx="0">
                  <c:v>0.22297955209347614</c:v>
                </c:pt>
                <c:pt idx="1">
                  <c:v>0.20850884582982307</c:v>
                </c:pt>
                <c:pt idx="2">
                  <c:v>0.16288024643819793</c:v>
                </c:pt>
                <c:pt idx="3">
                  <c:v>0.15108892921960074</c:v>
                </c:pt>
                <c:pt idx="4">
                  <c:v>0.12336244541484716</c:v>
                </c:pt>
                <c:pt idx="5">
                  <c:v>0.12053802379720642</c:v>
                </c:pt>
                <c:pt idx="6">
                  <c:v>0.11948438274665345</c:v>
                </c:pt>
                <c:pt idx="7">
                  <c:v>0.09774436090225563</c:v>
                </c:pt>
                <c:pt idx="8">
                  <c:v>0.13726541554959787</c:v>
                </c:pt>
                <c:pt idx="9">
                  <c:v>0.17348678601875533</c:v>
                </c:pt>
                <c:pt idx="10">
                  <c:v>0.1830929487179487</c:v>
                </c:pt>
                <c:pt idx="11">
                  <c:v>0.18872017353579176</c:v>
                </c:pt>
                <c:pt idx="12">
                  <c:v>0.1778225806451613</c:v>
                </c:pt>
                <c:pt idx="13">
                  <c:v>0.21137521222410866</c:v>
                </c:pt>
                <c:pt idx="14">
                  <c:v>0.19607843137254902</c:v>
                </c:pt>
                <c:pt idx="15">
                  <c:v>0.19849100406268136</c:v>
                </c:pt>
                <c:pt idx="16">
                  <c:v>0.19442556084296397</c:v>
                </c:pt>
                <c:pt idx="17">
                  <c:v>0.1896938013442868</c:v>
                </c:pt>
                <c:pt idx="18">
                  <c:v>0.1559792027729636</c:v>
                </c:pt>
                <c:pt idx="19">
                  <c:v>0.16797642436149313</c:v>
                </c:pt>
                <c:pt idx="20">
                  <c:v>0.20109546165884193</c:v>
                </c:pt>
                <c:pt idx="21">
                  <c:v>0.1781219748305905</c:v>
                </c:pt>
                <c:pt idx="22">
                  <c:v>0.17640918580375783</c:v>
                </c:pt>
                <c:pt idx="23">
                  <c:v>0.15702479338842976</c:v>
                </c:pt>
                <c:pt idx="24">
                  <c:v>0.16233766233766234</c:v>
                </c:pt>
                <c:pt idx="25">
                  <c:v>0.15558510638297873</c:v>
                </c:pt>
                <c:pt idx="26">
                  <c:v>0.15967523680649526</c:v>
                </c:pt>
                <c:pt idx="27">
                  <c:v>0.16711590296495957</c:v>
                </c:pt>
                <c:pt idx="28">
                  <c:v>0.14425770308123248</c:v>
                </c:pt>
                <c:pt idx="29">
                  <c:v>0.22281879194630871</c:v>
                </c:pt>
                <c:pt idx="30">
                  <c:v>0.14571948998178508</c:v>
                </c:pt>
                <c:pt idx="31">
                  <c:v>0.1352253756260434</c:v>
                </c:pt>
                <c:pt idx="32">
                  <c:v>0.16139240506329114</c:v>
                </c:pt>
                <c:pt idx="33">
                  <c:v>0.24231678486997635</c:v>
                </c:pt>
                <c:pt idx="34">
                  <c:v>0.1436241610738255</c:v>
                </c:pt>
                <c:pt idx="35">
                  <c:v>0.15006305170239598</c:v>
                </c:pt>
                <c:pt idx="36">
                  <c:v>0.09868421052631579</c:v>
                </c:pt>
                <c:pt idx="37">
                  <c:v>0.10273081924577374</c:v>
                </c:pt>
                <c:pt idx="38">
                  <c:v>0.09136420525657071</c:v>
                </c:pt>
                <c:pt idx="39">
                  <c:v>0.07658321060382917</c:v>
                </c:pt>
                <c:pt idx="40">
                  <c:v>0.09322033898305085</c:v>
                </c:pt>
                <c:pt idx="41">
                  <c:v>0.07682926829268293</c:v>
                </c:pt>
                <c:pt idx="42">
                  <c:v>0.0776255707762557</c:v>
                </c:pt>
                <c:pt idx="43">
                  <c:v>0.0990916597853014</c:v>
                </c:pt>
                <c:pt idx="44">
                  <c:v>0.11746522411128284</c:v>
                </c:pt>
                <c:pt idx="45">
                  <c:v>0.13217559093101786</c:v>
                </c:pt>
                <c:pt idx="46">
                  <c:v>0.1303873431533006</c:v>
                </c:pt>
                <c:pt idx="47">
                  <c:v>0.13873961895456766</c:v>
                </c:pt>
                <c:pt idx="48">
                  <c:v>0.15789473684210525</c:v>
                </c:pt>
                <c:pt idx="49">
                  <c:v>0.193248683803035</c:v>
                </c:pt>
                <c:pt idx="50">
                  <c:v>0.15050651230101303</c:v>
                </c:pt>
                <c:pt idx="51">
                  <c:v>0.1488398415393322</c:v>
                </c:pt>
                <c:pt idx="52">
                  <c:v>0.15442146942366916</c:v>
                </c:pt>
                <c:pt idx="53">
                  <c:v>0.12809315866084425</c:v>
                </c:pt>
                <c:pt idx="54">
                  <c:v>0.12080173347778982</c:v>
                </c:pt>
                <c:pt idx="55">
                  <c:v>0.11979752530933634</c:v>
                </c:pt>
                <c:pt idx="56">
                  <c:v>0.12805830296720458</c:v>
                </c:pt>
                <c:pt idx="57">
                  <c:v>0.11702127659574468</c:v>
                </c:pt>
                <c:pt idx="58">
                  <c:v>0.12620997766195086</c:v>
                </c:pt>
                <c:pt idx="59">
                  <c:v>0.15569534935969445</c:v>
                </c:pt>
                <c:pt idx="60">
                  <c:v>0.16607773851590105</c:v>
                </c:pt>
                <c:pt idx="61">
                  <c:v>0.1532379518072289</c:v>
                </c:pt>
                <c:pt idx="62">
                  <c:v>0.197895588830433</c:v>
                </c:pt>
                <c:pt idx="63">
                  <c:v>0.21658819268381022</c:v>
                </c:pt>
                <c:pt idx="64">
                  <c:v>0.23223501389440254</c:v>
                </c:pt>
                <c:pt idx="65">
                  <c:v>0.1971416561580496</c:v>
                </c:pt>
                <c:pt idx="66">
                  <c:v>0.1673219746614242</c:v>
                </c:pt>
                <c:pt idx="67">
                  <c:v>0.1509785647716682</c:v>
                </c:pt>
                <c:pt idx="68">
                  <c:v>0.15076618882847256</c:v>
                </c:pt>
                <c:pt idx="69">
                  <c:v>0.13319672131147542</c:v>
                </c:pt>
                <c:pt idx="70">
                  <c:v>0.12387676508344031</c:v>
                </c:pt>
                <c:pt idx="71">
                  <c:v>0.10934256055363321</c:v>
                </c:pt>
                <c:pt idx="72">
                  <c:v>0.1259259259259259</c:v>
                </c:pt>
                <c:pt idx="73">
                  <c:v>0.10032102728731943</c:v>
                </c:pt>
                <c:pt idx="74">
                  <c:v>0.09553158705701079</c:v>
                </c:pt>
                <c:pt idx="75">
                  <c:v>0.09691160809371673</c:v>
                </c:pt>
                <c:pt idx="76">
                  <c:v>0.09125475285171103</c:v>
                </c:pt>
                <c:pt idx="77">
                  <c:v>0.08271604938271605</c:v>
                </c:pt>
                <c:pt idx="78">
                  <c:v>0.09066305818673884</c:v>
                </c:pt>
                <c:pt idx="79">
                  <c:v>0.08344923504867872</c:v>
                </c:pt>
                <c:pt idx="80">
                  <c:v>0.07627118644067797</c:v>
                </c:pt>
                <c:pt idx="81">
                  <c:v>0.09101251422070535</c:v>
                </c:pt>
                <c:pt idx="82">
                  <c:v>0.08180535966149506</c:v>
                </c:pt>
                <c:pt idx="83">
                  <c:v>0.07106598984771574</c:v>
                </c:pt>
                <c:pt idx="84">
                  <c:v>0.07521367521367521</c:v>
                </c:pt>
                <c:pt idx="85">
                  <c:v>0.08203677510608204</c:v>
                </c:pt>
                <c:pt idx="86">
                  <c:v>0.0689252336448598</c:v>
                </c:pt>
                <c:pt idx="87">
                  <c:v>0.09159347553324969</c:v>
                </c:pt>
                <c:pt idx="88">
                  <c:v>0.0781010719754977</c:v>
                </c:pt>
                <c:pt idx="89">
                  <c:v>0.05076923076923077</c:v>
                </c:pt>
                <c:pt idx="90">
                  <c:v>0.06020066889632107</c:v>
                </c:pt>
                <c:pt idx="91">
                  <c:v>0.05743740795287187</c:v>
                </c:pt>
                <c:pt idx="92">
                  <c:v>0.07734204793028322</c:v>
                </c:pt>
                <c:pt idx="93">
                  <c:v>0.07456140350877193</c:v>
                </c:pt>
                <c:pt idx="94">
                  <c:v>0.07266982622432859</c:v>
                </c:pt>
                <c:pt idx="95">
                  <c:v>0.08818011257035648</c:v>
                </c:pt>
                <c:pt idx="96">
                  <c:v>0.10141509433962265</c:v>
                </c:pt>
                <c:pt idx="97">
                  <c:v>0.11164179104477612</c:v>
                </c:pt>
                <c:pt idx="98">
                  <c:v>0.11817226890756302</c:v>
                </c:pt>
                <c:pt idx="99">
                  <c:v>0.1371208885091841</c:v>
                </c:pt>
                <c:pt idx="100">
                  <c:v>0.16321656050955413</c:v>
                </c:pt>
                <c:pt idx="101">
                  <c:v>0.13553113553113552</c:v>
                </c:pt>
                <c:pt idx="102">
                  <c:v>0.1098062243100411</c:v>
                </c:pt>
                <c:pt idx="103">
                  <c:v>0.11425520555258943</c:v>
                </c:pt>
                <c:pt idx="104">
                  <c:v>0.130656108597285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980599521907492</c:v>
                </c:pt>
                <c:pt idx="1">
                  <c:v>0.3016931630455279</c:v>
                </c:pt>
                <c:pt idx="2">
                  <c:v>0.3159674913523554</c:v>
                </c:pt>
                <c:pt idx="3">
                  <c:v>0.34196164698380915</c:v>
                </c:pt>
                <c:pt idx="4">
                  <c:v>0.3374754134050123</c:v>
                </c:pt>
                <c:pt idx="5">
                  <c:v>0.3002085396039604</c:v>
                </c:pt>
                <c:pt idx="6">
                  <c:v>0.31657479028403546</c:v>
                </c:pt>
                <c:pt idx="7">
                  <c:v>0.35575787140608994</c:v>
                </c:pt>
                <c:pt idx="8">
                  <c:v>0.343142381912087</c:v>
                </c:pt>
                <c:pt idx="9">
                  <c:v>0.332793534761145</c:v>
                </c:pt>
                <c:pt idx="10">
                  <c:v>0.3303616633624185</c:v>
                </c:pt>
                <c:pt idx="11">
                  <c:v>0.2992971387440752</c:v>
                </c:pt>
                <c:pt idx="12">
                  <c:v>0.3034503309875345</c:v>
                </c:pt>
                <c:pt idx="13">
                  <c:v>0.3443758015011469</c:v>
                </c:pt>
                <c:pt idx="14">
                  <c:v>0.36019226328433773</c:v>
                </c:pt>
                <c:pt idx="15">
                  <c:v>0.38106462527893104</c:v>
                </c:pt>
                <c:pt idx="16">
                  <c:v>0.3748518812685706</c:v>
                </c:pt>
                <c:pt idx="17">
                  <c:v>0.33660755163681655</c:v>
                </c:pt>
                <c:pt idx="18">
                  <c:v>0.2991148514552283</c:v>
                </c:pt>
                <c:pt idx="19">
                  <c:v>0.2912161206068461</c:v>
                </c:pt>
                <c:pt idx="20">
                  <c:v>0.3039051983186409</c:v>
                </c:pt>
                <c:pt idx="21">
                  <c:v>0.2790825324679791</c:v>
                </c:pt>
                <c:pt idx="22">
                  <c:v>0.2748887752470428</c:v>
                </c:pt>
                <c:pt idx="23">
                  <c:v>0.27528289316257226</c:v>
                </c:pt>
                <c:pt idx="24">
                  <c:v>0.29265567472873477</c:v>
                </c:pt>
                <c:pt idx="25">
                  <c:v>0.2817225926235435</c:v>
                </c:pt>
                <c:pt idx="26">
                  <c:v>0.3138861739923664</c:v>
                </c:pt>
                <c:pt idx="27">
                  <c:v>0.2916500497662144</c:v>
                </c:pt>
                <c:pt idx="28">
                  <c:v>0.29141301761898764</c:v>
                </c:pt>
                <c:pt idx="29">
                  <c:v>0.31109660072184997</c:v>
                </c:pt>
                <c:pt idx="30">
                  <c:v>0.2727813391685489</c:v>
                </c:pt>
                <c:pt idx="31">
                  <c:v>0.2611014145619503</c:v>
                </c:pt>
                <c:pt idx="32">
                  <c:v>0.23384955200544066</c:v>
                </c:pt>
                <c:pt idx="33">
                  <c:v>0.24214042770964295</c:v>
                </c:pt>
                <c:pt idx="34">
                  <c:v>0.25438070618507574</c:v>
                </c:pt>
                <c:pt idx="35">
                  <c:v>0.23259697352378628</c:v>
                </c:pt>
                <c:pt idx="36">
                  <c:v>0.23865475837135736</c:v>
                </c:pt>
                <c:pt idx="37">
                  <c:v>0.2259749643383114</c:v>
                </c:pt>
                <c:pt idx="38">
                  <c:v>0.25341327378728096</c:v>
                </c:pt>
                <c:pt idx="39">
                  <c:v>0.27834316457816405</c:v>
                </c:pt>
                <c:pt idx="40">
                  <c:v>0.28773544696556835</c:v>
                </c:pt>
                <c:pt idx="41">
                  <c:v>0.30241393975330383</c:v>
                </c:pt>
                <c:pt idx="42">
                  <c:v>0.2622296233767317</c:v>
                </c:pt>
                <c:pt idx="43">
                  <c:v>0.29711178004772243</c:v>
                </c:pt>
                <c:pt idx="44">
                  <c:v>0.33997726361697694</c:v>
                </c:pt>
                <c:pt idx="45">
                  <c:v>0.35629517443924313</c:v>
                </c:pt>
                <c:pt idx="46">
                  <c:v>0.3614143577108471</c:v>
                </c:pt>
                <c:pt idx="47">
                  <c:v>0.37364917752493304</c:v>
                </c:pt>
                <c:pt idx="48">
                  <c:v>0.38181653863079545</c:v>
                </c:pt>
                <c:pt idx="49">
                  <c:v>0.40350861248947295</c:v>
                </c:pt>
                <c:pt idx="50">
                  <c:v>0.3970605974023594</c:v>
                </c:pt>
                <c:pt idx="51">
                  <c:v>0.34346817485893466</c:v>
                </c:pt>
              </c:numCache>
            </c:numRef>
          </c:xVal>
          <c:yVal>
            <c:numRef>
              <c:f>Sheet1!$B$109:$B$160</c:f>
              <c:numCache>
                <c:formatCode>General</c:formatCode>
                <c:ptCount val="52"/>
                <c:pt idx="0">
                  <c:v>0.13617977528089886</c:v>
                </c:pt>
                <c:pt idx="1">
                  <c:v>0.14101423487544484</c:v>
                </c:pt>
                <c:pt idx="2">
                  <c:v>0.14965149651496515</c:v>
                </c:pt>
                <c:pt idx="3">
                  <c:v>0.16653963414634146</c:v>
                </c:pt>
                <c:pt idx="4">
                  <c:v>0.15361952861952863</c:v>
                </c:pt>
                <c:pt idx="5">
                  <c:v>0.16003576218149307</c:v>
                </c:pt>
                <c:pt idx="6">
                  <c:v>0.16061606160616063</c:v>
                </c:pt>
                <c:pt idx="7">
                  <c:v>0.1457073760580411</c:v>
                </c:pt>
                <c:pt idx="8">
                  <c:v>0.15252357182473655</c:v>
                </c:pt>
                <c:pt idx="9">
                  <c:v>0.17554032683183976</c:v>
                </c:pt>
                <c:pt idx="10">
                  <c:v>0.1792452830188679</c:v>
                </c:pt>
                <c:pt idx="11">
                  <c:v>0.2090946000812018</c:v>
                </c:pt>
                <c:pt idx="12">
                  <c:v>0.19308943089430894</c:v>
                </c:pt>
                <c:pt idx="13">
                  <c:v>0.16491395793499045</c:v>
                </c:pt>
                <c:pt idx="14">
                  <c:v>0.16017316017316016</c:v>
                </c:pt>
                <c:pt idx="15">
                  <c:v>0.1550925925925926</c:v>
                </c:pt>
                <c:pt idx="16">
                  <c:v>0.13444816053511705</c:v>
                </c:pt>
                <c:pt idx="17">
                  <c:v>0.11397345823575332</c:v>
                </c:pt>
                <c:pt idx="18">
                  <c:v>0.11503416856492027</c:v>
                </c:pt>
                <c:pt idx="19">
                  <c:v>0.11987704918032786</c:v>
                </c:pt>
                <c:pt idx="20">
                  <c:v>0.11243781094527364</c:v>
                </c:pt>
                <c:pt idx="21">
                  <c:v>0.13678756476683937</c:v>
                </c:pt>
                <c:pt idx="22">
                  <c:v>0.13007284079084286</c:v>
                </c:pt>
                <c:pt idx="23">
                  <c:v>0.11907514450867052</c:v>
                </c:pt>
                <c:pt idx="24">
                  <c:v>0.1056422569027611</c:v>
                </c:pt>
                <c:pt idx="25">
                  <c:v>0.10349462365591398</c:v>
                </c:pt>
                <c:pt idx="26">
                  <c:v>0.07596371882086168</c:v>
                </c:pt>
                <c:pt idx="27">
                  <c:v>0.08508014796547472</c:v>
                </c:pt>
                <c:pt idx="28">
                  <c:v>0.09101251422070535</c:v>
                </c:pt>
                <c:pt idx="29">
                  <c:v>0.07096774193548387</c:v>
                </c:pt>
                <c:pt idx="30">
                  <c:v>0.08141321044546851</c:v>
                </c:pt>
                <c:pt idx="31">
                  <c:v>0.07587548638132295</c:v>
                </c:pt>
                <c:pt idx="32">
                  <c:v>0.07418397626112759</c:v>
                </c:pt>
                <c:pt idx="33">
                  <c:v>0.08187919463087248</c:v>
                </c:pt>
                <c:pt idx="34">
                  <c:v>0.09684947491248541</c:v>
                </c:pt>
                <c:pt idx="35">
                  <c:v>0.07112970711297072</c:v>
                </c:pt>
                <c:pt idx="36">
                  <c:v>0.057203389830508475</c:v>
                </c:pt>
                <c:pt idx="37">
                  <c:v>0.06307977736549165</c:v>
                </c:pt>
                <c:pt idx="38">
                  <c:v>0.06695464362850972</c:v>
                </c:pt>
                <c:pt idx="39">
                  <c:v>0.06715328467153285</c:v>
                </c:pt>
                <c:pt idx="40">
                  <c:v>0.06275720164609054</c:v>
                </c:pt>
                <c:pt idx="41">
                  <c:v>0.058959537572254334</c:v>
                </c:pt>
                <c:pt idx="42">
                  <c:v>0.0761904761904762</c:v>
                </c:pt>
                <c:pt idx="43">
                  <c:v>0.07824591573516768</c:v>
                </c:pt>
                <c:pt idx="44">
                  <c:v>0.08432835820895522</c:v>
                </c:pt>
                <c:pt idx="45">
                  <c:v>0.09503239740820735</c:v>
                </c:pt>
                <c:pt idx="46">
                  <c:v>0.07787151200519143</c:v>
                </c:pt>
                <c:pt idx="47">
                  <c:v>0.0972139893301719</c:v>
                </c:pt>
                <c:pt idx="48">
                  <c:v>0.10589812332439678</c:v>
                </c:pt>
                <c:pt idx="49">
                  <c:v>0.12527091460771564</c:v>
                </c:pt>
                <c:pt idx="50">
                  <c:v>0.1879854997410668</c:v>
                </c:pt>
                <c:pt idx="51">
                  <c:v>0.1597633136094674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579109679603471</c:v>
                </c:pt>
              </c:numCache>
            </c:numRef>
          </c:xVal>
          <c:yVal>
            <c:numRef>
              <c:f>Sheet1!$B$163:$B$164</c:f>
              <c:numCache>
                <c:formatCode>General</c:formatCode>
                <c:ptCount val="2"/>
                <c:pt idx="0">
                  <c:v>0.18587381249139506</c:v>
                </c:pt>
                <c:pt idx="1">
                  <c:v>0.1858738124913950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579109679603471</c:v>
                </c:pt>
                <c:pt idx="1">
                  <c:v>0.4579109679603471</c:v>
                </c:pt>
              </c:numCache>
            </c:numRef>
          </c:xVal>
          <c:yVal>
            <c:numRef>
              <c:f>Sheet1!$B$167:$B$168</c:f>
              <c:numCache>
                <c:formatCode>General</c:formatCode>
                <c:ptCount val="2"/>
                <c:pt idx="0">
                  <c:v>0.18587381249139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8472320373990465</c:v>
                </c:pt>
              </c:numCache>
            </c:numRef>
          </c:xVal>
          <c:yVal>
            <c:numRef>
              <c:f>Sheet1!$B$171:$B$172</c:f>
              <c:numCache>
                <c:formatCode>General</c:formatCode>
                <c:ptCount val="2"/>
                <c:pt idx="0">
                  <c:v>0.15176527123417893</c:v>
                </c:pt>
                <c:pt idx="1">
                  <c:v>0.151765271234178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8472320373990465</c:v>
                </c:pt>
                <c:pt idx="1">
                  <c:v>0.38472320373990465</c:v>
                </c:pt>
              </c:numCache>
            </c:numRef>
          </c:xVal>
          <c:yVal>
            <c:numRef>
              <c:f>Sheet1!$B$175:$B$176</c:f>
              <c:numCache>
                <c:formatCode>General</c:formatCode>
                <c:ptCount val="2"/>
                <c:pt idx="0">
                  <c:v>0.151765271234178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97981656488854</c:v>
                </c:pt>
              </c:numCache>
            </c:numRef>
          </c:xVal>
          <c:yVal>
            <c:numRef>
              <c:f>Sheet1!$B$179:$B$180</c:f>
              <c:numCache>
                <c:formatCode>General</c:formatCode>
                <c:ptCount val="2"/>
                <c:pt idx="0">
                  <c:v>0.09820542492697647</c:v>
                </c:pt>
                <c:pt idx="1">
                  <c:v>0.098205424926976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97981656488854</c:v>
                </c:pt>
                <c:pt idx="1">
                  <c:v>0.2697981656488854</c:v>
                </c:pt>
              </c:numCache>
            </c:numRef>
          </c:xVal>
          <c:yVal>
            <c:numRef>
              <c:f>Sheet1!$B$183:$B$184</c:f>
              <c:numCache>
                <c:formatCode>General</c:formatCode>
                <c:ptCount val="2"/>
                <c:pt idx="0">
                  <c:v>0.098205424926976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980599521907492</c:v>
                </c:pt>
                <c:pt idx="1">
                  <c:v>0.3016931630455279</c:v>
                </c:pt>
                <c:pt idx="2">
                  <c:v>0.3159674913523554</c:v>
                </c:pt>
                <c:pt idx="3">
                  <c:v>0.34196164698380915</c:v>
                </c:pt>
                <c:pt idx="4">
                  <c:v>0.3374754134050123</c:v>
                </c:pt>
                <c:pt idx="5">
                  <c:v>0.3002085396039604</c:v>
                </c:pt>
                <c:pt idx="6">
                  <c:v>0.31657479028403546</c:v>
                </c:pt>
                <c:pt idx="7">
                  <c:v>0.35575787140608994</c:v>
                </c:pt>
                <c:pt idx="8">
                  <c:v>0.343142381912087</c:v>
                </c:pt>
                <c:pt idx="9">
                  <c:v>0.332793534761145</c:v>
                </c:pt>
                <c:pt idx="10">
                  <c:v>0.3303616633624185</c:v>
                </c:pt>
                <c:pt idx="11">
                  <c:v>0.2992971387440752</c:v>
                </c:pt>
                <c:pt idx="12">
                  <c:v>0.3034503309875345</c:v>
                </c:pt>
                <c:pt idx="13">
                  <c:v>0.3443758015011469</c:v>
                </c:pt>
                <c:pt idx="14">
                  <c:v>0.36019226328433773</c:v>
                </c:pt>
                <c:pt idx="15">
                  <c:v>0.38106462527893104</c:v>
                </c:pt>
                <c:pt idx="16">
                  <c:v>0.3748518812685706</c:v>
                </c:pt>
                <c:pt idx="17">
                  <c:v>0.33660755163681655</c:v>
                </c:pt>
                <c:pt idx="18">
                  <c:v>0.2991148514552283</c:v>
                </c:pt>
                <c:pt idx="19">
                  <c:v>0.2912161206068461</c:v>
                </c:pt>
                <c:pt idx="20">
                  <c:v>0.3039051983186409</c:v>
                </c:pt>
                <c:pt idx="21">
                  <c:v>0.2790825324679791</c:v>
                </c:pt>
                <c:pt idx="22">
                  <c:v>0.2748887752470428</c:v>
                </c:pt>
                <c:pt idx="23">
                  <c:v>0.27528289316257226</c:v>
                </c:pt>
                <c:pt idx="24">
                  <c:v>0.29265567472873477</c:v>
                </c:pt>
                <c:pt idx="25">
                  <c:v>0.2817225926235435</c:v>
                </c:pt>
                <c:pt idx="26">
                  <c:v>0.3138861739923664</c:v>
                </c:pt>
                <c:pt idx="27">
                  <c:v>0.2916500497662144</c:v>
                </c:pt>
                <c:pt idx="28">
                  <c:v>0.29141301761898764</c:v>
                </c:pt>
                <c:pt idx="29">
                  <c:v>0.31109660072184997</c:v>
                </c:pt>
                <c:pt idx="30">
                  <c:v>0.2727813391685489</c:v>
                </c:pt>
                <c:pt idx="31">
                  <c:v>0.2611014145619503</c:v>
                </c:pt>
                <c:pt idx="32">
                  <c:v>0.23384955200544066</c:v>
                </c:pt>
                <c:pt idx="33">
                  <c:v>0.24214042770964295</c:v>
                </c:pt>
                <c:pt idx="34">
                  <c:v>0.25438070618507574</c:v>
                </c:pt>
                <c:pt idx="35">
                  <c:v>0.23259697352378628</c:v>
                </c:pt>
                <c:pt idx="36">
                  <c:v>0.23865475837135736</c:v>
                </c:pt>
                <c:pt idx="37">
                  <c:v>0.2259749643383114</c:v>
                </c:pt>
                <c:pt idx="38">
                  <c:v>0.25341327378728096</c:v>
                </c:pt>
                <c:pt idx="39">
                  <c:v>0.27834316457816405</c:v>
                </c:pt>
                <c:pt idx="40">
                  <c:v>0.28773544696556835</c:v>
                </c:pt>
                <c:pt idx="41">
                  <c:v>0.30241393975330383</c:v>
                </c:pt>
                <c:pt idx="42">
                  <c:v>0.2622296233767317</c:v>
                </c:pt>
                <c:pt idx="43">
                  <c:v>0.29711178004772243</c:v>
                </c:pt>
                <c:pt idx="44">
                  <c:v>0.33997726361697694</c:v>
                </c:pt>
                <c:pt idx="45">
                  <c:v>0.35629517443924313</c:v>
                </c:pt>
                <c:pt idx="46">
                  <c:v>0.3614143577108471</c:v>
                </c:pt>
                <c:pt idx="47">
                  <c:v>0.37364917752493304</c:v>
                </c:pt>
                <c:pt idx="48">
                  <c:v>0.38181653863079545</c:v>
                </c:pt>
                <c:pt idx="49">
                  <c:v>0.40350861248947295</c:v>
                </c:pt>
                <c:pt idx="50">
                  <c:v>0.3970605974023594</c:v>
                </c:pt>
                <c:pt idx="51">
                  <c:v>0.34346817485893466</c:v>
                </c:pt>
                <c:pt idx="52">
                  <c:v>0.38472320373990465</c:v>
                </c:pt>
                <c:pt idx="53">
                  <c:v>0.4579109679603471</c:v>
                </c:pt>
                <c:pt idx="54">
                  <c:v>0.2697981656488854</c:v>
                </c:pt>
              </c:numCache>
            </c:numRef>
          </c:xVal>
          <c:yVal>
            <c:numRef>
              <c:f>Sheet1!$B$187:$B$241</c:f>
              <c:numCache>
                <c:formatCode>General</c:formatCode>
                <c:ptCount val="55"/>
                <c:pt idx="0">
                  <c:v>0.11137659257410276</c:v>
                </c:pt>
                <c:pt idx="1">
                  <c:v>0.11306981990050563</c:v>
                </c:pt>
                <c:pt idx="2">
                  <c:v>0.11972225041479212</c:v>
                </c:pt>
                <c:pt idx="3">
                  <c:v>0.1318366077700929</c:v>
                </c:pt>
                <c:pt idx="4">
                  <c:v>0.1297458363858079</c:v>
                </c:pt>
                <c:pt idx="5">
                  <c:v>0.11237792364643218</c:v>
                </c:pt>
                <c:pt idx="6">
                  <c:v>0.12000527696830562</c:v>
                </c:pt>
                <c:pt idx="7">
                  <c:v>0.1382662219947305</c:v>
                </c:pt>
                <c:pt idx="8">
                  <c:v>0.13238687934135854</c:v>
                </c:pt>
                <c:pt idx="9">
                  <c:v>0.12756388626632298</c:v>
                </c:pt>
                <c:pt idx="10">
                  <c:v>0.12643053307786012</c:v>
                </c:pt>
                <c:pt idx="11">
                  <c:v>0.11195317294988646</c:v>
                </c:pt>
                <c:pt idx="12">
                  <c:v>0.11388873322412169</c:v>
                </c:pt>
                <c:pt idx="13">
                  <c:v>0.13296170415516473</c:v>
                </c:pt>
                <c:pt idx="14">
                  <c:v>0.1403328329909936</c:v>
                </c:pt>
                <c:pt idx="15">
                  <c:v>0.15006022154850995</c:v>
                </c:pt>
                <c:pt idx="16">
                  <c:v>0.1471648245152076</c:v>
                </c:pt>
                <c:pt idx="17">
                  <c:v>0.12934137671633492</c:v>
                </c:pt>
                <c:pt idx="18">
                  <c:v>0.11186821949382006</c:v>
                </c:pt>
                <c:pt idx="19">
                  <c:v>0.1081870824910526</c:v>
                </c:pt>
                <c:pt idx="20">
                  <c:v>0.11410072031369681</c:v>
                </c:pt>
                <c:pt idx="21">
                  <c:v>0.10253232590652209</c:v>
                </c:pt>
                <c:pt idx="22">
                  <c:v>0.10057786066610011</c:v>
                </c:pt>
                <c:pt idx="23">
                  <c:v>0.10076153600206961</c:v>
                </c:pt>
                <c:pt idx="24">
                  <c:v>0.10885797456818372</c:v>
                </c:pt>
                <c:pt idx="25">
                  <c:v>0.1037627037121123</c:v>
                </c:pt>
                <c:pt idx="26">
                  <c:v>0.11875226998433763</c:v>
                </c:pt>
                <c:pt idx="27">
                  <c:v>0.10838931152199338</c:v>
                </c:pt>
                <c:pt idx="28">
                  <c:v>0.10827884468564328</c:v>
                </c:pt>
                <c:pt idx="29">
                  <c:v>0.11745221285045868</c:v>
                </c:pt>
                <c:pt idx="30">
                  <c:v>0.09959570782681204</c:v>
                </c:pt>
                <c:pt idx="31">
                  <c:v>0.09415237731154444</c:v>
                </c:pt>
                <c:pt idx="32">
                  <c:v>0.08145187623400144</c:v>
                </c:pt>
                <c:pt idx="33">
                  <c:v>0.08531576904487442</c:v>
                </c:pt>
                <c:pt idx="34">
                  <c:v>0.09102024776240439</c:v>
                </c:pt>
                <c:pt idx="35">
                  <c:v>0.08086812257962384</c:v>
                </c:pt>
                <c:pt idx="36">
                  <c:v>0.08369130219989981</c:v>
                </c:pt>
                <c:pt idx="37">
                  <c:v>0.0777819909575658</c:v>
                </c:pt>
                <c:pt idx="38">
                  <c:v>0.09056938403941428</c:v>
                </c:pt>
                <c:pt idx="39">
                  <c:v>0.10218774972712061</c:v>
                </c:pt>
                <c:pt idx="40">
                  <c:v>0.1065649438486036</c:v>
                </c:pt>
                <c:pt idx="41">
                  <c:v>0.11340573181605981</c:v>
                </c:pt>
                <c:pt idx="42">
                  <c:v>0.09467816952989697</c:v>
                </c:pt>
                <c:pt idx="43">
                  <c:v>0.11093470493067153</c:v>
                </c:pt>
                <c:pt idx="44">
                  <c:v>0.13091180261094276</c:v>
                </c:pt>
                <c:pt idx="45">
                  <c:v>0.13851662754911703</c:v>
                </c:pt>
                <c:pt idx="46">
                  <c:v>0.1409023798081536</c:v>
                </c:pt>
                <c:pt idx="47">
                  <c:v>0.146604314562526</c:v>
                </c:pt>
                <c:pt idx="48">
                  <c:v>0.15041064443486388</c:v>
                </c:pt>
                <c:pt idx="49">
                  <c:v>0.1605200528044752</c:v>
                </c:pt>
                <c:pt idx="50">
                  <c:v>0.15751500966688836</c:v>
                </c:pt>
                <c:pt idx="51">
                  <c:v>0.13253871240098572</c:v>
                </c:pt>
                <c:pt idx="52">
                  <c:v>0.15176527123417893</c:v>
                </c:pt>
                <c:pt idx="53">
                  <c:v>0.18587381249139506</c:v>
                </c:pt>
                <c:pt idx="54">
                  <c:v>0.098205424926976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7801418439716"/>
          <c:min val="0.0406153846153846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8.3668</c:v>
                </c:pt>
                <c:pt idx="1">
                  <c:v>806.2707</c:v>
                </c:pt>
                <c:pt idx="2">
                  <c:v>856.1868</c:v>
                </c:pt>
                <c:pt idx="3">
                  <c:v>890.7808</c:v>
                </c:pt>
                <c:pt idx="4">
                  <c:v>887.7035</c:v>
                </c:pt>
                <c:pt idx="5">
                  <c:v>877.0558</c:v>
                </c:pt>
                <c:pt idx="6">
                  <c:v>886.7095</c:v>
                </c:pt>
                <c:pt idx="7">
                  <c:v>900.7802</c:v>
                </c:pt>
                <c:pt idx="8">
                  <c:v>821.5391</c:v>
                </c:pt>
                <c:pt idx="9">
                  <c:v>845.1671</c:v>
                </c:pt>
                <c:pt idx="10">
                  <c:v>842.2954</c:v>
                </c:pt>
                <c:pt idx="11">
                  <c:v>878.692</c:v>
                </c:pt>
                <c:pt idx="12">
                  <c:v>852.3175</c:v>
                </c:pt>
                <c:pt idx="13">
                  <c:v>844.2108</c:v>
                </c:pt>
                <c:pt idx="14">
                  <c:v>838.3114</c:v>
                </c:pt>
                <c:pt idx="15">
                  <c:v>878.5936</c:v>
                </c:pt>
                <c:pt idx="16">
                  <c:v>877.7483</c:v>
                </c:pt>
                <c:pt idx="17">
                  <c:v>875.9291</c:v>
                </c:pt>
                <c:pt idx="18">
                  <c:v>903.2667</c:v>
                </c:pt>
                <c:pt idx="19">
                  <c:v>897.0819</c:v>
                </c:pt>
                <c:pt idx="20">
                  <c:v>873.8444</c:v>
                </c:pt>
                <c:pt idx="21">
                  <c:v>933.0707</c:v>
                </c:pt>
                <c:pt idx="22">
                  <c:v>912.4201</c:v>
                </c:pt>
                <c:pt idx="23">
                  <c:v>880.7368</c:v>
                </c:pt>
                <c:pt idx="24">
                  <c:v>895.06</c:v>
                </c:pt>
                <c:pt idx="25">
                  <c:v>861.3932</c:v>
                </c:pt>
                <c:pt idx="26">
                  <c:v>836.7203</c:v>
                </c:pt>
                <c:pt idx="27">
                  <c:v>889.9597</c:v>
                </c:pt>
                <c:pt idx="28">
                  <c:v>890.068</c:v>
                </c:pt>
                <c:pt idx="29">
                  <c:v>589.494</c:v>
                </c:pt>
                <c:pt idx="30">
                  <c:v>686.075</c:v>
                </c:pt>
                <c:pt idx="31">
                  <c:v>761.3333</c:v>
                </c:pt>
                <c:pt idx="32">
                  <c:v>726.1471</c:v>
                </c:pt>
                <c:pt idx="33">
                  <c:v>489.8244</c:v>
                </c:pt>
                <c:pt idx="34">
                  <c:v>768.972</c:v>
                </c:pt>
                <c:pt idx="35">
                  <c:v>767.1933</c:v>
                </c:pt>
                <c:pt idx="36">
                  <c:v>903.48</c:v>
                </c:pt>
                <c:pt idx="37">
                  <c:v>850.8481</c:v>
                </c:pt>
                <c:pt idx="38">
                  <c:v>935.9178</c:v>
                </c:pt>
                <c:pt idx="39">
                  <c:v>985.7885</c:v>
                </c:pt>
                <c:pt idx="40">
                  <c:v>956.6104</c:v>
                </c:pt>
                <c:pt idx="41">
                  <c:v>960.4444</c:v>
                </c:pt>
                <c:pt idx="42">
                  <c:v>1018.2059</c:v>
                </c:pt>
                <c:pt idx="43">
                  <c:v>939.3083</c:v>
                </c:pt>
                <c:pt idx="44">
                  <c:v>918.4298</c:v>
                </c:pt>
                <c:pt idx="45">
                  <c:v>918.438</c:v>
                </c:pt>
                <c:pt idx="46">
                  <c:v>912.5607</c:v>
                </c:pt>
                <c:pt idx="47">
                  <c:v>891.1901</c:v>
                </c:pt>
                <c:pt idx="48">
                  <c:v>945.0576</c:v>
                </c:pt>
                <c:pt idx="49">
                  <c:v>952.8173</c:v>
                </c:pt>
                <c:pt idx="50">
                  <c:v>912.8365</c:v>
                </c:pt>
                <c:pt idx="51">
                  <c:v>893.4144</c:v>
                </c:pt>
                <c:pt idx="52">
                  <c:v>943.51</c:v>
                </c:pt>
                <c:pt idx="53">
                  <c:v>1000.3636</c:v>
                </c:pt>
                <c:pt idx="54">
                  <c:v>1007.9103</c:v>
                </c:pt>
                <c:pt idx="55">
                  <c:v>1011.5164</c:v>
                </c:pt>
                <c:pt idx="56">
                  <c:v>1021.8455</c:v>
                </c:pt>
                <c:pt idx="57">
                  <c:v>1029.3951</c:v>
                </c:pt>
                <c:pt idx="58">
                  <c:v>1051.0295</c:v>
                </c:pt>
                <c:pt idx="59">
                  <c:v>975.6205</c:v>
                </c:pt>
                <c:pt idx="60">
                  <c:v>1003.0098</c:v>
                </c:pt>
                <c:pt idx="61">
                  <c:v>1049.5602</c:v>
                </c:pt>
                <c:pt idx="62">
                  <c:v>978.8098</c:v>
                </c:pt>
                <c:pt idx="63">
                  <c:v>1032.9866</c:v>
                </c:pt>
                <c:pt idx="64">
                  <c:v>1033.8325</c:v>
                </c:pt>
                <c:pt idx="65">
                  <c:v>989.4584</c:v>
                </c:pt>
                <c:pt idx="66">
                  <c:v>980.8277</c:v>
                </c:pt>
                <c:pt idx="67">
                  <c:v>1008.8272</c:v>
                </c:pt>
                <c:pt idx="68">
                  <c:v>967.5311</c:v>
                </c:pt>
                <c:pt idx="69">
                  <c:v>938.5949</c:v>
                </c:pt>
                <c:pt idx="70">
                  <c:v>933.1295</c:v>
                </c:pt>
                <c:pt idx="71">
                  <c:v>992.557</c:v>
                </c:pt>
                <c:pt idx="72">
                  <c:v>1025.3353</c:v>
                </c:pt>
                <c:pt idx="73">
                  <c:v>1179.76</c:v>
                </c:pt>
                <c:pt idx="74">
                  <c:v>1132.3065</c:v>
                </c:pt>
                <c:pt idx="75">
                  <c:v>1065.8901</c:v>
                </c:pt>
                <c:pt idx="76">
                  <c:v>1120.2222</c:v>
                </c:pt>
                <c:pt idx="77">
                  <c:v>1144.6866</c:v>
                </c:pt>
                <c:pt idx="78">
                  <c:v>1078.6567</c:v>
                </c:pt>
                <c:pt idx="79">
                  <c:v>1110.4333</c:v>
                </c:pt>
                <c:pt idx="80">
                  <c:v>1091.7222</c:v>
                </c:pt>
                <c:pt idx="81">
                  <c:v>957.5125</c:v>
                </c:pt>
                <c:pt idx="82">
                  <c:v>918.7069</c:v>
                </c:pt>
                <c:pt idx="83">
                  <c:v>984.9048</c:v>
                </c:pt>
                <c:pt idx="84">
                  <c:v>994.6818</c:v>
                </c:pt>
                <c:pt idx="85">
                  <c:v>1035.7759</c:v>
                </c:pt>
                <c:pt idx="86">
                  <c:v>1069.8814</c:v>
                </c:pt>
                <c:pt idx="87">
                  <c:v>1054.5753</c:v>
                </c:pt>
                <c:pt idx="88">
                  <c:v>973.5686</c:v>
                </c:pt>
                <c:pt idx="89">
                  <c:v>1025.4848</c:v>
                </c:pt>
                <c:pt idx="90">
                  <c:v>1112.9722</c:v>
                </c:pt>
                <c:pt idx="91">
                  <c:v>1106.2308</c:v>
                </c:pt>
                <c:pt idx="92">
                  <c:v>948.3521</c:v>
                </c:pt>
                <c:pt idx="93">
                  <c:v>1033.8088</c:v>
                </c:pt>
                <c:pt idx="94">
                  <c:v>1080.4783</c:v>
                </c:pt>
                <c:pt idx="95">
                  <c:v>1044.1809</c:v>
                </c:pt>
                <c:pt idx="96">
                  <c:v>1017.7035</c:v>
                </c:pt>
                <c:pt idx="97">
                  <c:v>1023.7487</c:v>
                </c:pt>
                <c:pt idx="98">
                  <c:v>1051.4133</c:v>
                </c:pt>
                <c:pt idx="99">
                  <c:v>991.1931</c:v>
                </c:pt>
                <c:pt idx="100">
                  <c:v>984.6829</c:v>
                </c:pt>
                <c:pt idx="101">
                  <c:v>1023.1926</c:v>
                </c:pt>
                <c:pt idx="102">
                  <c:v>1015.8021</c:v>
                </c:pt>
                <c:pt idx="103">
                  <c:v>1002.0234</c:v>
                </c:pt>
                <c:pt idx="104">
                  <c:v>1042.2641</c:v>
                </c:pt>
              </c:numCache>
            </c:numRef>
          </c:xVal>
          <c:yVal>
            <c:numRef>
              <c:f>Sheet1!$B$2:$B$106</c:f>
              <c:numCache>
                <c:formatCode>General</c:formatCode>
                <c:ptCount val="105"/>
                <c:pt idx="0">
                  <c:v>0.22297955209347614</c:v>
                </c:pt>
                <c:pt idx="1">
                  <c:v>0.20850884582982307</c:v>
                </c:pt>
                <c:pt idx="2">
                  <c:v>0.16288024643819793</c:v>
                </c:pt>
                <c:pt idx="3">
                  <c:v>0.15108892921960074</c:v>
                </c:pt>
                <c:pt idx="4">
                  <c:v>0.12336244541484716</c:v>
                </c:pt>
                <c:pt idx="5">
                  <c:v>0.12053802379720642</c:v>
                </c:pt>
                <c:pt idx="6">
                  <c:v>0.11948438274665345</c:v>
                </c:pt>
                <c:pt idx="7">
                  <c:v>0.09774436090225563</c:v>
                </c:pt>
                <c:pt idx="8">
                  <c:v>0.13726541554959787</c:v>
                </c:pt>
                <c:pt idx="9">
                  <c:v>0.17348678601875533</c:v>
                </c:pt>
                <c:pt idx="10">
                  <c:v>0.1830929487179487</c:v>
                </c:pt>
                <c:pt idx="11">
                  <c:v>0.18872017353579176</c:v>
                </c:pt>
                <c:pt idx="12">
                  <c:v>0.1778225806451613</c:v>
                </c:pt>
                <c:pt idx="13">
                  <c:v>0.21137521222410866</c:v>
                </c:pt>
                <c:pt idx="14">
                  <c:v>0.19607843137254902</c:v>
                </c:pt>
                <c:pt idx="15">
                  <c:v>0.19849100406268136</c:v>
                </c:pt>
                <c:pt idx="16">
                  <c:v>0.19442556084296397</c:v>
                </c:pt>
                <c:pt idx="17">
                  <c:v>0.1896938013442868</c:v>
                </c:pt>
                <c:pt idx="18">
                  <c:v>0.1559792027729636</c:v>
                </c:pt>
                <c:pt idx="19">
                  <c:v>0.16797642436149313</c:v>
                </c:pt>
                <c:pt idx="20">
                  <c:v>0.20109546165884193</c:v>
                </c:pt>
                <c:pt idx="21">
                  <c:v>0.1781219748305905</c:v>
                </c:pt>
                <c:pt idx="22">
                  <c:v>0.17640918580375783</c:v>
                </c:pt>
                <c:pt idx="23">
                  <c:v>0.15702479338842976</c:v>
                </c:pt>
                <c:pt idx="24">
                  <c:v>0.16233766233766234</c:v>
                </c:pt>
                <c:pt idx="25">
                  <c:v>0.15558510638297873</c:v>
                </c:pt>
                <c:pt idx="26">
                  <c:v>0.15967523680649526</c:v>
                </c:pt>
                <c:pt idx="27">
                  <c:v>0.16711590296495957</c:v>
                </c:pt>
                <c:pt idx="28">
                  <c:v>0.14425770308123248</c:v>
                </c:pt>
                <c:pt idx="29">
                  <c:v>0.22281879194630871</c:v>
                </c:pt>
                <c:pt idx="30">
                  <c:v>0.14571948998178508</c:v>
                </c:pt>
                <c:pt idx="31">
                  <c:v>0.1352253756260434</c:v>
                </c:pt>
                <c:pt idx="32">
                  <c:v>0.16139240506329114</c:v>
                </c:pt>
                <c:pt idx="33">
                  <c:v>0.24231678486997635</c:v>
                </c:pt>
                <c:pt idx="34">
                  <c:v>0.1436241610738255</c:v>
                </c:pt>
                <c:pt idx="35">
                  <c:v>0.15006305170239598</c:v>
                </c:pt>
                <c:pt idx="36">
                  <c:v>0.09868421052631579</c:v>
                </c:pt>
                <c:pt idx="37">
                  <c:v>0.10273081924577374</c:v>
                </c:pt>
                <c:pt idx="38">
                  <c:v>0.09136420525657071</c:v>
                </c:pt>
                <c:pt idx="39">
                  <c:v>0.07658321060382917</c:v>
                </c:pt>
                <c:pt idx="40">
                  <c:v>0.09322033898305085</c:v>
                </c:pt>
                <c:pt idx="41">
                  <c:v>0.07682926829268293</c:v>
                </c:pt>
                <c:pt idx="42">
                  <c:v>0.0776255707762557</c:v>
                </c:pt>
                <c:pt idx="43">
                  <c:v>0.0990916597853014</c:v>
                </c:pt>
                <c:pt idx="44">
                  <c:v>0.11746522411128284</c:v>
                </c:pt>
                <c:pt idx="45">
                  <c:v>0.13217559093101786</c:v>
                </c:pt>
                <c:pt idx="46">
                  <c:v>0.1303873431533006</c:v>
                </c:pt>
                <c:pt idx="47">
                  <c:v>0.13873961895456766</c:v>
                </c:pt>
                <c:pt idx="48">
                  <c:v>0.15789473684210525</c:v>
                </c:pt>
                <c:pt idx="49">
                  <c:v>0.193248683803035</c:v>
                </c:pt>
                <c:pt idx="50">
                  <c:v>0.15050651230101303</c:v>
                </c:pt>
                <c:pt idx="51">
                  <c:v>0.1488398415393322</c:v>
                </c:pt>
                <c:pt idx="52">
                  <c:v>0.15442146942366916</c:v>
                </c:pt>
                <c:pt idx="53">
                  <c:v>0.12809315866084425</c:v>
                </c:pt>
                <c:pt idx="54">
                  <c:v>0.12080173347778982</c:v>
                </c:pt>
                <c:pt idx="55">
                  <c:v>0.11979752530933634</c:v>
                </c:pt>
                <c:pt idx="56">
                  <c:v>0.12805830296720458</c:v>
                </c:pt>
                <c:pt idx="57">
                  <c:v>0.11702127659574468</c:v>
                </c:pt>
                <c:pt idx="58">
                  <c:v>0.12620997766195086</c:v>
                </c:pt>
                <c:pt idx="59">
                  <c:v>0.15569534935969445</c:v>
                </c:pt>
                <c:pt idx="60">
                  <c:v>0.16607773851590105</c:v>
                </c:pt>
                <c:pt idx="61">
                  <c:v>0.1532379518072289</c:v>
                </c:pt>
                <c:pt idx="62">
                  <c:v>0.197895588830433</c:v>
                </c:pt>
                <c:pt idx="63">
                  <c:v>0.21658819268381022</c:v>
                </c:pt>
                <c:pt idx="64">
                  <c:v>0.23223501389440254</c:v>
                </c:pt>
                <c:pt idx="65">
                  <c:v>0.1971416561580496</c:v>
                </c:pt>
                <c:pt idx="66">
                  <c:v>0.1673219746614242</c:v>
                </c:pt>
                <c:pt idx="67">
                  <c:v>0.1509785647716682</c:v>
                </c:pt>
                <c:pt idx="68">
                  <c:v>0.15076618882847256</c:v>
                </c:pt>
                <c:pt idx="69">
                  <c:v>0.13319672131147542</c:v>
                </c:pt>
                <c:pt idx="70">
                  <c:v>0.12387676508344031</c:v>
                </c:pt>
                <c:pt idx="71">
                  <c:v>0.10934256055363321</c:v>
                </c:pt>
                <c:pt idx="72">
                  <c:v>0.1259259259259259</c:v>
                </c:pt>
                <c:pt idx="73">
                  <c:v>0.10032102728731943</c:v>
                </c:pt>
                <c:pt idx="74">
                  <c:v>0.09553158705701079</c:v>
                </c:pt>
                <c:pt idx="75">
                  <c:v>0.09691160809371673</c:v>
                </c:pt>
                <c:pt idx="76">
                  <c:v>0.09125475285171103</c:v>
                </c:pt>
                <c:pt idx="77">
                  <c:v>0.08271604938271605</c:v>
                </c:pt>
                <c:pt idx="78">
                  <c:v>0.09066305818673884</c:v>
                </c:pt>
                <c:pt idx="79">
                  <c:v>0.08344923504867872</c:v>
                </c:pt>
                <c:pt idx="80">
                  <c:v>0.07627118644067797</c:v>
                </c:pt>
                <c:pt idx="81">
                  <c:v>0.09101251422070535</c:v>
                </c:pt>
                <c:pt idx="82">
                  <c:v>0.08180535966149506</c:v>
                </c:pt>
                <c:pt idx="83">
                  <c:v>0.07106598984771574</c:v>
                </c:pt>
                <c:pt idx="84">
                  <c:v>0.07521367521367521</c:v>
                </c:pt>
                <c:pt idx="85">
                  <c:v>0.08203677510608204</c:v>
                </c:pt>
                <c:pt idx="86">
                  <c:v>0.0689252336448598</c:v>
                </c:pt>
                <c:pt idx="87">
                  <c:v>0.09159347553324969</c:v>
                </c:pt>
                <c:pt idx="88">
                  <c:v>0.0781010719754977</c:v>
                </c:pt>
                <c:pt idx="89">
                  <c:v>0.05076923076923077</c:v>
                </c:pt>
                <c:pt idx="90">
                  <c:v>0.06020066889632107</c:v>
                </c:pt>
                <c:pt idx="91">
                  <c:v>0.05743740795287187</c:v>
                </c:pt>
                <c:pt idx="92">
                  <c:v>0.07734204793028322</c:v>
                </c:pt>
                <c:pt idx="93">
                  <c:v>0.07456140350877193</c:v>
                </c:pt>
                <c:pt idx="94">
                  <c:v>0.07266982622432859</c:v>
                </c:pt>
                <c:pt idx="95">
                  <c:v>0.08818011257035648</c:v>
                </c:pt>
                <c:pt idx="96">
                  <c:v>0.10141509433962265</c:v>
                </c:pt>
                <c:pt idx="97">
                  <c:v>0.11164179104477612</c:v>
                </c:pt>
                <c:pt idx="98">
                  <c:v>0.11817226890756302</c:v>
                </c:pt>
                <c:pt idx="99">
                  <c:v>0.1371208885091841</c:v>
                </c:pt>
                <c:pt idx="100">
                  <c:v>0.16321656050955413</c:v>
                </c:pt>
                <c:pt idx="101">
                  <c:v>0.13553113553113552</c:v>
                </c:pt>
                <c:pt idx="102">
                  <c:v>0.1098062243100411</c:v>
                </c:pt>
                <c:pt idx="103">
                  <c:v>0.11425520555258943</c:v>
                </c:pt>
                <c:pt idx="104">
                  <c:v>0.130656108597285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44.1551</c:v>
                </c:pt>
                <c:pt idx="1">
                  <c:v>1001.0883</c:v>
                </c:pt>
                <c:pt idx="2">
                  <c:v>1044.8219</c:v>
                </c:pt>
                <c:pt idx="3">
                  <c:v>1028.9588</c:v>
                </c:pt>
                <c:pt idx="4">
                  <c:v>1015.6548</c:v>
                </c:pt>
                <c:pt idx="5">
                  <c:v>1018.7877</c:v>
                </c:pt>
                <c:pt idx="6">
                  <c:v>959.2603</c:v>
                </c:pt>
                <c:pt idx="7">
                  <c:v>1070.7303</c:v>
                </c:pt>
                <c:pt idx="8">
                  <c:v>1111.0764</c:v>
                </c:pt>
                <c:pt idx="9">
                  <c:v>1056.8288</c:v>
                </c:pt>
                <c:pt idx="10">
                  <c:v>1073.8947</c:v>
                </c:pt>
                <c:pt idx="11">
                  <c:v>898.6563</c:v>
                </c:pt>
                <c:pt idx="12">
                  <c:v>919.8421</c:v>
                </c:pt>
                <c:pt idx="13">
                  <c:v>1047.4928</c:v>
                </c:pt>
                <c:pt idx="14">
                  <c:v>1071.2736</c:v>
                </c:pt>
                <c:pt idx="15">
                  <c:v>1096.959</c:v>
                </c:pt>
                <c:pt idx="16">
                  <c:v>1140.199</c:v>
                </c:pt>
                <c:pt idx="17">
                  <c:v>1140.6918</c:v>
                </c:pt>
                <c:pt idx="18">
                  <c:v>1126.4059</c:v>
                </c:pt>
                <c:pt idx="19">
                  <c:v>1109.2821</c:v>
                </c:pt>
                <c:pt idx="20">
                  <c:v>1106.2389</c:v>
                </c:pt>
                <c:pt idx="21">
                  <c:v>994.1591</c:v>
                </c:pt>
                <c:pt idx="22">
                  <c:v>966.648</c:v>
                </c:pt>
                <c:pt idx="23">
                  <c:v>965.0874</c:v>
                </c:pt>
                <c:pt idx="24">
                  <c:v>981.7386</c:v>
                </c:pt>
                <c:pt idx="25">
                  <c:v>969.2208</c:v>
                </c:pt>
                <c:pt idx="26">
                  <c:v>1036.8209</c:v>
                </c:pt>
                <c:pt idx="27">
                  <c:v>1078.7536</c:v>
                </c:pt>
                <c:pt idx="28">
                  <c:v>1041.175</c:v>
                </c:pt>
                <c:pt idx="29">
                  <c:v>1023.7636</c:v>
                </c:pt>
                <c:pt idx="30">
                  <c:v>991.9057</c:v>
                </c:pt>
                <c:pt idx="31">
                  <c:v>1061.4872</c:v>
                </c:pt>
                <c:pt idx="32">
                  <c:v>1007.22</c:v>
                </c:pt>
                <c:pt idx="33">
                  <c:v>1069.3115</c:v>
                </c:pt>
                <c:pt idx="34">
                  <c:v>1067.6867</c:v>
                </c:pt>
                <c:pt idx="35">
                  <c:v>1026.8824</c:v>
                </c:pt>
                <c:pt idx="36">
                  <c:v>1089.9259</c:v>
                </c:pt>
                <c:pt idx="37">
                  <c:v>1041.6471</c:v>
                </c:pt>
                <c:pt idx="38">
                  <c:v>1086.0</c:v>
                </c:pt>
                <c:pt idx="39">
                  <c:v>1057.0652</c:v>
                </c:pt>
                <c:pt idx="40">
                  <c:v>1108.1639</c:v>
                </c:pt>
                <c:pt idx="41">
                  <c:v>1166.6078</c:v>
                </c:pt>
                <c:pt idx="42">
                  <c:v>1103.6964</c:v>
                </c:pt>
                <c:pt idx="43">
                  <c:v>1086.7692</c:v>
                </c:pt>
                <c:pt idx="44">
                  <c:v>1060.1681</c:v>
                </c:pt>
                <c:pt idx="45">
                  <c:v>1055.9886</c:v>
                </c:pt>
                <c:pt idx="46">
                  <c:v>1125.5583</c:v>
                </c:pt>
                <c:pt idx="47">
                  <c:v>1062.561</c:v>
                </c:pt>
                <c:pt idx="48">
                  <c:v>1063.8017</c:v>
                </c:pt>
                <c:pt idx="49">
                  <c:v>1092.2318</c:v>
                </c:pt>
                <c:pt idx="50">
                  <c:v>949.0083</c:v>
                </c:pt>
                <c:pt idx="51">
                  <c:v>904.1019</c:v>
                </c:pt>
              </c:numCache>
            </c:numRef>
          </c:xVal>
          <c:yVal>
            <c:numRef>
              <c:f>Sheet1!$B$109:$B$160</c:f>
              <c:numCache>
                <c:formatCode>General</c:formatCode>
                <c:ptCount val="52"/>
                <c:pt idx="0">
                  <c:v>0.13617977528089886</c:v>
                </c:pt>
                <c:pt idx="1">
                  <c:v>0.14101423487544484</c:v>
                </c:pt>
                <c:pt idx="2">
                  <c:v>0.14965149651496515</c:v>
                </c:pt>
                <c:pt idx="3">
                  <c:v>0.16653963414634146</c:v>
                </c:pt>
                <c:pt idx="4">
                  <c:v>0.15361952861952863</c:v>
                </c:pt>
                <c:pt idx="5">
                  <c:v>0.16003576218149307</c:v>
                </c:pt>
                <c:pt idx="6">
                  <c:v>0.16061606160616063</c:v>
                </c:pt>
                <c:pt idx="7">
                  <c:v>0.1457073760580411</c:v>
                </c:pt>
                <c:pt idx="8">
                  <c:v>0.15252357182473655</c:v>
                </c:pt>
                <c:pt idx="9">
                  <c:v>0.17554032683183976</c:v>
                </c:pt>
                <c:pt idx="10">
                  <c:v>0.1792452830188679</c:v>
                </c:pt>
                <c:pt idx="11">
                  <c:v>0.2090946000812018</c:v>
                </c:pt>
                <c:pt idx="12">
                  <c:v>0.19308943089430894</c:v>
                </c:pt>
                <c:pt idx="13">
                  <c:v>0.16491395793499045</c:v>
                </c:pt>
                <c:pt idx="14">
                  <c:v>0.16017316017316016</c:v>
                </c:pt>
                <c:pt idx="15">
                  <c:v>0.1550925925925926</c:v>
                </c:pt>
                <c:pt idx="16">
                  <c:v>0.13444816053511705</c:v>
                </c:pt>
                <c:pt idx="17">
                  <c:v>0.11397345823575332</c:v>
                </c:pt>
                <c:pt idx="18">
                  <c:v>0.11503416856492027</c:v>
                </c:pt>
                <c:pt idx="19">
                  <c:v>0.11987704918032786</c:v>
                </c:pt>
                <c:pt idx="20">
                  <c:v>0.11243781094527364</c:v>
                </c:pt>
                <c:pt idx="21">
                  <c:v>0.13678756476683937</c:v>
                </c:pt>
                <c:pt idx="22">
                  <c:v>0.13007284079084286</c:v>
                </c:pt>
                <c:pt idx="23">
                  <c:v>0.11907514450867052</c:v>
                </c:pt>
                <c:pt idx="24">
                  <c:v>0.1056422569027611</c:v>
                </c:pt>
                <c:pt idx="25">
                  <c:v>0.10349462365591398</c:v>
                </c:pt>
                <c:pt idx="26">
                  <c:v>0.07596371882086168</c:v>
                </c:pt>
                <c:pt idx="27">
                  <c:v>0.08508014796547472</c:v>
                </c:pt>
                <c:pt idx="28">
                  <c:v>0.09101251422070535</c:v>
                </c:pt>
                <c:pt idx="29">
                  <c:v>0.07096774193548387</c:v>
                </c:pt>
                <c:pt idx="30">
                  <c:v>0.08141321044546851</c:v>
                </c:pt>
                <c:pt idx="31">
                  <c:v>0.07587548638132295</c:v>
                </c:pt>
                <c:pt idx="32">
                  <c:v>0.07418397626112759</c:v>
                </c:pt>
                <c:pt idx="33">
                  <c:v>0.08187919463087248</c:v>
                </c:pt>
                <c:pt idx="34">
                  <c:v>0.09684947491248541</c:v>
                </c:pt>
                <c:pt idx="35">
                  <c:v>0.07112970711297072</c:v>
                </c:pt>
                <c:pt idx="36">
                  <c:v>0.057203389830508475</c:v>
                </c:pt>
                <c:pt idx="37">
                  <c:v>0.06307977736549165</c:v>
                </c:pt>
                <c:pt idx="38">
                  <c:v>0.06695464362850972</c:v>
                </c:pt>
                <c:pt idx="39">
                  <c:v>0.06715328467153285</c:v>
                </c:pt>
                <c:pt idx="40">
                  <c:v>0.06275720164609054</c:v>
                </c:pt>
                <c:pt idx="41">
                  <c:v>0.058959537572254334</c:v>
                </c:pt>
                <c:pt idx="42">
                  <c:v>0.0761904761904762</c:v>
                </c:pt>
                <c:pt idx="43">
                  <c:v>0.07824591573516768</c:v>
                </c:pt>
                <c:pt idx="44">
                  <c:v>0.08432835820895522</c:v>
                </c:pt>
                <c:pt idx="45">
                  <c:v>0.09503239740820735</c:v>
                </c:pt>
                <c:pt idx="46">
                  <c:v>0.07787151200519143</c:v>
                </c:pt>
                <c:pt idx="47">
                  <c:v>0.0972139893301719</c:v>
                </c:pt>
                <c:pt idx="48">
                  <c:v>0.10589812332439678</c:v>
                </c:pt>
                <c:pt idx="49">
                  <c:v>0.12527091460771564</c:v>
                </c:pt>
                <c:pt idx="50">
                  <c:v>0.1879854997410668</c:v>
                </c:pt>
                <c:pt idx="51">
                  <c:v>0.1597633136094674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8.7744218472011</c:v>
                </c:pt>
              </c:numCache>
            </c:numRef>
          </c:xVal>
          <c:yVal>
            <c:numRef>
              <c:f>Sheet1!$B$163:$B$164</c:f>
              <c:numCache>
                <c:formatCode>General</c:formatCode>
                <c:ptCount val="2"/>
                <c:pt idx="0">
                  <c:v>0.18587381249139506</c:v>
                </c:pt>
                <c:pt idx="1">
                  <c:v>0.1858738124913950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8.7744218472011</c:v>
                </c:pt>
                <c:pt idx="1">
                  <c:v>808.7744218472011</c:v>
                </c:pt>
              </c:numCache>
            </c:numRef>
          </c:xVal>
          <c:yVal>
            <c:numRef>
              <c:f>Sheet1!$B$167:$B$168</c:f>
              <c:numCache>
                <c:formatCode>General</c:formatCode>
                <c:ptCount val="2"/>
                <c:pt idx="0">
                  <c:v>0.18587381249139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5.7845422865361</c:v>
                </c:pt>
              </c:numCache>
            </c:numRef>
          </c:xVal>
          <c:yVal>
            <c:numRef>
              <c:f>Sheet1!$B$171:$B$172</c:f>
              <c:numCache>
                <c:formatCode>General</c:formatCode>
                <c:ptCount val="2"/>
                <c:pt idx="0">
                  <c:v>0.15176527123417893</c:v>
                </c:pt>
                <c:pt idx="1">
                  <c:v>0.151765271234178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5.7845422865361</c:v>
                </c:pt>
                <c:pt idx="1">
                  <c:v>925.7845422865361</c:v>
                </c:pt>
              </c:numCache>
            </c:numRef>
          </c:xVal>
          <c:yVal>
            <c:numRef>
              <c:f>Sheet1!$B$175:$B$176</c:f>
              <c:numCache>
                <c:formatCode>General</c:formatCode>
                <c:ptCount val="2"/>
                <c:pt idx="0">
                  <c:v>0.151765271234178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09.5228036169633</c:v>
                </c:pt>
              </c:numCache>
            </c:numRef>
          </c:xVal>
          <c:yVal>
            <c:numRef>
              <c:f>Sheet1!$B$179:$B$180</c:f>
              <c:numCache>
                <c:formatCode>General</c:formatCode>
                <c:ptCount val="2"/>
                <c:pt idx="0">
                  <c:v>0.09820542492697647</c:v>
                </c:pt>
                <c:pt idx="1">
                  <c:v>0.098205424926976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09.5228036169633</c:v>
                </c:pt>
                <c:pt idx="1">
                  <c:v>1109.5228036169633</c:v>
                </c:pt>
              </c:numCache>
            </c:numRef>
          </c:xVal>
          <c:yVal>
            <c:numRef>
              <c:f>Sheet1!$B$183:$B$184</c:f>
              <c:numCache>
                <c:formatCode>General</c:formatCode>
                <c:ptCount val="2"/>
                <c:pt idx="0">
                  <c:v>0.098205424926976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44.1551</c:v>
                </c:pt>
                <c:pt idx="1">
                  <c:v>1001.0883</c:v>
                </c:pt>
                <c:pt idx="2">
                  <c:v>1044.8219</c:v>
                </c:pt>
                <c:pt idx="3">
                  <c:v>1028.9588</c:v>
                </c:pt>
                <c:pt idx="4">
                  <c:v>1015.6548</c:v>
                </c:pt>
                <c:pt idx="5">
                  <c:v>1018.7877</c:v>
                </c:pt>
                <c:pt idx="6">
                  <c:v>959.2603</c:v>
                </c:pt>
                <c:pt idx="7">
                  <c:v>1070.7303</c:v>
                </c:pt>
                <c:pt idx="8">
                  <c:v>1111.0764</c:v>
                </c:pt>
                <c:pt idx="9">
                  <c:v>1056.8288</c:v>
                </c:pt>
                <c:pt idx="10">
                  <c:v>1073.8947</c:v>
                </c:pt>
                <c:pt idx="11">
                  <c:v>898.6563</c:v>
                </c:pt>
                <c:pt idx="12">
                  <c:v>919.8421</c:v>
                </c:pt>
                <c:pt idx="13">
                  <c:v>1047.4928</c:v>
                </c:pt>
                <c:pt idx="14">
                  <c:v>1071.2736</c:v>
                </c:pt>
                <c:pt idx="15">
                  <c:v>1096.959</c:v>
                </c:pt>
                <c:pt idx="16">
                  <c:v>1140.199</c:v>
                </c:pt>
                <c:pt idx="17">
                  <c:v>1140.6918</c:v>
                </c:pt>
                <c:pt idx="18">
                  <c:v>1126.4059</c:v>
                </c:pt>
                <c:pt idx="19">
                  <c:v>1109.2821</c:v>
                </c:pt>
                <c:pt idx="20">
                  <c:v>1106.2389</c:v>
                </c:pt>
                <c:pt idx="21">
                  <c:v>994.1591</c:v>
                </c:pt>
                <c:pt idx="22">
                  <c:v>966.648</c:v>
                </c:pt>
                <c:pt idx="23">
                  <c:v>965.0874</c:v>
                </c:pt>
                <c:pt idx="24">
                  <c:v>981.7386</c:v>
                </c:pt>
                <c:pt idx="25">
                  <c:v>969.2208</c:v>
                </c:pt>
                <c:pt idx="26">
                  <c:v>1036.8209</c:v>
                </c:pt>
                <c:pt idx="27">
                  <c:v>1078.7536</c:v>
                </c:pt>
                <c:pt idx="28">
                  <c:v>1041.175</c:v>
                </c:pt>
                <c:pt idx="29">
                  <c:v>1023.7636</c:v>
                </c:pt>
                <c:pt idx="30">
                  <c:v>991.9057</c:v>
                </c:pt>
                <c:pt idx="31">
                  <c:v>1061.4872</c:v>
                </c:pt>
                <c:pt idx="32">
                  <c:v>1007.22</c:v>
                </c:pt>
                <c:pt idx="33">
                  <c:v>1069.3115</c:v>
                </c:pt>
                <c:pt idx="34">
                  <c:v>1067.6867</c:v>
                </c:pt>
                <c:pt idx="35">
                  <c:v>1026.8824</c:v>
                </c:pt>
                <c:pt idx="36">
                  <c:v>1089.9259</c:v>
                </c:pt>
                <c:pt idx="37">
                  <c:v>1041.6471</c:v>
                </c:pt>
                <c:pt idx="38">
                  <c:v>1086.0</c:v>
                </c:pt>
                <c:pt idx="39">
                  <c:v>1057.0652</c:v>
                </c:pt>
                <c:pt idx="40">
                  <c:v>1108.1639</c:v>
                </c:pt>
                <c:pt idx="41">
                  <c:v>1166.6078</c:v>
                </c:pt>
                <c:pt idx="42">
                  <c:v>1103.6964</c:v>
                </c:pt>
                <c:pt idx="43">
                  <c:v>1086.7692</c:v>
                </c:pt>
                <c:pt idx="44">
                  <c:v>1060.1681</c:v>
                </c:pt>
                <c:pt idx="45">
                  <c:v>1055.9886</c:v>
                </c:pt>
                <c:pt idx="46">
                  <c:v>1125.5583</c:v>
                </c:pt>
                <c:pt idx="47">
                  <c:v>1062.561</c:v>
                </c:pt>
                <c:pt idx="48">
                  <c:v>1063.8017</c:v>
                </c:pt>
                <c:pt idx="49">
                  <c:v>1092.2318</c:v>
                </c:pt>
                <c:pt idx="50">
                  <c:v>949.0083</c:v>
                </c:pt>
                <c:pt idx="51">
                  <c:v>904.1019</c:v>
                </c:pt>
                <c:pt idx="52">
                  <c:v>925.7845422865361</c:v>
                </c:pt>
                <c:pt idx="53">
                  <c:v>808.7744218472011</c:v>
                </c:pt>
                <c:pt idx="54">
                  <c:v>1109.5228036169633</c:v>
                </c:pt>
              </c:numCache>
            </c:numRef>
          </c:xVal>
          <c:yVal>
            <c:numRef>
              <c:f>Sheet1!$B$187:$B$241</c:f>
              <c:numCache>
                <c:formatCode>General</c:formatCode>
                <c:ptCount val="55"/>
                <c:pt idx="0">
                  <c:v>0.1172601614517938</c:v>
                </c:pt>
                <c:pt idx="1">
                  <c:v>0.1298141672001928</c:v>
                </c:pt>
                <c:pt idx="2">
                  <c:v>0.11706578873236645</c:v>
                </c:pt>
                <c:pt idx="3">
                  <c:v>0.12168989473948627</c:v>
                </c:pt>
                <c:pt idx="4">
                  <c:v>0.1255680211031051</c:v>
                </c:pt>
                <c:pt idx="5">
                  <c:v>0.12465477831262245</c:v>
                </c:pt>
                <c:pt idx="6">
                  <c:v>0.14200706178358496</c:v>
                </c:pt>
                <c:pt idx="7">
                  <c:v>0.10951346995010675</c:v>
                </c:pt>
                <c:pt idx="8">
                  <c:v>0.0977525503710927</c:v>
                </c:pt>
                <c:pt idx="9">
                  <c:v>0.11356576802916923</c:v>
                </c:pt>
                <c:pt idx="10">
                  <c:v>0.10859104488508603</c:v>
                </c:pt>
                <c:pt idx="11">
                  <c:v>0.15967317499320294</c:v>
                </c:pt>
                <c:pt idx="12">
                  <c:v>0.15349749778977873</c:v>
                </c:pt>
                <c:pt idx="13">
                  <c:v>0.11628721930177494</c:v>
                </c:pt>
                <c:pt idx="14">
                  <c:v>0.10935509757688411</c:v>
                </c:pt>
                <c:pt idx="15">
                  <c:v>0.10186778346833808</c:v>
                </c:pt>
                <c:pt idx="16">
                  <c:v>0.0892632897850188</c:v>
                </c:pt>
                <c:pt idx="17">
                  <c:v>0.08911963820113494</c:v>
                </c:pt>
                <c:pt idx="18">
                  <c:v>0.09328398917963937</c:v>
                </c:pt>
                <c:pt idx="19">
                  <c:v>0.09827559021882581</c:v>
                </c:pt>
                <c:pt idx="20">
                  <c:v>0.09916268538943351</c:v>
                </c:pt>
                <c:pt idx="21">
                  <c:v>0.13183403439793695</c:v>
                </c:pt>
                <c:pt idx="22">
                  <c:v>0.13985354147867618</c:v>
                </c:pt>
                <c:pt idx="23">
                  <c:v>0.14030845759436045</c:v>
                </c:pt>
                <c:pt idx="24">
                  <c:v>0.13545461982332235</c:v>
                </c:pt>
                <c:pt idx="25">
                  <c:v>0.13910356827450304</c:v>
                </c:pt>
                <c:pt idx="26">
                  <c:v>0.11939808646502692</c:v>
                </c:pt>
                <c:pt idx="27">
                  <c:v>0.10717467175007495</c:v>
                </c:pt>
                <c:pt idx="28">
                  <c:v>0.11812886292324754</c:v>
                </c:pt>
                <c:pt idx="29">
                  <c:v>0.12320429958647011</c:v>
                </c:pt>
                <c:pt idx="30">
                  <c:v>0.13249090225330212</c:v>
                </c:pt>
                <c:pt idx="31">
                  <c:v>0.11220784080034468</c:v>
                </c:pt>
                <c:pt idx="32">
                  <c:v>0.12802677187368933</c:v>
                </c:pt>
                <c:pt idx="33">
                  <c:v>0.10992705125533092</c:v>
                </c:pt>
                <c:pt idx="34">
                  <c:v>0.11040068172102607</c:v>
                </c:pt>
                <c:pt idx="35">
                  <c:v>0.12229516695697112</c:v>
                </c:pt>
                <c:pt idx="36">
                  <c:v>0.10391793759701878</c:v>
                </c:pt>
                <c:pt idx="37">
                  <c:v>0.11799124540548861</c:v>
                </c:pt>
                <c:pt idx="38">
                  <c:v>0.10506234050523672</c:v>
                </c:pt>
                <c:pt idx="39">
                  <c:v>0.11349685724501718</c:v>
                </c:pt>
                <c:pt idx="40">
                  <c:v>0.09860154638988705</c:v>
                </c:pt>
                <c:pt idx="41">
                  <c:v>0.08156510401295497</c:v>
                </c:pt>
                <c:pt idx="42">
                  <c:v>0.09990382612000331</c:v>
                </c:pt>
                <c:pt idx="43">
                  <c:v>0.10483811810604132</c:v>
                </c:pt>
                <c:pt idx="44">
                  <c:v>0.11259235947790402</c:v>
                </c:pt>
                <c:pt idx="45">
                  <c:v>0.11381068698367264</c:v>
                </c:pt>
                <c:pt idx="46">
                  <c:v>0.09353106523990723</c:v>
                </c:pt>
                <c:pt idx="47">
                  <c:v>0.1118948272638704</c:v>
                </c:pt>
                <c:pt idx="48">
                  <c:v>0.11153316224738347</c:v>
                </c:pt>
                <c:pt idx="49">
                  <c:v>0.10324576595075685</c:v>
                </c:pt>
                <c:pt idx="50">
                  <c:v>0.14499552776974106</c:v>
                </c:pt>
                <c:pt idx="51">
                  <c:v>0.15808577835116128</c:v>
                </c:pt>
                <c:pt idx="52">
                  <c:v>0.15176527123417893</c:v>
                </c:pt>
                <c:pt idx="53">
                  <c:v>0.18587381249139506</c:v>
                </c:pt>
                <c:pt idx="54">
                  <c:v>0.098205424926976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16.0"/>
          <c:min val="3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7801418439716"/>
          <c:min val="0.0406153846153846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9</c:f>
              <c:numCache>
                <c:formatCode>General</c:formatCode>
                <c:ptCount val="108"/>
                <c:pt idx="0">
                  <c:v>0.20193174349466148</c:v>
                </c:pt>
                <c:pt idx="1">
                  <c:v>0.25832308828674727</c:v>
                </c:pt>
                <c:pt idx="2">
                  <c:v>0.2368495195341092</c:v>
                </c:pt>
                <c:pt idx="3">
                  <c:v>0.23312005733758856</c:v>
                </c:pt>
                <c:pt idx="4">
                  <c:v>0.24111979015669222</c:v>
                </c:pt>
                <c:pt idx="5">
                  <c:v>0.2044660059798655</c:v>
                </c:pt>
                <c:pt idx="6">
                  <c:v>0.21871691236027863</c:v>
                </c:pt>
                <c:pt idx="7">
                  <c:v>0.2370207626159765</c:v>
                </c:pt>
                <c:pt idx="8">
                  <c:v>0.2221386223551233</c:v>
                </c:pt>
                <c:pt idx="9">
                  <c:v>0.23667583111816895</c:v>
                </c:pt>
                <c:pt idx="10">
                  <c:v>0.2286961455394879</c:v>
                </c:pt>
                <c:pt idx="11">
                  <c:v>0.24358128159139084</c:v>
                </c:pt>
                <c:pt idx="12">
                  <c:v>0.21017989382242097</c:v>
                </c:pt>
                <c:pt idx="13">
                  <c:v>0.22589296287308905</c:v>
                </c:pt>
                <c:pt idx="14">
                  <c:v>0.2418798110374591</c:v>
                </c:pt>
                <c:pt idx="15">
                  <c:v>0.27145170470555086</c:v>
                </c:pt>
                <c:pt idx="16">
                  <c:v>0.23498610113088986</c:v>
                </c:pt>
                <c:pt idx="17">
                  <c:v>0.2813610655450403</c:v>
                </c:pt>
                <c:pt idx="18">
                  <c:v>0.23405285610601861</c:v>
                </c:pt>
                <c:pt idx="19">
                  <c:v>0.17046181172291297</c:v>
                </c:pt>
                <c:pt idx="20">
                  <c:v>0.2216627202745096</c:v>
                </c:pt>
                <c:pt idx="21">
                  <c:v>0.2661563060817547</c:v>
                </c:pt>
                <c:pt idx="22">
                  <c:v>0.24475353776398998</c:v>
                </c:pt>
                <c:pt idx="23">
                  <c:v>0.3323907886435331</c:v>
                </c:pt>
                <c:pt idx="24">
                  <c:v>0.2258205520452278</c:v>
                </c:pt>
                <c:pt idx="25">
                  <c:v>0.2636655737704918</c:v>
                </c:pt>
                <c:pt idx="26">
                  <c:v>0.235735358504489</c:v>
                </c:pt>
                <c:pt idx="27">
                  <c:v>0.12322597304446405</c:v>
                </c:pt>
                <c:pt idx="28">
                  <c:v>0.1372343432899814</c:v>
                </c:pt>
                <c:pt idx="29">
                  <c:v>0.2673839804871734</c:v>
                </c:pt>
                <c:pt idx="30">
                  <c:v>0.21079553494391717</c:v>
                </c:pt>
                <c:pt idx="31">
                  <c:v>0.255177040739058</c:v>
                </c:pt>
                <c:pt idx="32">
                  <c:v>0.1402047692071768</c:v>
                </c:pt>
                <c:pt idx="33">
                  <c:v>0.22136258235641676</c:v>
                </c:pt>
                <c:pt idx="34">
                  <c:v>0.22498313583634777</c:v>
                </c:pt>
                <c:pt idx="35">
                  <c:v>0.22474480269489894</c:v>
                </c:pt>
                <c:pt idx="36">
                  <c:v>0.22603585474689247</c:v>
                </c:pt>
                <c:pt idx="37">
                  <c:v>0.2648509691134175</c:v>
                </c:pt>
                <c:pt idx="38">
                  <c:v>0.32433603257181637</c:v>
                </c:pt>
                <c:pt idx="39">
                  <c:v>0.26540689134808854</c:v>
                </c:pt>
                <c:pt idx="40">
                  <c:v>0.3105844576199407</c:v>
                </c:pt>
                <c:pt idx="41">
                  <c:v>0.2919157340720222</c:v>
                </c:pt>
                <c:pt idx="42">
                  <c:v>0.2596631211332428</c:v>
                </c:pt>
                <c:pt idx="43">
                  <c:v>0.2989398189092441</c:v>
                </c:pt>
                <c:pt idx="44">
                  <c:v>0.23040428269110375</c:v>
                </c:pt>
                <c:pt idx="45">
                  <c:v>0.24437092726219387</c:v>
                </c:pt>
                <c:pt idx="46">
                  <c:v>0.20048153640970925</c:v>
                </c:pt>
                <c:pt idx="47">
                  <c:v>0.18719478449124188</c:v>
                </c:pt>
                <c:pt idx="48">
                  <c:v>0.2190399641577061</c:v>
                </c:pt>
                <c:pt idx="49">
                  <c:v>0.23865751718274594</c:v>
                </c:pt>
                <c:pt idx="50">
                  <c:v>0.23919244685662594</c:v>
                </c:pt>
                <c:pt idx="51">
                  <c:v>0.20128341579259845</c:v>
                </c:pt>
                <c:pt idx="52">
                  <c:v>0.24853515720559666</c:v>
                </c:pt>
                <c:pt idx="53">
                  <c:v>0.2648837343599615</c:v>
                </c:pt>
                <c:pt idx="54">
                  <c:v>0.2514377918343876</c:v>
                </c:pt>
                <c:pt idx="55">
                  <c:v>0.27251438401526096</c:v>
                </c:pt>
                <c:pt idx="56">
                  <c:v>0.13657685561769192</c:v>
                </c:pt>
                <c:pt idx="57">
                  <c:v>0.23078081131122707</c:v>
                </c:pt>
                <c:pt idx="58">
                  <c:v>0.2883268450077062</c:v>
                </c:pt>
                <c:pt idx="59">
                  <c:v>0.24739528598271565</c:v>
                </c:pt>
                <c:pt idx="60">
                  <c:v>0.20576558908365675</c:v>
                </c:pt>
                <c:pt idx="61">
                  <c:v>0.2553285160693507</c:v>
                </c:pt>
                <c:pt idx="62">
                  <c:v>0.2729380477876728</c:v>
                </c:pt>
                <c:pt idx="63">
                  <c:v>0.2601456868260666</c:v>
                </c:pt>
                <c:pt idx="64">
                  <c:v>0.27462958039253604</c:v>
                </c:pt>
                <c:pt idx="65">
                  <c:v>0.2503113131020231</c:v>
                </c:pt>
                <c:pt idx="66">
                  <c:v>0.29157606403252445</c:v>
                </c:pt>
                <c:pt idx="67">
                  <c:v>0.30327493670886074</c:v>
                </c:pt>
                <c:pt idx="68">
                  <c:v>0.2660324448003661</c:v>
                </c:pt>
                <c:pt idx="69">
                  <c:v>0.26103500862692713</c:v>
                </c:pt>
                <c:pt idx="70">
                  <c:v>0.2311547284989908</c:v>
                </c:pt>
                <c:pt idx="71">
                  <c:v>0.29870797214606154</c:v>
                </c:pt>
                <c:pt idx="72">
                  <c:v>0.33939601096202116</c:v>
                </c:pt>
                <c:pt idx="73">
                  <c:v>0.28194286035403204</c:v>
                </c:pt>
                <c:pt idx="74">
                  <c:v>0.25513337438423644</c:v>
                </c:pt>
                <c:pt idx="75">
                  <c:v>0.3029045401198344</c:v>
                </c:pt>
                <c:pt idx="76">
                  <c:v>0.24437057057057054</c:v>
                </c:pt>
                <c:pt idx="77">
                  <c:v>0.13798096251625872</c:v>
                </c:pt>
                <c:pt idx="78">
                  <c:v>0.16272328008245296</c:v>
                </c:pt>
                <c:pt idx="79">
                  <c:v>0.0</c:v>
                </c:pt>
                <c:pt idx="80">
                  <c:v>0.25869196484620216</c:v>
                </c:pt>
                <c:pt idx="81">
                  <c:v>0.2379610188504286</c:v>
                </c:pt>
                <c:pt idx="82">
                  <c:v>0.2572958535509484</c:v>
                </c:pt>
                <c:pt idx="83">
                  <c:v>0.3128648457281478</c:v>
                </c:pt>
                <c:pt idx="84">
                  <c:v>0.314559899469422</c:v>
                </c:pt>
                <c:pt idx="85">
                  <c:v>0.3441559820678061</c:v>
                </c:pt>
                <c:pt idx="86">
                  <c:v>0.36611372306416823</c:v>
                </c:pt>
                <c:pt idx="87">
                  <c:v>0.20801968557758033</c:v>
                </c:pt>
                <c:pt idx="88">
                  <c:v>0.29379414809813187</c:v>
                </c:pt>
                <c:pt idx="89">
                  <c:v>0.3395329151895282</c:v>
                </c:pt>
                <c:pt idx="90">
                  <c:v>0.30860455182072827</c:v>
                </c:pt>
                <c:pt idx="91">
                  <c:v>0.3632660138248848</c:v>
                </c:pt>
                <c:pt idx="92">
                  <c:v>0.3079419896943264</c:v>
                </c:pt>
                <c:pt idx="93">
                  <c:v>0.26064038179148313</c:v>
                </c:pt>
                <c:pt idx="94">
                  <c:v>0.22726793148308758</c:v>
                </c:pt>
                <c:pt idx="95">
                  <c:v>0.1490180456702254</c:v>
                </c:pt>
                <c:pt idx="96">
                  <c:v>0.25673356130377545</c:v>
                </c:pt>
                <c:pt idx="97">
                  <c:v>0.34322503548888744</c:v>
                </c:pt>
                <c:pt idx="98">
                  <c:v>0.267012563272379</c:v>
                </c:pt>
                <c:pt idx="99">
                  <c:v>0.3151565150437709</c:v>
                </c:pt>
                <c:pt idx="100">
                  <c:v>0.2884409033710842</c:v>
                </c:pt>
                <c:pt idx="101">
                  <c:v>0.2724094752549117</c:v>
                </c:pt>
                <c:pt idx="102">
                  <c:v>0.2105896544945612</c:v>
                </c:pt>
                <c:pt idx="103">
                  <c:v>0.2687288041997723</c:v>
                </c:pt>
                <c:pt idx="104">
                  <c:v>0.3362645375914837</c:v>
                </c:pt>
                <c:pt idx="105">
                  <c:v>0.0</c:v>
                </c:pt>
                <c:pt idx="106">
                  <c:v>0.0</c:v>
                </c:pt>
                <c:pt idx="107">
                  <c:v>0.0</c:v>
                </c:pt>
              </c:numCache>
            </c:numRef>
          </c:xVal>
          <c:yVal>
            <c:numRef>
              <c:f>Sheet1!$B$2:$B$109</c:f>
              <c:numCache>
                <c:formatCode>General</c:formatCode>
                <c:ptCount val="108"/>
                <c:pt idx="0">
                  <c:v>0.5954946131243879</c:v>
                </c:pt>
                <c:pt idx="1">
                  <c:v>0.632688927943761</c:v>
                </c:pt>
                <c:pt idx="2">
                  <c:v>0.6748104465037911</c:v>
                </c:pt>
                <c:pt idx="3">
                  <c:v>0.6937842778793418</c:v>
                </c:pt>
                <c:pt idx="4">
                  <c:v>0.6775244299674267</c:v>
                </c:pt>
                <c:pt idx="5">
                  <c:v>0.644343891402715</c:v>
                </c:pt>
                <c:pt idx="6">
                  <c:v>0.7122884473877852</c:v>
                </c:pt>
                <c:pt idx="7">
                  <c:v>0.6906740535549399</c:v>
                </c:pt>
                <c:pt idx="8">
                  <c:v>0.6620762711864406</c:v>
                </c:pt>
                <c:pt idx="9">
                  <c:v>0.6460573476702509</c:v>
                </c:pt>
                <c:pt idx="10">
                  <c:v>0.6151315789473685</c:v>
                </c:pt>
                <c:pt idx="11">
                  <c:v>0.5563786008230452</c:v>
                </c:pt>
                <c:pt idx="12">
                  <c:v>0.514525993883792</c:v>
                </c:pt>
                <c:pt idx="13">
                  <c:v>0.5026548672566372</c:v>
                </c:pt>
                <c:pt idx="14">
                  <c:v>0.4511627906976744</c:v>
                </c:pt>
                <c:pt idx="15">
                  <c:v>0.4832134292565947</c:v>
                </c:pt>
                <c:pt idx="16">
                  <c:v>0.47067039106145253</c:v>
                </c:pt>
                <c:pt idx="17">
                  <c:v>0.4336734693877551</c:v>
                </c:pt>
                <c:pt idx="18">
                  <c:v>0.39872068230277186</c:v>
                </c:pt>
                <c:pt idx="19">
                  <c:v>0.4830917874396135</c:v>
                </c:pt>
                <c:pt idx="20">
                  <c:v>0.482897384305835</c:v>
                </c:pt>
                <c:pt idx="21">
                  <c:v>0.4738095238095238</c:v>
                </c:pt>
                <c:pt idx="22">
                  <c:v>0.6144278606965174</c:v>
                </c:pt>
                <c:pt idx="23">
                  <c:v>0.6107594936708861</c:v>
                </c:pt>
                <c:pt idx="24">
                  <c:v>0.6051282051282051</c:v>
                </c:pt>
                <c:pt idx="25">
                  <c:v>0.6253869969040248</c:v>
                </c:pt>
                <c:pt idx="26">
                  <c:v>0.6217008797653959</c:v>
                </c:pt>
                <c:pt idx="27">
                  <c:v>0.6370757180156658</c:v>
                </c:pt>
                <c:pt idx="28">
                  <c:v>0.6025641025641025</c:v>
                </c:pt>
                <c:pt idx="29">
                  <c:v>0.6060606060606061</c:v>
                </c:pt>
                <c:pt idx="30">
                  <c:v>0.6073059360730594</c:v>
                </c:pt>
                <c:pt idx="31">
                  <c:v>0.6746575342465754</c:v>
                </c:pt>
                <c:pt idx="32">
                  <c:v>0.6223776223776224</c:v>
                </c:pt>
                <c:pt idx="33">
                  <c:v>0.629080118694362</c:v>
                </c:pt>
                <c:pt idx="34">
                  <c:v>0.603225806451613</c:v>
                </c:pt>
                <c:pt idx="35">
                  <c:v>0.6246153846153846</c:v>
                </c:pt>
                <c:pt idx="36">
                  <c:v>0.5409356725146199</c:v>
                </c:pt>
                <c:pt idx="37">
                  <c:v>0.5066666666666667</c:v>
                </c:pt>
                <c:pt idx="38">
                  <c:v>0.5275080906148867</c:v>
                </c:pt>
                <c:pt idx="39">
                  <c:v>0.5079365079365079</c:v>
                </c:pt>
                <c:pt idx="40">
                  <c:v>0.5207667731629393</c:v>
                </c:pt>
                <c:pt idx="41">
                  <c:v>0.5016501650165016</c:v>
                </c:pt>
                <c:pt idx="42">
                  <c:v>0.47896440129449835</c:v>
                </c:pt>
                <c:pt idx="43">
                  <c:v>0.4906054279749478</c:v>
                </c:pt>
                <c:pt idx="44">
                  <c:v>0.521505376344086</c:v>
                </c:pt>
                <c:pt idx="45">
                  <c:v>0.5272895467160037</c:v>
                </c:pt>
                <c:pt idx="46">
                  <c:v>0.5033259423503326</c:v>
                </c:pt>
                <c:pt idx="47">
                  <c:v>0.4725168756027001</c:v>
                </c:pt>
                <c:pt idx="48">
                  <c:v>0.4866810655147588</c:v>
                </c:pt>
                <c:pt idx="49">
                  <c:v>0.5404939689833429</c:v>
                </c:pt>
                <c:pt idx="50">
                  <c:v>0.5243407707910751</c:v>
                </c:pt>
                <c:pt idx="51">
                  <c:v>0.49243306169965073</c:v>
                </c:pt>
                <c:pt idx="52">
                  <c:v>0.495949594959496</c:v>
                </c:pt>
                <c:pt idx="53">
                  <c:v>0.4940152339499456</c:v>
                </c:pt>
                <c:pt idx="54">
                  <c:v>0.5247641509433962</c:v>
                </c:pt>
                <c:pt idx="55">
                  <c:v>0.5261904761904762</c:v>
                </c:pt>
                <c:pt idx="56">
                  <c:v>0.5552913198573127</c:v>
                </c:pt>
                <c:pt idx="57">
                  <c:v>0.5605786618444847</c:v>
                </c:pt>
                <c:pt idx="58">
                  <c:v>0.5425894378194208</c:v>
                </c:pt>
                <c:pt idx="59">
                  <c:v>0.563238512035011</c:v>
                </c:pt>
                <c:pt idx="60">
                  <c:v>0.6278381046396841</c:v>
                </c:pt>
                <c:pt idx="61">
                  <c:v>0.6068111455108359</c:v>
                </c:pt>
                <c:pt idx="62">
                  <c:v>0.6608084358523726</c:v>
                </c:pt>
                <c:pt idx="63">
                  <c:v>0.6924715909090909</c:v>
                </c:pt>
                <c:pt idx="64">
                  <c:v>0.5997277059223962</c:v>
                </c:pt>
                <c:pt idx="65">
                  <c:v>0.5325318246110325</c:v>
                </c:pt>
                <c:pt idx="66">
                  <c:v>0.48374613003095973</c:v>
                </c:pt>
                <c:pt idx="67">
                  <c:v>0.4891398783666377</c:v>
                </c:pt>
                <c:pt idx="68">
                  <c:v>0.503030303030303</c:v>
                </c:pt>
                <c:pt idx="69">
                  <c:v>0.5355113636363636</c:v>
                </c:pt>
                <c:pt idx="70">
                  <c:v>0.4958791208791209</c:v>
                </c:pt>
                <c:pt idx="71">
                  <c:v>0.4858420268256334</c:v>
                </c:pt>
                <c:pt idx="72">
                  <c:v>0.5037593984962406</c:v>
                </c:pt>
                <c:pt idx="73">
                  <c:v>0.5190311418685121</c:v>
                </c:pt>
                <c:pt idx="74">
                  <c:v>0.5016393442622951</c:v>
                </c:pt>
                <c:pt idx="75">
                  <c:v>0.5180180180180181</c:v>
                </c:pt>
                <c:pt idx="76">
                  <c:v>0.5173333333333333</c:v>
                </c:pt>
                <c:pt idx="77">
                  <c:v>0.5623409669211196</c:v>
                </c:pt>
                <c:pt idx="78">
                  <c:v>0.4952076677316294</c:v>
                </c:pt>
                <c:pt idx="79">
                  <c:v>0.4827586206896552</c:v>
                </c:pt>
                <c:pt idx="80">
                  <c:v>0.5018587360594795</c:v>
                </c:pt>
                <c:pt idx="81">
                  <c:v>0.5440729483282675</c:v>
                </c:pt>
                <c:pt idx="82">
                  <c:v>0.490272373540856</c:v>
                </c:pt>
                <c:pt idx="83">
                  <c:v>0.5384615384615384</c:v>
                </c:pt>
                <c:pt idx="84">
                  <c:v>0.4979757085020243</c:v>
                </c:pt>
                <c:pt idx="85">
                  <c:v>0.45555555555555555</c:v>
                </c:pt>
                <c:pt idx="86">
                  <c:v>0.4307692307692308</c:v>
                </c:pt>
                <c:pt idx="87">
                  <c:v>0.4666666666666667</c:v>
                </c:pt>
                <c:pt idx="88">
                  <c:v>0.397887323943662</c:v>
                </c:pt>
                <c:pt idx="89">
                  <c:v>0.4343065693430657</c:v>
                </c:pt>
                <c:pt idx="90">
                  <c:v>0.44841269841269843</c:v>
                </c:pt>
                <c:pt idx="91">
                  <c:v>0.3880597014925373</c:v>
                </c:pt>
                <c:pt idx="92">
                  <c:v>0.4155251141552511</c:v>
                </c:pt>
                <c:pt idx="93">
                  <c:v>0.3919239904988123</c:v>
                </c:pt>
                <c:pt idx="94">
                  <c:v>0.45</c:v>
                </c:pt>
                <c:pt idx="95">
                  <c:v>0.47442680776014107</c:v>
                </c:pt>
                <c:pt idx="96">
                  <c:v>0.42685851318944845</c:v>
                </c:pt>
                <c:pt idx="97">
                  <c:v>0.39473684210526316</c:v>
                </c:pt>
                <c:pt idx="98">
                  <c:v>0.4133738601823708</c:v>
                </c:pt>
                <c:pt idx="99">
                  <c:v>0.4306632213608958</c:v>
                </c:pt>
                <c:pt idx="100">
                  <c:v>0.4451948051948052</c:v>
                </c:pt>
                <c:pt idx="101">
                  <c:v>0.4329805996472663</c:v>
                </c:pt>
                <c:pt idx="102">
                  <c:v>0.4221267454350161</c:v>
                </c:pt>
                <c:pt idx="103">
                  <c:v>0.3453355155482815</c:v>
                </c:pt>
                <c:pt idx="104">
                  <c:v>0.3773109243697479</c:v>
                </c:pt>
                <c:pt idx="105">
                  <c:v>0.43358395989974935</c:v>
                </c:pt>
                <c:pt idx="106">
                  <c:v>0.44662921348314605</c:v>
                </c:pt>
                <c:pt idx="107">
                  <c:v>0.38235294117647056</c:v>
                </c:pt>
              </c:numCache>
            </c:numRef>
          </c:yVal>
          <c:smooth val="0"/>
          <c:extLst>
            <c:ext xmlns:c16="http://schemas.microsoft.com/office/drawing/2014/chart" uri="{C3380CC4-5D6E-409C-BE32-E72D297353CC}">
              <c16:uniqueId val="{00000000-096C-4121-9522-6AB7243CCAAE}"/>
            </c:ext>
          </c:extLst>
        </c:ser>
        <c:ser>
          <c:idx val="1"/>
          <c:order val="1"/>
          <c:tx>
            <c:strRef>
              <c:f>Sheet1!$B$1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2:$A$160</c:f>
              <c:numCache>
                <c:formatCode>General</c:formatCode>
                <c:ptCount val="49"/>
                <c:pt idx="0">
                  <c:v>0.2980846365442413</c:v>
                </c:pt>
                <c:pt idx="1">
                  <c:v>0.2698043287645946</c:v>
                </c:pt>
                <c:pt idx="2">
                  <c:v>0.24378234665166507</c:v>
                </c:pt>
                <c:pt idx="3">
                  <c:v>0.23177991075018092</c:v>
                </c:pt>
                <c:pt idx="4">
                  <c:v>0.22976710885680843</c:v>
                </c:pt>
                <c:pt idx="5">
                  <c:v>0.24935925583035748</c:v>
                </c:pt>
                <c:pt idx="6">
                  <c:v>0.26052292214752026</c:v>
                </c:pt>
                <c:pt idx="7">
                  <c:v>0.31049017481914376</c:v>
                </c:pt>
                <c:pt idx="8">
                  <c:v>0.22710278187177596</c:v>
                </c:pt>
                <c:pt idx="9">
                  <c:v>0.28647539793894233</c:v>
                </c:pt>
                <c:pt idx="10">
                  <c:v>0.24360633619828104</c:v>
                </c:pt>
                <c:pt idx="11">
                  <c:v>0.2620978955375253</c:v>
                </c:pt>
                <c:pt idx="12">
                  <c:v>0.23510094530722483</c:v>
                </c:pt>
                <c:pt idx="13">
                  <c:v>0.28538024661508704</c:v>
                </c:pt>
                <c:pt idx="14">
                  <c:v>0.19606471171320008</c:v>
                </c:pt>
                <c:pt idx="15">
                  <c:v>0.29172035079288805</c:v>
                </c:pt>
                <c:pt idx="16">
                  <c:v>0.22646510788119528</c:v>
                </c:pt>
                <c:pt idx="17">
                  <c:v>0.3283954035682327</c:v>
                </c:pt>
                <c:pt idx="18">
                  <c:v>0.3982236791852324</c:v>
                </c:pt>
                <c:pt idx="19">
                  <c:v>0.4773749511069389</c:v>
                </c:pt>
                <c:pt idx="20">
                  <c:v>0.3527844424460431</c:v>
                </c:pt>
                <c:pt idx="21">
                  <c:v>0.3266255569113649</c:v>
                </c:pt>
                <c:pt idx="22">
                  <c:v>0.1979039226222461</c:v>
                </c:pt>
                <c:pt idx="23">
                  <c:v>0.1829583019177184</c:v>
                </c:pt>
                <c:pt idx="24">
                  <c:v>0.20875789838737646</c:v>
                </c:pt>
                <c:pt idx="25">
                  <c:v>0.3330984170305677</c:v>
                </c:pt>
                <c:pt idx="26">
                  <c:v>0.2754442635745345</c:v>
                </c:pt>
                <c:pt idx="27">
                  <c:v>0.3122341222630047</c:v>
                </c:pt>
                <c:pt idx="28">
                  <c:v>0.4462427240143369</c:v>
                </c:pt>
                <c:pt idx="29">
                  <c:v>0.328556572617345</c:v>
                </c:pt>
                <c:pt idx="30">
                  <c:v>0.4582445841566373</c:v>
                </c:pt>
                <c:pt idx="31">
                  <c:v>0.3578517326373786</c:v>
                </c:pt>
                <c:pt idx="32">
                  <c:v>0.49854219928543075</c:v>
                </c:pt>
                <c:pt idx="33">
                  <c:v>0.30285606881923166</c:v>
                </c:pt>
                <c:pt idx="34">
                  <c:v>0.39540524032042723</c:v>
                </c:pt>
                <c:pt idx="35">
                  <c:v>0.3711011699327289</c:v>
                </c:pt>
                <c:pt idx="36">
                  <c:v>0.2531562999112688</c:v>
                </c:pt>
                <c:pt idx="37">
                  <c:v>0.3395332972094283</c:v>
                </c:pt>
                <c:pt idx="38">
                  <c:v>0.5039982675261886</c:v>
                </c:pt>
                <c:pt idx="39">
                  <c:v>0.48658845534995976</c:v>
                </c:pt>
                <c:pt idx="40">
                  <c:v>0.361600361412288</c:v>
                </c:pt>
                <c:pt idx="41">
                  <c:v>0.523336898372965</c:v>
                </c:pt>
                <c:pt idx="42">
                  <c:v>0.3488621235168847</c:v>
                </c:pt>
                <c:pt idx="43">
                  <c:v>0.36787971486130483</c:v>
                </c:pt>
                <c:pt idx="44">
                  <c:v>0.3320171008094187</c:v>
                </c:pt>
                <c:pt idx="45">
                  <c:v>0.4221489097859257</c:v>
                </c:pt>
                <c:pt idx="46">
                  <c:v>0.3353178529362275</c:v>
                </c:pt>
                <c:pt idx="47">
                  <c:v>0.3191533890713646</c:v>
                </c:pt>
                <c:pt idx="48">
                  <c:v>0.2975464107928721</c:v>
                </c:pt>
              </c:numCache>
            </c:numRef>
          </c:xVal>
          <c:yVal>
            <c:numRef>
              <c:f>Sheet1!$B$112:$B$160</c:f>
              <c:numCache>
                <c:formatCode>General</c:formatCode>
                <c:ptCount val="49"/>
                <c:pt idx="0">
                  <c:v>0.4299923488905891</c:v>
                </c:pt>
                <c:pt idx="1">
                  <c:v>0.46390916463909165</c:v>
                </c:pt>
                <c:pt idx="2">
                  <c:v>0.4583333333333333</c:v>
                </c:pt>
                <c:pt idx="3">
                  <c:v>0.4737507906388362</c:v>
                </c:pt>
                <c:pt idx="4">
                  <c:v>0.46695402298850575</c:v>
                </c:pt>
                <c:pt idx="5">
                  <c:v>0.47338129496402875</c:v>
                </c:pt>
                <c:pt idx="6">
                  <c:v>0.46903187011425135</c:v>
                </c:pt>
                <c:pt idx="7">
                  <c:v>0.42637362637362636</c:v>
                </c:pt>
                <c:pt idx="8">
                  <c:v>0.4030612244897959</c:v>
                </c:pt>
                <c:pt idx="9">
                  <c:v>0.43106796116504853</c:v>
                </c:pt>
                <c:pt idx="10">
                  <c:v>0.4331275720164609</c:v>
                </c:pt>
                <c:pt idx="11">
                  <c:v>0.45724381625441696</c:v>
                </c:pt>
                <c:pt idx="12">
                  <c:v>0.46550218340611355</c:v>
                </c:pt>
                <c:pt idx="13">
                  <c:v>0.4830357142857143</c:v>
                </c:pt>
                <c:pt idx="14">
                  <c:v>0.4631992149165849</c:v>
                </c:pt>
                <c:pt idx="15">
                  <c:v>0.4611171960569551</c:v>
                </c:pt>
                <c:pt idx="16">
                  <c:v>0.43144654088050316</c:v>
                </c:pt>
                <c:pt idx="17">
                  <c:v>0.42411347517730497</c:v>
                </c:pt>
                <c:pt idx="18">
                  <c:v>0.4534412955465587</c:v>
                </c:pt>
                <c:pt idx="19">
                  <c:v>0.4533582089552239</c:v>
                </c:pt>
                <c:pt idx="20">
                  <c:v>0.45348837209302323</c:v>
                </c:pt>
                <c:pt idx="21">
                  <c:v>0.4712041884816754</c:v>
                </c:pt>
                <c:pt idx="22">
                  <c:v>0.44405594405594406</c:v>
                </c:pt>
                <c:pt idx="23">
                  <c:v>0.45751633986928103</c:v>
                </c:pt>
                <c:pt idx="24">
                  <c:v>0.44722222222222224</c:v>
                </c:pt>
                <c:pt idx="25">
                  <c:v>0.4281524926686217</c:v>
                </c:pt>
                <c:pt idx="26">
                  <c:v>0.43869209809264303</c:v>
                </c:pt>
                <c:pt idx="27">
                  <c:v>0.447098976109215</c:v>
                </c:pt>
                <c:pt idx="28">
                  <c:v>0.45136186770428016</c:v>
                </c:pt>
                <c:pt idx="29">
                  <c:v>0.4019138755980861</c:v>
                </c:pt>
                <c:pt idx="30">
                  <c:v>0.4117647058823529</c:v>
                </c:pt>
                <c:pt idx="31">
                  <c:v>0.4013840830449827</c:v>
                </c:pt>
                <c:pt idx="32">
                  <c:v>0.4326647564469914</c:v>
                </c:pt>
                <c:pt idx="33">
                  <c:v>0.4022140221402214</c:v>
                </c:pt>
                <c:pt idx="34">
                  <c:v>0.3942307692307692</c:v>
                </c:pt>
                <c:pt idx="35">
                  <c:v>0.41935483870967744</c:v>
                </c:pt>
                <c:pt idx="36">
                  <c:v>0.39923954372623577</c:v>
                </c:pt>
                <c:pt idx="37">
                  <c:v>0.3780821917808219</c:v>
                </c:pt>
                <c:pt idx="38">
                  <c:v>0.3753581661891118</c:v>
                </c:pt>
                <c:pt idx="39">
                  <c:v>0.40186915887850466</c:v>
                </c:pt>
                <c:pt idx="40">
                  <c:v>0.37037037037037035</c:v>
                </c:pt>
                <c:pt idx="41">
                  <c:v>0.3888888888888889</c:v>
                </c:pt>
                <c:pt idx="42">
                  <c:v>0.408930669800235</c:v>
                </c:pt>
                <c:pt idx="43">
                  <c:v>0.4134328358208955</c:v>
                </c:pt>
                <c:pt idx="44">
                  <c:v>0.41299303944315546</c:v>
                </c:pt>
                <c:pt idx="45">
                  <c:v>0.41579371474617244</c:v>
                </c:pt>
                <c:pt idx="46">
                  <c:v>0.40218303946263645</c:v>
                </c:pt>
                <c:pt idx="47">
                  <c:v>0.43257612373127113</c:v>
                </c:pt>
                <c:pt idx="48">
                  <c:v>0.43653516295025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262269267838272</c:v>
                </c:pt>
              </c:numCache>
            </c:numRef>
          </c:xVal>
          <c:yVal>
            <c:numRef>
              <c:f>Sheet1!$B$163:$B$164</c:f>
              <c:numCache>
                <c:formatCode>General</c:formatCode>
                <c:ptCount val="2"/>
                <c:pt idx="0">
                  <c:v>0.6648539287722878</c:v>
                </c:pt>
                <c:pt idx="1">
                  <c:v>0.66485392877228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262269267838272</c:v>
                </c:pt>
                <c:pt idx="1">
                  <c:v>-1.1262269267838272</c:v>
                </c:pt>
              </c:numCache>
            </c:numRef>
          </c:xVal>
          <c:yVal>
            <c:numRef>
              <c:f>Sheet1!$B$167:$B$168</c:f>
              <c:numCache>
                <c:formatCode>General</c:formatCode>
                <c:ptCount val="2"/>
                <c:pt idx="0">
                  <c:v>0.66485392877228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43772541035099</c:v>
                </c:pt>
              </c:numCache>
            </c:numRef>
          </c:xVal>
          <c:yVal>
            <c:numRef>
              <c:f>Sheet1!$B$171:$B$172</c:f>
              <c:numCache>
                <c:formatCode>General</c:formatCode>
                <c:ptCount val="2"/>
                <c:pt idx="0">
                  <c:v>0.4524112107104295</c:v>
                </c:pt>
                <c:pt idx="1">
                  <c:v>0.45241121071042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43772541035099</c:v>
                </c:pt>
                <c:pt idx="1">
                  <c:v>0.1943772541035099</c:v>
                </c:pt>
              </c:numCache>
            </c:numRef>
          </c:xVal>
          <c:yVal>
            <c:numRef>
              <c:f>Sheet1!$B$175:$B$176</c:f>
              <c:numCache>
                <c:formatCode>General</c:formatCode>
                <c:ptCount val="2"/>
                <c:pt idx="0">
                  <c:v>0.45241121071042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028449457105992</c:v>
                </c:pt>
              </c:numCache>
            </c:numRef>
          </c:xVal>
          <c:yVal>
            <c:numRef>
              <c:f>Sheet1!$B$179:$B$180</c:f>
              <c:numCache>
                <c:formatCode>General</c:formatCode>
                <c:ptCount val="2"/>
                <c:pt idx="0">
                  <c:v>0.4027886850606582</c:v>
                </c:pt>
                <c:pt idx="1">
                  <c:v>0.40278868506065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028449457105992</c:v>
                </c:pt>
                <c:pt idx="1">
                  <c:v>0.5028449457105992</c:v>
                </c:pt>
              </c:numCache>
            </c:numRef>
          </c:xVal>
          <c:yVal>
            <c:numRef>
              <c:f>Sheet1!$B$183:$B$184</c:f>
              <c:numCache>
                <c:formatCode>General</c:formatCode>
                <c:ptCount val="2"/>
                <c:pt idx="0">
                  <c:v>0.40278868506065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8</c:f>
              <c:numCache>
                <c:formatCode>General</c:formatCode>
                <c:ptCount val="52"/>
                <c:pt idx="0">
                  <c:v>0.2980846365442413</c:v>
                </c:pt>
                <c:pt idx="1">
                  <c:v>0.2698043287645946</c:v>
                </c:pt>
                <c:pt idx="2">
                  <c:v>0.24378234665166507</c:v>
                </c:pt>
                <c:pt idx="3">
                  <c:v>0.23177991075018092</c:v>
                </c:pt>
                <c:pt idx="4">
                  <c:v>0.22976710885680843</c:v>
                </c:pt>
                <c:pt idx="5">
                  <c:v>0.24935925583035748</c:v>
                </c:pt>
                <c:pt idx="6">
                  <c:v>0.26052292214752026</c:v>
                </c:pt>
                <c:pt idx="7">
                  <c:v>0.31049017481914376</c:v>
                </c:pt>
                <c:pt idx="8">
                  <c:v>0.22710278187177596</c:v>
                </c:pt>
                <c:pt idx="9">
                  <c:v>0.28647539793894233</c:v>
                </c:pt>
                <c:pt idx="10">
                  <c:v>0.24360633619828104</c:v>
                </c:pt>
                <c:pt idx="11">
                  <c:v>0.2620978955375253</c:v>
                </c:pt>
                <c:pt idx="12">
                  <c:v>0.23510094530722483</c:v>
                </c:pt>
                <c:pt idx="13">
                  <c:v>0.28538024661508704</c:v>
                </c:pt>
                <c:pt idx="14">
                  <c:v>0.19606471171320008</c:v>
                </c:pt>
                <c:pt idx="15">
                  <c:v>0.29172035079288805</c:v>
                </c:pt>
                <c:pt idx="16">
                  <c:v>0.22646510788119528</c:v>
                </c:pt>
                <c:pt idx="17">
                  <c:v>0.3283954035682327</c:v>
                </c:pt>
                <c:pt idx="18">
                  <c:v>0.3982236791852324</c:v>
                </c:pt>
                <c:pt idx="19">
                  <c:v>0.4773749511069389</c:v>
                </c:pt>
                <c:pt idx="20">
                  <c:v>0.3527844424460431</c:v>
                </c:pt>
                <c:pt idx="21">
                  <c:v>0.3266255569113649</c:v>
                </c:pt>
                <c:pt idx="22">
                  <c:v>0.1979039226222461</c:v>
                </c:pt>
                <c:pt idx="23">
                  <c:v>0.1829583019177184</c:v>
                </c:pt>
                <c:pt idx="24">
                  <c:v>0.20875789838737646</c:v>
                </c:pt>
                <c:pt idx="25">
                  <c:v>0.3330984170305677</c:v>
                </c:pt>
                <c:pt idx="26">
                  <c:v>0.2754442635745345</c:v>
                </c:pt>
                <c:pt idx="27">
                  <c:v>0.3122341222630047</c:v>
                </c:pt>
                <c:pt idx="28">
                  <c:v>0.4462427240143369</c:v>
                </c:pt>
                <c:pt idx="29">
                  <c:v>0.328556572617345</c:v>
                </c:pt>
                <c:pt idx="30">
                  <c:v>0.4582445841566373</c:v>
                </c:pt>
                <c:pt idx="31">
                  <c:v>0.3578517326373786</c:v>
                </c:pt>
                <c:pt idx="32">
                  <c:v>0.49854219928543075</c:v>
                </c:pt>
                <c:pt idx="33">
                  <c:v>0.30285606881923166</c:v>
                </c:pt>
                <c:pt idx="34">
                  <c:v>0.39540524032042723</c:v>
                </c:pt>
                <c:pt idx="35">
                  <c:v>0.3711011699327289</c:v>
                </c:pt>
                <c:pt idx="36">
                  <c:v>0.2531562999112688</c:v>
                </c:pt>
                <c:pt idx="37">
                  <c:v>0.3395332972094283</c:v>
                </c:pt>
                <c:pt idx="38">
                  <c:v>0.5039982675261886</c:v>
                </c:pt>
                <c:pt idx="39">
                  <c:v>0.48658845534995976</c:v>
                </c:pt>
                <c:pt idx="40">
                  <c:v>0.361600361412288</c:v>
                </c:pt>
                <c:pt idx="41">
                  <c:v>0.523336898372965</c:v>
                </c:pt>
                <c:pt idx="42">
                  <c:v>0.3488621235168847</c:v>
                </c:pt>
                <c:pt idx="43">
                  <c:v>0.36787971486130483</c:v>
                </c:pt>
                <c:pt idx="44">
                  <c:v>0.3320171008094187</c:v>
                </c:pt>
                <c:pt idx="45">
                  <c:v>0.4221489097859257</c:v>
                </c:pt>
                <c:pt idx="46">
                  <c:v>0.3353178529362275</c:v>
                </c:pt>
                <c:pt idx="47">
                  <c:v>0.3191533890713646</c:v>
                </c:pt>
                <c:pt idx="48">
                  <c:v>0.2975464107928721</c:v>
                </c:pt>
                <c:pt idx="49">
                  <c:v>0.1943772541035099</c:v>
                </c:pt>
                <c:pt idx="50">
                  <c:v>-1.1262269267838272</c:v>
                </c:pt>
                <c:pt idx="51">
                  <c:v>0.5028449457105992</c:v>
                </c:pt>
              </c:numCache>
            </c:numRef>
          </c:xVal>
          <c:yVal>
            <c:numRef>
              <c:f>Sheet1!$B$187:$B$238</c:f>
              <c:numCache>
                <c:formatCode>General</c:formatCode>
                <c:ptCount val="52"/>
                <c:pt idx="0">
                  <c:v>0.4357280299908395</c:v>
                </c:pt>
                <c:pt idx="1">
                  <c:v>0.4402774215036675</c:v>
                </c:pt>
                <c:pt idx="2">
                  <c:v>0.44446352108553716</c:v>
                </c:pt>
                <c:pt idx="3">
                  <c:v>0.4463943268055079</c:v>
                </c:pt>
                <c:pt idx="4">
                  <c:v>0.446718121861844</c:v>
                </c:pt>
                <c:pt idx="5">
                  <c:v>0.4435663758534893</c:v>
                </c:pt>
                <c:pt idx="6">
                  <c:v>0.44177050116955474</c:v>
                </c:pt>
                <c:pt idx="7">
                  <c:v>0.43373237807008763</c:v>
                </c:pt>
                <c:pt idx="8">
                  <c:v>0.4471467263405346</c:v>
                </c:pt>
                <c:pt idx="9">
                  <c:v>0.43759558291822853</c:v>
                </c:pt>
                <c:pt idx="10">
                  <c:v>0.44449183550379007</c:v>
                </c:pt>
                <c:pt idx="11">
                  <c:v>0.4415171386308848</c:v>
                </c:pt>
                <c:pt idx="12">
                  <c:v>0.44586007921013704</c:v>
                </c:pt>
                <c:pt idx="13">
                  <c:v>0.4377717575262572</c:v>
                </c:pt>
                <c:pt idx="14">
                  <c:v>0.45213975308035</c:v>
                </c:pt>
                <c:pt idx="15">
                  <c:v>0.43675183877708107</c:v>
                </c:pt>
                <c:pt idx="16">
                  <c:v>0.44724930756642867</c:v>
                </c:pt>
                <c:pt idx="17">
                  <c:v>0.43085200292208536</c:v>
                </c:pt>
                <c:pt idx="18">
                  <c:v>0.4196188803223368</c:v>
                </c:pt>
                <c:pt idx="19">
                  <c:v>0.4068859876142415</c:v>
                </c:pt>
                <c:pt idx="20">
                  <c:v>0.4269285913616002</c:v>
                </c:pt>
                <c:pt idx="21">
                  <c:v>0.4311367142987259</c:v>
                </c:pt>
                <c:pt idx="22">
                  <c:v>0.4518438832275496</c:v>
                </c:pt>
                <c:pt idx="23">
                  <c:v>0.454248152675991</c:v>
                </c:pt>
                <c:pt idx="24">
                  <c:v>0.4500978277881578</c:v>
                </c:pt>
                <c:pt idx="25">
                  <c:v>0.4300954393904232</c:v>
                </c:pt>
                <c:pt idx="26">
                  <c:v>0.4393701374756022</c:v>
                </c:pt>
                <c:pt idx="27">
                  <c:v>0.43345183304343027</c:v>
                </c:pt>
                <c:pt idx="28">
                  <c:v>0.41189416117494265</c:v>
                </c:pt>
                <c:pt idx="29">
                  <c:v>0.4308260760082103</c:v>
                </c:pt>
                <c:pt idx="30">
                  <c:v>0.4099634480760977</c:v>
                </c:pt>
                <c:pt idx="31">
                  <c:v>0.4261134274260051</c:v>
                </c:pt>
                <c:pt idx="32">
                  <c:v>0.4034808585059062</c:v>
                </c:pt>
                <c:pt idx="33">
                  <c:v>0.4349604600738141</c:v>
                </c:pt>
                <c:pt idx="34">
                  <c:v>0.4200722764434426</c:v>
                </c:pt>
                <c:pt idx="35">
                  <c:v>0.4239820193080003</c:v>
                </c:pt>
                <c:pt idx="36">
                  <c:v>0.4429555536428497</c:v>
                </c:pt>
                <c:pt idx="37">
                  <c:v>0.42906027423239607</c:v>
                </c:pt>
                <c:pt idx="38">
                  <c:v>0.4026031526923302</c:v>
                </c:pt>
                <c:pt idx="39">
                  <c:v>0.4054038312553644</c:v>
                </c:pt>
                <c:pt idx="40">
                  <c:v>0.4255103936801847</c:v>
                </c:pt>
                <c:pt idx="41">
                  <c:v>0.39949218927108493</c:v>
                </c:pt>
                <c:pt idx="42">
                  <c:v>0.4275595662642058</c:v>
                </c:pt>
                <c:pt idx="43">
                  <c:v>0.4245002477684218</c:v>
                </c:pt>
                <c:pt idx="44">
                  <c:v>0.4302693883756149</c:v>
                </c:pt>
                <c:pt idx="45">
                  <c:v>0.41577008058913223</c:v>
                </c:pt>
                <c:pt idx="46">
                  <c:v>0.4297384035706171</c:v>
                </c:pt>
                <c:pt idx="47">
                  <c:v>0.4323387456633983</c:v>
                </c:pt>
                <c:pt idx="48">
                  <c:v>0.43581461319510806</c:v>
                </c:pt>
                <c:pt idx="49">
                  <c:v>0.4524112107104295</c:v>
                </c:pt>
                <c:pt idx="50">
                  <c:v>0.6648539287722878</c:v>
                </c:pt>
                <c:pt idx="51">
                  <c:v>0.40278868506065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47461368653422"/>
          <c:min val="0.276268412438625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9.6036</c:v>
                </c:pt>
                <c:pt idx="1">
                  <c:v>830.6056</c:v>
                </c:pt>
                <c:pt idx="2">
                  <c:v>846.4607</c:v>
                </c:pt>
                <c:pt idx="3">
                  <c:v>861.9381</c:v>
                </c:pt>
                <c:pt idx="4">
                  <c:v>873.2756</c:v>
                </c:pt>
                <c:pt idx="5">
                  <c:v>871.2978</c:v>
                </c:pt>
                <c:pt idx="6">
                  <c:v>810.0837</c:v>
                </c:pt>
                <c:pt idx="7">
                  <c:v>837.9158</c:v>
                </c:pt>
                <c:pt idx="8">
                  <c:v>849.6432</c:v>
                </c:pt>
                <c:pt idx="9">
                  <c:v>856.9736</c:v>
                </c:pt>
                <c:pt idx="10">
                  <c:v>849.5735</c:v>
                </c:pt>
                <c:pt idx="11">
                  <c:v>933.6775</c:v>
                </c:pt>
                <c:pt idx="12">
                  <c:v>904.6493</c:v>
                </c:pt>
                <c:pt idx="13">
                  <c:v>930.9049</c:v>
                </c:pt>
                <c:pt idx="14">
                  <c:v>923.4165</c:v>
                </c:pt>
                <c:pt idx="15">
                  <c:v>963.3821</c:v>
                </c:pt>
                <c:pt idx="16">
                  <c:v>980.1662</c:v>
                </c:pt>
                <c:pt idx="17">
                  <c:v>1003.4039</c:v>
                </c:pt>
                <c:pt idx="18">
                  <c:v>1008.6898</c:v>
                </c:pt>
                <c:pt idx="19">
                  <c:v>1007.685</c:v>
                </c:pt>
                <c:pt idx="20">
                  <c:v>1013.7375</c:v>
                </c:pt>
                <c:pt idx="21">
                  <c:v>1067.8191</c:v>
                </c:pt>
                <c:pt idx="22">
                  <c:v>1025.6397</c:v>
                </c:pt>
                <c:pt idx="23">
                  <c:v>1053.6788</c:v>
                </c:pt>
                <c:pt idx="24">
                  <c:v>1018.5636</c:v>
                </c:pt>
                <c:pt idx="25">
                  <c:v>997.1832</c:v>
                </c:pt>
                <c:pt idx="26">
                  <c:v>958.3821</c:v>
                </c:pt>
                <c:pt idx="27">
                  <c:v>978.291</c:v>
                </c:pt>
                <c:pt idx="28">
                  <c:v>960.2287</c:v>
                </c:pt>
                <c:pt idx="29">
                  <c:v>944.3111</c:v>
                </c:pt>
                <c:pt idx="30">
                  <c:v>977.2481</c:v>
                </c:pt>
                <c:pt idx="31">
                  <c:v>842.467</c:v>
                </c:pt>
                <c:pt idx="32">
                  <c:v>914.2753</c:v>
                </c:pt>
                <c:pt idx="33">
                  <c:v>853.7217</c:v>
                </c:pt>
                <c:pt idx="34">
                  <c:v>901.8449</c:v>
                </c:pt>
                <c:pt idx="35">
                  <c:v>934.0394</c:v>
                </c:pt>
                <c:pt idx="36">
                  <c:v>973.8378</c:v>
                </c:pt>
                <c:pt idx="37">
                  <c:v>1059.0066</c:v>
                </c:pt>
                <c:pt idx="38">
                  <c:v>1075.4172</c:v>
                </c:pt>
                <c:pt idx="39">
                  <c:v>1055.2578</c:v>
                </c:pt>
                <c:pt idx="40">
                  <c:v>1026.7301</c:v>
                </c:pt>
                <c:pt idx="41">
                  <c:v>1053.8158</c:v>
                </c:pt>
                <c:pt idx="42">
                  <c:v>1126.8514</c:v>
                </c:pt>
                <c:pt idx="43">
                  <c:v>1064.7489</c:v>
                </c:pt>
                <c:pt idx="44">
                  <c:v>942.7814</c:v>
                </c:pt>
                <c:pt idx="45">
                  <c:v>908.286</c:v>
                </c:pt>
                <c:pt idx="46">
                  <c:v>939.5066</c:v>
                </c:pt>
                <c:pt idx="47">
                  <c:v>951.1367</c:v>
                </c:pt>
                <c:pt idx="48">
                  <c:v>977.7944</c:v>
                </c:pt>
                <c:pt idx="49">
                  <c:v>964.5855</c:v>
                </c:pt>
                <c:pt idx="50">
                  <c:v>951.9381</c:v>
                </c:pt>
                <c:pt idx="51">
                  <c:v>1017.0851</c:v>
                </c:pt>
                <c:pt idx="52">
                  <c:v>1028.6515</c:v>
                </c:pt>
                <c:pt idx="53">
                  <c:v>1100.8568</c:v>
                </c:pt>
                <c:pt idx="54">
                  <c:v>1093.1258</c:v>
                </c:pt>
                <c:pt idx="55">
                  <c:v>1068.0747</c:v>
                </c:pt>
                <c:pt idx="56">
                  <c:v>1074.5867</c:v>
                </c:pt>
                <c:pt idx="57">
                  <c:v>1028.3016</c:v>
                </c:pt>
                <c:pt idx="58">
                  <c:v>1093.7473</c:v>
                </c:pt>
                <c:pt idx="59">
                  <c:v>1037.8042</c:v>
                </c:pt>
                <c:pt idx="60">
                  <c:v>1039.8805</c:v>
                </c:pt>
                <c:pt idx="61">
                  <c:v>1135.8431</c:v>
                </c:pt>
                <c:pt idx="62">
                  <c:v>1110.234</c:v>
                </c:pt>
                <c:pt idx="63">
                  <c:v>1109.7815</c:v>
                </c:pt>
                <c:pt idx="64">
                  <c:v>1136.1975</c:v>
                </c:pt>
                <c:pt idx="65">
                  <c:v>1095.7795</c:v>
                </c:pt>
                <c:pt idx="66">
                  <c:v>1147.4976</c:v>
                </c:pt>
                <c:pt idx="67">
                  <c:v>1167.9876</c:v>
                </c:pt>
                <c:pt idx="68">
                  <c:v>1162.6948</c:v>
                </c:pt>
                <c:pt idx="69">
                  <c:v>1172.504</c:v>
                </c:pt>
                <c:pt idx="70">
                  <c:v>1173.8615</c:v>
                </c:pt>
                <c:pt idx="71">
                  <c:v>1229.2331</c:v>
                </c:pt>
                <c:pt idx="72">
                  <c:v>1197.7851</c:v>
                </c:pt>
                <c:pt idx="73">
                  <c:v>1254.2933</c:v>
                </c:pt>
                <c:pt idx="74">
                  <c:v>1243.0098</c:v>
                </c:pt>
                <c:pt idx="75">
                  <c:v>1225.9304</c:v>
                </c:pt>
                <c:pt idx="76">
                  <c:v>1179.9433</c:v>
                </c:pt>
                <c:pt idx="77">
                  <c:v>1166.905</c:v>
                </c:pt>
                <c:pt idx="78">
                  <c:v>1263.0581</c:v>
                </c:pt>
                <c:pt idx="79">
                  <c:v>1273.6071</c:v>
                </c:pt>
                <c:pt idx="80">
                  <c:v>1236.2889</c:v>
                </c:pt>
                <c:pt idx="81">
                  <c:v>1128.5698</c:v>
                </c:pt>
                <c:pt idx="82">
                  <c:v>1166.5794</c:v>
                </c:pt>
                <c:pt idx="83">
                  <c:v>1068.9549</c:v>
                </c:pt>
                <c:pt idx="84">
                  <c:v>1126.439</c:v>
                </c:pt>
                <c:pt idx="85">
                  <c:v>1228.2927</c:v>
                </c:pt>
                <c:pt idx="86">
                  <c:v>1215.9857</c:v>
                </c:pt>
                <c:pt idx="87">
                  <c:v>1217.3312</c:v>
                </c:pt>
                <c:pt idx="88">
                  <c:v>1305.3274</c:v>
                </c:pt>
                <c:pt idx="89">
                  <c:v>1245.0672</c:v>
                </c:pt>
                <c:pt idx="90">
                  <c:v>1322.0619</c:v>
                </c:pt>
                <c:pt idx="91">
                  <c:v>1261.2596</c:v>
                </c:pt>
                <c:pt idx="92">
                  <c:v>1163.3022</c:v>
                </c:pt>
                <c:pt idx="93">
                  <c:v>1242.4727</c:v>
                </c:pt>
                <c:pt idx="94">
                  <c:v>1048.1597</c:v>
                </c:pt>
                <c:pt idx="95">
                  <c:v>1004.9777</c:v>
                </c:pt>
                <c:pt idx="96">
                  <c:v>1123.2949</c:v>
                </c:pt>
                <c:pt idx="97">
                  <c:v>1178.8636</c:v>
                </c:pt>
                <c:pt idx="98">
                  <c:v>1171.0637</c:v>
                </c:pt>
                <c:pt idx="99">
                  <c:v>1108.458</c:v>
                </c:pt>
                <c:pt idx="100">
                  <c:v>1088.7923</c:v>
                </c:pt>
                <c:pt idx="101">
                  <c:v>1095.3585</c:v>
                </c:pt>
                <c:pt idx="102">
                  <c:v>1109.5267</c:v>
                </c:pt>
                <c:pt idx="103">
                  <c:v>1133.1398</c:v>
                </c:pt>
                <c:pt idx="104">
                  <c:v>1137.1626</c:v>
                </c:pt>
              </c:numCache>
            </c:numRef>
          </c:xVal>
          <c:yVal>
            <c:numRef>
              <c:f>Sheet1!$B$2:$B$106</c:f>
              <c:numCache>
                <c:formatCode>General</c:formatCode>
                <c:ptCount val="105"/>
                <c:pt idx="0">
                  <c:v>0.5954946131243879</c:v>
                </c:pt>
                <c:pt idx="1">
                  <c:v>0.632688927943761</c:v>
                </c:pt>
                <c:pt idx="2">
                  <c:v>0.6748104465037911</c:v>
                </c:pt>
                <c:pt idx="3">
                  <c:v>0.6937842778793418</c:v>
                </c:pt>
                <c:pt idx="4">
                  <c:v>0.6775244299674267</c:v>
                </c:pt>
                <c:pt idx="5">
                  <c:v>0.644343891402715</c:v>
                </c:pt>
                <c:pt idx="6">
                  <c:v>0.7122884473877852</c:v>
                </c:pt>
                <c:pt idx="7">
                  <c:v>0.6906740535549399</c:v>
                </c:pt>
                <c:pt idx="8">
                  <c:v>0.6620762711864406</c:v>
                </c:pt>
                <c:pt idx="9">
                  <c:v>0.6460573476702509</c:v>
                </c:pt>
                <c:pt idx="10">
                  <c:v>0.6151315789473685</c:v>
                </c:pt>
                <c:pt idx="11">
                  <c:v>0.5563786008230452</c:v>
                </c:pt>
                <c:pt idx="12">
                  <c:v>0.514525993883792</c:v>
                </c:pt>
                <c:pt idx="13">
                  <c:v>0.5026548672566372</c:v>
                </c:pt>
                <c:pt idx="14">
                  <c:v>0.4511627906976744</c:v>
                </c:pt>
                <c:pt idx="15">
                  <c:v>0.4832134292565947</c:v>
                </c:pt>
                <c:pt idx="16">
                  <c:v>0.47067039106145253</c:v>
                </c:pt>
                <c:pt idx="17">
                  <c:v>0.4336734693877551</c:v>
                </c:pt>
                <c:pt idx="18">
                  <c:v>0.39872068230277186</c:v>
                </c:pt>
                <c:pt idx="19">
                  <c:v>0.4830917874396135</c:v>
                </c:pt>
                <c:pt idx="20">
                  <c:v>0.482897384305835</c:v>
                </c:pt>
                <c:pt idx="21">
                  <c:v>0.4738095238095238</c:v>
                </c:pt>
                <c:pt idx="22">
                  <c:v>0.6144278606965174</c:v>
                </c:pt>
                <c:pt idx="23">
                  <c:v>0.6107594936708861</c:v>
                </c:pt>
                <c:pt idx="24">
                  <c:v>0.6051282051282051</c:v>
                </c:pt>
                <c:pt idx="25">
                  <c:v>0.6253869969040248</c:v>
                </c:pt>
                <c:pt idx="26">
                  <c:v>0.6217008797653959</c:v>
                </c:pt>
                <c:pt idx="27">
                  <c:v>0.6370757180156658</c:v>
                </c:pt>
                <c:pt idx="28">
                  <c:v>0.6025641025641025</c:v>
                </c:pt>
                <c:pt idx="29">
                  <c:v>0.6060606060606061</c:v>
                </c:pt>
                <c:pt idx="30">
                  <c:v>0.6073059360730594</c:v>
                </c:pt>
                <c:pt idx="31">
                  <c:v>0.6746575342465754</c:v>
                </c:pt>
                <c:pt idx="32">
                  <c:v>0.6223776223776224</c:v>
                </c:pt>
                <c:pt idx="33">
                  <c:v>0.629080118694362</c:v>
                </c:pt>
                <c:pt idx="34">
                  <c:v>0.603225806451613</c:v>
                </c:pt>
                <c:pt idx="35">
                  <c:v>0.6246153846153846</c:v>
                </c:pt>
                <c:pt idx="36">
                  <c:v>0.5409356725146199</c:v>
                </c:pt>
                <c:pt idx="37">
                  <c:v>0.5066666666666667</c:v>
                </c:pt>
                <c:pt idx="38">
                  <c:v>0.5275080906148867</c:v>
                </c:pt>
                <c:pt idx="39">
                  <c:v>0.5079365079365079</c:v>
                </c:pt>
                <c:pt idx="40">
                  <c:v>0.5207667731629393</c:v>
                </c:pt>
                <c:pt idx="41">
                  <c:v>0.5016501650165016</c:v>
                </c:pt>
                <c:pt idx="42">
                  <c:v>0.47896440129449835</c:v>
                </c:pt>
                <c:pt idx="43">
                  <c:v>0.4906054279749478</c:v>
                </c:pt>
                <c:pt idx="44">
                  <c:v>0.521505376344086</c:v>
                </c:pt>
                <c:pt idx="45">
                  <c:v>0.5272895467160037</c:v>
                </c:pt>
                <c:pt idx="46">
                  <c:v>0.5033259423503326</c:v>
                </c:pt>
                <c:pt idx="47">
                  <c:v>0.4725168756027001</c:v>
                </c:pt>
                <c:pt idx="48">
                  <c:v>0.4866810655147588</c:v>
                </c:pt>
                <c:pt idx="49">
                  <c:v>0.5404939689833429</c:v>
                </c:pt>
                <c:pt idx="50">
                  <c:v>0.5243407707910751</c:v>
                </c:pt>
                <c:pt idx="51">
                  <c:v>0.49243306169965073</c:v>
                </c:pt>
                <c:pt idx="52">
                  <c:v>0.495949594959496</c:v>
                </c:pt>
                <c:pt idx="53">
                  <c:v>0.4940152339499456</c:v>
                </c:pt>
                <c:pt idx="54">
                  <c:v>0.5247641509433962</c:v>
                </c:pt>
                <c:pt idx="55">
                  <c:v>0.5261904761904762</c:v>
                </c:pt>
                <c:pt idx="56">
                  <c:v>0.5552913198573127</c:v>
                </c:pt>
                <c:pt idx="57">
                  <c:v>0.5605786618444847</c:v>
                </c:pt>
                <c:pt idx="58">
                  <c:v>0.5425894378194208</c:v>
                </c:pt>
                <c:pt idx="59">
                  <c:v>0.563238512035011</c:v>
                </c:pt>
                <c:pt idx="60">
                  <c:v>0.6278381046396841</c:v>
                </c:pt>
                <c:pt idx="61">
                  <c:v>0.6068111455108359</c:v>
                </c:pt>
                <c:pt idx="62">
                  <c:v>0.6608084358523726</c:v>
                </c:pt>
                <c:pt idx="63">
                  <c:v>0.6924715909090909</c:v>
                </c:pt>
                <c:pt idx="64">
                  <c:v>0.5997277059223962</c:v>
                </c:pt>
                <c:pt idx="65">
                  <c:v>0.5325318246110325</c:v>
                </c:pt>
                <c:pt idx="66">
                  <c:v>0.48374613003095973</c:v>
                </c:pt>
                <c:pt idx="67">
                  <c:v>0.4891398783666377</c:v>
                </c:pt>
                <c:pt idx="68">
                  <c:v>0.503030303030303</c:v>
                </c:pt>
                <c:pt idx="69">
                  <c:v>0.5355113636363636</c:v>
                </c:pt>
                <c:pt idx="70">
                  <c:v>0.4958791208791209</c:v>
                </c:pt>
                <c:pt idx="71">
                  <c:v>0.4858420268256334</c:v>
                </c:pt>
                <c:pt idx="72">
                  <c:v>0.5037593984962406</c:v>
                </c:pt>
                <c:pt idx="73">
                  <c:v>0.5190311418685121</c:v>
                </c:pt>
                <c:pt idx="74">
                  <c:v>0.5016393442622951</c:v>
                </c:pt>
                <c:pt idx="75">
                  <c:v>0.5180180180180181</c:v>
                </c:pt>
                <c:pt idx="76">
                  <c:v>0.5173333333333333</c:v>
                </c:pt>
                <c:pt idx="77">
                  <c:v>0.5623409669211196</c:v>
                </c:pt>
                <c:pt idx="78">
                  <c:v>0.4952076677316294</c:v>
                </c:pt>
                <c:pt idx="79">
                  <c:v>0.4827586206896552</c:v>
                </c:pt>
                <c:pt idx="80">
                  <c:v>0.5018587360594795</c:v>
                </c:pt>
                <c:pt idx="81">
                  <c:v>0.5440729483282675</c:v>
                </c:pt>
                <c:pt idx="82">
                  <c:v>0.490272373540856</c:v>
                </c:pt>
                <c:pt idx="83">
                  <c:v>0.5384615384615384</c:v>
                </c:pt>
                <c:pt idx="84">
                  <c:v>0.4979757085020243</c:v>
                </c:pt>
                <c:pt idx="85">
                  <c:v>0.45555555555555555</c:v>
                </c:pt>
                <c:pt idx="86">
                  <c:v>0.4307692307692308</c:v>
                </c:pt>
                <c:pt idx="87">
                  <c:v>0.4666666666666667</c:v>
                </c:pt>
                <c:pt idx="88">
                  <c:v>0.397887323943662</c:v>
                </c:pt>
                <c:pt idx="89">
                  <c:v>0.4343065693430657</c:v>
                </c:pt>
                <c:pt idx="90">
                  <c:v>0.44841269841269843</c:v>
                </c:pt>
                <c:pt idx="91">
                  <c:v>0.3880597014925373</c:v>
                </c:pt>
                <c:pt idx="92">
                  <c:v>0.4155251141552511</c:v>
                </c:pt>
                <c:pt idx="93">
                  <c:v>0.3919239904988123</c:v>
                </c:pt>
                <c:pt idx="94">
                  <c:v>0.45</c:v>
                </c:pt>
                <c:pt idx="95">
                  <c:v>0.47442680776014107</c:v>
                </c:pt>
                <c:pt idx="96">
                  <c:v>0.42685851318944845</c:v>
                </c:pt>
                <c:pt idx="97">
                  <c:v>0.39473684210526316</c:v>
                </c:pt>
                <c:pt idx="98">
                  <c:v>0.4133738601823708</c:v>
                </c:pt>
                <c:pt idx="99">
                  <c:v>0.4306632213608958</c:v>
                </c:pt>
                <c:pt idx="100">
                  <c:v>0.4451948051948052</c:v>
                </c:pt>
                <c:pt idx="101">
                  <c:v>0.4329805996472663</c:v>
                </c:pt>
                <c:pt idx="102">
                  <c:v>0.4221267454350161</c:v>
                </c:pt>
                <c:pt idx="103">
                  <c:v>0.3453355155482815</c:v>
                </c:pt>
                <c:pt idx="104">
                  <c:v>0.377310924369747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0.3399</c:v>
                </c:pt>
                <c:pt idx="1">
                  <c:v>1169.278</c:v>
                </c:pt>
                <c:pt idx="2">
                  <c:v>1129.0373</c:v>
                </c:pt>
                <c:pt idx="3">
                  <c:v>1153.0587</c:v>
                </c:pt>
                <c:pt idx="4">
                  <c:v>1177.7862</c:v>
                </c:pt>
                <c:pt idx="5">
                  <c:v>1131.2432</c:v>
                </c:pt>
                <c:pt idx="6">
                  <c:v>1069.4987</c:v>
                </c:pt>
                <c:pt idx="7">
                  <c:v>1201.183</c:v>
                </c:pt>
                <c:pt idx="8">
                  <c:v>1232.7139</c:v>
                </c:pt>
                <c:pt idx="9">
                  <c:v>1184.232</c:v>
                </c:pt>
                <c:pt idx="10">
                  <c:v>1218.7625</c:v>
                </c:pt>
                <c:pt idx="11">
                  <c:v>1033.7141</c:v>
                </c:pt>
                <c:pt idx="12">
                  <c:v>1044.5535</c:v>
                </c:pt>
                <c:pt idx="13">
                  <c:v>1180.3327</c:v>
                </c:pt>
                <c:pt idx="14">
                  <c:v>1186.7797</c:v>
                </c:pt>
                <c:pt idx="15">
                  <c:v>1214.1401</c:v>
                </c:pt>
                <c:pt idx="16">
                  <c:v>1254.277</c:v>
                </c:pt>
                <c:pt idx="17">
                  <c:v>1232.0301</c:v>
                </c:pt>
                <c:pt idx="18">
                  <c:v>1251.2188</c:v>
                </c:pt>
                <c:pt idx="19">
                  <c:v>1220.4568</c:v>
                </c:pt>
                <c:pt idx="20">
                  <c:v>1176.8889</c:v>
                </c:pt>
                <c:pt idx="21">
                  <c:v>1106.063</c:v>
                </c:pt>
                <c:pt idx="22">
                  <c:v>1104.8976</c:v>
                </c:pt>
                <c:pt idx="23">
                  <c:v>1116.2286</c:v>
                </c:pt>
                <c:pt idx="24">
                  <c:v>1177.578</c:v>
                </c:pt>
                <c:pt idx="25">
                  <c:v>1180.8616</c:v>
                </c:pt>
                <c:pt idx="26">
                  <c:v>1203.9068</c:v>
                </c:pt>
                <c:pt idx="27">
                  <c:v>1220.4726</c:v>
                </c:pt>
                <c:pt idx="28">
                  <c:v>1235.2298</c:v>
                </c:pt>
                <c:pt idx="29">
                  <c:v>1233.4809</c:v>
                </c:pt>
                <c:pt idx="30">
                  <c:v>1245.0172</c:v>
                </c:pt>
                <c:pt idx="31">
                  <c:v>1263.4643</c:v>
                </c:pt>
                <c:pt idx="32">
                  <c:v>1275.5238</c:v>
                </c:pt>
                <c:pt idx="33">
                  <c:v>1234.0517</c:v>
                </c:pt>
                <c:pt idx="34">
                  <c:v>1255.8278</c:v>
                </c:pt>
                <c:pt idx="35">
                  <c:v>1285.0183</c:v>
                </c:pt>
                <c:pt idx="36">
                  <c:v>1331.4462</c:v>
                </c:pt>
                <c:pt idx="37">
                  <c:v>1184.6341</c:v>
                </c:pt>
                <c:pt idx="38">
                  <c:v>1268.7949</c:v>
                </c:pt>
                <c:pt idx="39">
                  <c:v>1141.2286</c:v>
                </c:pt>
                <c:pt idx="40">
                  <c:v>1253.2174</c:v>
                </c:pt>
                <c:pt idx="41">
                  <c:v>1250.9237</c:v>
                </c:pt>
                <c:pt idx="42">
                  <c:v>1209.6589</c:v>
                </c:pt>
                <c:pt idx="43">
                  <c:v>1300.6765</c:v>
                </c:pt>
                <c:pt idx="44">
                  <c:v>1180.5899</c:v>
                </c:pt>
                <c:pt idx="45">
                  <c:v>1146.7098</c:v>
                </c:pt>
                <c:pt idx="46">
                  <c:v>1186.9639</c:v>
                </c:pt>
                <c:pt idx="47">
                  <c:v>1128.0281</c:v>
                </c:pt>
                <c:pt idx="48">
                  <c:v>1189.686</c:v>
                </c:pt>
                <c:pt idx="49">
                  <c:v>1195.6764</c:v>
                </c:pt>
                <c:pt idx="50">
                  <c:v>1068.8447</c:v>
                </c:pt>
                <c:pt idx="51">
                  <c:v>1031.0727</c:v>
                </c:pt>
              </c:numCache>
            </c:numRef>
          </c:xVal>
          <c:yVal>
            <c:numRef>
              <c:f>Sheet1!$B$109:$B$160</c:f>
              <c:numCache>
                <c:formatCode>General</c:formatCode>
                <c:ptCount val="52"/>
                <c:pt idx="0">
                  <c:v>0.4299923488905891</c:v>
                </c:pt>
                <c:pt idx="1">
                  <c:v>0.46390916463909165</c:v>
                </c:pt>
                <c:pt idx="2">
                  <c:v>0.4583333333333333</c:v>
                </c:pt>
                <c:pt idx="3">
                  <c:v>0.4737507906388362</c:v>
                </c:pt>
                <c:pt idx="4">
                  <c:v>0.46695402298850575</c:v>
                </c:pt>
                <c:pt idx="5">
                  <c:v>0.47338129496402875</c:v>
                </c:pt>
                <c:pt idx="6">
                  <c:v>0.46903187011425135</c:v>
                </c:pt>
                <c:pt idx="7">
                  <c:v>0.42637362637362636</c:v>
                </c:pt>
                <c:pt idx="8">
                  <c:v>0.4030612244897959</c:v>
                </c:pt>
                <c:pt idx="9">
                  <c:v>0.43106796116504853</c:v>
                </c:pt>
                <c:pt idx="10">
                  <c:v>0.4331275720164609</c:v>
                </c:pt>
                <c:pt idx="11">
                  <c:v>0.45724381625441696</c:v>
                </c:pt>
                <c:pt idx="12">
                  <c:v>0.46550218340611355</c:v>
                </c:pt>
                <c:pt idx="13">
                  <c:v>0.4830357142857143</c:v>
                </c:pt>
                <c:pt idx="14">
                  <c:v>0.4631992149165849</c:v>
                </c:pt>
                <c:pt idx="15">
                  <c:v>0.4611171960569551</c:v>
                </c:pt>
                <c:pt idx="16">
                  <c:v>0.43144654088050316</c:v>
                </c:pt>
                <c:pt idx="17">
                  <c:v>0.42411347517730497</c:v>
                </c:pt>
                <c:pt idx="18">
                  <c:v>0.4534412955465587</c:v>
                </c:pt>
                <c:pt idx="19">
                  <c:v>0.4533582089552239</c:v>
                </c:pt>
                <c:pt idx="20">
                  <c:v>0.45348837209302323</c:v>
                </c:pt>
                <c:pt idx="21">
                  <c:v>0.4712041884816754</c:v>
                </c:pt>
                <c:pt idx="22">
                  <c:v>0.44405594405594406</c:v>
                </c:pt>
                <c:pt idx="23">
                  <c:v>0.45751633986928103</c:v>
                </c:pt>
                <c:pt idx="24">
                  <c:v>0.43358395989974935</c:v>
                </c:pt>
                <c:pt idx="25">
                  <c:v>0.44662921348314605</c:v>
                </c:pt>
                <c:pt idx="26">
                  <c:v>0.44722222222222224</c:v>
                </c:pt>
                <c:pt idx="27">
                  <c:v>0.4281524926686217</c:v>
                </c:pt>
                <c:pt idx="28">
                  <c:v>0.43869209809264303</c:v>
                </c:pt>
                <c:pt idx="29">
                  <c:v>0.447098976109215</c:v>
                </c:pt>
                <c:pt idx="30">
                  <c:v>0.45136186770428016</c:v>
                </c:pt>
                <c:pt idx="31">
                  <c:v>0.4019138755980861</c:v>
                </c:pt>
                <c:pt idx="32">
                  <c:v>0.4117647058823529</c:v>
                </c:pt>
                <c:pt idx="33">
                  <c:v>0.4013840830449827</c:v>
                </c:pt>
                <c:pt idx="34">
                  <c:v>0.4326647564469914</c:v>
                </c:pt>
                <c:pt idx="35">
                  <c:v>0.4022140221402214</c:v>
                </c:pt>
                <c:pt idx="36">
                  <c:v>0.38235294117647056</c:v>
                </c:pt>
                <c:pt idx="37">
                  <c:v>0.3942307692307692</c:v>
                </c:pt>
                <c:pt idx="38">
                  <c:v>0.41935483870967744</c:v>
                </c:pt>
                <c:pt idx="39">
                  <c:v>0.39923954372623577</c:v>
                </c:pt>
                <c:pt idx="40">
                  <c:v>0.3780821917808219</c:v>
                </c:pt>
                <c:pt idx="41">
                  <c:v>0.3753581661891118</c:v>
                </c:pt>
                <c:pt idx="42">
                  <c:v>0.40186915887850466</c:v>
                </c:pt>
                <c:pt idx="43">
                  <c:v>0.37037037037037035</c:v>
                </c:pt>
                <c:pt idx="44">
                  <c:v>0.3888888888888889</c:v>
                </c:pt>
                <c:pt idx="45">
                  <c:v>0.408930669800235</c:v>
                </c:pt>
                <c:pt idx="46">
                  <c:v>0.4134328358208955</c:v>
                </c:pt>
                <c:pt idx="47">
                  <c:v>0.41299303944315546</c:v>
                </c:pt>
                <c:pt idx="48">
                  <c:v>0.41579371474617244</c:v>
                </c:pt>
                <c:pt idx="49">
                  <c:v>0.40218303946263645</c:v>
                </c:pt>
                <c:pt idx="50">
                  <c:v>0.43257612373127113</c:v>
                </c:pt>
                <c:pt idx="51">
                  <c:v>0.43653516295025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10827333430932</c:v>
                </c:pt>
              </c:numCache>
            </c:numRef>
          </c:xVal>
          <c:yVal>
            <c:numRef>
              <c:f>Sheet1!$B$163:$B$164</c:f>
              <c:numCache>
                <c:formatCode>General</c:formatCode>
                <c:ptCount val="2"/>
                <c:pt idx="0">
                  <c:v>0.6648539287722878</c:v>
                </c:pt>
                <c:pt idx="1">
                  <c:v>0.66485392877228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10827333430932</c:v>
                </c:pt>
                <c:pt idx="1">
                  <c:v>112.10827333430932</c:v>
                </c:pt>
              </c:numCache>
            </c:numRef>
          </c:xVal>
          <c:yVal>
            <c:numRef>
              <c:f>Sheet1!$B$167:$B$168</c:f>
              <c:numCache>
                <c:formatCode>General</c:formatCode>
                <c:ptCount val="2"/>
                <c:pt idx="0">
                  <c:v>0.66485392877228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416328964813</c:v>
                </c:pt>
              </c:numCache>
            </c:numRef>
          </c:xVal>
          <c:yVal>
            <c:numRef>
              <c:f>Sheet1!$B$171:$B$172</c:f>
              <c:numCache>
                <c:formatCode>General</c:formatCode>
                <c:ptCount val="2"/>
                <c:pt idx="0">
                  <c:v>0.4524112107104295</c:v>
                </c:pt>
                <c:pt idx="1">
                  <c:v>0.45241121071042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416328964813</c:v>
                </c:pt>
                <c:pt idx="1">
                  <c:v>1091.416328964813</c:v>
                </c:pt>
              </c:numCache>
            </c:numRef>
          </c:xVal>
          <c:yVal>
            <c:numRef>
              <c:f>Sheet1!$B$175:$B$176</c:f>
              <c:numCache>
                <c:formatCode>General</c:formatCode>
                <c:ptCount val="2"/>
                <c:pt idx="0">
                  <c:v>0.45241121071042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0.163821714376</c:v>
                </c:pt>
              </c:numCache>
            </c:numRef>
          </c:xVal>
          <c:yVal>
            <c:numRef>
              <c:f>Sheet1!$B$179:$B$180</c:f>
              <c:numCache>
                <c:formatCode>General</c:formatCode>
                <c:ptCount val="2"/>
                <c:pt idx="0">
                  <c:v>0.4027886850606582</c:v>
                </c:pt>
                <c:pt idx="1">
                  <c:v>0.40278868506065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0.163821714376</c:v>
                </c:pt>
                <c:pt idx="1">
                  <c:v>1320.163821714376</c:v>
                </c:pt>
              </c:numCache>
            </c:numRef>
          </c:xVal>
          <c:yVal>
            <c:numRef>
              <c:f>Sheet1!$B$183:$B$184</c:f>
              <c:numCache>
                <c:formatCode>General</c:formatCode>
                <c:ptCount val="2"/>
                <c:pt idx="0">
                  <c:v>0.40278868506065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0.3399</c:v>
                </c:pt>
                <c:pt idx="1">
                  <c:v>1169.278</c:v>
                </c:pt>
                <c:pt idx="2">
                  <c:v>1129.0373</c:v>
                </c:pt>
                <c:pt idx="3">
                  <c:v>1153.0587</c:v>
                </c:pt>
                <c:pt idx="4">
                  <c:v>1177.7862</c:v>
                </c:pt>
                <c:pt idx="5">
                  <c:v>1131.2432</c:v>
                </c:pt>
                <c:pt idx="6">
                  <c:v>1069.4987</c:v>
                </c:pt>
                <c:pt idx="7">
                  <c:v>1201.183</c:v>
                </c:pt>
                <c:pt idx="8">
                  <c:v>1232.7139</c:v>
                </c:pt>
                <c:pt idx="9">
                  <c:v>1184.232</c:v>
                </c:pt>
                <c:pt idx="10">
                  <c:v>1218.7625</c:v>
                </c:pt>
                <c:pt idx="11">
                  <c:v>1033.7141</c:v>
                </c:pt>
                <c:pt idx="12">
                  <c:v>1044.5535</c:v>
                </c:pt>
                <c:pt idx="13">
                  <c:v>1180.3327</c:v>
                </c:pt>
                <c:pt idx="14">
                  <c:v>1186.7797</c:v>
                </c:pt>
                <c:pt idx="15">
                  <c:v>1214.1401</c:v>
                </c:pt>
                <c:pt idx="16">
                  <c:v>1254.277</c:v>
                </c:pt>
                <c:pt idx="17">
                  <c:v>1232.0301</c:v>
                </c:pt>
                <c:pt idx="18">
                  <c:v>1251.2188</c:v>
                </c:pt>
                <c:pt idx="19">
                  <c:v>1220.4568</c:v>
                </c:pt>
                <c:pt idx="20">
                  <c:v>1176.8889</c:v>
                </c:pt>
                <c:pt idx="21">
                  <c:v>1106.063</c:v>
                </c:pt>
                <c:pt idx="22">
                  <c:v>1104.8976</c:v>
                </c:pt>
                <c:pt idx="23">
                  <c:v>1116.2286</c:v>
                </c:pt>
                <c:pt idx="24">
                  <c:v>1177.578</c:v>
                </c:pt>
                <c:pt idx="25">
                  <c:v>1180.8616</c:v>
                </c:pt>
                <c:pt idx="26">
                  <c:v>1203.9068</c:v>
                </c:pt>
                <c:pt idx="27">
                  <c:v>1220.4726</c:v>
                </c:pt>
                <c:pt idx="28">
                  <c:v>1235.2298</c:v>
                </c:pt>
                <c:pt idx="29">
                  <c:v>1233.4809</c:v>
                </c:pt>
                <c:pt idx="30">
                  <c:v>1245.0172</c:v>
                </c:pt>
                <c:pt idx="31">
                  <c:v>1263.4643</c:v>
                </c:pt>
                <c:pt idx="32">
                  <c:v>1275.5238</c:v>
                </c:pt>
                <c:pt idx="33">
                  <c:v>1234.0517</c:v>
                </c:pt>
                <c:pt idx="34">
                  <c:v>1255.8278</c:v>
                </c:pt>
                <c:pt idx="35">
                  <c:v>1285.0183</c:v>
                </c:pt>
                <c:pt idx="36">
                  <c:v>1331.4462</c:v>
                </c:pt>
                <c:pt idx="37">
                  <c:v>1184.6341</c:v>
                </c:pt>
                <c:pt idx="38">
                  <c:v>1268.7949</c:v>
                </c:pt>
                <c:pt idx="39">
                  <c:v>1141.2286</c:v>
                </c:pt>
                <c:pt idx="40">
                  <c:v>1253.2174</c:v>
                </c:pt>
                <c:pt idx="41">
                  <c:v>1250.9237</c:v>
                </c:pt>
                <c:pt idx="42">
                  <c:v>1209.6589</c:v>
                </c:pt>
                <c:pt idx="43">
                  <c:v>1300.6765</c:v>
                </c:pt>
                <c:pt idx="44">
                  <c:v>1180.5899</c:v>
                </c:pt>
                <c:pt idx="45">
                  <c:v>1146.7098</c:v>
                </c:pt>
                <c:pt idx="46">
                  <c:v>1186.9639</c:v>
                </c:pt>
                <c:pt idx="47">
                  <c:v>1128.0281</c:v>
                </c:pt>
                <c:pt idx="48">
                  <c:v>1189.686</c:v>
                </c:pt>
                <c:pt idx="49">
                  <c:v>1195.6764</c:v>
                </c:pt>
                <c:pt idx="50">
                  <c:v>1068.8447</c:v>
                </c:pt>
                <c:pt idx="51">
                  <c:v>1031.0727</c:v>
                </c:pt>
                <c:pt idx="52">
                  <c:v>1091.416328964813</c:v>
                </c:pt>
                <c:pt idx="53">
                  <c:v>112.10827333430932</c:v>
                </c:pt>
                <c:pt idx="54">
                  <c:v>1320.163821714376</c:v>
                </c:pt>
              </c:numCache>
            </c:numRef>
          </c:xVal>
          <c:yVal>
            <c:numRef>
              <c:f>Sheet1!$B$187:$B$241</c:f>
              <c:numCache>
                <c:formatCode>General</c:formatCode>
                <c:ptCount val="55"/>
                <c:pt idx="0">
                  <c:v>0.43529020588108763</c:v>
                </c:pt>
                <c:pt idx="1">
                  <c:v>0.4355205653895312</c:v>
                </c:pt>
                <c:pt idx="2">
                  <c:v>0.4442500388535352</c:v>
                </c:pt>
                <c:pt idx="3">
                  <c:v>0.4390390416823074</c:v>
                </c:pt>
                <c:pt idx="4">
                  <c:v>0.4336748692131118</c:v>
                </c:pt>
                <c:pt idx="5">
                  <c:v>0.4437715097644725</c:v>
                </c:pt>
                <c:pt idx="6">
                  <c:v>0.4571658337771808</c:v>
                </c:pt>
                <c:pt idx="7">
                  <c:v>0.42859936742654725</c:v>
                </c:pt>
                <c:pt idx="8">
                  <c:v>0.4217593235196032</c:v>
                </c:pt>
                <c:pt idx="9">
                  <c:v>0.432276572462452</c:v>
                </c:pt>
                <c:pt idx="10">
                  <c:v>0.42478582097331813</c:v>
                </c:pt>
                <c:pt idx="11">
                  <c:v>0.46492863899975395</c:v>
                </c:pt>
                <c:pt idx="12">
                  <c:v>0.4625772322233876</c:v>
                </c:pt>
                <c:pt idx="13">
                  <c:v>0.4331224532716375</c:v>
                </c:pt>
                <c:pt idx="14">
                  <c:v>0.43172389620323576</c:v>
                </c:pt>
                <c:pt idx="15">
                  <c:v>0.42578856491514844</c:v>
                </c:pt>
                <c:pt idx="16">
                  <c:v>0.4170816089358195</c:v>
                </c:pt>
                <c:pt idx="17">
                  <c:v>0.4219076612462006</c:v>
                </c:pt>
                <c:pt idx="18">
                  <c:v>0.41774502870107255</c:v>
                </c:pt>
                <c:pt idx="19">
                  <c:v>0.42441827401488896</c:v>
                </c:pt>
                <c:pt idx="20">
                  <c:v>0.4338695218046237</c:v>
                </c:pt>
                <c:pt idx="21">
                  <c:v>0.4492338871018029</c:v>
                </c:pt>
                <c:pt idx="22">
                  <c:v>0.4494866990154861</c:v>
                </c:pt>
                <c:pt idx="23">
                  <c:v>0.447028648737518</c:v>
                </c:pt>
                <c:pt idx="24">
                  <c:v>0.4337200343413329</c:v>
                </c:pt>
                <c:pt idx="25">
                  <c:v>0.4330077182268915</c:v>
                </c:pt>
                <c:pt idx="26">
                  <c:v>0.428008489538706</c:v>
                </c:pt>
                <c:pt idx="27">
                  <c:v>0.4244148464979538</c:v>
                </c:pt>
                <c:pt idx="28">
                  <c:v>0.42121354568054753</c:v>
                </c:pt>
                <c:pt idx="29">
                  <c:v>0.4215929370962336</c:v>
                </c:pt>
                <c:pt idx="30">
                  <c:v>0.41909035079125406</c:v>
                </c:pt>
                <c:pt idx="31">
                  <c:v>0.4150885946106253</c:v>
                </c:pt>
                <c:pt idx="32">
                  <c:v>0.41247250977017386</c:v>
                </c:pt>
                <c:pt idx="33">
                  <c:v>0.42146911262366593</c:v>
                </c:pt>
                <c:pt idx="34">
                  <c:v>0.4167451916406935</c:v>
                </c:pt>
                <c:pt idx="35">
                  <c:v>0.4104128541030511</c:v>
                </c:pt>
                <c:pt idx="36">
                  <c:v>0.40034118236176847</c:v>
                </c:pt>
                <c:pt idx="37">
                  <c:v>0.4321893443257676</c:v>
                </c:pt>
                <c:pt idx="38">
                  <c:v>0.4139322198147788</c:v>
                </c:pt>
                <c:pt idx="39">
                  <c:v>0.44160536244776416</c:v>
                </c:pt>
                <c:pt idx="40">
                  <c:v>0.4173114695019245</c:v>
                </c:pt>
                <c:pt idx="41">
                  <c:v>0.4178090451724368</c:v>
                </c:pt>
                <c:pt idx="42">
                  <c:v>0.4267606781360143</c:v>
                </c:pt>
                <c:pt idx="43">
                  <c:v>0.4070160980477621</c:v>
                </c:pt>
                <c:pt idx="44">
                  <c:v>0.43306665850228854</c:v>
                </c:pt>
                <c:pt idx="45">
                  <c:v>0.4404163177753081</c:v>
                </c:pt>
                <c:pt idx="46">
                  <c:v>0.4316839374298529</c:v>
                </c:pt>
                <c:pt idx="47">
                  <c:v>0.44446896607447994</c:v>
                </c:pt>
                <c:pt idx="48">
                  <c:v>0.4310934283254793</c:v>
                </c:pt>
                <c:pt idx="49">
                  <c:v>0.4297939221578736</c:v>
                </c:pt>
                <c:pt idx="50">
                  <c:v>0.4573077069465208</c:v>
                </c:pt>
                <c:pt idx="51">
                  <c:v>0.4655016417359842</c:v>
                </c:pt>
                <c:pt idx="52">
                  <c:v>0.45241121071042956</c:v>
                </c:pt>
                <c:pt idx="53">
                  <c:v>0.6648539287722878</c:v>
                </c:pt>
                <c:pt idx="54">
                  <c:v>0.40278868506065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8.0"/>
          <c:min val="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47461368653422"/>
          <c:min val="0.276268412438625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8</c:f>
              <c:numCache>
                <c:formatCode>General</c:formatCode>
                <c:ptCount val="107"/>
                <c:pt idx="0">
                  <c:v>0.0</c:v>
                </c:pt>
                <c:pt idx="1">
                  <c:v>0.0</c:v>
                </c:pt>
                <c:pt idx="2">
                  <c:v>0.0</c:v>
                </c:pt>
                <c:pt idx="3">
                  <c:v>0.07344394171779141</c:v>
                </c:pt>
                <c:pt idx="4">
                  <c:v>0.0</c:v>
                </c:pt>
                <c:pt idx="5">
                  <c:v>0.0</c:v>
                </c:pt>
                <c:pt idx="6">
                  <c:v>0.060598720825852784</c:v>
                </c:pt>
                <c:pt idx="7">
                  <c:v>0.0</c:v>
                </c:pt>
                <c:pt idx="8">
                  <c:v>0.0</c:v>
                </c:pt>
                <c:pt idx="9">
                  <c:v>0.0</c:v>
                </c:pt>
                <c:pt idx="10">
                  <c:v>0.0</c:v>
                </c:pt>
                <c:pt idx="11">
                  <c:v>0.0</c:v>
                </c:pt>
                <c:pt idx="12">
                  <c:v>0.04772112148546711</c:v>
                </c:pt>
                <c:pt idx="13">
                  <c:v>0.0</c:v>
                </c:pt>
                <c:pt idx="14">
                  <c:v>0.0</c:v>
                </c:pt>
                <c:pt idx="15">
                  <c:v>0.18893549715630517</c:v>
                </c:pt>
                <c:pt idx="16">
                  <c:v>0.10380917178563864</c:v>
                </c:pt>
                <c:pt idx="17">
                  <c:v>0.08179700823347191</c:v>
                </c:pt>
                <c:pt idx="18">
                  <c:v>0.0</c:v>
                </c:pt>
                <c:pt idx="19">
                  <c:v>0.0</c:v>
                </c:pt>
                <c:pt idx="20">
                  <c:v>0.0</c:v>
                </c:pt>
                <c:pt idx="21">
                  <c:v>0.11365823310271421</c:v>
                </c:pt>
                <c:pt idx="22">
                  <c:v>0.0</c:v>
                </c:pt>
                <c:pt idx="23">
                  <c:v>0.0</c:v>
                </c:pt>
                <c:pt idx="24">
                  <c:v>0.10975900862068964</c:v>
                </c:pt>
                <c:pt idx="25">
                  <c:v>0.0</c:v>
                </c:pt>
                <c:pt idx="26">
                  <c:v>0.0</c:v>
                </c:pt>
                <c:pt idx="27">
                  <c:v>0.0</c:v>
                </c:pt>
                <c:pt idx="28">
                  <c:v>0.0</c:v>
                </c:pt>
                <c:pt idx="29">
                  <c:v>0.1473644038701623</c:v>
                </c:pt>
                <c:pt idx="30">
                  <c:v>0.07274438737531637</c:v>
                </c:pt>
                <c:pt idx="31">
                  <c:v>0.06830998135084732</c:v>
                </c:pt>
                <c:pt idx="32">
                  <c:v>0.0</c:v>
                </c:pt>
                <c:pt idx="33">
                  <c:v>0.09800501664562049</c:v>
                </c:pt>
                <c:pt idx="34">
                  <c:v>0.10719658861286105</c:v>
                </c:pt>
                <c:pt idx="35">
                  <c:v>0.08867743283015285</c:v>
                </c:pt>
                <c:pt idx="36">
                  <c:v>0.11085233921457029</c:v>
                </c:pt>
                <c:pt idx="37">
                  <c:v>0.08891743073047859</c:v>
                </c:pt>
                <c:pt idx="38">
                  <c:v>0.07514619523443505</c:v>
                </c:pt>
                <c:pt idx="39">
                  <c:v>0.0</c:v>
                </c:pt>
                <c:pt idx="40">
                  <c:v>0.0</c:v>
                </c:pt>
                <c:pt idx="41">
                  <c:v>0.10771908412552388</c:v>
                </c:pt>
                <c:pt idx="42">
                  <c:v>0.0</c:v>
                </c:pt>
                <c:pt idx="43">
                  <c:v>0.0</c:v>
                </c:pt>
                <c:pt idx="44">
                  <c:v>0.08574637562528421</c:v>
                </c:pt>
                <c:pt idx="45">
                  <c:v>0.13778610436893204</c:v>
                </c:pt>
                <c:pt idx="46">
                  <c:v>0.09228038503094</c:v>
                </c:pt>
                <c:pt idx="47">
                  <c:v>0.0</c:v>
                </c:pt>
                <c:pt idx="48">
                  <c:v>0.0</c:v>
                </c:pt>
                <c:pt idx="49">
                  <c:v>0.15693248190026846</c:v>
                </c:pt>
                <c:pt idx="50">
                  <c:v>0.08941744317114408</c:v>
                </c:pt>
                <c:pt idx="51">
                  <c:v>0.09630575703058422</c:v>
                </c:pt>
                <c:pt idx="52">
                  <c:v>0.11142238951473137</c:v>
                </c:pt>
                <c:pt idx="53">
                  <c:v>0.07078099402044621</c:v>
                </c:pt>
                <c:pt idx="54">
                  <c:v>0.09505441739130435</c:v>
                </c:pt>
                <c:pt idx="55">
                  <c:v>0.0</c:v>
                </c:pt>
                <c:pt idx="56">
                  <c:v>0.07059431743529103</c:v>
                </c:pt>
                <c:pt idx="57">
                  <c:v>0.0612302965344766</c:v>
                </c:pt>
                <c:pt idx="58">
                  <c:v>0.1510387764965822</c:v>
                </c:pt>
                <c:pt idx="59">
                  <c:v>0.09154134250683603</c:v>
                </c:pt>
                <c:pt idx="60">
                  <c:v>0.12003699642156297</c:v>
                </c:pt>
                <c:pt idx="61">
                  <c:v>0.10609902386623699</c:v>
                </c:pt>
                <c:pt idx="62">
                  <c:v>0.12067760869565217</c:v>
                </c:pt>
                <c:pt idx="63">
                  <c:v>0.06296989900136178</c:v>
                </c:pt>
                <c:pt idx="64">
                  <c:v>0.1510298418184235</c:v>
                </c:pt>
                <c:pt idx="65">
                  <c:v>0.07328648341359016</c:v>
                </c:pt>
                <c:pt idx="66">
                  <c:v>0.08712304304912306</c:v>
                </c:pt>
                <c:pt idx="67">
                  <c:v>0.11952390503479328</c:v>
                </c:pt>
                <c:pt idx="68">
                  <c:v>0.14555518277416124</c:v>
                </c:pt>
                <c:pt idx="69">
                  <c:v>0.0</c:v>
                </c:pt>
                <c:pt idx="70">
                  <c:v>0.06375524114707799</c:v>
                </c:pt>
                <c:pt idx="71">
                  <c:v>0.14041959104409413</c:v>
                </c:pt>
                <c:pt idx="72">
                  <c:v>0.0</c:v>
                </c:pt>
                <c:pt idx="73">
                  <c:v>0.0</c:v>
                </c:pt>
                <c:pt idx="74">
                  <c:v>0.0</c:v>
                </c:pt>
                <c:pt idx="75">
                  <c:v>0.0</c:v>
                </c:pt>
                <c:pt idx="76">
                  <c:v>0.0</c:v>
                </c:pt>
                <c:pt idx="77">
                  <c:v>0.11970711940910955</c:v>
                </c:pt>
                <c:pt idx="78">
                  <c:v>0.13787338718480516</c:v>
                </c:pt>
                <c:pt idx="79">
                  <c:v>0.1531329926656246</c:v>
                </c:pt>
                <c:pt idx="80">
                  <c:v>0.11327550852116548</c:v>
                </c:pt>
                <c:pt idx="81">
                  <c:v>0.09700617156609936</c:v>
                </c:pt>
                <c:pt idx="82">
                  <c:v>0.09790025176233635</c:v>
                </c:pt>
                <c:pt idx="83">
                  <c:v>0.12002637547720638</c:v>
                </c:pt>
                <c:pt idx="84">
                  <c:v>0.0</c:v>
                </c:pt>
                <c:pt idx="85">
                  <c:v>0.14775564778058461</c:v>
                </c:pt>
                <c:pt idx="86">
                  <c:v>0.1264938832830542</c:v>
                </c:pt>
                <c:pt idx="87">
                  <c:v>0.11105010034665208</c:v>
                </c:pt>
                <c:pt idx="88">
                  <c:v>0.10830794888815133</c:v>
                </c:pt>
                <c:pt idx="89">
                  <c:v>0.12680183318056829</c:v>
                </c:pt>
                <c:pt idx="90">
                  <c:v>0.0</c:v>
                </c:pt>
                <c:pt idx="91">
                  <c:v>0.09984639012032932</c:v>
                </c:pt>
                <c:pt idx="92">
                  <c:v>0.12057444029850747</c:v>
                </c:pt>
                <c:pt idx="93">
                  <c:v>0.1467083126697367</c:v>
                </c:pt>
                <c:pt idx="94">
                  <c:v>0.0</c:v>
                </c:pt>
                <c:pt idx="95">
                  <c:v>0.0977604766536965</c:v>
                </c:pt>
                <c:pt idx="96">
                  <c:v>0.08437579058063548</c:v>
                </c:pt>
                <c:pt idx="97">
                  <c:v>0.07563605800076992</c:v>
                </c:pt>
                <c:pt idx="98">
                  <c:v>0.08503839227361847</c:v>
                </c:pt>
                <c:pt idx="99">
                  <c:v>0.0545152215610092</c:v>
                </c:pt>
                <c:pt idx="100">
                  <c:v>0.08926722144789703</c:v>
                </c:pt>
                <c:pt idx="101">
                  <c:v>0.13224176023180007</c:v>
                </c:pt>
                <c:pt idx="102">
                  <c:v>0.12104367839210034</c:v>
                </c:pt>
                <c:pt idx="103">
                  <c:v>0.11517989428745679</c:v>
                </c:pt>
                <c:pt idx="104">
                  <c:v>0.0</c:v>
                </c:pt>
                <c:pt idx="105">
                  <c:v>0.0</c:v>
                </c:pt>
                <c:pt idx="106">
                  <c:v>0.0</c:v>
                </c:pt>
              </c:numCache>
            </c:numRef>
          </c:xVal>
          <c:yVal>
            <c:numRef>
              <c:f>Sheet1!$B$2:$B$108</c:f>
              <c:numCache>
                <c:formatCode>General</c:formatCode>
                <c:ptCount val="107"/>
                <c:pt idx="0">
                  <c:v>0.5954946131243879</c:v>
                </c:pt>
                <c:pt idx="1">
                  <c:v>0.632688927943761</c:v>
                </c:pt>
                <c:pt idx="2">
                  <c:v>0.6748104465037911</c:v>
                </c:pt>
                <c:pt idx="3">
                  <c:v>0.6937842778793418</c:v>
                </c:pt>
                <c:pt idx="4">
                  <c:v>0.6775244299674267</c:v>
                </c:pt>
                <c:pt idx="5">
                  <c:v>0.644343891402715</c:v>
                </c:pt>
                <c:pt idx="6">
                  <c:v>0.7122884473877852</c:v>
                </c:pt>
                <c:pt idx="7">
                  <c:v>0.6906740535549399</c:v>
                </c:pt>
                <c:pt idx="8">
                  <c:v>0.6620762711864406</c:v>
                </c:pt>
                <c:pt idx="9">
                  <c:v>0.6460573476702509</c:v>
                </c:pt>
                <c:pt idx="10">
                  <c:v>0.6151315789473685</c:v>
                </c:pt>
                <c:pt idx="11">
                  <c:v>0.5563786008230452</c:v>
                </c:pt>
                <c:pt idx="12">
                  <c:v>0.514525993883792</c:v>
                </c:pt>
                <c:pt idx="13">
                  <c:v>0.5026548672566372</c:v>
                </c:pt>
                <c:pt idx="14">
                  <c:v>0.4511627906976744</c:v>
                </c:pt>
                <c:pt idx="15">
                  <c:v>0.4832134292565947</c:v>
                </c:pt>
                <c:pt idx="16">
                  <c:v>0.47067039106145253</c:v>
                </c:pt>
                <c:pt idx="17">
                  <c:v>0.4336734693877551</c:v>
                </c:pt>
                <c:pt idx="18">
                  <c:v>0.39872068230277186</c:v>
                </c:pt>
                <c:pt idx="19">
                  <c:v>0.4830917874396135</c:v>
                </c:pt>
                <c:pt idx="20">
                  <c:v>0.482897384305835</c:v>
                </c:pt>
                <c:pt idx="21">
                  <c:v>0.4738095238095238</c:v>
                </c:pt>
                <c:pt idx="22">
                  <c:v>0.6144278606965174</c:v>
                </c:pt>
                <c:pt idx="23">
                  <c:v>0.6107594936708861</c:v>
                </c:pt>
                <c:pt idx="24">
                  <c:v>0.6051282051282051</c:v>
                </c:pt>
                <c:pt idx="25">
                  <c:v>0.6253869969040248</c:v>
                </c:pt>
                <c:pt idx="26">
                  <c:v>0.6217008797653959</c:v>
                </c:pt>
                <c:pt idx="27">
                  <c:v>0.6370757180156658</c:v>
                </c:pt>
                <c:pt idx="28">
                  <c:v>0.6025641025641025</c:v>
                </c:pt>
                <c:pt idx="29">
                  <c:v>0.6060606060606061</c:v>
                </c:pt>
                <c:pt idx="30">
                  <c:v>0.6073059360730594</c:v>
                </c:pt>
                <c:pt idx="31">
                  <c:v>0.6746575342465754</c:v>
                </c:pt>
                <c:pt idx="32">
                  <c:v>0.6223776223776224</c:v>
                </c:pt>
                <c:pt idx="33">
                  <c:v>0.629080118694362</c:v>
                </c:pt>
                <c:pt idx="34">
                  <c:v>0.603225806451613</c:v>
                </c:pt>
                <c:pt idx="35">
                  <c:v>0.6246153846153846</c:v>
                </c:pt>
                <c:pt idx="36">
                  <c:v>0.5409356725146199</c:v>
                </c:pt>
                <c:pt idx="37">
                  <c:v>0.5066666666666667</c:v>
                </c:pt>
                <c:pt idx="38">
                  <c:v>0.5275080906148867</c:v>
                </c:pt>
                <c:pt idx="39">
                  <c:v>0.5079365079365079</c:v>
                </c:pt>
                <c:pt idx="40">
                  <c:v>0.5207667731629393</c:v>
                </c:pt>
                <c:pt idx="41">
                  <c:v>0.5016501650165016</c:v>
                </c:pt>
                <c:pt idx="42">
                  <c:v>0.47896440129449835</c:v>
                </c:pt>
                <c:pt idx="43">
                  <c:v>0.4906054279749478</c:v>
                </c:pt>
                <c:pt idx="44">
                  <c:v>0.521505376344086</c:v>
                </c:pt>
                <c:pt idx="45">
                  <c:v>0.5272895467160037</c:v>
                </c:pt>
                <c:pt idx="46">
                  <c:v>0.5033259423503326</c:v>
                </c:pt>
                <c:pt idx="47">
                  <c:v>0.4725168756027001</c:v>
                </c:pt>
                <c:pt idx="48">
                  <c:v>0.4866810655147588</c:v>
                </c:pt>
                <c:pt idx="49">
                  <c:v>0.5404939689833429</c:v>
                </c:pt>
                <c:pt idx="50">
                  <c:v>0.5243407707910751</c:v>
                </c:pt>
                <c:pt idx="51">
                  <c:v>0.49243306169965073</c:v>
                </c:pt>
                <c:pt idx="52">
                  <c:v>0.495949594959496</c:v>
                </c:pt>
                <c:pt idx="53">
                  <c:v>0.4940152339499456</c:v>
                </c:pt>
                <c:pt idx="54">
                  <c:v>0.5247641509433962</c:v>
                </c:pt>
                <c:pt idx="55">
                  <c:v>0.5261904761904762</c:v>
                </c:pt>
                <c:pt idx="56">
                  <c:v>0.5552913198573127</c:v>
                </c:pt>
                <c:pt idx="57">
                  <c:v>0.5605786618444847</c:v>
                </c:pt>
                <c:pt idx="58">
                  <c:v>0.5425894378194208</c:v>
                </c:pt>
                <c:pt idx="59">
                  <c:v>0.563238512035011</c:v>
                </c:pt>
                <c:pt idx="60">
                  <c:v>0.6278381046396841</c:v>
                </c:pt>
                <c:pt idx="61">
                  <c:v>0.6068111455108359</c:v>
                </c:pt>
                <c:pt idx="62">
                  <c:v>0.6608084358523726</c:v>
                </c:pt>
                <c:pt idx="63">
                  <c:v>0.6924715909090909</c:v>
                </c:pt>
                <c:pt idx="64">
                  <c:v>0.5997277059223962</c:v>
                </c:pt>
                <c:pt idx="65">
                  <c:v>0.5325318246110325</c:v>
                </c:pt>
                <c:pt idx="66">
                  <c:v>0.48374613003095973</c:v>
                </c:pt>
                <c:pt idx="67">
                  <c:v>0.4891398783666377</c:v>
                </c:pt>
                <c:pt idx="68">
                  <c:v>0.503030303030303</c:v>
                </c:pt>
                <c:pt idx="69">
                  <c:v>0.5355113636363636</c:v>
                </c:pt>
                <c:pt idx="70">
                  <c:v>0.4958791208791209</c:v>
                </c:pt>
                <c:pt idx="71">
                  <c:v>0.4858420268256334</c:v>
                </c:pt>
                <c:pt idx="72">
                  <c:v>0.5037593984962406</c:v>
                </c:pt>
                <c:pt idx="73">
                  <c:v>0.5190311418685121</c:v>
                </c:pt>
                <c:pt idx="74">
                  <c:v>0.5016393442622951</c:v>
                </c:pt>
                <c:pt idx="75">
                  <c:v>0.5180180180180181</c:v>
                </c:pt>
                <c:pt idx="76">
                  <c:v>0.5173333333333333</c:v>
                </c:pt>
                <c:pt idx="77">
                  <c:v>0.5623409669211196</c:v>
                </c:pt>
                <c:pt idx="78">
                  <c:v>0.4952076677316294</c:v>
                </c:pt>
                <c:pt idx="79">
                  <c:v>0.4827586206896552</c:v>
                </c:pt>
                <c:pt idx="80">
                  <c:v>0.5018587360594795</c:v>
                </c:pt>
                <c:pt idx="81">
                  <c:v>0.5440729483282675</c:v>
                </c:pt>
                <c:pt idx="82">
                  <c:v>0.490272373540856</c:v>
                </c:pt>
                <c:pt idx="83">
                  <c:v>0.5384615384615384</c:v>
                </c:pt>
                <c:pt idx="84">
                  <c:v>0.4979757085020243</c:v>
                </c:pt>
                <c:pt idx="85">
                  <c:v>0.45555555555555555</c:v>
                </c:pt>
                <c:pt idx="86">
                  <c:v>0.4307692307692308</c:v>
                </c:pt>
                <c:pt idx="87">
                  <c:v>0.4666666666666667</c:v>
                </c:pt>
                <c:pt idx="88">
                  <c:v>0.397887323943662</c:v>
                </c:pt>
                <c:pt idx="89">
                  <c:v>0.4343065693430657</c:v>
                </c:pt>
                <c:pt idx="90">
                  <c:v>0.44841269841269843</c:v>
                </c:pt>
                <c:pt idx="91">
                  <c:v>0.3880597014925373</c:v>
                </c:pt>
                <c:pt idx="92">
                  <c:v>0.4155251141552511</c:v>
                </c:pt>
                <c:pt idx="93">
                  <c:v>0.3919239904988123</c:v>
                </c:pt>
                <c:pt idx="94">
                  <c:v>0.45</c:v>
                </c:pt>
                <c:pt idx="95">
                  <c:v>0.47442680776014107</c:v>
                </c:pt>
                <c:pt idx="96">
                  <c:v>0.42685851318944845</c:v>
                </c:pt>
                <c:pt idx="97">
                  <c:v>0.39473684210526316</c:v>
                </c:pt>
                <c:pt idx="98">
                  <c:v>0.4133738601823708</c:v>
                </c:pt>
                <c:pt idx="99">
                  <c:v>0.4306632213608958</c:v>
                </c:pt>
                <c:pt idx="100">
                  <c:v>0.4451948051948052</c:v>
                </c:pt>
                <c:pt idx="101">
                  <c:v>0.4329805996472663</c:v>
                </c:pt>
                <c:pt idx="102">
                  <c:v>0.4221267454350161</c:v>
                </c:pt>
                <c:pt idx="103">
                  <c:v>0.3453355155482815</c:v>
                </c:pt>
                <c:pt idx="104">
                  <c:v>0.3773109243697479</c:v>
                </c:pt>
                <c:pt idx="105">
                  <c:v>0.42637362637362636</c:v>
                </c:pt>
                <c:pt idx="106">
                  <c:v>0.4022140221402214</c:v>
                </c:pt>
              </c:numCache>
            </c:numRef>
          </c:yVal>
          <c:smooth val="0"/>
          <c:extLst>
            <c:ext xmlns:c16="http://schemas.microsoft.com/office/drawing/2014/chart" uri="{C3380CC4-5D6E-409C-BE32-E72D297353CC}">
              <c16:uniqueId val="{00000000-096C-4121-9522-6AB7243CCAAE}"/>
            </c:ext>
          </c:extLst>
        </c:ser>
        <c:ser>
          <c:idx val="1"/>
          <c:order val="1"/>
          <c:tx>
            <c:strRef>
              <c:f>Sheet1!$B$11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1:$A$160</c:f>
              <c:numCache>
                <c:formatCode>General</c:formatCode>
                <c:ptCount val="50"/>
                <c:pt idx="0">
                  <c:v>0.08892484613631182</c:v>
                </c:pt>
                <c:pt idx="1">
                  <c:v>0.11822233456347</c:v>
                </c:pt>
                <c:pt idx="2">
                  <c:v>0.08797236247467664</c:v>
                </c:pt>
                <c:pt idx="3">
                  <c:v>0.07549160010475318</c:v>
                </c:pt>
                <c:pt idx="4">
                  <c:v>0.07892422435167191</c:v>
                </c:pt>
                <c:pt idx="5">
                  <c:v>0.09012453792224345</c:v>
                </c:pt>
                <c:pt idx="6">
                  <c:v>0.09341415844178531</c:v>
                </c:pt>
                <c:pt idx="7">
                  <c:v>0.1807896018185818</c:v>
                </c:pt>
                <c:pt idx="8">
                  <c:v>0.1585105072948735</c:v>
                </c:pt>
                <c:pt idx="9">
                  <c:v>0.10899324807726704</c:v>
                </c:pt>
                <c:pt idx="10">
                  <c:v>0.06710686185406388</c:v>
                </c:pt>
                <c:pt idx="11">
                  <c:v>0.1782088750127956</c:v>
                </c:pt>
                <c:pt idx="12">
                  <c:v>0.20757847068340896</c:v>
                </c:pt>
                <c:pt idx="13">
                  <c:v>0.2225351021938871</c:v>
                </c:pt>
                <c:pt idx="14">
                  <c:v>0.27853638449185597</c:v>
                </c:pt>
                <c:pt idx="15">
                  <c:v>0.23135950707919029</c:v>
                </c:pt>
                <c:pt idx="16">
                  <c:v>0.23398159718925077</c:v>
                </c:pt>
                <c:pt idx="17">
                  <c:v>0.1684122484689414</c:v>
                </c:pt>
                <c:pt idx="18">
                  <c:v>0.23554121393418892</c:v>
                </c:pt>
                <c:pt idx="19">
                  <c:v>0.11920276511698571</c:v>
                </c:pt>
                <c:pt idx="20">
                  <c:v>0.16240952553673108</c:v>
                </c:pt>
                <c:pt idx="21">
                  <c:v>0.14871262155523401</c:v>
                </c:pt>
                <c:pt idx="22">
                  <c:v>0.15102538222162087</c:v>
                </c:pt>
                <c:pt idx="23">
                  <c:v>0.25714117261709796</c:v>
                </c:pt>
                <c:pt idx="24">
                  <c:v>0.09923206722689075</c:v>
                </c:pt>
                <c:pt idx="25">
                  <c:v>0.10263485080988917</c:v>
                </c:pt>
                <c:pt idx="26">
                  <c:v>0.08708331073849447</c:v>
                </c:pt>
                <c:pt idx="27">
                  <c:v>0.13073289940202149</c:v>
                </c:pt>
                <c:pt idx="28">
                  <c:v>0.2130364248704663</c:v>
                </c:pt>
                <c:pt idx="29">
                  <c:v>0.21515274069612478</c:v>
                </c:pt>
                <c:pt idx="30">
                  <c:v>0.14223396375098504</c:v>
                </c:pt>
                <c:pt idx="31">
                  <c:v>0.2108768532410622</c:v>
                </c:pt>
                <c:pt idx="32">
                  <c:v>0.1541793728135932</c:v>
                </c:pt>
                <c:pt idx="33">
                  <c:v>0.12433323102816693</c:v>
                </c:pt>
                <c:pt idx="34">
                  <c:v>0.11243423408208074</c:v>
                </c:pt>
                <c:pt idx="35">
                  <c:v>0.13209568465655663</c:v>
                </c:pt>
                <c:pt idx="36">
                  <c:v>0.11520883501316627</c:v>
                </c:pt>
                <c:pt idx="37">
                  <c:v>0.11550896761133603</c:v>
                </c:pt>
                <c:pt idx="38">
                  <c:v>0.07961991105463787</c:v>
                </c:pt>
                <c:pt idx="39">
                  <c:v>0.179665881508079</c:v>
                </c:pt>
                <c:pt idx="40">
                  <c:v>0.23515919517884912</c:v>
                </c:pt>
                <c:pt idx="41">
                  <c:v>0.1779798166392994</c:v>
                </c:pt>
                <c:pt idx="42">
                  <c:v>0.2677479382200479</c:v>
                </c:pt>
                <c:pt idx="43">
                  <c:v>0.24661941057324752</c:v>
                </c:pt>
                <c:pt idx="44">
                  <c:v>0.18425394287488356</c:v>
                </c:pt>
                <c:pt idx="45">
                  <c:v>0.18121903619353627</c:v>
                </c:pt>
                <c:pt idx="46">
                  <c:v>0.18829359395402206</c:v>
                </c:pt>
                <c:pt idx="47">
                  <c:v>0.25057835661489103</c:v>
                </c:pt>
                <c:pt idx="48">
                  <c:v>0.2974087923529291</c:v>
                </c:pt>
                <c:pt idx="49">
                  <c:v>0.2628778634712219</c:v>
                </c:pt>
              </c:numCache>
            </c:numRef>
          </c:xVal>
          <c:yVal>
            <c:numRef>
              <c:f>Sheet1!$B$111:$B$160</c:f>
              <c:numCache>
                <c:formatCode>General</c:formatCode>
                <c:ptCount val="50"/>
                <c:pt idx="0">
                  <c:v>0.4299923488905891</c:v>
                </c:pt>
                <c:pt idx="1">
                  <c:v>0.46390916463909165</c:v>
                </c:pt>
                <c:pt idx="2">
                  <c:v>0.4583333333333333</c:v>
                </c:pt>
                <c:pt idx="3">
                  <c:v>0.4737507906388362</c:v>
                </c:pt>
                <c:pt idx="4">
                  <c:v>0.46695402298850575</c:v>
                </c:pt>
                <c:pt idx="5">
                  <c:v>0.47338129496402875</c:v>
                </c:pt>
                <c:pt idx="6">
                  <c:v>0.46903187011425135</c:v>
                </c:pt>
                <c:pt idx="7">
                  <c:v>0.4030612244897959</c:v>
                </c:pt>
                <c:pt idx="8">
                  <c:v>0.43106796116504853</c:v>
                </c:pt>
                <c:pt idx="9">
                  <c:v>0.4331275720164609</c:v>
                </c:pt>
                <c:pt idx="10">
                  <c:v>0.45724381625441696</c:v>
                </c:pt>
                <c:pt idx="11">
                  <c:v>0.46550218340611355</c:v>
                </c:pt>
                <c:pt idx="12">
                  <c:v>0.4830357142857143</c:v>
                </c:pt>
                <c:pt idx="13">
                  <c:v>0.4631992149165849</c:v>
                </c:pt>
                <c:pt idx="14">
                  <c:v>0.4611171960569551</c:v>
                </c:pt>
                <c:pt idx="15">
                  <c:v>0.43144654088050316</c:v>
                </c:pt>
                <c:pt idx="16">
                  <c:v>0.42411347517730497</c:v>
                </c:pt>
                <c:pt idx="17">
                  <c:v>0.4534412955465587</c:v>
                </c:pt>
                <c:pt idx="18">
                  <c:v>0.4533582089552239</c:v>
                </c:pt>
                <c:pt idx="19">
                  <c:v>0.45348837209302323</c:v>
                </c:pt>
                <c:pt idx="20">
                  <c:v>0.4712041884816754</c:v>
                </c:pt>
                <c:pt idx="21">
                  <c:v>0.44405594405594406</c:v>
                </c:pt>
                <c:pt idx="22">
                  <c:v>0.45751633986928103</c:v>
                </c:pt>
                <c:pt idx="23">
                  <c:v>0.43358395989974935</c:v>
                </c:pt>
                <c:pt idx="24">
                  <c:v>0.44662921348314605</c:v>
                </c:pt>
                <c:pt idx="25">
                  <c:v>0.44722222222222224</c:v>
                </c:pt>
                <c:pt idx="26">
                  <c:v>0.4281524926686217</c:v>
                </c:pt>
                <c:pt idx="27">
                  <c:v>0.43869209809264303</c:v>
                </c:pt>
                <c:pt idx="28">
                  <c:v>0.447098976109215</c:v>
                </c:pt>
                <c:pt idx="29">
                  <c:v>0.45136186770428016</c:v>
                </c:pt>
                <c:pt idx="30">
                  <c:v>0.4019138755980861</c:v>
                </c:pt>
                <c:pt idx="31">
                  <c:v>0.4117647058823529</c:v>
                </c:pt>
                <c:pt idx="32">
                  <c:v>0.4013840830449827</c:v>
                </c:pt>
                <c:pt idx="33">
                  <c:v>0.4326647564469914</c:v>
                </c:pt>
                <c:pt idx="34">
                  <c:v>0.38235294117647056</c:v>
                </c:pt>
                <c:pt idx="35">
                  <c:v>0.3942307692307692</c:v>
                </c:pt>
                <c:pt idx="36">
                  <c:v>0.41935483870967744</c:v>
                </c:pt>
                <c:pt idx="37">
                  <c:v>0.39923954372623577</c:v>
                </c:pt>
                <c:pt idx="38">
                  <c:v>0.3780821917808219</c:v>
                </c:pt>
                <c:pt idx="39">
                  <c:v>0.3753581661891118</c:v>
                </c:pt>
                <c:pt idx="40">
                  <c:v>0.40186915887850466</c:v>
                </c:pt>
                <c:pt idx="41">
                  <c:v>0.37037037037037035</c:v>
                </c:pt>
                <c:pt idx="42">
                  <c:v>0.3888888888888889</c:v>
                </c:pt>
                <c:pt idx="43">
                  <c:v>0.408930669800235</c:v>
                </c:pt>
                <c:pt idx="44">
                  <c:v>0.4134328358208955</c:v>
                </c:pt>
                <c:pt idx="45">
                  <c:v>0.41299303944315546</c:v>
                </c:pt>
                <c:pt idx="46">
                  <c:v>0.41579371474617244</c:v>
                </c:pt>
                <c:pt idx="47">
                  <c:v>0.40218303946263645</c:v>
                </c:pt>
                <c:pt idx="48">
                  <c:v>0.43257612373127113</c:v>
                </c:pt>
                <c:pt idx="49">
                  <c:v>0.43653516295025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05475214033611</c:v>
                </c:pt>
              </c:numCache>
            </c:numRef>
          </c:xVal>
          <c:yVal>
            <c:numRef>
              <c:f>Sheet1!$B$163:$B$164</c:f>
              <c:numCache>
                <c:formatCode>General</c:formatCode>
                <c:ptCount val="2"/>
                <c:pt idx="0">
                  <c:v>0.6648539287722878</c:v>
                </c:pt>
                <c:pt idx="1">
                  <c:v>0.66485392877228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05475214033611</c:v>
                </c:pt>
                <c:pt idx="1">
                  <c:v>-3.05475214033611</c:v>
                </c:pt>
              </c:numCache>
            </c:numRef>
          </c:xVal>
          <c:yVal>
            <c:numRef>
              <c:f>Sheet1!$B$167:$B$168</c:f>
              <c:numCache>
                <c:formatCode>General</c:formatCode>
                <c:ptCount val="2"/>
                <c:pt idx="0">
                  <c:v>0.66485392877228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1876104143047607</c:v>
                </c:pt>
              </c:numCache>
            </c:numRef>
          </c:xVal>
          <c:yVal>
            <c:numRef>
              <c:f>Sheet1!$B$171:$B$172</c:f>
              <c:numCache>
                <c:formatCode>General</c:formatCode>
                <c:ptCount val="2"/>
                <c:pt idx="0">
                  <c:v>0.4524112107104295</c:v>
                </c:pt>
                <c:pt idx="1">
                  <c:v>0.45241121071042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1876104143047607</c:v>
                </c:pt>
                <c:pt idx="1">
                  <c:v>-0.11876104143047607</c:v>
                </c:pt>
              </c:numCache>
            </c:numRef>
          </c:xVal>
          <c:yVal>
            <c:numRef>
              <c:f>Sheet1!$B$175:$B$176</c:f>
              <c:numCache>
                <c:formatCode>General</c:formatCode>
                <c:ptCount val="2"/>
                <c:pt idx="0">
                  <c:v>0.45241121071042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670299093825486</c:v>
                </c:pt>
              </c:numCache>
            </c:numRef>
          </c:xVal>
          <c:yVal>
            <c:numRef>
              <c:f>Sheet1!$B$179:$B$180</c:f>
              <c:numCache>
                <c:formatCode>General</c:formatCode>
                <c:ptCount val="2"/>
                <c:pt idx="0">
                  <c:v>0.4027886850606582</c:v>
                </c:pt>
                <c:pt idx="1">
                  <c:v>0.40278868506065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670299093825486</c:v>
                </c:pt>
                <c:pt idx="1">
                  <c:v>0.5670299093825486</c:v>
                </c:pt>
              </c:numCache>
            </c:numRef>
          </c:xVal>
          <c:yVal>
            <c:numRef>
              <c:f>Sheet1!$B$183:$B$184</c:f>
              <c:numCache>
                <c:formatCode>General</c:formatCode>
                <c:ptCount val="2"/>
                <c:pt idx="0">
                  <c:v>0.40278868506065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9</c:f>
              <c:numCache>
                <c:formatCode>General</c:formatCode>
                <c:ptCount val="53"/>
                <c:pt idx="0">
                  <c:v>0.08892484613631182</c:v>
                </c:pt>
                <c:pt idx="1">
                  <c:v>0.11822233456347</c:v>
                </c:pt>
                <c:pt idx="2">
                  <c:v>0.08797236247467664</c:v>
                </c:pt>
                <c:pt idx="3">
                  <c:v>0.07549160010475318</c:v>
                </c:pt>
                <c:pt idx="4">
                  <c:v>0.07892422435167191</c:v>
                </c:pt>
                <c:pt idx="5">
                  <c:v>0.09012453792224345</c:v>
                </c:pt>
                <c:pt idx="6">
                  <c:v>0.09341415844178531</c:v>
                </c:pt>
                <c:pt idx="7">
                  <c:v>0.1807896018185818</c:v>
                </c:pt>
                <c:pt idx="8">
                  <c:v>0.1585105072948735</c:v>
                </c:pt>
                <c:pt idx="9">
                  <c:v>0.10899324807726704</c:v>
                </c:pt>
                <c:pt idx="10">
                  <c:v>0.06710686185406388</c:v>
                </c:pt>
                <c:pt idx="11">
                  <c:v>0.1782088750127956</c:v>
                </c:pt>
                <c:pt idx="12">
                  <c:v>0.20757847068340896</c:v>
                </c:pt>
                <c:pt idx="13">
                  <c:v>0.2225351021938871</c:v>
                </c:pt>
                <c:pt idx="14">
                  <c:v>0.27853638449185597</c:v>
                </c:pt>
                <c:pt idx="15">
                  <c:v>0.23135950707919029</c:v>
                </c:pt>
                <c:pt idx="16">
                  <c:v>0.23398159718925077</c:v>
                </c:pt>
                <c:pt idx="17">
                  <c:v>0.1684122484689414</c:v>
                </c:pt>
                <c:pt idx="18">
                  <c:v>0.23554121393418892</c:v>
                </c:pt>
                <c:pt idx="19">
                  <c:v>0.11920276511698571</c:v>
                </c:pt>
                <c:pt idx="20">
                  <c:v>0.16240952553673108</c:v>
                </c:pt>
                <c:pt idx="21">
                  <c:v>0.14871262155523401</c:v>
                </c:pt>
                <c:pt idx="22">
                  <c:v>0.15102538222162087</c:v>
                </c:pt>
                <c:pt idx="23">
                  <c:v>0.25714117261709796</c:v>
                </c:pt>
                <c:pt idx="24">
                  <c:v>0.09923206722689075</c:v>
                </c:pt>
                <c:pt idx="25">
                  <c:v>0.10263485080988917</c:v>
                </c:pt>
                <c:pt idx="26">
                  <c:v>0.08708331073849447</c:v>
                </c:pt>
                <c:pt idx="27">
                  <c:v>0.13073289940202149</c:v>
                </c:pt>
                <c:pt idx="28">
                  <c:v>0.2130364248704663</c:v>
                </c:pt>
                <c:pt idx="29">
                  <c:v>0.21515274069612478</c:v>
                </c:pt>
                <c:pt idx="30">
                  <c:v>0.14223396375098504</c:v>
                </c:pt>
                <c:pt idx="31">
                  <c:v>0.2108768532410622</c:v>
                </c:pt>
                <c:pt idx="32">
                  <c:v>0.1541793728135932</c:v>
                </c:pt>
                <c:pt idx="33">
                  <c:v>0.12433323102816693</c:v>
                </c:pt>
                <c:pt idx="34">
                  <c:v>0.11243423408208074</c:v>
                </c:pt>
                <c:pt idx="35">
                  <c:v>0.13209568465655663</c:v>
                </c:pt>
                <c:pt idx="36">
                  <c:v>0.11520883501316627</c:v>
                </c:pt>
                <c:pt idx="37">
                  <c:v>0.11550896761133603</c:v>
                </c:pt>
                <c:pt idx="38">
                  <c:v>0.07961991105463787</c:v>
                </c:pt>
                <c:pt idx="39">
                  <c:v>0.179665881508079</c:v>
                </c:pt>
                <c:pt idx="40">
                  <c:v>0.23515919517884912</c:v>
                </c:pt>
                <c:pt idx="41">
                  <c:v>0.1779798166392994</c:v>
                </c:pt>
                <c:pt idx="42">
                  <c:v>0.2677479382200479</c:v>
                </c:pt>
                <c:pt idx="43">
                  <c:v>0.24661941057324752</c:v>
                </c:pt>
                <c:pt idx="44">
                  <c:v>0.18425394287488356</c:v>
                </c:pt>
                <c:pt idx="45">
                  <c:v>0.18121903619353627</c:v>
                </c:pt>
                <c:pt idx="46">
                  <c:v>0.18829359395402206</c:v>
                </c:pt>
                <c:pt idx="47">
                  <c:v>0.25057835661489103</c:v>
                </c:pt>
                <c:pt idx="48">
                  <c:v>0.2974087923529291</c:v>
                </c:pt>
                <c:pt idx="49">
                  <c:v>0.2628778634712219</c:v>
                </c:pt>
                <c:pt idx="50">
                  <c:v>-0.11876104143047607</c:v>
                </c:pt>
                <c:pt idx="51">
                  <c:v>-3.05475214033611</c:v>
                </c:pt>
                <c:pt idx="52">
                  <c:v>0.5670299093825486</c:v>
                </c:pt>
              </c:numCache>
            </c:numRef>
          </c:xVal>
          <c:yVal>
            <c:numRef>
              <c:f>Sheet1!$B$187:$B$239</c:f>
              <c:numCache>
                <c:formatCode>General</c:formatCode>
                <c:ptCount val="53"/>
                <c:pt idx="0">
                  <c:v>0.43738345586668226</c:v>
                </c:pt>
                <c:pt idx="1">
                  <c:v>0.4352635454636258</c:v>
                </c:pt>
                <c:pt idx="2">
                  <c:v>0.43745237576840224</c:v>
                </c:pt>
                <c:pt idx="3">
                  <c:v>0.4383554599372674</c:v>
                </c:pt>
                <c:pt idx="4">
                  <c:v>0.43810708179151203</c:v>
                </c:pt>
                <c:pt idx="5">
                  <c:v>0.43729664845642313</c:v>
                </c:pt>
                <c:pt idx="6">
                  <c:v>0.43705861778772526</c:v>
                </c:pt>
                <c:pt idx="7">
                  <c:v>0.4307362972978077</c:v>
                </c:pt>
                <c:pt idx="8">
                  <c:v>0.4323483700995059</c:v>
                </c:pt>
                <c:pt idx="9">
                  <c:v>0.43593134456529464</c:v>
                </c:pt>
                <c:pt idx="10">
                  <c:v>0.43896216361047596</c:v>
                </c:pt>
                <c:pt idx="11">
                  <c:v>0.4309230337689778</c:v>
                </c:pt>
                <c:pt idx="12">
                  <c:v>0.4287979058232668</c:v>
                </c:pt>
                <c:pt idx="13">
                  <c:v>0.4277156724839628</c:v>
                </c:pt>
                <c:pt idx="14">
                  <c:v>0.42366352647072575</c:v>
                </c:pt>
                <c:pt idx="15">
                  <c:v>0.4270771553713561</c:v>
                </c:pt>
                <c:pt idx="16">
                  <c:v>0.4268874259303534</c:v>
                </c:pt>
                <c:pt idx="17">
                  <c:v>0.43163189898712817</c:v>
                </c:pt>
                <c:pt idx="18">
                  <c:v>0.42677457503630506</c:v>
                </c:pt>
                <c:pt idx="19">
                  <c:v>0.4351926033780938</c:v>
                </c:pt>
                <c:pt idx="20">
                  <c:v>0.4320662445735185</c:v>
                </c:pt>
                <c:pt idx="21">
                  <c:v>0.43305732643066247</c:v>
                </c:pt>
                <c:pt idx="22">
                  <c:v>0.4328899794784265</c:v>
                </c:pt>
                <c:pt idx="23">
                  <c:v>0.4252116432091849</c:v>
                </c:pt>
                <c:pt idx="24">
                  <c:v>0.43663764500064683</c:v>
                </c:pt>
                <c:pt idx="25">
                  <c:v>0.43639142606843756</c:v>
                </c:pt>
                <c:pt idx="26">
                  <c:v>0.43751670585693775</c:v>
                </c:pt>
                <c:pt idx="27">
                  <c:v>0.434358304844953</c:v>
                </c:pt>
                <c:pt idx="28">
                  <c:v>0.4284029786646022</c:v>
                </c:pt>
                <c:pt idx="29">
                  <c:v>0.4282498460864933</c:v>
                </c:pt>
                <c:pt idx="30">
                  <c:v>0.4335261097569608</c:v>
                </c:pt>
                <c:pt idx="31">
                  <c:v>0.4285592411501972</c:v>
                </c:pt>
                <c:pt idx="32">
                  <c:v>0.4326617627326912</c:v>
                </c:pt>
                <c:pt idx="33">
                  <c:v>0.4348213726466718</c:v>
                </c:pt>
                <c:pt idx="34">
                  <c:v>0.43568236137868077</c:v>
                </c:pt>
                <c:pt idx="35">
                  <c:v>0.434259696302265</c:v>
                </c:pt>
                <c:pt idx="36">
                  <c:v>0.4354815965454507</c:v>
                </c:pt>
                <c:pt idx="37">
                  <c:v>0.43545987952288956</c:v>
                </c:pt>
                <c:pt idx="38">
                  <c:v>0.438056743228104</c:v>
                </c:pt>
                <c:pt idx="39">
                  <c:v>0.4308176075569545</c:v>
                </c:pt>
                <c:pt idx="40">
                  <c:v>0.4268022171850722</c:v>
                </c:pt>
                <c:pt idx="41">
                  <c:v>0.4309396079961539</c:v>
                </c:pt>
                <c:pt idx="42">
                  <c:v>0.42444415787335554</c:v>
                </c:pt>
                <c:pt idx="43">
                  <c:v>0.4259729778495484</c:v>
                </c:pt>
                <c:pt idx="44">
                  <c:v>0.43048562418419767</c:v>
                </c:pt>
                <c:pt idx="45">
                  <c:v>0.4307052242452094</c:v>
                </c:pt>
                <c:pt idx="46">
                  <c:v>0.43019332273423977</c:v>
                </c:pt>
                <c:pt idx="47">
                  <c:v>0.4256865160622288</c:v>
                </c:pt>
                <c:pt idx="48">
                  <c:v>0.4222979550206376</c:v>
                </c:pt>
                <c:pt idx="49">
                  <c:v>0.4247965471967396</c:v>
                </c:pt>
                <c:pt idx="50">
                  <c:v>0.4524112107104295</c:v>
                </c:pt>
                <c:pt idx="51">
                  <c:v>0.6648539287722878</c:v>
                </c:pt>
                <c:pt idx="52">
                  <c:v>0.40278868506065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47461368653422"/>
          <c:min val="0.276268412438625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9.6036</c:v>
                </c:pt>
                <c:pt idx="1">
                  <c:v>830.6056</c:v>
                </c:pt>
                <c:pt idx="2">
                  <c:v>846.4607</c:v>
                </c:pt>
                <c:pt idx="3">
                  <c:v>861.9381</c:v>
                </c:pt>
                <c:pt idx="4">
                  <c:v>873.2756</c:v>
                </c:pt>
                <c:pt idx="5">
                  <c:v>871.2978</c:v>
                </c:pt>
                <c:pt idx="6">
                  <c:v>810.0837</c:v>
                </c:pt>
                <c:pt idx="7">
                  <c:v>837.9158</c:v>
                </c:pt>
                <c:pt idx="8">
                  <c:v>849.6432</c:v>
                </c:pt>
                <c:pt idx="9">
                  <c:v>856.9736</c:v>
                </c:pt>
                <c:pt idx="10">
                  <c:v>849.5735</c:v>
                </c:pt>
                <c:pt idx="11">
                  <c:v>933.6775</c:v>
                </c:pt>
                <c:pt idx="12">
                  <c:v>904.6493</c:v>
                </c:pt>
                <c:pt idx="13">
                  <c:v>930.9049</c:v>
                </c:pt>
                <c:pt idx="14">
                  <c:v>923.4165</c:v>
                </c:pt>
                <c:pt idx="15">
                  <c:v>963.3821</c:v>
                </c:pt>
                <c:pt idx="16">
                  <c:v>980.1662</c:v>
                </c:pt>
                <c:pt idx="17">
                  <c:v>1003.4039</c:v>
                </c:pt>
                <c:pt idx="18">
                  <c:v>1008.6898</c:v>
                </c:pt>
                <c:pt idx="19">
                  <c:v>1007.685</c:v>
                </c:pt>
                <c:pt idx="20">
                  <c:v>1013.7375</c:v>
                </c:pt>
                <c:pt idx="21">
                  <c:v>1067.8191</c:v>
                </c:pt>
                <c:pt idx="22">
                  <c:v>1025.6397</c:v>
                </c:pt>
                <c:pt idx="23">
                  <c:v>1053.6788</c:v>
                </c:pt>
                <c:pt idx="24">
                  <c:v>1018.5636</c:v>
                </c:pt>
                <c:pt idx="25">
                  <c:v>997.1832</c:v>
                </c:pt>
                <c:pt idx="26">
                  <c:v>958.3821</c:v>
                </c:pt>
                <c:pt idx="27">
                  <c:v>978.291</c:v>
                </c:pt>
                <c:pt idx="28">
                  <c:v>960.2287</c:v>
                </c:pt>
                <c:pt idx="29">
                  <c:v>944.3111</c:v>
                </c:pt>
                <c:pt idx="30">
                  <c:v>977.2481</c:v>
                </c:pt>
                <c:pt idx="31">
                  <c:v>842.467</c:v>
                </c:pt>
                <c:pt idx="32">
                  <c:v>914.2753</c:v>
                </c:pt>
                <c:pt idx="33">
                  <c:v>853.7217</c:v>
                </c:pt>
                <c:pt idx="34">
                  <c:v>901.8449</c:v>
                </c:pt>
                <c:pt idx="35">
                  <c:v>934.0394</c:v>
                </c:pt>
                <c:pt idx="36">
                  <c:v>973.8378</c:v>
                </c:pt>
                <c:pt idx="37">
                  <c:v>1059.0066</c:v>
                </c:pt>
                <c:pt idx="38">
                  <c:v>1075.4172</c:v>
                </c:pt>
                <c:pt idx="39">
                  <c:v>1055.2578</c:v>
                </c:pt>
                <c:pt idx="40">
                  <c:v>1026.7301</c:v>
                </c:pt>
                <c:pt idx="41">
                  <c:v>1053.8158</c:v>
                </c:pt>
                <c:pt idx="42">
                  <c:v>1126.8514</c:v>
                </c:pt>
                <c:pt idx="43">
                  <c:v>1064.7489</c:v>
                </c:pt>
                <c:pt idx="44">
                  <c:v>942.7814</c:v>
                </c:pt>
                <c:pt idx="45">
                  <c:v>908.286</c:v>
                </c:pt>
                <c:pt idx="46">
                  <c:v>939.5066</c:v>
                </c:pt>
                <c:pt idx="47">
                  <c:v>951.1367</c:v>
                </c:pt>
                <c:pt idx="48">
                  <c:v>977.7944</c:v>
                </c:pt>
                <c:pt idx="49">
                  <c:v>964.5855</c:v>
                </c:pt>
                <c:pt idx="50">
                  <c:v>951.9381</c:v>
                </c:pt>
                <c:pt idx="51">
                  <c:v>1017.0851</c:v>
                </c:pt>
                <c:pt idx="52">
                  <c:v>1028.6515</c:v>
                </c:pt>
                <c:pt idx="53">
                  <c:v>1100.8568</c:v>
                </c:pt>
                <c:pt idx="54">
                  <c:v>1093.1258</c:v>
                </c:pt>
                <c:pt idx="55">
                  <c:v>1068.0747</c:v>
                </c:pt>
                <c:pt idx="56">
                  <c:v>1074.5867</c:v>
                </c:pt>
                <c:pt idx="57">
                  <c:v>1028.3016</c:v>
                </c:pt>
                <c:pt idx="58">
                  <c:v>1093.7473</c:v>
                </c:pt>
                <c:pt idx="59">
                  <c:v>1037.8042</c:v>
                </c:pt>
                <c:pt idx="60">
                  <c:v>1039.8805</c:v>
                </c:pt>
                <c:pt idx="61">
                  <c:v>1135.8431</c:v>
                </c:pt>
                <c:pt idx="62">
                  <c:v>1110.234</c:v>
                </c:pt>
                <c:pt idx="63">
                  <c:v>1109.7815</c:v>
                </c:pt>
                <c:pt idx="64">
                  <c:v>1136.1975</c:v>
                </c:pt>
                <c:pt idx="65">
                  <c:v>1095.7795</c:v>
                </c:pt>
                <c:pt idx="66">
                  <c:v>1147.4976</c:v>
                </c:pt>
                <c:pt idx="67">
                  <c:v>1167.9876</c:v>
                </c:pt>
                <c:pt idx="68">
                  <c:v>1162.6948</c:v>
                </c:pt>
                <c:pt idx="69">
                  <c:v>1172.504</c:v>
                </c:pt>
                <c:pt idx="70">
                  <c:v>1173.8615</c:v>
                </c:pt>
                <c:pt idx="71">
                  <c:v>1229.2331</c:v>
                </c:pt>
                <c:pt idx="72">
                  <c:v>1197.7851</c:v>
                </c:pt>
                <c:pt idx="73">
                  <c:v>1254.2933</c:v>
                </c:pt>
                <c:pt idx="74">
                  <c:v>1243.0098</c:v>
                </c:pt>
                <c:pt idx="75">
                  <c:v>1225.9304</c:v>
                </c:pt>
                <c:pt idx="76">
                  <c:v>1179.9433</c:v>
                </c:pt>
                <c:pt idx="77">
                  <c:v>1166.905</c:v>
                </c:pt>
                <c:pt idx="78">
                  <c:v>1263.0581</c:v>
                </c:pt>
                <c:pt idx="79">
                  <c:v>1273.6071</c:v>
                </c:pt>
                <c:pt idx="80">
                  <c:v>1236.2889</c:v>
                </c:pt>
                <c:pt idx="81">
                  <c:v>1128.5698</c:v>
                </c:pt>
                <c:pt idx="82">
                  <c:v>1166.5794</c:v>
                </c:pt>
                <c:pt idx="83">
                  <c:v>1068.9549</c:v>
                </c:pt>
                <c:pt idx="84">
                  <c:v>1126.439</c:v>
                </c:pt>
                <c:pt idx="85">
                  <c:v>1228.2927</c:v>
                </c:pt>
                <c:pt idx="86">
                  <c:v>1215.9857</c:v>
                </c:pt>
                <c:pt idx="87">
                  <c:v>1217.3312</c:v>
                </c:pt>
                <c:pt idx="88">
                  <c:v>1305.3274</c:v>
                </c:pt>
                <c:pt idx="89">
                  <c:v>1245.0672</c:v>
                </c:pt>
                <c:pt idx="90">
                  <c:v>1322.0619</c:v>
                </c:pt>
                <c:pt idx="91">
                  <c:v>1261.2596</c:v>
                </c:pt>
                <c:pt idx="92">
                  <c:v>1163.3022</c:v>
                </c:pt>
                <c:pt idx="93">
                  <c:v>1242.4727</c:v>
                </c:pt>
                <c:pt idx="94">
                  <c:v>1048.1597</c:v>
                </c:pt>
                <c:pt idx="95">
                  <c:v>1004.9777</c:v>
                </c:pt>
                <c:pt idx="96">
                  <c:v>1123.2949</c:v>
                </c:pt>
                <c:pt idx="97">
                  <c:v>1178.8636</c:v>
                </c:pt>
                <c:pt idx="98">
                  <c:v>1171.0637</c:v>
                </c:pt>
                <c:pt idx="99">
                  <c:v>1108.458</c:v>
                </c:pt>
                <c:pt idx="100">
                  <c:v>1088.7923</c:v>
                </c:pt>
                <c:pt idx="101">
                  <c:v>1095.3585</c:v>
                </c:pt>
                <c:pt idx="102">
                  <c:v>1109.5267</c:v>
                </c:pt>
                <c:pt idx="103">
                  <c:v>1133.1398</c:v>
                </c:pt>
                <c:pt idx="104">
                  <c:v>1137.1626</c:v>
                </c:pt>
              </c:numCache>
            </c:numRef>
          </c:xVal>
          <c:yVal>
            <c:numRef>
              <c:f>Sheet1!$B$2:$B$106</c:f>
              <c:numCache>
                <c:formatCode>General</c:formatCode>
                <c:ptCount val="105"/>
                <c:pt idx="0">
                  <c:v>0.5954946131243879</c:v>
                </c:pt>
                <c:pt idx="1">
                  <c:v>0.632688927943761</c:v>
                </c:pt>
                <c:pt idx="2">
                  <c:v>0.6748104465037911</c:v>
                </c:pt>
                <c:pt idx="3">
                  <c:v>0.6937842778793418</c:v>
                </c:pt>
                <c:pt idx="4">
                  <c:v>0.6775244299674267</c:v>
                </c:pt>
                <c:pt idx="5">
                  <c:v>0.644343891402715</c:v>
                </c:pt>
                <c:pt idx="6">
                  <c:v>0.7122884473877852</c:v>
                </c:pt>
                <c:pt idx="7">
                  <c:v>0.6906740535549399</c:v>
                </c:pt>
                <c:pt idx="8">
                  <c:v>0.6620762711864406</c:v>
                </c:pt>
                <c:pt idx="9">
                  <c:v>0.6460573476702509</c:v>
                </c:pt>
                <c:pt idx="10">
                  <c:v>0.6151315789473685</c:v>
                </c:pt>
                <c:pt idx="11">
                  <c:v>0.5563786008230452</c:v>
                </c:pt>
                <c:pt idx="12">
                  <c:v>0.514525993883792</c:v>
                </c:pt>
                <c:pt idx="13">
                  <c:v>0.5026548672566372</c:v>
                </c:pt>
                <c:pt idx="14">
                  <c:v>0.4511627906976744</c:v>
                </c:pt>
                <c:pt idx="15">
                  <c:v>0.4832134292565947</c:v>
                </c:pt>
                <c:pt idx="16">
                  <c:v>0.47067039106145253</c:v>
                </c:pt>
                <c:pt idx="17">
                  <c:v>0.4336734693877551</c:v>
                </c:pt>
                <c:pt idx="18">
                  <c:v>0.39872068230277186</c:v>
                </c:pt>
                <c:pt idx="19">
                  <c:v>0.4830917874396135</c:v>
                </c:pt>
                <c:pt idx="20">
                  <c:v>0.482897384305835</c:v>
                </c:pt>
                <c:pt idx="21">
                  <c:v>0.4738095238095238</c:v>
                </c:pt>
                <c:pt idx="22">
                  <c:v>0.6144278606965174</c:v>
                </c:pt>
                <c:pt idx="23">
                  <c:v>0.6107594936708861</c:v>
                </c:pt>
                <c:pt idx="24">
                  <c:v>0.6051282051282051</c:v>
                </c:pt>
                <c:pt idx="25">
                  <c:v>0.6253869969040248</c:v>
                </c:pt>
                <c:pt idx="26">
                  <c:v>0.6217008797653959</c:v>
                </c:pt>
                <c:pt idx="27">
                  <c:v>0.6370757180156658</c:v>
                </c:pt>
                <c:pt idx="28">
                  <c:v>0.6025641025641025</c:v>
                </c:pt>
                <c:pt idx="29">
                  <c:v>0.6060606060606061</c:v>
                </c:pt>
                <c:pt idx="30">
                  <c:v>0.6073059360730594</c:v>
                </c:pt>
                <c:pt idx="31">
                  <c:v>0.6746575342465754</c:v>
                </c:pt>
                <c:pt idx="32">
                  <c:v>0.6223776223776224</c:v>
                </c:pt>
                <c:pt idx="33">
                  <c:v>0.629080118694362</c:v>
                </c:pt>
                <c:pt idx="34">
                  <c:v>0.603225806451613</c:v>
                </c:pt>
                <c:pt idx="35">
                  <c:v>0.6246153846153846</c:v>
                </c:pt>
                <c:pt idx="36">
                  <c:v>0.5409356725146199</c:v>
                </c:pt>
                <c:pt idx="37">
                  <c:v>0.5066666666666667</c:v>
                </c:pt>
                <c:pt idx="38">
                  <c:v>0.5275080906148867</c:v>
                </c:pt>
                <c:pt idx="39">
                  <c:v>0.5079365079365079</c:v>
                </c:pt>
                <c:pt idx="40">
                  <c:v>0.5207667731629393</c:v>
                </c:pt>
                <c:pt idx="41">
                  <c:v>0.5016501650165016</c:v>
                </c:pt>
                <c:pt idx="42">
                  <c:v>0.47896440129449835</c:v>
                </c:pt>
                <c:pt idx="43">
                  <c:v>0.4906054279749478</c:v>
                </c:pt>
                <c:pt idx="44">
                  <c:v>0.521505376344086</c:v>
                </c:pt>
                <c:pt idx="45">
                  <c:v>0.5272895467160037</c:v>
                </c:pt>
                <c:pt idx="46">
                  <c:v>0.5033259423503326</c:v>
                </c:pt>
                <c:pt idx="47">
                  <c:v>0.4725168756027001</c:v>
                </c:pt>
                <c:pt idx="48">
                  <c:v>0.4866810655147588</c:v>
                </c:pt>
                <c:pt idx="49">
                  <c:v>0.5404939689833429</c:v>
                </c:pt>
                <c:pt idx="50">
                  <c:v>0.5243407707910751</c:v>
                </c:pt>
                <c:pt idx="51">
                  <c:v>0.49243306169965073</c:v>
                </c:pt>
                <c:pt idx="52">
                  <c:v>0.495949594959496</c:v>
                </c:pt>
                <c:pt idx="53">
                  <c:v>0.4940152339499456</c:v>
                </c:pt>
                <c:pt idx="54">
                  <c:v>0.5247641509433962</c:v>
                </c:pt>
                <c:pt idx="55">
                  <c:v>0.5261904761904762</c:v>
                </c:pt>
                <c:pt idx="56">
                  <c:v>0.5552913198573127</c:v>
                </c:pt>
                <c:pt idx="57">
                  <c:v>0.5605786618444847</c:v>
                </c:pt>
                <c:pt idx="58">
                  <c:v>0.5425894378194208</c:v>
                </c:pt>
                <c:pt idx="59">
                  <c:v>0.563238512035011</c:v>
                </c:pt>
                <c:pt idx="60">
                  <c:v>0.6278381046396841</c:v>
                </c:pt>
                <c:pt idx="61">
                  <c:v>0.6068111455108359</c:v>
                </c:pt>
                <c:pt idx="62">
                  <c:v>0.6608084358523726</c:v>
                </c:pt>
                <c:pt idx="63">
                  <c:v>0.6924715909090909</c:v>
                </c:pt>
                <c:pt idx="64">
                  <c:v>0.5997277059223962</c:v>
                </c:pt>
                <c:pt idx="65">
                  <c:v>0.5325318246110325</c:v>
                </c:pt>
                <c:pt idx="66">
                  <c:v>0.48374613003095973</c:v>
                </c:pt>
                <c:pt idx="67">
                  <c:v>0.4891398783666377</c:v>
                </c:pt>
                <c:pt idx="68">
                  <c:v>0.503030303030303</c:v>
                </c:pt>
                <c:pt idx="69">
                  <c:v>0.5355113636363636</c:v>
                </c:pt>
                <c:pt idx="70">
                  <c:v>0.4958791208791209</c:v>
                </c:pt>
                <c:pt idx="71">
                  <c:v>0.4858420268256334</c:v>
                </c:pt>
                <c:pt idx="72">
                  <c:v>0.5037593984962406</c:v>
                </c:pt>
                <c:pt idx="73">
                  <c:v>0.5190311418685121</c:v>
                </c:pt>
                <c:pt idx="74">
                  <c:v>0.5016393442622951</c:v>
                </c:pt>
                <c:pt idx="75">
                  <c:v>0.5180180180180181</c:v>
                </c:pt>
                <c:pt idx="76">
                  <c:v>0.5173333333333333</c:v>
                </c:pt>
                <c:pt idx="77">
                  <c:v>0.5623409669211196</c:v>
                </c:pt>
                <c:pt idx="78">
                  <c:v>0.4952076677316294</c:v>
                </c:pt>
                <c:pt idx="79">
                  <c:v>0.4827586206896552</c:v>
                </c:pt>
                <c:pt idx="80">
                  <c:v>0.5018587360594795</c:v>
                </c:pt>
                <c:pt idx="81">
                  <c:v>0.5440729483282675</c:v>
                </c:pt>
                <c:pt idx="82">
                  <c:v>0.490272373540856</c:v>
                </c:pt>
                <c:pt idx="83">
                  <c:v>0.5384615384615384</c:v>
                </c:pt>
                <c:pt idx="84">
                  <c:v>0.4979757085020243</c:v>
                </c:pt>
                <c:pt idx="85">
                  <c:v>0.45555555555555555</c:v>
                </c:pt>
                <c:pt idx="86">
                  <c:v>0.4307692307692308</c:v>
                </c:pt>
                <c:pt idx="87">
                  <c:v>0.4666666666666667</c:v>
                </c:pt>
                <c:pt idx="88">
                  <c:v>0.397887323943662</c:v>
                </c:pt>
                <c:pt idx="89">
                  <c:v>0.4343065693430657</c:v>
                </c:pt>
                <c:pt idx="90">
                  <c:v>0.44841269841269843</c:v>
                </c:pt>
                <c:pt idx="91">
                  <c:v>0.3880597014925373</c:v>
                </c:pt>
                <c:pt idx="92">
                  <c:v>0.4155251141552511</c:v>
                </c:pt>
                <c:pt idx="93">
                  <c:v>0.3919239904988123</c:v>
                </c:pt>
                <c:pt idx="94">
                  <c:v>0.45</c:v>
                </c:pt>
                <c:pt idx="95">
                  <c:v>0.47442680776014107</c:v>
                </c:pt>
                <c:pt idx="96">
                  <c:v>0.42685851318944845</c:v>
                </c:pt>
                <c:pt idx="97">
                  <c:v>0.39473684210526316</c:v>
                </c:pt>
                <c:pt idx="98">
                  <c:v>0.4133738601823708</c:v>
                </c:pt>
                <c:pt idx="99">
                  <c:v>0.4306632213608958</c:v>
                </c:pt>
                <c:pt idx="100">
                  <c:v>0.4451948051948052</c:v>
                </c:pt>
                <c:pt idx="101">
                  <c:v>0.4329805996472663</c:v>
                </c:pt>
                <c:pt idx="102">
                  <c:v>0.4221267454350161</c:v>
                </c:pt>
                <c:pt idx="103">
                  <c:v>0.3453355155482815</c:v>
                </c:pt>
                <c:pt idx="104">
                  <c:v>0.377310924369747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0.3399</c:v>
                </c:pt>
                <c:pt idx="1">
                  <c:v>1169.278</c:v>
                </c:pt>
                <c:pt idx="2">
                  <c:v>1129.0373</c:v>
                </c:pt>
                <c:pt idx="3">
                  <c:v>1153.0587</c:v>
                </c:pt>
                <c:pt idx="4">
                  <c:v>1177.7862</c:v>
                </c:pt>
                <c:pt idx="5">
                  <c:v>1131.2432</c:v>
                </c:pt>
                <c:pt idx="6">
                  <c:v>1069.4987</c:v>
                </c:pt>
                <c:pt idx="7">
                  <c:v>1201.183</c:v>
                </c:pt>
                <c:pt idx="8">
                  <c:v>1232.7139</c:v>
                </c:pt>
                <c:pt idx="9">
                  <c:v>1184.232</c:v>
                </c:pt>
                <c:pt idx="10">
                  <c:v>1218.7625</c:v>
                </c:pt>
                <c:pt idx="11">
                  <c:v>1033.7141</c:v>
                </c:pt>
                <c:pt idx="12">
                  <c:v>1044.5535</c:v>
                </c:pt>
                <c:pt idx="13">
                  <c:v>1180.3327</c:v>
                </c:pt>
                <c:pt idx="14">
                  <c:v>1186.7797</c:v>
                </c:pt>
                <c:pt idx="15">
                  <c:v>1214.1401</c:v>
                </c:pt>
                <c:pt idx="16">
                  <c:v>1254.277</c:v>
                </c:pt>
                <c:pt idx="17">
                  <c:v>1232.0301</c:v>
                </c:pt>
                <c:pt idx="18">
                  <c:v>1251.2188</c:v>
                </c:pt>
                <c:pt idx="19">
                  <c:v>1220.4568</c:v>
                </c:pt>
                <c:pt idx="20">
                  <c:v>1176.8889</c:v>
                </c:pt>
                <c:pt idx="21">
                  <c:v>1106.063</c:v>
                </c:pt>
                <c:pt idx="22">
                  <c:v>1104.8976</c:v>
                </c:pt>
                <c:pt idx="23">
                  <c:v>1116.2286</c:v>
                </c:pt>
                <c:pt idx="24">
                  <c:v>1177.578</c:v>
                </c:pt>
                <c:pt idx="25">
                  <c:v>1180.8616</c:v>
                </c:pt>
                <c:pt idx="26">
                  <c:v>1203.9068</c:v>
                </c:pt>
                <c:pt idx="27">
                  <c:v>1220.4726</c:v>
                </c:pt>
                <c:pt idx="28">
                  <c:v>1235.2298</c:v>
                </c:pt>
                <c:pt idx="29">
                  <c:v>1233.4809</c:v>
                </c:pt>
                <c:pt idx="30">
                  <c:v>1245.0172</c:v>
                </c:pt>
                <c:pt idx="31">
                  <c:v>1263.4643</c:v>
                </c:pt>
                <c:pt idx="32">
                  <c:v>1275.5238</c:v>
                </c:pt>
                <c:pt idx="33">
                  <c:v>1234.0517</c:v>
                </c:pt>
                <c:pt idx="34">
                  <c:v>1255.8278</c:v>
                </c:pt>
                <c:pt idx="35">
                  <c:v>1285.0183</c:v>
                </c:pt>
                <c:pt idx="36">
                  <c:v>1331.4462</c:v>
                </c:pt>
                <c:pt idx="37">
                  <c:v>1184.6341</c:v>
                </c:pt>
                <c:pt idx="38">
                  <c:v>1268.7949</c:v>
                </c:pt>
                <c:pt idx="39">
                  <c:v>1141.2286</c:v>
                </c:pt>
                <c:pt idx="40">
                  <c:v>1253.2174</c:v>
                </c:pt>
                <c:pt idx="41">
                  <c:v>1250.9237</c:v>
                </c:pt>
                <c:pt idx="42">
                  <c:v>1209.6589</c:v>
                </c:pt>
                <c:pt idx="43">
                  <c:v>1300.6765</c:v>
                </c:pt>
                <c:pt idx="44">
                  <c:v>1180.5899</c:v>
                </c:pt>
                <c:pt idx="45">
                  <c:v>1146.7098</c:v>
                </c:pt>
                <c:pt idx="46">
                  <c:v>1186.9639</c:v>
                </c:pt>
                <c:pt idx="47">
                  <c:v>1128.0281</c:v>
                </c:pt>
                <c:pt idx="48">
                  <c:v>1189.686</c:v>
                </c:pt>
                <c:pt idx="49">
                  <c:v>1195.6764</c:v>
                </c:pt>
                <c:pt idx="50">
                  <c:v>1068.8447</c:v>
                </c:pt>
                <c:pt idx="51">
                  <c:v>1031.0727</c:v>
                </c:pt>
              </c:numCache>
            </c:numRef>
          </c:xVal>
          <c:yVal>
            <c:numRef>
              <c:f>Sheet1!$B$109:$B$160</c:f>
              <c:numCache>
                <c:formatCode>General</c:formatCode>
                <c:ptCount val="52"/>
                <c:pt idx="0">
                  <c:v>0.4299923488905891</c:v>
                </c:pt>
                <c:pt idx="1">
                  <c:v>0.46390916463909165</c:v>
                </c:pt>
                <c:pt idx="2">
                  <c:v>0.4583333333333333</c:v>
                </c:pt>
                <c:pt idx="3">
                  <c:v>0.4737507906388362</c:v>
                </c:pt>
                <c:pt idx="4">
                  <c:v>0.46695402298850575</c:v>
                </c:pt>
                <c:pt idx="5">
                  <c:v>0.47338129496402875</c:v>
                </c:pt>
                <c:pt idx="6">
                  <c:v>0.46903187011425135</c:v>
                </c:pt>
                <c:pt idx="7">
                  <c:v>0.42637362637362636</c:v>
                </c:pt>
                <c:pt idx="8">
                  <c:v>0.4030612244897959</c:v>
                </c:pt>
                <c:pt idx="9">
                  <c:v>0.43106796116504853</c:v>
                </c:pt>
                <c:pt idx="10">
                  <c:v>0.4331275720164609</c:v>
                </c:pt>
                <c:pt idx="11">
                  <c:v>0.45724381625441696</c:v>
                </c:pt>
                <c:pt idx="12">
                  <c:v>0.46550218340611355</c:v>
                </c:pt>
                <c:pt idx="13">
                  <c:v>0.4830357142857143</c:v>
                </c:pt>
                <c:pt idx="14">
                  <c:v>0.4631992149165849</c:v>
                </c:pt>
                <c:pt idx="15">
                  <c:v>0.4611171960569551</c:v>
                </c:pt>
                <c:pt idx="16">
                  <c:v>0.43144654088050316</c:v>
                </c:pt>
                <c:pt idx="17">
                  <c:v>0.42411347517730497</c:v>
                </c:pt>
                <c:pt idx="18">
                  <c:v>0.4534412955465587</c:v>
                </c:pt>
                <c:pt idx="19">
                  <c:v>0.4533582089552239</c:v>
                </c:pt>
                <c:pt idx="20">
                  <c:v>0.45348837209302323</c:v>
                </c:pt>
                <c:pt idx="21">
                  <c:v>0.4712041884816754</c:v>
                </c:pt>
                <c:pt idx="22">
                  <c:v>0.44405594405594406</c:v>
                </c:pt>
                <c:pt idx="23">
                  <c:v>0.45751633986928103</c:v>
                </c:pt>
                <c:pt idx="24">
                  <c:v>0.43358395989974935</c:v>
                </c:pt>
                <c:pt idx="25">
                  <c:v>0.44662921348314605</c:v>
                </c:pt>
                <c:pt idx="26">
                  <c:v>0.44722222222222224</c:v>
                </c:pt>
                <c:pt idx="27">
                  <c:v>0.4281524926686217</c:v>
                </c:pt>
                <c:pt idx="28">
                  <c:v>0.43869209809264303</c:v>
                </c:pt>
                <c:pt idx="29">
                  <c:v>0.447098976109215</c:v>
                </c:pt>
                <c:pt idx="30">
                  <c:v>0.45136186770428016</c:v>
                </c:pt>
                <c:pt idx="31">
                  <c:v>0.4019138755980861</c:v>
                </c:pt>
                <c:pt idx="32">
                  <c:v>0.4117647058823529</c:v>
                </c:pt>
                <c:pt idx="33">
                  <c:v>0.4013840830449827</c:v>
                </c:pt>
                <c:pt idx="34">
                  <c:v>0.4326647564469914</c:v>
                </c:pt>
                <c:pt idx="35">
                  <c:v>0.4022140221402214</c:v>
                </c:pt>
                <c:pt idx="36">
                  <c:v>0.38235294117647056</c:v>
                </c:pt>
                <c:pt idx="37">
                  <c:v>0.3942307692307692</c:v>
                </c:pt>
                <c:pt idx="38">
                  <c:v>0.41935483870967744</c:v>
                </c:pt>
                <c:pt idx="39">
                  <c:v>0.39923954372623577</c:v>
                </c:pt>
                <c:pt idx="40">
                  <c:v>0.3780821917808219</c:v>
                </c:pt>
                <c:pt idx="41">
                  <c:v>0.3753581661891118</c:v>
                </c:pt>
                <c:pt idx="42">
                  <c:v>0.40186915887850466</c:v>
                </c:pt>
                <c:pt idx="43">
                  <c:v>0.37037037037037035</c:v>
                </c:pt>
                <c:pt idx="44">
                  <c:v>0.3888888888888889</c:v>
                </c:pt>
                <c:pt idx="45">
                  <c:v>0.408930669800235</c:v>
                </c:pt>
                <c:pt idx="46">
                  <c:v>0.4134328358208955</c:v>
                </c:pt>
                <c:pt idx="47">
                  <c:v>0.41299303944315546</c:v>
                </c:pt>
                <c:pt idx="48">
                  <c:v>0.41579371474617244</c:v>
                </c:pt>
                <c:pt idx="49">
                  <c:v>0.40218303946263645</c:v>
                </c:pt>
                <c:pt idx="50">
                  <c:v>0.43257612373127113</c:v>
                </c:pt>
                <c:pt idx="51">
                  <c:v>0.43653516295025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10827333430932</c:v>
                </c:pt>
              </c:numCache>
            </c:numRef>
          </c:xVal>
          <c:yVal>
            <c:numRef>
              <c:f>Sheet1!$B$163:$B$164</c:f>
              <c:numCache>
                <c:formatCode>General</c:formatCode>
                <c:ptCount val="2"/>
                <c:pt idx="0">
                  <c:v>0.6648539287722878</c:v>
                </c:pt>
                <c:pt idx="1">
                  <c:v>0.66485392877228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10827333430932</c:v>
                </c:pt>
                <c:pt idx="1">
                  <c:v>112.10827333430932</c:v>
                </c:pt>
              </c:numCache>
            </c:numRef>
          </c:xVal>
          <c:yVal>
            <c:numRef>
              <c:f>Sheet1!$B$167:$B$168</c:f>
              <c:numCache>
                <c:formatCode>General</c:formatCode>
                <c:ptCount val="2"/>
                <c:pt idx="0">
                  <c:v>0.66485392877228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416328964813</c:v>
                </c:pt>
              </c:numCache>
            </c:numRef>
          </c:xVal>
          <c:yVal>
            <c:numRef>
              <c:f>Sheet1!$B$171:$B$172</c:f>
              <c:numCache>
                <c:formatCode>General</c:formatCode>
                <c:ptCount val="2"/>
                <c:pt idx="0">
                  <c:v>0.4524112107104295</c:v>
                </c:pt>
                <c:pt idx="1">
                  <c:v>0.45241121071042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416328964813</c:v>
                </c:pt>
                <c:pt idx="1">
                  <c:v>1091.416328964813</c:v>
                </c:pt>
              </c:numCache>
            </c:numRef>
          </c:xVal>
          <c:yVal>
            <c:numRef>
              <c:f>Sheet1!$B$175:$B$176</c:f>
              <c:numCache>
                <c:formatCode>General</c:formatCode>
                <c:ptCount val="2"/>
                <c:pt idx="0">
                  <c:v>0.45241121071042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0.163821714376</c:v>
                </c:pt>
              </c:numCache>
            </c:numRef>
          </c:xVal>
          <c:yVal>
            <c:numRef>
              <c:f>Sheet1!$B$179:$B$180</c:f>
              <c:numCache>
                <c:formatCode>General</c:formatCode>
                <c:ptCount val="2"/>
                <c:pt idx="0">
                  <c:v>0.4027886850606582</c:v>
                </c:pt>
                <c:pt idx="1">
                  <c:v>0.40278868506065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0.163821714376</c:v>
                </c:pt>
                <c:pt idx="1">
                  <c:v>1320.163821714376</c:v>
                </c:pt>
              </c:numCache>
            </c:numRef>
          </c:xVal>
          <c:yVal>
            <c:numRef>
              <c:f>Sheet1!$B$183:$B$184</c:f>
              <c:numCache>
                <c:formatCode>General</c:formatCode>
                <c:ptCount val="2"/>
                <c:pt idx="0">
                  <c:v>0.40278868506065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0.3399</c:v>
                </c:pt>
                <c:pt idx="1">
                  <c:v>1169.278</c:v>
                </c:pt>
                <c:pt idx="2">
                  <c:v>1129.0373</c:v>
                </c:pt>
                <c:pt idx="3">
                  <c:v>1153.0587</c:v>
                </c:pt>
                <c:pt idx="4">
                  <c:v>1177.7862</c:v>
                </c:pt>
                <c:pt idx="5">
                  <c:v>1131.2432</c:v>
                </c:pt>
                <c:pt idx="6">
                  <c:v>1069.4987</c:v>
                </c:pt>
                <c:pt idx="7">
                  <c:v>1201.183</c:v>
                </c:pt>
                <c:pt idx="8">
                  <c:v>1232.7139</c:v>
                </c:pt>
                <c:pt idx="9">
                  <c:v>1184.232</c:v>
                </c:pt>
                <c:pt idx="10">
                  <c:v>1218.7625</c:v>
                </c:pt>
                <c:pt idx="11">
                  <c:v>1033.7141</c:v>
                </c:pt>
                <c:pt idx="12">
                  <c:v>1044.5535</c:v>
                </c:pt>
                <c:pt idx="13">
                  <c:v>1180.3327</c:v>
                </c:pt>
                <c:pt idx="14">
                  <c:v>1186.7797</c:v>
                </c:pt>
                <c:pt idx="15">
                  <c:v>1214.1401</c:v>
                </c:pt>
                <c:pt idx="16">
                  <c:v>1254.277</c:v>
                </c:pt>
                <c:pt idx="17">
                  <c:v>1232.0301</c:v>
                </c:pt>
                <c:pt idx="18">
                  <c:v>1251.2188</c:v>
                </c:pt>
                <c:pt idx="19">
                  <c:v>1220.4568</c:v>
                </c:pt>
                <c:pt idx="20">
                  <c:v>1176.8889</c:v>
                </c:pt>
                <c:pt idx="21">
                  <c:v>1106.063</c:v>
                </c:pt>
                <c:pt idx="22">
                  <c:v>1104.8976</c:v>
                </c:pt>
                <c:pt idx="23">
                  <c:v>1116.2286</c:v>
                </c:pt>
                <c:pt idx="24">
                  <c:v>1177.578</c:v>
                </c:pt>
                <c:pt idx="25">
                  <c:v>1180.8616</c:v>
                </c:pt>
                <c:pt idx="26">
                  <c:v>1203.9068</c:v>
                </c:pt>
                <c:pt idx="27">
                  <c:v>1220.4726</c:v>
                </c:pt>
                <c:pt idx="28">
                  <c:v>1235.2298</c:v>
                </c:pt>
                <c:pt idx="29">
                  <c:v>1233.4809</c:v>
                </c:pt>
                <c:pt idx="30">
                  <c:v>1245.0172</c:v>
                </c:pt>
                <c:pt idx="31">
                  <c:v>1263.4643</c:v>
                </c:pt>
                <c:pt idx="32">
                  <c:v>1275.5238</c:v>
                </c:pt>
                <c:pt idx="33">
                  <c:v>1234.0517</c:v>
                </c:pt>
                <c:pt idx="34">
                  <c:v>1255.8278</c:v>
                </c:pt>
                <c:pt idx="35">
                  <c:v>1285.0183</c:v>
                </c:pt>
                <c:pt idx="36">
                  <c:v>1331.4462</c:v>
                </c:pt>
                <c:pt idx="37">
                  <c:v>1184.6341</c:v>
                </c:pt>
                <c:pt idx="38">
                  <c:v>1268.7949</c:v>
                </c:pt>
                <c:pt idx="39">
                  <c:v>1141.2286</c:v>
                </c:pt>
                <c:pt idx="40">
                  <c:v>1253.2174</c:v>
                </c:pt>
                <c:pt idx="41">
                  <c:v>1250.9237</c:v>
                </c:pt>
                <c:pt idx="42">
                  <c:v>1209.6589</c:v>
                </c:pt>
                <c:pt idx="43">
                  <c:v>1300.6765</c:v>
                </c:pt>
                <c:pt idx="44">
                  <c:v>1180.5899</c:v>
                </c:pt>
                <c:pt idx="45">
                  <c:v>1146.7098</c:v>
                </c:pt>
                <c:pt idx="46">
                  <c:v>1186.9639</c:v>
                </c:pt>
                <c:pt idx="47">
                  <c:v>1128.0281</c:v>
                </c:pt>
                <c:pt idx="48">
                  <c:v>1189.686</c:v>
                </c:pt>
                <c:pt idx="49">
                  <c:v>1195.6764</c:v>
                </c:pt>
                <c:pt idx="50">
                  <c:v>1068.8447</c:v>
                </c:pt>
                <c:pt idx="51">
                  <c:v>1031.0727</c:v>
                </c:pt>
                <c:pt idx="52">
                  <c:v>1091.416328964813</c:v>
                </c:pt>
                <c:pt idx="53">
                  <c:v>112.10827333430932</c:v>
                </c:pt>
                <c:pt idx="54">
                  <c:v>1320.163821714376</c:v>
                </c:pt>
              </c:numCache>
            </c:numRef>
          </c:xVal>
          <c:yVal>
            <c:numRef>
              <c:f>Sheet1!$B$187:$B$241</c:f>
              <c:numCache>
                <c:formatCode>General</c:formatCode>
                <c:ptCount val="55"/>
                <c:pt idx="0">
                  <c:v>0.43529020588108763</c:v>
                </c:pt>
                <c:pt idx="1">
                  <c:v>0.4355205653895312</c:v>
                </c:pt>
                <c:pt idx="2">
                  <c:v>0.4442500388535352</c:v>
                </c:pt>
                <c:pt idx="3">
                  <c:v>0.4390390416823074</c:v>
                </c:pt>
                <c:pt idx="4">
                  <c:v>0.4336748692131118</c:v>
                </c:pt>
                <c:pt idx="5">
                  <c:v>0.4437715097644725</c:v>
                </c:pt>
                <c:pt idx="6">
                  <c:v>0.4571658337771808</c:v>
                </c:pt>
                <c:pt idx="7">
                  <c:v>0.42859936742654725</c:v>
                </c:pt>
                <c:pt idx="8">
                  <c:v>0.4217593235196032</c:v>
                </c:pt>
                <c:pt idx="9">
                  <c:v>0.432276572462452</c:v>
                </c:pt>
                <c:pt idx="10">
                  <c:v>0.42478582097331813</c:v>
                </c:pt>
                <c:pt idx="11">
                  <c:v>0.46492863899975395</c:v>
                </c:pt>
                <c:pt idx="12">
                  <c:v>0.4625772322233876</c:v>
                </c:pt>
                <c:pt idx="13">
                  <c:v>0.4331224532716375</c:v>
                </c:pt>
                <c:pt idx="14">
                  <c:v>0.43172389620323576</c:v>
                </c:pt>
                <c:pt idx="15">
                  <c:v>0.42578856491514844</c:v>
                </c:pt>
                <c:pt idx="16">
                  <c:v>0.4170816089358195</c:v>
                </c:pt>
                <c:pt idx="17">
                  <c:v>0.4219076612462006</c:v>
                </c:pt>
                <c:pt idx="18">
                  <c:v>0.41774502870107255</c:v>
                </c:pt>
                <c:pt idx="19">
                  <c:v>0.42441827401488896</c:v>
                </c:pt>
                <c:pt idx="20">
                  <c:v>0.4338695218046237</c:v>
                </c:pt>
                <c:pt idx="21">
                  <c:v>0.4492338871018029</c:v>
                </c:pt>
                <c:pt idx="22">
                  <c:v>0.4494866990154861</c:v>
                </c:pt>
                <c:pt idx="23">
                  <c:v>0.447028648737518</c:v>
                </c:pt>
                <c:pt idx="24">
                  <c:v>0.4337200343413329</c:v>
                </c:pt>
                <c:pt idx="25">
                  <c:v>0.4330077182268915</c:v>
                </c:pt>
                <c:pt idx="26">
                  <c:v>0.428008489538706</c:v>
                </c:pt>
                <c:pt idx="27">
                  <c:v>0.4244148464979538</c:v>
                </c:pt>
                <c:pt idx="28">
                  <c:v>0.42121354568054753</c:v>
                </c:pt>
                <c:pt idx="29">
                  <c:v>0.4215929370962336</c:v>
                </c:pt>
                <c:pt idx="30">
                  <c:v>0.41909035079125406</c:v>
                </c:pt>
                <c:pt idx="31">
                  <c:v>0.4150885946106253</c:v>
                </c:pt>
                <c:pt idx="32">
                  <c:v>0.41247250977017386</c:v>
                </c:pt>
                <c:pt idx="33">
                  <c:v>0.42146911262366593</c:v>
                </c:pt>
                <c:pt idx="34">
                  <c:v>0.4167451916406935</c:v>
                </c:pt>
                <c:pt idx="35">
                  <c:v>0.4104128541030511</c:v>
                </c:pt>
                <c:pt idx="36">
                  <c:v>0.40034118236176847</c:v>
                </c:pt>
                <c:pt idx="37">
                  <c:v>0.4321893443257676</c:v>
                </c:pt>
                <c:pt idx="38">
                  <c:v>0.4139322198147788</c:v>
                </c:pt>
                <c:pt idx="39">
                  <c:v>0.44160536244776416</c:v>
                </c:pt>
                <c:pt idx="40">
                  <c:v>0.4173114695019245</c:v>
                </c:pt>
                <c:pt idx="41">
                  <c:v>0.4178090451724368</c:v>
                </c:pt>
                <c:pt idx="42">
                  <c:v>0.4267606781360143</c:v>
                </c:pt>
                <c:pt idx="43">
                  <c:v>0.4070160980477621</c:v>
                </c:pt>
                <c:pt idx="44">
                  <c:v>0.43306665850228854</c:v>
                </c:pt>
                <c:pt idx="45">
                  <c:v>0.4404163177753081</c:v>
                </c:pt>
                <c:pt idx="46">
                  <c:v>0.4316839374298529</c:v>
                </c:pt>
                <c:pt idx="47">
                  <c:v>0.44446896607447994</c:v>
                </c:pt>
                <c:pt idx="48">
                  <c:v>0.4310934283254793</c:v>
                </c:pt>
                <c:pt idx="49">
                  <c:v>0.4297939221578736</c:v>
                </c:pt>
                <c:pt idx="50">
                  <c:v>0.4573077069465208</c:v>
                </c:pt>
                <c:pt idx="51">
                  <c:v>0.4655016417359842</c:v>
                </c:pt>
                <c:pt idx="52">
                  <c:v>0.45241121071042956</c:v>
                </c:pt>
                <c:pt idx="53">
                  <c:v>0.6648539287722878</c:v>
                </c:pt>
                <c:pt idx="54">
                  <c:v>0.40278868506065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8.0"/>
          <c:min val="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47461368653422"/>
          <c:min val="0.276268412438625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225561883408503</c:v>
                </c:pt>
                <c:pt idx="1">
                  <c:v>0.7776333985178843</c:v>
                </c:pt>
                <c:pt idx="2">
                  <c:v>0.8166486273516443</c:v>
                </c:pt>
                <c:pt idx="3">
                  <c:v>0.7964491946082968</c:v>
                </c:pt>
                <c:pt idx="4">
                  <c:v>0.7690928728736343</c:v>
                </c:pt>
                <c:pt idx="5">
                  <c:v>0.7986260836013843</c:v>
                </c:pt>
                <c:pt idx="6">
                  <c:v>0.7936046033359769</c:v>
                </c:pt>
                <c:pt idx="7">
                  <c:v>0.8136854047195116</c:v>
                </c:pt>
                <c:pt idx="8">
                  <c:v>0.7280220896209695</c:v>
                </c:pt>
                <c:pt idx="9">
                  <c:v>0.7749501065671458</c:v>
                </c:pt>
                <c:pt idx="10">
                  <c:v>0.8053571029954686</c:v>
                </c:pt>
                <c:pt idx="11">
                  <c:v>0.773666057321118</c:v>
                </c:pt>
                <c:pt idx="12">
                  <c:v>0.7953538648799278</c:v>
                </c:pt>
                <c:pt idx="13">
                  <c:v>0.7172537561649847</c:v>
                </c:pt>
                <c:pt idx="14">
                  <c:v>0.789752619746177</c:v>
                </c:pt>
                <c:pt idx="15">
                  <c:v>0.7990291314986063</c:v>
                </c:pt>
                <c:pt idx="16">
                  <c:v>0.7641062281137322</c:v>
                </c:pt>
                <c:pt idx="17">
                  <c:v>0.8155618450216775</c:v>
                </c:pt>
                <c:pt idx="18">
                  <c:v>0.8482421687145499</c:v>
                </c:pt>
                <c:pt idx="19">
                  <c:v>0.9244686954458283</c:v>
                </c:pt>
                <c:pt idx="20">
                  <c:v>0.8714850998402075</c:v>
                </c:pt>
                <c:pt idx="21">
                  <c:v>0.7682490330075011</c:v>
                </c:pt>
                <c:pt idx="22">
                  <c:v>0.7416565693199404</c:v>
                </c:pt>
                <c:pt idx="23">
                  <c:v>0.7531037689349909</c:v>
                </c:pt>
                <c:pt idx="24">
                  <c:v>0.7779870888593357</c:v>
                </c:pt>
                <c:pt idx="25">
                  <c:v>0.7454296807824905</c:v>
                </c:pt>
                <c:pt idx="26">
                  <c:v>0.7601808881501237</c:v>
                </c:pt>
                <c:pt idx="27">
                  <c:v>0.6903870608692076</c:v>
                </c:pt>
                <c:pt idx="28">
                  <c:v>0.7095623398665928</c:v>
                </c:pt>
                <c:pt idx="29">
                  <c:v>0.676504908661803</c:v>
                </c:pt>
                <c:pt idx="30">
                  <c:v>0.6637689877858273</c:v>
                </c:pt>
                <c:pt idx="31">
                  <c:v>0.7381555331181123</c:v>
                </c:pt>
                <c:pt idx="32">
                  <c:v>0.7594343181500469</c:v>
                </c:pt>
                <c:pt idx="33">
                  <c:v>0.7759728956361848</c:v>
                </c:pt>
                <c:pt idx="34">
                  <c:v>0.8077809656253144</c:v>
                </c:pt>
                <c:pt idx="35">
                  <c:v>0.8425234761120264</c:v>
                </c:pt>
                <c:pt idx="36">
                  <c:v>0.7283559584058006</c:v>
                </c:pt>
                <c:pt idx="37">
                  <c:v>0.8442354063721895</c:v>
                </c:pt>
                <c:pt idx="38">
                  <c:v>0.9041554457700594</c:v>
                </c:pt>
                <c:pt idx="39">
                  <c:v>1.0830804320657024</c:v>
                </c:pt>
                <c:pt idx="40">
                  <c:v>1.057305085011506</c:v>
                </c:pt>
                <c:pt idx="41">
                  <c:v>1.0339763160329356</c:v>
                </c:pt>
                <c:pt idx="42">
                  <c:v>1.0979186915552983</c:v>
                </c:pt>
                <c:pt idx="43">
                  <c:v>1.0725172797118219</c:v>
                </c:pt>
                <c:pt idx="44">
                  <c:v>0.9997017778849193</c:v>
                </c:pt>
                <c:pt idx="45">
                  <c:v>0.9144245123394368</c:v>
                </c:pt>
                <c:pt idx="46">
                  <c:v>0.9403308685663748</c:v>
                </c:pt>
                <c:pt idx="47">
                  <c:v>1.0095334236068836</c:v>
                </c:pt>
                <c:pt idx="48">
                  <c:v>0.9299935026855273</c:v>
                </c:pt>
                <c:pt idx="49">
                  <c:v>0.8759459605764078</c:v>
                </c:pt>
                <c:pt idx="50">
                  <c:v>0.8746013854703674</c:v>
                </c:pt>
                <c:pt idx="51">
                  <c:v>0.9173901431049349</c:v>
                </c:pt>
                <c:pt idx="52">
                  <c:v>0.9105602609883109</c:v>
                </c:pt>
                <c:pt idx="53">
                  <c:v>0.8898237741902159</c:v>
                </c:pt>
                <c:pt idx="54">
                  <c:v>0.9091153730395019</c:v>
                </c:pt>
                <c:pt idx="55">
                  <c:v>1.0054708464634463</c:v>
                </c:pt>
                <c:pt idx="56">
                  <c:v>0.9402635000434703</c:v>
                </c:pt>
                <c:pt idx="57">
                  <c:v>0.9849103140133052</c:v>
                </c:pt>
                <c:pt idx="58">
                  <c:v>0.9301601559488778</c:v>
                </c:pt>
                <c:pt idx="59">
                  <c:v>0.8883858267093163</c:v>
                </c:pt>
                <c:pt idx="60">
                  <c:v>0.8801299559469642</c:v>
                </c:pt>
                <c:pt idx="61">
                  <c:v>0.942531048220264</c:v>
                </c:pt>
                <c:pt idx="62">
                  <c:v>1.0012067455658442</c:v>
                </c:pt>
                <c:pt idx="63">
                  <c:v>0.9331809028651665</c:v>
                </c:pt>
                <c:pt idx="64">
                  <c:v>0.9696219015156657</c:v>
                </c:pt>
                <c:pt idx="65">
                  <c:v>0.9975384309003925</c:v>
                </c:pt>
                <c:pt idx="66">
                  <c:v>0.9168302168411288</c:v>
                </c:pt>
                <c:pt idx="67">
                  <c:v>0.9547442919651002</c:v>
                </c:pt>
                <c:pt idx="68">
                  <c:v>0.9947681243478338</c:v>
                </c:pt>
                <c:pt idx="69">
                  <c:v>1.0118087455703442</c:v>
                </c:pt>
                <c:pt idx="70">
                  <c:v>1.047774312116735</c:v>
                </c:pt>
                <c:pt idx="71">
                  <c:v>0.9846514671856618</c:v>
                </c:pt>
                <c:pt idx="72">
                  <c:v>1.1249403766410415</c:v>
                </c:pt>
                <c:pt idx="73">
                  <c:v>0.9469973503097517</c:v>
                </c:pt>
                <c:pt idx="74">
                  <c:v>0.917815150134835</c:v>
                </c:pt>
                <c:pt idx="75">
                  <c:v>0.9225691249544655</c:v>
                </c:pt>
                <c:pt idx="76">
                  <c:v>0.8845811895021354</c:v>
                </c:pt>
                <c:pt idx="77">
                  <c:v>0.9247728456549301</c:v>
                </c:pt>
                <c:pt idx="78">
                  <c:v>0.8881817414854012</c:v>
                </c:pt>
                <c:pt idx="79">
                  <c:v>0.871346767310382</c:v>
                </c:pt>
                <c:pt idx="80">
                  <c:v>0.9515222844968687</c:v>
                </c:pt>
                <c:pt idx="81">
                  <c:v>0.9537758592060668</c:v>
                </c:pt>
                <c:pt idx="82">
                  <c:v>0.9826116896461821</c:v>
                </c:pt>
                <c:pt idx="83">
                  <c:v>1.089223975180307</c:v>
                </c:pt>
                <c:pt idx="84">
                  <c:v>1.134552072146987</c:v>
                </c:pt>
                <c:pt idx="85">
                  <c:v>1.0538727711901383</c:v>
                </c:pt>
                <c:pt idx="86">
                  <c:v>0.9672264018914095</c:v>
                </c:pt>
                <c:pt idx="87">
                  <c:v>0.9991240320018014</c:v>
                </c:pt>
                <c:pt idx="88">
                  <c:v>0.8845454802461641</c:v>
                </c:pt>
                <c:pt idx="89">
                  <c:v>0.8997817429930898</c:v>
                </c:pt>
                <c:pt idx="90">
                  <c:v>0.9426677011592027</c:v>
                </c:pt>
                <c:pt idx="91">
                  <c:v>1.0421596873255163</c:v>
                </c:pt>
                <c:pt idx="92">
                  <c:v>1.0145428142321389</c:v>
                </c:pt>
                <c:pt idx="93">
                  <c:v>0.9664011094395424</c:v>
                </c:pt>
                <c:pt idx="94">
                  <c:v>1.0241946014056946</c:v>
                </c:pt>
                <c:pt idx="95">
                  <c:v>0.9583521314344703</c:v>
                </c:pt>
                <c:pt idx="96">
                  <c:v>0.99886732976225</c:v>
                </c:pt>
                <c:pt idx="97">
                  <c:v>1.0025374656410861</c:v>
                </c:pt>
                <c:pt idx="98">
                  <c:v>1.0052613745167363</c:v>
                </c:pt>
                <c:pt idx="99">
                  <c:v>1.0299685861039038</c:v>
                </c:pt>
                <c:pt idx="100">
                  <c:v>0.9462606583993853</c:v>
                </c:pt>
                <c:pt idx="101">
                  <c:v>0.9374137101123885</c:v>
                </c:pt>
                <c:pt idx="102">
                  <c:v>0.9684932583827981</c:v>
                </c:pt>
                <c:pt idx="103">
                  <c:v>0.3972770684670877</c:v>
                </c:pt>
                <c:pt idx="104">
                  <c:v>0.4922245121353301</c:v>
                </c:pt>
              </c:numCache>
            </c:numRef>
          </c:xVal>
          <c:yVal>
            <c:numRef>
              <c:f>Sheet1!$B$2:$B$106</c:f>
              <c:numCache>
                <c:formatCode>General</c:formatCode>
                <c:ptCount val="105"/>
                <c:pt idx="0">
                  <c:v>0.10479921645445642</c:v>
                </c:pt>
                <c:pt idx="1">
                  <c:v>0.10808435852372583</c:v>
                </c:pt>
                <c:pt idx="2">
                  <c:v>0.10614995787700084</c:v>
                </c:pt>
                <c:pt idx="3">
                  <c:v>0.10329067641681901</c:v>
                </c:pt>
                <c:pt idx="4">
                  <c:v>0.11726384364820847</c:v>
                </c:pt>
                <c:pt idx="5">
                  <c:v>0.10045248868778281</c:v>
                </c:pt>
                <c:pt idx="6">
                  <c:v>0.07947019867549669</c:v>
                </c:pt>
                <c:pt idx="7">
                  <c:v>0.08217913204062789</c:v>
                </c:pt>
                <c:pt idx="8">
                  <c:v>0.11440677966101695</c:v>
                </c:pt>
                <c:pt idx="9">
                  <c:v>0.10752688172043011</c:v>
                </c:pt>
                <c:pt idx="10">
                  <c:v>0.09786184210526316</c:v>
                </c:pt>
                <c:pt idx="11">
                  <c:v>0.09958847736625515</c:v>
                </c:pt>
                <c:pt idx="12">
                  <c:v>0.10932721712538226</c:v>
                </c:pt>
                <c:pt idx="13">
                  <c:v>0.14513274336283186</c:v>
                </c:pt>
                <c:pt idx="14">
                  <c:v>0.12465116279069767</c:v>
                </c:pt>
                <c:pt idx="15">
                  <c:v>0.1354916067146283</c:v>
                </c:pt>
                <c:pt idx="16">
                  <c:v>0.1494413407821229</c:v>
                </c:pt>
                <c:pt idx="17">
                  <c:v>0.14625850340136054</c:v>
                </c:pt>
                <c:pt idx="18">
                  <c:v>0.12153518123667377</c:v>
                </c:pt>
                <c:pt idx="19">
                  <c:v>0.09420289855072464</c:v>
                </c:pt>
                <c:pt idx="20">
                  <c:v>0.08853118712273642</c:v>
                </c:pt>
                <c:pt idx="21">
                  <c:v>0.09761904761904762</c:v>
                </c:pt>
                <c:pt idx="22">
                  <c:v>0.07462686567164178</c:v>
                </c:pt>
                <c:pt idx="23">
                  <c:v>0.08227848101265822</c:v>
                </c:pt>
                <c:pt idx="24">
                  <c:v>0.06923076923076923</c:v>
                </c:pt>
                <c:pt idx="25">
                  <c:v>0.07739938080495357</c:v>
                </c:pt>
                <c:pt idx="26">
                  <c:v>0.08211143695014662</c:v>
                </c:pt>
                <c:pt idx="27">
                  <c:v>0.07571801566579635</c:v>
                </c:pt>
                <c:pt idx="28">
                  <c:v>0.0641025641025641</c:v>
                </c:pt>
                <c:pt idx="29">
                  <c:v>0.07744107744107744</c:v>
                </c:pt>
                <c:pt idx="30">
                  <c:v>0.0684931506849315</c:v>
                </c:pt>
                <c:pt idx="31">
                  <c:v>0.03424657534246575</c:v>
                </c:pt>
                <c:pt idx="32">
                  <c:v>0.055944055944055944</c:v>
                </c:pt>
                <c:pt idx="33">
                  <c:v>0.06231454005934718</c:v>
                </c:pt>
                <c:pt idx="34">
                  <c:v>0.06129032258064516</c:v>
                </c:pt>
                <c:pt idx="35">
                  <c:v>0.052307692307692305</c:v>
                </c:pt>
                <c:pt idx="36">
                  <c:v>0.09064327485380116</c:v>
                </c:pt>
                <c:pt idx="37">
                  <c:v>0.07666666666666666</c:v>
                </c:pt>
                <c:pt idx="38">
                  <c:v>0.05501618122977346</c:v>
                </c:pt>
                <c:pt idx="39">
                  <c:v>0.05952380952380952</c:v>
                </c:pt>
                <c:pt idx="40">
                  <c:v>0.0670926517571885</c:v>
                </c:pt>
                <c:pt idx="41">
                  <c:v>0.0627062706270627</c:v>
                </c:pt>
                <c:pt idx="42">
                  <c:v>0.06472491909385113</c:v>
                </c:pt>
                <c:pt idx="43">
                  <c:v>0.06471816283924843</c:v>
                </c:pt>
                <c:pt idx="44">
                  <c:v>0.06236559139784946</c:v>
                </c:pt>
                <c:pt idx="45">
                  <c:v>0.07678075855689177</c:v>
                </c:pt>
                <c:pt idx="46">
                  <c:v>0.08647450110864745</c:v>
                </c:pt>
                <c:pt idx="47">
                  <c:v>0.09257473481195758</c:v>
                </c:pt>
                <c:pt idx="48">
                  <c:v>0.09935205183585313</c:v>
                </c:pt>
                <c:pt idx="49">
                  <c:v>0.10626076967260195</c:v>
                </c:pt>
                <c:pt idx="50">
                  <c:v>0.1075050709939148</c:v>
                </c:pt>
                <c:pt idx="51">
                  <c:v>0.08381839348079162</c:v>
                </c:pt>
                <c:pt idx="52">
                  <c:v>0.09180918091809182</c:v>
                </c:pt>
                <c:pt idx="53">
                  <c:v>0.07725788900979326</c:v>
                </c:pt>
                <c:pt idx="54">
                  <c:v>0.09080188679245282</c:v>
                </c:pt>
                <c:pt idx="55">
                  <c:v>0.06547619047619048</c:v>
                </c:pt>
                <c:pt idx="56">
                  <c:v>0.07372175980975029</c:v>
                </c:pt>
                <c:pt idx="57">
                  <c:v>0.0650994575045208</c:v>
                </c:pt>
                <c:pt idx="58">
                  <c:v>0.07410562180579217</c:v>
                </c:pt>
                <c:pt idx="59">
                  <c:v>0.0800875273522976</c:v>
                </c:pt>
                <c:pt idx="60">
                  <c:v>0.07749259624876605</c:v>
                </c:pt>
                <c:pt idx="61">
                  <c:v>0.09210526315789473</c:v>
                </c:pt>
                <c:pt idx="62">
                  <c:v>0.08611599297012303</c:v>
                </c:pt>
                <c:pt idx="63">
                  <c:v>0.08451704545454546</c:v>
                </c:pt>
                <c:pt idx="64">
                  <c:v>0.08304969366916269</c:v>
                </c:pt>
                <c:pt idx="65">
                  <c:v>0.06718528995756719</c:v>
                </c:pt>
                <c:pt idx="66">
                  <c:v>0.0781733746130031</c:v>
                </c:pt>
                <c:pt idx="67">
                  <c:v>0.07558644656820157</c:v>
                </c:pt>
                <c:pt idx="68">
                  <c:v>0.07676767676767676</c:v>
                </c:pt>
                <c:pt idx="69">
                  <c:v>0.06960227272727272</c:v>
                </c:pt>
                <c:pt idx="70">
                  <c:v>0.061813186813186816</c:v>
                </c:pt>
                <c:pt idx="71">
                  <c:v>0.07600596125186289</c:v>
                </c:pt>
                <c:pt idx="72">
                  <c:v>0.06766917293233082</c:v>
                </c:pt>
                <c:pt idx="73">
                  <c:v>0.07093425605536333</c:v>
                </c:pt>
                <c:pt idx="74">
                  <c:v>0.08196721311475409</c:v>
                </c:pt>
                <c:pt idx="75">
                  <c:v>0.08108108108108109</c:v>
                </c:pt>
                <c:pt idx="76">
                  <c:v>0.08</c:v>
                </c:pt>
                <c:pt idx="77">
                  <c:v>0.058524173027989825</c:v>
                </c:pt>
                <c:pt idx="78">
                  <c:v>0.07028753993610223</c:v>
                </c:pt>
                <c:pt idx="79">
                  <c:v>0.06896551724137931</c:v>
                </c:pt>
                <c:pt idx="80">
                  <c:v>0.05947955390334572</c:v>
                </c:pt>
                <c:pt idx="81">
                  <c:v>0.04559270516717325</c:v>
                </c:pt>
                <c:pt idx="82">
                  <c:v>0.05058365758754864</c:v>
                </c:pt>
                <c:pt idx="83">
                  <c:v>0.044534412955465584</c:v>
                </c:pt>
                <c:pt idx="84">
                  <c:v>0.05668016194331984</c:v>
                </c:pt>
                <c:pt idx="85">
                  <c:v>0.07777777777777778</c:v>
                </c:pt>
                <c:pt idx="86">
                  <c:v>0.07384615384615385</c:v>
                </c:pt>
                <c:pt idx="87">
                  <c:v>0.07878787878787878</c:v>
                </c:pt>
                <c:pt idx="88">
                  <c:v>0.08098591549295775</c:v>
                </c:pt>
                <c:pt idx="89">
                  <c:v>0.08394160583941605</c:v>
                </c:pt>
                <c:pt idx="90">
                  <c:v>0.07936507936507936</c:v>
                </c:pt>
                <c:pt idx="91">
                  <c:v>0.06716417910447761</c:v>
                </c:pt>
                <c:pt idx="92">
                  <c:v>0.07534246575342465</c:v>
                </c:pt>
                <c:pt idx="93">
                  <c:v>0.08076009501187649</c:v>
                </c:pt>
                <c:pt idx="94">
                  <c:v>0.06875</c:v>
                </c:pt>
                <c:pt idx="95">
                  <c:v>0.07583774250440917</c:v>
                </c:pt>
                <c:pt idx="96">
                  <c:v>0.08273381294964029</c:v>
                </c:pt>
                <c:pt idx="97">
                  <c:v>0.08492822966507177</c:v>
                </c:pt>
                <c:pt idx="98">
                  <c:v>0.0972644376899696</c:v>
                </c:pt>
                <c:pt idx="99">
                  <c:v>0.09732988802756244</c:v>
                </c:pt>
                <c:pt idx="100">
                  <c:v>0.11220779220779221</c:v>
                </c:pt>
                <c:pt idx="101">
                  <c:v>0.1128747795414462</c:v>
                </c:pt>
                <c:pt idx="102">
                  <c:v>0.10741138560687433</c:v>
                </c:pt>
                <c:pt idx="103">
                  <c:v>0.23158756137479541</c:v>
                </c:pt>
                <c:pt idx="104">
                  <c:v>0.185714285714285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321740527504103</c:v>
                </c:pt>
                <c:pt idx="1">
                  <c:v>0.7685754433017993</c:v>
                </c:pt>
                <c:pt idx="2">
                  <c:v>0.7698215203621755</c:v>
                </c:pt>
                <c:pt idx="3">
                  <c:v>0.7790500211154833</c:v>
                </c:pt>
                <c:pt idx="4">
                  <c:v>0.7824149773137948</c:v>
                </c:pt>
                <c:pt idx="5">
                  <c:v>0.7583918134921486</c:v>
                </c:pt>
                <c:pt idx="6">
                  <c:v>0.7823519405371328</c:v>
                </c:pt>
                <c:pt idx="7">
                  <c:v>0.9330271954349607</c:v>
                </c:pt>
                <c:pt idx="8">
                  <c:v>0.9680999203298828</c:v>
                </c:pt>
                <c:pt idx="9">
                  <c:v>0.9292988157302607</c:v>
                </c:pt>
                <c:pt idx="10">
                  <c:v>0.9001811466626924</c:v>
                </c:pt>
                <c:pt idx="11">
                  <c:v>0.8604912093194426</c:v>
                </c:pt>
                <c:pt idx="12">
                  <c:v>0.8786917753530029</c:v>
                </c:pt>
                <c:pt idx="13">
                  <c:v>0.8597488714111842</c:v>
                </c:pt>
                <c:pt idx="14">
                  <c:v>0.869968850241796</c:v>
                </c:pt>
                <c:pt idx="15">
                  <c:v>0.8913775198440246</c:v>
                </c:pt>
                <c:pt idx="16">
                  <c:v>0.9151802387747501</c:v>
                </c:pt>
                <c:pt idx="17">
                  <c:v>0.9437139089072324</c:v>
                </c:pt>
                <c:pt idx="18">
                  <c:v>0.9707630539045322</c:v>
                </c:pt>
                <c:pt idx="19">
                  <c:v>0.9122472387315794</c:v>
                </c:pt>
                <c:pt idx="20">
                  <c:v>0.7442478611180331</c:v>
                </c:pt>
                <c:pt idx="21">
                  <c:v>0.6348908106918317</c:v>
                </c:pt>
                <c:pt idx="22">
                  <c:v>0.6383417998709151</c:v>
                </c:pt>
                <c:pt idx="23">
                  <c:v>0.6461866199527099</c:v>
                </c:pt>
                <c:pt idx="24">
                  <c:v>0.7366668575350948</c:v>
                </c:pt>
                <c:pt idx="25">
                  <c:v>0.8034914964866225</c:v>
                </c:pt>
                <c:pt idx="26">
                  <c:v>0.8477163907520274</c:v>
                </c:pt>
                <c:pt idx="27">
                  <c:v>0.864181936416185</c:v>
                </c:pt>
                <c:pt idx="28">
                  <c:v>0.8696595807460937</c:v>
                </c:pt>
                <c:pt idx="29">
                  <c:v>0.8704068330454484</c:v>
                </c:pt>
                <c:pt idx="30">
                  <c:v>0.8504933022164841</c:v>
                </c:pt>
                <c:pt idx="31">
                  <c:v>0.898847143821691</c:v>
                </c:pt>
                <c:pt idx="32">
                  <c:v>0.8772873754893642</c:v>
                </c:pt>
                <c:pt idx="33">
                  <c:v>0.8992048707739224</c:v>
                </c:pt>
                <c:pt idx="34">
                  <c:v>0.9039163208289822</c:v>
                </c:pt>
                <c:pt idx="35">
                  <c:v>0.8984184373820747</c:v>
                </c:pt>
                <c:pt idx="36">
                  <c:v>0.8501570177029129</c:v>
                </c:pt>
                <c:pt idx="37">
                  <c:v>0.8973039741374377</c:v>
                </c:pt>
                <c:pt idx="38">
                  <c:v>0.9515953420547011</c:v>
                </c:pt>
                <c:pt idx="39">
                  <c:v>1.0796929951852225</c:v>
                </c:pt>
                <c:pt idx="40">
                  <c:v>1.0401781676137636</c:v>
                </c:pt>
                <c:pt idx="41">
                  <c:v>1.00868842494426</c:v>
                </c:pt>
                <c:pt idx="42">
                  <c:v>0.958298416917388</c:v>
                </c:pt>
                <c:pt idx="43">
                  <c:v>0.9889338078708897</c:v>
                </c:pt>
                <c:pt idx="44">
                  <c:v>1.049337312721976</c:v>
                </c:pt>
                <c:pt idx="45">
                  <c:v>0.9716420902021257</c:v>
                </c:pt>
                <c:pt idx="46">
                  <c:v>0.9626574418739154</c:v>
                </c:pt>
                <c:pt idx="47">
                  <c:v>0.969109804777202</c:v>
                </c:pt>
                <c:pt idx="48">
                  <c:v>1.0353914570671394</c:v>
                </c:pt>
                <c:pt idx="49">
                  <c:v>1.02691074719548</c:v>
                </c:pt>
                <c:pt idx="50">
                  <c:v>0.8475092604893206</c:v>
                </c:pt>
                <c:pt idx="51">
                  <c:v>0.8968025928994106</c:v>
                </c:pt>
              </c:numCache>
            </c:numRef>
          </c:xVal>
          <c:yVal>
            <c:numRef>
              <c:f>Sheet1!$B$109:$B$160</c:f>
              <c:numCache>
                <c:formatCode>General</c:formatCode>
                <c:ptCount val="52"/>
                <c:pt idx="0">
                  <c:v>0.11247130833970925</c:v>
                </c:pt>
                <c:pt idx="1">
                  <c:v>0.12895377128953772</c:v>
                </c:pt>
                <c:pt idx="2">
                  <c:v>0.13729508196721313</c:v>
                </c:pt>
                <c:pt idx="3">
                  <c:v>0.13156230234029095</c:v>
                </c:pt>
                <c:pt idx="4">
                  <c:v>0.14080459770114942</c:v>
                </c:pt>
                <c:pt idx="5">
                  <c:v>0.12446043165467625</c:v>
                </c:pt>
                <c:pt idx="6">
                  <c:v>0.13349368610944076</c:v>
                </c:pt>
                <c:pt idx="7">
                  <c:v>0.11868131868131868</c:v>
                </c:pt>
                <c:pt idx="8">
                  <c:v>0.12653061224489795</c:v>
                </c:pt>
                <c:pt idx="9">
                  <c:v>0.12427184466019417</c:v>
                </c:pt>
                <c:pt idx="10">
                  <c:v>0.15329218106995884</c:v>
                </c:pt>
                <c:pt idx="11">
                  <c:v>0.14911660777385158</c:v>
                </c:pt>
                <c:pt idx="12">
                  <c:v>0.1423580786026201</c:v>
                </c:pt>
                <c:pt idx="13">
                  <c:v>0.12589285714285714</c:v>
                </c:pt>
                <c:pt idx="14">
                  <c:v>0.1393523061825319</c:v>
                </c:pt>
                <c:pt idx="15">
                  <c:v>0.12814895947426067</c:v>
                </c:pt>
                <c:pt idx="16">
                  <c:v>0.1270440251572327</c:v>
                </c:pt>
                <c:pt idx="17">
                  <c:v>0.11773049645390071</c:v>
                </c:pt>
                <c:pt idx="18">
                  <c:v>0.11538461538461539</c:v>
                </c:pt>
                <c:pt idx="19">
                  <c:v>0.12686567164179105</c:v>
                </c:pt>
                <c:pt idx="20">
                  <c:v>0.14534883720930233</c:v>
                </c:pt>
                <c:pt idx="21">
                  <c:v>0.15881326352530542</c:v>
                </c:pt>
                <c:pt idx="22">
                  <c:v>0.17132867132867133</c:v>
                </c:pt>
                <c:pt idx="23">
                  <c:v>0.1655773420479303</c:v>
                </c:pt>
                <c:pt idx="24">
                  <c:v>0.15037593984962405</c:v>
                </c:pt>
                <c:pt idx="25">
                  <c:v>0.12640449438202248</c:v>
                </c:pt>
                <c:pt idx="26">
                  <c:v>0.08611111111111111</c:v>
                </c:pt>
                <c:pt idx="27">
                  <c:v>0.10557184750733138</c:v>
                </c:pt>
                <c:pt idx="28">
                  <c:v>0.1226158038147139</c:v>
                </c:pt>
                <c:pt idx="29">
                  <c:v>0.12627986348122866</c:v>
                </c:pt>
                <c:pt idx="30">
                  <c:v>0.11673151750972763</c:v>
                </c:pt>
                <c:pt idx="31">
                  <c:v>0.1339712918660287</c:v>
                </c:pt>
                <c:pt idx="32">
                  <c:v>0.12941176470588237</c:v>
                </c:pt>
                <c:pt idx="33">
                  <c:v>0.1522491349480969</c:v>
                </c:pt>
                <c:pt idx="34">
                  <c:v>0.09455587392550144</c:v>
                </c:pt>
                <c:pt idx="35">
                  <c:v>0.12915129151291513</c:v>
                </c:pt>
                <c:pt idx="36">
                  <c:v>0.1588235294117647</c:v>
                </c:pt>
                <c:pt idx="37">
                  <c:v>0.11057692307692307</c:v>
                </c:pt>
                <c:pt idx="38">
                  <c:v>0.11290322580645161</c:v>
                </c:pt>
                <c:pt idx="39">
                  <c:v>0.11406844106463879</c:v>
                </c:pt>
                <c:pt idx="40">
                  <c:v>0.10410958904109589</c:v>
                </c:pt>
                <c:pt idx="41">
                  <c:v>0.11461318051575932</c:v>
                </c:pt>
                <c:pt idx="42">
                  <c:v>0.12149532710280374</c:v>
                </c:pt>
                <c:pt idx="43">
                  <c:v>0.11546840958605664</c:v>
                </c:pt>
                <c:pt idx="44">
                  <c:v>0.11469534050179211</c:v>
                </c:pt>
                <c:pt idx="45">
                  <c:v>0.10575793184488837</c:v>
                </c:pt>
                <c:pt idx="46">
                  <c:v>0.10746268656716418</c:v>
                </c:pt>
                <c:pt idx="47">
                  <c:v>0.10904872389791183</c:v>
                </c:pt>
                <c:pt idx="48">
                  <c:v>0.09024979854955681</c:v>
                </c:pt>
                <c:pt idx="49">
                  <c:v>0.09739714525608732</c:v>
                </c:pt>
                <c:pt idx="50">
                  <c:v>0.13388110198163364</c:v>
                </c:pt>
                <c:pt idx="51">
                  <c:v>0.1397941680960548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886184132382686</c:v>
                </c:pt>
              </c:numCache>
            </c:numRef>
          </c:xVal>
          <c:yVal>
            <c:numRef>
              <c:f>Sheet1!$B$163:$B$164</c:f>
              <c:numCache>
                <c:formatCode>General</c:formatCode>
                <c:ptCount val="2"/>
                <c:pt idx="0">
                  <c:v>0.13783393250504888</c:v>
                </c:pt>
                <c:pt idx="1">
                  <c:v>0.1378339325050488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886184132382686</c:v>
                </c:pt>
                <c:pt idx="1">
                  <c:v>0.7886184132382686</c:v>
                </c:pt>
              </c:numCache>
            </c:numRef>
          </c:xVal>
          <c:yVal>
            <c:numRef>
              <c:f>Sheet1!$B$167:$B$168</c:f>
              <c:numCache>
                <c:formatCode>General</c:formatCode>
                <c:ptCount val="2"/>
                <c:pt idx="0">
                  <c:v>0.137833932505048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122624864578151</c:v>
                </c:pt>
              </c:numCache>
            </c:numRef>
          </c:xVal>
          <c:yVal>
            <c:numRef>
              <c:f>Sheet1!$B$171:$B$172</c:f>
              <c:numCache>
                <c:formatCode>General</c:formatCode>
                <c:ptCount val="2"/>
                <c:pt idx="0">
                  <c:v>0.13489382648295553</c:v>
                </c:pt>
                <c:pt idx="1">
                  <c:v>0.134893826482955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122624864578151</c:v>
                </c:pt>
                <c:pt idx="1">
                  <c:v>0.8122624864578151</c:v>
                </c:pt>
              </c:numCache>
            </c:numRef>
          </c:xVal>
          <c:yVal>
            <c:numRef>
              <c:f>Sheet1!$B$175:$B$176</c:f>
              <c:numCache>
                <c:formatCode>General</c:formatCode>
                <c:ptCount val="2"/>
                <c:pt idx="0">
                  <c:v>0.134893826482955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889234308434203</c:v>
                </c:pt>
              </c:numCache>
            </c:numRef>
          </c:xVal>
          <c:yVal>
            <c:numRef>
              <c:f>Sheet1!$B$179:$B$180</c:f>
              <c:numCache>
                <c:formatCode>General</c:formatCode>
                <c:ptCount val="2"/>
                <c:pt idx="0">
                  <c:v>0.11292629569272641</c:v>
                </c:pt>
                <c:pt idx="1">
                  <c:v>0.112926295692726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889234308434203</c:v>
                </c:pt>
                <c:pt idx="1">
                  <c:v>0.9889234308434203</c:v>
                </c:pt>
              </c:numCache>
            </c:numRef>
          </c:xVal>
          <c:yVal>
            <c:numRef>
              <c:f>Sheet1!$B$183:$B$184</c:f>
              <c:numCache>
                <c:formatCode>General</c:formatCode>
                <c:ptCount val="2"/>
                <c:pt idx="0">
                  <c:v>0.112926295692726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321740527504103</c:v>
                </c:pt>
                <c:pt idx="1">
                  <c:v>0.7685754433017993</c:v>
                </c:pt>
                <c:pt idx="2">
                  <c:v>0.7698215203621755</c:v>
                </c:pt>
                <c:pt idx="3">
                  <c:v>0.7790500211154833</c:v>
                </c:pt>
                <c:pt idx="4">
                  <c:v>0.7824149773137948</c:v>
                </c:pt>
                <c:pt idx="5">
                  <c:v>0.7583918134921486</c:v>
                </c:pt>
                <c:pt idx="6">
                  <c:v>0.7823519405371328</c:v>
                </c:pt>
                <c:pt idx="7">
                  <c:v>0.9330271954349607</c:v>
                </c:pt>
                <c:pt idx="8">
                  <c:v>0.9680999203298828</c:v>
                </c:pt>
                <c:pt idx="9">
                  <c:v>0.9292988157302607</c:v>
                </c:pt>
                <c:pt idx="10">
                  <c:v>0.9001811466626924</c:v>
                </c:pt>
                <c:pt idx="11">
                  <c:v>0.8604912093194426</c:v>
                </c:pt>
                <c:pt idx="12">
                  <c:v>0.8786917753530029</c:v>
                </c:pt>
                <c:pt idx="13">
                  <c:v>0.8597488714111842</c:v>
                </c:pt>
                <c:pt idx="14">
                  <c:v>0.869968850241796</c:v>
                </c:pt>
                <c:pt idx="15">
                  <c:v>0.8913775198440246</c:v>
                </c:pt>
                <c:pt idx="16">
                  <c:v>0.9151802387747501</c:v>
                </c:pt>
                <c:pt idx="17">
                  <c:v>0.9437139089072324</c:v>
                </c:pt>
                <c:pt idx="18">
                  <c:v>0.9707630539045322</c:v>
                </c:pt>
                <c:pt idx="19">
                  <c:v>0.9122472387315794</c:v>
                </c:pt>
                <c:pt idx="20">
                  <c:v>0.7442478611180331</c:v>
                </c:pt>
                <c:pt idx="21">
                  <c:v>0.6348908106918317</c:v>
                </c:pt>
                <c:pt idx="22">
                  <c:v>0.6383417998709151</c:v>
                </c:pt>
                <c:pt idx="23">
                  <c:v>0.6461866199527099</c:v>
                </c:pt>
                <c:pt idx="24">
                  <c:v>0.7366668575350948</c:v>
                </c:pt>
                <c:pt idx="25">
                  <c:v>0.8034914964866225</c:v>
                </c:pt>
                <c:pt idx="26">
                  <c:v>0.8477163907520274</c:v>
                </c:pt>
                <c:pt idx="27">
                  <c:v>0.864181936416185</c:v>
                </c:pt>
                <c:pt idx="28">
                  <c:v>0.8696595807460937</c:v>
                </c:pt>
                <c:pt idx="29">
                  <c:v>0.8704068330454484</c:v>
                </c:pt>
                <c:pt idx="30">
                  <c:v>0.8504933022164841</c:v>
                </c:pt>
                <c:pt idx="31">
                  <c:v>0.898847143821691</c:v>
                </c:pt>
                <c:pt idx="32">
                  <c:v>0.8772873754893642</c:v>
                </c:pt>
                <c:pt idx="33">
                  <c:v>0.8992048707739224</c:v>
                </c:pt>
                <c:pt idx="34">
                  <c:v>0.9039163208289822</c:v>
                </c:pt>
                <c:pt idx="35">
                  <c:v>0.8984184373820747</c:v>
                </c:pt>
                <c:pt idx="36">
                  <c:v>0.8501570177029129</c:v>
                </c:pt>
                <c:pt idx="37">
                  <c:v>0.8973039741374377</c:v>
                </c:pt>
                <c:pt idx="38">
                  <c:v>0.9515953420547011</c:v>
                </c:pt>
                <c:pt idx="39">
                  <c:v>1.0796929951852225</c:v>
                </c:pt>
                <c:pt idx="40">
                  <c:v>1.0401781676137636</c:v>
                </c:pt>
                <c:pt idx="41">
                  <c:v>1.00868842494426</c:v>
                </c:pt>
                <c:pt idx="42">
                  <c:v>0.958298416917388</c:v>
                </c:pt>
                <c:pt idx="43">
                  <c:v>0.9889338078708897</c:v>
                </c:pt>
                <c:pt idx="44">
                  <c:v>1.049337312721976</c:v>
                </c:pt>
                <c:pt idx="45">
                  <c:v>0.9716420902021257</c:v>
                </c:pt>
                <c:pt idx="46">
                  <c:v>0.9626574418739154</c:v>
                </c:pt>
                <c:pt idx="47">
                  <c:v>0.969109804777202</c:v>
                </c:pt>
                <c:pt idx="48">
                  <c:v>1.0353914570671394</c:v>
                </c:pt>
                <c:pt idx="49">
                  <c:v>1.02691074719548</c:v>
                </c:pt>
                <c:pt idx="50">
                  <c:v>0.8475092604893206</c:v>
                </c:pt>
                <c:pt idx="51">
                  <c:v>0.8968025928994106</c:v>
                </c:pt>
                <c:pt idx="52">
                  <c:v>0.8122624864578151</c:v>
                </c:pt>
                <c:pt idx="53">
                  <c:v>0.7886184132382686</c:v>
                </c:pt>
                <c:pt idx="54">
                  <c:v>0.9889234308434203</c:v>
                </c:pt>
              </c:numCache>
            </c:numRef>
          </c:xVal>
          <c:yVal>
            <c:numRef>
              <c:f>Sheet1!$B$187:$B$241</c:f>
              <c:numCache>
                <c:formatCode>General</c:formatCode>
                <c:ptCount val="55"/>
                <c:pt idx="0">
                  <c:v>0.13241785225370242</c:v>
                </c:pt>
                <c:pt idx="1">
                  <c:v>0.14032624658577733</c:v>
                </c:pt>
                <c:pt idx="2">
                  <c:v>0.14017129872061102</c:v>
                </c:pt>
                <c:pt idx="3">
                  <c:v>0.1390237481108767</c:v>
                </c:pt>
                <c:pt idx="4">
                  <c:v>0.13860532071510306</c:v>
                </c:pt>
                <c:pt idx="5">
                  <c:v>0.14159256610069793</c:v>
                </c:pt>
                <c:pt idx="6">
                  <c:v>0.1386131592463475</c:v>
                </c:pt>
                <c:pt idx="7">
                  <c:v>0.11987691104612924</c:v>
                </c:pt>
                <c:pt idx="8">
                  <c:v>0.11551566885586494</c:v>
                </c:pt>
                <c:pt idx="9">
                  <c:v>0.12034052962490174</c:v>
                </c:pt>
                <c:pt idx="10">
                  <c:v>0.12396126930794868</c:v>
                </c:pt>
                <c:pt idx="11">
                  <c:v>0.12889665513237286</c:v>
                </c:pt>
                <c:pt idx="12">
                  <c:v>0.12663344128999054</c:v>
                </c:pt>
                <c:pt idx="13">
                  <c:v>0.12898896376863161</c:v>
                </c:pt>
                <c:pt idx="14">
                  <c:v>0.1277181243059663</c:v>
                </c:pt>
                <c:pt idx="15">
                  <c:v>0.125055987463551</c:v>
                </c:pt>
                <c:pt idx="16">
                  <c:v>0.12209615407864303</c:v>
                </c:pt>
                <c:pt idx="17">
                  <c:v>0.11854803381146405</c:v>
                </c:pt>
                <c:pt idx="18">
                  <c:v>0.11518451207979842</c:v>
                </c:pt>
                <c:pt idx="19">
                  <c:v>0.12246086835649417</c:v>
                </c:pt>
                <c:pt idx="20">
                  <c:v>0.14335134595073498</c:v>
                </c:pt>
                <c:pt idx="21">
                  <c:v>0.15694973568379678</c:v>
                </c:pt>
                <c:pt idx="22">
                  <c:v>0.15652061021233554</c:v>
                </c:pt>
                <c:pt idx="23">
                  <c:v>0.15554511827612988</c:v>
                </c:pt>
                <c:pt idx="24">
                  <c:v>0.14429403269006053</c:v>
                </c:pt>
                <c:pt idx="25">
                  <c:v>0.1359844862941722</c:v>
                </c:pt>
                <c:pt idx="26">
                  <c:v>0.13048518519030539</c:v>
                </c:pt>
                <c:pt idx="27">
                  <c:v>0.12843771860048692</c:v>
                </c:pt>
                <c:pt idx="28">
                  <c:v>0.1277565815167151</c:v>
                </c:pt>
                <c:pt idx="29">
                  <c:v>0.1276636617830907</c:v>
                </c:pt>
                <c:pt idx="30">
                  <c:v>0.13013988029957618</c:v>
                </c:pt>
                <c:pt idx="31">
                  <c:v>0.12412715061570388</c:v>
                </c:pt>
                <c:pt idx="32">
                  <c:v>0.12680807636484295</c:v>
                </c:pt>
                <c:pt idx="33">
                  <c:v>0.12408266779090653</c:v>
                </c:pt>
                <c:pt idx="34">
                  <c:v>0.12349680584778659</c:v>
                </c:pt>
                <c:pt idx="35">
                  <c:v>0.12418045963624032</c:v>
                </c:pt>
                <c:pt idx="36">
                  <c:v>0.13018169678839803</c:v>
                </c:pt>
                <c:pt idx="37">
                  <c:v>0.12431904151536638</c:v>
                </c:pt>
                <c:pt idx="38">
                  <c:v>0.1175679890939387</c:v>
                </c:pt>
                <c:pt idx="39">
                  <c:v>0.10163923274608058</c:v>
                </c:pt>
                <c:pt idx="40">
                  <c:v>0.10655284392576445</c:v>
                </c:pt>
                <c:pt idx="41">
                  <c:v>0.11046854750175572</c:v>
                </c:pt>
                <c:pt idx="42">
                  <c:v>0.11673447151059624</c:v>
                </c:pt>
                <c:pt idx="43">
                  <c:v>0.11292500532449455</c:v>
                </c:pt>
                <c:pt idx="44">
                  <c:v>0.10541391758934876</c:v>
                </c:pt>
                <c:pt idx="45">
                  <c:v>0.11507520519818816</c:v>
                </c:pt>
                <c:pt idx="46">
                  <c:v>0.11619243311449846</c:v>
                </c:pt>
                <c:pt idx="47">
                  <c:v>0.11539009119766656</c:v>
                </c:pt>
                <c:pt idx="48">
                  <c:v>0.10714806440124974</c:v>
                </c:pt>
                <c:pt idx="49">
                  <c:v>0.10820262830543692</c:v>
                </c:pt>
                <c:pt idx="50">
                  <c:v>0.13051094153639212</c:v>
                </c:pt>
                <c:pt idx="51">
                  <c:v>0.12438138754109555</c:v>
                </c:pt>
                <c:pt idx="52">
                  <c:v>0.13489382648295553</c:v>
                </c:pt>
                <c:pt idx="53">
                  <c:v>0.13783393250504888</c:v>
                </c:pt>
                <c:pt idx="54">
                  <c:v>0.112926295692726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79050736497545"/>
          <c:min val="0.02739726027397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8.514</c:v>
                </c:pt>
                <c:pt idx="1">
                  <c:v>854.4065</c:v>
                </c:pt>
                <c:pt idx="2">
                  <c:v>942.6825</c:v>
                </c:pt>
                <c:pt idx="3">
                  <c:v>926.0177</c:v>
                </c:pt>
                <c:pt idx="4">
                  <c:v>897.7778</c:v>
                </c:pt>
                <c:pt idx="5">
                  <c:v>899.5495</c:v>
                </c:pt>
                <c:pt idx="6">
                  <c:v>911.6667</c:v>
                </c:pt>
                <c:pt idx="7">
                  <c:v>920.7079</c:v>
                </c:pt>
                <c:pt idx="8">
                  <c:v>863.8333</c:v>
                </c:pt>
                <c:pt idx="9">
                  <c:v>862.925</c:v>
                </c:pt>
                <c:pt idx="10">
                  <c:v>894.7395</c:v>
                </c:pt>
                <c:pt idx="11">
                  <c:v>870.9917</c:v>
                </c:pt>
                <c:pt idx="12">
                  <c:v>837.6993</c:v>
                </c:pt>
                <c:pt idx="13">
                  <c:v>802.8841</c:v>
                </c:pt>
                <c:pt idx="14">
                  <c:v>880.3731</c:v>
                </c:pt>
                <c:pt idx="15">
                  <c:v>910.0619</c:v>
                </c:pt>
                <c:pt idx="16">
                  <c:v>900.3738</c:v>
                </c:pt>
                <c:pt idx="17">
                  <c:v>928.7907</c:v>
                </c:pt>
                <c:pt idx="18">
                  <c:v>946.2982</c:v>
                </c:pt>
                <c:pt idx="19">
                  <c:v>1015.641</c:v>
                </c:pt>
                <c:pt idx="20">
                  <c:v>970.0227</c:v>
                </c:pt>
                <c:pt idx="21">
                  <c:v>932.5122</c:v>
                </c:pt>
                <c:pt idx="22">
                  <c:v>991.4</c:v>
                </c:pt>
                <c:pt idx="23">
                  <c:v>954.3462</c:v>
                </c:pt>
                <c:pt idx="24">
                  <c:v>963.6667</c:v>
                </c:pt>
                <c:pt idx="25">
                  <c:v>955.8</c:v>
                </c:pt>
                <c:pt idx="26">
                  <c:v>958.2857</c:v>
                </c:pt>
                <c:pt idx="27">
                  <c:v>913.2759</c:v>
                </c:pt>
                <c:pt idx="28">
                  <c:v>940.55</c:v>
                </c:pt>
                <c:pt idx="29">
                  <c:v>885.0435</c:v>
                </c:pt>
                <c:pt idx="30">
                  <c:v>876.5333</c:v>
                </c:pt>
                <c:pt idx="31">
                  <c:v>992.8</c:v>
                </c:pt>
                <c:pt idx="32">
                  <c:v>1005.5625</c:v>
                </c:pt>
                <c:pt idx="33">
                  <c:v>1003.6667</c:v>
                </c:pt>
                <c:pt idx="34">
                  <c:v>978.5789</c:v>
                </c:pt>
                <c:pt idx="35">
                  <c:v>1022.8235</c:v>
                </c:pt>
                <c:pt idx="36">
                  <c:v>878.0645</c:v>
                </c:pt>
                <c:pt idx="37">
                  <c:v>1000.5217</c:v>
                </c:pt>
                <c:pt idx="38">
                  <c:v>1075.4118</c:v>
                </c:pt>
                <c:pt idx="39">
                  <c:v>1213.2667</c:v>
                </c:pt>
                <c:pt idx="40">
                  <c:v>1186.8571</c:v>
                </c:pt>
                <c:pt idx="41">
                  <c:v>1256.2105</c:v>
                </c:pt>
                <c:pt idx="42">
                  <c:v>1360.5</c:v>
                </c:pt>
                <c:pt idx="43">
                  <c:v>1324.0968</c:v>
                </c:pt>
                <c:pt idx="44">
                  <c:v>1171.931</c:v>
                </c:pt>
                <c:pt idx="45">
                  <c:v>1028.3373</c:v>
                </c:pt>
                <c:pt idx="46">
                  <c:v>1065.9744</c:v>
                </c:pt>
                <c:pt idx="47">
                  <c:v>1075.9583</c:v>
                </c:pt>
                <c:pt idx="48">
                  <c:v>1057.7681</c:v>
                </c:pt>
                <c:pt idx="49">
                  <c:v>1029.1405</c:v>
                </c:pt>
                <c:pt idx="50">
                  <c:v>1026.566</c:v>
                </c:pt>
                <c:pt idx="51">
                  <c:v>1061.0139</c:v>
                </c:pt>
                <c:pt idx="52">
                  <c:v>1086.0784</c:v>
                </c:pt>
                <c:pt idx="53">
                  <c:v>1137.8028</c:v>
                </c:pt>
                <c:pt idx="54">
                  <c:v>1195.2468</c:v>
                </c:pt>
                <c:pt idx="55">
                  <c:v>1233.8545</c:v>
                </c:pt>
                <c:pt idx="56">
                  <c:v>1240.4839</c:v>
                </c:pt>
                <c:pt idx="57">
                  <c:v>1242.625</c:v>
                </c:pt>
                <c:pt idx="58">
                  <c:v>1207.8391</c:v>
                </c:pt>
                <c:pt idx="59">
                  <c:v>1122.1475</c:v>
                </c:pt>
                <c:pt idx="60">
                  <c:v>1123.7516</c:v>
                </c:pt>
                <c:pt idx="61">
                  <c:v>1153.8319</c:v>
                </c:pt>
                <c:pt idx="62">
                  <c:v>1164.449</c:v>
                </c:pt>
                <c:pt idx="63">
                  <c:v>1088.9832</c:v>
                </c:pt>
                <c:pt idx="64">
                  <c:v>1122.5656</c:v>
                </c:pt>
                <c:pt idx="65">
                  <c:v>1160.0947</c:v>
                </c:pt>
                <c:pt idx="66">
                  <c:v>1123.3564</c:v>
                </c:pt>
                <c:pt idx="67">
                  <c:v>1165.3563</c:v>
                </c:pt>
                <c:pt idx="68">
                  <c:v>1189.9474</c:v>
                </c:pt>
                <c:pt idx="69">
                  <c:v>1249.7551</c:v>
                </c:pt>
                <c:pt idx="70">
                  <c:v>1259.9111</c:v>
                </c:pt>
                <c:pt idx="71">
                  <c:v>1242.6078</c:v>
                </c:pt>
                <c:pt idx="72">
                  <c:v>1341.7111</c:v>
                </c:pt>
                <c:pt idx="73">
                  <c:v>1295.5366</c:v>
                </c:pt>
                <c:pt idx="74">
                  <c:v>1240.6</c:v>
                </c:pt>
                <c:pt idx="75">
                  <c:v>1236.1667</c:v>
                </c:pt>
                <c:pt idx="76">
                  <c:v>1201.3</c:v>
                </c:pt>
                <c:pt idx="77">
                  <c:v>1228.0435</c:v>
                </c:pt>
                <c:pt idx="78">
                  <c:v>1170.6818</c:v>
                </c:pt>
                <c:pt idx="79">
                  <c:v>1138.4</c:v>
                </c:pt>
                <c:pt idx="80">
                  <c:v>1227.5</c:v>
                </c:pt>
                <c:pt idx="81">
                  <c:v>1230.9333</c:v>
                </c:pt>
                <c:pt idx="82">
                  <c:v>1281.3846</c:v>
                </c:pt>
                <c:pt idx="83">
                  <c:v>1447.2727</c:v>
                </c:pt>
                <c:pt idx="84">
                  <c:v>1472.4286</c:v>
                </c:pt>
                <c:pt idx="85">
                  <c:v>1347.0</c:v>
                </c:pt>
                <c:pt idx="86">
                  <c:v>1214.7083</c:v>
                </c:pt>
                <c:pt idx="87">
                  <c:v>1277.8077</c:v>
                </c:pt>
                <c:pt idx="88">
                  <c:v>1188.9565</c:v>
                </c:pt>
                <c:pt idx="89">
                  <c:v>1194.4348</c:v>
                </c:pt>
                <c:pt idx="90">
                  <c:v>1245.6</c:v>
                </c:pt>
                <c:pt idx="91">
                  <c:v>1306.5556</c:v>
                </c:pt>
                <c:pt idx="92">
                  <c:v>1241.0606</c:v>
                </c:pt>
                <c:pt idx="93">
                  <c:v>1244.0294</c:v>
                </c:pt>
                <c:pt idx="94">
                  <c:v>1340.5</c:v>
                </c:pt>
                <c:pt idx="95">
                  <c:v>1241.3953</c:v>
                </c:pt>
                <c:pt idx="96">
                  <c:v>1243.3478</c:v>
                </c:pt>
                <c:pt idx="97">
                  <c:v>1204.9577</c:v>
                </c:pt>
                <c:pt idx="98">
                  <c:v>1201.8333</c:v>
                </c:pt>
                <c:pt idx="99">
                  <c:v>1179.1858</c:v>
                </c:pt>
                <c:pt idx="100">
                  <c:v>1144.0509</c:v>
                </c:pt>
                <c:pt idx="101">
                  <c:v>1147.2578</c:v>
                </c:pt>
                <c:pt idx="102">
                  <c:v>1182.6</c:v>
                </c:pt>
                <c:pt idx="103">
                  <c:v>481.0106</c:v>
                </c:pt>
                <c:pt idx="104">
                  <c:v>605.9774</c:v>
                </c:pt>
              </c:numCache>
            </c:numRef>
          </c:xVal>
          <c:yVal>
            <c:numRef>
              <c:f>Sheet1!$B$2:$B$106</c:f>
              <c:numCache>
                <c:formatCode>General</c:formatCode>
                <c:ptCount val="105"/>
                <c:pt idx="0">
                  <c:v>0.10479921645445642</c:v>
                </c:pt>
                <c:pt idx="1">
                  <c:v>0.10808435852372583</c:v>
                </c:pt>
                <c:pt idx="2">
                  <c:v>0.10614995787700084</c:v>
                </c:pt>
                <c:pt idx="3">
                  <c:v>0.10329067641681901</c:v>
                </c:pt>
                <c:pt idx="4">
                  <c:v>0.11726384364820847</c:v>
                </c:pt>
                <c:pt idx="5">
                  <c:v>0.10045248868778281</c:v>
                </c:pt>
                <c:pt idx="6">
                  <c:v>0.07947019867549669</c:v>
                </c:pt>
                <c:pt idx="7">
                  <c:v>0.08217913204062789</c:v>
                </c:pt>
                <c:pt idx="8">
                  <c:v>0.11440677966101695</c:v>
                </c:pt>
                <c:pt idx="9">
                  <c:v>0.10752688172043011</c:v>
                </c:pt>
                <c:pt idx="10">
                  <c:v>0.09786184210526316</c:v>
                </c:pt>
                <c:pt idx="11">
                  <c:v>0.09958847736625515</c:v>
                </c:pt>
                <c:pt idx="12">
                  <c:v>0.10932721712538226</c:v>
                </c:pt>
                <c:pt idx="13">
                  <c:v>0.14513274336283186</c:v>
                </c:pt>
                <c:pt idx="14">
                  <c:v>0.12465116279069767</c:v>
                </c:pt>
                <c:pt idx="15">
                  <c:v>0.1354916067146283</c:v>
                </c:pt>
                <c:pt idx="16">
                  <c:v>0.1494413407821229</c:v>
                </c:pt>
                <c:pt idx="17">
                  <c:v>0.14625850340136054</c:v>
                </c:pt>
                <c:pt idx="18">
                  <c:v>0.12153518123667377</c:v>
                </c:pt>
                <c:pt idx="19">
                  <c:v>0.09420289855072464</c:v>
                </c:pt>
                <c:pt idx="20">
                  <c:v>0.08853118712273642</c:v>
                </c:pt>
                <c:pt idx="21">
                  <c:v>0.09761904761904762</c:v>
                </c:pt>
                <c:pt idx="22">
                  <c:v>0.07462686567164178</c:v>
                </c:pt>
                <c:pt idx="23">
                  <c:v>0.08227848101265822</c:v>
                </c:pt>
                <c:pt idx="24">
                  <c:v>0.06923076923076923</c:v>
                </c:pt>
                <c:pt idx="25">
                  <c:v>0.07739938080495357</c:v>
                </c:pt>
                <c:pt idx="26">
                  <c:v>0.08211143695014662</c:v>
                </c:pt>
                <c:pt idx="27">
                  <c:v>0.07571801566579635</c:v>
                </c:pt>
                <c:pt idx="28">
                  <c:v>0.0641025641025641</c:v>
                </c:pt>
                <c:pt idx="29">
                  <c:v>0.07744107744107744</c:v>
                </c:pt>
                <c:pt idx="30">
                  <c:v>0.0684931506849315</c:v>
                </c:pt>
                <c:pt idx="31">
                  <c:v>0.03424657534246575</c:v>
                </c:pt>
                <c:pt idx="32">
                  <c:v>0.055944055944055944</c:v>
                </c:pt>
                <c:pt idx="33">
                  <c:v>0.06231454005934718</c:v>
                </c:pt>
                <c:pt idx="34">
                  <c:v>0.06129032258064516</c:v>
                </c:pt>
                <c:pt idx="35">
                  <c:v>0.052307692307692305</c:v>
                </c:pt>
                <c:pt idx="36">
                  <c:v>0.09064327485380116</c:v>
                </c:pt>
                <c:pt idx="37">
                  <c:v>0.07666666666666666</c:v>
                </c:pt>
                <c:pt idx="38">
                  <c:v>0.05501618122977346</c:v>
                </c:pt>
                <c:pt idx="39">
                  <c:v>0.05952380952380952</c:v>
                </c:pt>
                <c:pt idx="40">
                  <c:v>0.0670926517571885</c:v>
                </c:pt>
                <c:pt idx="41">
                  <c:v>0.0627062706270627</c:v>
                </c:pt>
                <c:pt idx="42">
                  <c:v>0.06472491909385113</c:v>
                </c:pt>
                <c:pt idx="43">
                  <c:v>0.06471816283924843</c:v>
                </c:pt>
                <c:pt idx="44">
                  <c:v>0.06236559139784946</c:v>
                </c:pt>
                <c:pt idx="45">
                  <c:v>0.07678075855689177</c:v>
                </c:pt>
                <c:pt idx="46">
                  <c:v>0.08647450110864745</c:v>
                </c:pt>
                <c:pt idx="47">
                  <c:v>0.09257473481195758</c:v>
                </c:pt>
                <c:pt idx="48">
                  <c:v>0.09935205183585313</c:v>
                </c:pt>
                <c:pt idx="49">
                  <c:v>0.10626076967260195</c:v>
                </c:pt>
                <c:pt idx="50">
                  <c:v>0.1075050709939148</c:v>
                </c:pt>
                <c:pt idx="51">
                  <c:v>0.08381839348079162</c:v>
                </c:pt>
                <c:pt idx="52">
                  <c:v>0.09180918091809182</c:v>
                </c:pt>
                <c:pt idx="53">
                  <c:v>0.07725788900979326</c:v>
                </c:pt>
                <c:pt idx="54">
                  <c:v>0.09080188679245282</c:v>
                </c:pt>
                <c:pt idx="55">
                  <c:v>0.06547619047619048</c:v>
                </c:pt>
                <c:pt idx="56">
                  <c:v>0.07372175980975029</c:v>
                </c:pt>
                <c:pt idx="57">
                  <c:v>0.0650994575045208</c:v>
                </c:pt>
                <c:pt idx="58">
                  <c:v>0.07410562180579217</c:v>
                </c:pt>
                <c:pt idx="59">
                  <c:v>0.0800875273522976</c:v>
                </c:pt>
                <c:pt idx="60">
                  <c:v>0.07749259624876605</c:v>
                </c:pt>
                <c:pt idx="61">
                  <c:v>0.09210526315789473</c:v>
                </c:pt>
                <c:pt idx="62">
                  <c:v>0.08611599297012303</c:v>
                </c:pt>
                <c:pt idx="63">
                  <c:v>0.08451704545454546</c:v>
                </c:pt>
                <c:pt idx="64">
                  <c:v>0.08304969366916269</c:v>
                </c:pt>
                <c:pt idx="65">
                  <c:v>0.06718528995756719</c:v>
                </c:pt>
                <c:pt idx="66">
                  <c:v>0.0781733746130031</c:v>
                </c:pt>
                <c:pt idx="67">
                  <c:v>0.07558644656820157</c:v>
                </c:pt>
                <c:pt idx="68">
                  <c:v>0.07676767676767676</c:v>
                </c:pt>
                <c:pt idx="69">
                  <c:v>0.06960227272727272</c:v>
                </c:pt>
                <c:pt idx="70">
                  <c:v>0.061813186813186816</c:v>
                </c:pt>
                <c:pt idx="71">
                  <c:v>0.07600596125186289</c:v>
                </c:pt>
                <c:pt idx="72">
                  <c:v>0.06766917293233082</c:v>
                </c:pt>
                <c:pt idx="73">
                  <c:v>0.07093425605536333</c:v>
                </c:pt>
                <c:pt idx="74">
                  <c:v>0.08196721311475409</c:v>
                </c:pt>
                <c:pt idx="75">
                  <c:v>0.08108108108108109</c:v>
                </c:pt>
                <c:pt idx="76">
                  <c:v>0.08</c:v>
                </c:pt>
                <c:pt idx="77">
                  <c:v>0.058524173027989825</c:v>
                </c:pt>
                <c:pt idx="78">
                  <c:v>0.07028753993610223</c:v>
                </c:pt>
                <c:pt idx="79">
                  <c:v>0.06896551724137931</c:v>
                </c:pt>
                <c:pt idx="80">
                  <c:v>0.05947955390334572</c:v>
                </c:pt>
                <c:pt idx="81">
                  <c:v>0.04559270516717325</c:v>
                </c:pt>
                <c:pt idx="82">
                  <c:v>0.05058365758754864</c:v>
                </c:pt>
                <c:pt idx="83">
                  <c:v>0.044534412955465584</c:v>
                </c:pt>
                <c:pt idx="84">
                  <c:v>0.05668016194331984</c:v>
                </c:pt>
                <c:pt idx="85">
                  <c:v>0.07777777777777778</c:v>
                </c:pt>
                <c:pt idx="86">
                  <c:v>0.07384615384615385</c:v>
                </c:pt>
                <c:pt idx="87">
                  <c:v>0.07878787878787878</c:v>
                </c:pt>
                <c:pt idx="88">
                  <c:v>0.08098591549295775</c:v>
                </c:pt>
                <c:pt idx="89">
                  <c:v>0.08394160583941605</c:v>
                </c:pt>
                <c:pt idx="90">
                  <c:v>0.07936507936507936</c:v>
                </c:pt>
                <c:pt idx="91">
                  <c:v>0.06716417910447761</c:v>
                </c:pt>
                <c:pt idx="92">
                  <c:v>0.07534246575342465</c:v>
                </c:pt>
                <c:pt idx="93">
                  <c:v>0.08076009501187649</c:v>
                </c:pt>
                <c:pt idx="94">
                  <c:v>0.06875</c:v>
                </c:pt>
                <c:pt idx="95">
                  <c:v>0.07583774250440917</c:v>
                </c:pt>
                <c:pt idx="96">
                  <c:v>0.08273381294964029</c:v>
                </c:pt>
                <c:pt idx="97">
                  <c:v>0.08492822966507177</c:v>
                </c:pt>
                <c:pt idx="98">
                  <c:v>0.0972644376899696</c:v>
                </c:pt>
                <c:pt idx="99">
                  <c:v>0.09732988802756244</c:v>
                </c:pt>
                <c:pt idx="100">
                  <c:v>0.11220779220779221</c:v>
                </c:pt>
                <c:pt idx="101">
                  <c:v>0.1128747795414462</c:v>
                </c:pt>
                <c:pt idx="102">
                  <c:v>0.10741138560687433</c:v>
                </c:pt>
                <c:pt idx="103">
                  <c:v>0.23158756137479541</c:v>
                </c:pt>
                <c:pt idx="104">
                  <c:v>0.185714285714285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5.449</c:v>
                </c:pt>
                <c:pt idx="1">
                  <c:v>1078.4025</c:v>
                </c:pt>
                <c:pt idx="2">
                  <c:v>1064.6617</c:v>
                </c:pt>
                <c:pt idx="3">
                  <c:v>1079.9087</c:v>
                </c:pt>
                <c:pt idx="4">
                  <c:v>1094.3571</c:v>
                </c:pt>
                <c:pt idx="5">
                  <c:v>1050.9884</c:v>
                </c:pt>
                <c:pt idx="6">
                  <c:v>1009.509</c:v>
                </c:pt>
                <c:pt idx="7">
                  <c:v>1193.6759</c:v>
                </c:pt>
                <c:pt idx="8">
                  <c:v>1269.3306</c:v>
                </c:pt>
                <c:pt idx="9">
                  <c:v>1234.2656</c:v>
                </c:pt>
                <c:pt idx="10">
                  <c:v>1209.2416</c:v>
                </c:pt>
                <c:pt idx="11">
                  <c:v>1044.7062</c:v>
                </c:pt>
                <c:pt idx="12">
                  <c:v>1069.3374</c:v>
                </c:pt>
                <c:pt idx="13">
                  <c:v>1192.2411</c:v>
                </c:pt>
                <c:pt idx="14">
                  <c:v>1236.0915</c:v>
                </c:pt>
                <c:pt idx="15">
                  <c:v>1250.0</c:v>
                </c:pt>
                <c:pt idx="16">
                  <c:v>1279.8317</c:v>
                </c:pt>
                <c:pt idx="17">
                  <c:v>1297.9759</c:v>
                </c:pt>
                <c:pt idx="18">
                  <c:v>1305.9123</c:v>
                </c:pt>
                <c:pt idx="19">
                  <c:v>1269.8529</c:v>
                </c:pt>
                <c:pt idx="20">
                  <c:v>1061.76</c:v>
                </c:pt>
                <c:pt idx="21">
                  <c:v>914.9341</c:v>
                </c:pt>
                <c:pt idx="22">
                  <c:v>902.3878</c:v>
                </c:pt>
                <c:pt idx="23">
                  <c:v>930.8947</c:v>
                </c:pt>
                <c:pt idx="24">
                  <c:v>1036.9333</c:v>
                </c:pt>
                <c:pt idx="25">
                  <c:v>1045.4444</c:v>
                </c:pt>
                <c:pt idx="26">
                  <c:v>1169.2581</c:v>
                </c:pt>
                <c:pt idx="27">
                  <c:v>1196.0278</c:v>
                </c:pt>
                <c:pt idx="28">
                  <c:v>1246.1333</c:v>
                </c:pt>
                <c:pt idx="29">
                  <c:v>1254.7838</c:v>
                </c:pt>
                <c:pt idx="30">
                  <c:v>1214.9</c:v>
                </c:pt>
                <c:pt idx="31">
                  <c:v>1283.0714</c:v>
                </c:pt>
                <c:pt idx="32">
                  <c:v>1255.0303</c:v>
                </c:pt>
                <c:pt idx="33">
                  <c:v>1291.6364</c:v>
                </c:pt>
                <c:pt idx="34">
                  <c:v>1300.9697</c:v>
                </c:pt>
                <c:pt idx="35">
                  <c:v>1277.7714</c:v>
                </c:pt>
                <c:pt idx="36">
                  <c:v>1195.1481</c:v>
                </c:pt>
                <c:pt idx="37">
                  <c:v>1241.6957</c:v>
                </c:pt>
                <c:pt idx="38">
                  <c:v>1265.7143</c:v>
                </c:pt>
                <c:pt idx="39">
                  <c:v>1299.1</c:v>
                </c:pt>
                <c:pt idx="40">
                  <c:v>1347.7368</c:v>
                </c:pt>
                <c:pt idx="41">
                  <c:v>1274.8</c:v>
                </c:pt>
                <c:pt idx="42">
                  <c:v>1246.0256</c:v>
                </c:pt>
                <c:pt idx="43">
                  <c:v>1302.8302</c:v>
                </c:pt>
                <c:pt idx="44">
                  <c:v>1262.0</c:v>
                </c:pt>
                <c:pt idx="45">
                  <c:v>1193.9778</c:v>
                </c:pt>
                <c:pt idx="46">
                  <c:v>1228.3611</c:v>
                </c:pt>
                <c:pt idx="47">
                  <c:v>1190.8085</c:v>
                </c:pt>
                <c:pt idx="48">
                  <c:v>1228.7768</c:v>
                </c:pt>
                <c:pt idx="49">
                  <c:v>1197.2241</c:v>
                </c:pt>
                <c:pt idx="50">
                  <c:v>1005.426</c:v>
                </c:pt>
                <c:pt idx="51">
                  <c:v>1019.1227</c:v>
                </c:pt>
              </c:numCache>
            </c:numRef>
          </c:xVal>
          <c:yVal>
            <c:numRef>
              <c:f>Sheet1!$B$109:$B$160</c:f>
              <c:numCache>
                <c:formatCode>General</c:formatCode>
                <c:ptCount val="52"/>
                <c:pt idx="0">
                  <c:v>0.11247130833970925</c:v>
                </c:pt>
                <c:pt idx="1">
                  <c:v>0.12895377128953772</c:v>
                </c:pt>
                <c:pt idx="2">
                  <c:v>0.13729508196721313</c:v>
                </c:pt>
                <c:pt idx="3">
                  <c:v>0.13156230234029095</c:v>
                </c:pt>
                <c:pt idx="4">
                  <c:v>0.14080459770114942</c:v>
                </c:pt>
                <c:pt idx="5">
                  <c:v>0.12446043165467625</c:v>
                </c:pt>
                <c:pt idx="6">
                  <c:v>0.13349368610944076</c:v>
                </c:pt>
                <c:pt idx="7">
                  <c:v>0.11868131868131868</c:v>
                </c:pt>
                <c:pt idx="8">
                  <c:v>0.12653061224489795</c:v>
                </c:pt>
                <c:pt idx="9">
                  <c:v>0.12427184466019417</c:v>
                </c:pt>
                <c:pt idx="10">
                  <c:v>0.15329218106995884</c:v>
                </c:pt>
                <c:pt idx="11">
                  <c:v>0.14911660777385158</c:v>
                </c:pt>
                <c:pt idx="12">
                  <c:v>0.1423580786026201</c:v>
                </c:pt>
                <c:pt idx="13">
                  <c:v>0.12589285714285714</c:v>
                </c:pt>
                <c:pt idx="14">
                  <c:v>0.1393523061825319</c:v>
                </c:pt>
                <c:pt idx="15">
                  <c:v>0.12814895947426067</c:v>
                </c:pt>
                <c:pt idx="16">
                  <c:v>0.1270440251572327</c:v>
                </c:pt>
                <c:pt idx="17">
                  <c:v>0.11773049645390071</c:v>
                </c:pt>
                <c:pt idx="18">
                  <c:v>0.11538461538461539</c:v>
                </c:pt>
                <c:pt idx="19">
                  <c:v>0.12686567164179105</c:v>
                </c:pt>
                <c:pt idx="20">
                  <c:v>0.14534883720930233</c:v>
                </c:pt>
                <c:pt idx="21">
                  <c:v>0.15881326352530542</c:v>
                </c:pt>
                <c:pt idx="22">
                  <c:v>0.17132867132867133</c:v>
                </c:pt>
                <c:pt idx="23">
                  <c:v>0.1655773420479303</c:v>
                </c:pt>
                <c:pt idx="24">
                  <c:v>0.15037593984962405</c:v>
                </c:pt>
                <c:pt idx="25">
                  <c:v>0.12640449438202248</c:v>
                </c:pt>
                <c:pt idx="26">
                  <c:v>0.08611111111111111</c:v>
                </c:pt>
                <c:pt idx="27">
                  <c:v>0.10557184750733138</c:v>
                </c:pt>
                <c:pt idx="28">
                  <c:v>0.1226158038147139</c:v>
                </c:pt>
                <c:pt idx="29">
                  <c:v>0.12627986348122866</c:v>
                </c:pt>
                <c:pt idx="30">
                  <c:v>0.11673151750972763</c:v>
                </c:pt>
                <c:pt idx="31">
                  <c:v>0.1339712918660287</c:v>
                </c:pt>
                <c:pt idx="32">
                  <c:v>0.12941176470588237</c:v>
                </c:pt>
                <c:pt idx="33">
                  <c:v>0.1522491349480969</c:v>
                </c:pt>
                <c:pt idx="34">
                  <c:v>0.09455587392550144</c:v>
                </c:pt>
                <c:pt idx="35">
                  <c:v>0.12915129151291513</c:v>
                </c:pt>
                <c:pt idx="36">
                  <c:v>0.1588235294117647</c:v>
                </c:pt>
                <c:pt idx="37">
                  <c:v>0.11057692307692307</c:v>
                </c:pt>
                <c:pt idx="38">
                  <c:v>0.11290322580645161</c:v>
                </c:pt>
                <c:pt idx="39">
                  <c:v>0.11406844106463879</c:v>
                </c:pt>
                <c:pt idx="40">
                  <c:v>0.10410958904109589</c:v>
                </c:pt>
                <c:pt idx="41">
                  <c:v>0.11461318051575932</c:v>
                </c:pt>
                <c:pt idx="42">
                  <c:v>0.12149532710280374</c:v>
                </c:pt>
                <c:pt idx="43">
                  <c:v>0.11546840958605664</c:v>
                </c:pt>
                <c:pt idx="44">
                  <c:v>0.11469534050179211</c:v>
                </c:pt>
                <c:pt idx="45">
                  <c:v>0.10575793184488837</c:v>
                </c:pt>
                <c:pt idx="46">
                  <c:v>0.10746268656716418</c:v>
                </c:pt>
                <c:pt idx="47">
                  <c:v>0.10904872389791183</c:v>
                </c:pt>
                <c:pt idx="48">
                  <c:v>0.09024979854955681</c:v>
                </c:pt>
                <c:pt idx="49">
                  <c:v>0.09739714525608732</c:v>
                </c:pt>
                <c:pt idx="50">
                  <c:v>0.13388110198163364</c:v>
                </c:pt>
                <c:pt idx="51">
                  <c:v>0.1397941680960548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2.6854882588348</c:v>
                </c:pt>
              </c:numCache>
            </c:numRef>
          </c:xVal>
          <c:yVal>
            <c:numRef>
              <c:f>Sheet1!$B$163:$B$164</c:f>
              <c:numCache>
                <c:formatCode>General</c:formatCode>
                <c:ptCount val="2"/>
                <c:pt idx="0">
                  <c:v>0.13783393250504888</c:v>
                </c:pt>
                <c:pt idx="1">
                  <c:v>0.1378339325050488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2.6854882588348</c:v>
                </c:pt>
                <c:pt idx="1">
                  <c:v>1052.6854882588348</c:v>
                </c:pt>
              </c:numCache>
            </c:numRef>
          </c:xVal>
          <c:yVal>
            <c:numRef>
              <c:f>Sheet1!$B$167:$B$168</c:f>
              <c:numCache>
                <c:formatCode>General</c:formatCode>
                <c:ptCount val="2"/>
                <c:pt idx="0">
                  <c:v>0.137833932505048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4.2895100211201</c:v>
                </c:pt>
              </c:numCache>
            </c:numRef>
          </c:xVal>
          <c:yVal>
            <c:numRef>
              <c:f>Sheet1!$B$171:$B$172</c:f>
              <c:numCache>
                <c:formatCode>General</c:formatCode>
                <c:ptCount val="2"/>
                <c:pt idx="0">
                  <c:v>0.13489382648295553</c:v>
                </c:pt>
                <c:pt idx="1">
                  <c:v>0.134893826482955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4.2895100211201</c:v>
                </c:pt>
                <c:pt idx="1">
                  <c:v>1084.2895100211201</c:v>
                </c:pt>
              </c:numCache>
            </c:numRef>
          </c:xVal>
          <c:yVal>
            <c:numRef>
              <c:f>Sheet1!$B$175:$B$176</c:f>
              <c:numCache>
                <c:formatCode>General</c:formatCode>
                <c:ptCount val="2"/>
                <c:pt idx="0">
                  <c:v>0.134893826482955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0.4246411834179</c:v>
                </c:pt>
              </c:numCache>
            </c:numRef>
          </c:xVal>
          <c:yVal>
            <c:numRef>
              <c:f>Sheet1!$B$179:$B$180</c:f>
              <c:numCache>
                <c:formatCode>General</c:formatCode>
                <c:ptCount val="2"/>
                <c:pt idx="0">
                  <c:v>0.11292629569272641</c:v>
                </c:pt>
                <c:pt idx="1">
                  <c:v>0.112926295692726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0.4246411834179</c:v>
                </c:pt>
                <c:pt idx="1">
                  <c:v>1320.4246411834179</c:v>
                </c:pt>
              </c:numCache>
            </c:numRef>
          </c:xVal>
          <c:yVal>
            <c:numRef>
              <c:f>Sheet1!$B$183:$B$184</c:f>
              <c:numCache>
                <c:formatCode>General</c:formatCode>
                <c:ptCount val="2"/>
                <c:pt idx="0">
                  <c:v>0.112926295692726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5.449</c:v>
                </c:pt>
                <c:pt idx="1">
                  <c:v>1078.4025</c:v>
                </c:pt>
                <c:pt idx="2">
                  <c:v>1064.6617</c:v>
                </c:pt>
                <c:pt idx="3">
                  <c:v>1079.9087</c:v>
                </c:pt>
                <c:pt idx="4">
                  <c:v>1094.3571</c:v>
                </c:pt>
                <c:pt idx="5">
                  <c:v>1050.9884</c:v>
                </c:pt>
                <c:pt idx="6">
                  <c:v>1009.509</c:v>
                </c:pt>
                <c:pt idx="7">
                  <c:v>1193.6759</c:v>
                </c:pt>
                <c:pt idx="8">
                  <c:v>1269.3306</c:v>
                </c:pt>
                <c:pt idx="9">
                  <c:v>1234.2656</c:v>
                </c:pt>
                <c:pt idx="10">
                  <c:v>1209.2416</c:v>
                </c:pt>
                <c:pt idx="11">
                  <c:v>1044.7062</c:v>
                </c:pt>
                <c:pt idx="12">
                  <c:v>1069.3374</c:v>
                </c:pt>
                <c:pt idx="13">
                  <c:v>1192.2411</c:v>
                </c:pt>
                <c:pt idx="14">
                  <c:v>1236.0915</c:v>
                </c:pt>
                <c:pt idx="15">
                  <c:v>1250.0</c:v>
                </c:pt>
                <c:pt idx="16">
                  <c:v>1279.8317</c:v>
                </c:pt>
                <c:pt idx="17">
                  <c:v>1297.9759</c:v>
                </c:pt>
                <c:pt idx="18">
                  <c:v>1305.9123</c:v>
                </c:pt>
                <c:pt idx="19">
                  <c:v>1269.8529</c:v>
                </c:pt>
                <c:pt idx="20">
                  <c:v>1061.76</c:v>
                </c:pt>
                <c:pt idx="21">
                  <c:v>914.9341</c:v>
                </c:pt>
                <c:pt idx="22">
                  <c:v>902.3878</c:v>
                </c:pt>
                <c:pt idx="23">
                  <c:v>930.8947</c:v>
                </c:pt>
                <c:pt idx="24">
                  <c:v>1036.9333</c:v>
                </c:pt>
                <c:pt idx="25">
                  <c:v>1045.4444</c:v>
                </c:pt>
                <c:pt idx="26">
                  <c:v>1169.2581</c:v>
                </c:pt>
                <c:pt idx="27">
                  <c:v>1196.0278</c:v>
                </c:pt>
                <c:pt idx="28">
                  <c:v>1246.1333</c:v>
                </c:pt>
                <c:pt idx="29">
                  <c:v>1254.7838</c:v>
                </c:pt>
                <c:pt idx="30">
                  <c:v>1214.9</c:v>
                </c:pt>
                <c:pt idx="31">
                  <c:v>1283.0714</c:v>
                </c:pt>
                <c:pt idx="32">
                  <c:v>1255.0303</c:v>
                </c:pt>
                <c:pt idx="33">
                  <c:v>1291.6364</c:v>
                </c:pt>
                <c:pt idx="34">
                  <c:v>1300.9697</c:v>
                </c:pt>
                <c:pt idx="35">
                  <c:v>1277.7714</c:v>
                </c:pt>
                <c:pt idx="36">
                  <c:v>1195.1481</c:v>
                </c:pt>
                <c:pt idx="37">
                  <c:v>1241.6957</c:v>
                </c:pt>
                <c:pt idx="38">
                  <c:v>1265.7143</c:v>
                </c:pt>
                <c:pt idx="39">
                  <c:v>1299.1</c:v>
                </c:pt>
                <c:pt idx="40">
                  <c:v>1347.7368</c:v>
                </c:pt>
                <c:pt idx="41">
                  <c:v>1274.8</c:v>
                </c:pt>
                <c:pt idx="42">
                  <c:v>1246.0256</c:v>
                </c:pt>
                <c:pt idx="43">
                  <c:v>1302.8302</c:v>
                </c:pt>
                <c:pt idx="44">
                  <c:v>1262.0</c:v>
                </c:pt>
                <c:pt idx="45">
                  <c:v>1193.9778</c:v>
                </c:pt>
                <c:pt idx="46">
                  <c:v>1228.3611</c:v>
                </c:pt>
                <c:pt idx="47">
                  <c:v>1190.8085</c:v>
                </c:pt>
                <c:pt idx="48">
                  <c:v>1228.7768</c:v>
                </c:pt>
                <c:pt idx="49">
                  <c:v>1197.2241</c:v>
                </c:pt>
                <c:pt idx="50">
                  <c:v>1005.426</c:v>
                </c:pt>
                <c:pt idx="51">
                  <c:v>1019.1227</c:v>
                </c:pt>
                <c:pt idx="52">
                  <c:v>1084.2895100211201</c:v>
                </c:pt>
                <c:pt idx="53">
                  <c:v>1052.6854882588348</c:v>
                </c:pt>
                <c:pt idx="54">
                  <c:v>1320.4246411834179</c:v>
                </c:pt>
              </c:numCache>
            </c:numRef>
          </c:xVal>
          <c:yVal>
            <c:numRef>
              <c:f>Sheet1!$B$187:$B$241</c:f>
              <c:numCache>
                <c:formatCode>General</c:formatCode>
                <c:ptCount val="55"/>
                <c:pt idx="0">
                  <c:v>0.13664654951893662</c:v>
                </c:pt>
                <c:pt idx="1">
                  <c:v>0.13544149202202543</c:v>
                </c:pt>
                <c:pt idx="2">
                  <c:v>0.136719791636304</c:v>
                </c:pt>
                <c:pt idx="3">
                  <c:v>0.1353013710043972</c:v>
                </c:pt>
                <c:pt idx="4">
                  <c:v>0.13395724372309317</c:v>
                </c:pt>
                <c:pt idx="5">
                  <c:v>0.13799181176001696</c:v>
                </c:pt>
                <c:pt idx="6">
                  <c:v>0.1418506191817468</c:v>
                </c:pt>
                <c:pt idx="7">
                  <c:v>0.12471766642551162</c:v>
                </c:pt>
                <c:pt idx="8">
                  <c:v>0.11767954827894377</c:v>
                </c:pt>
                <c:pt idx="9">
                  <c:v>0.12094162734091086</c:v>
                </c:pt>
                <c:pt idx="10">
                  <c:v>0.12326959729518618</c:v>
                </c:pt>
                <c:pt idx="11">
                  <c:v>0.13857624162122012</c:v>
                </c:pt>
                <c:pt idx="12">
                  <c:v>0.1362848136505621</c:v>
                </c:pt>
                <c:pt idx="13">
                  <c:v>0.12485114513756382</c:v>
                </c:pt>
                <c:pt idx="14">
                  <c:v>0.12077176479537412</c:v>
                </c:pt>
                <c:pt idx="15">
                  <c:v>0.11947786413564591</c:v>
                </c:pt>
                <c:pt idx="16">
                  <c:v>0.11670263630296708</c:v>
                </c:pt>
                <c:pt idx="17">
                  <c:v>0.11501469063303572</c:v>
                </c:pt>
                <c:pt idx="18">
                  <c:v>0.11427637138970488</c:v>
                </c:pt>
                <c:pt idx="19">
                  <c:v>0.11763095897638949</c:v>
                </c:pt>
                <c:pt idx="20">
                  <c:v>0.13698973530703293</c:v>
                </c:pt>
                <c:pt idx="21">
                  <c:v>0.15064887388237796</c:v>
                </c:pt>
                <c:pt idx="22">
                  <c:v>0.15181604977101787</c:v>
                </c:pt>
                <c:pt idx="23">
                  <c:v>0.14916406740650653</c:v>
                </c:pt>
                <c:pt idx="24">
                  <c:v>0.13929935054295872</c:v>
                </c:pt>
                <c:pt idx="25">
                  <c:v>0.1385075672518049</c:v>
                </c:pt>
                <c:pt idx="26">
                  <c:v>0.12698924190303335</c:v>
                </c:pt>
                <c:pt idx="27">
                  <c:v>0.12449887036830812</c:v>
                </c:pt>
                <c:pt idx="28">
                  <c:v>0.11983758126409047</c:v>
                </c:pt>
                <c:pt idx="29">
                  <c:v>0.11903282966205009</c:v>
                </c:pt>
                <c:pt idx="30">
                  <c:v>0.12274319922975813</c:v>
                </c:pt>
                <c:pt idx="31">
                  <c:v>0.11640124866466521</c:v>
                </c:pt>
                <c:pt idx="32">
                  <c:v>0.11900989789279941</c:v>
                </c:pt>
                <c:pt idx="33">
                  <c:v>0.11560445108400791</c:v>
                </c:pt>
                <c:pt idx="34">
                  <c:v>0.1147361789462906</c:v>
                </c:pt>
                <c:pt idx="35">
                  <c:v>0.11689430496092716</c:v>
                </c:pt>
                <c:pt idx="36">
                  <c:v>0.12458070841053862</c:v>
                </c:pt>
                <c:pt idx="37">
                  <c:v>0.12025040892829653</c:v>
                </c:pt>
                <c:pt idx="38">
                  <c:v>0.11801597082312718</c:v>
                </c:pt>
                <c:pt idx="39">
                  <c:v>0.11491011618348325</c:v>
                </c:pt>
                <c:pt idx="40">
                  <c:v>0.11038545949102407</c:v>
                </c:pt>
                <c:pt idx="41">
                  <c:v>0.1171707327870994</c:v>
                </c:pt>
                <c:pt idx="42">
                  <c:v>0.11984760054014848</c:v>
                </c:pt>
                <c:pt idx="43">
                  <c:v>0.11456309758040467</c:v>
                </c:pt>
                <c:pt idx="44">
                  <c:v>0.11836151025731696</c:v>
                </c:pt>
                <c:pt idx="45">
                  <c:v>0.12468958082252267</c:v>
                </c:pt>
                <c:pt idx="46">
                  <c:v>0.12149091996379363</c:v>
                </c:pt>
                <c:pt idx="47">
                  <c:v>0.12498441918473831</c:v>
                </c:pt>
                <c:pt idx="48">
                  <c:v>0.12145224760485851</c:v>
                </c:pt>
                <c:pt idx="49">
                  <c:v>0.12438757918958772</c:v>
                </c:pt>
                <c:pt idx="50">
                  <c:v>0.14223045858884825</c:v>
                </c:pt>
                <c:pt idx="51">
                  <c:v>0.14095626157507257</c:v>
                </c:pt>
                <c:pt idx="52">
                  <c:v>0.13489382648295553</c:v>
                </c:pt>
                <c:pt idx="53">
                  <c:v>0.13783393250504888</c:v>
                </c:pt>
                <c:pt idx="54">
                  <c:v>0.11292629569272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7.0"/>
          <c:min val="3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79050736497545"/>
          <c:min val="0.02739726027397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8</c:f>
              <c:numCache>
                <c:formatCode>General</c:formatCode>
                <c:ptCount val="107"/>
                <c:pt idx="0">
                  <c:v>0.0</c:v>
                </c:pt>
                <c:pt idx="1">
                  <c:v>0.0</c:v>
                </c:pt>
                <c:pt idx="2">
                  <c:v>0.0</c:v>
                </c:pt>
                <c:pt idx="3">
                  <c:v>0.078904030334015</c:v>
                </c:pt>
                <c:pt idx="4">
                  <c:v>0.0</c:v>
                </c:pt>
                <c:pt idx="5">
                  <c:v>0.0</c:v>
                </c:pt>
                <c:pt idx="6">
                  <c:v>0.06819768850987433</c:v>
                </c:pt>
                <c:pt idx="7">
                  <c:v>0.0</c:v>
                </c:pt>
                <c:pt idx="8">
                  <c:v>0.0</c:v>
                </c:pt>
                <c:pt idx="9">
                  <c:v>0.0</c:v>
                </c:pt>
                <c:pt idx="10">
                  <c:v>0.0</c:v>
                </c:pt>
                <c:pt idx="11">
                  <c:v>0.0</c:v>
                </c:pt>
                <c:pt idx="12">
                  <c:v>0.04418944453236272</c:v>
                </c:pt>
                <c:pt idx="13">
                  <c:v>0.0</c:v>
                </c:pt>
                <c:pt idx="14">
                  <c:v>0.0</c:v>
                </c:pt>
                <c:pt idx="15">
                  <c:v>0.17847850558933126</c:v>
                </c:pt>
                <c:pt idx="16">
                  <c:v>0.09535837746240203</c:v>
                </c:pt>
                <c:pt idx="17">
                  <c:v>0.07571457569087797</c:v>
                </c:pt>
                <c:pt idx="18">
                  <c:v>0.0</c:v>
                </c:pt>
                <c:pt idx="19">
                  <c:v>0.0</c:v>
                </c:pt>
                <c:pt idx="20">
                  <c:v>0.0</c:v>
                </c:pt>
                <c:pt idx="21">
                  <c:v>0.0992562213943587</c:v>
                </c:pt>
                <c:pt idx="22">
                  <c:v>0.0</c:v>
                </c:pt>
                <c:pt idx="23">
                  <c:v>0.0</c:v>
                </c:pt>
                <c:pt idx="24">
                  <c:v>0.10384339439655173</c:v>
                </c:pt>
                <c:pt idx="25">
                  <c:v>0.0</c:v>
                </c:pt>
                <c:pt idx="26">
                  <c:v>0.0</c:v>
                </c:pt>
                <c:pt idx="27">
                  <c:v>0.0</c:v>
                </c:pt>
                <c:pt idx="28">
                  <c:v>0.0</c:v>
                </c:pt>
                <c:pt idx="29">
                  <c:v>0.13811540262172284</c:v>
                </c:pt>
                <c:pt idx="30">
                  <c:v>0.06524737978264106</c:v>
                </c:pt>
                <c:pt idx="31">
                  <c:v>0.08049947295872861</c:v>
                </c:pt>
                <c:pt idx="32">
                  <c:v>0.0</c:v>
                </c:pt>
                <c:pt idx="33">
                  <c:v>0.11521831018252783</c:v>
                </c:pt>
                <c:pt idx="34">
                  <c:v>0.11631747295851658</c:v>
                </c:pt>
                <c:pt idx="35">
                  <c:v>0.09710656982815911</c:v>
                </c:pt>
                <c:pt idx="36">
                  <c:v>0.09995042686397268</c:v>
                </c:pt>
                <c:pt idx="37">
                  <c:v>0.08400685978169606</c:v>
                </c:pt>
                <c:pt idx="38">
                  <c:v>0.07514581790231291</c:v>
                </c:pt>
                <c:pt idx="39">
                  <c:v>0.0</c:v>
                </c:pt>
                <c:pt idx="40">
                  <c:v>0.0</c:v>
                </c:pt>
                <c:pt idx="41">
                  <c:v>0.12840749258918532</c:v>
                </c:pt>
                <c:pt idx="42">
                  <c:v>0.0</c:v>
                </c:pt>
                <c:pt idx="43">
                  <c:v>0.0</c:v>
                </c:pt>
                <c:pt idx="44">
                  <c:v>0.10658763074124603</c:v>
                </c:pt>
                <c:pt idx="45">
                  <c:v>0.15599777002427184</c:v>
                </c:pt>
                <c:pt idx="46">
                  <c:v>0.10470232786563206</c:v>
                </c:pt>
                <c:pt idx="47">
                  <c:v>0.0</c:v>
                </c:pt>
                <c:pt idx="48">
                  <c:v>0.0</c:v>
                </c:pt>
                <c:pt idx="49">
                  <c:v>0.16743520702839013</c:v>
                </c:pt>
                <c:pt idx="50">
                  <c:v>0.09642739056922789</c:v>
                </c:pt>
                <c:pt idx="51">
                  <c:v>0.10046528737808919</c:v>
                </c:pt>
                <c:pt idx="52">
                  <c:v>0.11764280762564992</c:v>
                </c:pt>
                <c:pt idx="53">
                  <c:v>0.07315648427956022</c:v>
                </c:pt>
                <c:pt idx="54">
                  <c:v>0.10393450434782608</c:v>
                </c:pt>
                <c:pt idx="55">
                  <c:v>0.0</c:v>
                </c:pt>
                <c:pt idx="56">
                  <c:v>0.08149283274208383</c:v>
                </c:pt>
                <c:pt idx="57">
                  <c:v>0.07399219959509348</c:v>
                </c:pt>
                <c:pt idx="58">
                  <c:v>0.16679404819443483</c:v>
                </c:pt>
                <c:pt idx="59">
                  <c:v>0.09898099144394461</c:v>
                </c:pt>
                <c:pt idx="60">
                  <c:v>0.12971852706914463</c:v>
                </c:pt>
                <c:pt idx="61">
                  <c:v>0.1077793564055859</c:v>
                </c:pt>
                <c:pt idx="62">
                  <c:v>0.12657054347826088</c:v>
                </c:pt>
                <c:pt idx="63">
                  <c:v>0.06178978665456195</c:v>
                </c:pt>
                <c:pt idx="64">
                  <c:v>0.14921781204306792</c:v>
                </c:pt>
                <c:pt idx="65">
                  <c:v>0.0775879280363831</c:v>
                </c:pt>
                <c:pt idx="66">
                  <c:v>0.08529013742312656</c:v>
                </c:pt>
                <c:pt idx="67">
                  <c:v>0.11925463569381907</c:v>
                </c:pt>
                <c:pt idx="68">
                  <c:v>0.14896687531296945</c:v>
                </c:pt>
                <c:pt idx="69">
                  <c:v>0.0</c:v>
                </c:pt>
                <c:pt idx="70">
                  <c:v>0.06842880186834673</c:v>
                </c:pt>
                <c:pt idx="71">
                  <c:v>0.14194742974640165</c:v>
                </c:pt>
                <c:pt idx="72">
                  <c:v>0.0</c:v>
                </c:pt>
                <c:pt idx="73">
                  <c:v>0.0</c:v>
                </c:pt>
                <c:pt idx="74">
                  <c:v>0.0</c:v>
                </c:pt>
                <c:pt idx="75">
                  <c:v>0.0</c:v>
                </c:pt>
                <c:pt idx="76">
                  <c:v>0.0</c:v>
                </c:pt>
                <c:pt idx="77">
                  <c:v>0.1259790213377103</c:v>
                </c:pt>
                <c:pt idx="78">
                  <c:v>0.12778973911145072</c:v>
                </c:pt>
                <c:pt idx="79">
                  <c:v>0.13687627750390766</c:v>
                </c:pt>
                <c:pt idx="80">
                  <c:v>0.11247022173355324</c:v>
                </c:pt>
                <c:pt idx="81">
                  <c:v>0.10580482207323362</c:v>
                </c:pt>
                <c:pt idx="82">
                  <c:v>0.1075347935548842</c:v>
                </c:pt>
                <c:pt idx="83">
                  <c:v>0.16250535593981585</c:v>
                </c:pt>
                <c:pt idx="84">
                  <c:v>0.0</c:v>
                </c:pt>
                <c:pt idx="85">
                  <c:v>0.16203536629375676</c:v>
                </c:pt>
                <c:pt idx="86">
                  <c:v>0.1263610007281806</c:v>
                </c:pt>
                <c:pt idx="87">
                  <c:v>0.11656702244116038</c:v>
                </c:pt>
                <c:pt idx="88">
                  <c:v>0.09865221539993362</c:v>
                </c:pt>
                <c:pt idx="89">
                  <c:v>0.12164525919136368</c:v>
                </c:pt>
                <c:pt idx="90">
                  <c:v>0.0</c:v>
                </c:pt>
                <c:pt idx="91">
                  <c:v>0.10343220392653578</c:v>
                </c:pt>
                <c:pt idx="92">
                  <c:v>0.12863397595356552</c:v>
                </c:pt>
                <c:pt idx="93">
                  <c:v>0.14689212421773526</c:v>
                </c:pt>
                <c:pt idx="94">
                  <c:v>0.0</c:v>
                </c:pt>
                <c:pt idx="95">
                  <c:v>0.12075829766536963</c:v>
                </c:pt>
                <c:pt idx="96">
                  <c:v>0.09339351010290693</c:v>
                </c:pt>
                <c:pt idx="97">
                  <c:v>0.07731025920698062</c:v>
                </c:pt>
                <c:pt idx="98">
                  <c:v>0.08727276886210152</c:v>
                </c:pt>
                <c:pt idx="99">
                  <c:v>0.05799369497860621</c:v>
                </c:pt>
                <c:pt idx="100">
                  <c:v>0.09379772894974174</c:v>
                </c:pt>
                <c:pt idx="101">
                  <c:v>0.1385075214294338</c:v>
                </c:pt>
                <c:pt idx="102">
                  <c:v>0.12901560103645804</c:v>
                </c:pt>
                <c:pt idx="103">
                  <c:v>0.04889312868469201</c:v>
                </c:pt>
                <c:pt idx="104">
                  <c:v>0.0</c:v>
                </c:pt>
                <c:pt idx="105">
                  <c:v>0.0</c:v>
                </c:pt>
                <c:pt idx="106">
                  <c:v>0.0</c:v>
                </c:pt>
              </c:numCache>
            </c:numRef>
          </c:xVal>
          <c:yVal>
            <c:numRef>
              <c:f>Sheet1!$B$2:$B$108</c:f>
              <c:numCache>
                <c:formatCode>General</c:formatCode>
                <c:ptCount val="107"/>
                <c:pt idx="0">
                  <c:v>0.10479921645445642</c:v>
                </c:pt>
                <c:pt idx="1">
                  <c:v>0.10808435852372583</c:v>
                </c:pt>
                <c:pt idx="2">
                  <c:v>0.10614995787700084</c:v>
                </c:pt>
                <c:pt idx="3">
                  <c:v>0.10329067641681901</c:v>
                </c:pt>
                <c:pt idx="4">
                  <c:v>0.11726384364820847</c:v>
                </c:pt>
                <c:pt idx="5">
                  <c:v>0.10045248868778281</c:v>
                </c:pt>
                <c:pt idx="6">
                  <c:v>0.07947019867549669</c:v>
                </c:pt>
                <c:pt idx="7">
                  <c:v>0.08217913204062789</c:v>
                </c:pt>
                <c:pt idx="8">
                  <c:v>0.11440677966101695</c:v>
                </c:pt>
                <c:pt idx="9">
                  <c:v>0.10752688172043011</c:v>
                </c:pt>
                <c:pt idx="10">
                  <c:v>0.09786184210526316</c:v>
                </c:pt>
                <c:pt idx="11">
                  <c:v>0.09958847736625515</c:v>
                </c:pt>
                <c:pt idx="12">
                  <c:v>0.10932721712538226</c:v>
                </c:pt>
                <c:pt idx="13">
                  <c:v>0.14513274336283186</c:v>
                </c:pt>
                <c:pt idx="14">
                  <c:v>0.12465116279069767</c:v>
                </c:pt>
                <c:pt idx="15">
                  <c:v>0.1354916067146283</c:v>
                </c:pt>
                <c:pt idx="16">
                  <c:v>0.1494413407821229</c:v>
                </c:pt>
                <c:pt idx="17">
                  <c:v>0.14625850340136054</c:v>
                </c:pt>
                <c:pt idx="18">
                  <c:v>0.12153518123667377</c:v>
                </c:pt>
                <c:pt idx="19">
                  <c:v>0.09420289855072464</c:v>
                </c:pt>
                <c:pt idx="20">
                  <c:v>0.08853118712273642</c:v>
                </c:pt>
                <c:pt idx="21">
                  <c:v>0.09761904761904762</c:v>
                </c:pt>
                <c:pt idx="22">
                  <c:v>0.07462686567164178</c:v>
                </c:pt>
                <c:pt idx="23">
                  <c:v>0.08227848101265822</c:v>
                </c:pt>
                <c:pt idx="24">
                  <c:v>0.06923076923076923</c:v>
                </c:pt>
                <c:pt idx="25">
                  <c:v>0.07739938080495357</c:v>
                </c:pt>
                <c:pt idx="26">
                  <c:v>0.08211143695014662</c:v>
                </c:pt>
                <c:pt idx="27">
                  <c:v>0.07571801566579635</c:v>
                </c:pt>
                <c:pt idx="28">
                  <c:v>0.0641025641025641</c:v>
                </c:pt>
                <c:pt idx="29">
                  <c:v>0.07744107744107744</c:v>
                </c:pt>
                <c:pt idx="30">
                  <c:v>0.0684931506849315</c:v>
                </c:pt>
                <c:pt idx="31">
                  <c:v>0.03424657534246575</c:v>
                </c:pt>
                <c:pt idx="32">
                  <c:v>0.055944055944055944</c:v>
                </c:pt>
                <c:pt idx="33">
                  <c:v>0.06231454005934718</c:v>
                </c:pt>
                <c:pt idx="34">
                  <c:v>0.06129032258064516</c:v>
                </c:pt>
                <c:pt idx="35">
                  <c:v>0.052307692307692305</c:v>
                </c:pt>
                <c:pt idx="36">
                  <c:v>0.09064327485380116</c:v>
                </c:pt>
                <c:pt idx="37">
                  <c:v>0.07666666666666666</c:v>
                </c:pt>
                <c:pt idx="38">
                  <c:v>0.05501618122977346</c:v>
                </c:pt>
                <c:pt idx="39">
                  <c:v>0.05952380952380952</c:v>
                </c:pt>
                <c:pt idx="40">
                  <c:v>0.0670926517571885</c:v>
                </c:pt>
                <c:pt idx="41">
                  <c:v>0.0627062706270627</c:v>
                </c:pt>
                <c:pt idx="42">
                  <c:v>0.06472491909385113</c:v>
                </c:pt>
                <c:pt idx="43">
                  <c:v>0.06471816283924843</c:v>
                </c:pt>
                <c:pt idx="44">
                  <c:v>0.06236559139784946</c:v>
                </c:pt>
                <c:pt idx="45">
                  <c:v>0.07678075855689177</c:v>
                </c:pt>
                <c:pt idx="46">
                  <c:v>0.08647450110864745</c:v>
                </c:pt>
                <c:pt idx="47">
                  <c:v>0.09257473481195758</c:v>
                </c:pt>
                <c:pt idx="48">
                  <c:v>0.09935205183585313</c:v>
                </c:pt>
                <c:pt idx="49">
                  <c:v>0.10626076967260195</c:v>
                </c:pt>
                <c:pt idx="50">
                  <c:v>0.1075050709939148</c:v>
                </c:pt>
                <c:pt idx="51">
                  <c:v>0.08381839348079162</c:v>
                </c:pt>
                <c:pt idx="52">
                  <c:v>0.09180918091809182</c:v>
                </c:pt>
                <c:pt idx="53">
                  <c:v>0.07725788900979326</c:v>
                </c:pt>
                <c:pt idx="54">
                  <c:v>0.09080188679245282</c:v>
                </c:pt>
                <c:pt idx="55">
                  <c:v>0.06547619047619048</c:v>
                </c:pt>
                <c:pt idx="56">
                  <c:v>0.07372175980975029</c:v>
                </c:pt>
                <c:pt idx="57">
                  <c:v>0.0650994575045208</c:v>
                </c:pt>
                <c:pt idx="58">
                  <c:v>0.07410562180579217</c:v>
                </c:pt>
                <c:pt idx="59">
                  <c:v>0.0800875273522976</c:v>
                </c:pt>
                <c:pt idx="60">
                  <c:v>0.07749259624876605</c:v>
                </c:pt>
                <c:pt idx="61">
                  <c:v>0.09210526315789473</c:v>
                </c:pt>
                <c:pt idx="62">
                  <c:v>0.08611599297012303</c:v>
                </c:pt>
                <c:pt idx="63">
                  <c:v>0.08451704545454546</c:v>
                </c:pt>
                <c:pt idx="64">
                  <c:v>0.08304969366916269</c:v>
                </c:pt>
                <c:pt idx="65">
                  <c:v>0.06718528995756719</c:v>
                </c:pt>
                <c:pt idx="66">
                  <c:v>0.0781733746130031</c:v>
                </c:pt>
                <c:pt idx="67">
                  <c:v>0.07558644656820157</c:v>
                </c:pt>
                <c:pt idx="68">
                  <c:v>0.07676767676767676</c:v>
                </c:pt>
                <c:pt idx="69">
                  <c:v>0.06960227272727272</c:v>
                </c:pt>
                <c:pt idx="70">
                  <c:v>0.061813186813186816</c:v>
                </c:pt>
                <c:pt idx="71">
                  <c:v>0.07600596125186289</c:v>
                </c:pt>
                <c:pt idx="72">
                  <c:v>0.06766917293233082</c:v>
                </c:pt>
                <c:pt idx="73">
                  <c:v>0.07093425605536333</c:v>
                </c:pt>
                <c:pt idx="74">
                  <c:v>0.08196721311475409</c:v>
                </c:pt>
                <c:pt idx="75">
                  <c:v>0.08108108108108109</c:v>
                </c:pt>
                <c:pt idx="76">
                  <c:v>0.08</c:v>
                </c:pt>
                <c:pt idx="77">
                  <c:v>0.058524173027989825</c:v>
                </c:pt>
                <c:pt idx="78">
                  <c:v>0.07028753993610223</c:v>
                </c:pt>
                <c:pt idx="79">
                  <c:v>0.06896551724137931</c:v>
                </c:pt>
                <c:pt idx="80">
                  <c:v>0.05947955390334572</c:v>
                </c:pt>
                <c:pt idx="81">
                  <c:v>0.04559270516717325</c:v>
                </c:pt>
                <c:pt idx="82">
                  <c:v>0.05058365758754864</c:v>
                </c:pt>
                <c:pt idx="83">
                  <c:v>0.044534412955465584</c:v>
                </c:pt>
                <c:pt idx="84">
                  <c:v>0.05668016194331984</c:v>
                </c:pt>
                <c:pt idx="85">
                  <c:v>0.07777777777777778</c:v>
                </c:pt>
                <c:pt idx="86">
                  <c:v>0.07384615384615385</c:v>
                </c:pt>
                <c:pt idx="87">
                  <c:v>0.07878787878787878</c:v>
                </c:pt>
                <c:pt idx="88">
                  <c:v>0.08098591549295775</c:v>
                </c:pt>
                <c:pt idx="89">
                  <c:v>0.08394160583941605</c:v>
                </c:pt>
                <c:pt idx="90">
                  <c:v>0.07936507936507936</c:v>
                </c:pt>
                <c:pt idx="91">
                  <c:v>0.06716417910447761</c:v>
                </c:pt>
                <c:pt idx="92">
                  <c:v>0.07534246575342465</c:v>
                </c:pt>
                <c:pt idx="93">
                  <c:v>0.08076009501187649</c:v>
                </c:pt>
                <c:pt idx="94">
                  <c:v>0.06875</c:v>
                </c:pt>
                <c:pt idx="95">
                  <c:v>0.07583774250440917</c:v>
                </c:pt>
                <c:pt idx="96">
                  <c:v>0.08273381294964029</c:v>
                </c:pt>
                <c:pt idx="97">
                  <c:v>0.08492822966507177</c:v>
                </c:pt>
                <c:pt idx="98">
                  <c:v>0.0972644376899696</c:v>
                </c:pt>
                <c:pt idx="99">
                  <c:v>0.09732988802756244</c:v>
                </c:pt>
                <c:pt idx="100">
                  <c:v>0.11220779220779221</c:v>
                </c:pt>
                <c:pt idx="101">
                  <c:v>0.1128747795414462</c:v>
                </c:pt>
                <c:pt idx="102">
                  <c:v>0.10741138560687433</c:v>
                </c:pt>
                <c:pt idx="103">
                  <c:v>0.23158756137479541</c:v>
                </c:pt>
                <c:pt idx="104">
                  <c:v>0.18571428571428572</c:v>
                </c:pt>
                <c:pt idx="105">
                  <c:v>0.11868131868131868</c:v>
                </c:pt>
                <c:pt idx="106">
                  <c:v>0.12915129151291513</c:v>
                </c:pt>
              </c:numCache>
            </c:numRef>
          </c:yVal>
          <c:smooth val="0"/>
          <c:extLst>
            <c:ext xmlns:c16="http://schemas.microsoft.com/office/drawing/2014/chart" uri="{C3380CC4-5D6E-409C-BE32-E72D297353CC}">
              <c16:uniqueId val="{00000000-096C-4121-9522-6AB7243CCAAE}"/>
            </c:ext>
          </c:extLst>
        </c:ser>
        <c:ser>
          <c:idx val="1"/>
          <c:order val="1"/>
          <c:tx>
            <c:strRef>
              <c:f>Sheet1!$B$11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1:$A$160</c:f>
              <c:numCache>
                <c:formatCode>General</c:formatCode>
                <c:ptCount val="50"/>
                <c:pt idx="0">
                  <c:v>0.08095501861560672</c:v>
                </c:pt>
                <c:pt idx="1">
                  <c:v>0.10903417420757291</c:v>
                </c:pt>
                <c:pt idx="2">
                  <c:v>0.0829563425276609</c:v>
                </c:pt>
                <c:pt idx="3">
                  <c:v>0.07070241587010606</c:v>
                </c:pt>
                <c:pt idx="4">
                  <c:v>0.07333358574013268</c:v>
                </c:pt>
                <c:pt idx="5">
                  <c:v>0.08373075207138304</c:v>
                </c:pt>
                <c:pt idx="6">
                  <c:v>0.08817442571403616</c:v>
                </c:pt>
                <c:pt idx="7">
                  <c:v>0.18615980054264133</c:v>
                </c:pt>
                <c:pt idx="8">
                  <c:v>0.1652075491902021</c:v>
                </c:pt>
                <c:pt idx="9">
                  <c:v>0.10814179932033625</c:v>
                </c:pt>
                <c:pt idx="10">
                  <c:v>0.06782044923396521</c:v>
                </c:pt>
                <c:pt idx="11">
                  <c:v>0.18243719930392055</c:v>
                </c:pt>
                <c:pt idx="12">
                  <c:v>0.2096727339875488</c:v>
                </c:pt>
                <c:pt idx="13">
                  <c:v>0.23178164260266265</c:v>
                </c:pt>
                <c:pt idx="14">
                  <c:v>0.28676301904106444</c:v>
                </c:pt>
                <c:pt idx="15">
                  <c:v>0.23607323681796136</c:v>
                </c:pt>
                <c:pt idx="16">
                  <c:v>0.24650572595195136</c:v>
                </c:pt>
                <c:pt idx="17">
                  <c:v>0.17577391479911164</c:v>
                </c:pt>
                <c:pt idx="18">
                  <c:v>0.24507438000578985</c:v>
                </c:pt>
                <c:pt idx="19">
                  <c:v>0.1075417806137952</c:v>
                </c:pt>
                <c:pt idx="20">
                  <c:v>0.13434498132418862</c:v>
                </c:pt>
                <c:pt idx="21">
                  <c:v>0.12145601130589857</c:v>
                </c:pt>
                <c:pt idx="22">
                  <c:v>0.12594976322554458</c:v>
                </c:pt>
                <c:pt idx="23">
                  <c:v>0.22642937001856095</c:v>
                </c:pt>
                <c:pt idx="24">
                  <c:v>0.0878524705882353</c:v>
                </c:pt>
                <c:pt idx="25">
                  <c:v>0.09968099744245525</c:v>
                </c:pt>
                <c:pt idx="26">
                  <c:v>0.08533912236889048</c:v>
                </c:pt>
                <c:pt idx="27">
                  <c:v>0.131886892099275</c:v>
                </c:pt>
                <c:pt idx="28">
                  <c:v>0.2167156822107081</c:v>
                </c:pt>
                <c:pt idx="29">
                  <c:v>0.2099481554726489</c:v>
                </c:pt>
                <c:pt idx="30">
                  <c:v>0.1444412248114376</c:v>
                </c:pt>
                <c:pt idx="31">
                  <c:v>0.20748875119867324</c:v>
                </c:pt>
                <c:pt idx="32">
                  <c:v>0.16137386306846577</c:v>
                </c:pt>
                <c:pt idx="33">
                  <c:v>0.12880250482649375</c:v>
                </c:pt>
                <c:pt idx="34">
                  <c:v>0.10092451444012837</c:v>
                </c:pt>
                <c:pt idx="35">
                  <c:v>0.13845848572702943</c:v>
                </c:pt>
                <c:pt idx="36">
                  <c:v>0.1149291110505766</c:v>
                </c:pt>
                <c:pt idx="37">
                  <c:v>0.13148785425101214</c:v>
                </c:pt>
                <c:pt idx="38">
                  <c:v>0.08562495552731893</c:v>
                </c:pt>
                <c:pt idx="39">
                  <c:v>0.1830951526032316</c:v>
                </c:pt>
                <c:pt idx="40">
                  <c:v>0.24222892690513217</c:v>
                </c:pt>
                <c:pt idx="41">
                  <c:v>0.17827452107279695</c:v>
                </c:pt>
                <c:pt idx="42">
                  <c:v>0.28621106959639453</c:v>
                </c:pt>
                <c:pt idx="43">
                  <c:v>0.2567851964581996</c:v>
                </c:pt>
                <c:pt idx="44">
                  <c:v>0.19068008382489912</c:v>
                </c:pt>
                <c:pt idx="45">
                  <c:v>0.19130478102546442</c:v>
                </c:pt>
                <c:pt idx="46">
                  <c:v>0.19448056028172359</c:v>
                </c:pt>
                <c:pt idx="47">
                  <c:v>0.2509027086908648</c:v>
                </c:pt>
                <c:pt idx="48">
                  <c:v>0.279762375638141</c:v>
                </c:pt>
                <c:pt idx="49">
                  <c:v>0.2598311428389317</c:v>
                </c:pt>
              </c:numCache>
            </c:numRef>
          </c:xVal>
          <c:yVal>
            <c:numRef>
              <c:f>Sheet1!$B$111:$B$160</c:f>
              <c:numCache>
                <c:formatCode>General</c:formatCode>
                <c:ptCount val="50"/>
                <c:pt idx="0">
                  <c:v>0.11247130833970925</c:v>
                </c:pt>
                <c:pt idx="1">
                  <c:v>0.12895377128953772</c:v>
                </c:pt>
                <c:pt idx="2">
                  <c:v>0.13729508196721313</c:v>
                </c:pt>
                <c:pt idx="3">
                  <c:v>0.13156230234029095</c:v>
                </c:pt>
                <c:pt idx="4">
                  <c:v>0.14080459770114942</c:v>
                </c:pt>
                <c:pt idx="5">
                  <c:v>0.12446043165467625</c:v>
                </c:pt>
                <c:pt idx="6">
                  <c:v>0.13349368610944076</c:v>
                </c:pt>
                <c:pt idx="7">
                  <c:v>0.12653061224489795</c:v>
                </c:pt>
                <c:pt idx="8">
                  <c:v>0.12427184466019417</c:v>
                </c:pt>
                <c:pt idx="9">
                  <c:v>0.15329218106995884</c:v>
                </c:pt>
                <c:pt idx="10">
                  <c:v>0.14911660777385158</c:v>
                </c:pt>
                <c:pt idx="11">
                  <c:v>0.1423580786026201</c:v>
                </c:pt>
                <c:pt idx="12">
                  <c:v>0.12589285714285714</c:v>
                </c:pt>
                <c:pt idx="13">
                  <c:v>0.1393523061825319</c:v>
                </c:pt>
                <c:pt idx="14">
                  <c:v>0.12814895947426067</c:v>
                </c:pt>
                <c:pt idx="15">
                  <c:v>0.1270440251572327</c:v>
                </c:pt>
                <c:pt idx="16">
                  <c:v>0.11773049645390071</c:v>
                </c:pt>
                <c:pt idx="17">
                  <c:v>0.11538461538461539</c:v>
                </c:pt>
                <c:pt idx="18">
                  <c:v>0.12686567164179105</c:v>
                </c:pt>
                <c:pt idx="19">
                  <c:v>0.14534883720930233</c:v>
                </c:pt>
                <c:pt idx="20">
                  <c:v>0.15881326352530542</c:v>
                </c:pt>
                <c:pt idx="21">
                  <c:v>0.17132867132867133</c:v>
                </c:pt>
                <c:pt idx="22">
                  <c:v>0.1655773420479303</c:v>
                </c:pt>
                <c:pt idx="23">
                  <c:v>0.15037593984962405</c:v>
                </c:pt>
                <c:pt idx="24">
                  <c:v>0.12640449438202248</c:v>
                </c:pt>
                <c:pt idx="25">
                  <c:v>0.08611111111111111</c:v>
                </c:pt>
                <c:pt idx="26">
                  <c:v>0.10557184750733138</c:v>
                </c:pt>
                <c:pt idx="27">
                  <c:v>0.1226158038147139</c:v>
                </c:pt>
                <c:pt idx="28">
                  <c:v>0.12627986348122866</c:v>
                </c:pt>
                <c:pt idx="29">
                  <c:v>0.11673151750972763</c:v>
                </c:pt>
                <c:pt idx="30">
                  <c:v>0.1339712918660287</c:v>
                </c:pt>
                <c:pt idx="31">
                  <c:v>0.12941176470588237</c:v>
                </c:pt>
                <c:pt idx="32">
                  <c:v>0.1522491349480969</c:v>
                </c:pt>
                <c:pt idx="33">
                  <c:v>0.09455587392550144</c:v>
                </c:pt>
                <c:pt idx="34">
                  <c:v>0.1588235294117647</c:v>
                </c:pt>
                <c:pt idx="35">
                  <c:v>0.11057692307692307</c:v>
                </c:pt>
                <c:pt idx="36">
                  <c:v>0.11290322580645161</c:v>
                </c:pt>
                <c:pt idx="37">
                  <c:v>0.11406844106463879</c:v>
                </c:pt>
                <c:pt idx="38">
                  <c:v>0.10410958904109589</c:v>
                </c:pt>
                <c:pt idx="39">
                  <c:v>0.11461318051575932</c:v>
                </c:pt>
                <c:pt idx="40">
                  <c:v>0.12149532710280374</c:v>
                </c:pt>
                <c:pt idx="41">
                  <c:v>0.11546840958605664</c:v>
                </c:pt>
                <c:pt idx="42">
                  <c:v>0.11469534050179211</c:v>
                </c:pt>
                <c:pt idx="43">
                  <c:v>0.10575793184488837</c:v>
                </c:pt>
                <c:pt idx="44">
                  <c:v>0.10746268656716418</c:v>
                </c:pt>
                <c:pt idx="45">
                  <c:v>0.10904872389791183</c:v>
                </c:pt>
                <c:pt idx="46">
                  <c:v>0.09024979854955681</c:v>
                </c:pt>
                <c:pt idx="47">
                  <c:v>0.09739714525608732</c:v>
                </c:pt>
                <c:pt idx="48">
                  <c:v>0.13388110198163364</c:v>
                </c:pt>
                <c:pt idx="49">
                  <c:v>0.1397941680960548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9164233247533073</c:v>
                </c:pt>
              </c:numCache>
            </c:numRef>
          </c:xVal>
          <c:yVal>
            <c:numRef>
              <c:f>Sheet1!$B$163:$B$164</c:f>
              <c:numCache>
                <c:formatCode>General</c:formatCode>
                <c:ptCount val="2"/>
                <c:pt idx="0">
                  <c:v>0.13783393250504888</c:v>
                </c:pt>
                <c:pt idx="1">
                  <c:v>0.1378339325050488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9164233247533073</c:v>
                </c:pt>
                <c:pt idx="1">
                  <c:v>-0.09164233247533073</c:v>
                </c:pt>
              </c:numCache>
            </c:numRef>
          </c:xVal>
          <c:yVal>
            <c:numRef>
              <c:f>Sheet1!$B$167:$B$168</c:f>
              <c:numCache>
                <c:formatCode>General</c:formatCode>
                <c:ptCount val="2"/>
                <c:pt idx="0">
                  <c:v>0.137833932505048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25800384774852705</c:v>
                </c:pt>
              </c:numCache>
            </c:numRef>
          </c:xVal>
          <c:yVal>
            <c:numRef>
              <c:f>Sheet1!$B$171:$B$172</c:f>
              <c:numCache>
                <c:formatCode>General</c:formatCode>
                <c:ptCount val="2"/>
                <c:pt idx="0">
                  <c:v>0.13489382648295553</c:v>
                </c:pt>
                <c:pt idx="1">
                  <c:v>0.134893826482955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25800384774852705</c:v>
                </c:pt>
                <c:pt idx="1">
                  <c:v>-0.025800384774852705</c:v>
                </c:pt>
              </c:numCache>
            </c:numRef>
          </c:xVal>
          <c:yVal>
            <c:numRef>
              <c:f>Sheet1!$B$175:$B$176</c:f>
              <c:numCache>
                <c:formatCode>General</c:formatCode>
                <c:ptCount val="2"/>
                <c:pt idx="0">
                  <c:v>0.134893826482955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6614956618952824</c:v>
                </c:pt>
              </c:numCache>
            </c:numRef>
          </c:xVal>
          <c:yVal>
            <c:numRef>
              <c:f>Sheet1!$B$179:$B$180</c:f>
              <c:numCache>
                <c:formatCode>General</c:formatCode>
                <c:ptCount val="2"/>
                <c:pt idx="0">
                  <c:v>0.11292629569272641</c:v>
                </c:pt>
                <c:pt idx="1">
                  <c:v>0.112926295692726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6614956618952824</c:v>
                </c:pt>
                <c:pt idx="1">
                  <c:v>0.46614956618952824</c:v>
                </c:pt>
              </c:numCache>
            </c:numRef>
          </c:xVal>
          <c:yVal>
            <c:numRef>
              <c:f>Sheet1!$B$183:$B$184</c:f>
              <c:numCache>
                <c:formatCode>General</c:formatCode>
                <c:ptCount val="2"/>
                <c:pt idx="0">
                  <c:v>0.112926295692726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9</c:f>
              <c:numCache>
                <c:formatCode>General</c:formatCode>
                <c:ptCount val="53"/>
                <c:pt idx="0">
                  <c:v>0.08095501861560672</c:v>
                </c:pt>
                <c:pt idx="1">
                  <c:v>0.10903417420757291</c:v>
                </c:pt>
                <c:pt idx="2">
                  <c:v>0.0829563425276609</c:v>
                </c:pt>
                <c:pt idx="3">
                  <c:v>0.07070241587010606</c:v>
                </c:pt>
                <c:pt idx="4">
                  <c:v>0.07333358574013268</c:v>
                </c:pt>
                <c:pt idx="5">
                  <c:v>0.08373075207138304</c:v>
                </c:pt>
                <c:pt idx="6">
                  <c:v>0.08817442571403616</c:v>
                </c:pt>
                <c:pt idx="7">
                  <c:v>0.18615980054264133</c:v>
                </c:pt>
                <c:pt idx="8">
                  <c:v>0.1652075491902021</c:v>
                </c:pt>
                <c:pt idx="9">
                  <c:v>0.10814179932033625</c:v>
                </c:pt>
                <c:pt idx="10">
                  <c:v>0.06782044923396521</c:v>
                </c:pt>
                <c:pt idx="11">
                  <c:v>0.18243719930392055</c:v>
                </c:pt>
                <c:pt idx="12">
                  <c:v>0.2096727339875488</c:v>
                </c:pt>
                <c:pt idx="13">
                  <c:v>0.23178164260266265</c:v>
                </c:pt>
                <c:pt idx="14">
                  <c:v>0.28676301904106444</c:v>
                </c:pt>
                <c:pt idx="15">
                  <c:v>0.23607323681796136</c:v>
                </c:pt>
                <c:pt idx="16">
                  <c:v>0.24650572595195136</c:v>
                </c:pt>
                <c:pt idx="17">
                  <c:v>0.17577391479911164</c:v>
                </c:pt>
                <c:pt idx="18">
                  <c:v>0.24507438000578985</c:v>
                </c:pt>
                <c:pt idx="19">
                  <c:v>0.1075417806137952</c:v>
                </c:pt>
                <c:pt idx="20">
                  <c:v>0.13434498132418862</c:v>
                </c:pt>
                <c:pt idx="21">
                  <c:v>0.12145601130589857</c:v>
                </c:pt>
                <c:pt idx="22">
                  <c:v>0.12594976322554458</c:v>
                </c:pt>
                <c:pt idx="23">
                  <c:v>0.22642937001856095</c:v>
                </c:pt>
                <c:pt idx="24">
                  <c:v>0.0878524705882353</c:v>
                </c:pt>
                <c:pt idx="25">
                  <c:v>0.09968099744245525</c:v>
                </c:pt>
                <c:pt idx="26">
                  <c:v>0.08533912236889048</c:v>
                </c:pt>
                <c:pt idx="27">
                  <c:v>0.131886892099275</c:v>
                </c:pt>
                <c:pt idx="28">
                  <c:v>0.2167156822107081</c:v>
                </c:pt>
                <c:pt idx="29">
                  <c:v>0.2099481554726489</c:v>
                </c:pt>
                <c:pt idx="30">
                  <c:v>0.1444412248114376</c:v>
                </c:pt>
                <c:pt idx="31">
                  <c:v>0.20748875119867324</c:v>
                </c:pt>
                <c:pt idx="32">
                  <c:v>0.16137386306846577</c:v>
                </c:pt>
                <c:pt idx="33">
                  <c:v>0.12880250482649375</c:v>
                </c:pt>
                <c:pt idx="34">
                  <c:v>0.10092451444012837</c:v>
                </c:pt>
                <c:pt idx="35">
                  <c:v>0.13845848572702943</c:v>
                </c:pt>
                <c:pt idx="36">
                  <c:v>0.1149291110505766</c:v>
                </c:pt>
                <c:pt idx="37">
                  <c:v>0.13148785425101214</c:v>
                </c:pt>
                <c:pt idx="38">
                  <c:v>0.08562495552731893</c:v>
                </c:pt>
                <c:pt idx="39">
                  <c:v>0.1830951526032316</c:v>
                </c:pt>
                <c:pt idx="40">
                  <c:v>0.24222892690513217</c:v>
                </c:pt>
                <c:pt idx="41">
                  <c:v>0.17827452107279695</c:v>
                </c:pt>
                <c:pt idx="42">
                  <c:v>0.28621106959639453</c:v>
                </c:pt>
                <c:pt idx="43">
                  <c:v>0.2567851964581996</c:v>
                </c:pt>
                <c:pt idx="44">
                  <c:v>0.19068008382489912</c:v>
                </c:pt>
                <c:pt idx="45">
                  <c:v>0.19130478102546442</c:v>
                </c:pt>
                <c:pt idx="46">
                  <c:v>0.19448056028172359</c:v>
                </c:pt>
                <c:pt idx="47">
                  <c:v>0.2509027086908648</c:v>
                </c:pt>
                <c:pt idx="48">
                  <c:v>0.279762375638141</c:v>
                </c:pt>
                <c:pt idx="49">
                  <c:v>0.2598311428389317</c:v>
                </c:pt>
                <c:pt idx="50">
                  <c:v>-0.025800384774852705</c:v>
                </c:pt>
                <c:pt idx="51">
                  <c:v>-0.09164233247533073</c:v>
                </c:pt>
                <c:pt idx="52">
                  <c:v>0.46614956618952824</c:v>
                </c:pt>
              </c:numCache>
            </c:numRef>
          </c:xVal>
          <c:yVal>
            <c:numRef>
              <c:f>Sheet1!$B$187:$B$239</c:f>
              <c:numCache>
                <c:formatCode>General</c:formatCode>
                <c:ptCount val="53"/>
                <c:pt idx="0">
                  <c:v>0.1301267712034378</c:v>
                </c:pt>
                <c:pt idx="1">
                  <c:v>0.12887292472206105</c:v>
                </c:pt>
                <c:pt idx="2">
                  <c:v>0.13003740409490758</c:v>
                </c:pt>
                <c:pt idx="3">
                  <c:v>0.13058459087808205</c:v>
                </c:pt>
                <c:pt idx="4">
                  <c:v>0.130467098631115</c:v>
                </c:pt>
                <c:pt idx="5">
                  <c:v>0.13000282361479445</c:v>
                </c:pt>
                <c:pt idx="6">
                  <c:v>0.1298043958329127</c:v>
                </c:pt>
                <c:pt idx="7">
                  <c:v>0.12542895736743478</c:v>
                </c:pt>
                <c:pt idx="8">
                  <c:v>0.1263645591005116</c:v>
                </c:pt>
                <c:pt idx="9">
                  <c:v>0.12891277282606708</c:v>
                </c:pt>
                <c:pt idx="10">
                  <c:v>0.13071328220266035</c:v>
                </c:pt>
                <c:pt idx="11">
                  <c:v>0.12559518638559208</c:v>
                </c:pt>
                <c:pt idx="12">
                  <c:v>0.12437901094827758</c:v>
                </c:pt>
                <c:pt idx="13">
                  <c:v>0.12339175984724832</c:v>
                </c:pt>
                <c:pt idx="14">
                  <c:v>0.12093662172307108</c:v>
                </c:pt>
                <c:pt idx="15">
                  <c:v>0.12320012301939838</c:v>
                </c:pt>
                <c:pt idx="16">
                  <c:v>0.12273427069881089</c:v>
                </c:pt>
                <c:pt idx="17">
                  <c:v>0.12589272866044443</c:v>
                </c:pt>
                <c:pt idx="18">
                  <c:v>0.12279818601394028</c:v>
                </c:pt>
                <c:pt idx="19">
                  <c:v>0.12893956605855916</c:v>
                </c:pt>
                <c:pt idx="20">
                  <c:v>0.12774269606044653</c:v>
                </c:pt>
                <c:pt idx="21">
                  <c:v>0.12831824006685627</c:v>
                </c:pt>
                <c:pt idx="22">
                  <c:v>0.12811757608982985</c:v>
                </c:pt>
                <c:pt idx="23">
                  <c:v>0.1236307602019764</c:v>
                </c:pt>
                <c:pt idx="24">
                  <c:v>0.1298187724155818</c:v>
                </c:pt>
                <c:pt idx="25">
                  <c:v>0.12929058143321914</c:v>
                </c:pt>
                <c:pt idx="26">
                  <c:v>0.12993100345511496</c:v>
                </c:pt>
                <c:pt idx="27">
                  <c:v>0.12785245956510297</c:v>
                </c:pt>
                <c:pt idx="28">
                  <c:v>0.12406451517153656</c:v>
                </c:pt>
                <c:pt idx="29">
                  <c:v>0.12436671227858086</c:v>
                </c:pt>
                <c:pt idx="30">
                  <c:v>0.1272918584513828</c:v>
                </c:pt>
                <c:pt idx="31">
                  <c:v>0.12447653450543192</c:v>
                </c:pt>
                <c:pt idx="32">
                  <c:v>0.12653574850251118</c:v>
                </c:pt>
                <c:pt idx="33">
                  <c:v>0.12799018977983515</c:v>
                </c:pt>
                <c:pt idx="34">
                  <c:v>0.12923505343106972</c:v>
                </c:pt>
                <c:pt idx="35">
                  <c:v>0.12755901165424216</c:v>
                </c:pt>
                <c:pt idx="36">
                  <c:v>0.12860969224007526</c:v>
                </c:pt>
                <c:pt idx="37">
                  <c:v>0.12787027819929736</c:v>
                </c:pt>
                <c:pt idx="38">
                  <c:v>0.12991823986260653</c:v>
                </c:pt>
                <c:pt idx="39">
                  <c:v>0.1255658061420677</c:v>
                </c:pt>
                <c:pt idx="40">
                  <c:v>0.12292524686327733</c:v>
                </c:pt>
                <c:pt idx="41">
                  <c:v>0.12578106659969265</c:v>
                </c:pt>
                <c:pt idx="42">
                  <c:v>0.12096126847097027</c:v>
                </c:pt>
                <c:pt idx="43">
                  <c:v>0.12227525127130492</c:v>
                </c:pt>
                <c:pt idx="44">
                  <c:v>0.1252271086590674</c:v>
                </c:pt>
                <c:pt idx="45">
                  <c:v>0.12519921343321955</c:v>
                </c:pt>
                <c:pt idx="46">
                  <c:v>0.12505740220128816</c:v>
                </c:pt>
                <c:pt idx="47">
                  <c:v>0.12253792785232451</c:v>
                </c:pt>
                <c:pt idx="48">
                  <c:v>0.12124922842056879</c:v>
                </c:pt>
                <c:pt idx="49">
                  <c:v>0.12213923759598501</c:v>
                </c:pt>
                <c:pt idx="50">
                  <c:v>0.13489382648295553</c:v>
                </c:pt>
                <c:pt idx="51">
                  <c:v>0.13783393250504888</c:v>
                </c:pt>
                <c:pt idx="52">
                  <c:v>0.112926295692726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79050736497545"/>
          <c:min val="0.02739726027397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8.514</c:v>
                </c:pt>
                <c:pt idx="1">
                  <c:v>854.4065</c:v>
                </c:pt>
                <c:pt idx="2">
                  <c:v>942.6825</c:v>
                </c:pt>
                <c:pt idx="3">
                  <c:v>926.0177</c:v>
                </c:pt>
                <c:pt idx="4">
                  <c:v>897.7778</c:v>
                </c:pt>
                <c:pt idx="5">
                  <c:v>899.5495</c:v>
                </c:pt>
                <c:pt idx="6">
                  <c:v>911.6667</c:v>
                </c:pt>
                <c:pt idx="7">
                  <c:v>920.7079</c:v>
                </c:pt>
                <c:pt idx="8">
                  <c:v>863.8333</c:v>
                </c:pt>
                <c:pt idx="9">
                  <c:v>862.925</c:v>
                </c:pt>
                <c:pt idx="10">
                  <c:v>894.7395</c:v>
                </c:pt>
                <c:pt idx="11">
                  <c:v>870.9917</c:v>
                </c:pt>
                <c:pt idx="12">
                  <c:v>837.6993</c:v>
                </c:pt>
                <c:pt idx="13">
                  <c:v>802.8841</c:v>
                </c:pt>
                <c:pt idx="14">
                  <c:v>880.3731</c:v>
                </c:pt>
                <c:pt idx="15">
                  <c:v>910.0619</c:v>
                </c:pt>
                <c:pt idx="16">
                  <c:v>900.3738</c:v>
                </c:pt>
                <c:pt idx="17">
                  <c:v>928.7907</c:v>
                </c:pt>
                <c:pt idx="18">
                  <c:v>946.2982</c:v>
                </c:pt>
                <c:pt idx="19">
                  <c:v>1015.641</c:v>
                </c:pt>
                <c:pt idx="20">
                  <c:v>970.0227</c:v>
                </c:pt>
                <c:pt idx="21">
                  <c:v>932.5122</c:v>
                </c:pt>
                <c:pt idx="22">
                  <c:v>991.4</c:v>
                </c:pt>
                <c:pt idx="23">
                  <c:v>954.3462</c:v>
                </c:pt>
                <c:pt idx="24">
                  <c:v>963.6667</c:v>
                </c:pt>
                <c:pt idx="25">
                  <c:v>955.8</c:v>
                </c:pt>
                <c:pt idx="26">
                  <c:v>958.2857</c:v>
                </c:pt>
                <c:pt idx="27">
                  <c:v>913.2759</c:v>
                </c:pt>
                <c:pt idx="28">
                  <c:v>940.55</c:v>
                </c:pt>
                <c:pt idx="29">
                  <c:v>885.0435</c:v>
                </c:pt>
                <c:pt idx="30">
                  <c:v>876.5333</c:v>
                </c:pt>
                <c:pt idx="31">
                  <c:v>992.8</c:v>
                </c:pt>
                <c:pt idx="32">
                  <c:v>1005.5625</c:v>
                </c:pt>
                <c:pt idx="33">
                  <c:v>1003.6667</c:v>
                </c:pt>
                <c:pt idx="34">
                  <c:v>978.5789</c:v>
                </c:pt>
                <c:pt idx="35">
                  <c:v>1022.8235</c:v>
                </c:pt>
                <c:pt idx="36">
                  <c:v>878.0645</c:v>
                </c:pt>
                <c:pt idx="37">
                  <c:v>1000.5217</c:v>
                </c:pt>
                <c:pt idx="38">
                  <c:v>1075.4118</c:v>
                </c:pt>
                <c:pt idx="39">
                  <c:v>1213.2667</c:v>
                </c:pt>
                <c:pt idx="40">
                  <c:v>1186.8571</c:v>
                </c:pt>
                <c:pt idx="41">
                  <c:v>1256.2105</c:v>
                </c:pt>
                <c:pt idx="42">
                  <c:v>1360.5</c:v>
                </c:pt>
                <c:pt idx="43">
                  <c:v>1324.0968</c:v>
                </c:pt>
                <c:pt idx="44">
                  <c:v>1171.931</c:v>
                </c:pt>
                <c:pt idx="45">
                  <c:v>1028.3373</c:v>
                </c:pt>
                <c:pt idx="46">
                  <c:v>1065.9744</c:v>
                </c:pt>
                <c:pt idx="47">
                  <c:v>1075.9583</c:v>
                </c:pt>
                <c:pt idx="48">
                  <c:v>1057.7681</c:v>
                </c:pt>
                <c:pt idx="49">
                  <c:v>1029.1405</c:v>
                </c:pt>
                <c:pt idx="50">
                  <c:v>1026.566</c:v>
                </c:pt>
                <c:pt idx="51">
                  <c:v>1061.0139</c:v>
                </c:pt>
                <c:pt idx="52">
                  <c:v>1086.0784</c:v>
                </c:pt>
                <c:pt idx="53">
                  <c:v>1137.8028</c:v>
                </c:pt>
                <c:pt idx="54">
                  <c:v>1195.2468</c:v>
                </c:pt>
                <c:pt idx="55">
                  <c:v>1233.8545</c:v>
                </c:pt>
                <c:pt idx="56">
                  <c:v>1240.4839</c:v>
                </c:pt>
                <c:pt idx="57">
                  <c:v>1242.625</c:v>
                </c:pt>
                <c:pt idx="58">
                  <c:v>1207.8391</c:v>
                </c:pt>
                <c:pt idx="59">
                  <c:v>1122.1475</c:v>
                </c:pt>
                <c:pt idx="60">
                  <c:v>1123.7516</c:v>
                </c:pt>
                <c:pt idx="61">
                  <c:v>1153.8319</c:v>
                </c:pt>
                <c:pt idx="62">
                  <c:v>1164.449</c:v>
                </c:pt>
                <c:pt idx="63">
                  <c:v>1088.9832</c:v>
                </c:pt>
                <c:pt idx="64">
                  <c:v>1122.5656</c:v>
                </c:pt>
                <c:pt idx="65">
                  <c:v>1160.0947</c:v>
                </c:pt>
                <c:pt idx="66">
                  <c:v>1123.3564</c:v>
                </c:pt>
                <c:pt idx="67">
                  <c:v>1165.3563</c:v>
                </c:pt>
                <c:pt idx="68">
                  <c:v>1189.9474</c:v>
                </c:pt>
                <c:pt idx="69">
                  <c:v>1249.7551</c:v>
                </c:pt>
                <c:pt idx="70">
                  <c:v>1259.9111</c:v>
                </c:pt>
                <c:pt idx="71">
                  <c:v>1242.6078</c:v>
                </c:pt>
                <c:pt idx="72">
                  <c:v>1341.7111</c:v>
                </c:pt>
                <c:pt idx="73">
                  <c:v>1295.5366</c:v>
                </c:pt>
                <c:pt idx="74">
                  <c:v>1240.6</c:v>
                </c:pt>
                <c:pt idx="75">
                  <c:v>1236.1667</c:v>
                </c:pt>
                <c:pt idx="76">
                  <c:v>1201.3</c:v>
                </c:pt>
                <c:pt idx="77">
                  <c:v>1228.0435</c:v>
                </c:pt>
                <c:pt idx="78">
                  <c:v>1170.6818</c:v>
                </c:pt>
                <c:pt idx="79">
                  <c:v>1138.4</c:v>
                </c:pt>
                <c:pt idx="80">
                  <c:v>1227.5</c:v>
                </c:pt>
                <c:pt idx="81">
                  <c:v>1230.9333</c:v>
                </c:pt>
                <c:pt idx="82">
                  <c:v>1281.3846</c:v>
                </c:pt>
                <c:pt idx="83">
                  <c:v>1447.2727</c:v>
                </c:pt>
                <c:pt idx="84">
                  <c:v>1472.4286</c:v>
                </c:pt>
                <c:pt idx="85">
                  <c:v>1347.0</c:v>
                </c:pt>
                <c:pt idx="86">
                  <c:v>1214.7083</c:v>
                </c:pt>
                <c:pt idx="87">
                  <c:v>1277.8077</c:v>
                </c:pt>
                <c:pt idx="88">
                  <c:v>1188.9565</c:v>
                </c:pt>
                <c:pt idx="89">
                  <c:v>1194.4348</c:v>
                </c:pt>
                <c:pt idx="90">
                  <c:v>1245.6</c:v>
                </c:pt>
                <c:pt idx="91">
                  <c:v>1306.5556</c:v>
                </c:pt>
                <c:pt idx="92">
                  <c:v>1241.0606</c:v>
                </c:pt>
                <c:pt idx="93">
                  <c:v>1244.0294</c:v>
                </c:pt>
                <c:pt idx="94">
                  <c:v>1340.5</c:v>
                </c:pt>
                <c:pt idx="95">
                  <c:v>1241.3953</c:v>
                </c:pt>
                <c:pt idx="96">
                  <c:v>1243.3478</c:v>
                </c:pt>
                <c:pt idx="97">
                  <c:v>1204.9577</c:v>
                </c:pt>
                <c:pt idx="98">
                  <c:v>1201.8333</c:v>
                </c:pt>
                <c:pt idx="99">
                  <c:v>1179.1858</c:v>
                </c:pt>
                <c:pt idx="100">
                  <c:v>1144.0509</c:v>
                </c:pt>
                <c:pt idx="101">
                  <c:v>1147.2578</c:v>
                </c:pt>
                <c:pt idx="102">
                  <c:v>1182.6</c:v>
                </c:pt>
                <c:pt idx="103">
                  <c:v>481.0106</c:v>
                </c:pt>
                <c:pt idx="104">
                  <c:v>605.9774</c:v>
                </c:pt>
              </c:numCache>
            </c:numRef>
          </c:xVal>
          <c:yVal>
            <c:numRef>
              <c:f>Sheet1!$B$2:$B$106</c:f>
              <c:numCache>
                <c:formatCode>General</c:formatCode>
                <c:ptCount val="105"/>
                <c:pt idx="0">
                  <c:v>0.10479921645445642</c:v>
                </c:pt>
                <c:pt idx="1">
                  <c:v>0.10808435852372583</c:v>
                </c:pt>
                <c:pt idx="2">
                  <c:v>0.10614995787700084</c:v>
                </c:pt>
                <c:pt idx="3">
                  <c:v>0.10329067641681901</c:v>
                </c:pt>
                <c:pt idx="4">
                  <c:v>0.11726384364820847</c:v>
                </c:pt>
                <c:pt idx="5">
                  <c:v>0.10045248868778281</c:v>
                </c:pt>
                <c:pt idx="6">
                  <c:v>0.07947019867549669</c:v>
                </c:pt>
                <c:pt idx="7">
                  <c:v>0.08217913204062789</c:v>
                </c:pt>
                <c:pt idx="8">
                  <c:v>0.11440677966101695</c:v>
                </c:pt>
                <c:pt idx="9">
                  <c:v>0.10752688172043011</c:v>
                </c:pt>
                <c:pt idx="10">
                  <c:v>0.09786184210526316</c:v>
                </c:pt>
                <c:pt idx="11">
                  <c:v>0.09958847736625515</c:v>
                </c:pt>
                <c:pt idx="12">
                  <c:v>0.10932721712538226</c:v>
                </c:pt>
                <c:pt idx="13">
                  <c:v>0.14513274336283186</c:v>
                </c:pt>
                <c:pt idx="14">
                  <c:v>0.12465116279069767</c:v>
                </c:pt>
                <c:pt idx="15">
                  <c:v>0.1354916067146283</c:v>
                </c:pt>
                <c:pt idx="16">
                  <c:v>0.1494413407821229</c:v>
                </c:pt>
                <c:pt idx="17">
                  <c:v>0.14625850340136054</c:v>
                </c:pt>
                <c:pt idx="18">
                  <c:v>0.12153518123667377</c:v>
                </c:pt>
                <c:pt idx="19">
                  <c:v>0.09420289855072464</c:v>
                </c:pt>
                <c:pt idx="20">
                  <c:v>0.08853118712273642</c:v>
                </c:pt>
                <c:pt idx="21">
                  <c:v>0.09761904761904762</c:v>
                </c:pt>
                <c:pt idx="22">
                  <c:v>0.07462686567164178</c:v>
                </c:pt>
                <c:pt idx="23">
                  <c:v>0.08227848101265822</c:v>
                </c:pt>
                <c:pt idx="24">
                  <c:v>0.06923076923076923</c:v>
                </c:pt>
                <c:pt idx="25">
                  <c:v>0.07739938080495357</c:v>
                </c:pt>
                <c:pt idx="26">
                  <c:v>0.08211143695014662</c:v>
                </c:pt>
                <c:pt idx="27">
                  <c:v>0.07571801566579635</c:v>
                </c:pt>
                <c:pt idx="28">
                  <c:v>0.0641025641025641</c:v>
                </c:pt>
                <c:pt idx="29">
                  <c:v>0.07744107744107744</c:v>
                </c:pt>
                <c:pt idx="30">
                  <c:v>0.0684931506849315</c:v>
                </c:pt>
                <c:pt idx="31">
                  <c:v>0.03424657534246575</c:v>
                </c:pt>
                <c:pt idx="32">
                  <c:v>0.055944055944055944</c:v>
                </c:pt>
                <c:pt idx="33">
                  <c:v>0.06231454005934718</c:v>
                </c:pt>
                <c:pt idx="34">
                  <c:v>0.06129032258064516</c:v>
                </c:pt>
                <c:pt idx="35">
                  <c:v>0.052307692307692305</c:v>
                </c:pt>
                <c:pt idx="36">
                  <c:v>0.09064327485380116</c:v>
                </c:pt>
                <c:pt idx="37">
                  <c:v>0.07666666666666666</c:v>
                </c:pt>
                <c:pt idx="38">
                  <c:v>0.05501618122977346</c:v>
                </c:pt>
                <c:pt idx="39">
                  <c:v>0.05952380952380952</c:v>
                </c:pt>
                <c:pt idx="40">
                  <c:v>0.0670926517571885</c:v>
                </c:pt>
                <c:pt idx="41">
                  <c:v>0.0627062706270627</c:v>
                </c:pt>
                <c:pt idx="42">
                  <c:v>0.06472491909385113</c:v>
                </c:pt>
                <c:pt idx="43">
                  <c:v>0.06471816283924843</c:v>
                </c:pt>
                <c:pt idx="44">
                  <c:v>0.06236559139784946</c:v>
                </c:pt>
                <c:pt idx="45">
                  <c:v>0.07678075855689177</c:v>
                </c:pt>
                <c:pt idx="46">
                  <c:v>0.08647450110864745</c:v>
                </c:pt>
                <c:pt idx="47">
                  <c:v>0.09257473481195758</c:v>
                </c:pt>
                <c:pt idx="48">
                  <c:v>0.09935205183585313</c:v>
                </c:pt>
                <c:pt idx="49">
                  <c:v>0.10626076967260195</c:v>
                </c:pt>
                <c:pt idx="50">
                  <c:v>0.1075050709939148</c:v>
                </c:pt>
                <c:pt idx="51">
                  <c:v>0.08381839348079162</c:v>
                </c:pt>
                <c:pt idx="52">
                  <c:v>0.09180918091809182</c:v>
                </c:pt>
                <c:pt idx="53">
                  <c:v>0.07725788900979326</c:v>
                </c:pt>
                <c:pt idx="54">
                  <c:v>0.09080188679245282</c:v>
                </c:pt>
                <c:pt idx="55">
                  <c:v>0.06547619047619048</c:v>
                </c:pt>
                <c:pt idx="56">
                  <c:v>0.07372175980975029</c:v>
                </c:pt>
                <c:pt idx="57">
                  <c:v>0.0650994575045208</c:v>
                </c:pt>
                <c:pt idx="58">
                  <c:v>0.07410562180579217</c:v>
                </c:pt>
                <c:pt idx="59">
                  <c:v>0.0800875273522976</c:v>
                </c:pt>
                <c:pt idx="60">
                  <c:v>0.07749259624876605</c:v>
                </c:pt>
                <c:pt idx="61">
                  <c:v>0.09210526315789473</c:v>
                </c:pt>
                <c:pt idx="62">
                  <c:v>0.08611599297012303</c:v>
                </c:pt>
                <c:pt idx="63">
                  <c:v>0.08451704545454546</c:v>
                </c:pt>
                <c:pt idx="64">
                  <c:v>0.08304969366916269</c:v>
                </c:pt>
                <c:pt idx="65">
                  <c:v>0.06718528995756719</c:v>
                </c:pt>
                <c:pt idx="66">
                  <c:v>0.0781733746130031</c:v>
                </c:pt>
                <c:pt idx="67">
                  <c:v>0.07558644656820157</c:v>
                </c:pt>
                <c:pt idx="68">
                  <c:v>0.07676767676767676</c:v>
                </c:pt>
                <c:pt idx="69">
                  <c:v>0.06960227272727272</c:v>
                </c:pt>
                <c:pt idx="70">
                  <c:v>0.061813186813186816</c:v>
                </c:pt>
                <c:pt idx="71">
                  <c:v>0.07600596125186289</c:v>
                </c:pt>
                <c:pt idx="72">
                  <c:v>0.06766917293233082</c:v>
                </c:pt>
                <c:pt idx="73">
                  <c:v>0.07093425605536333</c:v>
                </c:pt>
                <c:pt idx="74">
                  <c:v>0.08196721311475409</c:v>
                </c:pt>
                <c:pt idx="75">
                  <c:v>0.08108108108108109</c:v>
                </c:pt>
                <c:pt idx="76">
                  <c:v>0.08</c:v>
                </c:pt>
                <c:pt idx="77">
                  <c:v>0.058524173027989825</c:v>
                </c:pt>
                <c:pt idx="78">
                  <c:v>0.07028753993610223</c:v>
                </c:pt>
                <c:pt idx="79">
                  <c:v>0.06896551724137931</c:v>
                </c:pt>
                <c:pt idx="80">
                  <c:v>0.05947955390334572</c:v>
                </c:pt>
                <c:pt idx="81">
                  <c:v>0.04559270516717325</c:v>
                </c:pt>
                <c:pt idx="82">
                  <c:v>0.05058365758754864</c:v>
                </c:pt>
                <c:pt idx="83">
                  <c:v>0.044534412955465584</c:v>
                </c:pt>
                <c:pt idx="84">
                  <c:v>0.05668016194331984</c:v>
                </c:pt>
                <c:pt idx="85">
                  <c:v>0.07777777777777778</c:v>
                </c:pt>
                <c:pt idx="86">
                  <c:v>0.07384615384615385</c:v>
                </c:pt>
                <c:pt idx="87">
                  <c:v>0.07878787878787878</c:v>
                </c:pt>
                <c:pt idx="88">
                  <c:v>0.08098591549295775</c:v>
                </c:pt>
                <c:pt idx="89">
                  <c:v>0.08394160583941605</c:v>
                </c:pt>
                <c:pt idx="90">
                  <c:v>0.07936507936507936</c:v>
                </c:pt>
                <c:pt idx="91">
                  <c:v>0.06716417910447761</c:v>
                </c:pt>
                <c:pt idx="92">
                  <c:v>0.07534246575342465</c:v>
                </c:pt>
                <c:pt idx="93">
                  <c:v>0.08076009501187649</c:v>
                </c:pt>
                <c:pt idx="94">
                  <c:v>0.06875</c:v>
                </c:pt>
                <c:pt idx="95">
                  <c:v>0.07583774250440917</c:v>
                </c:pt>
                <c:pt idx="96">
                  <c:v>0.08273381294964029</c:v>
                </c:pt>
                <c:pt idx="97">
                  <c:v>0.08492822966507177</c:v>
                </c:pt>
                <c:pt idx="98">
                  <c:v>0.0972644376899696</c:v>
                </c:pt>
                <c:pt idx="99">
                  <c:v>0.09732988802756244</c:v>
                </c:pt>
                <c:pt idx="100">
                  <c:v>0.11220779220779221</c:v>
                </c:pt>
                <c:pt idx="101">
                  <c:v>0.1128747795414462</c:v>
                </c:pt>
                <c:pt idx="102">
                  <c:v>0.10741138560687433</c:v>
                </c:pt>
                <c:pt idx="103">
                  <c:v>0.23158756137479541</c:v>
                </c:pt>
                <c:pt idx="104">
                  <c:v>0.185714285714285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5.449</c:v>
                </c:pt>
                <c:pt idx="1">
                  <c:v>1078.4025</c:v>
                </c:pt>
                <c:pt idx="2">
                  <c:v>1064.6617</c:v>
                </c:pt>
                <c:pt idx="3">
                  <c:v>1079.9087</c:v>
                </c:pt>
                <c:pt idx="4">
                  <c:v>1094.3571</c:v>
                </c:pt>
                <c:pt idx="5">
                  <c:v>1050.9884</c:v>
                </c:pt>
                <c:pt idx="6">
                  <c:v>1009.509</c:v>
                </c:pt>
                <c:pt idx="7">
                  <c:v>1193.6759</c:v>
                </c:pt>
                <c:pt idx="8">
                  <c:v>1269.3306</c:v>
                </c:pt>
                <c:pt idx="9">
                  <c:v>1234.2656</c:v>
                </c:pt>
                <c:pt idx="10">
                  <c:v>1209.2416</c:v>
                </c:pt>
                <c:pt idx="11">
                  <c:v>1044.7062</c:v>
                </c:pt>
                <c:pt idx="12">
                  <c:v>1069.3374</c:v>
                </c:pt>
                <c:pt idx="13">
                  <c:v>1192.2411</c:v>
                </c:pt>
                <c:pt idx="14">
                  <c:v>1236.0915</c:v>
                </c:pt>
                <c:pt idx="15">
                  <c:v>1250.0</c:v>
                </c:pt>
                <c:pt idx="16">
                  <c:v>1279.8317</c:v>
                </c:pt>
                <c:pt idx="17">
                  <c:v>1297.9759</c:v>
                </c:pt>
                <c:pt idx="18">
                  <c:v>1305.9123</c:v>
                </c:pt>
                <c:pt idx="19">
                  <c:v>1269.8529</c:v>
                </c:pt>
                <c:pt idx="20">
                  <c:v>1061.76</c:v>
                </c:pt>
                <c:pt idx="21">
                  <c:v>914.9341</c:v>
                </c:pt>
                <c:pt idx="22">
                  <c:v>902.3878</c:v>
                </c:pt>
                <c:pt idx="23">
                  <c:v>930.8947</c:v>
                </c:pt>
                <c:pt idx="24">
                  <c:v>1036.9333</c:v>
                </c:pt>
                <c:pt idx="25">
                  <c:v>1045.4444</c:v>
                </c:pt>
                <c:pt idx="26">
                  <c:v>1169.2581</c:v>
                </c:pt>
                <c:pt idx="27">
                  <c:v>1196.0278</c:v>
                </c:pt>
                <c:pt idx="28">
                  <c:v>1246.1333</c:v>
                </c:pt>
                <c:pt idx="29">
                  <c:v>1254.7838</c:v>
                </c:pt>
                <c:pt idx="30">
                  <c:v>1214.9</c:v>
                </c:pt>
                <c:pt idx="31">
                  <c:v>1283.0714</c:v>
                </c:pt>
                <c:pt idx="32">
                  <c:v>1255.0303</c:v>
                </c:pt>
                <c:pt idx="33">
                  <c:v>1291.6364</c:v>
                </c:pt>
                <c:pt idx="34">
                  <c:v>1300.9697</c:v>
                </c:pt>
                <c:pt idx="35">
                  <c:v>1277.7714</c:v>
                </c:pt>
                <c:pt idx="36">
                  <c:v>1195.1481</c:v>
                </c:pt>
                <c:pt idx="37">
                  <c:v>1241.6957</c:v>
                </c:pt>
                <c:pt idx="38">
                  <c:v>1265.7143</c:v>
                </c:pt>
                <c:pt idx="39">
                  <c:v>1299.1</c:v>
                </c:pt>
                <c:pt idx="40">
                  <c:v>1347.7368</c:v>
                </c:pt>
                <c:pt idx="41">
                  <c:v>1274.8</c:v>
                </c:pt>
                <c:pt idx="42">
                  <c:v>1246.0256</c:v>
                </c:pt>
                <c:pt idx="43">
                  <c:v>1302.8302</c:v>
                </c:pt>
                <c:pt idx="44">
                  <c:v>1262.0</c:v>
                </c:pt>
                <c:pt idx="45">
                  <c:v>1193.9778</c:v>
                </c:pt>
                <c:pt idx="46">
                  <c:v>1228.3611</c:v>
                </c:pt>
                <c:pt idx="47">
                  <c:v>1190.8085</c:v>
                </c:pt>
                <c:pt idx="48">
                  <c:v>1228.7768</c:v>
                </c:pt>
                <c:pt idx="49">
                  <c:v>1197.2241</c:v>
                </c:pt>
                <c:pt idx="50">
                  <c:v>1005.426</c:v>
                </c:pt>
                <c:pt idx="51">
                  <c:v>1019.1227</c:v>
                </c:pt>
              </c:numCache>
            </c:numRef>
          </c:xVal>
          <c:yVal>
            <c:numRef>
              <c:f>Sheet1!$B$109:$B$160</c:f>
              <c:numCache>
                <c:formatCode>General</c:formatCode>
                <c:ptCount val="52"/>
                <c:pt idx="0">
                  <c:v>0.11247130833970925</c:v>
                </c:pt>
                <c:pt idx="1">
                  <c:v>0.12895377128953772</c:v>
                </c:pt>
                <c:pt idx="2">
                  <c:v>0.13729508196721313</c:v>
                </c:pt>
                <c:pt idx="3">
                  <c:v>0.13156230234029095</c:v>
                </c:pt>
                <c:pt idx="4">
                  <c:v>0.14080459770114942</c:v>
                </c:pt>
                <c:pt idx="5">
                  <c:v>0.12446043165467625</c:v>
                </c:pt>
                <c:pt idx="6">
                  <c:v>0.13349368610944076</c:v>
                </c:pt>
                <c:pt idx="7">
                  <c:v>0.11868131868131868</c:v>
                </c:pt>
                <c:pt idx="8">
                  <c:v>0.12653061224489795</c:v>
                </c:pt>
                <c:pt idx="9">
                  <c:v>0.12427184466019417</c:v>
                </c:pt>
                <c:pt idx="10">
                  <c:v>0.15329218106995884</c:v>
                </c:pt>
                <c:pt idx="11">
                  <c:v>0.14911660777385158</c:v>
                </c:pt>
                <c:pt idx="12">
                  <c:v>0.1423580786026201</c:v>
                </c:pt>
                <c:pt idx="13">
                  <c:v>0.12589285714285714</c:v>
                </c:pt>
                <c:pt idx="14">
                  <c:v>0.1393523061825319</c:v>
                </c:pt>
                <c:pt idx="15">
                  <c:v>0.12814895947426067</c:v>
                </c:pt>
                <c:pt idx="16">
                  <c:v>0.1270440251572327</c:v>
                </c:pt>
                <c:pt idx="17">
                  <c:v>0.11773049645390071</c:v>
                </c:pt>
                <c:pt idx="18">
                  <c:v>0.11538461538461539</c:v>
                </c:pt>
                <c:pt idx="19">
                  <c:v>0.12686567164179105</c:v>
                </c:pt>
                <c:pt idx="20">
                  <c:v>0.14534883720930233</c:v>
                </c:pt>
                <c:pt idx="21">
                  <c:v>0.15881326352530542</c:v>
                </c:pt>
                <c:pt idx="22">
                  <c:v>0.17132867132867133</c:v>
                </c:pt>
                <c:pt idx="23">
                  <c:v>0.1655773420479303</c:v>
                </c:pt>
                <c:pt idx="24">
                  <c:v>0.15037593984962405</c:v>
                </c:pt>
                <c:pt idx="25">
                  <c:v>0.12640449438202248</c:v>
                </c:pt>
                <c:pt idx="26">
                  <c:v>0.08611111111111111</c:v>
                </c:pt>
                <c:pt idx="27">
                  <c:v>0.10557184750733138</c:v>
                </c:pt>
                <c:pt idx="28">
                  <c:v>0.1226158038147139</c:v>
                </c:pt>
                <c:pt idx="29">
                  <c:v>0.12627986348122866</c:v>
                </c:pt>
                <c:pt idx="30">
                  <c:v>0.11673151750972763</c:v>
                </c:pt>
                <c:pt idx="31">
                  <c:v>0.1339712918660287</c:v>
                </c:pt>
                <c:pt idx="32">
                  <c:v>0.12941176470588237</c:v>
                </c:pt>
                <c:pt idx="33">
                  <c:v>0.1522491349480969</c:v>
                </c:pt>
                <c:pt idx="34">
                  <c:v>0.09455587392550144</c:v>
                </c:pt>
                <c:pt idx="35">
                  <c:v>0.12915129151291513</c:v>
                </c:pt>
                <c:pt idx="36">
                  <c:v>0.1588235294117647</c:v>
                </c:pt>
                <c:pt idx="37">
                  <c:v>0.11057692307692307</c:v>
                </c:pt>
                <c:pt idx="38">
                  <c:v>0.11290322580645161</c:v>
                </c:pt>
                <c:pt idx="39">
                  <c:v>0.11406844106463879</c:v>
                </c:pt>
                <c:pt idx="40">
                  <c:v>0.10410958904109589</c:v>
                </c:pt>
                <c:pt idx="41">
                  <c:v>0.11461318051575932</c:v>
                </c:pt>
                <c:pt idx="42">
                  <c:v>0.12149532710280374</c:v>
                </c:pt>
                <c:pt idx="43">
                  <c:v>0.11546840958605664</c:v>
                </c:pt>
                <c:pt idx="44">
                  <c:v>0.11469534050179211</c:v>
                </c:pt>
                <c:pt idx="45">
                  <c:v>0.10575793184488837</c:v>
                </c:pt>
                <c:pt idx="46">
                  <c:v>0.10746268656716418</c:v>
                </c:pt>
                <c:pt idx="47">
                  <c:v>0.10904872389791183</c:v>
                </c:pt>
                <c:pt idx="48">
                  <c:v>0.09024979854955681</c:v>
                </c:pt>
                <c:pt idx="49">
                  <c:v>0.09739714525608732</c:v>
                </c:pt>
                <c:pt idx="50">
                  <c:v>0.13388110198163364</c:v>
                </c:pt>
                <c:pt idx="51">
                  <c:v>0.1397941680960548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2.6854882588348</c:v>
                </c:pt>
              </c:numCache>
            </c:numRef>
          </c:xVal>
          <c:yVal>
            <c:numRef>
              <c:f>Sheet1!$B$163:$B$164</c:f>
              <c:numCache>
                <c:formatCode>General</c:formatCode>
                <c:ptCount val="2"/>
                <c:pt idx="0">
                  <c:v>0.13783393250504888</c:v>
                </c:pt>
                <c:pt idx="1">
                  <c:v>0.1378339325050488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2.6854882588348</c:v>
                </c:pt>
                <c:pt idx="1">
                  <c:v>1052.6854882588348</c:v>
                </c:pt>
              </c:numCache>
            </c:numRef>
          </c:xVal>
          <c:yVal>
            <c:numRef>
              <c:f>Sheet1!$B$167:$B$168</c:f>
              <c:numCache>
                <c:formatCode>General</c:formatCode>
                <c:ptCount val="2"/>
                <c:pt idx="0">
                  <c:v>0.137833932505048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4.2895100211201</c:v>
                </c:pt>
              </c:numCache>
            </c:numRef>
          </c:xVal>
          <c:yVal>
            <c:numRef>
              <c:f>Sheet1!$B$171:$B$172</c:f>
              <c:numCache>
                <c:formatCode>General</c:formatCode>
                <c:ptCount val="2"/>
                <c:pt idx="0">
                  <c:v>0.13489382648295553</c:v>
                </c:pt>
                <c:pt idx="1">
                  <c:v>0.134893826482955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4.2895100211201</c:v>
                </c:pt>
                <c:pt idx="1">
                  <c:v>1084.2895100211201</c:v>
                </c:pt>
              </c:numCache>
            </c:numRef>
          </c:xVal>
          <c:yVal>
            <c:numRef>
              <c:f>Sheet1!$B$175:$B$176</c:f>
              <c:numCache>
                <c:formatCode>General</c:formatCode>
                <c:ptCount val="2"/>
                <c:pt idx="0">
                  <c:v>0.134893826482955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0.4246411834179</c:v>
                </c:pt>
              </c:numCache>
            </c:numRef>
          </c:xVal>
          <c:yVal>
            <c:numRef>
              <c:f>Sheet1!$B$179:$B$180</c:f>
              <c:numCache>
                <c:formatCode>General</c:formatCode>
                <c:ptCount val="2"/>
                <c:pt idx="0">
                  <c:v>0.11292629569272641</c:v>
                </c:pt>
                <c:pt idx="1">
                  <c:v>0.112926295692726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0.4246411834179</c:v>
                </c:pt>
                <c:pt idx="1">
                  <c:v>1320.4246411834179</c:v>
                </c:pt>
              </c:numCache>
            </c:numRef>
          </c:xVal>
          <c:yVal>
            <c:numRef>
              <c:f>Sheet1!$B$183:$B$184</c:f>
              <c:numCache>
                <c:formatCode>General</c:formatCode>
                <c:ptCount val="2"/>
                <c:pt idx="0">
                  <c:v>0.112926295692726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5.449</c:v>
                </c:pt>
                <c:pt idx="1">
                  <c:v>1078.4025</c:v>
                </c:pt>
                <c:pt idx="2">
                  <c:v>1064.6617</c:v>
                </c:pt>
                <c:pt idx="3">
                  <c:v>1079.9087</c:v>
                </c:pt>
                <c:pt idx="4">
                  <c:v>1094.3571</c:v>
                </c:pt>
                <c:pt idx="5">
                  <c:v>1050.9884</c:v>
                </c:pt>
                <c:pt idx="6">
                  <c:v>1009.509</c:v>
                </c:pt>
                <c:pt idx="7">
                  <c:v>1193.6759</c:v>
                </c:pt>
                <c:pt idx="8">
                  <c:v>1269.3306</c:v>
                </c:pt>
                <c:pt idx="9">
                  <c:v>1234.2656</c:v>
                </c:pt>
                <c:pt idx="10">
                  <c:v>1209.2416</c:v>
                </c:pt>
                <c:pt idx="11">
                  <c:v>1044.7062</c:v>
                </c:pt>
                <c:pt idx="12">
                  <c:v>1069.3374</c:v>
                </c:pt>
                <c:pt idx="13">
                  <c:v>1192.2411</c:v>
                </c:pt>
                <c:pt idx="14">
                  <c:v>1236.0915</c:v>
                </c:pt>
                <c:pt idx="15">
                  <c:v>1250.0</c:v>
                </c:pt>
                <c:pt idx="16">
                  <c:v>1279.8317</c:v>
                </c:pt>
                <c:pt idx="17">
                  <c:v>1297.9759</c:v>
                </c:pt>
                <c:pt idx="18">
                  <c:v>1305.9123</c:v>
                </c:pt>
                <c:pt idx="19">
                  <c:v>1269.8529</c:v>
                </c:pt>
                <c:pt idx="20">
                  <c:v>1061.76</c:v>
                </c:pt>
                <c:pt idx="21">
                  <c:v>914.9341</c:v>
                </c:pt>
                <c:pt idx="22">
                  <c:v>902.3878</c:v>
                </c:pt>
                <c:pt idx="23">
                  <c:v>930.8947</c:v>
                </c:pt>
                <c:pt idx="24">
                  <c:v>1036.9333</c:v>
                </c:pt>
                <c:pt idx="25">
                  <c:v>1045.4444</c:v>
                </c:pt>
                <c:pt idx="26">
                  <c:v>1169.2581</c:v>
                </c:pt>
                <c:pt idx="27">
                  <c:v>1196.0278</c:v>
                </c:pt>
                <c:pt idx="28">
                  <c:v>1246.1333</c:v>
                </c:pt>
                <c:pt idx="29">
                  <c:v>1254.7838</c:v>
                </c:pt>
                <c:pt idx="30">
                  <c:v>1214.9</c:v>
                </c:pt>
                <c:pt idx="31">
                  <c:v>1283.0714</c:v>
                </c:pt>
                <c:pt idx="32">
                  <c:v>1255.0303</c:v>
                </c:pt>
                <c:pt idx="33">
                  <c:v>1291.6364</c:v>
                </c:pt>
                <c:pt idx="34">
                  <c:v>1300.9697</c:v>
                </c:pt>
                <c:pt idx="35">
                  <c:v>1277.7714</c:v>
                </c:pt>
                <c:pt idx="36">
                  <c:v>1195.1481</c:v>
                </c:pt>
                <c:pt idx="37">
                  <c:v>1241.6957</c:v>
                </c:pt>
                <c:pt idx="38">
                  <c:v>1265.7143</c:v>
                </c:pt>
                <c:pt idx="39">
                  <c:v>1299.1</c:v>
                </c:pt>
                <c:pt idx="40">
                  <c:v>1347.7368</c:v>
                </c:pt>
                <c:pt idx="41">
                  <c:v>1274.8</c:v>
                </c:pt>
                <c:pt idx="42">
                  <c:v>1246.0256</c:v>
                </c:pt>
                <c:pt idx="43">
                  <c:v>1302.8302</c:v>
                </c:pt>
                <c:pt idx="44">
                  <c:v>1262.0</c:v>
                </c:pt>
                <c:pt idx="45">
                  <c:v>1193.9778</c:v>
                </c:pt>
                <c:pt idx="46">
                  <c:v>1228.3611</c:v>
                </c:pt>
                <c:pt idx="47">
                  <c:v>1190.8085</c:v>
                </c:pt>
                <c:pt idx="48">
                  <c:v>1228.7768</c:v>
                </c:pt>
                <c:pt idx="49">
                  <c:v>1197.2241</c:v>
                </c:pt>
                <c:pt idx="50">
                  <c:v>1005.426</c:v>
                </c:pt>
                <c:pt idx="51">
                  <c:v>1019.1227</c:v>
                </c:pt>
                <c:pt idx="52">
                  <c:v>1084.2895100211201</c:v>
                </c:pt>
                <c:pt idx="53">
                  <c:v>1052.6854882588348</c:v>
                </c:pt>
                <c:pt idx="54">
                  <c:v>1320.4246411834179</c:v>
                </c:pt>
              </c:numCache>
            </c:numRef>
          </c:xVal>
          <c:yVal>
            <c:numRef>
              <c:f>Sheet1!$B$187:$B$241</c:f>
              <c:numCache>
                <c:formatCode>General</c:formatCode>
                <c:ptCount val="55"/>
                <c:pt idx="0">
                  <c:v>0.13664654951893662</c:v>
                </c:pt>
                <c:pt idx="1">
                  <c:v>0.13544149202202543</c:v>
                </c:pt>
                <c:pt idx="2">
                  <c:v>0.136719791636304</c:v>
                </c:pt>
                <c:pt idx="3">
                  <c:v>0.1353013710043972</c:v>
                </c:pt>
                <c:pt idx="4">
                  <c:v>0.13395724372309317</c:v>
                </c:pt>
                <c:pt idx="5">
                  <c:v>0.13799181176001696</c:v>
                </c:pt>
                <c:pt idx="6">
                  <c:v>0.1418506191817468</c:v>
                </c:pt>
                <c:pt idx="7">
                  <c:v>0.12471766642551162</c:v>
                </c:pt>
                <c:pt idx="8">
                  <c:v>0.11767954827894377</c:v>
                </c:pt>
                <c:pt idx="9">
                  <c:v>0.12094162734091086</c:v>
                </c:pt>
                <c:pt idx="10">
                  <c:v>0.12326959729518618</c:v>
                </c:pt>
                <c:pt idx="11">
                  <c:v>0.13857624162122012</c:v>
                </c:pt>
                <c:pt idx="12">
                  <c:v>0.1362848136505621</c:v>
                </c:pt>
                <c:pt idx="13">
                  <c:v>0.12485114513756382</c:v>
                </c:pt>
                <c:pt idx="14">
                  <c:v>0.12077176479537412</c:v>
                </c:pt>
                <c:pt idx="15">
                  <c:v>0.11947786413564591</c:v>
                </c:pt>
                <c:pt idx="16">
                  <c:v>0.11670263630296708</c:v>
                </c:pt>
                <c:pt idx="17">
                  <c:v>0.11501469063303572</c:v>
                </c:pt>
                <c:pt idx="18">
                  <c:v>0.11427637138970488</c:v>
                </c:pt>
                <c:pt idx="19">
                  <c:v>0.11763095897638949</c:v>
                </c:pt>
                <c:pt idx="20">
                  <c:v>0.13698973530703293</c:v>
                </c:pt>
                <c:pt idx="21">
                  <c:v>0.15064887388237796</c:v>
                </c:pt>
                <c:pt idx="22">
                  <c:v>0.15181604977101787</c:v>
                </c:pt>
                <c:pt idx="23">
                  <c:v>0.14916406740650653</c:v>
                </c:pt>
                <c:pt idx="24">
                  <c:v>0.13929935054295872</c:v>
                </c:pt>
                <c:pt idx="25">
                  <c:v>0.1385075672518049</c:v>
                </c:pt>
                <c:pt idx="26">
                  <c:v>0.12698924190303335</c:v>
                </c:pt>
                <c:pt idx="27">
                  <c:v>0.12449887036830812</c:v>
                </c:pt>
                <c:pt idx="28">
                  <c:v>0.11983758126409047</c:v>
                </c:pt>
                <c:pt idx="29">
                  <c:v>0.11903282966205009</c:v>
                </c:pt>
                <c:pt idx="30">
                  <c:v>0.12274319922975813</c:v>
                </c:pt>
                <c:pt idx="31">
                  <c:v>0.11640124866466521</c:v>
                </c:pt>
                <c:pt idx="32">
                  <c:v>0.11900989789279941</c:v>
                </c:pt>
                <c:pt idx="33">
                  <c:v>0.11560445108400791</c:v>
                </c:pt>
                <c:pt idx="34">
                  <c:v>0.1147361789462906</c:v>
                </c:pt>
                <c:pt idx="35">
                  <c:v>0.11689430496092716</c:v>
                </c:pt>
                <c:pt idx="36">
                  <c:v>0.12458070841053862</c:v>
                </c:pt>
                <c:pt idx="37">
                  <c:v>0.12025040892829653</c:v>
                </c:pt>
                <c:pt idx="38">
                  <c:v>0.11801597082312718</c:v>
                </c:pt>
                <c:pt idx="39">
                  <c:v>0.11491011618348325</c:v>
                </c:pt>
                <c:pt idx="40">
                  <c:v>0.11038545949102407</c:v>
                </c:pt>
                <c:pt idx="41">
                  <c:v>0.1171707327870994</c:v>
                </c:pt>
                <c:pt idx="42">
                  <c:v>0.11984760054014848</c:v>
                </c:pt>
                <c:pt idx="43">
                  <c:v>0.11456309758040467</c:v>
                </c:pt>
                <c:pt idx="44">
                  <c:v>0.11836151025731696</c:v>
                </c:pt>
                <c:pt idx="45">
                  <c:v>0.12468958082252267</c:v>
                </c:pt>
                <c:pt idx="46">
                  <c:v>0.12149091996379363</c:v>
                </c:pt>
                <c:pt idx="47">
                  <c:v>0.12498441918473831</c:v>
                </c:pt>
                <c:pt idx="48">
                  <c:v>0.12145224760485851</c:v>
                </c:pt>
                <c:pt idx="49">
                  <c:v>0.12438757918958772</c:v>
                </c:pt>
                <c:pt idx="50">
                  <c:v>0.14223045858884825</c:v>
                </c:pt>
                <c:pt idx="51">
                  <c:v>0.14095626157507257</c:v>
                </c:pt>
                <c:pt idx="52">
                  <c:v>0.13489382648295553</c:v>
                </c:pt>
                <c:pt idx="53">
                  <c:v>0.13783393250504888</c:v>
                </c:pt>
                <c:pt idx="54">
                  <c:v>0.11292629569272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7.0"/>
          <c:min val="3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79050736497545"/>
          <c:min val="0.02739726027397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1.661930481714163</c:v>
                </c:pt>
                <c:pt idx="3">
                  <c:v>1.5931339593412654</c:v>
                </c:pt>
                <c:pt idx="4">
                  <c:v>2.0056183083996677</c:v>
                </c:pt>
                <c:pt idx="5">
                  <c:v>1.2007959969662265</c:v>
                </c:pt>
                <c:pt idx="6">
                  <c:v>1.5648486929162333</c:v>
                </c:pt>
                <c:pt idx="7">
                  <c:v>2.5017203285677145</c:v>
                </c:pt>
                <c:pt idx="8">
                  <c:v>1.5966977336108288</c:v>
                </c:pt>
                <c:pt idx="9">
                  <c:v>1.762261570866156</c:v>
                </c:pt>
                <c:pt idx="10">
                  <c:v>2.0953608435783466</c:v>
                </c:pt>
                <c:pt idx="11">
                  <c:v>1.9266612183143133</c:v>
                </c:pt>
                <c:pt idx="12">
                  <c:v>1.6551709483876886</c:v>
                </c:pt>
                <c:pt idx="13">
                  <c:v>1.5050708650205071</c:v>
                </c:pt>
                <c:pt idx="14">
                  <c:v>1.3335933051330855</c:v>
                </c:pt>
                <c:pt idx="15">
                  <c:v>1.902350590924821</c:v>
                </c:pt>
                <c:pt idx="16">
                  <c:v>1.444846112600357</c:v>
                </c:pt>
                <c:pt idx="17">
                  <c:v>1.0822403050334881</c:v>
                </c:pt>
                <c:pt idx="18">
                  <c:v>1.6707358106794366</c:v>
                </c:pt>
                <c:pt idx="19">
                  <c:v>1.2543807245978196</c:v>
                </c:pt>
                <c:pt idx="20">
                  <c:v>1.6223758071319638</c:v>
                </c:pt>
                <c:pt idx="21">
                  <c:v>0.4505206583956527</c:v>
                </c:pt>
                <c:pt idx="22">
                  <c:v>0.834511921128562</c:v>
                </c:pt>
                <c:pt idx="23">
                  <c:v>3.084517802847145</c:v>
                </c:pt>
                <c:pt idx="24">
                  <c:v>3.5532727294951756</c:v>
                </c:pt>
                <c:pt idx="25">
                  <c:v>4.406070240937717</c:v>
                </c:pt>
                <c:pt idx="26">
                  <c:v>2.66982159309825</c:v>
                </c:pt>
                <c:pt idx="27">
                  <c:v>4.218193986865351</c:v>
                </c:pt>
                <c:pt idx="28">
                  <c:v>3.769656105505721</c:v>
                </c:pt>
                <c:pt idx="29">
                  <c:v>2.4836191548716062</c:v>
                </c:pt>
                <c:pt idx="30">
                  <c:v>1.8979188074168367</c:v>
                </c:pt>
                <c:pt idx="31">
                  <c:v>4.056914663151903</c:v>
                </c:pt>
                <c:pt idx="32">
                  <c:v>0.0</c:v>
                </c:pt>
                <c:pt idx="33">
                  <c:v>3.581759128811027</c:v>
                </c:pt>
                <c:pt idx="34">
                  <c:v>3.811508474300953</c:v>
                </c:pt>
                <c:pt idx="35">
                  <c:v>3.7689768305956237</c:v>
                </c:pt>
                <c:pt idx="36">
                  <c:v>3.046548584080277</c:v>
                </c:pt>
                <c:pt idx="37">
                  <c:v>2.6642483602475293</c:v>
                </c:pt>
                <c:pt idx="38">
                  <c:v>3.940143098410089</c:v>
                </c:pt>
                <c:pt idx="39">
                  <c:v>2.938502033979421</c:v>
                </c:pt>
                <c:pt idx="40">
                  <c:v>3.597527219647522</c:v>
                </c:pt>
                <c:pt idx="41">
                  <c:v>5.631250871022215</c:v>
                </c:pt>
                <c:pt idx="42">
                  <c:v>3.203234514280772</c:v>
                </c:pt>
                <c:pt idx="43">
                  <c:v>2.9543181438500183</c:v>
                </c:pt>
                <c:pt idx="44">
                  <c:v>1.6403594048865893</c:v>
                </c:pt>
                <c:pt idx="45">
                  <c:v>1.3727367962220733</c:v>
                </c:pt>
                <c:pt idx="46">
                  <c:v>1.3626443078463668</c:v>
                </c:pt>
                <c:pt idx="47">
                  <c:v>2.036902702520929</c:v>
                </c:pt>
                <c:pt idx="48">
                  <c:v>2.7702946924913756</c:v>
                </c:pt>
                <c:pt idx="49">
                  <c:v>2.908536579885367</c:v>
                </c:pt>
                <c:pt idx="50">
                  <c:v>2.8001157179920595</c:v>
                </c:pt>
                <c:pt idx="51">
                  <c:v>3.458464317624358</c:v>
                </c:pt>
                <c:pt idx="52">
                  <c:v>3.1935317012530913</c:v>
                </c:pt>
              </c:numCache>
            </c:numRef>
          </c:xVal>
          <c:yVal>
            <c:numRef>
              <c:f>Sheet1!$B$2:$B$54</c:f>
              <c:numCache>
                <c:formatCode>General</c:formatCode>
                <c:ptCount val="53"/>
                <c:pt idx="0">
                  <c:v>0.0</c:v>
                </c:pt>
                <c:pt idx="1">
                  <c:v>0.0</c:v>
                </c:pt>
                <c:pt idx="2">
                  <c:v>0.0011792452830188679</c:v>
                </c:pt>
                <c:pt idx="3">
                  <c:v>0.0011904761904761906</c:v>
                </c:pt>
                <c:pt idx="4">
                  <c:v>0.0011890606420927466</c:v>
                </c:pt>
                <c:pt idx="5">
                  <c:v>0.0009041591320072332</c:v>
                </c:pt>
                <c:pt idx="6">
                  <c:v>0.0008517887563884157</c:v>
                </c:pt>
                <c:pt idx="7">
                  <c:v>0.000437636761487965</c:v>
                </c:pt>
                <c:pt idx="8">
                  <c:v>0.0014807502467917078</c:v>
                </c:pt>
                <c:pt idx="9">
                  <c:v>0.0023219814241486067</c:v>
                </c:pt>
                <c:pt idx="10">
                  <c:v>0.0017574692442882249</c:v>
                </c:pt>
                <c:pt idx="11">
                  <c:v>0.002130681818181818</c:v>
                </c:pt>
                <c:pt idx="12">
                  <c:v>0.002722940776038121</c:v>
                </c:pt>
                <c:pt idx="13">
                  <c:v>0.0021216407355021216</c:v>
                </c:pt>
                <c:pt idx="14">
                  <c:v>0.0023219814241486067</c:v>
                </c:pt>
                <c:pt idx="15">
                  <c:v>0.0017376194613379669</c:v>
                </c:pt>
                <c:pt idx="16">
                  <c:v>0.0030303030303030303</c:v>
                </c:pt>
                <c:pt idx="17">
                  <c:v>0.005681818181818182</c:v>
                </c:pt>
                <c:pt idx="18">
                  <c:v>0.0013736263736263737</c:v>
                </c:pt>
                <c:pt idx="19">
                  <c:v>0.004470938897168405</c:v>
                </c:pt>
                <c:pt idx="20">
                  <c:v>0.0030075187969924814</c:v>
                </c:pt>
                <c:pt idx="21">
                  <c:v>0.005190311418685121</c:v>
                </c:pt>
                <c:pt idx="22">
                  <c:v>0.003278688524590164</c:v>
                </c:pt>
                <c:pt idx="23">
                  <c:v>0.0022522522522522522</c:v>
                </c:pt>
                <c:pt idx="24">
                  <c:v>0.005333333333333333</c:v>
                </c:pt>
                <c:pt idx="25">
                  <c:v>0.005089058524173028</c:v>
                </c:pt>
                <c:pt idx="26">
                  <c:v>0.006389776357827476</c:v>
                </c:pt>
                <c:pt idx="27">
                  <c:v>0.006896551724137931</c:v>
                </c:pt>
                <c:pt idx="28">
                  <c:v>0.0037174721189591076</c:v>
                </c:pt>
                <c:pt idx="29">
                  <c:v>0.00911854103343465</c:v>
                </c:pt>
                <c:pt idx="30">
                  <c:v>0.01556420233463035</c:v>
                </c:pt>
                <c:pt idx="31">
                  <c:v>0.008097165991902834</c:v>
                </c:pt>
                <c:pt idx="32">
                  <c:v>0.0</c:v>
                </c:pt>
                <c:pt idx="33">
                  <c:v>0.007407407407407408</c:v>
                </c:pt>
                <c:pt idx="34">
                  <c:v>0.012307692307692308</c:v>
                </c:pt>
                <c:pt idx="35">
                  <c:v>0.012121212121212121</c:v>
                </c:pt>
                <c:pt idx="36">
                  <c:v>0.014084507042253521</c:v>
                </c:pt>
                <c:pt idx="37">
                  <c:v>0.025547445255474453</c:v>
                </c:pt>
                <c:pt idx="38">
                  <c:v>0.011904761904761904</c:v>
                </c:pt>
                <c:pt idx="39">
                  <c:v>0.014925373134328358</c:v>
                </c:pt>
                <c:pt idx="40">
                  <c:v>0.0091324200913242</c:v>
                </c:pt>
                <c:pt idx="41">
                  <c:v>0.004750593824228029</c:v>
                </c:pt>
                <c:pt idx="42">
                  <c:v>0.0125</c:v>
                </c:pt>
                <c:pt idx="43">
                  <c:v>0.012345679012345678</c:v>
                </c:pt>
                <c:pt idx="44">
                  <c:v>0.023980815347721823</c:v>
                </c:pt>
                <c:pt idx="45">
                  <c:v>0.03708133971291866</c:v>
                </c:pt>
                <c:pt idx="46">
                  <c:v>0.030395136778115502</c:v>
                </c:pt>
                <c:pt idx="47">
                  <c:v>0.02153316106804479</c:v>
                </c:pt>
                <c:pt idx="48">
                  <c:v>0.01038961038961039</c:v>
                </c:pt>
                <c:pt idx="49">
                  <c:v>0.014109347442680775</c:v>
                </c:pt>
                <c:pt idx="50">
                  <c:v>0.015037593984962405</c:v>
                </c:pt>
                <c:pt idx="51">
                  <c:v>0.008183306055646482</c:v>
                </c:pt>
                <c:pt idx="52">
                  <c:v>0.007563025210084034</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47178857408996</c:v>
                </c:pt>
                <c:pt idx="1">
                  <c:v>2.1665475035396153</c:v>
                </c:pt>
                <c:pt idx="2">
                  <c:v>3.5801008692636676</c:v>
                </c:pt>
                <c:pt idx="3">
                  <c:v>2.3459529907445362</c:v>
                </c:pt>
                <c:pt idx="4">
                  <c:v>3.0763920475953452</c:v>
                </c:pt>
                <c:pt idx="5">
                  <c:v>3.3490705340313505</c:v>
                </c:pt>
                <c:pt idx="6">
                  <c:v>3.64361609995416</c:v>
                </c:pt>
                <c:pt idx="7">
                  <c:v>3.2617051472922243</c:v>
                </c:pt>
                <c:pt idx="8">
                  <c:v>3.2877673040733653</c:v>
                </c:pt>
                <c:pt idx="9">
                  <c:v>3.0899689173521407</c:v>
                </c:pt>
                <c:pt idx="10">
                  <c:v>3.1072681692693256</c:v>
                </c:pt>
                <c:pt idx="11">
                  <c:v>3.3822981527100495</c:v>
                </c:pt>
                <c:pt idx="12">
                  <c:v>3.05602090708749</c:v>
                </c:pt>
                <c:pt idx="13">
                  <c:v>2.650596676300349</c:v>
                </c:pt>
                <c:pt idx="14">
                  <c:v>2.4790933315278356</c:v>
                </c:pt>
                <c:pt idx="15">
                  <c:v>2.6561713025072167</c:v>
                </c:pt>
                <c:pt idx="16">
                  <c:v>2.8305363868809685</c:v>
                </c:pt>
                <c:pt idx="17">
                  <c:v>2.579421798000322</c:v>
                </c:pt>
                <c:pt idx="18">
                  <c:v>2.7715250871756933</c:v>
                </c:pt>
                <c:pt idx="19">
                  <c:v>4.149697141935963</c:v>
                </c:pt>
                <c:pt idx="20">
                  <c:v>2.7919108186719463</c:v>
                </c:pt>
                <c:pt idx="21">
                  <c:v>2.894184945841995</c:v>
                </c:pt>
                <c:pt idx="22">
                  <c:v>2.938505858195092</c:v>
                </c:pt>
                <c:pt idx="23">
                  <c:v>3.4572465185100656</c:v>
                </c:pt>
                <c:pt idx="24">
                  <c:v>2.652739617906035</c:v>
                </c:pt>
                <c:pt idx="25">
                  <c:v>2.8639276461043113</c:v>
                </c:pt>
                <c:pt idx="26">
                  <c:v>3.184941036178117</c:v>
                </c:pt>
                <c:pt idx="27">
                  <c:v>3.4158959537572255</c:v>
                </c:pt>
                <c:pt idx="28">
                  <c:v>2.817507291866873</c:v>
                </c:pt>
                <c:pt idx="29">
                  <c:v>3.3637829362680973</c:v>
                </c:pt>
                <c:pt idx="30">
                  <c:v>2.031551208356438</c:v>
                </c:pt>
                <c:pt idx="31">
                  <c:v>2.876606153264595</c:v>
                </c:pt>
                <c:pt idx="32">
                  <c:v>3.5314333215479086</c:v>
                </c:pt>
                <c:pt idx="33">
                  <c:v>3.345120503005875</c:v>
                </c:pt>
                <c:pt idx="34">
                  <c:v>3.6037062821910437</c:v>
                </c:pt>
                <c:pt idx="35">
                  <c:v>3.2721734429356175</c:v>
                </c:pt>
                <c:pt idx="36">
                  <c:v>3.3825654331717474</c:v>
                </c:pt>
                <c:pt idx="37">
                  <c:v>2.818208418051301</c:v>
                </c:pt>
                <c:pt idx="38">
                  <c:v>3.138567617464348</c:v>
                </c:pt>
                <c:pt idx="39">
                  <c:v>3.3437155401656433</c:v>
                </c:pt>
                <c:pt idx="40">
                  <c:v>4.074775322402435</c:v>
                </c:pt>
                <c:pt idx="41">
                  <c:v>4.177495613692906</c:v>
                </c:pt>
                <c:pt idx="42">
                  <c:v>3.3338255471263945</c:v>
                </c:pt>
                <c:pt idx="43">
                  <c:v>3.348365644106397</c:v>
                </c:pt>
                <c:pt idx="44">
                  <c:v>3.377710379243143</c:v>
                </c:pt>
                <c:pt idx="45">
                  <c:v>3.0127975129406175</c:v>
                </c:pt>
                <c:pt idx="46">
                  <c:v>3.3434283382912335</c:v>
                </c:pt>
                <c:pt idx="47">
                  <c:v>3.4301822325223537</c:v>
                </c:pt>
                <c:pt idx="48">
                  <c:v>3.755302921336991</c:v>
                </c:pt>
                <c:pt idx="49">
                  <c:v>3.425683076607955</c:v>
                </c:pt>
                <c:pt idx="50">
                  <c:v>3.1695705513405033</c:v>
                </c:pt>
                <c:pt idx="51">
                  <c:v>3.417896563855656</c:v>
                </c:pt>
              </c:numCache>
            </c:numRef>
          </c:xVal>
          <c:yVal>
            <c:numRef>
              <c:f>Sheet1!$B$57:$B$108</c:f>
              <c:numCache>
                <c:formatCode>General</c:formatCode>
                <c:ptCount val="52"/>
                <c:pt idx="0">
                  <c:v>0.006885998469778117</c:v>
                </c:pt>
                <c:pt idx="1">
                  <c:v>0.010543390105433901</c:v>
                </c:pt>
                <c:pt idx="2">
                  <c:v>0.007513661202185792</c:v>
                </c:pt>
                <c:pt idx="3">
                  <c:v>0.008855154965211892</c:v>
                </c:pt>
                <c:pt idx="4">
                  <c:v>0.009339080459770116</c:v>
                </c:pt>
                <c:pt idx="5">
                  <c:v>0.007913669064748202</c:v>
                </c:pt>
                <c:pt idx="6">
                  <c:v>0.00661455201443175</c:v>
                </c:pt>
                <c:pt idx="7">
                  <c:v>0.00989010989010989</c:v>
                </c:pt>
                <c:pt idx="8">
                  <c:v>0.009183673469387756</c:v>
                </c:pt>
                <c:pt idx="9">
                  <c:v>0.011650485436893204</c:v>
                </c:pt>
                <c:pt idx="10">
                  <c:v>0.01131687242798354</c:v>
                </c:pt>
                <c:pt idx="11">
                  <c:v>0.009187279151943463</c:v>
                </c:pt>
                <c:pt idx="12">
                  <c:v>0.01222707423580786</c:v>
                </c:pt>
                <c:pt idx="13">
                  <c:v>0.01607142857142857</c:v>
                </c:pt>
                <c:pt idx="14">
                  <c:v>0.021589793915603533</c:v>
                </c:pt>
                <c:pt idx="15">
                  <c:v>0.017524644030668127</c:v>
                </c:pt>
                <c:pt idx="16">
                  <c:v>0.01761006289308176</c:v>
                </c:pt>
                <c:pt idx="17">
                  <c:v>0.019858156028368795</c:v>
                </c:pt>
                <c:pt idx="18">
                  <c:v>0.016194331983805668</c:v>
                </c:pt>
                <c:pt idx="19">
                  <c:v>0.009328358208955223</c:v>
                </c:pt>
                <c:pt idx="20">
                  <c:v>0.015503875968992248</c:v>
                </c:pt>
                <c:pt idx="21">
                  <c:v>0.015706806282722512</c:v>
                </c:pt>
                <c:pt idx="22">
                  <c:v>0.01048951048951049</c:v>
                </c:pt>
                <c:pt idx="23">
                  <c:v>0.008714596949891068</c:v>
                </c:pt>
                <c:pt idx="24">
                  <c:v>0.015037593984962405</c:v>
                </c:pt>
                <c:pt idx="25">
                  <c:v>0.016853932584269662</c:v>
                </c:pt>
                <c:pt idx="26">
                  <c:v>0.013888888888888888</c:v>
                </c:pt>
                <c:pt idx="27">
                  <c:v>0.01466275659824047</c:v>
                </c:pt>
                <c:pt idx="28">
                  <c:v>0.013623978201634877</c:v>
                </c:pt>
                <c:pt idx="29">
                  <c:v>0.013651877133105802</c:v>
                </c:pt>
                <c:pt idx="30">
                  <c:v>0.023346303501945526</c:v>
                </c:pt>
                <c:pt idx="31">
                  <c:v>0.019138755980861243</c:v>
                </c:pt>
                <c:pt idx="32">
                  <c:v>0.01568627450980392</c:v>
                </c:pt>
                <c:pt idx="33">
                  <c:v>0.01730103806228374</c:v>
                </c:pt>
                <c:pt idx="34">
                  <c:v>0.017191977077363897</c:v>
                </c:pt>
                <c:pt idx="35">
                  <c:v>0.02214022140221402</c:v>
                </c:pt>
                <c:pt idx="36">
                  <c:v>0.029411764705882353</c:v>
                </c:pt>
                <c:pt idx="37">
                  <c:v>0.03365384615384615</c:v>
                </c:pt>
                <c:pt idx="38">
                  <c:v>0.026881720430107527</c:v>
                </c:pt>
                <c:pt idx="39">
                  <c:v>0.019011406844106463</c:v>
                </c:pt>
                <c:pt idx="40">
                  <c:v>0.0136986301369863</c:v>
                </c:pt>
                <c:pt idx="41">
                  <c:v>0.014326647564469915</c:v>
                </c:pt>
                <c:pt idx="42">
                  <c:v>0.01557632398753894</c:v>
                </c:pt>
                <c:pt idx="43">
                  <c:v>0.013071895424836602</c:v>
                </c:pt>
                <c:pt idx="44">
                  <c:v>0.014336917562724014</c:v>
                </c:pt>
                <c:pt idx="45">
                  <c:v>0.011750881316098707</c:v>
                </c:pt>
                <c:pt idx="46">
                  <c:v>0.011940298507462687</c:v>
                </c:pt>
                <c:pt idx="47">
                  <c:v>0.010440835266821345</c:v>
                </c:pt>
                <c:pt idx="48">
                  <c:v>0.008058017727639</c:v>
                </c:pt>
                <c:pt idx="49">
                  <c:v>0.010075566750629723</c:v>
                </c:pt>
                <c:pt idx="50">
                  <c:v>0.00918318028032866</c:v>
                </c:pt>
                <c:pt idx="51">
                  <c:v>0.010291595197255575</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210916258852683</c:v>
                </c:pt>
              </c:numCache>
            </c:numRef>
          </c:xVal>
          <c:yVal>
            <c:numRef>
              <c:f>Sheet1!$B$111:$B$112</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210916258852683</c:v>
                </c:pt>
                <c:pt idx="1">
                  <c:v>2.210916258852683</c:v>
                </c:pt>
              </c:numCache>
            </c:numRef>
          </c:xVal>
          <c:yVal>
            <c:numRef>
              <c:f>Sheet1!$B$115:$B$116</c:f>
              <c:numCache>
                <c:formatCode>General</c:formatCode>
                <c:ptCount val="2"/>
                <c:pt idx="0">
                  <c:v>0.018172414561776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210916258852683</c:v>
                </c:pt>
              </c:numCache>
            </c:numRef>
          </c:xVal>
          <c:yVal>
            <c:numRef>
              <c:f>Sheet1!$B$119:$B$120</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210916258852683</c:v>
                </c:pt>
                <c:pt idx="1">
                  <c:v>2.210916258852683</c:v>
                </c:pt>
              </c:numCache>
            </c:numRef>
          </c:xVal>
          <c:yVal>
            <c:numRef>
              <c:f>Sheet1!$B$123:$B$124</c:f>
              <c:numCache>
                <c:formatCode>General</c:formatCode>
                <c:ptCount val="2"/>
                <c:pt idx="0">
                  <c:v>0.018172414561776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3.6233792376482166</c:v>
                </c:pt>
              </c:numCache>
            </c:numRef>
          </c:xVal>
          <c:yVal>
            <c:numRef>
              <c:f>Sheet1!$B$127:$B$128</c:f>
              <c:numCache>
                <c:formatCode>General</c:formatCode>
                <c:ptCount val="2"/>
                <c:pt idx="0">
                  <c:v>0.012443245889761383</c:v>
                </c:pt>
                <c:pt idx="1">
                  <c:v>0.01244324588976138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3.6233792376482166</c:v>
                </c:pt>
                <c:pt idx="1">
                  <c:v>3.6233792376482166</c:v>
                </c:pt>
              </c:numCache>
            </c:numRef>
          </c:xVal>
          <c:yVal>
            <c:numRef>
              <c:f>Sheet1!$B$131:$B$132</c:f>
              <c:numCache>
                <c:formatCode>General</c:formatCode>
                <c:ptCount val="2"/>
                <c:pt idx="0">
                  <c:v>0.0124432458897613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47178857408996</c:v>
                </c:pt>
                <c:pt idx="1">
                  <c:v>2.1665475035396153</c:v>
                </c:pt>
                <c:pt idx="2">
                  <c:v>3.5801008692636676</c:v>
                </c:pt>
                <c:pt idx="3">
                  <c:v>2.3459529907445362</c:v>
                </c:pt>
                <c:pt idx="4">
                  <c:v>3.0763920475953452</c:v>
                </c:pt>
                <c:pt idx="5">
                  <c:v>3.3490705340313505</c:v>
                </c:pt>
                <c:pt idx="6">
                  <c:v>3.64361609995416</c:v>
                </c:pt>
                <c:pt idx="7">
                  <c:v>3.2617051472922243</c:v>
                </c:pt>
                <c:pt idx="8">
                  <c:v>3.2877673040733653</c:v>
                </c:pt>
                <c:pt idx="9">
                  <c:v>3.0899689173521407</c:v>
                </c:pt>
                <c:pt idx="10">
                  <c:v>3.1072681692693256</c:v>
                </c:pt>
                <c:pt idx="11">
                  <c:v>3.3822981527100495</c:v>
                </c:pt>
                <c:pt idx="12">
                  <c:v>3.05602090708749</c:v>
                </c:pt>
                <c:pt idx="13">
                  <c:v>2.650596676300349</c:v>
                </c:pt>
                <c:pt idx="14">
                  <c:v>2.4790933315278356</c:v>
                </c:pt>
                <c:pt idx="15">
                  <c:v>2.6561713025072167</c:v>
                </c:pt>
                <c:pt idx="16">
                  <c:v>2.8305363868809685</c:v>
                </c:pt>
                <c:pt idx="17">
                  <c:v>2.579421798000322</c:v>
                </c:pt>
                <c:pt idx="18">
                  <c:v>2.7715250871756933</c:v>
                </c:pt>
                <c:pt idx="19">
                  <c:v>4.149697141935963</c:v>
                </c:pt>
                <c:pt idx="20">
                  <c:v>2.7919108186719463</c:v>
                </c:pt>
                <c:pt idx="21">
                  <c:v>2.894184945841995</c:v>
                </c:pt>
                <c:pt idx="22">
                  <c:v>2.938505858195092</c:v>
                </c:pt>
                <c:pt idx="23">
                  <c:v>3.4572465185100656</c:v>
                </c:pt>
                <c:pt idx="24">
                  <c:v>2.652739617906035</c:v>
                </c:pt>
                <c:pt idx="25">
                  <c:v>2.8639276461043113</c:v>
                </c:pt>
                <c:pt idx="26">
                  <c:v>3.184941036178117</c:v>
                </c:pt>
                <c:pt idx="27">
                  <c:v>3.4158959537572255</c:v>
                </c:pt>
                <c:pt idx="28">
                  <c:v>2.817507291866873</c:v>
                </c:pt>
                <c:pt idx="29">
                  <c:v>3.3637829362680973</c:v>
                </c:pt>
                <c:pt idx="30">
                  <c:v>2.031551208356438</c:v>
                </c:pt>
                <c:pt idx="31">
                  <c:v>2.876606153264595</c:v>
                </c:pt>
                <c:pt idx="32">
                  <c:v>3.5314333215479086</c:v>
                </c:pt>
                <c:pt idx="33">
                  <c:v>3.345120503005875</c:v>
                </c:pt>
                <c:pt idx="34">
                  <c:v>3.6037062821910437</c:v>
                </c:pt>
                <c:pt idx="35">
                  <c:v>3.2721734429356175</c:v>
                </c:pt>
                <c:pt idx="36">
                  <c:v>3.3825654331717474</c:v>
                </c:pt>
                <c:pt idx="37">
                  <c:v>2.818208418051301</c:v>
                </c:pt>
                <c:pt idx="38">
                  <c:v>3.138567617464348</c:v>
                </c:pt>
                <c:pt idx="39">
                  <c:v>3.3437155401656433</c:v>
                </c:pt>
                <c:pt idx="40">
                  <c:v>4.074775322402435</c:v>
                </c:pt>
                <c:pt idx="41">
                  <c:v>4.177495613692906</c:v>
                </c:pt>
                <c:pt idx="42">
                  <c:v>3.3338255471263945</c:v>
                </c:pt>
                <c:pt idx="43">
                  <c:v>3.348365644106397</c:v>
                </c:pt>
                <c:pt idx="44">
                  <c:v>3.377710379243143</c:v>
                </c:pt>
                <c:pt idx="45">
                  <c:v>3.0127975129406175</c:v>
                </c:pt>
                <c:pt idx="46">
                  <c:v>3.3434283382912335</c:v>
                </c:pt>
                <c:pt idx="47">
                  <c:v>3.4301822325223537</c:v>
                </c:pt>
                <c:pt idx="48">
                  <c:v>3.755302921336991</c:v>
                </c:pt>
                <c:pt idx="49">
                  <c:v>3.425683076607955</c:v>
                </c:pt>
                <c:pt idx="50">
                  <c:v>3.1695705513405033</c:v>
                </c:pt>
                <c:pt idx="51">
                  <c:v>3.417896563855656</c:v>
                </c:pt>
                <c:pt idx="52">
                  <c:v>2.210916258852683</c:v>
                </c:pt>
                <c:pt idx="53">
                  <c:v>2.210916258852683</c:v>
                </c:pt>
                <c:pt idx="54">
                  <c:v>3.6233792376482166</c:v>
                </c:pt>
              </c:numCache>
            </c:numRef>
          </c:xVal>
          <c:yVal>
            <c:numRef>
              <c:f>Sheet1!$B$135:$B$189</c:f>
              <c:numCache>
                <c:formatCode>General</c:formatCode>
                <c:ptCount val="55"/>
                <c:pt idx="0">
                  <c:v>0.013058121106787283</c:v>
                </c:pt>
                <c:pt idx="1">
                  <c:v>0.018352381107287485</c:v>
                </c:pt>
                <c:pt idx="2">
                  <c:v>0.012618789656958826</c:v>
                </c:pt>
                <c:pt idx="3">
                  <c:v>0.017624684656256582</c:v>
                </c:pt>
                <c:pt idx="4">
                  <c:v>0.014661910676230206</c:v>
                </c:pt>
                <c:pt idx="5">
                  <c:v>0.013555884489721698</c:v>
                </c:pt>
                <c:pt idx="6">
                  <c:v>0.012361162040992503</c:v>
                </c:pt>
                <c:pt idx="7">
                  <c:v>0.013910252033677515</c:v>
                </c:pt>
                <c:pt idx="8">
                  <c:v>0.013804539888016193</c:v>
                </c:pt>
                <c:pt idx="9">
                  <c:v>0.014606840789059787</c:v>
                </c:pt>
                <c:pt idx="10">
                  <c:v>0.014536672343145722</c:v>
                </c:pt>
                <c:pt idx="11">
                  <c:v>0.013421108120473422</c:v>
                </c:pt>
                <c:pt idx="12">
                  <c:v>0.01474453917818949</c:v>
                </c:pt>
                <c:pt idx="13">
                  <c:v>0.01638900266981476</c:v>
                </c:pt>
                <c:pt idx="14">
                  <c:v>0.017084646806876942</c:v>
                </c:pt>
                <c:pt idx="15">
                  <c:v>0.016366391122254187</c:v>
                </c:pt>
                <c:pt idx="16">
                  <c:v>0.015659139326005878</c:v>
                </c:pt>
                <c:pt idx="17">
                  <c:v>0.016677699003179003</c:v>
                </c:pt>
                <c:pt idx="18">
                  <c:v>0.01589849830011128</c:v>
                </c:pt>
                <c:pt idx="19">
                  <c:v>0.010308418928606369</c:v>
                </c:pt>
                <c:pt idx="20">
                  <c:v>0.015815810614842503</c:v>
                </c:pt>
                <c:pt idx="21">
                  <c:v>0.015400970909917992</c:v>
                </c:pt>
                <c:pt idx="22">
                  <c:v>0.0152211984228649</c:v>
                </c:pt>
                <c:pt idx="23">
                  <c:v>0.01311710593719047</c:v>
                </c:pt>
                <c:pt idx="24">
                  <c:v>0.016380310566660505</c:v>
                </c:pt>
                <c:pt idx="25">
                  <c:v>0.01552369920535603</c:v>
                </c:pt>
                <c:pt idx="26">
                  <c:v>0.014221619161264154</c:v>
                </c:pt>
                <c:pt idx="27">
                  <c:v>0.013284830234186999</c:v>
                </c:pt>
                <c:pt idx="28">
                  <c:v>0.01571198735395428</c:v>
                </c:pt>
                <c:pt idx="29">
                  <c:v>0.013496208706886857</c:v>
                </c:pt>
                <c:pt idx="30">
                  <c:v>0.018899946995252277</c:v>
                </c:pt>
                <c:pt idx="31">
                  <c:v>0.015472273216058556</c:v>
                </c:pt>
                <c:pt idx="32">
                  <c:v>0.012816192770458264</c:v>
                </c:pt>
                <c:pt idx="33">
                  <c:v>0.013571906427531312</c:v>
                </c:pt>
                <c:pt idx="34">
                  <c:v>0.012523042444986707</c:v>
                </c:pt>
                <c:pt idx="35">
                  <c:v>0.013867791004716131</c:v>
                </c:pt>
                <c:pt idx="36">
                  <c:v>0.013420023989511556</c:v>
                </c:pt>
                <c:pt idx="37">
                  <c:v>0.01570914347752618</c:v>
                </c:pt>
                <c:pt idx="38">
                  <c:v>0.014409716932106775</c:v>
                </c:pt>
                <c:pt idx="39">
                  <c:v>0.01357760517447933</c:v>
                </c:pt>
                <c:pt idx="40">
                  <c:v>0.010612313436119684</c:v>
                </c:pt>
                <c:pt idx="41">
                  <c:v>0.01019566402039944</c:v>
                </c:pt>
                <c:pt idx="42">
                  <c:v>0.013617720518483058</c:v>
                </c:pt>
                <c:pt idx="43">
                  <c:v>0.013558743632464475</c:v>
                </c:pt>
                <c:pt idx="44">
                  <c:v>0.013439716840429619</c:v>
                </c:pt>
                <c:pt idx="45">
                  <c:v>0.014919859961361871</c:v>
                </c:pt>
                <c:pt idx="46">
                  <c:v>0.01357877010977754</c:v>
                </c:pt>
                <c:pt idx="47">
                  <c:v>0.013226882874171488</c:v>
                </c:pt>
                <c:pt idx="48">
                  <c:v>0.011908142990051348</c:v>
                </c:pt>
                <c:pt idx="49">
                  <c:v>0.013245132147605376</c:v>
                </c:pt>
                <c:pt idx="50">
                  <c:v>0.014283964229083514</c:v>
                </c:pt>
                <c:pt idx="51">
                  <c:v>0.013276715449677306</c:v>
                </c:pt>
                <c:pt idx="52">
                  <c:v>0.01817241456177654</c:v>
                </c:pt>
                <c:pt idx="53">
                  <c:v>0.01817241456177654</c:v>
                </c:pt>
                <c:pt idx="54">
                  <c:v>0.0124432458897613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4976076555023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97991915841841</c:v>
                </c:pt>
                <c:pt idx="1">
                  <c:v>0.695826657985075</c:v>
                </c:pt>
                <c:pt idx="2">
                  <c:v>0.6658165426381722</c:v>
                </c:pt>
                <c:pt idx="3">
                  <c:v>0.5967619103019326</c:v>
                </c:pt>
                <c:pt idx="4">
                  <c:v>0.6262246514649145</c:v>
                </c:pt>
                <c:pt idx="5">
                  <c:v>0.6308967203923413</c:v>
                </c:pt>
                <c:pt idx="6">
                  <c:v>0.601734223625436</c:v>
                </c:pt>
                <c:pt idx="7">
                  <c:v>0.6159210649110453</c:v>
                </c:pt>
                <c:pt idx="8">
                  <c:v>0.6176349155421973</c:v>
                </c:pt>
                <c:pt idx="9">
                  <c:v>0.6688653572710644</c:v>
                </c:pt>
                <c:pt idx="10">
                  <c:v>0.6924293162749452</c:v>
                </c:pt>
                <c:pt idx="11">
                  <c:v>0.7281727936509907</c:v>
                </c:pt>
                <c:pt idx="12">
                  <c:v>0.7335344198762493</c:v>
                </c:pt>
                <c:pt idx="13">
                  <c:v>0.7190678934371927</c:v>
                </c:pt>
                <c:pt idx="14">
                  <c:v>0.7004300206099348</c:v>
                </c:pt>
                <c:pt idx="15">
                  <c:v>0.6721011331785685</c:v>
                </c:pt>
                <c:pt idx="16">
                  <c:v>0.6569254408936782</c:v>
                </c:pt>
                <c:pt idx="17">
                  <c:v>0.6832836936717128</c:v>
                </c:pt>
                <c:pt idx="18">
                  <c:v>0.7069423791892853</c:v>
                </c:pt>
                <c:pt idx="19">
                  <c:v>0.7160011509720726</c:v>
                </c:pt>
                <c:pt idx="20">
                  <c:v>0.7070155693684785</c:v>
                </c:pt>
                <c:pt idx="21">
                  <c:v>0.6655965371201188</c:v>
                </c:pt>
                <c:pt idx="22">
                  <c:v>0.6474735143172164</c:v>
                </c:pt>
                <c:pt idx="23">
                  <c:v>0.6023337408332291</c:v>
                </c:pt>
                <c:pt idx="24">
                  <c:v>0.5674676891360738</c:v>
                </c:pt>
                <c:pt idx="25">
                  <c:v>0.567688940353621</c:v>
                </c:pt>
                <c:pt idx="26">
                  <c:v>0.5489059444336164</c:v>
                </c:pt>
                <c:pt idx="27">
                  <c:v>0.5838413642818693</c:v>
                </c:pt>
                <c:pt idx="28">
                  <c:v>0.5494812718854583</c:v>
                </c:pt>
                <c:pt idx="29">
                  <c:v>0.5241494230564514</c:v>
                </c:pt>
                <c:pt idx="30">
                  <c:v>0.5394899160204836</c:v>
                </c:pt>
                <c:pt idx="31">
                  <c:v>0.5434860735963237</c:v>
                </c:pt>
                <c:pt idx="32">
                  <c:v>0.5167081903448107</c:v>
                </c:pt>
                <c:pt idx="33">
                  <c:v>0.423953376561134</c:v>
                </c:pt>
                <c:pt idx="34">
                  <c:v>0.5548711906136067</c:v>
                </c:pt>
                <c:pt idx="35">
                  <c:v>0.6468079335390471</c:v>
                </c:pt>
                <c:pt idx="36">
                  <c:v>0.6535039250959981</c:v>
                </c:pt>
                <c:pt idx="37">
                  <c:v>0.6554559152347265</c:v>
                </c:pt>
                <c:pt idx="38">
                  <c:v>0.6652094534686397</c:v>
                </c:pt>
                <c:pt idx="39">
                  <c:v>0.6360673627701485</c:v>
                </c:pt>
                <c:pt idx="40">
                  <c:v>0.6854431329314695</c:v>
                </c:pt>
                <c:pt idx="41">
                  <c:v>0.6353966567737879</c:v>
                </c:pt>
                <c:pt idx="42">
                  <c:v>0.6834007201025948</c:v>
                </c:pt>
                <c:pt idx="43">
                  <c:v>0.7066626113816957</c:v>
                </c:pt>
                <c:pt idx="44">
                  <c:v>0.6301008178415536</c:v>
                </c:pt>
                <c:pt idx="45">
                  <c:v>0.644007379659472</c:v>
                </c:pt>
                <c:pt idx="46">
                  <c:v>0.6543133760133784</c:v>
                </c:pt>
                <c:pt idx="47">
                  <c:v>0.6854742298158084</c:v>
                </c:pt>
                <c:pt idx="48">
                  <c:v>0.6857487391515016</c:v>
                </c:pt>
                <c:pt idx="49">
                  <c:v>0.7276155935643712</c:v>
                </c:pt>
                <c:pt idx="50">
                  <c:v>0.6631208190028164</c:v>
                </c:pt>
                <c:pt idx="51">
                  <c:v>0.6576636955847484</c:v>
                </c:pt>
                <c:pt idx="52">
                  <c:v>0.6797986599315817</c:v>
                </c:pt>
                <c:pt idx="53">
                  <c:v>0.6437538667375013</c:v>
                </c:pt>
                <c:pt idx="54">
                  <c:v>0.6244454518124001</c:v>
                </c:pt>
                <c:pt idx="55">
                  <c:v>0.6331020390441254</c:v>
                </c:pt>
                <c:pt idx="56">
                  <c:v>0.6468034407662294</c:v>
                </c:pt>
                <c:pt idx="57">
                  <c:v>0.6696811485050392</c:v>
                </c:pt>
                <c:pt idx="58">
                  <c:v>0.6178766347809653</c:v>
                </c:pt>
                <c:pt idx="59">
                  <c:v>0.6493458382406945</c:v>
                </c:pt>
                <c:pt idx="60">
                  <c:v>0.6479403108058842</c:v>
                </c:pt>
                <c:pt idx="61">
                  <c:v>0.640689174005374</c:v>
                </c:pt>
                <c:pt idx="62">
                  <c:v>0.6383870454662265</c:v>
                </c:pt>
                <c:pt idx="63">
                  <c:v>0.6844798346050338</c:v>
                </c:pt>
                <c:pt idx="64">
                  <c:v>0.7361173762575409</c:v>
                </c:pt>
                <c:pt idx="65">
                  <c:v>0.7439973888167256</c:v>
                </c:pt>
                <c:pt idx="66">
                  <c:v>0.7131593629443396</c:v>
                </c:pt>
                <c:pt idx="67">
                  <c:v>0.7349890197249117</c:v>
                </c:pt>
                <c:pt idx="68">
                  <c:v>0.7121113642499665</c:v>
                </c:pt>
                <c:pt idx="69">
                  <c:v>0.7321316550947108</c:v>
                </c:pt>
                <c:pt idx="70">
                  <c:v>0.6884413424432627</c:v>
                </c:pt>
                <c:pt idx="71">
                  <c:v>0.6658206951174933</c:v>
                </c:pt>
                <c:pt idx="72">
                  <c:v>0.7016074441786233</c:v>
                </c:pt>
                <c:pt idx="73">
                  <c:v>0.6601430051818455</c:v>
                </c:pt>
                <c:pt idx="74">
                  <c:v>0.5335209678946016</c:v>
                </c:pt>
                <c:pt idx="75">
                  <c:v>0.6377514094036538</c:v>
                </c:pt>
                <c:pt idx="76">
                  <c:v>0.6166202477811189</c:v>
                </c:pt>
                <c:pt idx="77">
                  <c:v>0.6370781769901429</c:v>
                </c:pt>
                <c:pt idx="78">
                  <c:v>0.7027486926371067</c:v>
                </c:pt>
                <c:pt idx="79">
                  <c:v>0.6357040659269192</c:v>
                </c:pt>
                <c:pt idx="80">
                  <c:v>0.603254749073617</c:v>
                </c:pt>
                <c:pt idx="81">
                  <c:v>0.6940057938024754</c:v>
                </c:pt>
                <c:pt idx="82">
                  <c:v>0.6609405215475237</c:v>
                </c:pt>
                <c:pt idx="83">
                  <c:v>0.6230355713495085</c:v>
                </c:pt>
                <c:pt idx="84">
                  <c:v>0.6875140060558897</c:v>
                </c:pt>
                <c:pt idx="85">
                  <c:v>0.6863428900871494</c:v>
                </c:pt>
                <c:pt idx="86">
                  <c:v>0.6936905852660558</c:v>
                </c:pt>
                <c:pt idx="87">
                  <c:v>0.7494794787787872</c:v>
                </c:pt>
                <c:pt idx="88">
                  <c:v>0.7037189110865947</c:v>
                </c:pt>
                <c:pt idx="89">
                  <c:v>0.6371077490562707</c:v>
                </c:pt>
                <c:pt idx="90">
                  <c:v>0.6188569262641633</c:v>
                </c:pt>
                <c:pt idx="91">
                  <c:v>0.6336490989596405</c:v>
                </c:pt>
                <c:pt idx="92">
                  <c:v>0.662899365447425</c:v>
                </c:pt>
                <c:pt idx="93">
                  <c:v>0.7174726194657411</c:v>
                </c:pt>
                <c:pt idx="94">
                  <c:v>0.7218696598315898</c:v>
                </c:pt>
                <c:pt idx="95">
                  <c:v>0.6952559166666225</c:v>
                </c:pt>
                <c:pt idx="96">
                  <c:v>0.7326560632336195</c:v>
                </c:pt>
                <c:pt idx="97">
                  <c:v>0.7248338330110214</c:v>
                </c:pt>
                <c:pt idx="98">
                  <c:v>0.7760698647755501</c:v>
                </c:pt>
                <c:pt idx="99">
                  <c:v>0.7877814133284153</c:v>
                </c:pt>
                <c:pt idx="100">
                  <c:v>0.7995119320090618</c:v>
                </c:pt>
                <c:pt idx="101">
                  <c:v>0.7692817671170391</c:v>
                </c:pt>
                <c:pt idx="102">
                  <c:v>0.7652029444628113</c:v>
                </c:pt>
                <c:pt idx="103">
                  <c:v>0.629958619616743</c:v>
                </c:pt>
                <c:pt idx="104">
                  <c:v>0.6650727649422401</c:v>
                </c:pt>
              </c:numCache>
            </c:numRef>
          </c:xVal>
          <c:yVal>
            <c:numRef>
              <c:f>Sheet1!$B$2:$B$106</c:f>
              <c:numCache>
                <c:formatCode>General</c:formatCode>
                <c:ptCount val="105"/>
                <c:pt idx="0">
                  <c:v>0.23658170914542728</c:v>
                </c:pt>
                <c:pt idx="1">
                  <c:v>0.24613170205109752</c:v>
                </c:pt>
                <c:pt idx="2">
                  <c:v>0.24171737660581474</c:v>
                </c:pt>
                <c:pt idx="3">
                  <c:v>0.23220973782771537</c:v>
                </c:pt>
                <c:pt idx="4">
                  <c:v>0.23856466876971608</c:v>
                </c:pt>
                <c:pt idx="5">
                  <c:v>0.2326930047118521</c:v>
                </c:pt>
                <c:pt idx="6">
                  <c:v>0.2673721340388007</c:v>
                </c:pt>
                <c:pt idx="7">
                  <c:v>0.26565726083964214</c:v>
                </c:pt>
                <c:pt idx="8">
                  <c:v>0.2744097000638162</c:v>
                </c:pt>
                <c:pt idx="9">
                  <c:v>0.27017364657814097</c:v>
                </c:pt>
                <c:pt idx="10">
                  <c:v>0.27209302325581397</c:v>
                </c:pt>
                <c:pt idx="11">
                  <c:v>0.2683670640421403</c:v>
                </c:pt>
                <c:pt idx="12">
                  <c:v>0.2600884466556108</c:v>
                </c:pt>
                <c:pt idx="13">
                  <c:v>0.2665887167494885</c:v>
                </c:pt>
                <c:pt idx="14">
                  <c:v>0.25251294547669817</c:v>
                </c:pt>
                <c:pt idx="15">
                  <c:v>0.24973050664750268</c:v>
                </c:pt>
                <c:pt idx="16">
                  <c:v>0.23090055484421682</c:v>
                </c:pt>
                <c:pt idx="17">
                  <c:v>0.21798365122615804</c:v>
                </c:pt>
                <c:pt idx="18">
                  <c:v>0.23256860098965362</c:v>
                </c:pt>
                <c:pt idx="19">
                  <c:v>0.19050632911392404</c:v>
                </c:pt>
                <c:pt idx="20">
                  <c:v>0.1869380028395646</c:v>
                </c:pt>
                <c:pt idx="21">
                  <c:v>0.2</c:v>
                </c:pt>
                <c:pt idx="22">
                  <c:v>0.21104428649535265</c:v>
                </c:pt>
                <c:pt idx="23">
                  <c:v>0.19129916567342073</c:v>
                </c:pt>
                <c:pt idx="24">
                  <c:v>0.21460892049127342</c:v>
                </c:pt>
                <c:pt idx="25">
                  <c:v>0.21681723419041002</c:v>
                </c:pt>
                <c:pt idx="26">
                  <c:v>0.23018867924528302</c:v>
                </c:pt>
                <c:pt idx="27">
                  <c:v>0.20592948717948717</c:v>
                </c:pt>
                <c:pt idx="28">
                  <c:v>0.20088105726872246</c:v>
                </c:pt>
                <c:pt idx="29">
                  <c:v>0.20481927710843373</c:v>
                </c:pt>
                <c:pt idx="30">
                  <c:v>0.20633484162895926</c:v>
                </c:pt>
                <c:pt idx="31">
                  <c:v>0.20967741935483872</c:v>
                </c:pt>
                <c:pt idx="32">
                  <c:v>0.2381852551984877</c:v>
                </c:pt>
                <c:pt idx="33">
                  <c:v>0.2355406538139145</c:v>
                </c:pt>
                <c:pt idx="34">
                  <c:v>0.23876592890677398</c:v>
                </c:pt>
                <c:pt idx="35">
                  <c:v>0.24512055109070036</c:v>
                </c:pt>
                <c:pt idx="36">
                  <c:v>0.18966737438075018</c:v>
                </c:pt>
                <c:pt idx="37">
                  <c:v>0.1963898916967509</c:v>
                </c:pt>
                <c:pt idx="38">
                  <c:v>0.16407599309153714</c:v>
                </c:pt>
                <c:pt idx="39">
                  <c:v>0.1572926596758818</c:v>
                </c:pt>
                <c:pt idx="40">
                  <c:v>0.17089065894279507</c:v>
                </c:pt>
                <c:pt idx="41">
                  <c:v>0.15173410404624277</c:v>
                </c:pt>
                <c:pt idx="42">
                  <c:v>0.17592592592592593</c:v>
                </c:pt>
                <c:pt idx="43">
                  <c:v>0.16748423265592152</c:v>
                </c:pt>
                <c:pt idx="44">
                  <c:v>0.2116461366181411</c:v>
                </c:pt>
                <c:pt idx="45">
                  <c:v>0.22289156626506024</c:v>
                </c:pt>
                <c:pt idx="46">
                  <c:v>0.2357373519913886</c:v>
                </c:pt>
                <c:pt idx="47">
                  <c:v>0.21892125757138736</c:v>
                </c:pt>
                <c:pt idx="48">
                  <c:v>0.2380206000895656</c:v>
                </c:pt>
                <c:pt idx="49">
                  <c:v>0.2592997811816193</c:v>
                </c:pt>
                <c:pt idx="50">
                  <c:v>0.2187012987012987</c:v>
                </c:pt>
                <c:pt idx="51">
                  <c:v>0.21382289416846653</c:v>
                </c:pt>
                <c:pt idx="52">
                  <c:v>0.2208778840742825</c:v>
                </c:pt>
                <c:pt idx="53">
                  <c:v>0.1986404833836858</c:v>
                </c:pt>
                <c:pt idx="54">
                  <c:v>0.20503048780487804</c:v>
                </c:pt>
                <c:pt idx="55">
                  <c:v>0.20074211502782932</c:v>
                </c:pt>
                <c:pt idx="56">
                  <c:v>0.21606049693914295</c:v>
                </c:pt>
                <c:pt idx="57">
                  <c:v>0.19306759098786827</c:v>
                </c:pt>
                <c:pt idx="58">
                  <c:v>0.22176591375770022</c:v>
                </c:pt>
                <c:pt idx="59">
                  <c:v>0.21852799090650754</c:v>
                </c:pt>
                <c:pt idx="60">
                  <c:v>0.23915289256198347</c:v>
                </c:pt>
                <c:pt idx="61">
                  <c:v>0.2620131512392514</c:v>
                </c:pt>
                <c:pt idx="62">
                  <c:v>0.2703598484848485</c:v>
                </c:pt>
                <c:pt idx="63">
                  <c:v>0.2905708787684413</c:v>
                </c:pt>
                <c:pt idx="64">
                  <c:v>0.2774044519109618</c:v>
                </c:pt>
                <c:pt idx="65">
                  <c:v>0.2659279778393352</c:v>
                </c:pt>
                <c:pt idx="66">
                  <c:v>0.2641509433962264</c:v>
                </c:pt>
                <c:pt idx="67">
                  <c:v>0.2562755399883246</c:v>
                </c:pt>
                <c:pt idx="68">
                  <c:v>0.20919713531850734</c:v>
                </c:pt>
                <c:pt idx="69">
                  <c:v>0.19689922480620156</c:v>
                </c:pt>
                <c:pt idx="70">
                  <c:v>0.18305785123966942</c:v>
                </c:pt>
                <c:pt idx="71">
                  <c:v>0.20671206225680933</c:v>
                </c:pt>
                <c:pt idx="72">
                  <c:v>0.20656634746922026</c:v>
                </c:pt>
                <c:pt idx="73">
                  <c:v>0.21467098166127294</c:v>
                </c:pt>
                <c:pt idx="74">
                  <c:v>0.237029501525941</c:v>
                </c:pt>
                <c:pt idx="75">
                  <c:v>0.1989117291414752</c:v>
                </c:pt>
                <c:pt idx="76">
                  <c:v>0.19379391100702575</c:v>
                </c:pt>
                <c:pt idx="77">
                  <c:v>0.17655571635311143</c:v>
                </c:pt>
                <c:pt idx="78">
                  <c:v>0.16728624535315986</c:v>
                </c:pt>
                <c:pt idx="79">
                  <c:v>0.17998700454840805</c:v>
                </c:pt>
                <c:pt idx="80">
                  <c:v>0.1778880226789511</c:v>
                </c:pt>
                <c:pt idx="81">
                  <c:v>0.18610129564193167</c:v>
                </c:pt>
                <c:pt idx="82">
                  <c:v>0.1946969696969697</c:v>
                </c:pt>
                <c:pt idx="83">
                  <c:v>0.18096054888507718</c:v>
                </c:pt>
                <c:pt idx="84">
                  <c:v>0.1601027397260274</c:v>
                </c:pt>
                <c:pt idx="85">
                  <c:v>0.1662799690641918</c:v>
                </c:pt>
                <c:pt idx="86">
                  <c:v>0.18568665377176016</c:v>
                </c:pt>
                <c:pt idx="87">
                  <c:v>0.19606709080393292</c:v>
                </c:pt>
                <c:pt idx="88">
                  <c:v>0.17168429617575265</c:v>
                </c:pt>
                <c:pt idx="89">
                  <c:v>0.16607773851590105</c:v>
                </c:pt>
                <c:pt idx="90">
                  <c:v>0.17004405286343613</c:v>
                </c:pt>
                <c:pt idx="91">
                  <c:v>0.17095588235294118</c:v>
                </c:pt>
                <c:pt idx="92">
                  <c:v>0.17231434751261715</c:v>
                </c:pt>
                <c:pt idx="93">
                  <c:v>0.1780929866036249</c:v>
                </c:pt>
                <c:pt idx="94">
                  <c:v>0.17890625</c:v>
                </c:pt>
                <c:pt idx="95">
                  <c:v>0.20522388059701493</c:v>
                </c:pt>
                <c:pt idx="96">
                  <c:v>0.18004866180048662</c:v>
                </c:pt>
                <c:pt idx="97">
                  <c:v>0.19524019391802555</c:v>
                </c:pt>
                <c:pt idx="98">
                  <c:v>0.19683098591549295</c:v>
                </c:pt>
                <c:pt idx="99">
                  <c:v>0.20154075546719682</c:v>
                </c:pt>
                <c:pt idx="100">
                  <c:v>0.22551745443311708</c:v>
                </c:pt>
                <c:pt idx="101">
                  <c:v>0.2143306096794469</c:v>
                </c:pt>
                <c:pt idx="102">
                  <c:v>0.17244125846276384</c:v>
                </c:pt>
                <c:pt idx="103">
                  <c:v>0.21138482023968042</c:v>
                </c:pt>
                <c:pt idx="104">
                  <c:v>0.206626954579300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2535093812294</c:v>
                </c:pt>
                <c:pt idx="1">
                  <c:v>0.7195095010161643</c:v>
                </c:pt>
                <c:pt idx="2">
                  <c:v>0.6873023283222691</c:v>
                </c:pt>
                <c:pt idx="3">
                  <c:v>0.69097821813299</c:v>
                </c:pt>
                <c:pt idx="4">
                  <c:v>0.6610409315212685</c:v>
                </c:pt>
                <c:pt idx="5">
                  <c:v>0.7598380304491184</c:v>
                </c:pt>
                <c:pt idx="6">
                  <c:v>0.7437788303224893</c:v>
                </c:pt>
                <c:pt idx="7">
                  <c:v>0.7250760040128732</c:v>
                </c:pt>
                <c:pt idx="8">
                  <c:v>0.7313447597171477</c:v>
                </c:pt>
                <c:pt idx="9">
                  <c:v>0.7585077956469767</c:v>
                </c:pt>
                <c:pt idx="10">
                  <c:v>0.769290802023426</c:v>
                </c:pt>
                <c:pt idx="11">
                  <c:v>0.7508503561708887</c:v>
                </c:pt>
                <c:pt idx="12">
                  <c:v>0.7231740602177205</c:v>
                </c:pt>
                <c:pt idx="13">
                  <c:v>0.7346026880104523</c:v>
                </c:pt>
                <c:pt idx="14">
                  <c:v>0.7555959928659368</c:v>
                </c:pt>
                <c:pt idx="15">
                  <c:v>0.7262745699638062</c:v>
                </c:pt>
                <c:pt idx="16">
                  <c:v>0.7292818063880918</c:v>
                </c:pt>
                <c:pt idx="17">
                  <c:v>0.7300771730719324</c:v>
                </c:pt>
                <c:pt idx="18">
                  <c:v>0.7228496596998039</c:v>
                </c:pt>
                <c:pt idx="19">
                  <c:v>0.743541285347088</c:v>
                </c:pt>
                <c:pt idx="20">
                  <c:v>0.7336635577271461</c:v>
                </c:pt>
                <c:pt idx="21">
                  <c:v>0.7305198490918835</c:v>
                </c:pt>
                <c:pt idx="22">
                  <c:v>0.6768255167461046</c:v>
                </c:pt>
                <c:pt idx="23">
                  <c:v>0.6702576266792133</c:v>
                </c:pt>
                <c:pt idx="24">
                  <c:v>0.681932305670732</c:v>
                </c:pt>
                <c:pt idx="25">
                  <c:v>0.6898493666007307</c:v>
                </c:pt>
                <c:pt idx="26">
                  <c:v>0.716762247736463</c:v>
                </c:pt>
                <c:pt idx="27">
                  <c:v>0.7439981917369841</c:v>
                </c:pt>
                <c:pt idx="28">
                  <c:v>0.7109383855645994</c:v>
                </c:pt>
                <c:pt idx="29">
                  <c:v>0.7388865230402021</c:v>
                </c:pt>
                <c:pt idx="30">
                  <c:v>0.7575630996486339</c:v>
                </c:pt>
                <c:pt idx="31">
                  <c:v>0.65617345960427</c:v>
                </c:pt>
                <c:pt idx="32">
                  <c:v>0.6180165598471258</c:v>
                </c:pt>
                <c:pt idx="33">
                  <c:v>0.6768827090235734</c:v>
                </c:pt>
                <c:pt idx="34">
                  <c:v>0.7363955971778496</c:v>
                </c:pt>
                <c:pt idx="35">
                  <c:v>0.6779768588509175</c:v>
                </c:pt>
                <c:pt idx="36">
                  <c:v>0.6310472805144683</c:v>
                </c:pt>
                <c:pt idx="37">
                  <c:v>0.6574895960517868</c:v>
                </c:pt>
                <c:pt idx="38">
                  <c:v>0.6859997929652406</c:v>
                </c:pt>
                <c:pt idx="39">
                  <c:v>0.6316256565371771</c:v>
                </c:pt>
                <c:pt idx="40">
                  <c:v>0.6925855732005631</c:v>
                </c:pt>
                <c:pt idx="41">
                  <c:v>0.7244422290501095</c:v>
                </c:pt>
                <c:pt idx="42">
                  <c:v>0.7017100841866818</c:v>
                </c:pt>
                <c:pt idx="43">
                  <c:v>0.7164101011197669</c:v>
                </c:pt>
                <c:pt idx="44">
                  <c:v>0.7303702633059803</c:v>
                </c:pt>
                <c:pt idx="45">
                  <c:v>0.7263580952538826</c:v>
                </c:pt>
                <c:pt idx="46">
                  <c:v>0.7315782962608643</c:v>
                </c:pt>
                <c:pt idx="47">
                  <c:v>0.7671261677906797</c:v>
                </c:pt>
                <c:pt idx="48">
                  <c:v>0.7865099370488777</c:v>
                </c:pt>
                <c:pt idx="49">
                  <c:v>0.8228316078526455</c:v>
                </c:pt>
                <c:pt idx="50">
                  <c:v>0.7826989097744663</c:v>
                </c:pt>
                <c:pt idx="51">
                  <c:v>0.7336895631105961</c:v>
                </c:pt>
              </c:numCache>
            </c:numRef>
          </c:xVal>
          <c:yVal>
            <c:numRef>
              <c:f>Sheet1!$B$109:$B$160</c:f>
              <c:numCache>
                <c:formatCode>General</c:formatCode>
                <c:ptCount val="52"/>
                <c:pt idx="0">
                  <c:v>0.1859278162595698</c:v>
                </c:pt>
                <c:pt idx="1">
                  <c:v>0.18836206896551724</c:v>
                </c:pt>
                <c:pt idx="2">
                  <c:v>0.19747899159663865</c:v>
                </c:pt>
                <c:pt idx="3">
                  <c:v>0.23007309432648798</c:v>
                </c:pt>
                <c:pt idx="4">
                  <c:v>0.22324255858138062</c:v>
                </c:pt>
                <c:pt idx="5">
                  <c:v>0.20675105485232068</c:v>
                </c:pt>
                <c:pt idx="6">
                  <c:v>0.2080022701475596</c:v>
                </c:pt>
                <c:pt idx="7">
                  <c:v>0.21869829012686157</c:v>
                </c:pt>
                <c:pt idx="8">
                  <c:v>0.23275632490013315</c:v>
                </c:pt>
                <c:pt idx="9">
                  <c:v>0.24213470053600558</c:v>
                </c:pt>
                <c:pt idx="10">
                  <c:v>0.24341279799247176</c:v>
                </c:pt>
                <c:pt idx="11">
                  <c:v>0.24407632627385195</c:v>
                </c:pt>
                <c:pt idx="12">
                  <c:v>0.257999098693105</c:v>
                </c:pt>
                <c:pt idx="13">
                  <c:v>0.24239244491080797</c:v>
                </c:pt>
                <c:pt idx="14">
                  <c:v>0.23962996120561025</c:v>
                </c:pt>
                <c:pt idx="15">
                  <c:v>0.2237242311591754</c:v>
                </c:pt>
                <c:pt idx="16">
                  <c:v>0.1999195494770716</c:v>
                </c:pt>
                <c:pt idx="17">
                  <c:v>0.19026742656729503</c:v>
                </c:pt>
                <c:pt idx="18">
                  <c:v>0.19502262443438914</c:v>
                </c:pt>
                <c:pt idx="19">
                  <c:v>0.1804932735426009</c:v>
                </c:pt>
                <c:pt idx="20">
                  <c:v>0.1793054571226081</c:v>
                </c:pt>
                <c:pt idx="21">
                  <c:v>0.17483443708609273</c:v>
                </c:pt>
                <c:pt idx="22">
                  <c:v>0.1996370235934664</c:v>
                </c:pt>
                <c:pt idx="23">
                  <c:v>0.22510561255280628</c:v>
                </c:pt>
                <c:pt idx="24">
                  <c:v>0.20869565217391303</c:v>
                </c:pt>
                <c:pt idx="25">
                  <c:v>0.20166453265044815</c:v>
                </c:pt>
                <c:pt idx="26">
                  <c:v>0.1704781704781705</c:v>
                </c:pt>
                <c:pt idx="27">
                  <c:v>0.16640378548895898</c:v>
                </c:pt>
                <c:pt idx="28">
                  <c:v>0.18132716049382716</c:v>
                </c:pt>
                <c:pt idx="29">
                  <c:v>0.1969439728353141</c:v>
                </c:pt>
                <c:pt idx="30">
                  <c:v>0.19193689745836984</c:v>
                </c:pt>
                <c:pt idx="31">
                  <c:v>0.17014613778705637</c:v>
                </c:pt>
                <c:pt idx="32">
                  <c:v>0.17084493964716807</c:v>
                </c:pt>
                <c:pt idx="33">
                  <c:v>0.20416386836803224</c:v>
                </c:pt>
                <c:pt idx="34">
                  <c:v>0.23887323943661973</c:v>
                </c:pt>
                <c:pt idx="35">
                  <c:v>0.23269611074489124</c:v>
                </c:pt>
                <c:pt idx="36">
                  <c:v>0.19202898550724637</c:v>
                </c:pt>
                <c:pt idx="37">
                  <c:v>0.15658021133525457</c:v>
                </c:pt>
                <c:pt idx="38">
                  <c:v>0.151183970856102</c:v>
                </c:pt>
                <c:pt idx="39">
                  <c:v>0.1966955153422502</c:v>
                </c:pt>
                <c:pt idx="40">
                  <c:v>0.19138755980861244</c:v>
                </c:pt>
                <c:pt idx="41">
                  <c:v>0.1879432624113475</c:v>
                </c:pt>
                <c:pt idx="42">
                  <c:v>0.17992424242424243</c:v>
                </c:pt>
                <c:pt idx="43">
                  <c:v>0.16408839779005524</c:v>
                </c:pt>
                <c:pt idx="44">
                  <c:v>0.17486033519553074</c:v>
                </c:pt>
                <c:pt idx="45">
                  <c:v>0.19148936170212766</c:v>
                </c:pt>
                <c:pt idx="46">
                  <c:v>0.1914648212226067</c:v>
                </c:pt>
                <c:pt idx="47">
                  <c:v>0.18519842688594923</c:v>
                </c:pt>
                <c:pt idx="48">
                  <c:v>0.17766143106457244</c:v>
                </c:pt>
                <c:pt idx="49">
                  <c:v>0.18540580789277736</c:v>
                </c:pt>
                <c:pt idx="50">
                  <c:v>0.22227112676056338</c:v>
                </c:pt>
                <c:pt idx="51">
                  <c:v>0.204202232435981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79261389918132</c:v>
                </c:pt>
              </c:numCache>
            </c:numRef>
          </c:xVal>
          <c:yVal>
            <c:numRef>
              <c:f>Sheet1!$B$163:$B$164</c:f>
              <c:numCache>
                <c:formatCode>General</c:formatCode>
                <c:ptCount val="2"/>
                <c:pt idx="0">
                  <c:v>0.24837081045043133</c:v>
                </c:pt>
                <c:pt idx="1">
                  <c:v>0.2483708104504313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79261389918132</c:v>
                </c:pt>
                <c:pt idx="1">
                  <c:v>1.179261389918132</c:v>
                </c:pt>
              </c:numCache>
            </c:numRef>
          </c:xVal>
          <c:yVal>
            <c:numRef>
              <c:f>Sheet1!$B$167:$B$168</c:f>
              <c:numCache>
                <c:formatCode>General</c:formatCode>
                <c:ptCount val="2"/>
                <c:pt idx="0">
                  <c:v>0.248370810450431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2963747671513</c:v>
                </c:pt>
              </c:numCache>
            </c:numRef>
          </c:xVal>
          <c:yVal>
            <c:numRef>
              <c:f>Sheet1!$B$171:$B$172</c:f>
              <c:numCache>
                <c:formatCode>General</c:formatCode>
                <c:ptCount val="2"/>
                <c:pt idx="0">
                  <c:v>0.2164009483846989</c:v>
                </c:pt>
                <c:pt idx="1">
                  <c:v>0.216400948384698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2963747671513</c:v>
                </c:pt>
                <c:pt idx="1">
                  <c:v>0.872963747671513</c:v>
                </c:pt>
              </c:numCache>
            </c:numRef>
          </c:xVal>
          <c:yVal>
            <c:numRef>
              <c:f>Sheet1!$B$175:$B$176</c:f>
              <c:numCache>
                <c:formatCode>General</c:formatCode>
                <c:ptCount val="2"/>
                <c:pt idx="0">
                  <c:v>0.21640094838469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071918135859116</c:v>
                </c:pt>
              </c:numCache>
            </c:numRef>
          </c:xVal>
          <c:yVal>
            <c:numRef>
              <c:f>Sheet1!$B$179:$B$180</c:f>
              <c:numCache>
                <c:formatCode>General</c:formatCode>
                <c:ptCount val="2"/>
                <c:pt idx="0">
                  <c:v>0.18866096314897055</c:v>
                </c:pt>
                <c:pt idx="1">
                  <c:v>0.188660963148970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071918135859116</c:v>
                </c:pt>
                <c:pt idx="1">
                  <c:v>0.6071918135859116</c:v>
                </c:pt>
              </c:numCache>
            </c:numRef>
          </c:xVal>
          <c:yVal>
            <c:numRef>
              <c:f>Sheet1!$B$183:$B$184</c:f>
              <c:numCache>
                <c:formatCode>General</c:formatCode>
                <c:ptCount val="2"/>
                <c:pt idx="0">
                  <c:v>0.18866096314897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2535093812294</c:v>
                </c:pt>
                <c:pt idx="1">
                  <c:v>0.7195095010161643</c:v>
                </c:pt>
                <c:pt idx="2">
                  <c:v>0.6873023283222691</c:v>
                </c:pt>
                <c:pt idx="3">
                  <c:v>0.69097821813299</c:v>
                </c:pt>
                <c:pt idx="4">
                  <c:v>0.6610409315212685</c:v>
                </c:pt>
                <c:pt idx="5">
                  <c:v>0.7598380304491184</c:v>
                </c:pt>
                <c:pt idx="6">
                  <c:v>0.7437788303224893</c:v>
                </c:pt>
                <c:pt idx="7">
                  <c:v>0.7250760040128732</c:v>
                </c:pt>
                <c:pt idx="8">
                  <c:v>0.7313447597171477</c:v>
                </c:pt>
                <c:pt idx="9">
                  <c:v>0.7585077956469767</c:v>
                </c:pt>
                <c:pt idx="10">
                  <c:v>0.769290802023426</c:v>
                </c:pt>
                <c:pt idx="11">
                  <c:v>0.7508503561708887</c:v>
                </c:pt>
                <c:pt idx="12">
                  <c:v>0.7231740602177205</c:v>
                </c:pt>
                <c:pt idx="13">
                  <c:v>0.7346026880104523</c:v>
                </c:pt>
                <c:pt idx="14">
                  <c:v>0.7555959928659368</c:v>
                </c:pt>
                <c:pt idx="15">
                  <c:v>0.7262745699638062</c:v>
                </c:pt>
                <c:pt idx="16">
                  <c:v>0.7292818063880918</c:v>
                </c:pt>
                <c:pt idx="17">
                  <c:v>0.7300771730719324</c:v>
                </c:pt>
                <c:pt idx="18">
                  <c:v>0.7228496596998039</c:v>
                </c:pt>
                <c:pt idx="19">
                  <c:v>0.743541285347088</c:v>
                </c:pt>
                <c:pt idx="20">
                  <c:v>0.7336635577271461</c:v>
                </c:pt>
                <c:pt idx="21">
                  <c:v>0.7305198490918835</c:v>
                </c:pt>
                <c:pt idx="22">
                  <c:v>0.6768255167461046</c:v>
                </c:pt>
                <c:pt idx="23">
                  <c:v>0.6702576266792133</c:v>
                </c:pt>
                <c:pt idx="24">
                  <c:v>0.681932305670732</c:v>
                </c:pt>
                <c:pt idx="25">
                  <c:v>0.6898493666007307</c:v>
                </c:pt>
                <c:pt idx="26">
                  <c:v>0.716762247736463</c:v>
                </c:pt>
                <c:pt idx="27">
                  <c:v>0.7439981917369841</c:v>
                </c:pt>
                <c:pt idx="28">
                  <c:v>0.7109383855645994</c:v>
                </c:pt>
                <c:pt idx="29">
                  <c:v>0.7388865230402021</c:v>
                </c:pt>
                <c:pt idx="30">
                  <c:v>0.7575630996486339</c:v>
                </c:pt>
                <c:pt idx="31">
                  <c:v>0.65617345960427</c:v>
                </c:pt>
                <c:pt idx="32">
                  <c:v>0.6180165598471258</c:v>
                </c:pt>
                <c:pt idx="33">
                  <c:v>0.6768827090235734</c:v>
                </c:pt>
                <c:pt idx="34">
                  <c:v>0.7363955971778496</c:v>
                </c:pt>
                <c:pt idx="35">
                  <c:v>0.6779768588509175</c:v>
                </c:pt>
                <c:pt idx="36">
                  <c:v>0.6310472805144683</c:v>
                </c:pt>
                <c:pt idx="37">
                  <c:v>0.6574895960517868</c:v>
                </c:pt>
                <c:pt idx="38">
                  <c:v>0.6859997929652406</c:v>
                </c:pt>
                <c:pt idx="39">
                  <c:v>0.6316256565371771</c:v>
                </c:pt>
                <c:pt idx="40">
                  <c:v>0.6925855732005631</c:v>
                </c:pt>
                <c:pt idx="41">
                  <c:v>0.7244422290501095</c:v>
                </c:pt>
                <c:pt idx="42">
                  <c:v>0.7017100841866818</c:v>
                </c:pt>
                <c:pt idx="43">
                  <c:v>0.7164101011197669</c:v>
                </c:pt>
                <c:pt idx="44">
                  <c:v>0.7303702633059803</c:v>
                </c:pt>
                <c:pt idx="45">
                  <c:v>0.7263580952538826</c:v>
                </c:pt>
                <c:pt idx="46">
                  <c:v>0.7315782962608643</c:v>
                </c:pt>
                <c:pt idx="47">
                  <c:v>0.7671261677906797</c:v>
                </c:pt>
                <c:pt idx="48">
                  <c:v>0.7865099370488777</c:v>
                </c:pt>
                <c:pt idx="49">
                  <c:v>0.8228316078526455</c:v>
                </c:pt>
                <c:pt idx="50">
                  <c:v>0.7826989097744663</c:v>
                </c:pt>
                <c:pt idx="51">
                  <c:v>0.7336895631105961</c:v>
                </c:pt>
                <c:pt idx="52">
                  <c:v>0.872963747671513</c:v>
                </c:pt>
                <c:pt idx="53">
                  <c:v>1.179261389918132</c:v>
                </c:pt>
                <c:pt idx="54">
                  <c:v>0.6071918135859116</c:v>
                </c:pt>
              </c:numCache>
            </c:numRef>
          </c:xVal>
          <c:yVal>
            <c:numRef>
              <c:f>Sheet1!$B$187:$B$241</c:f>
              <c:numCache>
                <c:formatCode>General</c:formatCode>
                <c:ptCount val="55"/>
                <c:pt idx="0">
                  <c:v>0.2059186926684068</c:v>
                </c:pt>
                <c:pt idx="1">
                  <c:v>0.20038413851639983</c:v>
                </c:pt>
                <c:pt idx="2">
                  <c:v>0.19702251006572435</c:v>
                </c:pt>
                <c:pt idx="3">
                  <c:v>0.19740618161264067</c:v>
                </c:pt>
                <c:pt idx="4">
                  <c:v>0.1942814728601377</c:v>
                </c:pt>
                <c:pt idx="5">
                  <c:v>0.20459343478727116</c:v>
                </c:pt>
                <c:pt idx="6">
                  <c:v>0.20291725338029531</c:v>
                </c:pt>
                <c:pt idx="7">
                  <c:v>0.20096514309641544</c:v>
                </c:pt>
                <c:pt idx="8">
                  <c:v>0.2016194454074599</c:v>
                </c:pt>
                <c:pt idx="9">
                  <c:v>0.20445459133151492</c:v>
                </c:pt>
                <c:pt idx="10">
                  <c:v>0.20558006922935468</c:v>
                </c:pt>
                <c:pt idx="11">
                  <c:v>0.20365534494479243</c:v>
                </c:pt>
                <c:pt idx="12">
                  <c:v>0.20076662742929563</c:v>
                </c:pt>
                <c:pt idx="13">
                  <c:v>0.2019594921586952</c:v>
                </c:pt>
                <c:pt idx="14">
                  <c:v>0.20415067148221516</c:v>
                </c:pt>
                <c:pt idx="15">
                  <c:v>0.20109024359620042</c:v>
                </c:pt>
                <c:pt idx="16">
                  <c:v>0.2014041243462391</c:v>
                </c:pt>
                <c:pt idx="17">
                  <c:v>0.2014871408624211</c:v>
                </c:pt>
                <c:pt idx="18">
                  <c:v>0.20073276807688348</c:v>
                </c:pt>
                <c:pt idx="19">
                  <c:v>0.20289245958807972</c:v>
                </c:pt>
                <c:pt idx="20">
                  <c:v>0.20186147029538984</c:v>
                </c:pt>
                <c:pt idx="21">
                  <c:v>0.20153334523798808</c:v>
                </c:pt>
                <c:pt idx="22">
                  <c:v>0.1959289912958052</c:v>
                </c:pt>
                <c:pt idx="23">
                  <c:v>0.19524346679107416</c:v>
                </c:pt>
                <c:pt idx="24">
                  <c:v>0.19646201315102307</c:v>
                </c:pt>
                <c:pt idx="25">
                  <c:v>0.19728835756569627</c:v>
                </c:pt>
                <c:pt idx="26">
                  <c:v>0.20009739354582978</c:v>
                </c:pt>
                <c:pt idx="27">
                  <c:v>0.20294014926063086</c:v>
                </c:pt>
                <c:pt idx="28">
                  <c:v>0.19948952706354584</c:v>
                </c:pt>
                <c:pt idx="29">
                  <c:v>0.202406618078467</c:v>
                </c:pt>
                <c:pt idx="30">
                  <c:v>0.204355988545873</c:v>
                </c:pt>
                <c:pt idx="31">
                  <c:v>0.1937734297532633</c:v>
                </c:pt>
                <c:pt idx="32">
                  <c:v>0.18979079765350432</c:v>
                </c:pt>
                <c:pt idx="33">
                  <c:v>0.19593496074829103</c:v>
                </c:pt>
                <c:pt idx="34">
                  <c:v>0.20214662732029048</c:v>
                </c:pt>
                <c:pt idx="35">
                  <c:v>0.19604916279961232</c:v>
                </c:pt>
                <c:pt idx="36">
                  <c:v>0.19115088106549677</c:v>
                </c:pt>
                <c:pt idx="37">
                  <c:v>0.1939108016911541</c:v>
                </c:pt>
                <c:pt idx="38">
                  <c:v>0.19688655774368063</c:v>
                </c:pt>
                <c:pt idx="39">
                  <c:v>0.19121124914907883</c:v>
                </c:pt>
                <c:pt idx="40">
                  <c:v>0.19757394953740842</c:v>
                </c:pt>
                <c:pt idx="41">
                  <c:v>0.2008989927402075</c:v>
                </c:pt>
                <c:pt idx="42">
                  <c:v>0.1985263217316697</c:v>
                </c:pt>
                <c:pt idx="43">
                  <c:v>0.2000606381902217</c:v>
                </c:pt>
                <c:pt idx="44">
                  <c:v>0.20151773219928742</c:v>
                </c:pt>
                <c:pt idx="45">
                  <c:v>0.2010989615608023</c:v>
                </c:pt>
                <c:pt idx="46">
                  <c:v>0.2016438208190209</c:v>
                </c:pt>
                <c:pt idx="47">
                  <c:v>0.2053541352086548</c:v>
                </c:pt>
                <c:pt idx="48">
                  <c:v>0.2073773190142932</c:v>
                </c:pt>
                <c:pt idx="49">
                  <c:v>0.2111683988184872</c:v>
                </c:pt>
                <c:pt idx="50">
                  <c:v>0.20697954247446082</c:v>
                </c:pt>
                <c:pt idx="51">
                  <c:v>0.20186418461116373</c:v>
                </c:pt>
                <c:pt idx="52">
                  <c:v>0.2164009483846989</c:v>
                </c:pt>
                <c:pt idx="53">
                  <c:v>0.24837081045043136</c:v>
                </c:pt>
                <c:pt idx="54">
                  <c:v>0.188660963148970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68505452212956"/>
          <c:min val="0.12094717668488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11792452830188679</c:v>
                </c:pt>
                <c:pt idx="3">
                  <c:v>0.0011904761904761906</c:v>
                </c:pt>
                <c:pt idx="4">
                  <c:v>0.0011890606420927466</c:v>
                </c:pt>
                <c:pt idx="5">
                  <c:v>0.0009041591320072332</c:v>
                </c:pt>
                <c:pt idx="6">
                  <c:v>0.0008517887563884157</c:v>
                </c:pt>
                <c:pt idx="7">
                  <c:v>0.000437636761487965</c:v>
                </c:pt>
                <c:pt idx="8">
                  <c:v>0.0014807502467917078</c:v>
                </c:pt>
                <c:pt idx="9">
                  <c:v>0.0023219814241486067</c:v>
                </c:pt>
                <c:pt idx="10">
                  <c:v>0.0017574692442882249</c:v>
                </c:pt>
                <c:pt idx="11">
                  <c:v>0.002130681818181818</c:v>
                </c:pt>
                <c:pt idx="12">
                  <c:v>0.002722940776038121</c:v>
                </c:pt>
                <c:pt idx="13">
                  <c:v>0.0021216407355021216</c:v>
                </c:pt>
                <c:pt idx="14">
                  <c:v>0.0023219814241486067</c:v>
                </c:pt>
                <c:pt idx="15">
                  <c:v>0.0017376194613379669</c:v>
                </c:pt>
                <c:pt idx="16">
                  <c:v>0.0030303030303030303</c:v>
                </c:pt>
                <c:pt idx="17">
                  <c:v>0.005681818181818182</c:v>
                </c:pt>
                <c:pt idx="18">
                  <c:v>0.0013736263736263737</c:v>
                </c:pt>
                <c:pt idx="19">
                  <c:v>0.004470938897168405</c:v>
                </c:pt>
                <c:pt idx="20">
                  <c:v>0.0030075187969924814</c:v>
                </c:pt>
                <c:pt idx="21">
                  <c:v>0.005190311418685121</c:v>
                </c:pt>
                <c:pt idx="22">
                  <c:v>0.003278688524590164</c:v>
                </c:pt>
                <c:pt idx="23">
                  <c:v>0.0022522522522522522</c:v>
                </c:pt>
                <c:pt idx="24">
                  <c:v>0.005333333333333333</c:v>
                </c:pt>
                <c:pt idx="25">
                  <c:v>0.005089058524173028</c:v>
                </c:pt>
                <c:pt idx="26">
                  <c:v>0.006389776357827476</c:v>
                </c:pt>
                <c:pt idx="27">
                  <c:v>0.006896551724137931</c:v>
                </c:pt>
                <c:pt idx="28">
                  <c:v>0.0037174721189591076</c:v>
                </c:pt>
                <c:pt idx="29">
                  <c:v>0.00911854103343465</c:v>
                </c:pt>
                <c:pt idx="30">
                  <c:v>0.01556420233463035</c:v>
                </c:pt>
                <c:pt idx="31">
                  <c:v>0.008097165991902834</c:v>
                </c:pt>
                <c:pt idx="32">
                  <c:v>0.0</c:v>
                </c:pt>
                <c:pt idx="33">
                  <c:v>0.007407407407407408</c:v>
                </c:pt>
                <c:pt idx="34">
                  <c:v>0.012307692307692308</c:v>
                </c:pt>
                <c:pt idx="35">
                  <c:v>0.012121212121212121</c:v>
                </c:pt>
                <c:pt idx="36">
                  <c:v>0.014084507042253521</c:v>
                </c:pt>
                <c:pt idx="37">
                  <c:v>0.025547445255474453</c:v>
                </c:pt>
                <c:pt idx="38">
                  <c:v>0.011904761904761904</c:v>
                </c:pt>
                <c:pt idx="39">
                  <c:v>0.014925373134328358</c:v>
                </c:pt>
                <c:pt idx="40">
                  <c:v>0.0091324200913242</c:v>
                </c:pt>
                <c:pt idx="41">
                  <c:v>0.004750593824228029</c:v>
                </c:pt>
                <c:pt idx="42">
                  <c:v>0.0125</c:v>
                </c:pt>
                <c:pt idx="43">
                  <c:v>0.012345679012345678</c:v>
                </c:pt>
                <c:pt idx="44">
                  <c:v>0.023980815347721823</c:v>
                </c:pt>
                <c:pt idx="45">
                  <c:v>0.03708133971291866</c:v>
                </c:pt>
                <c:pt idx="46">
                  <c:v>0.030395136778115502</c:v>
                </c:pt>
                <c:pt idx="47">
                  <c:v>0.02153316106804479</c:v>
                </c:pt>
                <c:pt idx="48">
                  <c:v>0.01038961038961039</c:v>
                </c:pt>
                <c:pt idx="49">
                  <c:v>0.014109347442680775</c:v>
                </c:pt>
                <c:pt idx="50">
                  <c:v>0.015037593984962405</c:v>
                </c:pt>
                <c:pt idx="51">
                  <c:v>0.008183306055646482</c:v>
                </c:pt>
                <c:pt idx="52">
                  <c:v>0.007563025210084034</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6885998469778117</c:v>
                </c:pt>
                <c:pt idx="1">
                  <c:v>0.010543390105433901</c:v>
                </c:pt>
                <c:pt idx="2">
                  <c:v>0.007513661202185792</c:v>
                </c:pt>
                <c:pt idx="3">
                  <c:v>0.008855154965211892</c:v>
                </c:pt>
                <c:pt idx="4">
                  <c:v>0.009339080459770116</c:v>
                </c:pt>
                <c:pt idx="5">
                  <c:v>0.007913669064748202</c:v>
                </c:pt>
                <c:pt idx="6">
                  <c:v>0.00661455201443175</c:v>
                </c:pt>
                <c:pt idx="7">
                  <c:v>0.00989010989010989</c:v>
                </c:pt>
                <c:pt idx="8">
                  <c:v>0.009183673469387756</c:v>
                </c:pt>
                <c:pt idx="9">
                  <c:v>0.011650485436893204</c:v>
                </c:pt>
                <c:pt idx="10">
                  <c:v>0.01131687242798354</c:v>
                </c:pt>
                <c:pt idx="11">
                  <c:v>0.009187279151943463</c:v>
                </c:pt>
                <c:pt idx="12">
                  <c:v>0.01222707423580786</c:v>
                </c:pt>
                <c:pt idx="13">
                  <c:v>0.01607142857142857</c:v>
                </c:pt>
                <c:pt idx="14">
                  <c:v>0.021589793915603533</c:v>
                </c:pt>
                <c:pt idx="15">
                  <c:v>0.017524644030668127</c:v>
                </c:pt>
                <c:pt idx="16">
                  <c:v>0.01761006289308176</c:v>
                </c:pt>
                <c:pt idx="17">
                  <c:v>0.019858156028368795</c:v>
                </c:pt>
                <c:pt idx="18">
                  <c:v>0.016194331983805668</c:v>
                </c:pt>
                <c:pt idx="19">
                  <c:v>0.009328358208955223</c:v>
                </c:pt>
                <c:pt idx="20">
                  <c:v>0.015503875968992248</c:v>
                </c:pt>
                <c:pt idx="21">
                  <c:v>0.015706806282722512</c:v>
                </c:pt>
                <c:pt idx="22">
                  <c:v>0.01048951048951049</c:v>
                </c:pt>
                <c:pt idx="23">
                  <c:v>0.008714596949891068</c:v>
                </c:pt>
                <c:pt idx="24">
                  <c:v>0.015037593984962405</c:v>
                </c:pt>
                <c:pt idx="25">
                  <c:v>0.016853932584269662</c:v>
                </c:pt>
                <c:pt idx="26">
                  <c:v>0.013888888888888888</c:v>
                </c:pt>
                <c:pt idx="27">
                  <c:v>0.01466275659824047</c:v>
                </c:pt>
                <c:pt idx="28">
                  <c:v>0.013623978201634877</c:v>
                </c:pt>
                <c:pt idx="29">
                  <c:v>0.013651877133105802</c:v>
                </c:pt>
                <c:pt idx="30">
                  <c:v>0.023346303501945526</c:v>
                </c:pt>
                <c:pt idx="31">
                  <c:v>0.019138755980861243</c:v>
                </c:pt>
                <c:pt idx="32">
                  <c:v>0.01568627450980392</c:v>
                </c:pt>
                <c:pt idx="33">
                  <c:v>0.01730103806228374</c:v>
                </c:pt>
                <c:pt idx="34">
                  <c:v>0.017191977077363897</c:v>
                </c:pt>
                <c:pt idx="35">
                  <c:v>0.02214022140221402</c:v>
                </c:pt>
                <c:pt idx="36">
                  <c:v>0.029411764705882353</c:v>
                </c:pt>
                <c:pt idx="37">
                  <c:v>0.03365384615384615</c:v>
                </c:pt>
                <c:pt idx="38">
                  <c:v>0.026881720430107527</c:v>
                </c:pt>
                <c:pt idx="39">
                  <c:v>0.019011406844106463</c:v>
                </c:pt>
                <c:pt idx="40">
                  <c:v>0.0136986301369863</c:v>
                </c:pt>
                <c:pt idx="41">
                  <c:v>0.014326647564469915</c:v>
                </c:pt>
                <c:pt idx="42">
                  <c:v>0.01557632398753894</c:v>
                </c:pt>
                <c:pt idx="43">
                  <c:v>0.013071895424836602</c:v>
                </c:pt>
                <c:pt idx="44">
                  <c:v>0.014336917562724014</c:v>
                </c:pt>
                <c:pt idx="45">
                  <c:v>0.011750881316098707</c:v>
                </c:pt>
                <c:pt idx="46">
                  <c:v>0.011940298507462687</c:v>
                </c:pt>
                <c:pt idx="47">
                  <c:v>0.010440835266821345</c:v>
                </c:pt>
                <c:pt idx="48">
                  <c:v>0.008058017727639</c:v>
                </c:pt>
                <c:pt idx="49">
                  <c:v>0.010075566750629723</c:v>
                </c:pt>
                <c:pt idx="50">
                  <c:v>0.00918318028032866</c:v>
                </c:pt>
                <c:pt idx="51">
                  <c:v>0.010291595197255575</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1897.3300524721503</c:v>
                </c:pt>
              </c:numCache>
            </c:numRef>
          </c:xVal>
          <c:yVal>
            <c:numRef>
              <c:f>Sheet1!$B$111:$B$112</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1897.3300524721503</c:v>
                </c:pt>
                <c:pt idx="1">
                  <c:v>1897.3300524721503</c:v>
                </c:pt>
              </c:numCache>
            </c:numRef>
          </c:xVal>
          <c:yVal>
            <c:numRef>
              <c:f>Sheet1!$B$115:$B$116</c:f>
              <c:numCache>
                <c:formatCode>General</c:formatCode>
                <c:ptCount val="2"/>
                <c:pt idx="0">
                  <c:v>0.018172414561776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1897.3300524721503</c:v>
                </c:pt>
              </c:numCache>
            </c:numRef>
          </c:xVal>
          <c:yVal>
            <c:numRef>
              <c:f>Sheet1!$B$119:$B$120</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897.3300524721503</c:v>
                </c:pt>
                <c:pt idx="1">
                  <c:v>1897.3300524721503</c:v>
                </c:pt>
              </c:numCache>
            </c:numRef>
          </c:xVal>
          <c:yVal>
            <c:numRef>
              <c:f>Sheet1!$B$123:$B$124</c:f>
              <c:numCache>
                <c:formatCode>General</c:formatCode>
                <c:ptCount val="2"/>
                <c:pt idx="0">
                  <c:v>0.018172414561776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350.262558785228</c:v>
                </c:pt>
              </c:numCache>
            </c:numRef>
          </c:xVal>
          <c:yVal>
            <c:numRef>
              <c:f>Sheet1!$B$127:$B$128</c:f>
              <c:numCache>
                <c:formatCode>General</c:formatCode>
                <c:ptCount val="2"/>
                <c:pt idx="0">
                  <c:v>0.012443245889761383</c:v>
                </c:pt>
                <c:pt idx="1">
                  <c:v>0.01244324588976138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350.262558785228</c:v>
                </c:pt>
                <c:pt idx="1">
                  <c:v>5350.262558785228</c:v>
                </c:pt>
              </c:numCache>
            </c:numRef>
          </c:xVal>
          <c:yVal>
            <c:numRef>
              <c:f>Sheet1!$B$131:$B$132</c:f>
              <c:numCache>
                <c:formatCode>General</c:formatCode>
                <c:ptCount val="2"/>
                <c:pt idx="0">
                  <c:v>0.0124432458897613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1897.3300524721503</c:v>
                </c:pt>
                <c:pt idx="53">
                  <c:v>1897.3300524721503</c:v>
                </c:pt>
                <c:pt idx="54">
                  <c:v>5350.262558785228</c:v>
                </c:pt>
              </c:numCache>
            </c:numRef>
          </c:xVal>
          <c:yVal>
            <c:numRef>
              <c:f>Sheet1!$B$135:$B$189</c:f>
              <c:numCache>
                <c:formatCode>General</c:formatCode>
                <c:ptCount val="55"/>
                <c:pt idx="0">
                  <c:v>0.013945274059225509</c:v>
                </c:pt>
                <c:pt idx="1">
                  <c:v>0.016276603311255286</c:v>
                </c:pt>
                <c:pt idx="2">
                  <c:v>0.013105257149820694</c:v>
                </c:pt>
                <c:pt idx="3">
                  <c:v>0.0159248399140055</c:v>
                </c:pt>
                <c:pt idx="4">
                  <c:v>0.014181010646317438</c:v>
                </c:pt>
                <c:pt idx="5">
                  <c:v>0.01361976563398853</c:v>
                </c:pt>
                <c:pt idx="6">
                  <c:v>0.013519609080585119</c:v>
                </c:pt>
                <c:pt idx="7">
                  <c:v>0.014396765765645279</c:v>
                </c:pt>
                <c:pt idx="8">
                  <c:v>0.014167977984634709</c:v>
                </c:pt>
                <c:pt idx="9">
                  <c:v>0.014511067486576108</c:v>
                </c:pt>
                <c:pt idx="10">
                  <c:v>0.014394771385294325</c:v>
                </c:pt>
                <c:pt idx="11">
                  <c:v>0.014507110914708483</c:v>
                </c:pt>
                <c:pt idx="12">
                  <c:v>0.015149748049271907</c:v>
                </c:pt>
                <c:pt idx="13">
                  <c:v>0.015221765920169633</c:v>
                </c:pt>
                <c:pt idx="14">
                  <c:v>0.015476053728883788</c:v>
                </c:pt>
                <c:pt idx="15">
                  <c:v>0.015140222311307794</c:v>
                </c:pt>
                <c:pt idx="16">
                  <c:v>0.01475272084599042</c:v>
                </c:pt>
                <c:pt idx="17">
                  <c:v>0.015434066878919588</c:v>
                </c:pt>
                <c:pt idx="18">
                  <c:v>0.015134311346249329</c:v>
                </c:pt>
                <c:pt idx="19">
                  <c:v>0.011736190865165138</c:v>
                </c:pt>
                <c:pt idx="20">
                  <c:v>0.014711832896281158</c:v>
                </c:pt>
                <c:pt idx="21">
                  <c:v>0.014400268541318241</c:v>
                </c:pt>
                <c:pt idx="22">
                  <c:v>0.014428106573474847</c:v>
                </c:pt>
                <c:pt idx="23">
                  <c:v>0.013056762679911006</c:v>
                </c:pt>
                <c:pt idx="24">
                  <c:v>0.015124978243525437</c:v>
                </c:pt>
                <c:pt idx="25">
                  <c:v>0.015137698972174906</c:v>
                </c:pt>
                <c:pt idx="26">
                  <c:v>0.01403155340885082</c:v>
                </c:pt>
                <c:pt idx="27">
                  <c:v>0.013476378978377182</c:v>
                </c:pt>
                <c:pt idx="28">
                  <c:v>0.014621903266479393</c:v>
                </c:pt>
                <c:pt idx="29">
                  <c:v>0.013274535076801815</c:v>
                </c:pt>
                <c:pt idx="30">
                  <c:v>0.016505447837530416</c:v>
                </c:pt>
                <c:pt idx="31">
                  <c:v>0.014507334245486551</c:v>
                </c:pt>
                <c:pt idx="32">
                  <c:v>0.012938128574176203</c:v>
                </c:pt>
                <c:pt idx="33">
                  <c:v>0.013347955484896432</c:v>
                </c:pt>
                <c:pt idx="34">
                  <c:v>0.012714687126249532</c:v>
                </c:pt>
                <c:pt idx="35">
                  <c:v>0.013598774034146518</c:v>
                </c:pt>
                <c:pt idx="36">
                  <c:v>0.013430584554345287</c:v>
                </c:pt>
                <c:pt idx="37">
                  <c:v>0.014849785114318895</c:v>
                </c:pt>
                <c:pt idx="38">
                  <c:v>0.014393926677277126</c:v>
                </c:pt>
                <c:pt idx="39">
                  <c:v>0.014645132322147744</c:v>
                </c:pt>
                <c:pt idx="40">
                  <c:v>0.012560490497739264</c:v>
                </c:pt>
                <c:pt idx="41">
                  <c:v>0.012560490497739264</c:v>
                </c:pt>
                <c:pt idx="42">
                  <c:v>0.014128119911700687</c:v>
                </c:pt>
                <c:pt idx="43">
                  <c:v>0.014001410888450087</c:v>
                </c:pt>
                <c:pt idx="44">
                  <c:v>0.014580339849015661</c:v>
                </c:pt>
                <c:pt idx="45">
                  <c:v>0.015177741384257839</c:v>
                </c:pt>
                <c:pt idx="46">
                  <c:v>0.014241859323562516</c:v>
                </c:pt>
                <c:pt idx="47">
                  <c:v>0.01432707859864022</c:v>
                </c:pt>
                <c:pt idx="48">
                  <c:v>0.013925861205559813</c:v>
                </c:pt>
                <c:pt idx="49">
                  <c:v>0.01469385808708316</c:v>
                </c:pt>
                <c:pt idx="50">
                  <c:v>0.015081576578149208</c:v>
                </c:pt>
                <c:pt idx="51">
                  <c:v>0.01487595729134043</c:v>
                </c:pt>
                <c:pt idx="52">
                  <c:v>0.01817241456177654</c:v>
                </c:pt>
                <c:pt idx="53">
                  <c:v>0.01817241456177654</c:v>
                </c:pt>
                <c:pt idx="54">
                  <c:v>0.0124432458897613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4976076555023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0.0</c:v>
                </c:pt>
                <c:pt idx="1">
                  <c:v>0.0</c:v>
                </c:pt>
                <c:pt idx="2">
                  <c:v>0.19</c:v>
                </c:pt>
                <c:pt idx="3">
                  <c:v>0.0</c:v>
                </c:pt>
                <c:pt idx="4">
                  <c:v>0.1738273551438707</c:v>
                </c:pt>
                <c:pt idx="5">
                  <c:v>0.09021078956770275</c:v>
                </c:pt>
                <c:pt idx="6">
                  <c:v>0.2806048470620728</c:v>
                </c:pt>
                <c:pt idx="7">
                  <c:v>0.27873335097468466</c:v>
                </c:pt>
                <c:pt idx="8">
                  <c:v>0.2353303359113471</c:v>
                </c:pt>
                <c:pt idx="9">
                  <c:v>0.20151635140815466</c:v>
                </c:pt>
                <c:pt idx="10">
                  <c:v>0.2648913043478261</c:v>
                </c:pt>
                <c:pt idx="11">
                  <c:v>0.12757224807081252</c:v>
                </c:pt>
                <c:pt idx="12">
                  <c:v>0.25471886215605477</c:v>
                </c:pt>
                <c:pt idx="13">
                  <c:v>0.1170634898341359</c:v>
                </c:pt>
                <c:pt idx="14">
                  <c:v>0.12406043580593729</c:v>
                </c:pt>
                <c:pt idx="15">
                  <c:v>0.23761768317642243</c:v>
                </c:pt>
                <c:pt idx="16">
                  <c:v>0.21636621181772658</c:v>
                </c:pt>
                <c:pt idx="17">
                  <c:v>0.0</c:v>
                </c:pt>
                <c:pt idx="18">
                  <c:v>0.10911362155116229</c:v>
                </c:pt>
                <c:pt idx="19">
                  <c:v>0.18083161983093443</c:v>
                </c:pt>
                <c:pt idx="20">
                  <c:v>0.0</c:v>
                </c:pt>
                <c:pt idx="21">
                  <c:v>0.0</c:v>
                </c:pt>
                <c:pt idx="22">
                  <c:v>0.0</c:v>
                </c:pt>
                <c:pt idx="23">
                  <c:v>0.0</c:v>
                </c:pt>
                <c:pt idx="24">
                  <c:v>0.0</c:v>
                </c:pt>
                <c:pt idx="25">
                  <c:v>0.600225687320476</c:v>
                </c:pt>
                <c:pt idx="26">
                  <c:v>0.38412837026525487</c:v>
                </c:pt>
                <c:pt idx="27">
                  <c:v>0.6626187327161236</c:v>
                </c:pt>
                <c:pt idx="28">
                  <c:v>0.44557449147883454</c:v>
                </c:pt>
                <c:pt idx="29">
                  <c:v>0.27551429430978164</c:v>
                </c:pt>
                <c:pt idx="30">
                  <c:v>0.20770392749244712</c:v>
                </c:pt>
                <c:pt idx="31">
                  <c:v>0.605266112732989</c:v>
                </c:pt>
                <c:pt idx="32">
                  <c:v>0.0</c:v>
                </c:pt>
                <c:pt idx="33">
                  <c:v>0.5507037170696499</c:v>
                </c:pt>
                <c:pt idx="34">
                  <c:v>0.49794549048163944</c:v>
                </c:pt>
                <c:pt idx="35">
                  <c:v>0.4397235905856596</c:v>
                </c:pt>
                <c:pt idx="36">
                  <c:v>0.33977763026883506</c:v>
                </c:pt>
                <c:pt idx="37">
                  <c:v>0.36019088501884106</c:v>
                </c:pt>
                <c:pt idx="38">
                  <c:v>0.0</c:v>
                </c:pt>
                <c:pt idx="39">
                  <c:v>0.29164027865737807</c:v>
                </c:pt>
                <c:pt idx="40">
                  <c:v>0.45613080431177444</c:v>
                </c:pt>
                <c:pt idx="41">
                  <c:v>0.8559452119494627</c:v>
                </c:pt>
                <c:pt idx="42">
                  <c:v>0.0</c:v>
                </c:pt>
                <c:pt idx="43">
                  <c:v>0.3722623638132296</c:v>
                </c:pt>
                <c:pt idx="44">
                  <c:v>0.15337264328100353</c:v>
                </c:pt>
                <c:pt idx="45">
                  <c:v>0.10585802643397921</c:v>
                </c:pt>
                <c:pt idx="46">
                  <c:v>0.1182993246677801</c:v>
                </c:pt>
                <c:pt idx="47">
                  <c:v>0.11469040476073378</c:v>
                </c:pt>
                <c:pt idx="48">
                  <c:v>0.2746044109207182</c:v>
                </c:pt>
                <c:pt idx="49">
                  <c:v>0.4297506941929253</c:v>
                </c:pt>
                <c:pt idx="50">
                  <c:v>0.3730109726645004</c:v>
                </c:pt>
                <c:pt idx="51">
                  <c:v>0.42563529172596054</c:v>
                </c:pt>
                <c:pt idx="52">
                  <c:v>0.0</c:v>
                </c:pt>
                <c:pt idx="53">
                  <c:v>0.0</c:v>
                </c:pt>
                <c:pt idx="54">
                  <c:v>0.0</c:v>
                </c:pt>
              </c:numCache>
            </c:numRef>
          </c:xVal>
          <c:yVal>
            <c:numRef>
              <c:f>Sheet1!$B$2:$B$56</c:f>
              <c:numCache>
                <c:formatCode>General</c:formatCode>
                <c:ptCount val="55"/>
                <c:pt idx="0">
                  <c:v>0.0</c:v>
                </c:pt>
                <c:pt idx="1">
                  <c:v>0.0</c:v>
                </c:pt>
                <c:pt idx="2">
                  <c:v>0.0011792452830188679</c:v>
                </c:pt>
                <c:pt idx="3">
                  <c:v>0.0011904761904761906</c:v>
                </c:pt>
                <c:pt idx="4">
                  <c:v>0.0011890606420927466</c:v>
                </c:pt>
                <c:pt idx="5">
                  <c:v>0.0009041591320072332</c:v>
                </c:pt>
                <c:pt idx="6">
                  <c:v>0.0008517887563884157</c:v>
                </c:pt>
                <c:pt idx="7">
                  <c:v>0.000437636761487965</c:v>
                </c:pt>
                <c:pt idx="8">
                  <c:v>0.0014807502467917078</c:v>
                </c:pt>
                <c:pt idx="9">
                  <c:v>0.0023219814241486067</c:v>
                </c:pt>
                <c:pt idx="10">
                  <c:v>0.0017574692442882249</c:v>
                </c:pt>
                <c:pt idx="11">
                  <c:v>0.002130681818181818</c:v>
                </c:pt>
                <c:pt idx="12">
                  <c:v>0.002722940776038121</c:v>
                </c:pt>
                <c:pt idx="13">
                  <c:v>0.0021216407355021216</c:v>
                </c:pt>
                <c:pt idx="14">
                  <c:v>0.0023219814241486067</c:v>
                </c:pt>
                <c:pt idx="15">
                  <c:v>0.0017376194613379669</c:v>
                </c:pt>
                <c:pt idx="16">
                  <c:v>0.0030303030303030303</c:v>
                </c:pt>
                <c:pt idx="17">
                  <c:v>0.005681818181818182</c:v>
                </c:pt>
                <c:pt idx="18">
                  <c:v>0.0013736263736263737</c:v>
                </c:pt>
                <c:pt idx="19">
                  <c:v>0.004470938897168405</c:v>
                </c:pt>
                <c:pt idx="20">
                  <c:v>0.0030075187969924814</c:v>
                </c:pt>
                <c:pt idx="21">
                  <c:v>0.005190311418685121</c:v>
                </c:pt>
                <c:pt idx="22">
                  <c:v>0.003278688524590164</c:v>
                </c:pt>
                <c:pt idx="23">
                  <c:v>0.0022522522522522522</c:v>
                </c:pt>
                <c:pt idx="24">
                  <c:v>0.005333333333333333</c:v>
                </c:pt>
                <c:pt idx="25">
                  <c:v>0.005089058524173028</c:v>
                </c:pt>
                <c:pt idx="26">
                  <c:v>0.006389776357827476</c:v>
                </c:pt>
                <c:pt idx="27">
                  <c:v>0.006896551724137931</c:v>
                </c:pt>
                <c:pt idx="28">
                  <c:v>0.0037174721189591076</c:v>
                </c:pt>
                <c:pt idx="29">
                  <c:v>0.00911854103343465</c:v>
                </c:pt>
                <c:pt idx="30">
                  <c:v>0.01556420233463035</c:v>
                </c:pt>
                <c:pt idx="31">
                  <c:v>0.008097165991902834</c:v>
                </c:pt>
                <c:pt idx="32">
                  <c:v>0.0</c:v>
                </c:pt>
                <c:pt idx="33">
                  <c:v>0.007407407407407408</c:v>
                </c:pt>
                <c:pt idx="34">
                  <c:v>0.012307692307692308</c:v>
                </c:pt>
                <c:pt idx="35">
                  <c:v>0.012121212121212121</c:v>
                </c:pt>
                <c:pt idx="36">
                  <c:v>0.014084507042253521</c:v>
                </c:pt>
                <c:pt idx="37">
                  <c:v>0.025547445255474453</c:v>
                </c:pt>
                <c:pt idx="38">
                  <c:v>0.011904761904761904</c:v>
                </c:pt>
                <c:pt idx="39">
                  <c:v>0.014925373134328358</c:v>
                </c:pt>
                <c:pt idx="40">
                  <c:v>0.0091324200913242</c:v>
                </c:pt>
                <c:pt idx="41">
                  <c:v>0.004750593824228029</c:v>
                </c:pt>
                <c:pt idx="42">
                  <c:v>0.0125</c:v>
                </c:pt>
                <c:pt idx="43">
                  <c:v>0.012345679012345678</c:v>
                </c:pt>
                <c:pt idx="44">
                  <c:v>0.023980815347721823</c:v>
                </c:pt>
                <c:pt idx="45">
                  <c:v>0.03708133971291866</c:v>
                </c:pt>
                <c:pt idx="46">
                  <c:v>0.030395136778115502</c:v>
                </c:pt>
                <c:pt idx="47">
                  <c:v>0.02153316106804479</c:v>
                </c:pt>
                <c:pt idx="48">
                  <c:v>0.01038961038961039</c:v>
                </c:pt>
                <c:pt idx="49">
                  <c:v>0.014109347442680775</c:v>
                </c:pt>
                <c:pt idx="50">
                  <c:v>0.015037593984962405</c:v>
                </c:pt>
                <c:pt idx="51">
                  <c:v>0.008183306055646482</c:v>
                </c:pt>
                <c:pt idx="52">
                  <c:v>0.007563025210084034</c:v>
                </c:pt>
                <c:pt idx="53">
                  <c:v>0.00989010989010989</c:v>
                </c:pt>
                <c:pt idx="54">
                  <c:v>0.02214022140221402</c:v>
                </c:pt>
              </c:numCache>
            </c:numRef>
          </c:yVal>
          <c:smooth val="0"/>
          <c:extLst>
            <c:ext xmlns:c16="http://schemas.microsoft.com/office/drawing/2014/chart" uri="{C3380CC4-5D6E-409C-BE32-E72D297353CC}">
              <c16:uniqueId val="{00000000-096C-4121-9522-6AB7243CCAAE}"/>
            </c:ext>
          </c:extLst>
        </c:ser>
        <c:ser>
          <c:idx val="1"/>
          <c:order val="1"/>
          <c:tx>
            <c:strRef>
              <c:f>Sheet1!$B$5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9:$A$108</c:f>
              <c:numCache>
                <c:formatCode>General</c:formatCode>
                <c:ptCount val="50"/>
                <c:pt idx="0">
                  <c:v>0.33774029329078337</c:v>
                </c:pt>
                <c:pt idx="1">
                  <c:v>0.30735787877255955</c:v>
                </c:pt>
                <c:pt idx="2">
                  <c:v>0.3857934159264454</c:v>
                </c:pt>
                <c:pt idx="3">
                  <c:v>0.21290615424905068</c:v>
                </c:pt>
                <c:pt idx="4">
                  <c:v>0.28834169402935067</c:v>
                </c:pt>
                <c:pt idx="5">
                  <c:v>0.3697563575525813</c:v>
                </c:pt>
                <c:pt idx="6">
                  <c:v>0.4106511922438641</c:v>
                </c:pt>
                <c:pt idx="7">
                  <c:v>0.6322179071643323</c:v>
                </c:pt>
                <c:pt idx="8">
                  <c:v>0.5493240530049525</c:v>
                </c:pt>
                <c:pt idx="9">
                  <c:v>0.3732866124128063</c:v>
                </c:pt>
                <c:pt idx="10">
                  <c:v>0.266579109322254</c:v>
                </c:pt>
                <c:pt idx="11">
                  <c:v>0.6345022349609308</c:v>
                </c:pt>
                <c:pt idx="12">
                  <c:v>0.6464188210052408</c:v>
                </c:pt>
                <c:pt idx="13">
                  <c:v>0.6604929870616914</c:v>
                </c:pt>
                <c:pt idx="14">
                  <c:v>0.8545107822895159</c:v>
                </c:pt>
                <c:pt idx="15">
                  <c:v>0.7301445753206135</c:v>
                </c:pt>
                <c:pt idx="16">
                  <c:v>0.6737658911784257</c:v>
                </c:pt>
                <c:pt idx="17">
                  <c:v>0.5018339053772125</c:v>
                </c:pt>
                <c:pt idx="18">
                  <c:v>1.1148123130367653</c:v>
                </c:pt>
                <c:pt idx="19">
                  <c:v>0.4034234781727945</c:v>
                </c:pt>
                <c:pt idx="20">
                  <c:v>0.6124190426920808</c:v>
                </c:pt>
                <c:pt idx="21">
                  <c:v>0.5591036037551734</c:v>
                </c:pt>
                <c:pt idx="22">
                  <c:v>0.6738601001217697</c:v>
                </c:pt>
                <c:pt idx="23">
                  <c:v>0.8153728572988318</c:v>
                </c:pt>
                <c:pt idx="24">
                  <c:v>0.3131372521008403</c:v>
                </c:pt>
                <c:pt idx="25">
                  <c:v>0.37450980392156863</c:v>
                </c:pt>
                <c:pt idx="26">
                  <c:v>0.33732429539778813</c:v>
                </c:pt>
                <c:pt idx="27">
                  <c:v>0.42728475419378736</c:v>
                </c:pt>
                <c:pt idx="28">
                  <c:v>0.8375215889464594</c:v>
                </c:pt>
                <c:pt idx="29">
                  <c:v>0.501497692963723</c:v>
                </c:pt>
                <c:pt idx="30">
                  <c:v>0.4622593718338399</c:v>
                </c:pt>
                <c:pt idx="31">
                  <c:v>0.8352253894234245</c:v>
                </c:pt>
                <c:pt idx="32">
                  <c:v>0.6003248375812094</c:v>
                </c:pt>
                <c:pt idx="33">
                  <c:v>0.5135059353497351</c:v>
                </c:pt>
                <c:pt idx="34">
                  <c:v>0.4015537915892586</c:v>
                </c:pt>
                <c:pt idx="35">
                  <c:v>0.4348636373773417</c:v>
                </c:pt>
                <c:pt idx="36">
                  <c:v>0.37906110959774814</c:v>
                </c:pt>
                <c:pt idx="37">
                  <c:v>0.4072064777327935</c:v>
                </c:pt>
                <c:pt idx="38">
                  <c:v>0.33542566709021604</c:v>
                </c:pt>
                <c:pt idx="39">
                  <c:v>0.7582908438061042</c:v>
                </c:pt>
                <c:pt idx="40">
                  <c:v>0.8426905132192847</c:v>
                </c:pt>
                <c:pt idx="41">
                  <c:v>0.6036079228243021</c:v>
                </c:pt>
                <c:pt idx="42">
                  <c:v>0.9212844036988539</c:v>
                </c:pt>
                <c:pt idx="43">
                  <c:v>0.7962209635116722</c:v>
                </c:pt>
                <c:pt idx="44">
                  <c:v>0.6622555107109593</c:v>
                </c:pt>
                <c:pt idx="45">
                  <c:v>0.6771268411849264</c:v>
                </c:pt>
                <c:pt idx="46">
                  <c:v>0.7053693665176275</c:v>
                </c:pt>
                <c:pt idx="47">
                  <c:v>0.8369891593643789</c:v>
                </c:pt>
                <c:pt idx="48">
                  <c:v>1.0462736261828551</c:v>
                </c:pt>
                <c:pt idx="49">
                  <c:v>0.9902691822295876</c:v>
                </c:pt>
              </c:numCache>
            </c:numRef>
          </c:xVal>
          <c:yVal>
            <c:numRef>
              <c:f>Sheet1!$B$59:$B$108</c:f>
              <c:numCache>
                <c:formatCode>General</c:formatCode>
                <c:ptCount val="50"/>
                <c:pt idx="0">
                  <c:v>0.006885998469778117</c:v>
                </c:pt>
                <c:pt idx="1">
                  <c:v>0.010543390105433901</c:v>
                </c:pt>
                <c:pt idx="2">
                  <c:v>0.007513661202185792</c:v>
                </c:pt>
                <c:pt idx="3">
                  <c:v>0.008855154965211892</c:v>
                </c:pt>
                <c:pt idx="4">
                  <c:v>0.009339080459770116</c:v>
                </c:pt>
                <c:pt idx="5">
                  <c:v>0.007913669064748202</c:v>
                </c:pt>
                <c:pt idx="6">
                  <c:v>0.00661455201443175</c:v>
                </c:pt>
                <c:pt idx="7">
                  <c:v>0.009183673469387756</c:v>
                </c:pt>
                <c:pt idx="8">
                  <c:v>0.011650485436893204</c:v>
                </c:pt>
                <c:pt idx="9">
                  <c:v>0.01131687242798354</c:v>
                </c:pt>
                <c:pt idx="10">
                  <c:v>0.009187279151943463</c:v>
                </c:pt>
                <c:pt idx="11">
                  <c:v>0.01222707423580786</c:v>
                </c:pt>
                <c:pt idx="12">
                  <c:v>0.01607142857142857</c:v>
                </c:pt>
                <c:pt idx="13">
                  <c:v>0.021589793915603533</c:v>
                </c:pt>
                <c:pt idx="14">
                  <c:v>0.017524644030668127</c:v>
                </c:pt>
                <c:pt idx="15">
                  <c:v>0.01761006289308176</c:v>
                </c:pt>
                <c:pt idx="16">
                  <c:v>0.019858156028368795</c:v>
                </c:pt>
                <c:pt idx="17">
                  <c:v>0.016194331983805668</c:v>
                </c:pt>
                <c:pt idx="18">
                  <c:v>0.009328358208955223</c:v>
                </c:pt>
                <c:pt idx="19">
                  <c:v>0.015503875968992248</c:v>
                </c:pt>
                <c:pt idx="20">
                  <c:v>0.015706806282722512</c:v>
                </c:pt>
                <c:pt idx="21">
                  <c:v>0.01048951048951049</c:v>
                </c:pt>
                <c:pt idx="22">
                  <c:v>0.008714596949891068</c:v>
                </c:pt>
                <c:pt idx="23">
                  <c:v>0.015037593984962405</c:v>
                </c:pt>
                <c:pt idx="24">
                  <c:v>0.016853932584269662</c:v>
                </c:pt>
                <c:pt idx="25">
                  <c:v>0.013888888888888888</c:v>
                </c:pt>
                <c:pt idx="26">
                  <c:v>0.01466275659824047</c:v>
                </c:pt>
                <c:pt idx="27">
                  <c:v>0.013623978201634877</c:v>
                </c:pt>
                <c:pt idx="28">
                  <c:v>0.013651877133105802</c:v>
                </c:pt>
                <c:pt idx="29">
                  <c:v>0.023346303501945526</c:v>
                </c:pt>
                <c:pt idx="30">
                  <c:v>0.019138755980861243</c:v>
                </c:pt>
                <c:pt idx="31">
                  <c:v>0.01568627450980392</c:v>
                </c:pt>
                <c:pt idx="32">
                  <c:v>0.01730103806228374</c:v>
                </c:pt>
                <c:pt idx="33">
                  <c:v>0.017191977077363897</c:v>
                </c:pt>
                <c:pt idx="34">
                  <c:v>0.029411764705882353</c:v>
                </c:pt>
                <c:pt idx="35">
                  <c:v>0.03365384615384615</c:v>
                </c:pt>
                <c:pt idx="36">
                  <c:v>0.026881720430107527</c:v>
                </c:pt>
                <c:pt idx="37">
                  <c:v>0.019011406844106463</c:v>
                </c:pt>
                <c:pt idx="38">
                  <c:v>0.0136986301369863</c:v>
                </c:pt>
                <c:pt idx="39">
                  <c:v>0.014326647564469915</c:v>
                </c:pt>
                <c:pt idx="40">
                  <c:v>0.01557632398753894</c:v>
                </c:pt>
                <c:pt idx="41">
                  <c:v>0.013071895424836602</c:v>
                </c:pt>
                <c:pt idx="42">
                  <c:v>0.014336917562724014</c:v>
                </c:pt>
                <c:pt idx="43">
                  <c:v>0.011750881316098707</c:v>
                </c:pt>
                <c:pt idx="44">
                  <c:v>0.011940298507462687</c:v>
                </c:pt>
                <c:pt idx="45">
                  <c:v>0.010440835266821345</c:v>
                </c:pt>
                <c:pt idx="46">
                  <c:v>0.008058017727639</c:v>
                </c:pt>
                <c:pt idx="47">
                  <c:v>0.010075566750629723</c:v>
                </c:pt>
                <c:pt idx="48">
                  <c:v>0.00918318028032866</c:v>
                </c:pt>
                <c:pt idx="49">
                  <c:v>0.010291595197255575</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0797166104005034</c:v>
                </c:pt>
              </c:numCache>
            </c:numRef>
          </c:xVal>
          <c:yVal>
            <c:numRef>
              <c:f>Sheet1!$B$111:$B$112</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0797166104005034</c:v>
                </c:pt>
                <c:pt idx="1">
                  <c:v>-1.0797166104005034</c:v>
                </c:pt>
              </c:numCache>
            </c:numRef>
          </c:xVal>
          <c:yVal>
            <c:numRef>
              <c:f>Sheet1!$B$115:$B$116</c:f>
              <c:numCache>
                <c:formatCode>General</c:formatCode>
                <c:ptCount val="2"/>
                <c:pt idx="0">
                  <c:v>0.018172414561776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1.0797166104005034</c:v>
                </c:pt>
              </c:numCache>
            </c:numRef>
          </c:xVal>
          <c:yVal>
            <c:numRef>
              <c:f>Sheet1!$B$119:$B$120</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1.0797166104005034</c:v>
                </c:pt>
                <c:pt idx="1">
                  <c:v>-1.0797166104005034</c:v>
                </c:pt>
              </c:numCache>
            </c:numRef>
          </c:xVal>
          <c:yVal>
            <c:numRef>
              <c:f>Sheet1!$B$123:$B$124</c:f>
              <c:numCache>
                <c:formatCode>General</c:formatCode>
                <c:ptCount val="2"/>
                <c:pt idx="0">
                  <c:v>0.018172414561776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1.3377555064267157</c:v>
                </c:pt>
              </c:numCache>
            </c:numRef>
          </c:xVal>
          <c:yVal>
            <c:numRef>
              <c:f>Sheet1!$B$127:$B$128</c:f>
              <c:numCache>
                <c:formatCode>General</c:formatCode>
                <c:ptCount val="2"/>
                <c:pt idx="0">
                  <c:v>0.012443245889761383</c:v>
                </c:pt>
                <c:pt idx="1">
                  <c:v>0.01244324588976138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1.3377555064267157</c:v>
                </c:pt>
                <c:pt idx="1">
                  <c:v>1.3377555064267157</c:v>
                </c:pt>
              </c:numCache>
            </c:numRef>
          </c:xVal>
          <c:yVal>
            <c:numRef>
              <c:f>Sheet1!$B$131:$B$132</c:f>
              <c:numCache>
                <c:formatCode>General</c:formatCode>
                <c:ptCount val="2"/>
                <c:pt idx="0">
                  <c:v>0.0124432458897613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7</c:f>
              <c:numCache>
                <c:formatCode>General</c:formatCode>
                <c:ptCount val="53"/>
                <c:pt idx="0">
                  <c:v>0.33774029329078337</c:v>
                </c:pt>
                <c:pt idx="1">
                  <c:v>0.30735787877255955</c:v>
                </c:pt>
                <c:pt idx="2">
                  <c:v>0.3857934159264454</c:v>
                </c:pt>
                <c:pt idx="3">
                  <c:v>0.21290615424905068</c:v>
                </c:pt>
                <c:pt idx="4">
                  <c:v>0.28834169402935067</c:v>
                </c:pt>
                <c:pt idx="5">
                  <c:v>0.3697563575525813</c:v>
                </c:pt>
                <c:pt idx="6">
                  <c:v>0.4106511922438641</c:v>
                </c:pt>
                <c:pt idx="7">
                  <c:v>0.6322179071643323</c:v>
                </c:pt>
                <c:pt idx="8">
                  <c:v>0.5493240530049525</c:v>
                </c:pt>
                <c:pt idx="9">
                  <c:v>0.3732866124128063</c:v>
                </c:pt>
                <c:pt idx="10">
                  <c:v>0.266579109322254</c:v>
                </c:pt>
                <c:pt idx="11">
                  <c:v>0.6345022349609308</c:v>
                </c:pt>
                <c:pt idx="12">
                  <c:v>0.6464188210052408</c:v>
                </c:pt>
                <c:pt idx="13">
                  <c:v>0.6604929870616914</c:v>
                </c:pt>
                <c:pt idx="14">
                  <c:v>0.8545107822895159</c:v>
                </c:pt>
                <c:pt idx="15">
                  <c:v>0.7301445753206135</c:v>
                </c:pt>
                <c:pt idx="16">
                  <c:v>0.6737658911784257</c:v>
                </c:pt>
                <c:pt idx="17">
                  <c:v>0.5018339053772125</c:v>
                </c:pt>
                <c:pt idx="18">
                  <c:v>1.1148123130367653</c:v>
                </c:pt>
                <c:pt idx="19">
                  <c:v>0.4034234781727945</c:v>
                </c:pt>
                <c:pt idx="20">
                  <c:v>0.6124190426920808</c:v>
                </c:pt>
                <c:pt idx="21">
                  <c:v>0.5591036037551734</c:v>
                </c:pt>
                <c:pt idx="22">
                  <c:v>0.6738601001217697</c:v>
                </c:pt>
                <c:pt idx="23">
                  <c:v>0.8153728572988318</c:v>
                </c:pt>
                <c:pt idx="24">
                  <c:v>0.3131372521008403</c:v>
                </c:pt>
                <c:pt idx="25">
                  <c:v>0.37450980392156863</c:v>
                </c:pt>
                <c:pt idx="26">
                  <c:v>0.33732429539778813</c:v>
                </c:pt>
                <c:pt idx="27">
                  <c:v>0.42728475419378736</c:v>
                </c:pt>
                <c:pt idx="28">
                  <c:v>0.8375215889464594</c:v>
                </c:pt>
                <c:pt idx="29">
                  <c:v>0.501497692963723</c:v>
                </c:pt>
                <c:pt idx="30">
                  <c:v>0.4622593718338399</c:v>
                </c:pt>
                <c:pt idx="31">
                  <c:v>0.8352253894234245</c:v>
                </c:pt>
                <c:pt idx="32">
                  <c:v>0.6003248375812094</c:v>
                </c:pt>
                <c:pt idx="33">
                  <c:v>0.5135059353497351</c:v>
                </c:pt>
                <c:pt idx="34">
                  <c:v>0.4015537915892586</c:v>
                </c:pt>
                <c:pt idx="35">
                  <c:v>0.4348636373773417</c:v>
                </c:pt>
                <c:pt idx="36">
                  <c:v>0.37906110959774814</c:v>
                </c:pt>
                <c:pt idx="37">
                  <c:v>0.4072064777327935</c:v>
                </c:pt>
                <c:pt idx="38">
                  <c:v>0.33542566709021604</c:v>
                </c:pt>
                <c:pt idx="39">
                  <c:v>0.7582908438061042</c:v>
                </c:pt>
                <c:pt idx="40">
                  <c:v>0.8426905132192847</c:v>
                </c:pt>
                <c:pt idx="41">
                  <c:v>0.6036079228243021</c:v>
                </c:pt>
                <c:pt idx="42">
                  <c:v>0.9212844036988539</c:v>
                </c:pt>
                <c:pt idx="43">
                  <c:v>0.7962209635116722</c:v>
                </c:pt>
                <c:pt idx="44">
                  <c:v>0.6622555107109593</c:v>
                </c:pt>
                <c:pt idx="45">
                  <c:v>0.6771268411849264</c:v>
                </c:pt>
                <c:pt idx="46">
                  <c:v>0.7053693665176275</c:v>
                </c:pt>
                <c:pt idx="47">
                  <c:v>0.8369891593643789</c:v>
                </c:pt>
                <c:pt idx="48">
                  <c:v>1.0462736261828551</c:v>
                </c:pt>
                <c:pt idx="49">
                  <c:v>0.9902691822295876</c:v>
                </c:pt>
                <c:pt idx="50">
                  <c:v>-1.0797166104005034</c:v>
                </c:pt>
                <c:pt idx="51">
                  <c:v>-1.0797166104005034</c:v>
                </c:pt>
                <c:pt idx="52">
                  <c:v>1.3377555064267157</c:v>
                </c:pt>
              </c:numCache>
            </c:numRef>
          </c:xVal>
          <c:yVal>
            <c:numRef>
              <c:f>Sheet1!$B$135:$B$187</c:f>
              <c:numCache>
                <c:formatCode>General</c:formatCode>
                <c:ptCount val="53"/>
                <c:pt idx="0">
                  <c:v>0.01481318256483511</c:v>
                </c:pt>
                <c:pt idx="1">
                  <c:v>0.014885185867883104</c:v>
                </c:pt>
                <c:pt idx="2">
                  <c:v>0.014699301439638077</c:v>
                </c:pt>
                <c:pt idx="3">
                  <c:v>0.015109027068528715</c:v>
                </c:pt>
                <c:pt idx="4">
                  <c:v>0.014930252335923707</c:v>
                </c:pt>
                <c:pt idx="5">
                  <c:v>0.014737307674244582</c:v>
                </c:pt>
                <c:pt idx="6">
                  <c:v>0.014640390980095475</c:v>
                </c:pt>
                <c:pt idx="7">
                  <c:v>0.014115299884712064</c:v>
                </c:pt>
                <c:pt idx="8">
                  <c:v>0.014311750081199047</c:v>
                </c:pt>
                <c:pt idx="9">
                  <c:v>0.014728941321057445</c:v>
                </c:pt>
                <c:pt idx="10">
                  <c:v>0.014981827498945489</c:v>
                </c:pt>
                <c:pt idx="11">
                  <c:v>0.014109886254847302</c:v>
                </c:pt>
                <c:pt idx="12">
                  <c:v>0.014081645130175287</c:v>
                </c:pt>
                <c:pt idx="13">
                  <c:v>0.014048290755291667</c:v>
                </c:pt>
                <c:pt idx="14">
                  <c:v>0.013588487861808222</c:v>
                </c:pt>
                <c:pt idx="15">
                  <c:v>0.013883223412991629</c:v>
                </c:pt>
                <c:pt idx="16">
                  <c:v>0.014016835291576928</c:v>
                </c:pt>
                <c:pt idx="17">
                  <c:v>0.014424297011574943</c:v>
                </c:pt>
                <c:pt idx="18">
                  <c:v>0.012971599102325038</c:v>
                </c:pt>
                <c:pt idx="19">
                  <c:v>0.01465751994416419</c:v>
                </c:pt>
                <c:pt idx="20">
                  <c:v>0.014162221225928924</c:v>
                </c:pt>
                <c:pt idx="21">
                  <c:v>0.014288573517798563</c:v>
                </c:pt>
                <c:pt idx="22">
                  <c:v>0.014016612025743549</c:v>
                </c:pt>
                <c:pt idx="23">
                  <c:v>0.013681240854566042</c:v>
                </c:pt>
                <c:pt idx="24">
                  <c:v>0.0148714893274408</c:v>
                </c:pt>
                <c:pt idx="25">
                  <c:v>0.014726042478740674</c:v>
                </c:pt>
                <c:pt idx="26">
                  <c:v>0.014814168438500242</c:v>
                </c:pt>
                <c:pt idx="27">
                  <c:v>0.014600971091293368</c:v>
                </c:pt>
                <c:pt idx="28">
                  <c:v>0.013628750561669924</c:v>
                </c:pt>
                <c:pt idx="29">
                  <c:v>0.014425093801582613</c:v>
                </c:pt>
                <c:pt idx="30">
                  <c:v>0.014518084723213111</c:v>
                </c:pt>
                <c:pt idx="31">
                  <c:v>0.013634192326346547</c:v>
                </c:pt>
                <c:pt idx="32">
                  <c:v>0.014190883290137164</c:v>
                </c:pt>
                <c:pt idx="33">
                  <c:v>0.01439663546048944</c:v>
                </c:pt>
                <c:pt idx="34">
                  <c:v>0.014661950915560436</c:v>
                </c:pt>
                <c:pt idx="35">
                  <c:v>0.01458300989132674</c:v>
                </c:pt>
                <c:pt idx="36">
                  <c:v>0.01471525633659027</c:v>
                </c:pt>
                <c:pt idx="37">
                  <c:v>0.014648554611155992</c:v>
                </c:pt>
                <c:pt idx="38">
                  <c:v>0.014818667998906267</c:v>
                </c:pt>
                <c:pt idx="39">
                  <c:v>0.01381651955381627</c:v>
                </c:pt>
                <c:pt idx="40">
                  <c:v>0.01361650072482351</c:v>
                </c:pt>
                <c:pt idx="41">
                  <c:v>0.014183102704379275</c:v>
                </c:pt>
                <c:pt idx="42">
                  <c:v>0.013430241014933536</c:v>
                </c:pt>
                <c:pt idx="43">
                  <c:v>0.013726628939554241</c:v>
                </c:pt>
                <c:pt idx="44">
                  <c:v>0.01404411374939994</c:v>
                </c:pt>
                <c:pt idx="45">
                  <c:v>0.014008870174067847</c:v>
                </c:pt>
                <c:pt idx="46">
                  <c:v>0.013941938195730464</c:v>
                </c:pt>
                <c:pt idx="47">
                  <c:v>0.013630012366867377</c:v>
                </c:pt>
                <c:pt idx="48">
                  <c:v>0.013134028978893722</c:v>
                </c:pt>
                <c:pt idx="49">
                  <c:v>0.013266753945422724</c:v>
                </c:pt>
                <c:pt idx="50">
                  <c:v>0.01817241456177654</c:v>
                </c:pt>
                <c:pt idx="51">
                  <c:v>0.01817241456177654</c:v>
                </c:pt>
                <c:pt idx="52">
                  <c:v>0.0124432458897613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4976076555023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11792452830188679</c:v>
                </c:pt>
                <c:pt idx="3">
                  <c:v>0.0011904761904761906</c:v>
                </c:pt>
                <c:pt idx="4">
                  <c:v>0.0011890606420927466</c:v>
                </c:pt>
                <c:pt idx="5">
                  <c:v>0.0009041591320072332</c:v>
                </c:pt>
                <c:pt idx="6">
                  <c:v>0.0008517887563884157</c:v>
                </c:pt>
                <c:pt idx="7">
                  <c:v>0.000437636761487965</c:v>
                </c:pt>
                <c:pt idx="8">
                  <c:v>0.0014807502467917078</c:v>
                </c:pt>
                <c:pt idx="9">
                  <c:v>0.0023219814241486067</c:v>
                </c:pt>
                <c:pt idx="10">
                  <c:v>0.0017574692442882249</c:v>
                </c:pt>
                <c:pt idx="11">
                  <c:v>0.002130681818181818</c:v>
                </c:pt>
                <c:pt idx="12">
                  <c:v>0.002722940776038121</c:v>
                </c:pt>
                <c:pt idx="13">
                  <c:v>0.0021216407355021216</c:v>
                </c:pt>
                <c:pt idx="14">
                  <c:v>0.0023219814241486067</c:v>
                </c:pt>
                <c:pt idx="15">
                  <c:v>0.0017376194613379669</c:v>
                </c:pt>
                <c:pt idx="16">
                  <c:v>0.0030303030303030303</c:v>
                </c:pt>
                <c:pt idx="17">
                  <c:v>0.005681818181818182</c:v>
                </c:pt>
                <c:pt idx="18">
                  <c:v>0.0013736263736263737</c:v>
                </c:pt>
                <c:pt idx="19">
                  <c:v>0.004470938897168405</c:v>
                </c:pt>
                <c:pt idx="20">
                  <c:v>0.0030075187969924814</c:v>
                </c:pt>
                <c:pt idx="21">
                  <c:v>0.005190311418685121</c:v>
                </c:pt>
                <c:pt idx="22">
                  <c:v>0.003278688524590164</c:v>
                </c:pt>
                <c:pt idx="23">
                  <c:v>0.0022522522522522522</c:v>
                </c:pt>
                <c:pt idx="24">
                  <c:v>0.005333333333333333</c:v>
                </c:pt>
                <c:pt idx="25">
                  <c:v>0.005089058524173028</c:v>
                </c:pt>
                <c:pt idx="26">
                  <c:v>0.006389776357827476</c:v>
                </c:pt>
                <c:pt idx="27">
                  <c:v>0.006896551724137931</c:v>
                </c:pt>
                <c:pt idx="28">
                  <c:v>0.0037174721189591076</c:v>
                </c:pt>
                <c:pt idx="29">
                  <c:v>0.00911854103343465</c:v>
                </c:pt>
                <c:pt idx="30">
                  <c:v>0.01556420233463035</c:v>
                </c:pt>
                <c:pt idx="31">
                  <c:v>0.008097165991902834</c:v>
                </c:pt>
                <c:pt idx="32">
                  <c:v>0.0</c:v>
                </c:pt>
                <c:pt idx="33">
                  <c:v>0.007407407407407408</c:v>
                </c:pt>
                <c:pt idx="34">
                  <c:v>0.012307692307692308</c:v>
                </c:pt>
                <c:pt idx="35">
                  <c:v>0.012121212121212121</c:v>
                </c:pt>
                <c:pt idx="36">
                  <c:v>0.014084507042253521</c:v>
                </c:pt>
                <c:pt idx="37">
                  <c:v>0.025547445255474453</c:v>
                </c:pt>
                <c:pt idx="38">
                  <c:v>0.011904761904761904</c:v>
                </c:pt>
                <c:pt idx="39">
                  <c:v>0.014925373134328358</c:v>
                </c:pt>
                <c:pt idx="40">
                  <c:v>0.0091324200913242</c:v>
                </c:pt>
                <c:pt idx="41">
                  <c:v>0.004750593824228029</c:v>
                </c:pt>
                <c:pt idx="42">
                  <c:v>0.0125</c:v>
                </c:pt>
                <c:pt idx="43">
                  <c:v>0.012345679012345678</c:v>
                </c:pt>
                <c:pt idx="44">
                  <c:v>0.023980815347721823</c:v>
                </c:pt>
                <c:pt idx="45">
                  <c:v>0.03708133971291866</c:v>
                </c:pt>
                <c:pt idx="46">
                  <c:v>0.030395136778115502</c:v>
                </c:pt>
                <c:pt idx="47">
                  <c:v>0.02153316106804479</c:v>
                </c:pt>
                <c:pt idx="48">
                  <c:v>0.01038961038961039</c:v>
                </c:pt>
                <c:pt idx="49">
                  <c:v>0.014109347442680775</c:v>
                </c:pt>
                <c:pt idx="50">
                  <c:v>0.015037593984962405</c:v>
                </c:pt>
                <c:pt idx="51">
                  <c:v>0.008183306055646482</c:v>
                </c:pt>
                <c:pt idx="52">
                  <c:v>0.007563025210084034</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6885998469778117</c:v>
                </c:pt>
                <c:pt idx="1">
                  <c:v>0.010543390105433901</c:v>
                </c:pt>
                <c:pt idx="2">
                  <c:v>0.007513661202185792</c:v>
                </c:pt>
                <c:pt idx="3">
                  <c:v>0.008855154965211892</c:v>
                </c:pt>
                <c:pt idx="4">
                  <c:v>0.009339080459770116</c:v>
                </c:pt>
                <c:pt idx="5">
                  <c:v>0.007913669064748202</c:v>
                </c:pt>
                <c:pt idx="6">
                  <c:v>0.00661455201443175</c:v>
                </c:pt>
                <c:pt idx="7">
                  <c:v>0.00989010989010989</c:v>
                </c:pt>
                <c:pt idx="8">
                  <c:v>0.009183673469387756</c:v>
                </c:pt>
                <c:pt idx="9">
                  <c:v>0.011650485436893204</c:v>
                </c:pt>
                <c:pt idx="10">
                  <c:v>0.01131687242798354</c:v>
                </c:pt>
                <c:pt idx="11">
                  <c:v>0.009187279151943463</c:v>
                </c:pt>
                <c:pt idx="12">
                  <c:v>0.01222707423580786</c:v>
                </c:pt>
                <c:pt idx="13">
                  <c:v>0.01607142857142857</c:v>
                </c:pt>
                <c:pt idx="14">
                  <c:v>0.021589793915603533</c:v>
                </c:pt>
                <c:pt idx="15">
                  <c:v>0.017524644030668127</c:v>
                </c:pt>
                <c:pt idx="16">
                  <c:v>0.01761006289308176</c:v>
                </c:pt>
                <c:pt idx="17">
                  <c:v>0.019858156028368795</c:v>
                </c:pt>
                <c:pt idx="18">
                  <c:v>0.016194331983805668</c:v>
                </c:pt>
                <c:pt idx="19">
                  <c:v>0.009328358208955223</c:v>
                </c:pt>
                <c:pt idx="20">
                  <c:v>0.015503875968992248</c:v>
                </c:pt>
                <c:pt idx="21">
                  <c:v>0.015706806282722512</c:v>
                </c:pt>
                <c:pt idx="22">
                  <c:v>0.01048951048951049</c:v>
                </c:pt>
                <c:pt idx="23">
                  <c:v>0.008714596949891068</c:v>
                </c:pt>
                <c:pt idx="24">
                  <c:v>0.015037593984962405</c:v>
                </c:pt>
                <c:pt idx="25">
                  <c:v>0.016853932584269662</c:v>
                </c:pt>
                <c:pt idx="26">
                  <c:v>0.013888888888888888</c:v>
                </c:pt>
                <c:pt idx="27">
                  <c:v>0.01466275659824047</c:v>
                </c:pt>
                <c:pt idx="28">
                  <c:v>0.013623978201634877</c:v>
                </c:pt>
                <c:pt idx="29">
                  <c:v>0.013651877133105802</c:v>
                </c:pt>
                <c:pt idx="30">
                  <c:v>0.023346303501945526</c:v>
                </c:pt>
                <c:pt idx="31">
                  <c:v>0.019138755980861243</c:v>
                </c:pt>
                <c:pt idx="32">
                  <c:v>0.01568627450980392</c:v>
                </c:pt>
                <c:pt idx="33">
                  <c:v>0.01730103806228374</c:v>
                </c:pt>
                <c:pt idx="34">
                  <c:v>0.017191977077363897</c:v>
                </c:pt>
                <c:pt idx="35">
                  <c:v>0.02214022140221402</c:v>
                </c:pt>
                <c:pt idx="36">
                  <c:v>0.029411764705882353</c:v>
                </c:pt>
                <c:pt idx="37">
                  <c:v>0.03365384615384615</c:v>
                </c:pt>
                <c:pt idx="38">
                  <c:v>0.026881720430107527</c:v>
                </c:pt>
                <c:pt idx="39">
                  <c:v>0.019011406844106463</c:v>
                </c:pt>
                <c:pt idx="40">
                  <c:v>0.0136986301369863</c:v>
                </c:pt>
                <c:pt idx="41">
                  <c:v>0.014326647564469915</c:v>
                </c:pt>
                <c:pt idx="42">
                  <c:v>0.01557632398753894</c:v>
                </c:pt>
                <c:pt idx="43">
                  <c:v>0.013071895424836602</c:v>
                </c:pt>
                <c:pt idx="44">
                  <c:v>0.014336917562724014</c:v>
                </c:pt>
                <c:pt idx="45">
                  <c:v>0.011750881316098707</c:v>
                </c:pt>
                <c:pt idx="46">
                  <c:v>0.011940298507462687</c:v>
                </c:pt>
                <c:pt idx="47">
                  <c:v>0.010440835266821345</c:v>
                </c:pt>
                <c:pt idx="48">
                  <c:v>0.008058017727639</c:v>
                </c:pt>
                <c:pt idx="49">
                  <c:v>0.010075566750629723</c:v>
                </c:pt>
                <c:pt idx="50">
                  <c:v>0.00918318028032866</c:v>
                </c:pt>
                <c:pt idx="51">
                  <c:v>0.010291595197255575</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1897.3300524721503</c:v>
                </c:pt>
              </c:numCache>
            </c:numRef>
          </c:xVal>
          <c:yVal>
            <c:numRef>
              <c:f>Sheet1!$B$111:$B$112</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1897.3300524721503</c:v>
                </c:pt>
                <c:pt idx="1">
                  <c:v>1897.3300524721503</c:v>
                </c:pt>
              </c:numCache>
            </c:numRef>
          </c:xVal>
          <c:yVal>
            <c:numRef>
              <c:f>Sheet1!$B$115:$B$116</c:f>
              <c:numCache>
                <c:formatCode>General</c:formatCode>
                <c:ptCount val="2"/>
                <c:pt idx="0">
                  <c:v>0.018172414561776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1897.3300524721503</c:v>
                </c:pt>
              </c:numCache>
            </c:numRef>
          </c:xVal>
          <c:yVal>
            <c:numRef>
              <c:f>Sheet1!$B$119:$B$120</c:f>
              <c:numCache>
                <c:formatCode>General</c:formatCode>
                <c:ptCount val="2"/>
                <c:pt idx="0">
                  <c:v>0.01817241456177654</c:v>
                </c:pt>
                <c:pt idx="1">
                  <c:v>0.01817241456177654</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897.3300524721503</c:v>
                </c:pt>
                <c:pt idx="1">
                  <c:v>1897.3300524721503</c:v>
                </c:pt>
              </c:numCache>
            </c:numRef>
          </c:xVal>
          <c:yVal>
            <c:numRef>
              <c:f>Sheet1!$B$123:$B$124</c:f>
              <c:numCache>
                <c:formatCode>General</c:formatCode>
                <c:ptCount val="2"/>
                <c:pt idx="0">
                  <c:v>0.018172414561776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350.262558785228</c:v>
                </c:pt>
              </c:numCache>
            </c:numRef>
          </c:xVal>
          <c:yVal>
            <c:numRef>
              <c:f>Sheet1!$B$127:$B$128</c:f>
              <c:numCache>
                <c:formatCode>General</c:formatCode>
                <c:ptCount val="2"/>
                <c:pt idx="0">
                  <c:v>0.012443245889761383</c:v>
                </c:pt>
                <c:pt idx="1">
                  <c:v>0.01244324588976138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350.262558785228</c:v>
                </c:pt>
                <c:pt idx="1">
                  <c:v>5350.262558785228</c:v>
                </c:pt>
              </c:numCache>
            </c:numRef>
          </c:xVal>
          <c:yVal>
            <c:numRef>
              <c:f>Sheet1!$B$131:$B$132</c:f>
              <c:numCache>
                <c:formatCode>General</c:formatCode>
                <c:ptCount val="2"/>
                <c:pt idx="0">
                  <c:v>0.0124432458897613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1897.3300524721503</c:v>
                </c:pt>
                <c:pt idx="53">
                  <c:v>1897.3300524721503</c:v>
                </c:pt>
                <c:pt idx="54">
                  <c:v>5350.262558785228</c:v>
                </c:pt>
              </c:numCache>
            </c:numRef>
          </c:xVal>
          <c:yVal>
            <c:numRef>
              <c:f>Sheet1!$B$135:$B$189</c:f>
              <c:numCache>
                <c:formatCode>General</c:formatCode>
                <c:ptCount val="55"/>
                <c:pt idx="0">
                  <c:v>0.013945274059225509</c:v>
                </c:pt>
                <c:pt idx="1">
                  <c:v>0.016276603311255286</c:v>
                </c:pt>
                <c:pt idx="2">
                  <c:v>0.013105257149820694</c:v>
                </c:pt>
                <c:pt idx="3">
                  <c:v>0.0159248399140055</c:v>
                </c:pt>
                <c:pt idx="4">
                  <c:v>0.014181010646317438</c:v>
                </c:pt>
                <c:pt idx="5">
                  <c:v>0.01361976563398853</c:v>
                </c:pt>
                <c:pt idx="6">
                  <c:v>0.013519609080585119</c:v>
                </c:pt>
                <c:pt idx="7">
                  <c:v>0.014396765765645279</c:v>
                </c:pt>
                <c:pt idx="8">
                  <c:v>0.014167977984634709</c:v>
                </c:pt>
                <c:pt idx="9">
                  <c:v>0.014511067486576108</c:v>
                </c:pt>
                <c:pt idx="10">
                  <c:v>0.014394771385294325</c:v>
                </c:pt>
                <c:pt idx="11">
                  <c:v>0.014507110914708483</c:v>
                </c:pt>
                <c:pt idx="12">
                  <c:v>0.015149748049271907</c:v>
                </c:pt>
                <c:pt idx="13">
                  <c:v>0.015221765920169633</c:v>
                </c:pt>
                <c:pt idx="14">
                  <c:v>0.015476053728883788</c:v>
                </c:pt>
                <c:pt idx="15">
                  <c:v>0.015140222311307794</c:v>
                </c:pt>
                <c:pt idx="16">
                  <c:v>0.01475272084599042</c:v>
                </c:pt>
                <c:pt idx="17">
                  <c:v>0.015434066878919588</c:v>
                </c:pt>
                <c:pt idx="18">
                  <c:v>0.015134311346249329</c:v>
                </c:pt>
                <c:pt idx="19">
                  <c:v>0.011736190865165138</c:v>
                </c:pt>
                <c:pt idx="20">
                  <c:v>0.014711832896281158</c:v>
                </c:pt>
                <c:pt idx="21">
                  <c:v>0.014400268541318241</c:v>
                </c:pt>
                <c:pt idx="22">
                  <c:v>0.014428106573474847</c:v>
                </c:pt>
                <c:pt idx="23">
                  <c:v>0.013056762679911006</c:v>
                </c:pt>
                <c:pt idx="24">
                  <c:v>0.015124978243525437</c:v>
                </c:pt>
                <c:pt idx="25">
                  <c:v>0.015137698972174906</c:v>
                </c:pt>
                <c:pt idx="26">
                  <c:v>0.01403155340885082</c:v>
                </c:pt>
                <c:pt idx="27">
                  <c:v>0.013476378978377182</c:v>
                </c:pt>
                <c:pt idx="28">
                  <c:v>0.014621903266479393</c:v>
                </c:pt>
                <c:pt idx="29">
                  <c:v>0.013274535076801815</c:v>
                </c:pt>
                <c:pt idx="30">
                  <c:v>0.016505447837530416</c:v>
                </c:pt>
                <c:pt idx="31">
                  <c:v>0.014507334245486551</c:v>
                </c:pt>
                <c:pt idx="32">
                  <c:v>0.012938128574176203</c:v>
                </c:pt>
                <c:pt idx="33">
                  <c:v>0.013347955484896432</c:v>
                </c:pt>
                <c:pt idx="34">
                  <c:v>0.012714687126249532</c:v>
                </c:pt>
                <c:pt idx="35">
                  <c:v>0.013598774034146518</c:v>
                </c:pt>
                <c:pt idx="36">
                  <c:v>0.013430584554345287</c:v>
                </c:pt>
                <c:pt idx="37">
                  <c:v>0.014849785114318895</c:v>
                </c:pt>
                <c:pt idx="38">
                  <c:v>0.014393926677277126</c:v>
                </c:pt>
                <c:pt idx="39">
                  <c:v>0.014645132322147744</c:v>
                </c:pt>
                <c:pt idx="40">
                  <c:v>0.012560490497739264</c:v>
                </c:pt>
                <c:pt idx="41">
                  <c:v>0.012560490497739264</c:v>
                </c:pt>
                <c:pt idx="42">
                  <c:v>0.014128119911700687</c:v>
                </c:pt>
                <c:pt idx="43">
                  <c:v>0.014001410888450087</c:v>
                </c:pt>
                <c:pt idx="44">
                  <c:v>0.014580339849015661</c:v>
                </c:pt>
                <c:pt idx="45">
                  <c:v>0.015177741384257839</c:v>
                </c:pt>
                <c:pt idx="46">
                  <c:v>0.014241859323562516</c:v>
                </c:pt>
                <c:pt idx="47">
                  <c:v>0.01432707859864022</c:v>
                </c:pt>
                <c:pt idx="48">
                  <c:v>0.013925861205559813</c:v>
                </c:pt>
                <c:pt idx="49">
                  <c:v>0.01469385808708316</c:v>
                </c:pt>
                <c:pt idx="50">
                  <c:v>0.015081576578149208</c:v>
                </c:pt>
                <c:pt idx="51">
                  <c:v>0.01487595729134043</c:v>
                </c:pt>
                <c:pt idx="52">
                  <c:v>0.01817241456177654</c:v>
                </c:pt>
                <c:pt idx="53">
                  <c:v>0.01817241456177654</c:v>
                </c:pt>
                <c:pt idx="54">
                  <c:v>0.0124432458897613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4976076555023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004177684860725</c:v>
                </c:pt>
                <c:pt idx="1">
                  <c:v>0.33978877938812774</c:v>
                </c:pt>
                <c:pt idx="2">
                  <c:v>0.30188530659377244</c:v>
                </c:pt>
                <c:pt idx="3">
                  <c:v>0.24987033749987703</c:v>
                </c:pt>
                <c:pt idx="4">
                  <c:v>0.2562831898279778</c:v>
                </c:pt>
                <c:pt idx="5">
                  <c:v>0.2573807447999351</c:v>
                </c:pt>
                <c:pt idx="6">
                  <c:v>0.28216688986207444</c:v>
                </c:pt>
                <c:pt idx="7">
                  <c:v>0.2899251144603906</c:v>
                </c:pt>
                <c:pt idx="8">
                  <c:v>0.22925460853824103</c:v>
                </c:pt>
                <c:pt idx="9">
                  <c:v>0.2590456114155112</c:v>
                </c:pt>
                <c:pt idx="10">
                  <c:v>0.27493721679026506</c:v>
                </c:pt>
                <c:pt idx="11">
                  <c:v>0.2879084804151265</c:v>
                </c:pt>
                <c:pt idx="12">
                  <c:v>0.27016406546462024</c:v>
                </c:pt>
                <c:pt idx="13">
                  <c:v>0.25046131772435937</c:v>
                </c:pt>
                <c:pt idx="14">
                  <c:v>0.26709426041325024</c:v>
                </c:pt>
                <c:pt idx="15">
                  <c:v>0.31111884415405233</c:v>
                </c:pt>
                <c:pt idx="16">
                  <c:v>0.28337081231712413</c:v>
                </c:pt>
                <c:pt idx="17">
                  <c:v>0.26305336954849645</c:v>
                </c:pt>
                <c:pt idx="18">
                  <c:v>0.27291790526935833</c:v>
                </c:pt>
                <c:pt idx="19">
                  <c:v>0.28342268929445735</c:v>
                </c:pt>
                <c:pt idx="20">
                  <c:v>0.25645974796356297</c:v>
                </c:pt>
                <c:pt idx="21">
                  <c:v>0.24162661538092337</c:v>
                </c:pt>
                <c:pt idx="22">
                  <c:v>0.24432362052818665</c:v>
                </c:pt>
                <c:pt idx="23">
                  <c:v>0.23275307901782652</c:v>
                </c:pt>
                <c:pt idx="24">
                  <c:v>0.216624327273523</c:v>
                </c:pt>
                <c:pt idx="25">
                  <c:v>0.19137453940333937</c:v>
                </c:pt>
                <c:pt idx="26">
                  <c:v>0.17197768477800726</c:v>
                </c:pt>
                <c:pt idx="27">
                  <c:v>0.15904723808806212</c:v>
                </c:pt>
                <c:pt idx="28">
                  <c:v>0.19344416804864564</c:v>
                </c:pt>
                <c:pt idx="29">
                  <c:v>0.23780140255856835</c:v>
                </c:pt>
                <c:pt idx="30">
                  <c:v>0.24791048604860483</c:v>
                </c:pt>
                <c:pt idx="31">
                  <c:v>0.21961984074177415</c:v>
                </c:pt>
                <c:pt idx="32">
                  <c:v>0.20855056487320542</c:v>
                </c:pt>
                <c:pt idx="33">
                  <c:v>0.18677646380428414</c:v>
                </c:pt>
                <c:pt idx="34">
                  <c:v>0.21923216267016496</c:v>
                </c:pt>
                <c:pt idx="35">
                  <c:v>0.19677314923250208</c:v>
                </c:pt>
                <c:pt idx="36">
                  <c:v>0.26378615603898176</c:v>
                </c:pt>
                <c:pt idx="37">
                  <c:v>0.2261448292647253</c:v>
                </c:pt>
                <c:pt idx="38">
                  <c:v>0.2663209224195574</c:v>
                </c:pt>
                <c:pt idx="39">
                  <c:v>0.2651906540109563</c:v>
                </c:pt>
                <c:pt idx="40">
                  <c:v>0.2589827054964715</c:v>
                </c:pt>
                <c:pt idx="41">
                  <c:v>0.2870800461390591</c:v>
                </c:pt>
                <c:pt idx="42">
                  <c:v>0.22737766861790315</c:v>
                </c:pt>
                <c:pt idx="43">
                  <c:v>0.26490229049698666</c:v>
                </c:pt>
                <c:pt idx="44">
                  <c:v>0.30043347621553335</c:v>
                </c:pt>
                <c:pt idx="45">
                  <c:v>0.3274396584991307</c:v>
                </c:pt>
                <c:pt idx="46">
                  <c:v>0.3070616524751251</c:v>
                </c:pt>
                <c:pt idx="47">
                  <c:v>0.2882926712141883</c:v>
                </c:pt>
                <c:pt idx="48">
                  <c:v>0.29744511782270655</c:v>
                </c:pt>
                <c:pt idx="49">
                  <c:v>0.2893655082108025</c:v>
                </c:pt>
                <c:pt idx="50">
                  <c:v>0.300941711065501</c:v>
                </c:pt>
                <c:pt idx="51">
                  <c:v>0.26970741832009143</c:v>
                </c:pt>
                <c:pt idx="52">
                  <c:v>0.304805261730601</c:v>
                </c:pt>
                <c:pt idx="53">
                  <c:v>0.32275020568607954</c:v>
                </c:pt>
                <c:pt idx="54">
                  <c:v>0.2755955189456343</c:v>
                </c:pt>
                <c:pt idx="55">
                  <c:v>0.2490543181697096</c:v>
                </c:pt>
                <c:pt idx="56">
                  <c:v>0.26132556466120327</c:v>
                </c:pt>
                <c:pt idx="57">
                  <c:v>0.2411869418673492</c:v>
                </c:pt>
                <c:pt idx="58">
                  <c:v>0.28530950537726973</c:v>
                </c:pt>
                <c:pt idx="59">
                  <c:v>0.28249329195968825</c:v>
                </c:pt>
                <c:pt idx="60">
                  <c:v>0.24772627932942978</c:v>
                </c:pt>
                <c:pt idx="61">
                  <c:v>0.2847765459216071</c:v>
                </c:pt>
                <c:pt idx="62">
                  <c:v>0.3235260012119209</c:v>
                </c:pt>
                <c:pt idx="63">
                  <c:v>0.3054720155754083</c:v>
                </c:pt>
                <c:pt idx="64">
                  <c:v>0.2835739900357832</c:v>
                </c:pt>
                <c:pt idx="65">
                  <c:v>0.25955231094243514</c:v>
                </c:pt>
                <c:pt idx="66">
                  <c:v>0.2750795753659588</c:v>
                </c:pt>
                <c:pt idx="67">
                  <c:v>0.3392150048879414</c:v>
                </c:pt>
                <c:pt idx="68">
                  <c:v>0.2947851014561309</c:v>
                </c:pt>
                <c:pt idx="69">
                  <c:v>0.26332216957540877</c:v>
                </c:pt>
                <c:pt idx="70">
                  <c:v>0.2252178466195604</c:v>
                </c:pt>
                <c:pt idx="71">
                  <c:v>0.24961076626233872</c:v>
                </c:pt>
                <c:pt idx="72">
                  <c:v>0.26870940904826096</c:v>
                </c:pt>
                <c:pt idx="73">
                  <c:v>0.2745206187297773</c:v>
                </c:pt>
                <c:pt idx="74">
                  <c:v>0.2728379512930093</c:v>
                </c:pt>
                <c:pt idx="75">
                  <c:v>0.2528422246042216</c:v>
                </c:pt>
                <c:pt idx="76">
                  <c:v>0.2691901654996817</c:v>
                </c:pt>
                <c:pt idx="77">
                  <c:v>0.2525592226473005</c:v>
                </c:pt>
                <c:pt idx="78">
                  <c:v>0.23034199662578633</c:v>
                </c:pt>
                <c:pt idx="79">
                  <c:v>0.26404120387492125</c:v>
                </c:pt>
                <c:pt idx="80">
                  <c:v>0.26707521745966617</c:v>
                </c:pt>
                <c:pt idx="81">
                  <c:v>0.3146663482858605</c:v>
                </c:pt>
                <c:pt idx="82">
                  <c:v>0.29440669413249937</c:v>
                </c:pt>
                <c:pt idx="83">
                  <c:v>0.3276323451132866</c:v>
                </c:pt>
                <c:pt idx="84">
                  <c:v>0.27512875500667555</c:v>
                </c:pt>
                <c:pt idx="85">
                  <c:v>0.2734669890253951</c:v>
                </c:pt>
                <c:pt idx="86">
                  <c:v>0.25493578979767256</c:v>
                </c:pt>
                <c:pt idx="87">
                  <c:v>0.2178052024528097</c:v>
                </c:pt>
                <c:pt idx="88">
                  <c:v>0.22185095806618438</c:v>
                </c:pt>
                <c:pt idx="89">
                  <c:v>0.16052720756056946</c:v>
                </c:pt>
                <c:pt idx="90">
                  <c:v>0.23406081149674673</c:v>
                </c:pt>
                <c:pt idx="91">
                  <c:v>0.24669922521737675</c:v>
                </c:pt>
                <c:pt idx="92">
                  <c:v>0.2547641518275539</c:v>
                </c:pt>
                <c:pt idx="93">
                  <c:v>0.18749510018574606</c:v>
                </c:pt>
                <c:pt idx="94">
                  <c:v>0.13956238911886457</c:v>
                </c:pt>
                <c:pt idx="95">
                  <c:v>0.11080504186702385</c:v>
                </c:pt>
                <c:pt idx="96">
                  <c:v>0.10039627437821569</c:v>
                </c:pt>
                <c:pt idx="97">
                  <c:v>0.09859282511199395</c:v>
                </c:pt>
                <c:pt idx="98">
                  <c:v>0.08071660425705798</c:v>
                </c:pt>
                <c:pt idx="99">
                  <c:v>0.18619585263384955</c:v>
                </c:pt>
                <c:pt idx="100">
                  <c:v>0.2591098451902089</c:v>
                </c:pt>
                <c:pt idx="101">
                  <c:v>0.22531262685132017</c:v>
                </c:pt>
                <c:pt idx="102">
                  <c:v>0.21181217956041412</c:v>
                </c:pt>
                <c:pt idx="103">
                  <c:v>0.2189209893902307</c:v>
                </c:pt>
                <c:pt idx="104">
                  <c:v>0.28718430284052765</c:v>
                </c:pt>
              </c:numCache>
            </c:numRef>
          </c:xVal>
          <c:yVal>
            <c:numRef>
              <c:f>Sheet1!$B$2:$B$106</c:f>
              <c:numCache>
                <c:formatCode>General</c:formatCode>
                <c:ptCount val="105"/>
                <c:pt idx="0">
                  <c:v>0.09567198177676538</c:v>
                </c:pt>
                <c:pt idx="1">
                  <c:v>0.09090909090909091</c:v>
                </c:pt>
                <c:pt idx="2">
                  <c:v>0.11180124223602485</c:v>
                </c:pt>
                <c:pt idx="3">
                  <c:v>0.10204081632653061</c:v>
                </c:pt>
                <c:pt idx="4">
                  <c:v>0.09954751131221719</c:v>
                </c:pt>
                <c:pt idx="5">
                  <c:v>0.0970873786407767</c:v>
                </c:pt>
                <c:pt idx="6">
                  <c:v>0.12815126050420167</c:v>
                </c:pt>
                <c:pt idx="7">
                  <c:v>0.10864745011086474</c:v>
                </c:pt>
                <c:pt idx="8">
                  <c:v>0.12526539278131635</c:v>
                </c:pt>
                <c:pt idx="9">
                  <c:v>0.1254355400696864</c:v>
                </c:pt>
                <c:pt idx="10">
                  <c:v>0.12398042414355628</c:v>
                </c:pt>
                <c:pt idx="11">
                  <c:v>0.16917922948073702</c:v>
                </c:pt>
                <c:pt idx="12">
                  <c:v>0.14974182444061962</c:v>
                </c:pt>
                <c:pt idx="13">
                  <c:v>0.17063492063492064</c:v>
                </c:pt>
                <c:pt idx="14">
                  <c:v>0.15789473684210525</c:v>
                </c:pt>
                <c:pt idx="15">
                  <c:v>0.12053571428571429</c:v>
                </c:pt>
                <c:pt idx="16">
                  <c:v>0.11229946524064172</c:v>
                </c:pt>
                <c:pt idx="17">
                  <c:v>0.09831460674157304</c:v>
                </c:pt>
                <c:pt idx="18">
                  <c:v>0.07718120805369127</c:v>
                </c:pt>
                <c:pt idx="19">
                  <c:v>0.08560311284046693</c:v>
                </c:pt>
                <c:pt idx="20">
                  <c:v>0.09294871794871795</c:v>
                </c:pt>
                <c:pt idx="21">
                  <c:v>0.07936507936507936</c:v>
                </c:pt>
                <c:pt idx="22">
                  <c:v>0.08780487804878048</c:v>
                </c:pt>
                <c:pt idx="23">
                  <c:v>0.0896551724137931</c:v>
                </c:pt>
                <c:pt idx="24">
                  <c:v>0.08021390374331551</c:v>
                </c:pt>
                <c:pt idx="25">
                  <c:v>0.1342281879194631</c:v>
                </c:pt>
                <c:pt idx="26">
                  <c:v>0.14</c:v>
                </c:pt>
                <c:pt idx="27">
                  <c:v>0.11413043478260869</c:v>
                </c:pt>
                <c:pt idx="28">
                  <c:v>0.08860759493670886</c:v>
                </c:pt>
                <c:pt idx="29">
                  <c:v>0.075</c:v>
                </c:pt>
                <c:pt idx="30">
                  <c:v>0.05785123966942149</c:v>
                </c:pt>
                <c:pt idx="31">
                  <c:v>0.0896551724137931</c:v>
                </c:pt>
                <c:pt idx="32">
                  <c:v>0.07333333333333333</c:v>
                </c:pt>
                <c:pt idx="33">
                  <c:v>0.0962566844919786</c:v>
                </c:pt>
                <c:pt idx="34">
                  <c:v>0.054945054945054944</c:v>
                </c:pt>
                <c:pt idx="35">
                  <c:v>0.047337278106508875</c:v>
                </c:pt>
                <c:pt idx="36">
                  <c:v>0.04597701149425287</c:v>
                </c:pt>
                <c:pt idx="37">
                  <c:v>0.05113636363636364</c:v>
                </c:pt>
                <c:pt idx="38">
                  <c:v>0.029239766081871343</c:v>
                </c:pt>
                <c:pt idx="39">
                  <c:v>0.031446540880503145</c:v>
                </c:pt>
                <c:pt idx="40">
                  <c:v>0.04371584699453552</c:v>
                </c:pt>
                <c:pt idx="41">
                  <c:v>0.03940886699507389</c:v>
                </c:pt>
                <c:pt idx="42">
                  <c:v>0.05128205128205128</c:v>
                </c:pt>
                <c:pt idx="43">
                  <c:v>0.04330708661417323</c:v>
                </c:pt>
                <c:pt idx="44">
                  <c:v>0.04035874439461883</c:v>
                </c:pt>
                <c:pt idx="45">
                  <c:v>0.046242774566473986</c:v>
                </c:pt>
                <c:pt idx="46">
                  <c:v>0.06046511627906977</c:v>
                </c:pt>
                <c:pt idx="47">
                  <c:v>0.058823529411764705</c:v>
                </c:pt>
                <c:pt idx="48">
                  <c:v>0.08881578947368421</c:v>
                </c:pt>
                <c:pt idx="49">
                  <c:v>0.09606986899563319</c:v>
                </c:pt>
                <c:pt idx="50">
                  <c:v>0.09347826086956522</c:v>
                </c:pt>
                <c:pt idx="51">
                  <c:v>0.07862407862407862</c:v>
                </c:pt>
                <c:pt idx="52">
                  <c:v>0.0697211155378486</c:v>
                </c:pt>
                <c:pt idx="53">
                  <c:v>0.07317073170731707</c:v>
                </c:pt>
                <c:pt idx="54">
                  <c:v>0.09635416666666667</c:v>
                </c:pt>
                <c:pt idx="55">
                  <c:v>0.09536784741144415</c:v>
                </c:pt>
                <c:pt idx="56">
                  <c:v>0.0921409214092141</c:v>
                </c:pt>
                <c:pt idx="57">
                  <c:v>0.08518518518518518</c:v>
                </c:pt>
                <c:pt idx="58">
                  <c:v>0.09570957095709572</c:v>
                </c:pt>
                <c:pt idx="59">
                  <c:v>0.0888468809073724</c:v>
                </c:pt>
                <c:pt idx="60">
                  <c:v>0.10273972602739725</c:v>
                </c:pt>
                <c:pt idx="61">
                  <c:v>0.11637931034482758</c:v>
                </c:pt>
                <c:pt idx="62">
                  <c:v>0.11988304093567251</c:v>
                </c:pt>
                <c:pt idx="63">
                  <c:v>0.12239583333333333</c:v>
                </c:pt>
                <c:pt idx="64">
                  <c:v>0.10839160839160839</c:v>
                </c:pt>
                <c:pt idx="65">
                  <c:v>0.10553410553410554</c:v>
                </c:pt>
                <c:pt idx="66">
                  <c:v>0.08445040214477212</c:v>
                </c:pt>
                <c:pt idx="67">
                  <c:v>0.07525325615050651</c:v>
                </c:pt>
                <c:pt idx="68">
                  <c:v>0.08185053380782918</c:v>
                </c:pt>
                <c:pt idx="69">
                  <c:v>0.08187134502923976</c:v>
                </c:pt>
                <c:pt idx="70">
                  <c:v>0.07219251336898395</c:v>
                </c:pt>
                <c:pt idx="71">
                  <c:v>0.055248618784530384</c:v>
                </c:pt>
                <c:pt idx="72">
                  <c:v>0.05970149253731343</c:v>
                </c:pt>
                <c:pt idx="73">
                  <c:v>0.05802047781569966</c:v>
                </c:pt>
                <c:pt idx="74">
                  <c:v>0.0625</c:v>
                </c:pt>
                <c:pt idx="75">
                  <c:v>0.0787037037037037</c:v>
                </c:pt>
                <c:pt idx="76">
                  <c:v>0.059782608695652176</c:v>
                </c:pt>
                <c:pt idx="77">
                  <c:v>0.05025125628140704</c:v>
                </c:pt>
                <c:pt idx="78">
                  <c:v>0.07407407407407407</c:v>
                </c:pt>
                <c:pt idx="79">
                  <c:v>0.06962025316455696</c:v>
                </c:pt>
                <c:pt idx="80">
                  <c:v>0.051470588235294115</c:v>
                </c:pt>
                <c:pt idx="81">
                  <c:v>0.06417112299465241</c:v>
                </c:pt>
                <c:pt idx="82">
                  <c:v>0.04878048780487805</c:v>
                </c:pt>
                <c:pt idx="83">
                  <c:v>0.046153846153846156</c:v>
                </c:pt>
                <c:pt idx="84">
                  <c:v>0.04964539007092199</c:v>
                </c:pt>
                <c:pt idx="85">
                  <c:v>0.05844155844155844</c:v>
                </c:pt>
                <c:pt idx="86">
                  <c:v>0.03867403314917127</c:v>
                </c:pt>
                <c:pt idx="87">
                  <c:v>0.060240963855421686</c:v>
                </c:pt>
                <c:pt idx="88">
                  <c:v>0.0547945205479452</c:v>
                </c:pt>
                <c:pt idx="89">
                  <c:v>0.04895104895104895</c:v>
                </c:pt>
                <c:pt idx="90">
                  <c:v>0.034482758620689655</c:v>
                </c:pt>
                <c:pt idx="91">
                  <c:v>0.03759398496240601</c:v>
                </c:pt>
                <c:pt idx="92">
                  <c:v>0.04736842105263158</c:v>
                </c:pt>
                <c:pt idx="93">
                  <c:v>0.05970149253731343</c:v>
                </c:pt>
                <c:pt idx="94">
                  <c:v>0.06766917293233082</c:v>
                </c:pt>
                <c:pt idx="95">
                  <c:v>0.1225296442687747</c:v>
                </c:pt>
                <c:pt idx="96">
                  <c:v>0.1432225063938619</c:v>
                </c:pt>
                <c:pt idx="97">
                  <c:v>0.1325</c:v>
                </c:pt>
                <c:pt idx="98">
                  <c:v>0.10619469026548672</c:v>
                </c:pt>
                <c:pt idx="99">
                  <c:v>0.06560636182902585</c:v>
                </c:pt>
                <c:pt idx="100">
                  <c:v>0.053927315357561546</c:v>
                </c:pt>
                <c:pt idx="101">
                  <c:v>0.05108055009823183</c:v>
                </c:pt>
                <c:pt idx="102">
                  <c:v>0.046511627906976744</c:v>
                </c:pt>
                <c:pt idx="103">
                  <c:v>0.03958333333333333</c:v>
                </c:pt>
                <c:pt idx="104">
                  <c:v>0.0315126050420168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186374066802584</c:v>
                </c:pt>
                <c:pt idx="1">
                  <c:v>0.2916995337027555</c:v>
                </c:pt>
                <c:pt idx="2">
                  <c:v>0.2280210263748157</c:v>
                </c:pt>
                <c:pt idx="3">
                  <c:v>0.2599003571083872</c:v>
                </c:pt>
                <c:pt idx="4">
                  <c:v>0.273930156202493</c:v>
                </c:pt>
                <c:pt idx="5">
                  <c:v>0.2864577320768021</c:v>
                </c:pt>
                <c:pt idx="6">
                  <c:v>0.27703237915440926</c:v>
                </c:pt>
                <c:pt idx="7">
                  <c:v>0.25913764245737997</c:v>
                </c:pt>
                <c:pt idx="8">
                  <c:v>0.2611893214050638</c:v>
                </c:pt>
                <c:pt idx="9">
                  <c:v>0.27093189164459763</c:v>
                </c:pt>
                <c:pt idx="10">
                  <c:v>0.26741237416107383</c:v>
                </c:pt>
                <c:pt idx="11">
                  <c:v>0.2822207190408293</c:v>
                </c:pt>
                <c:pt idx="12">
                  <c:v>0.22406013714876757</c:v>
                </c:pt>
                <c:pt idx="13">
                  <c:v>0.2526925072322966</c:v>
                </c:pt>
                <c:pt idx="14">
                  <c:v>0.23793772840374752</c:v>
                </c:pt>
                <c:pt idx="15">
                  <c:v>0.27055750515585597</c:v>
                </c:pt>
                <c:pt idx="16">
                  <c:v>0.26421723170387956</c:v>
                </c:pt>
                <c:pt idx="17">
                  <c:v>0.23418537393435737</c:v>
                </c:pt>
                <c:pt idx="18">
                  <c:v>0.24303404833340797</c:v>
                </c:pt>
                <c:pt idx="19">
                  <c:v>0.23861140814742118</c:v>
                </c:pt>
                <c:pt idx="20">
                  <c:v>0.1796303822022105</c:v>
                </c:pt>
                <c:pt idx="21">
                  <c:v>0.20407466396633372</c:v>
                </c:pt>
                <c:pt idx="22">
                  <c:v>0.25632955338758723</c:v>
                </c:pt>
                <c:pt idx="23">
                  <c:v>0.23633750293316003</c:v>
                </c:pt>
                <c:pt idx="24">
                  <c:v>0.29853858238264447</c:v>
                </c:pt>
                <c:pt idx="25">
                  <c:v>0.25271663190250915</c:v>
                </c:pt>
                <c:pt idx="26">
                  <c:v>0.31905434465849464</c:v>
                </c:pt>
                <c:pt idx="27">
                  <c:v>0.19088775576161776</c:v>
                </c:pt>
                <c:pt idx="28">
                  <c:v>0.2314442296590995</c:v>
                </c:pt>
                <c:pt idx="29">
                  <c:v>0.29414436793755216</c:v>
                </c:pt>
                <c:pt idx="30">
                  <c:v>0.18338778654341648</c:v>
                </c:pt>
                <c:pt idx="31">
                  <c:v>0.09972161341103672</c:v>
                </c:pt>
                <c:pt idx="32">
                  <c:v>0.31165739804516346</c:v>
                </c:pt>
                <c:pt idx="33">
                  <c:v>0.23530623654742117</c:v>
                </c:pt>
                <c:pt idx="34">
                  <c:v>0.2211690363349131</c:v>
                </c:pt>
                <c:pt idx="35">
                  <c:v>0.17465274648648246</c:v>
                </c:pt>
                <c:pt idx="36">
                  <c:v>0.23315114750205945</c:v>
                </c:pt>
                <c:pt idx="37">
                  <c:v>0.20244748579924515</c:v>
                </c:pt>
                <c:pt idx="38">
                  <c:v>0.2785197593745094</c:v>
                </c:pt>
                <c:pt idx="39">
                  <c:v>0.16244053675348466</c:v>
                </c:pt>
                <c:pt idx="40">
                  <c:v>0.22519545785678435</c:v>
                </c:pt>
                <c:pt idx="41">
                  <c:v>0.22731083977405414</c:v>
                </c:pt>
                <c:pt idx="42">
                  <c:v>0.1668616885547351</c:v>
                </c:pt>
                <c:pt idx="43">
                  <c:v>0.29937736750651606</c:v>
                </c:pt>
                <c:pt idx="44">
                  <c:v>0.22278872052336524</c:v>
                </c:pt>
                <c:pt idx="45">
                  <c:v>0.23475889643549502</c:v>
                </c:pt>
                <c:pt idx="46">
                  <c:v>0.2214006312756461</c:v>
                </c:pt>
                <c:pt idx="47">
                  <c:v>0.1484644147649508</c:v>
                </c:pt>
                <c:pt idx="48">
                  <c:v>0.2756042603580706</c:v>
                </c:pt>
                <c:pt idx="49">
                  <c:v>0.33312968889513855</c:v>
                </c:pt>
                <c:pt idx="50">
                  <c:v>0.3109714559846486</c:v>
                </c:pt>
                <c:pt idx="51">
                  <c:v>0.29363774465149833</c:v>
                </c:pt>
              </c:numCache>
            </c:numRef>
          </c:xVal>
          <c:yVal>
            <c:numRef>
              <c:f>Sheet1!$B$109:$B$160</c:f>
              <c:numCache>
                <c:formatCode>General</c:formatCode>
                <c:ptCount val="52"/>
                <c:pt idx="0">
                  <c:v>0.039927404718693285</c:v>
                </c:pt>
                <c:pt idx="1">
                  <c:v>0.044444444444444446</c:v>
                </c:pt>
                <c:pt idx="2">
                  <c:v>0.040697674418604654</c:v>
                </c:pt>
                <c:pt idx="3">
                  <c:v>0.050966608084358524</c:v>
                </c:pt>
                <c:pt idx="4">
                  <c:v>0.05142857142857143</c:v>
                </c:pt>
                <c:pt idx="5">
                  <c:v>0.05660377358490566</c:v>
                </c:pt>
                <c:pt idx="6">
                  <c:v>0.042232277526395176</c:v>
                </c:pt>
                <c:pt idx="7">
                  <c:v>0.05569007263922518</c:v>
                </c:pt>
                <c:pt idx="8">
                  <c:v>0.057971014492753624</c:v>
                </c:pt>
                <c:pt idx="9">
                  <c:v>0.07430997876857749</c:v>
                </c:pt>
                <c:pt idx="10">
                  <c:v>0.0949367088607595</c:v>
                </c:pt>
                <c:pt idx="11">
                  <c:v>0.09555189456342669</c:v>
                </c:pt>
                <c:pt idx="12">
                  <c:v>0.09917355371900827</c:v>
                </c:pt>
                <c:pt idx="13">
                  <c:v>0.11458333333333333</c:v>
                </c:pt>
                <c:pt idx="14">
                  <c:v>0.10940919037199125</c:v>
                </c:pt>
                <c:pt idx="15">
                  <c:v>0.08470588235294117</c:v>
                </c:pt>
                <c:pt idx="16">
                  <c:v>0.08358208955223881</c:v>
                </c:pt>
                <c:pt idx="17">
                  <c:v>0.08041958041958042</c:v>
                </c:pt>
                <c:pt idx="18">
                  <c:v>0.09268292682926829</c:v>
                </c:pt>
                <c:pt idx="19">
                  <c:v>0.07216494845360824</c:v>
                </c:pt>
                <c:pt idx="20">
                  <c:v>0.10101010101010101</c:v>
                </c:pt>
                <c:pt idx="21">
                  <c:v>0.08021390374331551</c:v>
                </c:pt>
                <c:pt idx="22">
                  <c:v>0.06936416184971098</c:v>
                </c:pt>
                <c:pt idx="23">
                  <c:v>0.06164383561643835</c:v>
                </c:pt>
                <c:pt idx="24">
                  <c:v>0.05</c:v>
                </c:pt>
                <c:pt idx="25">
                  <c:v>0.0743801652892562</c:v>
                </c:pt>
                <c:pt idx="26">
                  <c:v>0.0410958904109589</c:v>
                </c:pt>
                <c:pt idx="27">
                  <c:v>0.05</c:v>
                </c:pt>
                <c:pt idx="28">
                  <c:v>0.0650887573964497</c:v>
                </c:pt>
                <c:pt idx="29">
                  <c:v>0.045454545454545456</c:v>
                </c:pt>
                <c:pt idx="30">
                  <c:v>0.09803921568627451</c:v>
                </c:pt>
                <c:pt idx="31">
                  <c:v>0.1717171717171717</c:v>
                </c:pt>
                <c:pt idx="32">
                  <c:v>0.07476635514018691</c:v>
                </c:pt>
                <c:pt idx="33">
                  <c:v>0.06818181818181818</c:v>
                </c:pt>
                <c:pt idx="34">
                  <c:v>0.07894736842105263</c:v>
                </c:pt>
                <c:pt idx="35">
                  <c:v>0.07317073170731707</c:v>
                </c:pt>
                <c:pt idx="36">
                  <c:v>0.028985507246376812</c:v>
                </c:pt>
                <c:pt idx="37">
                  <c:v>0.0641025641025641</c:v>
                </c:pt>
                <c:pt idx="38">
                  <c:v>0.028985507246376812</c:v>
                </c:pt>
                <c:pt idx="39">
                  <c:v>0.07079646017699115</c:v>
                </c:pt>
                <c:pt idx="40">
                  <c:v>0.050955414012738856</c:v>
                </c:pt>
                <c:pt idx="41">
                  <c:v>0.046153846153846156</c:v>
                </c:pt>
                <c:pt idx="42">
                  <c:v>0.10526315789473684</c:v>
                </c:pt>
                <c:pt idx="43">
                  <c:v>0.06382978723404255</c:v>
                </c:pt>
                <c:pt idx="44">
                  <c:v>0.05947955390334572</c:v>
                </c:pt>
                <c:pt idx="45">
                  <c:v>0.062146892655367235</c:v>
                </c:pt>
                <c:pt idx="46">
                  <c:v>0.07380073800738007</c:v>
                </c:pt>
                <c:pt idx="47">
                  <c:v>0.07643312101910828</c:v>
                </c:pt>
                <c:pt idx="48">
                  <c:v>0.038461538461538464</c:v>
                </c:pt>
                <c:pt idx="49">
                  <c:v>0.047619047619047616</c:v>
                </c:pt>
                <c:pt idx="50">
                  <c:v>0.06119951040391677</c:v>
                </c:pt>
                <c:pt idx="51">
                  <c:v>0.09237875288683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03866543332641</c:v>
                </c:pt>
              </c:numCache>
            </c:numRef>
          </c:xVal>
          <c:yVal>
            <c:numRef>
              <c:f>Sheet1!$B$163:$B$164</c:f>
              <c:numCache>
                <c:formatCode>General</c:formatCode>
                <c:ptCount val="2"/>
                <c:pt idx="0">
                  <c:v>0.1202395830836546</c:v>
                </c:pt>
                <c:pt idx="1">
                  <c:v>0.12023958308365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03866543332641</c:v>
                </c:pt>
                <c:pt idx="1">
                  <c:v>0.0603866543332641</c:v>
                </c:pt>
              </c:numCache>
            </c:numRef>
          </c:xVal>
          <c:yVal>
            <c:numRef>
              <c:f>Sheet1!$B$167:$B$168</c:f>
              <c:numCache>
                <c:formatCode>General</c:formatCode>
                <c:ptCount val="2"/>
                <c:pt idx="0">
                  <c:v>0.12023958308365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719062035707008</c:v>
                </c:pt>
              </c:numCache>
            </c:numRef>
          </c:xVal>
          <c:yVal>
            <c:numRef>
              <c:f>Sheet1!$B$171:$B$172</c:f>
              <c:numCache>
                <c:formatCode>General</c:formatCode>
                <c:ptCount val="2"/>
                <c:pt idx="0">
                  <c:v>0.09098031476755</c:v>
                </c:pt>
                <c:pt idx="1">
                  <c:v>0.090980314767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719062035707008</c:v>
                </c:pt>
                <c:pt idx="1">
                  <c:v>0.16719062035707008</c:v>
                </c:pt>
              </c:numCache>
            </c:numRef>
          </c:xVal>
          <c:yVal>
            <c:numRef>
              <c:f>Sheet1!$B$175:$B$176</c:f>
              <c:numCache>
                <c:formatCode>General</c:formatCode>
                <c:ptCount val="2"/>
                <c:pt idx="0">
                  <c:v>0.090980314767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103778375883957</c:v>
                </c:pt>
              </c:numCache>
            </c:numRef>
          </c:xVal>
          <c:yVal>
            <c:numRef>
              <c:f>Sheet1!$B$179:$B$180</c:f>
              <c:numCache>
                <c:formatCode>General</c:formatCode>
                <c:ptCount val="2"/>
                <c:pt idx="0">
                  <c:v>0.06527060157145352</c:v>
                </c:pt>
                <c:pt idx="1">
                  <c:v>0.065270601571453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103778375883957</c:v>
                </c:pt>
                <c:pt idx="1">
                  <c:v>0.26103778375883957</c:v>
                </c:pt>
              </c:numCache>
            </c:numRef>
          </c:xVal>
          <c:yVal>
            <c:numRef>
              <c:f>Sheet1!$B$183:$B$184</c:f>
              <c:numCache>
                <c:formatCode>General</c:formatCode>
                <c:ptCount val="2"/>
                <c:pt idx="0">
                  <c:v>0.065270601571453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186374066802584</c:v>
                </c:pt>
                <c:pt idx="1">
                  <c:v>0.2916995337027555</c:v>
                </c:pt>
                <c:pt idx="2">
                  <c:v>0.2280210263748157</c:v>
                </c:pt>
                <c:pt idx="3">
                  <c:v>0.2599003571083872</c:v>
                </c:pt>
                <c:pt idx="4">
                  <c:v>0.273930156202493</c:v>
                </c:pt>
                <c:pt idx="5">
                  <c:v>0.2864577320768021</c:v>
                </c:pt>
                <c:pt idx="6">
                  <c:v>0.27703237915440926</c:v>
                </c:pt>
                <c:pt idx="7">
                  <c:v>0.25913764245737997</c:v>
                </c:pt>
                <c:pt idx="8">
                  <c:v>0.2611893214050638</c:v>
                </c:pt>
                <c:pt idx="9">
                  <c:v>0.27093189164459763</c:v>
                </c:pt>
                <c:pt idx="10">
                  <c:v>0.26741237416107383</c:v>
                </c:pt>
                <c:pt idx="11">
                  <c:v>0.2822207190408293</c:v>
                </c:pt>
                <c:pt idx="12">
                  <c:v>0.22406013714876757</c:v>
                </c:pt>
                <c:pt idx="13">
                  <c:v>0.2526925072322966</c:v>
                </c:pt>
                <c:pt idx="14">
                  <c:v>0.23793772840374752</c:v>
                </c:pt>
                <c:pt idx="15">
                  <c:v>0.27055750515585597</c:v>
                </c:pt>
                <c:pt idx="16">
                  <c:v>0.26421723170387956</c:v>
                </c:pt>
                <c:pt idx="17">
                  <c:v>0.23418537393435737</c:v>
                </c:pt>
                <c:pt idx="18">
                  <c:v>0.24303404833340797</c:v>
                </c:pt>
                <c:pt idx="19">
                  <c:v>0.23861140814742118</c:v>
                </c:pt>
                <c:pt idx="20">
                  <c:v>0.1796303822022105</c:v>
                </c:pt>
                <c:pt idx="21">
                  <c:v>0.20407466396633372</c:v>
                </c:pt>
                <c:pt idx="22">
                  <c:v>0.25632955338758723</c:v>
                </c:pt>
                <c:pt idx="23">
                  <c:v>0.23633750293316003</c:v>
                </c:pt>
                <c:pt idx="24">
                  <c:v>0.29853858238264447</c:v>
                </c:pt>
                <c:pt idx="25">
                  <c:v>0.25271663190250915</c:v>
                </c:pt>
                <c:pt idx="26">
                  <c:v>0.31905434465849464</c:v>
                </c:pt>
                <c:pt idx="27">
                  <c:v>0.19088775576161776</c:v>
                </c:pt>
                <c:pt idx="28">
                  <c:v>0.2314442296590995</c:v>
                </c:pt>
                <c:pt idx="29">
                  <c:v>0.29414436793755216</c:v>
                </c:pt>
                <c:pt idx="30">
                  <c:v>0.18338778654341648</c:v>
                </c:pt>
                <c:pt idx="31">
                  <c:v>0.09972161341103672</c:v>
                </c:pt>
                <c:pt idx="32">
                  <c:v>0.31165739804516346</c:v>
                </c:pt>
                <c:pt idx="33">
                  <c:v>0.23530623654742117</c:v>
                </c:pt>
                <c:pt idx="34">
                  <c:v>0.2211690363349131</c:v>
                </c:pt>
                <c:pt idx="35">
                  <c:v>0.17465274648648246</c:v>
                </c:pt>
                <c:pt idx="36">
                  <c:v>0.23315114750205945</c:v>
                </c:pt>
                <c:pt idx="37">
                  <c:v>0.20244748579924515</c:v>
                </c:pt>
                <c:pt idx="38">
                  <c:v>0.2785197593745094</c:v>
                </c:pt>
                <c:pt idx="39">
                  <c:v>0.16244053675348466</c:v>
                </c:pt>
                <c:pt idx="40">
                  <c:v>0.22519545785678435</c:v>
                </c:pt>
                <c:pt idx="41">
                  <c:v>0.22731083977405414</c:v>
                </c:pt>
                <c:pt idx="42">
                  <c:v>0.1668616885547351</c:v>
                </c:pt>
                <c:pt idx="43">
                  <c:v>0.29937736750651606</c:v>
                </c:pt>
                <c:pt idx="44">
                  <c:v>0.22278872052336524</c:v>
                </c:pt>
                <c:pt idx="45">
                  <c:v>0.23475889643549502</c:v>
                </c:pt>
                <c:pt idx="46">
                  <c:v>0.2214006312756461</c:v>
                </c:pt>
                <c:pt idx="47">
                  <c:v>0.1484644147649508</c:v>
                </c:pt>
                <c:pt idx="48">
                  <c:v>0.2756042603580706</c:v>
                </c:pt>
                <c:pt idx="49">
                  <c:v>0.33312968889513855</c:v>
                </c:pt>
                <c:pt idx="50">
                  <c:v>0.3109714559846486</c:v>
                </c:pt>
                <c:pt idx="51">
                  <c:v>0.29363774465149833</c:v>
                </c:pt>
                <c:pt idx="52">
                  <c:v>0.16719062035707008</c:v>
                </c:pt>
                <c:pt idx="53">
                  <c:v>0.0603866543332641</c:v>
                </c:pt>
                <c:pt idx="54">
                  <c:v>0.26103778375883957</c:v>
                </c:pt>
              </c:numCache>
            </c:numRef>
          </c:xVal>
          <c:yVal>
            <c:numRef>
              <c:f>Sheet1!$B$187:$B$241</c:f>
              <c:numCache>
                <c:formatCode>General</c:formatCode>
                <c:ptCount val="55"/>
                <c:pt idx="0">
                  <c:v>0.0494910113117754</c:v>
                </c:pt>
                <c:pt idx="1">
                  <c:v>0.05687072278370914</c:v>
                </c:pt>
                <c:pt idx="2">
                  <c:v>0.0743156417435718</c:v>
                </c:pt>
                <c:pt idx="3">
                  <c:v>0.06558220302966207</c:v>
                </c:pt>
                <c:pt idx="4">
                  <c:v>0.061738697292955766</c:v>
                </c:pt>
                <c:pt idx="5">
                  <c:v>0.05830673013384234</c:v>
                </c:pt>
                <c:pt idx="6">
                  <c:v>0.060888833967597006</c:v>
                </c:pt>
                <c:pt idx="7">
                  <c:v>0.0657911510065328</c:v>
                </c:pt>
                <c:pt idx="8">
                  <c:v>0.06522908737665407</c:v>
                </c:pt>
                <c:pt idx="9">
                  <c:v>0.06256008090302297</c:v>
                </c:pt>
                <c:pt idx="10">
                  <c:v>0.06352426332271598</c:v>
                </c:pt>
                <c:pt idx="11">
                  <c:v>0.05946747262210096</c:v>
                </c:pt>
                <c:pt idx="12">
                  <c:v>0.07540073928207969</c:v>
                </c:pt>
                <c:pt idx="13">
                  <c:v>0.06755681522205696</c:v>
                </c:pt>
                <c:pt idx="14">
                  <c:v>0.07159893134153766</c:v>
                </c:pt>
                <c:pt idx="15">
                  <c:v>0.06266264520972273</c:v>
                </c:pt>
                <c:pt idx="16">
                  <c:v>0.0643995822265326</c:v>
                </c:pt>
                <c:pt idx="17">
                  <c:v>0.07262690015509791</c:v>
                </c:pt>
                <c:pt idx="18">
                  <c:v>0.07020277914047231</c:v>
                </c:pt>
                <c:pt idx="19">
                  <c:v>0.07141437474581276</c:v>
                </c:pt>
                <c:pt idx="20">
                  <c:v>0.08757240452633035</c:v>
                </c:pt>
                <c:pt idx="21">
                  <c:v>0.08087581988104176</c:v>
                </c:pt>
                <c:pt idx="22">
                  <c:v>0.06656043546859362</c:v>
                </c:pt>
                <c:pt idx="23">
                  <c:v>0.07203731793103706</c:v>
                </c:pt>
                <c:pt idx="24">
                  <c:v>0.05499714479029294</c:v>
                </c:pt>
                <c:pt idx="25">
                  <c:v>0.06755020619595928</c:v>
                </c:pt>
                <c:pt idx="26">
                  <c:v>0.049376789896311585</c:v>
                </c:pt>
                <c:pt idx="27">
                  <c:v>0.08448841311878373</c:v>
                </c:pt>
                <c:pt idx="28">
                  <c:v>0.0733778448889765</c:v>
                </c:pt>
                <c:pt idx="29">
                  <c:v>0.056200953078262325</c:v>
                </c:pt>
                <c:pt idx="30">
                  <c:v>0.08654305228516979</c:v>
                </c:pt>
                <c:pt idx="31">
                  <c:v>0.10946365251939998</c:v>
                </c:pt>
                <c:pt idx="32">
                  <c:v>0.051403205709663655</c:v>
                </c:pt>
                <c:pt idx="33">
                  <c:v>0.07231983646484307</c:v>
                </c:pt>
                <c:pt idx="34">
                  <c:v>0.07619276506155889</c:v>
                </c:pt>
                <c:pt idx="35">
                  <c:v>0.08893604282936723</c:v>
                </c:pt>
                <c:pt idx="36">
                  <c:v>0.07291022960257805</c:v>
                </c:pt>
                <c:pt idx="37">
                  <c:v>0.08132159024296202</c:v>
                </c:pt>
                <c:pt idx="38">
                  <c:v>0.06048136167449625</c:v>
                </c:pt>
                <c:pt idx="39">
                  <c:v>0.09228161448380076</c:v>
                </c:pt>
                <c:pt idx="40">
                  <c:v>0.07508971475314703</c:v>
                </c:pt>
                <c:pt idx="41">
                  <c:v>0.07451019950279915</c:v>
                </c:pt>
                <c:pt idx="42">
                  <c:v>0.09107042662594367</c:v>
                </c:pt>
                <c:pt idx="43">
                  <c:v>0.05476735707816392</c:v>
                </c:pt>
                <c:pt idx="44">
                  <c:v>0.07574904769766709</c:v>
                </c:pt>
                <c:pt idx="45">
                  <c:v>0.07246978193776159</c:v>
                </c:pt>
                <c:pt idx="46">
                  <c:v>0.0761293189296985</c:v>
                </c:pt>
                <c:pt idx="47">
                  <c:v>0.09611041521569469</c:v>
                </c:pt>
                <c:pt idx="48">
                  <c:v>0.06128007141509059</c:v>
                </c:pt>
                <c:pt idx="49">
                  <c:v>0.045520806930569424</c:v>
                </c:pt>
                <c:pt idx="50">
                  <c:v>0.05159112160403628</c:v>
                </c:pt>
                <c:pt idx="51">
                  <c:v>0.05633974405404436</c:v>
                </c:pt>
                <c:pt idx="52">
                  <c:v>0.09098031476755</c:v>
                </c:pt>
                <c:pt idx="53">
                  <c:v>0.1202395830836546</c:v>
                </c:pt>
                <c:pt idx="54">
                  <c:v>0.065270601571453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0606060606060606"/>
          <c:min val="0.0231884057971014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35.6667</c:v>
                </c:pt>
                <c:pt idx="1">
                  <c:v>636.4884</c:v>
                </c:pt>
                <c:pt idx="2">
                  <c:v>606.8333</c:v>
                </c:pt>
                <c:pt idx="3">
                  <c:v>617.1</c:v>
                </c:pt>
                <c:pt idx="4">
                  <c:v>618.8636</c:v>
                </c:pt>
                <c:pt idx="5">
                  <c:v>584.32</c:v>
                </c:pt>
                <c:pt idx="6">
                  <c:v>567.7377</c:v>
                </c:pt>
                <c:pt idx="7">
                  <c:v>589.3469</c:v>
                </c:pt>
                <c:pt idx="8">
                  <c:v>569.8983</c:v>
                </c:pt>
                <c:pt idx="9">
                  <c:v>608.4583</c:v>
                </c:pt>
                <c:pt idx="10">
                  <c:v>625.8684</c:v>
                </c:pt>
                <c:pt idx="11">
                  <c:v>638.3267</c:v>
                </c:pt>
                <c:pt idx="12">
                  <c:v>597.9655</c:v>
                </c:pt>
                <c:pt idx="13">
                  <c:v>591.0698</c:v>
                </c:pt>
                <c:pt idx="14">
                  <c:v>610.7778</c:v>
                </c:pt>
                <c:pt idx="15">
                  <c:v>634.7778</c:v>
                </c:pt>
                <c:pt idx="16">
                  <c:v>635.5476</c:v>
                </c:pt>
                <c:pt idx="17">
                  <c:v>615.7714</c:v>
                </c:pt>
                <c:pt idx="18">
                  <c:v>646.4783</c:v>
                </c:pt>
                <c:pt idx="19">
                  <c:v>629.6364</c:v>
                </c:pt>
                <c:pt idx="20">
                  <c:v>632.4828</c:v>
                </c:pt>
                <c:pt idx="21">
                  <c:v>609.15</c:v>
                </c:pt>
                <c:pt idx="22">
                  <c:v>623.3333</c:v>
                </c:pt>
                <c:pt idx="23">
                  <c:v>635.6923</c:v>
                </c:pt>
                <c:pt idx="24">
                  <c:v>604.8667</c:v>
                </c:pt>
                <c:pt idx="25">
                  <c:v>520.55</c:v>
                </c:pt>
                <c:pt idx="26">
                  <c:v>456.381</c:v>
                </c:pt>
                <c:pt idx="27">
                  <c:v>401.9048</c:v>
                </c:pt>
                <c:pt idx="28">
                  <c:v>419.9286</c:v>
                </c:pt>
                <c:pt idx="29">
                  <c:v>512.0833</c:v>
                </c:pt>
                <c:pt idx="30">
                  <c:v>550.8571</c:v>
                </c:pt>
                <c:pt idx="31">
                  <c:v>511.6154</c:v>
                </c:pt>
                <c:pt idx="32">
                  <c:v>485.7273</c:v>
                </c:pt>
                <c:pt idx="33">
                  <c:v>395.1667</c:v>
                </c:pt>
                <c:pt idx="34">
                  <c:v>439.5</c:v>
                </c:pt>
                <c:pt idx="35">
                  <c:v>464.25</c:v>
                </c:pt>
                <c:pt idx="36">
                  <c:v>694.25</c:v>
                </c:pt>
                <c:pt idx="37">
                  <c:v>584.4444</c:v>
                </c:pt>
                <c:pt idx="38">
                  <c:v>653.2</c:v>
                </c:pt>
                <c:pt idx="39">
                  <c:v>607.6</c:v>
                </c:pt>
                <c:pt idx="40">
                  <c:v>521.125</c:v>
                </c:pt>
                <c:pt idx="41">
                  <c:v>618.0</c:v>
                </c:pt>
                <c:pt idx="42">
                  <c:v>543.5</c:v>
                </c:pt>
                <c:pt idx="43">
                  <c:v>639.4545</c:v>
                </c:pt>
                <c:pt idx="44">
                  <c:v>659.3889</c:v>
                </c:pt>
                <c:pt idx="45">
                  <c:v>617.2917</c:v>
                </c:pt>
                <c:pt idx="46">
                  <c:v>612.6538</c:v>
                </c:pt>
                <c:pt idx="47">
                  <c:v>660.3704</c:v>
                </c:pt>
                <c:pt idx="48">
                  <c:v>620.2593</c:v>
                </c:pt>
                <c:pt idx="49">
                  <c:v>619.8636</c:v>
                </c:pt>
                <c:pt idx="50">
                  <c:v>661.1628</c:v>
                </c:pt>
                <c:pt idx="51">
                  <c:v>653.5938</c:v>
                </c:pt>
                <c:pt idx="52">
                  <c:v>671.6857</c:v>
                </c:pt>
                <c:pt idx="53">
                  <c:v>666.0606</c:v>
                </c:pt>
                <c:pt idx="54">
                  <c:v>627.3243</c:v>
                </c:pt>
                <c:pt idx="55">
                  <c:v>648.3714</c:v>
                </c:pt>
                <c:pt idx="56">
                  <c:v>653.7059</c:v>
                </c:pt>
                <c:pt idx="57">
                  <c:v>599.3913</c:v>
                </c:pt>
                <c:pt idx="58">
                  <c:v>639.0172</c:v>
                </c:pt>
                <c:pt idx="59">
                  <c:v>625.4043</c:v>
                </c:pt>
                <c:pt idx="60">
                  <c:v>605.5222</c:v>
                </c:pt>
                <c:pt idx="61">
                  <c:v>670.1481</c:v>
                </c:pt>
                <c:pt idx="62">
                  <c:v>704.7561</c:v>
                </c:pt>
                <c:pt idx="63">
                  <c:v>700.7766</c:v>
                </c:pt>
                <c:pt idx="64">
                  <c:v>645.7742</c:v>
                </c:pt>
                <c:pt idx="65">
                  <c:v>636.2683</c:v>
                </c:pt>
                <c:pt idx="66">
                  <c:v>638.4444</c:v>
                </c:pt>
                <c:pt idx="67">
                  <c:v>680.1731</c:v>
                </c:pt>
                <c:pt idx="68">
                  <c:v>652.8478</c:v>
                </c:pt>
                <c:pt idx="69">
                  <c:v>673.7143</c:v>
                </c:pt>
                <c:pt idx="70">
                  <c:v>624.9259</c:v>
                </c:pt>
                <c:pt idx="71">
                  <c:v>613.6</c:v>
                </c:pt>
                <c:pt idx="72">
                  <c:v>676.4</c:v>
                </c:pt>
                <c:pt idx="73">
                  <c:v>680.2353</c:v>
                </c:pt>
                <c:pt idx="74">
                  <c:v>680.3333</c:v>
                </c:pt>
                <c:pt idx="75">
                  <c:v>613.2941</c:v>
                </c:pt>
                <c:pt idx="76">
                  <c:v>676.6364</c:v>
                </c:pt>
                <c:pt idx="77">
                  <c:v>638.9</c:v>
                </c:pt>
                <c:pt idx="78">
                  <c:v>615.1667</c:v>
                </c:pt>
                <c:pt idx="79">
                  <c:v>641.2727</c:v>
                </c:pt>
                <c:pt idx="80">
                  <c:v>690.1429</c:v>
                </c:pt>
                <c:pt idx="81">
                  <c:v>691.8333</c:v>
                </c:pt>
                <c:pt idx="82">
                  <c:v>639.375</c:v>
                </c:pt>
                <c:pt idx="83">
                  <c:v>707.8333</c:v>
                </c:pt>
                <c:pt idx="84">
                  <c:v>659.4286</c:v>
                </c:pt>
                <c:pt idx="85">
                  <c:v>607.1111</c:v>
                </c:pt>
                <c:pt idx="86">
                  <c:v>595.2857</c:v>
                </c:pt>
                <c:pt idx="87">
                  <c:v>560.8</c:v>
                </c:pt>
                <c:pt idx="88">
                  <c:v>574.875</c:v>
                </c:pt>
                <c:pt idx="89">
                  <c:v>445.4286</c:v>
                </c:pt>
                <c:pt idx="90">
                  <c:v>613.75</c:v>
                </c:pt>
                <c:pt idx="91">
                  <c:v>583.8</c:v>
                </c:pt>
                <c:pt idx="92">
                  <c:v>543.6667</c:v>
                </c:pt>
                <c:pt idx="93">
                  <c:v>454.1667</c:v>
                </c:pt>
                <c:pt idx="94">
                  <c:v>413.0</c:v>
                </c:pt>
                <c:pt idx="95">
                  <c:v>302.871</c:v>
                </c:pt>
                <c:pt idx="96">
                  <c:v>246.8393</c:v>
                </c:pt>
                <c:pt idx="97">
                  <c:v>233.3585</c:v>
                </c:pt>
                <c:pt idx="98">
                  <c:v>187.4583</c:v>
                </c:pt>
                <c:pt idx="99">
                  <c:v>438.1515</c:v>
                </c:pt>
                <c:pt idx="100">
                  <c:v>565.5652</c:v>
                </c:pt>
                <c:pt idx="101">
                  <c:v>532.1923</c:v>
                </c:pt>
                <c:pt idx="102">
                  <c:v>543.2222</c:v>
                </c:pt>
                <c:pt idx="103">
                  <c:v>564.0526</c:v>
                </c:pt>
                <c:pt idx="104">
                  <c:v>695.5333</c:v>
                </c:pt>
              </c:numCache>
            </c:numRef>
          </c:xVal>
          <c:yVal>
            <c:numRef>
              <c:f>Sheet1!$B$2:$B$106</c:f>
              <c:numCache>
                <c:formatCode>General</c:formatCode>
                <c:ptCount val="105"/>
                <c:pt idx="0">
                  <c:v>0.09567198177676538</c:v>
                </c:pt>
                <c:pt idx="1">
                  <c:v>0.09090909090909091</c:v>
                </c:pt>
                <c:pt idx="2">
                  <c:v>0.11180124223602485</c:v>
                </c:pt>
                <c:pt idx="3">
                  <c:v>0.10204081632653061</c:v>
                </c:pt>
                <c:pt idx="4">
                  <c:v>0.09954751131221719</c:v>
                </c:pt>
                <c:pt idx="5">
                  <c:v>0.0970873786407767</c:v>
                </c:pt>
                <c:pt idx="6">
                  <c:v>0.12815126050420167</c:v>
                </c:pt>
                <c:pt idx="7">
                  <c:v>0.10864745011086474</c:v>
                </c:pt>
                <c:pt idx="8">
                  <c:v>0.12526539278131635</c:v>
                </c:pt>
                <c:pt idx="9">
                  <c:v>0.1254355400696864</c:v>
                </c:pt>
                <c:pt idx="10">
                  <c:v>0.12398042414355628</c:v>
                </c:pt>
                <c:pt idx="11">
                  <c:v>0.16917922948073702</c:v>
                </c:pt>
                <c:pt idx="12">
                  <c:v>0.14974182444061962</c:v>
                </c:pt>
                <c:pt idx="13">
                  <c:v>0.17063492063492064</c:v>
                </c:pt>
                <c:pt idx="14">
                  <c:v>0.15789473684210525</c:v>
                </c:pt>
                <c:pt idx="15">
                  <c:v>0.12053571428571429</c:v>
                </c:pt>
                <c:pt idx="16">
                  <c:v>0.11229946524064172</c:v>
                </c:pt>
                <c:pt idx="17">
                  <c:v>0.09831460674157304</c:v>
                </c:pt>
                <c:pt idx="18">
                  <c:v>0.07718120805369127</c:v>
                </c:pt>
                <c:pt idx="19">
                  <c:v>0.08560311284046693</c:v>
                </c:pt>
                <c:pt idx="20">
                  <c:v>0.09294871794871795</c:v>
                </c:pt>
                <c:pt idx="21">
                  <c:v>0.07936507936507936</c:v>
                </c:pt>
                <c:pt idx="22">
                  <c:v>0.08780487804878048</c:v>
                </c:pt>
                <c:pt idx="23">
                  <c:v>0.0896551724137931</c:v>
                </c:pt>
                <c:pt idx="24">
                  <c:v>0.08021390374331551</c:v>
                </c:pt>
                <c:pt idx="25">
                  <c:v>0.1342281879194631</c:v>
                </c:pt>
                <c:pt idx="26">
                  <c:v>0.14</c:v>
                </c:pt>
                <c:pt idx="27">
                  <c:v>0.11413043478260869</c:v>
                </c:pt>
                <c:pt idx="28">
                  <c:v>0.08860759493670886</c:v>
                </c:pt>
                <c:pt idx="29">
                  <c:v>0.075</c:v>
                </c:pt>
                <c:pt idx="30">
                  <c:v>0.05785123966942149</c:v>
                </c:pt>
                <c:pt idx="31">
                  <c:v>0.0896551724137931</c:v>
                </c:pt>
                <c:pt idx="32">
                  <c:v>0.07333333333333333</c:v>
                </c:pt>
                <c:pt idx="33">
                  <c:v>0.0962566844919786</c:v>
                </c:pt>
                <c:pt idx="34">
                  <c:v>0.054945054945054944</c:v>
                </c:pt>
                <c:pt idx="35">
                  <c:v>0.047337278106508875</c:v>
                </c:pt>
                <c:pt idx="36">
                  <c:v>0.04597701149425287</c:v>
                </c:pt>
                <c:pt idx="37">
                  <c:v>0.05113636363636364</c:v>
                </c:pt>
                <c:pt idx="38">
                  <c:v>0.029239766081871343</c:v>
                </c:pt>
                <c:pt idx="39">
                  <c:v>0.031446540880503145</c:v>
                </c:pt>
                <c:pt idx="40">
                  <c:v>0.04371584699453552</c:v>
                </c:pt>
                <c:pt idx="41">
                  <c:v>0.03940886699507389</c:v>
                </c:pt>
                <c:pt idx="42">
                  <c:v>0.05128205128205128</c:v>
                </c:pt>
                <c:pt idx="43">
                  <c:v>0.04330708661417323</c:v>
                </c:pt>
                <c:pt idx="44">
                  <c:v>0.04035874439461883</c:v>
                </c:pt>
                <c:pt idx="45">
                  <c:v>0.046242774566473986</c:v>
                </c:pt>
                <c:pt idx="46">
                  <c:v>0.06046511627906977</c:v>
                </c:pt>
                <c:pt idx="47">
                  <c:v>0.058823529411764705</c:v>
                </c:pt>
                <c:pt idx="48">
                  <c:v>0.08881578947368421</c:v>
                </c:pt>
                <c:pt idx="49">
                  <c:v>0.09606986899563319</c:v>
                </c:pt>
                <c:pt idx="50">
                  <c:v>0.09347826086956522</c:v>
                </c:pt>
                <c:pt idx="51">
                  <c:v>0.07862407862407862</c:v>
                </c:pt>
                <c:pt idx="52">
                  <c:v>0.0697211155378486</c:v>
                </c:pt>
                <c:pt idx="53">
                  <c:v>0.07317073170731707</c:v>
                </c:pt>
                <c:pt idx="54">
                  <c:v>0.09635416666666667</c:v>
                </c:pt>
                <c:pt idx="55">
                  <c:v>0.09536784741144415</c:v>
                </c:pt>
                <c:pt idx="56">
                  <c:v>0.0921409214092141</c:v>
                </c:pt>
                <c:pt idx="57">
                  <c:v>0.08518518518518518</c:v>
                </c:pt>
                <c:pt idx="58">
                  <c:v>0.09570957095709572</c:v>
                </c:pt>
                <c:pt idx="59">
                  <c:v>0.0888468809073724</c:v>
                </c:pt>
                <c:pt idx="60">
                  <c:v>0.10273972602739725</c:v>
                </c:pt>
                <c:pt idx="61">
                  <c:v>0.11637931034482758</c:v>
                </c:pt>
                <c:pt idx="62">
                  <c:v>0.11988304093567251</c:v>
                </c:pt>
                <c:pt idx="63">
                  <c:v>0.12239583333333333</c:v>
                </c:pt>
                <c:pt idx="64">
                  <c:v>0.10839160839160839</c:v>
                </c:pt>
                <c:pt idx="65">
                  <c:v>0.10553410553410554</c:v>
                </c:pt>
                <c:pt idx="66">
                  <c:v>0.08445040214477212</c:v>
                </c:pt>
                <c:pt idx="67">
                  <c:v>0.07525325615050651</c:v>
                </c:pt>
                <c:pt idx="68">
                  <c:v>0.08185053380782918</c:v>
                </c:pt>
                <c:pt idx="69">
                  <c:v>0.08187134502923976</c:v>
                </c:pt>
                <c:pt idx="70">
                  <c:v>0.07219251336898395</c:v>
                </c:pt>
                <c:pt idx="71">
                  <c:v>0.055248618784530384</c:v>
                </c:pt>
                <c:pt idx="72">
                  <c:v>0.05970149253731343</c:v>
                </c:pt>
                <c:pt idx="73">
                  <c:v>0.05802047781569966</c:v>
                </c:pt>
                <c:pt idx="74">
                  <c:v>0.0625</c:v>
                </c:pt>
                <c:pt idx="75">
                  <c:v>0.0787037037037037</c:v>
                </c:pt>
                <c:pt idx="76">
                  <c:v>0.059782608695652176</c:v>
                </c:pt>
                <c:pt idx="77">
                  <c:v>0.05025125628140704</c:v>
                </c:pt>
                <c:pt idx="78">
                  <c:v>0.07407407407407407</c:v>
                </c:pt>
                <c:pt idx="79">
                  <c:v>0.06962025316455696</c:v>
                </c:pt>
                <c:pt idx="80">
                  <c:v>0.051470588235294115</c:v>
                </c:pt>
                <c:pt idx="81">
                  <c:v>0.06417112299465241</c:v>
                </c:pt>
                <c:pt idx="82">
                  <c:v>0.04878048780487805</c:v>
                </c:pt>
                <c:pt idx="83">
                  <c:v>0.046153846153846156</c:v>
                </c:pt>
                <c:pt idx="84">
                  <c:v>0.04964539007092199</c:v>
                </c:pt>
                <c:pt idx="85">
                  <c:v>0.05844155844155844</c:v>
                </c:pt>
                <c:pt idx="86">
                  <c:v>0.03867403314917127</c:v>
                </c:pt>
                <c:pt idx="87">
                  <c:v>0.060240963855421686</c:v>
                </c:pt>
                <c:pt idx="88">
                  <c:v>0.0547945205479452</c:v>
                </c:pt>
                <c:pt idx="89">
                  <c:v>0.04895104895104895</c:v>
                </c:pt>
                <c:pt idx="90">
                  <c:v>0.034482758620689655</c:v>
                </c:pt>
                <c:pt idx="91">
                  <c:v>0.03759398496240601</c:v>
                </c:pt>
                <c:pt idx="92">
                  <c:v>0.04736842105263158</c:v>
                </c:pt>
                <c:pt idx="93">
                  <c:v>0.05970149253731343</c:v>
                </c:pt>
                <c:pt idx="94">
                  <c:v>0.06766917293233082</c:v>
                </c:pt>
                <c:pt idx="95">
                  <c:v>0.1225296442687747</c:v>
                </c:pt>
                <c:pt idx="96">
                  <c:v>0.1432225063938619</c:v>
                </c:pt>
                <c:pt idx="97">
                  <c:v>0.1325</c:v>
                </c:pt>
                <c:pt idx="98">
                  <c:v>0.10619469026548672</c:v>
                </c:pt>
                <c:pt idx="99">
                  <c:v>0.06560636182902585</c:v>
                </c:pt>
                <c:pt idx="100">
                  <c:v>0.053927315357561546</c:v>
                </c:pt>
                <c:pt idx="101">
                  <c:v>0.05108055009823183</c:v>
                </c:pt>
                <c:pt idx="102">
                  <c:v>0.046511627906976744</c:v>
                </c:pt>
                <c:pt idx="103">
                  <c:v>0.03958333333333333</c:v>
                </c:pt>
                <c:pt idx="104">
                  <c:v>0.0315126050420168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719.5909</c:v>
                </c:pt>
                <c:pt idx="1">
                  <c:v>646.5909</c:v>
                </c:pt>
                <c:pt idx="2">
                  <c:v>577.9524</c:v>
                </c:pt>
                <c:pt idx="3">
                  <c:v>673.2069</c:v>
                </c:pt>
                <c:pt idx="4">
                  <c:v>726.8889</c:v>
                </c:pt>
                <c:pt idx="5">
                  <c:v>698.5185</c:v>
                </c:pt>
                <c:pt idx="6">
                  <c:v>671.3214</c:v>
                </c:pt>
                <c:pt idx="7">
                  <c:v>712.7826</c:v>
                </c:pt>
                <c:pt idx="8">
                  <c:v>622.2857</c:v>
                </c:pt>
                <c:pt idx="9">
                  <c:v>683.1714</c:v>
                </c:pt>
                <c:pt idx="10">
                  <c:v>637.5111</c:v>
                </c:pt>
                <c:pt idx="11">
                  <c:v>636.0517</c:v>
                </c:pt>
                <c:pt idx="12">
                  <c:v>596.0625</c:v>
                </c:pt>
                <c:pt idx="13">
                  <c:v>645.2182</c:v>
                </c:pt>
                <c:pt idx="14">
                  <c:v>587.92</c:v>
                </c:pt>
                <c:pt idx="15">
                  <c:v>665.2222</c:v>
                </c:pt>
                <c:pt idx="16">
                  <c:v>677.6071</c:v>
                </c:pt>
                <c:pt idx="17">
                  <c:v>600.087</c:v>
                </c:pt>
                <c:pt idx="18">
                  <c:v>651.2632</c:v>
                </c:pt>
                <c:pt idx="19">
                  <c:v>651.5714</c:v>
                </c:pt>
                <c:pt idx="20">
                  <c:v>480.25</c:v>
                </c:pt>
                <c:pt idx="21">
                  <c:v>546.0667</c:v>
                </c:pt>
                <c:pt idx="22">
                  <c:v>682.5833</c:v>
                </c:pt>
                <c:pt idx="23">
                  <c:v>654.6667</c:v>
                </c:pt>
                <c:pt idx="24">
                  <c:v>798.1429</c:v>
                </c:pt>
                <c:pt idx="25">
                  <c:v>683.1111</c:v>
                </c:pt>
                <c:pt idx="26">
                  <c:v>822.0</c:v>
                </c:pt>
                <c:pt idx="27">
                  <c:v>435.0</c:v>
                </c:pt>
                <c:pt idx="28">
                  <c:v>492.1818</c:v>
                </c:pt>
                <c:pt idx="29">
                  <c:v>690.3333</c:v>
                </c:pt>
                <c:pt idx="30">
                  <c:v>431.5</c:v>
                </c:pt>
                <c:pt idx="31">
                  <c:v>270.5294</c:v>
                </c:pt>
                <c:pt idx="32">
                  <c:v>739.75</c:v>
                </c:pt>
                <c:pt idx="33">
                  <c:v>539.7778</c:v>
                </c:pt>
                <c:pt idx="34">
                  <c:v>560.0</c:v>
                </c:pt>
                <c:pt idx="35">
                  <c:v>494.7778</c:v>
                </c:pt>
                <c:pt idx="36">
                  <c:v>810.5</c:v>
                </c:pt>
                <c:pt idx="37">
                  <c:v>663.8</c:v>
                </c:pt>
                <c:pt idx="38">
                  <c:v>786.5</c:v>
                </c:pt>
                <c:pt idx="39">
                  <c:v>409.75</c:v>
                </c:pt>
                <c:pt idx="40">
                  <c:v>601.125</c:v>
                </c:pt>
                <c:pt idx="41">
                  <c:v>613.5</c:v>
                </c:pt>
                <c:pt idx="42">
                  <c:v>458.3333</c:v>
                </c:pt>
                <c:pt idx="43">
                  <c:v>689.1667</c:v>
                </c:pt>
                <c:pt idx="44">
                  <c:v>481.1875</c:v>
                </c:pt>
                <c:pt idx="45">
                  <c:v>551.0</c:v>
                </c:pt>
                <c:pt idx="46">
                  <c:v>579.15</c:v>
                </c:pt>
                <c:pt idx="47">
                  <c:v>394.25</c:v>
                </c:pt>
                <c:pt idx="48">
                  <c:v>695.0</c:v>
                </c:pt>
                <c:pt idx="49">
                  <c:v>738.2</c:v>
                </c:pt>
                <c:pt idx="50">
                  <c:v>648.22</c:v>
                </c:pt>
                <c:pt idx="51">
                  <c:v>624.575</c:v>
                </c:pt>
              </c:numCache>
            </c:numRef>
          </c:xVal>
          <c:yVal>
            <c:numRef>
              <c:f>Sheet1!$B$109:$B$160</c:f>
              <c:numCache>
                <c:formatCode>General</c:formatCode>
                <c:ptCount val="52"/>
                <c:pt idx="0">
                  <c:v>0.039927404718693285</c:v>
                </c:pt>
                <c:pt idx="1">
                  <c:v>0.044444444444444446</c:v>
                </c:pt>
                <c:pt idx="2">
                  <c:v>0.040697674418604654</c:v>
                </c:pt>
                <c:pt idx="3">
                  <c:v>0.050966608084358524</c:v>
                </c:pt>
                <c:pt idx="4">
                  <c:v>0.05142857142857143</c:v>
                </c:pt>
                <c:pt idx="5">
                  <c:v>0.05660377358490566</c:v>
                </c:pt>
                <c:pt idx="6">
                  <c:v>0.042232277526395176</c:v>
                </c:pt>
                <c:pt idx="7">
                  <c:v>0.05569007263922518</c:v>
                </c:pt>
                <c:pt idx="8">
                  <c:v>0.057971014492753624</c:v>
                </c:pt>
                <c:pt idx="9">
                  <c:v>0.07430997876857749</c:v>
                </c:pt>
                <c:pt idx="10">
                  <c:v>0.0949367088607595</c:v>
                </c:pt>
                <c:pt idx="11">
                  <c:v>0.09555189456342669</c:v>
                </c:pt>
                <c:pt idx="12">
                  <c:v>0.09917355371900827</c:v>
                </c:pt>
                <c:pt idx="13">
                  <c:v>0.11458333333333333</c:v>
                </c:pt>
                <c:pt idx="14">
                  <c:v>0.10940919037199125</c:v>
                </c:pt>
                <c:pt idx="15">
                  <c:v>0.08470588235294117</c:v>
                </c:pt>
                <c:pt idx="16">
                  <c:v>0.08358208955223881</c:v>
                </c:pt>
                <c:pt idx="17">
                  <c:v>0.08041958041958042</c:v>
                </c:pt>
                <c:pt idx="18">
                  <c:v>0.09268292682926829</c:v>
                </c:pt>
                <c:pt idx="19">
                  <c:v>0.07216494845360824</c:v>
                </c:pt>
                <c:pt idx="20">
                  <c:v>0.10101010101010101</c:v>
                </c:pt>
                <c:pt idx="21">
                  <c:v>0.08021390374331551</c:v>
                </c:pt>
                <c:pt idx="22">
                  <c:v>0.06936416184971098</c:v>
                </c:pt>
                <c:pt idx="23">
                  <c:v>0.06164383561643835</c:v>
                </c:pt>
                <c:pt idx="24">
                  <c:v>0.05</c:v>
                </c:pt>
                <c:pt idx="25">
                  <c:v>0.0743801652892562</c:v>
                </c:pt>
                <c:pt idx="26">
                  <c:v>0.0410958904109589</c:v>
                </c:pt>
                <c:pt idx="27">
                  <c:v>0.05</c:v>
                </c:pt>
                <c:pt idx="28">
                  <c:v>0.0650887573964497</c:v>
                </c:pt>
                <c:pt idx="29">
                  <c:v>0.045454545454545456</c:v>
                </c:pt>
                <c:pt idx="30">
                  <c:v>0.09803921568627451</c:v>
                </c:pt>
                <c:pt idx="31">
                  <c:v>0.1717171717171717</c:v>
                </c:pt>
                <c:pt idx="32">
                  <c:v>0.07476635514018691</c:v>
                </c:pt>
                <c:pt idx="33">
                  <c:v>0.06818181818181818</c:v>
                </c:pt>
                <c:pt idx="34">
                  <c:v>0.07894736842105263</c:v>
                </c:pt>
                <c:pt idx="35">
                  <c:v>0.07317073170731707</c:v>
                </c:pt>
                <c:pt idx="36">
                  <c:v>0.028985507246376812</c:v>
                </c:pt>
                <c:pt idx="37">
                  <c:v>0.0641025641025641</c:v>
                </c:pt>
                <c:pt idx="38">
                  <c:v>0.028985507246376812</c:v>
                </c:pt>
                <c:pt idx="39">
                  <c:v>0.07079646017699115</c:v>
                </c:pt>
                <c:pt idx="40">
                  <c:v>0.050955414012738856</c:v>
                </c:pt>
                <c:pt idx="41">
                  <c:v>0.046153846153846156</c:v>
                </c:pt>
                <c:pt idx="42">
                  <c:v>0.10526315789473684</c:v>
                </c:pt>
                <c:pt idx="43">
                  <c:v>0.06382978723404255</c:v>
                </c:pt>
                <c:pt idx="44">
                  <c:v>0.05947955390334572</c:v>
                </c:pt>
                <c:pt idx="45">
                  <c:v>0.062146892655367235</c:v>
                </c:pt>
                <c:pt idx="46">
                  <c:v>0.07380073800738007</c:v>
                </c:pt>
                <c:pt idx="47">
                  <c:v>0.07643312101910828</c:v>
                </c:pt>
                <c:pt idx="48">
                  <c:v>0.038461538461538464</c:v>
                </c:pt>
                <c:pt idx="49">
                  <c:v>0.047619047619047616</c:v>
                </c:pt>
                <c:pt idx="50">
                  <c:v>0.06119951040391677</c:v>
                </c:pt>
                <c:pt idx="51">
                  <c:v>0.09237875288683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28.36502254068978</c:v>
                </c:pt>
              </c:numCache>
            </c:numRef>
          </c:xVal>
          <c:yVal>
            <c:numRef>
              <c:f>Sheet1!$B$163:$B$164</c:f>
              <c:numCache>
                <c:formatCode>General</c:formatCode>
                <c:ptCount val="2"/>
                <c:pt idx="0">
                  <c:v>0.1202395830836546</c:v>
                </c:pt>
                <c:pt idx="1">
                  <c:v>0.12023958308365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28.36502254068978</c:v>
                </c:pt>
                <c:pt idx="1">
                  <c:v>228.36502254068978</c:v>
                </c:pt>
              </c:numCache>
            </c:numRef>
          </c:xVal>
          <c:yVal>
            <c:numRef>
              <c:f>Sheet1!$B$167:$B$168</c:f>
              <c:numCache>
                <c:formatCode>General</c:formatCode>
                <c:ptCount val="2"/>
                <c:pt idx="0">
                  <c:v>0.12023958308365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53.2561855077399</c:v>
                </c:pt>
              </c:numCache>
            </c:numRef>
          </c:xVal>
          <c:yVal>
            <c:numRef>
              <c:f>Sheet1!$B$171:$B$172</c:f>
              <c:numCache>
                <c:formatCode>General</c:formatCode>
                <c:ptCount val="2"/>
                <c:pt idx="0">
                  <c:v>0.09098031476755</c:v>
                </c:pt>
                <c:pt idx="1">
                  <c:v>0.090980314767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53.2561855077399</c:v>
                </c:pt>
                <c:pt idx="1">
                  <c:v>453.2561855077399</c:v>
                </c:pt>
              </c:numCache>
            </c:numRef>
          </c:xVal>
          <c:yVal>
            <c:numRef>
              <c:f>Sheet1!$B$175:$B$176</c:f>
              <c:numCache>
                <c:formatCode>General</c:formatCode>
                <c:ptCount val="2"/>
                <c:pt idx="0">
                  <c:v>0.090980314767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50.8649308035696</c:v>
                </c:pt>
              </c:numCache>
            </c:numRef>
          </c:xVal>
          <c:yVal>
            <c:numRef>
              <c:f>Sheet1!$B$179:$B$180</c:f>
              <c:numCache>
                <c:formatCode>General</c:formatCode>
                <c:ptCount val="2"/>
                <c:pt idx="0">
                  <c:v>0.06527060157145352</c:v>
                </c:pt>
                <c:pt idx="1">
                  <c:v>0.065270601571453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50.8649308035696</c:v>
                </c:pt>
                <c:pt idx="1">
                  <c:v>650.8649308035696</c:v>
                </c:pt>
              </c:numCache>
            </c:numRef>
          </c:xVal>
          <c:yVal>
            <c:numRef>
              <c:f>Sheet1!$B$183:$B$184</c:f>
              <c:numCache>
                <c:formatCode>General</c:formatCode>
                <c:ptCount val="2"/>
                <c:pt idx="0">
                  <c:v>0.065270601571453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719.5909</c:v>
                </c:pt>
                <c:pt idx="1">
                  <c:v>646.5909</c:v>
                </c:pt>
                <c:pt idx="2">
                  <c:v>577.9524</c:v>
                </c:pt>
                <c:pt idx="3">
                  <c:v>673.2069</c:v>
                </c:pt>
                <c:pt idx="4">
                  <c:v>726.8889</c:v>
                </c:pt>
                <c:pt idx="5">
                  <c:v>698.5185</c:v>
                </c:pt>
                <c:pt idx="6">
                  <c:v>671.3214</c:v>
                </c:pt>
                <c:pt idx="7">
                  <c:v>712.7826</c:v>
                </c:pt>
                <c:pt idx="8">
                  <c:v>622.2857</c:v>
                </c:pt>
                <c:pt idx="9">
                  <c:v>683.1714</c:v>
                </c:pt>
                <c:pt idx="10">
                  <c:v>637.5111</c:v>
                </c:pt>
                <c:pt idx="11">
                  <c:v>636.0517</c:v>
                </c:pt>
                <c:pt idx="12">
                  <c:v>596.0625</c:v>
                </c:pt>
                <c:pt idx="13">
                  <c:v>645.2182</c:v>
                </c:pt>
                <c:pt idx="14">
                  <c:v>587.92</c:v>
                </c:pt>
                <c:pt idx="15">
                  <c:v>665.2222</c:v>
                </c:pt>
                <c:pt idx="16">
                  <c:v>677.6071</c:v>
                </c:pt>
                <c:pt idx="17">
                  <c:v>600.087</c:v>
                </c:pt>
                <c:pt idx="18">
                  <c:v>651.2632</c:v>
                </c:pt>
                <c:pt idx="19">
                  <c:v>651.5714</c:v>
                </c:pt>
                <c:pt idx="20">
                  <c:v>480.25</c:v>
                </c:pt>
                <c:pt idx="21">
                  <c:v>546.0667</c:v>
                </c:pt>
                <c:pt idx="22">
                  <c:v>682.5833</c:v>
                </c:pt>
                <c:pt idx="23">
                  <c:v>654.6667</c:v>
                </c:pt>
                <c:pt idx="24">
                  <c:v>798.1429</c:v>
                </c:pt>
                <c:pt idx="25">
                  <c:v>683.1111</c:v>
                </c:pt>
                <c:pt idx="26">
                  <c:v>822.0</c:v>
                </c:pt>
                <c:pt idx="27">
                  <c:v>435.0</c:v>
                </c:pt>
                <c:pt idx="28">
                  <c:v>492.1818</c:v>
                </c:pt>
                <c:pt idx="29">
                  <c:v>690.3333</c:v>
                </c:pt>
                <c:pt idx="30">
                  <c:v>431.5</c:v>
                </c:pt>
                <c:pt idx="31">
                  <c:v>270.5294</c:v>
                </c:pt>
                <c:pt idx="32">
                  <c:v>739.75</c:v>
                </c:pt>
                <c:pt idx="33">
                  <c:v>539.7778</c:v>
                </c:pt>
                <c:pt idx="34">
                  <c:v>560.0</c:v>
                </c:pt>
                <c:pt idx="35">
                  <c:v>494.7778</c:v>
                </c:pt>
                <c:pt idx="36">
                  <c:v>810.5</c:v>
                </c:pt>
                <c:pt idx="37">
                  <c:v>663.8</c:v>
                </c:pt>
                <c:pt idx="38">
                  <c:v>786.5</c:v>
                </c:pt>
                <c:pt idx="39">
                  <c:v>409.75</c:v>
                </c:pt>
                <c:pt idx="40">
                  <c:v>601.125</c:v>
                </c:pt>
                <c:pt idx="41">
                  <c:v>613.5</c:v>
                </c:pt>
                <c:pt idx="42">
                  <c:v>458.3333</c:v>
                </c:pt>
                <c:pt idx="43">
                  <c:v>689.1667</c:v>
                </c:pt>
                <c:pt idx="44">
                  <c:v>481.1875</c:v>
                </c:pt>
                <c:pt idx="45">
                  <c:v>551.0</c:v>
                </c:pt>
                <c:pt idx="46">
                  <c:v>579.15</c:v>
                </c:pt>
                <c:pt idx="47">
                  <c:v>394.25</c:v>
                </c:pt>
                <c:pt idx="48">
                  <c:v>695.0</c:v>
                </c:pt>
                <c:pt idx="49">
                  <c:v>738.2</c:v>
                </c:pt>
                <c:pt idx="50">
                  <c:v>648.22</c:v>
                </c:pt>
                <c:pt idx="51">
                  <c:v>624.575</c:v>
                </c:pt>
                <c:pt idx="52">
                  <c:v>453.2561855077399</c:v>
                </c:pt>
                <c:pt idx="53">
                  <c:v>228.36502254068978</c:v>
                </c:pt>
                <c:pt idx="54">
                  <c:v>650.8649308035696</c:v>
                </c:pt>
              </c:numCache>
            </c:numRef>
          </c:xVal>
          <c:yVal>
            <c:numRef>
              <c:f>Sheet1!$B$187:$B$241</c:f>
              <c:numCache>
                <c:formatCode>General</c:formatCode>
                <c:ptCount val="55"/>
                <c:pt idx="0">
                  <c:v>0.05632906938106985</c:v>
                </c:pt>
                <c:pt idx="1">
                  <c:v>0.06582667061579947</c:v>
                </c:pt>
                <c:pt idx="2">
                  <c:v>0.07475682270278564</c:v>
                </c:pt>
                <c:pt idx="3">
                  <c:v>0.062363819184791766</c:v>
                </c:pt>
                <c:pt idx="4">
                  <c:v>0.055379569465849904</c:v>
                </c:pt>
                <c:pt idx="5">
                  <c:v>0.05907067557639474</c:v>
                </c:pt>
                <c:pt idx="6">
                  <c:v>0.06260913051531344</c:v>
                </c:pt>
                <c:pt idx="7">
                  <c:v>0.057214857305541225</c:v>
                </c:pt>
                <c:pt idx="8">
                  <c:v>0.06898887743128373</c:v>
                </c:pt>
                <c:pt idx="9">
                  <c:v>0.06106739661625117</c:v>
                </c:pt>
                <c:pt idx="10">
                  <c:v>0.06700799006362274</c:v>
                </c:pt>
                <c:pt idx="11">
                  <c:v>0.06719786402584144</c:v>
                </c:pt>
                <c:pt idx="12">
                  <c:v>0.07240062396140101</c:v>
                </c:pt>
                <c:pt idx="13">
                  <c:v>0.06600526455025035</c:v>
                </c:pt>
                <c:pt idx="14">
                  <c:v>0.07345999681145289</c:v>
                </c:pt>
                <c:pt idx="15">
                  <c:v>0.06340266160368142</c:v>
                </c:pt>
                <c:pt idx="16">
                  <c:v>0.061791335007352635</c:v>
                </c:pt>
                <c:pt idx="17">
                  <c:v>0.07187701990428912</c:v>
                </c:pt>
                <c:pt idx="18">
                  <c:v>0.06521878510553884</c:v>
                </c:pt>
                <c:pt idx="19">
                  <c:v>0.06517868701375056</c:v>
                </c:pt>
                <c:pt idx="20">
                  <c:v>0.08746830811204656</c:v>
                </c:pt>
                <c:pt idx="21">
                  <c:v>0.07890528384922699</c:v>
                </c:pt>
                <c:pt idx="22">
                  <c:v>0.06114391085304767</c:v>
                </c:pt>
                <c:pt idx="23">
                  <c:v>0.06477597571098538</c:v>
                </c:pt>
                <c:pt idx="24">
                  <c:v>0.046109130035994775</c:v>
                </c:pt>
                <c:pt idx="25">
                  <c:v>0.06107524189507932</c:v>
                </c:pt>
                <c:pt idx="26">
                  <c:v>0.043005222879596586</c:v>
                </c:pt>
                <c:pt idx="27">
                  <c:v>0.09335551983631388</c:v>
                </c:pt>
                <c:pt idx="28">
                  <c:v>0.08591593169543632</c:v>
                </c:pt>
                <c:pt idx="29">
                  <c:v>0.0601356038726483</c:v>
                </c:pt>
                <c:pt idx="30">
                  <c:v>0.09381088427907489</c:v>
                </c:pt>
                <c:pt idx="31">
                  <c:v>0.11475382358476212</c:v>
                </c:pt>
                <c:pt idx="32">
                  <c:v>0.053706287284480306</c:v>
                </c:pt>
                <c:pt idx="33">
                  <c:v>0.07972349569039261</c:v>
                </c:pt>
                <c:pt idx="34">
                  <c:v>0.0770925040234207</c:v>
                </c:pt>
                <c:pt idx="35">
                  <c:v>0.08557818138303415</c:v>
                </c:pt>
                <c:pt idx="36">
                  <c:v>0.04450142033438276</c:v>
                </c:pt>
                <c:pt idx="37">
                  <c:v>0.06358769569239421</c:v>
                </c:pt>
                <c:pt idx="38">
                  <c:v>0.04762391937045825</c:v>
                </c:pt>
                <c:pt idx="39">
                  <c:v>0.0966406490305183</c:v>
                </c:pt>
                <c:pt idx="40">
                  <c:v>0.07174197182097884</c:v>
                </c:pt>
                <c:pt idx="41">
                  <c:v>0.07013193325550242</c:v>
                </c:pt>
                <c:pt idx="42">
                  <c:v>0.09031976122137804</c:v>
                </c:pt>
                <c:pt idx="43">
                  <c:v>0.060287383346626866</c:v>
                </c:pt>
                <c:pt idx="44">
                  <c:v>0.08734633549344985</c:v>
                </c:pt>
                <c:pt idx="45">
                  <c:v>0.07826344116194901</c:v>
                </c:pt>
                <c:pt idx="46">
                  <c:v>0.07460101000088547</c:v>
                </c:pt>
                <c:pt idx="47">
                  <c:v>0.09865726299131707</c:v>
                </c:pt>
                <c:pt idx="48">
                  <c:v>0.05952844694549607</c:v>
                </c:pt>
                <c:pt idx="49">
                  <c:v>0.053907948680560175</c:v>
                </c:pt>
                <c:pt idx="50">
                  <c:v>0.0656147179833132</c:v>
                </c:pt>
                <c:pt idx="51">
                  <c:v>0.06869103005448007</c:v>
                </c:pt>
                <c:pt idx="52">
                  <c:v>0.09098031476755</c:v>
                </c:pt>
                <c:pt idx="53">
                  <c:v>0.1202395830836546</c:v>
                </c:pt>
                <c:pt idx="54">
                  <c:v>0.065270601571453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86.0"/>
          <c:min val="1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0606060606060606"/>
          <c:min val="0.0231884057971014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8.6819</c:v>
                </c:pt>
                <c:pt idx="1">
                  <c:v>860.4868</c:v>
                </c:pt>
                <c:pt idx="2">
                  <c:v>937.6462</c:v>
                </c:pt>
                <c:pt idx="3">
                  <c:v>915.0919</c:v>
                </c:pt>
                <c:pt idx="4">
                  <c:v>941.8926</c:v>
                </c:pt>
                <c:pt idx="5">
                  <c:v>939.81</c:v>
                </c:pt>
                <c:pt idx="6">
                  <c:v>921.1939</c:v>
                </c:pt>
                <c:pt idx="7">
                  <c:v>936.5142</c:v>
                </c:pt>
                <c:pt idx="8">
                  <c:v>928.8349</c:v>
                </c:pt>
                <c:pt idx="9">
                  <c:v>920.9981</c:v>
                </c:pt>
                <c:pt idx="10">
                  <c:v>943.3191</c:v>
                </c:pt>
                <c:pt idx="11">
                  <c:v>973.532</c:v>
                </c:pt>
                <c:pt idx="12">
                  <c:v>975.7524</c:v>
                </c:pt>
                <c:pt idx="13">
                  <c:v>961.0154</c:v>
                </c:pt>
                <c:pt idx="14">
                  <c:v>955.4222</c:v>
                </c:pt>
                <c:pt idx="15">
                  <c:v>963.3612</c:v>
                </c:pt>
                <c:pt idx="16">
                  <c:v>965.6488</c:v>
                </c:pt>
                <c:pt idx="17">
                  <c:v>983.2479</c:v>
                </c:pt>
                <c:pt idx="18">
                  <c:v>1013.7389</c:v>
                </c:pt>
                <c:pt idx="19">
                  <c:v>1060.7774</c:v>
                </c:pt>
                <c:pt idx="20">
                  <c:v>1048.7823</c:v>
                </c:pt>
                <c:pt idx="21">
                  <c:v>1064.9914</c:v>
                </c:pt>
                <c:pt idx="22">
                  <c:v>1085.2694</c:v>
                </c:pt>
                <c:pt idx="23">
                  <c:v>1066.4143</c:v>
                </c:pt>
                <c:pt idx="24">
                  <c:v>1062.0723</c:v>
                </c:pt>
                <c:pt idx="25">
                  <c:v>1038.1058</c:v>
                </c:pt>
                <c:pt idx="26">
                  <c:v>1035.2623</c:v>
                </c:pt>
                <c:pt idx="27">
                  <c:v>1093.5058</c:v>
                </c:pt>
                <c:pt idx="28">
                  <c:v>1038.6667</c:v>
                </c:pt>
                <c:pt idx="29">
                  <c:v>1000.0196</c:v>
                </c:pt>
                <c:pt idx="30">
                  <c:v>1029.1096</c:v>
                </c:pt>
                <c:pt idx="31">
                  <c:v>1058.4344</c:v>
                </c:pt>
                <c:pt idx="32">
                  <c:v>994.3968</c:v>
                </c:pt>
                <c:pt idx="33">
                  <c:v>837.2598</c:v>
                </c:pt>
                <c:pt idx="34">
                  <c:v>1040.0449</c:v>
                </c:pt>
                <c:pt idx="35">
                  <c:v>1119.3607</c:v>
                </c:pt>
                <c:pt idx="36">
                  <c:v>1130.9254</c:v>
                </c:pt>
                <c:pt idx="37">
                  <c:v>1168.5257</c:v>
                </c:pt>
                <c:pt idx="38">
                  <c:v>1214.4421</c:v>
                </c:pt>
                <c:pt idx="39">
                  <c:v>1189.9636</c:v>
                </c:pt>
                <c:pt idx="40">
                  <c:v>1222.572</c:v>
                </c:pt>
                <c:pt idx="41">
                  <c:v>1212.1476</c:v>
                </c:pt>
                <c:pt idx="42">
                  <c:v>1251.6599</c:v>
                </c:pt>
                <c:pt idx="43">
                  <c:v>1267.8954</c:v>
                </c:pt>
                <c:pt idx="44">
                  <c:v>1166.8677</c:v>
                </c:pt>
                <c:pt idx="45">
                  <c:v>1079.4341</c:v>
                </c:pt>
                <c:pt idx="46">
                  <c:v>1071.4498</c:v>
                </c:pt>
                <c:pt idx="47">
                  <c:v>1059.888</c:v>
                </c:pt>
                <c:pt idx="48">
                  <c:v>1052.1063</c:v>
                </c:pt>
                <c:pt idx="49">
                  <c:v>1023.7857</c:v>
                </c:pt>
                <c:pt idx="50">
                  <c:v>1035.443</c:v>
                </c:pt>
                <c:pt idx="51">
                  <c:v>1047.9091</c:v>
                </c:pt>
                <c:pt idx="52">
                  <c:v>1080.0739</c:v>
                </c:pt>
                <c:pt idx="53">
                  <c:v>1144.3764</c:v>
                </c:pt>
                <c:pt idx="54">
                  <c:v>1136.9944</c:v>
                </c:pt>
                <c:pt idx="55">
                  <c:v>1150.4603</c:v>
                </c:pt>
                <c:pt idx="56">
                  <c:v>1166.8217</c:v>
                </c:pt>
                <c:pt idx="57">
                  <c:v>1180.1077</c:v>
                </c:pt>
                <c:pt idx="58">
                  <c:v>1104.7253</c:v>
                </c:pt>
                <c:pt idx="59">
                  <c:v>1143.1964</c:v>
                </c:pt>
                <c:pt idx="60">
                  <c:v>1136.7343</c:v>
                </c:pt>
                <c:pt idx="61">
                  <c:v>1066.2355</c:v>
                </c:pt>
                <c:pt idx="62">
                  <c:v>1049.5648</c:v>
                </c:pt>
                <c:pt idx="63">
                  <c:v>1111.3576</c:v>
                </c:pt>
                <c:pt idx="64">
                  <c:v>1101.9962</c:v>
                </c:pt>
                <c:pt idx="65">
                  <c:v>1084.7752</c:v>
                </c:pt>
                <c:pt idx="66">
                  <c:v>1054.3</c:v>
                </c:pt>
                <c:pt idx="67">
                  <c:v>1069.5228</c:v>
                </c:pt>
                <c:pt idx="68">
                  <c:v>1070.8631</c:v>
                </c:pt>
                <c:pt idx="69">
                  <c:v>1090.1772</c:v>
                </c:pt>
                <c:pt idx="70">
                  <c:v>1086.1084</c:v>
                </c:pt>
                <c:pt idx="71">
                  <c:v>1136.5506</c:v>
                </c:pt>
                <c:pt idx="72">
                  <c:v>1137.3157</c:v>
                </c:pt>
                <c:pt idx="73">
                  <c:v>1097.995</c:v>
                </c:pt>
                <c:pt idx="74">
                  <c:v>946.9485</c:v>
                </c:pt>
                <c:pt idx="75">
                  <c:v>1141.2888</c:v>
                </c:pt>
                <c:pt idx="76">
                  <c:v>1100.1662</c:v>
                </c:pt>
                <c:pt idx="77">
                  <c:v>1141.5205</c:v>
                </c:pt>
                <c:pt idx="78">
                  <c:v>1238.2978</c:v>
                </c:pt>
                <c:pt idx="79">
                  <c:v>1149.5162</c:v>
                </c:pt>
                <c:pt idx="80">
                  <c:v>1035.9841</c:v>
                </c:pt>
                <c:pt idx="81">
                  <c:v>1181.0</c:v>
                </c:pt>
                <c:pt idx="82">
                  <c:v>1172.9377</c:v>
                </c:pt>
                <c:pt idx="83">
                  <c:v>1130.0284</c:v>
                </c:pt>
                <c:pt idx="84">
                  <c:v>1238.5241</c:v>
                </c:pt>
                <c:pt idx="85">
                  <c:v>1207.7442</c:v>
                </c:pt>
                <c:pt idx="86">
                  <c:v>1216.1458</c:v>
                </c:pt>
                <c:pt idx="87">
                  <c:v>1248.4336</c:v>
                </c:pt>
                <c:pt idx="88">
                  <c:v>1279.2417</c:v>
                </c:pt>
                <c:pt idx="89">
                  <c:v>1236.4043</c:v>
                </c:pt>
                <c:pt idx="90">
                  <c:v>1237.5907</c:v>
                </c:pt>
                <c:pt idx="91">
                  <c:v>1210.6129</c:v>
                </c:pt>
                <c:pt idx="92">
                  <c:v>1195.3347</c:v>
                </c:pt>
                <c:pt idx="93">
                  <c:v>1265.0973</c:v>
                </c:pt>
                <c:pt idx="94">
                  <c:v>1278.524</c:v>
                </c:pt>
                <c:pt idx="95">
                  <c:v>1177.7273</c:v>
                </c:pt>
                <c:pt idx="96">
                  <c:v>1198.0622</c:v>
                </c:pt>
                <c:pt idx="97">
                  <c:v>1133.912</c:v>
                </c:pt>
                <c:pt idx="98">
                  <c:v>1162.8211</c:v>
                </c:pt>
                <c:pt idx="99">
                  <c:v>1128.561</c:v>
                </c:pt>
                <c:pt idx="100">
                  <c:v>1124.0096</c:v>
                </c:pt>
                <c:pt idx="101">
                  <c:v>1195.8592</c:v>
                </c:pt>
                <c:pt idx="102">
                  <c:v>1188.5289</c:v>
                </c:pt>
                <c:pt idx="103">
                  <c:v>958.874</c:v>
                </c:pt>
                <c:pt idx="104">
                  <c:v>1059.3279</c:v>
                </c:pt>
              </c:numCache>
            </c:numRef>
          </c:xVal>
          <c:yVal>
            <c:numRef>
              <c:f>Sheet1!$B$2:$B$106</c:f>
              <c:numCache>
                <c:formatCode>General</c:formatCode>
                <c:ptCount val="105"/>
                <c:pt idx="0">
                  <c:v>0.23658170914542728</c:v>
                </c:pt>
                <c:pt idx="1">
                  <c:v>0.24613170205109752</c:v>
                </c:pt>
                <c:pt idx="2">
                  <c:v>0.24171737660581474</c:v>
                </c:pt>
                <c:pt idx="3">
                  <c:v>0.23220973782771537</c:v>
                </c:pt>
                <c:pt idx="4">
                  <c:v>0.23856466876971608</c:v>
                </c:pt>
                <c:pt idx="5">
                  <c:v>0.2326930047118521</c:v>
                </c:pt>
                <c:pt idx="6">
                  <c:v>0.2673721340388007</c:v>
                </c:pt>
                <c:pt idx="7">
                  <c:v>0.26565726083964214</c:v>
                </c:pt>
                <c:pt idx="8">
                  <c:v>0.2744097000638162</c:v>
                </c:pt>
                <c:pt idx="9">
                  <c:v>0.27017364657814097</c:v>
                </c:pt>
                <c:pt idx="10">
                  <c:v>0.27209302325581397</c:v>
                </c:pt>
                <c:pt idx="11">
                  <c:v>0.2683670640421403</c:v>
                </c:pt>
                <c:pt idx="12">
                  <c:v>0.2600884466556108</c:v>
                </c:pt>
                <c:pt idx="13">
                  <c:v>0.2665887167494885</c:v>
                </c:pt>
                <c:pt idx="14">
                  <c:v>0.25251294547669817</c:v>
                </c:pt>
                <c:pt idx="15">
                  <c:v>0.24973050664750268</c:v>
                </c:pt>
                <c:pt idx="16">
                  <c:v>0.23090055484421682</c:v>
                </c:pt>
                <c:pt idx="17">
                  <c:v>0.21798365122615804</c:v>
                </c:pt>
                <c:pt idx="18">
                  <c:v>0.23256860098965362</c:v>
                </c:pt>
                <c:pt idx="19">
                  <c:v>0.19050632911392404</c:v>
                </c:pt>
                <c:pt idx="20">
                  <c:v>0.1869380028395646</c:v>
                </c:pt>
                <c:pt idx="21">
                  <c:v>0.2</c:v>
                </c:pt>
                <c:pt idx="22">
                  <c:v>0.21104428649535265</c:v>
                </c:pt>
                <c:pt idx="23">
                  <c:v>0.19129916567342073</c:v>
                </c:pt>
                <c:pt idx="24">
                  <c:v>0.21460892049127342</c:v>
                </c:pt>
                <c:pt idx="25">
                  <c:v>0.21681723419041002</c:v>
                </c:pt>
                <c:pt idx="26">
                  <c:v>0.23018867924528302</c:v>
                </c:pt>
                <c:pt idx="27">
                  <c:v>0.20592948717948717</c:v>
                </c:pt>
                <c:pt idx="28">
                  <c:v>0.20088105726872246</c:v>
                </c:pt>
                <c:pt idx="29">
                  <c:v>0.20481927710843373</c:v>
                </c:pt>
                <c:pt idx="30">
                  <c:v>0.20633484162895926</c:v>
                </c:pt>
                <c:pt idx="31">
                  <c:v>0.20967741935483872</c:v>
                </c:pt>
                <c:pt idx="32">
                  <c:v>0.2381852551984877</c:v>
                </c:pt>
                <c:pt idx="33">
                  <c:v>0.2355406538139145</c:v>
                </c:pt>
                <c:pt idx="34">
                  <c:v>0.23876592890677398</c:v>
                </c:pt>
                <c:pt idx="35">
                  <c:v>0.24512055109070036</c:v>
                </c:pt>
                <c:pt idx="36">
                  <c:v>0.18966737438075018</c:v>
                </c:pt>
                <c:pt idx="37">
                  <c:v>0.1963898916967509</c:v>
                </c:pt>
                <c:pt idx="38">
                  <c:v>0.16407599309153714</c:v>
                </c:pt>
                <c:pt idx="39">
                  <c:v>0.1572926596758818</c:v>
                </c:pt>
                <c:pt idx="40">
                  <c:v>0.17089065894279507</c:v>
                </c:pt>
                <c:pt idx="41">
                  <c:v>0.15173410404624277</c:v>
                </c:pt>
                <c:pt idx="42">
                  <c:v>0.17592592592592593</c:v>
                </c:pt>
                <c:pt idx="43">
                  <c:v>0.16748423265592152</c:v>
                </c:pt>
                <c:pt idx="44">
                  <c:v>0.2116461366181411</c:v>
                </c:pt>
                <c:pt idx="45">
                  <c:v>0.22289156626506024</c:v>
                </c:pt>
                <c:pt idx="46">
                  <c:v>0.2357373519913886</c:v>
                </c:pt>
                <c:pt idx="47">
                  <c:v>0.21892125757138736</c:v>
                </c:pt>
                <c:pt idx="48">
                  <c:v>0.2380206000895656</c:v>
                </c:pt>
                <c:pt idx="49">
                  <c:v>0.2592997811816193</c:v>
                </c:pt>
                <c:pt idx="50">
                  <c:v>0.2187012987012987</c:v>
                </c:pt>
                <c:pt idx="51">
                  <c:v>0.21382289416846653</c:v>
                </c:pt>
                <c:pt idx="52">
                  <c:v>0.2208778840742825</c:v>
                </c:pt>
                <c:pt idx="53">
                  <c:v>0.1986404833836858</c:v>
                </c:pt>
                <c:pt idx="54">
                  <c:v>0.20503048780487804</c:v>
                </c:pt>
                <c:pt idx="55">
                  <c:v>0.20074211502782932</c:v>
                </c:pt>
                <c:pt idx="56">
                  <c:v>0.21606049693914295</c:v>
                </c:pt>
                <c:pt idx="57">
                  <c:v>0.19306759098786827</c:v>
                </c:pt>
                <c:pt idx="58">
                  <c:v>0.22176591375770022</c:v>
                </c:pt>
                <c:pt idx="59">
                  <c:v>0.21852799090650754</c:v>
                </c:pt>
                <c:pt idx="60">
                  <c:v>0.23915289256198347</c:v>
                </c:pt>
                <c:pt idx="61">
                  <c:v>0.2620131512392514</c:v>
                </c:pt>
                <c:pt idx="62">
                  <c:v>0.2703598484848485</c:v>
                </c:pt>
                <c:pt idx="63">
                  <c:v>0.2905708787684413</c:v>
                </c:pt>
                <c:pt idx="64">
                  <c:v>0.2774044519109618</c:v>
                </c:pt>
                <c:pt idx="65">
                  <c:v>0.2659279778393352</c:v>
                </c:pt>
                <c:pt idx="66">
                  <c:v>0.2641509433962264</c:v>
                </c:pt>
                <c:pt idx="67">
                  <c:v>0.2562755399883246</c:v>
                </c:pt>
                <c:pt idx="68">
                  <c:v>0.20919713531850734</c:v>
                </c:pt>
                <c:pt idx="69">
                  <c:v>0.19689922480620156</c:v>
                </c:pt>
                <c:pt idx="70">
                  <c:v>0.18305785123966942</c:v>
                </c:pt>
                <c:pt idx="71">
                  <c:v>0.20671206225680933</c:v>
                </c:pt>
                <c:pt idx="72">
                  <c:v>0.20656634746922026</c:v>
                </c:pt>
                <c:pt idx="73">
                  <c:v>0.21467098166127294</c:v>
                </c:pt>
                <c:pt idx="74">
                  <c:v>0.237029501525941</c:v>
                </c:pt>
                <c:pt idx="75">
                  <c:v>0.1989117291414752</c:v>
                </c:pt>
                <c:pt idx="76">
                  <c:v>0.19379391100702575</c:v>
                </c:pt>
                <c:pt idx="77">
                  <c:v>0.17655571635311143</c:v>
                </c:pt>
                <c:pt idx="78">
                  <c:v>0.16728624535315986</c:v>
                </c:pt>
                <c:pt idx="79">
                  <c:v>0.17998700454840805</c:v>
                </c:pt>
                <c:pt idx="80">
                  <c:v>0.1778880226789511</c:v>
                </c:pt>
                <c:pt idx="81">
                  <c:v>0.18610129564193167</c:v>
                </c:pt>
                <c:pt idx="82">
                  <c:v>0.1946969696969697</c:v>
                </c:pt>
                <c:pt idx="83">
                  <c:v>0.18096054888507718</c:v>
                </c:pt>
                <c:pt idx="84">
                  <c:v>0.1601027397260274</c:v>
                </c:pt>
                <c:pt idx="85">
                  <c:v>0.1662799690641918</c:v>
                </c:pt>
                <c:pt idx="86">
                  <c:v>0.18568665377176016</c:v>
                </c:pt>
                <c:pt idx="87">
                  <c:v>0.19606709080393292</c:v>
                </c:pt>
                <c:pt idx="88">
                  <c:v>0.17168429617575265</c:v>
                </c:pt>
                <c:pt idx="89">
                  <c:v>0.16607773851590105</c:v>
                </c:pt>
                <c:pt idx="90">
                  <c:v>0.17004405286343613</c:v>
                </c:pt>
                <c:pt idx="91">
                  <c:v>0.17095588235294118</c:v>
                </c:pt>
                <c:pt idx="92">
                  <c:v>0.17231434751261715</c:v>
                </c:pt>
                <c:pt idx="93">
                  <c:v>0.1780929866036249</c:v>
                </c:pt>
                <c:pt idx="94">
                  <c:v>0.17890625</c:v>
                </c:pt>
                <c:pt idx="95">
                  <c:v>0.20522388059701493</c:v>
                </c:pt>
                <c:pt idx="96">
                  <c:v>0.18004866180048662</c:v>
                </c:pt>
                <c:pt idx="97">
                  <c:v>0.19524019391802555</c:v>
                </c:pt>
                <c:pt idx="98">
                  <c:v>0.19683098591549295</c:v>
                </c:pt>
                <c:pt idx="99">
                  <c:v>0.20154075546719682</c:v>
                </c:pt>
                <c:pt idx="100">
                  <c:v>0.22551745443311708</c:v>
                </c:pt>
                <c:pt idx="101">
                  <c:v>0.2143306096794469</c:v>
                </c:pt>
                <c:pt idx="102">
                  <c:v>0.17244125846276384</c:v>
                </c:pt>
                <c:pt idx="103">
                  <c:v>0.21138482023968042</c:v>
                </c:pt>
                <c:pt idx="104">
                  <c:v>0.206626954579300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0.8804</c:v>
                </c:pt>
                <c:pt idx="1">
                  <c:v>1237.3066</c:v>
                </c:pt>
                <c:pt idx="2">
                  <c:v>1168.6596</c:v>
                </c:pt>
                <c:pt idx="3">
                  <c:v>1248.6505</c:v>
                </c:pt>
                <c:pt idx="4">
                  <c:v>1192.7106</c:v>
                </c:pt>
                <c:pt idx="5">
                  <c:v>1276.4301</c:v>
                </c:pt>
                <c:pt idx="6">
                  <c:v>1196.3083</c:v>
                </c:pt>
                <c:pt idx="7">
                  <c:v>1193.1879</c:v>
                </c:pt>
                <c:pt idx="8">
                  <c:v>1221.6064</c:v>
                </c:pt>
                <c:pt idx="9">
                  <c:v>1204.9981</c:v>
                </c:pt>
                <c:pt idx="10">
                  <c:v>1213.0412</c:v>
                </c:pt>
                <c:pt idx="11">
                  <c:v>1130.8368</c:v>
                </c:pt>
                <c:pt idx="12">
                  <c:v>1120.6716</c:v>
                </c:pt>
                <c:pt idx="13">
                  <c:v>1169.0249</c:v>
                </c:pt>
                <c:pt idx="14">
                  <c:v>1180.5156</c:v>
                </c:pt>
                <c:pt idx="15">
                  <c:v>1193.0378</c:v>
                </c:pt>
                <c:pt idx="16">
                  <c:v>1226.6097</c:v>
                </c:pt>
                <c:pt idx="17">
                  <c:v>1239.2465</c:v>
                </c:pt>
                <c:pt idx="18">
                  <c:v>1245.051</c:v>
                </c:pt>
                <c:pt idx="19">
                  <c:v>1382.4907</c:v>
                </c:pt>
                <c:pt idx="20">
                  <c:v>1380.3794</c:v>
                </c:pt>
                <c:pt idx="21">
                  <c:v>1354.5985</c:v>
                </c:pt>
                <c:pt idx="22">
                  <c:v>1248.4758</c:v>
                </c:pt>
                <c:pt idx="23">
                  <c:v>1214.0241</c:v>
                </c:pt>
                <c:pt idx="24">
                  <c:v>1284.5417</c:v>
                </c:pt>
                <c:pt idx="25">
                  <c:v>1212.8032</c:v>
                </c:pt>
                <c:pt idx="26">
                  <c:v>1319.3862</c:v>
                </c:pt>
                <c:pt idx="27">
                  <c:v>1375.8673</c:v>
                </c:pt>
                <c:pt idx="28">
                  <c:v>1312.0894</c:v>
                </c:pt>
                <c:pt idx="29">
                  <c:v>1414.0862</c:v>
                </c:pt>
                <c:pt idx="30">
                  <c:v>1458.137</c:v>
                </c:pt>
                <c:pt idx="31">
                  <c:v>1290.0613</c:v>
                </c:pt>
                <c:pt idx="32">
                  <c:v>1244.4565</c:v>
                </c:pt>
                <c:pt idx="33">
                  <c:v>1304.4868</c:v>
                </c:pt>
                <c:pt idx="34">
                  <c:v>1365.5731</c:v>
                </c:pt>
                <c:pt idx="35">
                  <c:v>1298.3286</c:v>
                </c:pt>
                <c:pt idx="36">
                  <c:v>1337.3679</c:v>
                </c:pt>
                <c:pt idx="37">
                  <c:v>1389.6994</c:v>
                </c:pt>
                <c:pt idx="38">
                  <c:v>1402.253</c:v>
                </c:pt>
                <c:pt idx="39">
                  <c:v>1225.852</c:v>
                </c:pt>
                <c:pt idx="40">
                  <c:v>1292.0321</c:v>
                </c:pt>
                <c:pt idx="41">
                  <c:v>1382.1358</c:v>
                </c:pt>
                <c:pt idx="42">
                  <c:v>1371.4351</c:v>
                </c:pt>
                <c:pt idx="43">
                  <c:v>1314.4512</c:v>
                </c:pt>
                <c:pt idx="44">
                  <c:v>1236.0064</c:v>
                </c:pt>
                <c:pt idx="45">
                  <c:v>1174.3218</c:v>
                </c:pt>
                <c:pt idx="46">
                  <c:v>1187.4578</c:v>
                </c:pt>
                <c:pt idx="47">
                  <c:v>1194.5714</c:v>
                </c:pt>
                <c:pt idx="48">
                  <c:v>1193.1749</c:v>
                </c:pt>
                <c:pt idx="49">
                  <c:v>1166.7363</c:v>
                </c:pt>
                <c:pt idx="50">
                  <c:v>1068.5076</c:v>
                </c:pt>
                <c:pt idx="51">
                  <c:v>1045.0804</c:v>
                </c:pt>
              </c:numCache>
            </c:numRef>
          </c:xVal>
          <c:yVal>
            <c:numRef>
              <c:f>Sheet1!$B$109:$B$160</c:f>
              <c:numCache>
                <c:formatCode>General</c:formatCode>
                <c:ptCount val="52"/>
                <c:pt idx="0">
                  <c:v>0.1859278162595698</c:v>
                </c:pt>
                <c:pt idx="1">
                  <c:v>0.18836206896551724</c:v>
                </c:pt>
                <c:pt idx="2">
                  <c:v>0.19747899159663865</c:v>
                </c:pt>
                <c:pt idx="3">
                  <c:v>0.23007309432648798</c:v>
                </c:pt>
                <c:pt idx="4">
                  <c:v>0.22324255858138062</c:v>
                </c:pt>
                <c:pt idx="5">
                  <c:v>0.20675105485232068</c:v>
                </c:pt>
                <c:pt idx="6">
                  <c:v>0.2080022701475596</c:v>
                </c:pt>
                <c:pt idx="7">
                  <c:v>0.21869829012686157</c:v>
                </c:pt>
                <c:pt idx="8">
                  <c:v>0.23275632490013315</c:v>
                </c:pt>
                <c:pt idx="9">
                  <c:v>0.24213470053600558</c:v>
                </c:pt>
                <c:pt idx="10">
                  <c:v>0.24341279799247176</c:v>
                </c:pt>
                <c:pt idx="11">
                  <c:v>0.24407632627385195</c:v>
                </c:pt>
                <c:pt idx="12">
                  <c:v>0.257999098693105</c:v>
                </c:pt>
                <c:pt idx="13">
                  <c:v>0.24239244491080797</c:v>
                </c:pt>
                <c:pt idx="14">
                  <c:v>0.23962996120561025</c:v>
                </c:pt>
                <c:pt idx="15">
                  <c:v>0.2237242311591754</c:v>
                </c:pt>
                <c:pt idx="16">
                  <c:v>0.1999195494770716</c:v>
                </c:pt>
                <c:pt idx="17">
                  <c:v>0.19026742656729503</c:v>
                </c:pt>
                <c:pt idx="18">
                  <c:v>0.19502262443438914</c:v>
                </c:pt>
                <c:pt idx="19">
                  <c:v>0.1804932735426009</c:v>
                </c:pt>
                <c:pt idx="20">
                  <c:v>0.1793054571226081</c:v>
                </c:pt>
                <c:pt idx="21">
                  <c:v>0.17483443708609273</c:v>
                </c:pt>
                <c:pt idx="22">
                  <c:v>0.1996370235934664</c:v>
                </c:pt>
                <c:pt idx="23">
                  <c:v>0.22510561255280628</c:v>
                </c:pt>
                <c:pt idx="24">
                  <c:v>0.20869565217391303</c:v>
                </c:pt>
                <c:pt idx="25">
                  <c:v>0.20166453265044815</c:v>
                </c:pt>
                <c:pt idx="26">
                  <c:v>0.1704781704781705</c:v>
                </c:pt>
                <c:pt idx="27">
                  <c:v>0.16640378548895898</c:v>
                </c:pt>
                <c:pt idx="28">
                  <c:v>0.18132716049382716</c:v>
                </c:pt>
                <c:pt idx="29">
                  <c:v>0.1969439728353141</c:v>
                </c:pt>
                <c:pt idx="30">
                  <c:v>0.19193689745836984</c:v>
                </c:pt>
                <c:pt idx="31">
                  <c:v>0.17014613778705637</c:v>
                </c:pt>
                <c:pt idx="32">
                  <c:v>0.17084493964716807</c:v>
                </c:pt>
                <c:pt idx="33">
                  <c:v>0.20416386836803224</c:v>
                </c:pt>
                <c:pt idx="34">
                  <c:v>0.23887323943661973</c:v>
                </c:pt>
                <c:pt idx="35">
                  <c:v>0.23269611074489124</c:v>
                </c:pt>
                <c:pt idx="36">
                  <c:v>0.19202898550724637</c:v>
                </c:pt>
                <c:pt idx="37">
                  <c:v>0.15658021133525457</c:v>
                </c:pt>
                <c:pt idx="38">
                  <c:v>0.151183970856102</c:v>
                </c:pt>
                <c:pt idx="39">
                  <c:v>0.1966955153422502</c:v>
                </c:pt>
                <c:pt idx="40">
                  <c:v>0.19138755980861244</c:v>
                </c:pt>
                <c:pt idx="41">
                  <c:v>0.1879432624113475</c:v>
                </c:pt>
                <c:pt idx="42">
                  <c:v>0.17992424242424243</c:v>
                </c:pt>
                <c:pt idx="43">
                  <c:v>0.16408839779005524</c:v>
                </c:pt>
                <c:pt idx="44">
                  <c:v>0.17486033519553074</c:v>
                </c:pt>
                <c:pt idx="45">
                  <c:v>0.19148936170212766</c:v>
                </c:pt>
                <c:pt idx="46">
                  <c:v>0.1914648212226067</c:v>
                </c:pt>
                <c:pt idx="47">
                  <c:v>0.18519842688594923</c:v>
                </c:pt>
                <c:pt idx="48">
                  <c:v>0.17766143106457244</c:v>
                </c:pt>
                <c:pt idx="49">
                  <c:v>0.18540580789277736</c:v>
                </c:pt>
                <c:pt idx="50">
                  <c:v>0.22227112676056338</c:v>
                </c:pt>
                <c:pt idx="51">
                  <c:v>0.204202232435981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6.7100447582408</c:v>
                </c:pt>
              </c:numCache>
            </c:numRef>
          </c:xVal>
          <c:yVal>
            <c:numRef>
              <c:f>Sheet1!$B$163:$B$164</c:f>
              <c:numCache>
                <c:formatCode>General</c:formatCode>
                <c:ptCount val="2"/>
                <c:pt idx="0">
                  <c:v>0.24837081045043133</c:v>
                </c:pt>
                <c:pt idx="1">
                  <c:v>0.2483708104504313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6.7100447582408</c:v>
                </c:pt>
                <c:pt idx="1">
                  <c:v>926.7100447582408</c:v>
                </c:pt>
              </c:numCache>
            </c:numRef>
          </c:xVal>
          <c:yVal>
            <c:numRef>
              <c:f>Sheet1!$B$167:$B$168</c:f>
              <c:numCache>
                <c:formatCode>General</c:formatCode>
                <c:ptCount val="2"/>
                <c:pt idx="0">
                  <c:v>0.248370810450431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6.0786147386857</c:v>
                </c:pt>
              </c:numCache>
            </c:numRef>
          </c:xVal>
          <c:yVal>
            <c:numRef>
              <c:f>Sheet1!$B$171:$B$172</c:f>
              <c:numCache>
                <c:formatCode>General</c:formatCode>
                <c:ptCount val="2"/>
                <c:pt idx="0">
                  <c:v>0.2164009483846989</c:v>
                </c:pt>
                <c:pt idx="1">
                  <c:v>0.216400948384698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6.0786147386857</c:v>
                </c:pt>
                <c:pt idx="1">
                  <c:v>1146.0786147386857</c:v>
                </c:pt>
              </c:numCache>
            </c:numRef>
          </c:xVal>
          <c:yVal>
            <c:numRef>
              <c:f>Sheet1!$B$175:$B$176</c:f>
              <c:numCache>
                <c:formatCode>General</c:formatCode>
                <c:ptCount val="2"/>
                <c:pt idx="0">
                  <c:v>0.21640094838469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6.4229108738577</c:v>
                </c:pt>
              </c:numCache>
            </c:numRef>
          </c:xVal>
          <c:yVal>
            <c:numRef>
              <c:f>Sheet1!$B$179:$B$180</c:f>
              <c:numCache>
                <c:formatCode>General</c:formatCode>
                <c:ptCount val="2"/>
                <c:pt idx="0">
                  <c:v>0.18866096314897055</c:v>
                </c:pt>
                <c:pt idx="1">
                  <c:v>0.188660963148970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6.4229108738577</c:v>
                </c:pt>
                <c:pt idx="1">
                  <c:v>1336.4229108738577</c:v>
                </c:pt>
              </c:numCache>
            </c:numRef>
          </c:xVal>
          <c:yVal>
            <c:numRef>
              <c:f>Sheet1!$B$183:$B$184</c:f>
              <c:numCache>
                <c:formatCode>General</c:formatCode>
                <c:ptCount val="2"/>
                <c:pt idx="0">
                  <c:v>0.18866096314897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0.8804</c:v>
                </c:pt>
                <c:pt idx="1">
                  <c:v>1237.3066</c:v>
                </c:pt>
                <c:pt idx="2">
                  <c:v>1168.6596</c:v>
                </c:pt>
                <c:pt idx="3">
                  <c:v>1248.6505</c:v>
                </c:pt>
                <c:pt idx="4">
                  <c:v>1192.7106</c:v>
                </c:pt>
                <c:pt idx="5">
                  <c:v>1276.4301</c:v>
                </c:pt>
                <c:pt idx="6">
                  <c:v>1196.3083</c:v>
                </c:pt>
                <c:pt idx="7">
                  <c:v>1193.1879</c:v>
                </c:pt>
                <c:pt idx="8">
                  <c:v>1221.6064</c:v>
                </c:pt>
                <c:pt idx="9">
                  <c:v>1204.9981</c:v>
                </c:pt>
                <c:pt idx="10">
                  <c:v>1213.0412</c:v>
                </c:pt>
                <c:pt idx="11">
                  <c:v>1130.8368</c:v>
                </c:pt>
                <c:pt idx="12">
                  <c:v>1120.6716</c:v>
                </c:pt>
                <c:pt idx="13">
                  <c:v>1169.0249</c:v>
                </c:pt>
                <c:pt idx="14">
                  <c:v>1180.5156</c:v>
                </c:pt>
                <c:pt idx="15">
                  <c:v>1193.0378</c:v>
                </c:pt>
                <c:pt idx="16">
                  <c:v>1226.6097</c:v>
                </c:pt>
                <c:pt idx="17">
                  <c:v>1239.2465</c:v>
                </c:pt>
                <c:pt idx="18">
                  <c:v>1245.051</c:v>
                </c:pt>
                <c:pt idx="19">
                  <c:v>1382.4907</c:v>
                </c:pt>
                <c:pt idx="20">
                  <c:v>1380.3794</c:v>
                </c:pt>
                <c:pt idx="21">
                  <c:v>1354.5985</c:v>
                </c:pt>
                <c:pt idx="22">
                  <c:v>1248.4758</c:v>
                </c:pt>
                <c:pt idx="23">
                  <c:v>1214.0241</c:v>
                </c:pt>
                <c:pt idx="24">
                  <c:v>1284.5417</c:v>
                </c:pt>
                <c:pt idx="25">
                  <c:v>1212.8032</c:v>
                </c:pt>
                <c:pt idx="26">
                  <c:v>1319.3862</c:v>
                </c:pt>
                <c:pt idx="27">
                  <c:v>1375.8673</c:v>
                </c:pt>
                <c:pt idx="28">
                  <c:v>1312.0894</c:v>
                </c:pt>
                <c:pt idx="29">
                  <c:v>1414.0862</c:v>
                </c:pt>
                <c:pt idx="30">
                  <c:v>1458.137</c:v>
                </c:pt>
                <c:pt idx="31">
                  <c:v>1290.0613</c:v>
                </c:pt>
                <c:pt idx="32">
                  <c:v>1244.4565</c:v>
                </c:pt>
                <c:pt idx="33">
                  <c:v>1304.4868</c:v>
                </c:pt>
                <c:pt idx="34">
                  <c:v>1365.5731</c:v>
                </c:pt>
                <c:pt idx="35">
                  <c:v>1298.3286</c:v>
                </c:pt>
                <c:pt idx="36">
                  <c:v>1337.3679</c:v>
                </c:pt>
                <c:pt idx="37">
                  <c:v>1389.6994</c:v>
                </c:pt>
                <c:pt idx="38">
                  <c:v>1402.253</c:v>
                </c:pt>
                <c:pt idx="39">
                  <c:v>1225.852</c:v>
                </c:pt>
                <c:pt idx="40">
                  <c:v>1292.0321</c:v>
                </c:pt>
                <c:pt idx="41">
                  <c:v>1382.1358</c:v>
                </c:pt>
                <c:pt idx="42">
                  <c:v>1371.4351</c:v>
                </c:pt>
                <c:pt idx="43">
                  <c:v>1314.4512</c:v>
                </c:pt>
                <c:pt idx="44">
                  <c:v>1236.0064</c:v>
                </c:pt>
                <c:pt idx="45">
                  <c:v>1174.3218</c:v>
                </c:pt>
                <c:pt idx="46">
                  <c:v>1187.4578</c:v>
                </c:pt>
                <c:pt idx="47">
                  <c:v>1194.5714</c:v>
                </c:pt>
                <c:pt idx="48">
                  <c:v>1193.1749</c:v>
                </c:pt>
                <c:pt idx="49">
                  <c:v>1166.7363</c:v>
                </c:pt>
                <c:pt idx="50">
                  <c:v>1068.5076</c:v>
                </c:pt>
                <c:pt idx="51">
                  <c:v>1045.0804</c:v>
                </c:pt>
                <c:pt idx="52">
                  <c:v>1146.0786147386857</c:v>
                </c:pt>
                <c:pt idx="53">
                  <c:v>926.7100447582408</c:v>
                </c:pt>
                <c:pt idx="54">
                  <c:v>1336.4229108738577</c:v>
                </c:pt>
              </c:numCache>
            </c:numRef>
          </c:xVal>
          <c:yVal>
            <c:numRef>
              <c:f>Sheet1!$B$187:$B$241</c:f>
              <c:numCache>
                <c:formatCode>General</c:formatCode>
                <c:ptCount val="55"/>
                <c:pt idx="0">
                  <c:v>0.2025849309002453</c:v>
                </c:pt>
                <c:pt idx="1">
                  <c:v>0.20310576163301938</c:v>
                </c:pt>
                <c:pt idx="2">
                  <c:v>0.21311008960681238</c:v>
                </c:pt>
                <c:pt idx="3">
                  <c:v>0.20145254887642533</c:v>
                </c:pt>
                <c:pt idx="4">
                  <c:v>0.20960499700119675</c:v>
                </c:pt>
                <c:pt idx="5">
                  <c:v>0.19740406563053287</c:v>
                </c:pt>
                <c:pt idx="6">
                  <c:v>0.2090806831819284</c:v>
                </c:pt>
                <c:pt idx="7">
                  <c:v>0.20953543728639654</c:v>
                </c:pt>
                <c:pt idx="8">
                  <c:v>0.2053938434145123</c:v>
                </c:pt>
                <c:pt idx="9">
                  <c:v>0.20781426790920465</c:v>
                </c:pt>
                <c:pt idx="10">
                  <c:v>0.20664210000199804</c:v>
                </c:pt>
                <c:pt idx="11">
                  <c:v>0.21862222700665765</c:v>
                </c:pt>
                <c:pt idx="12">
                  <c:v>0.2201036609326734</c:v>
                </c:pt>
                <c:pt idx="13">
                  <c:v>0.21305685230570928</c:v>
                </c:pt>
                <c:pt idx="14">
                  <c:v>0.2113822455283051</c:v>
                </c:pt>
                <c:pt idx="15">
                  <c:v>0.20955731223546736</c:v>
                </c:pt>
                <c:pt idx="16">
                  <c:v>0.20466468330334533</c:v>
                </c:pt>
                <c:pt idx="17">
                  <c:v>0.2028230486836354</c:v>
                </c:pt>
                <c:pt idx="18">
                  <c:v>0.20197712502019954</c:v>
                </c:pt>
                <c:pt idx="19">
                  <c:v>0.18194723536122362</c:v>
                </c:pt>
                <c:pt idx="20">
                  <c:v>0.18225492743299762</c:v>
                </c:pt>
                <c:pt idx="21">
                  <c:v>0.18601212846231513</c:v>
                </c:pt>
                <c:pt idx="22">
                  <c:v>0.2014780089270761</c:v>
                </c:pt>
                <c:pt idx="23">
                  <c:v>0.20649885624822228</c:v>
                </c:pt>
                <c:pt idx="24">
                  <c:v>0.19622191481852042</c:v>
                </c:pt>
                <c:pt idx="25">
                  <c:v>0.20667678513110435</c:v>
                </c:pt>
                <c:pt idx="26">
                  <c:v>0.19114382246076508</c:v>
                </c:pt>
                <c:pt idx="27">
                  <c:v>0.18291250210123589</c:v>
                </c:pt>
                <c:pt idx="28">
                  <c:v>0.19220722771313112</c:v>
                </c:pt>
                <c:pt idx="29">
                  <c:v>0.17734263873652079</c:v>
                </c:pt>
                <c:pt idx="30">
                  <c:v>0.17092285854644748</c:v>
                </c:pt>
                <c:pt idx="31">
                  <c:v>0.19541751129492654</c:v>
                </c:pt>
                <c:pt idx="32">
                  <c:v>0.2020637649750471</c:v>
                </c:pt>
                <c:pt idx="33">
                  <c:v>0.19331519898432376</c:v>
                </c:pt>
                <c:pt idx="34">
                  <c:v>0.18441273595017055</c:v>
                </c:pt>
                <c:pt idx="35">
                  <c:v>0.19421266941315837</c:v>
                </c:pt>
                <c:pt idx="36">
                  <c:v>0.18852324436811202</c:v>
                </c:pt>
                <c:pt idx="37">
                  <c:v>0.1808966694360604</c:v>
                </c:pt>
                <c:pt idx="38">
                  <c:v>0.179067160037954</c:v>
                </c:pt>
                <c:pt idx="39">
                  <c:v>0.20477510734672294</c:v>
                </c:pt>
                <c:pt idx="40">
                  <c:v>0.19513029510819224</c:v>
                </c:pt>
                <c:pt idx="41">
                  <c:v>0.18199895700962632</c:v>
                </c:pt>
                <c:pt idx="42">
                  <c:v>0.1835584324761313</c:v>
                </c:pt>
                <c:pt idx="43">
                  <c:v>0.19186302881429354</c:v>
                </c:pt>
                <c:pt idx="44">
                  <c:v>0.20329524736774232</c:v>
                </c:pt>
                <c:pt idx="45">
                  <c:v>0.21228490415292203</c:v>
                </c:pt>
                <c:pt idx="46">
                  <c:v>0.21037051820359076</c:v>
                </c:pt>
                <c:pt idx="47">
                  <c:v>0.20933381175648635</c:v>
                </c:pt>
                <c:pt idx="48">
                  <c:v>0.20953733185227208</c:v>
                </c:pt>
                <c:pt idx="49">
                  <c:v>0.2133903833413091</c:v>
                </c:pt>
                <c:pt idx="50">
                  <c:v>0.22770582511209767</c:v>
                </c:pt>
                <c:pt idx="51">
                  <c:v>0.2311200077028539</c:v>
                </c:pt>
                <c:pt idx="52">
                  <c:v>0.2164009483846989</c:v>
                </c:pt>
                <c:pt idx="53">
                  <c:v>0.24837081045043133</c:v>
                </c:pt>
                <c:pt idx="54">
                  <c:v>0.188660963148970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50.0"/>
          <c:min val="63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68505452212956"/>
          <c:min val="0.12094717668488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20969713036086</c:v>
                </c:pt>
                <c:pt idx="1">
                  <c:v>0.27004359783506693</c:v>
                </c:pt>
                <c:pt idx="2">
                  <c:v>0.28519636044812346</c:v>
                </c:pt>
                <c:pt idx="3">
                  <c:v>0.282593593086952</c:v>
                </c:pt>
                <c:pt idx="4">
                  <c:v>0.24894131347639956</c:v>
                </c:pt>
                <c:pt idx="5">
                  <c:v>0.2588291809514042</c:v>
                </c:pt>
                <c:pt idx="6">
                  <c:v>0.24917733803566244</c:v>
                </c:pt>
                <c:pt idx="7">
                  <c:v>0.2679942418045686</c:v>
                </c:pt>
                <c:pt idx="8">
                  <c:v>0.2542370791435212</c:v>
                </c:pt>
                <c:pt idx="9">
                  <c:v>0.27821352288818535</c:v>
                </c:pt>
                <c:pt idx="10">
                  <c:v>0.31004953080949715</c:v>
                </c:pt>
                <c:pt idx="11">
                  <c:v>0.29308773320433124</c:v>
                </c:pt>
                <c:pt idx="12">
                  <c:v>0.2833724592726084</c:v>
                </c:pt>
                <c:pt idx="13">
                  <c:v>0.25366263558453966</c:v>
                </c:pt>
                <c:pt idx="14">
                  <c:v>0.27091182719922563</c:v>
                </c:pt>
                <c:pt idx="15">
                  <c:v>0.29268393680183763</c:v>
                </c:pt>
                <c:pt idx="16">
                  <c:v>0.28972906079311606</c:v>
                </c:pt>
                <c:pt idx="17">
                  <c:v>0.30454132513265514</c:v>
                </c:pt>
                <c:pt idx="18">
                  <c:v>0.2872387603383424</c:v>
                </c:pt>
                <c:pt idx="19">
                  <c:v>0.33211569583072187</c:v>
                </c:pt>
                <c:pt idx="20">
                  <c:v>0.32157476566905935</c:v>
                </c:pt>
                <c:pt idx="21">
                  <c:v>0.2757235492268482</c:v>
                </c:pt>
                <c:pt idx="22">
                  <c:v>0.2758659120398877</c:v>
                </c:pt>
                <c:pt idx="23">
                  <c:v>0.2552104746230353</c:v>
                </c:pt>
                <c:pt idx="24">
                  <c:v>0.262747212724328</c:v>
                </c:pt>
                <c:pt idx="25">
                  <c:v>0.28577347670075665</c:v>
                </c:pt>
                <c:pt idx="26">
                  <c:v>0.29251416785432915</c:v>
                </c:pt>
                <c:pt idx="27">
                  <c:v>0.2548394236698063</c:v>
                </c:pt>
                <c:pt idx="28">
                  <c:v>0.27045735503583457</c:v>
                </c:pt>
                <c:pt idx="29">
                  <c:v>0.2733829180440295</c:v>
                </c:pt>
                <c:pt idx="30">
                  <c:v>0.2818021998201854</c:v>
                </c:pt>
                <c:pt idx="31">
                  <c:v>0.2581794928138472</c:v>
                </c:pt>
                <c:pt idx="32">
                  <c:v>0.27840138483965016</c:v>
                </c:pt>
                <c:pt idx="33">
                  <c:v>0.26698366069752827</c:v>
                </c:pt>
                <c:pt idx="34">
                  <c:v>0.2892952285282096</c:v>
                </c:pt>
                <c:pt idx="35">
                  <c:v>0.2908439555055389</c:v>
                </c:pt>
                <c:pt idx="36">
                  <c:v>0.30335624478210377</c:v>
                </c:pt>
                <c:pt idx="37">
                  <c:v>0.2808959350923741</c:v>
                </c:pt>
                <c:pt idx="38">
                  <c:v>0.2801527106902569</c:v>
                </c:pt>
                <c:pt idx="39">
                  <c:v>0.3151226605546163</c:v>
                </c:pt>
                <c:pt idx="40">
                  <c:v>0.27965500005034266</c:v>
                </c:pt>
                <c:pt idx="41">
                  <c:v>0.25215919908273304</c:v>
                </c:pt>
                <c:pt idx="42">
                  <c:v>0.29707177842825505</c:v>
                </c:pt>
                <c:pt idx="43">
                  <c:v>0.3009013077622615</c:v>
                </c:pt>
                <c:pt idx="44">
                  <c:v>0.2829988599563128</c:v>
                </c:pt>
                <c:pt idx="45">
                  <c:v>0.2759642346283786</c:v>
                </c:pt>
                <c:pt idx="46">
                  <c:v>0.28540033464980946</c:v>
                </c:pt>
                <c:pt idx="47">
                  <c:v>0.3066171528491127</c:v>
                </c:pt>
                <c:pt idx="48">
                  <c:v>0.2807290351455239</c:v>
                </c:pt>
                <c:pt idx="49">
                  <c:v>0.2662588032478121</c:v>
                </c:pt>
                <c:pt idx="50">
                  <c:v>0.29526376860703973</c:v>
                </c:pt>
                <c:pt idx="51">
                  <c:v>0.3068815797644998</c:v>
                </c:pt>
                <c:pt idx="52">
                  <c:v>0.2806454423322608</c:v>
                </c:pt>
                <c:pt idx="53">
                  <c:v>0.2673974290472087</c:v>
                </c:pt>
                <c:pt idx="54">
                  <c:v>0.264308460916061</c:v>
                </c:pt>
                <c:pt idx="55">
                  <c:v>0.25720859505650767</c:v>
                </c:pt>
                <c:pt idx="56">
                  <c:v>0.22761154467251196</c:v>
                </c:pt>
                <c:pt idx="57">
                  <c:v>0.1971749622578812</c:v>
                </c:pt>
                <c:pt idx="58">
                  <c:v>0.2402929051191797</c:v>
                </c:pt>
                <c:pt idx="59">
                  <c:v>0.2539621636286657</c:v>
                </c:pt>
                <c:pt idx="60">
                  <c:v>0.2406752172455248</c:v>
                </c:pt>
                <c:pt idx="61">
                  <c:v>0.2823906565689667</c:v>
                </c:pt>
                <c:pt idx="62">
                  <c:v>0.2948469987663225</c:v>
                </c:pt>
                <c:pt idx="63">
                  <c:v>0.3095384651223956</c:v>
                </c:pt>
                <c:pt idx="64">
                  <c:v>0.31597785283107044</c:v>
                </c:pt>
                <c:pt idx="65">
                  <c:v>0.32640523924300113</c:v>
                </c:pt>
                <c:pt idx="66">
                  <c:v>0.3160284604031726</c:v>
                </c:pt>
                <c:pt idx="67">
                  <c:v>0.32066297277647765</c:v>
                </c:pt>
                <c:pt idx="68">
                  <c:v>0.3403218084818561</c:v>
                </c:pt>
                <c:pt idx="69">
                  <c:v>0.36385540371415254</c:v>
                </c:pt>
                <c:pt idx="70">
                  <c:v>0.3498013449896809</c:v>
                </c:pt>
                <c:pt idx="71">
                  <c:v>0.33287885494923575</c:v>
                </c:pt>
                <c:pt idx="72">
                  <c:v>0.3310104020762486</c:v>
                </c:pt>
                <c:pt idx="73">
                  <c:v>0.3267965478937025</c:v>
                </c:pt>
                <c:pt idx="74">
                  <c:v>0.3252728815991755</c:v>
                </c:pt>
                <c:pt idx="75">
                  <c:v>0.33934973928238704</c:v>
                </c:pt>
                <c:pt idx="76">
                  <c:v>0.2993326869565366</c:v>
                </c:pt>
                <c:pt idx="77">
                  <c:v>0.3322845844812171</c:v>
                </c:pt>
                <c:pt idx="78">
                  <c:v>0.3291004802364241</c:v>
                </c:pt>
                <c:pt idx="79">
                  <c:v>0.3241541035307921</c:v>
                </c:pt>
                <c:pt idx="80">
                  <c:v>0.33687538812608164</c:v>
                </c:pt>
                <c:pt idx="81">
                  <c:v>0.24723824961437055</c:v>
                </c:pt>
                <c:pt idx="82">
                  <c:v>0.3351840477570135</c:v>
                </c:pt>
                <c:pt idx="83">
                  <c:v>0.26947039114089427</c:v>
                </c:pt>
                <c:pt idx="84">
                  <c:v>0.3054162379044334</c:v>
                </c:pt>
                <c:pt idx="85">
                  <c:v>0.29900566745678814</c:v>
                </c:pt>
                <c:pt idx="86">
                  <c:v>0.3318557814844693</c:v>
                </c:pt>
                <c:pt idx="87">
                  <c:v>0.36730180822858893</c:v>
                </c:pt>
                <c:pt idx="88">
                  <c:v>0.2765032664030447</c:v>
                </c:pt>
                <c:pt idx="89">
                  <c:v>0.30706654720764537</c:v>
                </c:pt>
                <c:pt idx="90">
                  <c:v>0.253591652303893</c:v>
                </c:pt>
                <c:pt idx="91">
                  <c:v>0.2748762089185891</c:v>
                </c:pt>
                <c:pt idx="92">
                  <c:v>0.32094406025816535</c:v>
                </c:pt>
                <c:pt idx="93">
                  <c:v>0.34313633873618404</c:v>
                </c:pt>
                <c:pt idx="94">
                  <c:v>0.33023834419241155</c:v>
                </c:pt>
                <c:pt idx="95">
                  <c:v>0.3576880064541502</c:v>
                </c:pt>
                <c:pt idx="96">
                  <c:v>0.370007967599813</c:v>
                </c:pt>
                <c:pt idx="97">
                  <c:v>0.34837401847066285</c:v>
                </c:pt>
                <c:pt idx="98">
                  <c:v>0.3397747888809101</c:v>
                </c:pt>
                <c:pt idx="99">
                  <c:v>0.3766638595146804</c:v>
                </c:pt>
                <c:pt idx="100">
                  <c:v>0.33208021696406576</c:v>
                </c:pt>
                <c:pt idx="101">
                  <c:v>0.3541808490683746</c:v>
                </c:pt>
                <c:pt idx="102">
                  <c:v>0.37681139945409664</c:v>
                </c:pt>
                <c:pt idx="103">
                  <c:v>0.2490997762961732</c:v>
                </c:pt>
                <c:pt idx="104">
                  <c:v>0.3123253874278109</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282669985443594</c:v>
                </c:pt>
                <c:pt idx="1">
                  <c:v>0.3188655116159796</c:v>
                </c:pt>
                <c:pt idx="2">
                  <c:v>0.3266680175073841</c:v>
                </c:pt>
                <c:pt idx="3">
                  <c:v>0.32009968257383026</c:v>
                </c:pt>
                <c:pt idx="4">
                  <c:v>0.2932481103010467</c:v>
                </c:pt>
                <c:pt idx="5">
                  <c:v>0.3031019333296432</c:v>
                </c:pt>
                <c:pt idx="6">
                  <c:v>0.3434046365246657</c:v>
                </c:pt>
                <c:pt idx="7">
                  <c:v>0.33356576581926045</c:v>
                </c:pt>
                <c:pt idx="8">
                  <c:v>0.32551372021004443</c:v>
                </c:pt>
                <c:pt idx="9">
                  <c:v>0.33182095752525415</c:v>
                </c:pt>
                <c:pt idx="10">
                  <c:v>0.35179484452272836</c:v>
                </c:pt>
                <c:pt idx="11">
                  <c:v>0.37671626045871487</c:v>
                </c:pt>
                <c:pt idx="12">
                  <c:v>0.3623120467720082</c:v>
                </c:pt>
                <c:pt idx="13">
                  <c:v>0.3209210249794581</c:v>
                </c:pt>
                <c:pt idx="14">
                  <c:v>0.35658643966724235</c:v>
                </c:pt>
                <c:pt idx="15">
                  <c:v>0.3347172711799841</c:v>
                </c:pt>
                <c:pt idx="16">
                  <c:v>0.36755045554011817</c:v>
                </c:pt>
                <c:pt idx="17">
                  <c:v>0.348725778898886</c:v>
                </c:pt>
                <c:pt idx="18">
                  <c:v>0.36780724102593343</c:v>
                </c:pt>
                <c:pt idx="19">
                  <c:v>0.33736770777673564</c:v>
                </c:pt>
                <c:pt idx="20">
                  <c:v>0.3301273766789224</c:v>
                </c:pt>
                <c:pt idx="21">
                  <c:v>0.3129067848302285</c:v>
                </c:pt>
                <c:pt idx="22">
                  <c:v>0.34607005112838723</c:v>
                </c:pt>
                <c:pt idx="23">
                  <c:v>0.3312132437990233</c:v>
                </c:pt>
                <c:pt idx="24">
                  <c:v>0.334579827617301</c:v>
                </c:pt>
                <c:pt idx="25">
                  <c:v>0.3413056292640657</c:v>
                </c:pt>
                <c:pt idx="26">
                  <c:v>0.33408139889422916</c:v>
                </c:pt>
                <c:pt idx="27">
                  <c:v>0.3682029870168701</c:v>
                </c:pt>
                <c:pt idx="28">
                  <c:v>0.3494063940429456</c:v>
                </c:pt>
                <c:pt idx="29">
                  <c:v>0.3180804708422474</c:v>
                </c:pt>
                <c:pt idx="30">
                  <c:v>0.3199686967230036</c:v>
                </c:pt>
                <c:pt idx="31">
                  <c:v>0.2847483465554235</c:v>
                </c:pt>
                <c:pt idx="32">
                  <c:v>0.31999278474201953</c:v>
                </c:pt>
                <c:pt idx="33">
                  <c:v>0.3361367292956287</c:v>
                </c:pt>
                <c:pt idx="34">
                  <c:v>0.3357916759203465</c:v>
                </c:pt>
                <c:pt idx="35">
                  <c:v>0.36518863176786226</c:v>
                </c:pt>
                <c:pt idx="36">
                  <c:v>0.36434368741022094</c:v>
                </c:pt>
                <c:pt idx="37">
                  <c:v>0.33082117483917217</c:v>
                </c:pt>
                <c:pt idx="38">
                  <c:v>0.30058200014576764</c:v>
                </c:pt>
                <c:pt idx="39">
                  <c:v>0.3562860305930956</c:v>
                </c:pt>
                <c:pt idx="40">
                  <c:v>0.32424852390527414</c:v>
                </c:pt>
                <c:pt idx="41">
                  <c:v>0.4015646000696564</c:v>
                </c:pt>
                <c:pt idx="42">
                  <c:v>0.3693634778927606</c:v>
                </c:pt>
                <c:pt idx="43">
                  <c:v>0.3067086400330674</c:v>
                </c:pt>
                <c:pt idx="44">
                  <c:v>0.32141353079728296</c:v>
                </c:pt>
                <c:pt idx="45">
                  <c:v>0.3344256086632966</c:v>
                </c:pt>
                <c:pt idx="46">
                  <c:v>0.3274207103123986</c:v>
                </c:pt>
                <c:pt idx="47">
                  <c:v>0.375130234375</c:v>
                </c:pt>
                <c:pt idx="48">
                  <c:v>0.3708706924788556</c:v>
                </c:pt>
                <c:pt idx="49">
                  <c:v>0.3805403813710955</c:v>
                </c:pt>
                <c:pt idx="50">
                  <c:v>0.3676084171452486</c:v>
                </c:pt>
                <c:pt idx="51">
                  <c:v>0.3770465921162875</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3658854156779197</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3658854156779197</c:v>
                </c:pt>
                <c:pt idx="1">
                  <c:v>-0.023658854156779197</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360737508140047</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360737508140047</c:v>
                </c:pt>
                <c:pt idx="1">
                  <c:v>0.22360737508140047</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4580803585853446</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4580803585853446</c:v>
                </c:pt>
                <c:pt idx="1">
                  <c:v>0.44580803585853446</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282669985443594</c:v>
                </c:pt>
                <c:pt idx="1">
                  <c:v>0.3188655116159796</c:v>
                </c:pt>
                <c:pt idx="2">
                  <c:v>0.3266680175073841</c:v>
                </c:pt>
                <c:pt idx="3">
                  <c:v>0.32009968257383026</c:v>
                </c:pt>
                <c:pt idx="4">
                  <c:v>0.2932481103010467</c:v>
                </c:pt>
                <c:pt idx="5">
                  <c:v>0.3031019333296432</c:v>
                </c:pt>
                <c:pt idx="6">
                  <c:v>0.3434046365246657</c:v>
                </c:pt>
                <c:pt idx="7">
                  <c:v>0.33356576581926045</c:v>
                </c:pt>
                <c:pt idx="8">
                  <c:v>0.32551372021004443</c:v>
                </c:pt>
                <c:pt idx="9">
                  <c:v>0.33182095752525415</c:v>
                </c:pt>
                <c:pt idx="10">
                  <c:v>0.35179484452272836</c:v>
                </c:pt>
                <c:pt idx="11">
                  <c:v>0.37671626045871487</c:v>
                </c:pt>
                <c:pt idx="12">
                  <c:v>0.3623120467720082</c:v>
                </c:pt>
                <c:pt idx="13">
                  <c:v>0.3209210249794581</c:v>
                </c:pt>
                <c:pt idx="14">
                  <c:v>0.35658643966724235</c:v>
                </c:pt>
                <c:pt idx="15">
                  <c:v>0.3347172711799841</c:v>
                </c:pt>
                <c:pt idx="16">
                  <c:v>0.36755045554011817</c:v>
                </c:pt>
                <c:pt idx="17">
                  <c:v>0.348725778898886</c:v>
                </c:pt>
                <c:pt idx="18">
                  <c:v>0.36780724102593343</c:v>
                </c:pt>
                <c:pt idx="19">
                  <c:v>0.33736770777673564</c:v>
                </c:pt>
                <c:pt idx="20">
                  <c:v>0.3301273766789224</c:v>
                </c:pt>
                <c:pt idx="21">
                  <c:v>0.3129067848302285</c:v>
                </c:pt>
                <c:pt idx="22">
                  <c:v>0.34607005112838723</c:v>
                </c:pt>
                <c:pt idx="23">
                  <c:v>0.3312132437990233</c:v>
                </c:pt>
                <c:pt idx="24">
                  <c:v>0.334579827617301</c:v>
                </c:pt>
                <c:pt idx="25">
                  <c:v>0.3413056292640657</c:v>
                </c:pt>
                <c:pt idx="26">
                  <c:v>0.33408139889422916</c:v>
                </c:pt>
                <c:pt idx="27">
                  <c:v>0.3682029870168701</c:v>
                </c:pt>
                <c:pt idx="28">
                  <c:v>0.3494063940429456</c:v>
                </c:pt>
                <c:pt idx="29">
                  <c:v>0.3180804708422474</c:v>
                </c:pt>
                <c:pt idx="30">
                  <c:v>0.3199686967230036</c:v>
                </c:pt>
                <c:pt idx="31">
                  <c:v>0.2847483465554235</c:v>
                </c:pt>
                <c:pt idx="32">
                  <c:v>0.31999278474201953</c:v>
                </c:pt>
                <c:pt idx="33">
                  <c:v>0.3361367292956287</c:v>
                </c:pt>
                <c:pt idx="34">
                  <c:v>0.3357916759203465</c:v>
                </c:pt>
                <c:pt idx="35">
                  <c:v>0.36518863176786226</c:v>
                </c:pt>
                <c:pt idx="36">
                  <c:v>0.36434368741022094</c:v>
                </c:pt>
                <c:pt idx="37">
                  <c:v>0.33082117483917217</c:v>
                </c:pt>
                <c:pt idx="38">
                  <c:v>0.30058200014576764</c:v>
                </c:pt>
                <c:pt idx="39">
                  <c:v>0.3562860305930956</c:v>
                </c:pt>
                <c:pt idx="40">
                  <c:v>0.32424852390527414</c:v>
                </c:pt>
                <c:pt idx="41">
                  <c:v>0.4015646000696564</c:v>
                </c:pt>
                <c:pt idx="42">
                  <c:v>0.3693634778927606</c:v>
                </c:pt>
                <c:pt idx="43">
                  <c:v>0.3067086400330674</c:v>
                </c:pt>
                <c:pt idx="44">
                  <c:v>0.32141353079728296</c:v>
                </c:pt>
                <c:pt idx="45">
                  <c:v>0.3344256086632966</c:v>
                </c:pt>
                <c:pt idx="46">
                  <c:v>0.3274207103123986</c:v>
                </c:pt>
                <c:pt idx="47">
                  <c:v>0.375130234375</c:v>
                </c:pt>
                <c:pt idx="48">
                  <c:v>0.3708706924788556</c:v>
                </c:pt>
                <c:pt idx="49">
                  <c:v>0.3805403813710955</c:v>
                </c:pt>
                <c:pt idx="50">
                  <c:v>0.3676084171452486</c:v>
                </c:pt>
                <c:pt idx="51">
                  <c:v>0.3770465921162875</c:v>
                </c:pt>
                <c:pt idx="52">
                  <c:v>0.22360737508140047</c:v>
                </c:pt>
                <c:pt idx="53">
                  <c:v>-0.023658854156779197</c:v>
                </c:pt>
                <c:pt idx="54">
                  <c:v>0.44580803585853446</c:v>
                </c:pt>
              </c:numCache>
            </c:numRef>
          </c:xVal>
          <c:yVal>
            <c:numRef>
              <c:f>Sheet1!$B$187:$B$241</c:f>
              <c:numCache>
                <c:formatCode>General</c:formatCode>
                <c:ptCount val="55"/>
                <c:pt idx="0">
                  <c:v>0.1236979962040838</c:v>
                </c:pt>
                <c:pt idx="1">
                  <c:v>0.12580810841992948</c:v>
                </c:pt>
                <c:pt idx="2">
                  <c:v>0.12405687873455269</c:v>
                </c:pt>
                <c:pt idx="3">
                  <c:v>0.12553110551236374</c:v>
                </c:pt>
                <c:pt idx="4">
                  <c:v>0.1315577937478627</c:v>
                </c:pt>
                <c:pt idx="5">
                  <c:v>0.12934615717336964</c:v>
                </c:pt>
                <c:pt idx="6">
                  <c:v>0.12030043632184094</c:v>
                </c:pt>
                <c:pt idx="7">
                  <c:v>0.12250871692934051</c:v>
                </c:pt>
                <c:pt idx="8">
                  <c:v>0.12431595443676759</c:v>
                </c:pt>
                <c:pt idx="9">
                  <c:v>0.12290032958843784</c:v>
                </c:pt>
                <c:pt idx="10">
                  <c:v>0.11841730011954989</c:v>
                </c:pt>
                <c:pt idx="11">
                  <c:v>0.1128238248955452</c:v>
                </c:pt>
                <c:pt idx="12">
                  <c:v>0.11605677171465112</c:v>
                </c:pt>
                <c:pt idx="13">
                  <c:v>0.12534675971082082</c:v>
                </c:pt>
                <c:pt idx="14">
                  <c:v>0.11734185284989461</c:v>
                </c:pt>
                <c:pt idx="15">
                  <c:v>0.12225026786199776</c:v>
                </c:pt>
                <c:pt idx="16">
                  <c:v>0.11488103957595984</c:v>
                </c:pt>
                <c:pt idx="17">
                  <c:v>0.11910613507868308</c:v>
                </c:pt>
                <c:pt idx="18">
                  <c:v>0.11482340548099185</c:v>
                </c:pt>
                <c:pt idx="19">
                  <c:v>0.1216553918936818</c:v>
                </c:pt>
                <c:pt idx="20">
                  <c:v>0.12328044452765871</c:v>
                </c:pt>
                <c:pt idx="21">
                  <c:v>0.12714551198994828</c:v>
                </c:pt>
                <c:pt idx="22">
                  <c:v>0.11970219862194813</c:v>
                </c:pt>
                <c:pt idx="23">
                  <c:v>0.12303672760369071</c:v>
                </c:pt>
                <c:pt idx="24">
                  <c:v>0.12228111631637699</c:v>
                </c:pt>
                <c:pt idx="25">
                  <c:v>0.12077154699778847</c:v>
                </c:pt>
                <c:pt idx="26">
                  <c:v>0.1223929859116117</c:v>
                </c:pt>
                <c:pt idx="27">
                  <c:v>0.11473458246222801</c:v>
                </c:pt>
                <c:pt idx="28">
                  <c:v>0.11895337473973772</c:v>
                </c:pt>
                <c:pt idx="29">
                  <c:v>0.125984306519146</c:v>
                </c:pt>
                <c:pt idx="30">
                  <c:v>0.12556050456870851</c:v>
                </c:pt>
                <c:pt idx="31">
                  <c:v>0.13346551913726898</c:v>
                </c:pt>
                <c:pt idx="32">
                  <c:v>0.12555509814485577</c:v>
                </c:pt>
                <c:pt idx="33">
                  <c:v>0.12193167826733892</c:v>
                </c:pt>
                <c:pt idx="34">
                  <c:v>0.12200912360634204</c:v>
                </c:pt>
                <c:pt idx="35">
                  <c:v>0.11541113797757202</c:v>
                </c:pt>
                <c:pt idx="36">
                  <c:v>0.1156007811078929</c:v>
                </c:pt>
                <c:pt idx="37">
                  <c:v>0.12312472533297951</c:v>
                </c:pt>
                <c:pt idx="38">
                  <c:v>0.1299117423658948</c:v>
                </c:pt>
                <c:pt idx="39">
                  <c:v>0.11740927802018278</c:v>
                </c:pt>
                <c:pt idx="40">
                  <c:v>0.12459992081341378</c:v>
                </c:pt>
                <c:pt idx="41">
                  <c:v>0.10724675125219911</c:v>
                </c:pt>
                <c:pt idx="42">
                  <c:v>0.11447411664525155</c:v>
                </c:pt>
                <c:pt idx="43">
                  <c:v>0.12853665162048797</c:v>
                </c:pt>
                <c:pt idx="44">
                  <c:v>0.12523621947920804</c:v>
                </c:pt>
                <c:pt idx="45">
                  <c:v>0.12231572991540006</c:v>
                </c:pt>
                <c:pt idx="46">
                  <c:v>0.12388794095963053</c:v>
                </c:pt>
                <c:pt idx="47">
                  <c:v>0.11317979975775494</c:v>
                </c:pt>
                <c:pt idx="48">
                  <c:v>0.11413583059175299</c:v>
                </c:pt>
                <c:pt idx="49">
                  <c:v>0.11196552191501061</c:v>
                </c:pt>
                <c:pt idx="50">
                  <c:v>0.11486803041134924</c:v>
                </c:pt>
                <c:pt idx="51">
                  <c:v>0.11274968376539903</c:v>
                </c:pt>
                <c:pt idx="52">
                  <c:v>0.14718827509904767</c:v>
                </c:pt>
                <c:pt idx="53">
                  <c:v>0.202685825098992</c:v>
                </c:pt>
                <c:pt idx="54">
                  <c:v>0.097316554567323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54.2763</c:v>
                </c:pt>
                <c:pt idx="1">
                  <c:v>342.4583</c:v>
                </c:pt>
                <c:pt idx="2">
                  <c:v>356.2165</c:v>
                </c:pt>
                <c:pt idx="3">
                  <c:v>362.6395</c:v>
                </c:pt>
                <c:pt idx="4">
                  <c:v>323.0435</c:v>
                </c:pt>
                <c:pt idx="5">
                  <c:v>329.099</c:v>
                </c:pt>
                <c:pt idx="6">
                  <c:v>338.1481</c:v>
                </c:pt>
                <c:pt idx="7">
                  <c:v>338.0392</c:v>
                </c:pt>
                <c:pt idx="8">
                  <c:v>325.7723</c:v>
                </c:pt>
                <c:pt idx="9">
                  <c:v>339.9397</c:v>
                </c:pt>
                <c:pt idx="10">
                  <c:v>376.6167</c:v>
                </c:pt>
                <c:pt idx="11">
                  <c:v>378.1148</c:v>
                </c:pt>
                <c:pt idx="12">
                  <c:v>355.3689</c:v>
                </c:pt>
                <c:pt idx="13">
                  <c:v>322.5517</c:v>
                </c:pt>
                <c:pt idx="14">
                  <c:v>344.5983</c:v>
                </c:pt>
                <c:pt idx="15">
                  <c:v>370.3708</c:v>
                </c:pt>
                <c:pt idx="16">
                  <c:v>373.0441</c:v>
                </c:pt>
                <c:pt idx="17">
                  <c:v>375.8868</c:v>
                </c:pt>
                <c:pt idx="18">
                  <c:v>343.6721</c:v>
                </c:pt>
                <c:pt idx="19">
                  <c:v>390.5385</c:v>
                </c:pt>
                <c:pt idx="20">
                  <c:v>379.1316</c:v>
                </c:pt>
                <c:pt idx="21">
                  <c:v>353.7805</c:v>
                </c:pt>
                <c:pt idx="22">
                  <c:v>382.9231</c:v>
                </c:pt>
                <c:pt idx="23">
                  <c:v>352.7143</c:v>
                </c:pt>
                <c:pt idx="24">
                  <c:v>369.8718</c:v>
                </c:pt>
                <c:pt idx="25">
                  <c:v>397.4815</c:v>
                </c:pt>
                <c:pt idx="26">
                  <c:v>413.0556</c:v>
                </c:pt>
                <c:pt idx="27">
                  <c:v>361.1818</c:v>
                </c:pt>
                <c:pt idx="28">
                  <c:v>386.3846</c:v>
                </c:pt>
                <c:pt idx="29">
                  <c:v>389.9444</c:v>
                </c:pt>
                <c:pt idx="30">
                  <c:v>399.6</c:v>
                </c:pt>
                <c:pt idx="31">
                  <c:v>363.5238</c:v>
                </c:pt>
                <c:pt idx="32">
                  <c:v>381.9667</c:v>
                </c:pt>
                <c:pt idx="33">
                  <c:v>363.7391</c:v>
                </c:pt>
                <c:pt idx="34">
                  <c:v>380.375</c:v>
                </c:pt>
                <c:pt idx="35">
                  <c:v>379.9091</c:v>
                </c:pt>
                <c:pt idx="36">
                  <c:v>387.5238</c:v>
                </c:pt>
                <c:pt idx="37">
                  <c:v>362.5789</c:v>
                </c:pt>
                <c:pt idx="38">
                  <c:v>363.619</c:v>
                </c:pt>
                <c:pt idx="39">
                  <c:v>381.0588</c:v>
                </c:pt>
                <c:pt idx="40">
                  <c:v>344.4118</c:v>
                </c:pt>
                <c:pt idx="41">
                  <c:v>331.8846</c:v>
                </c:pt>
                <c:pt idx="42">
                  <c:v>384.55</c:v>
                </c:pt>
                <c:pt idx="43">
                  <c:v>404.963</c:v>
                </c:pt>
                <c:pt idx="44">
                  <c:v>370.7143</c:v>
                </c:pt>
                <c:pt idx="45">
                  <c:v>342.5424</c:v>
                </c:pt>
                <c:pt idx="46">
                  <c:v>358.3774</c:v>
                </c:pt>
                <c:pt idx="47">
                  <c:v>378.5469</c:v>
                </c:pt>
                <c:pt idx="48">
                  <c:v>366.7523</c:v>
                </c:pt>
                <c:pt idx="49">
                  <c:v>353.0068</c:v>
                </c:pt>
                <c:pt idx="50">
                  <c:v>379.9091</c:v>
                </c:pt>
                <c:pt idx="51">
                  <c:v>401.75</c:v>
                </c:pt>
                <c:pt idx="52">
                  <c:v>383.3294</c:v>
                </c:pt>
                <c:pt idx="53">
                  <c:v>388.1463</c:v>
                </c:pt>
                <c:pt idx="54">
                  <c:v>393.7576</c:v>
                </c:pt>
                <c:pt idx="55">
                  <c:v>362.8356</c:v>
                </c:pt>
                <c:pt idx="56">
                  <c:v>335.3171</c:v>
                </c:pt>
                <c:pt idx="57">
                  <c:v>277.4609</c:v>
                </c:pt>
                <c:pt idx="58">
                  <c:v>352.1456</c:v>
                </c:pt>
                <c:pt idx="59">
                  <c:v>371.7184</c:v>
                </c:pt>
                <c:pt idx="60">
                  <c:v>355.0268</c:v>
                </c:pt>
                <c:pt idx="61">
                  <c:v>398.5505</c:v>
                </c:pt>
                <c:pt idx="62">
                  <c:v>413.8019</c:v>
                </c:pt>
                <c:pt idx="63">
                  <c:v>430.513</c:v>
                </c:pt>
                <c:pt idx="64">
                  <c:v>427.4507</c:v>
                </c:pt>
                <c:pt idx="65">
                  <c:v>420.7797</c:v>
                </c:pt>
                <c:pt idx="66">
                  <c:v>417.1028</c:v>
                </c:pt>
                <c:pt idx="67">
                  <c:v>423.9</c:v>
                </c:pt>
                <c:pt idx="68">
                  <c:v>437.1127</c:v>
                </c:pt>
                <c:pt idx="69">
                  <c:v>478.075</c:v>
                </c:pt>
                <c:pt idx="70">
                  <c:v>446.8857</c:v>
                </c:pt>
                <c:pt idx="71">
                  <c:v>442.3947</c:v>
                </c:pt>
                <c:pt idx="72">
                  <c:v>478.2432</c:v>
                </c:pt>
                <c:pt idx="73">
                  <c:v>478.0625</c:v>
                </c:pt>
                <c:pt idx="74">
                  <c:v>481.8571</c:v>
                </c:pt>
                <c:pt idx="75">
                  <c:v>501.7273</c:v>
                </c:pt>
                <c:pt idx="76">
                  <c:v>439.1667</c:v>
                </c:pt>
                <c:pt idx="77">
                  <c:v>475.85</c:v>
                </c:pt>
                <c:pt idx="78">
                  <c:v>445.4375</c:v>
                </c:pt>
                <c:pt idx="79">
                  <c:v>465.6875</c:v>
                </c:pt>
                <c:pt idx="80">
                  <c:v>472.1667</c:v>
                </c:pt>
                <c:pt idx="81">
                  <c:v>344.2222</c:v>
                </c:pt>
                <c:pt idx="82">
                  <c:v>468.7143</c:v>
                </c:pt>
                <c:pt idx="83">
                  <c:v>379.0</c:v>
                </c:pt>
                <c:pt idx="84">
                  <c:v>433.7143</c:v>
                </c:pt>
                <c:pt idx="85">
                  <c:v>409.6</c:v>
                </c:pt>
                <c:pt idx="86">
                  <c:v>453.0</c:v>
                </c:pt>
                <c:pt idx="87">
                  <c:v>514.5455</c:v>
                </c:pt>
                <c:pt idx="88">
                  <c:v>406.7</c:v>
                </c:pt>
                <c:pt idx="89">
                  <c:v>449.8333</c:v>
                </c:pt>
                <c:pt idx="90">
                  <c:v>370.25</c:v>
                </c:pt>
                <c:pt idx="91">
                  <c:v>390.5</c:v>
                </c:pt>
                <c:pt idx="92">
                  <c:v>437.0</c:v>
                </c:pt>
                <c:pt idx="93">
                  <c:v>489.8333</c:v>
                </c:pt>
                <c:pt idx="94">
                  <c:v>483.8889</c:v>
                </c:pt>
                <c:pt idx="95">
                  <c:v>520.7692</c:v>
                </c:pt>
                <c:pt idx="96">
                  <c:v>516.2632</c:v>
                </c:pt>
                <c:pt idx="97">
                  <c:v>454.6429</c:v>
                </c:pt>
                <c:pt idx="98">
                  <c:v>442.0294</c:v>
                </c:pt>
                <c:pt idx="99">
                  <c:v>475.4</c:v>
                </c:pt>
                <c:pt idx="100">
                  <c:v>432.2472</c:v>
                </c:pt>
                <c:pt idx="101">
                  <c:v>468.0926</c:v>
                </c:pt>
                <c:pt idx="102">
                  <c:v>496.3333</c:v>
                </c:pt>
                <c:pt idx="103">
                  <c:v>317.8</c:v>
                </c:pt>
                <c:pt idx="104">
                  <c:v>409.551</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2.7588738688946</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2.7588738688946</c:v>
                </c:pt>
                <c:pt idx="1">
                  <c:v>-632.7588738688946</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6.0392237910345</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6.0392237910345</c:v>
                </c:pt>
                <c:pt idx="1">
                  <c:v>126.0392237910345</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7.9173727640549</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7.9173727640549</c:v>
                </c:pt>
                <c:pt idx="1">
                  <c:v>807.9173727640549</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pt idx="52">
                  <c:v>126.0392237910345</c:v>
                </c:pt>
                <c:pt idx="53">
                  <c:v>-632.7588738688946</c:v>
                </c:pt>
                <c:pt idx="54">
                  <c:v>807.9173727640549</c:v>
                </c:pt>
              </c:numCache>
            </c:numRef>
          </c:xVal>
          <c:yVal>
            <c:numRef>
              <c:f>Sheet1!$B$187:$B$241</c:f>
              <c:numCache>
                <c:formatCode>General</c:formatCode>
                <c:ptCount val="55"/>
                <c:pt idx="0">
                  <c:v>0.12233209206954722</c:v>
                </c:pt>
                <c:pt idx="1">
                  <c:v>0.12019290043685305</c:v>
                </c:pt>
                <c:pt idx="2">
                  <c:v>0.12118624909858369</c:v>
                </c:pt>
                <c:pt idx="3">
                  <c:v>0.12193069925491842</c:v>
                </c:pt>
                <c:pt idx="4">
                  <c:v>0.12362116266917779</c:v>
                </c:pt>
                <c:pt idx="5">
                  <c:v>0.12224417928312135</c:v>
                </c:pt>
                <c:pt idx="6">
                  <c:v>0.12208411511249488</c:v>
                </c:pt>
                <c:pt idx="7">
                  <c:v>0.1234555472668627</c:v>
                </c:pt>
                <c:pt idx="8">
                  <c:v>0.12325296022266884</c:v>
                </c:pt>
                <c:pt idx="9">
                  <c:v>0.1200223774239147</c:v>
                </c:pt>
                <c:pt idx="10">
                  <c:v>0.11876548787755148</c:v>
                </c:pt>
                <c:pt idx="11">
                  <c:v>0.12084437660474805</c:v>
                </c:pt>
                <c:pt idx="12">
                  <c:v>0.12247252579768059</c:v>
                </c:pt>
                <c:pt idx="13">
                  <c:v>0.12110227849118307</c:v>
                </c:pt>
                <c:pt idx="14">
                  <c:v>0.11707147723355699</c:v>
                </c:pt>
                <c:pt idx="15">
                  <c:v>0.12012305292351136</c:v>
                </c:pt>
                <c:pt idx="16">
                  <c:v>0.11713111457636202</c:v>
                </c:pt>
                <c:pt idx="17">
                  <c:v>0.12074653888893949</c:v>
                </c:pt>
                <c:pt idx="18">
                  <c:v>0.1184673011635263</c:v>
                </c:pt>
                <c:pt idx="19">
                  <c:v>0.12045677775976976</c:v>
                </c:pt>
                <c:pt idx="20">
                  <c:v>0.12089090016834664</c:v>
                </c:pt>
                <c:pt idx="21">
                  <c:v>0.12171616133776118</c:v>
                </c:pt>
                <c:pt idx="22">
                  <c:v>0.11934269163728053</c:v>
                </c:pt>
                <c:pt idx="23">
                  <c:v>0.12009079873148656</c:v>
                </c:pt>
                <c:pt idx="24">
                  <c:v>0.12009656206557173</c:v>
                </c:pt>
                <c:pt idx="25">
                  <c:v>0.12150318859001286</c:v>
                </c:pt>
                <c:pt idx="26">
                  <c:v>0.122091641090634</c:v>
                </c:pt>
                <c:pt idx="27">
                  <c:v>0.11794783313890922</c:v>
                </c:pt>
                <c:pt idx="28">
                  <c:v>0.12007291630529596</c:v>
                </c:pt>
                <c:pt idx="29">
                  <c:v>0.1215133475634193</c:v>
                </c:pt>
                <c:pt idx="30">
                  <c:v>0.1206417749328027</c:v>
                </c:pt>
                <c:pt idx="31">
                  <c:v>0.12542017131333286</c:v>
                </c:pt>
                <c:pt idx="32">
                  <c:v>0.12166049542948437</c:v>
                </c:pt>
                <c:pt idx="33">
                  <c:v>0.12034491934416267</c:v>
                </c:pt>
                <c:pt idx="34">
                  <c:v>0.12077650383785686</c:v>
                </c:pt>
                <c:pt idx="35">
                  <c:v>0.1173609823770757</c:v>
                </c:pt>
                <c:pt idx="36">
                  <c:v>0.11613459900643483</c:v>
                </c:pt>
                <c:pt idx="37">
                  <c:v>0.11938796452812714</c:v>
                </c:pt>
                <c:pt idx="38">
                  <c:v>0.12189976156052729</c:v>
                </c:pt>
                <c:pt idx="39">
                  <c:v>0.12089253847651296</c:v>
                </c:pt>
                <c:pt idx="40">
                  <c:v>0.12302923607757892</c:v>
                </c:pt>
                <c:pt idx="41">
                  <c:v>0.11392215159430294</c:v>
                </c:pt>
                <c:pt idx="42">
                  <c:v>0.11638144231274708</c:v>
                </c:pt>
                <c:pt idx="43">
                  <c:v>0.12500572323050355</c:v>
                </c:pt>
                <c:pt idx="44">
                  <c:v>0.12684450473094677</c:v>
                </c:pt>
                <c:pt idx="45">
                  <c:v>0.1248502156044647</c:v>
                </c:pt>
                <c:pt idx="46">
                  <c:v>0.12476276359221061</c:v>
                </c:pt>
                <c:pt idx="47">
                  <c:v>0.12128783151877245</c:v>
                </c:pt>
                <c:pt idx="48">
                  <c:v>0.12259426525941591</c:v>
                </c:pt>
                <c:pt idx="49">
                  <c:v>0.12237996138628243</c:v>
                </c:pt>
                <c:pt idx="50">
                  <c:v>0.12284508000025637</c:v>
                </c:pt>
                <c:pt idx="51">
                  <c:v>0.122992666698866</c:v>
                </c:pt>
                <c:pt idx="52">
                  <c:v>0.14718827509904767</c:v>
                </c:pt>
                <c:pt idx="53">
                  <c:v>0.202685825098992</c:v>
                </c:pt>
                <c:pt idx="54">
                  <c:v>0.097316554567323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3942275955859</c:v>
                </c:pt>
                <c:pt idx="1">
                  <c:v>0.18282106594296654</c:v>
                </c:pt>
                <c:pt idx="2">
                  <c:v>0.17720933791250504</c:v>
                </c:pt>
                <c:pt idx="3">
                  <c:v>0.14683658119557066</c:v>
                </c:pt>
                <c:pt idx="4">
                  <c:v>0.13377845882872147</c:v>
                </c:pt>
                <c:pt idx="5">
                  <c:v>0.14496122969077532</c:v>
                </c:pt>
                <c:pt idx="6">
                  <c:v>0.16806035197199293</c:v>
                </c:pt>
                <c:pt idx="7">
                  <c:v>0.1662960367690046</c:v>
                </c:pt>
                <c:pt idx="8">
                  <c:v>0.1310493488208377</c:v>
                </c:pt>
                <c:pt idx="9">
                  <c:v>0.144726248998338</c:v>
                </c:pt>
                <c:pt idx="10">
                  <c:v>0.16544364165810932</c:v>
                </c:pt>
                <c:pt idx="11">
                  <c:v>0.17054348108965126</c:v>
                </c:pt>
                <c:pt idx="12">
                  <c:v>0.16055760200829325</c:v>
                </c:pt>
                <c:pt idx="13">
                  <c:v>0.1366788217165422</c:v>
                </c:pt>
                <c:pt idx="14">
                  <c:v>0.15069347326992455</c:v>
                </c:pt>
                <c:pt idx="15">
                  <c:v>0.18152704017754195</c:v>
                </c:pt>
                <c:pt idx="16">
                  <c:v>0.16632870558729274</c:v>
                </c:pt>
                <c:pt idx="17">
                  <c:v>0.16057629391167208</c:v>
                </c:pt>
                <c:pt idx="18">
                  <c:v>0.14508494659684856</c:v>
                </c:pt>
                <c:pt idx="19">
                  <c:v>0.17579585923403324</c:v>
                </c:pt>
                <c:pt idx="20">
                  <c:v>0.1537306541474683</c:v>
                </c:pt>
                <c:pt idx="21">
                  <c:v>0.14033125634535132</c:v>
                </c:pt>
                <c:pt idx="22">
                  <c:v>0.15009170563465302</c:v>
                </c:pt>
                <c:pt idx="23">
                  <c:v>0.1291432023616101</c:v>
                </c:pt>
                <c:pt idx="24">
                  <c:v>0.13246427659589632</c:v>
                </c:pt>
                <c:pt idx="25">
                  <c:v>0.1461297454305032</c:v>
                </c:pt>
                <c:pt idx="26">
                  <c:v>0.1556514091791522</c:v>
                </c:pt>
                <c:pt idx="27">
                  <c:v>0.14293177821632097</c:v>
                </c:pt>
                <c:pt idx="28">
                  <c:v>0.17799180025796937</c:v>
                </c:pt>
                <c:pt idx="29">
                  <c:v>0.1810825020848354</c:v>
                </c:pt>
                <c:pt idx="30">
                  <c:v>0.17983798379837984</c:v>
                </c:pt>
                <c:pt idx="31">
                  <c:v>0.15604893648988</c:v>
                </c:pt>
                <c:pt idx="32">
                  <c:v>0.1640001932107876</c:v>
                </c:pt>
                <c:pt idx="33">
                  <c:v>0.17192213525419245</c:v>
                </c:pt>
                <c:pt idx="34">
                  <c:v>0.18973932622449144</c:v>
                </c:pt>
                <c:pt idx="35">
                  <c:v>0.1610251158407874</c:v>
                </c:pt>
                <c:pt idx="36">
                  <c:v>0.14724294357309206</c:v>
                </c:pt>
                <c:pt idx="37">
                  <c:v>0.14029622567260785</c:v>
                </c:pt>
                <c:pt idx="38">
                  <c:v>0.14825374692173462</c:v>
                </c:pt>
                <c:pt idx="39">
                  <c:v>0.16631539234468432</c:v>
                </c:pt>
                <c:pt idx="40">
                  <c:v>0.17116181294105956</c:v>
                </c:pt>
                <c:pt idx="41">
                  <c:v>0.15417062504990803</c:v>
                </c:pt>
                <c:pt idx="42">
                  <c:v>0.16087963655384482</c:v>
                </c:pt>
                <c:pt idx="43">
                  <c:v>0.16776115621444718</c:v>
                </c:pt>
                <c:pt idx="44">
                  <c:v>0.16890637047697962</c:v>
                </c:pt>
                <c:pt idx="45">
                  <c:v>0.18170010463039213</c:v>
                </c:pt>
                <c:pt idx="46">
                  <c:v>0.17961850012803135</c:v>
                </c:pt>
                <c:pt idx="47">
                  <c:v>0.1652592196452933</c:v>
                </c:pt>
                <c:pt idx="48">
                  <c:v>0.17587592976880576</c:v>
                </c:pt>
                <c:pt idx="49">
                  <c:v>0.16479107997931983</c:v>
                </c:pt>
                <c:pt idx="50">
                  <c:v>0.1729233626020014</c:v>
                </c:pt>
                <c:pt idx="51">
                  <c:v>0.16578332797847337</c:v>
                </c:pt>
                <c:pt idx="52">
                  <c:v>0.17395162364783745</c:v>
                </c:pt>
                <c:pt idx="53">
                  <c:v>0.1880824329817598</c:v>
                </c:pt>
                <c:pt idx="54">
                  <c:v>0.17298521691378366</c:v>
                </c:pt>
                <c:pt idx="55">
                  <c:v>0.1393734716949228</c:v>
                </c:pt>
                <c:pt idx="56">
                  <c:v>0.13404641215270838</c:v>
                </c:pt>
                <c:pt idx="57">
                  <c:v>0.111646508647627</c:v>
                </c:pt>
                <c:pt idx="58">
                  <c:v>0.15722657693217315</c:v>
                </c:pt>
                <c:pt idx="59">
                  <c:v>0.16790411338391528</c:v>
                </c:pt>
                <c:pt idx="60">
                  <c:v>0.1452456544553339</c:v>
                </c:pt>
                <c:pt idx="61">
                  <c:v>0.1693623167257051</c:v>
                </c:pt>
                <c:pt idx="62">
                  <c:v>0.18996029122826344</c:v>
                </c:pt>
                <c:pt idx="63">
                  <c:v>0.18766276419819916</c:v>
                </c:pt>
                <c:pt idx="64">
                  <c:v>0.1877032258993756</c:v>
                </c:pt>
                <c:pt idx="65">
                  <c:v>0.1716482551977909</c:v>
                </c:pt>
                <c:pt idx="66">
                  <c:v>0.17971253425976083</c:v>
                </c:pt>
                <c:pt idx="67">
                  <c:v>0.21140683242544928</c:v>
                </c:pt>
                <c:pt idx="68">
                  <c:v>0.1973726672851824</c:v>
                </c:pt>
                <c:pt idx="69">
                  <c:v>0.1868562775345032</c:v>
                </c:pt>
                <c:pt idx="70">
                  <c:v>0.1610537105904474</c:v>
                </c:pt>
                <c:pt idx="71">
                  <c:v>0.17996492838558908</c:v>
                </c:pt>
                <c:pt idx="72">
                  <c:v>0.18998883449637682</c:v>
                </c:pt>
                <c:pt idx="73">
                  <c:v>0.1929303188051313</c:v>
                </c:pt>
                <c:pt idx="74">
                  <c:v>0.19324190654785045</c:v>
                </c:pt>
                <c:pt idx="75">
                  <c:v>0.20684667711081794</c:v>
                </c:pt>
                <c:pt idx="76">
                  <c:v>0.17471622374283896</c:v>
                </c:pt>
                <c:pt idx="77">
                  <c:v>0.1881050338029707</c:v>
                </c:pt>
                <c:pt idx="78">
                  <c:v>0.16678887709948978</c:v>
                </c:pt>
                <c:pt idx="79">
                  <c:v>0.19174477274567026</c:v>
                </c:pt>
                <c:pt idx="80">
                  <c:v>0.18272161327706618</c:v>
                </c:pt>
                <c:pt idx="81">
                  <c:v>0.15656248791858549</c:v>
                </c:pt>
                <c:pt idx="82">
                  <c:v>0.2158242464213154</c:v>
                </c:pt>
                <c:pt idx="83">
                  <c:v>0.1754264157930061</c:v>
                </c:pt>
                <c:pt idx="84">
                  <c:v>0.1809555657543391</c:v>
                </c:pt>
                <c:pt idx="85">
                  <c:v>0.18450013301486642</c:v>
                </c:pt>
                <c:pt idx="86">
                  <c:v>0.1940008180581957</c:v>
                </c:pt>
                <c:pt idx="87">
                  <c:v>0.1998407396552821</c:v>
                </c:pt>
                <c:pt idx="88">
                  <c:v>0.15695026683281962</c:v>
                </c:pt>
                <c:pt idx="89">
                  <c:v>0.16211460942731543</c:v>
                </c:pt>
                <c:pt idx="90">
                  <c:v>0.14119921052003337</c:v>
                </c:pt>
                <c:pt idx="91">
                  <c:v>0.1650154975117945</c:v>
                </c:pt>
                <c:pt idx="92">
                  <c:v>0.2047797563261481</c:v>
                </c:pt>
                <c:pt idx="93">
                  <c:v>0.20221945743229217</c:v>
                </c:pt>
                <c:pt idx="94">
                  <c:v>0.1635174115062938</c:v>
                </c:pt>
                <c:pt idx="95">
                  <c:v>0.19052287280411964</c:v>
                </c:pt>
                <c:pt idx="96">
                  <c:v>0.2099783214365607</c:v>
                </c:pt>
                <c:pt idx="97">
                  <c:v>0.19208440201710997</c:v>
                </c:pt>
                <c:pt idx="98">
                  <c:v>0.1903309277305128</c:v>
                </c:pt>
                <c:pt idx="99">
                  <c:v>0.20202488943238145</c:v>
                </c:pt>
                <c:pt idx="100">
                  <c:v>0.19803111131289775</c:v>
                </c:pt>
                <c:pt idx="101">
                  <c:v>0.19817493284976928</c:v>
                </c:pt>
                <c:pt idx="102">
                  <c:v>0.1935293477722613</c:v>
                </c:pt>
                <c:pt idx="103">
                  <c:v>0.12334503985659373</c:v>
                </c:pt>
                <c:pt idx="104">
                  <c:v>0.16910278546352983</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629725986962624</c:v>
                </c:pt>
                <c:pt idx="1">
                  <c:v>0.2233735728864129</c:v>
                </c:pt>
                <c:pt idx="2">
                  <c:v>0.18998935235590372</c:v>
                </c:pt>
                <c:pt idx="3">
                  <c:v>0.18198127593861596</c:v>
                </c:pt>
                <c:pt idx="4">
                  <c:v>0.16892952987305032</c:v>
                </c:pt>
                <c:pt idx="5">
                  <c:v>0.19155083206488066</c:v>
                </c:pt>
                <c:pt idx="6">
                  <c:v>0.1936562556625689</c:v>
                </c:pt>
                <c:pt idx="7">
                  <c:v>0.16379305769014452</c:v>
                </c:pt>
                <c:pt idx="8">
                  <c:v>0.19026091914395088</c:v>
                </c:pt>
                <c:pt idx="9">
                  <c:v>0.19728601492710032</c:v>
                </c:pt>
                <c:pt idx="10">
                  <c:v>0.21587827181208055</c:v>
                </c:pt>
                <c:pt idx="11">
                  <c:v>0.21574370762180262</c:v>
                </c:pt>
                <c:pt idx="12">
                  <c:v>0.17440606137904852</c:v>
                </c:pt>
                <c:pt idx="13">
                  <c:v>0.18904551701006933</c:v>
                </c:pt>
                <c:pt idx="14">
                  <c:v>0.21765984245569606</c:v>
                </c:pt>
                <c:pt idx="15">
                  <c:v>0.20176941631687947</c:v>
                </c:pt>
                <c:pt idx="16">
                  <c:v>0.20939074195796253</c:v>
                </c:pt>
                <c:pt idx="17">
                  <c:v>0.19027441141747312</c:v>
                </c:pt>
                <c:pt idx="18">
                  <c:v>0.19357649306643981</c:v>
                </c:pt>
                <c:pt idx="19">
                  <c:v>0.1800025634640456</c:v>
                </c:pt>
                <c:pt idx="20">
                  <c:v>0.18162915125252216</c:v>
                </c:pt>
                <c:pt idx="21">
                  <c:v>0.1772580439134467</c:v>
                </c:pt>
                <c:pt idx="22">
                  <c:v>0.19030358858888743</c:v>
                </c:pt>
                <c:pt idx="23">
                  <c:v>0.17925066334542697</c:v>
                </c:pt>
                <c:pt idx="24">
                  <c:v>0.1856945951000561</c:v>
                </c:pt>
                <c:pt idx="25">
                  <c:v>0.17654812965724842</c:v>
                </c:pt>
                <c:pt idx="26">
                  <c:v>0.18210803009326787</c:v>
                </c:pt>
                <c:pt idx="27">
                  <c:v>0.23074744492350688</c:v>
                </c:pt>
                <c:pt idx="28">
                  <c:v>0.23360545886244108</c:v>
                </c:pt>
                <c:pt idx="29">
                  <c:v>0.20328059754912822</c:v>
                </c:pt>
                <c:pt idx="30">
                  <c:v>0.20782532472706988</c:v>
                </c:pt>
                <c:pt idx="31">
                  <c:v>0.1561705562224648</c:v>
                </c:pt>
                <c:pt idx="32">
                  <c:v>0.20014804516346477</c:v>
                </c:pt>
                <c:pt idx="33">
                  <c:v>0.21493994496362695</c:v>
                </c:pt>
                <c:pt idx="34">
                  <c:v>0.1924004344391785</c:v>
                </c:pt>
                <c:pt idx="35">
                  <c:v>0.1884474379131576</c:v>
                </c:pt>
                <c:pt idx="36">
                  <c:v>0.1583946336746718</c:v>
                </c:pt>
                <c:pt idx="37">
                  <c:v>0.15436480500171554</c:v>
                </c:pt>
                <c:pt idx="38">
                  <c:v>0.16707644306788752</c:v>
                </c:pt>
                <c:pt idx="39">
                  <c:v>0.19249903318643316</c:v>
                </c:pt>
                <c:pt idx="40">
                  <c:v>0.17096202300801716</c:v>
                </c:pt>
                <c:pt idx="41">
                  <c:v>0.21522279389364907</c:v>
                </c:pt>
                <c:pt idx="42">
                  <c:v>0.199232870624017</c:v>
                </c:pt>
                <c:pt idx="43">
                  <c:v>0.18650447437011294</c:v>
                </c:pt>
                <c:pt idx="44">
                  <c:v>0.18714011765142735</c:v>
                </c:pt>
                <c:pt idx="45">
                  <c:v>0.18382750649112609</c:v>
                </c:pt>
                <c:pt idx="46">
                  <c:v>0.1653977974698971</c:v>
                </c:pt>
                <c:pt idx="47">
                  <c:v>0.18081843526979757</c:v>
                </c:pt>
                <c:pt idx="48">
                  <c:v>0.18332810742713035</c:v>
                </c:pt>
                <c:pt idx="49">
                  <c:v>0.20994769836807972</c:v>
                </c:pt>
                <c:pt idx="50">
                  <c:v>0.22013672343487647</c:v>
                </c:pt>
                <c:pt idx="51">
                  <c:v>0.21478683660412926</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51548890319538</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51548890319538</c:v>
                </c:pt>
                <c:pt idx="1">
                  <c:v>-0.4751548890319538</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21643681188477044</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21643681188477044</c:v>
                </c:pt>
                <c:pt idx="1">
                  <c:v>-0.021643681188477044</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858947455636425</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858947455636425</c:v>
                </c:pt>
                <c:pt idx="1">
                  <c:v>0.3858947455636425</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629725986962624</c:v>
                </c:pt>
                <c:pt idx="1">
                  <c:v>0.2233735728864129</c:v>
                </c:pt>
                <c:pt idx="2">
                  <c:v>0.18998935235590372</c:v>
                </c:pt>
                <c:pt idx="3">
                  <c:v>0.18198127593861596</c:v>
                </c:pt>
                <c:pt idx="4">
                  <c:v>0.16892952987305032</c:v>
                </c:pt>
                <c:pt idx="5">
                  <c:v>0.19155083206488066</c:v>
                </c:pt>
                <c:pt idx="6">
                  <c:v>0.1936562556625689</c:v>
                </c:pt>
                <c:pt idx="7">
                  <c:v>0.16379305769014452</c:v>
                </c:pt>
                <c:pt idx="8">
                  <c:v>0.19026091914395088</c:v>
                </c:pt>
                <c:pt idx="9">
                  <c:v>0.19728601492710032</c:v>
                </c:pt>
                <c:pt idx="10">
                  <c:v>0.21587827181208055</c:v>
                </c:pt>
                <c:pt idx="11">
                  <c:v>0.21574370762180262</c:v>
                </c:pt>
                <c:pt idx="12">
                  <c:v>0.17440606137904852</c:v>
                </c:pt>
                <c:pt idx="13">
                  <c:v>0.18904551701006933</c:v>
                </c:pt>
                <c:pt idx="14">
                  <c:v>0.21765984245569606</c:v>
                </c:pt>
                <c:pt idx="15">
                  <c:v>0.20176941631687947</c:v>
                </c:pt>
                <c:pt idx="16">
                  <c:v>0.20939074195796253</c:v>
                </c:pt>
                <c:pt idx="17">
                  <c:v>0.19027441141747312</c:v>
                </c:pt>
                <c:pt idx="18">
                  <c:v>0.19357649306643981</c:v>
                </c:pt>
                <c:pt idx="19">
                  <c:v>0.1800025634640456</c:v>
                </c:pt>
                <c:pt idx="20">
                  <c:v>0.18162915125252216</c:v>
                </c:pt>
                <c:pt idx="21">
                  <c:v>0.1772580439134467</c:v>
                </c:pt>
                <c:pt idx="22">
                  <c:v>0.19030358858888743</c:v>
                </c:pt>
                <c:pt idx="23">
                  <c:v>0.17925066334542697</c:v>
                </c:pt>
                <c:pt idx="24">
                  <c:v>0.1856945951000561</c:v>
                </c:pt>
                <c:pt idx="25">
                  <c:v>0.17654812965724842</c:v>
                </c:pt>
                <c:pt idx="26">
                  <c:v>0.18210803009326787</c:v>
                </c:pt>
                <c:pt idx="27">
                  <c:v>0.23074744492350688</c:v>
                </c:pt>
                <c:pt idx="28">
                  <c:v>0.23360545886244108</c:v>
                </c:pt>
                <c:pt idx="29">
                  <c:v>0.20328059754912822</c:v>
                </c:pt>
                <c:pt idx="30">
                  <c:v>0.20782532472706988</c:v>
                </c:pt>
                <c:pt idx="31">
                  <c:v>0.1561705562224648</c:v>
                </c:pt>
                <c:pt idx="32">
                  <c:v>0.20014804516346477</c:v>
                </c:pt>
                <c:pt idx="33">
                  <c:v>0.21493994496362695</c:v>
                </c:pt>
                <c:pt idx="34">
                  <c:v>0.1924004344391785</c:v>
                </c:pt>
                <c:pt idx="35">
                  <c:v>0.1884474379131576</c:v>
                </c:pt>
                <c:pt idx="36">
                  <c:v>0.1583946336746718</c:v>
                </c:pt>
                <c:pt idx="37">
                  <c:v>0.15436480500171554</c:v>
                </c:pt>
                <c:pt idx="38">
                  <c:v>0.16707644306788752</c:v>
                </c:pt>
                <c:pt idx="39">
                  <c:v>0.19249903318643316</c:v>
                </c:pt>
                <c:pt idx="40">
                  <c:v>0.17096202300801716</c:v>
                </c:pt>
                <c:pt idx="41">
                  <c:v>0.21522279389364907</c:v>
                </c:pt>
                <c:pt idx="42">
                  <c:v>0.199232870624017</c:v>
                </c:pt>
                <c:pt idx="43">
                  <c:v>0.18650447437011294</c:v>
                </c:pt>
                <c:pt idx="44">
                  <c:v>0.18714011765142735</c:v>
                </c:pt>
                <c:pt idx="45">
                  <c:v>0.18382750649112609</c:v>
                </c:pt>
                <c:pt idx="46">
                  <c:v>0.1653977974698971</c:v>
                </c:pt>
                <c:pt idx="47">
                  <c:v>0.18081843526979757</c:v>
                </c:pt>
                <c:pt idx="48">
                  <c:v>0.18332810742713035</c:v>
                </c:pt>
                <c:pt idx="49">
                  <c:v>0.20994769836807972</c:v>
                </c:pt>
                <c:pt idx="50">
                  <c:v>0.22013672343487647</c:v>
                </c:pt>
                <c:pt idx="51">
                  <c:v>0.21478683660412926</c:v>
                </c:pt>
                <c:pt idx="52">
                  <c:v>-0.021643681188477044</c:v>
                </c:pt>
                <c:pt idx="53">
                  <c:v>-0.4751548890319538</c:v>
                </c:pt>
                <c:pt idx="54">
                  <c:v>0.3858947455636425</c:v>
                </c:pt>
              </c:numCache>
            </c:numRef>
          </c:xVal>
          <c:yVal>
            <c:numRef>
              <c:f>Sheet1!$B$187:$B$241</c:f>
              <c:numCache>
                <c:formatCode>General</c:formatCode>
                <c:ptCount val="55"/>
                <c:pt idx="0">
                  <c:v>0.11929444677767026</c:v>
                </c:pt>
                <c:pt idx="1">
                  <c:v>0.11720476626024652</c:v>
                </c:pt>
                <c:pt idx="2">
                  <c:v>0.12129009516956105</c:v>
                </c:pt>
                <c:pt idx="3">
                  <c:v>0.12227006791044463</c:v>
                </c:pt>
                <c:pt idx="4">
                  <c:v>0.12386724989257175</c:v>
                </c:pt>
                <c:pt idx="5">
                  <c:v>0.12109901213407241</c:v>
                </c:pt>
                <c:pt idx="6">
                  <c:v>0.12084136502554915</c:v>
                </c:pt>
                <c:pt idx="7">
                  <c:v>0.12449581566308414</c:v>
                </c:pt>
                <c:pt idx="8">
                  <c:v>0.12125686271325717</c:v>
                </c:pt>
                <c:pt idx="9">
                  <c:v>0.12039718031128599</c:v>
                </c:pt>
                <c:pt idx="10">
                  <c:v>0.11812198911812341</c:v>
                </c:pt>
                <c:pt idx="11">
                  <c:v>0.11813845614859365</c:v>
                </c:pt>
                <c:pt idx="12">
                  <c:v>0.12319707002529645</c:v>
                </c:pt>
                <c:pt idx="13">
                  <c:v>0.12140559518012581</c:v>
                </c:pt>
                <c:pt idx="14">
                  <c:v>0.11790397288354645</c:v>
                </c:pt>
                <c:pt idx="15">
                  <c:v>0.11984853280600766</c:v>
                </c:pt>
                <c:pt idx="16">
                  <c:v>0.1189158879374428</c:v>
                </c:pt>
                <c:pt idx="17">
                  <c:v>0.12125521162258629</c:v>
                </c:pt>
                <c:pt idx="18">
                  <c:v>0.12085112581776385</c:v>
                </c:pt>
                <c:pt idx="19">
                  <c:v>0.12251220899228286</c:v>
                </c:pt>
                <c:pt idx="20">
                  <c:v>0.12231315848248503</c:v>
                </c:pt>
                <c:pt idx="21">
                  <c:v>0.12284806422221084</c:v>
                </c:pt>
                <c:pt idx="22">
                  <c:v>0.12125164112311149</c:v>
                </c:pt>
                <c:pt idx="23">
                  <c:v>0.12260422130356935</c:v>
                </c:pt>
                <c:pt idx="24">
                  <c:v>0.1218156577166862</c:v>
                </c:pt>
                <c:pt idx="25">
                  <c:v>0.1229349385954295</c:v>
                </c:pt>
                <c:pt idx="26">
                  <c:v>0.12225455661785951</c:v>
                </c:pt>
                <c:pt idx="27">
                  <c:v>0.11630240304409188</c:v>
                </c:pt>
                <c:pt idx="28">
                  <c:v>0.11595265915963361</c:v>
                </c:pt>
                <c:pt idx="29">
                  <c:v>0.11966360494855843</c:v>
                </c:pt>
                <c:pt idx="30">
                  <c:v>0.11910745281950019</c:v>
                </c:pt>
                <c:pt idx="31">
                  <c:v>0.12542860442113662</c:v>
                </c:pt>
                <c:pt idx="32">
                  <c:v>0.12004694494025893</c:v>
                </c:pt>
                <c:pt idx="33">
                  <c:v>0.11823681503705928</c:v>
                </c:pt>
                <c:pt idx="34">
                  <c:v>0.12099504369970476</c:v>
                </c:pt>
                <c:pt idx="35">
                  <c:v>0.12147878394373457</c:v>
                </c:pt>
                <c:pt idx="36">
                  <c:v>0.12515643727846656</c:v>
                </c:pt>
                <c:pt idx="37">
                  <c:v>0.1256495797067035</c:v>
                </c:pt>
                <c:pt idx="38">
                  <c:v>0.1240940177780068</c:v>
                </c:pt>
                <c:pt idx="39">
                  <c:v>0.12098297787021464</c:v>
                </c:pt>
                <c:pt idx="40">
                  <c:v>0.12361852750725576</c:v>
                </c:pt>
                <c:pt idx="41">
                  <c:v>0.11820220195062428</c:v>
                </c:pt>
                <c:pt idx="42">
                  <c:v>0.12015893764051257</c:v>
                </c:pt>
                <c:pt idx="43">
                  <c:v>0.12171655031976514</c:v>
                </c:pt>
                <c:pt idx="44">
                  <c:v>0.12163876471231648</c:v>
                </c:pt>
                <c:pt idx="45">
                  <c:v>0.1220441390455626</c:v>
                </c:pt>
                <c:pt idx="46">
                  <c:v>0.1242994387607641</c:v>
                </c:pt>
                <c:pt idx="47">
                  <c:v>0.12241236827048776</c:v>
                </c:pt>
                <c:pt idx="48">
                  <c:v>0.1221052520325069</c:v>
                </c:pt>
                <c:pt idx="49">
                  <c:v>0.1188477314824673</c:v>
                </c:pt>
                <c:pt idx="50">
                  <c:v>0.11760086940206994</c:v>
                </c:pt>
                <c:pt idx="51">
                  <c:v>0.11825555137408839</c:v>
                </c:pt>
                <c:pt idx="52">
                  <c:v>0.14718827509904767</c:v>
                </c:pt>
                <c:pt idx="53">
                  <c:v>0.202685825098992</c:v>
                </c:pt>
                <c:pt idx="54">
                  <c:v>0.097316554567323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54.2763</c:v>
                </c:pt>
                <c:pt idx="1">
                  <c:v>342.4583</c:v>
                </c:pt>
                <c:pt idx="2">
                  <c:v>356.2165</c:v>
                </c:pt>
                <c:pt idx="3">
                  <c:v>362.6395</c:v>
                </c:pt>
                <c:pt idx="4">
                  <c:v>323.0435</c:v>
                </c:pt>
                <c:pt idx="5">
                  <c:v>329.099</c:v>
                </c:pt>
                <c:pt idx="6">
                  <c:v>338.1481</c:v>
                </c:pt>
                <c:pt idx="7">
                  <c:v>338.0392</c:v>
                </c:pt>
                <c:pt idx="8">
                  <c:v>325.7723</c:v>
                </c:pt>
                <c:pt idx="9">
                  <c:v>339.9397</c:v>
                </c:pt>
                <c:pt idx="10">
                  <c:v>376.6167</c:v>
                </c:pt>
                <c:pt idx="11">
                  <c:v>378.1148</c:v>
                </c:pt>
                <c:pt idx="12">
                  <c:v>355.3689</c:v>
                </c:pt>
                <c:pt idx="13">
                  <c:v>322.5517</c:v>
                </c:pt>
                <c:pt idx="14">
                  <c:v>344.5983</c:v>
                </c:pt>
                <c:pt idx="15">
                  <c:v>370.3708</c:v>
                </c:pt>
                <c:pt idx="16">
                  <c:v>373.0441</c:v>
                </c:pt>
                <c:pt idx="17">
                  <c:v>375.8868</c:v>
                </c:pt>
                <c:pt idx="18">
                  <c:v>343.6721</c:v>
                </c:pt>
                <c:pt idx="19">
                  <c:v>390.5385</c:v>
                </c:pt>
                <c:pt idx="20">
                  <c:v>379.1316</c:v>
                </c:pt>
                <c:pt idx="21">
                  <c:v>353.7805</c:v>
                </c:pt>
                <c:pt idx="22">
                  <c:v>382.9231</c:v>
                </c:pt>
                <c:pt idx="23">
                  <c:v>352.7143</c:v>
                </c:pt>
                <c:pt idx="24">
                  <c:v>369.8718</c:v>
                </c:pt>
                <c:pt idx="25">
                  <c:v>397.4815</c:v>
                </c:pt>
                <c:pt idx="26">
                  <c:v>413.0556</c:v>
                </c:pt>
                <c:pt idx="27">
                  <c:v>361.1818</c:v>
                </c:pt>
                <c:pt idx="28">
                  <c:v>386.3846</c:v>
                </c:pt>
                <c:pt idx="29">
                  <c:v>389.9444</c:v>
                </c:pt>
                <c:pt idx="30">
                  <c:v>399.6</c:v>
                </c:pt>
                <c:pt idx="31">
                  <c:v>363.5238</c:v>
                </c:pt>
                <c:pt idx="32">
                  <c:v>381.9667</c:v>
                </c:pt>
                <c:pt idx="33">
                  <c:v>363.7391</c:v>
                </c:pt>
                <c:pt idx="34">
                  <c:v>380.375</c:v>
                </c:pt>
                <c:pt idx="35">
                  <c:v>379.9091</c:v>
                </c:pt>
                <c:pt idx="36">
                  <c:v>387.5238</c:v>
                </c:pt>
                <c:pt idx="37">
                  <c:v>362.5789</c:v>
                </c:pt>
                <c:pt idx="38">
                  <c:v>363.619</c:v>
                </c:pt>
                <c:pt idx="39">
                  <c:v>381.0588</c:v>
                </c:pt>
                <c:pt idx="40">
                  <c:v>344.4118</c:v>
                </c:pt>
                <c:pt idx="41">
                  <c:v>331.8846</c:v>
                </c:pt>
                <c:pt idx="42">
                  <c:v>384.55</c:v>
                </c:pt>
                <c:pt idx="43">
                  <c:v>404.963</c:v>
                </c:pt>
                <c:pt idx="44">
                  <c:v>370.7143</c:v>
                </c:pt>
                <c:pt idx="45">
                  <c:v>342.5424</c:v>
                </c:pt>
                <c:pt idx="46">
                  <c:v>358.3774</c:v>
                </c:pt>
                <c:pt idx="47">
                  <c:v>378.5469</c:v>
                </c:pt>
                <c:pt idx="48">
                  <c:v>366.7523</c:v>
                </c:pt>
                <c:pt idx="49">
                  <c:v>353.0068</c:v>
                </c:pt>
                <c:pt idx="50">
                  <c:v>379.9091</c:v>
                </c:pt>
                <c:pt idx="51">
                  <c:v>401.75</c:v>
                </c:pt>
                <c:pt idx="52">
                  <c:v>383.3294</c:v>
                </c:pt>
                <c:pt idx="53">
                  <c:v>388.1463</c:v>
                </c:pt>
                <c:pt idx="54">
                  <c:v>393.7576</c:v>
                </c:pt>
                <c:pt idx="55">
                  <c:v>362.8356</c:v>
                </c:pt>
                <c:pt idx="56">
                  <c:v>335.3171</c:v>
                </c:pt>
                <c:pt idx="57">
                  <c:v>277.4609</c:v>
                </c:pt>
                <c:pt idx="58">
                  <c:v>352.1456</c:v>
                </c:pt>
                <c:pt idx="59">
                  <c:v>371.7184</c:v>
                </c:pt>
                <c:pt idx="60">
                  <c:v>355.0268</c:v>
                </c:pt>
                <c:pt idx="61">
                  <c:v>398.5505</c:v>
                </c:pt>
                <c:pt idx="62">
                  <c:v>413.8019</c:v>
                </c:pt>
                <c:pt idx="63">
                  <c:v>430.513</c:v>
                </c:pt>
                <c:pt idx="64">
                  <c:v>427.4507</c:v>
                </c:pt>
                <c:pt idx="65">
                  <c:v>420.7797</c:v>
                </c:pt>
                <c:pt idx="66">
                  <c:v>417.1028</c:v>
                </c:pt>
                <c:pt idx="67">
                  <c:v>423.9</c:v>
                </c:pt>
                <c:pt idx="68">
                  <c:v>437.1127</c:v>
                </c:pt>
                <c:pt idx="69">
                  <c:v>478.075</c:v>
                </c:pt>
                <c:pt idx="70">
                  <c:v>446.8857</c:v>
                </c:pt>
                <c:pt idx="71">
                  <c:v>442.3947</c:v>
                </c:pt>
                <c:pt idx="72">
                  <c:v>478.2432</c:v>
                </c:pt>
                <c:pt idx="73">
                  <c:v>478.0625</c:v>
                </c:pt>
                <c:pt idx="74">
                  <c:v>481.8571</c:v>
                </c:pt>
                <c:pt idx="75">
                  <c:v>501.7273</c:v>
                </c:pt>
                <c:pt idx="76">
                  <c:v>439.1667</c:v>
                </c:pt>
                <c:pt idx="77">
                  <c:v>475.85</c:v>
                </c:pt>
                <c:pt idx="78">
                  <c:v>445.4375</c:v>
                </c:pt>
                <c:pt idx="79">
                  <c:v>465.6875</c:v>
                </c:pt>
                <c:pt idx="80">
                  <c:v>472.1667</c:v>
                </c:pt>
                <c:pt idx="81">
                  <c:v>344.2222</c:v>
                </c:pt>
                <c:pt idx="82">
                  <c:v>468.7143</c:v>
                </c:pt>
                <c:pt idx="83">
                  <c:v>379.0</c:v>
                </c:pt>
                <c:pt idx="84">
                  <c:v>433.7143</c:v>
                </c:pt>
                <c:pt idx="85">
                  <c:v>409.6</c:v>
                </c:pt>
                <c:pt idx="86">
                  <c:v>453.0</c:v>
                </c:pt>
                <c:pt idx="87">
                  <c:v>514.5455</c:v>
                </c:pt>
                <c:pt idx="88">
                  <c:v>406.7</c:v>
                </c:pt>
                <c:pt idx="89">
                  <c:v>449.8333</c:v>
                </c:pt>
                <c:pt idx="90">
                  <c:v>370.25</c:v>
                </c:pt>
                <c:pt idx="91">
                  <c:v>390.5</c:v>
                </c:pt>
                <c:pt idx="92">
                  <c:v>437.0</c:v>
                </c:pt>
                <c:pt idx="93">
                  <c:v>489.8333</c:v>
                </c:pt>
                <c:pt idx="94">
                  <c:v>483.8889</c:v>
                </c:pt>
                <c:pt idx="95">
                  <c:v>520.7692</c:v>
                </c:pt>
                <c:pt idx="96">
                  <c:v>516.2632</c:v>
                </c:pt>
                <c:pt idx="97">
                  <c:v>454.6429</c:v>
                </c:pt>
                <c:pt idx="98">
                  <c:v>442.0294</c:v>
                </c:pt>
                <c:pt idx="99">
                  <c:v>475.4</c:v>
                </c:pt>
                <c:pt idx="100">
                  <c:v>432.2472</c:v>
                </c:pt>
                <c:pt idx="101">
                  <c:v>468.0926</c:v>
                </c:pt>
                <c:pt idx="102">
                  <c:v>496.3333</c:v>
                </c:pt>
                <c:pt idx="103">
                  <c:v>317.8</c:v>
                </c:pt>
                <c:pt idx="104">
                  <c:v>409.551</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2.7588738688946</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2.7588738688946</c:v>
                </c:pt>
                <c:pt idx="1">
                  <c:v>-632.7588738688946</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6.0392237910345</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6.0392237910345</c:v>
                </c:pt>
                <c:pt idx="1">
                  <c:v>126.0392237910345</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7.9173727640549</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7.9173727640549</c:v>
                </c:pt>
                <c:pt idx="1">
                  <c:v>807.9173727640549</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pt idx="52">
                  <c:v>126.0392237910345</c:v>
                </c:pt>
                <c:pt idx="53">
                  <c:v>-632.7588738688946</c:v>
                </c:pt>
                <c:pt idx="54">
                  <c:v>807.9173727640549</c:v>
                </c:pt>
              </c:numCache>
            </c:numRef>
          </c:xVal>
          <c:yVal>
            <c:numRef>
              <c:f>Sheet1!$B$187:$B$241</c:f>
              <c:numCache>
                <c:formatCode>General</c:formatCode>
                <c:ptCount val="55"/>
                <c:pt idx="0">
                  <c:v>0.12233209206954722</c:v>
                </c:pt>
                <c:pt idx="1">
                  <c:v>0.12019290043685305</c:v>
                </c:pt>
                <c:pt idx="2">
                  <c:v>0.12118624909858369</c:v>
                </c:pt>
                <c:pt idx="3">
                  <c:v>0.12193069925491842</c:v>
                </c:pt>
                <c:pt idx="4">
                  <c:v>0.12362116266917779</c:v>
                </c:pt>
                <c:pt idx="5">
                  <c:v>0.12224417928312135</c:v>
                </c:pt>
                <c:pt idx="6">
                  <c:v>0.12208411511249488</c:v>
                </c:pt>
                <c:pt idx="7">
                  <c:v>0.1234555472668627</c:v>
                </c:pt>
                <c:pt idx="8">
                  <c:v>0.12325296022266884</c:v>
                </c:pt>
                <c:pt idx="9">
                  <c:v>0.1200223774239147</c:v>
                </c:pt>
                <c:pt idx="10">
                  <c:v>0.11876548787755148</c:v>
                </c:pt>
                <c:pt idx="11">
                  <c:v>0.12084437660474805</c:v>
                </c:pt>
                <c:pt idx="12">
                  <c:v>0.12247252579768059</c:v>
                </c:pt>
                <c:pt idx="13">
                  <c:v>0.12110227849118307</c:v>
                </c:pt>
                <c:pt idx="14">
                  <c:v>0.11707147723355699</c:v>
                </c:pt>
                <c:pt idx="15">
                  <c:v>0.12012305292351136</c:v>
                </c:pt>
                <c:pt idx="16">
                  <c:v>0.11713111457636202</c:v>
                </c:pt>
                <c:pt idx="17">
                  <c:v>0.12074653888893949</c:v>
                </c:pt>
                <c:pt idx="18">
                  <c:v>0.1184673011635263</c:v>
                </c:pt>
                <c:pt idx="19">
                  <c:v>0.12045677775976976</c:v>
                </c:pt>
                <c:pt idx="20">
                  <c:v>0.12089090016834664</c:v>
                </c:pt>
                <c:pt idx="21">
                  <c:v>0.12171616133776118</c:v>
                </c:pt>
                <c:pt idx="22">
                  <c:v>0.11934269163728053</c:v>
                </c:pt>
                <c:pt idx="23">
                  <c:v>0.12009079873148656</c:v>
                </c:pt>
                <c:pt idx="24">
                  <c:v>0.12009656206557173</c:v>
                </c:pt>
                <c:pt idx="25">
                  <c:v>0.12150318859001286</c:v>
                </c:pt>
                <c:pt idx="26">
                  <c:v>0.122091641090634</c:v>
                </c:pt>
                <c:pt idx="27">
                  <c:v>0.11794783313890922</c:v>
                </c:pt>
                <c:pt idx="28">
                  <c:v>0.12007291630529596</c:v>
                </c:pt>
                <c:pt idx="29">
                  <c:v>0.1215133475634193</c:v>
                </c:pt>
                <c:pt idx="30">
                  <c:v>0.1206417749328027</c:v>
                </c:pt>
                <c:pt idx="31">
                  <c:v>0.12542017131333286</c:v>
                </c:pt>
                <c:pt idx="32">
                  <c:v>0.12166049542948437</c:v>
                </c:pt>
                <c:pt idx="33">
                  <c:v>0.12034491934416267</c:v>
                </c:pt>
                <c:pt idx="34">
                  <c:v>0.12077650383785686</c:v>
                </c:pt>
                <c:pt idx="35">
                  <c:v>0.1173609823770757</c:v>
                </c:pt>
                <c:pt idx="36">
                  <c:v>0.11613459900643483</c:v>
                </c:pt>
                <c:pt idx="37">
                  <c:v>0.11938796452812714</c:v>
                </c:pt>
                <c:pt idx="38">
                  <c:v>0.12189976156052729</c:v>
                </c:pt>
                <c:pt idx="39">
                  <c:v>0.12089253847651296</c:v>
                </c:pt>
                <c:pt idx="40">
                  <c:v>0.12302923607757892</c:v>
                </c:pt>
                <c:pt idx="41">
                  <c:v>0.11392215159430294</c:v>
                </c:pt>
                <c:pt idx="42">
                  <c:v>0.11638144231274708</c:v>
                </c:pt>
                <c:pt idx="43">
                  <c:v>0.12500572323050355</c:v>
                </c:pt>
                <c:pt idx="44">
                  <c:v>0.12684450473094677</c:v>
                </c:pt>
                <c:pt idx="45">
                  <c:v>0.1248502156044647</c:v>
                </c:pt>
                <c:pt idx="46">
                  <c:v>0.12476276359221061</c:v>
                </c:pt>
                <c:pt idx="47">
                  <c:v>0.12128783151877245</c:v>
                </c:pt>
                <c:pt idx="48">
                  <c:v>0.12259426525941591</c:v>
                </c:pt>
                <c:pt idx="49">
                  <c:v>0.12237996138628243</c:v>
                </c:pt>
                <c:pt idx="50">
                  <c:v>0.12284508000025637</c:v>
                </c:pt>
                <c:pt idx="51">
                  <c:v>0.122992666698866</c:v>
                </c:pt>
                <c:pt idx="52">
                  <c:v>0.14718827509904767</c:v>
                </c:pt>
                <c:pt idx="53">
                  <c:v>0.202685825098992</c:v>
                </c:pt>
                <c:pt idx="54">
                  <c:v>0.097316554567323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3947417109531016</c:v>
                </c:pt>
                <c:pt idx="1">
                  <c:v>0.04222189829665</c:v>
                </c:pt>
                <c:pt idx="2">
                  <c:v>0.04353865130350664</c:v>
                </c:pt>
                <c:pt idx="3">
                  <c:v>0.03371195500604258</c:v>
                </c:pt>
                <c:pt idx="4">
                  <c:v>0.029782286780419127</c:v>
                </c:pt>
                <c:pt idx="5">
                  <c:v>0.03190334932868014</c:v>
                </c:pt>
                <c:pt idx="6">
                  <c:v>0.04012742781647502</c:v>
                </c:pt>
                <c:pt idx="7">
                  <c:v>0.03899627386514391</c:v>
                </c:pt>
                <c:pt idx="8">
                  <c:v>0.03230522004720255</c:v>
                </c:pt>
                <c:pt idx="9">
                  <c:v>0.03757537271157168</c:v>
                </c:pt>
                <c:pt idx="10">
                  <c:v>0.03864012371350047</c:v>
                </c:pt>
                <c:pt idx="11">
                  <c:v>0.03620517686570752</c:v>
                </c:pt>
                <c:pt idx="12">
                  <c:v>0.03955355334186655</c:v>
                </c:pt>
                <c:pt idx="13">
                  <c:v>0.03654562655789712</c:v>
                </c:pt>
                <c:pt idx="14">
                  <c:v>0.03219441614339505</c:v>
                </c:pt>
                <c:pt idx="15">
                  <c:v>0.035109564887667075</c:v>
                </c:pt>
                <c:pt idx="16">
                  <c:v>0.027587938174826212</c:v>
                </c:pt>
                <c:pt idx="17">
                  <c:v>0.03166784792701888</c:v>
                </c:pt>
                <c:pt idx="18">
                  <c:v>0.03456561663951079</c:v>
                </c:pt>
                <c:pt idx="19">
                  <c:v>0.0417937272269382</c:v>
                </c:pt>
                <c:pt idx="20">
                  <c:v>0.04280973781079921</c:v>
                </c:pt>
                <c:pt idx="21">
                  <c:v>0.043113074474081074</c:v>
                </c:pt>
                <c:pt idx="22">
                  <c:v>0.04156384649336214</c:v>
                </c:pt>
                <c:pt idx="23">
                  <c:v>0.03494210070089407</c:v>
                </c:pt>
                <c:pt idx="24">
                  <c:v>0.04270817788519028</c:v>
                </c:pt>
                <c:pt idx="25">
                  <c:v>0.04124268167728045</c:v>
                </c:pt>
                <c:pt idx="26">
                  <c:v>0.03499462866631649</c:v>
                </c:pt>
                <c:pt idx="27">
                  <c:v>0.03296313676807117</c:v>
                </c:pt>
                <c:pt idx="28">
                  <c:v>0.032376336757555094</c:v>
                </c:pt>
                <c:pt idx="29">
                  <c:v>0.041622039343772343</c:v>
                </c:pt>
                <c:pt idx="30">
                  <c:v>0.047181371188882236</c:v>
                </c:pt>
                <c:pt idx="31">
                  <c:v>0.036733489958317544</c:v>
                </c:pt>
                <c:pt idx="32">
                  <c:v>0.03609418379399953</c:v>
                </c:pt>
                <c:pt idx="33">
                  <c:v>0.03762511631164129</c:v>
                </c:pt>
                <c:pt idx="34">
                  <c:v>0.04004843188607978</c:v>
                </c:pt>
                <c:pt idx="35">
                  <c:v>0.03520529132398934</c:v>
                </c:pt>
                <c:pt idx="36">
                  <c:v>0.03331882068970486</c:v>
                </c:pt>
                <c:pt idx="37">
                  <c:v>0.03064489450941861</c:v>
                </c:pt>
                <c:pt idx="38">
                  <c:v>0.02996518838519338</c:v>
                </c:pt>
                <c:pt idx="39">
                  <c:v>0.039463421706710855</c:v>
                </c:pt>
                <c:pt idx="40">
                  <c:v>0.037555560069919426</c:v>
                </c:pt>
                <c:pt idx="41">
                  <c:v>0.03340223429951691</c:v>
                </c:pt>
                <c:pt idx="42">
                  <c:v>0.03170892599464028</c:v>
                </c:pt>
                <c:pt idx="43">
                  <c:v>0.033039863585927816</c:v>
                </c:pt>
                <c:pt idx="44">
                  <c:v>0.03712133741086867</c:v>
                </c:pt>
                <c:pt idx="45">
                  <c:v>0.036681058853765096</c:v>
                </c:pt>
                <c:pt idx="46">
                  <c:v>0.03900635620576006</c:v>
                </c:pt>
                <c:pt idx="47">
                  <c:v>0.03780667552208695</c:v>
                </c:pt>
                <c:pt idx="48">
                  <c:v>0.0381070145695269</c:v>
                </c:pt>
                <c:pt idx="49">
                  <c:v>0.038726348077976515</c:v>
                </c:pt>
                <c:pt idx="50">
                  <c:v>0.036284798762201295</c:v>
                </c:pt>
                <c:pt idx="51">
                  <c:v>0.03607164933030727</c:v>
                </c:pt>
                <c:pt idx="52">
                  <c:v>0.038302646054209265</c:v>
                </c:pt>
                <c:pt idx="53">
                  <c:v>0.04260799462252672</c:v>
                </c:pt>
                <c:pt idx="54">
                  <c:v>0.040576834295136026</c:v>
                </c:pt>
                <c:pt idx="55">
                  <c:v>0.035668532487905594</c:v>
                </c:pt>
                <c:pt idx="56">
                  <c:v>0.03275260735260002</c:v>
                </c:pt>
                <c:pt idx="57">
                  <c:v>0.027628668160318642</c:v>
                </c:pt>
                <c:pt idx="58">
                  <c:v>0.036877746360875485</c:v>
                </c:pt>
                <c:pt idx="59">
                  <c:v>0.039606969565250054</c:v>
                </c:pt>
                <c:pt idx="60">
                  <c:v>0.03331766582792255</c:v>
                </c:pt>
                <c:pt idx="61">
                  <c:v>0.04114824808830466</c:v>
                </c:pt>
                <c:pt idx="62">
                  <c:v>0.04152580730269413</c:v>
                </c:pt>
                <c:pt idx="63">
                  <c:v>0.0420584209680288</c:v>
                </c:pt>
                <c:pt idx="64">
                  <c:v>0.04178863266977062</c:v>
                </c:pt>
                <c:pt idx="65">
                  <c:v>0.038920669623577805</c:v>
                </c:pt>
                <c:pt idx="66">
                  <c:v>0.0411164049263451</c:v>
                </c:pt>
                <c:pt idx="67">
                  <c:v>0.04777713794408224</c:v>
                </c:pt>
                <c:pt idx="68">
                  <c:v>0.043056503720019144</c:v>
                </c:pt>
                <c:pt idx="69">
                  <c:v>0.04048009652734412</c:v>
                </c:pt>
                <c:pt idx="70">
                  <c:v>0.043205539844826335</c:v>
                </c:pt>
                <c:pt idx="71">
                  <c:v>0.03953158725593946</c:v>
                </c:pt>
                <c:pt idx="72">
                  <c:v>0.04106950619616485</c:v>
                </c:pt>
                <c:pt idx="73">
                  <c:v>0.03845900312300982</c:v>
                </c:pt>
                <c:pt idx="74">
                  <c:v>0.04843569193399747</c:v>
                </c:pt>
                <c:pt idx="75">
                  <c:v>0.04629121188356323</c:v>
                </c:pt>
                <c:pt idx="76">
                  <c:v>0.0449465891789575</c:v>
                </c:pt>
                <c:pt idx="77">
                  <c:v>0.049685193112881505</c:v>
                </c:pt>
                <c:pt idx="78">
                  <c:v>0.04283001406233098</c:v>
                </c:pt>
                <c:pt idx="79">
                  <c:v>0.03619145390443877</c:v>
                </c:pt>
                <c:pt idx="80">
                  <c:v>0.036899073845294623</c:v>
                </c:pt>
                <c:pt idx="81">
                  <c:v>0.03434790350206679</c:v>
                </c:pt>
                <c:pt idx="82">
                  <c:v>0.049577362442089226</c:v>
                </c:pt>
                <c:pt idx="83">
                  <c:v>0.034517304189435334</c:v>
                </c:pt>
                <c:pt idx="84">
                  <c:v>0.036579196016455325</c:v>
                </c:pt>
                <c:pt idx="85">
                  <c:v>0.03935308259200347</c:v>
                </c:pt>
                <c:pt idx="86">
                  <c:v>0.041344376754055716</c:v>
                </c:pt>
                <c:pt idx="87">
                  <c:v>0.0389271456230008</c:v>
                </c:pt>
                <c:pt idx="88">
                  <c:v>0.03427800838618597</c:v>
                </c:pt>
                <c:pt idx="89">
                  <c:v>0.03482297948020108</c:v>
                </c:pt>
                <c:pt idx="90">
                  <c:v>0.029054516136289715</c:v>
                </c:pt>
                <c:pt idx="91">
                  <c:v>0.03464555955670612</c:v>
                </c:pt>
                <c:pt idx="92">
                  <c:v>0.04387036309712596</c:v>
                </c:pt>
                <c:pt idx="93">
                  <c:v>0.04185973348425741</c:v>
                </c:pt>
                <c:pt idx="94">
                  <c:v>0.03812636248832043</c:v>
                </c:pt>
                <c:pt idx="95">
                  <c:v>0.04066966120223239</c:v>
                </c:pt>
                <c:pt idx="96">
                  <c:v>0.042315499692127265</c:v>
                </c:pt>
                <c:pt idx="97">
                  <c:v>0.04458521797039956</c:v>
                </c:pt>
                <c:pt idx="98">
                  <c:v>0.03751416447424255</c:v>
                </c:pt>
                <c:pt idx="99">
                  <c:v>0.0467506926286224</c:v>
                </c:pt>
                <c:pt idx="100">
                  <c:v>0.04248004481440351</c:v>
                </c:pt>
                <c:pt idx="101">
                  <c:v>0.042862569733815116</c:v>
                </c:pt>
                <c:pt idx="102">
                  <c:v>0.04271265894951275</c:v>
                </c:pt>
                <c:pt idx="103">
                  <c:v>0.028944851769206248</c:v>
                </c:pt>
                <c:pt idx="104">
                  <c:v>0.03724884038199181</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4635998756141551</c:v>
                </c:pt>
                <c:pt idx="1">
                  <c:v>0.047387605922964315</c:v>
                </c:pt>
                <c:pt idx="2">
                  <c:v>0.037276433022409725</c:v>
                </c:pt>
                <c:pt idx="3">
                  <c:v>0.039448603464270225</c:v>
                </c:pt>
                <c:pt idx="4">
                  <c:v>0.0366648045149681</c:v>
                </c:pt>
                <c:pt idx="5">
                  <c:v>0.04112721330749344</c:v>
                </c:pt>
                <c:pt idx="6">
                  <c:v>0.043404372999870516</c:v>
                </c:pt>
                <c:pt idx="7">
                  <c:v>0.03847545155642854</c:v>
                </c:pt>
                <c:pt idx="8">
                  <c:v>0.043664337295543316</c:v>
                </c:pt>
                <c:pt idx="9">
                  <c:v>0.04152098044002129</c:v>
                </c:pt>
                <c:pt idx="10">
                  <c:v>0.04864811373424371</c:v>
                </c:pt>
                <c:pt idx="11">
                  <c:v>0.04737800130487089</c:v>
                </c:pt>
                <c:pt idx="12">
                  <c:v>0.0423387142400876</c:v>
                </c:pt>
                <c:pt idx="13">
                  <c:v>0.03779242121745939</c:v>
                </c:pt>
                <c:pt idx="14">
                  <c:v>0.04061282990371908</c:v>
                </c:pt>
                <c:pt idx="15">
                  <c:v>0.043106974036356056</c:v>
                </c:pt>
                <c:pt idx="16">
                  <c:v>0.04991286162425932</c:v>
                </c:pt>
                <c:pt idx="17">
                  <c:v>0.04317856864496781</c:v>
                </c:pt>
                <c:pt idx="18">
                  <c:v>0.04250597705323207</c:v>
                </c:pt>
                <c:pt idx="19">
                  <c:v>0.04192327178131264</c:v>
                </c:pt>
                <c:pt idx="20">
                  <c:v>0.040212587185765904</c:v>
                </c:pt>
                <c:pt idx="21">
                  <c:v>0.03526689129371859</c:v>
                </c:pt>
                <c:pt idx="22">
                  <c:v>0.04129920541135243</c:v>
                </c:pt>
                <c:pt idx="23">
                  <c:v>0.042007893401015226</c:v>
                </c:pt>
                <c:pt idx="24">
                  <c:v>0.04240724090604416</c:v>
                </c:pt>
                <c:pt idx="25">
                  <c:v>0.036850566014424484</c:v>
                </c:pt>
                <c:pt idx="26">
                  <c:v>0.03786185219257896</c:v>
                </c:pt>
                <c:pt idx="27">
                  <c:v>0.04612269368243317</c:v>
                </c:pt>
                <c:pt idx="28">
                  <c:v>0.05140232810802421</c:v>
                </c:pt>
                <c:pt idx="29">
                  <c:v>0.05870132762418023</c:v>
                </c:pt>
                <c:pt idx="30">
                  <c:v>0.04799629833702052</c:v>
                </c:pt>
                <c:pt idx="31">
                  <c:v>0.036925350369543995</c:v>
                </c:pt>
                <c:pt idx="32">
                  <c:v>0.04801853742356092</c:v>
                </c:pt>
                <c:pt idx="33">
                  <c:v>0.04730942237574362</c:v>
                </c:pt>
                <c:pt idx="34">
                  <c:v>0.04368121776830767</c:v>
                </c:pt>
                <c:pt idx="35">
                  <c:v>0.04625285829722312</c:v>
                </c:pt>
                <c:pt idx="36">
                  <c:v>0.049316325926419</c:v>
                </c:pt>
                <c:pt idx="37">
                  <c:v>0.04333118450791042</c:v>
                </c:pt>
                <c:pt idx="38">
                  <c:v>0.03379535116937073</c:v>
                </c:pt>
                <c:pt idx="39">
                  <c:v>0.03535902888018292</c:v>
                </c:pt>
                <c:pt idx="40">
                  <c:v>0.035107478795193464</c:v>
                </c:pt>
                <c:pt idx="41">
                  <c:v>0.04950273559339367</c:v>
                </c:pt>
                <c:pt idx="42">
                  <c:v>0.046020653581579966</c:v>
                </c:pt>
                <c:pt idx="43">
                  <c:v>0.03897816033231112</c:v>
                </c:pt>
                <c:pt idx="44">
                  <c:v>0.041316838312335485</c:v>
                </c:pt>
                <c:pt idx="45">
                  <c:v>0.038327539379869005</c:v>
                </c:pt>
                <c:pt idx="46">
                  <c:v>0.03725878306586832</c:v>
                </c:pt>
                <c:pt idx="47">
                  <c:v>0.04232706581336718</c:v>
                </c:pt>
                <c:pt idx="48">
                  <c:v>0.040787614119339025</c:v>
                </c:pt>
                <c:pt idx="49">
                  <c:v>0.04326094643953447</c:v>
                </c:pt>
                <c:pt idx="50">
                  <c:v>0.046758242274448074</c:v>
                </c:pt>
                <c:pt idx="51">
                  <c:v>0.04619851349984832</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855578703281559</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855578703281559</c:v>
                </c:pt>
                <c:pt idx="1">
                  <c:v>-0.03855578703281559</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16707942417393394</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16707942417393394</c:v>
                </c:pt>
                <c:pt idx="1">
                  <c:v>0.016707942417393394</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6636954496893638</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6636954496893638</c:v>
                </c:pt>
                <c:pt idx="1">
                  <c:v>0.06636954496893638</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4635998756141551</c:v>
                </c:pt>
                <c:pt idx="1">
                  <c:v>0.047387605922964315</c:v>
                </c:pt>
                <c:pt idx="2">
                  <c:v>0.037276433022409725</c:v>
                </c:pt>
                <c:pt idx="3">
                  <c:v>0.039448603464270225</c:v>
                </c:pt>
                <c:pt idx="4">
                  <c:v>0.0366648045149681</c:v>
                </c:pt>
                <c:pt idx="5">
                  <c:v>0.04112721330749344</c:v>
                </c:pt>
                <c:pt idx="6">
                  <c:v>0.043404372999870516</c:v>
                </c:pt>
                <c:pt idx="7">
                  <c:v>0.03847545155642854</c:v>
                </c:pt>
                <c:pt idx="8">
                  <c:v>0.043664337295543316</c:v>
                </c:pt>
                <c:pt idx="9">
                  <c:v>0.04152098044002129</c:v>
                </c:pt>
                <c:pt idx="10">
                  <c:v>0.04864811373424371</c:v>
                </c:pt>
                <c:pt idx="11">
                  <c:v>0.04737800130487089</c:v>
                </c:pt>
                <c:pt idx="12">
                  <c:v>0.0423387142400876</c:v>
                </c:pt>
                <c:pt idx="13">
                  <c:v>0.03779242121745939</c:v>
                </c:pt>
                <c:pt idx="14">
                  <c:v>0.04061282990371908</c:v>
                </c:pt>
                <c:pt idx="15">
                  <c:v>0.043106974036356056</c:v>
                </c:pt>
                <c:pt idx="16">
                  <c:v>0.04991286162425932</c:v>
                </c:pt>
                <c:pt idx="17">
                  <c:v>0.04317856864496781</c:v>
                </c:pt>
                <c:pt idx="18">
                  <c:v>0.04250597705323207</c:v>
                </c:pt>
                <c:pt idx="19">
                  <c:v>0.04192327178131264</c:v>
                </c:pt>
                <c:pt idx="20">
                  <c:v>0.040212587185765904</c:v>
                </c:pt>
                <c:pt idx="21">
                  <c:v>0.03526689129371859</c:v>
                </c:pt>
                <c:pt idx="22">
                  <c:v>0.04129920541135243</c:v>
                </c:pt>
                <c:pt idx="23">
                  <c:v>0.042007893401015226</c:v>
                </c:pt>
                <c:pt idx="24">
                  <c:v>0.04240724090604416</c:v>
                </c:pt>
                <c:pt idx="25">
                  <c:v>0.036850566014424484</c:v>
                </c:pt>
                <c:pt idx="26">
                  <c:v>0.03786185219257896</c:v>
                </c:pt>
                <c:pt idx="27">
                  <c:v>0.04612269368243317</c:v>
                </c:pt>
                <c:pt idx="28">
                  <c:v>0.05140232810802421</c:v>
                </c:pt>
                <c:pt idx="29">
                  <c:v>0.05870132762418023</c:v>
                </c:pt>
                <c:pt idx="30">
                  <c:v>0.04799629833702052</c:v>
                </c:pt>
                <c:pt idx="31">
                  <c:v>0.036925350369543995</c:v>
                </c:pt>
                <c:pt idx="32">
                  <c:v>0.04801853742356092</c:v>
                </c:pt>
                <c:pt idx="33">
                  <c:v>0.04730942237574362</c:v>
                </c:pt>
                <c:pt idx="34">
                  <c:v>0.04368121776830767</c:v>
                </c:pt>
                <c:pt idx="35">
                  <c:v>0.04625285829722312</c:v>
                </c:pt>
                <c:pt idx="36">
                  <c:v>0.049316325926419</c:v>
                </c:pt>
                <c:pt idx="37">
                  <c:v>0.04333118450791042</c:v>
                </c:pt>
                <c:pt idx="38">
                  <c:v>0.03379535116937073</c:v>
                </c:pt>
                <c:pt idx="39">
                  <c:v>0.03535902888018292</c:v>
                </c:pt>
                <c:pt idx="40">
                  <c:v>0.035107478795193464</c:v>
                </c:pt>
                <c:pt idx="41">
                  <c:v>0.04950273559339367</c:v>
                </c:pt>
                <c:pt idx="42">
                  <c:v>0.046020653581579966</c:v>
                </c:pt>
                <c:pt idx="43">
                  <c:v>0.03897816033231112</c:v>
                </c:pt>
                <c:pt idx="44">
                  <c:v>0.041316838312335485</c:v>
                </c:pt>
                <c:pt idx="45">
                  <c:v>0.038327539379869005</c:v>
                </c:pt>
                <c:pt idx="46">
                  <c:v>0.03725878306586832</c:v>
                </c:pt>
                <c:pt idx="47">
                  <c:v>0.04232706581336718</c:v>
                </c:pt>
                <c:pt idx="48">
                  <c:v>0.040787614119339025</c:v>
                </c:pt>
                <c:pt idx="49">
                  <c:v>0.04326094643953447</c:v>
                </c:pt>
                <c:pt idx="50">
                  <c:v>0.046758242274448074</c:v>
                </c:pt>
                <c:pt idx="51">
                  <c:v>0.04619851349984832</c:v>
                </c:pt>
                <c:pt idx="52">
                  <c:v>0.016707942417393394</c:v>
                </c:pt>
                <c:pt idx="53">
                  <c:v>-0.03855578703281559</c:v>
                </c:pt>
                <c:pt idx="54">
                  <c:v>0.06636954496893638</c:v>
                </c:pt>
              </c:numCache>
            </c:numRef>
          </c:xVal>
          <c:yVal>
            <c:numRef>
              <c:f>Sheet1!$B$187:$B$241</c:f>
              <c:numCache>
                <c:formatCode>General</c:formatCode>
                <c:ptCount val="55"/>
                <c:pt idx="0">
                  <c:v>0.11741077230739069</c:v>
                </c:pt>
                <c:pt idx="1">
                  <c:v>0.11637880609793863</c:v>
                </c:pt>
                <c:pt idx="2">
                  <c:v>0.1265327593180554</c:v>
                </c:pt>
                <c:pt idx="3">
                  <c:v>0.12435139843443702</c:v>
                </c:pt>
                <c:pt idx="4">
                  <c:v>0.1271469756225072</c:v>
                </c:pt>
                <c:pt idx="5">
                  <c:v>0.12266568640176265</c:v>
                </c:pt>
                <c:pt idx="6">
                  <c:v>0.12037889205865887</c:v>
                </c:pt>
                <c:pt idx="7">
                  <c:v>0.1253286677429017</c:v>
                </c:pt>
                <c:pt idx="8">
                  <c:v>0.12011782785541324</c:v>
                </c:pt>
                <c:pt idx="9">
                  <c:v>0.1222702532425603</c:v>
                </c:pt>
                <c:pt idx="10">
                  <c:v>0.11511296508471447</c:v>
                </c:pt>
                <c:pt idx="11">
                  <c:v>0.1163884513531209</c:v>
                </c:pt>
                <c:pt idx="12">
                  <c:v>0.12144905961507063</c:v>
                </c:pt>
                <c:pt idx="13">
                  <c:v>0.12601458797965612</c:v>
                </c:pt>
                <c:pt idx="14">
                  <c:v>0.12318224615902312</c:v>
                </c:pt>
                <c:pt idx="15">
                  <c:v>0.12067754931562967</c:v>
                </c:pt>
                <c:pt idx="16">
                  <c:v>0.11384286605300317</c:v>
                </c:pt>
                <c:pt idx="17">
                  <c:v>0.12060565179060402</c:v>
                </c:pt>
                <c:pt idx="18">
                  <c:v>0.12128108911384017</c:v>
                </c:pt>
                <c:pt idx="19">
                  <c:v>0.12186625980871187</c:v>
                </c:pt>
                <c:pt idx="20">
                  <c:v>0.12358418230181878</c:v>
                </c:pt>
                <c:pt idx="21">
                  <c:v>0.1285508034072711</c:v>
                </c:pt>
                <c:pt idx="22">
                  <c:v>0.12249296660021342</c:v>
                </c:pt>
                <c:pt idx="23">
                  <c:v>0.12178128015537971</c:v>
                </c:pt>
                <c:pt idx="24">
                  <c:v>0.12138024301314948</c:v>
                </c:pt>
                <c:pt idx="25">
                  <c:v>0.12696042816711997</c:v>
                </c:pt>
                <c:pt idx="26">
                  <c:v>0.12594486324244464</c:v>
                </c:pt>
                <c:pt idx="27">
                  <c:v>0.11764907017553164</c:v>
                </c:pt>
                <c:pt idx="28">
                  <c:v>0.11234709764434991</c:v>
                </c:pt>
                <c:pt idx="29">
                  <c:v>0.10501721609948603</c:v>
                </c:pt>
                <c:pt idx="30">
                  <c:v>0.11576753830946795</c:v>
                </c:pt>
                <c:pt idx="31">
                  <c:v>0.1268853273997858</c:v>
                </c:pt>
                <c:pt idx="32">
                  <c:v>0.11574520512946894</c:v>
                </c:pt>
                <c:pt idx="33">
                  <c:v>0.11645732043933796</c:v>
                </c:pt>
                <c:pt idx="34">
                  <c:v>0.12010087596145708</c:v>
                </c:pt>
                <c:pt idx="35">
                  <c:v>0.11751835483493854</c:v>
                </c:pt>
                <c:pt idx="36">
                  <c:v>0.11444192569025537</c:v>
                </c:pt>
                <c:pt idx="37">
                  <c:v>0.12045239021074497</c:v>
                </c:pt>
                <c:pt idx="38">
                  <c:v>0.13002856961017456</c:v>
                </c:pt>
                <c:pt idx="39">
                  <c:v>0.12845827598716122</c:v>
                </c:pt>
                <c:pt idx="40">
                  <c:v>0.12871089037924222</c:v>
                </c:pt>
                <c:pt idx="41">
                  <c:v>0.11425472732495646</c:v>
                </c:pt>
                <c:pt idx="42">
                  <c:v>0.11775154200751689</c:v>
                </c:pt>
                <c:pt idx="43">
                  <c:v>0.12482383200882244</c:v>
                </c:pt>
                <c:pt idx="44">
                  <c:v>0.1224752590945187</c:v>
                </c:pt>
                <c:pt idx="45">
                  <c:v>0.12547720573510524</c:v>
                </c:pt>
                <c:pt idx="46">
                  <c:v>0.12655048395147045</c:v>
                </c:pt>
                <c:pt idx="47">
                  <c:v>0.12146075732622348</c:v>
                </c:pt>
                <c:pt idx="48">
                  <c:v>0.12300672243230272</c:v>
                </c:pt>
                <c:pt idx="49">
                  <c:v>0.12052292545602018</c:v>
                </c:pt>
                <c:pt idx="50">
                  <c:v>0.11701083258075404</c:v>
                </c:pt>
                <c:pt idx="51">
                  <c:v>0.11757292956486629</c:v>
                </c:pt>
                <c:pt idx="52">
                  <c:v>0.14718827509904767</c:v>
                </c:pt>
                <c:pt idx="53">
                  <c:v>0.202685825098992</c:v>
                </c:pt>
                <c:pt idx="54">
                  <c:v>0.097316554567323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54.2763</c:v>
                </c:pt>
                <c:pt idx="1">
                  <c:v>342.4583</c:v>
                </c:pt>
                <c:pt idx="2">
                  <c:v>356.2165</c:v>
                </c:pt>
                <c:pt idx="3">
                  <c:v>362.6395</c:v>
                </c:pt>
                <c:pt idx="4">
                  <c:v>323.0435</c:v>
                </c:pt>
                <c:pt idx="5">
                  <c:v>329.099</c:v>
                </c:pt>
                <c:pt idx="6">
                  <c:v>338.1481</c:v>
                </c:pt>
                <c:pt idx="7">
                  <c:v>338.0392</c:v>
                </c:pt>
                <c:pt idx="8">
                  <c:v>325.7723</c:v>
                </c:pt>
                <c:pt idx="9">
                  <c:v>339.9397</c:v>
                </c:pt>
                <c:pt idx="10">
                  <c:v>376.6167</c:v>
                </c:pt>
                <c:pt idx="11">
                  <c:v>378.1148</c:v>
                </c:pt>
                <c:pt idx="12">
                  <c:v>355.3689</c:v>
                </c:pt>
                <c:pt idx="13">
                  <c:v>322.5517</c:v>
                </c:pt>
                <c:pt idx="14">
                  <c:v>344.5983</c:v>
                </c:pt>
                <c:pt idx="15">
                  <c:v>370.3708</c:v>
                </c:pt>
                <c:pt idx="16">
                  <c:v>373.0441</c:v>
                </c:pt>
                <c:pt idx="17">
                  <c:v>375.8868</c:v>
                </c:pt>
                <c:pt idx="18">
                  <c:v>343.6721</c:v>
                </c:pt>
                <c:pt idx="19">
                  <c:v>390.5385</c:v>
                </c:pt>
                <c:pt idx="20">
                  <c:v>379.1316</c:v>
                </c:pt>
                <c:pt idx="21">
                  <c:v>353.7805</c:v>
                </c:pt>
                <c:pt idx="22">
                  <c:v>382.9231</c:v>
                </c:pt>
                <c:pt idx="23">
                  <c:v>352.7143</c:v>
                </c:pt>
                <c:pt idx="24">
                  <c:v>369.8718</c:v>
                </c:pt>
                <c:pt idx="25">
                  <c:v>397.4815</c:v>
                </c:pt>
                <c:pt idx="26">
                  <c:v>413.0556</c:v>
                </c:pt>
                <c:pt idx="27">
                  <c:v>361.1818</c:v>
                </c:pt>
                <c:pt idx="28">
                  <c:v>386.3846</c:v>
                </c:pt>
                <c:pt idx="29">
                  <c:v>389.9444</c:v>
                </c:pt>
                <c:pt idx="30">
                  <c:v>399.6</c:v>
                </c:pt>
                <c:pt idx="31">
                  <c:v>363.5238</c:v>
                </c:pt>
                <c:pt idx="32">
                  <c:v>381.9667</c:v>
                </c:pt>
                <c:pt idx="33">
                  <c:v>363.7391</c:v>
                </c:pt>
                <c:pt idx="34">
                  <c:v>380.375</c:v>
                </c:pt>
                <c:pt idx="35">
                  <c:v>379.9091</c:v>
                </c:pt>
                <c:pt idx="36">
                  <c:v>387.5238</c:v>
                </c:pt>
                <c:pt idx="37">
                  <c:v>362.5789</c:v>
                </c:pt>
                <c:pt idx="38">
                  <c:v>363.619</c:v>
                </c:pt>
                <c:pt idx="39">
                  <c:v>381.0588</c:v>
                </c:pt>
                <c:pt idx="40">
                  <c:v>344.4118</c:v>
                </c:pt>
                <c:pt idx="41">
                  <c:v>331.8846</c:v>
                </c:pt>
                <c:pt idx="42">
                  <c:v>384.55</c:v>
                </c:pt>
                <c:pt idx="43">
                  <c:v>404.963</c:v>
                </c:pt>
                <c:pt idx="44">
                  <c:v>370.7143</c:v>
                </c:pt>
                <c:pt idx="45">
                  <c:v>342.5424</c:v>
                </c:pt>
                <c:pt idx="46">
                  <c:v>358.3774</c:v>
                </c:pt>
                <c:pt idx="47">
                  <c:v>378.5469</c:v>
                </c:pt>
                <c:pt idx="48">
                  <c:v>366.7523</c:v>
                </c:pt>
                <c:pt idx="49">
                  <c:v>353.0068</c:v>
                </c:pt>
                <c:pt idx="50">
                  <c:v>379.9091</c:v>
                </c:pt>
                <c:pt idx="51">
                  <c:v>401.75</c:v>
                </c:pt>
                <c:pt idx="52">
                  <c:v>383.3294</c:v>
                </c:pt>
                <c:pt idx="53">
                  <c:v>388.1463</c:v>
                </c:pt>
                <c:pt idx="54">
                  <c:v>393.7576</c:v>
                </c:pt>
                <c:pt idx="55">
                  <c:v>362.8356</c:v>
                </c:pt>
                <c:pt idx="56">
                  <c:v>335.3171</c:v>
                </c:pt>
                <c:pt idx="57">
                  <c:v>277.4609</c:v>
                </c:pt>
                <c:pt idx="58">
                  <c:v>352.1456</c:v>
                </c:pt>
                <c:pt idx="59">
                  <c:v>371.7184</c:v>
                </c:pt>
                <c:pt idx="60">
                  <c:v>355.0268</c:v>
                </c:pt>
                <c:pt idx="61">
                  <c:v>398.5505</c:v>
                </c:pt>
                <c:pt idx="62">
                  <c:v>413.8019</c:v>
                </c:pt>
                <c:pt idx="63">
                  <c:v>430.513</c:v>
                </c:pt>
                <c:pt idx="64">
                  <c:v>427.4507</c:v>
                </c:pt>
                <c:pt idx="65">
                  <c:v>420.7797</c:v>
                </c:pt>
                <c:pt idx="66">
                  <c:v>417.1028</c:v>
                </c:pt>
                <c:pt idx="67">
                  <c:v>423.9</c:v>
                </c:pt>
                <c:pt idx="68">
                  <c:v>437.1127</c:v>
                </c:pt>
                <c:pt idx="69">
                  <c:v>478.075</c:v>
                </c:pt>
                <c:pt idx="70">
                  <c:v>446.8857</c:v>
                </c:pt>
                <c:pt idx="71">
                  <c:v>442.3947</c:v>
                </c:pt>
                <c:pt idx="72">
                  <c:v>478.2432</c:v>
                </c:pt>
                <c:pt idx="73">
                  <c:v>478.0625</c:v>
                </c:pt>
                <c:pt idx="74">
                  <c:v>481.8571</c:v>
                </c:pt>
                <c:pt idx="75">
                  <c:v>501.7273</c:v>
                </c:pt>
                <c:pt idx="76">
                  <c:v>439.1667</c:v>
                </c:pt>
                <c:pt idx="77">
                  <c:v>475.85</c:v>
                </c:pt>
                <c:pt idx="78">
                  <c:v>445.4375</c:v>
                </c:pt>
                <c:pt idx="79">
                  <c:v>465.6875</c:v>
                </c:pt>
                <c:pt idx="80">
                  <c:v>472.1667</c:v>
                </c:pt>
                <c:pt idx="81">
                  <c:v>344.2222</c:v>
                </c:pt>
                <c:pt idx="82">
                  <c:v>468.7143</c:v>
                </c:pt>
                <c:pt idx="83">
                  <c:v>379.0</c:v>
                </c:pt>
                <c:pt idx="84">
                  <c:v>433.7143</c:v>
                </c:pt>
                <c:pt idx="85">
                  <c:v>409.6</c:v>
                </c:pt>
                <c:pt idx="86">
                  <c:v>453.0</c:v>
                </c:pt>
                <c:pt idx="87">
                  <c:v>514.5455</c:v>
                </c:pt>
                <c:pt idx="88">
                  <c:v>406.7</c:v>
                </c:pt>
                <c:pt idx="89">
                  <c:v>449.8333</c:v>
                </c:pt>
                <c:pt idx="90">
                  <c:v>370.25</c:v>
                </c:pt>
                <c:pt idx="91">
                  <c:v>390.5</c:v>
                </c:pt>
                <c:pt idx="92">
                  <c:v>437.0</c:v>
                </c:pt>
                <c:pt idx="93">
                  <c:v>489.8333</c:v>
                </c:pt>
                <c:pt idx="94">
                  <c:v>483.8889</c:v>
                </c:pt>
                <c:pt idx="95">
                  <c:v>520.7692</c:v>
                </c:pt>
                <c:pt idx="96">
                  <c:v>516.2632</c:v>
                </c:pt>
                <c:pt idx="97">
                  <c:v>454.6429</c:v>
                </c:pt>
                <c:pt idx="98">
                  <c:v>442.0294</c:v>
                </c:pt>
                <c:pt idx="99">
                  <c:v>475.4</c:v>
                </c:pt>
                <c:pt idx="100">
                  <c:v>432.2472</c:v>
                </c:pt>
                <c:pt idx="101">
                  <c:v>468.0926</c:v>
                </c:pt>
                <c:pt idx="102">
                  <c:v>496.3333</c:v>
                </c:pt>
                <c:pt idx="103">
                  <c:v>317.8</c:v>
                </c:pt>
                <c:pt idx="104">
                  <c:v>409.551</c:v>
                </c:pt>
              </c:numCache>
            </c:numRef>
          </c:xVal>
          <c:yVal>
            <c:numRef>
              <c:f>Sheet1!$B$2:$B$106</c:f>
              <c:numCache>
                <c:formatCode>General</c:formatCode>
                <c:ptCount val="105"/>
                <c:pt idx="0">
                  <c:v>0.17312072892938496</c:v>
                </c:pt>
                <c:pt idx="1">
                  <c:v>0.2029598308668076</c:v>
                </c:pt>
                <c:pt idx="2">
                  <c:v>0.20082815734989648</c:v>
                </c:pt>
                <c:pt idx="3">
                  <c:v>0.17551020408163265</c:v>
                </c:pt>
                <c:pt idx="4">
                  <c:v>0.2081447963800905</c:v>
                </c:pt>
                <c:pt idx="5">
                  <c:v>0.19611650485436893</c:v>
                </c:pt>
                <c:pt idx="6">
                  <c:v>0.226890756302521</c:v>
                </c:pt>
                <c:pt idx="7">
                  <c:v>0.2261640798226164</c:v>
                </c:pt>
                <c:pt idx="8">
                  <c:v>0.21443736730360935</c:v>
                </c:pt>
                <c:pt idx="9">
                  <c:v>0.20209059233449478</c:v>
                </c:pt>
                <c:pt idx="10">
                  <c:v>0.19575856443719414</c:v>
                </c:pt>
                <c:pt idx="11">
                  <c:v>0.20435510887772193</c:v>
                </c:pt>
                <c:pt idx="12">
                  <c:v>0.2099827882960413</c:v>
                </c:pt>
                <c:pt idx="13">
                  <c:v>0.2876984126984127</c:v>
                </c:pt>
                <c:pt idx="14">
                  <c:v>0.2565789473684211</c:v>
                </c:pt>
                <c:pt idx="15">
                  <c:v>0.19866071428571427</c:v>
                </c:pt>
                <c:pt idx="16">
                  <c:v>0.18181818181818182</c:v>
                </c:pt>
                <c:pt idx="17">
                  <c:v>0.14887640449438203</c:v>
                </c:pt>
                <c:pt idx="18">
                  <c:v>0.20469798657718122</c:v>
                </c:pt>
                <c:pt idx="19">
                  <c:v>0.1517509727626459</c:v>
                </c:pt>
                <c:pt idx="20">
                  <c:v>0.12179487179487179</c:v>
                </c:pt>
                <c:pt idx="21">
                  <c:v>0.1626984126984127</c:v>
                </c:pt>
                <c:pt idx="22">
                  <c:v>0.1902439024390244</c:v>
                </c:pt>
                <c:pt idx="23">
                  <c:v>0.19310344827586207</c:v>
                </c:pt>
                <c:pt idx="24">
                  <c:v>0.20855614973262032</c:v>
                </c:pt>
                <c:pt idx="25">
                  <c:v>0.18120805369127516</c:v>
                </c:pt>
                <c:pt idx="26">
                  <c:v>0.12</c:v>
                </c:pt>
                <c:pt idx="27">
                  <c:v>0.1793478260869565</c:v>
                </c:pt>
                <c:pt idx="28">
                  <c:v>0.16455696202531644</c:v>
                </c:pt>
                <c:pt idx="29">
                  <c:v>0.1125</c:v>
                </c:pt>
                <c:pt idx="30">
                  <c:v>0.12396694214876033</c:v>
                </c:pt>
                <c:pt idx="31">
                  <c:v>0.14482758620689656</c:v>
                </c:pt>
                <c:pt idx="32">
                  <c:v>0.2</c:v>
                </c:pt>
                <c:pt idx="33">
                  <c:v>0.12299465240641712</c:v>
                </c:pt>
                <c:pt idx="34">
                  <c:v>0.08791208791208792</c:v>
                </c:pt>
                <c:pt idx="35">
                  <c:v>0.1301775147928994</c:v>
                </c:pt>
                <c:pt idx="36">
                  <c:v>0.1206896551724138</c:v>
                </c:pt>
                <c:pt idx="37">
                  <c:v>0.10795454545454546</c:v>
                </c:pt>
                <c:pt idx="38">
                  <c:v>0.12280701754385964</c:v>
                </c:pt>
                <c:pt idx="39">
                  <c:v>0.1069182389937107</c:v>
                </c:pt>
                <c:pt idx="40">
                  <c:v>0.09289617486338798</c:v>
                </c:pt>
                <c:pt idx="41">
                  <c:v>0.12807881773399016</c:v>
                </c:pt>
                <c:pt idx="42">
                  <c:v>0.10256410256410256</c:v>
                </c:pt>
                <c:pt idx="43">
                  <c:v>0.1062992125984252</c:v>
                </c:pt>
                <c:pt idx="44">
                  <c:v>0.10986547085201794</c:v>
                </c:pt>
                <c:pt idx="45">
                  <c:v>0.11368015414258188</c:v>
                </c:pt>
                <c:pt idx="46">
                  <c:v>0.12325581395348838</c:v>
                </c:pt>
                <c:pt idx="47">
                  <c:v>0.1394335511982571</c:v>
                </c:pt>
                <c:pt idx="48">
                  <c:v>0.17927631578947367</c:v>
                </c:pt>
                <c:pt idx="49">
                  <c:v>0.21397379912663755</c:v>
                </c:pt>
                <c:pt idx="50">
                  <c:v>0.1673913043478261</c:v>
                </c:pt>
                <c:pt idx="51">
                  <c:v>0.1375921375921376</c:v>
                </c:pt>
                <c:pt idx="52">
                  <c:v>0.1693227091633466</c:v>
                </c:pt>
                <c:pt idx="53">
                  <c:v>0.18181818181818182</c:v>
                </c:pt>
                <c:pt idx="54">
                  <c:v>0.171875</c:v>
                </c:pt>
                <c:pt idx="55">
                  <c:v>0.1989100817438692</c:v>
                </c:pt>
                <c:pt idx="56">
                  <c:v>0.2222222222222222</c:v>
                </c:pt>
                <c:pt idx="57">
                  <c:v>0.23703703703703705</c:v>
                </c:pt>
                <c:pt idx="58">
                  <c:v>0.16996699669966997</c:v>
                </c:pt>
                <c:pt idx="59">
                  <c:v>0.16446124763705103</c:v>
                </c:pt>
                <c:pt idx="60">
                  <c:v>0.17009132420091325</c:v>
                </c:pt>
                <c:pt idx="61">
                  <c:v>0.15660919540229884</c:v>
                </c:pt>
                <c:pt idx="62">
                  <c:v>0.15497076023391812</c:v>
                </c:pt>
                <c:pt idx="63">
                  <c:v>0.20052083333333334</c:v>
                </c:pt>
                <c:pt idx="64">
                  <c:v>0.1655011655011655</c:v>
                </c:pt>
                <c:pt idx="65">
                  <c:v>0.15186615186615188</c:v>
                </c:pt>
                <c:pt idx="66">
                  <c:v>0.14343163538873996</c:v>
                </c:pt>
                <c:pt idx="67">
                  <c:v>0.11577424023154848</c:v>
                </c:pt>
                <c:pt idx="68">
                  <c:v>0.12633451957295375</c:v>
                </c:pt>
                <c:pt idx="69">
                  <c:v>0.11695906432748537</c:v>
                </c:pt>
                <c:pt idx="70">
                  <c:v>0.09358288770053476</c:v>
                </c:pt>
                <c:pt idx="71">
                  <c:v>0.10497237569060773</c:v>
                </c:pt>
                <c:pt idx="72">
                  <c:v>0.11044776119402985</c:v>
                </c:pt>
                <c:pt idx="73">
                  <c:v>0.10921501706484642</c:v>
                </c:pt>
                <c:pt idx="74">
                  <c:v>0.08333333333333333</c:v>
                </c:pt>
                <c:pt idx="75">
                  <c:v>0.10185185185185185</c:v>
                </c:pt>
                <c:pt idx="76">
                  <c:v>0.13043478260869565</c:v>
                </c:pt>
                <c:pt idx="77">
                  <c:v>0.10050251256281408</c:v>
                </c:pt>
                <c:pt idx="78">
                  <c:v>0.09876543209876543</c:v>
                </c:pt>
                <c:pt idx="79">
                  <c:v>0.10126582278481013</c:v>
                </c:pt>
                <c:pt idx="80">
                  <c:v>0.08823529411764706</c:v>
                </c:pt>
                <c:pt idx="81">
                  <c:v>0.0962566844919786</c:v>
                </c:pt>
                <c:pt idx="82">
                  <c:v>0.08536585365853659</c:v>
                </c:pt>
                <c:pt idx="83">
                  <c:v>0.09230769230769231</c:v>
                </c:pt>
                <c:pt idx="84">
                  <c:v>0.09929078014184398</c:v>
                </c:pt>
                <c:pt idx="85">
                  <c:v>0.09740259740259741</c:v>
                </c:pt>
                <c:pt idx="86">
                  <c:v>0.049723756906077346</c:v>
                </c:pt>
                <c:pt idx="87">
                  <c:v>0.06626506024096386</c:v>
                </c:pt>
                <c:pt idx="88">
                  <c:v>0.0684931506849315</c:v>
                </c:pt>
                <c:pt idx="89">
                  <c:v>0.08391608391608392</c:v>
                </c:pt>
                <c:pt idx="90">
                  <c:v>0.06896551724137931</c:v>
                </c:pt>
                <c:pt idx="91">
                  <c:v>0.07518796992481203</c:v>
                </c:pt>
                <c:pt idx="92">
                  <c:v>0.06315789473684211</c:v>
                </c:pt>
                <c:pt idx="93">
                  <c:v>0.05970149253731343</c:v>
                </c:pt>
                <c:pt idx="94">
                  <c:v>0.06766917293233082</c:v>
                </c:pt>
                <c:pt idx="95">
                  <c:v>0.05138339920948617</c:v>
                </c:pt>
                <c:pt idx="96">
                  <c:v>0.04859335038363171</c:v>
                </c:pt>
                <c:pt idx="97">
                  <c:v>0.07</c:v>
                </c:pt>
                <c:pt idx="98">
                  <c:v>0.0752212389380531</c:v>
                </c:pt>
                <c:pt idx="99">
                  <c:v>0.09940357852882704</c:v>
                </c:pt>
                <c:pt idx="100">
                  <c:v>0.10433763188745604</c:v>
                </c:pt>
                <c:pt idx="101">
                  <c:v>0.10609037328094302</c:v>
                </c:pt>
                <c:pt idx="102">
                  <c:v>0.08527131782945736</c:v>
                </c:pt>
                <c:pt idx="103">
                  <c:v>0.13541666666666666</c:v>
                </c:pt>
                <c:pt idx="104">
                  <c:v>0.102941176470588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numCache>
            </c:numRef>
          </c:xVal>
          <c:yVal>
            <c:numRef>
              <c:f>Sheet1!$B$109:$B$160</c:f>
              <c:numCache>
                <c:formatCode>General</c:formatCode>
                <c:ptCount val="52"/>
                <c:pt idx="0">
                  <c:v>0.09800362976406533</c:v>
                </c:pt>
                <c:pt idx="1">
                  <c:v>0.10303030303030303</c:v>
                </c:pt>
                <c:pt idx="2">
                  <c:v>0.10465116279069768</c:v>
                </c:pt>
                <c:pt idx="3">
                  <c:v>0.10720562390158173</c:v>
                </c:pt>
                <c:pt idx="4">
                  <c:v>0.13714285714285715</c:v>
                </c:pt>
                <c:pt idx="5">
                  <c:v>0.11530398322851153</c:v>
                </c:pt>
                <c:pt idx="6">
                  <c:v>0.10256410256410256</c:v>
                </c:pt>
                <c:pt idx="7">
                  <c:v>0.12832929782082325</c:v>
                </c:pt>
                <c:pt idx="8">
                  <c:v>0.11801242236024845</c:v>
                </c:pt>
                <c:pt idx="9">
                  <c:v>0.13588110403397027</c:v>
                </c:pt>
                <c:pt idx="10">
                  <c:v>0.16455696202531644</c:v>
                </c:pt>
                <c:pt idx="11">
                  <c:v>0.14332784184514002</c:v>
                </c:pt>
                <c:pt idx="12">
                  <c:v>0.1322314049586777</c:v>
                </c:pt>
                <c:pt idx="13">
                  <c:v>0.16875</c:v>
                </c:pt>
                <c:pt idx="14">
                  <c:v>0.1422319474835886</c:v>
                </c:pt>
                <c:pt idx="15">
                  <c:v>0.15294117647058825</c:v>
                </c:pt>
                <c:pt idx="16">
                  <c:v>0.1253731343283582</c:v>
                </c:pt>
                <c:pt idx="17">
                  <c:v>0.12937062937062938</c:v>
                </c:pt>
                <c:pt idx="18">
                  <c:v>0.12682926829268293</c:v>
                </c:pt>
                <c:pt idx="19">
                  <c:v>0.17525773195876287</c:v>
                </c:pt>
                <c:pt idx="20">
                  <c:v>0.16161616161616163</c:v>
                </c:pt>
                <c:pt idx="21">
                  <c:v>0.15508021390374332</c:v>
                </c:pt>
                <c:pt idx="22">
                  <c:v>0.12138728323699421</c:v>
                </c:pt>
                <c:pt idx="23">
                  <c:v>0.10273972602739725</c:v>
                </c:pt>
                <c:pt idx="24">
                  <c:v>0.15714285714285714</c:v>
                </c:pt>
                <c:pt idx="25">
                  <c:v>0.1487603305785124</c:v>
                </c:pt>
                <c:pt idx="26">
                  <c:v>0.11643835616438356</c:v>
                </c:pt>
                <c:pt idx="27">
                  <c:v>0.12857142857142856</c:v>
                </c:pt>
                <c:pt idx="28">
                  <c:v>0.10650887573964497</c:v>
                </c:pt>
                <c:pt idx="29">
                  <c:v>0.09090909090909091</c:v>
                </c:pt>
                <c:pt idx="30">
                  <c:v>0.09803921568627451</c:v>
                </c:pt>
                <c:pt idx="31">
                  <c:v>0.18181818181818182</c:v>
                </c:pt>
                <c:pt idx="32">
                  <c:v>0.1308411214953271</c:v>
                </c:pt>
                <c:pt idx="33">
                  <c:v>0.12878787878787878</c:v>
                </c:pt>
                <c:pt idx="34">
                  <c:v>0.125</c:v>
                </c:pt>
                <c:pt idx="35">
                  <c:v>0.11382113821138211</c:v>
                </c:pt>
                <c:pt idx="36">
                  <c:v>0.11594202898550725</c:v>
                </c:pt>
                <c:pt idx="37">
                  <c:v>0.08974358974358974</c:v>
                </c:pt>
                <c:pt idx="38">
                  <c:v>0.14492753623188406</c:v>
                </c:pt>
                <c:pt idx="39">
                  <c:v>0.061946902654867256</c:v>
                </c:pt>
                <c:pt idx="40">
                  <c:v>0.08917197452229299</c:v>
                </c:pt>
                <c:pt idx="41">
                  <c:v>0.06153846153846154</c:v>
                </c:pt>
                <c:pt idx="42">
                  <c:v>0.07017543859649122</c:v>
                </c:pt>
                <c:pt idx="43">
                  <c:v>0.0797872340425532</c:v>
                </c:pt>
                <c:pt idx="44">
                  <c:v>0.09665427509293681</c:v>
                </c:pt>
                <c:pt idx="45">
                  <c:v>0.10451977401129943</c:v>
                </c:pt>
                <c:pt idx="46">
                  <c:v>0.1070110701107011</c:v>
                </c:pt>
                <c:pt idx="47">
                  <c:v>0.09554140127388536</c:v>
                </c:pt>
                <c:pt idx="48">
                  <c:v>0.10407239819004525</c:v>
                </c:pt>
                <c:pt idx="49">
                  <c:v>0.1219047619047619</c:v>
                </c:pt>
                <c:pt idx="50">
                  <c:v>0.12729498164014688</c:v>
                </c:pt>
                <c:pt idx="51">
                  <c:v>0.145496535796766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2.7588738688946</c:v>
                </c:pt>
              </c:numCache>
            </c:numRef>
          </c:xVal>
          <c:yVal>
            <c:numRef>
              <c:f>Sheet1!$B$163:$B$164</c:f>
              <c:numCache>
                <c:formatCode>General</c:formatCode>
                <c:ptCount val="2"/>
                <c:pt idx="0">
                  <c:v>0.202685825098992</c:v>
                </c:pt>
                <c:pt idx="1">
                  <c:v>0.20268582509899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2.7588738688946</c:v>
                </c:pt>
                <c:pt idx="1">
                  <c:v>-632.7588738688946</c:v>
                </c:pt>
              </c:numCache>
            </c:numRef>
          </c:xVal>
          <c:yVal>
            <c:numRef>
              <c:f>Sheet1!$B$167:$B$168</c:f>
              <c:numCache>
                <c:formatCode>General</c:formatCode>
                <c:ptCount val="2"/>
                <c:pt idx="0">
                  <c:v>0.20268582509899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6.0392237910345</c:v>
                </c:pt>
              </c:numCache>
            </c:numRef>
          </c:xVal>
          <c:yVal>
            <c:numRef>
              <c:f>Sheet1!$B$171:$B$172</c:f>
              <c:numCache>
                <c:formatCode>General</c:formatCode>
                <c:ptCount val="2"/>
                <c:pt idx="0">
                  <c:v>0.14718827509904767</c:v>
                </c:pt>
                <c:pt idx="1">
                  <c:v>0.1471882750990476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6.0392237910345</c:v>
                </c:pt>
                <c:pt idx="1">
                  <c:v>126.0392237910345</c:v>
                </c:pt>
              </c:numCache>
            </c:numRef>
          </c:xVal>
          <c:yVal>
            <c:numRef>
              <c:f>Sheet1!$B$175:$B$176</c:f>
              <c:numCache>
                <c:formatCode>General</c:formatCode>
                <c:ptCount val="2"/>
                <c:pt idx="0">
                  <c:v>0.147188275099047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7.9173727640549</c:v>
                </c:pt>
              </c:numCache>
            </c:numRef>
          </c:xVal>
          <c:yVal>
            <c:numRef>
              <c:f>Sheet1!$B$179:$B$180</c:f>
              <c:numCache>
                <c:formatCode>General</c:formatCode>
                <c:ptCount val="2"/>
                <c:pt idx="0">
                  <c:v>0.09731655456732381</c:v>
                </c:pt>
                <c:pt idx="1">
                  <c:v>0.0973165545673238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7.9173727640549</c:v>
                </c:pt>
                <c:pt idx="1">
                  <c:v>807.9173727640549</c:v>
                </c:pt>
              </c:numCache>
            </c:numRef>
          </c:xVal>
          <c:yVal>
            <c:numRef>
              <c:f>Sheet1!$B$183:$B$184</c:f>
              <c:numCache>
                <c:formatCode>General</c:formatCode>
                <c:ptCount val="2"/>
                <c:pt idx="0">
                  <c:v>0.097316554567323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482.7037</c:v>
                </c:pt>
                <c:pt idx="14">
                  <c:v>537.8154</c:v>
                </c:pt>
                <c:pt idx="15">
                  <c:v>496.0923</c:v>
                </c:pt>
                <c:pt idx="16">
                  <c:v>537.0</c:v>
                </c:pt>
                <c:pt idx="17">
                  <c:v>487.5676</c:v>
                </c:pt>
                <c:pt idx="18">
                  <c:v>518.7308</c:v>
                </c:pt>
                <c:pt idx="19">
                  <c:v>491.5294</c:v>
                </c:pt>
                <c:pt idx="20">
                  <c:v>485.5938</c:v>
                </c:pt>
                <c:pt idx="21">
                  <c:v>474.3103</c:v>
                </c:pt>
                <c:pt idx="22">
                  <c:v>506.7619</c:v>
                </c:pt>
                <c:pt idx="23">
                  <c:v>496.5333</c:v>
                </c:pt>
                <c:pt idx="24">
                  <c:v>496.4545</c:v>
                </c:pt>
                <c:pt idx="25">
                  <c:v>477.2222</c:v>
                </c:pt>
                <c:pt idx="26">
                  <c:v>469.1765</c:v>
                </c:pt>
                <c:pt idx="27">
                  <c:v>525.8333</c:v>
                </c:pt>
                <c:pt idx="28">
                  <c:v>496.7778</c:v>
                </c:pt>
                <c:pt idx="29">
                  <c:v>477.0833</c:v>
                </c:pt>
                <c:pt idx="30">
                  <c:v>489.0</c:v>
                </c:pt>
                <c:pt idx="31">
                  <c:v>423.6667</c:v>
                </c:pt>
                <c:pt idx="32">
                  <c:v>475.0714</c:v>
                </c:pt>
                <c:pt idx="33">
                  <c:v>493.0588</c:v>
                </c:pt>
                <c:pt idx="34">
                  <c:v>487.1579</c:v>
                </c:pt>
                <c:pt idx="35">
                  <c:v>533.8571</c:v>
                </c:pt>
                <c:pt idx="36">
                  <c:v>550.625</c:v>
                </c:pt>
                <c:pt idx="37">
                  <c:v>506.1429</c:v>
                </c:pt>
                <c:pt idx="38">
                  <c:v>471.8</c:v>
                </c:pt>
                <c:pt idx="39">
                  <c:v>485.5714</c:v>
                </c:pt>
                <c:pt idx="40">
                  <c:v>456.3571</c:v>
                </c:pt>
                <c:pt idx="41">
                  <c:v>580.875</c:v>
                </c:pt>
                <c:pt idx="42">
                  <c:v>547.25</c:v>
                </c:pt>
                <c:pt idx="43">
                  <c:v>429.3333</c:v>
                </c:pt>
                <c:pt idx="44">
                  <c:v>404.1923</c:v>
                </c:pt>
                <c:pt idx="45">
                  <c:v>431.4595</c:v>
                </c:pt>
                <c:pt idx="46">
                  <c:v>432.6552</c:v>
                </c:pt>
                <c:pt idx="47">
                  <c:v>480.1667</c:v>
                </c:pt>
                <c:pt idx="48">
                  <c:v>462.3043</c:v>
                </c:pt>
                <c:pt idx="49">
                  <c:v>465.2344</c:v>
                </c:pt>
                <c:pt idx="50">
                  <c:v>458.875</c:v>
                </c:pt>
                <c:pt idx="51">
                  <c:v>456.8571</c:v>
                </c:pt>
                <c:pt idx="52">
                  <c:v>126.0392237910345</c:v>
                </c:pt>
                <c:pt idx="53">
                  <c:v>-632.7588738688946</c:v>
                </c:pt>
                <c:pt idx="54">
                  <c:v>807.9173727640549</c:v>
                </c:pt>
              </c:numCache>
            </c:numRef>
          </c:xVal>
          <c:yVal>
            <c:numRef>
              <c:f>Sheet1!$B$187:$B$241</c:f>
              <c:numCache>
                <c:formatCode>General</c:formatCode>
                <c:ptCount val="55"/>
                <c:pt idx="0">
                  <c:v>0.12233209206954722</c:v>
                </c:pt>
                <c:pt idx="1">
                  <c:v>0.12019290043685305</c:v>
                </c:pt>
                <c:pt idx="2">
                  <c:v>0.12118624909858369</c:v>
                </c:pt>
                <c:pt idx="3">
                  <c:v>0.12193069925491842</c:v>
                </c:pt>
                <c:pt idx="4">
                  <c:v>0.12362116266917779</c:v>
                </c:pt>
                <c:pt idx="5">
                  <c:v>0.12224417928312135</c:v>
                </c:pt>
                <c:pt idx="6">
                  <c:v>0.12208411511249488</c:v>
                </c:pt>
                <c:pt idx="7">
                  <c:v>0.1234555472668627</c:v>
                </c:pt>
                <c:pt idx="8">
                  <c:v>0.12325296022266884</c:v>
                </c:pt>
                <c:pt idx="9">
                  <c:v>0.1200223774239147</c:v>
                </c:pt>
                <c:pt idx="10">
                  <c:v>0.11876548787755148</c:v>
                </c:pt>
                <c:pt idx="11">
                  <c:v>0.12084437660474805</c:v>
                </c:pt>
                <c:pt idx="12">
                  <c:v>0.12247252579768059</c:v>
                </c:pt>
                <c:pt idx="13">
                  <c:v>0.12110227849118307</c:v>
                </c:pt>
                <c:pt idx="14">
                  <c:v>0.11707147723355699</c:v>
                </c:pt>
                <c:pt idx="15">
                  <c:v>0.12012305292351136</c:v>
                </c:pt>
                <c:pt idx="16">
                  <c:v>0.11713111457636202</c:v>
                </c:pt>
                <c:pt idx="17">
                  <c:v>0.12074653888893949</c:v>
                </c:pt>
                <c:pt idx="18">
                  <c:v>0.1184673011635263</c:v>
                </c:pt>
                <c:pt idx="19">
                  <c:v>0.12045677775976976</c:v>
                </c:pt>
                <c:pt idx="20">
                  <c:v>0.12089090016834664</c:v>
                </c:pt>
                <c:pt idx="21">
                  <c:v>0.12171616133776118</c:v>
                </c:pt>
                <c:pt idx="22">
                  <c:v>0.11934269163728053</c:v>
                </c:pt>
                <c:pt idx="23">
                  <c:v>0.12009079873148656</c:v>
                </c:pt>
                <c:pt idx="24">
                  <c:v>0.12009656206557173</c:v>
                </c:pt>
                <c:pt idx="25">
                  <c:v>0.12150318859001286</c:v>
                </c:pt>
                <c:pt idx="26">
                  <c:v>0.122091641090634</c:v>
                </c:pt>
                <c:pt idx="27">
                  <c:v>0.11794783313890922</c:v>
                </c:pt>
                <c:pt idx="28">
                  <c:v>0.12007291630529596</c:v>
                </c:pt>
                <c:pt idx="29">
                  <c:v>0.1215133475634193</c:v>
                </c:pt>
                <c:pt idx="30">
                  <c:v>0.1206417749328027</c:v>
                </c:pt>
                <c:pt idx="31">
                  <c:v>0.12542017131333286</c:v>
                </c:pt>
                <c:pt idx="32">
                  <c:v>0.12166049542948437</c:v>
                </c:pt>
                <c:pt idx="33">
                  <c:v>0.12034491934416267</c:v>
                </c:pt>
                <c:pt idx="34">
                  <c:v>0.12077650383785686</c:v>
                </c:pt>
                <c:pt idx="35">
                  <c:v>0.1173609823770757</c:v>
                </c:pt>
                <c:pt idx="36">
                  <c:v>0.11613459900643483</c:v>
                </c:pt>
                <c:pt idx="37">
                  <c:v>0.11938796452812714</c:v>
                </c:pt>
                <c:pt idx="38">
                  <c:v>0.12189976156052729</c:v>
                </c:pt>
                <c:pt idx="39">
                  <c:v>0.12089253847651296</c:v>
                </c:pt>
                <c:pt idx="40">
                  <c:v>0.12302923607757892</c:v>
                </c:pt>
                <c:pt idx="41">
                  <c:v>0.11392215159430294</c:v>
                </c:pt>
                <c:pt idx="42">
                  <c:v>0.11638144231274708</c:v>
                </c:pt>
                <c:pt idx="43">
                  <c:v>0.12500572323050355</c:v>
                </c:pt>
                <c:pt idx="44">
                  <c:v>0.12684450473094677</c:v>
                </c:pt>
                <c:pt idx="45">
                  <c:v>0.1248502156044647</c:v>
                </c:pt>
                <c:pt idx="46">
                  <c:v>0.12476276359221061</c:v>
                </c:pt>
                <c:pt idx="47">
                  <c:v>0.12128783151877245</c:v>
                </c:pt>
                <c:pt idx="48">
                  <c:v>0.12259426525941591</c:v>
                </c:pt>
                <c:pt idx="49">
                  <c:v>0.12237996138628243</c:v>
                </c:pt>
                <c:pt idx="50">
                  <c:v>0.12284508000025637</c:v>
                </c:pt>
                <c:pt idx="51">
                  <c:v>0.122992666698866</c:v>
                </c:pt>
                <c:pt idx="52">
                  <c:v>0.14718827509904767</c:v>
                </c:pt>
                <c:pt idx="53">
                  <c:v>0.202685825098992</c:v>
                </c:pt>
                <c:pt idx="54">
                  <c:v>0.097316554567323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52380952380952"/>
          <c:min val="0.038874680306905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9</c:f>
              <c:numCache>
                <c:formatCode>General</c:formatCode>
                <c:ptCount val="16"/>
                <c:pt idx="0">
                  <c:v>0.0</c:v>
                </c:pt>
                <c:pt idx="1">
                  <c:v>0.0</c:v>
                </c:pt>
                <c:pt idx="2">
                  <c:v>0.0</c:v>
                </c:pt>
                <c:pt idx="3">
                  <c:v>0.0</c:v>
                </c:pt>
                <c:pt idx="4">
                  <c:v>0.0</c:v>
                </c:pt>
                <c:pt idx="5">
                  <c:v>0.35083722519649163</c:v>
                </c:pt>
                <c:pt idx="6">
                  <c:v>0.0</c:v>
                </c:pt>
                <c:pt idx="7">
                  <c:v>0.43413082898571553</c:v>
                </c:pt>
                <c:pt idx="8">
                  <c:v>0.4095003929710277</c:v>
                </c:pt>
                <c:pt idx="9">
                  <c:v>0.39460136152969755</c:v>
                </c:pt>
                <c:pt idx="10">
                  <c:v>0.38308844595424224</c:v>
                </c:pt>
                <c:pt idx="11">
                  <c:v>0.3729413212004921</c:v>
                </c:pt>
                <c:pt idx="12">
                  <c:v>0.3793149704882847</c:v>
                </c:pt>
                <c:pt idx="13">
                  <c:v>0.4289092884191438</c:v>
                </c:pt>
                <c:pt idx="14">
                  <c:v>0.47288968938891085</c:v>
                </c:pt>
                <c:pt idx="15">
                  <c:v>0.6008054963278844</c:v>
                </c:pt>
              </c:numCache>
            </c:numRef>
          </c:xVal>
          <c:yVal>
            <c:numRef>
              <c:f>Sheet1!$B$4:$B$19</c:f>
              <c:numCache>
                <c:formatCode>General</c:formatCode>
                <c:ptCount val="16"/>
                <c:pt idx="0">
                  <c:v>0.0</c:v>
                </c:pt>
                <c:pt idx="1">
                  <c:v>0.0</c:v>
                </c:pt>
                <c:pt idx="2">
                  <c:v>0.0</c:v>
                </c:pt>
                <c:pt idx="3">
                  <c:v>0.0</c:v>
                </c:pt>
                <c:pt idx="4">
                  <c:v>0.0</c:v>
                </c:pt>
                <c:pt idx="5">
                  <c:v>0.027777777777777776</c:v>
                </c:pt>
                <c:pt idx="6">
                  <c:v>0.0</c:v>
                </c:pt>
                <c:pt idx="7">
                  <c:v>0.018518518518518517</c:v>
                </c:pt>
                <c:pt idx="8">
                  <c:v>0.01818181818181818</c:v>
                </c:pt>
                <c:pt idx="9">
                  <c:v>0.018867924528301886</c:v>
                </c:pt>
                <c:pt idx="10">
                  <c:v>0.0196078431372549</c:v>
                </c:pt>
                <c:pt idx="11">
                  <c:v>0.03773584905660377</c:v>
                </c:pt>
                <c:pt idx="12">
                  <c:v>0.02702702702702703</c:v>
                </c:pt>
                <c:pt idx="13">
                  <c:v>0.02666666666666667</c:v>
                </c:pt>
                <c:pt idx="14">
                  <c:v>0.041666666666666664</c:v>
                </c:pt>
                <c:pt idx="15">
                  <c:v>0.018867924528301886</c:v>
                </c:pt>
              </c:numCache>
            </c:numRef>
          </c:yVal>
          <c:smooth val="0"/>
          <c:extLst>
            <c:ext xmlns:c16="http://schemas.microsoft.com/office/drawing/2014/chart" uri="{C3380CC4-5D6E-409C-BE32-E72D297353CC}">
              <c16:uniqueId val="{00000002-096C-4121-9522-6AB7243CCAAE}"/>
            </c:ext>
          </c:extLst>
        </c:ser>
        <c:ser>
          <c:idx val="2"/>
          <c:order val="2"/>
          <c:tx>
            <c:strRef>
              <c:f>Sheet1!$B$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2:$A$23</c:f>
              <c:numCache>
                <c:formatCode>General</c:formatCode>
                <c:ptCount val="2"/>
                <c:pt idx="0">
                  <c:v>0</c:v>
                </c:pt>
                <c:pt idx="1">
                  <c:v>0.4923656825107686</c:v>
                </c:pt>
              </c:numCache>
            </c:numRef>
          </c:xVal>
          <c:yVal>
            <c:numRef>
              <c:f>Sheet1!$B$22:$B$23</c:f>
              <c:numCache>
                <c:formatCode>General</c:formatCode>
                <c:ptCount val="2"/>
                <c:pt idx="0">
                  <c:v>0.02855707122216556</c:v>
                </c:pt>
                <c:pt idx="1">
                  <c:v>0.02855707122216556</c:v>
                </c:pt>
              </c:numCache>
            </c:numRef>
          </c:yVal>
          <c:smooth val="0"/>
          <c:extLst>
            <c:ext xmlns:c16="http://schemas.microsoft.com/office/drawing/2014/chart" uri="{C3380CC4-5D6E-409C-BE32-E72D297353CC}">
              <c16:uniqueId val="{00000005-096C-4121-9522-6AB7243CCAAE}"/>
            </c:ext>
          </c:extLst>
        </c:ser>
        <c:ser>
          <c:idx val="3"/>
          <c:order val="3"/>
          <c:tx>
            <c:strRef>
              <c:f>Sheet1!$B$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4923656825107686</c:v>
                </c:pt>
                <c:pt idx="1">
                  <c:v>0.4923656825107686</c:v>
                </c:pt>
              </c:numCache>
            </c:numRef>
          </c:xVal>
          <c:yVal>
            <c:numRef>
              <c:f>Sheet1!$B$26:$B$27</c:f>
              <c:numCache>
                <c:formatCode>General</c:formatCode>
                <c:ptCount val="2"/>
                <c:pt idx="0">
                  <c:v>0.028557071222165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0:$A$31</c:f>
              <c:numCache>
                <c:formatCode>General</c:formatCode>
                <c:ptCount val="2"/>
                <c:pt idx="0">
                  <c:v>0</c:v>
                </c:pt>
                <c:pt idx="1">
                  <c:v>0.4923656825107686</c:v>
                </c:pt>
              </c:numCache>
            </c:numRef>
          </c:xVal>
          <c:yVal>
            <c:numRef>
              <c:f>Sheet1!$B$30:$B$31</c:f>
              <c:numCache>
                <c:formatCode>General</c:formatCode>
                <c:ptCount val="2"/>
                <c:pt idx="0">
                  <c:v>0.02855707122216556</c:v>
                </c:pt>
                <c:pt idx="1">
                  <c:v>0.02855707122216556</c:v>
                </c:pt>
              </c:numCache>
            </c:numRef>
          </c:yVal>
          <c:smooth val="0"/>
          <c:extLst>
            <c:ext xmlns:c16="http://schemas.microsoft.com/office/drawing/2014/chart" uri="{C3380CC4-5D6E-409C-BE32-E72D297353CC}">
              <c16:uniqueId val="{0000000D-096C-4121-9522-6AB7243CCAAE}"/>
            </c:ext>
          </c:extLst>
        </c:ser>
        <c:ser>
          <c:idx val="5"/>
          <c:order val="5"/>
          <c:tx>
            <c:strRef>
              <c:f>Sheet1!$B$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4:$A$35</c:f>
              <c:numCache>
                <c:formatCode>General</c:formatCode>
                <c:ptCount val="2"/>
                <c:pt idx="0">
                  <c:v>0.4923656825107686</c:v>
                </c:pt>
                <c:pt idx="1">
                  <c:v>0.4923656825107686</c:v>
                </c:pt>
              </c:numCache>
            </c:numRef>
          </c:xVal>
          <c:yVal>
            <c:numRef>
              <c:f>Sheet1!$B$34:$B$35</c:f>
              <c:numCache>
                <c:formatCode>General</c:formatCode>
                <c:ptCount val="2"/>
                <c:pt idx="0">
                  <c:v>0.028557071222165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8:$A$39</c:f>
              <c:numCache>
                <c:formatCode>General</c:formatCode>
                <c:ptCount val="2"/>
                <c:pt idx="0">
                  <c:v>0</c:v>
                </c:pt>
                <c:pt idx="1">
                  <c:v>0.3306408945716338</c:v>
                </c:pt>
              </c:numCache>
            </c:numRef>
          </c:xVal>
          <c:yVal>
            <c:numRef>
              <c:f>Sheet1!$B$38:$B$39</c:f>
              <c:numCache>
                <c:formatCode>General</c:formatCode>
                <c:ptCount val="2"/>
                <c:pt idx="0">
                  <c:v>0.019609078160687483</c:v>
                </c:pt>
                <c:pt idx="1">
                  <c:v>0.019609078160687483</c:v>
                </c:pt>
              </c:numCache>
            </c:numRef>
          </c:yVal>
          <c:smooth val="0"/>
          <c:extLst>
            <c:ext xmlns:c16="http://schemas.microsoft.com/office/drawing/2014/chart" uri="{C3380CC4-5D6E-409C-BE32-E72D297353CC}">
              <c16:uniqueId val="{00000015-096C-4121-9522-6AB7243CCAAE}"/>
            </c:ext>
          </c:extLst>
        </c:ser>
        <c:ser>
          <c:idx val="7"/>
          <c:order val="7"/>
          <c:tx>
            <c:strRef>
              <c:f>Sheet1!$B$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0.3306408945716338</c:v>
                </c:pt>
                <c:pt idx="1">
                  <c:v>0.3306408945716338</c:v>
                </c:pt>
              </c:numCache>
            </c:numRef>
          </c:xVal>
          <c:yVal>
            <c:numRef>
              <c:f>Sheet1!$B$42:$B$43</c:f>
              <c:numCache>
                <c:formatCode>General</c:formatCode>
                <c:ptCount val="2"/>
                <c:pt idx="0">
                  <c:v>0.0196090781606874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6:$A$64</c:f>
              <c:numCache>
                <c:formatCode>General</c:formatCode>
                <c:ptCount val="19"/>
                <c:pt idx="0">
                  <c:v>0.0</c:v>
                </c:pt>
                <c:pt idx="1">
                  <c:v>0.0</c:v>
                </c:pt>
                <c:pt idx="2">
                  <c:v>0.0</c:v>
                </c:pt>
                <c:pt idx="3">
                  <c:v>0.0</c:v>
                </c:pt>
                <c:pt idx="4">
                  <c:v>0.0</c:v>
                </c:pt>
                <c:pt idx="5">
                  <c:v>0.35083722519649163</c:v>
                </c:pt>
                <c:pt idx="6">
                  <c:v>0.0</c:v>
                </c:pt>
                <c:pt idx="7">
                  <c:v>0.43413082898571553</c:v>
                </c:pt>
                <c:pt idx="8">
                  <c:v>0.4095003929710277</c:v>
                </c:pt>
                <c:pt idx="9">
                  <c:v>0.39460136152969755</c:v>
                </c:pt>
                <c:pt idx="10">
                  <c:v>0.38308844595424224</c:v>
                </c:pt>
                <c:pt idx="11">
                  <c:v>0.3729413212004921</c:v>
                </c:pt>
                <c:pt idx="12">
                  <c:v>0.3793149704882847</c:v>
                </c:pt>
                <c:pt idx="13">
                  <c:v>0.4289092884191438</c:v>
                </c:pt>
                <c:pt idx="14">
                  <c:v>0.47288968938891085</c:v>
                </c:pt>
                <c:pt idx="15">
                  <c:v>0.6008054963278844</c:v>
                </c:pt>
                <c:pt idx="16">
                  <c:v>0.4923656825107686</c:v>
                </c:pt>
                <c:pt idx="17">
                  <c:v>0.4923656825107686</c:v>
                </c:pt>
                <c:pt idx="18">
                  <c:v>0.3306408945716338</c:v>
                </c:pt>
              </c:numCache>
            </c:numRef>
          </c:xVal>
          <c:yVal>
            <c:numRef>
              <c:f>Sheet1!$B$46:$B$64</c:f>
              <c:numCache>
                <c:formatCode>General</c:formatCode>
                <c:ptCount val="19"/>
                <c:pt idx="0">
                  <c:v>0.0013152070221373155</c:v>
                </c:pt>
                <c:pt idx="1">
                  <c:v>0.0013152070221373155</c:v>
                </c:pt>
                <c:pt idx="2">
                  <c:v>0.0013152070221373155</c:v>
                </c:pt>
                <c:pt idx="3">
                  <c:v>0.0013152070221373155</c:v>
                </c:pt>
                <c:pt idx="4">
                  <c:v>0.0013152070221373155</c:v>
                </c:pt>
                <c:pt idx="5">
                  <c:v>0.02072651123079024</c:v>
                </c:pt>
                <c:pt idx="6">
                  <c:v>0.0013152070221373155</c:v>
                </c:pt>
                <c:pt idx="7">
                  <c:v>0.025335023001119335</c:v>
                </c:pt>
                <c:pt idx="8">
                  <c:v>0.023972257445083786</c:v>
                </c:pt>
                <c:pt idx="9">
                  <c:v>0.023147916095445167</c:v>
                </c:pt>
                <c:pt idx="10">
                  <c:v>0.022510923523067654</c:v>
                </c:pt>
                <c:pt idx="11">
                  <c:v>0.021949498134618977</c:v>
                </c:pt>
                <c:pt idx="12">
                  <c:v>0.022302142712671703</c:v>
                </c:pt>
                <c:pt idx="13">
                  <c:v>0.025046122892760595</c:v>
                </c:pt>
                <c:pt idx="14">
                  <c:v>0.027479493359547708</c:v>
                </c:pt>
                <c:pt idx="15">
                  <c:v>0.03455688556100833</c:v>
                </c:pt>
                <c:pt idx="16">
                  <c:v>0.02855707122216556</c:v>
                </c:pt>
                <c:pt idx="17">
                  <c:v>0.02855707122216556</c:v>
                </c:pt>
                <c:pt idx="18">
                  <c:v>0.0196090781606874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99999999999999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9</c:f>
              <c:numCache>
                <c:formatCode>General</c:formatCode>
                <c:ptCount val="16"/>
                <c:pt idx="0">
                  <c:v>0.0</c:v>
                </c:pt>
                <c:pt idx="1">
                  <c:v>0.0</c:v>
                </c:pt>
                <c:pt idx="2">
                  <c:v>0.0</c:v>
                </c:pt>
                <c:pt idx="3">
                  <c:v>0.0</c:v>
                </c:pt>
                <c:pt idx="4">
                  <c:v>0.0</c:v>
                </c:pt>
                <c:pt idx="5">
                  <c:v>3465.0</c:v>
                </c:pt>
                <c:pt idx="6">
                  <c:v>0.0</c:v>
                </c:pt>
                <c:pt idx="7">
                  <c:v>4157.0</c:v>
                </c:pt>
                <c:pt idx="8">
                  <c:v>4058.0</c:v>
                </c:pt>
                <c:pt idx="9">
                  <c:v>4557.0</c:v>
                </c:pt>
                <c:pt idx="10">
                  <c:v>5616.0</c:v>
                </c:pt>
                <c:pt idx="11">
                  <c:v>4344.5</c:v>
                </c:pt>
                <c:pt idx="12">
                  <c:v>4241.5</c:v>
                </c:pt>
                <c:pt idx="13">
                  <c:v>4479.5</c:v>
                </c:pt>
                <c:pt idx="14">
                  <c:v>4861.0</c:v>
                </c:pt>
                <c:pt idx="15">
                  <c:v>6340.0</c:v>
                </c:pt>
              </c:numCache>
            </c:numRef>
          </c:xVal>
          <c:yVal>
            <c:numRef>
              <c:f>Sheet1!$B$4:$B$19</c:f>
              <c:numCache>
                <c:formatCode>General</c:formatCode>
                <c:ptCount val="16"/>
                <c:pt idx="0">
                  <c:v>0.0</c:v>
                </c:pt>
                <c:pt idx="1">
                  <c:v>0.0</c:v>
                </c:pt>
                <c:pt idx="2">
                  <c:v>0.0</c:v>
                </c:pt>
                <c:pt idx="3">
                  <c:v>0.0</c:v>
                </c:pt>
                <c:pt idx="4">
                  <c:v>0.0</c:v>
                </c:pt>
                <c:pt idx="5">
                  <c:v>0.027777777777777776</c:v>
                </c:pt>
                <c:pt idx="6">
                  <c:v>0.0</c:v>
                </c:pt>
                <c:pt idx="7">
                  <c:v>0.018518518518518517</c:v>
                </c:pt>
                <c:pt idx="8">
                  <c:v>0.01818181818181818</c:v>
                </c:pt>
                <c:pt idx="9">
                  <c:v>0.018867924528301886</c:v>
                </c:pt>
                <c:pt idx="10">
                  <c:v>0.0196078431372549</c:v>
                </c:pt>
                <c:pt idx="11">
                  <c:v>0.03773584905660377</c:v>
                </c:pt>
                <c:pt idx="12">
                  <c:v>0.02702702702702703</c:v>
                </c:pt>
                <c:pt idx="13">
                  <c:v>0.02666666666666667</c:v>
                </c:pt>
                <c:pt idx="14">
                  <c:v>0.041666666666666664</c:v>
                </c:pt>
                <c:pt idx="15">
                  <c:v>0.018867924528301886</c:v>
                </c:pt>
              </c:numCache>
            </c:numRef>
          </c:yVal>
          <c:smooth val="0"/>
          <c:extLst>
            <c:ext xmlns:c16="http://schemas.microsoft.com/office/drawing/2014/chart" uri="{C3380CC4-5D6E-409C-BE32-E72D297353CC}">
              <c16:uniqueId val="{00000002-F32D-48B7-BC20-E66FC6253BAD}"/>
            </c:ext>
          </c:extLst>
        </c:ser>
        <c:ser>
          <c:idx val="2"/>
          <c:order val="2"/>
          <c:tx>
            <c:strRef>
              <c:f>Sheet1!$B$21</c:f>
              <c:strCache>
                <c:ptCount val="1"/>
                <c:pt idx="0">
                  <c:v>Custom Linep3yQ</c:v>
                </c:pt>
              </c:strCache>
            </c:strRef>
          </c:tx>
          <c:spPr>
            <a:ln w="19050" cap="rnd">
              <a:solidFill>
                <a:srgbClr val="C00000"/>
              </a:solidFill>
              <a:prstDash val="sysDot"/>
              <a:round/>
            </a:ln>
            <a:effectLst/>
          </c:spPr>
          <c:marker>
            <c:symbol val="none"/>
          </c:marker>
          <c:xVal>
            <c:numRef>
              <c:f>Sheet1!$A$22:$A$23</c:f>
              <c:numCache>
                <c:formatCode>General</c:formatCode>
                <c:ptCount val="2"/>
                <c:pt idx="0">
                  <c:v>0</c:v>
                </c:pt>
                <c:pt idx="1">
                  <c:v>5412.556541951115</c:v>
                </c:pt>
              </c:numCache>
            </c:numRef>
          </c:xVal>
          <c:yVal>
            <c:numRef>
              <c:f>Sheet1!$B$22:$B$23</c:f>
              <c:numCache>
                <c:formatCode>General</c:formatCode>
                <c:ptCount val="2"/>
                <c:pt idx="0">
                  <c:v>0.02855707122216556</c:v>
                </c:pt>
                <c:pt idx="1">
                  <c:v>0.02855707122216556</c:v>
                </c:pt>
              </c:numCache>
            </c:numRef>
          </c:yVal>
          <c:smooth val="0"/>
          <c:extLst>
            <c:ext xmlns:c16="http://schemas.microsoft.com/office/drawing/2014/chart" uri="{C3380CC4-5D6E-409C-BE32-E72D297353CC}">
              <c16:uniqueId val="{00000003-F32D-48B7-BC20-E66FC6253BAD}"/>
            </c:ext>
          </c:extLst>
        </c:ser>
        <c:ser>
          <c:idx val="3"/>
          <c:order val="3"/>
          <c:tx>
            <c:strRef>
              <c:f>Sheet1!$B$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5412.556541951115</c:v>
                </c:pt>
                <c:pt idx="1">
                  <c:v>5412.556541951115</c:v>
                </c:pt>
              </c:numCache>
            </c:numRef>
          </c:xVal>
          <c:yVal>
            <c:numRef>
              <c:f>Sheet1!$B$26:$B$27</c:f>
              <c:numCache>
                <c:formatCode>General</c:formatCode>
                <c:ptCount val="2"/>
                <c:pt idx="0">
                  <c:v>0.028557071222165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0:$A$31</c:f>
              <c:numCache>
                <c:formatCode>General</c:formatCode>
                <c:ptCount val="2"/>
                <c:pt idx="0">
                  <c:v>0</c:v>
                </c:pt>
                <c:pt idx="1">
                  <c:v>5412.556541951115</c:v>
                </c:pt>
              </c:numCache>
            </c:numRef>
          </c:xVal>
          <c:yVal>
            <c:numRef>
              <c:f>Sheet1!$B$30:$B$31</c:f>
              <c:numCache>
                <c:formatCode>General</c:formatCode>
                <c:ptCount val="2"/>
                <c:pt idx="0">
                  <c:v>0.02855707122216556</c:v>
                </c:pt>
                <c:pt idx="1">
                  <c:v>0.02855707122216556</c:v>
                </c:pt>
              </c:numCache>
            </c:numRef>
          </c:yVal>
          <c:smooth val="0"/>
          <c:extLst>
            <c:ext xmlns:c16="http://schemas.microsoft.com/office/drawing/2014/chart" uri="{C3380CC4-5D6E-409C-BE32-E72D297353CC}">
              <c16:uniqueId val="{0000000A-F32D-48B7-BC20-E66FC6253BAD}"/>
            </c:ext>
          </c:extLst>
        </c:ser>
        <c:ser>
          <c:idx val="5"/>
          <c:order val="5"/>
          <c:tx>
            <c:strRef>
              <c:f>Sheet1!$B$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4:$A$35</c:f>
              <c:numCache>
                <c:formatCode>General</c:formatCode>
                <c:ptCount val="2"/>
                <c:pt idx="0">
                  <c:v>5412.556541951115</c:v>
                </c:pt>
                <c:pt idx="1">
                  <c:v>5412.556541951115</c:v>
                </c:pt>
              </c:numCache>
            </c:numRef>
          </c:xVal>
          <c:yVal>
            <c:numRef>
              <c:f>Sheet1!$B$34:$B$35</c:f>
              <c:numCache>
                <c:formatCode>General</c:formatCode>
                <c:ptCount val="2"/>
                <c:pt idx="0">
                  <c:v>0.028557071222165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8:$A$39</c:f>
              <c:numCache>
                <c:formatCode>General</c:formatCode>
                <c:ptCount val="2"/>
                <c:pt idx="0">
                  <c:v>0</c:v>
                </c:pt>
                <c:pt idx="1">
                  <c:v>3619.30865605138</c:v>
                </c:pt>
              </c:numCache>
            </c:numRef>
          </c:xVal>
          <c:yVal>
            <c:numRef>
              <c:f>Sheet1!$B$38:$B$39</c:f>
              <c:numCache>
                <c:formatCode>General</c:formatCode>
                <c:ptCount val="2"/>
                <c:pt idx="0">
                  <c:v>0.019609078160687483</c:v>
                </c:pt>
                <c:pt idx="1">
                  <c:v>0.019609078160687483</c:v>
                </c:pt>
              </c:numCache>
            </c:numRef>
          </c:yVal>
          <c:smooth val="0"/>
          <c:extLst>
            <c:ext xmlns:c16="http://schemas.microsoft.com/office/drawing/2014/chart" uri="{C3380CC4-5D6E-409C-BE32-E72D297353CC}">
              <c16:uniqueId val="{00000011-F32D-48B7-BC20-E66FC6253BAD}"/>
            </c:ext>
          </c:extLst>
        </c:ser>
        <c:ser>
          <c:idx val="7"/>
          <c:order val="7"/>
          <c:tx>
            <c:strRef>
              <c:f>Sheet1!$B$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3619.30865605138</c:v>
                </c:pt>
                <c:pt idx="1">
                  <c:v>3619.30865605138</c:v>
                </c:pt>
              </c:numCache>
            </c:numRef>
          </c:xVal>
          <c:yVal>
            <c:numRef>
              <c:f>Sheet1!$B$42:$B$43</c:f>
              <c:numCache>
                <c:formatCode>General</c:formatCode>
                <c:ptCount val="2"/>
                <c:pt idx="0">
                  <c:v>0.0196090781606874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6:$A$64</c:f>
              <c:numCache>
                <c:formatCode>General</c:formatCode>
                <c:ptCount val="19"/>
                <c:pt idx="0">
                  <c:v>0.0</c:v>
                </c:pt>
                <c:pt idx="1">
                  <c:v>0.0</c:v>
                </c:pt>
                <c:pt idx="2">
                  <c:v>0.0</c:v>
                </c:pt>
                <c:pt idx="3">
                  <c:v>0.0</c:v>
                </c:pt>
                <c:pt idx="4">
                  <c:v>0.0</c:v>
                </c:pt>
                <c:pt idx="5">
                  <c:v>3465.0</c:v>
                </c:pt>
                <c:pt idx="6">
                  <c:v>0.0</c:v>
                </c:pt>
                <c:pt idx="7">
                  <c:v>4157.0</c:v>
                </c:pt>
                <c:pt idx="8">
                  <c:v>4058.0</c:v>
                </c:pt>
                <c:pt idx="9">
                  <c:v>4557.0</c:v>
                </c:pt>
                <c:pt idx="10">
                  <c:v>5616.0</c:v>
                </c:pt>
                <c:pt idx="11">
                  <c:v>4344.5</c:v>
                </c:pt>
                <c:pt idx="12">
                  <c:v>4241.5</c:v>
                </c:pt>
                <c:pt idx="13">
                  <c:v>4479.5</c:v>
                </c:pt>
                <c:pt idx="14">
                  <c:v>4861.0</c:v>
                </c:pt>
                <c:pt idx="15">
                  <c:v>6340.0</c:v>
                </c:pt>
                <c:pt idx="16">
                  <c:v>5412.556541951115</c:v>
                </c:pt>
                <c:pt idx="17">
                  <c:v>5412.556541951115</c:v>
                </c:pt>
                <c:pt idx="18">
                  <c:v>3619.30865605138</c:v>
                </c:pt>
              </c:numCache>
            </c:numRef>
          </c:xVal>
          <c:yVal>
            <c:numRef>
              <c:f>Sheet1!$B$46:$B$64</c:f>
              <c:numCache>
                <c:formatCode>General</c:formatCode>
                <c:ptCount val="19"/>
                <c:pt idx="0">
                  <c:v>0.0015493614888642173</c:v>
                </c:pt>
                <c:pt idx="1">
                  <c:v>0.0015493614888642173</c:v>
                </c:pt>
                <c:pt idx="2">
                  <c:v>0.0015493614888642173</c:v>
                </c:pt>
                <c:pt idx="3">
                  <c:v>0.0015493614888642173</c:v>
                </c:pt>
                <c:pt idx="4">
                  <c:v>0.0015493614888642173</c:v>
                </c:pt>
                <c:pt idx="5">
                  <c:v>0.01883910497709665</c:v>
                </c:pt>
                <c:pt idx="6">
                  <c:v>0.0015493614888642173</c:v>
                </c:pt>
                <c:pt idx="7">
                  <c:v>0.022292063849782606</c:v>
                </c:pt>
                <c:pt idx="8">
                  <c:v>0.021798071178690252</c:v>
                </c:pt>
                <c:pt idx="9">
                  <c:v>0.024287993833994145</c:v>
                </c:pt>
                <c:pt idx="10">
                  <c:v>0.02957221846719419</c:v>
                </c:pt>
                <c:pt idx="11">
                  <c:v>0.023227656029881763</c:v>
                </c:pt>
                <c:pt idx="12">
                  <c:v>0.022713704058947293</c:v>
                </c:pt>
                <c:pt idx="13">
                  <c:v>0.023901282399553157</c:v>
                </c:pt>
                <c:pt idx="14">
                  <c:v>0.025804900621994913</c:v>
                </c:pt>
                <c:pt idx="15">
                  <c:v>0.03318485173861707</c:v>
                </c:pt>
                <c:pt idx="16">
                  <c:v>0.02855707122216556</c:v>
                </c:pt>
                <c:pt idx="17">
                  <c:v>0.02855707122216556</c:v>
                </c:pt>
                <c:pt idx="18">
                  <c:v>0.0196090781606874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60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99999999999999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8584694290045477</c:v>
                </c:pt>
                <c:pt idx="1">
                  <c:v>0.5957871458929392</c:v>
                </c:pt>
                <c:pt idx="2">
                  <c:v>0.5367512907092375</c:v>
                </c:pt>
                <c:pt idx="3">
                  <c:v>0.49917098663567766</c:v>
                </c:pt>
                <c:pt idx="4">
                  <c:v>0.5164901476535473</c:v>
                </c:pt>
                <c:pt idx="5">
                  <c:v>0.574146134844652</c:v>
                </c:pt>
                <c:pt idx="6">
                  <c:v>0.43627975878342945</c:v>
                </c:pt>
                <c:pt idx="7">
                  <c:v>0.6418803738317758</c:v>
                </c:pt>
                <c:pt idx="8">
                  <c:v>0.6687281717507829</c:v>
                </c:pt>
                <c:pt idx="9">
                  <c:v>0.6188498283512458</c:v>
                </c:pt>
                <c:pt idx="10">
                  <c:v>0.5485648611874636</c:v>
                </c:pt>
                <c:pt idx="11">
                  <c:v>0.5502771884476223</c:v>
                </c:pt>
                <c:pt idx="12">
                  <c:v>0.5306631330143463</c:v>
                </c:pt>
                <c:pt idx="13">
                  <c:v>0.5687678940123883</c:v>
                </c:pt>
                <c:pt idx="14">
                  <c:v>0.5705050432376341</c:v>
                </c:pt>
                <c:pt idx="15">
                  <c:v>0.4834798188249999</c:v>
                </c:pt>
                <c:pt idx="16">
                  <c:v>0.5374603182568928</c:v>
                </c:pt>
                <c:pt idx="17">
                  <c:v>0.6453031072357259</c:v>
                </c:pt>
                <c:pt idx="18">
                  <c:v>0.604596601141556</c:v>
                </c:pt>
                <c:pt idx="19">
                  <c:v>0.5528336955194726</c:v>
                </c:pt>
                <c:pt idx="20">
                  <c:v>0.6487222414022042</c:v>
                </c:pt>
                <c:pt idx="21">
                  <c:v>0.5121069494256458</c:v>
                </c:pt>
                <c:pt idx="22">
                  <c:v>0.6190403620830034</c:v>
                </c:pt>
                <c:pt idx="23">
                  <c:v>0.5241817329164806</c:v>
                </c:pt>
                <c:pt idx="24">
                  <c:v>0.6907000614997201</c:v>
                </c:pt>
                <c:pt idx="25">
                  <c:v>0.31932975728524693</c:v>
                </c:pt>
                <c:pt idx="26">
                  <c:v>0.4114233975660033</c:v>
                </c:pt>
                <c:pt idx="27">
                  <c:v>0.23884709279173832</c:v>
                </c:pt>
                <c:pt idx="28">
                  <c:v>0.242883196239718</c:v>
                </c:pt>
                <c:pt idx="29">
                  <c:v>0.2824832211820227</c:v>
                </c:pt>
                <c:pt idx="30">
                  <c:v>0.2694976235641126</c:v>
                </c:pt>
                <c:pt idx="31">
                  <c:v>0.4036345086679059</c:v>
                </c:pt>
                <c:pt idx="32">
                  <c:v>0.38328793304787856</c:v>
                </c:pt>
                <c:pt idx="33">
                  <c:v>0.31751516687790454</c:v>
                </c:pt>
                <c:pt idx="34">
                  <c:v>0.49688025852721457</c:v>
                </c:pt>
                <c:pt idx="35">
                  <c:v>0.2590148802322768</c:v>
                </c:pt>
                <c:pt idx="36">
                  <c:v>0.1581211667141539</c:v>
                </c:pt>
                <c:pt idx="37">
                  <c:v>0.25233544190925783</c:v>
                </c:pt>
                <c:pt idx="38">
                  <c:v>0.19702498151791567</c:v>
                </c:pt>
                <c:pt idx="39">
                  <c:v>0.2898310931518503</c:v>
                </c:pt>
                <c:pt idx="40">
                  <c:v>0.27229637754211333</c:v>
                </c:pt>
                <c:pt idx="41">
                  <c:v>0.3225573865076807</c:v>
                </c:pt>
                <c:pt idx="42">
                  <c:v>0.3386801417632895</c:v>
                </c:pt>
                <c:pt idx="43">
                  <c:v>0.630930447429176</c:v>
                </c:pt>
                <c:pt idx="44">
                  <c:v>0.5380454360020398</c:v>
                </c:pt>
                <c:pt idx="45">
                  <c:v>0.6666029448598964</c:v>
                </c:pt>
                <c:pt idx="46">
                  <c:v>0.7841582553599057</c:v>
                </c:pt>
                <c:pt idx="47">
                  <c:v>0.8451544296980685</c:v>
                </c:pt>
                <c:pt idx="48">
                  <c:v>1.1563027439415194</c:v>
                </c:pt>
                <c:pt idx="49">
                  <c:v>1.0404972344074932</c:v>
                </c:pt>
                <c:pt idx="50">
                  <c:v>0.5473149134713298</c:v>
                </c:pt>
                <c:pt idx="51">
                  <c:v>0.5515296796657632</c:v>
                </c:pt>
                <c:pt idx="52">
                  <c:v>0.5844208163265305</c:v>
                </c:pt>
                <c:pt idx="53">
                  <c:v>0.5798892410484838</c:v>
                </c:pt>
                <c:pt idx="54">
                  <c:v>0.5269712349980643</c:v>
                </c:pt>
                <c:pt idx="55">
                  <c:v>0.5425117339825283</c:v>
                </c:pt>
                <c:pt idx="56">
                  <c:v>0.5972730879566711</c:v>
                </c:pt>
                <c:pt idx="57">
                  <c:v>0.6304547385187151</c:v>
                </c:pt>
                <c:pt idx="58">
                  <c:v>0.5607651219041944</c:v>
                </c:pt>
                <c:pt idx="59">
                  <c:v>0.6038114302177106</c:v>
                </c:pt>
                <c:pt idx="60">
                  <c:v>0.5629377779739354</c:v>
                </c:pt>
                <c:pt idx="61">
                  <c:v>0.547268707810367</c:v>
                </c:pt>
                <c:pt idx="62">
                  <c:v>0.5930589457987845</c:v>
                </c:pt>
                <c:pt idx="63">
                  <c:v>0.5766148481390713</c:v>
                </c:pt>
                <c:pt idx="64">
                  <c:v>0.6352910431311077</c:v>
                </c:pt>
                <c:pt idx="65">
                  <c:v>0.50710329882013</c:v>
                </c:pt>
                <c:pt idx="66">
                  <c:v>0.5404163431674907</c:v>
                </c:pt>
                <c:pt idx="67">
                  <c:v>0.531005728802136</c:v>
                </c:pt>
                <c:pt idx="68">
                  <c:v>0.6078186135425361</c:v>
                </c:pt>
                <c:pt idx="69">
                  <c:v>0.43323726903857473</c:v>
                </c:pt>
                <c:pt idx="70">
                  <c:v>0.48907642029104664</c:v>
                </c:pt>
                <c:pt idx="71">
                  <c:v>0.6641938654965238</c:v>
                </c:pt>
                <c:pt idx="72">
                  <c:v>0.7298290194195213</c:v>
                </c:pt>
                <c:pt idx="73">
                  <c:v>0.5983630735138993</c:v>
                </c:pt>
                <c:pt idx="74">
                  <c:v>0.5362930463726263</c:v>
                </c:pt>
                <c:pt idx="75">
                  <c:v>0.7041818309851242</c:v>
                </c:pt>
                <c:pt idx="76">
                  <c:v>0.3524805505049734</c:v>
                </c:pt>
                <c:pt idx="77">
                  <c:v>0.28153186081213444</c:v>
                </c:pt>
                <c:pt idx="78">
                  <c:v>0.42592276144907726</c:v>
                </c:pt>
                <c:pt idx="79">
                  <c:v>0.4065459971312711</c:v>
                </c:pt>
                <c:pt idx="80">
                  <c:v>0.6760109007458406</c:v>
                </c:pt>
                <c:pt idx="81">
                  <c:v>0.4313687932959553</c:v>
                </c:pt>
                <c:pt idx="82">
                  <c:v>0.47731186279180565</c:v>
                </c:pt>
                <c:pt idx="83">
                  <c:v>0.3713641312801369</c:v>
                </c:pt>
                <c:pt idx="84">
                  <c:v>0.2763984279431787</c:v>
                </c:pt>
                <c:pt idx="85">
                  <c:v>0.40052121260091816</c:v>
                </c:pt>
                <c:pt idx="86">
                  <c:v>0.3696465948270235</c:v>
                </c:pt>
                <c:pt idx="87">
                  <c:v>0.32100034143676587</c:v>
                </c:pt>
                <c:pt idx="88">
                  <c:v>0.2593992223219245</c:v>
                </c:pt>
                <c:pt idx="89">
                  <c:v>0.4239311872182235</c:v>
                </c:pt>
                <c:pt idx="90">
                  <c:v>0.29235761565580254</c:v>
                </c:pt>
                <c:pt idx="91">
                  <c:v>0.44982087179260694</c:v>
                </c:pt>
                <c:pt idx="92">
                  <c:v>0.4326923076923077</c:v>
                </c:pt>
                <c:pt idx="93">
                  <c:v>0.4805170367078447</c:v>
                </c:pt>
                <c:pt idx="94">
                  <c:v>0.5539956717988942</c:v>
                </c:pt>
                <c:pt idx="95">
                  <c:v>0.640367750929368</c:v>
                </c:pt>
                <c:pt idx="96">
                  <c:v>0.5062161973573984</c:v>
                </c:pt>
                <c:pt idx="97">
                  <c:v>0.582229079675505</c:v>
                </c:pt>
                <c:pt idx="98">
                  <c:v>0.746695268687846</c:v>
                </c:pt>
                <c:pt idx="99">
                  <c:v>0.7848325690917817</c:v>
                </c:pt>
                <c:pt idx="100">
                  <c:v>0.5464822515212981</c:v>
                </c:pt>
                <c:pt idx="101">
                  <c:v>0.4298042731629393</c:v>
                </c:pt>
                <c:pt idx="102">
                  <c:v>0.4902385545361155</c:v>
                </c:pt>
                <c:pt idx="103">
                  <c:v>0.4428581279160989</c:v>
                </c:pt>
                <c:pt idx="104">
                  <c:v>0.5223992032365491</c:v>
                </c:pt>
              </c:numCache>
            </c:numRef>
          </c:xVal>
          <c:yVal>
            <c:numRef>
              <c:f>Sheet1!$B$2:$B$106</c:f>
              <c:numCache>
                <c:formatCode>General</c:formatCode>
                <c:ptCount val="105"/>
                <c:pt idx="0">
                  <c:v>0.27586206896551724</c:v>
                </c:pt>
                <c:pt idx="1">
                  <c:v>0.27539503386004516</c:v>
                </c:pt>
                <c:pt idx="2">
                  <c:v>0.2958579881656805</c:v>
                </c:pt>
                <c:pt idx="3">
                  <c:v>0.31092436974789917</c:v>
                </c:pt>
                <c:pt idx="4">
                  <c:v>0.3076923076923077</c:v>
                </c:pt>
                <c:pt idx="5">
                  <c:v>0.2838427947598253</c:v>
                </c:pt>
                <c:pt idx="6">
                  <c:v>0.2985971943887776</c:v>
                </c:pt>
                <c:pt idx="7">
                  <c:v>0.30930232558139537</c:v>
                </c:pt>
                <c:pt idx="8">
                  <c:v>0.3264367816091954</c:v>
                </c:pt>
                <c:pt idx="9">
                  <c:v>0.30952380952380953</c:v>
                </c:pt>
                <c:pt idx="10">
                  <c:v>0.2778675282714055</c:v>
                </c:pt>
                <c:pt idx="11">
                  <c:v>0.27569331158238175</c:v>
                </c:pt>
                <c:pt idx="12">
                  <c:v>0.3120243531202435</c:v>
                </c:pt>
                <c:pt idx="13">
                  <c:v>0.30434782608695654</c:v>
                </c:pt>
                <c:pt idx="14">
                  <c:v>0.3036053130929791</c:v>
                </c:pt>
                <c:pt idx="15">
                  <c:v>0.2849740932642487</c:v>
                </c:pt>
                <c:pt idx="16">
                  <c:v>0.30743243243243246</c:v>
                </c:pt>
                <c:pt idx="17">
                  <c:v>0.29107981220657275</c:v>
                </c:pt>
                <c:pt idx="18">
                  <c:v>0.2937853107344633</c:v>
                </c:pt>
                <c:pt idx="19">
                  <c:v>0.304635761589404</c:v>
                </c:pt>
                <c:pt idx="20">
                  <c:v>0.3125</c:v>
                </c:pt>
                <c:pt idx="21">
                  <c:v>0.32413793103448274</c:v>
                </c:pt>
                <c:pt idx="22">
                  <c:v>0.32786885245901637</c:v>
                </c:pt>
                <c:pt idx="23">
                  <c:v>0.3333333333333333</c:v>
                </c:pt>
                <c:pt idx="24">
                  <c:v>0.29914529914529914</c:v>
                </c:pt>
                <c:pt idx="25">
                  <c:v>0.41836734693877553</c:v>
                </c:pt>
                <c:pt idx="26">
                  <c:v>0.40350877192982454</c:v>
                </c:pt>
                <c:pt idx="27">
                  <c:v>0.464</c:v>
                </c:pt>
                <c:pt idx="28">
                  <c:v>0.46551724137931033</c:v>
                </c:pt>
                <c:pt idx="29">
                  <c:v>0.39603960396039606</c:v>
                </c:pt>
                <c:pt idx="30">
                  <c:v>0.4305555555555556</c:v>
                </c:pt>
                <c:pt idx="31">
                  <c:v>0.3880597014925373</c:v>
                </c:pt>
                <c:pt idx="32">
                  <c:v>0.31343283582089554</c:v>
                </c:pt>
                <c:pt idx="33">
                  <c:v>0.41904761904761906</c:v>
                </c:pt>
                <c:pt idx="34">
                  <c:v>0.3409090909090909</c:v>
                </c:pt>
                <c:pt idx="35">
                  <c:v>0.44029850746268656</c:v>
                </c:pt>
                <c:pt idx="36">
                  <c:v>0.5304347826086957</c:v>
                </c:pt>
                <c:pt idx="37">
                  <c:v>0.4375</c:v>
                </c:pt>
                <c:pt idx="38">
                  <c:v>0.3956043956043956</c:v>
                </c:pt>
                <c:pt idx="39">
                  <c:v>0.358974358974359</c:v>
                </c:pt>
                <c:pt idx="40">
                  <c:v>0.3707865168539326</c:v>
                </c:pt>
                <c:pt idx="41">
                  <c:v>0.35443037974683544</c:v>
                </c:pt>
                <c:pt idx="42">
                  <c:v>0.35714285714285715</c:v>
                </c:pt>
                <c:pt idx="43">
                  <c:v>0.2833333333333333</c:v>
                </c:pt>
                <c:pt idx="44">
                  <c:v>0.24347826086956523</c:v>
                </c:pt>
                <c:pt idx="45">
                  <c:v>0.25539568345323743</c:v>
                </c:pt>
                <c:pt idx="46">
                  <c:v>0.29338842975206614</c:v>
                </c:pt>
                <c:pt idx="47">
                  <c:v>0.21254355400696864</c:v>
                </c:pt>
                <c:pt idx="48">
                  <c:v>0.2674698795180723</c:v>
                </c:pt>
                <c:pt idx="49">
                  <c:v>0.21198830409356725</c:v>
                </c:pt>
                <c:pt idx="50">
                  <c:v>0.23054755043227665</c:v>
                </c:pt>
                <c:pt idx="51">
                  <c:v>0.2574626865671642</c:v>
                </c:pt>
                <c:pt idx="52">
                  <c:v>0.2125748502994012</c:v>
                </c:pt>
                <c:pt idx="53">
                  <c:v>0.22483221476510068</c:v>
                </c:pt>
                <c:pt idx="54">
                  <c:v>0.24535315985130113</c:v>
                </c:pt>
                <c:pt idx="55">
                  <c:v>0.2550607287449393</c:v>
                </c:pt>
                <c:pt idx="56">
                  <c:v>0.25773195876288657</c:v>
                </c:pt>
                <c:pt idx="57">
                  <c:v>0.2549019607843137</c:v>
                </c:pt>
                <c:pt idx="58">
                  <c:v>0.2494802494802495</c:v>
                </c:pt>
                <c:pt idx="59">
                  <c:v>0.24225663716814158</c:v>
                </c:pt>
                <c:pt idx="60">
                  <c:v>0.29096638655462187</c:v>
                </c:pt>
                <c:pt idx="61">
                  <c:v>0.2945859872611465</c:v>
                </c:pt>
                <c:pt idx="62">
                  <c:v>0.2604501607717042</c:v>
                </c:pt>
                <c:pt idx="63">
                  <c:v>0.3020408163265306</c:v>
                </c:pt>
                <c:pt idx="64">
                  <c:v>0.268188302425107</c:v>
                </c:pt>
                <c:pt idx="65">
                  <c:v>0.2815198618307427</c:v>
                </c:pt>
                <c:pt idx="66">
                  <c:v>0.2992125984251969</c:v>
                </c:pt>
                <c:pt idx="67">
                  <c:v>0.3078817733990148</c:v>
                </c:pt>
                <c:pt idx="68">
                  <c:v>0.3</c:v>
                </c:pt>
                <c:pt idx="69">
                  <c:v>0.29797979797979796</c:v>
                </c:pt>
                <c:pt idx="70">
                  <c:v>0.2857142857142857</c:v>
                </c:pt>
                <c:pt idx="71">
                  <c:v>0.3145539906103286</c:v>
                </c:pt>
                <c:pt idx="72">
                  <c:v>0.30057803468208094</c:v>
                </c:pt>
                <c:pt idx="73">
                  <c:v>0.33766233766233766</c:v>
                </c:pt>
                <c:pt idx="74">
                  <c:v>0.35570469798657717</c:v>
                </c:pt>
                <c:pt idx="75">
                  <c:v>0.3076923076923077</c:v>
                </c:pt>
                <c:pt idx="76">
                  <c:v>0.4423076923076923</c:v>
                </c:pt>
                <c:pt idx="77">
                  <c:v>0.5786163522012578</c:v>
                </c:pt>
                <c:pt idx="78">
                  <c:v>0.3146067415730337</c:v>
                </c:pt>
                <c:pt idx="79">
                  <c:v>0.45714285714285713</c:v>
                </c:pt>
                <c:pt idx="80">
                  <c:v>0.27692307692307694</c:v>
                </c:pt>
                <c:pt idx="81">
                  <c:v>0.35051546391752575</c:v>
                </c:pt>
                <c:pt idx="82">
                  <c:v>0.3835616438356164</c:v>
                </c:pt>
                <c:pt idx="83">
                  <c:v>0.35384615384615387</c:v>
                </c:pt>
                <c:pt idx="84">
                  <c:v>0.3888888888888889</c:v>
                </c:pt>
                <c:pt idx="85">
                  <c:v>0.3698630136986301</c:v>
                </c:pt>
                <c:pt idx="86">
                  <c:v>0.3717948717948718</c:v>
                </c:pt>
                <c:pt idx="87">
                  <c:v>0.46601941747572817</c:v>
                </c:pt>
                <c:pt idx="88">
                  <c:v>0.423728813559322</c:v>
                </c:pt>
                <c:pt idx="89">
                  <c:v>0.3684210526315789</c:v>
                </c:pt>
                <c:pt idx="90">
                  <c:v>0.4791666666666667</c:v>
                </c:pt>
                <c:pt idx="91">
                  <c:v>0.32075471698113206</c:v>
                </c:pt>
                <c:pt idx="92">
                  <c:v>0.36</c:v>
                </c:pt>
                <c:pt idx="93">
                  <c:v>0.32857142857142857</c:v>
                </c:pt>
                <c:pt idx="94">
                  <c:v>0.24</c:v>
                </c:pt>
                <c:pt idx="95">
                  <c:v>0.2413793103448276</c:v>
                </c:pt>
                <c:pt idx="96">
                  <c:v>0.22842639593908629</c:v>
                </c:pt>
                <c:pt idx="97">
                  <c:v>0.23423423423423423</c:v>
                </c:pt>
                <c:pt idx="98">
                  <c:v>0.25</c:v>
                </c:pt>
                <c:pt idx="99">
                  <c:v>0.2708333333333333</c:v>
                </c:pt>
                <c:pt idx="100">
                  <c:v>0.3188908145580589</c:v>
                </c:pt>
                <c:pt idx="101">
                  <c:v>0.29</c:v>
                </c:pt>
                <c:pt idx="102">
                  <c:v>0.34024896265560167</c:v>
                </c:pt>
                <c:pt idx="103">
                  <c:v>0.30604982206405695</c:v>
                </c:pt>
                <c:pt idx="104">
                  <c:v>0.31372549019607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297616357612589</c:v>
                </c:pt>
                <c:pt idx="1">
                  <c:v>0.6313375141886847</c:v>
                </c:pt>
                <c:pt idx="2">
                  <c:v>0.727493792602894</c:v>
                </c:pt>
                <c:pt idx="3">
                  <c:v>0.6637634224040434</c:v>
                </c:pt>
                <c:pt idx="4">
                  <c:v>0.7533767222208066</c:v>
                </c:pt>
                <c:pt idx="5">
                  <c:v>0.7329209468868112</c:v>
                </c:pt>
                <c:pt idx="6">
                  <c:v>0.6583925508453811</c:v>
                </c:pt>
                <c:pt idx="7">
                  <c:v>0.9826233284883721</c:v>
                </c:pt>
                <c:pt idx="8">
                  <c:v>0.818948456644675</c:v>
                </c:pt>
                <c:pt idx="9">
                  <c:v>0.7471152280521811</c:v>
                </c:pt>
                <c:pt idx="10">
                  <c:v>0.6532379033689444</c:v>
                </c:pt>
                <c:pt idx="11">
                  <c:v>0.7231520745908112</c:v>
                </c:pt>
                <c:pt idx="12">
                  <c:v>0.7308163334218393</c:v>
                </c:pt>
                <c:pt idx="13">
                  <c:v>0.7462796954331827</c:v>
                </c:pt>
                <c:pt idx="14">
                  <c:v>0.6384302794188358</c:v>
                </c:pt>
                <c:pt idx="15">
                  <c:v>0.5914090548409688</c:v>
                </c:pt>
                <c:pt idx="16">
                  <c:v>0.6412774043078613</c:v>
                </c:pt>
                <c:pt idx="17">
                  <c:v>0.6087916497535517</c:v>
                </c:pt>
                <c:pt idx="18">
                  <c:v>0.6016036246845606</c:v>
                </c:pt>
                <c:pt idx="19">
                  <c:v>0.6542421252371916</c:v>
                </c:pt>
                <c:pt idx="20">
                  <c:v>0.6479683263501848</c:v>
                </c:pt>
                <c:pt idx="21">
                  <c:v>0.6194208409506399</c:v>
                </c:pt>
                <c:pt idx="22">
                  <c:v>0.4840802973520919</c:v>
                </c:pt>
                <c:pt idx="23">
                  <c:v>0.5847149003668433</c:v>
                </c:pt>
                <c:pt idx="24">
                  <c:v>0.6958678549141458</c:v>
                </c:pt>
                <c:pt idx="25">
                  <c:v>0.44798036536186286</c:v>
                </c:pt>
                <c:pt idx="26">
                  <c:v>0.545891443298969</c:v>
                </c:pt>
                <c:pt idx="27">
                  <c:v>0.4103409207951385</c:v>
                </c:pt>
                <c:pt idx="28">
                  <c:v>0.4000315992082604</c:v>
                </c:pt>
                <c:pt idx="29">
                  <c:v>0.5245487392030292</c:v>
                </c:pt>
                <c:pt idx="30">
                  <c:v>0.42673179396092364</c:v>
                </c:pt>
                <c:pt idx="31">
                  <c:v>0.6005042881646655</c:v>
                </c:pt>
                <c:pt idx="32">
                  <c:v>0.5718468723842876</c:v>
                </c:pt>
                <c:pt idx="33">
                  <c:v>0.9491252635538789</c:v>
                </c:pt>
                <c:pt idx="34">
                  <c:v>0.7363234846928293</c:v>
                </c:pt>
                <c:pt idx="35">
                  <c:v>0.3806130070910993</c:v>
                </c:pt>
                <c:pt idx="36">
                  <c:v>0.2946412352406903</c:v>
                </c:pt>
                <c:pt idx="37">
                  <c:v>0.5274217200180342</c:v>
                </c:pt>
                <c:pt idx="38">
                  <c:v>0.8285119058002617</c:v>
                </c:pt>
                <c:pt idx="39">
                  <c:v>0.4407666989887796</c:v>
                </c:pt>
                <c:pt idx="40">
                  <c:v>0.6356396312283246</c:v>
                </c:pt>
                <c:pt idx="41">
                  <c:v>0.5296778373112518</c:v>
                </c:pt>
                <c:pt idx="42">
                  <c:v>0.6159474422257124</c:v>
                </c:pt>
                <c:pt idx="43">
                  <c:v>0.5355515014803327</c:v>
                </c:pt>
                <c:pt idx="44">
                  <c:v>0.5411735730211175</c:v>
                </c:pt>
                <c:pt idx="45">
                  <c:v>0.6330297045287313</c:v>
                </c:pt>
                <c:pt idx="46">
                  <c:v>0.7165046016446115</c:v>
                </c:pt>
                <c:pt idx="47">
                  <c:v>0.7760829255936946</c:v>
                </c:pt>
                <c:pt idx="48">
                  <c:v>0.8185580710366734</c:v>
                </c:pt>
                <c:pt idx="49">
                  <c:v>0.9037003147865831</c:v>
                </c:pt>
                <c:pt idx="50">
                  <c:v>0.8294204769436476</c:v>
                </c:pt>
                <c:pt idx="51">
                  <c:v>0.9010460712656303</c:v>
                </c:pt>
              </c:numCache>
            </c:numRef>
          </c:xVal>
          <c:yVal>
            <c:numRef>
              <c:f>Sheet1!$B$109:$B$160</c:f>
              <c:numCache>
                <c:formatCode>General</c:formatCode>
                <c:ptCount val="52"/>
                <c:pt idx="0">
                  <c:v>0.3103448275862069</c:v>
                </c:pt>
                <c:pt idx="1">
                  <c:v>0.2841726618705036</c:v>
                </c:pt>
                <c:pt idx="2">
                  <c:v>0.31470588235294117</c:v>
                </c:pt>
                <c:pt idx="3">
                  <c:v>0.29743589743589743</c:v>
                </c:pt>
                <c:pt idx="4">
                  <c:v>0.34986945169712796</c:v>
                </c:pt>
                <c:pt idx="5">
                  <c:v>0.30701754385964913</c:v>
                </c:pt>
                <c:pt idx="6">
                  <c:v>0.2830188679245283</c:v>
                </c:pt>
                <c:pt idx="7">
                  <c:v>0.2899628252788104</c:v>
                </c:pt>
                <c:pt idx="8">
                  <c:v>0.28421052631578947</c:v>
                </c:pt>
                <c:pt idx="9">
                  <c:v>0.27761194029850744</c:v>
                </c:pt>
                <c:pt idx="10">
                  <c:v>0.3143712574850299</c:v>
                </c:pt>
                <c:pt idx="11">
                  <c:v>0.29098360655737704</c:v>
                </c:pt>
                <c:pt idx="12">
                  <c:v>0.29411764705882354</c:v>
                </c:pt>
                <c:pt idx="13">
                  <c:v>0.3359173126614987</c:v>
                </c:pt>
                <c:pt idx="14">
                  <c:v>0.347682119205298</c:v>
                </c:pt>
                <c:pt idx="15">
                  <c:v>0.3068181818181818</c:v>
                </c:pt>
                <c:pt idx="16">
                  <c:v>0.3137254901960784</c:v>
                </c:pt>
                <c:pt idx="17">
                  <c:v>0.28823529411764703</c:v>
                </c:pt>
                <c:pt idx="18">
                  <c:v>0.3360655737704918</c:v>
                </c:pt>
                <c:pt idx="19">
                  <c:v>0.33093525179856115</c:v>
                </c:pt>
                <c:pt idx="20">
                  <c:v>0.3008130081300813</c:v>
                </c:pt>
                <c:pt idx="21">
                  <c:v>0.36054421768707484</c:v>
                </c:pt>
                <c:pt idx="22">
                  <c:v>0.39215686274509803</c:v>
                </c:pt>
                <c:pt idx="23">
                  <c:v>0.31343283582089554</c:v>
                </c:pt>
                <c:pt idx="24">
                  <c:v>0.25396825396825395</c:v>
                </c:pt>
                <c:pt idx="25">
                  <c:v>0.31666666666666665</c:v>
                </c:pt>
                <c:pt idx="26">
                  <c:v>0.3300970873786408</c:v>
                </c:pt>
                <c:pt idx="27">
                  <c:v>0.37254901960784315</c:v>
                </c:pt>
                <c:pt idx="28">
                  <c:v>0.2903225806451613</c:v>
                </c:pt>
                <c:pt idx="29">
                  <c:v>0.3472222222222222</c:v>
                </c:pt>
                <c:pt idx="30">
                  <c:v>0.3728813559322034</c:v>
                </c:pt>
                <c:pt idx="31">
                  <c:v>0.36538461538461536</c:v>
                </c:pt>
                <c:pt idx="32">
                  <c:v>0.31666666666666665</c:v>
                </c:pt>
                <c:pt idx="33">
                  <c:v>0.265625</c:v>
                </c:pt>
                <c:pt idx="34">
                  <c:v>0.3541666666666667</c:v>
                </c:pt>
                <c:pt idx="35">
                  <c:v>0.35294117647058826</c:v>
                </c:pt>
                <c:pt idx="36">
                  <c:v>0.2777777777777778</c:v>
                </c:pt>
                <c:pt idx="37">
                  <c:v>0.27450980392156865</c:v>
                </c:pt>
                <c:pt idx="38">
                  <c:v>0.2647058823529412</c:v>
                </c:pt>
                <c:pt idx="39">
                  <c:v>0.2159090909090909</c:v>
                </c:pt>
                <c:pt idx="40">
                  <c:v>0.2677165354330709</c:v>
                </c:pt>
                <c:pt idx="41">
                  <c:v>0.21649484536082475</c:v>
                </c:pt>
                <c:pt idx="42">
                  <c:v>0.2535211267605634</c:v>
                </c:pt>
                <c:pt idx="43">
                  <c:v>0.2641509433962264</c:v>
                </c:pt>
                <c:pt idx="44">
                  <c:v>0.2046783625730994</c:v>
                </c:pt>
                <c:pt idx="45">
                  <c:v>0.1991701244813278</c:v>
                </c:pt>
                <c:pt idx="46">
                  <c:v>0.25842696629213485</c:v>
                </c:pt>
                <c:pt idx="47">
                  <c:v>0.18811881188118812</c:v>
                </c:pt>
                <c:pt idx="48">
                  <c:v>0.21621621621621623</c:v>
                </c:pt>
                <c:pt idx="49">
                  <c:v>0.22613065326633167</c:v>
                </c:pt>
                <c:pt idx="50">
                  <c:v>0.28012519561815336</c:v>
                </c:pt>
                <c:pt idx="51">
                  <c:v>0.224489795918367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39648482565557</c:v>
                </c:pt>
              </c:numCache>
            </c:numRef>
          </c:xVal>
          <c:yVal>
            <c:numRef>
              <c:f>Sheet1!$B$163:$B$164</c:f>
              <c:numCache>
                <c:formatCode>General</c:formatCode>
                <c:ptCount val="2"/>
                <c:pt idx="0">
                  <c:v>0.386963084234587</c:v>
                </c:pt>
                <c:pt idx="1">
                  <c:v>0.3869630842345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39648482565557</c:v>
                </c:pt>
                <c:pt idx="1">
                  <c:v>-0.2739648482565557</c:v>
                </c:pt>
              </c:numCache>
            </c:numRef>
          </c:xVal>
          <c:yVal>
            <c:numRef>
              <c:f>Sheet1!$B$167:$B$168</c:f>
              <c:numCache>
                <c:formatCode>General</c:formatCode>
                <c:ptCount val="2"/>
                <c:pt idx="0">
                  <c:v>0.3869630842345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884484719451935</c:v>
                </c:pt>
              </c:numCache>
            </c:numRef>
          </c:xVal>
          <c:yVal>
            <c:numRef>
              <c:f>Sheet1!$B$171:$B$172</c:f>
              <c:numCache>
                <c:formatCode>General</c:formatCode>
                <c:ptCount val="2"/>
                <c:pt idx="0">
                  <c:v>0.3300876795157641</c:v>
                </c:pt>
                <c:pt idx="1">
                  <c:v>0.330087679515764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884484719451935</c:v>
                </c:pt>
                <c:pt idx="1">
                  <c:v>0.2884484719451935</c:v>
                </c:pt>
              </c:numCache>
            </c:numRef>
          </c:xVal>
          <c:yVal>
            <c:numRef>
              <c:f>Sheet1!$B$175:$B$176</c:f>
              <c:numCache>
                <c:formatCode>General</c:formatCode>
                <c:ptCount val="2"/>
                <c:pt idx="0">
                  <c:v>0.33008767951576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590375794865731</c:v>
                </c:pt>
              </c:numCache>
            </c:numRef>
          </c:xVal>
          <c:yVal>
            <c:numRef>
              <c:f>Sheet1!$B$179:$B$180</c:f>
              <c:numCache>
                <c:formatCode>General</c:formatCode>
                <c:ptCount val="2"/>
                <c:pt idx="0">
                  <c:v>0.23193451293127654</c:v>
                </c:pt>
                <c:pt idx="1">
                  <c:v>0.231934512931276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590375794865731</c:v>
                </c:pt>
                <c:pt idx="1">
                  <c:v>1.2590375794865731</c:v>
                </c:pt>
              </c:numCache>
            </c:numRef>
          </c:xVal>
          <c:yVal>
            <c:numRef>
              <c:f>Sheet1!$B$183:$B$184</c:f>
              <c:numCache>
                <c:formatCode>General</c:formatCode>
                <c:ptCount val="2"/>
                <c:pt idx="0">
                  <c:v>0.23193451293127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297616357612589</c:v>
                </c:pt>
                <c:pt idx="1">
                  <c:v>0.6313375141886847</c:v>
                </c:pt>
                <c:pt idx="2">
                  <c:v>0.727493792602894</c:v>
                </c:pt>
                <c:pt idx="3">
                  <c:v>0.6637634224040434</c:v>
                </c:pt>
                <c:pt idx="4">
                  <c:v>0.7533767222208066</c:v>
                </c:pt>
                <c:pt idx="5">
                  <c:v>0.7329209468868112</c:v>
                </c:pt>
                <c:pt idx="6">
                  <c:v>0.6583925508453811</c:v>
                </c:pt>
                <c:pt idx="7">
                  <c:v>0.9826233284883721</c:v>
                </c:pt>
                <c:pt idx="8">
                  <c:v>0.818948456644675</c:v>
                </c:pt>
                <c:pt idx="9">
                  <c:v>0.7471152280521811</c:v>
                </c:pt>
                <c:pt idx="10">
                  <c:v>0.6532379033689444</c:v>
                </c:pt>
                <c:pt idx="11">
                  <c:v>0.7231520745908112</c:v>
                </c:pt>
                <c:pt idx="12">
                  <c:v>0.7308163334218393</c:v>
                </c:pt>
                <c:pt idx="13">
                  <c:v>0.7462796954331827</c:v>
                </c:pt>
                <c:pt idx="14">
                  <c:v>0.6384302794188358</c:v>
                </c:pt>
                <c:pt idx="15">
                  <c:v>0.5914090548409688</c:v>
                </c:pt>
                <c:pt idx="16">
                  <c:v>0.6412774043078613</c:v>
                </c:pt>
                <c:pt idx="17">
                  <c:v>0.6087916497535517</c:v>
                </c:pt>
                <c:pt idx="18">
                  <c:v>0.6016036246845606</c:v>
                </c:pt>
                <c:pt idx="19">
                  <c:v>0.6542421252371916</c:v>
                </c:pt>
                <c:pt idx="20">
                  <c:v>0.6479683263501848</c:v>
                </c:pt>
                <c:pt idx="21">
                  <c:v>0.6194208409506399</c:v>
                </c:pt>
                <c:pt idx="22">
                  <c:v>0.4840802973520919</c:v>
                </c:pt>
                <c:pt idx="23">
                  <c:v>0.5847149003668433</c:v>
                </c:pt>
                <c:pt idx="24">
                  <c:v>0.6958678549141458</c:v>
                </c:pt>
                <c:pt idx="25">
                  <c:v>0.44798036536186286</c:v>
                </c:pt>
                <c:pt idx="26">
                  <c:v>0.545891443298969</c:v>
                </c:pt>
                <c:pt idx="27">
                  <c:v>0.4103409207951385</c:v>
                </c:pt>
                <c:pt idx="28">
                  <c:v>0.4000315992082604</c:v>
                </c:pt>
                <c:pt idx="29">
                  <c:v>0.5245487392030292</c:v>
                </c:pt>
                <c:pt idx="30">
                  <c:v>0.42673179396092364</c:v>
                </c:pt>
                <c:pt idx="31">
                  <c:v>0.6005042881646655</c:v>
                </c:pt>
                <c:pt idx="32">
                  <c:v>0.5718468723842876</c:v>
                </c:pt>
                <c:pt idx="33">
                  <c:v>0.9491252635538789</c:v>
                </c:pt>
                <c:pt idx="34">
                  <c:v>0.7363234846928293</c:v>
                </c:pt>
                <c:pt idx="35">
                  <c:v>0.3806130070910993</c:v>
                </c:pt>
                <c:pt idx="36">
                  <c:v>0.2946412352406903</c:v>
                </c:pt>
                <c:pt idx="37">
                  <c:v>0.5274217200180342</c:v>
                </c:pt>
                <c:pt idx="38">
                  <c:v>0.8285119058002617</c:v>
                </c:pt>
                <c:pt idx="39">
                  <c:v>0.4407666989887796</c:v>
                </c:pt>
                <c:pt idx="40">
                  <c:v>0.6356396312283246</c:v>
                </c:pt>
                <c:pt idx="41">
                  <c:v>0.5296778373112518</c:v>
                </c:pt>
                <c:pt idx="42">
                  <c:v>0.6159474422257124</c:v>
                </c:pt>
                <c:pt idx="43">
                  <c:v>0.5355515014803327</c:v>
                </c:pt>
                <c:pt idx="44">
                  <c:v>0.5411735730211175</c:v>
                </c:pt>
                <c:pt idx="45">
                  <c:v>0.6330297045287313</c:v>
                </c:pt>
                <c:pt idx="46">
                  <c:v>0.7165046016446115</c:v>
                </c:pt>
                <c:pt idx="47">
                  <c:v>0.7760829255936946</c:v>
                </c:pt>
                <c:pt idx="48">
                  <c:v>0.8185580710366734</c:v>
                </c:pt>
                <c:pt idx="49">
                  <c:v>0.9037003147865831</c:v>
                </c:pt>
                <c:pt idx="50">
                  <c:v>0.8294204769436476</c:v>
                </c:pt>
                <c:pt idx="51">
                  <c:v>0.9010460712656303</c:v>
                </c:pt>
                <c:pt idx="52">
                  <c:v>0.2884484719451935</c:v>
                </c:pt>
                <c:pt idx="53">
                  <c:v>-0.2739648482565557</c:v>
                </c:pt>
                <c:pt idx="54">
                  <c:v>1.2590375794865731</c:v>
                </c:pt>
              </c:numCache>
            </c:numRef>
          </c:xVal>
          <c:yVal>
            <c:numRef>
              <c:f>Sheet1!$B$187:$B$241</c:f>
              <c:numCache>
                <c:formatCode>General</c:formatCode>
                <c:ptCount val="55"/>
                <c:pt idx="0">
                  <c:v>0.2955715618659599</c:v>
                </c:pt>
                <c:pt idx="1">
                  <c:v>0.29541219735568236</c:v>
                </c:pt>
                <c:pt idx="2">
                  <c:v>0.28568816157163984</c:v>
                </c:pt>
                <c:pt idx="3">
                  <c:v>0.29213304910851356</c:v>
                </c:pt>
                <c:pt idx="4">
                  <c:v>0.2830706878304427</c:v>
                </c:pt>
                <c:pt idx="5">
                  <c:v>0.2851393274930683</c:v>
                </c:pt>
                <c:pt idx="6">
                  <c:v>0.29267619146062246</c:v>
                </c:pt>
                <c:pt idx="7">
                  <c:v>0.25988757135089835</c:v>
                </c:pt>
                <c:pt idx="8">
                  <c:v>0.27643958789110473</c:v>
                </c:pt>
                <c:pt idx="9">
                  <c:v>0.28370389654402256</c:v>
                </c:pt>
                <c:pt idx="10">
                  <c:v>0.293197467630433</c:v>
                </c:pt>
                <c:pt idx="11">
                  <c:v>0.28612722828688697</c:v>
                </c:pt>
                <c:pt idx="12">
                  <c:v>0.28535216161042887</c:v>
                </c:pt>
                <c:pt idx="13">
                  <c:v>0.2837883917971653</c:v>
                </c:pt>
                <c:pt idx="14">
                  <c:v>0.29469492434924693</c:v>
                </c:pt>
                <c:pt idx="15">
                  <c:v>0.299450059197905</c:v>
                </c:pt>
                <c:pt idx="16">
                  <c:v>0.29440700197164343</c:v>
                </c:pt>
                <c:pt idx="17">
                  <c:v>0.29769220232431276</c:v>
                </c:pt>
                <c:pt idx="18">
                  <c:v>0.2984191087119162</c:v>
                </c:pt>
                <c:pt idx="19">
                  <c:v>0.29309591326972984</c:v>
                </c:pt>
                <c:pt idx="20">
                  <c:v>0.2937303663276606</c:v>
                </c:pt>
                <c:pt idx="21">
                  <c:v>0.2966172997047388</c:v>
                </c:pt>
                <c:pt idx="22">
                  <c:v>0.31030393889968466</c:v>
                </c:pt>
                <c:pt idx="23">
                  <c:v>0.30012702172935724</c:v>
                </c:pt>
                <c:pt idx="24">
                  <c:v>0.2888864108681085</c:v>
                </c:pt>
                <c:pt idx="25">
                  <c:v>0.313954631670492</c:v>
                </c:pt>
                <c:pt idx="26">
                  <c:v>0.30405313754846175</c:v>
                </c:pt>
                <c:pt idx="27">
                  <c:v>0.3177610113671112</c:v>
                </c:pt>
                <c:pt idx="28">
                  <c:v>0.3188035664001603</c:v>
                </c:pt>
                <c:pt idx="29">
                  <c:v>0.3062114700232602</c:v>
                </c:pt>
                <c:pt idx="30">
                  <c:v>0.3161034447492642</c:v>
                </c:pt>
                <c:pt idx="31">
                  <c:v>0.29853028177138213</c:v>
                </c:pt>
                <c:pt idx="32">
                  <c:v>0.3014283321236033</c:v>
                </c:pt>
                <c:pt idx="33">
                  <c:v>0.26327514403456675</c:v>
                </c:pt>
                <c:pt idx="34">
                  <c:v>0.2847952376434201</c:v>
                </c:pt>
                <c:pt idx="35">
                  <c:v>0.32076731840613537</c:v>
                </c:pt>
                <c:pt idx="36">
                  <c:v>0.32946142137765155</c:v>
                </c:pt>
                <c:pt idx="37">
                  <c:v>0.30592093290272365</c:v>
                </c:pt>
                <c:pt idx="38">
                  <c:v>0.2754724610082693</c:v>
                </c:pt>
                <c:pt idx="39">
                  <c:v>0.31468413109687204</c:v>
                </c:pt>
                <c:pt idx="40">
                  <c:v>0.29497713538437365</c:v>
                </c:pt>
                <c:pt idx="41">
                  <c:v>0.30569277759498864</c:v>
                </c:pt>
                <c:pt idx="42">
                  <c:v>0.296968555535876</c:v>
                </c:pt>
                <c:pt idx="43">
                  <c:v>0.30509878912636723</c:v>
                </c:pt>
                <c:pt idx="44">
                  <c:v>0.3045302435696482</c:v>
                </c:pt>
                <c:pt idx="45">
                  <c:v>0.29524107052245424</c:v>
                </c:pt>
                <c:pt idx="46">
                  <c:v>0.2867994700361345</c:v>
                </c:pt>
                <c:pt idx="47">
                  <c:v>0.28077446819966007</c:v>
                </c:pt>
                <c:pt idx="48">
                  <c:v>0.2764790665781378</c:v>
                </c:pt>
                <c:pt idx="49">
                  <c:v>0.2678688516383358</c:v>
                </c:pt>
                <c:pt idx="50">
                  <c:v>0.2753805795580266</c:v>
                </c:pt>
                <c:pt idx="51">
                  <c:v>0.26813726842196095</c:v>
                </c:pt>
                <c:pt idx="52">
                  <c:v>0.3300876795157641</c:v>
                </c:pt>
                <c:pt idx="53">
                  <c:v>0.386963084234587</c:v>
                </c:pt>
                <c:pt idx="54">
                  <c:v>0.231934512931276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943396226415094"/>
          <c:min val="0.1504950495049505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61.4911</c:v>
                </c:pt>
                <c:pt idx="1">
                  <c:v>1037.0902</c:v>
                </c:pt>
                <c:pt idx="2">
                  <c:v>1023.54</c:v>
                </c:pt>
                <c:pt idx="3">
                  <c:v>1084.5203</c:v>
                </c:pt>
                <c:pt idx="4">
                  <c:v>1044.5583</c:v>
                </c:pt>
                <c:pt idx="5">
                  <c:v>1032.7538</c:v>
                </c:pt>
                <c:pt idx="6">
                  <c:v>998.3826</c:v>
                </c:pt>
                <c:pt idx="7">
                  <c:v>1030.218</c:v>
                </c:pt>
                <c:pt idx="8">
                  <c:v>977.4577</c:v>
                </c:pt>
                <c:pt idx="9">
                  <c:v>1039.7041</c:v>
                </c:pt>
                <c:pt idx="10">
                  <c:v>1062.6279</c:v>
                </c:pt>
                <c:pt idx="11">
                  <c:v>1105.3846</c:v>
                </c:pt>
                <c:pt idx="12">
                  <c:v>1006.3268</c:v>
                </c:pt>
                <c:pt idx="13">
                  <c:v>991.7037</c:v>
                </c:pt>
                <c:pt idx="14">
                  <c:v>1030.8313</c:v>
                </c:pt>
                <c:pt idx="15">
                  <c:v>1085.2364</c:v>
                </c:pt>
                <c:pt idx="16">
                  <c:v>1113.8132</c:v>
                </c:pt>
                <c:pt idx="17">
                  <c:v>1191.0806</c:v>
                </c:pt>
                <c:pt idx="18">
                  <c:v>1148.7885</c:v>
                </c:pt>
                <c:pt idx="19">
                  <c:v>1132.0652</c:v>
                </c:pt>
                <c:pt idx="20">
                  <c:v>1221.3818</c:v>
                </c:pt>
                <c:pt idx="21">
                  <c:v>1231.5532</c:v>
                </c:pt>
                <c:pt idx="22">
                  <c:v>1225.925</c:v>
                </c:pt>
                <c:pt idx="23">
                  <c:v>1173.6429</c:v>
                </c:pt>
                <c:pt idx="24">
                  <c:v>1238.8857</c:v>
                </c:pt>
                <c:pt idx="25">
                  <c:v>839.3902</c:v>
                </c:pt>
                <c:pt idx="26">
                  <c:v>710.587</c:v>
                </c:pt>
                <c:pt idx="27">
                  <c:v>716.1034</c:v>
                </c:pt>
                <c:pt idx="28">
                  <c:v>568.4074</c:v>
                </c:pt>
                <c:pt idx="29">
                  <c:v>727.475</c:v>
                </c:pt>
                <c:pt idx="30">
                  <c:v>738.0</c:v>
                </c:pt>
                <c:pt idx="31">
                  <c:v>733.5769</c:v>
                </c:pt>
                <c:pt idx="32">
                  <c:v>984.6667</c:v>
                </c:pt>
                <c:pt idx="33">
                  <c:v>657.6136</c:v>
                </c:pt>
                <c:pt idx="34">
                  <c:v>735.6667</c:v>
                </c:pt>
                <c:pt idx="35">
                  <c:v>642.3051</c:v>
                </c:pt>
                <c:pt idx="36">
                  <c:v>438.918</c:v>
                </c:pt>
                <c:pt idx="37">
                  <c:v>601.3469</c:v>
                </c:pt>
                <c:pt idx="38">
                  <c:v>603.0278</c:v>
                </c:pt>
                <c:pt idx="39">
                  <c:v>681.3929</c:v>
                </c:pt>
                <c:pt idx="40">
                  <c:v>645.5758</c:v>
                </c:pt>
                <c:pt idx="41">
                  <c:v>670.6429</c:v>
                </c:pt>
                <c:pt idx="42">
                  <c:v>961.9</c:v>
                </c:pt>
                <c:pt idx="43">
                  <c:v>1048.6765</c:v>
                </c:pt>
                <c:pt idx="44">
                  <c:v>1055.1071</c:v>
                </c:pt>
                <c:pt idx="45">
                  <c:v>1052.0423</c:v>
                </c:pt>
                <c:pt idx="46">
                  <c:v>1064.338</c:v>
                </c:pt>
                <c:pt idx="47">
                  <c:v>1058.3934</c:v>
                </c:pt>
                <c:pt idx="48">
                  <c:v>1166.3694</c:v>
                </c:pt>
                <c:pt idx="49">
                  <c:v>1169.1517</c:v>
                </c:pt>
                <c:pt idx="50">
                  <c:v>1206.3125</c:v>
                </c:pt>
                <c:pt idx="51">
                  <c:v>1200.6377</c:v>
                </c:pt>
                <c:pt idx="52">
                  <c:v>1288.6479</c:v>
                </c:pt>
                <c:pt idx="53">
                  <c:v>1353.9254</c:v>
                </c:pt>
                <c:pt idx="54">
                  <c:v>1361.1667</c:v>
                </c:pt>
                <c:pt idx="55">
                  <c:v>1376.9365</c:v>
                </c:pt>
                <c:pt idx="56">
                  <c:v>1274.6267</c:v>
                </c:pt>
                <c:pt idx="57">
                  <c:v>1187.4615</c:v>
                </c:pt>
                <c:pt idx="58">
                  <c:v>1279.7333</c:v>
                </c:pt>
                <c:pt idx="59">
                  <c:v>1230.4703</c:v>
                </c:pt>
                <c:pt idx="60">
                  <c:v>1204.0505</c:v>
                </c:pt>
                <c:pt idx="61">
                  <c:v>1314.6108</c:v>
                </c:pt>
                <c:pt idx="62">
                  <c:v>1312.4691</c:v>
                </c:pt>
                <c:pt idx="63">
                  <c:v>1310.2207</c:v>
                </c:pt>
                <c:pt idx="64">
                  <c:v>1296.9149</c:v>
                </c:pt>
                <c:pt idx="65">
                  <c:v>1192.4172</c:v>
                </c:pt>
                <c:pt idx="66">
                  <c:v>1241.2763</c:v>
                </c:pt>
                <c:pt idx="67">
                  <c:v>1280.288</c:v>
                </c:pt>
                <c:pt idx="68">
                  <c:v>1291.4409</c:v>
                </c:pt>
                <c:pt idx="69">
                  <c:v>1286.0339</c:v>
                </c:pt>
                <c:pt idx="70">
                  <c:v>1189.7273</c:v>
                </c:pt>
                <c:pt idx="71">
                  <c:v>1239.2836</c:v>
                </c:pt>
                <c:pt idx="72">
                  <c:v>1473.5769</c:v>
                </c:pt>
                <c:pt idx="73">
                  <c:v>1358.3269</c:v>
                </c:pt>
                <c:pt idx="74">
                  <c:v>1366.4151</c:v>
                </c:pt>
                <c:pt idx="75">
                  <c:v>1291.0</c:v>
                </c:pt>
                <c:pt idx="76">
                  <c:v>884.6087</c:v>
                </c:pt>
                <c:pt idx="77">
                  <c:v>459.0761</c:v>
                </c:pt>
                <c:pt idx="78">
                  <c:v>1246.25</c:v>
                </c:pt>
                <c:pt idx="79">
                  <c:v>1022.9375</c:v>
                </c:pt>
                <c:pt idx="80">
                  <c:v>1413.9444</c:v>
                </c:pt>
                <c:pt idx="81">
                  <c:v>995.6471</c:v>
                </c:pt>
                <c:pt idx="82">
                  <c:v>876.6429</c:v>
                </c:pt>
                <c:pt idx="83">
                  <c:v>955.0</c:v>
                </c:pt>
                <c:pt idx="84">
                  <c:v>953.6667</c:v>
                </c:pt>
                <c:pt idx="85">
                  <c:v>1012.037</c:v>
                </c:pt>
                <c:pt idx="86">
                  <c:v>1050.4828</c:v>
                </c:pt>
                <c:pt idx="87">
                  <c:v>940.1458</c:v>
                </c:pt>
                <c:pt idx="88">
                  <c:v>758.84</c:v>
                </c:pt>
                <c:pt idx="89">
                  <c:v>1071.9524</c:v>
                </c:pt>
                <c:pt idx="90">
                  <c:v>812.6957</c:v>
                </c:pt>
                <c:pt idx="91">
                  <c:v>1018.5294</c:v>
                </c:pt>
                <c:pt idx="92">
                  <c:v>1035.0</c:v>
                </c:pt>
                <c:pt idx="93">
                  <c:v>1128.1739</c:v>
                </c:pt>
                <c:pt idx="94">
                  <c:v>1197.0</c:v>
                </c:pt>
                <c:pt idx="95">
                  <c:v>1378.0714</c:v>
                </c:pt>
                <c:pt idx="96">
                  <c:v>1310.2</c:v>
                </c:pt>
                <c:pt idx="97">
                  <c:v>1291.1154</c:v>
                </c:pt>
                <c:pt idx="98">
                  <c:v>1329.6154</c:v>
                </c:pt>
                <c:pt idx="99">
                  <c:v>1286.5714</c:v>
                </c:pt>
                <c:pt idx="100">
                  <c:v>1077.663</c:v>
                </c:pt>
                <c:pt idx="101">
                  <c:v>1076.2299</c:v>
                </c:pt>
                <c:pt idx="102">
                  <c:v>1060.122</c:v>
                </c:pt>
                <c:pt idx="103">
                  <c:v>1072.5581</c:v>
                </c:pt>
                <c:pt idx="104">
                  <c:v>1235.3</c:v>
                </c:pt>
              </c:numCache>
            </c:numRef>
          </c:xVal>
          <c:yVal>
            <c:numRef>
              <c:f>Sheet1!$B$2:$B$106</c:f>
              <c:numCache>
                <c:formatCode>General</c:formatCode>
                <c:ptCount val="105"/>
                <c:pt idx="0">
                  <c:v>0.27586206896551724</c:v>
                </c:pt>
                <c:pt idx="1">
                  <c:v>0.27539503386004516</c:v>
                </c:pt>
                <c:pt idx="2">
                  <c:v>0.2958579881656805</c:v>
                </c:pt>
                <c:pt idx="3">
                  <c:v>0.31092436974789917</c:v>
                </c:pt>
                <c:pt idx="4">
                  <c:v>0.3076923076923077</c:v>
                </c:pt>
                <c:pt idx="5">
                  <c:v>0.2838427947598253</c:v>
                </c:pt>
                <c:pt idx="6">
                  <c:v>0.2985971943887776</c:v>
                </c:pt>
                <c:pt idx="7">
                  <c:v>0.30930232558139537</c:v>
                </c:pt>
                <c:pt idx="8">
                  <c:v>0.3264367816091954</c:v>
                </c:pt>
                <c:pt idx="9">
                  <c:v>0.30952380952380953</c:v>
                </c:pt>
                <c:pt idx="10">
                  <c:v>0.2778675282714055</c:v>
                </c:pt>
                <c:pt idx="11">
                  <c:v>0.27569331158238175</c:v>
                </c:pt>
                <c:pt idx="12">
                  <c:v>0.3120243531202435</c:v>
                </c:pt>
                <c:pt idx="13">
                  <c:v>0.30434782608695654</c:v>
                </c:pt>
                <c:pt idx="14">
                  <c:v>0.3036053130929791</c:v>
                </c:pt>
                <c:pt idx="15">
                  <c:v>0.2849740932642487</c:v>
                </c:pt>
                <c:pt idx="16">
                  <c:v>0.30743243243243246</c:v>
                </c:pt>
                <c:pt idx="17">
                  <c:v>0.29107981220657275</c:v>
                </c:pt>
                <c:pt idx="18">
                  <c:v>0.2937853107344633</c:v>
                </c:pt>
                <c:pt idx="19">
                  <c:v>0.304635761589404</c:v>
                </c:pt>
                <c:pt idx="20">
                  <c:v>0.3125</c:v>
                </c:pt>
                <c:pt idx="21">
                  <c:v>0.32413793103448274</c:v>
                </c:pt>
                <c:pt idx="22">
                  <c:v>0.32786885245901637</c:v>
                </c:pt>
                <c:pt idx="23">
                  <c:v>0.3333333333333333</c:v>
                </c:pt>
                <c:pt idx="24">
                  <c:v>0.29914529914529914</c:v>
                </c:pt>
                <c:pt idx="25">
                  <c:v>0.41836734693877553</c:v>
                </c:pt>
                <c:pt idx="26">
                  <c:v>0.40350877192982454</c:v>
                </c:pt>
                <c:pt idx="27">
                  <c:v>0.464</c:v>
                </c:pt>
                <c:pt idx="28">
                  <c:v>0.46551724137931033</c:v>
                </c:pt>
                <c:pt idx="29">
                  <c:v>0.39603960396039606</c:v>
                </c:pt>
                <c:pt idx="30">
                  <c:v>0.4305555555555556</c:v>
                </c:pt>
                <c:pt idx="31">
                  <c:v>0.3880597014925373</c:v>
                </c:pt>
                <c:pt idx="32">
                  <c:v>0.31343283582089554</c:v>
                </c:pt>
                <c:pt idx="33">
                  <c:v>0.41904761904761906</c:v>
                </c:pt>
                <c:pt idx="34">
                  <c:v>0.3409090909090909</c:v>
                </c:pt>
                <c:pt idx="35">
                  <c:v>0.44029850746268656</c:v>
                </c:pt>
                <c:pt idx="36">
                  <c:v>0.5304347826086957</c:v>
                </c:pt>
                <c:pt idx="37">
                  <c:v>0.4375</c:v>
                </c:pt>
                <c:pt idx="38">
                  <c:v>0.3956043956043956</c:v>
                </c:pt>
                <c:pt idx="39">
                  <c:v>0.358974358974359</c:v>
                </c:pt>
                <c:pt idx="40">
                  <c:v>0.3707865168539326</c:v>
                </c:pt>
                <c:pt idx="41">
                  <c:v>0.35443037974683544</c:v>
                </c:pt>
                <c:pt idx="42">
                  <c:v>0.35714285714285715</c:v>
                </c:pt>
                <c:pt idx="43">
                  <c:v>0.2833333333333333</c:v>
                </c:pt>
                <c:pt idx="44">
                  <c:v>0.24347826086956523</c:v>
                </c:pt>
                <c:pt idx="45">
                  <c:v>0.25539568345323743</c:v>
                </c:pt>
                <c:pt idx="46">
                  <c:v>0.29338842975206614</c:v>
                </c:pt>
                <c:pt idx="47">
                  <c:v>0.21254355400696864</c:v>
                </c:pt>
                <c:pt idx="48">
                  <c:v>0.2674698795180723</c:v>
                </c:pt>
                <c:pt idx="49">
                  <c:v>0.21198830409356725</c:v>
                </c:pt>
                <c:pt idx="50">
                  <c:v>0.23054755043227665</c:v>
                </c:pt>
                <c:pt idx="51">
                  <c:v>0.2574626865671642</c:v>
                </c:pt>
                <c:pt idx="52">
                  <c:v>0.2125748502994012</c:v>
                </c:pt>
                <c:pt idx="53">
                  <c:v>0.22483221476510068</c:v>
                </c:pt>
                <c:pt idx="54">
                  <c:v>0.24535315985130113</c:v>
                </c:pt>
                <c:pt idx="55">
                  <c:v>0.2550607287449393</c:v>
                </c:pt>
                <c:pt idx="56">
                  <c:v>0.25773195876288657</c:v>
                </c:pt>
                <c:pt idx="57">
                  <c:v>0.2549019607843137</c:v>
                </c:pt>
                <c:pt idx="58">
                  <c:v>0.2494802494802495</c:v>
                </c:pt>
                <c:pt idx="59">
                  <c:v>0.24225663716814158</c:v>
                </c:pt>
                <c:pt idx="60">
                  <c:v>0.29096638655462187</c:v>
                </c:pt>
                <c:pt idx="61">
                  <c:v>0.2945859872611465</c:v>
                </c:pt>
                <c:pt idx="62">
                  <c:v>0.2604501607717042</c:v>
                </c:pt>
                <c:pt idx="63">
                  <c:v>0.3020408163265306</c:v>
                </c:pt>
                <c:pt idx="64">
                  <c:v>0.268188302425107</c:v>
                </c:pt>
                <c:pt idx="65">
                  <c:v>0.2815198618307427</c:v>
                </c:pt>
                <c:pt idx="66">
                  <c:v>0.2992125984251969</c:v>
                </c:pt>
                <c:pt idx="67">
                  <c:v>0.3078817733990148</c:v>
                </c:pt>
                <c:pt idx="68">
                  <c:v>0.3</c:v>
                </c:pt>
                <c:pt idx="69">
                  <c:v>0.29797979797979796</c:v>
                </c:pt>
                <c:pt idx="70">
                  <c:v>0.2857142857142857</c:v>
                </c:pt>
                <c:pt idx="71">
                  <c:v>0.3145539906103286</c:v>
                </c:pt>
                <c:pt idx="72">
                  <c:v>0.30057803468208094</c:v>
                </c:pt>
                <c:pt idx="73">
                  <c:v>0.33766233766233766</c:v>
                </c:pt>
                <c:pt idx="74">
                  <c:v>0.35570469798657717</c:v>
                </c:pt>
                <c:pt idx="75">
                  <c:v>0.3076923076923077</c:v>
                </c:pt>
                <c:pt idx="76">
                  <c:v>0.4423076923076923</c:v>
                </c:pt>
                <c:pt idx="77">
                  <c:v>0.5786163522012578</c:v>
                </c:pt>
                <c:pt idx="78">
                  <c:v>0.3146067415730337</c:v>
                </c:pt>
                <c:pt idx="79">
                  <c:v>0.45714285714285713</c:v>
                </c:pt>
                <c:pt idx="80">
                  <c:v>0.27692307692307694</c:v>
                </c:pt>
                <c:pt idx="81">
                  <c:v>0.35051546391752575</c:v>
                </c:pt>
                <c:pt idx="82">
                  <c:v>0.3835616438356164</c:v>
                </c:pt>
                <c:pt idx="83">
                  <c:v>0.35384615384615387</c:v>
                </c:pt>
                <c:pt idx="84">
                  <c:v>0.3888888888888889</c:v>
                </c:pt>
                <c:pt idx="85">
                  <c:v>0.3698630136986301</c:v>
                </c:pt>
                <c:pt idx="86">
                  <c:v>0.3717948717948718</c:v>
                </c:pt>
                <c:pt idx="87">
                  <c:v>0.46601941747572817</c:v>
                </c:pt>
                <c:pt idx="88">
                  <c:v>0.423728813559322</c:v>
                </c:pt>
                <c:pt idx="89">
                  <c:v>0.3684210526315789</c:v>
                </c:pt>
                <c:pt idx="90">
                  <c:v>0.4791666666666667</c:v>
                </c:pt>
                <c:pt idx="91">
                  <c:v>0.32075471698113206</c:v>
                </c:pt>
                <c:pt idx="92">
                  <c:v>0.36</c:v>
                </c:pt>
                <c:pt idx="93">
                  <c:v>0.32857142857142857</c:v>
                </c:pt>
                <c:pt idx="94">
                  <c:v>0.24</c:v>
                </c:pt>
                <c:pt idx="95">
                  <c:v>0.2413793103448276</c:v>
                </c:pt>
                <c:pt idx="96">
                  <c:v>0.22842639593908629</c:v>
                </c:pt>
                <c:pt idx="97">
                  <c:v>0.23423423423423423</c:v>
                </c:pt>
                <c:pt idx="98">
                  <c:v>0.25</c:v>
                </c:pt>
                <c:pt idx="99">
                  <c:v>0.2708333333333333</c:v>
                </c:pt>
                <c:pt idx="100">
                  <c:v>0.3188908145580589</c:v>
                </c:pt>
                <c:pt idx="101">
                  <c:v>0.29</c:v>
                </c:pt>
                <c:pt idx="102">
                  <c:v>0.34024896265560167</c:v>
                </c:pt>
                <c:pt idx="103">
                  <c:v>0.30604982206405695</c:v>
                </c:pt>
                <c:pt idx="104">
                  <c:v>0.31372549019607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5.596</c:v>
                </c:pt>
                <c:pt idx="1">
                  <c:v>1338.1013</c:v>
                </c:pt>
                <c:pt idx="2">
                  <c:v>1344.5234</c:v>
                </c:pt>
                <c:pt idx="3">
                  <c:v>1379.4052</c:v>
                </c:pt>
                <c:pt idx="4">
                  <c:v>1191.4851</c:v>
                </c:pt>
                <c:pt idx="5">
                  <c:v>1381.6476</c:v>
                </c:pt>
                <c:pt idx="6">
                  <c:v>1343.45</c:v>
                </c:pt>
                <c:pt idx="7">
                  <c:v>1352.0897</c:v>
                </c:pt>
                <c:pt idx="8">
                  <c:v>1390.2469</c:v>
                </c:pt>
                <c:pt idx="9">
                  <c:v>1456.828</c:v>
                </c:pt>
                <c:pt idx="10">
                  <c:v>1415.1143</c:v>
                </c:pt>
                <c:pt idx="11">
                  <c:v>1323.5352</c:v>
                </c:pt>
                <c:pt idx="12">
                  <c:v>1218.4957</c:v>
                </c:pt>
                <c:pt idx="13">
                  <c:v>1262.2077</c:v>
                </c:pt>
                <c:pt idx="14">
                  <c:v>1289.9238</c:v>
                </c:pt>
                <c:pt idx="15">
                  <c:v>1278.4444</c:v>
                </c:pt>
                <c:pt idx="16">
                  <c:v>1402.2813</c:v>
                </c:pt>
                <c:pt idx="17">
                  <c:v>1312.3265</c:v>
                </c:pt>
                <c:pt idx="18">
                  <c:v>1311.1951</c:v>
                </c:pt>
                <c:pt idx="19">
                  <c:v>1249.8478</c:v>
                </c:pt>
                <c:pt idx="20">
                  <c:v>1320.1892</c:v>
                </c:pt>
                <c:pt idx="21">
                  <c:v>1143.5283</c:v>
                </c:pt>
                <c:pt idx="22">
                  <c:v>787.9375</c:v>
                </c:pt>
                <c:pt idx="23">
                  <c:v>1074.0238</c:v>
                </c:pt>
                <c:pt idx="24">
                  <c:v>1187.25</c:v>
                </c:pt>
                <c:pt idx="25">
                  <c:v>946.7105</c:v>
                </c:pt>
                <c:pt idx="26">
                  <c:v>1059.0294</c:v>
                </c:pt>
                <c:pt idx="27">
                  <c:v>996.0</c:v>
                </c:pt>
                <c:pt idx="28">
                  <c:v>1032.2593</c:v>
                </c:pt>
                <c:pt idx="29">
                  <c:v>1043.24</c:v>
                </c:pt>
                <c:pt idx="30">
                  <c:v>961.0</c:v>
                </c:pt>
                <c:pt idx="31">
                  <c:v>980.2632</c:v>
                </c:pt>
                <c:pt idx="32">
                  <c:v>1092.8947</c:v>
                </c:pt>
                <c:pt idx="33">
                  <c:v>1448.4706</c:v>
                </c:pt>
                <c:pt idx="34">
                  <c:v>1343.8824</c:v>
                </c:pt>
                <c:pt idx="35">
                  <c:v>1110.375</c:v>
                </c:pt>
                <c:pt idx="36">
                  <c:v>973.2</c:v>
                </c:pt>
                <c:pt idx="37">
                  <c:v>935.8571</c:v>
                </c:pt>
                <c:pt idx="38">
                  <c:v>949.8889</c:v>
                </c:pt>
                <c:pt idx="39">
                  <c:v>795.4737</c:v>
                </c:pt>
                <c:pt idx="40">
                  <c:v>963.2059</c:v>
                </c:pt>
                <c:pt idx="41">
                  <c:v>1087.4286</c:v>
                </c:pt>
                <c:pt idx="42">
                  <c:v>1098.1111</c:v>
                </c:pt>
                <c:pt idx="43">
                  <c:v>949.6667</c:v>
                </c:pt>
                <c:pt idx="44">
                  <c:v>1151.3714</c:v>
                </c:pt>
                <c:pt idx="45">
                  <c:v>1235.4792</c:v>
                </c:pt>
                <c:pt idx="46">
                  <c:v>1315.7174</c:v>
                </c:pt>
                <c:pt idx="47">
                  <c:v>1439.7632</c:v>
                </c:pt>
                <c:pt idx="48">
                  <c:v>1417.3333</c:v>
                </c:pt>
                <c:pt idx="49">
                  <c:v>1327.5889</c:v>
                </c:pt>
                <c:pt idx="50">
                  <c:v>1192.4302</c:v>
                </c:pt>
                <c:pt idx="51">
                  <c:v>1278.9848</c:v>
                </c:pt>
              </c:numCache>
            </c:numRef>
          </c:xVal>
          <c:yVal>
            <c:numRef>
              <c:f>Sheet1!$B$109:$B$160</c:f>
              <c:numCache>
                <c:formatCode>General</c:formatCode>
                <c:ptCount val="52"/>
                <c:pt idx="0">
                  <c:v>0.3103448275862069</c:v>
                </c:pt>
                <c:pt idx="1">
                  <c:v>0.2841726618705036</c:v>
                </c:pt>
                <c:pt idx="2">
                  <c:v>0.31470588235294117</c:v>
                </c:pt>
                <c:pt idx="3">
                  <c:v>0.29743589743589743</c:v>
                </c:pt>
                <c:pt idx="4">
                  <c:v>0.34986945169712796</c:v>
                </c:pt>
                <c:pt idx="5">
                  <c:v>0.30701754385964913</c:v>
                </c:pt>
                <c:pt idx="6">
                  <c:v>0.2830188679245283</c:v>
                </c:pt>
                <c:pt idx="7">
                  <c:v>0.2899628252788104</c:v>
                </c:pt>
                <c:pt idx="8">
                  <c:v>0.28421052631578947</c:v>
                </c:pt>
                <c:pt idx="9">
                  <c:v>0.27761194029850744</c:v>
                </c:pt>
                <c:pt idx="10">
                  <c:v>0.3143712574850299</c:v>
                </c:pt>
                <c:pt idx="11">
                  <c:v>0.29098360655737704</c:v>
                </c:pt>
                <c:pt idx="12">
                  <c:v>0.29411764705882354</c:v>
                </c:pt>
                <c:pt idx="13">
                  <c:v>0.3359173126614987</c:v>
                </c:pt>
                <c:pt idx="14">
                  <c:v>0.347682119205298</c:v>
                </c:pt>
                <c:pt idx="15">
                  <c:v>0.3068181818181818</c:v>
                </c:pt>
                <c:pt idx="16">
                  <c:v>0.3137254901960784</c:v>
                </c:pt>
                <c:pt idx="17">
                  <c:v>0.28823529411764703</c:v>
                </c:pt>
                <c:pt idx="18">
                  <c:v>0.3360655737704918</c:v>
                </c:pt>
                <c:pt idx="19">
                  <c:v>0.33093525179856115</c:v>
                </c:pt>
                <c:pt idx="20">
                  <c:v>0.3008130081300813</c:v>
                </c:pt>
                <c:pt idx="21">
                  <c:v>0.36054421768707484</c:v>
                </c:pt>
                <c:pt idx="22">
                  <c:v>0.39215686274509803</c:v>
                </c:pt>
                <c:pt idx="23">
                  <c:v>0.31343283582089554</c:v>
                </c:pt>
                <c:pt idx="24">
                  <c:v>0.25396825396825395</c:v>
                </c:pt>
                <c:pt idx="25">
                  <c:v>0.31666666666666665</c:v>
                </c:pt>
                <c:pt idx="26">
                  <c:v>0.3300970873786408</c:v>
                </c:pt>
                <c:pt idx="27">
                  <c:v>0.37254901960784315</c:v>
                </c:pt>
                <c:pt idx="28">
                  <c:v>0.2903225806451613</c:v>
                </c:pt>
                <c:pt idx="29">
                  <c:v>0.3472222222222222</c:v>
                </c:pt>
                <c:pt idx="30">
                  <c:v>0.3728813559322034</c:v>
                </c:pt>
                <c:pt idx="31">
                  <c:v>0.36538461538461536</c:v>
                </c:pt>
                <c:pt idx="32">
                  <c:v>0.31666666666666665</c:v>
                </c:pt>
                <c:pt idx="33">
                  <c:v>0.265625</c:v>
                </c:pt>
                <c:pt idx="34">
                  <c:v>0.3541666666666667</c:v>
                </c:pt>
                <c:pt idx="35">
                  <c:v>0.35294117647058826</c:v>
                </c:pt>
                <c:pt idx="36">
                  <c:v>0.2777777777777778</c:v>
                </c:pt>
                <c:pt idx="37">
                  <c:v>0.27450980392156865</c:v>
                </c:pt>
                <c:pt idx="38">
                  <c:v>0.2647058823529412</c:v>
                </c:pt>
                <c:pt idx="39">
                  <c:v>0.2159090909090909</c:v>
                </c:pt>
                <c:pt idx="40">
                  <c:v>0.2677165354330709</c:v>
                </c:pt>
                <c:pt idx="41">
                  <c:v>0.21649484536082475</c:v>
                </c:pt>
                <c:pt idx="42">
                  <c:v>0.2535211267605634</c:v>
                </c:pt>
                <c:pt idx="43">
                  <c:v>0.2641509433962264</c:v>
                </c:pt>
                <c:pt idx="44">
                  <c:v>0.2046783625730994</c:v>
                </c:pt>
                <c:pt idx="45">
                  <c:v>0.1991701244813278</c:v>
                </c:pt>
                <c:pt idx="46">
                  <c:v>0.25842696629213485</c:v>
                </c:pt>
                <c:pt idx="47">
                  <c:v>0.18811881188118812</c:v>
                </c:pt>
                <c:pt idx="48">
                  <c:v>0.21621621621621623</c:v>
                </c:pt>
                <c:pt idx="49">
                  <c:v>0.22613065326633167</c:v>
                </c:pt>
                <c:pt idx="50">
                  <c:v>0.28012519561815336</c:v>
                </c:pt>
                <c:pt idx="51">
                  <c:v>0.224489795918367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0.4426907292398</c:v>
                </c:pt>
              </c:numCache>
            </c:numRef>
          </c:xVal>
          <c:yVal>
            <c:numRef>
              <c:f>Sheet1!$B$163:$B$164</c:f>
              <c:numCache>
                <c:formatCode>General</c:formatCode>
                <c:ptCount val="2"/>
                <c:pt idx="0">
                  <c:v>0.386963084234587</c:v>
                </c:pt>
                <c:pt idx="1">
                  <c:v>0.3869630842345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0.4426907292398</c:v>
                </c:pt>
                <c:pt idx="1">
                  <c:v>-550.4426907292398</c:v>
                </c:pt>
              </c:numCache>
            </c:numRef>
          </c:xVal>
          <c:yVal>
            <c:numRef>
              <c:f>Sheet1!$B$167:$B$168</c:f>
              <c:numCache>
                <c:formatCode>General</c:formatCode>
                <c:ptCount val="2"/>
                <c:pt idx="0">
                  <c:v>0.3869630842345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18.9930575159249</c:v>
                </c:pt>
              </c:numCache>
            </c:numRef>
          </c:xVal>
          <c:yVal>
            <c:numRef>
              <c:f>Sheet1!$B$171:$B$172</c:f>
              <c:numCache>
                <c:formatCode>General</c:formatCode>
                <c:ptCount val="2"/>
                <c:pt idx="0">
                  <c:v>0.3300876795157641</c:v>
                </c:pt>
                <c:pt idx="1">
                  <c:v>0.330087679515764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18.9930575159249</c:v>
                </c:pt>
                <c:pt idx="1">
                  <c:v>518.9930575159249</c:v>
                </c:pt>
              </c:numCache>
            </c:numRef>
          </c:xVal>
          <c:yVal>
            <c:numRef>
              <c:f>Sheet1!$B$175:$B$176</c:f>
              <c:numCache>
                <c:formatCode>General</c:formatCode>
                <c:ptCount val="2"/>
                <c:pt idx="0">
                  <c:v>0.33008767951576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364.5800149688102</c:v>
                </c:pt>
              </c:numCache>
            </c:numRef>
          </c:xVal>
          <c:yVal>
            <c:numRef>
              <c:f>Sheet1!$B$179:$B$180</c:f>
              <c:numCache>
                <c:formatCode>General</c:formatCode>
                <c:ptCount val="2"/>
                <c:pt idx="0">
                  <c:v>0.23193451293127654</c:v>
                </c:pt>
                <c:pt idx="1">
                  <c:v>0.231934512931276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364.5800149688102</c:v>
                </c:pt>
                <c:pt idx="1">
                  <c:v>2364.5800149688102</c:v>
                </c:pt>
              </c:numCache>
            </c:numRef>
          </c:xVal>
          <c:yVal>
            <c:numRef>
              <c:f>Sheet1!$B$183:$B$184</c:f>
              <c:numCache>
                <c:formatCode>General</c:formatCode>
                <c:ptCount val="2"/>
                <c:pt idx="0">
                  <c:v>0.23193451293127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5.596</c:v>
                </c:pt>
                <c:pt idx="1">
                  <c:v>1338.1013</c:v>
                </c:pt>
                <c:pt idx="2">
                  <c:v>1344.5234</c:v>
                </c:pt>
                <c:pt idx="3">
                  <c:v>1379.4052</c:v>
                </c:pt>
                <c:pt idx="4">
                  <c:v>1191.4851</c:v>
                </c:pt>
                <c:pt idx="5">
                  <c:v>1381.6476</c:v>
                </c:pt>
                <c:pt idx="6">
                  <c:v>1343.45</c:v>
                </c:pt>
                <c:pt idx="7">
                  <c:v>1352.0897</c:v>
                </c:pt>
                <c:pt idx="8">
                  <c:v>1390.2469</c:v>
                </c:pt>
                <c:pt idx="9">
                  <c:v>1456.828</c:v>
                </c:pt>
                <c:pt idx="10">
                  <c:v>1415.1143</c:v>
                </c:pt>
                <c:pt idx="11">
                  <c:v>1323.5352</c:v>
                </c:pt>
                <c:pt idx="12">
                  <c:v>1218.4957</c:v>
                </c:pt>
                <c:pt idx="13">
                  <c:v>1262.2077</c:v>
                </c:pt>
                <c:pt idx="14">
                  <c:v>1289.9238</c:v>
                </c:pt>
                <c:pt idx="15">
                  <c:v>1278.4444</c:v>
                </c:pt>
                <c:pt idx="16">
                  <c:v>1402.2813</c:v>
                </c:pt>
                <c:pt idx="17">
                  <c:v>1312.3265</c:v>
                </c:pt>
                <c:pt idx="18">
                  <c:v>1311.1951</c:v>
                </c:pt>
                <c:pt idx="19">
                  <c:v>1249.8478</c:v>
                </c:pt>
                <c:pt idx="20">
                  <c:v>1320.1892</c:v>
                </c:pt>
                <c:pt idx="21">
                  <c:v>1143.5283</c:v>
                </c:pt>
                <c:pt idx="22">
                  <c:v>787.9375</c:v>
                </c:pt>
                <c:pt idx="23">
                  <c:v>1074.0238</c:v>
                </c:pt>
                <c:pt idx="24">
                  <c:v>1187.25</c:v>
                </c:pt>
                <c:pt idx="25">
                  <c:v>946.7105</c:v>
                </c:pt>
                <c:pt idx="26">
                  <c:v>1059.0294</c:v>
                </c:pt>
                <c:pt idx="27">
                  <c:v>996.0</c:v>
                </c:pt>
                <c:pt idx="28">
                  <c:v>1032.2593</c:v>
                </c:pt>
                <c:pt idx="29">
                  <c:v>1043.24</c:v>
                </c:pt>
                <c:pt idx="30">
                  <c:v>961.0</c:v>
                </c:pt>
                <c:pt idx="31">
                  <c:v>980.2632</c:v>
                </c:pt>
                <c:pt idx="32">
                  <c:v>1092.8947</c:v>
                </c:pt>
                <c:pt idx="33">
                  <c:v>1448.4706</c:v>
                </c:pt>
                <c:pt idx="34">
                  <c:v>1343.8824</c:v>
                </c:pt>
                <c:pt idx="35">
                  <c:v>1110.375</c:v>
                </c:pt>
                <c:pt idx="36">
                  <c:v>973.2</c:v>
                </c:pt>
                <c:pt idx="37">
                  <c:v>935.8571</c:v>
                </c:pt>
                <c:pt idx="38">
                  <c:v>949.8889</c:v>
                </c:pt>
                <c:pt idx="39">
                  <c:v>795.4737</c:v>
                </c:pt>
                <c:pt idx="40">
                  <c:v>963.2059</c:v>
                </c:pt>
                <c:pt idx="41">
                  <c:v>1087.4286</c:v>
                </c:pt>
                <c:pt idx="42">
                  <c:v>1098.1111</c:v>
                </c:pt>
                <c:pt idx="43">
                  <c:v>949.6667</c:v>
                </c:pt>
                <c:pt idx="44">
                  <c:v>1151.3714</c:v>
                </c:pt>
                <c:pt idx="45">
                  <c:v>1235.4792</c:v>
                </c:pt>
                <c:pt idx="46">
                  <c:v>1315.7174</c:v>
                </c:pt>
                <c:pt idx="47">
                  <c:v>1439.7632</c:v>
                </c:pt>
                <c:pt idx="48">
                  <c:v>1417.3333</c:v>
                </c:pt>
                <c:pt idx="49">
                  <c:v>1327.5889</c:v>
                </c:pt>
                <c:pt idx="50">
                  <c:v>1192.4302</c:v>
                </c:pt>
                <c:pt idx="51">
                  <c:v>1278.9848</c:v>
                </c:pt>
                <c:pt idx="52">
                  <c:v>518.9930575159249</c:v>
                </c:pt>
                <c:pt idx="53">
                  <c:v>-550.4426907292398</c:v>
                </c:pt>
                <c:pt idx="54">
                  <c:v>2364.5800149688102</c:v>
                </c:pt>
              </c:numCache>
            </c:numRef>
          </c:xVal>
          <c:yVal>
            <c:numRef>
              <c:f>Sheet1!$B$187:$B$241</c:f>
              <c:numCache>
                <c:formatCode>General</c:formatCode>
                <c:ptCount val="55"/>
                <c:pt idx="0">
                  <c:v>0.290381372159082</c:v>
                </c:pt>
                <c:pt idx="1">
                  <c:v>0.2865253496831863</c:v>
                </c:pt>
                <c:pt idx="2">
                  <c:v>0.28618380552100164</c:v>
                </c:pt>
                <c:pt idx="3">
                  <c:v>0.28432869969012176</c:v>
                </c:pt>
                <c:pt idx="4">
                  <c:v>0.29432278466422107</c:v>
                </c:pt>
                <c:pt idx="5">
                  <c:v>0.28420944296268325</c:v>
                </c:pt>
                <c:pt idx="6">
                  <c:v>0.28624089175505113</c:v>
                </c:pt>
                <c:pt idx="7">
                  <c:v>0.28578140979462896</c:v>
                </c:pt>
                <c:pt idx="8">
                  <c:v>0.2837521095804757</c:v>
                </c:pt>
                <c:pt idx="9">
                  <c:v>0.2802111516357481</c:v>
                </c:pt>
                <c:pt idx="10">
                  <c:v>0.2824295958702078</c:v>
                </c:pt>
                <c:pt idx="11">
                  <c:v>0.2873000131765605</c:v>
                </c:pt>
                <c:pt idx="12">
                  <c:v>0.2928862899433189</c:v>
                </c:pt>
                <c:pt idx="13">
                  <c:v>0.29056157086117795</c:v>
                </c:pt>
                <c:pt idx="14">
                  <c:v>0.2890875557954632</c:v>
                </c:pt>
                <c:pt idx="15">
                  <c:v>0.28969806046767055</c:v>
                </c:pt>
                <c:pt idx="16">
                  <c:v>0.2831120885491315</c:v>
                </c:pt>
                <c:pt idx="17">
                  <c:v>0.2878961213110772</c:v>
                </c:pt>
                <c:pt idx="18">
                  <c:v>0.2879562921376131</c:v>
                </c:pt>
                <c:pt idx="19">
                  <c:v>0.29121890283828616</c:v>
                </c:pt>
                <c:pt idx="20">
                  <c:v>0.2874779622534466</c:v>
                </c:pt>
                <c:pt idx="21">
                  <c:v>0.29687325337026094</c:v>
                </c:pt>
                <c:pt idx="22">
                  <c:v>0.3157845069892615</c:v>
                </c:pt>
                <c:pt idx="23">
                  <c:v>0.30056968541282736</c:v>
                </c:pt>
                <c:pt idx="24">
                  <c:v>0.294548018416618</c:v>
                </c:pt>
                <c:pt idx="25">
                  <c:v>0.30734054142308387</c:v>
                </c:pt>
                <c:pt idx="26">
                  <c:v>0.3013671270262345</c:v>
                </c:pt>
                <c:pt idx="27">
                  <c:v>0.3047191962272753</c:v>
                </c:pt>
                <c:pt idx="28">
                  <c:v>0.3027908313248441</c:v>
                </c:pt>
                <c:pt idx="29">
                  <c:v>0.30220684882975657</c:v>
                </c:pt>
                <c:pt idx="30">
                  <c:v>0.3065805882449119</c:v>
                </c:pt>
                <c:pt idx="31">
                  <c:v>0.30555612062450793</c:v>
                </c:pt>
                <c:pt idx="32">
                  <c:v>0.2995660813378097</c:v>
                </c:pt>
                <c:pt idx="33">
                  <c:v>0.2806556201399823</c:v>
                </c:pt>
                <c:pt idx="34">
                  <c:v>0.28621789558623895</c:v>
                </c:pt>
                <c:pt idx="35">
                  <c:v>0.29863643302678416</c:v>
                </c:pt>
                <c:pt idx="36">
                  <c:v>0.30593176017019286</c:v>
                </c:pt>
                <c:pt idx="37">
                  <c:v>0.30791775376949004</c:v>
                </c:pt>
                <c:pt idx="38">
                  <c:v>0.3071715057548308</c:v>
                </c:pt>
                <c:pt idx="39">
                  <c:v>0.315383712060024</c:v>
                </c:pt>
                <c:pt idx="40">
                  <c:v>0.3064632726834346</c:v>
                </c:pt>
                <c:pt idx="41">
                  <c:v>0.29985678290659834</c:v>
                </c:pt>
                <c:pt idx="42">
                  <c:v>0.29928865947150113</c:v>
                </c:pt>
                <c:pt idx="43">
                  <c:v>0.3071833229350114</c:v>
                </c:pt>
                <c:pt idx="44">
                  <c:v>0.2964561366921602</c:v>
                </c:pt>
                <c:pt idx="45">
                  <c:v>0.291983062762418</c:v>
                </c:pt>
                <c:pt idx="46">
                  <c:v>0.2877157843341457</c:v>
                </c:pt>
                <c:pt idx="47">
                  <c:v>0.28111870256439286</c:v>
                </c:pt>
                <c:pt idx="48">
                  <c:v>0.2823115836162896</c:v>
                </c:pt>
                <c:pt idx="49">
                  <c:v>0.2870844267530779</c:v>
                </c:pt>
                <c:pt idx="50">
                  <c:v>0.29427252176148194</c:v>
                </c:pt>
                <c:pt idx="51">
                  <c:v>0.28966932057491823</c:v>
                </c:pt>
                <c:pt idx="52">
                  <c:v>0.3300876795157641</c:v>
                </c:pt>
                <c:pt idx="53">
                  <c:v>0.386963084234587</c:v>
                </c:pt>
                <c:pt idx="54">
                  <c:v>0.231934512931276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8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943396226415094"/>
          <c:min val="0.1504950495049505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910575439874223</c:v>
                </c:pt>
                <c:pt idx="1">
                  <c:v>0.8528395315843169</c:v>
                </c:pt>
                <c:pt idx="2">
                  <c:v>0.8301895940437704</c:v>
                </c:pt>
                <c:pt idx="3">
                  <c:v>0.8798108690742544</c:v>
                </c:pt>
                <c:pt idx="4">
                  <c:v>0.8818012376053083</c:v>
                </c:pt>
                <c:pt idx="5">
                  <c:v>0.8677746191983458</c:v>
                </c:pt>
                <c:pt idx="6">
                  <c:v>0.8573691681104575</c:v>
                </c:pt>
                <c:pt idx="7">
                  <c:v>0.8466779341801168</c:v>
                </c:pt>
                <c:pt idx="8">
                  <c:v>0.8375264683526267</c:v>
                </c:pt>
                <c:pt idx="9">
                  <c:v>0.9051762358455534</c:v>
                </c:pt>
                <c:pt idx="10">
                  <c:v>0.9369855504135868</c:v>
                </c:pt>
                <c:pt idx="11">
                  <c:v>0.9501187161061274</c:v>
                </c:pt>
                <c:pt idx="12">
                  <c:v>0.9239918354478701</c:v>
                </c:pt>
                <c:pt idx="13">
                  <c:v>0.905077220146885</c:v>
                </c:pt>
                <c:pt idx="14">
                  <c:v>0.9442826531226476</c:v>
                </c:pt>
                <c:pt idx="15">
                  <c:v>0.973469643702778</c:v>
                </c:pt>
                <c:pt idx="16">
                  <c:v>1.004406762401362</c:v>
                </c:pt>
                <c:pt idx="17">
                  <c:v>1.0322934336349423</c:v>
                </c:pt>
                <c:pt idx="18">
                  <c:v>1.0214411558994607</c:v>
                </c:pt>
                <c:pt idx="19">
                  <c:v>0.9820055529244859</c:v>
                </c:pt>
                <c:pt idx="20">
                  <c:v>1.0531122365221095</c:v>
                </c:pt>
                <c:pt idx="21">
                  <c:v>0.8908158549555313</c:v>
                </c:pt>
                <c:pt idx="22">
                  <c:v>0.8782364415451522</c:v>
                </c:pt>
                <c:pt idx="23">
                  <c:v>0.9021113760052676</c:v>
                </c:pt>
                <c:pt idx="24">
                  <c:v>1.2566070845613553</c:v>
                </c:pt>
                <c:pt idx="25">
                  <c:v>0.7404332415419577</c:v>
                </c:pt>
                <c:pt idx="26">
                  <c:v>0.7479911260738223</c:v>
                </c:pt>
                <c:pt idx="27">
                  <c:v>0.7384663208438007</c:v>
                </c:pt>
                <c:pt idx="28">
                  <c:v>0.7429966991886098</c:v>
                </c:pt>
                <c:pt idx="29">
                  <c:v>0.7999178147074435</c:v>
                </c:pt>
                <c:pt idx="30">
                  <c:v>0.7930361208222644</c:v>
                </c:pt>
                <c:pt idx="31">
                  <c:v>0.6887945779057205</c:v>
                </c:pt>
                <c:pt idx="32">
                  <c:v>0.7722710749006179</c:v>
                </c:pt>
                <c:pt idx="33">
                  <c:v>0.6119226823238566</c:v>
                </c:pt>
                <c:pt idx="34">
                  <c:v>0.7808569802552394</c:v>
                </c:pt>
                <c:pt idx="35">
                  <c:v>0.9474880530042481</c:v>
                </c:pt>
                <c:pt idx="36">
                  <c:v>1.0476251279263142</c:v>
                </c:pt>
                <c:pt idx="37">
                  <c:v>0.8031614198955382</c:v>
                </c:pt>
                <c:pt idx="38">
                  <c:v>0.9567614092585006</c:v>
                </c:pt>
                <c:pt idx="39">
                  <c:v>0.9422201580965243</c:v>
                </c:pt>
                <c:pt idx="40">
                  <c:v>0.7963940293098373</c:v>
                </c:pt>
                <c:pt idx="41">
                  <c:v>0.6970097467601913</c:v>
                </c:pt>
                <c:pt idx="42">
                  <c:v>0.764213557359997</c:v>
                </c:pt>
                <c:pt idx="43">
                  <c:v>0.7950306158639474</c:v>
                </c:pt>
                <c:pt idx="44">
                  <c:v>0.9199636738842043</c:v>
                </c:pt>
                <c:pt idx="45">
                  <c:v>0.9230710319280917</c:v>
                </c:pt>
                <c:pt idx="46">
                  <c:v>1.037835973771488</c:v>
                </c:pt>
                <c:pt idx="47">
                  <c:v>1.0766720456824939</c:v>
                </c:pt>
                <c:pt idx="48">
                  <c:v>1.0226431721226386</c:v>
                </c:pt>
                <c:pt idx="49">
                  <c:v>0.7597308193350667</c:v>
                </c:pt>
                <c:pt idx="50">
                  <c:v>0.7854591135166764</c:v>
                </c:pt>
                <c:pt idx="51">
                  <c:v>0.822636955367318</c:v>
                </c:pt>
                <c:pt idx="52">
                  <c:v>0.8654683845411278</c:v>
                </c:pt>
                <c:pt idx="53">
                  <c:v>0.7931029118851399</c:v>
                </c:pt>
                <c:pt idx="54">
                  <c:v>0.8108688894621437</c:v>
                </c:pt>
                <c:pt idx="55">
                  <c:v>0.8346588638150306</c:v>
                </c:pt>
                <c:pt idx="56">
                  <c:v>0.7634254644406411</c:v>
                </c:pt>
                <c:pt idx="57">
                  <c:v>0.6823057591299874</c:v>
                </c:pt>
                <c:pt idx="58">
                  <c:v>0.7514952134201927</c:v>
                </c:pt>
                <c:pt idx="59">
                  <c:v>0.7468955922063435</c:v>
                </c:pt>
                <c:pt idx="60">
                  <c:v>0.7889185029519565</c:v>
                </c:pt>
                <c:pt idx="61">
                  <c:v>0.9495092571709992</c:v>
                </c:pt>
                <c:pt idx="62">
                  <c:v>0.9698266963765753</c:v>
                </c:pt>
                <c:pt idx="63">
                  <c:v>0.9619581750820654</c:v>
                </c:pt>
                <c:pt idx="64">
                  <c:v>0.9331147464499333</c:v>
                </c:pt>
                <c:pt idx="65">
                  <c:v>0.9291850299836723</c:v>
                </c:pt>
                <c:pt idx="66">
                  <c:v>0.9715133226838158</c:v>
                </c:pt>
                <c:pt idx="67">
                  <c:v>1.0344656691389271</c:v>
                </c:pt>
                <c:pt idx="68">
                  <c:v>0.9635614164621222</c:v>
                </c:pt>
                <c:pt idx="69">
                  <c:v>1.0460557174597271</c:v>
                </c:pt>
                <c:pt idx="70">
                  <c:v>0.9799186105447749</c:v>
                </c:pt>
                <c:pt idx="71">
                  <c:v>0.8995109936213328</c:v>
                </c:pt>
                <c:pt idx="72">
                  <c:v>0.7835778643244212</c:v>
                </c:pt>
                <c:pt idx="73">
                  <c:v>0.9312335773548073</c:v>
                </c:pt>
                <c:pt idx="74">
                  <c:v>0.8997772295646859</c:v>
                </c:pt>
                <c:pt idx="75">
                  <c:v>0.9277836164710098</c:v>
                </c:pt>
                <c:pt idx="76">
                  <c:v>0.8453366951688118</c:v>
                </c:pt>
                <c:pt idx="77">
                  <c:v>1.0783688762235164</c:v>
                </c:pt>
                <c:pt idx="78">
                  <c:v>1.0049743498396866</c:v>
                </c:pt>
                <c:pt idx="79">
                  <c:v>0.9727480224024909</c:v>
                </c:pt>
                <c:pt idx="80">
                  <c:v>0.8782091333994886</c:v>
                </c:pt>
                <c:pt idx="81">
                  <c:v>1.0311957470042095</c:v>
                </c:pt>
                <c:pt idx="82">
                  <c:v>0.9250614193623049</c:v>
                </c:pt>
                <c:pt idx="83">
                  <c:v>0.8858213467419793</c:v>
                </c:pt>
                <c:pt idx="84">
                  <c:v>0.9423228339002927</c:v>
                </c:pt>
                <c:pt idx="85">
                  <c:v>1.0275224410755295</c:v>
                </c:pt>
                <c:pt idx="86">
                  <c:v>0.9208813959467846</c:v>
                </c:pt>
                <c:pt idx="87">
                  <c:v>0.9763235088040471</c:v>
                </c:pt>
                <c:pt idx="88">
                  <c:v>1.000020277832375</c:v>
                </c:pt>
                <c:pt idx="89">
                  <c:v>0.9190885191486389</c:v>
                </c:pt>
                <c:pt idx="90">
                  <c:v>1.1600892857142857</c:v>
                </c:pt>
                <c:pt idx="91">
                  <c:v>0.9601953921252622</c:v>
                </c:pt>
                <c:pt idx="92">
                  <c:v>0.811601368353228</c:v>
                </c:pt>
                <c:pt idx="93">
                  <c:v>0.8219336348878283</c:v>
                </c:pt>
                <c:pt idx="94">
                  <c:v>0.7775596062002678</c:v>
                </c:pt>
                <c:pt idx="95">
                  <c:v>0.5987994547545156</c:v>
                </c:pt>
                <c:pt idx="96">
                  <c:v>0.6446522688841638</c:v>
                </c:pt>
                <c:pt idx="97">
                  <c:v>0.7916520991816481</c:v>
                </c:pt>
                <c:pt idx="98">
                  <c:v>0.8060682952180654</c:v>
                </c:pt>
                <c:pt idx="99">
                  <c:v>0.8449115109962524</c:v>
                </c:pt>
                <c:pt idx="100">
                  <c:v>0.8724411254831194</c:v>
                </c:pt>
                <c:pt idx="101">
                  <c:v>0.9033758509629901</c:v>
                </c:pt>
                <c:pt idx="102">
                  <c:v>1.0509949173017024</c:v>
                </c:pt>
                <c:pt idx="103">
                  <c:v>0.9518471771230959</c:v>
                </c:pt>
                <c:pt idx="104">
                  <c:v>0.9264516247039134</c:v>
                </c:pt>
              </c:numCache>
            </c:numRef>
          </c:xVal>
          <c:yVal>
            <c:numRef>
              <c:f>Sheet1!$B$2:$B$106</c:f>
              <c:numCache>
                <c:formatCode>General</c:formatCode>
                <c:ptCount val="105"/>
                <c:pt idx="0">
                  <c:v>0.33497536945812806</c:v>
                </c:pt>
                <c:pt idx="1">
                  <c:v>0.37697516930022573</c:v>
                </c:pt>
                <c:pt idx="2">
                  <c:v>0.35700197238658776</c:v>
                </c:pt>
                <c:pt idx="3">
                  <c:v>0.31932773109243695</c:v>
                </c:pt>
                <c:pt idx="4">
                  <c:v>0.3333333333333333</c:v>
                </c:pt>
                <c:pt idx="5">
                  <c:v>0.3384279475982533</c:v>
                </c:pt>
                <c:pt idx="6">
                  <c:v>0.3286573146292585</c:v>
                </c:pt>
                <c:pt idx="7">
                  <c:v>0.34418604651162793</c:v>
                </c:pt>
                <c:pt idx="8">
                  <c:v>0.38850574712643676</c:v>
                </c:pt>
                <c:pt idx="9">
                  <c:v>0.35714285714285715</c:v>
                </c:pt>
                <c:pt idx="10">
                  <c:v>0.3570274636510501</c:v>
                </c:pt>
                <c:pt idx="11">
                  <c:v>0.3539967373572594</c:v>
                </c:pt>
                <c:pt idx="12">
                  <c:v>0.3439878234398782</c:v>
                </c:pt>
                <c:pt idx="13">
                  <c:v>0.35426731078904994</c:v>
                </c:pt>
                <c:pt idx="14">
                  <c:v>0.3092979127134725</c:v>
                </c:pt>
                <c:pt idx="15">
                  <c:v>0.3082901554404145</c:v>
                </c:pt>
                <c:pt idx="16">
                  <c:v>0.26013513513513514</c:v>
                </c:pt>
                <c:pt idx="17">
                  <c:v>0.27230046948356806</c:v>
                </c:pt>
                <c:pt idx="18">
                  <c:v>0.2655367231638418</c:v>
                </c:pt>
                <c:pt idx="19">
                  <c:v>0.25165562913907286</c:v>
                </c:pt>
                <c:pt idx="20">
                  <c:v>0.24431818181818182</c:v>
                </c:pt>
                <c:pt idx="21">
                  <c:v>0.25517241379310346</c:v>
                </c:pt>
                <c:pt idx="22">
                  <c:v>0.3114754098360656</c:v>
                </c:pt>
                <c:pt idx="23">
                  <c:v>0.32142857142857145</c:v>
                </c:pt>
                <c:pt idx="24">
                  <c:v>0.2905982905982906</c:v>
                </c:pt>
                <c:pt idx="25">
                  <c:v>0.32653061224489793</c:v>
                </c:pt>
                <c:pt idx="26">
                  <c:v>0.32456140350877194</c:v>
                </c:pt>
                <c:pt idx="27">
                  <c:v>0.248</c:v>
                </c:pt>
                <c:pt idx="28">
                  <c:v>0.25862068965517243</c:v>
                </c:pt>
                <c:pt idx="29">
                  <c:v>0.32673267326732675</c:v>
                </c:pt>
                <c:pt idx="30">
                  <c:v>0.25</c:v>
                </c:pt>
                <c:pt idx="31">
                  <c:v>0.2835820895522388</c:v>
                </c:pt>
                <c:pt idx="32">
                  <c:v>0.3283582089552239</c:v>
                </c:pt>
                <c:pt idx="33">
                  <c:v>0.3142857142857143</c:v>
                </c:pt>
                <c:pt idx="34">
                  <c:v>0.375</c:v>
                </c:pt>
                <c:pt idx="35">
                  <c:v>0.30597014925373134</c:v>
                </c:pt>
                <c:pt idx="36">
                  <c:v>0.1826086956521739</c:v>
                </c:pt>
                <c:pt idx="37">
                  <c:v>0.21428571428571427</c:v>
                </c:pt>
                <c:pt idx="38">
                  <c:v>0.24175824175824176</c:v>
                </c:pt>
                <c:pt idx="39">
                  <c:v>0.19230769230769232</c:v>
                </c:pt>
                <c:pt idx="40">
                  <c:v>0.2808988764044944</c:v>
                </c:pt>
                <c:pt idx="41">
                  <c:v>0.2911392405063291</c:v>
                </c:pt>
                <c:pt idx="42">
                  <c:v>0.25</c:v>
                </c:pt>
                <c:pt idx="43">
                  <c:v>0.2916666666666667</c:v>
                </c:pt>
                <c:pt idx="44">
                  <c:v>0.3521739130434783</c:v>
                </c:pt>
                <c:pt idx="45">
                  <c:v>0.34172661870503596</c:v>
                </c:pt>
                <c:pt idx="46">
                  <c:v>0.32231404958677684</c:v>
                </c:pt>
                <c:pt idx="47">
                  <c:v>0.3344947735191638</c:v>
                </c:pt>
                <c:pt idx="48">
                  <c:v>0.3566265060240964</c:v>
                </c:pt>
                <c:pt idx="49">
                  <c:v>0.5102339181286549</c:v>
                </c:pt>
                <c:pt idx="50">
                  <c:v>0.4553314121037464</c:v>
                </c:pt>
                <c:pt idx="51">
                  <c:v>0.373134328358209</c:v>
                </c:pt>
                <c:pt idx="52">
                  <c:v>0.44011976047904194</c:v>
                </c:pt>
                <c:pt idx="53">
                  <c:v>0.436241610738255</c:v>
                </c:pt>
                <c:pt idx="54">
                  <c:v>0.3903345724907063</c:v>
                </c:pt>
                <c:pt idx="55">
                  <c:v>0.39271255060728744</c:v>
                </c:pt>
                <c:pt idx="56">
                  <c:v>0.436426116838488</c:v>
                </c:pt>
                <c:pt idx="57">
                  <c:v>0.4534313725490196</c:v>
                </c:pt>
                <c:pt idx="58">
                  <c:v>0.44282744282744285</c:v>
                </c:pt>
                <c:pt idx="59">
                  <c:v>0.4435840707964602</c:v>
                </c:pt>
                <c:pt idx="60">
                  <c:v>0.4107142857142857</c:v>
                </c:pt>
                <c:pt idx="61">
                  <c:v>0.37738853503184716</c:v>
                </c:pt>
                <c:pt idx="62">
                  <c:v>0.36012861736334406</c:v>
                </c:pt>
                <c:pt idx="63">
                  <c:v>0.34285714285714286</c:v>
                </c:pt>
                <c:pt idx="64">
                  <c:v>0.33951497860199714</c:v>
                </c:pt>
                <c:pt idx="65">
                  <c:v>0.32124352331606215</c:v>
                </c:pt>
                <c:pt idx="66">
                  <c:v>0.3031496062992126</c:v>
                </c:pt>
                <c:pt idx="67">
                  <c:v>0.3078817733990148</c:v>
                </c:pt>
                <c:pt idx="68">
                  <c:v>0.27419354838709675</c:v>
                </c:pt>
                <c:pt idx="69">
                  <c:v>0.25252525252525254</c:v>
                </c:pt>
                <c:pt idx="70">
                  <c:v>0.2554112554112554</c:v>
                </c:pt>
                <c:pt idx="71">
                  <c:v>0.27699530516431925</c:v>
                </c:pt>
                <c:pt idx="72">
                  <c:v>0.2947976878612717</c:v>
                </c:pt>
                <c:pt idx="73">
                  <c:v>0.2662337662337662</c:v>
                </c:pt>
                <c:pt idx="74">
                  <c:v>0.28187919463087246</c:v>
                </c:pt>
                <c:pt idx="75">
                  <c:v>0.24786324786324787</c:v>
                </c:pt>
                <c:pt idx="76">
                  <c:v>0.23076923076923078</c:v>
                </c:pt>
                <c:pt idx="77">
                  <c:v>0.13836477987421383</c:v>
                </c:pt>
                <c:pt idx="78">
                  <c:v>0.30337078651685395</c:v>
                </c:pt>
                <c:pt idx="79">
                  <c:v>0.2</c:v>
                </c:pt>
                <c:pt idx="80">
                  <c:v>0.2923076923076923</c:v>
                </c:pt>
                <c:pt idx="81">
                  <c:v>0.2268041237113402</c:v>
                </c:pt>
                <c:pt idx="82">
                  <c:v>0.2054794520547945</c:v>
                </c:pt>
                <c:pt idx="83">
                  <c:v>0.27692307692307694</c:v>
                </c:pt>
                <c:pt idx="84">
                  <c:v>0.25925925925925924</c:v>
                </c:pt>
                <c:pt idx="85">
                  <c:v>0.2328767123287671</c:v>
                </c:pt>
                <c:pt idx="86">
                  <c:v>0.21794871794871795</c:v>
                </c:pt>
                <c:pt idx="87">
                  <c:v>0.21359223300970873</c:v>
                </c:pt>
                <c:pt idx="88">
                  <c:v>0.22033898305084745</c:v>
                </c:pt>
                <c:pt idx="89">
                  <c:v>0.19298245614035087</c:v>
                </c:pt>
                <c:pt idx="90">
                  <c:v>0.16666666666666666</c:v>
                </c:pt>
                <c:pt idx="91">
                  <c:v>0.1509433962264151</c:v>
                </c:pt>
                <c:pt idx="92">
                  <c:v>0.2</c:v>
                </c:pt>
                <c:pt idx="93">
                  <c:v>0.2571428571428571</c:v>
                </c:pt>
                <c:pt idx="94">
                  <c:v>0.32</c:v>
                </c:pt>
                <c:pt idx="95">
                  <c:v>0.4396551724137931</c:v>
                </c:pt>
                <c:pt idx="96">
                  <c:v>0.3756345177664975</c:v>
                </c:pt>
                <c:pt idx="97">
                  <c:v>0.34684684684684686</c:v>
                </c:pt>
                <c:pt idx="98">
                  <c:v>0.34615384615384615</c:v>
                </c:pt>
                <c:pt idx="99">
                  <c:v>0.3541666666666667</c:v>
                </c:pt>
                <c:pt idx="100">
                  <c:v>0.317157712305026</c:v>
                </c:pt>
                <c:pt idx="101">
                  <c:v>0.30666666666666664</c:v>
                </c:pt>
                <c:pt idx="102">
                  <c:v>0.27385892116182575</c:v>
                </c:pt>
                <c:pt idx="103">
                  <c:v>0.2775800711743772</c:v>
                </c:pt>
                <c:pt idx="104">
                  <c:v>0.28235294117647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587310586185891</c:v>
                </c:pt>
                <c:pt idx="1">
                  <c:v>0.8752600928769382</c:v>
                </c:pt>
                <c:pt idx="2">
                  <c:v>0.8068082885838019</c:v>
                </c:pt>
                <c:pt idx="3">
                  <c:v>0.8134626359948409</c:v>
                </c:pt>
                <c:pt idx="4">
                  <c:v>0.8274212515444481</c:v>
                </c:pt>
                <c:pt idx="5">
                  <c:v>0.7879393440350354</c:v>
                </c:pt>
                <c:pt idx="6">
                  <c:v>0.808984332275926</c:v>
                </c:pt>
                <c:pt idx="7">
                  <c:v>0.9118762220521975</c:v>
                </c:pt>
                <c:pt idx="8">
                  <c:v>0.875711084737081</c:v>
                </c:pt>
                <c:pt idx="9">
                  <c:v>0.972071442184009</c:v>
                </c:pt>
                <c:pt idx="10">
                  <c:v>0.9599122497859042</c:v>
                </c:pt>
                <c:pt idx="11">
                  <c:v>0.7930703258674137</c:v>
                </c:pt>
                <c:pt idx="12">
                  <c:v>0.768375316918663</c:v>
                </c:pt>
                <c:pt idx="13">
                  <c:v>0.801388530704344</c:v>
                </c:pt>
                <c:pt idx="14">
                  <c:v>0.8930183218333978</c:v>
                </c:pt>
                <c:pt idx="15">
                  <c:v>0.8751360570549966</c:v>
                </c:pt>
                <c:pt idx="16">
                  <c:v>0.919583100676725</c:v>
                </c:pt>
                <c:pt idx="17">
                  <c:v>0.9175766850116536</c:v>
                </c:pt>
                <c:pt idx="18">
                  <c:v>0.999963964023819</c:v>
                </c:pt>
                <c:pt idx="19">
                  <c:v>0.903055531156626</c:v>
                </c:pt>
                <c:pt idx="20">
                  <c:v>0.6549920072295182</c:v>
                </c:pt>
                <c:pt idx="21">
                  <c:v>0.6780315546941572</c:v>
                </c:pt>
                <c:pt idx="22">
                  <c:v>0.45352765420678787</c:v>
                </c:pt>
                <c:pt idx="23">
                  <c:v>0.43481426937645307</c:v>
                </c:pt>
                <c:pt idx="24">
                  <c:v>0.5998114698488789</c:v>
                </c:pt>
                <c:pt idx="25">
                  <c:v>0.5680703866269421</c:v>
                </c:pt>
                <c:pt idx="26">
                  <c:v>0.6743728951867779</c:v>
                </c:pt>
                <c:pt idx="27">
                  <c:v>0.6884355804601326</c:v>
                </c:pt>
                <c:pt idx="28">
                  <c:v>0.7504759460595983</c:v>
                </c:pt>
                <c:pt idx="29">
                  <c:v>0.6683572556101604</c:v>
                </c:pt>
                <c:pt idx="30">
                  <c:v>0.6478244333657468</c:v>
                </c:pt>
                <c:pt idx="31">
                  <c:v>0.600170039108995</c:v>
                </c:pt>
                <c:pt idx="32">
                  <c:v>0.8128067195167988</c:v>
                </c:pt>
                <c:pt idx="33">
                  <c:v>0.7411746140080735</c:v>
                </c:pt>
                <c:pt idx="34">
                  <c:v>0.7962554678209103</c:v>
                </c:pt>
                <c:pt idx="35">
                  <c:v>0.6717401382989222</c:v>
                </c:pt>
                <c:pt idx="36">
                  <c:v>0.45113805066079293</c:v>
                </c:pt>
                <c:pt idx="37">
                  <c:v>0.5485498481641667</c:v>
                </c:pt>
                <c:pt idx="38">
                  <c:v>0.5359170013284668</c:v>
                </c:pt>
                <c:pt idx="39">
                  <c:v>0.5782318398474738</c:v>
                </c:pt>
                <c:pt idx="40">
                  <c:v>0.5642230914067946</c:v>
                </c:pt>
                <c:pt idx="41">
                  <c:v>0.5777392908065216</c:v>
                </c:pt>
                <c:pt idx="42">
                  <c:v>0.6545401836797784</c:v>
                </c:pt>
                <c:pt idx="43">
                  <c:v>0.5247996164908916</c:v>
                </c:pt>
                <c:pt idx="44">
                  <c:v>0.7150105834647553</c:v>
                </c:pt>
                <c:pt idx="45">
                  <c:v>0.8061349912099778</c:v>
                </c:pt>
                <c:pt idx="46">
                  <c:v>0.7895151895890208</c:v>
                </c:pt>
                <c:pt idx="47">
                  <c:v>0.7628607353043042</c:v>
                </c:pt>
                <c:pt idx="48">
                  <c:v>0.975362812769629</c:v>
                </c:pt>
                <c:pt idx="49">
                  <c:v>0.8642023751269464</c:v>
                </c:pt>
                <c:pt idx="50">
                  <c:v>0.836417039590184</c:v>
                </c:pt>
                <c:pt idx="51">
                  <c:v>0.8629116479545313</c:v>
                </c:pt>
              </c:numCache>
            </c:numRef>
          </c:xVal>
          <c:yVal>
            <c:numRef>
              <c:f>Sheet1!$B$109:$B$160</c:f>
              <c:numCache>
                <c:formatCode>General</c:formatCode>
                <c:ptCount val="52"/>
                <c:pt idx="0">
                  <c:v>0.29780564263322884</c:v>
                </c:pt>
                <c:pt idx="1">
                  <c:v>0.33093525179856115</c:v>
                </c:pt>
                <c:pt idx="2">
                  <c:v>0.3352941176470588</c:v>
                </c:pt>
                <c:pt idx="3">
                  <c:v>0.3564102564102564</c:v>
                </c:pt>
                <c:pt idx="4">
                  <c:v>0.32114882506527415</c:v>
                </c:pt>
                <c:pt idx="5">
                  <c:v>0.3567251461988304</c:v>
                </c:pt>
                <c:pt idx="6">
                  <c:v>0.3561320754716981</c:v>
                </c:pt>
                <c:pt idx="7">
                  <c:v>0.32342007434944237</c:v>
                </c:pt>
                <c:pt idx="8">
                  <c:v>0.3473684210526316</c:v>
                </c:pt>
                <c:pt idx="9">
                  <c:v>0.33134328358208953</c:v>
                </c:pt>
                <c:pt idx="10">
                  <c:v>0.31736526946107785</c:v>
                </c:pt>
                <c:pt idx="11">
                  <c:v>0.3790983606557377</c:v>
                </c:pt>
                <c:pt idx="12">
                  <c:v>0.3938618925831202</c:v>
                </c:pt>
                <c:pt idx="13">
                  <c:v>0.3359173126614987</c:v>
                </c:pt>
                <c:pt idx="14">
                  <c:v>0.33112582781456956</c:v>
                </c:pt>
                <c:pt idx="15">
                  <c:v>0.3409090909090909</c:v>
                </c:pt>
                <c:pt idx="16">
                  <c:v>0.3137254901960784</c:v>
                </c:pt>
                <c:pt idx="17">
                  <c:v>0.31176470588235294</c:v>
                </c:pt>
                <c:pt idx="18">
                  <c:v>0.2540983606557377</c:v>
                </c:pt>
                <c:pt idx="19">
                  <c:v>0.33093525179856115</c:v>
                </c:pt>
                <c:pt idx="20">
                  <c:v>0.4065040650406504</c:v>
                </c:pt>
                <c:pt idx="21">
                  <c:v>0.3741496598639456</c:v>
                </c:pt>
                <c:pt idx="22">
                  <c:v>0.4166666666666667</c:v>
                </c:pt>
                <c:pt idx="23">
                  <c:v>0.44029850746268656</c:v>
                </c:pt>
                <c:pt idx="24">
                  <c:v>0.4603174603174603</c:v>
                </c:pt>
                <c:pt idx="25">
                  <c:v>0.4</c:v>
                </c:pt>
                <c:pt idx="26">
                  <c:v>0.33980582524271846</c:v>
                </c:pt>
                <c:pt idx="27">
                  <c:v>0.30392156862745096</c:v>
                </c:pt>
                <c:pt idx="28">
                  <c:v>0.25806451612903225</c:v>
                </c:pt>
                <c:pt idx="29">
                  <c:v>0.2916666666666667</c:v>
                </c:pt>
                <c:pt idx="30">
                  <c:v>0.2542372881355932</c:v>
                </c:pt>
                <c:pt idx="31">
                  <c:v>0.28846153846153844</c:v>
                </c:pt>
                <c:pt idx="32">
                  <c:v>0.26666666666666666</c:v>
                </c:pt>
                <c:pt idx="33">
                  <c:v>0.296875</c:v>
                </c:pt>
                <c:pt idx="34">
                  <c:v>0.3125</c:v>
                </c:pt>
                <c:pt idx="35">
                  <c:v>0.25</c:v>
                </c:pt>
                <c:pt idx="36">
                  <c:v>0.4166666666666667</c:v>
                </c:pt>
                <c:pt idx="37">
                  <c:v>0.43137254901960786</c:v>
                </c:pt>
                <c:pt idx="38">
                  <c:v>0.4411764705882353</c:v>
                </c:pt>
                <c:pt idx="39">
                  <c:v>0.5227272727272727</c:v>
                </c:pt>
                <c:pt idx="40">
                  <c:v>0.4251968503937008</c:v>
                </c:pt>
                <c:pt idx="41">
                  <c:v>0.422680412371134</c:v>
                </c:pt>
                <c:pt idx="42">
                  <c:v>0.39436619718309857</c:v>
                </c:pt>
                <c:pt idx="43">
                  <c:v>0.41509433962264153</c:v>
                </c:pt>
                <c:pt idx="44">
                  <c:v>0.3567251461988304</c:v>
                </c:pt>
                <c:pt idx="45">
                  <c:v>0.37344398340248963</c:v>
                </c:pt>
                <c:pt idx="46">
                  <c:v>0.33707865168539325</c:v>
                </c:pt>
                <c:pt idx="47">
                  <c:v>0.3811881188118812</c:v>
                </c:pt>
                <c:pt idx="48">
                  <c:v>0.3033033033033033</c:v>
                </c:pt>
                <c:pt idx="49">
                  <c:v>0.3417085427135678</c:v>
                </c:pt>
                <c:pt idx="50">
                  <c:v>0.35837245696400627</c:v>
                </c:pt>
                <c:pt idx="51">
                  <c:v>0.3639455782312925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08427279968103</c:v>
                </c:pt>
              </c:numCache>
            </c:numRef>
          </c:xVal>
          <c:yVal>
            <c:numRef>
              <c:f>Sheet1!$B$163:$B$164</c:f>
              <c:numCache>
                <c:formatCode>General</c:formatCode>
                <c:ptCount val="2"/>
                <c:pt idx="0">
                  <c:v>0.4262859959735149</c:v>
                </c:pt>
                <c:pt idx="1">
                  <c:v>0.426285995973514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08427279968103</c:v>
                </c:pt>
                <c:pt idx="1">
                  <c:v>0.4308427279968103</c:v>
                </c:pt>
              </c:numCache>
            </c:numRef>
          </c:xVal>
          <c:yVal>
            <c:numRef>
              <c:f>Sheet1!$B$167:$B$168</c:f>
              <c:numCache>
                <c:formatCode>General</c:formatCode>
                <c:ptCount val="2"/>
                <c:pt idx="0">
                  <c:v>0.42628599597351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543406629091364</c:v>
                </c:pt>
              </c:numCache>
            </c:numRef>
          </c:xVal>
          <c:yVal>
            <c:numRef>
              <c:f>Sheet1!$B$171:$B$172</c:f>
              <c:numCache>
                <c:formatCode>General</c:formatCode>
                <c:ptCount val="2"/>
                <c:pt idx="0">
                  <c:v>0.3975166660516117</c:v>
                </c:pt>
                <c:pt idx="1">
                  <c:v>0.39751666605161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543406629091364</c:v>
                </c:pt>
                <c:pt idx="1">
                  <c:v>0.5543406629091364</c:v>
                </c:pt>
              </c:numCache>
            </c:numRef>
          </c:xVal>
          <c:yVal>
            <c:numRef>
              <c:f>Sheet1!$B$175:$B$176</c:f>
              <c:numCache>
                <c:formatCode>General</c:formatCode>
                <c:ptCount val="2"/>
                <c:pt idx="0">
                  <c:v>0.39751666605161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110986008926272</c:v>
                </c:pt>
              </c:numCache>
            </c:numRef>
          </c:xVal>
          <c:yVal>
            <c:numRef>
              <c:f>Sheet1!$B$179:$B$180</c:f>
              <c:numCache>
                <c:formatCode>General</c:formatCode>
                <c:ptCount val="2"/>
                <c:pt idx="0">
                  <c:v>0.3842946810468163</c:v>
                </c:pt>
                <c:pt idx="1">
                  <c:v>0.38429468104681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110986008926272</c:v>
                </c:pt>
                <c:pt idx="1">
                  <c:v>0.6110986008926272</c:v>
                </c:pt>
              </c:numCache>
            </c:numRef>
          </c:xVal>
          <c:yVal>
            <c:numRef>
              <c:f>Sheet1!$B$183:$B$184</c:f>
              <c:numCache>
                <c:formatCode>General</c:formatCode>
                <c:ptCount val="2"/>
                <c:pt idx="0">
                  <c:v>0.38429468104681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587310586185891</c:v>
                </c:pt>
                <c:pt idx="1">
                  <c:v>0.8752600928769382</c:v>
                </c:pt>
                <c:pt idx="2">
                  <c:v>0.8068082885838019</c:v>
                </c:pt>
                <c:pt idx="3">
                  <c:v>0.8134626359948409</c:v>
                </c:pt>
                <c:pt idx="4">
                  <c:v>0.8274212515444481</c:v>
                </c:pt>
                <c:pt idx="5">
                  <c:v>0.7879393440350354</c:v>
                </c:pt>
                <c:pt idx="6">
                  <c:v>0.808984332275926</c:v>
                </c:pt>
                <c:pt idx="7">
                  <c:v>0.9118762220521975</c:v>
                </c:pt>
                <c:pt idx="8">
                  <c:v>0.875711084737081</c:v>
                </c:pt>
                <c:pt idx="9">
                  <c:v>0.972071442184009</c:v>
                </c:pt>
                <c:pt idx="10">
                  <c:v>0.9599122497859042</c:v>
                </c:pt>
                <c:pt idx="11">
                  <c:v>0.7930703258674137</c:v>
                </c:pt>
                <c:pt idx="12">
                  <c:v>0.768375316918663</c:v>
                </c:pt>
                <c:pt idx="13">
                  <c:v>0.801388530704344</c:v>
                </c:pt>
                <c:pt idx="14">
                  <c:v>0.8930183218333978</c:v>
                </c:pt>
                <c:pt idx="15">
                  <c:v>0.8751360570549966</c:v>
                </c:pt>
                <c:pt idx="16">
                  <c:v>0.919583100676725</c:v>
                </c:pt>
                <c:pt idx="17">
                  <c:v>0.9175766850116536</c:v>
                </c:pt>
                <c:pt idx="18">
                  <c:v>0.999963964023819</c:v>
                </c:pt>
                <c:pt idx="19">
                  <c:v>0.903055531156626</c:v>
                </c:pt>
                <c:pt idx="20">
                  <c:v>0.6549920072295182</c:v>
                </c:pt>
                <c:pt idx="21">
                  <c:v>0.6780315546941572</c:v>
                </c:pt>
                <c:pt idx="22">
                  <c:v>0.45352765420678787</c:v>
                </c:pt>
                <c:pt idx="23">
                  <c:v>0.43481426937645307</c:v>
                </c:pt>
                <c:pt idx="24">
                  <c:v>0.5998114698488789</c:v>
                </c:pt>
                <c:pt idx="25">
                  <c:v>0.5680703866269421</c:v>
                </c:pt>
                <c:pt idx="26">
                  <c:v>0.6743728951867779</c:v>
                </c:pt>
                <c:pt idx="27">
                  <c:v>0.6884355804601326</c:v>
                </c:pt>
                <c:pt idx="28">
                  <c:v>0.7504759460595983</c:v>
                </c:pt>
                <c:pt idx="29">
                  <c:v>0.6683572556101604</c:v>
                </c:pt>
                <c:pt idx="30">
                  <c:v>0.6478244333657468</c:v>
                </c:pt>
                <c:pt idx="31">
                  <c:v>0.600170039108995</c:v>
                </c:pt>
                <c:pt idx="32">
                  <c:v>0.8128067195167988</c:v>
                </c:pt>
                <c:pt idx="33">
                  <c:v>0.7411746140080735</c:v>
                </c:pt>
                <c:pt idx="34">
                  <c:v>0.7962554678209103</c:v>
                </c:pt>
                <c:pt idx="35">
                  <c:v>0.6717401382989222</c:v>
                </c:pt>
                <c:pt idx="36">
                  <c:v>0.45113805066079293</c:v>
                </c:pt>
                <c:pt idx="37">
                  <c:v>0.5485498481641667</c:v>
                </c:pt>
                <c:pt idx="38">
                  <c:v>0.5359170013284668</c:v>
                </c:pt>
                <c:pt idx="39">
                  <c:v>0.5782318398474738</c:v>
                </c:pt>
                <c:pt idx="40">
                  <c:v>0.5642230914067946</c:v>
                </c:pt>
                <c:pt idx="41">
                  <c:v>0.5777392908065216</c:v>
                </c:pt>
                <c:pt idx="42">
                  <c:v>0.6545401836797784</c:v>
                </c:pt>
                <c:pt idx="43">
                  <c:v>0.5247996164908916</c:v>
                </c:pt>
                <c:pt idx="44">
                  <c:v>0.7150105834647553</c:v>
                </c:pt>
                <c:pt idx="45">
                  <c:v>0.8061349912099778</c:v>
                </c:pt>
                <c:pt idx="46">
                  <c:v>0.7895151895890208</c:v>
                </c:pt>
                <c:pt idx="47">
                  <c:v>0.7628607353043042</c:v>
                </c:pt>
                <c:pt idx="48">
                  <c:v>0.975362812769629</c:v>
                </c:pt>
                <c:pt idx="49">
                  <c:v>0.8642023751269464</c:v>
                </c:pt>
                <c:pt idx="50">
                  <c:v>0.836417039590184</c:v>
                </c:pt>
                <c:pt idx="51">
                  <c:v>0.8629116479545313</c:v>
                </c:pt>
                <c:pt idx="52">
                  <c:v>0.5543406629091364</c:v>
                </c:pt>
                <c:pt idx="53">
                  <c:v>0.4308427279968103</c:v>
                </c:pt>
                <c:pt idx="54">
                  <c:v>0.6110986008926272</c:v>
                </c:pt>
              </c:numCache>
            </c:numRef>
          </c:xVal>
          <c:yVal>
            <c:numRef>
              <c:f>Sheet1!$B$187:$B$241</c:f>
              <c:numCache>
                <c:formatCode>General</c:formatCode>
                <c:ptCount val="55"/>
                <c:pt idx="0">
                  <c:v>0.30331233203037067</c:v>
                </c:pt>
                <c:pt idx="1">
                  <c:v>0.3227572219714555</c:v>
                </c:pt>
                <c:pt idx="2">
                  <c:v>0.33870333915031237</c:v>
                </c:pt>
                <c:pt idx="3">
                  <c:v>0.3371531827349921</c:v>
                </c:pt>
                <c:pt idx="4">
                  <c:v>0.333901468313332</c:v>
                </c:pt>
                <c:pt idx="5">
                  <c:v>0.3430989340352547</c:v>
                </c:pt>
                <c:pt idx="6">
                  <c:v>0.33819642120915294</c:v>
                </c:pt>
                <c:pt idx="7">
                  <c:v>0.3142273505897688</c:v>
                </c:pt>
                <c:pt idx="8">
                  <c:v>0.32265216164291033</c:v>
                </c:pt>
                <c:pt idx="9">
                  <c:v>0.3002046371822685</c:v>
                </c:pt>
                <c:pt idx="10">
                  <c:v>0.30303716889976895</c:v>
                </c:pt>
                <c:pt idx="11">
                  <c:v>0.3419036516261701</c:v>
                </c:pt>
                <c:pt idx="12">
                  <c:v>0.34765645113958166</c:v>
                </c:pt>
                <c:pt idx="13">
                  <c:v>0.33996589307594405</c:v>
                </c:pt>
                <c:pt idx="14">
                  <c:v>0.31862037265458415</c:v>
                </c:pt>
                <c:pt idx="15">
                  <c:v>0.3227861166042776</c:v>
                </c:pt>
                <c:pt idx="16">
                  <c:v>0.31243200288638817</c:v>
                </c:pt>
                <c:pt idx="17">
                  <c:v>0.31289940531113225</c:v>
                </c:pt>
                <c:pt idx="18">
                  <c:v>0.29370696445816125</c:v>
                </c:pt>
                <c:pt idx="19">
                  <c:v>0.3162821652447181</c:v>
                </c:pt>
                <c:pt idx="20">
                  <c:v>0.37406953931308085</c:v>
                </c:pt>
                <c:pt idx="21">
                  <c:v>0.3687023860668981</c:v>
                </c:pt>
                <c:pt idx="22">
                  <c:v>0.4210014531440968</c:v>
                </c:pt>
                <c:pt idx="23">
                  <c:v>0.4253608097804782</c:v>
                </c:pt>
                <c:pt idx="24">
                  <c:v>0.3869240626401189</c:v>
                </c:pt>
                <c:pt idx="25">
                  <c:v>0.39431827288289556</c:v>
                </c:pt>
                <c:pt idx="26">
                  <c:v>0.369554685196551</c:v>
                </c:pt>
                <c:pt idx="27">
                  <c:v>0.36627872732321287</c:v>
                </c:pt>
                <c:pt idx="28">
                  <c:v>0.35182618001808075</c:v>
                </c:pt>
                <c:pt idx="29">
                  <c:v>0.3709560521084255</c:v>
                </c:pt>
                <c:pt idx="30">
                  <c:v>0.375739253850193</c:v>
                </c:pt>
                <c:pt idx="31">
                  <c:v>0.3868405325199476</c:v>
                </c:pt>
                <c:pt idx="32">
                  <c:v>0.337305981059688</c:v>
                </c:pt>
                <c:pt idx="33">
                  <c:v>0.35399296192170904</c:v>
                </c:pt>
                <c:pt idx="34">
                  <c:v>0.34116166027406125</c:v>
                </c:pt>
                <c:pt idx="35">
                  <c:v>0.3701679962738954</c:v>
                </c:pt>
                <c:pt idx="36">
                  <c:v>0.42155812069360754</c:v>
                </c:pt>
                <c:pt idx="37">
                  <c:v>0.3988656591342322</c:v>
                </c:pt>
                <c:pt idx="38">
                  <c:v>0.4018085305168763</c:v>
                </c:pt>
                <c:pt idx="39">
                  <c:v>0.3919511223682331</c:v>
                </c:pt>
                <c:pt idx="40">
                  <c:v>0.39521451544414943</c:v>
                </c:pt>
                <c:pt idx="41">
                  <c:v>0.39206586360558193</c:v>
                </c:pt>
                <c:pt idx="42">
                  <c:v>0.37417479338699045</c:v>
                </c:pt>
                <c:pt idx="43">
                  <c:v>0.4043983690634725</c:v>
                </c:pt>
                <c:pt idx="44">
                  <c:v>0.3600879757964094</c:v>
                </c:pt>
                <c:pt idx="45">
                  <c:v>0.33886018642307725</c:v>
                </c:pt>
                <c:pt idx="46">
                  <c:v>0.34273183461225015</c:v>
                </c:pt>
                <c:pt idx="47">
                  <c:v>0.34894109462740497</c:v>
                </c:pt>
                <c:pt idx="48">
                  <c:v>0.29943789945227994</c:v>
                </c:pt>
                <c:pt idx="49">
                  <c:v>0.3253331608351996</c:v>
                </c:pt>
                <c:pt idx="50">
                  <c:v>0.33180586408821666</c:v>
                </c:pt>
                <c:pt idx="51">
                  <c:v>0.3256338408092311</c:v>
                </c:pt>
                <c:pt idx="52">
                  <c:v>0.3975166660516117</c:v>
                </c:pt>
                <c:pt idx="53">
                  <c:v>0.4262859959735149</c:v>
                </c:pt>
                <c:pt idx="54">
                  <c:v>0.38429468104681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72727272727272"/>
          <c:min val="0.110691823899371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8.1838</c:v>
                </c:pt>
                <c:pt idx="1">
                  <c:v>1088.8743</c:v>
                </c:pt>
                <c:pt idx="2">
                  <c:v>1142.0939</c:v>
                </c:pt>
                <c:pt idx="3">
                  <c:v>1207.2697</c:v>
                </c:pt>
                <c:pt idx="4">
                  <c:v>1176.8462</c:v>
                </c:pt>
                <c:pt idx="5">
                  <c:v>1109.5355</c:v>
                </c:pt>
                <c:pt idx="6">
                  <c:v>1150.5</c:v>
                </c:pt>
                <c:pt idx="7">
                  <c:v>1145.2838</c:v>
                </c:pt>
                <c:pt idx="8">
                  <c:v>1090.284</c:v>
                </c:pt>
                <c:pt idx="9">
                  <c:v>1123.5128</c:v>
                </c:pt>
                <c:pt idx="10">
                  <c:v>1150.9819</c:v>
                </c:pt>
                <c:pt idx="11">
                  <c:v>1203.894</c:v>
                </c:pt>
                <c:pt idx="12">
                  <c:v>1159.4159</c:v>
                </c:pt>
                <c:pt idx="13">
                  <c:v>1103.5545</c:v>
                </c:pt>
                <c:pt idx="14">
                  <c:v>1174.9693</c:v>
                </c:pt>
                <c:pt idx="15">
                  <c:v>1212.4286</c:v>
                </c:pt>
                <c:pt idx="16">
                  <c:v>1270.4026</c:v>
                </c:pt>
                <c:pt idx="17">
                  <c:v>1312.7241</c:v>
                </c:pt>
                <c:pt idx="18">
                  <c:v>1326.7872</c:v>
                </c:pt>
                <c:pt idx="19">
                  <c:v>1280.8158</c:v>
                </c:pt>
                <c:pt idx="20">
                  <c:v>1400.3721</c:v>
                </c:pt>
                <c:pt idx="21">
                  <c:v>1324.2432</c:v>
                </c:pt>
                <c:pt idx="22">
                  <c:v>1373.2105</c:v>
                </c:pt>
                <c:pt idx="23">
                  <c:v>1388.4444</c:v>
                </c:pt>
                <c:pt idx="24">
                  <c:v>1374.1765</c:v>
                </c:pt>
                <c:pt idx="25">
                  <c:v>1184.5625</c:v>
                </c:pt>
                <c:pt idx="26">
                  <c:v>1172.3514</c:v>
                </c:pt>
                <c:pt idx="27">
                  <c:v>1171.6452</c:v>
                </c:pt>
                <c:pt idx="28">
                  <c:v>1202.2333</c:v>
                </c:pt>
                <c:pt idx="29">
                  <c:v>1224.4242</c:v>
                </c:pt>
                <c:pt idx="30">
                  <c:v>1223.1667</c:v>
                </c:pt>
                <c:pt idx="31">
                  <c:v>1133.5263</c:v>
                </c:pt>
                <c:pt idx="32">
                  <c:v>1226.3182</c:v>
                </c:pt>
                <c:pt idx="33">
                  <c:v>990.0909</c:v>
                </c:pt>
                <c:pt idx="34">
                  <c:v>1098.7576</c:v>
                </c:pt>
                <c:pt idx="35">
                  <c:v>1176.7073</c:v>
                </c:pt>
                <c:pt idx="36">
                  <c:v>1310.2857</c:v>
                </c:pt>
                <c:pt idx="37">
                  <c:v>1037.8333</c:v>
                </c:pt>
                <c:pt idx="38">
                  <c:v>1167.7273</c:v>
                </c:pt>
                <c:pt idx="39">
                  <c:v>1085.8</c:v>
                </c:pt>
                <c:pt idx="40">
                  <c:v>1089.96</c:v>
                </c:pt>
                <c:pt idx="41">
                  <c:v>1096.4783</c:v>
                </c:pt>
                <c:pt idx="42">
                  <c:v>1216.4286</c:v>
                </c:pt>
                <c:pt idx="43">
                  <c:v>1272.5714</c:v>
                </c:pt>
                <c:pt idx="44">
                  <c:v>1209.6296</c:v>
                </c:pt>
                <c:pt idx="45">
                  <c:v>1155.8737</c:v>
                </c:pt>
                <c:pt idx="46">
                  <c:v>1240.8205</c:v>
                </c:pt>
                <c:pt idx="47">
                  <c:v>1244.2708</c:v>
                </c:pt>
                <c:pt idx="48">
                  <c:v>1281.1689</c:v>
                </c:pt>
                <c:pt idx="49">
                  <c:v>1014.5788</c:v>
                </c:pt>
                <c:pt idx="50">
                  <c:v>1073.8797</c:v>
                </c:pt>
                <c:pt idx="51">
                  <c:v>1113.82</c:v>
                </c:pt>
                <c:pt idx="52">
                  <c:v>1178.2381</c:v>
                </c:pt>
                <c:pt idx="53">
                  <c:v>1198.1692</c:v>
                </c:pt>
                <c:pt idx="54">
                  <c:v>1257.3333</c:v>
                </c:pt>
                <c:pt idx="55">
                  <c:v>1223.3196</c:v>
                </c:pt>
                <c:pt idx="56">
                  <c:v>1192.0</c:v>
                </c:pt>
                <c:pt idx="57">
                  <c:v>1025.8216</c:v>
                </c:pt>
                <c:pt idx="58">
                  <c:v>1152.8779</c:v>
                </c:pt>
                <c:pt idx="59">
                  <c:v>1120.9601</c:v>
                </c:pt>
                <c:pt idx="60">
                  <c:v>1150.2558</c:v>
                </c:pt>
                <c:pt idx="61">
                  <c:v>1251.6582</c:v>
                </c:pt>
                <c:pt idx="62">
                  <c:v>1238.3527</c:v>
                </c:pt>
                <c:pt idx="63">
                  <c:v>1249.3452</c:v>
                </c:pt>
                <c:pt idx="64">
                  <c:v>1184.0084</c:v>
                </c:pt>
                <c:pt idx="65">
                  <c:v>1158.7204</c:v>
                </c:pt>
                <c:pt idx="66">
                  <c:v>1242.8636</c:v>
                </c:pt>
                <c:pt idx="67">
                  <c:v>1327.536</c:v>
                </c:pt>
                <c:pt idx="68">
                  <c:v>1220.6</c:v>
                </c:pt>
                <c:pt idx="69">
                  <c:v>1308.2</c:v>
                </c:pt>
                <c:pt idx="70">
                  <c:v>1202.5424</c:v>
                </c:pt>
                <c:pt idx="71">
                  <c:v>1173.9661</c:v>
                </c:pt>
                <c:pt idx="72">
                  <c:v>1161.7059</c:v>
                </c:pt>
                <c:pt idx="73">
                  <c:v>1431.0732</c:v>
                </c:pt>
                <c:pt idx="74">
                  <c:v>1399.0</c:v>
                </c:pt>
                <c:pt idx="75">
                  <c:v>1336.7241</c:v>
                </c:pt>
                <c:pt idx="76">
                  <c:v>1412.4167</c:v>
                </c:pt>
                <c:pt idx="77">
                  <c:v>1631.9091</c:v>
                </c:pt>
                <c:pt idx="78">
                  <c:v>1410.4815</c:v>
                </c:pt>
                <c:pt idx="79">
                  <c:v>1442.9286</c:v>
                </c:pt>
                <c:pt idx="80">
                  <c:v>1201.4737</c:v>
                </c:pt>
                <c:pt idx="81">
                  <c:v>1279.9545</c:v>
                </c:pt>
                <c:pt idx="82">
                  <c:v>1096.7333</c:v>
                </c:pt>
                <c:pt idx="83">
                  <c:v>1109.7778</c:v>
                </c:pt>
                <c:pt idx="84">
                  <c:v>1219.4286</c:v>
                </c:pt>
                <c:pt idx="85">
                  <c:v>1261.4706</c:v>
                </c:pt>
                <c:pt idx="86">
                  <c:v>1212.0</c:v>
                </c:pt>
                <c:pt idx="87">
                  <c:v>1241.5455</c:v>
                </c:pt>
                <c:pt idx="88">
                  <c:v>1380.8462</c:v>
                </c:pt>
                <c:pt idx="89">
                  <c:v>1392.0909</c:v>
                </c:pt>
                <c:pt idx="90">
                  <c:v>1624.125</c:v>
                </c:pt>
                <c:pt idx="91">
                  <c:v>1390.875</c:v>
                </c:pt>
                <c:pt idx="92">
                  <c:v>1208.3333</c:v>
                </c:pt>
                <c:pt idx="93">
                  <c:v>1208.5556</c:v>
                </c:pt>
                <c:pt idx="94">
                  <c:v>1237.375</c:v>
                </c:pt>
                <c:pt idx="95">
                  <c:v>929.3137</c:v>
                </c:pt>
                <c:pt idx="96">
                  <c:v>874.6622</c:v>
                </c:pt>
                <c:pt idx="97">
                  <c:v>981.5844</c:v>
                </c:pt>
                <c:pt idx="98">
                  <c:v>1021.1889</c:v>
                </c:pt>
                <c:pt idx="99">
                  <c:v>1083.7647</c:v>
                </c:pt>
                <c:pt idx="100">
                  <c:v>1170.0328</c:v>
                </c:pt>
                <c:pt idx="101">
                  <c:v>1169.1848</c:v>
                </c:pt>
                <c:pt idx="102">
                  <c:v>1291.7273</c:v>
                </c:pt>
                <c:pt idx="103">
                  <c:v>1148.0897</c:v>
                </c:pt>
                <c:pt idx="104">
                  <c:v>1296.6528</c:v>
                </c:pt>
              </c:numCache>
            </c:numRef>
          </c:xVal>
          <c:yVal>
            <c:numRef>
              <c:f>Sheet1!$B$2:$B$106</c:f>
              <c:numCache>
                <c:formatCode>General</c:formatCode>
                <c:ptCount val="105"/>
                <c:pt idx="0">
                  <c:v>0.33497536945812806</c:v>
                </c:pt>
                <c:pt idx="1">
                  <c:v>0.37697516930022573</c:v>
                </c:pt>
                <c:pt idx="2">
                  <c:v>0.35700197238658776</c:v>
                </c:pt>
                <c:pt idx="3">
                  <c:v>0.31932773109243695</c:v>
                </c:pt>
                <c:pt idx="4">
                  <c:v>0.3333333333333333</c:v>
                </c:pt>
                <c:pt idx="5">
                  <c:v>0.3384279475982533</c:v>
                </c:pt>
                <c:pt idx="6">
                  <c:v>0.3286573146292585</c:v>
                </c:pt>
                <c:pt idx="7">
                  <c:v>0.34418604651162793</c:v>
                </c:pt>
                <c:pt idx="8">
                  <c:v>0.38850574712643676</c:v>
                </c:pt>
                <c:pt idx="9">
                  <c:v>0.35714285714285715</c:v>
                </c:pt>
                <c:pt idx="10">
                  <c:v>0.3570274636510501</c:v>
                </c:pt>
                <c:pt idx="11">
                  <c:v>0.3539967373572594</c:v>
                </c:pt>
                <c:pt idx="12">
                  <c:v>0.3439878234398782</c:v>
                </c:pt>
                <c:pt idx="13">
                  <c:v>0.35426731078904994</c:v>
                </c:pt>
                <c:pt idx="14">
                  <c:v>0.3092979127134725</c:v>
                </c:pt>
                <c:pt idx="15">
                  <c:v>0.3082901554404145</c:v>
                </c:pt>
                <c:pt idx="16">
                  <c:v>0.26013513513513514</c:v>
                </c:pt>
                <c:pt idx="17">
                  <c:v>0.27230046948356806</c:v>
                </c:pt>
                <c:pt idx="18">
                  <c:v>0.2655367231638418</c:v>
                </c:pt>
                <c:pt idx="19">
                  <c:v>0.25165562913907286</c:v>
                </c:pt>
                <c:pt idx="20">
                  <c:v>0.24431818181818182</c:v>
                </c:pt>
                <c:pt idx="21">
                  <c:v>0.25517241379310346</c:v>
                </c:pt>
                <c:pt idx="22">
                  <c:v>0.3114754098360656</c:v>
                </c:pt>
                <c:pt idx="23">
                  <c:v>0.32142857142857145</c:v>
                </c:pt>
                <c:pt idx="24">
                  <c:v>0.2905982905982906</c:v>
                </c:pt>
                <c:pt idx="25">
                  <c:v>0.32653061224489793</c:v>
                </c:pt>
                <c:pt idx="26">
                  <c:v>0.32456140350877194</c:v>
                </c:pt>
                <c:pt idx="27">
                  <c:v>0.248</c:v>
                </c:pt>
                <c:pt idx="28">
                  <c:v>0.25862068965517243</c:v>
                </c:pt>
                <c:pt idx="29">
                  <c:v>0.32673267326732675</c:v>
                </c:pt>
                <c:pt idx="30">
                  <c:v>0.25</c:v>
                </c:pt>
                <c:pt idx="31">
                  <c:v>0.2835820895522388</c:v>
                </c:pt>
                <c:pt idx="32">
                  <c:v>0.3283582089552239</c:v>
                </c:pt>
                <c:pt idx="33">
                  <c:v>0.3142857142857143</c:v>
                </c:pt>
                <c:pt idx="34">
                  <c:v>0.375</c:v>
                </c:pt>
                <c:pt idx="35">
                  <c:v>0.30597014925373134</c:v>
                </c:pt>
                <c:pt idx="36">
                  <c:v>0.1826086956521739</c:v>
                </c:pt>
                <c:pt idx="37">
                  <c:v>0.21428571428571427</c:v>
                </c:pt>
                <c:pt idx="38">
                  <c:v>0.24175824175824176</c:v>
                </c:pt>
                <c:pt idx="39">
                  <c:v>0.19230769230769232</c:v>
                </c:pt>
                <c:pt idx="40">
                  <c:v>0.2808988764044944</c:v>
                </c:pt>
                <c:pt idx="41">
                  <c:v>0.2911392405063291</c:v>
                </c:pt>
                <c:pt idx="42">
                  <c:v>0.25</c:v>
                </c:pt>
                <c:pt idx="43">
                  <c:v>0.2916666666666667</c:v>
                </c:pt>
                <c:pt idx="44">
                  <c:v>0.3521739130434783</c:v>
                </c:pt>
                <c:pt idx="45">
                  <c:v>0.34172661870503596</c:v>
                </c:pt>
                <c:pt idx="46">
                  <c:v>0.32231404958677684</c:v>
                </c:pt>
                <c:pt idx="47">
                  <c:v>0.3344947735191638</c:v>
                </c:pt>
                <c:pt idx="48">
                  <c:v>0.3566265060240964</c:v>
                </c:pt>
                <c:pt idx="49">
                  <c:v>0.5102339181286549</c:v>
                </c:pt>
                <c:pt idx="50">
                  <c:v>0.4553314121037464</c:v>
                </c:pt>
                <c:pt idx="51">
                  <c:v>0.373134328358209</c:v>
                </c:pt>
                <c:pt idx="52">
                  <c:v>0.44011976047904194</c:v>
                </c:pt>
                <c:pt idx="53">
                  <c:v>0.436241610738255</c:v>
                </c:pt>
                <c:pt idx="54">
                  <c:v>0.3903345724907063</c:v>
                </c:pt>
                <c:pt idx="55">
                  <c:v>0.39271255060728744</c:v>
                </c:pt>
                <c:pt idx="56">
                  <c:v>0.436426116838488</c:v>
                </c:pt>
                <c:pt idx="57">
                  <c:v>0.4534313725490196</c:v>
                </c:pt>
                <c:pt idx="58">
                  <c:v>0.44282744282744285</c:v>
                </c:pt>
                <c:pt idx="59">
                  <c:v>0.4435840707964602</c:v>
                </c:pt>
                <c:pt idx="60">
                  <c:v>0.4107142857142857</c:v>
                </c:pt>
                <c:pt idx="61">
                  <c:v>0.37738853503184716</c:v>
                </c:pt>
                <c:pt idx="62">
                  <c:v>0.36012861736334406</c:v>
                </c:pt>
                <c:pt idx="63">
                  <c:v>0.34285714285714286</c:v>
                </c:pt>
                <c:pt idx="64">
                  <c:v>0.33951497860199714</c:v>
                </c:pt>
                <c:pt idx="65">
                  <c:v>0.32124352331606215</c:v>
                </c:pt>
                <c:pt idx="66">
                  <c:v>0.3031496062992126</c:v>
                </c:pt>
                <c:pt idx="67">
                  <c:v>0.3078817733990148</c:v>
                </c:pt>
                <c:pt idx="68">
                  <c:v>0.27419354838709675</c:v>
                </c:pt>
                <c:pt idx="69">
                  <c:v>0.25252525252525254</c:v>
                </c:pt>
                <c:pt idx="70">
                  <c:v>0.2554112554112554</c:v>
                </c:pt>
                <c:pt idx="71">
                  <c:v>0.27699530516431925</c:v>
                </c:pt>
                <c:pt idx="72">
                  <c:v>0.2947976878612717</c:v>
                </c:pt>
                <c:pt idx="73">
                  <c:v>0.2662337662337662</c:v>
                </c:pt>
                <c:pt idx="74">
                  <c:v>0.28187919463087246</c:v>
                </c:pt>
                <c:pt idx="75">
                  <c:v>0.24786324786324787</c:v>
                </c:pt>
                <c:pt idx="76">
                  <c:v>0.23076923076923078</c:v>
                </c:pt>
                <c:pt idx="77">
                  <c:v>0.13836477987421383</c:v>
                </c:pt>
                <c:pt idx="78">
                  <c:v>0.30337078651685395</c:v>
                </c:pt>
                <c:pt idx="79">
                  <c:v>0.2</c:v>
                </c:pt>
                <c:pt idx="80">
                  <c:v>0.2923076923076923</c:v>
                </c:pt>
                <c:pt idx="81">
                  <c:v>0.2268041237113402</c:v>
                </c:pt>
                <c:pt idx="82">
                  <c:v>0.2054794520547945</c:v>
                </c:pt>
                <c:pt idx="83">
                  <c:v>0.27692307692307694</c:v>
                </c:pt>
                <c:pt idx="84">
                  <c:v>0.25925925925925924</c:v>
                </c:pt>
                <c:pt idx="85">
                  <c:v>0.2328767123287671</c:v>
                </c:pt>
                <c:pt idx="86">
                  <c:v>0.21794871794871795</c:v>
                </c:pt>
                <c:pt idx="87">
                  <c:v>0.21359223300970873</c:v>
                </c:pt>
                <c:pt idx="88">
                  <c:v>0.22033898305084745</c:v>
                </c:pt>
                <c:pt idx="89">
                  <c:v>0.19298245614035087</c:v>
                </c:pt>
                <c:pt idx="90">
                  <c:v>0.16666666666666666</c:v>
                </c:pt>
                <c:pt idx="91">
                  <c:v>0.1509433962264151</c:v>
                </c:pt>
                <c:pt idx="92">
                  <c:v>0.2</c:v>
                </c:pt>
                <c:pt idx="93">
                  <c:v>0.2571428571428571</c:v>
                </c:pt>
                <c:pt idx="94">
                  <c:v>0.32</c:v>
                </c:pt>
                <c:pt idx="95">
                  <c:v>0.4396551724137931</c:v>
                </c:pt>
                <c:pt idx="96">
                  <c:v>0.3756345177664975</c:v>
                </c:pt>
                <c:pt idx="97">
                  <c:v>0.34684684684684686</c:v>
                </c:pt>
                <c:pt idx="98">
                  <c:v>0.34615384615384615</c:v>
                </c:pt>
                <c:pt idx="99">
                  <c:v>0.3541666666666667</c:v>
                </c:pt>
                <c:pt idx="100">
                  <c:v>0.317157712305026</c:v>
                </c:pt>
                <c:pt idx="101">
                  <c:v>0.30666666666666664</c:v>
                </c:pt>
                <c:pt idx="102">
                  <c:v>0.27385892116182575</c:v>
                </c:pt>
                <c:pt idx="103">
                  <c:v>0.2775800711743772</c:v>
                </c:pt>
                <c:pt idx="104">
                  <c:v>0.28235294117647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1.4316</c:v>
                </c:pt>
                <c:pt idx="1">
                  <c:v>1402.2717</c:v>
                </c:pt>
                <c:pt idx="2">
                  <c:v>1327.807</c:v>
                </c:pt>
                <c:pt idx="3">
                  <c:v>1357.3453</c:v>
                </c:pt>
                <c:pt idx="4">
                  <c:v>1354.9512</c:v>
                </c:pt>
                <c:pt idx="5">
                  <c:v>1340.2459</c:v>
                </c:pt>
                <c:pt idx="6">
                  <c:v>1256.6689</c:v>
                </c:pt>
                <c:pt idx="7">
                  <c:v>1335.4368</c:v>
                </c:pt>
                <c:pt idx="8">
                  <c:v>1334.1919</c:v>
                </c:pt>
                <c:pt idx="9">
                  <c:v>1470.5315</c:v>
                </c:pt>
                <c:pt idx="10">
                  <c:v>1442.6981</c:v>
                </c:pt>
                <c:pt idx="11">
                  <c:v>1150.6973</c:v>
                </c:pt>
                <c:pt idx="12">
                  <c:v>1081.9416</c:v>
                </c:pt>
                <c:pt idx="13">
                  <c:v>1210.6615</c:v>
                </c:pt>
                <c:pt idx="14">
                  <c:v>1304.5</c:v>
                </c:pt>
                <c:pt idx="15">
                  <c:v>1250.2444</c:v>
                </c:pt>
                <c:pt idx="16">
                  <c:v>1322.7813</c:v>
                </c:pt>
                <c:pt idx="17">
                  <c:v>1334.5094</c:v>
                </c:pt>
                <c:pt idx="18">
                  <c:v>1384.6774</c:v>
                </c:pt>
                <c:pt idx="19">
                  <c:v>1230.6522</c:v>
                </c:pt>
                <c:pt idx="20">
                  <c:v>1162.72</c:v>
                </c:pt>
                <c:pt idx="21">
                  <c:v>1112.5455</c:v>
                </c:pt>
                <c:pt idx="22">
                  <c:v>752.9882</c:v>
                </c:pt>
                <c:pt idx="23">
                  <c:v>763.2881</c:v>
                </c:pt>
                <c:pt idx="24">
                  <c:v>785.7069</c:v>
                </c:pt>
                <c:pt idx="25">
                  <c:v>815.6458</c:v>
                </c:pt>
                <c:pt idx="26">
                  <c:v>1041.2857</c:v>
                </c:pt>
                <c:pt idx="27">
                  <c:v>1049.6452</c:v>
                </c:pt>
                <c:pt idx="28">
                  <c:v>1154.5</c:v>
                </c:pt>
                <c:pt idx="29">
                  <c:v>980.0476</c:v>
                </c:pt>
                <c:pt idx="30">
                  <c:v>972.2667</c:v>
                </c:pt>
                <c:pt idx="31">
                  <c:v>882.4</c:v>
                </c:pt>
                <c:pt idx="32">
                  <c:v>1076.5625</c:v>
                </c:pt>
                <c:pt idx="33">
                  <c:v>1113.1053</c:v>
                </c:pt>
                <c:pt idx="34">
                  <c:v>1214.1</c:v>
                </c:pt>
                <c:pt idx="35">
                  <c:v>1018.2941</c:v>
                </c:pt>
                <c:pt idx="36">
                  <c:v>819.2667</c:v>
                </c:pt>
                <c:pt idx="37">
                  <c:v>745.1364</c:v>
                </c:pt>
                <c:pt idx="38">
                  <c:v>631.7</c:v>
                </c:pt>
                <c:pt idx="39">
                  <c:v>606.5652</c:v>
                </c:pt>
                <c:pt idx="40">
                  <c:v>764.3704</c:v>
                </c:pt>
                <c:pt idx="41">
                  <c:v>745.561</c:v>
                </c:pt>
                <c:pt idx="42">
                  <c:v>884.3929</c:v>
                </c:pt>
                <c:pt idx="43">
                  <c:v>711.5758</c:v>
                </c:pt>
                <c:pt idx="44">
                  <c:v>839.5246</c:v>
                </c:pt>
                <c:pt idx="45">
                  <c:v>985.2889</c:v>
                </c:pt>
                <c:pt idx="46">
                  <c:v>1037.7</c:v>
                </c:pt>
                <c:pt idx="47">
                  <c:v>935.013</c:v>
                </c:pt>
                <c:pt idx="48">
                  <c:v>1130.4455</c:v>
                </c:pt>
                <c:pt idx="49">
                  <c:v>1018.8456</c:v>
                </c:pt>
                <c:pt idx="50">
                  <c:v>1000.9345</c:v>
                </c:pt>
                <c:pt idx="51">
                  <c:v>1005.5701</c:v>
                </c:pt>
              </c:numCache>
            </c:numRef>
          </c:xVal>
          <c:yVal>
            <c:numRef>
              <c:f>Sheet1!$B$109:$B$160</c:f>
              <c:numCache>
                <c:formatCode>General</c:formatCode>
                <c:ptCount val="52"/>
                <c:pt idx="0">
                  <c:v>0.29780564263322884</c:v>
                </c:pt>
                <c:pt idx="1">
                  <c:v>0.33093525179856115</c:v>
                </c:pt>
                <c:pt idx="2">
                  <c:v>0.3352941176470588</c:v>
                </c:pt>
                <c:pt idx="3">
                  <c:v>0.3564102564102564</c:v>
                </c:pt>
                <c:pt idx="4">
                  <c:v>0.32114882506527415</c:v>
                </c:pt>
                <c:pt idx="5">
                  <c:v>0.3567251461988304</c:v>
                </c:pt>
                <c:pt idx="6">
                  <c:v>0.3561320754716981</c:v>
                </c:pt>
                <c:pt idx="7">
                  <c:v>0.32342007434944237</c:v>
                </c:pt>
                <c:pt idx="8">
                  <c:v>0.3473684210526316</c:v>
                </c:pt>
                <c:pt idx="9">
                  <c:v>0.33134328358208953</c:v>
                </c:pt>
                <c:pt idx="10">
                  <c:v>0.31736526946107785</c:v>
                </c:pt>
                <c:pt idx="11">
                  <c:v>0.3790983606557377</c:v>
                </c:pt>
                <c:pt idx="12">
                  <c:v>0.3938618925831202</c:v>
                </c:pt>
                <c:pt idx="13">
                  <c:v>0.3359173126614987</c:v>
                </c:pt>
                <c:pt idx="14">
                  <c:v>0.33112582781456956</c:v>
                </c:pt>
                <c:pt idx="15">
                  <c:v>0.3409090909090909</c:v>
                </c:pt>
                <c:pt idx="16">
                  <c:v>0.3137254901960784</c:v>
                </c:pt>
                <c:pt idx="17">
                  <c:v>0.31176470588235294</c:v>
                </c:pt>
                <c:pt idx="18">
                  <c:v>0.2540983606557377</c:v>
                </c:pt>
                <c:pt idx="19">
                  <c:v>0.33093525179856115</c:v>
                </c:pt>
                <c:pt idx="20">
                  <c:v>0.4065040650406504</c:v>
                </c:pt>
                <c:pt idx="21">
                  <c:v>0.3741496598639456</c:v>
                </c:pt>
                <c:pt idx="22">
                  <c:v>0.4166666666666667</c:v>
                </c:pt>
                <c:pt idx="23">
                  <c:v>0.44029850746268656</c:v>
                </c:pt>
                <c:pt idx="24">
                  <c:v>0.4603174603174603</c:v>
                </c:pt>
                <c:pt idx="25">
                  <c:v>0.4</c:v>
                </c:pt>
                <c:pt idx="26">
                  <c:v>0.33980582524271846</c:v>
                </c:pt>
                <c:pt idx="27">
                  <c:v>0.30392156862745096</c:v>
                </c:pt>
                <c:pt idx="28">
                  <c:v>0.25806451612903225</c:v>
                </c:pt>
                <c:pt idx="29">
                  <c:v>0.2916666666666667</c:v>
                </c:pt>
                <c:pt idx="30">
                  <c:v>0.2542372881355932</c:v>
                </c:pt>
                <c:pt idx="31">
                  <c:v>0.28846153846153844</c:v>
                </c:pt>
                <c:pt idx="32">
                  <c:v>0.26666666666666666</c:v>
                </c:pt>
                <c:pt idx="33">
                  <c:v>0.296875</c:v>
                </c:pt>
                <c:pt idx="34">
                  <c:v>0.3125</c:v>
                </c:pt>
                <c:pt idx="35">
                  <c:v>0.25</c:v>
                </c:pt>
                <c:pt idx="36">
                  <c:v>0.4166666666666667</c:v>
                </c:pt>
                <c:pt idx="37">
                  <c:v>0.43137254901960786</c:v>
                </c:pt>
                <c:pt idx="38">
                  <c:v>0.4411764705882353</c:v>
                </c:pt>
                <c:pt idx="39">
                  <c:v>0.5227272727272727</c:v>
                </c:pt>
                <c:pt idx="40">
                  <c:v>0.4251968503937008</c:v>
                </c:pt>
                <c:pt idx="41">
                  <c:v>0.422680412371134</c:v>
                </c:pt>
                <c:pt idx="42">
                  <c:v>0.39436619718309857</c:v>
                </c:pt>
                <c:pt idx="43">
                  <c:v>0.41509433962264153</c:v>
                </c:pt>
                <c:pt idx="44">
                  <c:v>0.3567251461988304</c:v>
                </c:pt>
                <c:pt idx="45">
                  <c:v>0.37344398340248963</c:v>
                </c:pt>
                <c:pt idx="46">
                  <c:v>0.33707865168539325</c:v>
                </c:pt>
                <c:pt idx="47">
                  <c:v>0.3811881188118812</c:v>
                </c:pt>
                <c:pt idx="48">
                  <c:v>0.3033033033033033</c:v>
                </c:pt>
                <c:pt idx="49">
                  <c:v>0.3417085427135678</c:v>
                </c:pt>
                <c:pt idx="50">
                  <c:v>0.35837245696400627</c:v>
                </c:pt>
                <c:pt idx="51">
                  <c:v>0.3639455782312925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99.552281033865</c:v>
                </c:pt>
              </c:numCache>
            </c:numRef>
          </c:xVal>
          <c:yVal>
            <c:numRef>
              <c:f>Sheet1!$B$163:$B$164</c:f>
              <c:numCache>
                <c:formatCode>General</c:formatCode>
                <c:ptCount val="2"/>
                <c:pt idx="0">
                  <c:v>0.4262859959735149</c:v>
                </c:pt>
                <c:pt idx="1">
                  <c:v>0.426285995973514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99.552281033865</c:v>
                </c:pt>
                <c:pt idx="1">
                  <c:v>599.552281033865</c:v>
                </c:pt>
              </c:numCache>
            </c:numRef>
          </c:xVal>
          <c:yVal>
            <c:numRef>
              <c:f>Sheet1!$B$167:$B$168</c:f>
              <c:numCache>
                <c:formatCode>General</c:formatCode>
                <c:ptCount val="2"/>
                <c:pt idx="0">
                  <c:v>0.42628599597351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85.0499291758078</c:v>
                </c:pt>
              </c:numCache>
            </c:numRef>
          </c:xVal>
          <c:yVal>
            <c:numRef>
              <c:f>Sheet1!$B$171:$B$172</c:f>
              <c:numCache>
                <c:formatCode>General</c:formatCode>
                <c:ptCount val="2"/>
                <c:pt idx="0">
                  <c:v>0.3975166660516117</c:v>
                </c:pt>
                <c:pt idx="1">
                  <c:v>0.39751666605161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85.0499291758078</c:v>
                </c:pt>
                <c:pt idx="1">
                  <c:v>785.0499291758078</c:v>
                </c:pt>
              </c:numCache>
            </c:numRef>
          </c:xVal>
          <c:yVal>
            <c:numRef>
              <c:f>Sheet1!$B$175:$B$176</c:f>
              <c:numCache>
                <c:formatCode>General</c:formatCode>
                <c:ptCount val="2"/>
                <c:pt idx="0">
                  <c:v>0.39751666605161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70.3020754307083</c:v>
                </c:pt>
              </c:numCache>
            </c:numRef>
          </c:xVal>
          <c:yVal>
            <c:numRef>
              <c:f>Sheet1!$B$179:$B$180</c:f>
              <c:numCache>
                <c:formatCode>General</c:formatCode>
                <c:ptCount val="2"/>
                <c:pt idx="0">
                  <c:v>0.3842946810468163</c:v>
                </c:pt>
                <c:pt idx="1">
                  <c:v>0.38429468104681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70.3020754307083</c:v>
                </c:pt>
                <c:pt idx="1">
                  <c:v>870.3020754307083</c:v>
                </c:pt>
              </c:numCache>
            </c:numRef>
          </c:xVal>
          <c:yVal>
            <c:numRef>
              <c:f>Sheet1!$B$183:$B$184</c:f>
              <c:numCache>
                <c:formatCode>General</c:formatCode>
                <c:ptCount val="2"/>
                <c:pt idx="0">
                  <c:v>0.38429468104681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1.4316</c:v>
                </c:pt>
                <c:pt idx="1">
                  <c:v>1402.2717</c:v>
                </c:pt>
                <c:pt idx="2">
                  <c:v>1327.807</c:v>
                </c:pt>
                <c:pt idx="3">
                  <c:v>1357.3453</c:v>
                </c:pt>
                <c:pt idx="4">
                  <c:v>1354.9512</c:v>
                </c:pt>
                <c:pt idx="5">
                  <c:v>1340.2459</c:v>
                </c:pt>
                <c:pt idx="6">
                  <c:v>1256.6689</c:v>
                </c:pt>
                <c:pt idx="7">
                  <c:v>1335.4368</c:v>
                </c:pt>
                <c:pt idx="8">
                  <c:v>1334.1919</c:v>
                </c:pt>
                <c:pt idx="9">
                  <c:v>1470.5315</c:v>
                </c:pt>
                <c:pt idx="10">
                  <c:v>1442.6981</c:v>
                </c:pt>
                <c:pt idx="11">
                  <c:v>1150.6973</c:v>
                </c:pt>
                <c:pt idx="12">
                  <c:v>1081.9416</c:v>
                </c:pt>
                <c:pt idx="13">
                  <c:v>1210.6615</c:v>
                </c:pt>
                <c:pt idx="14">
                  <c:v>1304.5</c:v>
                </c:pt>
                <c:pt idx="15">
                  <c:v>1250.2444</c:v>
                </c:pt>
                <c:pt idx="16">
                  <c:v>1322.7813</c:v>
                </c:pt>
                <c:pt idx="17">
                  <c:v>1334.5094</c:v>
                </c:pt>
                <c:pt idx="18">
                  <c:v>1384.6774</c:v>
                </c:pt>
                <c:pt idx="19">
                  <c:v>1230.6522</c:v>
                </c:pt>
                <c:pt idx="20">
                  <c:v>1162.72</c:v>
                </c:pt>
                <c:pt idx="21">
                  <c:v>1112.5455</c:v>
                </c:pt>
                <c:pt idx="22">
                  <c:v>752.9882</c:v>
                </c:pt>
                <c:pt idx="23">
                  <c:v>763.2881</c:v>
                </c:pt>
                <c:pt idx="24">
                  <c:v>785.7069</c:v>
                </c:pt>
                <c:pt idx="25">
                  <c:v>815.6458</c:v>
                </c:pt>
                <c:pt idx="26">
                  <c:v>1041.2857</c:v>
                </c:pt>
                <c:pt idx="27">
                  <c:v>1049.6452</c:v>
                </c:pt>
                <c:pt idx="28">
                  <c:v>1154.5</c:v>
                </c:pt>
                <c:pt idx="29">
                  <c:v>980.0476</c:v>
                </c:pt>
                <c:pt idx="30">
                  <c:v>972.2667</c:v>
                </c:pt>
                <c:pt idx="31">
                  <c:v>882.4</c:v>
                </c:pt>
                <c:pt idx="32">
                  <c:v>1076.5625</c:v>
                </c:pt>
                <c:pt idx="33">
                  <c:v>1113.1053</c:v>
                </c:pt>
                <c:pt idx="34">
                  <c:v>1214.1</c:v>
                </c:pt>
                <c:pt idx="35">
                  <c:v>1018.2941</c:v>
                </c:pt>
                <c:pt idx="36">
                  <c:v>819.2667</c:v>
                </c:pt>
                <c:pt idx="37">
                  <c:v>745.1364</c:v>
                </c:pt>
                <c:pt idx="38">
                  <c:v>631.7</c:v>
                </c:pt>
                <c:pt idx="39">
                  <c:v>606.5652</c:v>
                </c:pt>
                <c:pt idx="40">
                  <c:v>764.3704</c:v>
                </c:pt>
                <c:pt idx="41">
                  <c:v>745.561</c:v>
                </c:pt>
                <c:pt idx="42">
                  <c:v>884.3929</c:v>
                </c:pt>
                <c:pt idx="43">
                  <c:v>711.5758</c:v>
                </c:pt>
                <c:pt idx="44">
                  <c:v>839.5246</c:v>
                </c:pt>
                <c:pt idx="45">
                  <c:v>985.2889</c:v>
                </c:pt>
                <c:pt idx="46">
                  <c:v>1037.7</c:v>
                </c:pt>
                <c:pt idx="47">
                  <c:v>935.013</c:v>
                </c:pt>
                <c:pt idx="48">
                  <c:v>1130.4455</c:v>
                </c:pt>
                <c:pt idx="49">
                  <c:v>1018.8456</c:v>
                </c:pt>
                <c:pt idx="50">
                  <c:v>1000.9345</c:v>
                </c:pt>
                <c:pt idx="51">
                  <c:v>1005.5701</c:v>
                </c:pt>
                <c:pt idx="52">
                  <c:v>785.0499291758078</c:v>
                </c:pt>
                <c:pt idx="53">
                  <c:v>599.552281033865</c:v>
                </c:pt>
                <c:pt idx="54">
                  <c:v>870.3020754307083</c:v>
                </c:pt>
              </c:numCache>
            </c:numRef>
          </c:xVal>
          <c:yVal>
            <c:numRef>
              <c:f>Sheet1!$B$187:$B$241</c:f>
              <c:numCache>
                <c:formatCode>General</c:formatCode>
                <c:ptCount val="55"/>
                <c:pt idx="0">
                  <c:v>0.30347129932444417</c:v>
                </c:pt>
                <c:pt idx="1">
                  <c:v>0.3017900790156681</c:v>
                </c:pt>
                <c:pt idx="2">
                  <c:v>0.31333900992284736</c:v>
                </c:pt>
                <c:pt idx="3">
                  <c:v>0.3087578354090773</c:v>
                </c:pt>
                <c:pt idx="4">
                  <c:v>0.30912914282702003</c:v>
                </c:pt>
                <c:pt idx="5">
                  <c:v>0.3114098274154135</c:v>
                </c:pt>
                <c:pt idx="6">
                  <c:v>0.32437200947522604</c:v>
                </c:pt>
                <c:pt idx="7">
                  <c:v>0.3121556836885968</c:v>
                </c:pt>
                <c:pt idx="8">
                  <c:v>0.31234875858296085</c:v>
                </c:pt>
                <c:pt idx="9">
                  <c:v>0.2912034827635127</c:v>
                </c:pt>
                <c:pt idx="10">
                  <c:v>0.29552023974382535</c:v>
                </c:pt>
                <c:pt idx="11">
                  <c:v>0.3408074303729566</c:v>
                </c:pt>
                <c:pt idx="12">
                  <c:v>0.3514709370919086</c:v>
                </c:pt>
                <c:pt idx="13">
                  <c:v>0.33150742107050485</c:v>
                </c:pt>
                <c:pt idx="14">
                  <c:v>0.31695375533448034</c:v>
                </c:pt>
                <c:pt idx="15">
                  <c:v>0.3253684024857823</c:v>
                </c:pt>
                <c:pt idx="16">
                  <c:v>0.3141184592734821</c:v>
                </c:pt>
                <c:pt idx="17">
                  <c:v>0.312299516652717</c:v>
                </c:pt>
                <c:pt idx="18">
                  <c:v>0.3045188263961072</c:v>
                </c:pt>
                <c:pt idx="19">
                  <c:v>0.32840700955892754</c:v>
                </c:pt>
                <c:pt idx="20">
                  <c:v>0.3389427974446329</c:v>
                </c:pt>
                <c:pt idx="21">
                  <c:v>0.3467244958037516</c:v>
                </c:pt>
                <c:pt idx="22">
                  <c:v>0.4024892059935721</c:v>
                </c:pt>
                <c:pt idx="23">
                  <c:v>0.40089176675792276</c:v>
                </c:pt>
                <c:pt idx="24">
                  <c:v>0.39741477467681763</c:v>
                </c:pt>
                <c:pt idx="25">
                  <c:v>0.39277147002995877</c:v>
                </c:pt>
                <c:pt idx="26">
                  <c:v>0.3577763701369513</c:v>
                </c:pt>
                <c:pt idx="27">
                  <c:v>0.3564798727641214</c:v>
                </c:pt>
                <c:pt idx="28">
                  <c:v>0.34021765938669424</c:v>
                </c:pt>
                <c:pt idx="29">
                  <c:v>0.36727395202188373</c:v>
                </c:pt>
                <c:pt idx="30">
                  <c:v>0.36848071276214955</c:v>
                </c:pt>
                <c:pt idx="31">
                  <c:v>0.38241838133741013</c:v>
                </c:pt>
                <c:pt idx="32">
                  <c:v>0.35230519620049033</c:v>
                </c:pt>
                <c:pt idx="33">
                  <c:v>0.34663767491382874</c:v>
                </c:pt>
                <c:pt idx="34">
                  <c:v>0.33097413484328125</c:v>
                </c:pt>
                <c:pt idx="35">
                  <c:v>0.36134219931299716</c:v>
                </c:pt>
                <c:pt idx="36">
                  <c:v>0.3922098948954077</c:v>
                </c:pt>
                <c:pt idx="37">
                  <c:v>0.4037069628058199</c:v>
                </c:pt>
                <c:pt idx="38">
                  <c:v>0.4213001196433436</c:v>
                </c:pt>
                <c:pt idx="39">
                  <c:v>0.42519834348048746</c:v>
                </c:pt>
                <c:pt idx="40">
                  <c:v>0.40072390993555135</c:v>
                </c:pt>
                <c:pt idx="41">
                  <c:v>0.40364111044808276</c:v>
                </c:pt>
                <c:pt idx="42">
                  <c:v>0.38210929710817243</c:v>
                </c:pt>
                <c:pt idx="43">
                  <c:v>0.40891196666138474</c:v>
                </c:pt>
                <c:pt idx="44">
                  <c:v>0.38906804261607875</c:v>
                </c:pt>
                <c:pt idx="45">
                  <c:v>0.3664610646864913</c:v>
                </c:pt>
                <c:pt idx="46">
                  <c:v>0.3583324860086847</c:v>
                </c:pt>
                <c:pt idx="47">
                  <c:v>0.37425848944474926</c:v>
                </c:pt>
                <c:pt idx="48">
                  <c:v>0.3439483365868541</c:v>
                </c:pt>
                <c:pt idx="49">
                  <c:v>0.3612566656924318</c:v>
                </c:pt>
                <c:pt idx="50">
                  <c:v>0.3640345464382292</c:v>
                </c:pt>
                <c:pt idx="51">
                  <c:v>0.3633155987473996</c:v>
                </c:pt>
                <c:pt idx="52">
                  <c:v>0.3975166660516117</c:v>
                </c:pt>
                <c:pt idx="53">
                  <c:v>0.4262859959735149</c:v>
                </c:pt>
                <c:pt idx="54">
                  <c:v>0.38429468104681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8.0"/>
          <c:min val="4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72727272727272"/>
          <c:min val="0.110691823899371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7</c:f>
              <c:numCache>
                <c:formatCode>General</c:formatCode>
                <c:ptCount val="106"/>
                <c:pt idx="0">
                  <c:v>0.1501478701504355</c:v>
                </c:pt>
                <c:pt idx="1">
                  <c:v>0.24283548171275646</c:v>
                </c:pt>
                <c:pt idx="2">
                  <c:v>0.2547724413313108</c:v>
                </c:pt>
                <c:pt idx="3">
                  <c:v>0.18648692025487545</c:v>
                </c:pt>
                <c:pt idx="4">
                  <c:v>0.2362196306704135</c:v>
                </c:pt>
                <c:pt idx="5">
                  <c:v>0.16430260624907447</c:v>
                </c:pt>
                <c:pt idx="6">
                  <c:v>0.22807017543859648</c:v>
                </c:pt>
                <c:pt idx="7">
                  <c:v>0.2638598778942518</c:v>
                </c:pt>
                <c:pt idx="8">
                  <c:v>0.15512328377320908</c:v>
                </c:pt>
                <c:pt idx="9">
                  <c:v>0.23361739998336523</c:v>
                </c:pt>
                <c:pt idx="10">
                  <c:v>0.21063858718030837</c:v>
                </c:pt>
                <c:pt idx="11">
                  <c:v>0.23118019817190258</c:v>
                </c:pt>
                <c:pt idx="12">
                  <c:v>0.24633831215739596</c:v>
                </c:pt>
                <c:pt idx="13">
                  <c:v>0.1831443341741901</c:v>
                </c:pt>
                <c:pt idx="14">
                  <c:v>0.22355882604766208</c:v>
                </c:pt>
                <c:pt idx="15">
                  <c:v>0.27790148528467956</c:v>
                </c:pt>
                <c:pt idx="16">
                  <c:v>0.2875677890328787</c:v>
                </c:pt>
                <c:pt idx="17">
                  <c:v>0.24999506760617024</c:v>
                </c:pt>
                <c:pt idx="18">
                  <c:v>0.22377925451172204</c:v>
                </c:pt>
                <c:pt idx="19">
                  <c:v>0.2319898206846586</c:v>
                </c:pt>
                <c:pt idx="20">
                  <c:v>0.2419022456382795</c:v>
                </c:pt>
                <c:pt idx="21">
                  <c:v>0.1910195744680851</c:v>
                </c:pt>
                <c:pt idx="22">
                  <c:v>0.19868487303769078</c:v>
                </c:pt>
                <c:pt idx="23">
                  <c:v>0.19781228095170253</c:v>
                </c:pt>
                <c:pt idx="24">
                  <c:v>0.1988678002894356</c:v>
                </c:pt>
                <c:pt idx="25">
                  <c:v>0.2762183747230966</c:v>
                </c:pt>
                <c:pt idx="26">
                  <c:v>0.2778742356008533</c:v>
                </c:pt>
                <c:pt idx="27">
                  <c:v>0.22280977465056573</c:v>
                </c:pt>
                <c:pt idx="28">
                  <c:v>0.17157603824746684</c:v>
                </c:pt>
                <c:pt idx="29">
                  <c:v>0.25723197478991594</c:v>
                </c:pt>
                <c:pt idx="30">
                  <c:v>0.28167339090385723</c:v>
                </c:pt>
                <c:pt idx="31">
                  <c:v>0.1802968506441864</c:v>
                </c:pt>
                <c:pt idx="32">
                  <c:v>0.2875306447831184</c:v>
                </c:pt>
                <c:pt idx="33">
                  <c:v>0.20450085717236394</c:v>
                </c:pt>
                <c:pt idx="34">
                  <c:v>0.19471160730108097</c:v>
                </c:pt>
                <c:pt idx="35">
                  <c:v>0.25689494596659757</c:v>
                </c:pt>
                <c:pt idx="36">
                  <c:v>0.1764456908160517</c:v>
                </c:pt>
                <c:pt idx="37">
                  <c:v>0.24719144932714066</c:v>
                </c:pt>
                <c:pt idx="38">
                  <c:v>0.24241795723479345</c:v>
                </c:pt>
                <c:pt idx="39">
                  <c:v>0.25262912982782687</c:v>
                </c:pt>
                <c:pt idx="40">
                  <c:v>0.3635623749166111</c:v>
                </c:pt>
                <c:pt idx="41">
                  <c:v>0.25646615668537465</c:v>
                </c:pt>
                <c:pt idx="42">
                  <c:v>0.22633335193971532</c:v>
                </c:pt>
                <c:pt idx="43">
                  <c:v>0.260879745797458</c:v>
                </c:pt>
                <c:pt idx="44">
                  <c:v>0.23994874236292946</c:v>
                </c:pt>
                <c:pt idx="45">
                  <c:v>0.296701200025669</c:v>
                </c:pt>
                <c:pt idx="46">
                  <c:v>0.25485401797175866</c:v>
                </c:pt>
                <c:pt idx="47">
                  <c:v>0.23264645829009944</c:v>
                </c:pt>
                <c:pt idx="48">
                  <c:v>0.27492894849785404</c:v>
                </c:pt>
                <c:pt idx="49">
                  <c:v>0.2216043991380007</c:v>
                </c:pt>
                <c:pt idx="50">
                  <c:v>0.19976679357743662</c:v>
                </c:pt>
                <c:pt idx="51">
                  <c:v>0.18064631228966466</c:v>
                </c:pt>
                <c:pt idx="52">
                  <c:v>0.229564169508037</c:v>
                </c:pt>
                <c:pt idx="53">
                  <c:v>0.27822342969929176</c:v>
                </c:pt>
                <c:pt idx="54">
                  <c:v>0.2598010786015373</c:v>
                </c:pt>
                <c:pt idx="55">
                  <c:v>0.18871593659030153</c:v>
                </c:pt>
                <c:pt idx="56">
                  <c:v>0.20449476754160234</c:v>
                </c:pt>
                <c:pt idx="57">
                  <c:v>0.17569650258623642</c:v>
                </c:pt>
                <c:pt idx="58">
                  <c:v>0.2439006892838806</c:v>
                </c:pt>
                <c:pt idx="59">
                  <c:v>0.22179661654135338</c:v>
                </c:pt>
                <c:pt idx="60">
                  <c:v>0.20534415167095113</c:v>
                </c:pt>
                <c:pt idx="61">
                  <c:v>0.22226299735026384</c:v>
                </c:pt>
                <c:pt idx="62">
                  <c:v>0.2263967898253864</c:v>
                </c:pt>
                <c:pt idx="63">
                  <c:v>0.24594619813967222</c:v>
                </c:pt>
                <c:pt idx="64">
                  <c:v>0.22270681510371854</c:v>
                </c:pt>
                <c:pt idx="65">
                  <c:v>0.20716274157066566</c:v>
                </c:pt>
                <c:pt idx="66">
                  <c:v>0.25161728919931164</c:v>
                </c:pt>
                <c:pt idx="67">
                  <c:v>0.26465149174567904</c:v>
                </c:pt>
                <c:pt idx="68">
                  <c:v>0.2294217168687533</c:v>
                </c:pt>
                <c:pt idx="69">
                  <c:v>0.25309794437726724</c:v>
                </c:pt>
                <c:pt idx="70">
                  <c:v>0.20897789517586546</c:v>
                </c:pt>
                <c:pt idx="71">
                  <c:v>0.20874961769621964</c:v>
                </c:pt>
                <c:pt idx="72">
                  <c:v>0.18329218996528873</c:v>
                </c:pt>
                <c:pt idx="73">
                  <c:v>0.23015008041170795</c:v>
                </c:pt>
                <c:pt idx="74">
                  <c:v>0.23562105263157895</c:v>
                </c:pt>
                <c:pt idx="75">
                  <c:v>0.24266571661976943</c:v>
                </c:pt>
                <c:pt idx="76">
                  <c:v>0.18319282749675744</c:v>
                </c:pt>
                <c:pt idx="77">
                  <c:v>0.26807541683778235</c:v>
                </c:pt>
                <c:pt idx="78">
                  <c:v>0.22506486357108665</c:v>
                </c:pt>
                <c:pt idx="79">
                  <c:v>0.224895355361596</c:v>
                </c:pt>
                <c:pt idx="80">
                  <c:v>0.2529418315789474</c:v>
                </c:pt>
                <c:pt idx="81">
                  <c:v>0.2566324812030075</c:v>
                </c:pt>
                <c:pt idx="82">
                  <c:v>0.22568076530845216</c:v>
                </c:pt>
                <c:pt idx="83">
                  <c:v>0.2723381104294479</c:v>
                </c:pt>
                <c:pt idx="84">
                  <c:v>0.21311230339042292</c:v>
                </c:pt>
                <c:pt idx="85">
                  <c:v>0.26071522165960526</c:v>
                </c:pt>
                <c:pt idx="86">
                  <c:v>0.26067319066566297</c:v>
                </c:pt>
                <c:pt idx="87">
                  <c:v>0.17364272727272725</c:v>
                </c:pt>
                <c:pt idx="88">
                  <c:v>0.30960677130044845</c:v>
                </c:pt>
                <c:pt idx="89">
                  <c:v>0.2131186313533374</c:v>
                </c:pt>
                <c:pt idx="90">
                  <c:v>0.34394853875476494</c:v>
                </c:pt>
                <c:pt idx="91">
                  <c:v>0.3138255866425993</c:v>
                </c:pt>
                <c:pt idx="92">
                  <c:v>0.19454730317179197</c:v>
                </c:pt>
                <c:pt idx="93">
                  <c:v>0.2455665142741034</c:v>
                </c:pt>
                <c:pt idx="94">
                  <c:v>0.2534825361057052</c:v>
                </c:pt>
                <c:pt idx="95">
                  <c:v>0.13126826753301787</c:v>
                </c:pt>
                <c:pt idx="96">
                  <c:v>0.16184260972540893</c:v>
                </c:pt>
                <c:pt idx="97">
                  <c:v>0.20421311924956229</c:v>
                </c:pt>
                <c:pt idx="98">
                  <c:v>0.20308022273043652</c:v>
                </c:pt>
                <c:pt idx="99">
                  <c:v>0.21772544553856932</c:v>
                </c:pt>
                <c:pt idx="100">
                  <c:v>0.22362477960675634</c:v>
                </c:pt>
                <c:pt idx="101">
                  <c:v>0.20084772170925488</c:v>
                </c:pt>
                <c:pt idx="102">
                  <c:v>0.2130274244789873</c:v>
                </c:pt>
                <c:pt idx="103">
                  <c:v>0.18846889636952724</c:v>
                </c:pt>
                <c:pt idx="104">
                  <c:v>0.2613824119336794</c:v>
                </c:pt>
                <c:pt idx="105">
                  <c:v>0.0</c:v>
                </c:pt>
              </c:numCache>
            </c:numRef>
          </c:xVal>
          <c:yVal>
            <c:numRef>
              <c:f>Sheet1!$B$2:$B$107</c:f>
              <c:numCache>
                <c:formatCode>General</c:formatCode>
                <c:ptCount val="106"/>
                <c:pt idx="0">
                  <c:v>0.33497536945812806</c:v>
                </c:pt>
                <c:pt idx="1">
                  <c:v>0.37697516930022573</c:v>
                </c:pt>
                <c:pt idx="2">
                  <c:v>0.35700197238658776</c:v>
                </c:pt>
                <c:pt idx="3">
                  <c:v>0.31932773109243695</c:v>
                </c:pt>
                <c:pt idx="4">
                  <c:v>0.3333333333333333</c:v>
                </c:pt>
                <c:pt idx="5">
                  <c:v>0.3384279475982533</c:v>
                </c:pt>
                <c:pt idx="6">
                  <c:v>0.3286573146292585</c:v>
                </c:pt>
                <c:pt idx="7">
                  <c:v>0.34418604651162793</c:v>
                </c:pt>
                <c:pt idx="8">
                  <c:v>0.38850574712643676</c:v>
                </c:pt>
                <c:pt idx="9">
                  <c:v>0.35714285714285715</c:v>
                </c:pt>
                <c:pt idx="10">
                  <c:v>0.3570274636510501</c:v>
                </c:pt>
                <c:pt idx="11">
                  <c:v>0.3539967373572594</c:v>
                </c:pt>
                <c:pt idx="12">
                  <c:v>0.3439878234398782</c:v>
                </c:pt>
                <c:pt idx="13">
                  <c:v>0.35426731078904994</c:v>
                </c:pt>
                <c:pt idx="14">
                  <c:v>0.3092979127134725</c:v>
                </c:pt>
                <c:pt idx="15">
                  <c:v>0.3082901554404145</c:v>
                </c:pt>
                <c:pt idx="16">
                  <c:v>0.26013513513513514</c:v>
                </c:pt>
                <c:pt idx="17">
                  <c:v>0.27230046948356806</c:v>
                </c:pt>
                <c:pt idx="18">
                  <c:v>0.2655367231638418</c:v>
                </c:pt>
                <c:pt idx="19">
                  <c:v>0.25165562913907286</c:v>
                </c:pt>
                <c:pt idx="20">
                  <c:v>0.24431818181818182</c:v>
                </c:pt>
                <c:pt idx="21">
                  <c:v>0.25517241379310346</c:v>
                </c:pt>
                <c:pt idx="22">
                  <c:v>0.3114754098360656</c:v>
                </c:pt>
                <c:pt idx="23">
                  <c:v>0.32142857142857145</c:v>
                </c:pt>
                <c:pt idx="24">
                  <c:v>0.2905982905982906</c:v>
                </c:pt>
                <c:pt idx="25">
                  <c:v>0.32653061224489793</c:v>
                </c:pt>
                <c:pt idx="26">
                  <c:v>0.32456140350877194</c:v>
                </c:pt>
                <c:pt idx="27">
                  <c:v>0.248</c:v>
                </c:pt>
                <c:pt idx="28">
                  <c:v>0.25862068965517243</c:v>
                </c:pt>
                <c:pt idx="29">
                  <c:v>0.32673267326732675</c:v>
                </c:pt>
                <c:pt idx="30">
                  <c:v>0.25</c:v>
                </c:pt>
                <c:pt idx="31">
                  <c:v>0.2835820895522388</c:v>
                </c:pt>
                <c:pt idx="32">
                  <c:v>0.3283582089552239</c:v>
                </c:pt>
                <c:pt idx="33">
                  <c:v>0.3142857142857143</c:v>
                </c:pt>
                <c:pt idx="34">
                  <c:v>0.375</c:v>
                </c:pt>
                <c:pt idx="35">
                  <c:v>0.30597014925373134</c:v>
                </c:pt>
                <c:pt idx="36">
                  <c:v>0.1826086956521739</c:v>
                </c:pt>
                <c:pt idx="37">
                  <c:v>0.21428571428571427</c:v>
                </c:pt>
                <c:pt idx="38">
                  <c:v>0.24175824175824176</c:v>
                </c:pt>
                <c:pt idx="39">
                  <c:v>0.19230769230769232</c:v>
                </c:pt>
                <c:pt idx="40">
                  <c:v>0.2808988764044944</c:v>
                </c:pt>
                <c:pt idx="41">
                  <c:v>0.2911392405063291</c:v>
                </c:pt>
                <c:pt idx="42">
                  <c:v>0.25</c:v>
                </c:pt>
                <c:pt idx="43">
                  <c:v>0.2916666666666667</c:v>
                </c:pt>
                <c:pt idx="44">
                  <c:v>0.3521739130434783</c:v>
                </c:pt>
                <c:pt idx="45">
                  <c:v>0.34172661870503596</c:v>
                </c:pt>
                <c:pt idx="46">
                  <c:v>0.32231404958677684</c:v>
                </c:pt>
                <c:pt idx="47">
                  <c:v>0.3344947735191638</c:v>
                </c:pt>
                <c:pt idx="48">
                  <c:v>0.3566265060240964</c:v>
                </c:pt>
                <c:pt idx="49">
                  <c:v>0.5102339181286549</c:v>
                </c:pt>
                <c:pt idx="50">
                  <c:v>0.4553314121037464</c:v>
                </c:pt>
                <c:pt idx="51">
                  <c:v>0.373134328358209</c:v>
                </c:pt>
                <c:pt idx="52">
                  <c:v>0.44011976047904194</c:v>
                </c:pt>
                <c:pt idx="53">
                  <c:v>0.436241610738255</c:v>
                </c:pt>
                <c:pt idx="54">
                  <c:v>0.3903345724907063</c:v>
                </c:pt>
                <c:pt idx="55">
                  <c:v>0.39271255060728744</c:v>
                </c:pt>
                <c:pt idx="56">
                  <c:v>0.436426116838488</c:v>
                </c:pt>
                <c:pt idx="57">
                  <c:v>0.4534313725490196</c:v>
                </c:pt>
                <c:pt idx="58">
                  <c:v>0.44282744282744285</c:v>
                </c:pt>
                <c:pt idx="59">
                  <c:v>0.4435840707964602</c:v>
                </c:pt>
                <c:pt idx="60">
                  <c:v>0.4107142857142857</c:v>
                </c:pt>
                <c:pt idx="61">
                  <c:v>0.37738853503184716</c:v>
                </c:pt>
                <c:pt idx="62">
                  <c:v>0.36012861736334406</c:v>
                </c:pt>
                <c:pt idx="63">
                  <c:v>0.34285714285714286</c:v>
                </c:pt>
                <c:pt idx="64">
                  <c:v>0.33951497860199714</c:v>
                </c:pt>
                <c:pt idx="65">
                  <c:v>0.32124352331606215</c:v>
                </c:pt>
                <c:pt idx="66">
                  <c:v>0.3031496062992126</c:v>
                </c:pt>
                <c:pt idx="67">
                  <c:v>0.3078817733990148</c:v>
                </c:pt>
                <c:pt idx="68">
                  <c:v>0.27419354838709675</c:v>
                </c:pt>
                <c:pt idx="69">
                  <c:v>0.25252525252525254</c:v>
                </c:pt>
                <c:pt idx="70">
                  <c:v>0.2554112554112554</c:v>
                </c:pt>
                <c:pt idx="71">
                  <c:v>0.27699530516431925</c:v>
                </c:pt>
                <c:pt idx="72">
                  <c:v>0.2947976878612717</c:v>
                </c:pt>
                <c:pt idx="73">
                  <c:v>0.2662337662337662</c:v>
                </c:pt>
                <c:pt idx="74">
                  <c:v>0.28187919463087246</c:v>
                </c:pt>
                <c:pt idx="75">
                  <c:v>0.24786324786324787</c:v>
                </c:pt>
                <c:pt idx="76">
                  <c:v>0.23076923076923078</c:v>
                </c:pt>
                <c:pt idx="77">
                  <c:v>0.13836477987421383</c:v>
                </c:pt>
                <c:pt idx="78">
                  <c:v>0.30337078651685395</c:v>
                </c:pt>
                <c:pt idx="79">
                  <c:v>0.2</c:v>
                </c:pt>
                <c:pt idx="80">
                  <c:v>0.2923076923076923</c:v>
                </c:pt>
                <c:pt idx="81">
                  <c:v>0.2268041237113402</c:v>
                </c:pt>
                <c:pt idx="82">
                  <c:v>0.2054794520547945</c:v>
                </c:pt>
                <c:pt idx="83">
                  <c:v>0.27692307692307694</c:v>
                </c:pt>
                <c:pt idx="84">
                  <c:v>0.25925925925925924</c:v>
                </c:pt>
                <c:pt idx="85">
                  <c:v>0.2328767123287671</c:v>
                </c:pt>
                <c:pt idx="86">
                  <c:v>0.21794871794871795</c:v>
                </c:pt>
                <c:pt idx="87">
                  <c:v>0.21359223300970873</c:v>
                </c:pt>
                <c:pt idx="88">
                  <c:v>0.22033898305084745</c:v>
                </c:pt>
                <c:pt idx="89">
                  <c:v>0.19298245614035087</c:v>
                </c:pt>
                <c:pt idx="90">
                  <c:v>0.16666666666666666</c:v>
                </c:pt>
                <c:pt idx="91">
                  <c:v>0.1509433962264151</c:v>
                </c:pt>
                <c:pt idx="92">
                  <c:v>0.2</c:v>
                </c:pt>
                <c:pt idx="93">
                  <c:v>0.2571428571428571</c:v>
                </c:pt>
                <c:pt idx="94">
                  <c:v>0.32</c:v>
                </c:pt>
                <c:pt idx="95">
                  <c:v>0.4396551724137931</c:v>
                </c:pt>
                <c:pt idx="96">
                  <c:v>0.3756345177664975</c:v>
                </c:pt>
                <c:pt idx="97">
                  <c:v>0.34684684684684686</c:v>
                </c:pt>
                <c:pt idx="98">
                  <c:v>0.34615384615384615</c:v>
                </c:pt>
                <c:pt idx="99">
                  <c:v>0.3541666666666667</c:v>
                </c:pt>
                <c:pt idx="100">
                  <c:v>0.317157712305026</c:v>
                </c:pt>
                <c:pt idx="101">
                  <c:v>0.30666666666666664</c:v>
                </c:pt>
                <c:pt idx="102">
                  <c:v>0.27385892116182575</c:v>
                </c:pt>
                <c:pt idx="103">
                  <c:v>0.2775800711743772</c:v>
                </c:pt>
                <c:pt idx="104">
                  <c:v>0.2823529411764706</c:v>
                </c:pt>
                <c:pt idx="105">
                  <c:v>0.4166666666666667</c:v>
                </c:pt>
              </c:numCache>
            </c:numRef>
          </c:yVal>
          <c:smooth val="0"/>
          <c:extLst>
            <c:ext xmlns:c16="http://schemas.microsoft.com/office/drawing/2014/chart" uri="{C3380CC4-5D6E-409C-BE32-E72D297353CC}">
              <c16:uniqueId val="{00000000-096C-4121-9522-6AB7243CCAAE}"/>
            </c:ext>
          </c:extLst>
        </c:ser>
        <c:ser>
          <c:idx val="1"/>
          <c:order val="1"/>
          <c:tx>
            <c:strRef>
              <c:f>Sheet1!$B$10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0:$A$160</c:f>
              <c:numCache>
                <c:formatCode>General</c:formatCode>
                <c:ptCount val="51"/>
                <c:pt idx="0">
                  <c:v>0.27614031761289676</c:v>
                </c:pt>
                <c:pt idx="1">
                  <c:v>0.2701500446672629</c:v>
                </c:pt>
                <c:pt idx="2">
                  <c:v>0.23500414476242718</c:v>
                </c:pt>
                <c:pt idx="3">
                  <c:v>0.234018325714673</c:v>
                </c:pt>
                <c:pt idx="4">
                  <c:v>0.21133138891055134</c:v>
                </c:pt>
                <c:pt idx="5">
                  <c:v>0.255058213302092</c:v>
                </c:pt>
                <c:pt idx="6">
                  <c:v>0.22683554151624546</c:v>
                </c:pt>
                <c:pt idx="7">
                  <c:v>0.26262277286135693</c:v>
                </c:pt>
                <c:pt idx="8">
                  <c:v>0.21795179286122682</c:v>
                </c:pt>
                <c:pt idx="9">
                  <c:v>0.273807998548858</c:v>
                </c:pt>
                <c:pt idx="10">
                  <c:v>0.24945500916415952</c:v>
                </c:pt>
                <c:pt idx="11">
                  <c:v>0.23240775973501376</c:v>
                </c:pt>
                <c:pt idx="12">
                  <c:v>0.1785455835636784</c:v>
                </c:pt>
                <c:pt idx="13">
                  <c:v>0.20825897733625767</c:v>
                </c:pt>
                <c:pt idx="14">
                  <c:v>0.2597441385833043</c:v>
                </c:pt>
                <c:pt idx="15">
                  <c:v>0.23383258989105532</c:v>
                </c:pt>
                <c:pt idx="16">
                  <c:v>0.20409092369929502</c:v>
                </c:pt>
                <c:pt idx="17">
                  <c:v>0.22482889748509632</c:v>
                </c:pt>
                <c:pt idx="18">
                  <c:v>0.21253682271680738</c:v>
                </c:pt>
                <c:pt idx="19">
                  <c:v>0.1647459437751004</c:v>
                </c:pt>
                <c:pt idx="20">
                  <c:v>0.17701004680295318</c:v>
                </c:pt>
                <c:pt idx="21">
                  <c:v>0.20838087656864582</c:v>
                </c:pt>
                <c:pt idx="22">
                  <c:v>0.10793982224770643</c:v>
                </c:pt>
                <c:pt idx="23">
                  <c:v>0.11523939005057748</c:v>
                </c:pt>
                <c:pt idx="24">
                  <c:v>0.10821663797259143</c:v>
                </c:pt>
                <c:pt idx="25">
                  <c:v>0.1293957008011422</c:v>
                </c:pt>
                <c:pt idx="26">
                  <c:v>0.1934157068081499</c:v>
                </c:pt>
                <c:pt idx="27">
                  <c:v>0.17755987482026558</c:v>
                </c:pt>
                <c:pt idx="28">
                  <c:v>0.26208853575482405</c:v>
                </c:pt>
                <c:pt idx="29">
                  <c:v>0.19456970418900138</c:v>
                </c:pt>
                <c:pt idx="30">
                  <c:v>0.19781621566632757</c:v>
                </c:pt>
                <c:pt idx="31">
                  <c:v>0.12253853631440077</c:v>
                </c:pt>
                <c:pt idx="32">
                  <c:v>0.22172021419009372</c:v>
                </c:pt>
                <c:pt idx="33">
                  <c:v>0.2698437090909091</c:v>
                </c:pt>
                <c:pt idx="34">
                  <c:v>0.2718540080609046</c:v>
                </c:pt>
                <c:pt idx="35">
                  <c:v>0.20632035254786749</c:v>
                </c:pt>
                <c:pt idx="36">
                  <c:v>0.12976948798328108</c:v>
                </c:pt>
                <c:pt idx="37">
                  <c:v>0.14619301087711178</c:v>
                </c:pt>
                <c:pt idx="38">
                  <c:v>0.12692303829252982</c:v>
                </c:pt>
                <c:pt idx="39">
                  <c:v>0.1427395704948646</c:v>
                </c:pt>
                <c:pt idx="40">
                  <c:v>0.09443457884737176</c:v>
                </c:pt>
                <c:pt idx="41">
                  <c:v>0.2130810504758463</c:v>
                </c:pt>
                <c:pt idx="42">
                  <c:v>0.11603355890746024</c:v>
                </c:pt>
                <c:pt idx="43">
                  <c:v>0.1835293899550345</c:v>
                </c:pt>
                <c:pt idx="44">
                  <c:v>0.1641600966344552</c:v>
                </c:pt>
                <c:pt idx="45">
                  <c:v>0.14148203694866726</c:v>
                </c:pt>
                <c:pt idx="46">
                  <c:v>0.12631896784652796</c:v>
                </c:pt>
                <c:pt idx="47">
                  <c:v>0.1812482764149431</c:v>
                </c:pt>
                <c:pt idx="48">
                  <c:v>0.1782257985515866</c:v>
                </c:pt>
                <c:pt idx="49">
                  <c:v>0.21908678521022337</c:v>
                </c:pt>
                <c:pt idx="50">
                  <c:v>0.19849390051322544</c:v>
                </c:pt>
              </c:numCache>
            </c:numRef>
          </c:xVal>
          <c:yVal>
            <c:numRef>
              <c:f>Sheet1!$B$110:$B$160</c:f>
              <c:numCache>
                <c:formatCode>General</c:formatCode>
                <c:ptCount val="51"/>
                <c:pt idx="0">
                  <c:v>0.29780564263322884</c:v>
                </c:pt>
                <c:pt idx="1">
                  <c:v>0.33093525179856115</c:v>
                </c:pt>
                <c:pt idx="2">
                  <c:v>0.3352941176470588</c:v>
                </c:pt>
                <c:pt idx="3">
                  <c:v>0.3564102564102564</c:v>
                </c:pt>
                <c:pt idx="4">
                  <c:v>0.32114882506527415</c:v>
                </c:pt>
                <c:pt idx="5">
                  <c:v>0.3567251461988304</c:v>
                </c:pt>
                <c:pt idx="6">
                  <c:v>0.3561320754716981</c:v>
                </c:pt>
                <c:pt idx="7">
                  <c:v>0.32342007434944237</c:v>
                </c:pt>
                <c:pt idx="8">
                  <c:v>0.3473684210526316</c:v>
                </c:pt>
                <c:pt idx="9">
                  <c:v>0.33134328358208953</c:v>
                </c:pt>
                <c:pt idx="10">
                  <c:v>0.31736526946107785</c:v>
                </c:pt>
                <c:pt idx="11">
                  <c:v>0.3790983606557377</c:v>
                </c:pt>
                <c:pt idx="12">
                  <c:v>0.3938618925831202</c:v>
                </c:pt>
                <c:pt idx="13">
                  <c:v>0.3359173126614987</c:v>
                </c:pt>
                <c:pt idx="14">
                  <c:v>0.33112582781456956</c:v>
                </c:pt>
                <c:pt idx="15">
                  <c:v>0.3409090909090909</c:v>
                </c:pt>
                <c:pt idx="16">
                  <c:v>0.3137254901960784</c:v>
                </c:pt>
                <c:pt idx="17">
                  <c:v>0.31176470588235294</c:v>
                </c:pt>
                <c:pt idx="18">
                  <c:v>0.2540983606557377</c:v>
                </c:pt>
                <c:pt idx="19">
                  <c:v>0.33093525179856115</c:v>
                </c:pt>
                <c:pt idx="20">
                  <c:v>0.4065040650406504</c:v>
                </c:pt>
                <c:pt idx="21">
                  <c:v>0.3741496598639456</c:v>
                </c:pt>
                <c:pt idx="22">
                  <c:v>0.4166666666666667</c:v>
                </c:pt>
                <c:pt idx="23">
                  <c:v>0.44029850746268656</c:v>
                </c:pt>
                <c:pt idx="24">
                  <c:v>0.4603174603174603</c:v>
                </c:pt>
                <c:pt idx="25">
                  <c:v>0.4</c:v>
                </c:pt>
                <c:pt idx="26">
                  <c:v>0.33980582524271846</c:v>
                </c:pt>
                <c:pt idx="27">
                  <c:v>0.30392156862745096</c:v>
                </c:pt>
                <c:pt idx="28">
                  <c:v>0.25806451612903225</c:v>
                </c:pt>
                <c:pt idx="29">
                  <c:v>0.2916666666666667</c:v>
                </c:pt>
                <c:pt idx="30">
                  <c:v>0.2542372881355932</c:v>
                </c:pt>
                <c:pt idx="31">
                  <c:v>0.28846153846153844</c:v>
                </c:pt>
                <c:pt idx="32">
                  <c:v>0.26666666666666666</c:v>
                </c:pt>
                <c:pt idx="33">
                  <c:v>0.296875</c:v>
                </c:pt>
                <c:pt idx="34">
                  <c:v>0.3125</c:v>
                </c:pt>
                <c:pt idx="35">
                  <c:v>0.25</c:v>
                </c:pt>
                <c:pt idx="36">
                  <c:v>0.43137254901960786</c:v>
                </c:pt>
                <c:pt idx="37">
                  <c:v>0.4411764705882353</c:v>
                </c:pt>
                <c:pt idx="38">
                  <c:v>0.5227272727272727</c:v>
                </c:pt>
                <c:pt idx="39">
                  <c:v>0.4251968503937008</c:v>
                </c:pt>
                <c:pt idx="40">
                  <c:v>0.422680412371134</c:v>
                </c:pt>
                <c:pt idx="41">
                  <c:v>0.39436619718309857</c:v>
                </c:pt>
                <c:pt idx="42">
                  <c:v>0.41509433962264153</c:v>
                </c:pt>
                <c:pt idx="43">
                  <c:v>0.3567251461988304</c:v>
                </c:pt>
                <c:pt idx="44">
                  <c:v>0.37344398340248963</c:v>
                </c:pt>
                <c:pt idx="45">
                  <c:v>0.33707865168539325</c:v>
                </c:pt>
                <c:pt idx="46">
                  <c:v>0.3811881188118812</c:v>
                </c:pt>
                <c:pt idx="47">
                  <c:v>0.3033033033033033</c:v>
                </c:pt>
                <c:pt idx="48">
                  <c:v>0.3417085427135678</c:v>
                </c:pt>
                <c:pt idx="49">
                  <c:v>0.35837245696400627</c:v>
                </c:pt>
                <c:pt idx="50">
                  <c:v>0.3639455782312925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492186217318104</c:v>
                </c:pt>
              </c:numCache>
            </c:numRef>
          </c:xVal>
          <c:yVal>
            <c:numRef>
              <c:f>Sheet1!$B$163:$B$164</c:f>
              <c:numCache>
                <c:formatCode>General</c:formatCode>
                <c:ptCount val="2"/>
                <c:pt idx="0">
                  <c:v>0.4262859959735149</c:v>
                </c:pt>
                <c:pt idx="1">
                  <c:v>0.426285995973514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492186217318104</c:v>
                </c:pt>
                <c:pt idx="1">
                  <c:v>0.08492186217318104</c:v>
                </c:pt>
              </c:numCache>
            </c:numRef>
          </c:xVal>
          <c:yVal>
            <c:numRef>
              <c:f>Sheet1!$B$167:$B$168</c:f>
              <c:numCache>
                <c:formatCode>General</c:formatCode>
                <c:ptCount val="2"/>
                <c:pt idx="0">
                  <c:v>0.42628599597351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2699852587954708</c:v>
                </c:pt>
              </c:numCache>
            </c:numRef>
          </c:xVal>
          <c:yVal>
            <c:numRef>
              <c:f>Sheet1!$B$171:$B$172</c:f>
              <c:numCache>
                <c:formatCode>General</c:formatCode>
                <c:ptCount val="2"/>
                <c:pt idx="0">
                  <c:v>0.3975166660516117</c:v>
                </c:pt>
                <c:pt idx="1">
                  <c:v>0.39751666605161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2699852587954708</c:v>
                </c:pt>
                <c:pt idx="1">
                  <c:v>0.12699852587954708</c:v>
                </c:pt>
              </c:numCache>
            </c:numRef>
          </c:xVal>
          <c:yVal>
            <c:numRef>
              <c:f>Sheet1!$B$175:$B$176</c:f>
              <c:numCache>
                <c:formatCode>General</c:formatCode>
                <c:ptCount val="2"/>
                <c:pt idx="0">
                  <c:v>0.39751666605161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63363769204859</c:v>
                </c:pt>
              </c:numCache>
            </c:numRef>
          </c:xVal>
          <c:yVal>
            <c:numRef>
              <c:f>Sheet1!$B$179:$B$180</c:f>
              <c:numCache>
                <c:formatCode>General</c:formatCode>
                <c:ptCount val="2"/>
                <c:pt idx="0">
                  <c:v>0.3842946810468163</c:v>
                </c:pt>
                <c:pt idx="1">
                  <c:v>0.38429468104681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63363769204859</c:v>
                </c:pt>
                <c:pt idx="1">
                  <c:v>0.1463363769204859</c:v>
                </c:pt>
              </c:numCache>
            </c:numRef>
          </c:xVal>
          <c:yVal>
            <c:numRef>
              <c:f>Sheet1!$B$183:$B$184</c:f>
              <c:numCache>
                <c:formatCode>General</c:formatCode>
                <c:ptCount val="2"/>
                <c:pt idx="0">
                  <c:v>0.38429468104681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0</c:f>
              <c:numCache>
                <c:formatCode>General</c:formatCode>
                <c:ptCount val="54"/>
                <c:pt idx="0">
                  <c:v>0.27614031761289676</c:v>
                </c:pt>
                <c:pt idx="1">
                  <c:v>0.2701500446672629</c:v>
                </c:pt>
                <c:pt idx="2">
                  <c:v>0.23500414476242718</c:v>
                </c:pt>
                <c:pt idx="3">
                  <c:v>0.234018325714673</c:v>
                </c:pt>
                <c:pt idx="4">
                  <c:v>0.21133138891055134</c:v>
                </c:pt>
                <c:pt idx="5">
                  <c:v>0.255058213302092</c:v>
                </c:pt>
                <c:pt idx="6">
                  <c:v>0.22683554151624546</c:v>
                </c:pt>
                <c:pt idx="7">
                  <c:v>0.26262277286135693</c:v>
                </c:pt>
                <c:pt idx="8">
                  <c:v>0.21795179286122682</c:v>
                </c:pt>
                <c:pt idx="9">
                  <c:v>0.273807998548858</c:v>
                </c:pt>
                <c:pt idx="10">
                  <c:v>0.24945500916415952</c:v>
                </c:pt>
                <c:pt idx="11">
                  <c:v>0.23240775973501376</c:v>
                </c:pt>
                <c:pt idx="12">
                  <c:v>0.1785455835636784</c:v>
                </c:pt>
                <c:pt idx="13">
                  <c:v>0.20825897733625767</c:v>
                </c:pt>
                <c:pt idx="14">
                  <c:v>0.2597441385833043</c:v>
                </c:pt>
                <c:pt idx="15">
                  <c:v>0.23383258989105532</c:v>
                </c:pt>
                <c:pt idx="16">
                  <c:v>0.20409092369929502</c:v>
                </c:pt>
                <c:pt idx="17">
                  <c:v>0.22482889748509632</c:v>
                </c:pt>
                <c:pt idx="18">
                  <c:v>0.21253682271680738</c:v>
                </c:pt>
                <c:pt idx="19">
                  <c:v>0.1647459437751004</c:v>
                </c:pt>
                <c:pt idx="20">
                  <c:v>0.17701004680295318</c:v>
                </c:pt>
                <c:pt idx="21">
                  <c:v>0.20838087656864582</c:v>
                </c:pt>
                <c:pt idx="22">
                  <c:v>0.10793982224770643</c:v>
                </c:pt>
                <c:pt idx="23">
                  <c:v>0.11523939005057748</c:v>
                </c:pt>
                <c:pt idx="24">
                  <c:v>0.10821663797259143</c:v>
                </c:pt>
                <c:pt idx="25">
                  <c:v>0.1293957008011422</c:v>
                </c:pt>
                <c:pt idx="26">
                  <c:v>0.1934157068081499</c:v>
                </c:pt>
                <c:pt idx="27">
                  <c:v>0.17755987482026558</c:v>
                </c:pt>
                <c:pt idx="28">
                  <c:v>0.26208853575482405</c:v>
                </c:pt>
                <c:pt idx="29">
                  <c:v>0.19456970418900138</c:v>
                </c:pt>
                <c:pt idx="30">
                  <c:v>0.19781621566632757</c:v>
                </c:pt>
                <c:pt idx="31">
                  <c:v>0.12253853631440077</c:v>
                </c:pt>
                <c:pt idx="32">
                  <c:v>0.22172021419009372</c:v>
                </c:pt>
                <c:pt idx="33">
                  <c:v>0.2698437090909091</c:v>
                </c:pt>
                <c:pt idx="34">
                  <c:v>0.2718540080609046</c:v>
                </c:pt>
                <c:pt idx="35">
                  <c:v>0.20632035254786749</c:v>
                </c:pt>
                <c:pt idx="36">
                  <c:v>0.12976948798328108</c:v>
                </c:pt>
                <c:pt idx="37">
                  <c:v>0.14619301087711178</c:v>
                </c:pt>
                <c:pt idx="38">
                  <c:v>0.12692303829252982</c:v>
                </c:pt>
                <c:pt idx="39">
                  <c:v>0.1427395704948646</c:v>
                </c:pt>
                <c:pt idx="40">
                  <c:v>0.09443457884737176</c:v>
                </c:pt>
                <c:pt idx="41">
                  <c:v>0.2130810504758463</c:v>
                </c:pt>
                <c:pt idx="42">
                  <c:v>0.11603355890746024</c:v>
                </c:pt>
                <c:pt idx="43">
                  <c:v>0.1835293899550345</c:v>
                </c:pt>
                <c:pt idx="44">
                  <c:v>0.1641600966344552</c:v>
                </c:pt>
                <c:pt idx="45">
                  <c:v>0.14148203694866726</c:v>
                </c:pt>
                <c:pt idx="46">
                  <c:v>0.12631896784652796</c:v>
                </c:pt>
                <c:pt idx="47">
                  <c:v>0.1812482764149431</c:v>
                </c:pt>
                <c:pt idx="48">
                  <c:v>0.1782257985515866</c:v>
                </c:pt>
                <c:pt idx="49">
                  <c:v>0.21908678521022337</c:v>
                </c:pt>
                <c:pt idx="50">
                  <c:v>0.19849390051322544</c:v>
                </c:pt>
                <c:pt idx="51">
                  <c:v>0.12699852587954708</c:v>
                </c:pt>
                <c:pt idx="52">
                  <c:v>0.08492186217318104</c:v>
                </c:pt>
                <c:pt idx="53">
                  <c:v>0.1463363769204859</c:v>
                </c:pt>
              </c:numCache>
            </c:numRef>
          </c:xVal>
          <c:yVal>
            <c:numRef>
              <c:f>Sheet1!$B$187:$B$240</c:f>
              <c:numCache>
                <c:formatCode>General</c:formatCode>
                <c:ptCount val="54"/>
                <c:pt idx="0">
                  <c:v>0.29554305327985214</c:v>
                </c:pt>
                <c:pt idx="1">
                  <c:v>0.2996388185690835</c:v>
                </c:pt>
                <c:pt idx="2">
                  <c:v>0.3236693357417515</c:v>
                </c:pt>
                <c:pt idx="3">
                  <c:v>0.32434337571854377</c:v>
                </c:pt>
                <c:pt idx="4">
                  <c:v>0.3398552512415167</c:v>
                </c:pt>
                <c:pt idx="5">
                  <c:v>0.3099576470460817</c:v>
                </c:pt>
                <c:pt idx="6">
                  <c:v>0.32925450388698574</c:v>
                </c:pt>
                <c:pt idx="7">
                  <c:v>0.30478548531783484</c:v>
                </c:pt>
                <c:pt idx="8">
                  <c:v>0.3353286426966373</c:v>
                </c:pt>
                <c:pt idx="9">
                  <c:v>0.29713774379772995</c:v>
                </c:pt>
                <c:pt idx="10">
                  <c:v>0.3137887594552997</c:v>
                </c:pt>
                <c:pt idx="11">
                  <c:v>0.3254445776663303</c:v>
                </c:pt>
                <c:pt idx="12">
                  <c:v>0.3622720867910706</c:v>
                </c:pt>
                <c:pt idx="13">
                  <c:v>0.3419559696552572</c:v>
                </c:pt>
                <c:pt idx="14">
                  <c:v>0.3067537112172962</c:v>
                </c:pt>
                <c:pt idx="15">
                  <c:v>0.3244703699884617</c:v>
                </c:pt>
                <c:pt idx="16">
                  <c:v>0.34480581799520116</c:v>
                </c:pt>
                <c:pt idx="17">
                  <c:v>0.3306265186591364</c:v>
                </c:pt>
                <c:pt idx="18">
                  <c:v>0.3390310527472348</c:v>
                </c:pt>
                <c:pt idx="19">
                  <c:v>0.3717073973625443</c:v>
                </c:pt>
                <c:pt idx="20">
                  <c:v>0.3633219885604884</c:v>
                </c:pt>
                <c:pt idx="21">
                  <c:v>0.3418726227611623</c:v>
                </c:pt>
                <c:pt idx="22">
                  <c:v>0.4105477879222661</c:v>
                </c:pt>
                <c:pt idx="23">
                  <c:v>0.40555681059874016</c:v>
                </c:pt>
                <c:pt idx="24">
                  <c:v>0.4103585190445727</c:v>
                </c:pt>
                <c:pt idx="25">
                  <c:v>0.395877631248825</c:v>
                </c:pt>
                <c:pt idx="26">
                  <c:v>0.3521048481386667</c:v>
                </c:pt>
                <c:pt idx="27">
                  <c:v>0.3629460513488132</c:v>
                </c:pt>
                <c:pt idx="28">
                  <c:v>0.3051507624624684</c:v>
                </c:pt>
                <c:pt idx="29">
                  <c:v>0.3513158185803725</c:v>
                </c:pt>
                <c:pt idx="30">
                  <c:v>0.3490960617945627</c:v>
                </c:pt>
                <c:pt idx="31">
                  <c:v>0.4005661214966385</c:v>
                </c:pt>
                <c:pt idx="32">
                  <c:v>0.3327520373542678</c:v>
                </c:pt>
                <c:pt idx="33">
                  <c:v>0.2998482712320712</c:v>
                </c:pt>
                <c:pt idx="34">
                  <c:v>0.2984737574466374</c:v>
                </c:pt>
                <c:pt idx="35">
                  <c:v>0.3432814772221402</c:v>
                </c:pt>
                <c:pt idx="36">
                  <c:v>0.3956220594944061</c:v>
                </c:pt>
                <c:pt idx="37">
                  <c:v>0.3843927055724824</c:v>
                </c:pt>
                <c:pt idx="38">
                  <c:v>0.3975682796327421</c:v>
                </c:pt>
                <c:pt idx="39">
                  <c:v>0.3867539471009418</c:v>
                </c:pt>
                <c:pt idx="40">
                  <c:v>0.4197818090835268</c:v>
                </c:pt>
                <c:pt idx="41">
                  <c:v>0.3386589446337752</c:v>
                </c:pt>
                <c:pt idx="42">
                  <c:v>0.4050138087577006</c:v>
                </c:pt>
                <c:pt idx="43">
                  <c:v>0.35886447892224327</c:v>
                </c:pt>
                <c:pt idx="44">
                  <c:v>0.37210796214568986</c:v>
                </c:pt>
                <c:pt idx="45">
                  <c:v>0.38761376806324255</c:v>
                </c:pt>
                <c:pt idx="46">
                  <c:v>0.39798130434587947</c:v>
                </c:pt>
                <c:pt idx="47">
                  <c:v>0.36042415837977304</c:v>
                </c:pt>
                <c:pt idx="48">
                  <c:v>0.3624907353175115</c:v>
                </c:pt>
                <c:pt idx="49">
                  <c:v>0.33455260756288746</c:v>
                </c:pt>
                <c:pt idx="50">
                  <c:v>0.34863270426508897</c:v>
                </c:pt>
                <c:pt idx="51">
                  <c:v>0.3975166660516117</c:v>
                </c:pt>
                <c:pt idx="52">
                  <c:v>0.4262859959735149</c:v>
                </c:pt>
                <c:pt idx="53">
                  <c:v>0.38429468104681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72727272727272"/>
          <c:min val="0.110691823899371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8.1838</c:v>
                </c:pt>
                <c:pt idx="1">
                  <c:v>1088.8743</c:v>
                </c:pt>
                <c:pt idx="2">
                  <c:v>1142.0939</c:v>
                </c:pt>
                <c:pt idx="3">
                  <c:v>1207.2697</c:v>
                </c:pt>
                <c:pt idx="4">
                  <c:v>1176.8462</c:v>
                </c:pt>
                <c:pt idx="5">
                  <c:v>1109.5355</c:v>
                </c:pt>
                <c:pt idx="6">
                  <c:v>1150.5</c:v>
                </c:pt>
                <c:pt idx="7">
                  <c:v>1145.2838</c:v>
                </c:pt>
                <c:pt idx="8">
                  <c:v>1090.284</c:v>
                </c:pt>
                <c:pt idx="9">
                  <c:v>1123.5128</c:v>
                </c:pt>
                <c:pt idx="10">
                  <c:v>1150.9819</c:v>
                </c:pt>
                <c:pt idx="11">
                  <c:v>1203.894</c:v>
                </c:pt>
                <c:pt idx="12">
                  <c:v>1159.4159</c:v>
                </c:pt>
                <c:pt idx="13">
                  <c:v>1103.5545</c:v>
                </c:pt>
                <c:pt idx="14">
                  <c:v>1174.9693</c:v>
                </c:pt>
                <c:pt idx="15">
                  <c:v>1212.4286</c:v>
                </c:pt>
                <c:pt idx="16">
                  <c:v>1270.4026</c:v>
                </c:pt>
                <c:pt idx="17">
                  <c:v>1312.7241</c:v>
                </c:pt>
                <c:pt idx="18">
                  <c:v>1326.7872</c:v>
                </c:pt>
                <c:pt idx="19">
                  <c:v>1280.8158</c:v>
                </c:pt>
                <c:pt idx="20">
                  <c:v>1400.3721</c:v>
                </c:pt>
                <c:pt idx="21">
                  <c:v>1324.2432</c:v>
                </c:pt>
                <c:pt idx="22">
                  <c:v>1373.2105</c:v>
                </c:pt>
                <c:pt idx="23">
                  <c:v>1388.4444</c:v>
                </c:pt>
                <c:pt idx="24">
                  <c:v>1374.1765</c:v>
                </c:pt>
                <c:pt idx="25">
                  <c:v>1184.5625</c:v>
                </c:pt>
                <c:pt idx="26">
                  <c:v>1172.3514</c:v>
                </c:pt>
                <c:pt idx="27">
                  <c:v>1171.6452</c:v>
                </c:pt>
                <c:pt idx="28">
                  <c:v>1202.2333</c:v>
                </c:pt>
                <c:pt idx="29">
                  <c:v>1224.4242</c:v>
                </c:pt>
                <c:pt idx="30">
                  <c:v>1223.1667</c:v>
                </c:pt>
                <c:pt idx="31">
                  <c:v>1133.5263</c:v>
                </c:pt>
                <c:pt idx="32">
                  <c:v>1226.3182</c:v>
                </c:pt>
                <c:pt idx="33">
                  <c:v>990.0909</c:v>
                </c:pt>
                <c:pt idx="34">
                  <c:v>1098.7576</c:v>
                </c:pt>
                <c:pt idx="35">
                  <c:v>1176.7073</c:v>
                </c:pt>
                <c:pt idx="36">
                  <c:v>1310.2857</c:v>
                </c:pt>
                <c:pt idx="37">
                  <c:v>1037.8333</c:v>
                </c:pt>
                <c:pt idx="38">
                  <c:v>1167.7273</c:v>
                </c:pt>
                <c:pt idx="39">
                  <c:v>1085.8</c:v>
                </c:pt>
                <c:pt idx="40">
                  <c:v>1089.96</c:v>
                </c:pt>
                <c:pt idx="41">
                  <c:v>1096.4783</c:v>
                </c:pt>
                <c:pt idx="42">
                  <c:v>1216.4286</c:v>
                </c:pt>
                <c:pt idx="43">
                  <c:v>1272.5714</c:v>
                </c:pt>
                <c:pt idx="44">
                  <c:v>1209.6296</c:v>
                </c:pt>
                <c:pt idx="45">
                  <c:v>1155.8737</c:v>
                </c:pt>
                <c:pt idx="46">
                  <c:v>1240.8205</c:v>
                </c:pt>
                <c:pt idx="47">
                  <c:v>1244.2708</c:v>
                </c:pt>
                <c:pt idx="48">
                  <c:v>1281.1689</c:v>
                </c:pt>
                <c:pt idx="49">
                  <c:v>1014.5788</c:v>
                </c:pt>
                <c:pt idx="50">
                  <c:v>1073.8797</c:v>
                </c:pt>
                <c:pt idx="51">
                  <c:v>1113.82</c:v>
                </c:pt>
                <c:pt idx="52">
                  <c:v>1178.2381</c:v>
                </c:pt>
                <c:pt idx="53">
                  <c:v>1198.1692</c:v>
                </c:pt>
                <c:pt idx="54">
                  <c:v>1257.3333</c:v>
                </c:pt>
                <c:pt idx="55">
                  <c:v>1223.3196</c:v>
                </c:pt>
                <c:pt idx="56">
                  <c:v>1192.0</c:v>
                </c:pt>
                <c:pt idx="57">
                  <c:v>1025.8216</c:v>
                </c:pt>
                <c:pt idx="58">
                  <c:v>1152.8779</c:v>
                </c:pt>
                <c:pt idx="59">
                  <c:v>1120.9601</c:v>
                </c:pt>
                <c:pt idx="60">
                  <c:v>1150.2558</c:v>
                </c:pt>
                <c:pt idx="61">
                  <c:v>1251.6582</c:v>
                </c:pt>
                <c:pt idx="62">
                  <c:v>1238.3527</c:v>
                </c:pt>
                <c:pt idx="63">
                  <c:v>1249.3452</c:v>
                </c:pt>
                <c:pt idx="64">
                  <c:v>1184.0084</c:v>
                </c:pt>
                <c:pt idx="65">
                  <c:v>1158.7204</c:v>
                </c:pt>
                <c:pt idx="66">
                  <c:v>1242.8636</c:v>
                </c:pt>
                <c:pt idx="67">
                  <c:v>1327.536</c:v>
                </c:pt>
                <c:pt idx="68">
                  <c:v>1220.6</c:v>
                </c:pt>
                <c:pt idx="69">
                  <c:v>1308.2</c:v>
                </c:pt>
                <c:pt idx="70">
                  <c:v>1202.5424</c:v>
                </c:pt>
                <c:pt idx="71">
                  <c:v>1173.9661</c:v>
                </c:pt>
                <c:pt idx="72">
                  <c:v>1161.7059</c:v>
                </c:pt>
                <c:pt idx="73">
                  <c:v>1431.0732</c:v>
                </c:pt>
                <c:pt idx="74">
                  <c:v>1399.0</c:v>
                </c:pt>
                <c:pt idx="75">
                  <c:v>1336.7241</c:v>
                </c:pt>
                <c:pt idx="76">
                  <c:v>1412.4167</c:v>
                </c:pt>
                <c:pt idx="77">
                  <c:v>1631.9091</c:v>
                </c:pt>
                <c:pt idx="78">
                  <c:v>1410.4815</c:v>
                </c:pt>
                <c:pt idx="79">
                  <c:v>1442.9286</c:v>
                </c:pt>
                <c:pt idx="80">
                  <c:v>1201.4737</c:v>
                </c:pt>
                <c:pt idx="81">
                  <c:v>1279.9545</c:v>
                </c:pt>
                <c:pt idx="82">
                  <c:v>1096.7333</c:v>
                </c:pt>
                <c:pt idx="83">
                  <c:v>1109.7778</c:v>
                </c:pt>
                <c:pt idx="84">
                  <c:v>1219.4286</c:v>
                </c:pt>
                <c:pt idx="85">
                  <c:v>1261.4706</c:v>
                </c:pt>
                <c:pt idx="86">
                  <c:v>1212.0</c:v>
                </c:pt>
                <c:pt idx="87">
                  <c:v>1241.5455</c:v>
                </c:pt>
                <c:pt idx="88">
                  <c:v>1380.8462</c:v>
                </c:pt>
                <c:pt idx="89">
                  <c:v>1392.0909</c:v>
                </c:pt>
                <c:pt idx="90">
                  <c:v>1624.125</c:v>
                </c:pt>
                <c:pt idx="91">
                  <c:v>1390.875</c:v>
                </c:pt>
                <c:pt idx="92">
                  <c:v>1208.3333</c:v>
                </c:pt>
                <c:pt idx="93">
                  <c:v>1208.5556</c:v>
                </c:pt>
                <c:pt idx="94">
                  <c:v>1237.375</c:v>
                </c:pt>
                <c:pt idx="95">
                  <c:v>929.3137</c:v>
                </c:pt>
                <c:pt idx="96">
                  <c:v>874.6622</c:v>
                </c:pt>
                <c:pt idx="97">
                  <c:v>981.5844</c:v>
                </c:pt>
                <c:pt idx="98">
                  <c:v>1021.1889</c:v>
                </c:pt>
                <c:pt idx="99">
                  <c:v>1083.7647</c:v>
                </c:pt>
                <c:pt idx="100">
                  <c:v>1170.0328</c:v>
                </c:pt>
                <c:pt idx="101">
                  <c:v>1169.1848</c:v>
                </c:pt>
                <c:pt idx="102">
                  <c:v>1291.7273</c:v>
                </c:pt>
                <c:pt idx="103">
                  <c:v>1148.0897</c:v>
                </c:pt>
                <c:pt idx="104">
                  <c:v>1296.6528</c:v>
                </c:pt>
              </c:numCache>
            </c:numRef>
          </c:xVal>
          <c:yVal>
            <c:numRef>
              <c:f>Sheet1!$B$2:$B$106</c:f>
              <c:numCache>
                <c:formatCode>General</c:formatCode>
                <c:ptCount val="105"/>
                <c:pt idx="0">
                  <c:v>0.33497536945812806</c:v>
                </c:pt>
                <c:pt idx="1">
                  <c:v>0.37697516930022573</c:v>
                </c:pt>
                <c:pt idx="2">
                  <c:v>0.35700197238658776</c:v>
                </c:pt>
                <c:pt idx="3">
                  <c:v>0.31932773109243695</c:v>
                </c:pt>
                <c:pt idx="4">
                  <c:v>0.3333333333333333</c:v>
                </c:pt>
                <c:pt idx="5">
                  <c:v>0.3384279475982533</c:v>
                </c:pt>
                <c:pt idx="6">
                  <c:v>0.3286573146292585</c:v>
                </c:pt>
                <c:pt idx="7">
                  <c:v>0.34418604651162793</c:v>
                </c:pt>
                <c:pt idx="8">
                  <c:v>0.38850574712643676</c:v>
                </c:pt>
                <c:pt idx="9">
                  <c:v>0.35714285714285715</c:v>
                </c:pt>
                <c:pt idx="10">
                  <c:v>0.3570274636510501</c:v>
                </c:pt>
                <c:pt idx="11">
                  <c:v>0.3539967373572594</c:v>
                </c:pt>
                <c:pt idx="12">
                  <c:v>0.3439878234398782</c:v>
                </c:pt>
                <c:pt idx="13">
                  <c:v>0.35426731078904994</c:v>
                </c:pt>
                <c:pt idx="14">
                  <c:v>0.3092979127134725</c:v>
                </c:pt>
                <c:pt idx="15">
                  <c:v>0.3082901554404145</c:v>
                </c:pt>
                <c:pt idx="16">
                  <c:v>0.26013513513513514</c:v>
                </c:pt>
                <c:pt idx="17">
                  <c:v>0.27230046948356806</c:v>
                </c:pt>
                <c:pt idx="18">
                  <c:v>0.2655367231638418</c:v>
                </c:pt>
                <c:pt idx="19">
                  <c:v>0.25165562913907286</c:v>
                </c:pt>
                <c:pt idx="20">
                  <c:v>0.24431818181818182</c:v>
                </c:pt>
                <c:pt idx="21">
                  <c:v>0.25517241379310346</c:v>
                </c:pt>
                <c:pt idx="22">
                  <c:v>0.3114754098360656</c:v>
                </c:pt>
                <c:pt idx="23">
                  <c:v>0.32142857142857145</c:v>
                </c:pt>
                <c:pt idx="24">
                  <c:v>0.2905982905982906</c:v>
                </c:pt>
                <c:pt idx="25">
                  <c:v>0.32653061224489793</c:v>
                </c:pt>
                <c:pt idx="26">
                  <c:v>0.32456140350877194</c:v>
                </c:pt>
                <c:pt idx="27">
                  <c:v>0.248</c:v>
                </c:pt>
                <c:pt idx="28">
                  <c:v>0.25862068965517243</c:v>
                </c:pt>
                <c:pt idx="29">
                  <c:v>0.32673267326732675</c:v>
                </c:pt>
                <c:pt idx="30">
                  <c:v>0.25</c:v>
                </c:pt>
                <c:pt idx="31">
                  <c:v>0.2835820895522388</c:v>
                </c:pt>
                <c:pt idx="32">
                  <c:v>0.3283582089552239</c:v>
                </c:pt>
                <c:pt idx="33">
                  <c:v>0.3142857142857143</c:v>
                </c:pt>
                <c:pt idx="34">
                  <c:v>0.375</c:v>
                </c:pt>
                <c:pt idx="35">
                  <c:v>0.30597014925373134</c:v>
                </c:pt>
                <c:pt idx="36">
                  <c:v>0.1826086956521739</c:v>
                </c:pt>
                <c:pt idx="37">
                  <c:v>0.21428571428571427</c:v>
                </c:pt>
                <c:pt idx="38">
                  <c:v>0.24175824175824176</c:v>
                </c:pt>
                <c:pt idx="39">
                  <c:v>0.19230769230769232</c:v>
                </c:pt>
                <c:pt idx="40">
                  <c:v>0.2808988764044944</c:v>
                </c:pt>
                <c:pt idx="41">
                  <c:v>0.2911392405063291</c:v>
                </c:pt>
                <c:pt idx="42">
                  <c:v>0.25</c:v>
                </c:pt>
                <c:pt idx="43">
                  <c:v>0.2916666666666667</c:v>
                </c:pt>
                <c:pt idx="44">
                  <c:v>0.3521739130434783</c:v>
                </c:pt>
                <c:pt idx="45">
                  <c:v>0.34172661870503596</c:v>
                </c:pt>
                <c:pt idx="46">
                  <c:v>0.32231404958677684</c:v>
                </c:pt>
                <c:pt idx="47">
                  <c:v>0.3344947735191638</c:v>
                </c:pt>
                <c:pt idx="48">
                  <c:v>0.3566265060240964</c:v>
                </c:pt>
                <c:pt idx="49">
                  <c:v>0.5102339181286549</c:v>
                </c:pt>
                <c:pt idx="50">
                  <c:v>0.4553314121037464</c:v>
                </c:pt>
                <c:pt idx="51">
                  <c:v>0.373134328358209</c:v>
                </c:pt>
                <c:pt idx="52">
                  <c:v>0.44011976047904194</c:v>
                </c:pt>
                <c:pt idx="53">
                  <c:v>0.436241610738255</c:v>
                </c:pt>
                <c:pt idx="54">
                  <c:v>0.3903345724907063</c:v>
                </c:pt>
                <c:pt idx="55">
                  <c:v>0.39271255060728744</c:v>
                </c:pt>
                <c:pt idx="56">
                  <c:v>0.436426116838488</c:v>
                </c:pt>
                <c:pt idx="57">
                  <c:v>0.4534313725490196</c:v>
                </c:pt>
                <c:pt idx="58">
                  <c:v>0.44282744282744285</c:v>
                </c:pt>
                <c:pt idx="59">
                  <c:v>0.4435840707964602</c:v>
                </c:pt>
                <c:pt idx="60">
                  <c:v>0.4107142857142857</c:v>
                </c:pt>
                <c:pt idx="61">
                  <c:v>0.37738853503184716</c:v>
                </c:pt>
                <c:pt idx="62">
                  <c:v>0.36012861736334406</c:v>
                </c:pt>
                <c:pt idx="63">
                  <c:v>0.34285714285714286</c:v>
                </c:pt>
                <c:pt idx="64">
                  <c:v>0.33951497860199714</c:v>
                </c:pt>
                <c:pt idx="65">
                  <c:v>0.32124352331606215</c:v>
                </c:pt>
                <c:pt idx="66">
                  <c:v>0.3031496062992126</c:v>
                </c:pt>
                <c:pt idx="67">
                  <c:v>0.3078817733990148</c:v>
                </c:pt>
                <c:pt idx="68">
                  <c:v>0.27419354838709675</c:v>
                </c:pt>
                <c:pt idx="69">
                  <c:v>0.25252525252525254</c:v>
                </c:pt>
                <c:pt idx="70">
                  <c:v>0.2554112554112554</c:v>
                </c:pt>
                <c:pt idx="71">
                  <c:v>0.27699530516431925</c:v>
                </c:pt>
                <c:pt idx="72">
                  <c:v>0.2947976878612717</c:v>
                </c:pt>
                <c:pt idx="73">
                  <c:v>0.2662337662337662</c:v>
                </c:pt>
                <c:pt idx="74">
                  <c:v>0.28187919463087246</c:v>
                </c:pt>
                <c:pt idx="75">
                  <c:v>0.24786324786324787</c:v>
                </c:pt>
                <c:pt idx="76">
                  <c:v>0.23076923076923078</c:v>
                </c:pt>
                <c:pt idx="77">
                  <c:v>0.13836477987421383</c:v>
                </c:pt>
                <c:pt idx="78">
                  <c:v>0.30337078651685395</c:v>
                </c:pt>
                <c:pt idx="79">
                  <c:v>0.2</c:v>
                </c:pt>
                <c:pt idx="80">
                  <c:v>0.2923076923076923</c:v>
                </c:pt>
                <c:pt idx="81">
                  <c:v>0.2268041237113402</c:v>
                </c:pt>
                <c:pt idx="82">
                  <c:v>0.2054794520547945</c:v>
                </c:pt>
                <c:pt idx="83">
                  <c:v>0.27692307692307694</c:v>
                </c:pt>
                <c:pt idx="84">
                  <c:v>0.25925925925925924</c:v>
                </c:pt>
                <c:pt idx="85">
                  <c:v>0.2328767123287671</c:v>
                </c:pt>
                <c:pt idx="86">
                  <c:v>0.21794871794871795</c:v>
                </c:pt>
                <c:pt idx="87">
                  <c:v>0.21359223300970873</c:v>
                </c:pt>
                <c:pt idx="88">
                  <c:v>0.22033898305084745</c:v>
                </c:pt>
                <c:pt idx="89">
                  <c:v>0.19298245614035087</c:v>
                </c:pt>
                <c:pt idx="90">
                  <c:v>0.16666666666666666</c:v>
                </c:pt>
                <c:pt idx="91">
                  <c:v>0.1509433962264151</c:v>
                </c:pt>
                <c:pt idx="92">
                  <c:v>0.2</c:v>
                </c:pt>
                <c:pt idx="93">
                  <c:v>0.2571428571428571</c:v>
                </c:pt>
                <c:pt idx="94">
                  <c:v>0.32</c:v>
                </c:pt>
                <c:pt idx="95">
                  <c:v>0.4396551724137931</c:v>
                </c:pt>
                <c:pt idx="96">
                  <c:v>0.3756345177664975</c:v>
                </c:pt>
                <c:pt idx="97">
                  <c:v>0.34684684684684686</c:v>
                </c:pt>
                <c:pt idx="98">
                  <c:v>0.34615384615384615</c:v>
                </c:pt>
                <c:pt idx="99">
                  <c:v>0.3541666666666667</c:v>
                </c:pt>
                <c:pt idx="100">
                  <c:v>0.317157712305026</c:v>
                </c:pt>
                <c:pt idx="101">
                  <c:v>0.30666666666666664</c:v>
                </c:pt>
                <c:pt idx="102">
                  <c:v>0.27385892116182575</c:v>
                </c:pt>
                <c:pt idx="103">
                  <c:v>0.2775800711743772</c:v>
                </c:pt>
                <c:pt idx="104">
                  <c:v>0.28235294117647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1.4316</c:v>
                </c:pt>
                <c:pt idx="1">
                  <c:v>1402.2717</c:v>
                </c:pt>
                <c:pt idx="2">
                  <c:v>1327.807</c:v>
                </c:pt>
                <c:pt idx="3">
                  <c:v>1357.3453</c:v>
                </c:pt>
                <c:pt idx="4">
                  <c:v>1354.9512</c:v>
                </c:pt>
                <c:pt idx="5">
                  <c:v>1340.2459</c:v>
                </c:pt>
                <c:pt idx="6">
                  <c:v>1256.6689</c:v>
                </c:pt>
                <c:pt idx="7">
                  <c:v>1335.4368</c:v>
                </c:pt>
                <c:pt idx="8">
                  <c:v>1334.1919</c:v>
                </c:pt>
                <c:pt idx="9">
                  <c:v>1470.5315</c:v>
                </c:pt>
                <c:pt idx="10">
                  <c:v>1442.6981</c:v>
                </c:pt>
                <c:pt idx="11">
                  <c:v>1150.6973</c:v>
                </c:pt>
                <c:pt idx="12">
                  <c:v>1081.9416</c:v>
                </c:pt>
                <c:pt idx="13">
                  <c:v>1210.6615</c:v>
                </c:pt>
                <c:pt idx="14">
                  <c:v>1304.5</c:v>
                </c:pt>
                <c:pt idx="15">
                  <c:v>1250.2444</c:v>
                </c:pt>
                <c:pt idx="16">
                  <c:v>1322.7813</c:v>
                </c:pt>
                <c:pt idx="17">
                  <c:v>1334.5094</c:v>
                </c:pt>
                <c:pt idx="18">
                  <c:v>1384.6774</c:v>
                </c:pt>
                <c:pt idx="19">
                  <c:v>1230.6522</c:v>
                </c:pt>
                <c:pt idx="20">
                  <c:v>1162.72</c:v>
                </c:pt>
                <c:pt idx="21">
                  <c:v>1112.5455</c:v>
                </c:pt>
                <c:pt idx="22">
                  <c:v>752.9882</c:v>
                </c:pt>
                <c:pt idx="23">
                  <c:v>763.2881</c:v>
                </c:pt>
                <c:pt idx="24">
                  <c:v>785.7069</c:v>
                </c:pt>
                <c:pt idx="25">
                  <c:v>815.6458</c:v>
                </c:pt>
                <c:pt idx="26">
                  <c:v>1041.2857</c:v>
                </c:pt>
                <c:pt idx="27">
                  <c:v>1049.6452</c:v>
                </c:pt>
                <c:pt idx="28">
                  <c:v>1154.5</c:v>
                </c:pt>
                <c:pt idx="29">
                  <c:v>980.0476</c:v>
                </c:pt>
                <c:pt idx="30">
                  <c:v>972.2667</c:v>
                </c:pt>
                <c:pt idx="31">
                  <c:v>882.4</c:v>
                </c:pt>
                <c:pt idx="32">
                  <c:v>1076.5625</c:v>
                </c:pt>
                <c:pt idx="33">
                  <c:v>1113.1053</c:v>
                </c:pt>
                <c:pt idx="34">
                  <c:v>1214.1</c:v>
                </c:pt>
                <c:pt idx="35">
                  <c:v>1018.2941</c:v>
                </c:pt>
                <c:pt idx="36">
                  <c:v>819.2667</c:v>
                </c:pt>
                <c:pt idx="37">
                  <c:v>745.1364</c:v>
                </c:pt>
                <c:pt idx="38">
                  <c:v>631.7</c:v>
                </c:pt>
                <c:pt idx="39">
                  <c:v>606.5652</c:v>
                </c:pt>
                <c:pt idx="40">
                  <c:v>764.3704</c:v>
                </c:pt>
                <c:pt idx="41">
                  <c:v>745.561</c:v>
                </c:pt>
                <c:pt idx="42">
                  <c:v>884.3929</c:v>
                </c:pt>
                <c:pt idx="43">
                  <c:v>711.5758</c:v>
                </c:pt>
                <c:pt idx="44">
                  <c:v>839.5246</c:v>
                </c:pt>
                <c:pt idx="45">
                  <c:v>985.2889</c:v>
                </c:pt>
                <c:pt idx="46">
                  <c:v>1037.7</c:v>
                </c:pt>
                <c:pt idx="47">
                  <c:v>935.013</c:v>
                </c:pt>
                <c:pt idx="48">
                  <c:v>1130.4455</c:v>
                </c:pt>
                <c:pt idx="49">
                  <c:v>1018.8456</c:v>
                </c:pt>
                <c:pt idx="50">
                  <c:v>1000.9345</c:v>
                </c:pt>
                <c:pt idx="51">
                  <c:v>1005.5701</c:v>
                </c:pt>
              </c:numCache>
            </c:numRef>
          </c:xVal>
          <c:yVal>
            <c:numRef>
              <c:f>Sheet1!$B$109:$B$160</c:f>
              <c:numCache>
                <c:formatCode>General</c:formatCode>
                <c:ptCount val="52"/>
                <c:pt idx="0">
                  <c:v>0.29780564263322884</c:v>
                </c:pt>
                <c:pt idx="1">
                  <c:v>0.33093525179856115</c:v>
                </c:pt>
                <c:pt idx="2">
                  <c:v>0.3352941176470588</c:v>
                </c:pt>
                <c:pt idx="3">
                  <c:v>0.3564102564102564</c:v>
                </c:pt>
                <c:pt idx="4">
                  <c:v>0.32114882506527415</c:v>
                </c:pt>
                <c:pt idx="5">
                  <c:v>0.3567251461988304</c:v>
                </c:pt>
                <c:pt idx="6">
                  <c:v>0.3561320754716981</c:v>
                </c:pt>
                <c:pt idx="7">
                  <c:v>0.32342007434944237</c:v>
                </c:pt>
                <c:pt idx="8">
                  <c:v>0.3473684210526316</c:v>
                </c:pt>
                <c:pt idx="9">
                  <c:v>0.33134328358208953</c:v>
                </c:pt>
                <c:pt idx="10">
                  <c:v>0.31736526946107785</c:v>
                </c:pt>
                <c:pt idx="11">
                  <c:v>0.3790983606557377</c:v>
                </c:pt>
                <c:pt idx="12">
                  <c:v>0.3938618925831202</c:v>
                </c:pt>
                <c:pt idx="13">
                  <c:v>0.3359173126614987</c:v>
                </c:pt>
                <c:pt idx="14">
                  <c:v>0.33112582781456956</c:v>
                </c:pt>
                <c:pt idx="15">
                  <c:v>0.3409090909090909</c:v>
                </c:pt>
                <c:pt idx="16">
                  <c:v>0.3137254901960784</c:v>
                </c:pt>
                <c:pt idx="17">
                  <c:v>0.31176470588235294</c:v>
                </c:pt>
                <c:pt idx="18">
                  <c:v>0.2540983606557377</c:v>
                </c:pt>
                <c:pt idx="19">
                  <c:v>0.33093525179856115</c:v>
                </c:pt>
                <c:pt idx="20">
                  <c:v>0.4065040650406504</c:v>
                </c:pt>
                <c:pt idx="21">
                  <c:v>0.3741496598639456</c:v>
                </c:pt>
                <c:pt idx="22">
                  <c:v>0.4166666666666667</c:v>
                </c:pt>
                <c:pt idx="23">
                  <c:v>0.44029850746268656</c:v>
                </c:pt>
                <c:pt idx="24">
                  <c:v>0.4603174603174603</c:v>
                </c:pt>
                <c:pt idx="25">
                  <c:v>0.4</c:v>
                </c:pt>
                <c:pt idx="26">
                  <c:v>0.33980582524271846</c:v>
                </c:pt>
                <c:pt idx="27">
                  <c:v>0.30392156862745096</c:v>
                </c:pt>
                <c:pt idx="28">
                  <c:v>0.25806451612903225</c:v>
                </c:pt>
                <c:pt idx="29">
                  <c:v>0.2916666666666667</c:v>
                </c:pt>
                <c:pt idx="30">
                  <c:v>0.2542372881355932</c:v>
                </c:pt>
                <c:pt idx="31">
                  <c:v>0.28846153846153844</c:v>
                </c:pt>
                <c:pt idx="32">
                  <c:v>0.26666666666666666</c:v>
                </c:pt>
                <c:pt idx="33">
                  <c:v>0.296875</c:v>
                </c:pt>
                <c:pt idx="34">
                  <c:v>0.3125</c:v>
                </c:pt>
                <c:pt idx="35">
                  <c:v>0.25</c:v>
                </c:pt>
                <c:pt idx="36">
                  <c:v>0.4166666666666667</c:v>
                </c:pt>
                <c:pt idx="37">
                  <c:v>0.43137254901960786</c:v>
                </c:pt>
                <c:pt idx="38">
                  <c:v>0.4411764705882353</c:v>
                </c:pt>
                <c:pt idx="39">
                  <c:v>0.5227272727272727</c:v>
                </c:pt>
                <c:pt idx="40">
                  <c:v>0.4251968503937008</c:v>
                </c:pt>
                <c:pt idx="41">
                  <c:v>0.422680412371134</c:v>
                </c:pt>
                <c:pt idx="42">
                  <c:v>0.39436619718309857</c:v>
                </c:pt>
                <c:pt idx="43">
                  <c:v>0.41509433962264153</c:v>
                </c:pt>
                <c:pt idx="44">
                  <c:v>0.3567251461988304</c:v>
                </c:pt>
                <c:pt idx="45">
                  <c:v>0.37344398340248963</c:v>
                </c:pt>
                <c:pt idx="46">
                  <c:v>0.33707865168539325</c:v>
                </c:pt>
                <c:pt idx="47">
                  <c:v>0.3811881188118812</c:v>
                </c:pt>
                <c:pt idx="48">
                  <c:v>0.3033033033033033</c:v>
                </c:pt>
                <c:pt idx="49">
                  <c:v>0.3417085427135678</c:v>
                </c:pt>
                <c:pt idx="50">
                  <c:v>0.35837245696400627</c:v>
                </c:pt>
                <c:pt idx="51">
                  <c:v>0.3639455782312925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99.552281033865</c:v>
                </c:pt>
              </c:numCache>
            </c:numRef>
          </c:xVal>
          <c:yVal>
            <c:numRef>
              <c:f>Sheet1!$B$163:$B$164</c:f>
              <c:numCache>
                <c:formatCode>General</c:formatCode>
                <c:ptCount val="2"/>
                <c:pt idx="0">
                  <c:v>0.4262859959735149</c:v>
                </c:pt>
                <c:pt idx="1">
                  <c:v>0.426285995973514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99.552281033865</c:v>
                </c:pt>
                <c:pt idx="1">
                  <c:v>599.552281033865</c:v>
                </c:pt>
              </c:numCache>
            </c:numRef>
          </c:xVal>
          <c:yVal>
            <c:numRef>
              <c:f>Sheet1!$B$167:$B$168</c:f>
              <c:numCache>
                <c:formatCode>General</c:formatCode>
                <c:ptCount val="2"/>
                <c:pt idx="0">
                  <c:v>0.42628599597351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85.0499291758078</c:v>
                </c:pt>
              </c:numCache>
            </c:numRef>
          </c:xVal>
          <c:yVal>
            <c:numRef>
              <c:f>Sheet1!$B$171:$B$172</c:f>
              <c:numCache>
                <c:formatCode>General</c:formatCode>
                <c:ptCount val="2"/>
                <c:pt idx="0">
                  <c:v>0.3975166660516117</c:v>
                </c:pt>
                <c:pt idx="1">
                  <c:v>0.39751666605161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85.0499291758078</c:v>
                </c:pt>
                <c:pt idx="1">
                  <c:v>785.0499291758078</c:v>
                </c:pt>
              </c:numCache>
            </c:numRef>
          </c:xVal>
          <c:yVal>
            <c:numRef>
              <c:f>Sheet1!$B$175:$B$176</c:f>
              <c:numCache>
                <c:formatCode>General</c:formatCode>
                <c:ptCount val="2"/>
                <c:pt idx="0">
                  <c:v>0.39751666605161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70.3020754307083</c:v>
                </c:pt>
              </c:numCache>
            </c:numRef>
          </c:xVal>
          <c:yVal>
            <c:numRef>
              <c:f>Sheet1!$B$179:$B$180</c:f>
              <c:numCache>
                <c:formatCode>General</c:formatCode>
                <c:ptCount val="2"/>
                <c:pt idx="0">
                  <c:v>0.3842946810468163</c:v>
                </c:pt>
                <c:pt idx="1">
                  <c:v>0.38429468104681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70.3020754307083</c:v>
                </c:pt>
                <c:pt idx="1">
                  <c:v>870.3020754307083</c:v>
                </c:pt>
              </c:numCache>
            </c:numRef>
          </c:xVal>
          <c:yVal>
            <c:numRef>
              <c:f>Sheet1!$B$183:$B$184</c:f>
              <c:numCache>
                <c:formatCode>General</c:formatCode>
                <c:ptCount val="2"/>
                <c:pt idx="0">
                  <c:v>0.38429468104681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1.4316</c:v>
                </c:pt>
                <c:pt idx="1">
                  <c:v>1402.2717</c:v>
                </c:pt>
                <c:pt idx="2">
                  <c:v>1327.807</c:v>
                </c:pt>
                <c:pt idx="3">
                  <c:v>1357.3453</c:v>
                </c:pt>
                <c:pt idx="4">
                  <c:v>1354.9512</c:v>
                </c:pt>
                <c:pt idx="5">
                  <c:v>1340.2459</c:v>
                </c:pt>
                <c:pt idx="6">
                  <c:v>1256.6689</c:v>
                </c:pt>
                <c:pt idx="7">
                  <c:v>1335.4368</c:v>
                </c:pt>
                <c:pt idx="8">
                  <c:v>1334.1919</c:v>
                </c:pt>
                <c:pt idx="9">
                  <c:v>1470.5315</c:v>
                </c:pt>
                <c:pt idx="10">
                  <c:v>1442.6981</c:v>
                </c:pt>
                <c:pt idx="11">
                  <c:v>1150.6973</c:v>
                </c:pt>
                <c:pt idx="12">
                  <c:v>1081.9416</c:v>
                </c:pt>
                <c:pt idx="13">
                  <c:v>1210.6615</c:v>
                </c:pt>
                <c:pt idx="14">
                  <c:v>1304.5</c:v>
                </c:pt>
                <c:pt idx="15">
                  <c:v>1250.2444</c:v>
                </c:pt>
                <c:pt idx="16">
                  <c:v>1322.7813</c:v>
                </c:pt>
                <c:pt idx="17">
                  <c:v>1334.5094</c:v>
                </c:pt>
                <c:pt idx="18">
                  <c:v>1384.6774</c:v>
                </c:pt>
                <c:pt idx="19">
                  <c:v>1230.6522</c:v>
                </c:pt>
                <c:pt idx="20">
                  <c:v>1162.72</c:v>
                </c:pt>
                <c:pt idx="21">
                  <c:v>1112.5455</c:v>
                </c:pt>
                <c:pt idx="22">
                  <c:v>752.9882</c:v>
                </c:pt>
                <c:pt idx="23">
                  <c:v>763.2881</c:v>
                </c:pt>
                <c:pt idx="24">
                  <c:v>785.7069</c:v>
                </c:pt>
                <c:pt idx="25">
                  <c:v>815.6458</c:v>
                </c:pt>
                <c:pt idx="26">
                  <c:v>1041.2857</c:v>
                </c:pt>
                <c:pt idx="27">
                  <c:v>1049.6452</c:v>
                </c:pt>
                <c:pt idx="28">
                  <c:v>1154.5</c:v>
                </c:pt>
                <c:pt idx="29">
                  <c:v>980.0476</c:v>
                </c:pt>
                <c:pt idx="30">
                  <c:v>972.2667</c:v>
                </c:pt>
                <c:pt idx="31">
                  <c:v>882.4</c:v>
                </c:pt>
                <c:pt idx="32">
                  <c:v>1076.5625</c:v>
                </c:pt>
                <c:pt idx="33">
                  <c:v>1113.1053</c:v>
                </c:pt>
                <c:pt idx="34">
                  <c:v>1214.1</c:v>
                </c:pt>
                <c:pt idx="35">
                  <c:v>1018.2941</c:v>
                </c:pt>
                <c:pt idx="36">
                  <c:v>819.2667</c:v>
                </c:pt>
                <c:pt idx="37">
                  <c:v>745.1364</c:v>
                </c:pt>
                <c:pt idx="38">
                  <c:v>631.7</c:v>
                </c:pt>
                <c:pt idx="39">
                  <c:v>606.5652</c:v>
                </c:pt>
                <c:pt idx="40">
                  <c:v>764.3704</c:v>
                </c:pt>
                <c:pt idx="41">
                  <c:v>745.561</c:v>
                </c:pt>
                <c:pt idx="42">
                  <c:v>884.3929</c:v>
                </c:pt>
                <c:pt idx="43">
                  <c:v>711.5758</c:v>
                </c:pt>
                <c:pt idx="44">
                  <c:v>839.5246</c:v>
                </c:pt>
                <c:pt idx="45">
                  <c:v>985.2889</c:v>
                </c:pt>
                <c:pt idx="46">
                  <c:v>1037.7</c:v>
                </c:pt>
                <c:pt idx="47">
                  <c:v>935.013</c:v>
                </c:pt>
                <c:pt idx="48">
                  <c:v>1130.4455</c:v>
                </c:pt>
                <c:pt idx="49">
                  <c:v>1018.8456</c:v>
                </c:pt>
                <c:pt idx="50">
                  <c:v>1000.9345</c:v>
                </c:pt>
                <c:pt idx="51">
                  <c:v>1005.5701</c:v>
                </c:pt>
                <c:pt idx="52">
                  <c:v>785.0499291758078</c:v>
                </c:pt>
                <c:pt idx="53">
                  <c:v>599.552281033865</c:v>
                </c:pt>
                <c:pt idx="54">
                  <c:v>870.3020754307083</c:v>
                </c:pt>
              </c:numCache>
            </c:numRef>
          </c:xVal>
          <c:yVal>
            <c:numRef>
              <c:f>Sheet1!$B$187:$B$241</c:f>
              <c:numCache>
                <c:formatCode>General</c:formatCode>
                <c:ptCount val="55"/>
                <c:pt idx="0">
                  <c:v>0.30347129932444417</c:v>
                </c:pt>
                <c:pt idx="1">
                  <c:v>0.3017900790156681</c:v>
                </c:pt>
                <c:pt idx="2">
                  <c:v>0.31333900992284736</c:v>
                </c:pt>
                <c:pt idx="3">
                  <c:v>0.3087578354090773</c:v>
                </c:pt>
                <c:pt idx="4">
                  <c:v>0.30912914282702003</c:v>
                </c:pt>
                <c:pt idx="5">
                  <c:v>0.3114098274154135</c:v>
                </c:pt>
                <c:pt idx="6">
                  <c:v>0.32437200947522604</c:v>
                </c:pt>
                <c:pt idx="7">
                  <c:v>0.3121556836885968</c:v>
                </c:pt>
                <c:pt idx="8">
                  <c:v>0.31234875858296085</c:v>
                </c:pt>
                <c:pt idx="9">
                  <c:v>0.2912034827635127</c:v>
                </c:pt>
                <c:pt idx="10">
                  <c:v>0.29552023974382535</c:v>
                </c:pt>
                <c:pt idx="11">
                  <c:v>0.3408074303729566</c:v>
                </c:pt>
                <c:pt idx="12">
                  <c:v>0.3514709370919086</c:v>
                </c:pt>
                <c:pt idx="13">
                  <c:v>0.33150742107050485</c:v>
                </c:pt>
                <c:pt idx="14">
                  <c:v>0.31695375533448034</c:v>
                </c:pt>
                <c:pt idx="15">
                  <c:v>0.3253684024857823</c:v>
                </c:pt>
                <c:pt idx="16">
                  <c:v>0.3141184592734821</c:v>
                </c:pt>
                <c:pt idx="17">
                  <c:v>0.312299516652717</c:v>
                </c:pt>
                <c:pt idx="18">
                  <c:v>0.3045188263961072</c:v>
                </c:pt>
                <c:pt idx="19">
                  <c:v>0.32840700955892754</c:v>
                </c:pt>
                <c:pt idx="20">
                  <c:v>0.3389427974446329</c:v>
                </c:pt>
                <c:pt idx="21">
                  <c:v>0.3467244958037516</c:v>
                </c:pt>
                <c:pt idx="22">
                  <c:v>0.4024892059935721</c:v>
                </c:pt>
                <c:pt idx="23">
                  <c:v>0.40089176675792276</c:v>
                </c:pt>
                <c:pt idx="24">
                  <c:v>0.39741477467681763</c:v>
                </c:pt>
                <c:pt idx="25">
                  <c:v>0.39277147002995877</c:v>
                </c:pt>
                <c:pt idx="26">
                  <c:v>0.3577763701369513</c:v>
                </c:pt>
                <c:pt idx="27">
                  <c:v>0.3564798727641214</c:v>
                </c:pt>
                <c:pt idx="28">
                  <c:v>0.34021765938669424</c:v>
                </c:pt>
                <c:pt idx="29">
                  <c:v>0.36727395202188373</c:v>
                </c:pt>
                <c:pt idx="30">
                  <c:v>0.36848071276214955</c:v>
                </c:pt>
                <c:pt idx="31">
                  <c:v>0.38241838133741013</c:v>
                </c:pt>
                <c:pt idx="32">
                  <c:v>0.35230519620049033</c:v>
                </c:pt>
                <c:pt idx="33">
                  <c:v>0.34663767491382874</c:v>
                </c:pt>
                <c:pt idx="34">
                  <c:v>0.33097413484328125</c:v>
                </c:pt>
                <c:pt idx="35">
                  <c:v>0.36134219931299716</c:v>
                </c:pt>
                <c:pt idx="36">
                  <c:v>0.3922098948954077</c:v>
                </c:pt>
                <c:pt idx="37">
                  <c:v>0.4037069628058199</c:v>
                </c:pt>
                <c:pt idx="38">
                  <c:v>0.4213001196433436</c:v>
                </c:pt>
                <c:pt idx="39">
                  <c:v>0.42519834348048746</c:v>
                </c:pt>
                <c:pt idx="40">
                  <c:v>0.40072390993555135</c:v>
                </c:pt>
                <c:pt idx="41">
                  <c:v>0.40364111044808276</c:v>
                </c:pt>
                <c:pt idx="42">
                  <c:v>0.38210929710817243</c:v>
                </c:pt>
                <c:pt idx="43">
                  <c:v>0.40891196666138474</c:v>
                </c:pt>
                <c:pt idx="44">
                  <c:v>0.38906804261607875</c:v>
                </c:pt>
                <c:pt idx="45">
                  <c:v>0.3664610646864913</c:v>
                </c:pt>
                <c:pt idx="46">
                  <c:v>0.3583324860086847</c:v>
                </c:pt>
                <c:pt idx="47">
                  <c:v>0.37425848944474926</c:v>
                </c:pt>
                <c:pt idx="48">
                  <c:v>0.3439483365868541</c:v>
                </c:pt>
                <c:pt idx="49">
                  <c:v>0.3612566656924318</c:v>
                </c:pt>
                <c:pt idx="50">
                  <c:v>0.3640345464382292</c:v>
                </c:pt>
                <c:pt idx="51">
                  <c:v>0.3633155987473996</c:v>
                </c:pt>
                <c:pt idx="52">
                  <c:v>0.3975166660516117</c:v>
                </c:pt>
                <c:pt idx="53">
                  <c:v>0.4262859959735149</c:v>
                </c:pt>
                <c:pt idx="54">
                  <c:v>0.38429468104681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8.0"/>
          <c:min val="4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72727272727272"/>
          <c:min val="0.110691823899371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135643161502799</c:v>
                </c:pt>
                <c:pt idx="1">
                  <c:v>0.5402115181887777</c:v>
                </c:pt>
                <c:pt idx="2">
                  <c:v>0.5856956941842644</c:v>
                </c:pt>
                <c:pt idx="3">
                  <c:v>0.6462751725823621</c:v>
                </c:pt>
                <c:pt idx="4">
                  <c:v>0.5492054940635092</c:v>
                </c:pt>
                <c:pt idx="5">
                  <c:v>0.5309480299206543</c:v>
                </c:pt>
                <c:pt idx="6">
                  <c:v>0.528503757801019</c:v>
                </c:pt>
                <c:pt idx="7">
                  <c:v>0.5104862603348426</c:v>
                </c:pt>
                <c:pt idx="8">
                  <c:v>0.486406321404535</c:v>
                </c:pt>
                <c:pt idx="9">
                  <c:v>0.42310106187535923</c:v>
                </c:pt>
                <c:pt idx="10">
                  <c:v>0.5076287938989156</c:v>
                </c:pt>
                <c:pt idx="11">
                  <c:v>0.58614240548604</c:v>
                </c:pt>
                <c:pt idx="12">
                  <c:v>0.6546815520702144</c:v>
                </c:pt>
                <c:pt idx="13">
                  <c:v>0.6226370180132815</c:v>
                </c:pt>
                <c:pt idx="14">
                  <c:v>0.6581777591673574</c:v>
                </c:pt>
                <c:pt idx="15">
                  <c:v>0.6580149086395843</c:v>
                </c:pt>
                <c:pt idx="16">
                  <c:v>0.669347344746016</c:v>
                </c:pt>
                <c:pt idx="17">
                  <c:v>0.5993796001222405</c:v>
                </c:pt>
                <c:pt idx="18">
                  <c:v>0.5857042774848469</c:v>
                </c:pt>
                <c:pt idx="19">
                  <c:v>0.5864591296449048</c:v>
                </c:pt>
                <c:pt idx="20">
                  <c:v>0.6449605835652338</c:v>
                </c:pt>
                <c:pt idx="21">
                  <c:v>0.649620969890754</c:v>
                </c:pt>
                <c:pt idx="22">
                  <c:v>0.6583199984944573</c:v>
                </c:pt>
                <c:pt idx="23">
                  <c:v>0.6036612125286198</c:v>
                </c:pt>
                <c:pt idx="24">
                  <c:v>0.5286378381413543</c:v>
                </c:pt>
                <c:pt idx="25">
                  <c:v>0.5419081650183764</c:v>
                </c:pt>
                <c:pt idx="26">
                  <c:v>0.5140420615255955</c:v>
                </c:pt>
                <c:pt idx="27">
                  <c:v>0.5269632709144774</c:v>
                </c:pt>
                <c:pt idx="28">
                  <c:v>0.5488077605916875</c:v>
                </c:pt>
                <c:pt idx="29">
                  <c:v>0.5442886925870999</c:v>
                </c:pt>
                <c:pt idx="30">
                  <c:v>0.5675630307346476</c:v>
                </c:pt>
                <c:pt idx="31">
                  <c:v>0.5238137442408212</c:v>
                </c:pt>
                <c:pt idx="32">
                  <c:v>0.5345268984368637</c:v>
                </c:pt>
                <c:pt idx="33">
                  <c:v>0.5837030332954396</c:v>
                </c:pt>
                <c:pt idx="34">
                  <c:v>0.5391487349133812</c:v>
                </c:pt>
                <c:pt idx="35">
                  <c:v>0.5927334547439034</c:v>
                </c:pt>
                <c:pt idx="36">
                  <c:v>0.6350186747341107</c:v>
                </c:pt>
                <c:pt idx="37">
                  <c:v>0.5662792847018879</c:v>
                </c:pt>
                <c:pt idx="38">
                  <c:v>0.6295556457122697</c:v>
                </c:pt>
                <c:pt idx="39">
                  <c:v>0.6135236841627234</c:v>
                </c:pt>
                <c:pt idx="40">
                  <c:v>0.633584281546558</c:v>
                </c:pt>
                <c:pt idx="41">
                  <c:v>0.6685282112396815</c:v>
                </c:pt>
                <c:pt idx="42">
                  <c:v>0.682924041247347</c:v>
                </c:pt>
                <c:pt idx="43">
                  <c:v>0.6505296070750441</c:v>
                </c:pt>
                <c:pt idx="44">
                  <c:v>0.6368629939076936</c:v>
                </c:pt>
                <c:pt idx="45">
                  <c:v>0.6256379133630916</c:v>
                </c:pt>
                <c:pt idx="46">
                  <c:v>0.6344909321184982</c:v>
                </c:pt>
                <c:pt idx="47">
                  <c:v>0.6295296753519178</c:v>
                </c:pt>
                <c:pt idx="48">
                  <c:v>0.6246113846604714</c:v>
                </c:pt>
                <c:pt idx="49">
                  <c:v>0.7185181066025568</c:v>
                </c:pt>
                <c:pt idx="50">
                  <c:v>0.6197710671482777</c:v>
                </c:pt>
                <c:pt idx="51">
                  <c:v>0.6192702277260952</c:v>
                </c:pt>
                <c:pt idx="52">
                  <c:v>0.6285221313556356</c:v>
                </c:pt>
                <c:pt idx="53">
                  <c:v>0.6188728924804594</c:v>
                </c:pt>
                <c:pt idx="54">
                  <c:v>0.5404051948370789</c:v>
                </c:pt>
                <c:pt idx="55">
                  <c:v>0.511932050980091</c:v>
                </c:pt>
                <c:pt idx="56">
                  <c:v>0.5373245472057432</c:v>
                </c:pt>
                <c:pt idx="57">
                  <c:v>0.5408101590731429</c:v>
                </c:pt>
                <c:pt idx="58">
                  <c:v>0.5204674297504178</c:v>
                </c:pt>
                <c:pt idx="59">
                  <c:v>0.5176648632678914</c:v>
                </c:pt>
                <c:pt idx="60">
                  <c:v>0.5130864353467255</c:v>
                </c:pt>
                <c:pt idx="61">
                  <c:v>0.49428735115314903</c:v>
                </c:pt>
                <c:pt idx="62">
                  <c:v>0.5008994829481382</c:v>
                </c:pt>
                <c:pt idx="63">
                  <c:v>0.5387997182319052</c:v>
                </c:pt>
                <c:pt idx="64">
                  <c:v>0.5351851062285535</c:v>
                </c:pt>
                <c:pt idx="65">
                  <c:v>0.5761964282660657</c:v>
                </c:pt>
                <c:pt idx="66">
                  <c:v>0.5748001525242542</c:v>
                </c:pt>
                <c:pt idx="67">
                  <c:v>0.5881266797118009</c:v>
                </c:pt>
                <c:pt idx="68">
                  <c:v>0.6381932085726029</c:v>
                </c:pt>
                <c:pt idx="69">
                  <c:v>0.6044205517013509</c:v>
                </c:pt>
                <c:pt idx="70">
                  <c:v>0.552958778410899</c:v>
                </c:pt>
                <c:pt idx="71">
                  <c:v>0.5570253477519166</c:v>
                </c:pt>
                <c:pt idx="72">
                  <c:v>0.6406380941870289</c:v>
                </c:pt>
                <c:pt idx="73">
                  <c:v>0.5965069419636152</c:v>
                </c:pt>
                <c:pt idx="74">
                  <c:v>0.5608991480399935</c:v>
                </c:pt>
                <c:pt idx="75">
                  <c:v>0.5400474866899995</c:v>
                </c:pt>
                <c:pt idx="76">
                  <c:v>0.5345760335652886</c:v>
                </c:pt>
                <c:pt idx="77">
                  <c:v>0.5162414040509575</c:v>
                </c:pt>
                <c:pt idx="78">
                  <c:v>0.5599067665194065</c:v>
                </c:pt>
                <c:pt idx="79">
                  <c:v>0.5058948243814497</c:v>
                </c:pt>
                <c:pt idx="80">
                  <c:v>0.5683031995895184</c:v>
                </c:pt>
                <c:pt idx="81">
                  <c:v>0.6394410498490359</c:v>
                </c:pt>
                <c:pt idx="82">
                  <c:v>0.621067216774034</c:v>
                </c:pt>
                <c:pt idx="83">
                  <c:v>0.539981719560463</c:v>
                </c:pt>
                <c:pt idx="84">
                  <c:v>0.5644699831853487</c:v>
                </c:pt>
                <c:pt idx="85">
                  <c:v>0.5572527146032102</c:v>
                </c:pt>
                <c:pt idx="86">
                  <c:v>0.5977452084817522</c:v>
                </c:pt>
                <c:pt idx="87">
                  <c:v>0.6391364715290835</c:v>
                </c:pt>
                <c:pt idx="88">
                  <c:v>0.6756546601547069</c:v>
                </c:pt>
                <c:pt idx="89">
                  <c:v>0.6035001095260552</c:v>
                </c:pt>
                <c:pt idx="90">
                  <c:v>0.6323358808699676</c:v>
                </c:pt>
                <c:pt idx="91">
                  <c:v>0.7008892666843679</c:v>
                </c:pt>
                <c:pt idx="92">
                  <c:v>0.6440864171996336</c:v>
                </c:pt>
                <c:pt idx="93">
                  <c:v>0.7154888132982848</c:v>
                </c:pt>
                <c:pt idx="94">
                  <c:v>0.7680026337378966</c:v>
                </c:pt>
                <c:pt idx="95">
                  <c:v>0.7915343685190928</c:v>
                </c:pt>
                <c:pt idx="96">
                  <c:v>0.7800420406398277</c:v>
                </c:pt>
                <c:pt idx="97">
                  <c:v>0.7965244131114567</c:v>
                </c:pt>
                <c:pt idx="98">
                  <c:v>0.8067267907150204</c:v>
                </c:pt>
                <c:pt idx="99">
                  <c:v>0.7698400899208292</c:v>
                </c:pt>
                <c:pt idx="100">
                  <c:v>0.7741453780131026</c:v>
                </c:pt>
                <c:pt idx="101">
                  <c:v>0.709189430819304</c:v>
                </c:pt>
                <c:pt idx="102">
                  <c:v>0.6503866100882211</c:v>
                </c:pt>
                <c:pt idx="103">
                  <c:v>0.6578533099601517</c:v>
                </c:pt>
                <c:pt idx="104">
                  <c:v>0.6208156306289294</c:v>
                </c:pt>
              </c:numCache>
            </c:numRef>
          </c:xVal>
          <c:yVal>
            <c:numRef>
              <c:f>Sheet1!$B$2:$B$106</c:f>
              <c:numCache>
                <c:formatCode>General</c:formatCode>
                <c:ptCount val="105"/>
                <c:pt idx="0">
                  <c:v>0.1661676646706587</c:v>
                </c:pt>
                <c:pt idx="1">
                  <c:v>0.12525150905432594</c:v>
                </c:pt>
                <c:pt idx="2">
                  <c:v>0.1220614828209765</c:v>
                </c:pt>
                <c:pt idx="3">
                  <c:v>0.10650602409638554</c:v>
                </c:pt>
                <c:pt idx="4">
                  <c:v>0.11140065146579804</c:v>
                </c:pt>
                <c:pt idx="5">
                  <c:v>0.11270296084049666</c:v>
                </c:pt>
                <c:pt idx="6">
                  <c:v>0.1344800625488663</c:v>
                </c:pt>
                <c:pt idx="7">
                  <c:v>0.15974145891043398</c:v>
                </c:pt>
                <c:pt idx="8">
                  <c:v>0.14613970588235295</c:v>
                </c:pt>
                <c:pt idx="9">
                  <c:v>0.15057680631451123</c:v>
                </c:pt>
                <c:pt idx="10">
                  <c:v>0.15070921985815602</c:v>
                </c:pt>
                <c:pt idx="11">
                  <c:v>0.13387533875338753</c:v>
                </c:pt>
                <c:pt idx="12">
                  <c:v>0.114646700982686</c:v>
                </c:pt>
                <c:pt idx="13">
                  <c:v>0.10498046875</c:v>
                </c:pt>
                <c:pt idx="14">
                  <c:v>0.09107303877366997</c:v>
                </c:pt>
                <c:pt idx="15">
                  <c:v>0.08616780045351474</c:v>
                </c:pt>
                <c:pt idx="16">
                  <c:v>0.08710601719197708</c:v>
                </c:pt>
                <c:pt idx="17">
                  <c:v>0.08405438813349815</c:v>
                </c:pt>
                <c:pt idx="18">
                  <c:v>0.08608321377331421</c:v>
                </c:pt>
                <c:pt idx="19">
                  <c:v>0.07829787234042553</c:v>
                </c:pt>
                <c:pt idx="20">
                  <c:v>0.0776255707762557</c:v>
                </c:pt>
                <c:pt idx="21">
                  <c:v>0.09420916162489196</c:v>
                </c:pt>
                <c:pt idx="22">
                  <c:v>0.08273092369477912</c:v>
                </c:pt>
                <c:pt idx="23">
                  <c:v>0.10267111853088481</c:v>
                </c:pt>
                <c:pt idx="24">
                  <c:v>0.0913006029285099</c:v>
                </c:pt>
                <c:pt idx="25">
                  <c:v>0.1025390625</c:v>
                </c:pt>
                <c:pt idx="26">
                  <c:v>0.12776831345826234</c:v>
                </c:pt>
                <c:pt idx="27">
                  <c:v>0.1223021582733813</c:v>
                </c:pt>
                <c:pt idx="28">
                  <c:v>0.14608695652173914</c:v>
                </c:pt>
                <c:pt idx="29">
                  <c:v>0.12663085188027629</c:v>
                </c:pt>
                <c:pt idx="30">
                  <c:v>0.13218390804597702</c:v>
                </c:pt>
                <c:pt idx="31">
                  <c:v>0.1391705069124424</c:v>
                </c:pt>
                <c:pt idx="32">
                  <c:v>0.1514629948364888</c:v>
                </c:pt>
                <c:pt idx="33">
                  <c:v>0.13315579227696406</c:v>
                </c:pt>
                <c:pt idx="34">
                  <c:v>0.13852813852813853</c:v>
                </c:pt>
                <c:pt idx="35">
                  <c:v>0.14928649835345773</c:v>
                </c:pt>
                <c:pt idx="36">
                  <c:v>0.1322140608604407</c:v>
                </c:pt>
                <c:pt idx="37">
                  <c:v>0.13480233311730394</c:v>
                </c:pt>
                <c:pt idx="38">
                  <c:v>0.11252268602540835</c:v>
                </c:pt>
                <c:pt idx="39">
                  <c:v>0.10314557425018288</c:v>
                </c:pt>
                <c:pt idx="40">
                  <c:v>0.10723039215686274</c:v>
                </c:pt>
                <c:pt idx="41">
                  <c:v>0.13144329896907217</c:v>
                </c:pt>
                <c:pt idx="42">
                  <c:v>0.11167227833894501</c:v>
                </c:pt>
                <c:pt idx="43">
                  <c:v>0.09038182696955051</c:v>
                </c:pt>
                <c:pt idx="44">
                  <c:v>0.08155270655270655</c:v>
                </c:pt>
                <c:pt idx="45">
                  <c:v>0.12022471910112359</c:v>
                </c:pt>
                <c:pt idx="46">
                  <c:v>0.1245626312106368</c:v>
                </c:pt>
                <c:pt idx="47">
                  <c:v>0.1160985487681404</c:v>
                </c:pt>
                <c:pt idx="48">
                  <c:v>0.10499880411384836</c:v>
                </c:pt>
                <c:pt idx="49">
                  <c:v>0.10967522530181942</c:v>
                </c:pt>
                <c:pt idx="50">
                  <c:v>0.12096242584047462</c:v>
                </c:pt>
                <c:pt idx="51">
                  <c:v>0.11814345991561181</c:v>
                </c:pt>
                <c:pt idx="52">
                  <c:v>0.11442385173247381</c:v>
                </c:pt>
                <c:pt idx="53">
                  <c:v>0.11356209150326797</c:v>
                </c:pt>
                <c:pt idx="54">
                  <c:v>0.11235431235431236</c:v>
                </c:pt>
                <c:pt idx="55">
                  <c:v>0.11889097744360902</c:v>
                </c:pt>
                <c:pt idx="56">
                  <c:v>0.12215758857747223</c:v>
                </c:pt>
                <c:pt idx="57">
                  <c:v>0.10919822921790458</c:v>
                </c:pt>
                <c:pt idx="58">
                  <c:v>0.11266149870801033</c:v>
                </c:pt>
                <c:pt idx="59">
                  <c:v>0.09096573208722741</c:v>
                </c:pt>
                <c:pt idx="60">
                  <c:v>0.10681114551083591</c:v>
                </c:pt>
                <c:pt idx="61">
                  <c:v>0.12600663192799622</c:v>
                </c:pt>
                <c:pt idx="62">
                  <c:v>0.1251840942562592</c:v>
                </c:pt>
                <c:pt idx="63">
                  <c:v>0.1182615963226076</c:v>
                </c:pt>
                <c:pt idx="64">
                  <c:v>0.12775510204081633</c:v>
                </c:pt>
                <c:pt idx="65">
                  <c:v>0.12617220801364024</c:v>
                </c:pt>
                <c:pt idx="66">
                  <c:v>0.12244897959183673</c:v>
                </c:pt>
                <c:pt idx="67">
                  <c:v>0.11530309453158118</c:v>
                </c:pt>
                <c:pt idx="68">
                  <c:v>0.09622641509433963</c:v>
                </c:pt>
                <c:pt idx="69">
                  <c:v>0.09867549668874172</c:v>
                </c:pt>
                <c:pt idx="70">
                  <c:v>0.09588235294117647</c:v>
                </c:pt>
                <c:pt idx="71">
                  <c:v>0.10217113665389528</c:v>
                </c:pt>
                <c:pt idx="72">
                  <c:v>0.08756567425569177</c:v>
                </c:pt>
                <c:pt idx="73">
                  <c:v>0.10089399744572158</c:v>
                </c:pt>
                <c:pt idx="74">
                  <c:v>0.0840764331210191</c:v>
                </c:pt>
                <c:pt idx="75">
                  <c:v>0.09827833572453372</c:v>
                </c:pt>
                <c:pt idx="76">
                  <c:v>0.12214239059438275</c:v>
                </c:pt>
                <c:pt idx="77">
                  <c:v>0.11681547619047619</c:v>
                </c:pt>
                <c:pt idx="78">
                  <c:v>0.12918287937743192</c:v>
                </c:pt>
                <c:pt idx="79">
                  <c:v>0.11346938775510204</c:v>
                </c:pt>
                <c:pt idx="80">
                  <c:v>0.10777957860615883</c:v>
                </c:pt>
                <c:pt idx="81">
                  <c:v>0.10149863760217984</c:v>
                </c:pt>
                <c:pt idx="82">
                  <c:v>0.10728582866293035</c:v>
                </c:pt>
                <c:pt idx="83">
                  <c:v>0.1099434114793856</c:v>
                </c:pt>
                <c:pt idx="84">
                  <c:v>0.11194653299916457</c:v>
                </c:pt>
                <c:pt idx="85">
                  <c:v>0.10174880763116058</c:v>
                </c:pt>
                <c:pt idx="86">
                  <c:v>0.11690450054884742</c:v>
                </c:pt>
                <c:pt idx="87">
                  <c:v>0.12472283813747229</c:v>
                </c:pt>
                <c:pt idx="88">
                  <c:v>0.11702750146284377</c:v>
                </c:pt>
                <c:pt idx="89">
                  <c:v>0.12777053455019557</c:v>
                </c:pt>
                <c:pt idx="90">
                  <c:v>0.10842490842490843</c:v>
                </c:pt>
                <c:pt idx="91">
                  <c:v>0.0962223806129722</c:v>
                </c:pt>
                <c:pt idx="92">
                  <c:v>0.11130638547158758</c:v>
                </c:pt>
                <c:pt idx="93">
                  <c:v>0.09618768328445748</c:v>
                </c:pt>
                <c:pt idx="94">
                  <c:v>0.11034084344309647</c:v>
                </c:pt>
                <c:pt idx="95">
                  <c:v>0.11661807580174927</c:v>
                </c:pt>
                <c:pt idx="96">
                  <c:v>0.09644670050761421</c:v>
                </c:pt>
                <c:pt idx="97">
                  <c:v>0.08952380952380952</c:v>
                </c:pt>
                <c:pt idx="98">
                  <c:v>0.09069834830483918</c:v>
                </c:pt>
                <c:pt idx="99">
                  <c:v>0.09437386569872959</c:v>
                </c:pt>
                <c:pt idx="100">
                  <c:v>0.09641873278236915</c:v>
                </c:pt>
                <c:pt idx="101">
                  <c:v>0.10426540284360189</c:v>
                </c:pt>
                <c:pt idx="102">
                  <c:v>0.10600706713780919</c:v>
                </c:pt>
                <c:pt idx="103">
                  <c:v>0.10221619176843058</c:v>
                </c:pt>
                <c:pt idx="104">
                  <c:v>0.105263157894736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823635644109765</c:v>
                </c:pt>
                <c:pt idx="1">
                  <c:v>0.6234423500562322</c:v>
                </c:pt>
                <c:pt idx="2">
                  <c:v>0.6092599736299348</c:v>
                </c:pt>
                <c:pt idx="3">
                  <c:v>0.5195210179205739</c:v>
                </c:pt>
                <c:pt idx="4">
                  <c:v>0.5850798903346193</c:v>
                </c:pt>
                <c:pt idx="5">
                  <c:v>0.5578047469513174</c:v>
                </c:pt>
                <c:pt idx="6">
                  <c:v>0.533721249900978</c:v>
                </c:pt>
                <c:pt idx="7">
                  <c:v>0.5255163535199388</c:v>
                </c:pt>
                <c:pt idx="8">
                  <c:v>0.5820564012303205</c:v>
                </c:pt>
                <c:pt idx="9">
                  <c:v>0.5735496555709095</c:v>
                </c:pt>
                <c:pt idx="10">
                  <c:v>0.5783124616954842</c:v>
                </c:pt>
                <c:pt idx="11">
                  <c:v>0.5581659970826447</c:v>
                </c:pt>
                <c:pt idx="12">
                  <c:v>0.5715189642367945</c:v>
                </c:pt>
                <c:pt idx="13">
                  <c:v>0.5188324963599085</c:v>
                </c:pt>
                <c:pt idx="14">
                  <c:v>0.5174765645705435</c:v>
                </c:pt>
                <c:pt idx="15">
                  <c:v>0.5193543849120728</c:v>
                </c:pt>
                <c:pt idx="16">
                  <c:v>0.5458274260340578</c:v>
                </c:pt>
                <c:pt idx="17">
                  <c:v>0.4098401870869408</c:v>
                </c:pt>
                <c:pt idx="18">
                  <c:v>0.4611442172925427</c:v>
                </c:pt>
                <c:pt idx="19">
                  <c:v>0.6045360719728243</c:v>
                </c:pt>
                <c:pt idx="20">
                  <c:v>0.5758203192942232</c:v>
                </c:pt>
                <c:pt idx="21">
                  <c:v>0.535690529009266</c:v>
                </c:pt>
                <c:pt idx="22">
                  <c:v>0.514183674826648</c:v>
                </c:pt>
                <c:pt idx="23">
                  <c:v>0.5199314429003322</c:v>
                </c:pt>
                <c:pt idx="24">
                  <c:v>0.502100519670406</c:v>
                </c:pt>
                <c:pt idx="25">
                  <c:v>0.5060968728880385</c:v>
                </c:pt>
                <c:pt idx="26">
                  <c:v>0.5028824211157832</c:v>
                </c:pt>
                <c:pt idx="27">
                  <c:v>0.5186694344094923</c:v>
                </c:pt>
                <c:pt idx="28">
                  <c:v>0.5147796906094698</c:v>
                </c:pt>
                <c:pt idx="29">
                  <c:v>0.4823428178841213</c:v>
                </c:pt>
                <c:pt idx="30">
                  <c:v>0.519971643579582</c:v>
                </c:pt>
                <c:pt idx="31">
                  <c:v>0.518188217805431</c:v>
                </c:pt>
                <c:pt idx="32">
                  <c:v>0.49744772402422804</c:v>
                </c:pt>
                <c:pt idx="33">
                  <c:v>0.5326403775069066</c:v>
                </c:pt>
                <c:pt idx="34">
                  <c:v>0.5671070292949387</c:v>
                </c:pt>
                <c:pt idx="35">
                  <c:v>0.5454488287921134</c:v>
                </c:pt>
                <c:pt idx="36">
                  <c:v>0.5076223463410292</c:v>
                </c:pt>
                <c:pt idx="37">
                  <c:v>0.5081151762063917</c:v>
                </c:pt>
                <c:pt idx="38">
                  <c:v>0.48865212425611404</c:v>
                </c:pt>
                <c:pt idx="39">
                  <c:v>0.5435119834947914</c:v>
                </c:pt>
                <c:pt idx="40">
                  <c:v>0.5633532559679021</c:v>
                </c:pt>
                <c:pt idx="41">
                  <c:v>0.571990591821686</c:v>
                </c:pt>
                <c:pt idx="42">
                  <c:v>0.5307432920603072</c:v>
                </c:pt>
                <c:pt idx="43">
                  <c:v>0.6238487718491091</c:v>
                </c:pt>
                <c:pt idx="44">
                  <c:v>0.6791596946531953</c:v>
                </c:pt>
                <c:pt idx="45">
                  <c:v>0.7113993867462924</c:v>
                </c:pt>
                <c:pt idx="46">
                  <c:v>0.643700009527305</c:v>
                </c:pt>
                <c:pt idx="47">
                  <c:v>0.627854410654231</c:v>
                </c:pt>
                <c:pt idx="48">
                  <c:v>0.6445664955631686</c:v>
                </c:pt>
                <c:pt idx="49">
                  <c:v>0.6539459487593352</c:v>
                </c:pt>
                <c:pt idx="50">
                  <c:v>0.7389192238640406</c:v>
                </c:pt>
                <c:pt idx="51">
                  <c:v>0.698323954955135</c:v>
                </c:pt>
              </c:numCache>
            </c:numRef>
          </c:xVal>
          <c:yVal>
            <c:numRef>
              <c:f>Sheet1!$B$109:$B$160</c:f>
              <c:numCache>
                <c:formatCode>General</c:formatCode>
                <c:ptCount val="52"/>
                <c:pt idx="0">
                  <c:v>0.10574712643678161</c:v>
                </c:pt>
                <c:pt idx="1">
                  <c:v>0.09980430528375733</c:v>
                </c:pt>
                <c:pt idx="2">
                  <c:v>0.12420382165605096</c:v>
                </c:pt>
                <c:pt idx="3">
                  <c:v>0.13851891315929676</c:v>
                </c:pt>
                <c:pt idx="4">
                  <c:v>0.11958661417322834</c:v>
                </c:pt>
                <c:pt idx="5">
                  <c:v>0.13050847457627118</c:v>
                </c:pt>
                <c:pt idx="6">
                  <c:v>0.13994565217391305</c:v>
                </c:pt>
                <c:pt idx="7">
                  <c:v>0.12989921612541994</c:v>
                </c:pt>
                <c:pt idx="8">
                  <c:v>0.12715340442986053</c:v>
                </c:pt>
                <c:pt idx="9">
                  <c:v>0.12351543942992874</c:v>
                </c:pt>
                <c:pt idx="10">
                  <c:v>0.14047936085219706</c:v>
                </c:pt>
                <c:pt idx="11">
                  <c:v>0.13045496750232127</c:v>
                </c:pt>
                <c:pt idx="12">
                  <c:v>0.14365411436541142</c:v>
                </c:pt>
                <c:pt idx="13">
                  <c:v>0.1440349175557711</c:v>
                </c:pt>
                <c:pt idx="14">
                  <c:v>0.15388798259923872</c:v>
                </c:pt>
                <c:pt idx="15">
                  <c:v>0.1407815631262525</c:v>
                </c:pt>
                <c:pt idx="16">
                  <c:v>0.13621691413815365</c:v>
                </c:pt>
                <c:pt idx="17">
                  <c:v>0.18071519795657726</c:v>
                </c:pt>
                <c:pt idx="18">
                  <c:v>0.15930599369085174</c:v>
                </c:pt>
                <c:pt idx="19">
                  <c:v>0.11931443638760712</c:v>
                </c:pt>
                <c:pt idx="20">
                  <c:v>0.10714285714285714</c:v>
                </c:pt>
                <c:pt idx="21">
                  <c:v>0.12046908315565032</c:v>
                </c:pt>
                <c:pt idx="22">
                  <c:v>0.1415525114155251</c:v>
                </c:pt>
                <c:pt idx="23">
                  <c:v>0.1357409713574097</c:v>
                </c:pt>
                <c:pt idx="24">
                  <c:v>0.14091470951792337</c:v>
                </c:pt>
                <c:pt idx="25">
                  <c:v>0.15365239294710328</c:v>
                </c:pt>
                <c:pt idx="26">
                  <c:v>0.14092664092664092</c:v>
                </c:pt>
                <c:pt idx="27">
                  <c:v>0.13504273504273503</c:v>
                </c:pt>
                <c:pt idx="28">
                  <c:v>0.12103004291845494</c:v>
                </c:pt>
                <c:pt idx="29">
                  <c:v>0.14326107445805844</c:v>
                </c:pt>
                <c:pt idx="30">
                  <c:v>0.1347248576850095</c:v>
                </c:pt>
                <c:pt idx="31">
                  <c:v>0.13226452905811623</c:v>
                </c:pt>
                <c:pt idx="32">
                  <c:v>0.14396887159533073</c:v>
                </c:pt>
                <c:pt idx="33">
                  <c:v>0.15860014892032762</c:v>
                </c:pt>
                <c:pt idx="34">
                  <c:v>0.16666666666666666</c:v>
                </c:pt>
                <c:pt idx="35">
                  <c:v>0.17624763108022742</c:v>
                </c:pt>
                <c:pt idx="36">
                  <c:v>0.15633672525439407</c:v>
                </c:pt>
                <c:pt idx="37">
                  <c:v>0.16680161943319838</c:v>
                </c:pt>
                <c:pt idx="38">
                  <c:v>0.15005861664712777</c:v>
                </c:pt>
                <c:pt idx="39">
                  <c:v>0.15706806282722513</c:v>
                </c:pt>
                <c:pt idx="40">
                  <c:v>0.15153788447111777</c:v>
                </c:pt>
                <c:pt idx="41">
                  <c:v>0.14794007490636704</c:v>
                </c:pt>
                <c:pt idx="42">
                  <c:v>0.1449612403100775</c:v>
                </c:pt>
                <c:pt idx="43">
                  <c:v>0.1345926800472255</c:v>
                </c:pt>
                <c:pt idx="44">
                  <c:v>0.12048780487804878</c:v>
                </c:pt>
                <c:pt idx="45">
                  <c:v>0.1409445890665675</c:v>
                </c:pt>
                <c:pt idx="46">
                  <c:v>0.16412390198797966</c:v>
                </c:pt>
                <c:pt idx="47">
                  <c:v>0.15465163109142166</c:v>
                </c:pt>
                <c:pt idx="48">
                  <c:v>0.14845024469820556</c:v>
                </c:pt>
                <c:pt idx="49">
                  <c:v>0.1670428893905192</c:v>
                </c:pt>
                <c:pt idx="50">
                  <c:v>0.13571260859356657</c:v>
                </c:pt>
                <c:pt idx="51">
                  <c:v>0.12811526479750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2151688816483335</c:v>
                </c:pt>
              </c:numCache>
            </c:numRef>
          </c:xVal>
          <c:yVal>
            <c:numRef>
              <c:f>Sheet1!$B$163:$B$164</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2151688816483335</c:v>
                </c:pt>
                <c:pt idx="1">
                  <c:v>0.42151688816483335</c:v>
                </c:pt>
              </c:numCache>
            </c:numRef>
          </c:xVal>
          <c:yVal>
            <c:numRef>
              <c:f>Sheet1!$B$167:$B$168</c:f>
              <c:numCache>
                <c:formatCode>General</c:formatCode>
                <c:ptCount val="2"/>
                <c:pt idx="0">
                  <c:v>0.151211727846229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151688816483335</c:v>
                </c:pt>
              </c:numCache>
            </c:numRef>
          </c:xVal>
          <c:yVal>
            <c:numRef>
              <c:f>Sheet1!$B$171:$B$172</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151688816483335</c:v>
                </c:pt>
                <c:pt idx="1">
                  <c:v>0.42151688816483335</c:v>
                </c:pt>
              </c:numCache>
            </c:numRef>
          </c:xVal>
          <c:yVal>
            <c:numRef>
              <c:f>Sheet1!$B$175:$B$176</c:f>
              <c:numCache>
                <c:formatCode>General</c:formatCode>
                <c:ptCount val="2"/>
                <c:pt idx="0">
                  <c:v>0.151211727846229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910780019564792</c:v>
                </c:pt>
              </c:numCache>
            </c:numRef>
          </c:xVal>
          <c:yVal>
            <c:numRef>
              <c:f>Sheet1!$B$179:$B$180</c:f>
              <c:numCache>
                <c:formatCode>General</c:formatCode>
                <c:ptCount val="2"/>
                <c:pt idx="0">
                  <c:v>0.14581760592814075</c:v>
                </c:pt>
                <c:pt idx="1">
                  <c:v>0.145817605928140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910780019564792</c:v>
                </c:pt>
                <c:pt idx="1">
                  <c:v>0.4910780019564792</c:v>
                </c:pt>
              </c:numCache>
            </c:numRef>
          </c:xVal>
          <c:yVal>
            <c:numRef>
              <c:f>Sheet1!$B$183:$B$184</c:f>
              <c:numCache>
                <c:formatCode>General</c:formatCode>
                <c:ptCount val="2"/>
                <c:pt idx="0">
                  <c:v>0.145817605928140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823635644109765</c:v>
                </c:pt>
                <c:pt idx="1">
                  <c:v>0.6234423500562322</c:v>
                </c:pt>
                <c:pt idx="2">
                  <c:v>0.6092599736299348</c:v>
                </c:pt>
                <c:pt idx="3">
                  <c:v>0.5195210179205739</c:v>
                </c:pt>
                <c:pt idx="4">
                  <c:v>0.5850798903346193</c:v>
                </c:pt>
                <c:pt idx="5">
                  <c:v>0.5578047469513174</c:v>
                </c:pt>
                <c:pt idx="6">
                  <c:v>0.533721249900978</c:v>
                </c:pt>
                <c:pt idx="7">
                  <c:v>0.5255163535199388</c:v>
                </c:pt>
                <c:pt idx="8">
                  <c:v>0.5820564012303205</c:v>
                </c:pt>
                <c:pt idx="9">
                  <c:v>0.5735496555709095</c:v>
                </c:pt>
                <c:pt idx="10">
                  <c:v>0.5783124616954842</c:v>
                </c:pt>
                <c:pt idx="11">
                  <c:v>0.5581659970826447</c:v>
                </c:pt>
                <c:pt idx="12">
                  <c:v>0.5715189642367945</c:v>
                </c:pt>
                <c:pt idx="13">
                  <c:v>0.5188324963599085</c:v>
                </c:pt>
                <c:pt idx="14">
                  <c:v>0.5174765645705435</c:v>
                </c:pt>
                <c:pt idx="15">
                  <c:v>0.5193543849120728</c:v>
                </c:pt>
                <c:pt idx="16">
                  <c:v>0.5458274260340578</c:v>
                </c:pt>
                <c:pt idx="17">
                  <c:v>0.4098401870869408</c:v>
                </c:pt>
                <c:pt idx="18">
                  <c:v>0.4611442172925427</c:v>
                </c:pt>
                <c:pt idx="19">
                  <c:v>0.6045360719728243</c:v>
                </c:pt>
                <c:pt idx="20">
                  <c:v>0.5758203192942232</c:v>
                </c:pt>
                <c:pt idx="21">
                  <c:v>0.535690529009266</c:v>
                </c:pt>
                <c:pt idx="22">
                  <c:v>0.514183674826648</c:v>
                </c:pt>
                <c:pt idx="23">
                  <c:v>0.5199314429003322</c:v>
                </c:pt>
                <c:pt idx="24">
                  <c:v>0.502100519670406</c:v>
                </c:pt>
                <c:pt idx="25">
                  <c:v>0.5060968728880385</c:v>
                </c:pt>
                <c:pt idx="26">
                  <c:v>0.5028824211157832</c:v>
                </c:pt>
                <c:pt idx="27">
                  <c:v>0.5186694344094923</c:v>
                </c:pt>
                <c:pt idx="28">
                  <c:v>0.5147796906094698</c:v>
                </c:pt>
                <c:pt idx="29">
                  <c:v>0.4823428178841213</c:v>
                </c:pt>
                <c:pt idx="30">
                  <c:v>0.519971643579582</c:v>
                </c:pt>
                <c:pt idx="31">
                  <c:v>0.518188217805431</c:v>
                </c:pt>
                <c:pt idx="32">
                  <c:v>0.49744772402422804</c:v>
                </c:pt>
                <c:pt idx="33">
                  <c:v>0.5326403775069066</c:v>
                </c:pt>
                <c:pt idx="34">
                  <c:v>0.5671070292949387</c:v>
                </c:pt>
                <c:pt idx="35">
                  <c:v>0.5454488287921134</c:v>
                </c:pt>
                <c:pt idx="36">
                  <c:v>0.5076223463410292</c:v>
                </c:pt>
                <c:pt idx="37">
                  <c:v>0.5081151762063917</c:v>
                </c:pt>
                <c:pt idx="38">
                  <c:v>0.48865212425611404</c:v>
                </c:pt>
                <c:pt idx="39">
                  <c:v>0.5435119834947914</c:v>
                </c:pt>
                <c:pt idx="40">
                  <c:v>0.5633532559679021</c:v>
                </c:pt>
                <c:pt idx="41">
                  <c:v>0.571990591821686</c:v>
                </c:pt>
                <c:pt idx="42">
                  <c:v>0.5307432920603072</c:v>
                </c:pt>
                <c:pt idx="43">
                  <c:v>0.6238487718491091</c:v>
                </c:pt>
                <c:pt idx="44">
                  <c:v>0.6791596946531953</c:v>
                </c:pt>
                <c:pt idx="45">
                  <c:v>0.7113993867462924</c:v>
                </c:pt>
                <c:pt idx="46">
                  <c:v>0.643700009527305</c:v>
                </c:pt>
                <c:pt idx="47">
                  <c:v>0.627854410654231</c:v>
                </c:pt>
                <c:pt idx="48">
                  <c:v>0.6445664955631686</c:v>
                </c:pt>
                <c:pt idx="49">
                  <c:v>0.6539459487593352</c:v>
                </c:pt>
                <c:pt idx="50">
                  <c:v>0.7389192238640406</c:v>
                </c:pt>
                <c:pt idx="51">
                  <c:v>0.698323954955135</c:v>
                </c:pt>
                <c:pt idx="52">
                  <c:v>0.42151688816483335</c:v>
                </c:pt>
                <c:pt idx="53">
                  <c:v>0.42151688816483335</c:v>
                </c:pt>
                <c:pt idx="54">
                  <c:v>0.4910780019564792</c:v>
                </c:pt>
              </c:numCache>
            </c:numRef>
          </c:xVal>
          <c:yVal>
            <c:numRef>
              <c:f>Sheet1!$B$187:$B$241</c:f>
              <c:numCache>
                <c:formatCode>General</c:formatCode>
                <c:ptCount val="55"/>
                <c:pt idx="0">
                  <c:v>0.1387388599679235</c:v>
                </c:pt>
                <c:pt idx="1">
                  <c:v>0.13555340237618296</c:v>
                </c:pt>
                <c:pt idx="2">
                  <c:v>0.1366531758467575</c:v>
                </c:pt>
                <c:pt idx="3">
                  <c:v>0.14361199006799208</c:v>
                </c:pt>
                <c:pt idx="4">
                  <c:v>0.13852822226529443</c:v>
                </c:pt>
                <c:pt idx="5">
                  <c:v>0.14064327535635834</c:v>
                </c:pt>
                <c:pt idx="6">
                  <c:v>0.14251083198710127</c:v>
                </c:pt>
                <c:pt idx="7">
                  <c:v>0.14314708130790962</c:v>
                </c:pt>
                <c:pt idx="8">
                  <c:v>0.13876267896038774</c:v>
                </c:pt>
                <c:pt idx="9">
                  <c:v>0.13942233520669906</c:v>
                </c:pt>
                <c:pt idx="10">
                  <c:v>0.1390530030395183</c:v>
                </c:pt>
                <c:pt idx="11">
                  <c:v>0.14061526218714515</c:v>
                </c:pt>
                <c:pt idx="12">
                  <c:v>0.13957980532235925</c:v>
                </c:pt>
                <c:pt idx="13">
                  <c:v>0.14366538152535988</c:v>
                </c:pt>
                <c:pt idx="14">
                  <c:v>0.1437705273602347</c:v>
                </c:pt>
                <c:pt idx="15">
                  <c:v>0.14362491163745006</c:v>
                </c:pt>
                <c:pt idx="16">
                  <c:v>0.14157205762792008</c:v>
                </c:pt>
                <c:pt idx="17">
                  <c:v>0.15211719852923</c:v>
                </c:pt>
                <c:pt idx="18">
                  <c:v>0.14813882356175587</c:v>
                </c:pt>
                <c:pt idx="19">
                  <c:v>0.13701949116401707</c:v>
                </c:pt>
                <c:pt idx="20">
                  <c:v>0.13924625641366503</c:v>
                </c:pt>
                <c:pt idx="21">
                  <c:v>0.14235812408721532</c:v>
                </c:pt>
                <c:pt idx="22">
                  <c:v>0.14402587474864195</c:v>
                </c:pt>
                <c:pt idx="23">
                  <c:v>0.14358016363137585</c:v>
                </c:pt>
                <c:pt idx="24">
                  <c:v>0.144962863944404</c:v>
                </c:pt>
                <c:pt idx="25">
                  <c:v>0.14465296642683084</c:v>
                </c:pt>
                <c:pt idx="26">
                  <c:v>0.1449022313366955</c:v>
                </c:pt>
                <c:pt idx="27">
                  <c:v>0.14367802617684405</c:v>
                </c:pt>
                <c:pt idx="28">
                  <c:v>0.14397965665893056</c:v>
                </c:pt>
                <c:pt idx="29">
                  <c:v>0.1464949764487505</c:v>
                </c:pt>
                <c:pt idx="30">
                  <c:v>0.14357704626661205</c:v>
                </c:pt>
                <c:pt idx="31">
                  <c:v>0.1437153421554106</c:v>
                </c:pt>
                <c:pt idx="32">
                  <c:v>0.14532366534057786</c:v>
                </c:pt>
                <c:pt idx="33">
                  <c:v>0.14259464832001653</c:v>
                </c:pt>
                <c:pt idx="34">
                  <c:v>0.1399219291566947</c:v>
                </c:pt>
                <c:pt idx="35">
                  <c:v>0.14160141598016004</c:v>
                </c:pt>
                <c:pt idx="36">
                  <c:v>0.14453467347061272</c:v>
                </c:pt>
                <c:pt idx="37">
                  <c:v>0.14449645694080554</c:v>
                </c:pt>
                <c:pt idx="38">
                  <c:v>0.14600572080096086</c:v>
                </c:pt>
                <c:pt idx="39">
                  <c:v>0.14175160879768053</c:v>
                </c:pt>
                <c:pt idx="40">
                  <c:v>0.14021301579799766</c:v>
                </c:pt>
                <c:pt idx="41">
                  <c:v>0.13954323292502158</c:v>
                </c:pt>
                <c:pt idx="42">
                  <c:v>0.1427417579568553</c:v>
                </c:pt>
                <c:pt idx="43">
                  <c:v>0.13552188636700127</c:v>
                </c:pt>
                <c:pt idx="44">
                  <c:v>0.1312327966048554</c:v>
                </c:pt>
                <c:pt idx="45">
                  <c:v>0.12873276720232618</c:v>
                </c:pt>
                <c:pt idx="46">
                  <c:v>0.13398252061472377</c:v>
                </c:pt>
                <c:pt idx="47">
                  <c:v>0.1352112687978322</c:v>
                </c:pt>
                <c:pt idx="48">
                  <c:v>0.13391532888844165</c:v>
                </c:pt>
                <c:pt idx="49">
                  <c:v>0.13318799846908308</c:v>
                </c:pt>
                <c:pt idx="50">
                  <c:v>0.12659873931680815</c:v>
                </c:pt>
                <c:pt idx="51">
                  <c:v>0.12974670256604692</c:v>
                </c:pt>
                <c:pt idx="52">
                  <c:v>0.15121172784622908</c:v>
                </c:pt>
                <c:pt idx="53">
                  <c:v>0.15121172784622908</c:v>
                </c:pt>
                <c:pt idx="54">
                  <c:v>0.145817605928140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68582375478927"/>
          <c:min val="0.0621004566210045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3.5586</c:v>
                </c:pt>
                <c:pt idx="1">
                  <c:v>821.245</c:v>
                </c:pt>
                <c:pt idx="2">
                  <c:v>847.1704</c:v>
                </c:pt>
                <c:pt idx="3">
                  <c:v>866.1946</c:v>
                </c:pt>
                <c:pt idx="4">
                  <c:v>891.386</c:v>
                </c:pt>
                <c:pt idx="5">
                  <c:v>913.7288</c:v>
                </c:pt>
                <c:pt idx="6">
                  <c:v>884.5523</c:v>
                </c:pt>
                <c:pt idx="7">
                  <c:v>894.1734</c:v>
                </c:pt>
                <c:pt idx="8">
                  <c:v>878.1069</c:v>
                </c:pt>
                <c:pt idx="9">
                  <c:v>857.9879</c:v>
                </c:pt>
                <c:pt idx="10">
                  <c:v>863.9804</c:v>
                </c:pt>
                <c:pt idx="11">
                  <c:v>887.1862</c:v>
                </c:pt>
                <c:pt idx="12">
                  <c:v>893.1224</c:v>
                </c:pt>
                <c:pt idx="13">
                  <c:v>891.4047</c:v>
                </c:pt>
                <c:pt idx="14">
                  <c:v>885.8812</c:v>
                </c:pt>
                <c:pt idx="15">
                  <c:v>881.7763</c:v>
                </c:pt>
                <c:pt idx="16">
                  <c:v>894.1184</c:v>
                </c:pt>
                <c:pt idx="17">
                  <c:v>918.875</c:v>
                </c:pt>
                <c:pt idx="18">
                  <c:v>929.25</c:v>
                </c:pt>
                <c:pt idx="19">
                  <c:v>941.837</c:v>
                </c:pt>
                <c:pt idx="20">
                  <c:v>970.6373</c:v>
                </c:pt>
                <c:pt idx="21">
                  <c:v>975.211</c:v>
                </c:pt>
                <c:pt idx="22">
                  <c:v>972.4757</c:v>
                </c:pt>
                <c:pt idx="23">
                  <c:v>982.9593</c:v>
                </c:pt>
                <c:pt idx="24">
                  <c:v>956.5283</c:v>
                </c:pt>
                <c:pt idx="25">
                  <c:v>975.619</c:v>
                </c:pt>
                <c:pt idx="26">
                  <c:v>943.2733</c:v>
                </c:pt>
                <c:pt idx="27">
                  <c:v>987.9265</c:v>
                </c:pt>
                <c:pt idx="28">
                  <c:v>990.2679</c:v>
                </c:pt>
                <c:pt idx="29">
                  <c:v>949.6545</c:v>
                </c:pt>
                <c:pt idx="30">
                  <c:v>954.8261</c:v>
                </c:pt>
                <c:pt idx="31">
                  <c:v>919.0331</c:v>
                </c:pt>
                <c:pt idx="32">
                  <c:v>939.892</c:v>
                </c:pt>
                <c:pt idx="33">
                  <c:v>955.8</c:v>
                </c:pt>
                <c:pt idx="34">
                  <c:v>903.6473</c:v>
                </c:pt>
                <c:pt idx="35">
                  <c:v>927.9816</c:v>
                </c:pt>
                <c:pt idx="36">
                  <c:v>987.8889</c:v>
                </c:pt>
                <c:pt idx="37">
                  <c:v>1018.3269</c:v>
                </c:pt>
                <c:pt idx="38">
                  <c:v>1055.3495</c:v>
                </c:pt>
                <c:pt idx="39">
                  <c:v>1036.8865</c:v>
                </c:pt>
                <c:pt idx="40">
                  <c:v>1033.4857</c:v>
                </c:pt>
                <c:pt idx="41">
                  <c:v>1109.8775</c:v>
                </c:pt>
                <c:pt idx="42">
                  <c:v>1124.9749</c:v>
                </c:pt>
                <c:pt idx="43">
                  <c:v>1107.1016</c:v>
                </c:pt>
                <c:pt idx="44">
                  <c:v>1083.4803</c:v>
                </c:pt>
                <c:pt idx="45">
                  <c:v>1076.0374</c:v>
                </c:pt>
                <c:pt idx="46">
                  <c:v>1056.7022</c:v>
                </c:pt>
                <c:pt idx="47">
                  <c:v>1057.8837</c:v>
                </c:pt>
                <c:pt idx="48">
                  <c:v>1046.4761</c:v>
                </c:pt>
                <c:pt idx="49">
                  <c:v>1032.386</c:v>
                </c:pt>
                <c:pt idx="50">
                  <c:v>1009.267</c:v>
                </c:pt>
                <c:pt idx="51">
                  <c:v>1010.4179</c:v>
                </c:pt>
                <c:pt idx="52">
                  <c:v>1004.8908</c:v>
                </c:pt>
                <c:pt idx="53">
                  <c:v>1071.1871</c:v>
                </c:pt>
                <c:pt idx="54">
                  <c:v>1056.5643</c:v>
                </c:pt>
                <c:pt idx="55">
                  <c:v>1039.17</c:v>
                </c:pt>
                <c:pt idx="56">
                  <c:v>1058.684</c:v>
                </c:pt>
                <c:pt idx="57">
                  <c:v>1044.3784</c:v>
                </c:pt>
                <c:pt idx="58">
                  <c:v>1052.7248</c:v>
                </c:pt>
                <c:pt idx="59">
                  <c:v>1031.6849</c:v>
                </c:pt>
                <c:pt idx="60">
                  <c:v>1023.6667</c:v>
                </c:pt>
                <c:pt idx="61">
                  <c:v>992.3647</c:v>
                </c:pt>
                <c:pt idx="62">
                  <c:v>971.3569</c:v>
                </c:pt>
                <c:pt idx="63">
                  <c:v>1002.3039</c:v>
                </c:pt>
                <c:pt idx="64">
                  <c:v>986.607</c:v>
                </c:pt>
                <c:pt idx="65">
                  <c:v>1000.7432</c:v>
                </c:pt>
                <c:pt idx="66">
                  <c:v>1012.5426</c:v>
                </c:pt>
                <c:pt idx="67">
                  <c:v>1027.2537</c:v>
                </c:pt>
                <c:pt idx="68">
                  <c:v>1074.8824</c:v>
                </c:pt>
                <c:pt idx="69">
                  <c:v>1090.255</c:v>
                </c:pt>
                <c:pt idx="70">
                  <c:v>1026.9264</c:v>
                </c:pt>
                <c:pt idx="71">
                  <c:v>1032.5375</c:v>
                </c:pt>
                <c:pt idx="72">
                  <c:v>1205.0933</c:v>
                </c:pt>
                <c:pt idx="73">
                  <c:v>1104.0506</c:v>
                </c:pt>
                <c:pt idx="74">
                  <c:v>1080.2424</c:v>
                </c:pt>
                <c:pt idx="75">
                  <c:v>1080.6934</c:v>
                </c:pt>
                <c:pt idx="76">
                  <c:v>1044.7754</c:v>
                </c:pt>
                <c:pt idx="77">
                  <c:v>1030.8599</c:v>
                </c:pt>
                <c:pt idx="78">
                  <c:v>1061.8554</c:v>
                </c:pt>
                <c:pt idx="79">
                  <c:v>1030.6187</c:v>
                </c:pt>
                <c:pt idx="80">
                  <c:v>1076.1278</c:v>
                </c:pt>
                <c:pt idx="81">
                  <c:v>1163.6577</c:v>
                </c:pt>
                <c:pt idx="82">
                  <c:v>1122.8209</c:v>
                </c:pt>
                <c:pt idx="83">
                  <c:v>1031.1985</c:v>
                </c:pt>
                <c:pt idx="84">
                  <c:v>1099.3881</c:v>
                </c:pt>
                <c:pt idx="85">
                  <c:v>1127.0313</c:v>
                </c:pt>
                <c:pt idx="86">
                  <c:v>1091.2629</c:v>
                </c:pt>
                <c:pt idx="87">
                  <c:v>1126.8711</c:v>
                </c:pt>
                <c:pt idx="88">
                  <c:v>1177.395</c:v>
                </c:pt>
                <c:pt idx="89">
                  <c:v>1139.4898</c:v>
                </c:pt>
                <c:pt idx="90">
                  <c:v>1241.6689</c:v>
                </c:pt>
                <c:pt idx="91">
                  <c:v>1218.7481</c:v>
                </c:pt>
                <c:pt idx="92">
                  <c:v>1126.9895</c:v>
                </c:pt>
                <c:pt idx="93">
                  <c:v>1195.2378</c:v>
                </c:pt>
                <c:pt idx="94">
                  <c:v>1235.2251</c:v>
                </c:pt>
                <c:pt idx="95">
                  <c:v>1193.7</c:v>
                </c:pt>
                <c:pt idx="96">
                  <c:v>1150.3404</c:v>
                </c:pt>
                <c:pt idx="97">
                  <c:v>1164.1135</c:v>
                </c:pt>
                <c:pt idx="98">
                  <c:v>1153.8243</c:v>
                </c:pt>
                <c:pt idx="99">
                  <c:v>1130.9148</c:v>
                </c:pt>
                <c:pt idx="100">
                  <c:v>1137.6184</c:v>
                </c:pt>
                <c:pt idx="101">
                  <c:v>1138.4708</c:v>
                </c:pt>
                <c:pt idx="102">
                  <c:v>1127.8429</c:v>
                </c:pt>
                <c:pt idx="103">
                  <c:v>1081.1681</c:v>
                </c:pt>
                <c:pt idx="104">
                  <c:v>1088.2194</c:v>
                </c:pt>
              </c:numCache>
            </c:numRef>
          </c:xVal>
          <c:yVal>
            <c:numRef>
              <c:f>Sheet1!$B$2:$B$106</c:f>
              <c:numCache>
                <c:formatCode>General</c:formatCode>
                <c:ptCount val="105"/>
                <c:pt idx="0">
                  <c:v>0.1661676646706587</c:v>
                </c:pt>
                <c:pt idx="1">
                  <c:v>0.12525150905432594</c:v>
                </c:pt>
                <c:pt idx="2">
                  <c:v>0.1220614828209765</c:v>
                </c:pt>
                <c:pt idx="3">
                  <c:v>0.10650602409638554</c:v>
                </c:pt>
                <c:pt idx="4">
                  <c:v>0.11140065146579804</c:v>
                </c:pt>
                <c:pt idx="5">
                  <c:v>0.11270296084049666</c:v>
                </c:pt>
                <c:pt idx="6">
                  <c:v>0.1344800625488663</c:v>
                </c:pt>
                <c:pt idx="7">
                  <c:v>0.15974145891043398</c:v>
                </c:pt>
                <c:pt idx="8">
                  <c:v>0.14613970588235295</c:v>
                </c:pt>
                <c:pt idx="9">
                  <c:v>0.15057680631451123</c:v>
                </c:pt>
                <c:pt idx="10">
                  <c:v>0.15070921985815602</c:v>
                </c:pt>
                <c:pt idx="11">
                  <c:v>0.13387533875338753</c:v>
                </c:pt>
                <c:pt idx="12">
                  <c:v>0.114646700982686</c:v>
                </c:pt>
                <c:pt idx="13">
                  <c:v>0.10498046875</c:v>
                </c:pt>
                <c:pt idx="14">
                  <c:v>0.09107303877366997</c:v>
                </c:pt>
                <c:pt idx="15">
                  <c:v>0.08616780045351474</c:v>
                </c:pt>
                <c:pt idx="16">
                  <c:v>0.08710601719197708</c:v>
                </c:pt>
                <c:pt idx="17">
                  <c:v>0.08405438813349815</c:v>
                </c:pt>
                <c:pt idx="18">
                  <c:v>0.08608321377331421</c:v>
                </c:pt>
                <c:pt idx="19">
                  <c:v>0.07829787234042553</c:v>
                </c:pt>
                <c:pt idx="20">
                  <c:v>0.0776255707762557</c:v>
                </c:pt>
                <c:pt idx="21">
                  <c:v>0.09420916162489196</c:v>
                </c:pt>
                <c:pt idx="22">
                  <c:v>0.08273092369477912</c:v>
                </c:pt>
                <c:pt idx="23">
                  <c:v>0.10267111853088481</c:v>
                </c:pt>
                <c:pt idx="24">
                  <c:v>0.0913006029285099</c:v>
                </c:pt>
                <c:pt idx="25">
                  <c:v>0.1025390625</c:v>
                </c:pt>
                <c:pt idx="26">
                  <c:v>0.12776831345826234</c:v>
                </c:pt>
                <c:pt idx="27">
                  <c:v>0.1223021582733813</c:v>
                </c:pt>
                <c:pt idx="28">
                  <c:v>0.14608695652173914</c:v>
                </c:pt>
                <c:pt idx="29">
                  <c:v>0.12663085188027629</c:v>
                </c:pt>
                <c:pt idx="30">
                  <c:v>0.13218390804597702</c:v>
                </c:pt>
                <c:pt idx="31">
                  <c:v>0.1391705069124424</c:v>
                </c:pt>
                <c:pt idx="32">
                  <c:v>0.1514629948364888</c:v>
                </c:pt>
                <c:pt idx="33">
                  <c:v>0.13315579227696406</c:v>
                </c:pt>
                <c:pt idx="34">
                  <c:v>0.13852813852813853</c:v>
                </c:pt>
                <c:pt idx="35">
                  <c:v>0.14928649835345773</c:v>
                </c:pt>
                <c:pt idx="36">
                  <c:v>0.1322140608604407</c:v>
                </c:pt>
                <c:pt idx="37">
                  <c:v>0.13480233311730394</c:v>
                </c:pt>
                <c:pt idx="38">
                  <c:v>0.11252268602540835</c:v>
                </c:pt>
                <c:pt idx="39">
                  <c:v>0.10314557425018288</c:v>
                </c:pt>
                <c:pt idx="40">
                  <c:v>0.10723039215686274</c:v>
                </c:pt>
                <c:pt idx="41">
                  <c:v>0.13144329896907217</c:v>
                </c:pt>
                <c:pt idx="42">
                  <c:v>0.11167227833894501</c:v>
                </c:pt>
                <c:pt idx="43">
                  <c:v>0.09038182696955051</c:v>
                </c:pt>
                <c:pt idx="44">
                  <c:v>0.08155270655270655</c:v>
                </c:pt>
                <c:pt idx="45">
                  <c:v>0.12022471910112359</c:v>
                </c:pt>
                <c:pt idx="46">
                  <c:v>0.1245626312106368</c:v>
                </c:pt>
                <c:pt idx="47">
                  <c:v>0.1160985487681404</c:v>
                </c:pt>
                <c:pt idx="48">
                  <c:v>0.10499880411384836</c:v>
                </c:pt>
                <c:pt idx="49">
                  <c:v>0.10967522530181942</c:v>
                </c:pt>
                <c:pt idx="50">
                  <c:v>0.12096242584047462</c:v>
                </c:pt>
                <c:pt idx="51">
                  <c:v>0.11814345991561181</c:v>
                </c:pt>
                <c:pt idx="52">
                  <c:v>0.11442385173247381</c:v>
                </c:pt>
                <c:pt idx="53">
                  <c:v>0.11356209150326797</c:v>
                </c:pt>
                <c:pt idx="54">
                  <c:v>0.11235431235431236</c:v>
                </c:pt>
                <c:pt idx="55">
                  <c:v>0.11889097744360902</c:v>
                </c:pt>
                <c:pt idx="56">
                  <c:v>0.12215758857747223</c:v>
                </c:pt>
                <c:pt idx="57">
                  <c:v>0.10919822921790458</c:v>
                </c:pt>
                <c:pt idx="58">
                  <c:v>0.11266149870801033</c:v>
                </c:pt>
                <c:pt idx="59">
                  <c:v>0.09096573208722741</c:v>
                </c:pt>
                <c:pt idx="60">
                  <c:v>0.10681114551083591</c:v>
                </c:pt>
                <c:pt idx="61">
                  <c:v>0.12600663192799622</c:v>
                </c:pt>
                <c:pt idx="62">
                  <c:v>0.1251840942562592</c:v>
                </c:pt>
                <c:pt idx="63">
                  <c:v>0.1182615963226076</c:v>
                </c:pt>
                <c:pt idx="64">
                  <c:v>0.12775510204081633</c:v>
                </c:pt>
                <c:pt idx="65">
                  <c:v>0.12617220801364024</c:v>
                </c:pt>
                <c:pt idx="66">
                  <c:v>0.12244897959183673</c:v>
                </c:pt>
                <c:pt idx="67">
                  <c:v>0.11530309453158118</c:v>
                </c:pt>
                <c:pt idx="68">
                  <c:v>0.09622641509433963</c:v>
                </c:pt>
                <c:pt idx="69">
                  <c:v>0.09867549668874172</c:v>
                </c:pt>
                <c:pt idx="70">
                  <c:v>0.09588235294117647</c:v>
                </c:pt>
                <c:pt idx="71">
                  <c:v>0.10217113665389528</c:v>
                </c:pt>
                <c:pt idx="72">
                  <c:v>0.08756567425569177</c:v>
                </c:pt>
                <c:pt idx="73">
                  <c:v>0.10089399744572158</c:v>
                </c:pt>
                <c:pt idx="74">
                  <c:v>0.0840764331210191</c:v>
                </c:pt>
                <c:pt idx="75">
                  <c:v>0.09827833572453372</c:v>
                </c:pt>
                <c:pt idx="76">
                  <c:v>0.12214239059438275</c:v>
                </c:pt>
                <c:pt idx="77">
                  <c:v>0.11681547619047619</c:v>
                </c:pt>
                <c:pt idx="78">
                  <c:v>0.12918287937743192</c:v>
                </c:pt>
                <c:pt idx="79">
                  <c:v>0.11346938775510204</c:v>
                </c:pt>
                <c:pt idx="80">
                  <c:v>0.10777957860615883</c:v>
                </c:pt>
                <c:pt idx="81">
                  <c:v>0.10149863760217984</c:v>
                </c:pt>
                <c:pt idx="82">
                  <c:v>0.10728582866293035</c:v>
                </c:pt>
                <c:pt idx="83">
                  <c:v>0.1099434114793856</c:v>
                </c:pt>
                <c:pt idx="84">
                  <c:v>0.11194653299916457</c:v>
                </c:pt>
                <c:pt idx="85">
                  <c:v>0.10174880763116058</c:v>
                </c:pt>
                <c:pt idx="86">
                  <c:v>0.11690450054884742</c:v>
                </c:pt>
                <c:pt idx="87">
                  <c:v>0.12472283813747229</c:v>
                </c:pt>
                <c:pt idx="88">
                  <c:v>0.11702750146284377</c:v>
                </c:pt>
                <c:pt idx="89">
                  <c:v>0.12777053455019557</c:v>
                </c:pt>
                <c:pt idx="90">
                  <c:v>0.10842490842490843</c:v>
                </c:pt>
                <c:pt idx="91">
                  <c:v>0.0962223806129722</c:v>
                </c:pt>
                <c:pt idx="92">
                  <c:v>0.11130638547158758</c:v>
                </c:pt>
                <c:pt idx="93">
                  <c:v>0.09618768328445748</c:v>
                </c:pt>
                <c:pt idx="94">
                  <c:v>0.11034084344309647</c:v>
                </c:pt>
                <c:pt idx="95">
                  <c:v>0.11661807580174927</c:v>
                </c:pt>
                <c:pt idx="96">
                  <c:v>0.09644670050761421</c:v>
                </c:pt>
                <c:pt idx="97">
                  <c:v>0.08952380952380952</c:v>
                </c:pt>
                <c:pt idx="98">
                  <c:v>0.09069834830483918</c:v>
                </c:pt>
                <c:pt idx="99">
                  <c:v>0.09437386569872959</c:v>
                </c:pt>
                <c:pt idx="100">
                  <c:v>0.09641873278236915</c:v>
                </c:pt>
                <c:pt idx="101">
                  <c:v>0.10426540284360189</c:v>
                </c:pt>
                <c:pt idx="102">
                  <c:v>0.10600706713780919</c:v>
                </c:pt>
                <c:pt idx="103">
                  <c:v>0.10221619176843058</c:v>
                </c:pt>
                <c:pt idx="104">
                  <c:v>0.105263157894736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0.5696</c:v>
                </c:pt>
                <c:pt idx="1">
                  <c:v>1142.951</c:v>
                </c:pt>
                <c:pt idx="2">
                  <c:v>1141.2564</c:v>
                </c:pt>
                <c:pt idx="3">
                  <c:v>1086.7962</c:v>
                </c:pt>
                <c:pt idx="4">
                  <c:v>1131.8601</c:v>
                </c:pt>
                <c:pt idx="5">
                  <c:v>1123.1861</c:v>
                </c:pt>
                <c:pt idx="6">
                  <c:v>1102.9126</c:v>
                </c:pt>
                <c:pt idx="7">
                  <c:v>1166.8017</c:v>
                </c:pt>
                <c:pt idx="8">
                  <c:v>1163.6581</c:v>
                </c:pt>
                <c:pt idx="9">
                  <c:v>1109.2436</c:v>
                </c:pt>
                <c:pt idx="10">
                  <c:v>1148.1848</c:v>
                </c:pt>
                <c:pt idx="11">
                  <c:v>1043.0712</c:v>
                </c:pt>
                <c:pt idx="12">
                  <c:v>1020.7411</c:v>
                </c:pt>
                <c:pt idx="13">
                  <c:v>1047.6162</c:v>
                </c:pt>
                <c:pt idx="14">
                  <c:v>1040.8905</c:v>
                </c:pt>
                <c:pt idx="15">
                  <c:v>1060.6584</c:v>
                </c:pt>
                <c:pt idx="16">
                  <c:v>1118.5261</c:v>
                </c:pt>
                <c:pt idx="17">
                  <c:v>842.6254</c:v>
                </c:pt>
                <c:pt idx="18">
                  <c:v>954.1535</c:v>
                </c:pt>
                <c:pt idx="19">
                  <c:v>1270.0387</c:v>
                </c:pt>
                <c:pt idx="20">
                  <c:v>1245.1181</c:v>
                </c:pt>
                <c:pt idx="21">
                  <c:v>1188.5752</c:v>
                </c:pt>
                <c:pt idx="22">
                  <c:v>1155.8468</c:v>
                </c:pt>
                <c:pt idx="23">
                  <c:v>1202.6881</c:v>
                </c:pt>
                <c:pt idx="24">
                  <c:v>1203.6316</c:v>
                </c:pt>
                <c:pt idx="25">
                  <c:v>1173.6803</c:v>
                </c:pt>
                <c:pt idx="26">
                  <c:v>1082.8973</c:v>
                </c:pt>
                <c:pt idx="27">
                  <c:v>1117.8165</c:v>
                </c:pt>
                <c:pt idx="28">
                  <c:v>1152.7092</c:v>
                </c:pt>
                <c:pt idx="29">
                  <c:v>1159.6118</c:v>
                </c:pt>
                <c:pt idx="30">
                  <c:v>1216.1831</c:v>
                </c:pt>
                <c:pt idx="31">
                  <c:v>1212.7348</c:v>
                </c:pt>
                <c:pt idx="32">
                  <c:v>1222.3378</c:v>
                </c:pt>
                <c:pt idx="33">
                  <c:v>1210.8592</c:v>
                </c:pt>
                <c:pt idx="34">
                  <c:v>1202.4359</c:v>
                </c:pt>
                <c:pt idx="35">
                  <c:v>1226.5018</c:v>
                </c:pt>
                <c:pt idx="36">
                  <c:v>1245.5562</c:v>
                </c:pt>
                <c:pt idx="37">
                  <c:v>1248.9563</c:v>
                </c:pt>
                <c:pt idx="38">
                  <c:v>1277.3906</c:v>
                </c:pt>
                <c:pt idx="39">
                  <c:v>1240.5286</c:v>
                </c:pt>
                <c:pt idx="40">
                  <c:v>1240.6931</c:v>
                </c:pt>
                <c:pt idx="41">
                  <c:v>1233.2827</c:v>
                </c:pt>
                <c:pt idx="42">
                  <c:v>1193.3583</c:v>
                </c:pt>
                <c:pt idx="43">
                  <c:v>1253.4518</c:v>
                </c:pt>
                <c:pt idx="44">
                  <c:v>1209.0081</c:v>
                </c:pt>
                <c:pt idx="45">
                  <c:v>1171.2005</c:v>
                </c:pt>
                <c:pt idx="46">
                  <c:v>1125.6113</c:v>
                </c:pt>
                <c:pt idx="47">
                  <c:v>1099.1068</c:v>
                </c:pt>
                <c:pt idx="48">
                  <c:v>1078.2989</c:v>
                </c:pt>
                <c:pt idx="49">
                  <c:v>1093.0991</c:v>
                </c:pt>
                <c:pt idx="50">
                  <c:v>1134.545</c:v>
                </c:pt>
                <c:pt idx="51">
                  <c:v>1111.4802</c:v>
                </c:pt>
              </c:numCache>
            </c:numRef>
          </c:xVal>
          <c:yVal>
            <c:numRef>
              <c:f>Sheet1!$B$109:$B$160</c:f>
              <c:numCache>
                <c:formatCode>General</c:formatCode>
                <c:ptCount val="52"/>
                <c:pt idx="0">
                  <c:v>0.10574712643678161</c:v>
                </c:pt>
                <c:pt idx="1">
                  <c:v>0.09980430528375733</c:v>
                </c:pt>
                <c:pt idx="2">
                  <c:v>0.12420382165605096</c:v>
                </c:pt>
                <c:pt idx="3">
                  <c:v>0.13851891315929676</c:v>
                </c:pt>
                <c:pt idx="4">
                  <c:v>0.11958661417322834</c:v>
                </c:pt>
                <c:pt idx="5">
                  <c:v>0.13050847457627118</c:v>
                </c:pt>
                <c:pt idx="6">
                  <c:v>0.13994565217391305</c:v>
                </c:pt>
                <c:pt idx="7">
                  <c:v>0.12989921612541994</c:v>
                </c:pt>
                <c:pt idx="8">
                  <c:v>0.12715340442986053</c:v>
                </c:pt>
                <c:pt idx="9">
                  <c:v>0.12351543942992874</c:v>
                </c:pt>
                <c:pt idx="10">
                  <c:v>0.14047936085219706</c:v>
                </c:pt>
                <c:pt idx="11">
                  <c:v>0.13045496750232127</c:v>
                </c:pt>
                <c:pt idx="12">
                  <c:v>0.14365411436541142</c:v>
                </c:pt>
                <c:pt idx="13">
                  <c:v>0.1440349175557711</c:v>
                </c:pt>
                <c:pt idx="14">
                  <c:v>0.15388798259923872</c:v>
                </c:pt>
                <c:pt idx="15">
                  <c:v>0.1407815631262525</c:v>
                </c:pt>
                <c:pt idx="16">
                  <c:v>0.13621691413815365</c:v>
                </c:pt>
                <c:pt idx="17">
                  <c:v>0.18071519795657726</c:v>
                </c:pt>
                <c:pt idx="18">
                  <c:v>0.15930599369085174</c:v>
                </c:pt>
                <c:pt idx="19">
                  <c:v>0.11931443638760712</c:v>
                </c:pt>
                <c:pt idx="20">
                  <c:v>0.10714285714285714</c:v>
                </c:pt>
                <c:pt idx="21">
                  <c:v>0.12046908315565032</c:v>
                </c:pt>
                <c:pt idx="22">
                  <c:v>0.1415525114155251</c:v>
                </c:pt>
                <c:pt idx="23">
                  <c:v>0.1357409713574097</c:v>
                </c:pt>
                <c:pt idx="24">
                  <c:v>0.14091470951792337</c:v>
                </c:pt>
                <c:pt idx="25">
                  <c:v>0.15365239294710328</c:v>
                </c:pt>
                <c:pt idx="26">
                  <c:v>0.14092664092664092</c:v>
                </c:pt>
                <c:pt idx="27">
                  <c:v>0.13504273504273503</c:v>
                </c:pt>
                <c:pt idx="28">
                  <c:v>0.12103004291845494</c:v>
                </c:pt>
                <c:pt idx="29">
                  <c:v>0.14326107445805844</c:v>
                </c:pt>
                <c:pt idx="30">
                  <c:v>0.1347248576850095</c:v>
                </c:pt>
                <c:pt idx="31">
                  <c:v>0.13226452905811623</c:v>
                </c:pt>
                <c:pt idx="32">
                  <c:v>0.14396887159533073</c:v>
                </c:pt>
                <c:pt idx="33">
                  <c:v>0.15860014892032762</c:v>
                </c:pt>
                <c:pt idx="34">
                  <c:v>0.16666666666666666</c:v>
                </c:pt>
                <c:pt idx="35">
                  <c:v>0.17624763108022742</c:v>
                </c:pt>
                <c:pt idx="36">
                  <c:v>0.15633672525439407</c:v>
                </c:pt>
                <c:pt idx="37">
                  <c:v>0.16680161943319838</c:v>
                </c:pt>
                <c:pt idx="38">
                  <c:v>0.15005861664712777</c:v>
                </c:pt>
                <c:pt idx="39">
                  <c:v>0.15706806282722513</c:v>
                </c:pt>
                <c:pt idx="40">
                  <c:v>0.15153788447111777</c:v>
                </c:pt>
                <c:pt idx="41">
                  <c:v>0.14794007490636704</c:v>
                </c:pt>
                <c:pt idx="42">
                  <c:v>0.1449612403100775</c:v>
                </c:pt>
                <c:pt idx="43">
                  <c:v>0.1345926800472255</c:v>
                </c:pt>
                <c:pt idx="44">
                  <c:v>0.12048780487804878</c:v>
                </c:pt>
                <c:pt idx="45">
                  <c:v>0.1409445890665675</c:v>
                </c:pt>
                <c:pt idx="46">
                  <c:v>0.16412390198797966</c:v>
                </c:pt>
                <c:pt idx="47">
                  <c:v>0.15465163109142166</c:v>
                </c:pt>
                <c:pt idx="48">
                  <c:v>0.14845024469820556</c:v>
                </c:pt>
                <c:pt idx="49">
                  <c:v>0.1670428893905192</c:v>
                </c:pt>
                <c:pt idx="50">
                  <c:v>0.13571260859356657</c:v>
                </c:pt>
                <c:pt idx="51">
                  <c:v>0.12811526479750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7.4319743287284</c:v>
                </c:pt>
              </c:numCache>
            </c:numRef>
          </c:xVal>
          <c:yVal>
            <c:numRef>
              <c:f>Sheet1!$B$163:$B$164</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7.4319743287284</c:v>
                </c:pt>
                <c:pt idx="1">
                  <c:v>767.4319743287284</c:v>
                </c:pt>
              </c:numCache>
            </c:numRef>
          </c:xVal>
          <c:yVal>
            <c:numRef>
              <c:f>Sheet1!$B$167:$B$168</c:f>
              <c:numCache>
                <c:formatCode>General</c:formatCode>
                <c:ptCount val="2"/>
                <c:pt idx="0">
                  <c:v>0.151211727846229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67.4319743287284</c:v>
                </c:pt>
              </c:numCache>
            </c:numRef>
          </c:xVal>
          <c:yVal>
            <c:numRef>
              <c:f>Sheet1!$B$171:$B$172</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67.4319743287284</c:v>
                </c:pt>
                <c:pt idx="1">
                  <c:v>767.4319743287284</c:v>
                </c:pt>
              </c:numCache>
            </c:numRef>
          </c:xVal>
          <c:yVal>
            <c:numRef>
              <c:f>Sheet1!$B$175:$B$176</c:f>
              <c:numCache>
                <c:formatCode>General</c:formatCode>
                <c:ptCount val="2"/>
                <c:pt idx="0">
                  <c:v>0.151211727846229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60.1165130912881</c:v>
                </c:pt>
              </c:numCache>
            </c:numRef>
          </c:xVal>
          <c:yVal>
            <c:numRef>
              <c:f>Sheet1!$B$179:$B$180</c:f>
              <c:numCache>
                <c:formatCode>General</c:formatCode>
                <c:ptCount val="2"/>
                <c:pt idx="0">
                  <c:v>0.14581760592814075</c:v>
                </c:pt>
                <c:pt idx="1">
                  <c:v>0.145817605928140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60.1165130912881</c:v>
                </c:pt>
                <c:pt idx="1">
                  <c:v>960.1165130912881</c:v>
                </c:pt>
              </c:numCache>
            </c:numRef>
          </c:xVal>
          <c:yVal>
            <c:numRef>
              <c:f>Sheet1!$B$183:$B$184</c:f>
              <c:numCache>
                <c:formatCode>General</c:formatCode>
                <c:ptCount val="2"/>
                <c:pt idx="0">
                  <c:v>0.145817605928140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0.5696</c:v>
                </c:pt>
                <c:pt idx="1">
                  <c:v>1142.951</c:v>
                </c:pt>
                <c:pt idx="2">
                  <c:v>1141.2564</c:v>
                </c:pt>
                <c:pt idx="3">
                  <c:v>1086.7962</c:v>
                </c:pt>
                <c:pt idx="4">
                  <c:v>1131.8601</c:v>
                </c:pt>
                <c:pt idx="5">
                  <c:v>1123.1861</c:v>
                </c:pt>
                <c:pt idx="6">
                  <c:v>1102.9126</c:v>
                </c:pt>
                <c:pt idx="7">
                  <c:v>1166.8017</c:v>
                </c:pt>
                <c:pt idx="8">
                  <c:v>1163.6581</c:v>
                </c:pt>
                <c:pt idx="9">
                  <c:v>1109.2436</c:v>
                </c:pt>
                <c:pt idx="10">
                  <c:v>1148.1848</c:v>
                </c:pt>
                <c:pt idx="11">
                  <c:v>1043.0712</c:v>
                </c:pt>
                <c:pt idx="12">
                  <c:v>1020.7411</c:v>
                </c:pt>
                <c:pt idx="13">
                  <c:v>1047.6162</c:v>
                </c:pt>
                <c:pt idx="14">
                  <c:v>1040.8905</c:v>
                </c:pt>
                <c:pt idx="15">
                  <c:v>1060.6584</c:v>
                </c:pt>
                <c:pt idx="16">
                  <c:v>1118.5261</c:v>
                </c:pt>
                <c:pt idx="17">
                  <c:v>842.6254</c:v>
                </c:pt>
                <c:pt idx="18">
                  <c:v>954.1535</c:v>
                </c:pt>
                <c:pt idx="19">
                  <c:v>1270.0387</c:v>
                </c:pt>
                <c:pt idx="20">
                  <c:v>1245.1181</c:v>
                </c:pt>
                <c:pt idx="21">
                  <c:v>1188.5752</c:v>
                </c:pt>
                <c:pt idx="22">
                  <c:v>1155.8468</c:v>
                </c:pt>
                <c:pt idx="23">
                  <c:v>1202.6881</c:v>
                </c:pt>
                <c:pt idx="24">
                  <c:v>1203.6316</c:v>
                </c:pt>
                <c:pt idx="25">
                  <c:v>1173.6803</c:v>
                </c:pt>
                <c:pt idx="26">
                  <c:v>1082.8973</c:v>
                </c:pt>
                <c:pt idx="27">
                  <c:v>1117.8165</c:v>
                </c:pt>
                <c:pt idx="28">
                  <c:v>1152.7092</c:v>
                </c:pt>
                <c:pt idx="29">
                  <c:v>1159.6118</c:v>
                </c:pt>
                <c:pt idx="30">
                  <c:v>1216.1831</c:v>
                </c:pt>
                <c:pt idx="31">
                  <c:v>1212.7348</c:v>
                </c:pt>
                <c:pt idx="32">
                  <c:v>1222.3378</c:v>
                </c:pt>
                <c:pt idx="33">
                  <c:v>1210.8592</c:v>
                </c:pt>
                <c:pt idx="34">
                  <c:v>1202.4359</c:v>
                </c:pt>
                <c:pt idx="35">
                  <c:v>1226.5018</c:v>
                </c:pt>
                <c:pt idx="36">
                  <c:v>1245.5562</c:v>
                </c:pt>
                <c:pt idx="37">
                  <c:v>1248.9563</c:v>
                </c:pt>
                <c:pt idx="38">
                  <c:v>1277.3906</c:v>
                </c:pt>
                <c:pt idx="39">
                  <c:v>1240.5286</c:v>
                </c:pt>
                <c:pt idx="40">
                  <c:v>1240.6931</c:v>
                </c:pt>
                <c:pt idx="41">
                  <c:v>1233.2827</c:v>
                </c:pt>
                <c:pt idx="42">
                  <c:v>1193.3583</c:v>
                </c:pt>
                <c:pt idx="43">
                  <c:v>1253.4518</c:v>
                </c:pt>
                <c:pt idx="44">
                  <c:v>1209.0081</c:v>
                </c:pt>
                <c:pt idx="45">
                  <c:v>1171.2005</c:v>
                </c:pt>
                <c:pt idx="46">
                  <c:v>1125.6113</c:v>
                </c:pt>
                <c:pt idx="47">
                  <c:v>1099.1068</c:v>
                </c:pt>
                <c:pt idx="48">
                  <c:v>1078.2989</c:v>
                </c:pt>
                <c:pt idx="49">
                  <c:v>1093.0991</c:v>
                </c:pt>
                <c:pt idx="50">
                  <c:v>1134.545</c:v>
                </c:pt>
                <c:pt idx="51">
                  <c:v>1111.4802</c:v>
                </c:pt>
                <c:pt idx="52">
                  <c:v>767.4319743287284</c:v>
                </c:pt>
                <c:pt idx="53">
                  <c:v>767.4319743287284</c:v>
                </c:pt>
                <c:pt idx="54">
                  <c:v>960.1165130912881</c:v>
                </c:pt>
              </c:numCache>
            </c:numRef>
          </c:xVal>
          <c:yVal>
            <c:numRef>
              <c:f>Sheet1!$B$187:$B$241</c:f>
              <c:numCache>
                <c:formatCode>General</c:formatCode>
                <c:ptCount val="55"/>
                <c:pt idx="0">
                  <c:v>0.14300546437639106</c:v>
                </c:pt>
                <c:pt idx="1">
                  <c:v>0.14069923203291076</c:v>
                </c:pt>
                <c:pt idx="2">
                  <c:v>0.14074667164099294</c:v>
                </c:pt>
                <c:pt idx="3">
                  <c:v>0.14227126183577485</c:v>
                </c:pt>
                <c:pt idx="4">
                  <c:v>0.1410097170732027</c:v>
                </c:pt>
                <c:pt idx="5">
                  <c:v>0.1412525420233413</c:v>
                </c:pt>
                <c:pt idx="6">
                  <c:v>0.14182009005500315</c:v>
                </c:pt>
                <c:pt idx="7">
                  <c:v>0.14003154180484173</c:v>
                </c:pt>
                <c:pt idx="8">
                  <c:v>0.14011954555319955</c:v>
                </c:pt>
                <c:pt idx="9">
                  <c:v>0.14164285639586924</c:v>
                </c:pt>
                <c:pt idx="10">
                  <c:v>0.14055271402230027</c:v>
                </c:pt>
                <c:pt idx="11">
                  <c:v>0.1434953246608625</c:v>
                </c:pt>
                <c:pt idx="12">
                  <c:v>0.14412044633703153</c:v>
                </c:pt>
                <c:pt idx="13">
                  <c:v>0.14336808931403522</c:v>
                </c:pt>
                <c:pt idx="14">
                  <c:v>0.14355637243222144</c:v>
                </c:pt>
                <c:pt idx="15">
                  <c:v>0.14300297845806362</c:v>
                </c:pt>
                <c:pt idx="16">
                  <c:v>0.14138299674638094</c:v>
                </c:pt>
                <c:pt idx="17">
                  <c:v>0.14910671979465226</c:v>
                </c:pt>
                <c:pt idx="18">
                  <c:v>0.14598453794988017</c:v>
                </c:pt>
                <c:pt idx="19">
                  <c:v>0.1371414657871499</c:v>
                </c:pt>
                <c:pt idx="20">
                  <c:v>0.1378391074118241</c:v>
                </c:pt>
                <c:pt idx="21">
                  <c:v>0.1394220019095405</c:v>
                </c:pt>
                <c:pt idx="22">
                  <c:v>0.14033821958283035</c:v>
                </c:pt>
                <c:pt idx="23">
                  <c:v>0.13902691726130312</c:v>
                </c:pt>
                <c:pt idx="24">
                  <c:v>0.13900050437907396</c:v>
                </c:pt>
                <c:pt idx="25">
                  <c:v>0.13983897831602188</c:v>
                </c:pt>
                <c:pt idx="26">
                  <c:v>0.14238040988720388</c:v>
                </c:pt>
                <c:pt idx="27">
                  <c:v>0.14140286169733995</c:v>
                </c:pt>
                <c:pt idx="28">
                  <c:v>0.14042605536373362</c:v>
                </c:pt>
                <c:pt idx="29">
                  <c:v>0.14023282000509554</c:v>
                </c:pt>
                <c:pt idx="30">
                  <c:v>0.13864913046142757</c:v>
                </c:pt>
                <c:pt idx="31">
                  <c:v>0.13874566415701933</c:v>
                </c:pt>
                <c:pt idx="32">
                  <c:v>0.13847683224600008</c:v>
                </c:pt>
                <c:pt idx="33">
                  <c:v>0.138798170783314</c:v>
                </c:pt>
                <c:pt idx="34">
                  <c:v>0.13903397749330967</c:v>
                </c:pt>
                <c:pt idx="35">
                  <c:v>0.1383602628325372</c:v>
                </c:pt>
                <c:pt idx="36">
                  <c:v>0.13782684298818382</c:v>
                </c:pt>
                <c:pt idx="37">
                  <c:v>0.13773165863114367</c:v>
                </c:pt>
                <c:pt idx="38">
                  <c:v>0.13693565246562303</c:v>
                </c:pt>
                <c:pt idx="39">
                  <c:v>0.1379675885172727</c:v>
                </c:pt>
                <c:pt idx="40">
                  <c:v>0.13796298340956026</c:v>
                </c:pt>
                <c:pt idx="41">
                  <c:v>0.13817043441376906</c:v>
                </c:pt>
                <c:pt idx="42">
                  <c:v>0.13928810105422484</c:v>
                </c:pt>
                <c:pt idx="43">
                  <c:v>0.13760580901581648</c:v>
                </c:pt>
                <c:pt idx="44">
                  <c:v>0.13884999154250255</c:v>
                </c:pt>
                <c:pt idx="45">
                  <c:v>0.1399083992649905</c:v>
                </c:pt>
                <c:pt idx="46">
                  <c:v>0.14118464957820914</c:v>
                </c:pt>
                <c:pt idx="47">
                  <c:v>0.14192663181142895</c:v>
                </c:pt>
                <c:pt idx="48">
                  <c:v>0.14250914014437674</c:v>
                </c:pt>
                <c:pt idx="49">
                  <c:v>0.1420948148242198</c:v>
                </c:pt>
                <c:pt idx="50">
                  <c:v>0.1409345544367458</c:v>
                </c:pt>
                <c:pt idx="51">
                  <c:v>0.14158024372772537</c:v>
                </c:pt>
                <c:pt idx="52">
                  <c:v>0.15121172784622908</c:v>
                </c:pt>
                <c:pt idx="53">
                  <c:v>0.15121172784622908</c:v>
                </c:pt>
                <c:pt idx="54">
                  <c:v>0.145817605928140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3.0"/>
          <c:min val="59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68582375478927"/>
          <c:min val="0.0621004566210045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835623389989992</c:v>
                </c:pt>
                <c:pt idx="1">
                  <c:v>2.3001091455697176</c:v>
                </c:pt>
                <c:pt idx="2">
                  <c:v>2.3540357897076802</c:v>
                </c:pt>
                <c:pt idx="3">
                  <c:v>2.3922020685965877</c:v>
                </c:pt>
                <c:pt idx="4">
                  <c:v>2.4870310481993294</c:v>
                </c:pt>
                <c:pt idx="5">
                  <c:v>2.0225964964163516</c:v>
                </c:pt>
                <c:pt idx="6">
                  <c:v>1.7552037374402207</c:v>
                </c:pt>
                <c:pt idx="7">
                  <c:v>1.7671411067193676</c:v>
                </c:pt>
                <c:pt idx="8">
                  <c:v>1.7392677662993918</c:v>
                </c:pt>
                <c:pt idx="9">
                  <c:v>1.8024050893242964</c:v>
                </c:pt>
                <c:pt idx="10">
                  <c:v>1.8552259615560116</c:v>
                </c:pt>
                <c:pt idx="11">
                  <c:v>1.8030993793111858</c:v>
                </c:pt>
                <c:pt idx="12">
                  <c:v>1.7998099677267565</c:v>
                </c:pt>
                <c:pt idx="13">
                  <c:v>1.7793823096715726</c:v>
                </c:pt>
                <c:pt idx="14">
                  <c:v>1.8424992632134376</c:v>
                </c:pt>
                <c:pt idx="15">
                  <c:v>1.8416176679748533</c:v>
                </c:pt>
                <c:pt idx="16">
                  <c:v>1.8423286753041344</c:v>
                </c:pt>
                <c:pt idx="17">
                  <c:v>2.2940526770168566</c:v>
                </c:pt>
                <c:pt idx="18">
                  <c:v>2.560953730311247</c:v>
                </c:pt>
                <c:pt idx="19">
                  <c:v>2.5133803290482835</c:v>
                </c:pt>
                <c:pt idx="20">
                  <c:v>2.4940876258077016</c:v>
                </c:pt>
                <c:pt idx="21">
                  <c:v>2.6101247717638647</c:v>
                </c:pt>
                <c:pt idx="22">
                  <c:v>2.6657426108428397</c:v>
                </c:pt>
                <c:pt idx="23">
                  <c:v>3.107655804174801</c:v>
                </c:pt>
                <c:pt idx="24">
                  <c:v>2.8694242122441143</c:v>
                </c:pt>
                <c:pt idx="25">
                  <c:v>2.9005487329373847</c:v>
                </c:pt>
                <c:pt idx="26">
                  <c:v>2.0337800747300037</c:v>
                </c:pt>
                <c:pt idx="27">
                  <c:v>2.0355508202355397</c:v>
                </c:pt>
                <c:pt idx="28">
                  <c:v>1.9269451432325313</c:v>
                </c:pt>
                <c:pt idx="29">
                  <c:v>1.831897728256963</c:v>
                </c:pt>
                <c:pt idx="30">
                  <c:v>1.8636225857544506</c:v>
                </c:pt>
                <c:pt idx="31">
                  <c:v>1.7678932146316269</c:v>
                </c:pt>
                <c:pt idx="32">
                  <c:v>1.7960252832982175</c:v>
                </c:pt>
                <c:pt idx="33">
                  <c:v>1.8084014038099032</c:v>
                </c:pt>
                <c:pt idx="34">
                  <c:v>1.7407992038514417</c:v>
                </c:pt>
                <c:pt idx="35">
                  <c:v>1.8145011235269595</c:v>
                </c:pt>
                <c:pt idx="36">
                  <c:v>1.9499568612348996</c:v>
                </c:pt>
                <c:pt idx="37">
                  <c:v>2.0027197171132336</c:v>
                </c:pt>
                <c:pt idx="38">
                  <c:v>2.082695081928391</c:v>
                </c:pt>
                <c:pt idx="39">
                  <c:v>2.041716418850906</c:v>
                </c:pt>
                <c:pt idx="40">
                  <c:v>2.0321536978335386</c:v>
                </c:pt>
                <c:pt idx="41">
                  <c:v>2.1880695646345276</c:v>
                </c:pt>
                <c:pt idx="42">
                  <c:v>2.2222178545064715</c:v>
                </c:pt>
                <c:pt idx="43">
                  <c:v>2.18888350889916</c:v>
                </c:pt>
                <c:pt idx="44">
                  <c:v>2.127243266421301</c:v>
                </c:pt>
                <c:pt idx="45">
                  <c:v>2.133924491842187</c:v>
                </c:pt>
                <c:pt idx="46">
                  <c:v>2.1262961334571506</c:v>
                </c:pt>
                <c:pt idx="47">
                  <c:v>2.1251640252540636</c:v>
                </c:pt>
                <c:pt idx="48">
                  <c:v>2.099185942575071</c:v>
                </c:pt>
                <c:pt idx="49">
                  <c:v>2.0784398202580165</c:v>
                </c:pt>
                <c:pt idx="50">
                  <c:v>2.001113903249433</c:v>
                </c:pt>
                <c:pt idx="51">
                  <c:v>2.0270844906508803</c:v>
                </c:pt>
                <c:pt idx="52">
                  <c:v>2.014888940486345</c:v>
                </c:pt>
                <c:pt idx="53">
                  <c:v>2.132366152698923</c:v>
                </c:pt>
                <c:pt idx="54">
                  <c:v>2.169508484797835</c:v>
                </c:pt>
                <c:pt idx="55">
                  <c:v>2.138044024156974</c:v>
                </c:pt>
                <c:pt idx="56">
                  <c:v>2.182569199230121</c:v>
                </c:pt>
                <c:pt idx="57">
                  <c:v>2.162761301096396</c:v>
                </c:pt>
                <c:pt idx="58">
                  <c:v>2.1842947780255204</c:v>
                </c:pt>
                <c:pt idx="59">
                  <c:v>2.197735853719015</c:v>
                </c:pt>
                <c:pt idx="60">
                  <c:v>2.2020238111115367</c:v>
                </c:pt>
                <c:pt idx="61">
                  <c:v>2.044512162333942</c:v>
                </c:pt>
                <c:pt idx="62">
                  <c:v>2.051268140770457</c:v>
                </c:pt>
                <c:pt idx="63">
                  <c:v>2.1897598810809678</c:v>
                </c:pt>
                <c:pt idx="64">
                  <c:v>2.124167084169685</c:v>
                </c:pt>
                <c:pt idx="65">
                  <c:v>2.1270196994287667</c:v>
                </c:pt>
                <c:pt idx="66">
                  <c:v>2.1451814683610166</c:v>
                </c:pt>
                <c:pt idx="67">
                  <c:v>2.2039729083412323</c:v>
                </c:pt>
                <c:pt idx="68">
                  <c:v>2.2713324163894457</c:v>
                </c:pt>
                <c:pt idx="69">
                  <c:v>2.2617160086024684</c:v>
                </c:pt>
                <c:pt idx="70">
                  <c:v>2.1577370502860207</c:v>
                </c:pt>
                <c:pt idx="71">
                  <c:v>2.175039333604791</c:v>
                </c:pt>
                <c:pt idx="72">
                  <c:v>2.49928563295782</c:v>
                </c:pt>
                <c:pt idx="73">
                  <c:v>2.261652610511696</c:v>
                </c:pt>
                <c:pt idx="74">
                  <c:v>2.321900040129765</c:v>
                </c:pt>
                <c:pt idx="75">
                  <c:v>2.3623102648002696</c:v>
                </c:pt>
                <c:pt idx="76">
                  <c:v>2.3380620079922965</c:v>
                </c:pt>
                <c:pt idx="77">
                  <c:v>2.306612890594408</c:v>
                </c:pt>
                <c:pt idx="78">
                  <c:v>2.325240307551622</c:v>
                </c:pt>
                <c:pt idx="79">
                  <c:v>2.4474952219376704</c:v>
                </c:pt>
                <c:pt idx="80">
                  <c:v>2.3657441360255644</c:v>
                </c:pt>
                <c:pt idx="81">
                  <c:v>2.5980272404250497</c:v>
                </c:pt>
                <c:pt idx="82">
                  <c:v>2.4526418270312447</c:v>
                </c:pt>
                <c:pt idx="83">
                  <c:v>2.2787003522356133</c:v>
                </c:pt>
                <c:pt idx="84">
                  <c:v>2.454353421341854</c:v>
                </c:pt>
                <c:pt idx="85">
                  <c:v>2.4310587495300338</c:v>
                </c:pt>
                <c:pt idx="86">
                  <c:v>2.343326756706613</c:v>
                </c:pt>
                <c:pt idx="87">
                  <c:v>2.4302801827555456</c:v>
                </c:pt>
                <c:pt idx="88">
                  <c:v>2.5008974296340822</c:v>
                </c:pt>
                <c:pt idx="89">
                  <c:v>2.408996514481698</c:v>
                </c:pt>
                <c:pt idx="90">
                  <c:v>2.6571021859744204</c:v>
                </c:pt>
                <c:pt idx="91">
                  <c:v>2.631515182921629</c:v>
                </c:pt>
                <c:pt idx="92">
                  <c:v>2.4631922000663993</c:v>
                </c:pt>
                <c:pt idx="93">
                  <c:v>2.196288147861085</c:v>
                </c:pt>
                <c:pt idx="94">
                  <c:v>2.0809447822953473</c:v>
                </c:pt>
                <c:pt idx="95">
                  <c:v>2.0341280923024176</c:v>
                </c:pt>
                <c:pt idx="96">
                  <c:v>1.935391520681783</c:v>
                </c:pt>
                <c:pt idx="97">
                  <c:v>1.9727758062299403</c:v>
                </c:pt>
                <c:pt idx="98">
                  <c:v>2.015355187954375</c:v>
                </c:pt>
                <c:pt idx="99">
                  <c:v>2.226615234739547</c:v>
                </c:pt>
                <c:pt idx="100">
                  <c:v>1.9758191849009286</c:v>
                </c:pt>
                <c:pt idx="101">
                  <c:v>1.807812171993167</c:v>
                </c:pt>
                <c:pt idx="102">
                  <c:v>1.7894442985646755</c:v>
                </c:pt>
                <c:pt idx="103">
                  <c:v>1.6720075987966512</c:v>
                </c:pt>
                <c:pt idx="104">
                  <c:v>1.723860853547784</c:v>
                </c:pt>
              </c:numCache>
            </c:numRef>
          </c:xVal>
          <c:yVal>
            <c:numRef>
              <c:f>Sheet1!$B$2:$B$106</c:f>
              <c:numCache>
                <c:formatCode>General</c:formatCode>
                <c:ptCount val="105"/>
                <c:pt idx="0">
                  <c:v>0.1661676646706587</c:v>
                </c:pt>
                <c:pt idx="1">
                  <c:v>0.12525150905432594</c:v>
                </c:pt>
                <c:pt idx="2">
                  <c:v>0.1220614828209765</c:v>
                </c:pt>
                <c:pt idx="3">
                  <c:v>0.10650602409638554</c:v>
                </c:pt>
                <c:pt idx="4">
                  <c:v>0.11140065146579804</c:v>
                </c:pt>
                <c:pt idx="5">
                  <c:v>0.11270296084049666</c:v>
                </c:pt>
                <c:pt idx="6">
                  <c:v>0.1344800625488663</c:v>
                </c:pt>
                <c:pt idx="7">
                  <c:v>0.15974145891043398</c:v>
                </c:pt>
                <c:pt idx="8">
                  <c:v>0.14613970588235295</c:v>
                </c:pt>
                <c:pt idx="9">
                  <c:v>0.15057680631451123</c:v>
                </c:pt>
                <c:pt idx="10">
                  <c:v>0.15070921985815602</c:v>
                </c:pt>
                <c:pt idx="11">
                  <c:v>0.13387533875338753</c:v>
                </c:pt>
                <c:pt idx="12">
                  <c:v>0.114646700982686</c:v>
                </c:pt>
                <c:pt idx="13">
                  <c:v>0.10498046875</c:v>
                </c:pt>
                <c:pt idx="14">
                  <c:v>0.09107303877366997</c:v>
                </c:pt>
                <c:pt idx="15">
                  <c:v>0.08616780045351474</c:v>
                </c:pt>
                <c:pt idx="16">
                  <c:v>0.08710601719197708</c:v>
                </c:pt>
                <c:pt idx="17">
                  <c:v>0.08405438813349815</c:v>
                </c:pt>
                <c:pt idx="18">
                  <c:v>0.08608321377331421</c:v>
                </c:pt>
                <c:pt idx="19">
                  <c:v>0.07829787234042553</c:v>
                </c:pt>
                <c:pt idx="20">
                  <c:v>0.0776255707762557</c:v>
                </c:pt>
                <c:pt idx="21">
                  <c:v>0.09420916162489196</c:v>
                </c:pt>
                <c:pt idx="22">
                  <c:v>0.08273092369477912</c:v>
                </c:pt>
                <c:pt idx="23">
                  <c:v>0.10267111853088481</c:v>
                </c:pt>
                <c:pt idx="24">
                  <c:v>0.0913006029285099</c:v>
                </c:pt>
                <c:pt idx="25">
                  <c:v>0.1025390625</c:v>
                </c:pt>
                <c:pt idx="26">
                  <c:v>0.12776831345826234</c:v>
                </c:pt>
                <c:pt idx="27">
                  <c:v>0.1223021582733813</c:v>
                </c:pt>
                <c:pt idx="28">
                  <c:v>0.14608695652173914</c:v>
                </c:pt>
                <c:pt idx="29">
                  <c:v>0.12663085188027629</c:v>
                </c:pt>
                <c:pt idx="30">
                  <c:v>0.13218390804597702</c:v>
                </c:pt>
                <c:pt idx="31">
                  <c:v>0.1391705069124424</c:v>
                </c:pt>
                <c:pt idx="32">
                  <c:v>0.1514629948364888</c:v>
                </c:pt>
                <c:pt idx="33">
                  <c:v>0.13315579227696406</c:v>
                </c:pt>
                <c:pt idx="34">
                  <c:v>0.13852813852813853</c:v>
                </c:pt>
                <c:pt idx="35">
                  <c:v>0.14928649835345773</c:v>
                </c:pt>
                <c:pt idx="36">
                  <c:v>0.1322140608604407</c:v>
                </c:pt>
                <c:pt idx="37">
                  <c:v>0.13480233311730394</c:v>
                </c:pt>
                <c:pt idx="38">
                  <c:v>0.11252268602540835</c:v>
                </c:pt>
                <c:pt idx="39">
                  <c:v>0.10314557425018288</c:v>
                </c:pt>
                <c:pt idx="40">
                  <c:v>0.10723039215686274</c:v>
                </c:pt>
                <c:pt idx="41">
                  <c:v>0.13144329896907217</c:v>
                </c:pt>
                <c:pt idx="42">
                  <c:v>0.11167227833894501</c:v>
                </c:pt>
                <c:pt idx="43">
                  <c:v>0.09038182696955051</c:v>
                </c:pt>
                <c:pt idx="44">
                  <c:v>0.08155270655270655</c:v>
                </c:pt>
                <c:pt idx="45">
                  <c:v>0.12022471910112359</c:v>
                </c:pt>
                <c:pt idx="46">
                  <c:v>0.1245626312106368</c:v>
                </c:pt>
                <c:pt idx="47">
                  <c:v>0.1160985487681404</c:v>
                </c:pt>
                <c:pt idx="48">
                  <c:v>0.10499880411384836</c:v>
                </c:pt>
                <c:pt idx="49">
                  <c:v>0.10967522530181942</c:v>
                </c:pt>
                <c:pt idx="50">
                  <c:v>0.12096242584047462</c:v>
                </c:pt>
                <c:pt idx="51">
                  <c:v>0.11814345991561181</c:v>
                </c:pt>
                <c:pt idx="52">
                  <c:v>0.11442385173247381</c:v>
                </c:pt>
                <c:pt idx="53">
                  <c:v>0.11356209150326797</c:v>
                </c:pt>
                <c:pt idx="54">
                  <c:v>0.11235431235431236</c:v>
                </c:pt>
                <c:pt idx="55">
                  <c:v>0.11889097744360902</c:v>
                </c:pt>
                <c:pt idx="56">
                  <c:v>0.12215758857747223</c:v>
                </c:pt>
                <c:pt idx="57">
                  <c:v>0.10919822921790458</c:v>
                </c:pt>
                <c:pt idx="58">
                  <c:v>0.11266149870801033</c:v>
                </c:pt>
                <c:pt idx="59">
                  <c:v>0.09096573208722741</c:v>
                </c:pt>
                <c:pt idx="60">
                  <c:v>0.10681114551083591</c:v>
                </c:pt>
                <c:pt idx="61">
                  <c:v>0.12600663192799622</c:v>
                </c:pt>
                <c:pt idx="62">
                  <c:v>0.1251840942562592</c:v>
                </c:pt>
                <c:pt idx="63">
                  <c:v>0.1182615963226076</c:v>
                </c:pt>
                <c:pt idx="64">
                  <c:v>0.12775510204081633</c:v>
                </c:pt>
                <c:pt idx="65">
                  <c:v>0.12617220801364024</c:v>
                </c:pt>
                <c:pt idx="66">
                  <c:v>0.12244897959183673</c:v>
                </c:pt>
                <c:pt idx="67">
                  <c:v>0.11530309453158118</c:v>
                </c:pt>
                <c:pt idx="68">
                  <c:v>0.09622641509433963</c:v>
                </c:pt>
                <c:pt idx="69">
                  <c:v>0.09867549668874172</c:v>
                </c:pt>
                <c:pt idx="70">
                  <c:v>0.09588235294117647</c:v>
                </c:pt>
                <c:pt idx="71">
                  <c:v>0.10217113665389528</c:v>
                </c:pt>
                <c:pt idx="72">
                  <c:v>0.08756567425569177</c:v>
                </c:pt>
                <c:pt idx="73">
                  <c:v>0.10089399744572158</c:v>
                </c:pt>
                <c:pt idx="74">
                  <c:v>0.0840764331210191</c:v>
                </c:pt>
                <c:pt idx="75">
                  <c:v>0.09827833572453372</c:v>
                </c:pt>
                <c:pt idx="76">
                  <c:v>0.12214239059438275</c:v>
                </c:pt>
                <c:pt idx="77">
                  <c:v>0.11681547619047619</c:v>
                </c:pt>
                <c:pt idx="78">
                  <c:v>0.12918287937743192</c:v>
                </c:pt>
                <c:pt idx="79">
                  <c:v>0.11346938775510204</c:v>
                </c:pt>
                <c:pt idx="80">
                  <c:v>0.10777957860615883</c:v>
                </c:pt>
                <c:pt idx="81">
                  <c:v>0.10149863760217984</c:v>
                </c:pt>
                <c:pt idx="82">
                  <c:v>0.10728582866293035</c:v>
                </c:pt>
                <c:pt idx="83">
                  <c:v>0.1099434114793856</c:v>
                </c:pt>
                <c:pt idx="84">
                  <c:v>0.11194653299916457</c:v>
                </c:pt>
                <c:pt idx="85">
                  <c:v>0.10174880763116058</c:v>
                </c:pt>
                <c:pt idx="86">
                  <c:v>0.11690450054884742</c:v>
                </c:pt>
                <c:pt idx="87">
                  <c:v>0.12472283813747229</c:v>
                </c:pt>
                <c:pt idx="88">
                  <c:v>0.11702750146284377</c:v>
                </c:pt>
                <c:pt idx="89">
                  <c:v>0.12777053455019557</c:v>
                </c:pt>
                <c:pt idx="90">
                  <c:v>0.10842490842490843</c:v>
                </c:pt>
                <c:pt idx="91">
                  <c:v>0.0962223806129722</c:v>
                </c:pt>
                <c:pt idx="92">
                  <c:v>0.11130638547158758</c:v>
                </c:pt>
                <c:pt idx="93">
                  <c:v>0.09618768328445748</c:v>
                </c:pt>
                <c:pt idx="94">
                  <c:v>0.11034084344309647</c:v>
                </c:pt>
                <c:pt idx="95">
                  <c:v>0.11661807580174927</c:v>
                </c:pt>
                <c:pt idx="96">
                  <c:v>0.09644670050761421</c:v>
                </c:pt>
                <c:pt idx="97">
                  <c:v>0.08952380952380952</c:v>
                </c:pt>
                <c:pt idx="98">
                  <c:v>0.09069834830483918</c:v>
                </c:pt>
                <c:pt idx="99">
                  <c:v>0.09437386569872959</c:v>
                </c:pt>
                <c:pt idx="100">
                  <c:v>0.09641873278236915</c:v>
                </c:pt>
                <c:pt idx="101">
                  <c:v>0.10426540284360189</c:v>
                </c:pt>
                <c:pt idx="102">
                  <c:v>0.10600706713780919</c:v>
                </c:pt>
                <c:pt idx="103">
                  <c:v>0.10221619176843058</c:v>
                </c:pt>
                <c:pt idx="104">
                  <c:v>0.105263157894736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5919135797002535</c:v>
                </c:pt>
                <c:pt idx="1">
                  <c:v>1.719389086751637</c:v>
                </c:pt>
                <c:pt idx="2">
                  <c:v>1.6973467403019764</c:v>
                </c:pt>
                <c:pt idx="3">
                  <c:v>1.5791055762469608</c:v>
                </c:pt>
                <c:pt idx="4">
                  <c:v>1.6796251717302544</c:v>
                </c:pt>
                <c:pt idx="5">
                  <c:v>1.6122618683291696</c:v>
                </c:pt>
                <c:pt idx="6">
                  <c:v>1.7125373725296866</c:v>
                </c:pt>
                <c:pt idx="7">
                  <c:v>1.7181930431542962</c:v>
                </c:pt>
                <c:pt idx="8">
                  <c:v>1.7130122071787468</c:v>
                </c:pt>
                <c:pt idx="9">
                  <c:v>1.660798403588094</c:v>
                </c:pt>
                <c:pt idx="10">
                  <c:v>1.7458935529115234</c:v>
                </c:pt>
                <c:pt idx="11">
                  <c:v>1.7555971618829491</c:v>
                </c:pt>
                <c:pt idx="12">
                  <c:v>1.7887945741440128</c:v>
                </c:pt>
                <c:pt idx="13">
                  <c:v>1.7510384721071708</c:v>
                </c:pt>
                <c:pt idx="14">
                  <c:v>1.7533805397745936</c:v>
                </c:pt>
                <c:pt idx="15">
                  <c:v>1.9332488092382552</c:v>
                </c:pt>
                <c:pt idx="16">
                  <c:v>1.8310087894556</c:v>
                </c:pt>
                <c:pt idx="17">
                  <c:v>1.6208159117545622</c:v>
                </c:pt>
                <c:pt idx="18">
                  <c:v>1.6500223944994266</c:v>
                </c:pt>
                <c:pt idx="19">
                  <c:v>2.0911411750603945</c:v>
                </c:pt>
                <c:pt idx="20">
                  <c:v>1.9224225537910746</c:v>
                </c:pt>
                <c:pt idx="21">
                  <c:v>1.8921779907057514</c:v>
                </c:pt>
                <c:pt idx="22">
                  <c:v>1.7312814828683767</c:v>
                </c:pt>
                <c:pt idx="23">
                  <c:v>1.8598556235480126</c:v>
                </c:pt>
                <c:pt idx="24">
                  <c:v>1.8267800810919719</c:v>
                </c:pt>
                <c:pt idx="25">
                  <c:v>1.8846046077485414</c:v>
                </c:pt>
                <c:pt idx="26">
                  <c:v>1.6452310059589448</c:v>
                </c:pt>
                <c:pt idx="27">
                  <c:v>1.671304875419502</c:v>
                </c:pt>
                <c:pt idx="28">
                  <c:v>1.6633341567928484</c:v>
                </c:pt>
                <c:pt idx="29">
                  <c:v>1.8706415189790102</c:v>
                </c:pt>
                <c:pt idx="30">
                  <c:v>1.96917076390056</c:v>
                </c:pt>
                <c:pt idx="31">
                  <c:v>1.787760435477513</c:v>
                </c:pt>
                <c:pt idx="32">
                  <c:v>1.7724850899360094</c:v>
                </c:pt>
                <c:pt idx="33">
                  <c:v>1.676298590277999</c:v>
                </c:pt>
                <c:pt idx="34">
                  <c:v>1.7040561958959886</c:v>
                </c:pt>
                <c:pt idx="35">
                  <c:v>1.6846999116375163</c:v>
                </c:pt>
                <c:pt idx="36">
                  <c:v>1.7339894770868953</c:v>
                </c:pt>
                <c:pt idx="37">
                  <c:v>1.7400549731717048</c:v>
                </c:pt>
                <c:pt idx="38">
                  <c:v>1.7742985121562704</c:v>
                </c:pt>
                <c:pt idx="39">
                  <c:v>1.816501418390595</c:v>
                </c:pt>
                <c:pt idx="40">
                  <c:v>1.7198528850148511</c:v>
                </c:pt>
                <c:pt idx="41">
                  <c:v>1.7433016303272302</c:v>
                </c:pt>
                <c:pt idx="42">
                  <c:v>1.691453213752928</c:v>
                </c:pt>
                <c:pt idx="43">
                  <c:v>1.802509546405872</c:v>
                </c:pt>
                <c:pt idx="44">
                  <c:v>1.785168318539225</c:v>
                </c:pt>
                <c:pt idx="45">
                  <c:v>1.765413407579547</c:v>
                </c:pt>
                <c:pt idx="46">
                  <c:v>1.6979748504330878</c:v>
                </c:pt>
                <c:pt idx="47">
                  <c:v>1.7310875796376473</c:v>
                </c:pt>
                <c:pt idx="48">
                  <c:v>1.6488784465081145</c:v>
                </c:pt>
                <c:pt idx="49">
                  <c:v>1.684681102442905</c:v>
                </c:pt>
                <c:pt idx="50">
                  <c:v>1.7782017568469417</c:v>
                </c:pt>
                <c:pt idx="51">
                  <c:v>1.8402105841063237</c:v>
                </c:pt>
              </c:numCache>
            </c:numRef>
          </c:xVal>
          <c:yVal>
            <c:numRef>
              <c:f>Sheet1!$B$109:$B$160</c:f>
              <c:numCache>
                <c:formatCode>General</c:formatCode>
                <c:ptCount val="52"/>
                <c:pt idx="0">
                  <c:v>0.10574712643678161</c:v>
                </c:pt>
                <c:pt idx="1">
                  <c:v>0.09980430528375733</c:v>
                </c:pt>
                <c:pt idx="2">
                  <c:v>0.12420382165605096</c:v>
                </c:pt>
                <c:pt idx="3">
                  <c:v>0.13851891315929676</c:v>
                </c:pt>
                <c:pt idx="4">
                  <c:v>0.11958661417322834</c:v>
                </c:pt>
                <c:pt idx="5">
                  <c:v>0.13050847457627118</c:v>
                </c:pt>
                <c:pt idx="6">
                  <c:v>0.13994565217391305</c:v>
                </c:pt>
                <c:pt idx="7">
                  <c:v>0.12989921612541994</c:v>
                </c:pt>
                <c:pt idx="8">
                  <c:v>0.12715340442986053</c:v>
                </c:pt>
                <c:pt idx="9">
                  <c:v>0.12351543942992874</c:v>
                </c:pt>
                <c:pt idx="10">
                  <c:v>0.14047936085219706</c:v>
                </c:pt>
                <c:pt idx="11">
                  <c:v>0.13045496750232127</c:v>
                </c:pt>
                <c:pt idx="12">
                  <c:v>0.14365411436541142</c:v>
                </c:pt>
                <c:pt idx="13">
                  <c:v>0.1440349175557711</c:v>
                </c:pt>
                <c:pt idx="14">
                  <c:v>0.15388798259923872</c:v>
                </c:pt>
                <c:pt idx="15">
                  <c:v>0.1407815631262525</c:v>
                </c:pt>
                <c:pt idx="16">
                  <c:v>0.13621691413815365</c:v>
                </c:pt>
                <c:pt idx="17">
                  <c:v>0.18071519795657726</c:v>
                </c:pt>
                <c:pt idx="18">
                  <c:v>0.15930599369085174</c:v>
                </c:pt>
                <c:pt idx="19">
                  <c:v>0.11931443638760712</c:v>
                </c:pt>
                <c:pt idx="20">
                  <c:v>0.10714285714285714</c:v>
                </c:pt>
                <c:pt idx="21">
                  <c:v>0.12046908315565032</c:v>
                </c:pt>
                <c:pt idx="22">
                  <c:v>0.1415525114155251</c:v>
                </c:pt>
                <c:pt idx="23">
                  <c:v>0.1357409713574097</c:v>
                </c:pt>
                <c:pt idx="24">
                  <c:v>0.14091470951792337</c:v>
                </c:pt>
                <c:pt idx="25">
                  <c:v>0.15365239294710328</c:v>
                </c:pt>
                <c:pt idx="26">
                  <c:v>0.14092664092664092</c:v>
                </c:pt>
                <c:pt idx="27">
                  <c:v>0.13504273504273503</c:v>
                </c:pt>
                <c:pt idx="28">
                  <c:v>0.12103004291845494</c:v>
                </c:pt>
                <c:pt idx="29">
                  <c:v>0.14326107445805844</c:v>
                </c:pt>
                <c:pt idx="30">
                  <c:v>0.1347248576850095</c:v>
                </c:pt>
                <c:pt idx="31">
                  <c:v>0.13226452905811623</c:v>
                </c:pt>
                <c:pt idx="32">
                  <c:v>0.14396887159533073</c:v>
                </c:pt>
                <c:pt idx="33">
                  <c:v>0.15860014892032762</c:v>
                </c:pt>
                <c:pt idx="34">
                  <c:v>0.16666666666666666</c:v>
                </c:pt>
                <c:pt idx="35">
                  <c:v>0.17624763108022742</c:v>
                </c:pt>
                <c:pt idx="36">
                  <c:v>0.15633672525439407</c:v>
                </c:pt>
                <c:pt idx="37">
                  <c:v>0.16680161943319838</c:v>
                </c:pt>
                <c:pt idx="38">
                  <c:v>0.15005861664712777</c:v>
                </c:pt>
                <c:pt idx="39">
                  <c:v>0.15706806282722513</c:v>
                </c:pt>
                <c:pt idx="40">
                  <c:v>0.15153788447111777</c:v>
                </c:pt>
                <c:pt idx="41">
                  <c:v>0.14794007490636704</c:v>
                </c:pt>
                <c:pt idx="42">
                  <c:v>0.1449612403100775</c:v>
                </c:pt>
                <c:pt idx="43">
                  <c:v>0.1345926800472255</c:v>
                </c:pt>
                <c:pt idx="44">
                  <c:v>0.12048780487804878</c:v>
                </c:pt>
                <c:pt idx="45">
                  <c:v>0.1409445890665675</c:v>
                </c:pt>
                <c:pt idx="46">
                  <c:v>0.16412390198797966</c:v>
                </c:pt>
                <c:pt idx="47">
                  <c:v>0.15465163109142166</c:v>
                </c:pt>
                <c:pt idx="48">
                  <c:v>0.14845024469820556</c:v>
                </c:pt>
                <c:pt idx="49">
                  <c:v>0.1670428893905192</c:v>
                </c:pt>
                <c:pt idx="50">
                  <c:v>0.13571260859356657</c:v>
                </c:pt>
                <c:pt idx="51">
                  <c:v>0.12811526479750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648936564244557</c:v>
                </c:pt>
              </c:numCache>
            </c:numRef>
          </c:xVal>
          <c:yVal>
            <c:numRef>
              <c:f>Sheet1!$B$163:$B$164</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648936564244557</c:v>
                </c:pt>
                <c:pt idx="1">
                  <c:v>1.4648936564244557</c:v>
                </c:pt>
              </c:numCache>
            </c:numRef>
          </c:xVal>
          <c:yVal>
            <c:numRef>
              <c:f>Sheet1!$B$167:$B$168</c:f>
              <c:numCache>
                <c:formatCode>General</c:formatCode>
                <c:ptCount val="2"/>
                <c:pt idx="0">
                  <c:v>0.151211727846229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648936564244557</c:v>
                </c:pt>
              </c:numCache>
            </c:numRef>
          </c:xVal>
          <c:yVal>
            <c:numRef>
              <c:f>Sheet1!$B$171:$B$172</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648936564244557</c:v>
                </c:pt>
                <c:pt idx="1">
                  <c:v>1.4648936564244557</c:v>
                </c:pt>
              </c:numCache>
            </c:numRef>
          </c:xVal>
          <c:yVal>
            <c:numRef>
              <c:f>Sheet1!$B$175:$B$176</c:f>
              <c:numCache>
                <c:formatCode>General</c:formatCode>
                <c:ptCount val="2"/>
                <c:pt idx="0">
                  <c:v>0.151211727846229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103557805022901</c:v>
                </c:pt>
              </c:numCache>
            </c:numRef>
          </c:xVal>
          <c:yVal>
            <c:numRef>
              <c:f>Sheet1!$B$179:$B$180</c:f>
              <c:numCache>
                <c:formatCode>General</c:formatCode>
                <c:ptCount val="2"/>
                <c:pt idx="0">
                  <c:v>0.14581760592814075</c:v>
                </c:pt>
                <c:pt idx="1">
                  <c:v>0.145817605928140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103557805022901</c:v>
                </c:pt>
                <c:pt idx="1">
                  <c:v>1.6103557805022901</c:v>
                </c:pt>
              </c:numCache>
            </c:numRef>
          </c:xVal>
          <c:yVal>
            <c:numRef>
              <c:f>Sheet1!$B$183:$B$184</c:f>
              <c:numCache>
                <c:formatCode>General</c:formatCode>
                <c:ptCount val="2"/>
                <c:pt idx="0">
                  <c:v>0.145817605928140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5919135797002535</c:v>
                </c:pt>
                <c:pt idx="1">
                  <c:v>1.719389086751637</c:v>
                </c:pt>
                <c:pt idx="2">
                  <c:v>1.6973467403019764</c:v>
                </c:pt>
                <c:pt idx="3">
                  <c:v>1.5791055762469608</c:v>
                </c:pt>
                <c:pt idx="4">
                  <c:v>1.6796251717302544</c:v>
                </c:pt>
                <c:pt idx="5">
                  <c:v>1.6122618683291696</c:v>
                </c:pt>
                <c:pt idx="6">
                  <c:v>1.7125373725296866</c:v>
                </c:pt>
                <c:pt idx="7">
                  <c:v>1.7181930431542962</c:v>
                </c:pt>
                <c:pt idx="8">
                  <c:v>1.7130122071787468</c:v>
                </c:pt>
                <c:pt idx="9">
                  <c:v>1.660798403588094</c:v>
                </c:pt>
                <c:pt idx="10">
                  <c:v>1.7458935529115234</c:v>
                </c:pt>
                <c:pt idx="11">
                  <c:v>1.7555971618829491</c:v>
                </c:pt>
                <c:pt idx="12">
                  <c:v>1.7887945741440128</c:v>
                </c:pt>
                <c:pt idx="13">
                  <c:v>1.7510384721071708</c:v>
                </c:pt>
                <c:pt idx="14">
                  <c:v>1.7533805397745936</c:v>
                </c:pt>
                <c:pt idx="15">
                  <c:v>1.9332488092382552</c:v>
                </c:pt>
                <c:pt idx="16">
                  <c:v>1.8310087894556</c:v>
                </c:pt>
                <c:pt idx="17">
                  <c:v>1.6208159117545622</c:v>
                </c:pt>
                <c:pt idx="18">
                  <c:v>1.6500223944994266</c:v>
                </c:pt>
                <c:pt idx="19">
                  <c:v>2.0911411750603945</c:v>
                </c:pt>
                <c:pt idx="20">
                  <c:v>1.9224225537910746</c:v>
                </c:pt>
                <c:pt idx="21">
                  <c:v>1.8921779907057514</c:v>
                </c:pt>
                <c:pt idx="22">
                  <c:v>1.7312814828683767</c:v>
                </c:pt>
                <c:pt idx="23">
                  <c:v>1.8598556235480126</c:v>
                </c:pt>
                <c:pt idx="24">
                  <c:v>1.8267800810919719</c:v>
                </c:pt>
                <c:pt idx="25">
                  <c:v>1.8846046077485414</c:v>
                </c:pt>
                <c:pt idx="26">
                  <c:v>1.6452310059589448</c:v>
                </c:pt>
                <c:pt idx="27">
                  <c:v>1.671304875419502</c:v>
                </c:pt>
                <c:pt idx="28">
                  <c:v>1.6633341567928484</c:v>
                </c:pt>
                <c:pt idx="29">
                  <c:v>1.8706415189790102</c:v>
                </c:pt>
                <c:pt idx="30">
                  <c:v>1.96917076390056</c:v>
                </c:pt>
                <c:pt idx="31">
                  <c:v>1.787760435477513</c:v>
                </c:pt>
                <c:pt idx="32">
                  <c:v>1.7724850899360094</c:v>
                </c:pt>
                <c:pt idx="33">
                  <c:v>1.676298590277999</c:v>
                </c:pt>
                <c:pt idx="34">
                  <c:v>1.7040561958959886</c:v>
                </c:pt>
                <c:pt idx="35">
                  <c:v>1.6846999116375163</c:v>
                </c:pt>
                <c:pt idx="36">
                  <c:v>1.7339894770868953</c:v>
                </c:pt>
                <c:pt idx="37">
                  <c:v>1.7400549731717048</c:v>
                </c:pt>
                <c:pt idx="38">
                  <c:v>1.7742985121562704</c:v>
                </c:pt>
                <c:pt idx="39">
                  <c:v>1.816501418390595</c:v>
                </c:pt>
                <c:pt idx="40">
                  <c:v>1.7198528850148511</c:v>
                </c:pt>
                <c:pt idx="41">
                  <c:v>1.7433016303272302</c:v>
                </c:pt>
                <c:pt idx="42">
                  <c:v>1.691453213752928</c:v>
                </c:pt>
                <c:pt idx="43">
                  <c:v>1.802509546405872</c:v>
                </c:pt>
                <c:pt idx="44">
                  <c:v>1.785168318539225</c:v>
                </c:pt>
                <c:pt idx="45">
                  <c:v>1.765413407579547</c:v>
                </c:pt>
                <c:pt idx="46">
                  <c:v>1.6979748504330878</c:v>
                </c:pt>
                <c:pt idx="47">
                  <c:v>1.7310875796376473</c:v>
                </c:pt>
                <c:pt idx="48">
                  <c:v>1.6488784465081145</c:v>
                </c:pt>
                <c:pt idx="49">
                  <c:v>1.684681102442905</c:v>
                </c:pt>
                <c:pt idx="50">
                  <c:v>1.7782017568469417</c:v>
                </c:pt>
                <c:pt idx="51">
                  <c:v>1.8402105841063237</c:v>
                </c:pt>
                <c:pt idx="52">
                  <c:v>1.4648936564244557</c:v>
                </c:pt>
                <c:pt idx="53">
                  <c:v>1.4648936564244557</c:v>
                </c:pt>
                <c:pt idx="54">
                  <c:v>1.6103557805022901</c:v>
                </c:pt>
              </c:numCache>
            </c:numRef>
          </c:xVal>
          <c:yVal>
            <c:numRef>
              <c:f>Sheet1!$B$187:$B$241</c:f>
              <c:numCache>
                <c:formatCode>General</c:formatCode>
                <c:ptCount val="55"/>
                <c:pt idx="0">
                  <c:v>0.1465014917176183</c:v>
                </c:pt>
                <c:pt idx="1">
                  <c:v>0.14177436133254734</c:v>
                </c:pt>
                <c:pt idx="2">
                  <c:v>0.14259175008487018</c:v>
                </c:pt>
                <c:pt idx="3">
                  <c:v>0.14697644650459357</c:v>
                </c:pt>
                <c:pt idx="4">
                  <c:v>0.14324891291719954</c:v>
                </c:pt>
                <c:pt idx="5">
                  <c:v>0.14574692312882132</c:v>
                </c:pt>
                <c:pt idx="6">
                  <c:v>0.14202844109451568</c:v>
                </c:pt>
                <c:pt idx="7">
                  <c:v>0.1418187138059098</c:v>
                </c:pt>
                <c:pt idx="8">
                  <c:v>0.14201083296453543</c:v>
                </c:pt>
                <c:pt idx="9">
                  <c:v>0.14394705948508585</c:v>
                </c:pt>
                <c:pt idx="10">
                  <c:v>0.14079150532967633</c:v>
                </c:pt>
                <c:pt idx="11">
                  <c:v>0.14043166973557128</c:v>
                </c:pt>
                <c:pt idx="12">
                  <c:v>0.1392006215143491</c:v>
                </c:pt>
                <c:pt idx="13">
                  <c:v>0.14060071806064683</c:v>
                </c:pt>
                <c:pt idx="14">
                  <c:v>0.14051386797084797</c:v>
                </c:pt>
                <c:pt idx="15">
                  <c:v>0.133843874796794</c:v>
                </c:pt>
                <c:pt idx="16">
                  <c:v>0.13763520628677214</c:v>
                </c:pt>
                <c:pt idx="17">
                  <c:v>0.14542971647848738</c:v>
                </c:pt>
                <c:pt idx="18">
                  <c:v>0.14434666252390577</c:v>
                </c:pt>
                <c:pt idx="19">
                  <c:v>0.12798880649926042</c:v>
                </c:pt>
                <c:pt idx="20">
                  <c:v>0.1342453411040453</c:v>
                </c:pt>
                <c:pt idx="21">
                  <c:v>0.135366889834863</c:v>
                </c:pt>
                <c:pt idx="22">
                  <c:v>0.14133335969752675</c:v>
                </c:pt>
                <c:pt idx="23">
                  <c:v>0.1365654890594747</c:v>
                </c:pt>
                <c:pt idx="24">
                  <c:v>0.13779201802463212</c:v>
                </c:pt>
                <c:pt idx="25">
                  <c:v>0.13564773099033595</c:v>
                </c:pt>
                <c:pt idx="26">
                  <c:v>0.14452433993724023</c:v>
                </c:pt>
                <c:pt idx="27">
                  <c:v>0.1435574516036744</c:v>
                </c:pt>
                <c:pt idx="28">
                  <c:v>0.1438530270211208</c:v>
                </c:pt>
                <c:pt idx="29">
                  <c:v>0.13616551940882238</c:v>
                </c:pt>
                <c:pt idx="30">
                  <c:v>0.1325117933067641</c:v>
                </c:pt>
                <c:pt idx="31">
                  <c:v>0.13923897012284547</c:v>
                </c:pt>
                <c:pt idx="32">
                  <c:v>0.13980542050787975</c:v>
                </c:pt>
                <c:pt idx="33">
                  <c:v>0.14337227139307546</c:v>
                </c:pt>
                <c:pt idx="34">
                  <c:v>0.1423429456506744</c:v>
                </c:pt>
                <c:pt idx="35">
                  <c:v>0.14306072808258435</c:v>
                </c:pt>
                <c:pt idx="36">
                  <c:v>0.1412329400792875</c:v>
                </c:pt>
                <c:pt idx="37">
                  <c:v>0.14100801537409316</c:v>
                </c:pt>
                <c:pt idx="38">
                  <c:v>0.1397381739953799</c:v>
                </c:pt>
                <c:pt idx="39">
                  <c:v>0.1381731781384255</c:v>
                </c:pt>
                <c:pt idx="40">
                  <c:v>0.14175716246106768</c:v>
                </c:pt>
                <c:pt idx="41">
                  <c:v>0.14088762070342434</c:v>
                </c:pt>
                <c:pt idx="42">
                  <c:v>0.14281029770291576</c:v>
                </c:pt>
                <c:pt idx="43">
                  <c:v>0.13869203391498142</c:v>
                </c:pt>
                <c:pt idx="44">
                  <c:v>0.13933509270375583</c:v>
                </c:pt>
                <c:pt idx="45">
                  <c:v>0.14006765727252607</c:v>
                </c:pt>
                <c:pt idx="46">
                  <c:v>0.14256845809290541</c:v>
                </c:pt>
                <c:pt idx="47">
                  <c:v>0.14134055014434238</c:v>
                </c:pt>
                <c:pt idx="48">
                  <c:v>0.14438908315382717</c:v>
                </c:pt>
                <c:pt idx="49">
                  <c:v>0.14306142557747906</c:v>
                </c:pt>
                <c:pt idx="50">
                  <c:v>0.13959343131496676</c:v>
                </c:pt>
                <c:pt idx="51">
                  <c:v>0.13729397930053167</c:v>
                </c:pt>
                <c:pt idx="52">
                  <c:v>0.15121172784622908</c:v>
                </c:pt>
                <c:pt idx="53">
                  <c:v>0.15121172784622908</c:v>
                </c:pt>
                <c:pt idx="54">
                  <c:v>0.145817605928140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68582375478927"/>
          <c:min val="0.0621004566210045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3.5586</c:v>
                </c:pt>
                <c:pt idx="1">
                  <c:v>821.245</c:v>
                </c:pt>
                <c:pt idx="2">
                  <c:v>847.1704</c:v>
                </c:pt>
                <c:pt idx="3">
                  <c:v>866.1946</c:v>
                </c:pt>
                <c:pt idx="4">
                  <c:v>891.386</c:v>
                </c:pt>
                <c:pt idx="5">
                  <c:v>913.7288</c:v>
                </c:pt>
                <c:pt idx="6">
                  <c:v>884.5523</c:v>
                </c:pt>
                <c:pt idx="7">
                  <c:v>894.1734</c:v>
                </c:pt>
                <c:pt idx="8">
                  <c:v>878.1069</c:v>
                </c:pt>
                <c:pt idx="9">
                  <c:v>857.9879</c:v>
                </c:pt>
                <c:pt idx="10">
                  <c:v>863.9804</c:v>
                </c:pt>
                <c:pt idx="11">
                  <c:v>887.1862</c:v>
                </c:pt>
                <c:pt idx="12">
                  <c:v>893.1224</c:v>
                </c:pt>
                <c:pt idx="13">
                  <c:v>891.4047</c:v>
                </c:pt>
                <c:pt idx="14">
                  <c:v>885.8812</c:v>
                </c:pt>
                <c:pt idx="15">
                  <c:v>881.7763</c:v>
                </c:pt>
                <c:pt idx="16">
                  <c:v>894.1184</c:v>
                </c:pt>
                <c:pt idx="17">
                  <c:v>918.875</c:v>
                </c:pt>
                <c:pt idx="18">
                  <c:v>929.25</c:v>
                </c:pt>
                <c:pt idx="19">
                  <c:v>941.837</c:v>
                </c:pt>
                <c:pt idx="20">
                  <c:v>970.6373</c:v>
                </c:pt>
                <c:pt idx="21">
                  <c:v>975.211</c:v>
                </c:pt>
                <c:pt idx="22">
                  <c:v>972.4757</c:v>
                </c:pt>
                <c:pt idx="23">
                  <c:v>982.9593</c:v>
                </c:pt>
                <c:pt idx="24">
                  <c:v>956.5283</c:v>
                </c:pt>
                <c:pt idx="25">
                  <c:v>975.619</c:v>
                </c:pt>
                <c:pt idx="26">
                  <c:v>943.2733</c:v>
                </c:pt>
                <c:pt idx="27">
                  <c:v>987.9265</c:v>
                </c:pt>
                <c:pt idx="28">
                  <c:v>990.2679</c:v>
                </c:pt>
                <c:pt idx="29">
                  <c:v>949.6545</c:v>
                </c:pt>
                <c:pt idx="30">
                  <c:v>954.8261</c:v>
                </c:pt>
                <c:pt idx="31">
                  <c:v>919.0331</c:v>
                </c:pt>
                <c:pt idx="32">
                  <c:v>939.892</c:v>
                </c:pt>
                <c:pt idx="33">
                  <c:v>955.8</c:v>
                </c:pt>
                <c:pt idx="34">
                  <c:v>903.6473</c:v>
                </c:pt>
                <c:pt idx="35">
                  <c:v>927.9816</c:v>
                </c:pt>
                <c:pt idx="36">
                  <c:v>987.8889</c:v>
                </c:pt>
                <c:pt idx="37">
                  <c:v>1018.3269</c:v>
                </c:pt>
                <c:pt idx="38">
                  <c:v>1055.3495</c:v>
                </c:pt>
                <c:pt idx="39">
                  <c:v>1036.8865</c:v>
                </c:pt>
                <c:pt idx="40">
                  <c:v>1033.4857</c:v>
                </c:pt>
                <c:pt idx="41">
                  <c:v>1109.8775</c:v>
                </c:pt>
                <c:pt idx="42">
                  <c:v>1124.9749</c:v>
                </c:pt>
                <c:pt idx="43">
                  <c:v>1107.1016</c:v>
                </c:pt>
                <c:pt idx="44">
                  <c:v>1083.4803</c:v>
                </c:pt>
                <c:pt idx="45">
                  <c:v>1076.0374</c:v>
                </c:pt>
                <c:pt idx="46">
                  <c:v>1056.7022</c:v>
                </c:pt>
                <c:pt idx="47">
                  <c:v>1057.8837</c:v>
                </c:pt>
                <c:pt idx="48">
                  <c:v>1046.4761</c:v>
                </c:pt>
                <c:pt idx="49">
                  <c:v>1032.386</c:v>
                </c:pt>
                <c:pt idx="50">
                  <c:v>1009.267</c:v>
                </c:pt>
                <c:pt idx="51">
                  <c:v>1010.4179</c:v>
                </c:pt>
                <c:pt idx="52">
                  <c:v>1004.8908</c:v>
                </c:pt>
                <c:pt idx="53">
                  <c:v>1071.1871</c:v>
                </c:pt>
                <c:pt idx="54">
                  <c:v>1056.5643</c:v>
                </c:pt>
                <c:pt idx="55">
                  <c:v>1039.17</c:v>
                </c:pt>
                <c:pt idx="56">
                  <c:v>1058.684</c:v>
                </c:pt>
                <c:pt idx="57">
                  <c:v>1044.3784</c:v>
                </c:pt>
                <c:pt idx="58">
                  <c:v>1052.7248</c:v>
                </c:pt>
                <c:pt idx="59">
                  <c:v>1031.6849</c:v>
                </c:pt>
                <c:pt idx="60">
                  <c:v>1023.6667</c:v>
                </c:pt>
                <c:pt idx="61">
                  <c:v>992.3647</c:v>
                </c:pt>
                <c:pt idx="62">
                  <c:v>971.3569</c:v>
                </c:pt>
                <c:pt idx="63">
                  <c:v>1002.3039</c:v>
                </c:pt>
                <c:pt idx="64">
                  <c:v>986.607</c:v>
                </c:pt>
                <c:pt idx="65">
                  <c:v>1000.7432</c:v>
                </c:pt>
                <c:pt idx="66">
                  <c:v>1012.5426</c:v>
                </c:pt>
                <c:pt idx="67">
                  <c:v>1027.2537</c:v>
                </c:pt>
                <c:pt idx="68">
                  <c:v>1074.8824</c:v>
                </c:pt>
                <c:pt idx="69">
                  <c:v>1090.255</c:v>
                </c:pt>
                <c:pt idx="70">
                  <c:v>1026.9264</c:v>
                </c:pt>
                <c:pt idx="71">
                  <c:v>1032.5375</c:v>
                </c:pt>
                <c:pt idx="72">
                  <c:v>1205.0933</c:v>
                </c:pt>
                <c:pt idx="73">
                  <c:v>1104.0506</c:v>
                </c:pt>
                <c:pt idx="74">
                  <c:v>1080.2424</c:v>
                </c:pt>
                <c:pt idx="75">
                  <c:v>1080.6934</c:v>
                </c:pt>
                <c:pt idx="76">
                  <c:v>1044.7754</c:v>
                </c:pt>
                <c:pt idx="77">
                  <c:v>1030.8599</c:v>
                </c:pt>
                <c:pt idx="78">
                  <c:v>1061.8554</c:v>
                </c:pt>
                <c:pt idx="79">
                  <c:v>1030.6187</c:v>
                </c:pt>
                <c:pt idx="80">
                  <c:v>1076.1278</c:v>
                </c:pt>
                <c:pt idx="81">
                  <c:v>1163.6577</c:v>
                </c:pt>
                <c:pt idx="82">
                  <c:v>1122.8209</c:v>
                </c:pt>
                <c:pt idx="83">
                  <c:v>1031.1985</c:v>
                </c:pt>
                <c:pt idx="84">
                  <c:v>1099.3881</c:v>
                </c:pt>
                <c:pt idx="85">
                  <c:v>1127.0313</c:v>
                </c:pt>
                <c:pt idx="86">
                  <c:v>1091.2629</c:v>
                </c:pt>
                <c:pt idx="87">
                  <c:v>1126.8711</c:v>
                </c:pt>
                <c:pt idx="88">
                  <c:v>1177.395</c:v>
                </c:pt>
                <c:pt idx="89">
                  <c:v>1139.4898</c:v>
                </c:pt>
                <c:pt idx="90">
                  <c:v>1241.6689</c:v>
                </c:pt>
                <c:pt idx="91">
                  <c:v>1218.7481</c:v>
                </c:pt>
                <c:pt idx="92">
                  <c:v>1126.9895</c:v>
                </c:pt>
                <c:pt idx="93">
                  <c:v>1195.2378</c:v>
                </c:pt>
                <c:pt idx="94">
                  <c:v>1235.2251</c:v>
                </c:pt>
                <c:pt idx="95">
                  <c:v>1193.7</c:v>
                </c:pt>
                <c:pt idx="96">
                  <c:v>1150.3404</c:v>
                </c:pt>
                <c:pt idx="97">
                  <c:v>1164.1135</c:v>
                </c:pt>
                <c:pt idx="98">
                  <c:v>1153.8243</c:v>
                </c:pt>
                <c:pt idx="99">
                  <c:v>1130.9148</c:v>
                </c:pt>
                <c:pt idx="100">
                  <c:v>1137.6184</c:v>
                </c:pt>
                <c:pt idx="101">
                  <c:v>1138.4708</c:v>
                </c:pt>
                <c:pt idx="102">
                  <c:v>1127.8429</c:v>
                </c:pt>
                <c:pt idx="103">
                  <c:v>1081.1681</c:v>
                </c:pt>
                <c:pt idx="104">
                  <c:v>1088.2194</c:v>
                </c:pt>
              </c:numCache>
            </c:numRef>
          </c:xVal>
          <c:yVal>
            <c:numRef>
              <c:f>Sheet1!$B$2:$B$106</c:f>
              <c:numCache>
                <c:formatCode>General</c:formatCode>
                <c:ptCount val="105"/>
                <c:pt idx="0">
                  <c:v>0.1661676646706587</c:v>
                </c:pt>
                <c:pt idx="1">
                  <c:v>0.12525150905432594</c:v>
                </c:pt>
                <c:pt idx="2">
                  <c:v>0.1220614828209765</c:v>
                </c:pt>
                <c:pt idx="3">
                  <c:v>0.10650602409638554</c:v>
                </c:pt>
                <c:pt idx="4">
                  <c:v>0.11140065146579804</c:v>
                </c:pt>
                <c:pt idx="5">
                  <c:v>0.11270296084049666</c:v>
                </c:pt>
                <c:pt idx="6">
                  <c:v>0.1344800625488663</c:v>
                </c:pt>
                <c:pt idx="7">
                  <c:v>0.15974145891043398</c:v>
                </c:pt>
                <c:pt idx="8">
                  <c:v>0.14613970588235295</c:v>
                </c:pt>
                <c:pt idx="9">
                  <c:v>0.15057680631451123</c:v>
                </c:pt>
                <c:pt idx="10">
                  <c:v>0.15070921985815602</c:v>
                </c:pt>
                <c:pt idx="11">
                  <c:v>0.13387533875338753</c:v>
                </c:pt>
                <c:pt idx="12">
                  <c:v>0.114646700982686</c:v>
                </c:pt>
                <c:pt idx="13">
                  <c:v>0.10498046875</c:v>
                </c:pt>
                <c:pt idx="14">
                  <c:v>0.09107303877366997</c:v>
                </c:pt>
                <c:pt idx="15">
                  <c:v>0.08616780045351474</c:v>
                </c:pt>
                <c:pt idx="16">
                  <c:v>0.08710601719197708</c:v>
                </c:pt>
                <c:pt idx="17">
                  <c:v>0.08405438813349815</c:v>
                </c:pt>
                <c:pt idx="18">
                  <c:v>0.08608321377331421</c:v>
                </c:pt>
                <c:pt idx="19">
                  <c:v>0.07829787234042553</c:v>
                </c:pt>
                <c:pt idx="20">
                  <c:v>0.0776255707762557</c:v>
                </c:pt>
                <c:pt idx="21">
                  <c:v>0.09420916162489196</c:v>
                </c:pt>
                <c:pt idx="22">
                  <c:v>0.08273092369477912</c:v>
                </c:pt>
                <c:pt idx="23">
                  <c:v>0.10267111853088481</c:v>
                </c:pt>
                <c:pt idx="24">
                  <c:v>0.0913006029285099</c:v>
                </c:pt>
                <c:pt idx="25">
                  <c:v>0.1025390625</c:v>
                </c:pt>
                <c:pt idx="26">
                  <c:v>0.12776831345826234</c:v>
                </c:pt>
                <c:pt idx="27">
                  <c:v>0.1223021582733813</c:v>
                </c:pt>
                <c:pt idx="28">
                  <c:v>0.14608695652173914</c:v>
                </c:pt>
                <c:pt idx="29">
                  <c:v>0.12663085188027629</c:v>
                </c:pt>
                <c:pt idx="30">
                  <c:v>0.13218390804597702</c:v>
                </c:pt>
                <c:pt idx="31">
                  <c:v>0.1391705069124424</c:v>
                </c:pt>
                <c:pt idx="32">
                  <c:v>0.1514629948364888</c:v>
                </c:pt>
                <c:pt idx="33">
                  <c:v>0.13315579227696406</c:v>
                </c:pt>
                <c:pt idx="34">
                  <c:v>0.13852813852813853</c:v>
                </c:pt>
                <c:pt idx="35">
                  <c:v>0.14928649835345773</c:v>
                </c:pt>
                <c:pt idx="36">
                  <c:v>0.1322140608604407</c:v>
                </c:pt>
                <c:pt idx="37">
                  <c:v>0.13480233311730394</c:v>
                </c:pt>
                <c:pt idx="38">
                  <c:v>0.11252268602540835</c:v>
                </c:pt>
                <c:pt idx="39">
                  <c:v>0.10314557425018288</c:v>
                </c:pt>
                <c:pt idx="40">
                  <c:v>0.10723039215686274</c:v>
                </c:pt>
                <c:pt idx="41">
                  <c:v>0.13144329896907217</c:v>
                </c:pt>
                <c:pt idx="42">
                  <c:v>0.11167227833894501</c:v>
                </c:pt>
                <c:pt idx="43">
                  <c:v>0.09038182696955051</c:v>
                </c:pt>
                <c:pt idx="44">
                  <c:v>0.08155270655270655</c:v>
                </c:pt>
                <c:pt idx="45">
                  <c:v>0.12022471910112359</c:v>
                </c:pt>
                <c:pt idx="46">
                  <c:v>0.1245626312106368</c:v>
                </c:pt>
                <c:pt idx="47">
                  <c:v>0.1160985487681404</c:v>
                </c:pt>
                <c:pt idx="48">
                  <c:v>0.10499880411384836</c:v>
                </c:pt>
                <c:pt idx="49">
                  <c:v>0.10967522530181942</c:v>
                </c:pt>
                <c:pt idx="50">
                  <c:v>0.12096242584047462</c:v>
                </c:pt>
                <c:pt idx="51">
                  <c:v>0.11814345991561181</c:v>
                </c:pt>
                <c:pt idx="52">
                  <c:v>0.11442385173247381</c:v>
                </c:pt>
                <c:pt idx="53">
                  <c:v>0.11356209150326797</c:v>
                </c:pt>
                <c:pt idx="54">
                  <c:v>0.11235431235431236</c:v>
                </c:pt>
                <c:pt idx="55">
                  <c:v>0.11889097744360902</c:v>
                </c:pt>
                <c:pt idx="56">
                  <c:v>0.12215758857747223</c:v>
                </c:pt>
                <c:pt idx="57">
                  <c:v>0.10919822921790458</c:v>
                </c:pt>
                <c:pt idx="58">
                  <c:v>0.11266149870801033</c:v>
                </c:pt>
                <c:pt idx="59">
                  <c:v>0.09096573208722741</c:v>
                </c:pt>
                <c:pt idx="60">
                  <c:v>0.10681114551083591</c:v>
                </c:pt>
                <c:pt idx="61">
                  <c:v>0.12600663192799622</c:v>
                </c:pt>
                <c:pt idx="62">
                  <c:v>0.1251840942562592</c:v>
                </c:pt>
                <c:pt idx="63">
                  <c:v>0.1182615963226076</c:v>
                </c:pt>
                <c:pt idx="64">
                  <c:v>0.12775510204081633</c:v>
                </c:pt>
                <c:pt idx="65">
                  <c:v>0.12617220801364024</c:v>
                </c:pt>
                <c:pt idx="66">
                  <c:v>0.12244897959183673</c:v>
                </c:pt>
                <c:pt idx="67">
                  <c:v>0.11530309453158118</c:v>
                </c:pt>
                <c:pt idx="68">
                  <c:v>0.09622641509433963</c:v>
                </c:pt>
                <c:pt idx="69">
                  <c:v>0.09867549668874172</c:v>
                </c:pt>
                <c:pt idx="70">
                  <c:v>0.09588235294117647</c:v>
                </c:pt>
                <c:pt idx="71">
                  <c:v>0.10217113665389528</c:v>
                </c:pt>
                <c:pt idx="72">
                  <c:v>0.08756567425569177</c:v>
                </c:pt>
                <c:pt idx="73">
                  <c:v>0.10089399744572158</c:v>
                </c:pt>
                <c:pt idx="74">
                  <c:v>0.0840764331210191</c:v>
                </c:pt>
                <c:pt idx="75">
                  <c:v>0.09827833572453372</c:v>
                </c:pt>
                <c:pt idx="76">
                  <c:v>0.12214239059438275</c:v>
                </c:pt>
                <c:pt idx="77">
                  <c:v>0.11681547619047619</c:v>
                </c:pt>
                <c:pt idx="78">
                  <c:v>0.12918287937743192</c:v>
                </c:pt>
                <c:pt idx="79">
                  <c:v>0.11346938775510204</c:v>
                </c:pt>
                <c:pt idx="80">
                  <c:v>0.10777957860615883</c:v>
                </c:pt>
                <c:pt idx="81">
                  <c:v>0.10149863760217984</c:v>
                </c:pt>
                <c:pt idx="82">
                  <c:v>0.10728582866293035</c:v>
                </c:pt>
                <c:pt idx="83">
                  <c:v>0.1099434114793856</c:v>
                </c:pt>
                <c:pt idx="84">
                  <c:v>0.11194653299916457</c:v>
                </c:pt>
                <c:pt idx="85">
                  <c:v>0.10174880763116058</c:v>
                </c:pt>
                <c:pt idx="86">
                  <c:v>0.11690450054884742</c:v>
                </c:pt>
                <c:pt idx="87">
                  <c:v>0.12472283813747229</c:v>
                </c:pt>
                <c:pt idx="88">
                  <c:v>0.11702750146284377</c:v>
                </c:pt>
                <c:pt idx="89">
                  <c:v>0.12777053455019557</c:v>
                </c:pt>
                <c:pt idx="90">
                  <c:v>0.10842490842490843</c:v>
                </c:pt>
                <c:pt idx="91">
                  <c:v>0.0962223806129722</c:v>
                </c:pt>
                <c:pt idx="92">
                  <c:v>0.11130638547158758</c:v>
                </c:pt>
                <c:pt idx="93">
                  <c:v>0.09618768328445748</c:v>
                </c:pt>
                <c:pt idx="94">
                  <c:v>0.11034084344309647</c:v>
                </c:pt>
                <c:pt idx="95">
                  <c:v>0.11661807580174927</c:v>
                </c:pt>
                <c:pt idx="96">
                  <c:v>0.09644670050761421</c:v>
                </c:pt>
                <c:pt idx="97">
                  <c:v>0.08952380952380952</c:v>
                </c:pt>
                <c:pt idx="98">
                  <c:v>0.09069834830483918</c:v>
                </c:pt>
                <c:pt idx="99">
                  <c:v>0.09437386569872959</c:v>
                </c:pt>
                <c:pt idx="100">
                  <c:v>0.09641873278236915</c:v>
                </c:pt>
                <c:pt idx="101">
                  <c:v>0.10426540284360189</c:v>
                </c:pt>
                <c:pt idx="102">
                  <c:v>0.10600706713780919</c:v>
                </c:pt>
                <c:pt idx="103">
                  <c:v>0.10221619176843058</c:v>
                </c:pt>
                <c:pt idx="104">
                  <c:v>0.105263157894736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0.5696</c:v>
                </c:pt>
                <c:pt idx="1">
                  <c:v>1142.951</c:v>
                </c:pt>
                <c:pt idx="2">
                  <c:v>1141.2564</c:v>
                </c:pt>
                <c:pt idx="3">
                  <c:v>1086.7962</c:v>
                </c:pt>
                <c:pt idx="4">
                  <c:v>1131.8601</c:v>
                </c:pt>
                <c:pt idx="5">
                  <c:v>1123.1861</c:v>
                </c:pt>
                <c:pt idx="6">
                  <c:v>1102.9126</c:v>
                </c:pt>
                <c:pt idx="7">
                  <c:v>1166.8017</c:v>
                </c:pt>
                <c:pt idx="8">
                  <c:v>1163.6581</c:v>
                </c:pt>
                <c:pt idx="9">
                  <c:v>1109.2436</c:v>
                </c:pt>
                <c:pt idx="10">
                  <c:v>1148.1848</c:v>
                </c:pt>
                <c:pt idx="11">
                  <c:v>1043.0712</c:v>
                </c:pt>
                <c:pt idx="12">
                  <c:v>1020.7411</c:v>
                </c:pt>
                <c:pt idx="13">
                  <c:v>1047.6162</c:v>
                </c:pt>
                <c:pt idx="14">
                  <c:v>1040.8905</c:v>
                </c:pt>
                <c:pt idx="15">
                  <c:v>1060.6584</c:v>
                </c:pt>
                <c:pt idx="16">
                  <c:v>1118.5261</c:v>
                </c:pt>
                <c:pt idx="17">
                  <c:v>842.6254</c:v>
                </c:pt>
                <c:pt idx="18">
                  <c:v>954.1535</c:v>
                </c:pt>
                <c:pt idx="19">
                  <c:v>1270.0387</c:v>
                </c:pt>
                <c:pt idx="20">
                  <c:v>1245.1181</c:v>
                </c:pt>
                <c:pt idx="21">
                  <c:v>1188.5752</c:v>
                </c:pt>
                <c:pt idx="22">
                  <c:v>1155.8468</c:v>
                </c:pt>
                <c:pt idx="23">
                  <c:v>1202.6881</c:v>
                </c:pt>
                <c:pt idx="24">
                  <c:v>1203.6316</c:v>
                </c:pt>
                <c:pt idx="25">
                  <c:v>1173.6803</c:v>
                </c:pt>
                <c:pt idx="26">
                  <c:v>1082.8973</c:v>
                </c:pt>
                <c:pt idx="27">
                  <c:v>1117.8165</c:v>
                </c:pt>
                <c:pt idx="28">
                  <c:v>1152.7092</c:v>
                </c:pt>
                <c:pt idx="29">
                  <c:v>1159.6118</c:v>
                </c:pt>
                <c:pt idx="30">
                  <c:v>1216.1831</c:v>
                </c:pt>
                <c:pt idx="31">
                  <c:v>1212.7348</c:v>
                </c:pt>
                <c:pt idx="32">
                  <c:v>1222.3378</c:v>
                </c:pt>
                <c:pt idx="33">
                  <c:v>1210.8592</c:v>
                </c:pt>
                <c:pt idx="34">
                  <c:v>1202.4359</c:v>
                </c:pt>
                <c:pt idx="35">
                  <c:v>1226.5018</c:v>
                </c:pt>
                <c:pt idx="36">
                  <c:v>1245.5562</c:v>
                </c:pt>
                <c:pt idx="37">
                  <c:v>1248.9563</c:v>
                </c:pt>
                <c:pt idx="38">
                  <c:v>1277.3906</c:v>
                </c:pt>
                <c:pt idx="39">
                  <c:v>1240.5286</c:v>
                </c:pt>
                <c:pt idx="40">
                  <c:v>1240.6931</c:v>
                </c:pt>
                <c:pt idx="41">
                  <c:v>1233.2827</c:v>
                </c:pt>
                <c:pt idx="42">
                  <c:v>1193.3583</c:v>
                </c:pt>
                <c:pt idx="43">
                  <c:v>1253.4518</c:v>
                </c:pt>
                <c:pt idx="44">
                  <c:v>1209.0081</c:v>
                </c:pt>
                <c:pt idx="45">
                  <c:v>1171.2005</c:v>
                </c:pt>
                <c:pt idx="46">
                  <c:v>1125.6113</c:v>
                </c:pt>
                <c:pt idx="47">
                  <c:v>1099.1068</c:v>
                </c:pt>
                <c:pt idx="48">
                  <c:v>1078.2989</c:v>
                </c:pt>
                <c:pt idx="49">
                  <c:v>1093.0991</c:v>
                </c:pt>
                <c:pt idx="50">
                  <c:v>1134.545</c:v>
                </c:pt>
                <c:pt idx="51">
                  <c:v>1111.4802</c:v>
                </c:pt>
              </c:numCache>
            </c:numRef>
          </c:xVal>
          <c:yVal>
            <c:numRef>
              <c:f>Sheet1!$B$109:$B$160</c:f>
              <c:numCache>
                <c:formatCode>General</c:formatCode>
                <c:ptCount val="52"/>
                <c:pt idx="0">
                  <c:v>0.10574712643678161</c:v>
                </c:pt>
                <c:pt idx="1">
                  <c:v>0.09980430528375733</c:v>
                </c:pt>
                <c:pt idx="2">
                  <c:v>0.12420382165605096</c:v>
                </c:pt>
                <c:pt idx="3">
                  <c:v>0.13851891315929676</c:v>
                </c:pt>
                <c:pt idx="4">
                  <c:v>0.11958661417322834</c:v>
                </c:pt>
                <c:pt idx="5">
                  <c:v>0.13050847457627118</c:v>
                </c:pt>
                <c:pt idx="6">
                  <c:v>0.13994565217391305</c:v>
                </c:pt>
                <c:pt idx="7">
                  <c:v>0.12989921612541994</c:v>
                </c:pt>
                <c:pt idx="8">
                  <c:v>0.12715340442986053</c:v>
                </c:pt>
                <c:pt idx="9">
                  <c:v>0.12351543942992874</c:v>
                </c:pt>
                <c:pt idx="10">
                  <c:v>0.14047936085219706</c:v>
                </c:pt>
                <c:pt idx="11">
                  <c:v>0.13045496750232127</c:v>
                </c:pt>
                <c:pt idx="12">
                  <c:v>0.14365411436541142</c:v>
                </c:pt>
                <c:pt idx="13">
                  <c:v>0.1440349175557711</c:v>
                </c:pt>
                <c:pt idx="14">
                  <c:v>0.15388798259923872</c:v>
                </c:pt>
                <c:pt idx="15">
                  <c:v>0.1407815631262525</c:v>
                </c:pt>
                <c:pt idx="16">
                  <c:v>0.13621691413815365</c:v>
                </c:pt>
                <c:pt idx="17">
                  <c:v>0.18071519795657726</c:v>
                </c:pt>
                <c:pt idx="18">
                  <c:v>0.15930599369085174</c:v>
                </c:pt>
                <c:pt idx="19">
                  <c:v>0.11931443638760712</c:v>
                </c:pt>
                <c:pt idx="20">
                  <c:v>0.10714285714285714</c:v>
                </c:pt>
                <c:pt idx="21">
                  <c:v>0.12046908315565032</c:v>
                </c:pt>
                <c:pt idx="22">
                  <c:v>0.1415525114155251</c:v>
                </c:pt>
                <c:pt idx="23">
                  <c:v>0.1357409713574097</c:v>
                </c:pt>
                <c:pt idx="24">
                  <c:v>0.14091470951792337</c:v>
                </c:pt>
                <c:pt idx="25">
                  <c:v>0.15365239294710328</c:v>
                </c:pt>
                <c:pt idx="26">
                  <c:v>0.14092664092664092</c:v>
                </c:pt>
                <c:pt idx="27">
                  <c:v>0.13504273504273503</c:v>
                </c:pt>
                <c:pt idx="28">
                  <c:v>0.12103004291845494</c:v>
                </c:pt>
                <c:pt idx="29">
                  <c:v>0.14326107445805844</c:v>
                </c:pt>
                <c:pt idx="30">
                  <c:v>0.1347248576850095</c:v>
                </c:pt>
                <c:pt idx="31">
                  <c:v>0.13226452905811623</c:v>
                </c:pt>
                <c:pt idx="32">
                  <c:v>0.14396887159533073</c:v>
                </c:pt>
                <c:pt idx="33">
                  <c:v>0.15860014892032762</c:v>
                </c:pt>
                <c:pt idx="34">
                  <c:v>0.16666666666666666</c:v>
                </c:pt>
                <c:pt idx="35">
                  <c:v>0.17624763108022742</c:v>
                </c:pt>
                <c:pt idx="36">
                  <c:v>0.15633672525439407</c:v>
                </c:pt>
                <c:pt idx="37">
                  <c:v>0.16680161943319838</c:v>
                </c:pt>
                <c:pt idx="38">
                  <c:v>0.15005861664712777</c:v>
                </c:pt>
                <c:pt idx="39">
                  <c:v>0.15706806282722513</c:v>
                </c:pt>
                <c:pt idx="40">
                  <c:v>0.15153788447111777</c:v>
                </c:pt>
                <c:pt idx="41">
                  <c:v>0.14794007490636704</c:v>
                </c:pt>
                <c:pt idx="42">
                  <c:v>0.1449612403100775</c:v>
                </c:pt>
                <c:pt idx="43">
                  <c:v>0.1345926800472255</c:v>
                </c:pt>
                <c:pt idx="44">
                  <c:v>0.12048780487804878</c:v>
                </c:pt>
                <c:pt idx="45">
                  <c:v>0.1409445890665675</c:v>
                </c:pt>
                <c:pt idx="46">
                  <c:v>0.16412390198797966</c:v>
                </c:pt>
                <c:pt idx="47">
                  <c:v>0.15465163109142166</c:v>
                </c:pt>
                <c:pt idx="48">
                  <c:v>0.14845024469820556</c:v>
                </c:pt>
                <c:pt idx="49">
                  <c:v>0.1670428893905192</c:v>
                </c:pt>
                <c:pt idx="50">
                  <c:v>0.13571260859356657</c:v>
                </c:pt>
                <c:pt idx="51">
                  <c:v>0.12811526479750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7.4319743287284</c:v>
                </c:pt>
              </c:numCache>
            </c:numRef>
          </c:xVal>
          <c:yVal>
            <c:numRef>
              <c:f>Sheet1!$B$163:$B$164</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7.4319743287284</c:v>
                </c:pt>
                <c:pt idx="1">
                  <c:v>767.4319743287284</c:v>
                </c:pt>
              </c:numCache>
            </c:numRef>
          </c:xVal>
          <c:yVal>
            <c:numRef>
              <c:f>Sheet1!$B$167:$B$168</c:f>
              <c:numCache>
                <c:formatCode>General</c:formatCode>
                <c:ptCount val="2"/>
                <c:pt idx="0">
                  <c:v>0.151211727846229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67.4319743287284</c:v>
                </c:pt>
              </c:numCache>
            </c:numRef>
          </c:xVal>
          <c:yVal>
            <c:numRef>
              <c:f>Sheet1!$B$171:$B$172</c:f>
              <c:numCache>
                <c:formatCode>General</c:formatCode>
                <c:ptCount val="2"/>
                <c:pt idx="0">
                  <c:v>0.15121172784622908</c:v>
                </c:pt>
                <c:pt idx="1">
                  <c:v>0.151211727846229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67.4319743287284</c:v>
                </c:pt>
                <c:pt idx="1">
                  <c:v>767.4319743287284</c:v>
                </c:pt>
              </c:numCache>
            </c:numRef>
          </c:xVal>
          <c:yVal>
            <c:numRef>
              <c:f>Sheet1!$B$175:$B$176</c:f>
              <c:numCache>
                <c:formatCode>General</c:formatCode>
                <c:ptCount val="2"/>
                <c:pt idx="0">
                  <c:v>0.151211727846229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60.1165130912881</c:v>
                </c:pt>
              </c:numCache>
            </c:numRef>
          </c:xVal>
          <c:yVal>
            <c:numRef>
              <c:f>Sheet1!$B$179:$B$180</c:f>
              <c:numCache>
                <c:formatCode>General</c:formatCode>
                <c:ptCount val="2"/>
                <c:pt idx="0">
                  <c:v>0.14581760592814075</c:v>
                </c:pt>
                <c:pt idx="1">
                  <c:v>0.145817605928140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60.1165130912881</c:v>
                </c:pt>
                <c:pt idx="1">
                  <c:v>960.1165130912881</c:v>
                </c:pt>
              </c:numCache>
            </c:numRef>
          </c:xVal>
          <c:yVal>
            <c:numRef>
              <c:f>Sheet1!$B$183:$B$184</c:f>
              <c:numCache>
                <c:formatCode>General</c:formatCode>
                <c:ptCount val="2"/>
                <c:pt idx="0">
                  <c:v>0.145817605928140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0.5696</c:v>
                </c:pt>
                <c:pt idx="1">
                  <c:v>1142.951</c:v>
                </c:pt>
                <c:pt idx="2">
                  <c:v>1141.2564</c:v>
                </c:pt>
                <c:pt idx="3">
                  <c:v>1086.7962</c:v>
                </c:pt>
                <c:pt idx="4">
                  <c:v>1131.8601</c:v>
                </c:pt>
                <c:pt idx="5">
                  <c:v>1123.1861</c:v>
                </c:pt>
                <c:pt idx="6">
                  <c:v>1102.9126</c:v>
                </c:pt>
                <c:pt idx="7">
                  <c:v>1166.8017</c:v>
                </c:pt>
                <c:pt idx="8">
                  <c:v>1163.6581</c:v>
                </c:pt>
                <c:pt idx="9">
                  <c:v>1109.2436</c:v>
                </c:pt>
                <c:pt idx="10">
                  <c:v>1148.1848</c:v>
                </c:pt>
                <c:pt idx="11">
                  <c:v>1043.0712</c:v>
                </c:pt>
                <c:pt idx="12">
                  <c:v>1020.7411</c:v>
                </c:pt>
                <c:pt idx="13">
                  <c:v>1047.6162</c:v>
                </c:pt>
                <c:pt idx="14">
                  <c:v>1040.8905</c:v>
                </c:pt>
                <c:pt idx="15">
                  <c:v>1060.6584</c:v>
                </c:pt>
                <c:pt idx="16">
                  <c:v>1118.5261</c:v>
                </c:pt>
                <c:pt idx="17">
                  <c:v>842.6254</c:v>
                </c:pt>
                <c:pt idx="18">
                  <c:v>954.1535</c:v>
                </c:pt>
                <c:pt idx="19">
                  <c:v>1270.0387</c:v>
                </c:pt>
                <c:pt idx="20">
                  <c:v>1245.1181</c:v>
                </c:pt>
                <c:pt idx="21">
                  <c:v>1188.5752</c:v>
                </c:pt>
                <c:pt idx="22">
                  <c:v>1155.8468</c:v>
                </c:pt>
                <c:pt idx="23">
                  <c:v>1202.6881</c:v>
                </c:pt>
                <c:pt idx="24">
                  <c:v>1203.6316</c:v>
                </c:pt>
                <c:pt idx="25">
                  <c:v>1173.6803</c:v>
                </c:pt>
                <c:pt idx="26">
                  <c:v>1082.8973</c:v>
                </c:pt>
                <c:pt idx="27">
                  <c:v>1117.8165</c:v>
                </c:pt>
                <c:pt idx="28">
                  <c:v>1152.7092</c:v>
                </c:pt>
                <c:pt idx="29">
                  <c:v>1159.6118</c:v>
                </c:pt>
                <c:pt idx="30">
                  <c:v>1216.1831</c:v>
                </c:pt>
                <c:pt idx="31">
                  <c:v>1212.7348</c:v>
                </c:pt>
                <c:pt idx="32">
                  <c:v>1222.3378</c:v>
                </c:pt>
                <c:pt idx="33">
                  <c:v>1210.8592</c:v>
                </c:pt>
                <c:pt idx="34">
                  <c:v>1202.4359</c:v>
                </c:pt>
                <c:pt idx="35">
                  <c:v>1226.5018</c:v>
                </c:pt>
                <c:pt idx="36">
                  <c:v>1245.5562</c:v>
                </c:pt>
                <c:pt idx="37">
                  <c:v>1248.9563</c:v>
                </c:pt>
                <c:pt idx="38">
                  <c:v>1277.3906</c:v>
                </c:pt>
                <c:pt idx="39">
                  <c:v>1240.5286</c:v>
                </c:pt>
                <c:pt idx="40">
                  <c:v>1240.6931</c:v>
                </c:pt>
                <c:pt idx="41">
                  <c:v>1233.2827</c:v>
                </c:pt>
                <c:pt idx="42">
                  <c:v>1193.3583</c:v>
                </c:pt>
                <c:pt idx="43">
                  <c:v>1253.4518</c:v>
                </c:pt>
                <c:pt idx="44">
                  <c:v>1209.0081</c:v>
                </c:pt>
                <c:pt idx="45">
                  <c:v>1171.2005</c:v>
                </c:pt>
                <c:pt idx="46">
                  <c:v>1125.6113</c:v>
                </c:pt>
                <c:pt idx="47">
                  <c:v>1099.1068</c:v>
                </c:pt>
                <c:pt idx="48">
                  <c:v>1078.2989</c:v>
                </c:pt>
                <c:pt idx="49">
                  <c:v>1093.0991</c:v>
                </c:pt>
                <c:pt idx="50">
                  <c:v>1134.545</c:v>
                </c:pt>
                <c:pt idx="51">
                  <c:v>1111.4802</c:v>
                </c:pt>
                <c:pt idx="52">
                  <c:v>767.4319743287284</c:v>
                </c:pt>
                <c:pt idx="53">
                  <c:v>767.4319743287284</c:v>
                </c:pt>
                <c:pt idx="54">
                  <c:v>960.1165130912881</c:v>
                </c:pt>
              </c:numCache>
            </c:numRef>
          </c:xVal>
          <c:yVal>
            <c:numRef>
              <c:f>Sheet1!$B$187:$B$241</c:f>
              <c:numCache>
                <c:formatCode>General</c:formatCode>
                <c:ptCount val="55"/>
                <c:pt idx="0">
                  <c:v>0.14300546437639106</c:v>
                </c:pt>
                <c:pt idx="1">
                  <c:v>0.14069923203291076</c:v>
                </c:pt>
                <c:pt idx="2">
                  <c:v>0.14074667164099294</c:v>
                </c:pt>
                <c:pt idx="3">
                  <c:v>0.14227126183577485</c:v>
                </c:pt>
                <c:pt idx="4">
                  <c:v>0.1410097170732027</c:v>
                </c:pt>
                <c:pt idx="5">
                  <c:v>0.1412525420233413</c:v>
                </c:pt>
                <c:pt idx="6">
                  <c:v>0.14182009005500315</c:v>
                </c:pt>
                <c:pt idx="7">
                  <c:v>0.14003154180484173</c:v>
                </c:pt>
                <c:pt idx="8">
                  <c:v>0.14011954555319955</c:v>
                </c:pt>
                <c:pt idx="9">
                  <c:v>0.14164285639586924</c:v>
                </c:pt>
                <c:pt idx="10">
                  <c:v>0.14055271402230027</c:v>
                </c:pt>
                <c:pt idx="11">
                  <c:v>0.1434953246608625</c:v>
                </c:pt>
                <c:pt idx="12">
                  <c:v>0.14412044633703153</c:v>
                </c:pt>
                <c:pt idx="13">
                  <c:v>0.14336808931403522</c:v>
                </c:pt>
                <c:pt idx="14">
                  <c:v>0.14355637243222144</c:v>
                </c:pt>
                <c:pt idx="15">
                  <c:v>0.14300297845806362</c:v>
                </c:pt>
                <c:pt idx="16">
                  <c:v>0.14138299674638094</c:v>
                </c:pt>
                <c:pt idx="17">
                  <c:v>0.14910671979465226</c:v>
                </c:pt>
                <c:pt idx="18">
                  <c:v>0.14598453794988017</c:v>
                </c:pt>
                <c:pt idx="19">
                  <c:v>0.1371414657871499</c:v>
                </c:pt>
                <c:pt idx="20">
                  <c:v>0.1378391074118241</c:v>
                </c:pt>
                <c:pt idx="21">
                  <c:v>0.1394220019095405</c:v>
                </c:pt>
                <c:pt idx="22">
                  <c:v>0.14033821958283035</c:v>
                </c:pt>
                <c:pt idx="23">
                  <c:v>0.13902691726130312</c:v>
                </c:pt>
                <c:pt idx="24">
                  <c:v>0.13900050437907396</c:v>
                </c:pt>
                <c:pt idx="25">
                  <c:v>0.13983897831602188</c:v>
                </c:pt>
                <c:pt idx="26">
                  <c:v>0.14238040988720388</c:v>
                </c:pt>
                <c:pt idx="27">
                  <c:v>0.14140286169733995</c:v>
                </c:pt>
                <c:pt idx="28">
                  <c:v>0.14042605536373362</c:v>
                </c:pt>
                <c:pt idx="29">
                  <c:v>0.14023282000509554</c:v>
                </c:pt>
                <c:pt idx="30">
                  <c:v>0.13864913046142757</c:v>
                </c:pt>
                <c:pt idx="31">
                  <c:v>0.13874566415701933</c:v>
                </c:pt>
                <c:pt idx="32">
                  <c:v>0.13847683224600008</c:v>
                </c:pt>
                <c:pt idx="33">
                  <c:v>0.138798170783314</c:v>
                </c:pt>
                <c:pt idx="34">
                  <c:v>0.13903397749330967</c:v>
                </c:pt>
                <c:pt idx="35">
                  <c:v>0.1383602628325372</c:v>
                </c:pt>
                <c:pt idx="36">
                  <c:v>0.13782684298818382</c:v>
                </c:pt>
                <c:pt idx="37">
                  <c:v>0.13773165863114367</c:v>
                </c:pt>
                <c:pt idx="38">
                  <c:v>0.13693565246562303</c:v>
                </c:pt>
                <c:pt idx="39">
                  <c:v>0.1379675885172727</c:v>
                </c:pt>
                <c:pt idx="40">
                  <c:v>0.13796298340956026</c:v>
                </c:pt>
                <c:pt idx="41">
                  <c:v>0.13817043441376906</c:v>
                </c:pt>
                <c:pt idx="42">
                  <c:v>0.13928810105422484</c:v>
                </c:pt>
                <c:pt idx="43">
                  <c:v>0.13760580901581648</c:v>
                </c:pt>
                <c:pt idx="44">
                  <c:v>0.13884999154250255</c:v>
                </c:pt>
                <c:pt idx="45">
                  <c:v>0.1399083992649905</c:v>
                </c:pt>
                <c:pt idx="46">
                  <c:v>0.14118464957820914</c:v>
                </c:pt>
                <c:pt idx="47">
                  <c:v>0.14192663181142895</c:v>
                </c:pt>
                <c:pt idx="48">
                  <c:v>0.14250914014437674</c:v>
                </c:pt>
                <c:pt idx="49">
                  <c:v>0.1420948148242198</c:v>
                </c:pt>
                <c:pt idx="50">
                  <c:v>0.1409345544367458</c:v>
                </c:pt>
                <c:pt idx="51">
                  <c:v>0.14158024372772537</c:v>
                </c:pt>
                <c:pt idx="52">
                  <c:v>0.15121172784622908</c:v>
                </c:pt>
                <c:pt idx="53">
                  <c:v>0.15121172784622908</c:v>
                </c:pt>
                <c:pt idx="54">
                  <c:v>0.145817605928140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3.0"/>
          <c:min val="59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68582375478927"/>
          <c:min val="0.0621004566210045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73551285572634</c:v>
                </c:pt>
                <c:pt idx="1">
                  <c:v>0.7989399051489194</c:v>
                </c:pt>
                <c:pt idx="2">
                  <c:v>0.9306832929438407</c:v>
                </c:pt>
                <c:pt idx="3">
                  <c:v>0.8641185002033543</c:v>
                </c:pt>
                <c:pt idx="4">
                  <c:v>0.9217638582740969</c:v>
                </c:pt>
                <c:pt idx="5">
                  <c:v>0.8932356227472129</c:v>
                </c:pt>
                <c:pt idx="6">
                  <c:v>0.8578041465215914</c:v>
                </c:pt>
                <c:pt idx="7">
                  <c:v>0.8549917615283825</c:v>
                </c:pt>
                <c:pt idx="8">
                  <c:v>0.9095738550038245</c:v>
                </c:pt>
                <c:pt idx="9">
                  <c:v>0.8659614034282741</c:v>
                </c:pt>
                <c:pt idx="10">
                  <c:v>0.9431078438429792</c:v>
                </c:pt>
                <c:pt idx="11">
                  <c:v>0.9289582602762928</c:v>
                </c:pt>
                <c:pt idx="12">
                  <c:v>0.9206052024373547</c:v>
                </c:pt>
                <c:pt idx="13">
                  <c:v>0.8837383981307348</c:v>
                </c:pt>
                <c:pt idx="14">
                  <c:v>0.9099931575895515</c:v>
                </c:pt>
                <c:pt idx="15">
                  <c:v>0.9255142387847972</c:v>
                </c:pt>
                <c:pt idx="16">
                  <c:v>0.9106086964393756</c:v>
                </c:pt>
                <c:pt idx="17">
                  <c:v>0.9146110083402097</c:v>
                </c:pt>
                <c:pt idx="18">
                  <c:v>1.00036877129785</c:v>
                </c:pt>
                <c:pt idx="19">
                  <c:v>0.9597895005043344</c:v>
                </c:pt>
                <c:pt idx="20">
                  <c:v>0.9450065902887581</c:v>
                </c:pt>
                <c:pt idx="21">
                  <c:v>1.0328316058721558</c:v>
                </c:pt>
                <c:pt idx="22">
                  <c:v>1.0624464564458582</c:v>
                </c:pt>
                <c:pt idx="23">
                  <c:v>0.9235375864971331</c:v>
                </c:pt>
                <c:pt idx="24">
                  <c:v>0.9438706263639424</c:v>
                </c:pt>
                <c:pt idx="25">
                  <c:v>1.0321565528450565</c:v>
                </c:pt>
                <c:pt idx="26">
                  <c:v>1.0069980793095554</c:v>
                </c:pt>
                <c:pt idx="27">
                  <c:v>0.9851041511266972</c:v>
                </c:pt>
                <c:pt idx="28">
                  <c:v>0.9191521087549235</c:v>
                </c:pt>
                <c:pt idx="29">
                  <c:v>0.8997027440395862</c:v>
                </c:pt>
                <c:pt idx="30">
                  <c:v>0.8480811631896158</c:v>
                </c:pt>
                <c:pt idx="31">
                  <c:v>0.8678359331761812</c:v>
                </c:pt>
                <c:pt idx="32">
                  <c:v>0.7073172431894533</c:v>
                </c:pt>
                <c:pt idx="33">
                  <c:v>0.5675375699034062</c:v>
                </c:pt>
                <c:pt idx="34">
                  <c:v>0.8255635021431974</c:v>
                </c:pt>
                <c:pt idx="35">
                  <c:v>0.8801624669947143</c:v>
                </c:pt>
                <c:pt idx="36">
                  <c:v>0.7942749715524051</c:v>
                </c:pt>
                <c:pt idx="37">
                  <c:v>0.8823247768715029</c:v>
                </c:pt>
                <c:pt idx="38">
                  <c:v>0.9092938227516536</c:v>
                </c:pt>
                <c:pt idx="39">
                  <c:v>0.8197438380588534</c:v>
                </c:pt>
                <c:pt idx="40">
                  <c:v>0.8854328903484373</c:v>
                </c:pt>
                <c:pt idx="41">
                  <c:v>0.816381680659195</c:v>
                </c:pt>
                <c:pt idx="42">
                  <c:v>0.8867221972655608</c:v>
                </c:pt>
                <c:pt idx="43">
                  <c:v>0.9445203467063021</c:v>
                </c:pt>
                <c:pt idx="44">
                  <c:v>0.8886628943079524</c:v>
                </c:pt>
                <c:pt idx="45">
                  <c:v>0.883193748292006</c:v>
                </c:pt>
                <c:pt idx="46">
                  <c:v>0.8969504265799751</c:v>
                </c:pt>
                <c:pt idx="47">
                  <c:v>0.9158798988658048</c:v>
                </c:pt>
                <c:pt idx="48">
                  <c:v>0.9808891383750228</c:v>
                </c:pt>
                <c:pt idx="49">
                  <c:v>1.1000413353987781</c:v>
                </c:pt>
                <c:pt idx="50">
                  <c:v>0.9785876449792902</c:v>
                </c:pt>
                <c:pt idx="51">
                  <c:v>0.9036222269304336</c:v>
                </c:pt>
                <c:pt idx="52">
                  <c:v>0.9272885525389356</c:v>
                </c:pt>
                <c:pt idx="53">
                  <c:v>0.9817047769964088</c:v>
                </c:pt>
                <c:pt idx="54">
                  <c:v>0.9804430399885624</c:v>
                </c:pt>
                <c:pt idx="55">
                  <c:v>0.9749228975047384</c:v>
                </c:pt>
                <c:pt idx="56">
                  <c:v>1.0049336259196398</c:v>
                </c:pt>
                <c:pt idx="57">
                  <c:v>1.0053824798954634</c:v>
                </c:pt>
                <c:pt idx="58">
                  <c:v>0.9525560026640262</c:v>
                </c:pt>
                <c:pt idx="59">
                  <c:v>0.9861400818467791</c:v>
                </c:pt>
                <c:pt idx="60">
                  <c:v>0.9982221871743164</c:v>
                </c:pt>
                <c:pt idx="61">
                  <c:v>0.9089165047927936</c:v>
                </c:pt>
                <c:pt idx="62">
                  <c:v>0.9015290431618069</c:v>
                </c:pt>
                <c:pt idx="63">
                  <c:v>0.9475270467735918</c:v>
                </c:pt>
                <c:pt idx="64">
                  <c:v>0.9684593156484319</c:v>
                </c:pt>
                <c:pt idx="65">
                  <c:v>0.9028336374474126</c:v>
                </c:pt>
                <c:pt idx="66">
                  <c:v>0.8626058600580514</c:v>
                </c:pt>
                <c:pt idx="67">
                  <c:v>0.8839077426601477</c:v>
                </c:pt>
                <c:pt idx="68">
                  <c:v>0.9039814372255314</c:v>
                </c:pt>
                <c:pt idx="69">
                  <c:v>0.8376207937141631</c:v>
                </c:pt>
                <c:pt idx="70">
                  <c:v>0.8456311858832617</c:v>
                </c:pt>
                <c:pt idx="71">
                  <c:v>0.8854866972162209</c:v>
                </c:pt>
                <c:pt idx="72">
                  <c:v>0.8979227582341017</c:v>
                </c:pt>
                <c:pt idx="73">
                  <c:v>0.8059641915378952</c:v>
                </c:pt>
                <c:pt idx="74">
                  <c:v>0.7264879562536868</c:v>
                </c:pt>
                <c:pt idx="75">
                  <c:v>0.8403882804263232</c:v>
                </c:pt>
                <c:pt idx="76">
                  <c:v>0.8035028894346201</c:v>
                </c:pt>
                <c:pt idx="77">
                  <c:v>0.8097325766979961</c:v>
                </c:pt>
                <c:pt idx="78">
                  <c:v>0.8524277230116449</c:v>
                </c:pt>
                <c:pt idx="79">
                  <c:v>0.8286158878495915</c:v>
                </c:pt>
                <c:pt idx="80">
                  <c:v>0.6734802986111855</c:v>
                </c:pt>
                <c:pt idx="81">
                  <c:v>0.7754432042022325</c:v>
                </c:pt>
                <c:pt idx="82">
                  <c:v>0.7494809584664537</c:v>
                </c:pt>
                <c:pt idx="83">
                  <c:v>0.7781749048068102</c:v>
                </c:pt>
                <c:pt idx="84">
                  <c:v>0.7121048979961926</c:v>
                </c:pt>
                <c:pt idx="85">
                  <c:v>0.8180008876647583</c:v>
                </c:pt>
                <c:pt idx="86">
                  <c:v>0.6955117703828144</c:v>
                </c:pt>
                <c:pt idx="87">
                  <c:v>0.7445012956562047</c:v>
                </c:pt>
                <c:pt idx="88">
                  <c:v>0.8057606354165355</c:v>
                </c:pt>
                <c:pt idx="89">
                  <c:v>0.661414580267735</c:v>
                </c:pt>
                <c:pt idx="90">
                  <c:v>0.6770601320463185</c:v>
                </c:pt>
                <c:pt idx="91">
                  <c:v>0.6321921931519265</c:v>
                </c:pt>
                <c:pt idx="92">
                  <c:v>0.7009098663583763</c:v>
                </c:pt>
                <c:pt idx="93">
                  <c:v>0.82075153129752</c:v>
                </c:pt>
                <c:pt idx="94">
                  <c:v>0.7648635290122814</c:v>
                </c:pt>
                <c:pt idx="95">
                  <c:v>0.7840646106990082</c:v>
                </c:pt>
                <c:pt idx="96">
                  <c:v>0.9424200988419927</c:v>
                </c:pt>
                <c:pt idx="97">
                  <c:v>0.8619533820346916</c:v>
                </c:pt>
                <c:pt idx="98">
                  <c:v>0.9577969915770086</c:v>
                </c:pt>
                <c:pt idx="99">
                  <c:v>1.0156275802723138</c:v>
                </c:pt>
                <c:pt idx="100">
                  <c:v>1.0040100210777778</c:v>
                </c:pt>
                <c:pt idx="101">
                  <c:v>1.0129536963822032</c:v>
                </c:pt>
                <c:pt idx="102">
                  <c:v>0.9315408941995139</c:v>
                </c:pt>
                <c:pt idx="103">
                  <c:v>0.7836858803093114</c:v>
                </c:pt>
                <c:pt idx="104">
                  <c:v>0.862761145740733</c:v>
                </c:pt>
              </c:numCache>
            </c:numRef>
          </c:xVal>
          <c:yVal>
            <c:numRef>
              <c:f>Sheet1!$B$2:$B$106</c:f>
              <c:numCache>
                <c:formatCode>General</c:formatCode>
                <c:ptCount val="105"/>
                <c:pt idx="0">
                  <c:v>0.23658170914542728</c:v>
                </c:pt>
                <c:pt idx="1">
                  <c:v>0.24613170205109752</c:v>
                </c:pt>
                <c:pt idx="2">
                  <c:v>0.24171737660581474</c:v>
                </c:pt>
                <c:pt idx="3">
                  <c:v>0.23220973782771537</c:v>
                </c:pt>
                <c:pt idx="4">
                  <c:v>0.23856466876971608</c:v>
                </c:pt>
                <c:pt idx="5">
                  <c:v>0.2326930047118521</c:v>
                </c:pt>
                <c:pt idx="6">
                  <c:v>0.2673721340388007</c:v>
                </c:pt>
                <c:pt idx="7">
                  <c:v>0.26565726083964214</c:v>
                </c:pt>
                <c:pt idx="8">
                  <c:v>0.2744097000638162</c:v>
                </c:pt>
                <c:pt idx="9">
                  <c:v>0.27017364657814097</c:v>
                </c:pt>
                <c:pt idx="10">
                  <c:v>0.27209302325581397</c:v>
                </c:pt>
                <c:pt idx="11">
                  <c:v>0.2683670640421403</c:v>
                </c:pt>
                <c:pt idx="12">
                  <c:v>0.2600884466556108</c:v>
                </c:pt>
                <c:pt idx="13">
                  <c:v>0.2665887167494885</c:v>
                </c:pt>
                <c:pt idx="14">
                  <c:v>0.25251294547669817</c:v>
                </c:pt>
                <c:pt idx="15">
                  <c:v>0.24973050664750268</c:v>
                </c:pt>
                <c:pt idx="16">
                  <c:v>0.23090055484421682</c:v>
                </c:pt>
                <c:pt idx="17">
                  <c:v>0.21798365122615804</c:v>
                </c:pt>
                <c:pt idx="18">
                  <c:v>0.23256860098965362</c:v>
                </c:pt>
                <c:pt idx="19">
                  <c:v>0.19050632911392404</c:v>
                </c:pt>
                <c:pt idx="20">
                  <c:v>0.1869380028395646</c:v>
                </c:pt>
                <c:pt idx="21">
                  <c:v>0.2</c:v>
                </c:pt>
                <c:pt idx="22">
                  <c:v>0.21104428649535265</c:v>
                </c:pt>
                <c:pt idx="23">
                  <c:v>0.19129916567342073</c:v>
                </c:pt>
                <c:pt idx="24">
                  <c:v>0.21460892049127342</c:v>
                </c:pt>
                <c:pt idx="25">
                  <c:v>0.21681723419041002</c:v>
                </c:pt>
                <c:pt idx="26">
                  <c:v>0.23018867924528302</c:v>
                </c:pt>
                <c:pt idx="27">
                  <c:v>0.20592948717948717</c:v>
                </c:pt>
                <c:pt idx="28">
                  <c:v>0.20088105726872246</c:v>
                </c:pt>
                <c:pt idx="29">
                  <c:v>0.20481927710843373</c:v>
                </c:pt>
                <c:pt idx="30">
                  <c:v>0.20633484162895926</c:v>
                </c:pt>
                <c:pt idx="31">
                  <c:v>0.20967741935483872</c:v>
                </c:pt>
                <c:pt idx="32">
                  <c:v>0.2381852551984877</c:v>
                </c:pt>
                <c:pt idx="33">
                  <c:v>0.2355406538139145</c:v>
                </c:pt>
                <c:pt idx="34">
                  <c:v>0.23876592890677398</c:v>
                </c:pt>
                <c:pt idx="35">
                  <c:v>0.24512055109070036</c:v>
                </c:pt>
                <c:pt idx="36">
                  <c:v>0.18966737438075018</c:v>
                </c:pt>
                <c:pt idx="37">
                  <c:v>0.1963898916967509</c:v>
                </c:pt>
                <c:pt idx="38">
                  <c:v>0.16407599309153714</c:v>
                </c:pt>
                <c:pt idx="39">
                  <c:v>0.1572926596758818</c:v>
                </c:pt>
                <c:pt idx="40">
                  <c:v>0.17089065894279507</c:v>
                </c:pt>
                <c:pt idx="41">
                  <c:v>0.15173410404624277</c:v>
                </c:pt>
                <c:pt idx="42">
                  <c:v>0.17592592592592593</c:v>
                </c:pt>
                <c:pt idx="43">
                  <c:v>0.16748423265592152</c:v>
                </c:pt>
                <c:pt idx="44">
                  <c:v>0.2116461366181411</c:v>
                </c:pt>
                <c:pt idx="45">
                  <c:v>0.22289156626506024</c:v>
                </c:pt>
                <c:pt idx="46">
                  <c:v>0.2357373519913886</c:v>
                </c:pt>
                <c:pt idx="47">
                  <c:v>0.21892125757138736</c:v>
                </c:pt>
                <c:pt idx="48">
                  <c:v>0.2380206000895656</c:v>
                </c:pt>
                <c:pt idx="49">
                  <c:v>0.2592997811816193</c:v>
                </c:pt>
                <c:pt idx="50">
                  <c:v>0.2187012987012987</c:v>
                </c:pt>
                <c:pt idx="51">
                  <c:v>0.21382289416846653</c:v>
                </c:pt>
                <c:pt idx="52">
                  <c:v>0.2208778840742825</c:v>
                </c:pt>
                <c:pt idx="53">
                  <c:v>0.1986404833836858</c:v>
                </c:pt>
                <c:pt idx="54">
                  <c:v>0.20503048780487804</c:v>
                </c:pt>
                <c:pt idx="55">
                  <c:v>0.20074211502782932</c:v>
                </c:pt>
                <c:pt idx="56">
                  <c:v>0.21606049693914295</c:v>
                </c:pt>
                <c:pt idx="57">
                  <c:v>0.19306759098786827</c:v>
                </c:pt>
                <c:pt idx="58">
                  <c:v>0.22176591375770022</c:v>
                </c:pt>
                <c:pt idx="59">
                  <c:v>0.21852799090650754</c:v>
                </c:pt>
                <c:pt idx="60">
                  <c:v>0.23915289256198347</c:v>
                </c:pt>
                <c:pt idx="61">
                  <c:v>0.2620131512392514</c:v>
                </c:pt>
                <c:pt idx="62">
                  <c:v>0.2703598484848485</c:v>
                </c:pt>
                <c:pt idx="63">
                  <c:v>0.2905708787684413</c:v>
                </c:pt>
                <c:pt idx="64">
                  <c:v>0.2774044519109618</c:v>
                </c:pt>
                <c:pt idx="65">
                  <c:v>0.2659279778393352</c:v>
                </c:pt>
                <c:pt idx="66">
                  <c:v>0.2641509433962264</c:v>
                </c:pt>
                <c:pt idx="67">
                  <c:v>0.2562755399883246</c:v>
                </c:pt>
                <c:pt idx="68">
                  <c:v>0.20919713531850734</c:v>
                </c:pt>
                <c:pt idx="69">
                  <c:v>0.19689922480620156</c:v>
                </c:pt>
                <c:pt idx="70">
                  <c:v>0.18305785123966942</c:v>
                </c:pt>
                <c:pt idx="71">
                  <c:v>0.20671206225680933</c:v>
                </c:pt>
                <c:pt idx="72">
                  <c:v>0.20656634746922026</c:v>
                </c:pt>
                <c:pt idx="73">
                  <c:v>0.21467098166127294</c:v>
                </c:pt>
                <c:pt idx="74">
                  <c:v>0.237029501525941</c:v>
                </c:pt>
                <c:pt idx="75">
                  <c:v>0.1989117291414752</c:v>
                </c:pt>
                <c:pt idx="76">
                  <c:v>0.19379391100702575</c:v>
                </c:pt>
                <c:pt idx="77">
                  <c:v>0.17655571635311143</c:v>
                </c:pt>
                <c:pt idx="78">
                  <c:v>0.16728624535315986</c:v>
                </c:pt>
                <c:pt idx="79">
                  <c:v>0.17998700454840805</c:v>
                </c:pt>
                <c:pt idx="80">
                  <c:v>0.1778880226789511</c:v>
                </c:pt>
                <c:pt idx="81">
                  <c:v>0.18610129564193167</c:v>
                </c:pt>
                <c:pt idx="82">
                  <c:v>0.1946969696969697</c:v>
                </c:pt>
                <c:pt idx="83">
                  <c:v>0.18096054888507718</c:v>
                </c:pt>
                <c:pt idx="84">
                  <c:v>0.1601027397260274</c:v>
                </c:pt>
                <c:pt idx="85">
                  <c:v>0.1662799690641918</c:v>
                </c:pt>
                <c:pt idx="86">
                  <c:v>0.18568665377176016</c:v>
                </c:pt>
                <c:pt idx="87">
                  <c:v>0.19606709080393292</c:v>
                </c:pt>
                <c:pt idx="88">
                  <c:v>0.17168429617575265</c:v>
                </c:pt>
                <c:pt idx="89">
                  <c:v>0.16607773851590105</c:v>
                </c:pt>
                <c:pt idx="90">
                  <c:v>0.17004405286343613</c:v>
                </c:pt>
                <c:pt idx="91">
                  <c:v>0.17095588235294118</c:v>
                </c:pt>
                <c:pt idx="92">
                  <c:v>0.17231434751261715</c:v>
                </c:pt>
                <c:pt idx="93">
                  <c:v>0.1780929866036249</c:v>
                </c:pt>
                <c:pt idx="94">
                  <c:v>0.17890625</c:v>
                </c:pt>
                <c:pt idx="95">
                  <c:v>0.20522388059701493</c:v>
                </c:pt>
                <c:pt idx="96">
                  <c:v>0.18004866180048662</c:v>
                </c:pt>
                <c:pt idx="97">
                  <c:v>0.19524019391802555</c:v>
                </c:pt>
                <c:pt idx="98">
                  <c:v>0.19683098591549295</c:v>
                </c:pt>
                <c:pt idx="99">
                  <c:v>0.20154075546719682</c:v>
                </c:pt>
                <c:pt idx="100">
                  <c:v>0.22551745443311708</c:v>
                </c:pt>
                <c:pt idx="101">
                  <c:v>0.2143306096794469</c:v>
                </c:pt>
                <c:pt idx="102">
                  <c:v>0.17244125846276384</c:v>
                </c:pt>
                <c:pt idx="103">
                  <c:v>0.21138482023968042</c:v>
                </c:pt>
                <c:pt idx="104">
                  <c:v>0.206626954579300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13097320683065</c:v>
                </c:pt>
                <c:pt idx="1">
                  <c:v>1.018805855241083</c:v>
                </c:pt>
                <c:pt idx="2">
                  <c:v>0.9704881515717892</c:v>
                </c:pt>
                <c:pt idx="3">
                  <c:v>1.075886756426539</c:v>
                </c:pt>
                <c:pt idx="4">
                  <c:v>1.0073241706245193</c:v>
                </c:pt>
                <c:pt idx="5">
                  <c:v>1.1633704976053216</c:v>
                </c:pt>
                <c:pt idx="6">
                  <c:v>1.1673861903943605</c:v>
                </c:pt>
                <c:pt idx="7">
                  <c:v>1.2395684612438216</c:v>
                </c:pt>
                <c:pt idx="8">
                  <c:v>1.288213749563954</c:v>
                </c:pt>
                <c:pt idx="9">
                  <c:v>1.1750152362174395</c:v>
                </c:pt>
                <c:pt idx="10">
                  <c:v>1.2152483340242548</c:v>
                </c:pt>
                <c:pt idx="11">
                  <c:v>1.2154592616207045</c:v>
                </c:pt>
                <c:pt idx="12">
                  <c:v>1.1329649494808367</c:v>
                </c:pt>
                <c:pt idx="13">
                  <c:v>1.223433815681115</c:v>
                </c:pt>
                <c:pt idx="14">
                  <c:v>1.1691150911006412</c:v>
                </c:pt>
                <c:pt idx="15">
                  <c:v>1.1491619907786768</c:v>
                </c:pt>
                <c:pt idx="16">
                  <c:v>1.1453732971391013</c:v>
                </c:pt>
                <c:pt idx="17">
                  <c:v>1.0543664080168318</c:v>
                </c:pt>
                <c:pt idx="18">
                  <c:v>1.3577897789118039</c:v>
                </c:pt>
                <c:pt idx="19">
                  <c:v>1.5048721720866922</c:v>
                </c:pt>
                <c:pt idx="20">
                  <c:v>1.3428720438060662</c:v>
                </c:pt>
                <c:pt idx="21">
                  <c:v>1.6183657355298817</c:v>
                </c:pt>
                <c:pt idx="22">
                  <c:v>1.3141622277086766</c:v>
                </c:pt>
                <c:pt idx="23">
                  <c:v>1.2915013980171912</c:v>
                </c:pt>
                <c:pt idx="24">
                  <c:v>1.5038161388359472</c:v>
                </c:pt>
                <c:pt idx="25">
                  <c:v>1.34444373620904</c:v>
                </c:pt>
                <c:pt idx="26">
                  <c:v>1.3004353458357394</c:v>
                </c:pt>
                <c:pt idx="27">
                  <c:v>1.3875876982520556</c:v>
                </c:pt>
                <c:pt idx="28">
                  <c:v>1.1821985286054981</c:v>
                </c:pt>
                <c:pt idx="29">
                  <c:v>1.45051203851603</c:v>
                </c:pt>
                <c:pt idx="30">
                  <c:v>1.3858208492078705</c:v>
                </c:pt>
                <c:pt idx="31">
                  <c:v>1.3615263187945768</c:v>
                </c:pt>
                <c:pt idx="32">
                  <c:v>1.341347387164436</c:v>
                </c:pt>
                <c:pt idx="33">
                  <c:v>1.3435342032560718</c:v>
                </c:pt>
                <c:pt idx="34">
                  <c:v>1.3434191773717163</c:v>
                </c:pt>
                <c:pt idx="35">
                  <c:v>1.3864977973827028</c:v>
                </c:pt>
                <c:pt idx="36">
                  <c:v>1.36376868891816</c:v>
                </c:pt>
                <c:pt idx="37">
                  <c:v>1.5092099640263354</c:v>
                </c:pt>
                <c:pt idx="38">
                  <c:v>1.6930480558996244</c:v>
                </c:pt>
                <c:pt idx="39">
                  <c:v>1.5105640111622718</c:v>
                </c:pt>
                <c:pt idx="40">
                  <c:v>1.3692694397781753</c:v>
                </c:pt>
                <c:pt idx="41">
                  <c:v>1.3892508482191543</c:v>
                </c:pt>
                <c:pt idx="42">
                  <c:v>1.4735250406890512</c:v>
                </c:pt>
                <c:pt idx="43">
                  <c:v>1.5247237125901034</c:v>
                </c:pt>
                <c:pt idx="44">
                  <c:v>1.3608898147393733</c:v>
                </c:pt>
                <c:pt idx="45">
                  <c:v>1.2286796955425274</c:v>
                </c:pt>
                <c:pt idx="46">
                  <c:v>1.4443372184445802</c:v>
                </c:pt>
                <c:pt idx="47">
                  <c:v>1.1485768689964126</c:v>
                </c:pt>
                <c:pt idx="48">
                  <c:v>1.2740300718851247</c:v>
                </c:pt>
                <c:pt idx="49">
                  <c:v>1.2203358930965884</c:v>
                </c:pt>
                <c:pt idx="50">
                  <c:v>1.2261745142042442</c:v>
                </c:pt>
                <c:pt idx="51">
                  <c:v>1.067893924702819</c:v>
                </c:pt>
              </c:numCache>
            </c:numRef>
          </c:xVal>
          <c:yVal>
            <c:numRef>
              <c:f>Sheet1!$B$109:$B$160</c:f>
              <c:numCache>
                <c:formatCode>General</c:formatCode>
                <c:ptCount val="52"/>
                <c:pt idx="0">
                  <c:v>0.1859278162595698</c:v>
                </c:pt>
                <c:pt idx="1">
                  <c:v>0.18836206896551724</c:v>
                </c:pt>
                <c:pt idx="2">
                  <c:v>0.19747899159663865</c:v>
                </c:pt>
                <c:pt idx="3">
                  <c:v>0.23007309432648798</c:v>
                </c:pt>
                <c:pt idx="4">
                  <c:v>0.22324255858138062</c:v>
                </c:pt>
                <c:pt idx="5">
                  <c:v>0.20675105485232068</c:v>
                </c:pt>
                <c:pt idx="6">
                  <c:v>0.2080022701475596</c:v>
                </c:pt>
                <c:pt idx="7">
                  <c:v>0.21869829012686157</c:v>
                </c:pt>
                <c:pt idx="8">
                  <c:v>0.23275632490013315</c:v>
                </c:pt>
                <c:pt idx="9">
                  <c:v>0.24213470053600558</c:v>
                </c:pt>
                <c:pt idx="10">
                  <c:v>0.24341279799247176</c:v>
                </c:pt>
                <c:pt idx="11">
                  <c:v>0.24407632627385195</c:v>
                </c:pt>
                <c:pt idx="12">
                  <c:v>0.257999098693105</c:v>
                </c:pt>
                <c:pt idx="13">
                  <c:v>0.24239244491080797</c:v>
                </c:pt>
                <c:pt idx="14">
                  <c:v>0.23962996120561025</c:v>
                </c:pt>
                <c:pt idx="15">
                  <c:v>0.2237242311591754</c:v>
                </c:pt>
                <c:pt idx="16">
                  <c:v>0.1999195494770716</c:v>
                </c:pt>
                <c:pt idx="17">
                  <c:v>0.19026742656729503</c:v>
                </c:pt>
                <c:pt idx="18">
                  <c:v>0.19502262443438914</c:v>
                </c:pt>
                <c:pt idx="19">
                  <c:v>0.1804932735426009</c:v>
                </c:pt>
                <c:pt idx="20">
                  <c:v>0.1793054571226081</c:v>
                </c:pt>
                <c:pt idx="21">
                  <c:v>0.17483443708609273</c:v>
                </c:pt>
                <c:pt idx="22">
                  <c:v>0.1996370235934664</c:v>
                </c:pt>
                <c:pt idx="23">
                  <c:v>0.22510561255280628</c:v>
                </c:pt>
                <c:pt idx="24">
                  <c:v>0.20869565217391303</c:v>
                </c:pt>
                <c:pt idx="25">
                  <c:v>0.20166453265044815</c:v>
                </c:pt>
                <c:pt idx="26">
                  <c:v>0.1704781704781705</c:v>
                </c:pt>
                <c:pt idx="27">
                  <c:v>0.16640378548895898</c:v>
                </c:pt>
                <c:pt idx="28">
                  <c:v>0.18132716049382716</c:v>
                </c:pt>
                <c:pt idx="29">
                  <c:v>0.1969439728353141</c:v>
                </c:pt>
                <c:pt idx="30">
                  <c:v>0.19193689745836984</c:v>
                </c:pt>
                <c:pt idx="31">
                  <c:v>0.17014613778705637</c:v>
                </c:pt>
                <c:pt idx="32">
                  <c:v>0.17084493964716807</c:v>
                </c:pt>
                <c:pt idx="33">
                  <c:v>0.20416386836803224</c:v>
                </c:pt>
                <c:pt idx="34">
                  <c:v>0.23887323943661973</c:v>
                </c:pt>
                <c:pt idx="35">
                  <c:v>0.23269611074489124</c:v>
                </c:pt>
                <c:pt idx="36">
                  <c:v>0.19202898550724637</c:v>
                </c:pt>
                <c:pt idx="37">
                  <c:v>0.15658021133525457</c:v>
                </c:pt>
                <c:pt idx="38">
                  <c:v>0.151183970856102</c:v>
                </c:pt>
                <c:pt idx="39">
                  <c:v>0.1966955153422502</c:v>
                </c:pt>
                <c:pt idx="40">
                  <c:v>0.19138755980861244</c:v>
                </c:pt>
                <c:pt idx="41">
                  <c:v>0.1879432624113475</c:v>
                </c:pt>
                <c:pt idx="42">
                  <c:v>0.17992424242424243</c:v>
                </c:pt>
                <c:pt idx="43">
                  <c:v>0.16408839779005524</c:v>
                </c:pt>
                <c:pt idx="44">
                  <c:v>0.17486033519553074</c:v>
                </c:pt>
                <c:pt idx="45">
                  <c:v>0.19148936170212766</c:v>
                </c:pt>
                <c:pt idx="46">
                  <c:v>0.1914648212226067</c:v>
                </c:pt>
                <c:pt idx="47">
                  <c:v>0.18519842688594923</c:v>
                </c:pt>
                <c:pt idx="48">
                  <c:v>0.17766143106457244</c:v>
                </c:pt>
                <c:pt idx="49">
                  <c:v>0.18540580789277736</c:v>
                </c:pt>
                <c:pt idx="50">
                  <c:v>0.22227112676056338</c:v>
                </c:pt>
                <c:pt idx="51">
                  <c:v>0.204202232435981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141487367306583</c:v>
                </c:pt>
              </c:numCache>
            </c:numRef>
          </c:xVal>
          <c:yVal>
            <c:numRef>
              <c:f>Sheet1!$B$163:$B$164</c:f>
              <c:numCache>
                <c:formatCode>General</c:formatCode>
                <c:ptCount val="2"/>
                <c:pt idx="0">
                  <c:v>0.24837081045043133</c:v>
                </c:pt>
                <c:pt idx="1">
                  <c:v>0.2483708104504313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141487367306583</c:v>
                </c:pt>
                <c:pt idx="1">
                  <c:v>0.6141487367306583</c:v>
                </c:pt>
              </c:numCache>
            </c:numRef>
          </c:xVal>
          <c:yVal>
            <c:numRef>
              <c:f>Sheet1!$B$167:$B$168</c:f>
              <c:numCache>
                <c:formatCode>General</c:formatCode>
                <c:ptCount val="2"/>
                <c:pt idx="0">
                  <c:v>0.248370810450431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625055228463605</c:v>
                </c:pt>
              </c:numCache>
            </c:numRef>
          </c:xVal>
          <c:yVal>
            <c:numRef>
              <c:f>Sheet1!$B$171:$B$172</c:f>
              <c:numCache>
                <c:formatCode>General</c:formatCode>
                <c:ptCount val="2"/>
                <c:pt idx="0">
                  <c:v>0.2164009483846989</c:v>
                </c:pt>
                <c:pt idx="1">
                  <c:v>0.216400948384698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625055228463605</c:v>
                </c:pt>
                <c:pt idx="1">
                  <c:v>1.0625055228463605</c:v>
                </c:pt>
              </c:numCache>
            </c:numRef>
          </c:xVal>
          <c:yVal>
            <c:numRef>
              <c:f>Sheet1!$B$175:$B$176</c:f>
              <c:numCache>
                <c:formatCode>General</c:formatCode>
                <c:ptCount val="2"/>
                <c:pt idx="0">
                  <c:v>0.21640094838469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515410026246574</c:v>
                </c:pt>
              </c:numCache>
            </c:numRef>
          </c:xVal>
          <c:yVal>
            <c:numRef>
              <c:f>Sheet1!$B$179:$B$180</c:f>
              <c:numCache>
                <c:formatCode>General</c:formatCode>
                <c:ptCount val="2"/>
                <c:pt idx="0">
                  <c:v>0.18866096314897055</c:v>
                </c:pt>
                <c:pt idx="1">
                  <c:v>0.188660963148970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515410026246574</c:v>
                </c:pt>
                <c:pt idx="1">
                  <c:v>1.4515410026246574</c:v>
                </c:pt>
              </c:numCache>
            </c:numRef>
          </c:xVal>
          <c:yVal>
            <c:numRef>
              <c:f>Sheet1!$B$183:$B$184</c:f>
              <c:numCache>
                <c:formatCode>General</c:formatCode>
                <c:ptCount val="2"/>
                <c:pt idx="0">
                  <c:v>0.18866096314897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13097320683065</c:v>
                </c:pt>
                <c:pt idx="1">
                  <c:v>1.018805855241083</c:v>
                </c:pt>
                <c:pt idx="2">
                  <c:v>0.9704881515717892</c:v>
                </c:pt>
                <c:pt idx="3">
                  <c:v>1.075886756426539</c:v>
                </c:pt>
                <c:pt idx="4">
                  <c:v>1.0073241706245193</c:v>
                </c:pt>
                <c:pt idx="5">
                  <c:v>1.1633704976053216</c:v>
                </c:pt>
                <c:pt idx="6">
                  <c:v>1.1673861903943605</c:v>
                </c:pt>
                <c:pt idx="7">
                  <c:v>1.2395684612438216</c:v>
                </c:pt>
                <c:pt idx="8">
                  <c:v>1.288213749563954</c:v>
                </c:pt>
                <c:pt idx="9">
                  <c:v>1.1750152362174395</c:v>
                </c:pt>
                <c:pt idx="10">
                  <c:v>1.2152483340242548</c:v>
                </c:pt>
                <c:pt idx="11">
                  <c:v>1.2154592616207045</c:v>
                </c:pt>
                <c:pt idx="12">
                  <c:v>1.1329649494808367</c:v>
                </c:pt>
                <c:pt idx="13">
                  <c:v>1.223433815681115</c:v>
                </c:pt>
                <c:pt idx="14">
                  <c:v>1.1691150911006412</c:v>
                </c:pt>
                <c:pt idx="15">
                  <c:v>1.1491619907786768</c:v>
                </c:pt>
                <c:pt idx="16">
                  <c:v>1.1453732971391013</c:v>
                </c:pt>
                <c:pt idx="17">
                  <c:v>1.0543664080168318</c:v>
                </c:pt>
                <c:pt idx="18">
                  <c:v>1.3577897789118039</c:v>
                </c:pt>
                <c:pt idx="19">
                  <c:v>1.5048721720866922</c:v>
                </c:pt>
                <c:pt idx="20">
                  <c:v>1.3428720438060662</c:v>
                </c:pt>
                <c:pt idx="21">
                  <c:v>1.6183657355298817</c:v>
                </c:pt>
                <c:pt idx="22">
                  <c:v>1.3141622277086766</c:v>
                </c:pt>
                <c:pt idx="23">
                  <c:v>1.2915013980171912</c:v>
                </c:pt>
                <c:pt idx="24">
                  <c:v>1.5038161388359472</c:v>
                </c:pt>
                <c:pt idx="25">
                  <c:v>1.34444373620904</c:v>
                </c:pt>
                <c:pt idx="26">
                  <c:v>1.3004353458357394</c:v>
                </c:pt>
                <c:pt idx="27">
                  <c:v>1.3875876982520556</c:v>
                </c:pt>
                <c:pt idx="28">
                  <c:v>1.1821985286054981</c:v>
                </c:pt>
                <c:pt idx="29">
                  <c:v>1.45051203851603</c:v>
                </c:pt>
                <c:pt idx="30">
                  <c:v>1.3858208492078705</c:v>
                </c:pt>
                <c:pt idx="31">
                  <c:v>1.3615263187945768</c:v>
                </c:pt>
                <c:pt idx="32">
                  <c:v>1.341347387164436</c:v>
                </c:pt>
                <c:pt idx="33">
                  <c:v>1.3435342032560718</c:v>
                </c:pt>
                <c:pt idx="34">
                  <c:v>1.3434191773717163</c:v>
                </c:pt>
                <c:pt idx="35">
                  <c:v>1.3864977973827028</c:v>
                </c:pt>
                <c:pt idx="36">
                  <c:v>1.36376868891816</c:v>
                </c:pt>
                <c:pt idx="37">
                  <c:v>1.5092099640263354</c:v>
                </c:pt>
                <c:pt idx="38">
                  <c:v>1.6930480558996244</c:v>
                </c:pt>
                <c:pt idx="39">
                  <c:v>1.5105640111622718</c:v>
                </c:pt>
                <c:pt idx="40">
                  <c:v>1.3692694397781753</c:v>
                </c:pt>
                <c:pt idx="41">
                  <c:v>1.3892508482191543</c:v>
                </c:pt>
                <c:pt idx="42">
                  <c:v>1.4735250406890512</c:v>
                </c:pt>
                <c:pt idx="43">
                  <c:v>1.5247237125901034</c:v>
                </c:pt>
                <c:pt idx="44">
                  <c:v>1.3608898147393733</c:v>
                </c:pt>
                <c:pt idx="45">
                  <c:v>1.2286796955425274</c:v>
                </c:pt>
                <c:pt idx="46">
                  <c:v>1.4443372184445802</c:v>
                </c:pt>
                <c:pt idx="47">
                  <c:v>1.1485768689964126</c:v>
                </c:pt>
                <c:pt idx="48">
                  <c:v>1.2740300718851247</c:v>
                </c:pt>
                <c:pt idx="49">
                  <c:v>1.2203358930965884</c:v>
                </c:pt>
                <c:pt idx="50">
                  <c:v>1.2261745142042442</c:v>
                </c:pt>
                <c:pt idx="51">
                  <c:v>1.067893924702819</c:v>
                </c:pt>
                <c:pt idx="52">
                  <c:v>1.0625055228463605</c:v>
                </c:pt>
                <c:pt idx="53">
                  <c:v>0.6141487367306583</c:v>
                </c:pt>
                <c:pt idx="54">
                  <c:v>1.4515410026246574</c:v>
                </c:pt>
              </c:numCache>
            </c:numRef>
          </c:xVal>
          <c:yVal>
            <c:numRef>
              <c:f>Sheet1!$B$187:$B$241</c:f>
              <c:numCache>
                <c:formatCode>General</c:formatCode>
                <c:ptCount val="55"/>
                <c:pt idx="0">
                  <c:v>0.21992397615408066</c:v>
                </c:pt>
                <c:pt idx="1">
                  <c:v>0.2195169318802594</c:v>
                </c:pt>
                <c:pt idx="2">
                  <c:v>0.22296220218613055</c:v>
                </c:pt>
                <c:pt idx="3">
                  <c:v>0.21544680604744593</c:v>
                </c:pt>
                <c:pt idx="4">
                  <c:v>0.2203356278046678</c:v>
                </c:pt>
                <c:pt idx="5">
                  <c:v>0.2092088205299073</c:v>
                </c:pt>
                <c:pt idx="6">
                  <c:v>0.2089224835131842</c:v>
                </c:pt>
                <c:pt idx="7">
                  <c:v>0.2037755618782051</c:v>
                </c:pt>
                <c:pt idx="8">
                  <c:v>0.20030693330849925</c:v>
                </c:pt>
                <c:pt idx="9">
                  <c:v>0.20837849811983267</c:v>
                </c:pt>
                <c:pt idx="10">
                  <c:v>0.20550969669384267</c:v>
                </c:pt>
                <c:pt idx="11">
                  <c:v>0.20549465660440236</c:v>
                </c:pt>
                <c:pt idx="12">
                  <c:v>0.21137687331660457</c:v>
                </c:pt>
                <c:pt idx="13">
                  <c:v>0.20492603491461878</c:v>
                </c:pt>
                <c:pt idx="14">
                  <c:v>0.20879920509114003</c:v>
                </c:pt>
                <c:pt idx="15">
                  <c:v>0.21022195118271433</c:v>
                </c:pt>
                <c:pt idx="16">
                  <c:v>0.21049210213574415</c:v>
                </c:pt>
                <c:pt idx="17">
                  <c:v>0.21698130399990317</c:v>
                </c:pt>
                <c:pt idx="18">
                  <c:v>0.19534584845328284</c:v>
                </c:pt>
                <c:pt idx="19">
                  <c:v>0.18485821010874898</c:v>
                </c:pt>
                <c:pt idx="20">
                  <c:v>0.19640955028279078</c:v>
                </c:pt>
                <c:pt idx="21">
                  <c:v>0.17676560689410536</c:v>
                </c:pt>
                <c:pt idx="22">
                  <c:v>0.19845668972394387</c:v>
                </c:pt>
                <c:pt idx="23">
                  <c:v>0.2000725091382281</c:v>
                </c:pt>
                <c:pt idx="24">
                  <c:v>0.18493351004489056</c:v>
                </c:pt>
                <c:pt idx="25">
                  <c:v>0.19629748152217685</c:v>
                </c:pt>
                <c:pt idx="26">
                  <c:v>0.1994354783442128</c:v>
                </c:pt>
                <c:pt idx="27">
                  <c:v>0.193221122340834</c:v>
                </c:pt>
                <c:pt idx="28">
                  <c:v>0.20786629695786607</c:v>
                </c:pt>
                <c:pt idx="29">
                  <c:v>0.18873433293312927</c:v>
                </c:pt>
                <c:pt idx="30">
                  <c:v>0.1933471066506131</c:v>
                </c:pt>
                <c:pt idx="31">
                  <c:v>0.19507941629845754</c:v>
                </c:pt>
                <c:pt idx="32">
                  <c:v>0.19651826518137144</c:v>
                </c:pt>
                <c:pt idx="33">
                  <c:v>0.19636233532600245</c:v>
                </c:pt>
                <c:pt idx="34">
                  <c:v>0.19637053719061276</c:v>
                </c:pt>
                <c:pt idx="35">
                  <c:v>0.19329883719101038</c:v>
                </c:pt>
                <c:pt idx="36">
                  <c:v>0.19491952518992245</c:v>
                </c:pt>
                <c:pt idx="37">
                  <c:v>0.18454890596911128</c:v>
                </c:pt>
                <c:pt idx="38">
                  <c:v>0.171440420446825</c:v>
                </c:pt>
                <c:pt idx="39">
                  <c:v>0.18445235629816414</c:v>
                </c:pt>
                <c:pt idx="40">
                  <c:v>0.19452729683139533</c:v>
                </c:pt>
                <c:pt idx="41">
                  <c:v>0.19310253224319457</c:v>
                </c:pt>
                <c:pt idx="42">
                  <c:v>0.18709340203172872</c:v>
                </c:pt>
                <c:pt idx="43">
                  <c:v>0.1834427056905275</c:v>
                </c:pt>
                <c:pt idx="44">
                  <c:v>0.19512480190982617</c:v>
                </c:pt>
                <c:pt idx="45">
                  <c:v>0.2045519800084007</c:v>
                </c:pt>
                <c:pt idx="46">
                  <c:v>0.1891746254681775</c:v>
                </c:pt>
                <c:pt idx="47">
                  <c:v>0.21026367300615922</c:v>
                </c:pt>
                <c:pt idx="48">
                  <c:v>0.20131829353102515</c:v>
                </c:pt>
                <c:pt idx="49">
                  <c:v>0.20514693077431048</c:v>
                </c:pt>
                <c:pt idx="50">
                  <c:v>0.20473061074248283</c:v>
                </c:pt>
                <c:pt idx="51">
                  <c:v>0.2160167310171017</c:v>
                </c:pt>
                <c:pt idx="52">
                  <c:v>0.2164009483846989</c:v>
                </c:pt>
                <c:pt idx="53">
                  <c:v>0.24837081045043133</c:v>
                </c:pt>
                <c:pt idx="54">
                  <c:v>0.188660963148970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68505452212956"/>
          <c:min val="0.12094717668488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831790329726126</c:v>
                </c:pt>
                <c:pt idx="1">
                  <c:v>2.324597579976367</c:v>
                </c:pt>
                <c:pt idx="2">
                  <c:v>2.203477825941981</c:v>
                </c:pt>
                <c:pt idx="3">
                  <c:v>2.22525807746066</c:v>
                </c:pt>
                <c:pt idx="4">
                  <c:v>2.2325873704046466</c:v>
                </c:pt>
                <c:pt idx="5">
                  <c:v>1.755567498959072</c:v>
                </c:pt>
                <c:pt idx="6">
                  <c:v>1.5553804975356174</c:v>
                </c:pt>
                <c:pt idx="7">
                  <c:v>1.5955203557312254</c:v>
                </c:pt>
                <c:pt idx="8">
                  <c:v>1.5491695314214546</c:v>
                </c:pt>
                <c:pt idx="9">
                  <c:v>1.658660205926635</c:v>
                </c:pt>
                <c:pt idx="10">
                  <c:v>1.6925580345668219</c:v>
                </c:pt>
                <c:pt idx="11">
                  <c:v>1.6629730872256794</c:v>
                </c:pt>
                <c:pt idx="12">
                  <c:v>1.6963814268138964</c:v>
                </c:pt>
                <c:pt idx="13">
                  <c:v>1.6758351415174373</c:v>
                </c:pt>
                <c:pt idx="14">
                  <c:v>1.7485766032361205</c:v>
                </c:pt>
                <c:pt idx="15">
                  <c:v>1.762933493008536</c:v>
                </c:pt>
                <c:pt idx="16">
                  <c:v>1.721743419852934</c:v>
                </c:pt>
                <c:pt idx="17">
                  <c:v>2.1757408501282995</c:v>
                </c:pt>
                <c:pt idx="18">
                  <c:v>2.5068836396877967</c:v>
                </c:pt>
                <c:pt idx="19">
                  <c:v>2.5310368127170233</c:v>
                </c:pt>
                <c:pt idx="20">
                  <c:v>2.4121312426559447</c:v>
                </c:pt>
                <c:pt idx="21">
                  <c:v>2.5222420162183488</c:v>
                </c:pt>
                <c:pt idx="22">
                  <c:v>2.561243711705548</c:v>
                </c:pt>
                <c:pt idx="23">
                  <c:v>2.9258763367346132</c:v>
                </c:pt>
                <c:pt idx="24">
                  <c:v>2.6431309846648587</c:v>
                </c:pt>
                <c:pt idx="25">
                  <c:v>2.6618901897895895</c:v>
                </c:pt>
                <c:pt idx="26">
                  <c:v>1.9230015761001977</c:v>
                </c:pt>
                <c:pt idx="27">
                  <c:v>1.8861943535223624</c:v>
                </c:pt>
                <c:pt idx="28">
                  <c:v>1.8172611857119283</c:v>
                </c:pt>
                <c:pt idx="29">
                  <c:v>1.4208420034517792</c:v>
                </c:pt>
                <c:pt idx="30">
                  <c:v>1.572942102998051</c:v>
                </c:pt>
                <c:pt idx="31">
                  <c:v>1.6285222657072809</c:v>
                </c:pt>
                <c:pt idx="32">
                  <c:v>1.5280708968813979</c:v>
                </c:pt>
                <c:pt idx="33">
                  <c:v>1.3985529004711343</c:v>
                </c:pt>
                <c:pt idx="34">
                  <c:v>1.6319864549948169</c:v>
                </c:pt>
                <c:pt idx="35">
                  <c:v>1.809830645810961</c:v>
                </c:pt>
                <c:pt idx="36">
                  <c:v>1.9515791788297718</c:v>
                </c:pt>
                <c:pt idx="37">
                  <c:v>1.974425533756038</c:v>
                </c:pt>
                <c:pt idx="38">
                  <c:v>2.029209449738812</c:v>
                </c:pt>
                <c:pt idx="39">
                  <c:v>2.036147652930863</c:v>
                </c:pt>
                <c:pt idx="40">
                  <c:v>1.9915934330737737</c:v>
                </c:pt>
                <c:pt idx="41">
                  <c:v>2.0923867475093174</c:v>
                </c:pt>
                <c:pt idx="42">
                  <c:v>2.09732030103526</c:v>
                </c:pt>
                <c:pt idx="43">
                  <c:v>2.0476112614937967</c:v>
                </c:pt>
                <c:pt idx="44">
                  <c:v>1.9519226427222613</c:v>
                </c:pt>
                <c:pt idx="45">
                  <c:v>1.9260372971652315</c:v>
                </c:pt>
                <c:pt idx="46">
                  <c:v>2.005563732912649</c:v>
                </c:pt>
                <c:pt idx="47">
                  <c:v>1.940149967094505</c:v>
                </c:pt>
                <c:pt idx="48">
                  <c:v>2.0015215183007458</c:v>
                </c:pt>
                <c:pt idx="49">
                  <c:v>1.9742160447100132</c:v>
                </c:pt>
                <c:pt idx="50">
                  <c:v>1.897310532353754</c:v>
                </c:pt>
                <c:pt idx="51">
                  <c:v>1.9411160844419004</c:v>
                </c:pt>
                <c:pt idx="52">
                  <c:v>1.8414843946435426</c:v>
                </c:pt>
                <c:pt idx="53">
                  <c:v>1.7619367261693966</c:v>
                </c:pt>
                <c:pt idx="54">
                  <c:v>1.9449329505593664</c:v>
                </c:pt>
                <c:pt idx="55">
                  <c:v>1.9034457615119156</c:v>
                </c:pt>
                <c:pt idx="56">
                  <c:v>2.0079552520166444</c:v>
                </c:pt>
                <c:pt idx="57">
                  <c:v>1.9306369633573772</c:v>
                </c:pt>
                <c:pt idx="58">
                  <c:v>1.9459269578410123</c:v>
                </c:pt>
                <c:pt idx="59">
                  <c:v>1.9786543618356531</c:v>
                </c:pt>
                <c:pt idx="60">
                  <c:v>1.9759062320785312</c:v>
                </c:pt>
                <c:pt idx="61">
                  <c:v>1.8694490107435477</c:v>
                </c:pt>
                <c:pt idx="62">
                  <c:v>1.9648563784620383</c:v>
                </c:pt>
                <c:pt idx="63">
                  <c:v>2.1521668554270352</c:v>
                </c:pt>
                <c:pt idx="64">
                  <c:v>2.0593696827572727</c:v>
                </c:pt>
                <c:pt idx="65">
                  <c:v>2.0482859601080405</c:v>
                </c:pt>
                <c:pt idx="66">
                  <c:v>2.00915599082134</c:v>
                </c:pt>
                <c:pt idx="67">
                  <c:v>1.9665967090603182</c:v>
                </c:pt>
                <c:pt idx="68">
                  <c:v>1.988114032094163</c:v>
                </c:pt>
                <c:pt idx="69">
                  <c:v>1.9974958909668066</c:v>
                </c:pt>
                <c:pt idx="70">
                  <c:v>1.9197070982450057</c:v>
                </c:pt>
                <c:pt idx="71">
                  <c:v>2.0776828425436147</c:v>
                </c:pt>
                <c:pt idx="72">
                  <c:v>2.3907420768928134</c:v>
                </c:pt>
                <c:pt idx="73">
                  <c:v>2.4371776934249154</c:v>
                </c:pt>
                <c:pt idx="74">
                  <c:v>2.460615762980324</c:v>
                </c:pt>
                <c:pt idx="75">
                  <c:v>2.41409494897077</c:v>
                </c:pt>
                <c:pt idx="76">
                  <c:v>2.535575834056349</c:v>
                </c:pt>
                <c:pt idx="77">
                  <c:v>2.5375483033686494</c:v>
                </c:pt>
                <c:pt idx="78">
                  <c:v>2.4336322834604287</c:v>
                </c:pt>
                <c:pt idx="79">
                  <c:v>2.5106252517269416</c:v>
                </c:pt>
                <c:pt idx="80">
                  <c:v>2.486643047209017</c:v>
                </c:pt>
                <c:pt idx="81">
                  <c:v>2.540630340890443</c:v>
                </c:pt>
                <c:pt idx="82">
                  <c:v>2.5358037975485397</c:v>
                </c:pt>
                <c:pt idx="83">
                  <c:v>2.5267179772748363</c:v>
                </c:pt>
                <c:pt idx="84">
                  <c:v>2.390321205874349</c:v>
                </c:pt>
                <c:pt idx="85">
                  <c:v>2.316292667185652</c:v>
                </c:pt>
                <c:pt idx="86">
                  <c:v>2.387070056964983</c:v>
                </c:pt>
                <c:pt idx="87">
                  <c:v>2.435065384602942</c:v>
                </c:pt>
                <c:pt idx="88">
                  <c:v>2.4173685026625518</c:v>
                </c:pt>
                <c:pt idx="89">
                  <c:v>2.38348290950189</c:v>
                </c:pt>
                <c:pt idx="90">
                  <c:v>2.5116270659288995</c:v>
                </c:pt>
                <c:pt idx="91">
                  <c:v>2.4211430564057386</c:v>
                </c:pt>
                <c:pt idx="92">
                  <c:v>2.207557458809994</c:v>
                </c:pt>
                <c:pt idx="93">
                  <c:v>1.885480021337426</c:v>
                </c:pt>
                <c:pt idx="94">
                  <c:v>1.867108802291688</c:v>
                </c:pt>
                <c:pt idx="95">
                  <c:v>1.7962441648964398</c:v>
                </c:pt>
                <c:pt idx="96">
                  <c:v>1.5751671220781502</c:v>
                </c:pt>
                <c:pt idx="97">
                  <c:v>1.710376280463408</c:v>
                </c:pt>
                <c:pt idx="98">
                  <c:v>1.7699951407522505</c:v>
                </c:pt>
                <c:pt idx="99">
                  <c:v>1.9215164333040105</c:v>
                </c:pt>
                <c:pt idx="100">
                  <c:v>1.6981038451952646</c:v>
                </c:pt>
                <c:pt idx="101">
                  <c:v>1.5535748596349095</c:v>
                </c:pt>
                <c:pt idx="102">
                  <c:v>1.5667751641940708</c:v>
                </c:pt>
                <c:pt idx="103">
                  <c:v>1.43888401489139</c:v>
                </c:pt>
                <c:pt idx="104">
                  <c:v>1.53084209624206</c:v>
                </c:pt>
              </c:numCache>
            </c:numRef>
          </c:xVal>
          <c:yVal>
            <c:numRef>
              <c:f>Sheet1!$B$2:$B$106</c:f>
              <c:numCache>
                <c:formatCode>General</c:formatCode>
                <c:ptCount val="105"/>
                <c:pt idx="0">
                  <c:v>0.18363273453093812</c:v>
                </c:pt>
                <c:pt idx="1">
                  <c:v>0.17555331991951711</c:v>
                </c:pt>
                <c:pt idx="2">
                  <c:v>0.18173598553345388</c:v>
                </c:pt>
                <c:pt idx="3">
                  <c:v>0.1686746987951807</c:v>
                </c:pt>
                <c:pt idx="4">
                  <c:v>0.16807817589576549</c:v>
                </c:pt>
                <c:pt idx="5">
                  <c:v>0.17956064947468958</c:v>
                </c:pt>
                <c:pt idx="6">
                  <c:v>0.20250195465207194</c:v>
                </c:pt>
                <c:pt idx="7">
                  <c:v>0.19390581717451524</c:v>
                </c:pt>
                <c:pt idx="8">
                  <c:v>0.18841911764705882</c:v>
                </c:pt>
                <c:pt idx="9">
                  <c:v>0.1912568306010929</c:v>
                </c:pt>
                <c:pt idx="10">
                  <c:v>0.2198581560283688</c:v>
                </c:pt>
                <c:pt idx="11">
                  <c:v>0.1902439024390244</c:v>
                </c:pt>
                <c:pt idx="12">
                  <c:v>0.18062704726251755</c:v>
                </c:pt>
                <c:pt idx="13">
                  <c:v>0.1708984375</c:v>
                </c:pt>
                <c:pt idx="14">
                  <c:v>0.1740306582506763</c:v>
                </c:pt>
                <c:pt idx="15">
                  <c:v>0.15022675736961452</c:v>
                </c:pt>
                <c:pt idx="16">
                  <c:v>0.14326647564469913</c:v>
                </c:pt>
                <c:pt idx="17">
                  <c:v>0.17181705809641531</c:v>
                </c:pt>
                <c:pt idx="18">
                  <c:v>0.14562410329985653</c:v>
                </c:pt>
                <c:pt idx="19">
                  <c:v>0.13702127659574467</c:v>
                </c:pt>
                <c:pt idx="20">
                  <c:v>0.16514459665144596</c:v>
                </c:pt>
                <c:pt idx="21">
                  <c:v>0.1495246326707001</c:v>
                </c:pt>
                <c:pt idx="22">
                  <c:v>0.12931726907630522</c:v>
                </c:pt>
                <c:pt idx="23">
                  <c:v>0.15358931552587646</c:v>
                </c:pt>
                <c:pt idx="24">
                  <c:v>0.14814814814814814</c:v>
                </c:pt>
                <c:pt idx="25">
                  <c:v>0.14453125</c:v>
                </c:pt>
                <c:pt idx="26">
                  <c:v>0.1524701873935264</c:v>
                </c:pt>
                <c:pt idx="27">
                  <c:v>0.13129496402877697</c:v>
                </c:pt>
                <c:pt idx="28">
                  <c:v>0.12260869565217392</c:v>
                </c:pt>
                <c:pt idx="29">
                  <c:v>0.15118956254796623</c:v>
                </c:pt>
                <c:pt idx="30">
                  <c:v>0.1475095785440613</c:v>
                </c:pt>
                <c:pt idx="31">
                  <c:v>0.12995391705069123</c:v>
                </c:pt>
                <c:pt idx="32">
                  <c:v>0.14974182444061962</c:v>
                </c:pt>
                <c:pt idx="33">
                  <c:v>0.16511318242343542</c:v>
                </c:pt>
                <c:pt idx="34">
                  <c:v>0.15584415584415584</c:v>
                </c:pt>
                <c:pt idx="35">
                  <c:v>0.141602634467618</c:v>
                </c:pt>
                <c:pt idx="36">
                  <c:v>0.10703043022035677</c:v>
                </c:pt>
                <c:pt idx="37">
                  <c:v>0.10823071937783539</c:v>
                </c:pt>
                <c:pt idx="38">
                  <c:v>0.10526315789473684</c:v>
                </c:pt>
                <c:pt idx="39">
                  <c:v>0.10021945866861741</c:v>
                </c:pt>
                <c:pt idx="40">
                  <c:v>0.09497549019607843</c:v>
                </c:pt>
                <c:pt idx="41">
                  <c:v>0.08634020618556701</c:v>
                </c:pt>
                <c:pt idx="42">
                  <c:v>0.08641975308641975</c:v>
                </c:pt>
                <c:pt idx="43">
                  <c:v>0.08796520057999033</c:v>
                </c:pt>
                <c:pt idx="44">
                  <c:v>0.0893874643874644</c:v>
                </c:pt>
                <c:pt idx="45">
                  <c:v>0.1</c:v>
                </c:pt>
                <c:pt idx="46">
                  <c:v>0.08922323303009097</c:v>
                </c:pt>
                <c:pt idx="47">
                  <c:v>0.08977387782652717</c:v>
                </c:pt>
                <c:pt idx="48">
                  <c:v>0.10308538627122697</c:v>
                </c:pt>
                <c:pt idx="49">
                  <c:v>0.13178030947117836</c:v>
                </c:pt>
                <c:pt idx="50">
                  <c:v>0.11437046802900462</c:v>
                </c:pt>
                <c:pt idx="51">
                  <c:v>0.09240506329113925</c:v>
                </c:pt>
                <c:pt idx="52">
                  <c:v>0.09669621273166801</c:v>
                </c:pt>
                <c:pt idx="53">
                  <c:v>0.11887254901960784</c:v>
                </c:pt>
                <c:pt idx="54">
                  <c:v>0.11981351981351981</c:v>
                </c:pt>
                <c:pt idx="55">
                  <c:v>0.11231203007518797</c:v>
                </c:pt>
                <c:pt idx="56">
                  <c:v>0.10735060814383923</c:v>
                </c:pt>
                <c:pt idx="57">
                  <c:v>0.11116576487948844</c:v>
                </c:pt>
                <c:pt idx="58">
                  <c:v>0.11524547803617571</c:v>
                </c:pt>
                <c:pt idx="59">
                  <c:v>0.10404984423676013</c:v>
                </c:pt>
                <c:pt idx="60">
                  <c:v>0.1118421052631579</c:v>
                </c:pt>
                <c:pt idx="61">
                  <c:v>0.12790146849834202</c:v>
                </c:pt>
                <c:pt idx="62">
                  <c:v>0.11782032400589101</c:v>
                </c:pt>
                <c:pt idx="63">
                  <c:v>0.12536564981195153</c:v>
                </c:pt>
                <c:pt idx="64">
                  <c:v>0.13346938775510203</c:v>
                </c:pt>
                <c:pt idx="65">
                  <c:v>0.13341858482523444</c:v>
                </c:pt>
                <c:pt idx="66">
                  <c:v>0.1389491966999566</c:v>
                </c:pt>
                <c:pt idx="67">
                  <c:v>0.1331072488342518</c:v>
                </c:pt>
                <c:pt idx="68">
                  <c:v>0.11509433962264151</c:v>
                </c:pt>
                <c:pt idx="69">
                  <c:v>0.1185430463576159</c:v>
                </c:pt>
                <c:pt idx="70">
                  <c:v>0.11647058823529412</c:v>
                </c:pt>
                <c:pt idx="71">
                  <c:v>0.09770114942528736</c:v>
                </c:pt>
                <c:pt idx="72">
                  <c:v>0.09340338587273789</c:v>
                </c:pt>
                <c:pt idx="73">
                  <c:v>0.09642401021711366</c:v>
                </c:pt>
                <c:pt idx="74">
                  <c:v>0.08343949044585987</c:v>
                </c:pt>
                <c:pt idx="75">
                  <c:v>0.09540889526542325</c:v>
                </c:pt>
                <c:pt idx="76">
                  <c:v>0.09209666884389288</c:v>
                </c:pt>
                <c:pt idx="77">
                  <c:v>0.08705357142857142</c:v>
                </c:pt>
                <c:pt idx="78">
                  <c:v>0.07470817120622568</c:v>
                </c:pt>
                <c:pt idx="79">
                  <c:v>0.07265306122448979</c:v>
                </c:pt>
                <c:pt idx="80">
                  <c:v>0.07293354943273905</c:v>
                </c:pt>
                <c:pt idx="81">
                  <c:v>0.08106267029972752</c:v>
                </c:pt>
                <c:pt idx="82">
                  <c:v>0.0744595676541233</c:v>
                </c:pt>
                <c:pt idx="83">
                  <c:v>0.06305578011317704</c:v>
                </c:pt>
                <c:pt idx="84">
                  <c:v>0.07101086048454469</c:v>
                </c:pt>
                <c:pt idx="85">
                  <c:v>0.09141494435612083</c:v>
                </c:pt>
                <c:pt idx="86">
                  <c:v>0.09440175631174534</c:v>
                </c:pt>
                <c:pt idx="87">
                  <c:v>0.10476718403547672</c:v>
                </c:pt>
                <c:pt idx="88">
                  <c:v>0.09128145114101814</c:v>
                </c:pt>
                <c:pt idx="89">
                  <c:v>0.0788787483702738</c:v>
                </c:pt>
                <c:pt idx="90">
                  <c:v>0.07985347985347985</c:v>
                </c:pt>
                <c:pt idx="91">
                  <c:v>0.07412687099073414</c:v>
                </c:pt>
                <c:pt idx="92">
                  <c:v>0.08260105448154657</c:v>
                </c:pt>
                <c:pt idx="93">
                  <c:v>0.08152492668621701</c:v>
                </c:pt>
                <c:pt idx="94">
                  <c:v>0.08434430964760255</c:v>
                </c:pt>
                <c:pt idx="95">
                  <c:v>0.08649173955296405</c:v>
                </c:pt>
                <c:pt idx="96">
                  <c:v>0.08697123519458545</c:v>
                </c:pt>
                <c:pt idx="97">
                  <c:v>0.08444444444444445</c:v>
                </c:pt>
                <c:pt idx="98">
                  <c:v>0.10055056505360765</c:v>
                </c:pt>
                <c:pt idx="99">
                  <c:v>0.10992999740731138</c:v>
                </c:pt>
                <c:pt idx="100">
                  <c:v>0.11865407319952774</c:v>
                </c:pt>
                <c:pt idx="101">
                  <c:v>0.11509817197020988</c:v>
                </c:pt>
                <c:pt idx="102">
                  <c:v>0.09389197375063099</c:v>
                </c:pt>
                <c:pt idx="103">
                  <c:v>0.10673903211216644</c:v>
                </c:pt>
                <c:pt idx="104">
                  <c:v>0.1181525241675617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451301073169033</c:v>
                </c:pt>
                <c:pt idx="1">
                  <c:v>1.4816364231262482</c:v>
                </c:pt>
                <c:pt idx="2">
                  <c:v>1.3941775495789785</c:v>
                </c:pt>
                <c:pt idx="3">
                  <c:v>1.3829539112568041</c:v>
                </c:pt>
                <c:pt idx="4">
                  <c:v>1.4466029833948826</c:v>
                </c:pt>
                <c:pt idx="5">
                  <c:v>1.3940442895194218</c:v>
                </c:pt>
                <c:pt idx="6">
                  <c:v>1.4797802871794075</c:v>
                </c:pt>
                <c:pt idx="7">
                  <c:v>1.498171735117691</c:v>
                </c:pt>
                <c:pt idx="8">
                  <c:v>1.6145087657212105</c:v>
                </c:pt>
                <c:pt idx="9">
                  <c:v>1.6020272862105551</c:v>
                </c:pt>
                <c:pt idx="10">
                  <c:v>1.6830770465938656</c:v>
                </c:pt>
                <c:pt idx="11">
                  <c:v>1.7358230478856511</c:v>
                </c:pt>
                <c:pt idx="12">
                  <c:v>1.8199879536800243</c:v>
                </c:pt>
                <c:pt idx="13">
                  <c:v>1.8393803064370227</c:v>
                </c:pt>
                <c:pt idx="14">
                  <c:v>1.7976097948985914</c:v>
                </c:pt>
                <c:pt idx="15">
                  <c:v>1.9970638327035342</c:v>
                </c:pt>
                <c:pt idx="16">
                  <c:v>1.8735325465881416</c:v>
                </c:pt>
                <c:pt idx="17">
                  <c:v>2.1224033055492133</c:v>
                </c:pt>
                <c:pt idx="18">
                  <c:v>1.9165919895134944</c:v>
                </c:pt>
                <c:pt idx="19">
                  <c:v>2.003699231273825</c:v>
                </c:pt>
                <c:pt idx="20">
                  <c:v>1.8133504754958376</c:v>
                </c:pt>
                <c:pt idx="21">
                  <c:v>1.5896857113701321</c:v>
                </c:pt>
                <c:pt idx="22">
                  <c:v>1.6579566373338326</c:v>
                </c:pt>
                <c:pt idx="23">
                  <c:v>1.6569043512577848</c:v>
                </c:pt>
                <c:pt idx="24">
                  <c:v>1.5674090105732215</c:v>
                </c:pt>
                <c:pt idx="25">
                  <c:v>1.6513386023504242</c:v>
                </c:pt>
                <c:pt idx="26">
                  <c:v>1.5229802684214222</c:v>
                </c:pt>
                <c:pt idx="27">
                  <c:v>1.5079204148865641</c:v>
                </c:pt>
                <c:pt idx="28">
                  <c:v>1.4620107149783437</c:v>
                </c:pt>
                <c:pt idx="29">
                  <c:v>1.6186132099243005</c:v>
                </c:pt>
                <c:pt idx="30">
                  <c:v>1.448541624366633</c:v>
                </c:pt>
                <c:pt idx="31">
                  <c:v>1.263617590928161</c:v>
                </c:pt>
                <c:pt idx="32">
                  <c:v>1.335354451978566</c:v>
                </c:pt>
                <c:pt idx="33">
                  <c:v>1.4225731337415433</c:v>
                </c:pt>
                <c:pt idx="34">
                  <c:v>1.4911343256169365</c:v>
                </c:pt>
                <c:pt idx="35">
                  <c:v>1.4445707070880502</c:v>
                </c:pt>
                <c:pt idx="36">
                  <c:v>1.4539946224389135</c:v>
                </c:pt>
                <c:pt idx="37">
                  <c:v>1.619528195937324</c:v>
                </c:pt>
                <c:pt idx="38">
                  <c:v>1.4957525697932</c:v>
                </c:pt>
                <c:pt idx="39">
                  <c:v>1.5124050056089866</c:v>
                </c:pt>
                <c:pt idx="40">
                  <c:v>1.5087303777722854</c:v>
                </c:pt>
                <c:pt idx="41">
                  <c:v>1.622503678046276</c:v>
                </c:pt>
                <c:pt idx="42">
                  <c:v>1.5641214844317508</c:v>
                </c:pt>
                <c:pt idx="43">
                  <c:v>1.6107706639386152</c:v>
                </c:pt>
                <c:pt idx="44">
                  <c:v>1.5621529723960785</c:v>
                </c:pt>
                <c:pt idx="45">
                  <c:v>1.5713063465770938</c:v>
                </c:pt>
                <c:pt idx="46">
                  <c:v>1.5697628953378568</c:v>
                </c:pt>
                <c:pt idx="47">
                  <c:v>1.6175851013044582</c:v>
                </c:pt>
                <c:pt idx="48">
                  <c:v>1.4955968187608093</c:v>
                </c:pt>
                <c:pt idx="49">
                  <c:v>1.6002779086510934</c:v>
                </c:pt>
                <c:pt idx="50">
                  <c:v>1.5502843599370184</c:v>
                </c:pt>
                <c:pt idx="51">
                  <c:v>1.5784481756673303</c:v>
                </c:pt>
              </c:numCache>
            </c:numRef>
          </c:xVal>
          <c:yVal>
            <c:numRef>
              <c:f>Sheet1!$B$109:$B$160</c:f>
              <c:numCache>
                <c:formatCode>General</c:formatCode>
                <c:ptCount val="52"/>
                <c:pt idx="0">
                  <c:v>0.10896551724137932</c:v>
                </c:pt>
                <c:pt idx="1">
                  <c:v>0.11007827788649706</c:v>
                </c:pt>
                <c:pt idx="2">
                  <c:v>0.1091901728844404</c:v>
                </c:pt>
                <c:pt idx="3">
                  <c:v>0.13692061800745872</c:v>
                </c:pt>
                <c:pt idx="4">
                  <c:v>0.1171259842519685</c:v>
                </c:pt>
                <c:pt idx="5">
                  <c:v>0.11694915254237288</c:v>
                </c:pt>
                <c:pt idx="6">
                  <c:v>0.11480978260869565</c:v>
                </c:pt>
                <c:pt idx="7">
                  <c:v>0.09518477043673013</c:v>
                </c:pt>
                <c:pt idx="8">
                  <c:v>0.10582444626743231</c:v>
                </c:pt>
                <c:pt idx="9">
                  <c:v>0.0831353919239905</c:v>
                </c:pt>
                <c:pt idx="10">
                  <c:v>0.12117177097203728</c:v>
                </c:pt>
                <c:pt idx="11">
                  <c:v>0.11513463324048283</c:v>
                </c:pt>
                <c:pt idx="12">
                  <c:v>0.12459321245932124</c:v>
                </c:pt>
                <c:pt idx="13">
                  <c:v>0.11154219204655674</c:v>
                </c:pt>
                <c:pt idx="14">
                  <c:v>0.11092985318107668</c:v>
                </c:pt>
                <c:pt idx="15">
                  <c:v>0.10470941883767534</c:v>
                </c:pt>
                <c:pt idx="16">
                  <c:v>0.1065203357004519</c:v>
                </c:pt>
                <c:pt idx="17">
                  <c:v>0.08365261813537675</c:v>
                </c:pt>
                <c:pt idx="18">
                  <c:v>0.083596214511041</c:v>
                </c:pt>
                <c:pt idx="19">
                  <c:v>0.0962425840474621</c:v>
                </c:pt>
                <c:pt idx="20">
                  <c:v>0.08630952380952381</c:v>
                </c:pt>
                <c:pt idx="21">
                  <c:v>0.08315565031982942</c:v>
                </c:pt>
                <c:pt idx="22">
                  <c:v>0.08561643835616438</c:v>
                </c:pt>
                <c:pt idx="23">
                  <c:v>0.10834371108343711</c:v>
                </c:pt>
                <c:pt idx="24">
                  <c:v>0.09394313967861558</c:v>
                </c:pt>
                <c:pt idx="25">
                  <c:v>0.11712846347607053</c:v>
                </c:pt>
                <c:pt idx="26">
                  <c:v>0.09845559845559845</c:v>
                </c:pt>
                <c:pt idx="27">
                  <c:v>0.10598290598290598</c:v>
                </c:pt>
                <c:pt idx="28">
                  <c:v>0.11759656652360514</c:v>
                </c:pt>
                <c:pt idx="29">
                  <c:v>0.10933081998114987</c:v>
                </c:pt>
                <c:pt idx="30">
                  <c:v>0.13567362428842505</c:v>
                </c:pt>
                <c:pt idx="31">
                  <c:v>0.12224448897795591</c:v>
                </c:pt>
                <c:pt idx="32">
                  <c:v>0.1264591439688716</c:v>
                </c:pt>
                <c:pt idx="33">
                  <c:v>0.1303052866716307</c:v>
                </c:pt>
                <c:pt idx="34">
                  <c:v>0.14346764346764346</c:v>
                </c:pt>
                <c:pt idx="35">
                  <c:v>0.13708149084017687</c:v>
                </c:pt>
                <c:pt idx="36">
                  <c:v>0.12025901942645699</c:v>
                </c:pt>
                <c:pt idx="37">
                  <c:v>0.1125506072874494</c:v>
                </c:pt>
                <c:pt idx="38">
                  <c:v>0.10433763188745604</c:v>
                </c:pt>
                <c:pt idx="39">
                  <c:v>0.12341062079281974</c:v>
                </c:pt>
                <c:pt idx="40">
                  <c:v>0.10952738184546136</c:v>
                </c:pt>
                <c:pt idx="41">
                  <c:v>0.10362047440699126</c:v>
                </c:pt>
                <c:pt idx="42">
                  <c:v>0.1186046511627907</c:v>
                </c:pt>
                <c:pt idx="43">
                  <c:v>0.1050767414403778</c:v>
                </c:pt>
                <c:pt idx="44">
                  <c:v>0.09951219512195122</c:v>
                </c:pt>
                <c:pt idx="45">
                  <c:v>0.10710301227222016</c:v>
                </c:pt>
                <c:pt idx="46">
                  <c:v>0.10402219140083217</c:v>
                </c:pt>
                <c:pt idx="47">
                  <c:v>0.10672573499798631</c:v>
                </c:pt>
                <c:pt idx="48">
                  <c:v>0.10505709624796085</c:v>
                </c:pt>
                <c:pt idx="49">
                  <c:v>0.11361926260346125</c:v>
                </c:pt>
                <c:pt idx="50">
                  <c:v>0.12021601314862644</c:v>
                </c:pt>
                <c:pt idx="51">
                  <c:v>0.116822429906542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75112579756805</c:v>
                </c:pt>
              </c:numCache>
            </c:numRef>
          </c:xVal>
          <c:yVal>
            <c:numRef>
              <c:f>Sheet1!$B$163:$B$164</c:f>
              <c:numCache>
                <c:formatCode>General</c:formatCode>
                <c:ptCount val="2"/>
                <c:pt idx="0">
                  <c:v>0.1824513837359101</c:v>
                </c:pt>
                <c:pt idx="1">
                  <c:v>0.182451383735910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75112579756805</c:v>
                </c:pt>
                <c:pt idx="1">
                  <c:v>-0.2075112579756805</c:v>
                </c:pt>
              </c:numCache>
            </c:numRef>
          </c:xVal>
          <c:yVal>
            <c:numRef>
              <c:f>Sheet1!$B$167:$B$168</c:f>
              <c:numCache>
                <c:formatCode>General</c:formatCode>
                <c:ptCount val="2"/>
                <c:pt idx="0">
                  <c:v>0.182451383735910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746393659870782</c:v>
                </c:pt>
              </c:numCache>
            </c:numRef>
          </c:xVal>
          <c:yVal>
            <c:numRef>
              <c:f>Sheet1!$B$171:$B$172</c:f>
              <c:numCache>
                <c:formatCode>General</c:formatCode>
                <c:ptCount val="2"/>
                <c:pt idx="0">
                  <c:v>0.11496521776246721</c:v>
                </c:pt>
                <c:pt idx="1">
                  <c:v>0.1149652177624672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746393659870782</c:v>
                </c:pt>
                <c:pt idx="1">
                  <c:v>1.4746393659870782</c:v>
                </c:pt>
              </c:numCache>
            </c:numRef>
          </c:xVal>
          <c:yVal>
            <c:numRef>
              <c:f>Sheet1!$B$175:$B$176</c:f>
              <c:numCache>
                <c:formatCode>General</c:formatCode>
                <c:ptCount val="2"/>
                <c:pt idx="0">
                  <c:v>0.1149652177624672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92040208551963</c:v>
                </c:pt>
              </c:numCache>
            </c:numRef>
          </c:xVal>
          <c:yVal>
            <c:numRef>
              <c:f>Sheet1!$B$179:$B$180</c:f>
              <c:numCache>
                <c:formatCode>General</c:formatCode>
                <c:ptCount val="2"/>
                <c:pt idx="0">
                  <c:v>0.11025521579600166</c:v>
                </c:pt>
                <c:pt idx="1">
                  <c:v>0.110255215796001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92040208551963</c:v>
                </c:pt>
                <c:pt idx="1">
                  <c:v>1.592040208551963</c:v>
                </c:pt>
              </c:numCache>
            </c:numRef>
          </c:xVal>
          <c:yVal>
            <c:numRef>
              <c:f>Sheet1!$B$183:$B$184</c:f>
              <c:numCache>
                <c:formatCode>General</c:formatCode>
                <c:ptCount val="2"/>
                <c:pt idx="0">
                  <c:v>0.110255215796001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451301073169033</c:v>
                </c:pt>
                <c:pt idx="1">
                  <c:v>1.4816364231262482</c:v>
                </c:pt>
                <c:pt idx="2">
                  <c:v>1.3941775495789785</c:v>
                </c:pt>
                <c:pt idx="3">
                  <c:v>1.3829539112568041</c:v>
                </c:pt>
                <c:pt idx="4">
                  <c:v>1.4466029833948826</c:v>
                </c:pt>
                <c:pt idx="5">
                  <c:v>1.3940442895194218</c:v>
                </c:pt>
                <c:pt idx="6">
                  <c:v>1.4797802871794075</c:v>
                </c:pt>
                <c:pt idx="7">
                  <c:v>1.498171735117691</c:v>
                </c:pt>
                <c:pt idx="8">
                  <c:v>1.6145087657212105</c:v>
                </c:pt>
                <c:pt idx="9">
                  <c:v>1.6020272862105551</c:v>
                </c:pt>
                <c:pt idx="10">
                  <c:v>1.6830770465938656</c:v>
                </c:pt>
                <c:pt idx="11">
                  <c:v>1.7358230478856511</c:v>
                </c:pt>
                <c:pt idx="12">
                  <c:v>1.8199879536800243</c:v>
                </c:pt>
                <c:pt idx="13">
                  <c:v>1.8393803064370227</c:v>
                </c:pt>
                <c:pt idx="14">
                  <c:v>1.7976097948985914</c:v>
                </c:pt>
                <c:pt idx="15">
                  <c:v>1.9970638327035342</c:v>
                </c:pt>
                <c:pt idx="16">
                  <c:v>1.8735325465881416</c:v>
                </c:pt>
                <c:pt idx="17">
                  <c:v>2.1224033055492133</c:v>
                </c:pt>
                <c:pt idx="18">
                  <c:v>1.9165919895134944</c:v>
                </c:pt>
                <c:pt idx="19">
                  <c:v>2.003699231273825</c:v>
                </c:pt>
                <c:pt idx="20">
                  <c:v>1.8133504754958376</c:v>
                </c:pt>
                <c:pt idx="21">
                  <c:v>1.5896857113701321</c:v>
                </c:pt>
                <c:pt idx="22">
                  <c:v>1.6579566373338326</c:v>
                </c:pt>
                <c:pt idx="23">
                  <c:v>1.6569043512577848</c:v>
                </c:pt>
                <c:pt idx="24">
                  <c:v>1.5674090105732215</c:v>
                </c:pt>
                <c:pt idx="25">
                  <c:v>1.6513386023504242</c:v>
                </c:pt>
                <c:pt idx="26">
                  <c:v>1.5229802684214222</c:v>
                </c:pt>
                <c:pt idx="27">
                  <c:v>1.5079204148865641</c:v>
                </c:pt>
                <c:pt idx="28">
                  <c:v>1.4620107149783437</c:v>
                </c:pt>
                <c:pt idx="29">
                  <c:v>1.6186132099243005</c:v>
                </c:pt>
                <c:pt idx="30">
                  <c:v>1.448541624366633</c:v>
                </c:pt>
                <c:pt idx="31">
                  <c:v>1.263617590928161</c:v>
                </c:pt>
                <c:pt idx="32">
                  <c:v>1.335354451978566</c:v>
                </c:pt>
                <c:pt idx="33">
                  <c:v>1.4225731337415433</c:v>
                </c:pt>
                <c:pt idx="34">
                  <c:v>1.4911343256169365</c:v>
                </c:pt>
                <c:pt idx="35">
                  <c:v>1.4445707070880502</c:v>
                </c:pt>
                <c:pt idx="36">
                  <c:v>1.4539946224389135</c:v>
                </c:pt>
                <c:pt idx="37">
                  <c:v>1.619528195937324</c:v>
                </c:pt>
                <c:pt idx="38">
                  <c:v>1.4957525697932</c:v>
                </c:pt>
                <c:pt idx="39">
                  <c:v>1.5124050056089866</c:v>
                </c:pt>
                <c:pt idx="40">
                  <c:v>1.5087303777722854</c:v>
                </c:pt>
                <c:pt idx="41">
                  <c:v>1.622503678046276</c:v>
                </c:pt>
                <c:pt idx="42">
                  <c:v>1.5641214844317508</c:v>
                </c:pt>
                <c:pt idx="43">
                  <c:v>1.6107706639386152</c:v>
                </c:pt>
                <c:pt idx="44">
                  <c:v>1.5621529723960785</c:v>
                </c:pt>
                <c:pt idx="45">
                  <c:v>1.5713063465770938</c:v>
                </c:pt>
                <c:pt idx="46">
                  <c:v>1.5697628953378568</c:v>
                </c:pt>
                <c:pt idx="47">
                  <c:v>1.6175851013044582</c:v>
                </c:pt>
                <c:pt idx="48">
                  <c:v>1.4955968187608093</c:v>
                </c:pt>
                <c:pt idx="49">
                  <c:v>1.6002779086510934</c:v>
                </c:pt>
                <c:pt idx="50">
                  <c:v>1.5502843599370184</c:v>
                </c:pt>
                <c:pt idx="51">
                  <c:v>1.5784481756673303</c:v>
                </c:pt>
                <c:pt idx="52">
                  <c:v>1.4746393659870782</c:v>
                </c:pt>
                <c:pt idx="53">
                  <c:v>-0.2075112579756805</c:v>
                </c:pt>
                <c:pt idx="54">
                  <c:v>1.592040208551963</c:v>
                </c:pt>
              </c:numCache>
            </c:numRef>
          </c:xVal>
          <c:yVal>
            <c:numRef>
              <c:f>Sheet1!$B$187:$B$241</c:f>
              <c:numCache>
                <c:formatCode>General</c:formatCode>
                <c:ptCount val="55"/>
                <c:pt idx="0">
                  <c:v>0.11590152624769967</c:v>
                </c:pt>
                <c:pt idx="1">
                  <c:v>0.11468450297230931</c:v>
                </c:pt>
                <c:pt idx="2">
                  <c:v>0.11819326370513655</c:v>
                </c:pt>
                <c:pt idx="3">
                  <c:v>0.11864354461806206</c:v>
                </c:pt>
                <c:pt idx="4">
                  <c:v>0.11609000881385034</c:v>
                </c:pt>
                <c:pt idx="5">
                  <c:v>0.1181986099627004</c:v>
                </c:pt>
                <c:pt idx="6">
                  <c:v>0.1147589692518406</c:v>
                </c:pt>
                <c:pt idx="7">
                  <c:v>0.11402112313367846</c:v>
                </c:pt>
                <c:pt idx="8">
                  <c:v>0.10935380021721386</c:v>
                </c:pt>
                <c:pt idx="9">
                  <c:v>0.10985454443467632</c:v>
                </c:pt>
                <c:pt idx="10">
                  <c:v>0.10660291077986696</c:v>
                </c:pt>
                <c:pt idx="11">
                  <c:v>0.10448679504866852</c:v>
                </c:pt>
                <c:pt idx="12">
                  <c:v>0.10111018493976069</c:v>
                </c:pt>
                <c:pt idx="13">
                  <c:v>0.1003321835419481</c:v>
                </c:pt>
                <c:pt idx="14">
                  <c:v>0.10200797382750376</c:v>
                </c:pt>
                <c:pt idx="15">
                  <c:v>0.09400608142403508</c:v>
                </c:pt>
                <c:pt idx="16">
                  <c:v>0.09896203052807964</c:v>
                </c:pt>
                <c:pt idx="17">
                  <c:v>0.08897758971408305</c:v>
                </c:pt>
                <c:pt idx="18">
                  <c:v>0.097234529630961</c:v>
                </c:pt>
                <c:pt idx="19">
                  <c:v>0.09373987600649661</c:v>
                </c:pt>
                <c:pt idx="20">
                  <c:v>0.1013764737892859</c:v>
                </c:pt>
                <c:pt idx="21">
                  <c:v>0.11034967581957714</c:v>
                </c:pt>
                <c:pt idx="22">
                  <c:v>0.10761071595765165</c:v>
                </c:pt>
                <c:pt idx="23">
                  <c:v>0.10765293260089874</c:v>
                </c:pt>
                <c:pt idx="24">
                  <c:v>0.1112433943165447</c:v>
                </c:pt>
                <c:pt idx="25">
                  <c:v>0.10787622476580831</c:v>
                </c:pt>
                <c:pt idx="26">
                  <c:v>0.11302583010091237</c:v>
                </c:pt>
                <c:pt idx="27">
                  <c:v>0.11363001605234335</c:v>
                </c:pt>
                <c:pt idx="28">
                  <c:v>0.11547186635020688</c:v>
                </c:pt>
                <c:pt idx="29">
                  <c:v>0.10918913410540877</c:v>
                </c:pt>
                <c:pt idx="30">
                  <c:v>0.1160122325169369</c:v>
                </c:pt>
                <c:pt idx="31">
                  <c:v>0.12343119597676527</c:v>
                </c:pt>
                <c:pt idx="32">
                  <c:v>0.12055318633702411</c:v>
                </c:pt>
                <c:pt idx="33">
                  <c:v>0.11705406185340622</c:v>
                </c:pt>
                <c:pt idx="34">
                  <c:v>0.11430345681939336</c:v>
                </c:pt>
                <c:pt idx="35">
                  <c:v>0.11617154166482874</c:v>
                </c:pt>
                <c:pt idx="36">
                  <c:v>0.11579346380043999</c:v>
                </c:pt>
                <c:pt idx="37">
                  <c:v>0.10915242580054078</c:v>
                </c:pt>
                <c:pt idx="38">
                  <c:v>0.1141181775771273</c:v>
                </c:pt>
                <c:pt idx="39">
                  <c:v>0.11345009885021826</c:v>
                </c:pt>
                <c:pt idx="40">
                  <c:v>0.11359752116814009</c:v>
                </c:pt>
                <c:pt idx="41">
                  <c:v>0.10903305249556129</c:v>
                </c:pt>
                <c:pt idx="42">
                  <c:v>0.11137528650958901</c:v>
                </c:pt>
                <c:pt idx="43">
                  <c:v>0.10950376904505377</c:v>
                </c:pt>
                <c:pt idx="44">
                  <c:v>0.11145426120309604</c:v>
                </c:pt>
                <c:pt idx="45">
                  <c:v>0.11108703717428595</c:v>
                </c:pt>
                <c:pt idx="46">
                  <c:v>0.11114895886252196</c:v>
                </c:pt>
                <c:pt idx="47">
                  <c:v>0.1092303807737921</c:v>
                </c:pt>
                <c:pt idx="48">
                  <c:v>0.1141244261495635</c:v>
                </c:pt>
                <c:pt idx="49">
                  <c:v>0.1099247276766799</c:v>
                </c:pt>
                <c:pt idx="50">
                  <c:v>0.11193041782003424</c:v>
                </c:pt>
                <c:pt idx="51">
                  <c:v>0.11080051428122763</c:v>
                </c:pt>
                <c:pt idx="52">
                  <c:v>0.11496521776246721</c:v>
                </c:pt>
                <c:pt idx="53">
                  <c:v>0.1824513837359101</c:v>
                </c:pt>
                <c:pt idx="54">
                  <c:v>0.110255215796001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82978723404255"/>
          <c:min val="0.050444624090541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9.1087</c:v>
                </c:pt>
                <c:pt idx="1">
                  <c:v>829.9885</c:v>
                </c:pt>
                <c:pt idx="2">
                  <c:v>792.9876</c:v>
                </c:pt>
                <c:pt idx="3">
                  <c:v>805.7457</c:v>
                </c:pt>
                <c:pt idx="4">
                  <c:v>800.1899</c:v>
                </c:pt>
                <c:pt idx="5">
                  <c:v>793.0957</c:v>
                </c:pt>
                <c:pt idx="6">
                  <c:v>783.8494</c:v>
                </c:pt>
                <c:pt idx="7">
                  <c:v>807.3333</c:v>
                </c:pt>
                <c:pt idx="8">
                  <c:v>782.1317</c:v>
                </c:pt>
                <c:pt idx="9">
                  <c:v>789.5619</c:v>
                </c:pt>
                <c:pt idx="10">
                  <c:v>788.2258</c:v>
                </c:pt>
                <c:pt idx="11">
                  <c:v>818.2393</c:v>
                </c:pt>
                <c:pt idx="12">
                  <c:v>841.7979</c:v>
                </c:pt>
                <c:pt idx="13">
                  <c:v>839.5314</c:v>
                </c:pt>
                <c:pt idx="14">
                  <c:v>840.7228</c:v>
                </c:pt>
                <c:pt idx="15">
                  <c:v>844.1019</c:v>
                </c:pt>
                <c:pt idx="16">
                  <c:v>835.596</c:v>
                </c:pt>
                <c:pt idx="17">
                  <c:v>871.4856</c:v>
                </c:pt>
                <c:pt idx="18">
                  <c:v>909.6305</c:v>
                </c:pt>
                <c:pt idx="19">
                  <c:v>948.4534</c:v>
                </c:pt>
                <c:pt idx="20">
                  <c:v>938.7419</c:v>
                </c:pt>
                <c:pt idx="21">
                  <c:v>942.3757</c:v>
                </c:pt>
                <c:pt idx="22">
                  <c:v>934.354</c:v>
                </c:pt>
                <c:pt idx="23">
                  <c:v>925.462</c:v>
                </c:pt>
                <c:pt idx="24">
                  <c:v>881.093</c:v>
                </c:pt>
                <c:pt idx="25">
                  <c:v>895.3446</c:v>
                </c:pt>
                <c:pt idx="26">
                  <c:v>891.8939</c:v>
                </c:pt>
                <c:pt idx="27">
                  <c:v>915.4384</c:v>
                </c:pt>
                <c:pt idx="28">
                  <c:v>933.9007</c:v>
                </c:pt>
                <c:pt idx="29">
                  <c:v>736.5635</c:v>
                </c:pt>
                <c:pt idx="30">
                  <c:v>805.8961</c:v>
                </c:pt>
                <c:pt idx="31">
                  <c:v>846.5816</c:v>
                </c:pt>
                <c:pt idx="32">
                  <c:v>799.6667</c:v>
                </c:pt>
                <c:pt idx="33">
                  <c:v>739.1815</c:v>
                </c:pt>
                <c:pt idx="34">
                  <c:v>847.1627</c:v>
                </c:pt>
                <c:pt idx="35">
                  <c:v>925.593</c:v>
                </c:pt>
                <c:pt idx="36">
                  <c:v>988.7108</c:v>
                </c:pt>
                <c:pt idx="37">
                  <c:v>1003.9401</c:v>
                </c:pt>
                <c:pt idx="38">
                  <c:v>1028.2471</c:v>
                </c:pt>
                <c:pt idx="39">
                  <c:v>1034.0584</c:v>
                </c:pt>
                <c:pt idx="40">
                  <c:v>1012.8581</c:v>
                </c:pt>
                <c:pt idx="41">
                  <c:v>1061.3433</c:v>
                </c:pt>
                <c:pt idx="42">
                  <c:v>1061.7468</c:v>
                </c:pt>
                <c:pt idx="43">
                  <c:v>1035.6484</c:v>
                </c:pt>
                <c:pt idx="44">
                  <c:v>994.1833</c:v>
                </c:pt>
                <c:pt idx="45">
                  <c:v>971.2097</c:v>
                </c:pt>
                <c:pt idx="46">
                  <c:v>996.702</c:v>
                </c:pt>
                <c:pt idx="47">
                  <c:v>965.7857</c:v>
                </c:pt>
                <c:pt idx="48">
                  <c:v>997.7889</c:v>
                </c:pt>
                <c:pt idx="49">
                  <c:v>980.6168</c:v>
                </c:pt>
                <c:pt idx="50">
                  <c:v>956.9135</c:v>
                </c:pt>
                <c:pt idx="51">
                  <c:v>967.5662</c:v>
                </c:pt>
                <c:pt idx="52">
                  <c:v>918.4083</c:v>
                </c:pt>
                <c:pt idx="53">
                  <c:v>885.1031</c:v>
                </c:pt>
                <c:pt idx="54">
                  <c:v>947.1946</c:v>
                </c:pt>
                <c:pt idx="55">
                  <c:v>925.1464</c:v>
                </c:pt>
                <c:pt idx="56">
                  <c:v>973.9852</c:v>
                </c:pt>
                <c:pt idx="57">
                  <c:v>932.2876</c:v>
                </c:pt>
                <c:pt idx="58">
                  <c:v>937.843</c:v>
                </c:pt>
                <c:pt idx="59">
                  <c:v>928.8413</c:v>
                </c:pt>
                <c:pt idx="60">
                  <c:v>918.5502</c:v>
                </c:pt>
                <c:pt idx="61">
                  <c:v>907.3926</c:v>
                </c:pt>
                <c:pt idx="62">
                  <c:v>930.4375</c:v>
                </c:pt>
                <c:pt idx="63">
                  <c:v>985.0967</c:v>
                </c:pt>
                <c:pt idx="64">
                  <c:v>956.5107</c:v>
                </c:pt>
                <c:pt idx="65">
                  <c:v>963.6997</c:v>
                </c:pt>
                <c:pt idx="66">
                  <c:v>948.3375</c:v>
                </c:pt>
                <c:pt idx="67">
                  <c:v>916.6146</c:v>
                </c:pt>
                <c:pt idx="68">
                  <c:v>940.8525</c:v>
                </c:pt>
                <c:pt idx="69">
                  <c:v>962.8883</c:v>
                </c:pt>
                <c:pt idx="70">
                  <c:v>913.6414</c:v>
                </c:pt>
                <c:pt idx="71">
                  <c:v>986.3203</c:v>
                </c:pt>
                <c:pt idx="72">
                  <c:v>1152.7563</c:v>
                </c:pt>
                <c:pt idx="73">
                  <c:v>1189.7351</c:v>
                </c:pt>
                <c:pt idx="74">
                  <c:v>1144.7786</c:v>
                </c:pt>
                <c:pt idx="75">
                  <c:v>1104.3835</c:v>
                </c:pt>
                <c:pt idx="76">
                  <c:v>1133.0355</c:v>
                </c:pt>
                <c:pt idx="77">
                  <c:v>1134.0684</c:v>
                </c:pt>
                <c:pt idx="78">
                  <c:v>1111.3542</c:v>
                </c:pt>
                <c:pt idx="79">
                  <c:v>1057.2022</c:v>
                </c:pt>
                <c:pt idx="80">
                  <c:v>1131.1222</c:v>
                </c:pt>
                <c:pt idx="81">
                  <c:v>1137.9496</c:v>
                </c:pt>
                <c:pt idx="82">
                  <c:v>1160.8925</c:v>
                </c:pt>
                <c:pt idx="83">
                  <c:v>1143.4359</c:v>
                </c:pt>
                <c:pt idx="84">
                  <c:v>1070.7059</c:v>
                </c:pt>
                <c:pt idx="85">
                  <c:v>1073.8261</c:v>
                </c:pt>
                <c:pt idx="86">
                  <c:v>1111.6337</c:v>
                </c:pt>
                <c:pt idx="87">
                  <c:v>1129.0899</c:v>
                </c:pt>
                <c:pt idx="88">
                  <c:v>1138.0705</c:v>
                </c:pt>
                <c:pt idx="89">
                  <c:v>1127.4215</c:v>
                </c:pt>
                <c:pt idx="90">
                  <c:v>1173.6881</c:v>
                </c:pt>
                <c:pt idx="91">
                  <c:v>1121.3173</c:v>
                </c:pt>
                <c:pt idx="92">
                  <c:v>1010.0284</c:v>
                </c:pt>
                <c:pt idx="93">
                  <c:v>1026.0935</c:v>
                </c:pt>
                <c:pt idx="94">
                  <c:v>1108.2945</c:v>
                </c:pt>
                <c:pt idx="95">
                  <c:v>1054.1011</c:v>
                </c:pt>
                <c:pt idx="96">
                  <c:v>936.2335</c:v>
                </c:pt>
                <c:pt idx="97">
                  <c:v>1009.2744</c:v>
                </c:pt>
                <c:pt idx="98">
                  <c:v>1013.3516</c:v>
                </c:pt>
                <c:pt idx="99">
                  <c:v>975.9528</c:v>
                </c:pt>
                <c:pt idx="100">
                  <c:v>977.7181</c:v>
                </c:pt>
                <c:pt idx="101">
                  <c:v>978.3647</c:v>
                </c:pt>
                <c:pt idx="102">
                  <c:v>987.5</c:v>
                </c:pt>
                <c:pt idx="103">
                  <c:v>930.4237</c:v>
                </c:pt>
                <c:pt idx="104">
                  <c:v>966.3727</c:v>
                </c:pt>
              </c:numCache>
            </c:numRef>
          </c:xVal>
          <c:yVal>
            <c:numRef>
              <c:f>Sheet1!$B$2:$B$106</c:f>
              <c:numCache>
                <c:formatCode>General</c:formatCode>
                <c:ptCount val="105"/>
                <c:pt idx="0">
                  <c:v>0.18363273453093812</c:v>
                </c:pt>
                <c:pt idx="1">
                  <c:v>0.17555331991951711</c:v>
                </c:pt>
                <c:pt idx="2">
                  <c:v>0.18173598553345388</c:v>
                </c:pt>
                <c:pt idx="3">
                  <c:v>0.1686746987951807</c:v>
                </c:pt>
                <c:pt idx="4">
                  <c:v>0.16807817589576549</c:v>
                </c:pt>
                <c:pt idx="5">
                  <c:v>0.17956064947468958</c:v>
                </c:pt>
                <c:pt idx="6">
                  <c:v>0.20250195465207194</c:v>
                </c:pt>
                <c:pt idx="7">
                  <c:v>0.19390581717451524</c:v>
                </c:pt>
                <c:pt idx="8">
                  <c:v>0.18841911764705882</c:v>
                </c:pt>
                <c:pt idx="9">
                  <c:v>0.1912568306010929</c:v>
                </c:pt>
                <c:pt idx="10">
                  <c:v>0.2198581560283688</c:v>
                </c:pt>
                <c:pt idx="11">
                  <c:v>0.1902439024390244</c:v>
                </c:pt>
                <c:pt idx="12">
                  <c:v>0.18062704726251755</c:v>
                </c:pt>
                <c:pt idx="13">
                  <c:v>0.1708984375</c:v>
                </c:pt>
                <c:pt idx="14">
                  <c:v>0.1740306582506763</c:v>
                </c:pt>
                <c:pt idx="15">
                  <c:v>0.15022675736961452</c:v>
                </c:pt>
                <c:pt idx="16">
                  <c:v>0.14326647564469913</c:v>
                </c:pt>
                <c:pt idx="17">
                  <c:v>0.17181705809641531</c:v>
                </c:pt>
                <c:pt idx="18">
                  <c:v>0.14562410329985653</c:v>
                </c:pt>
                <c:pt idx="19">
                  <c:v>0.13702127659574467</c:v>
                </c:pt>
                <c:pt idx="20">
                  <c:v>0.16514459665144596</c:v>
                </c:pt>
                <c:pt idx="21">
                  <c:v>0.1495246326707001</c:v>
                </c:pt>
                <c:pt idx="22">
                  <c:v>0.12931726907630522</c:v>
                </c:pt>
                <c:pt idx="23">
                  <c:v>0.15358931552587646</c:v>
                </c:pt>
                <c:pt idx="24">
                  <c:v>0.14814814814814814</c:v>
                </c:pt>
                <c:pt idx="25">
                  <c:v>0.14453125</c:v>
                </c:pt>
                <c:pt idx="26">
                  <c:v>0.1524701873935264</c:v>
                </c:pt>
                <c:pt idx="27">
                  <c:v>0.13129496402877697</c:v>
                </c:pt>
                <c:pt idx="28">
                  <c:v>0.12260869565217392</c:v>
                </c:pt>
                <c:pt idx="29">
                  <c:v>0.15118956254796623</c:v>
                </c:pt>
                <c:pt idx="30">
                  <c:v>0.1475095785440613</c:v>
                </c:pt>
                <c:pt idx="31">
                  <c:v>0.12995391705069123</c:v>
                </c:pt>
                <c:pt idx="32">
                  <c:v>0.14974182444061962</c:v>
                </c:pt>
                <c:pt idx="33">
                  <c:v>0.16511318242343542</c:v>
                </c:pt>
                <c:pt idx="34">
                  <c:v>0.15584415584415584</c:v>
                </c:pt>
                <c:pt idx="35">
                  <c:v>0.141602634467618</c:v>
                </c:pt>
                <c:pt idx="36">
                  <c:v>0.10703043022035677</c:v>
                </c:pt>
                <c:pt idx="37">
                  <c:v>0.10823071937783539</c:v>
                </c:pt>
                <c:pt idx="38">
                  <c:v>0.10526315789473684</c:v>
                </c:pt>
                <c:pt idx="39">
                  <c:v>0.10021945866861741</c:v>
                </c:pt>
                <c:pt idx="40">
                  <c:v>0.09497549019607843</c:v>
                </c:pt>
                <c:pt idx="41">
                  <c:v>0.08634020618556701</c:v>
                </c:pt>
                <c:pt idx="42">
                  <c:v>0.08641975308641975</c:v>
                </c:pt>
                <c:pt idx="43">
                  <c:v>0.08796520057999033</c:v>
                </c:pt>
                <c:pt idx="44">
                  <c:v>0.0893874643874644</c:v>
                </c:pt>
                <c:pt idx="45">
                  <c:v>0.1</c:v>
                </c:pt>
                <c:pt idx="46">
                  <c:v>0.08922323303009097</c:v>
                </c:pt>
                <c:pt idx="47">
                  <c:v>0.08977387782652717</c:v>
                </c:pt>
                <c:pt idx="48">
                  <c:v>0.10308538627122697</c:v>
                </c:pt>
                <c:pt idx="49">
                  <c:v>0.13178030947117836</c:v>
                </c:pt>
                <c:pt idx="50">
                  <c:v>0.11437046802900462</c:v>
                </c:pt>
                <c:pt idx="51">
                  <c:v>0.09240506329113925</c:v>
                </c:pt>
                <c:pt idx="52">
                  <c:v>0.09669621273166801</c:v>
                </c:pt>
                <c:pt idx="53">
                  <c:v>0.11887254901960784</c:v>
                </c:pt>
                <c:pt idx="54">
                  <c:v>0.11981351981351981</c:v>
                </c:pt>
                <c:pt idx="55">
                  <c:v>0.11231203007518797</c:v>
                </c:pt>
                <c:pt idx="56">
                  <c:v>0.10735060814383923</c:v>
                </c:pt>
                <c:pt idx="57">
                  <c:v>0.11116576487948844</c:v>
                </c:pt>
                <c:pt idx="58">
                  <c:v>0.11524547803617571</c:v>
                </c:pt>
                <c:pt idx="59">
                  <c:v>0.10404984423676013</c:v>
                </c:pt>
                <c:pt idx="60">
                  <c:v>0.1118421052631579</c:v>
                </c:pt>
                <c:pt idx="61">
                  <c:v>0.12790146849834202</c:v>
                </c:pt>
                <c:pt idx="62">
                  <c:v>0.11782032400589101</c:v>
                </c:pt>
                <c:pt idx="63">
                  <c:v>0.12536564981195153</c:v>
                </c:pt>
                <c:pt idx="64">
                  <c:v>0.13346938775510203</c:v>
                </c:pt>
                <c:pt idx="65">
                  <c:v>0.13341858482523444</c:v>
                </c:pt>
                <c:pt idx="66">
                  <c:v>0.1389491966999566</c:v>
                </c:pt>
                <c:pt idx="67">
                  <c:v>0.1331072488342518</c:v>
                </c:pt>
                <c:pt idx="68">
                  <c:v>0.11509433962264151</c:v>
                </c:pt>
                <c:pt idx="69">
                  <c:v>0.1185430463576159</c:v>
                </c:pt>
                <c:pt idx="70">
                  <c:v>0.11647058823529412</c:v>
                </c:pt>
                <c:pt idx="71">
                  <c:v>0.09770114942528736</c:v>
                </c:pt>
                <c:pt idx="72">
                  <c:v>0.09340338587273789</c:v>
                </c:pt>
                <c:pt idx="73">
                  <c:v>0.09642401021711366</c:v>
                </c:pt>
                <c:pt idx="74">
                  <c:v>0.08343949044585987</c:v>
                </c:pt>
                <c:pt idx="75">
                  <c:v>0.09540889526542325</c:v>
                </c:pt>
                <c:pt idx="76">
                  <c:v>0.09209666884389288</c:v>
                </c:pt>
                <c:pt idx="77">
                  <c:v>0.08705357142857142</c:v>
                </c:pt>
                <c:pt idx="78">
                  <c:v>0.07470817120622568</c:v>
                </c:pt>
                <c:pt idx="79">
                  <c:v>0.07265306122448979</c:v>
                </c:pt>
                <c:pt idx="80">
                  <c:v>0.07293354943273905</c:v>
                </c:pt>
                <c:pt idx="81">
                  <c:v>0.08106267029972752</c:v>
                </c:pt>
                <c:pt idx="82">
                  <c:v>0.0744595676541233</c:v>
                </c:pt>
                <c:pt idx="83">
                  <c:v>0.06305578011317704</c:v>
                </c:pt>
                <c:pt idx="84">
                  <c:v>0.07101086048454469</c:v>
                </c:pt>
                <c:pt idx="85">
                  <c:v>0.09141494435612083</c:v>
                </c:pt>
                <c:pt idx="86">
                  <c:v>0.09440175631174534</c:v>
                </c:pt>
                <c:pt idx="87">
                  <c:v>0.10476718403547672</c:v>
                </c:pt>
                <c:pt idx="88">
                  <c:v>0.09128145114101814</c:v>
                </c:pt>
                <c:pt idx="89">
                  <c:v>0.0788787483702738</c:v>
                </c:pt>
                <c:pt idx="90">
                  <c:v>0.07985347985347985</c:v>
                </c:pt>
                <c:pt idx="91">
                  <c:v>0.07412687099073414</c:v>
                </c:pt>
                <c:pt idx="92">
                  <c:v>0.08260105448154657</c:v>
                </c:pt>
                <c:pt idx="93">
                  <c:v>0.08152492668621701</c:v>
                </c:pt>
                <c:pt idx="94">
                  <c:v>0.08434430964760255</c:v>
                </c:pt>
                <c:pt idx="95">
                  <c:v>0.08649173955296405</c:v>
                </c:pt>
                <c:pt idx="96">
                  <c:v>0.08697123519458545</c:v>
                </c:pt>
                <c:pt idx="97">
                  <c:v>0.08444444444444445</c:v>
                </c:pt>
                <c:pt idx="98">
                  <c:v>0.10055056505360765</c:v>
                </c:pt>
                <c:pt idx="99">
                  <c:v>0.10992999740731138</c:v>
                </c:pt>
                <c:pt idx="100">
                  <c:v>0.11865407319952774</c:v>
                </c:pt>
                <c:pt idx="101">
                  <c:v>0.11509817197020988</c:v>
                </c:pt>
                <c:pt idx="102">
                  <c:v>0.09389197375063099</c:v>
                </c:pt>
                <c:pt idx="103">
                  <c:v>0.10673903211216644</c:v>
                </c:pt>
                <c:pt idx="104">
                  <c:v>0.118152524167561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66.8903</c:v>
                </c:pt>
                <c:pt idx="1">
                  <c:v>984.9067</c:v>
                </c:pt>
                <c:pt idx="2">
                  <c:v>937.4125</c:v>
                </c:pt>
                <c:pt idx="3">
                  <c:v>951.7977</c:v>
                </c:pt>
                <c:pt idx="4">
                  <c:v>974.8319</c:v>
                </c:pt>
                <c:pt idx="5">
                  <c:v>971.1643</c:v>
                </c:pt>
                <c:pt idx="6">
                  <c:v>953.0118</c:v>
                </c:pt>
                <c:pt idx="7">
                  <c:v>1017.3882</c:v>
                </c:pt>
                <c:pt idx="8">
                  <c:v>1096.7442</c:v>
                </c:pt>
                <c:pt idx="9">
                  <c:v>1069.9905</c:v>
                </c:pt>
                <c:pt idx="10">
                  <c:v>1106.8736</c:v>
                </c:pt>
                <c:pt idx="11">
                  <c:v>1031.3226</c:v>
                </c:pt>
                <c:pt idx="12">
                  <c:v>1038.541</c:v>
                </c:pt>
                <c:pt idx="13">
                  <c:v>1100.4696</c:v>
                </c:pt>
                <c:pt idx="14">
                  <c:v>1067.1471</c:v>
                </c:pt>
                <c:pt idx="15">
                  <c:v>1095.6699</c:v>
                </c:pt>
                <c:pt idx="16">
                  <c:v>1144.503</c:v>
                </c:pt>
                <c:pt idx="17">
                  <c:v>1103.3893</c:v>
                </c:pt>
                <c:pt idx="18">
                  <c:v>1108.3019</c:v>
                </c:pt>
                <c:pt idx="19">
                  <c:v>1216.9315</c:v>
                </c:pt>
                <c:pt idx="20">
                  <c:v>1174.4741</c:v>
                </c:pt>
                <c:pt idx="21">
                  <c:v>998.5641</c:v>
                </c:pt>
                <c:pt idx="22">
                  <c:v>1106.8933</c:v>
                </c:pt>
                <c:pt idx="23">
                  <c:v>1071.4483</c:v>
                </c:pt>
                <c:pt idx="24">
                  <c:v>1032.7368</c:v>
                </c:pt>
                <c:pt idx="25">
                  <c:v>1028.4086</c:v>
                </c:pt>
                <c:pt idx="26">
                  <c:v>1002.4314</c:v>
                </c:pt>
                <c:pt idx="27">
                  <c:v>1008.5403</c:v>
                </c:pt>
                <c:pt idx="28">
                  <c:v>1013.1898</c:v>
                </c:pt>
                <c:pt idx="29">
                  <c:v>1003.3793</c:v>
                </c:pt>
                <c:pt idx="30">
                  <c:v>894.6364</c:v>
                </c:pt>
                <c:pt idx="31">
                  <c:v>857.1803</c:v>
                </c:pt>
                <c:pt idx="32">
                  <c:v>920.8846</c:v>
                </c:pt>
                <c:pt idx="33">
                  <c:v>1027.5829</c:v>
                </c:pt>
                <c:pt idx="34">
                  <c:v>1052.1915</c:v>
                </c:pt>
                <c:pt idx="35">
                  <c:v>1051.682</c:v>
                </c:pt>
                <c:pt idx="36">
                  <c:v>1044.4308</c:v>
                </c:pt>
                <c:pt idx="37">
                  <c:v>1162.446</c:v>
                </c:pt>
                <c:pt idx="38">
                  <c:v>1076.8539</c:v>
                </c:pt>
                <c:pt idx="39">
                  <c:v>1032.8545</c:v>
                </c:pt>
                <c:pt idx="40">
                  <c:v>1088.3904</c:v>
                </c:pt>
                <c:pt idx="41">
                  <c:v>1147.8253</c:v>
                </c:pt>
                <c:pt idx="42">
                  <c:v>1103.5229</c:v>
                </c:pt>
                <c:pt idx="43">
                  <c:v>1120.118</c:v>
                </c:pt>
                <c:pt idx="44">
                  <c:v>1057.9706</c:v>
                </c:pt>
                <c:pt idx="45">
                  <c:v>1042.4271</c:v>
                </c:pt>
                <c:pt idx="46">
                  <c:v>1040.6178</c:v>
                </c:pt>
                <c:pt idx="47">
                  <c:v>1027.0415</c:v>
                </c:pt>
                <c:pt idx="48">
                  <c:v>978.059</c:v>
                </c:pt>
                <c:pt idx="49">
                  <c:v>1038.3344</c:v>
                </c:pt>
                <c:pt idx="50">
                  <c:v>989.127</c:v>
                </c:pt>
                <c:pt idx="51">
                  <c:v>953.3767</c:v>
                </c:pt>
              </c:numCache>
            </c:numRef>
          </c:xVal>
          <c:yVal>
            <c:numRef>
              <c:f>Sheet1!$B$109:$B$160</c:f>
              <c:numCache>
                <c:formatCode>General</c:formatCode>
                <c:ptCount val="52"/>
                <c:pt idx="0">
                  <c:v>0.10896551724137932</c:v>
                </c:pt>
                <c:pt idx="1">
                  <c:v>0.11007827788649706</c:v>
                </c:pt>
                <c:pt idx="2">
                  <c:v>0.1091901728844404</c:v>
                </c:pt>
                <c:pt idx="3">
                  <c:v>0.13692061800745872</c:v>
                </c:pt>
                <c:pt idx="4">
                  <c:v>0.1171259842519685</c:v>
                </c:pt>
                <c:pt idx="5">
                  <c:v>0.11694915254237288</c:v>
                </c:pt>
                <c:pt idx="6">
                  <c:v>0.11480978260869565</c:v>
                </c:pt>
                <c:pt idx="7">
                  <c:v>0.09518477043673013</c:v>
                </c:pt>
                <c:pt idx="8">
                  <c:v>0.10582444626743231</c:v>
                </c:pt>
                <c:pt idx="9">
                  <c:v>0.0831353919239905</c:v>
                </c:pt>
                <c:pt idx="10">
                  <c:v>0.12117177097203728</c:v>
                </c:pt>
                <c:pt idx="11">
                  <c:v>0.11513463324048283</c:v>
                </c:pt>
                <c:pt idx="12">
                  <c:v>0.12459321245932124</c:v>
                </c:pt>
                <c:pt idx="13">
                  <c:v>0.11154219204655674</c:v>
                </c:pt>
                <c:pt idx="14">
                  <c:v>0.11092985318107668</c:v>
                </c:pt>
                <c:pt idx="15">
                  <c:v>0.10470941883767534</c:v>
                </c:pt>
                <c:pt idx="16">
                  <c:v>0.1065203357004519</c:v>
                </c:pt>
                <c:pt idx="17">
                  <c:v>0.08365261813537675</c:v>
                </c:pt>
                <c:pt idx="18">
                  <c:v>0.083596214511041</c:v>
                </c:pt>
                <c:pt idx="19">
                  <c:v>0.0962425840474621</c:v>
                </c:pt>
                <c:pt idx="20">
                  <c:v>0.08630952380952381</c:v>
                </c:pt>
                <c:pt idx="21">
                  <c:v>0.08315565031982942</c:v>
                </c:pt>
                <c:pt idx="22">
                  <c:v>0.08561643835616438</c:v>
                </c:pt>
                <c:pt idx="23">
                  <c:v>0.10834371108343711</c:v>
                </c:pt>
                <c:pt idx="24">
                  <c:v>0.09394313967861558</c:v>
                </c:pt>
                <c:pt idx="25">
                  <c:v>0.11712846347607053</c:v>
                </c:pt>
                <c:pt idx="26">
                  <c:v>0.09845559845559845</c:v>
                </c:pt>
                <c:pt idx="27">
                  <c:v>0.10598290598290598</c:v>
                </c:pt>
                <c:pt idx="28">
                  <c:v>0.11759656652360514</c:v>
                </c:pt>
                <c:pt idx="29">
                  <c:v>0.10933081998114987</c:v>
                </c:pt>
                <c:pt idx="30">
                  <c:v>0.13567362428842505</c:v>
                </c:pt>
                <c:pt idx="31">
                  <c:v>0.12224448897795591</c:v>
                </c:pt>
                <c:pt idx="32">
                  <c:v>0.1264591439688716</c:v>
                </c:pt>
                <c:pt idx="33">
                  <c:v>0.1303052866716307</c:v>
                </c:pt>
                <c:pt idx="34">
                  <c:v>0.14346764346764346</c:v>
                </c:pt>
                <c:pt idx="35">
                  <c:v>0.13708149084017687</c:v>
                </c:pt>
                <c:pt idx="36">
                  <c:v>0.12025901942645699</c:v>
                </c:pt>
                <c:pt idx="37">
                  <c:v>0.1125506072874494</c:v>
                </c:pt>
                <c:pt idx="38">
                  <c:v>0.10433763188745604</c:v>
                </c:pt>
                <c:pt idx="39">
                  <c:v>0.12341062079281974</c:v>
                </c:pt>
                <c:pt idx="40">
                  <c:v>0.10952738184546136</c:v>
                </c:pt>
                <c:pt idx="41">
                  <c:v>0.10362047440699126</c:v>
                </c:pt>
                <c:pt idx="42">
                  <c:v>0.1186046511627907</c:v>
                </c:pt>
                <c:pt idx="43">
                  <c:v>0.1050767414403778</c:v>
                </c:pt>
                <c:pt idx="44">
                  <c:v>0.09951219512195122</c:v>
                </c:pt>
                <c:pt idx="45">
                  <c:v>0.10710301227222016</c:v>
                </c:pt>
                <c:pt idx="46">
                  <c:v>0.10402219140083217</c:v>
                </c:pt>
                <c:pt idx="47">
                  <c:v>0.10672573499798631</c:v>
                </c:pt>
                <c:pt idx="48">
                  <c:v>0.10505709624796085</c:v>
                </c:pt>
                <c:pt idx="49">
                  <c:v>0.11361926260346125</c:v>
                </c:pt>
                <c:pt idx="50">
                  <c:v>0.12021601314862644</c:v>
                </c:pt>
                <c:pt idx="51">
                  <c:v>0.116822429906542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81.43271327536547</c:v>
                </c:pt>
              </c:numCache>
            </c:numRef>
          </c:xVal>
          <c:yVal>
            <c:numRef>
              <c:f>Sheet1!$B$163:$B$164</c:f>
              <c:numCache>
                <c:formatCode>General</c:formatCode>
                <c:ptCount val="2"/>
                <c:pt idx="0">
                  <c:v>0.1824513837359101</c:v>
                </c:pt>
                <c:pt idx="1">
                  <c:v>0.182451383735910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81.43271327536547</c:v>
                </c:pt>
                <c:pt idx="1">
                  <c:v>181.43271327536547</c:v>
                </c:pt>
              </c:numCache>
            </c:numRef>
          </c:xVal>
          <c:yVal>
            <c:numRef>
              <c:f>Sheet1!$B$167:$B$168</c:f>
              <c:numCache>
                <c:formatCode>General</c:formatCode>
                <c:ptCount val="2"/>
                <c:pt idx="0">
                  <c:v>0.182451383735910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2.9159314689059</c:v>
                </c:pt>
              </c:numCache>
            </c:numRef>
          </c:xVal>
          <c:yVal>
            <c:numRef>
              <c:f>Sheet1!$B$171:$B$172</c:f>
              <c:numCache>
                <c:formatCode>General</c:formatCode>
                <c:ptCount val="2"/>
                <c:pt idx="0">
                  <c:v>0.11496521776246721</c:v>
                </c:pt>
                <c:pt idx="1">
                  <c:v>0.1149652177624672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2.9159314689059</c:v>
                </c:pt>
                <c:pt idx="1">
                  <c:v>982.9159314689059</c:v>
                </c:pt>
              </c:numCache>
            </c:numRef>
          </c:xVal>
          <c:yVal>
            <c:numRef>
              <c:f>Sheet1!$B$175:$B$176</c:f>
              <c:numCache>
                <c:formatCode>General</c:formatCode>
                <c:ptCount val="2"/>
                <c:pt idx="0">
                  <c:v>0.1149652177624672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38.8531369587872</c:v>
                </c:pt>
              </c:numCache>
            </c:numRef>
          </c:xVal>
          <c:yVal>
            <c:numRef>
              <c:f>Sheet1!$B$179:$B$180</c:f>
              <c:numCache>
                <c:formatCode>General</c:formatCode>
                <c:ptCount val="2"/>
                <c:pt idx="0">
                  <c:v>0.11025521579600166</c:v>
                </c:pt>
                <c:pt idx="1">
                  <c:v>0.110255215796001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38.8531369587872</c:v>
                </c:pt>
                <c:pt idx="1">
                  <c:v>1038.8531369587872</c:v>
                </c:pt>
              </c:numCache>
            </c:numRef>
          </c:xVal>
          <c:yVal>
            <c:numRef>
              <c:f>Sheet1!$B$183:$B$184</c:f>
              <c:numCache>
                <c:formatCode>General</c:formatCode>
                <c:ptCount val="2"/>
                <c:pt idx="0">
                  <c:v>0.110255215796001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66.8903</c:v>
                </c:pt>
                <c:pt idx="1">
                  <c:v>984.9067</c:v>
                </c:pt>
                <c:pt idx="2">
                  <c:v>937.4125</c:v>
                </c:pt>
                <c:pt idx="3">
                  <c:v>951.7977</c:v>
                </c:pt>
                <c:pt idx="4">
                  <c:v>974.8319</c:v>
                </c:pt>
                <c:pt idx="5">
                  <c:v>971.1643</c:v>
                </c:pt>
                <c:pt idx="6">
                  <c:v>953.0118</c:v>
                </c:pt>
                <c:pt idx="7">
                  <c:v>1017.3882</c:v>
                </c:pt>
                <c:pt idx="8">
                  <c:v>1096.7442</c:v>
                </c:pt>
                <c:pt idx="9">
                  <c:v>1069.9905</c:v>
                </c:pt>
                <c:pt idx="10">
                  <c:v>1106.8736</c:v>
                </c:pt>
                <c:pt idx="11">
                  <c:v>1031.3226</c:v>
                </c:pt>
                <c:pt idx="12">
                  <c:v>1038.541</c:v>
                </c:pt>
                <c:pt idx="13">
                  <c:v>1100.4696</c:v>
                </c:pt>
                <c:pt idx="14">
                  <c:v>1067.1471</c:v>
                </c:pt>
                <c:pt idx="15">
                  <c:v>1095.6699</c:v>
                </c:pt>
                <c:pt idx="16">
                  <c:v>1144.503</c:v>
                </c:pt>
                <c:pt idx="17">
                  <c:v>1103.3893</c:v>
                </c:pt>
                <c:pt idx="18">
                  <c:v>1108.3019</c:v>
                </c:pt>
                <c:pt idx="19">
                  <c:v>1216.9315</c:v>
                </c:pt>
                <c:pt idx="20">
                  <c:v>1174.4741</c:v>
                </c:pt>
                <c:pt idx="21">
                  <c:v>998.5641</c:v>
                </c:pt>
                <c:pt idx="22">
                  <c:v>1106.8933</c:v>
                </c:pt>
                <c:pt idx="23">
                  <c:v>1071.4483</c:v>
                </c:pt>
                <c:pt idx="24">
                  <c:v>1032.7368</c:v>
                </c:pt>
                <c:pt idx="25">
                  <c:v>1028.4086</c:v>
                </c:pt>
                <c:pt idx="26">
                  <c:v>1002.4314</c:v>
                </c:pt>
                <c:pt idx="27">
                  <c:v>1008.5403</c:v>
                </c:pt>
                <c:pt idx="28">
                  <c:v>1013.1898</c:v>
                </c:pt>
                <c:pt idx="29">
                  <c:v>1003.3793</c:v>
                </c:pt>
                <c:pt idx="30">
                  <c:v>894.6364</c:v>
                </c:pt>
                <c:pt idx="31">
                  <c:v>857.1803</c:v>
                </c:pt>
                <c:pt idx="32">
                  <c:v>920.8846</c:v>
                </c:pt>
                <c:pt idx="33">
                  <c:v>1027.5829</c:v>
                </c:pt>
                <c:pt idx="34">
                  <c:v>1052.1915</c:v>
                </c:pt>
                <c:pt idx="35">
                  <c:v>1051.682</c:v>
                </c:pt>
                <c:pt idx="36">
                  <c:v>1044.4308</c:v>
                </c:pt>
                <c:pt idx="37">
                  <c:v>1162.446</c:v>
                </c:pt>
                <c:pt idx="38">
                  <c:v>1076.8539</c:v>
                </c:pt>
                <c:pt idx="39">
                  <c:v>1032.8545</c:v>
                </c:pt>
                <c:pt idx="40">
                  <c:v>1088.3904</c:v>
                </c:pt>
                <c:pt idx="41">
                  <c:v>1147.8253</c:v>
                </c:pt>
                <c:pt idx="42">
                  <c:v>1103.5229</c:v>
                </c:pt>
                <c:pt idx="43">
                  <c:v>1120.118</c:v>
                </c:pt>
                <c:pt idx="44">
                  <c:v>1057.9706</c:v>
                </c:pt>
                <c:pt idx="45">
                  <c:v>1042.4271</c:v>
                </c:pt>
                <c:pt idx="46">
                  <c:v>1040.6178</c:v>
                </c:pt>
                <c:pt idx="47">
                  <c:v>1027.0415</c:v>
                </c:pt>
                <c:pt idx="48">
                  <c:v>978.059</c:v>
                </c:pt>
                <c:pt idx="49">
                  <c:v>1038.3344</c:v>
                </c:pt>
                <c:pt idx="50">
                  <c:v>989.127</c:v>
                </c:pt>
                <c:pt idx="51">
                  <c:v>953.3767</c:v>
                </c:pt>
                <c:pt idx="52">
                  <c:v>982.9159314689059</c:v>
                </c:pt>
                <c:pt idx="53">
                  <c:v>181.43271327536547</c:v>
                </c:pt>
                <c:pt idx="54">
                  <c:v>1038.8531369587872</c:v>
                </c:pt>
              </c:numCache>
            </c:numRef>
          </c:xVal>
          <c:yVal>
            <c:numRef>
              <c:f>Sheet1!$B$187:$B$241</c:f>
              <c:numCache>
                <c:formatCode>General</c:formatCode>
                <c:ptCount val="55"/>
                <c:pt idx="0">
                  <c:v>0.11631460150574435</c:v>
                </c:pt>
                <c:pt idx="1">
                  <c:v>0.11479759187529401</c:v>
                </c:pt>
                <c:pt idx="2">
                  <c:v>0.11879667930621998</c:v>
                </c:pt>
                <c:pt idx="3">
                  <c:v>0.11758542251041426</c:v>
                </c:pt>
                <c:pt idx="4">
                  <c:v>0.1156459061125923</c:v>
                </c:pt>
                <c:pt idx="5">
                  <c:v>0.11595472388532381</c:v>
                </c:pt>
                <c:pt idx="6">
                  <c:v>0.11748319335296162</c:v>
                </c:pt>
                <c:pt idx="7">
                  <c:v>0.11206259774153406</c:v>
                </c:pt>
                <c:pt idx="8">
                  <c:v>0.10538069590576121</c:v>
                </c:pt>
                <c:pt idx="9">
                  <c:v>0.10763340013913632</c:v>
                </c:pt>
                <c:pt idx="10">
                  <c:v>0.1045277842613326</c:v>
                </c:pt>
                <c:pt idx="11">
                  <c:v>0.11088929902511194</c:v>
                </c:pt>
                <c:pt idx="12">
                  <c:v>0.11028149822603761</c:v>
                </c:pt>
                <c:pt idx="13">
                  <c:v>0.10506701128079288</c:v>
                </c:pt>
                <c:pt idx="14">
                  <c:v>0.107872818956615</c:v>
                </c:pt>
                <c:pt idx="15">
                  <c:v>0.10547115368012194</c:v>
                </c:pt>
                <c:pt idx="16">
                  <c:v>0.10135932873258834</c:v>
                </c:pt>
                <c:pt idx="17">
                  <c:v>0.10482116788155518</c:v>
                </c:pt>
                <c:pt idx="18">
                  <c:v>0.10440751912206105</c:v>
                </c:pt>
                <c:pt idx="19">
                  <c:v>0.09526073345167357</c:v>
                </c:pt>
                <c:pt idx="20">
                  <c:v>0.09883571428490788</c:v>
                </c:pt>
                <c:pt idx="21">
                  <c:v>0.11364761700090664</c:v>
                </c:pt>
                <c:pt idx="22">
                  <c:v>0.10452612548989548</c:v>
                </c:pt>
                <c:pt idx="23">
                  <c:v>0.10751065105278887</c:v>
                </c:pt>
                <c:pt idx="24">
                  <c:v>0.11077022112834108</c:v>
                </c:pt>
                <c:pt idx="25">
                  <c:v>0.11113466247525361</c:v>
                </c:pt>
                <c:pt idx="26">
                  <c:v>0.11332198416949522</c:v>
                </c:pt>
                <c:pt idx="27">
                  <c:v>0.11280760504095355</c:v>
                </c:pt>
                <c:pt idx="28">
                  <c:v>0.11241610972131262</c:v>
                </c:pt>
                <c:pt idx="29">
                  <c:v>0.11324216947684276</c:v>
                </c:pt>
                <c:pt idx="30">
                  <c:v>0.12239849518803361</c:v>
                </c:pt>
                <c:pt idx="31">
                  <c:v>0.1255523585802269</c:v>
                </c:pt>
                <c:pt idx="32">
                  <c:v>0.12018835486133202</c:v>
                </c:pt>
                <c:pt idx="33">
                  <c:v>0.11120418773290013</c:v>
                </c:pt>
                <c:pt idx="34">
                  <c:v>0.10913210434266123</c:v>
                </c:pt>
                <c:pt idx="35">
                  <c:v>0.1091750050557179</c:v>
                </c:pt>
                <c:pt idx="36">
                  <c:v>0.10978556766713425</c:v>
                </c:pt>
                <c:pt idx="37">
                  <c:v>0.09984849949926922</c:v>
                </c:pt>
                <c:pt idx="38">
                  <c:v>0.10705549090656861</c:v>
                </c:pt>
                <c:pt idx="39">
                  <c:v>0.11076031060051619</c:v>
                </c:pt>
                <c:pt idx="40">
                  <c:v>0.10608409919669926</c:v>
                </c:pt>
                <c:pt idx="41">
                  <c:v>0.10107958577088427</c:v>
                </c:pt>
                <c:pt idx="42">
                  <c:v>0.10480991854835721</c:v>
                </c:pt>
                <c:pt idx="43">
                  <c:v>0.10341258464600787</c:v>
                </c:pt>
                <c:pt idx="44">
                  <c:v>0.10864549490041217</c:v>
                </c:pt>
                <c:pt idx="45">
                  <c:v>0.10995428240462528</c:v>
                </c:pt>
                <c:pt idx="46">
                  <c:v>0.1101066283518941</c:v>
                </c:pt>
                <c:pt idx="47">
                  <c:v>0.11124977447686261</c:v>
                </c:pt>
                <c:pt idx="48">
                  <c:v>0.11537417914280777</c:v>
                </c:pt>
                <c:pt idx="49">
                  <c:v>0.1102988942757285</c:v>
                </c:pt>
                <c:pt idx="50">
                  <c:v>0.11444223588056757</c:v>
                </c:pt>
                <c:pt idx="51">
                  <c:v>0.11745246819065665</c:v>
                </c:pt>
                <c:pt idx="52">
                  <c:v>0.11496521776246721</c:v>
                </c:pt>
                <c:pt idx="53">
                  <c:v>0.1824513837359101</c:v>
                </c:pt>
                <c:pt idx="54">
                  <c:v>0.110255215796001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60.0"/>
          <c:min val="1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82978723404255"/>
          <c:min val="0.050444624090541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250542971460418</c:v>
                </c:pt>
                <c:pt idx="1">
                  <c:v>0.3512265572596298</c:v>
                </c:pt>
                <c:pt idx="2">
                  <c:v>0.3460669034156246</c:v>
                </c:pt>
                <c:pt idx="3">
                  <c:v>0.36925876321141127</c:v>
                </c:pt>
                <c:pt idx="4">
                  <c:v>0.33863305120609394</c:v>
                </c:pt>
                <c:pt idx="5">
                  <c:v>0.32880225531959</c:v>
                </c:pt>
                <c:pt idx="6">
                  <c:v>0.3489820099936663</c:v>
                </c:pt>
                <c:pt idx="7">
                  <c:v>0.33891866275004295</c:v>
                </c:pt>
                <c:pt idx="8">
                  <c:v>0.3035948230349922</c:v>
                </c:pt>
                <c:pt idx="9">
                  <c:v>0.3641505704286244</c:v>
                </c:pt>
                <c:pt idx="10">
                  <c:v>0.4213920741001353</c:v>
                </c:pt>
                <c:pt idx="11">
                  <c:v>0.4257590148007892</c:v>
                </c:pt>
                <c:pt idx="12">
                  <c:v>0.37697710272624807</c:v>
                </c:pt>
                <c:pt idx="13">
                  <c:v>0.3541864047711913</c:v>
                </c:pt>
                <c:pt idx="14">
                  <c:v>0.2525330113301854</c:v>
                </c:pt>
                <c:pt idx="15">
                  <c:v>0.26007284734667135</c:v>
                </c:pt>
                <c:pt idx="16">
                  <c:v>0.2922856677232632</c:v>
                </c:pt>
                <c:pt idx="17">
                  <c:v>0.30240666592338983</c:v>
                </c:pt>
                <c:pt idx="18">
                  <c:v>0.33275993675431953</c:v>
                </c:pt>
                <c:pt idx="19">
                  <c:v>0.39623808908688724</c:v>
                </c:pt>
                <c:pt idx="20">
                  <c:v>0.4123518441631735</c:v>
                </c:pt>
                <c:pt idx="21">
                  <c:v>0.41458904494988796</c:v>
                </c:pt>
                <c:pt idx="22">
                  <c:v>0.35536792679273294</c:v>
                </c:pt>
                <c:pt idx="23">
                  <c:v>0.32028269370085877</c:v>
                </c:pt>
                <c:pt idx="24">
                  <c:v>0.2891848598133172</c:v>
                </c:pt>
                <c:pt idx="25">
                  <c:v>0.3024024752468225</c:v>
                </c:pt>
                <c:pt idx="26">
                  <c:v>0.30237371259756696</c:v>
                </c:pt>
                <c:pt idx="27">
                  <c:v>0.2958671765297257</c:v>
                </c:pt>
                <c:pt idx="28">
                  <c:v>0.2963144086747239</c:v>
                </c:pt>
                <c:pt idx="29">
                  <c:v>0.23334922759193868</c:v>
                </c:pt>
                <c:pt idx="30">
                  <c:v>0.2706885171588431</c:v>
                </c:pt>
                <c:pt idx="31">
                  <c:v>0.2681151915798472</c:v>
                </c:pt>
                <c:pt idx="32">
                  <c:v>0.2449358919382504</c:v>
                </c:pt>
                <c:pt idx="33">
                  <c:v>0.2114161999372314</c:v>
                </c:pt>
                <c:pt idx="34">
                  <c:v>0.2641126773244607</c:v>
                </c:pt>
                <c:pt idx="35">
                  <c:v>0.36877803382687513</c:v>
                </c:pt>
                <c:pt idx="36">
                  <c:v>0.33835289270254665</c:v>
                </c:pt>
                <c:pt idx="37">
                  <c:v>0.39540249432727015</c:v>
                </c:pt>
                <c:pt idx="38">
                  <c:v>0.3709851188095596</c:v>
                </c:pt>
                <c:pt idx="39">
                  <c:v>0.3459828655807678</c:v>
                </c:pt>
                <c:pt idx="40">
                  <c:v>0.35221135391521075</c:v>
                </c:pt>
                <c:pt idx="41">
                  <c:v>0.34584803771098543</c:v>
                </c:pt>
                <c:pt idx="42">
                  <c:v>0.3628117439619469</c:v>
                </c:pt>
                <c:pt idx="43">
                  <c:v>0.39505827924455234</c:v>
                </c:pt>
                <c:pt idx="44">
                  <c:v>0.358970901023792</c:v>
                </c:pt>
                <c:pt idx="45">
                  <c:v>0.36138707696887384</c:v>
                </c:pt>
                <c:pt idx="46">
                  <c:v>0.41133317821532356</c:v>
                </c:pt>
                <c:pt idx="47">
                  <c:v>0.45106944928359327</c:v>
                </c:pt>
                <c:pt idx="48">
                  <c:v>0.4593769181202408</c:v>
                </c:pt>
                <c:pt idx="49">
                  <c:v>0.440618487272922</c:v>
                </c:pt>
                <c:pt idx="50">
                  <c:v>0.3033128433379093</c:v>
                </c:pt>
                <c:pt idx="51">
                  <c:v>0.2725189690503005</c:v>
                </c:pt>
                <c:pt idx="52">
                  <c:v>0.24604913072356438</c:v>
                </c:pt>
                <c:pt idx="53">
                  <c:v>0.2196452167687952</c:v>
                </c:pt>
                <c:pt idx="54">
                  <c:v>0.2395396664724948</c:v>
                </c:pt>
                <c:pt idx="55">
                  <c:v>0.236955766718746</c:v>
                </c:pt>
                <c:pt idx="56">
                  <c:v>0.29213438998008207</c:v>
                </c:pt>
                <c:pt idx="57">
                  <c:v>0.424688781388918</c:v>
                </c:pt>
                <c:pt idx="58">
                  <c:v>0.398926223896159</c:v>
                </c:pt>
                <c:pt idx="59">
                  <c:v>0.3936159167673264</c:v>
                </c:pt>
                <c:pt idx="60">
                  <c:v>0.3421007135640939</c:v>
                </c:pt>
                <c:pt idx="61">
                  <c:v>0.26070519750820803</c:v>
                </c:pt>
                <c:pt idx="62">
                  <c:v>0.33357525886264666</c:v>
                </c:pt>
                <c:pt idx="63">
                  <c:v>0.3727211051166709</c:v>
                </c:pt>
                <c:pt idx="64">
                  <c:v>0.3387201571049025</c:v>
                </c:pt>
                <c:pt idx="65">
                  <c:v>0.32923768180249435</c:v>
                </c:pt>
                <c:pt idx="66">
                  <c:v>0.32514495086795664</c:v>
                </c:pt>
                <c:pt idx="67">
                  <c:v>0.35319159938337724</c:v>
                </c:pt>
                <c:pt idx="68">
                  <c:v>0.33298809453488654</c:v>
                </c:pt>
                <c:pt idx="69">
                  <c:v>0.32343184537425373</c:v>
                </c:pt>
                <c:pt idx="70">
                  <c:v>0.3145153839110088</c:v>
                </c:pt>
                <c:pt idx="71">
                  <c:v>0.31985960712592193</c:v>
                </c:pt>
                <c:pt idx="72">
                  <c:v>0.39289580777096117</c:v>
                </c:pt>
                <c:pt idx="73">
                  <c:v>0.3891614043219291</c:v>
                </c:pt>
                <c:pt idx="74">
                  <c:v>0.36637214357281545</c:v>
                </c:pt>
                <c:pt idx="75">
                  <c:v>0.3485907949759627</c:v>
                </c:pt>
                <c:pt idx="76">
                  <c:v>0.3791996594338188</c:v>
                </c:pt>
                <c:pt idx="77">
                  <c:v>0.3555990331550701</c:v>
                </c:pt>
                <c:pt idx="78">
                  <c:v>0.36114480667541654</c:v>
                </c:pt>
                <c:pt idx="79">
                  <c:v>0.33946779126216475</c:v>
                </c:pt>
                <c:pt idx="80">
                  <c:v>0.33418830206129657</c:v>
                </c:pt>
                <c:pt idx="81">
                  <c:v>0.41731178359144666</c:v>
                </c:pt>
                <c:pt idx="82">
                  <c:v>0.44732294235511716</c:v>
                </c:pt>
                <c:pt idx="83">
                  <c:v>0.4191410663788415</c:v>
                </c:pt>
                <c:pt idx="84">
                  <c:v>0.3322831934712345</c:v>
                </c:pt>
                <c:pt idx="85">
                  <c:v>0.28453261791202966</c:v>
                </c:pt>
                <c:pt idx="86">
                  <c:v>0.3206927781027593</c:v>
                </c:pt>
                <c:pt idx="87">
                  <c:v>0.2942917856044703</c:v>
                </c:pt>
                <c:pt idx="88">
                  <c:v>0.2938612141247185</c:v>
                </c:pt>
                <c:pt idx="89">
                  <c:v>0.2888062778534945</c:v>
                </c:pt>
                <c:pt idx="90">
                  <c:v>0.28900120962157005</c:v>
                </c:pt>
                <c:pt idx="91">
                  <c:v>0.2927591311738575</c:v>
                </c:pt>
                <c:pt idx="92">
                  <c:v>0.2434886575324184</c:v>
                </c:pt>
                <c:pt idx="93">
                  <c:v>0.26997551945095033</c:v>
                </c:pt>
                <c:pt idx="94">
                  <c:v>0.2857700211088736</c:v>
                </c:pt>
                <c:pt idx="95">
                  <c:v>0.31643341696700944</c:v>
                </c:pt>
                <c:pt idx="96">
                  <c:v>0.30232685504488516</c:v>
                </c:pt>
                <c:pt idx="97">
                  <c:v>0.30111582757502703</c:v>
                </c:pt>
                <c:pt idx="98">
                  <c:v>0.3447565682597195</c:v>
                </c:pt>
                <c:pt idx="99">
                  <c:v>0.39025776732490397</c:v>
                </c:pt>
                <c:pt idx="100">
                  <c:v>0.37735429094870526</c:v>
                </c:pt>
                <c:pt idx="101">
                  <c:v>0.3478039797903808</c:v>
                </c:pt>
                <c:pt idx="102">
                  <c:v>0.35072391191235985</c:v>
                </c:pt>
                <c:pt idx="103">
                  <c:v>0.3157595750277598</c:v>
                </c:pt>
                <c:pt idx="104">
                  <c:v>0.3193390855646725</c:v>
                </c:pt>
              </c:numCache>
            </c:numRef>
          </c:xVal>
          <c:yVal>
            <c:numRef>
              <c:f>Sheet1!$B$2:$B$106</c:f>
              <c:numCache>
                <c:formatCode>General</c:formatCode>
                <c:ptCount val="105"/>
                <c:pt idx="0">
                  <c:v>0.18363273453093812</c:v>
                </c:pt>
                <c:pt idx="1">
                  <c:v>0.17555331991951711</c:v>
                </c:pt>
                <c:pt idx="2">
                  <c:v>0.18173598553345388</c:v>
                </c:pt>
                <c:pt idx="3">
                  <c:v>0.1686746987951807</c:v>
                </c:pt>
                <c:pt idx="4">
                  <c:v>0.16807817589576549</c:v>
                </c:pt>
                <c:pt idx="5">
                  <c:v>0.17956064947468958</c:v>
                </c:pt>
                <c:pt idx="6">
                  <c:v>0.20250195465207194</c:v>
                </c:pt>
                <c:pt idx="7">
                  <c:v>0.19390581717451524</c:v>
                </c:pt>
                <c:pt idx="8">
                  <c:v>0.18841911764705882</c:v>
                </c:pt>
                <c:pt idx="9">
                  <c:v>0.1912568306010929</c:v>
                </c:pt>
                <c:pt idx="10">
                  <c:v>0.2198581560283688</c:v>
                </c:pt>
                <c:pt idx="11">
                  <c:v>0.1902439024390244</c:v>
                </c:pt>
                <c:pt idx="12">
                  <c:v>0.18062704726251755</c:v>
                </c:pt>
                <c:pt idx="13">
                  <c:v>0.1708984375</c:v>
                </c:pt>
                <c:pt idx="14">
                  <c:v>0.1740306582506763</c:v>
                </c:pt>
                <c:pt idx="15">
                  <c:v>0.15022675736961452</c:v>
                </c:pt>
                <c:pt idx="16">
                  <c:v>0.14326647564469913</c:v>
                </c:pt>
                <c:pt idx="17">
                  <c:v>0.17181705809641531</c:v>
                </c:pt>
                <c:pt idx="18">
                  <c:v>0.14562410329985653</c:v>
                </c:pt>
                <c:pt idx="19">
                  <c:v>0.13702127659574467</c:v>
                </c:pt>
                <c:pt idx="20">
                  <c:v>0.16514459665144596</c:v>
                </c:pt>
                <c:pt idx="21">
                  <c:v>0.1495246326707001</c:v>
                </c:pt>
                <c:pt idx="22">
                  <c:v>0.12931726907630522</c:v>
                </c:pt>
                <c:pt idx="23">
                  <c:v>0.15358931552587646</c:v>
                </c:pt>
                <c:pt idx="24">
                  <c:v>0.14814814814814814</c:v>
                </c:pt>
                <c:pt idx="25">
                  <c:v>0.14453125</c:v>
                </c:pt>
                <c:pt idx="26">
                  <c:v>0.1524701873935264</c:v>
                </c:pt>
                <c:pt idx="27">
                  <c:v>0.13129496402877697</c:v>
                </c:pt>
                <c:pt idx="28">
                  <c:v>0.12260869565217392</c:v>
                </c:pt>
                <c:pt idx="29">
                  <c:v>0.15118956254796623</c:v>
                </c:pt>
                <c:pt idx="30">
                  <c:v>0.1475095785440613</c:v>
                </c:pt>
                <c:pt idx="31">
                  <c:v>0.12995391705069123</c:v>
                </c:pt>
                <c:pt idx="32">
                  <c:v>0.14974182444061962</c:v>
                </c:pt>
                <c:pt idx="33">
                  <c:v>0.16511318242343542</c:v>
                </c:pt>
                <c:pt idx="34">
                  <c:v>0.15584415584415584</c:v>
                </c:pt>
                <c:pt idx="35">
                  <c:v>0.141602634467618</c:v>
                </c:pt>
                <c:pt idx="36">
                  <c:v>0.10703043022035677</c:v>
                </c:pt>
                <c:pt idx="37">
                  <c:v>0.10823071937783539</c:v>
                </c:pt>
                <c:pt idx="38">
                  <c:v>0.10526315789473684</c:v>
                </c:pt>
                <c:pt idx="39">
                  <c:v>0.10021945866861741</c:v>
                </c:pt>
                <c:pt idx="40">
                  <c:v>0.09497549019607843</c:v>
                </c:pt>
                <c:pt idx="41">
                  <c:v>0.08634020618556701</c:v>
                </c:pt>
                <c:pt idx="42">
                  <c:v>0.08641975308641975</c:v>
                </c:pt>
                <c:pt idx="43">
                  <c:v>0.08796520057999033</c:v>
                </c:pt>
                <c:pt idx="44">
                  <c:v>0.0893874643874644</c:v>
                </c:pt>
                <c:pt idx="45">
                  <c:v>0.1</c:v>
                </c:pt>
                <c:pt idx="46">
                  <c:v>0.08922323303009097</c:v>
                </c:pt>
                <c:pt idx="47">
                  <c:v>0.08977387782652717</c:v>
                </c:pt>
                <c:pt idx="48">
                  <c:v>0.10308538627122697</c:v>
                </c:pt>
                <c:pt idx="49">
                  <c:v>0.13178030947117836</c:v>
                </c:pt>
                <c:pt idx="50">
                  <c:v>0.11437046802900462</c:v>
                </c:pt>
                <c:pt idx="51">
                  <c:v>0.09240506329113925</c:v>
                </c:pt>
                <c:pt idx="52">
                  <c:v>0.09669621273166801</c:v>
                </c:pt>
                <c:pt idx="53">
                  <c:v>0.11887254901960784</c:v>
                </c:pt>
                <c:pt idx="54">
                  <c:v>0.11981351981351981</c:v>
                </c:pt>
                <c:pt idx="55">
                  <c:v>0.11231203007518797</c:v>
                </c:pt>
                <c:pt idx="56">
                  <c:v>0.10735060814383923</c:v>
                </c:pt>
                <c:pt idx="57">
                  <c:v>0.11116576487948844</c:v>
                </c:pt>
                <c:pt idx="58">
                  <c:v>0.11524547803617571</c:v>
                </c:pt>
                <c:pt idx="59">
                  <c:v>0.10404984423676013</c:v>
                </c:pt>
                <c:pt idx="60">
                  <c:v>0.1118421052631579</c:v>
                </c:pt>
                <c:pt idx="61">
                  <c:v>0.12790146849834202</c:v>
                </c:pt>
                <c:pt idx="62">
                  <c:v>0.11782032400589101</c:v>
                </c:pt>
                <c:pt idx="63">
                  <c:v>0.12536564981195153</c:v>
                </c:pt>
                <c:pt idx="64">
                  <c:v>0.13346938775510203</c:v>
                </c:pt>
                <c:pt idx="65">
                  <c:v>0.13341858482523444</c:v>
                </c:pt>
                <c:pt idx="66">
                  <c:v>0.1389491966999566</c:v>
                </c:pt>
                <c:pt idx="67">
                  <c:v>0.1331072488342518</c:v>
                </c:pt>
                <c:pt idx="68">
                  <c:v>0.11509433962264151</c:v>
                </c:pt>
                <c:pt idx="69">
                  <c:v>0.1185430463576159</c:v>
                </c:pt>
                <c:pt idx="70">
                  <c:v>0.11647058823529412</c:v>
                </c:pt>
                <c:pt idx="71">
                  <c:v>0.09770114942528736</c:v>
                </c:pt>
                <c:pt idx="72">
                  <c:v>0.09340338587273789</c:v>
                </c:pt>
                <c:pt idx="73">
                  <c:v>0.09642401021711366</c:v>
                </c:pt>
                <c:pt idx="74">
                  <c:v>0.08343949044585987</c:v>
                </c:pt>
                <c:pt idx="75">
                  <c:v>0.09540889526542325</c:v>
                </c:pt>
                <c:pt idx="76">
                  <c:v>0.09209666884389288</c:v>
                </c:pt>
                <c:pt idx="77">
                  <c:v>0.08705357142857142</c:v>
                </c:pt>
                <c:pt idx="78">
                  <c:v>0.07470817120622568</c:v>
                </c:pt>
                <c:pt idx="79">
                  <c:v>0.07265306122448979</c:v>
                </c:pt>
                <c:pt idx="80">
                  <c:v>0.07293354943273905</c:v>
                </c:pt>
                <c:pt idx="81">
                  <c:v>0.08106267029972752</c:v>
                </c:pt>
                <c:pt idx="82">
                  <c:v>0.0744595676541233</c:v>
                </c:pt>
                <c:pt idx="83">
                  <c:v>0.06305578011317704</c:v>
                </c:pt>
                <c:pt idx="84">
                  <c:v>0.07101086048454469</c:v>
                </c:pt>
                <c:pt idx="85">
                  <c:v>0.09141494435612083</c:v>
                </c:pt>
                <c:pt idx="86">
                  <c:v>0.09440175631174534</c:v>
                </c:pt>
                <c:pt idx="87">
                  <c:v>0.10476718403547672</c:v>
                </c:pt>
                <c:pt idx="88">
                  <c:v>0.09128145114101814</c:v>
                </c:pt>
                <c:pt idx="89">
                  <c:v>0.0788787483702738</c:v>
                </c:pt>
                <c:pt idx="90">
                  <c:v>0.07985347985347985</c:v>
                </c:pt>
                <c:pt idx="91">
                  <c:v>0.07412687099073414</c:v>
                </c:pt>
                <c:pt idx="92">
                  <c:v>0.08260105448154657</c:v>
                </c:pt>
                <c:pt idx="93">
                  <c:v>0.08152492668621701</c:v>
                </c:pt>
                <c:pt idx="94">
                  <c:v>0.08434430964760255</c:v>
                </c:pt>
                <c:pt idx="95">
                  <c:v>0.08649173955296405</c:v>
                </c:pt>
                <c:pt idx="96">
                  <c:v>0.08697123519458545</c:v>
                </c:pt>
                <c:pt idx="97">
                  <c:v>0.08444444444444445</c:v>
                </c:pt>
                <c:pt idx="98">
                  <c:v>0.10055056505360765</c:v>
                </c:pt>
                <c:pt idx="99">
                  <c:v>0.10992999740731138</c:v>
                </c:pt>
                <c:pt idx="100">
                  <c:v>0.11865407319952774</c:v>
                </c:pt>
                <c:pt idx="101">
                  <c:v>0.11509817197020988</c:v>
                </c:pt>
                <c:pt idx="102">
                  <c:v>0.09389197375063099</c:v>
                </c:pt>
                <c:pt idx="103">
                  <c:v>0.10673903211216644</c:v>
                </c:pt>
                <c:pt idx="104">
                  <c:v>0.1181525241675617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373964852557583</c:v>
                </c:pt>
                <c:pt idx="1">
                  <c:v>0.33714248001608305</c:v>
                </c:pt>
                <c:pt idx="2">
                  <c:v>0.3178757273039706</c:v>
                </c:pt>
                <c:pt idx="3">
                  <c:v>0.29295096952908584</c:v>
                </c:pt>
                <c:pt idx="4">
                  <c:v>0.2926737580987036</c:v>
                </c:pt>
                <c:pt idx="5">
                  <c:v>0.291919508051858</c:v>
                </c:pt>
                <c:pt idx="6">
                  <c:v>0.3130890633726469</c:v>
                </c:pt>
                <c:pt idx="7">
                  <c:v>0.341728461376796</c:v>
                </c:pt>
                <c:pt idx="8">
                  <c:v>0.3925563126663944</c:v>
                </c:pt>
                <c:pt idx="9">
                  <c:v>0.4062483757039598</c:v>
                </c:pt>
                <c:pt idx="10">
                  <c:v>0.4725743238939174</c:v>
                </c:pt>
                <c:pt idx="11">
                  <c:v>0.44574921332152817</c:v>
                </c:pt>
                <c:pt idx="12">
                  <c:v>0.4681563473183566</c:v>
                </c:pt>
                <c:pt idx="13">
                  <c:v>0.4902061631107289</c:v>
                </c:pt>
                <c:pt idx="14">
                  <c:v>0.5126312806089239</c:v>
                </c:pt>
                <c:pt idx="15">
                  <c:v>0.48637035805290446</c:v>
                </c:pt>
                <c:pt idx="16">
                  <c:v>0.469734504455612</c:v>
                </c:pt>
                <c:pt idx="17">
                  <c:v>0.41879995833974154</c:v>
                </c:pt>
                <c:pt idx="18">
                  <c:v>0.4266559374732811</c:v>
                </c:pt>
                <c:pt idx="19">
                  <c:v>0.4477033877933661</c:v>
                </c:pt>
                <c:pt idx="20">
                  <c:v>0.43557969834151916</c:v>
                </c:pt>
                <c:pt idx="21">
                  <c:v>0.33545155347434785</c:v>
                </c:pt>
                <c:pt idx="22">
                  <c:v>0.35964561971630227</c:v>
                </c:pt>
                <c:pt idx="23">
                  <c:v>0.3364126122856781</c:v>
                </c:pt>
                <c:pt idx="24">
                  <c:v>0.32701300649705806</c:v>
                </c:pt>
                <c:pt idx="25">
                  <c:v>0.3521805423178847</c:v>
                </c:pt>
                <c:pt idx="26">
                  <c:v>0.3040101055325407</c:v>
                </c:pt>
                <c:pt idx="27">
                  <c:v>0.33341592637624196</c:v>
                </c:pt>
                <c:pt idx="28">
                  <c:v>0.3546264038676088</c:v>
                </c:pt>
                <c:pt idx="29">
                  <c:v>0.32872384242526537</c:v>
                </c:pt>
                <c:pt idx="30">
                  <c:v>0.31607909414413987</c:v>
                </c:pt>
                <c:pt idx="31">
                  <c:v>0.26535226771972126</c:v>
                </c:pt>
                <c:pt idx="32">
                  <c:v>0.2549225173733058</c:v>
                </c:pt>
                <c:pt idx="33">
                  <c:v>0.27281087005336896</c:v>
                </c:pt>
                <c:pt idx="34">
                  <c:v>0.2719794840717917</c:v>
                </c:pt>
                <c:pt idx="35">
                  <c:v>0.3415516831556863</c:v>
                </c:pt>
                <c:pt idx="36">
                  <c:v>0.2762141779433827</c:v>
                </c:pt>
                <c:pt idx="37">
                  <c:v>0.36478823224166046</c:v>
                </c:pt>
                <c:pt idx="38">
                  <c:v>0.3016465074847616</c:v>
                </c:pt>
                <c:pt idx="39">
                  <c:v>0.3030530870055651</c:v>
                </c:pt>
                <c:pt idx="40">
                  <c:v>0.3179368717978364</c:v>
                </c:pt>
                <c:pt idx="41">
                  <c:v>0.3362643170283303</c:v>
                </c:pt>
                <c:pt idx="42">
                  <c:v>0.3348662617119586</c:v>
                </c:pt>
                <c:pt idx="43">
                  <c:v>0.38519458375804866</c:v>
                </c:pt>
                <c:pt idx="44">
                  <c:v>0.408732483800338</c:v>
                </c:pt>
                <c:pt idx="45">
                  <c:v>0.43842532350165714</c:v>
                </c:pt>
                <c:pt idx="46">
                  <c:v>0.3433815541989771</c:v>
                </c:pt>
                <c:pt idx="47">
                  <c:v>0.3974856468778803</c:v>
                </c:pt>
                <c:pt idx="48">
                  <c:v>0.4047722333396818</c:v>
                </c:pt>
                <c:pt idx="49">
                  <c:v>0.42548541655355115</c:v>
                </c:pt>
                <c:pt idx="50">
                  <c:v>0.4285552182289961</c:v>
                </c:pt>
                <c:pt idx="51">
                  <c:v>0.36096801462777794</c:v>
                </c:pt>
              </c:numCache>
            </c:numRef>
          </c:xVal>
          <c:yVal>
            <c:numRef>
              <c:f>Sheet1!$B$109:$B$160</c:f>
              <c:numCache>
                <c:formatCode>General</c:formatCode>
                <c:ptCount val="52"/>
                <c:pt idx="0">
                  <c:v>0.10896551724137932</c:v>
                </c:pt>
                <c:pt idx="1">
                  <c:v>0.11007827788649706</c:v>
                </c:pt>
                <c:pt idx="2">
                  <c:v>0.1091901728844404</c:v>
                </c:pt>
                <c:pt idx="3">
                  <c:v>0.13692061800745872</c:v>
                </c:pt>
                <c:pt idx="4">
                  <c:v>0.1171259842519685</c:v>
                </c:pt>
                <c:pt idx="5">
                  <c:v>0.11694915254237288</c:v>
                </c:pt>
                <c:pt idx="6">
                  <c:v>0.11480978260869565</c:v>
                </c:pt>
                <c:pt idx="7">
                  <c:v>0.09518477043673013</c:v>
                </c:pt>
                <c:pt idx="8">
                  <c:v>0.10582444626743231</c:v>
                </c:pt>
                <c:pt idx="9">
                  <c:v>0.0831353919239905</c:v>
                </c:pt>
                <c:pt idx="10">
                  <c:v>0.12117177097203728</c:v>
                </c:pt>
                <c:pt idx="11">
                  <c:v>0.11513463324048283</c:v>
                </c:pt>
                <c:pt idx="12">
                  <c:v>0.12459321245932124</c:v>
                </c:pt>
                <c:pt idx="13">
                  <c:v>0.11154219204655674</c:v>
                </c:pt>
                <c:pt idx="14">
                  <c:v>0.11092985318107668</c:v>
                </c:pt>
                <c:pt idx="15">
                  <c:v>0.10470941883767534</c:v>
                </c:pt>
                <c:pt idx="16">
                  <c:v>0.1065203357004519</c:v>
                </c:pt>
                <c:pt idx="17">
                  <c:v>0.08365261813537675</c:v>
                </c:pt>
                <c:pt idx="18">
                  <c:v>0.083596214511041</c:v>
                </c:pt>
                <c:pt idx="19">
                  <c:v>0.0962425840474621</c:v>
                </c:pt>
                <c:pt idx="20">
                  <c:v>0.08630952380952381</c:v>
                </c:pt>
                <c:pt idx="21">
                  <c:v>0.08315565031982942</c:v>
                </c:pt>
                <c:pt idx="22">
                  <c:v>0.08561643835616438</c:v>
                </c:pt>
                <c:pt idx="23">
                  <c:v>0.10834371108343711</c:v>
                </c:pt>
                <c:pt idx="24">
                  <c:v>0.09394313967861558</c:v>
                </c:pt>
                <c:pt idx="25">
                  <c:v>0.11712846347607053</c:v>
                </c:pt>
                <c:pt idx="26">
                  <c:v>0.09845559845559845</c:v>
                </c:pt>
                <c:pt idx="27">
                  <c:v>0.10598290598290598</c:v>
                </c:pt>
                <c:pt idx="28">
                  <c:v>0.11759656652360514</c:v>
                </c:pt>
                <c:pt idx="29">
                  <c:v>0.10933081998114987</c:v>
                </c:pt>
                <c:pt idx="30">
                  <c:v>0.13567362428842505</c:v>
                </c:pt>
                <c:pt idx="31">
                  <c:v>0.12224448897795591</c:v>
                </c:pt>
                <c:pt idx="32">
                  <c:v>0.1264591439688716</c:v>
                </c:pt>
                <c:pt idx="33">
                  <c:v>0.1303052866716307</c:v>
                </c:pt>
                <c:pt idx="34">
                  <c:v>0.14346764346764346</c:v>
                </c:pt>
                <c:pt idx="35">
                  <c:v>0.13708149084017687</c:v>
                </c:pt>
                <c:pt idx="36">
                  <c:v>0.12025901942645699</c:v>
                </c:pt>
                <c:pt idx="37">
                  <c:v>0.1125506072874494</c:v>
                </c:pt>
                <c:pt idx="38">
                  <c:v>0.10433763188745604</c:v>
                </c:pt>
                <c:pt idx="39">
                  <c:v>0.12341062079281974</c:v>
                </c:pt>
                <c:pt idx="40">
                  <c:v>0.10952738184546136</c:v>
                </c:pt>
                <c:pt idx="41">
                  <c:v>0.10362047440699126</c:v>
                </c:pt>
                <c:pt idx="42">
                  <c:v>0.1186046511627907</c:v>
                </c:pt>
                <c:pt idx="43">
                  <c:v>0.1050767414403778</c:v>
                </c:pt>
                <c:pt idx="44">
                  <c:v>0.09951219512195122</c:v>
                </c:pt>
                <c:pt idx="45">
                  <c:v>0.10710301227222016</c:v>
                </c:pt>
                <c:pt idx="46">
                  <c:v>0.10402219140083217</c:v>
                </c:pt>
                <c:pt idx="47">
                  <c:v>0.10672573499798631</c:v>
                </c:pt>
                <c:pt idx="48">
                  <c:v>0.10505709624796085</c:v>
                </c:pt>
                <c:pt idx="49">
                  <c:v>0.11361926260346125</c:v>
                </c:pt>
                <c:pt idx="50">
                  <c:v>0.12021601314862644</c:v>
                </c:pt>
                <c:pt idx="51">
                  <c:v>0.116822429906542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158852544837369</c:v>
                </c:pt>
              </c:numCache>
            </c:numRef>
          </c:xVal>
          <c:yVal>
            <c:numRef>
              <c:f>Sheet1!$B$163:$B$164</c:f>
              <c:numCache>
                <c:formatCode>General</c:formatCode>
                <c:ptCount val="2"/>
                <c:pt idx="0">
                  <c:v>0.1824513837359101</c:v>
                </c:pt>
                <c:pt idx="1">
                  <c:v>0.182451383735910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158852544837369</c:v>
                </c:pt>
                <c:pt idx="1">
                  <c:v>-0.6158852544837369</c:v>
                </c:pt>
              </c:numCache>
            </c:numRef>
          </c:xVal>
          <c:yVal>
            <c:numRef>
              <c:f>Sheet1!$B$167:$B$168</c:f>
              <c:numCache>
                <c:formatCode>General</c:formatCode>
                <c:ptCount val="2"/>
                <c:pt idx="0">
                  <c:v>0.182451383735910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996770657789754</c:v>
                </c:pt>
              </c:numCache>
            </c:numRef>
          </c:xVal>
          <c:yVal>
            <c:numRef>
              <c:f>Sheet1!$B$171:$B$172</c:f>
              <c:numCache>
                <c:formatCode>General</c:formatCode>
                <c:ptCount val="2"/>
                <c:pt idx="0">
                  <c:v>0.11496521776246721</c:v>
                </c:pt>
                <c:pt idx="1">
                  <c:v>0.1149652177624672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996770657789754</c:v>
                </c:pt>
                <c:pt idx="1">
                  <c:v>0.2996770657789754</c:v>
                </c:pt>
              </c:numCache>
            </c:numRef>
          </c:xVal>
          <c:yVal>
            <c:numRef>
              <c:f>Sheet1!$B$175:$B$176</c:f>
              <c:numCache>
                <c:formatCode>General</c:formatCode>
                <c:ptCount val="2"/>
                <c:pt idx="0">
                  <c:v>0.1149652177624672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635760925892421</c:v>
                </c:pt>
              </c:numCache>
            </c:numRef>
          </c:xVal>
          <c:yVal>
            <c:numRef>
              <c:f>Sheet1!$B$179:$B$180</c:f>
              <c:numCache>
                <c:formatCode>General</c:formatCode>
                <c:ptCount val="2"/>
                <c:pt idx="0">
                  <c:v>0.11025521579600166</c:v>
                </c:pt>
                <c:pt idx="1">
                  <c:v>0.110255215796001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635760925892421</c:v>
                </c:pt>
                <c:pt idx="1">
                  <c:v>0.3635760925892421</c:v>
                </c:pt>
              </c:numCache>
            </c:numRef>
          </c:xVal>
          <c:yVal>
            <c:numRef>
              <c:f>Sheet1!$B$183:$B$184</c:f>
              <c:numCache>
                <c:formatCode>General</c:formatCode>
                <c:ptCount val="2"/>
                <c:pt idx="0">
                  <c:v>0.110255215796001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373964852557583</c:v>
                </c:pt>
                <c:pt idx="1">
                  <c:v>0.33714248001608305</c:v>
                </c:pt>
                <c:pt idx="2">
                  <c:v>0.3178757273039706</c:v>
                </c:pt>
                <c:pt idx="3">
                  <c:v>0.29295096952908584</c:v>
                </c:pt>
                <c:pt idx="4">
                  <c:v>0.2926737580987036</c:v>
                </c:pt>
                <c:pt idx="5">
                  <c:v>0.291919508051858</c:v>
                </c:pt>
                <c:pt idx="6">
                  <c:v>0.3130890633726469</c:v>
                </c:pt>
                <c:pt idx="7">
                  <c:v>0.341728461376796</c:v>
                </c:pt>
                <c:pt idx="8">
                  <c:v>0.3925563126663944</c:v>
                </c:pt>
                <c:pt idx="9">
                  <c:v>0.4062483757039598</c:v>
                </c:pt>
                <c:pt idx="10">
                  <c:v>0.4725743238939174</c:v>
                </c:pt>
                <c:pt idx="11">
                  <c:v>0.44574921332152817</c:v>
                </c:pt>
                <c:pt idx="12">
                  <c:v>0.4681563473183566</c:v>
                </c:pt>
                <c:pt idx="13">
                  <c:v>0.4902061631107289</c:v>
                </c:pt>
                <c:pt idx="14">
                  <c:v>0.5126312806089239</c:v>
                </c:pt>
                <c:pt idx="15">
                  <c:v>0.48637035805290446</c:v>
                </c:pt>
                <c:pt idx="16">
                  <c:v>0.469734504455612</c:v>
                </c:pt>
                <c:pt idx="17">
                  <c:v>0.41879995833974154</c:v>
                </c:pt>
                <c:pt idx="18">
                  <c:v>0.4266559374732811</c:v>
                </c:pt>
                <c:pt idx="19">
                  <c:v>0.4477033877933661</c:v>
                </c:pt>
                <c:pt idx="20">
                  <c:v>0.43557969834151916</c:v>
                </c:pt>
                <c:pt idx="21">
                  <c:v>0.33545155347434785</c:v>
                </c:pt>
                <c:pt idx="22">
                  <c:v>0.35964561971630227</c:v>
                </c:pt>
                <c:pt idx="23">
                  <c:v>0.3364126122856781</c:v>
                </c:pt>
                <c:pt idx="24">
                  <c:v>0.32701300649705806</c:v>
                </c:pt>
                <c:pt idx="25">
                  <c:v>0.3521805423178847</c:v>
                </c:pt>
                <c:pt idx="26">
                  <c:v>0.3040101055325407</c:v>
                </c:pt>
                <c:pt idx="27">
                  <c:v>0.33341592637624196</c:v>
                </c:pt>
                <c:pt idx="28">
                  <c:v>0.3546264038676088</c:v>
                </c:pt>
                <c:pt idx="29">
                  <c:v>0.32872384242526537</c:v>
                </c:pt>
                <c:pt idx="30">
                  <c:v>0.31607909414413987</c:v>
                </c:pt>
                <c:pt idx="31">
                  <c:v>0.26535226771972126</c:v>
                </c:pt>
                <c:pt idx="32">
                  <c:v>0.2549225173733058</c:v>
                </c:pt>
                <c:pt idx="33">
                  <c:v>0.27281087005336896</c:v>
                </c:pt>
                <c:pt idx="34">
                  <c:v>0.2719794840717917</c:v>
                </c:pt>
                <c:pt idx="35">
                  <c:v>0.3415516831556863</c:v>
                </c:pt>
                <c:pt idx="36">
                  <c:v>0.2762141779433827</c:v>
                </c:pt>
                <c:pt idx="37">
                  <c:v>0.36478823224166046</c:v>
                </c:pt>
                <c:pt idx="38">
                  <c:v>0.3016465074847616</c:v>
                </c:pt>
                <c:pt idx="39">
                  <c:v>0.3030530870055651</c:v>
                </c:pt>
                <c:pt idx="40">
                  <c:v>0.3179368717978364</c:v>
                </c:pt>
                <c:pt idx="41">
                  <c:v>0.3362643170283303</c:v>
                </c:pt>
                <c:pt idx="42">
                  <c:v>0.3348662617119586</c:v>
                </c:pt>
                <c:pt idx="43">
                  <c:v>0.38519458375804866</c:v>
                </c:pt>
                <c:pt idx="44">
                  <c:v>0.408732483800338</c:v>
                </c:pt>
                <c:pt idx="45">
                  <c:v>0.43842532350165714</c:v>
                </c:pt>
                <c:pt idx="46">
                  <c:v>0.3433815541989771</c:v>
                </c:pt>
                <c:pt idx="47">
                  <c:v>0.3974856468778803</c:v>
                </c:pt>
                <c:pt idx="48">
                  <c:v>0.4047722333396818</c:v>
                </c:pt>
                <c:pt idx="49">
                  <c:v>0.42548541655355115</c:v>
                </c:pt>
                <c:pt idx="50">
                  <c:v>0.4285552182289961</c:v>
                </c:pt>
                <c:pt idx="51">
                  <c:v>0.36096801462777794</c:v>
                </c:pt>
                <c:pt idx="52">
                  <c:v>0.2996770657789754</c:v>
                </c:pt>
                <c:pt idx="53">
                  <c:v>-0.6158852544837369</c:v>
                </c:pt>
                <c:pt idx="54">
                  <c:v>0.3635760925892421</c:v>
                </c:pt>
              </c:numCache>
            </c:numRef>
          </c:xVal>
          <c:yVal>
            <c:numRef>
              <c:f>Sheet1!$B$187:$B$241</c:f>
              <c:numCache>
                <c:formatCode>General</c:formatCode>
                <c:ptCount val="55"/>
                <c:pt idx="0">
                  <c:v>0.11218491657827073</c:v>
                </c:pt>
                <c:pt idx="1">
                  <c:v>0.1122036393231713</c:v>
                </c:pt>
                <c:pt idx="2">
                  <c:v>0.11362379308280375</c:v>
                </c:pt>
                <c:pt idx="3">
                  <c:v>0.11546099881180436</c:v>
                </c:pt>
                <c:pt idx="4">
                  <c:v>0.11548143208672892</c:v>
                </c:pt>
                <c:pt idx="5">
                  <c:v>0.115537027913163</c:v>
                </c:pt>
                <c:pt idx="6">
                  <c:v>0.11397661843327876</c:v>
                </c:pt>
                <c:pt idx="7">
                  <c:v>0.11186560629973781</c:v>
                </c:pt>
                <c:pt idx="8">
                  <c:v>0.10811908164238947</c:v>
                </c:pt>
                <c:pt idx="9">
                  <c:v>0.10710983866873057</c:v>
                </c:pt>
                <c:pt idx="10">
                  <c:v>0.10222094814884866</c:v>
                </c:pt>
                <c:pt idx="11">
                  <c:v>0.10419822902233936</c:v>
                </c:pt>
                <c:pt idx="12">
                  <c:v>0.10254659752721051</c:v>
                </c:pt>
                <c:pt idx="13">
                  <c:v>0.10092130398321572</c:v>
                </c:pt>
                <c:pt idx="14">
                  <c:v>0.09926834692287831</c:v>
                </c:pt>
                <c:pt idx="15">
                  <c:v>0.10120404145618186</c:v>
                </c:pt>
                <c:pt idx="16">
                  <c:v>0.10243027144853742</c:v>
                </c:pt>
                <c:pt idx="17">
                  <c:v>0.10618466058937853</c:v>
                </c:pt>
                <c:pt idx="18">
                  <c:v>0.10560559578957568</c:v>
                </c:pt>
                <c:pt idx="19">
                  <c:v>0.10405418667827512</c:v>
                </c:pt>
                <c:pt idx="20">
                  <c:v>0.1049478247195644</c:v>
                </c:pt>
                <c:pt idx="21">
                  <c:v>0.11232827764294367</c:v>
                </c:pt>
                <c:pt idx="22">
                  <c:v>0.11054493124058354</c:v>
                </c:pt>
                <c:pt idx="23">
                  <c:v>0.11225743792726703</c:v>
                </c:pt>
                <c:pt idx="24">
                  <c:v>0.11295028356136184</c:v>
                </c:pt>
                <c:pt idx="25">
                  <c:v>0.11109518264473661</c:v>
                </c:pt>
                <c:pt idx="26">
                  <c:v>0.11464582908350243</c:v>
                </c:pt>
                <c:pt idx="27">
                  <c:v>0.1124783238660816</c:v>
                </c:pt>
                <c:pt idx="28">
                  <c:v>0.11091489800999392</c:v>
                </c:pt>
                <c:pt idx="29">
                  <c:v>0.11282417771924812</c:v>
                </c:pt>
                <c:pt idx="30">
                  <c:v>0.11375622304517151</c:v>
                </c:pt>
                <c:pt idx="31">
                  <c:v>0.11749530115227627</c:v>
                </c:pt>
                <c:pt idx="32">
                  <c:v>0.1182640788175015</c:v>
                </c:pt>
                <c:pt idx="33">
                  <c:v>0.11694552702562368</c:v>
                </c:pt>
                <c:pt idx="34">
                  <c:v>0.11700680854748077</c:v>
                </c:pt>
                <c:pt idx="35">
                  <c:v>0.11187863663541925</c:v>
                </c:pt>
                <c:pt idx="36">
                  <c:v>0.11669466895071044</c:v>
                </c:pt>
                <c:pt idx="37">
                  <c:v>0.1101658688930594</c:v>
                </c:pt>
                <c:pt idx="38">
                  <c:v>0.11482005006946563</c:v>
                </c:pt>
                <c:pt idx="39">
                  <c:v>0.11471637098952212</c:v>
                </c:pt>
                <c:pt idx="40">
                  <c:v>0.11361928611766324</c:v>
                </c:pt>
                <c:pt idx="41">
                  <c:v>0.11226836878159442</c:v>
                </c:pt>
                <c:pt idx="42">
                  <c:v>0.11237141954180224</c:v>
                </c:pt>
                <c:pt idx="43">
                  <c:v>0.10866171522173725</c:v>
                </c:pt>
                <c:pt idx="44">
                  <c:v>0.10692673487822066</c:v>
                </c:pt>
                <c:pt idx="45">
                  <c:v>0.1047380734796923</c:v>
                </c:pt>
                <c:pt idx="46">
                  <c:v>0.11174375670621674</c:v>
                </c:pt>
                <c:pt idx="47">
                  <c:v>0.10775574005506917</c:v>
                </c:pt>
                <c:pt idx="48">
                  <c:v>0.10721864523098348</c:v>
                </c:pt>
                <c:pt idx="49">
                  <c:v>0.10569187497267009</c:v>
                </c:pt>
                <c:pt idx="50">
                  <c:v>0.10546559966536476</c:v>
                </c:pt>
                <c:pt idx="51">
                  <c:v>0.11044745741438602</c:v>
                </c:pt>
                <c:pt idx="52">
                  <c:v>0.11496521776246721</c:v>
                </c:pt>
                <c:pt idx="53">
                  <c:v>0.1824513837359101</c:v>
                </c:pt>
                <c:pt idx="54">
                  <c:v>0.110255215796001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82978723404255"/>
          <c:min val="0.050444624090541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9.1087</c:v>
                </c:pt>
                <c:pt idx="1">
                  <c:v>829.9885</c:v>
                </c:pt>
                <c:pt idx="2">
                  <c:v>792.9876</c:v>
                </c:pt>
                <c:pt idx="3">
                  <c:v>805.7457</c:v>
                </c:pt>
                <c:pt idx="4">
                  <c:v>800.1899</c:v>
                </c:pt>
                <c:pt idx="5">
                  <c:v>793.0957</c:v>
                </c:pt>
                <c:pt idx="6">
                  <c:v>783.8494</c:v>
                </c:pt>
                <c:pt idx="7">
                  <c:v>807.3333</c:v>
                </c:pt>
                <c:pt idx="8">
                  <c:v>782.1317</c:v>
                </c:pt>
                <c:pt idx="9">
                  <c:v>789.5619</c:v>
                </c:pt>
                <c:pt idx="10">
                  <c:v>788.2258</c:v>
                </c:pt>
                <c:pt idx="11">
                  <c:v>818.2393</c:v>
                </c:pt>
                <c:pt idx="12">
                  <c:v>841.7979</c:v>
                </c:pt>
                <c:pt idx="13">
                  <c:v>839.5314</c:v>
                </c:pt>
                <c:pt idx="14">
                  <c:v>840.7228</c:v>
                </c:pt>
                <c:pt idx="15">
                  <c:v>844.1019</c:v>
                </c:pt>
                <c:pt idx="16">
                  <c:v>835.596</c:v>
                </c:pt>
                <c:pt idx="17">
                  <c:v>871.4856</c:v>
                </c:pt>
                <c:pt idx="18">
                  <c:v>909.6305</c:v>
                </c:pt>
                <c:pt idx="19">
                  <c:v>948.4534</c:v>
                </c:pt>
                <c:pt idx="20">
                  <c:v>938.7419</c:v>
                </c:pt>
                <c:pt idx="21">
                  <c:v>942.3757</c:v>
                </c:pt>
                <c:pt idx="22">
                  <c:v>934.354</c:v>
                </c:pt>
                <c:pt idx="23">
                  <c:v>925.462</c:v>
                </c:pt>
                <c:pt idx="24">
                  <c:v>881.093</c:v>
                </c:pt>
                <c:pt idx="25">
                  <c:v>895.3446</c:v>
                </c:pt>
                <c:pt idx="26">
                  <c:v>891.8939</c:v>
                </c:pt>
                <c:pt idx="27">
                  <c:v>915.4384</c:v>
                </c:pt>
                <c:pt idx="28">
                  <c:v>933.9007</c:v>
                </c:pt>
                <c:pt idx="29">
                  <c:v>736.5635</c:v>
                </c:pt>
                <c:pt idx="30">
                  <c:v>805.8961</c:v>
                </c:pt>
                <c:pt idx="31">
                  <c:v>846.5816</c:v>
                </c:pt>
                <c:pt idx="32">
                  <c:v>799.6667</c:v>
                </c:pt>
                <c:pt idx="33">
                  <c:v>739.1815</c:v>
                </c:pt>
                <c:pt idx="34">
                  <c:v>847.1627</c:v>
                </c:pt>
                <c:pt idx="35">
                  <c:v>925.593</c:v>
                </c:pt>
                <c:pt idx="36">
                  <c:v>988.7108</c:v>
                </c:pt>
                <c:pt idx="37">
                  <c:v>1003.9401</c:v>
                </c:pt>
                <c:pt idx="38">
                  <c:v>1028.2471</c:v>
                </c:pt>
                <c:pt idx="39">
                  <c:v>1034.0584</c:v>
                </c:pt>
                <c:pt idx="40">
                  <c:v>1012.8581</c:v>
                </c:pt>
                <c:pt idx="41">
                  <c:v>1061.3433</c:v>
                </c:pt>
                <c:pt idx="42">
                  <c:v>1061.7468</c:v>
                </c:pt>
                <c:pt idx="43">
                  <c:v>1035.6484</c:v>
                </c:pt>
                <c:pt idx="44">
                  <c:v>994.1833</c:v>
                </c:pt>
                <c:pt idx="45">
                  <c:v>971.2097</c:v>
                </c:pt>
                <c:pt idx="46">
                  <c:v>996.702</c:v>
                </c:pt>
                <c:pt idx="47">
                  <c:v>965.7857</c:v>
                </c:pt>
                <c:pt idx="48">
                  <c:v>997.7889</c:v>
                </c:pt>
                <c:pt idx="49">
                  <c:v>980.6168</c:v>
                </c:pt>
                <c:pt idx="50">
                  <c:v>956.9135</c:v>
                </c:pt>
                <c:pt idx="51">
                  <c:v>967.5662</c:v>
                </c:pt>
                <c:pt idx="52">
                  <c:v>918.4083</c:v>
                </c:pt>
                <c:pt idx="53">
                  <c:v>885.1031</c:v>
                </c:pt>
                <c:pt idx="54">
                  <c:v>947.1946</c:v>
                </c:pt>
                <c:pt idx="55">
                  <c:v>925.1464</c:v>
                </c:pt>
                <c:pt idx="56">
                  <c:v>973.9852</c:v>
                </c:pt>
                <c:pt idx="57">
                  <c:v>932.2876</c:v>
                </c:pt>
                <c:pt idx="58">
                  <c:v>937.843</c:v>
                </c:pt>
                <c:pt idx="59">
                  <c:v>928.8413</c:v>
                </c:pt>
                <c:pt idx="60">
                  <c:v>918.5502</c:v>
                </c:pt>
                <c:pt idx="61">
                  <c:v>907.3926</c:v>
                </c:pt>
                <c:pt idx="62">
                  <c:v>930.4375</c:v>
                </c:pt>
                <c:pt idx="63">
                  <c:v>985.0967</c:v>
                </c:pt>
                <c:pt idx="64">
                  <c:v>956.5107</c:v>
                </c:pt>
                <c:pt idx="65">
                  <c:v>963.6997</c:v>
                </c:pt>
                <c:pt idx="66">
                  <c:v>948.3375</c:v>
                </c:pt>
                <c:pt idx="67">
                  <c:v>916.6146</c:v>
                </c:pt>
                <c:pt idx="68">
                  <c:v>940.8525</c:v>
                </c:pt>
                <c:pt idx="69">
                  <c:v>962.8883</c:v>
                </c:pt>
                <c:pt idx="70">
                  <c:v>913.6414</c:v>
                </c:pt>
                <c:pt idx="71">
                  <c:v>986.3203</c:v>
                </c:pt>
                <c:pt idx="72">
                  <c:v>1152.7563</c:v>
                </c:pt>
                <c:pt idx="73">
                  <c:v>1189.7351</c:v>
                </c:pt>
                <c:pt idx="74">
                  <c:v>1144.7786</c:v>
                </c:pt>
                <c:pt idx="75">
                  <c:v>1104.3835</c:v>
                </c:pt>
                <c:pt idx="76">
                  <c:v>1133.0355</c:v>
                </c:pt>
                <c:pt idx="77">
                  <c:v>1134.0684</c:v>
                </c:pt>
                <c:pt idx="78">
                  <c:v>1111.3542</c:v>
                </c:pt>
                <c:pt idx="79">
                  <c:v>1057.2022</c:v>
                </c:pt>
                <c:pt idx="80">
                  <c:v>1131.1222</c:v>
                </c:pt>
                <c:pt idx="81">
                  <c:v>1137.9496</c:v>
                </c:pt>
                <c:pt idx="82">
                  <c:v>1160.8925</c:v>
                </c:pt>
                <c:pt idx="83">
                  <c:v>1143.4359</c:v>
                </c:pt>
                <c:pt idx="84">
                  <c:v>1070.7059</c:v>
                </c:pt>
                <c:pt idx="85">
                  <c:v>1073.8261</c:v>
                </c:pt>
                <c:pt idx="86">
                  <c:v>1111.6337</c:v>
                </c:pt>
                <c:pt idx="87">
                  <c:v>1129.0899</c:v>
                </c:pt>
                <c:pt idx="88">
                  <c:v>1138.0705</c:v>
                </c:pt>
                <c:pt idx="89">
                  <c:v>1127.4215</c:v>
                </c:pt>
                <c:pt idx="90">
                  <c:v>1173.6881</c:v>
                </c:pt>
                <c:pt idx="91">
                  <c:v>1121.3173</c:v>
                </c:pt>
                <c:pt idx="92">
                  <c:v>1010.0284</c:v>
                </c:pt>
                <c:pt idx="93">
                  <c:v>1026.0935</c:v>
                </c:pt>
                <c:pt idx="94">
                  <c:v>1108.2945</c:v>
                </c:pt>
                <c:pt idx="95">
                  <c:v>1054.1011</c:v>
                </c:pt>
                <c:pt idx="96">
                  <c:v>936.2335</c:v>
                </c:pt>
                <c:pt idx="97">
                  <c:v>1009.2744</c:v>
                </c:pt>
                <c:pt idx="98">
                  <c:v>1013.3516</c:v>
                </c:pt>
                <c:pt idx="99">
                  <c:v>975.9528</c:v>
                </c:pt>
                <c:pt idx="100">
                  <c:v>977.7181</c:v>
                </c:pt>
                <c:pt idx="101">
                  <c:v>978.3647</c:v>
                </c:pt>
                <c:pt idx="102">
                  <c:v>987.5</c:v>
                </c:pt>
                <c:pt idx="103">
                  <c:v>930.4237</c:v>
                </c:pt>
                <c:pt idx="104">
                  <c:v>966.3727</c:v>
                </c:pt>
              </c:numCache>
            </c:numRef>
          </c:xVal>
          <c:yVal>
            <c:numRef>
              <c:f>Sheet1!$B$2:$B$106</c:f>
              <c:numCache>
                <c:formatCode>General</c:formatCode>
                <c:ptCount val="105"/>
                <c:pt idx="0">
                  <c:v>0.18363273453093812</c:v>
                </c:pt>
                <c:pt idx="1">
                  <c:v>0.17555331991951711</c:v>
                </c:pt>
                <c:pt idx="2">
                  <c:v>0.18173598553345388</c:v>
                </c:pt>
                <c:pt idx="3">
                  <c:v>0.1686746987951807</c:v>
                </c:pt>
                <c:pt idx="4">
                  <c:v>0.16807817589576549</c:v>
                </c:pt>
                <c:pt idx="5">
                  <c:v>0.17956064947468958</c:v>
                </c:pt>
                <c:pt idx="6">
                  <c:v>0.20250195465207194</c:v>
                </c:pt>
                <c:pt idx="7">
                  <c:v>0.19390581717451524</c:v>
                </c:pt>
                <c:pt idx="8">
                  <c:v>0.18841911764705882</c:v>
                </c:pt>
                <c:pt idx="9">
                  <c:v>0.1912568306010929</c:v>
                </c:pt>
                <c:pt idx="10">
                  <c:v>0.2198581560283688</c:v>
                </c:pt>
                <c:pt idx="11">
                  <c:v>0.1902439024390244</c:v>
                </c:pt>
                <c:pt idx="12">
                  <c:v>0.18062704726251755</c:v>
                </c:pt>
                <c:pt idx="13">
                  <c:v>0.1708984375</c:v>
                </c:pt>
                <c:pt idx="14">
                  <c:v>0.1740306582506763</c:v>
                </c:pt>
                <c:pt idx="15">
                  <c:v>0.15022675736961452</c:v>
                </c:pt>
                <c:pt idx="16">
                  <c:v>0.14326647564469913</c:v>
                </c:pt>
                <c:pt idx="17">
                  <c:v>0.17181705809641531</c:v>
                </c:pt>
                <c:pt idx="18">
                  <c:v>0.14562410329985653</c:v>
                </c:pt>
                <c:pt idx="19">
                  <c:v>0.13702127659574467</c:v>
                </c:pt>
                <c:pt idx="20">
                  <c:v>0.16514459665144596</c:v>
                </c:pt>
                <c:pt idx="21">
                  <c:v>0.1495246326707001</c:v>
                </c:pt>
                <c:pt idx="22">
                  <c:v>0.12931726907630522</c:v>
                </c:pt>
                <c:pt idx="23">
                  <c:v>0.15358931552587646</c:v>
                </c:pt>
                <c:pt idx="24">
                  <c:v>0.14814814814814814</c:v>
                </c:pt>
                <c:pt idx="25">
                  <c:v>0.14453125</c:v>
                </c:pt>
                <c:pt idx="26">
                  <c:v>0.1524701873935264</c:v>
                </c:pt>
                <c:pt idx="27">
                  <c:v>0.13129496402877697</c:v>
                </c:pt>
                <c:pt idx="28">
                  <c:v>0.12260869565217392</c:v>
                </c:pt>
                <c:pt idx="29">
                  <c:v>0.15118956254796623</c:v>
                </c:pt>
                <c:pt idx="30">
                  <c:v>0.1475095785440613</c:v>
                </c:pt>
                <c:pt idx="31">
                  <c:v>0.12995391705069123</c:v>
                </c:pt>
                <c:pt idx="32">
                  <c:v>0.14974182444061962</c:v>
                </c:pt>
                <c:pt idx="33">
                  <c:v>0.16511318242343542</c:v>
                </c:pt>
                <c:pt idx="34">
                  <c:v>0.15584415584415584</c:v>
                </c:pt>
                <c:pt idx="35">
                  <c:v>0.141602634467618</c:v>
                </c:pt>
                <c:pt idx="36">
                  <c:v>0.10703043022035677</c:v>
                </c:pt>
                <c:pt idx="37">
                  <c:v>0.10823071937783539</c:v>
                </c:pt>
                <c:pt idx="38">
                  <c:v>0.10526315789473684</c:v>
                </c:pt>
                <c:pt idx="39">
                  <c:v>0.10021945866861741</c:v>
                </c:pt>
                <c:pt idx="40">
                  <c:v>0.09497549019607843</c:v>
                </c:pt>
                <c:pt idx="41">
                  <c:v>0.08634020618556701</c:v>
                </c:pt>
                <c:pt idx="42">
                  <c:v>0.08641975308641975</c:v>
                </c:pt>
                <c:pt idx="43">
                  <c:v>0.08796520057999033</c:v>
                </c:pt>
                <c:pt idx="44">
                  <c:v>0.0893874643874644</c:v>
                </c:pt>
                <c:pt idx="45">
                  <c:v>0.1</c:v>
                </c:pt>
                <c:pt idx="46">
                  <c:v>0.08922323303009097</c:v>
                </c:pt>
                <c:pt idx="47">
                  <c:v>0.08977387782652717</c:v>
                </c:pt>
                <c:pt idx="48">
                  <c:v>0.10308538627122697</c:v>
                </c:pt>
                <c:pt idx="49">
                  <c:v>0.13178030947117836</c:v>
                </c:pt>
                <c:pt idx="50">
                  <c:v>0.11437046802900462</c:v>
                </c:pt>
                <c:pt idx="51">
                  <c:v>0.09240506329113925</c:v>
                </c:pt>
                <c:pt idx="52">
                  <c:v>0.09669621273166801</c:v>
                </c:pt>
                <c:pt idx="53">
                  <c:v>0.11887254901960784</c:v>
                </c:pt>
                <c:pt idx="54">
                  <c:v>0.11981351981351981</c:v>
                </c:pt>
                <c:pt idx="55">
                  <c:v>0.11231203007518797</c:v>
                </c:pt>
                <c:pt idx="56">
                  <c:v>0.10735060814383923</c:v>
                </c:pt>
                <c:pt idx="57">
                  <c:v>0.11116576487948844</c:v>
                </c:pt>
                <c:pt idx="58">
                  <c:v>0.11524547803617571</c:v>
                </c:pt>
                <c:pt idx="59">
                  <c:v>0.10404984423676013</c:v>
                </c:pt>
                <c:pt idx="60">
                  <c:v>0.1118421052631579</c:v>
                </c:pt>
                <c:pt idx="61">
                  <c:v>0.12790146849834202</c:v>
                </c:pt>
                <c:pt idx="62">
                  <c:v>0.11782032400589101</c:v>
                </c:pt>
                <c:pt idx="63">
                  <c:v>0.12536564981195153</c:v>
                </c:pt>
                <c:pt idx="64">
                  <c:v>0.13346938775510203</c:v>
                </c:pt>
                <c:pt idx="65">
                  <c:v>0.13341858482523444</c:v>
                </c:pt>
                <c:pt idx="66">
                  <c:v>0.1389491966999566</c:v>
                </c:pt>
                <c:pt idx="67">
                  <c:v>0.1331072488342518</c:v>
                </c:pt>
                <c:pt idx="68">
                  <c:v>0.11509433962264151</c:v>
                </c:pt>
                <c:pt idx="69">
                  <c:v>0.1185430463576159</c:v>
                </c:pt>
                <c:pt idx="70">
                  <c:v>0.11647058823529412</c:v>
                </c:pt>
                <c:pt idx="71">
                  <c:v>0.09770114942528736</c:v>
                </c:pt>
                <c:pt idx="72">
                  <c:v>0.09340338587273789</c:v>
                </c:pt>
                <c:pt idx="73">
                  <c:v>0.09642401021711366</c:v>
                </c:pt>
                <c:pt idx="74">
                  <c:v>0.08343949044585987</c:v>
                </c:pt>
                <c:pt idx="75">
                  <c:v>0.09540889526542325</c:v>
                </c:pt>
                <c:pt idx="76">
                  <c:v>0.09209666884389288</c:v>
                </c:pt>
                <c:pt idx="77">
                  <c:v>0.08705357142857142</c:v>
                </c:pt>
                <c:pt idx="78">
                  <c:v>0.07470817120622568</c:v>
                </c:pt>
                <c:pt idx="79">
                  <c:v>0.07265306122448979</c:v>
                </c:pt>
                <c:pt idx="80">
                  <c:v>0.07293354943273905</c:v>
                </c:pt>
                <c:pt idx="81">
                  <c:v>0.08106267029972752</c:v>
                </c:pt>
                <c:pt idx="82">
                  <c:v>0.0744595676541233</c:v>
                </c:pt>
                <c:pt idx="83">
                  <c:v>0.06305578011317704</c:v>
                </c:pt>
                <c:pt idx="84">
                  <c:v>0.07101086048454469</c:v>
                </c:pt>
                <c:pt idx="85">
                  <c:v>0.09141494435612083</c:v>
                </c:pt>
                <c:pt idx="86">
                  <c:v>0.09440175631174534</c:v>
                </c:pt>
                <c:pt idx="87">
                  <c:v>0.10476718403547672</c:v>
                </c:pt>
                <c:pt idx="88">
                  <c:v>0.09128145114101814</c:v>
                </c:pt>
                <c:pt idx="89">
                  <c:v>0.0788787483702738</c:v>
                </c:pt>
                <c:pt idx="90">
                  <c:v>0.07985347985347985</c:v>
                </c:pt>
                <c:pt idx="91">
                  <c:v>0.07412687099073414</c:v>
                </c:pt>
                <c:pt idx="92">
                  <c:v>0.08260105448154657</c:v>
                </c:pt>
                <c:pt idx="93">
                  <c:v>0.08152492668621701</c:v>
                </c:pt>
                <c:pt idx="94">
                  <c:v>0.08434430964760255</c:v>
                </c:pt>
                <c:pt idx="95">
                  <c:v>0.08649173955296405</c:v>
                </c:pt>
                <c:pt idx="96">
                  <c:v>0.08697123519458545</c:v>
                </c:pt>
                <c:pt idx="97">
                  <c:v>0.08444444444444445</c:v>
                </c:pt>
                <c:pt idx="98">
                  <c:v>0.10055056505360765</c:v>
                </c:pt>
                <c:pt idx="99">
                  <c:v>0.10992999740731138</c:v>
                </c:pt>
                <c:pt idx="100">
                  <c:v>0.11865407319952774</c:v>
                </c:pt>
                <c:pt idx="101">
                  <c:v>0.11509817197020988</c:v>
                </c:pt>
                <c:pt idx="102">
                  <c:v>0.09389197375063099</c:v>
                </c:pt>
                <c:pt idx="103">
                  <c:v>0.10673903211216644</c:v>
                </c:pt>
                <c:pt idx="104">
                  <c:v>0.118152524167561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66.8903</c:v>
                </c:pt>
                <c:pt idx="1">
                  <c:v>984.9067</c:v>
                </c:pt>
                <c:pt idx="2">
                  <c:v>937.4125</c:v>
                </c:pt>
                <c:pt idx="3">
                  <c:v>951.7977</c:v>
                </c:pt>
                <c:pt idx="4">
                  <c:v>974.8319</c:v>
                </c:pt>
                <c:pt idx="5">
                  <c:v>971.1643</c:v>
                </c:pt>
                <c:pt idx="6">
                  <c:v>953.0118</c:v>
                </c:pt>
                <c:pt idx="7">
                  <c:v>1017.3882</c:v>
                </c:pt>
                <c:pt idx="8">
                  <c:v>1096.7442</c:v>
                </c:pt>
                <c:pt idx="9">
                  <c:v>1069.9905</c:v>
                </c:pt>
                <c:pt idx="10">
                  <c:v>1106.8736</c:v>
                </c:pt>
                <c:pt idx="11">
                  <c:v>1031.3226</c:v>
                </c:pt>
                <c:pt idx="12">
                  <c:v>1038.541</c:v>
                </c:pt>
                <c:pt idx="13">
                  <c:v>1100.4696</c:v>
                </c:pt>
                <c:pt idx="14">
                  <c:v>1067.1471</c:v>
                </c:pt>
                <c:pt idx="15">
                  <c:v>1095.6699</c:v>
                </c:pt>
                <c:pt idx="16">
                  <c:v>1144.503</c:v>
                </c:pt>
                <c:pt idx="17">
                  <c:v>1103.3893</c:v>
                </c:pt>
                <c:pt idx="18">
                  <c:v>1108.3019</c:v>
                </c:pt>
                <c:pt idx="19">
                  <c:v>1216.9315</c:v>
                </c:pt>
                <c:pt idx="20">
                  <c:v>1174.4741</c:v>
                </c:pt>
                <c:pt idx="21">
                  <c:v>998.5641</c:v>
                </c:pt>
                <c:pt idx="22">
                  <c:v>1106.8933</c:v>
                </c:pt>
                <c:pt idx="23">
                  <c:v>1071.4483</c:v>
                </c:pt>
                <c:pt idx="24">
                  <c:v>1032.7368</c:v>
                </c:pt>
                <c:pt idx="25">
                  <c:v>1028.4086</c:v>
                </c:pt>
                <c:pt idx="26">
                  <c:v>1002.4314</c:v>
                </c:pt>
                <c:pt idx="27">
                  <c:v>1008.5403</c:v>
                </c:pt>
                <c:pt idx="28">
                  <c:v>1013.1898</c:v>
                </c:pt>
                <c:pt idx="29">
                  <c:v>1003.3793</c:v>
                </c:pt>
                <c:pt idx="30">
                  <c:v>894.6364</c:v>
                </c:pt>
                <c:pt idx="31">
                  <c:v>857.1803</c:v>
                </c:pt>
                <c:pt idx="32">
                  <c:v>920.8846</c:v>
                </c:pt>
                <c:pt idx="33">
                  <c:v>1027.5829</c:v>
                </c:pt>
                <c:pt idx="34">
                  <c:v>1052.1915</c:v>
                </c:pt>
                <c:pt idx="35">
                  <c:v>1051.682</c:v>
                </c:pt>
                <c:pt idx="36">
                  <c:v>1044.4308</c:v>
                </c:pt>
                <c:pt idx="37">
                  <c:v>1162.446</c:v>
                </c:pt>
                <c:pt idx="38">
                  <c:v>1076.8539</c:v>
                </c:pt>
                <c:pt idx="39">
                  <c:v>1032.8545</c:v>
                </c:pt>
                <c:pt idx="40">
                  <c:v>1088.3904</c:v>
                </c:pt>
                <c:pt idx="41">
                  <c:v>1147.8253</c:v>
                </c:pt>
                <c:pt idx="42">
                  <c:v>1103.5229</c:v>
                </c:pt>
                <c:pt idx="43">
                  <c:v>1120.118</c:v>
                </c:pt>
                <c:pt idx="44">
                  <c:v>1057.9706</c:v>
                </c:pt>
                <c:pt idx="45">
                  <c:v>1042.4271</c:v>
                </c:pt>
                <c:pt idx="46">
                  <c:v>1040.6178</c:v>
                </c:pt>
                <c:pt idx="47">
                  <c:v>1027.0415</c:v>
                </c:pt>
                <c:pt idx="48">
                  <c:v>978.059</c:v>
                </c:pt>
                <c:pt idx="49">
                  <c:v>1038.3344</c:v>
                </c:pt>
                <c:pt idx="50">
                  <c:v>989.127</c:v>
                </c:pt>
                <c:pt idx="51">
                  <c:v>953.3767</c:v>
                </c:pt>
              </c:numCache>
            </c:numRef>
          </c:xVal>
          <c:yVal>
            <c:numRef>
              <c:f>Sheet1!$B$109:$B$160</c:f>
              <c:numCache>
                <c:formatCode>General</c:formatCode>
                <c:ptCount val="52"/>
                <c:pt idx="0">
                  <c:v>0.10896551724137932</c:v>
                </c:pt>
                <c:pt idx="1">
                  <c:v>0.11007827788649706</c:v>
                </c:pt>
                <c:pt idx="2">
                  <c:v>0.1091901728844404</c:v>
                </c:pt>
                <c:pt idx="3">
                  <c:v>0.13692061800745872</c:v>
                </c:pt>
                <c:pt idx="4">
                  <c:v>0.1171259842519685</c:v>
                </c:pt>
                <c:pt idx="5">
                  <c:v>0.11694915254237288</c:v>
                </c:pt>
                <c:pt idx="6">
                  <c:v>0.11480978260869565</c:v>
                </c:pt>
                <c:pt idx="7">
                  <c:v>0.09518477043673013</c:v>
                </c:pt>
                <c:pt idx="8">
                  <c:v>0.10582444626743231</c:v>
                </c:pt>
                <c:pt idx="9">
                  <c:v>0.0831353919239905</c:v>
                </c:pt>
                <c:pt idx="10">
                  <c:v>0.12117177097203728</c:v>
                </c:pt>
                <c:pt idx="11">
                  <c:v>0.11513463324048283</c:v>
                </c:pt>
                <c:pt idx="12">
                  <c:v>0.12459321245932124</c:v>
                </c:pt>
                <c:pt idx="13">
                  <c:v>0.11154219204655674</c:v>
                </c:pt>
                <c:pt idx="14">
                  <c:v>0.11092985318107668</c:v>
                </c:pt>
                <c:pt idx="15">
                  <c:v>0.10470941883767534</c:v>
                </c:pt>
                <c:pt idx="16">
                  <c:v>0.1065203357004519</c:v>
                </c:pt>
                <c:pt idx="17">
                  <c:v>0.08365261813537675</c:v>
                </c:pt>
                <c:pt idx="18">
                  <c:v>0.083596214511041</c:v>
                </c:pt>
                <c:pt idx="19">
                  <c:v>0.0962425840474621</c:v>
                </c:pt>
                <c:pt idx="20">
                  <c:v>0.08630952380952381</c:v>
                </c:pt>
                <c:pt idx="21">
                  <c:v>0.08315565031982942</c:v>
                </c:pt>
                <c:pt idx="22">
                  <c:v>0.08561643835616438</c:v>
                </c:pt>
                <c:pt idx="23">
                  <c:v>0.10834371108343711</c:v>
                </c:pt>
                <c:pt idx="24">
                  <c:v>0.09394313967861558</c:v>
                </c:pt>
                <c:pt idx="25">
                  <c:v>0.11712846347607053</c:v>
                </c:pt>
                <c:pt idx="26">
                  <c:v>0.09845559845559845</c:v>
                </c:pt>
                <c:pt idx="27">
                  <c:v>0.10598290598290598</c:v>
                </c:pt>
                <c:pt idx="28">
                  <c:v>0.11759656652360514</c:v>
                </c:pt>
                <c:pt idx="29">
                  <c:v>0.10933081998114987</c:v>
                </c:pt>
                <c:pt idx="30">
                  <c:v>0.13567362428842505</c:v>
                </c:pt>
                <c:pt idx="31">
                  <c:v>0.12224448897795591</c:v>
                </c:pt>
                <c:pt idx="32">
                  <c:v>0.1264591439688716</c:v>
                </c:pt>
                <c:pt idx="33">
                  <c:v>0.1303052866716307</c:v>
                </c:pt>
                <c:pt idx="34">
                  <c:v>0.14346764346764346</c:v>
                </c:pt>
                <c:pt idx="35">
                  <c:v>0.13708149084017687</c:v>
                </c:pt>
                <c:pt idx="36">
                  <c:v>0.12025901942645699</c:v>
                </c:pt>
                <c:pt idx="37">
                  <c:v>0.1125506072874494</c:v>
                </c:pt>
                <c:pt idx="38">
                  <c:v>0.10433763188745604</c:v>
                </c:pt>
                <c:pt idx="39">
                  <c:v>0.12341062079281974</c:v>
                </c:pt>
                <c:pt idx="40">
                  <c:v>0.10952738184546136</c:v>
                </c:pt>
                <c:pt idx="41">
                  <c:v>0.10362047440699126</c:v>
                </c:pt>
                <c:pt idx="42">
                  <c:v>0.1186046511627907</c:v>
                </c:pt>
                <c:pt idx="43">
                  <c:v>0.1050767414403778</c:v>
                </c:pt>
                <c:pt idx="44">
                  <c:v>0.09951219512195122</c:v>
                </c:pt>
                <c:pt idx="45">
                  <c:v>0.10710301227222016</c:v>
                </c:pt>
                <c:pt idx="46">
                  <c:v>0.10402219140083217</c:v>
                </c:pt>
                <c:pt idx="47">
                  <c:v>0.10672573499798631</c:v>
                </c:pt>
                <c:pt idx="48">
                  <c:v>0.10505709624796085</c:v>
                </c:pt>
                <c:pt idx="49">
                  <c:v>0.11361926260346125</c:v>
                </c:pt>
                <c:pt idx="50">
                  <c:v>0.12021601314862644</c:v>
                </c:pt>
                <c:pt idx="51">
                  <c:v>0.116822429906542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81.43271327536547</c:v>
                </c:pt>
              </c:numCache>
            </c:numRef>
          </c:xVal>
          <c:yVal>
            <c:numRef>
              <c:f>Sheet1!$B$163:$B$164</c:f>
              <c:numCache>
                <c:formatCode>General</c:formatCode>
                <c:ptCount val="2"/>
                <c:pt idx="0">
                  <c:v>0.1824513837359101</c:v>
                </c:pt>
                <c:pt idx="1">
                  <c:v>0.182451383735910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81.43271327536547</c:v>
                </c:pt>
                <c:pt idx="1">
                  <c:v>181.43271327536547</c:v>
                </c:pt>
              </c:numCache>
            </c:numRef>
          </c:xVal>
          <c:yVal>
            <c:numRef>
              <c:f>Sheet1!$B$167:$B$168</c:f>
              <c:numCache>
                <c:formatCode>General</c:formatCode>
                <c:ptCount val="2"/>
                <c:pt idx="0">
                  <c:v>0.182451383735910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2.9159314689059</c:v>
                </c:pt>
              </c:numCache>
            </c:numRef>
          </c:xVal>
          <c:yVal>
            <c:numRef>
              <c:f>Sheet1!$B$171:$B$172</c:f>
              <c:numCache>
                <c:formatCode>General</c:formatCode>
                <c:ptCount val="2"/>
                <c:pt idx="0">
                  <c:v>0.11496521776246721</c:v>
                </c:pt>
                <c:pt idx="1">
                  <c:v>0.1149652177624672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2.9159314689059</c:v>
                </c:pt>
                <c:pt idx="1">
                  <c:v>982.9159314689059</c:v>
                </c:pt>
              </c:numCache>
            </c:numRef>
          </c:xVal>
          <c:yVal>
            <c:numRef>
              <c:f>Sheet1!$B$175:$B$176</c:f>
              <c:numCache>
                <c:formatCode>General</c:formatCode>
                <c:ptCount val="2"/>
                <c:pt idx="0">
                  <c:v>0.1149652177624672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38.8531369587872</c:v>
                </c:pt>
              </c:numCache>
            </c:numRef>
          </c:xVal>
          <c:yVal>
            <c:numRef>
              <c:f>Sheet1!$B$179:$B$180</c:f>
              <c:numCache>
                <c:formatCode>General</c:formatCode>
                <c:ptCount val="2"/>
                <c:pt idx="0">
                  <c:v>0.11025521579600166</c:v>
                </c:pt>
                <c:pt idx="1">
                  <c:v>0.110255215796001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38.8531369587872</c:v>
                </c:pt>
                <c:pt idx="1">
                  <c:v>1038.8531369587872</c:v>
                </c:pt>
              </c:numCache>
            </c:numRef>
          </c:xVal>
          <c:yVal>
            <c:numRef>
              <c:f>Sheet1!$B$183:$B$184</c:f>
              <c:numCache>
                <c:formatCode>General</c:formatCode>
                <c:ptCount val="2"/>
                <c:pt idx="0">
                  <c:v>0.110255215796001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66.8903</c:v>
                </c:pt>
                <c:pt idx="1">
                  <c:v>984.9067</c:v>
                </c:pt>
                <c:pt idx="2">
                  <c:v>937.4125</c:v>
                </c:pt>
                <c:pt idx="3">
                  <c:v>951.7977</c:v>
                </c:pt>
                <c:pt idx="4">
                  <c:v>974.8319</c:v>
                </c:pt>
                <c:pt idx="5">
                  <c:v>971.1643</c:v>
                </c:pt>
                <c:pt idx="6">
                  <c:v>953.0118</c:v>
                </c:pt>
                <c:pt idx="7">
                  <c:v>1017.3882</c:v>
                </c:pt>
                <c:pt idx="8">
                  <c:v>1096.7442</c:v>
                </c:pt>
                <c:pt idx="9">
                  <c:v>1069.9905</c:v>
                </c:pt>
                <c:pt idx="10">
                  <c:v>1106.8736</c:v>
                </c:pt>
                <c:pt idx="11">
                  <c:v>1031.3226</c:v>
                </c:pt>
                <c:pt idx="12">
                  <c:v>1038.541</c:v>
                </c:pt>
                <c:pt idx="13">
                  <c:v>1100.4696</c:v>
                </c:pt>
                <c:pt idx="14">
                  <c:v>1067.1471</c:v>
                </c:pt>
                <c:pt idx="15">
                  <c:v>1095.6699</c:v>
                </c:pt>
                <c:pt idx="16">
                  <c:v>1144.503</c:v>
                </c:pt>
                <c:pt idx="17">
                  <c:v>1103.3893</c:v>
                </c:pt>
                <c:pt idx="18">
                  <c:v>1108.3019</c:v>
                </c:pt>
                <c:pt idx="19">
                  <c:v>1216.9315</c:v>
                </c:pt>
                <c:pt idx="20">
                  <c:v>1174.4741</c:v>
                </c:pt>
                <c:pt idx="21">
                  <c:v>998.5641</c:v>
                </c:pt>
                <c:pt idx="22">
                  <c:v>1106.8933</c:v>
                </c:pt>
                <c:pt idx="23">
                  <c:v>1071.4483</c:v>
                </c:pt>
                <c:pt idx="24">
                  <c:v>1032.7368</c:v>
                </c:pt>
                <c:pt idx="25">
                  <c:v>1028.4086</c:v>
                </c:pt>
                <c:pt idx="26">
                  <c:v>1002.4314</c:v>
                </c:pt>
                <c:pt idx="27">
                  <c:v>1008.5403</c:v>
                </c:pt>
                <c:pt idx="28">
                  <c:v>1013.1898</c:v>
                </c:pt>
                <c:pt idx="29">
                  <c:v>1003.3793</c:v>
                </c:pt>
                <c:pt idx="30">
                  <c:v>894.6364</c:v>
                </c:pt>
                <c:pt idx="31">
                  <c:v>857.1803</c:v>
                </c:pt>
                <c:pt idx="32">
                  <c:v>920.8846</c:v>
                </c:pt>
                <c:pt idx="33">
                  <c:v>1027.5829</c:v>
                </c:pt>
                <c:pt idx="34">
                  <c:v>1052.1915</c:v>
                </c:pt>
                <c:pt idx="35">
                  <c:v>1051.682</c:v>
                </c:pt>
                <c:pt idx="36">
                  <c:v>1044.4308</c:v>
                </c:pt>
                <c:pt idx="37">
                  <c:v>1162.446</c:v>
                </c:pt>
                <c:pt idx="38">
                  <c:v>1076.8539</c:v>
                </c:pt>
                <c:pt idx="39">
                  <c:v>1032.8545</c:v>
                </c:pt>
                <c:pt idx="40">
                  <c:v>1088.3904</c:v>
                </c:pt>
                <c:pt idx="41">
                  <c:v>1147.8253</c:v>
                </c:pt>
                <c:pt idx="42">
                  <c:v>1103.5229</c:v>
                </c:pt>
                <c:pt idx="43">
                  <c:v>1120.118</c:v>
                </c:pt>
                <c:pt idx="44">
                  <c:v>1057.9706</c:v>
                </c:pt>
                <c:pt idx="45">
                  <c:v>1042.4271</c:v>
                </c:pt>
                <c:pt idx="46">
                  <c:v>1040.6178</c:v>
                </c:pt>
                <c:pt idx="47">
                  <c:v>1027.0415</c:v>
                </c:pt>
                <c:pt idx="48">
                  <c:v>978.059</c:v>
                </c:pt>
                <c:pt idx="49">
                  <c:v>1038.3344</c:v>
                </c:pt>
                <c:pt idx="50">
                  <c:v>989.127</c:v>
                </c:pt>
                <c:pt idx="51">
                  <c:v>953.3767</c:v>
                </c:pt>
                <c:pt idx="52">
                  <c:v>982.9159314689059</c:v>
                </c:pt>
                <c:pt idx="53">
                  <c:v>181.43271327536547</c:v>
                </c:pt>
                <c:pt idx="54">
                  <c:v>1038.8531369587872</c:v>
                </c:pt>
              </c:numCache>
            </c:numRef>
          </c:xVal>
          <c:yVal>
            <c:numRef>
              <c:f>Sheet1!$B$187:$B$241</c:f>
              <c:numCache>
                <c:formatCode>General</c:formatCode>
                <c:ptCount val="55"/>
                <c:pt idx="0">
                  <c:v>0.11631460150574435</c:v>
                </c:pt>
                <c:pt idx="1">
                  <c:v>0.11479759187529401</c:v>
                </c:pt>
                <c:pt idx="2">
                  <c:v>0.11879667930621998</c:v>
                </c:pt>
                <c:pt idx="3">
                  <c:v>0.11758542251041426</c:v>
                </c:pt>
                <c:pt idx="4">
                  <c:v>0.1156459061125923</c:v>
                </c:pt>
                <c:pt idx="5">
                  <c:v>0.11595472388532381</c:v>
                </c:pt>
                <c:pt idx="6">
                  <c:v>0.11748319335296162</c:v>
                </c:pt>
                <c:pt idx="7">
                  <c:v>0.11206259774153406</c:v>
                </c:pt>
                <c:pt idx="8">
                  <c:v>0.10538069590576121</c:v>
                </c:pt>
                <c:pt idx="9">
                  <c:v>0.10763340013913632</c:v>
                </c:pt>
                <c:pt idx="10">
                  <c:v>0.1045277842613326</c:v>
                </c:pt>
                <c:pt idx="11">
                  <c:v>0.11088929902511194</c:v>
                </c:pt>
                <c:pt idx="12">
                  <c:v>0.11028149822603761</c:v>
                </c:pt>
                <c:pt idx="13">
                  <c:v>0.10506701128079288</c:v>
                </c:pt>
                <c:pt idx="14">
                  <c:v>0.107872818956615</c:v>
                </c:pt>
                <c:pt idx="15">
                  <c:v>0.10547115368012194</c:v>
                </c:pt>
                <c:pt idx="16">
                  <c:v>0.10135932873258834</c:v>
                </c:pt>
                <c:pt idx="17">
                  <c:v>0.10482116788155518</c:v>
                </c:pt>
                <c:pt idx="18">
                  <c:v>0.10440751912206105</c:v>
                </c:pt>
                <c:pt idx="19">
                  <c:v>0.09526073345167357</c:v>
                </c:pt>
                <c:pt idx="20">
                  <c:v>0.09883571428490788</c:v>
                </c:pt>
                <c:pt idx="21">
                  <c:v>0.11364761700090664</c:v>
                </c:pt>
                <c:pt idx="22">
                  <c:v>0.10452612548989548</c:v>
                </c:pt>
                <c:pt idx="23">
                  <c:v>0.10751065105278887</c:v>
                </c:pt>
                <c:pt idx="24">
                  <c:v>0.11077022112834108</c:v>
                </c:pt>
                <c:pt idx="25">
                  <c:v>0.11113466247525361</c:v>
                </c:pt>
                <c:pt idx="26">
                  <c:v>0.11332198416949522</c:v>
                </c:pt>
                <c:pt idx="27">
                  <c:v>0.11280760504095355</c:v>
                </c:pt>
                <c:pt idx="28">
                  <c:v>0.11241610972131262</c:v>
                </c:pt>
                <c:pt idx="29">
                  <c:v>0.11324216947684276</c:v>
                </c:pt>
                <c:pt idx="30">
                  <c:v>0.12239849518803361</c:v>
                </c:pt>
                <c:pt idx="31">
                  <c:v>0.1255523585802269</c:v>
                </c:pt>
                <c:pt idx="32">
                  <c:v>0.12018835486133202</c:v>
                </c:pt>
                <c:pt idx="33">
                  <c:v>0.11120418773290013</c:v>
                </c:pt>
                <c:pt idx="34">
                  <c:v>0.10913210434266123</c:v>
                </c:pt>
                <c:pt idx="35">
                  <c:v>0.1091750050557179</c:v>
                </c:pt>
                <c:pt idx="36">
                  <c:v>0.10978556766713425</c:v>
                </c:pt>
                <c:pt idx="37">
                  <c:v>0.09984849949926922</c:v>
                </c:pt>
                <c:pt idx="38">
                  <c:v>0.10705549090656861</c:v>
                </c:pt>
                <c:pt idx="39">
                  <c:v>0.11076031060051619</c:v>
                </c:pt>
                <c:pt idx="40">
                  <c:v>0.10608409919669926</c:v>
                </c:pt>
                <c:pt idx="41">
                  <c:v>0.10107958577088427</c:v>
                </c:pt>
                <c:pt idx="42">
                  <c:v>0.10480991854835721</c:v>
                </c:pt>
                <c:pt idx="43">
                  <c:v>0.10341258464600787</c:v>
                </c:pt>
                <c:pt idx="44">
                  <c:v>0.10864549490041217</c:v>
                </c:pt>
                <c:pt idx="45">
                  <c:v>0.10995428240462528</c:v>
                </c:pt>
                <c:pt idx="46">
                  <c:v>0.1101066283518941</c:v>
                </c:pt>
                <c:pt idx="47">
                  <c:v>0.11124977447686261</c:v>
                </c:pt>
                <c:pt idx="48">
                  <c:v>0.11537417914280777</c:v>
                </c:pt>
                <c:pt idx="49">
                  <c:v>0.1102988942757285</c:v>
                </c:pt>
                <c:pt idx="50">
                  <c:v>0.11444223588056757</c:v>
                </c:pt>
                <c:pt idx="51">
                  <c:v>0.11745246819065665</c:v>
                </c:pt>
                <c:pt idx="52">
                  <c:v>0.11496521776246721</c:v>
                </c:pt>
                <c:pt idx="53">
                  <c:v>0.1824513837359101</c:v>
                </c:pt>
                <c:pt idx="54">
                  <c:v>0.110255215796001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60.0"/>
          <c:min val="1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82978723404255"/>
          <c:min val="0.050444624090541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21431238520328</c:v>
                </c:pt>
                <c:pt idx="1">
                  <c:v>0.8234721107019114</c:v>
                </c:pt>
                <c:pt idx="2">
                  <c:v>0.720993820568353</c:v>
                </c:pt>
                <c:pt idx="3">
                  <c:v>0.7200246075272072</c:v>
                </c:pt>
                <c:pt idx="4">
                  <c:v>0.7052322618191906</c:v>
                </c:pt>
                <c:pt idx="5">
                  <c:v>0.7163805611578942</c:v>
                </c:pt>
                <c:pt idx="6">
                  <c:v>0.6986255752103242</c:v>
                </c:pt>
                <c:pt idx="7">
                  <c:v>0.7220767084178515</c:v>
                </c:pt>
                <c:pt idx="8">
                  <c:v>0.739437387240188</c:v>
                </c:pt>
                <c:pt idx="9">
                  <c:v>0.7547269657156742</c:v>
                </c:pt>
                <c:pt idx="10">
                  <c:v>0.777721036232888</c:v>
                </c:pt>
                <c:pt idx="11">
                  <c:v>0.8255762651523619</c:v>
                </c:pt>
                <c:pt idx="12">
                  <c:v>0.8806736702563432</c:v>
                </c:pt>
                <c:pt idx="13">
                  <c:v>0.8878162403177966</c:v>
                </c:pt>
                <c:pt idx="14">
                  <c:v>0.9239988045064768</c:v>
                </c:pt>
                <c:pt idx="15">
                  <c:v>0.9745657470986943</c:v>
                </c:pt>
                <c:pt idx="16">
                  <c:v>0.9725231554223057</c:v>
                </c:pt>
                <c:pt idx="17">
                  <c:v>0.942319557039983</c:v>
                </c:pt>
                <c:pt idx="18">
                  <c:v>0.9539991808510409</c:v>
                </c:pt>
                <c:pt idx="19">
                  <c:v>0.9896599921401886</c:v>
                </c:pt>
                <c:pt idx="20">
                  <c:v>1.1181971203595722</c:v>
                </c:pt>
                <c:pt idx="21">
                  <c:v>1.036249986585466</c:v>
                </c:pt>
                <c:pt idx="22">
                  <c:v>1.0116891057266686</c:v>
                </c:pt>
                <c:pt idx="23">
                  <c:v>0.9218226162542872</c:v>
                </c:pt>
                <c:pt idx="24">
                  <c:v>0.8474896807453594</c:v>
                </c:pt>
                <c:pt idx="25">
                  <c:v>0.8624485320710857</c:v>
                </c:pt>
                <c:pt idx="26">
                  <c:v>0.8279502973759089</c:v>
                </c:pt>
                <c:pt idx="27">
                  <c:v>0.9158940689782545</c:v>
                </c:pt>
                <c:pt idx="28">
                  <c:v>0.8896521098662559</c:v>
                </c:pt>
                <c:pt idx="29">
                  <c:v>0.873575211137984</c:v>
                </c:pt>
                <c:pt idx="30">
                  <c:v>0.8996292500981236</c:v>
                </c:pt>
                <c:pt idx="31">
                  <c:v>0.8445094980329784</c:v>
                </c:pt>
                <c:pt idx="32">
                  <c:v>0.8803580204272599</c:v>
                </c:pt>
                <c:pt idx="33">
                  <c:v>0.8859939156784213</c:v>
                </c:pt>
                <c:pt idx="34">
                  <c:v>0.9147647700124173</c:v>
                </c:pt>
                <c:pt idx="35">
                  <c:v>0.933646814663304</c:v>
                </c:pt>
                <c:pt idx="36">
                  <c:v>1.0381663850976453</c:v>
                </c:pt>
                <c:pt idx="37">
                  <c:v>1.0101324780354597</c:v>
                </c:pt>
                <c:pt idx="38">
                  <c:v>1.0470885046256837</c:v>
                </c:pt>
                <c:pt idx="39">
                  <c:v>1.11010216975556</c:v>
                </c:pt>
                <c:pt idx="40">
                  <c:v>1.1052810405845723</c:v>
                </c:pt>
                <c:pt idx="41">
                  <c:v>1.1333158873522453</c:v>
                </c:pt>
                <c:pt idx="42">
                  <c:v>1.0822143919278728</c:v>
                </c:pt>
                <c:pt idx="43">
                  <c:v>1.0839454436449107</c:v>
                </c:pt>
                <c:pt idx="44">
                  <c:v>1.0660993679694937</c:v>
                </c:pt>
                <c:pt idx="45">
                  <c:v>1.0583925930058746</c:v>
                </c:pt>
                <c:pt idx="46">
                  <c:v>1.0673074552090764</c:v>
                </c:pt>
                <c:pt idx="47">
                  <c:v>1.0715408259803954</c:v>
                </c:pt>
                <c:pt idx="48">
                  <c:v>1.05621699982149</c:v>
                </c:pt>
                <c:pt idx="49">
                  <c:v>1.0087233475857122</c:v>
                </c:pt>
                <c:pt idx="50">
                  <c:v>0.9899866868954652</c:v>
                </c:pt>
                <c:pt idx="51">
                  <c:v>0.9922894119913933</c:v>
                </c:pt>
                <c:pt idx="52">
                  <c:v>0.9559096860273053</c:v>
                </c:pt>
                <c:pt idx="53">
                  <c:v>0.8683424463260553</c:v>
                </c:pt>
                <c:pt idx="54">
                  <c:v>0.8512170453080241</c:v>
                </c:pt>
                <c:pt idx="55">
                  <c:v>0.8733673221422632</c:v>
                </c:pt>
                <c:pt idx="56">
                  <c:v>0.8534122864591723</c:v>
                </c:pt>
                <c:pt idx="57">
                  <c:v>0.8307692307692307</c:v>
                </c:pt>
                <c:pt idx="58">
                  <c:v>0.8064635062730179</c:v>
                </c:pt>
                <c:pt idx="59">
                  <c:v>0.779728563174247</c:v>
                </c:pt>
                <c:pt idx="60">
                  <c:v>0.752294970982617</c:v>
                </c:pt>
                <c:pt idx="61">
                  <c:v>0.802673436904396</c:v>
                </c:pt>
                <c:pt idx="62">
                  <c:v>0.8731108832964054</c:v>
                </c:pt>
                <c:pt idx="63">
                  <c:v>0.8928018341866059</c:v>
                </c:pt>
                <c:pt idx="64">
                  <c:v>0.8942620810110817</c:v>
                </c:pt>
                <c:pt idx="65">
                  <c:v>0.9006296609343598</c:v>
                </c:pt>
                <c:pt idx="66">
                  <c:v>0.8687424330157393</c:v>
                </c:pt>
                <c:pt idx="67">
                  <c:v>0.8656223562148662</c:v>
                </c:pt>
                <c:pt idx="68">
                  <c:v>0.9146505081182</c:v>
                </c:pt>
                <c:pt idx="69">
                  <c:v>0.9349026022463001</c:v>
                </c:pt>
                <c:pt idx="70">
                  <c:v>0.8909709592266204</c:v>
                </c:pt>
                <c:pt idx="71">
                  <c:v>0.9641764796383725</c:v>
                </c:pt>
                <c:pt idx="72">
                  <c:v>1.2240301894333443</c:v>
                </c:pt>
                <c:pt idx="73">
                  <c:v>1.0745104060238746</c:v>
                </c:pt>
                <c:pt idx="74">
                  <c:v>1.0952622235491027</c:v>
                </c:pt>
                <c:pt idx="75">
                  <c:v>1.0687756090060312</c:v>
                </c:pt>
                <c:pt idx="76">
                  <c:v>1.034476456478947</c:v>
                </c:pt>
                <c:pt idx="77">
                  <c:v>1.0524682295964987</c:v>
                </c:pt>
                <c:pt idx="78">
                  <c:v>1.0887671682748714</c:v>
                </c:pt>
                <c:pt idx="79">
                  <c:v>1.0383684618117073</c:v>
                </c:pt>
                <c:pt idx="80">
                  <c:v>1.0834712372141113</c:v>
                </c:pt>
                <c:pt idx="81">
                  <c:v>1.058072897313798</c:v>
                </c:pt>
                <c:pt idx="82">
                  <c:v>1.0420497426075852</c:v>
                </c:pt>
                <c:pt idx="83">
                  <c:v>1.0375321439480583</c:v>
                </c:pt>
                <c:pt idx="84">
                  <c:v>1.0214683007060206</c:v>
                </c:pt>
                <c:pt idx="85">
                  <c:v>0.9549166508739605</c:v>
                </c:pt>
                <c:pt idx="86">
                  <c:v>0.9801900019553377</c:v>
                </c:pt>
                <c:pt idx="87">
                  <c:v>0.9435919783272297</c:v>
                </c:pt>
                <c:pt idx="88">
                  <c:v>1.002992754089182</c:v>
                </c:pt>
                <c:pt idx="89">
                  <c:v>1.0610567166282687</c:v>
                </c:pt>
                <c:pt idx="90">
                  <c:v>1.0303340036094597</c:v>
                </c:pt>
                <c:pt idx="91">
                  <c:v>1.0100049241571698</c:v>
                </c:pt>
                <c:pt idx="92">
                  <c:v>1.013222755616056</c:v>
                </c:pt>
                <c:pt idx="93">
                  <c:v>1.0428725756468238</c:v>
                </c:pt>
                <c:pt idx="94">
                  <c:v>1.0476638783119823</c:v>
                </c:pt>
                <c:pt idx="95">
                  <c:v>1.0129990845608683</c:v>
                </c:pt>
                <c:pt idx="96">
                  <c:v>1.0791293613173016</c:v>
                </c:pt>
                <c:pt idx="97">
                  <c:v>1.1158729347479863</c:v>
                </c:pt>
                <c:pt idx="98">
                  <c:v>1.1358718053635255</c:v>
                </c:pt>
                <c:pt idx="99">
                  <c:v>1.0947148661077755</c:v>
                </c:pt>
                <c:pt idx="100">
                  <c:v>1.0189416008522345</c:v>
                </c:pt>
                <c:pt idx="101">
                  <c:v>0.9289731775592861</c:v>
                </c:pt>
                <c:pt idx="102">
                  <c:v>0.9306981551094693</c:v>
                </c:pt>
                <c:pt idx="103">
                  <c:v>0.9310801473721896</c:v>
                </c:pt>
                <c:pt idx="104">
                  <c:v>0.918335365482284</c:v>
                </c:pt>
              </c:numCache>
            </c:numRef>
          </c:xVal>
          <c:yVal>
            <c:numRef>
              <c:f>Sheet1!$B$2:$B$106</c:f>
              <c:numCache>
                <c:formatCode>General</c:formatCode>
                <c:ptCount val="105"/>
                <c:pt idx="0">
                  <c:v>0.4869029275808937</c:v>
                </c:pt>
                <c:pt idx="1">
                  <c:v>0.49916805324459235</c:v>
                </c:pt>
                <c:pt idx="2">
                  <c:v>0.5695305580159433</c:v>
                </c:pt>
                <c:pt idx="3">
                  <c:v>0.6006006006006006</c:v>
                </c:pt>
                <c:pt idx="4">
                  <c:v>0.5802631578947368</c:v>
                </c:pt>
                <c:pt idx="5">
                  <c:v>0.5755627009646302</c:v>
                </c:pt>
                <c:pt idx="6">
                  <c:v>0.5731272294887039</c:v>
                </c:pt>
                <c:pt idx="7">
                  <c:v>0.600547195622435</c:v>
                </c:pt>
                <c:pt idx="8">
                  <c:v>0.5735099337748344</c:v>
                </c:pt>
                <c:pt idx="9">
                  <c:v>0.5111317254174397</c:v>
                </c:pt>
                <c:pt idx="10">
                  <c:v>0.48643410852713176</c:v>
                </c:pt>
                <c:pt idx="11">
                  <c:v>0.40668523676880225</c:v>
                </c:pt>
                <c:pt idx="12">
                  <c:v>0.38671209540034074</c:v>
                </c:pt>
                <c:pt idx="13">
                  <c:v>0.3435047951176983</c:v>
                </c:pt>
                <c:pt idx="14">
                  <c:v>0.2862776025236593</c:v>
                </c:pt>
                <c:pt idx="15">
                  <c:v>0.28266913809082483</c:v>
                </c:pt>
                <c:pt idx="16">
                  <c:v>0.2766143106457243</c:v>
                </c:pt>
                <c:pt idx="17">
                  <c:v>0.31230610134436404</c:v>
                </c:pt>
                <c:pt idx="18">
                  <c:v>0.30087390761548066</c:v>
                </c:pt>
                <c:pt idx="19">
                  <c:v>0.29685157421289354</c:v>
                </c:pt>
                <c:pt idx="20">
                  <c:v>0.27236315086782376</c:v>
                </c:pt>
                <c:pt idx="21">
                  <c:v>0.32711621233859395</c:v>
                </c:pt>
                <c:pt idx="22">
                  <c:v>0.355021216407355</c:v>
                </c:pt>
                <c:pt idx="23">
                  <c:v>0.4021887824897401</c:v>
                </c:pt>
                <c:pt idx="24">
                  <c:v>0.42627737226277373</c:v>
                </c:pt>
                <c:pt idx="25">
                  <c:v>0.4299835255354201</c:v>
                </c:pt>
                <c:pt idx="26">
                  <c:v>0.42659974905897113</c:v>
                </c:pt>
                <c:pt idx="27">
                  <c:v>0.42138364779874216</c:v>
                </c:pt>
                <c:pt idx="28">
                  <c:v>0.3760217983651226</c:v>
                </c:pt>
                <c:pt idx="29">
                  <c:v>0.38382541720154045</c:v>
                </c:pt>
                <c:pt idx="30">
                  <c:v>0.34801762114537443</c:v>
                </c:pt>
                <c:pt idx="31">
                  <c:v>0.3904761904761905</c:v>
                </c:pt>
                <c:pt idx="32">
                  <c:v>0.3894165535956581</c:v>
                </c:pt>
                <c:pt idx="33">
                  <c:v>0.39487726787620064</c:v>
                </c:pt>
                <c:pt idx="34">
                  <c:v>0.3977732793522267</c:v>
                </c:pt>
                <c:pt idx="35">
                  <c:v>0.39414802065404475</c:v>
                </c:pt>
                <c:pt idx="36">
                  <c:v>0.33251231527093594</c:v>
                </c:pt>
                <c:pt idx="37">
                  <c:v>0.3306930693069307</c:v>
                </c:pt>
                <c:pt idx="38">
                  <c:v>0.3398157625383828</c:v>
                </c:pt>
                <c:pt idx="39">
                  <c:v>0.3303964757709251</c:v>
                </c:pt>
                <c:pt idx="40">
                  <c:v>0.31268436578171094</c:v>
                </c:pt>
                <c:pt idx="41">
                  <c:v>0.29124236252545826</c:v>
                </c:pt>
                <c:pt idx="42">
                  <c:v>0.3175438596491228</c:v>
                </c:pt>
                <c:pt idx="43">
                  <c:v>0.294811320754717</c:v>
                </c:pt>
                <c:pt idx="44">
                  <c:v>0.29939792008757526</c:v>
                </c:pt>
                <c:pt idx="45">
                  <c:v>0.31985098456625866</c:v>
                </c:pt>
                <c:pt idx="46">
                  <c:v>0.31218130311614734</c:v>
                </c:pt>
                <c:pt idx="47">
                  <c:v>0.32847533632286996</c:v>
                </c:pt>
                <c:pt idx="48">
                  <c:v>0.3342963268675196</c:v>
                </c:pt>
                <c:pt idx="49">
                  <c:v>0.3778173190984579</c:v>
                </c:pt>
                <c:pt idx="50">
                  <c:v>0.3324538258575198</c:v>
                </c:pt>
                <c:pt idx="51">
                  <c:v>0.32114118507681055</c:v>
                </c:pt>
                <c:pt idx="52">
                  <c:v>0.36135593220338985</c:v>
                </c:pt>
                <c:pt idx="53">
                  <c:v>0.38872832369942195</c:v>
                </c:pt>
                <c:pt idx="54">
                  <c:v>0.3911960132890365</c:v>
                </c:pt>
                <c:pt idx="55">
                  <c:v>0.3779461279461279</c:v>
                </c:pt>
                <c:pt idx="56">
                  <c:v>0.4407114624505929</c:v>
                </c:pt>
                <c:pt idx="57">
                  <c:v>0.44129158512720157</c:v>
                </c:pt>
                <c:pt idx="58">
                  <c:v>0.44844844844844844</c:v>
                </c:pt>
                <c:pt idx="59">
                  <c:v>0.44382371198013654</c:v>
                </c:pt>
                <c:pt idx="60">
                  <c:v>0.449585635359116</c:v>
                </c:pt>
                <c:pt idx="61">
                  <c:v>0.45598731165741474</c:v>
                </c:pt>
                <c:pt idx="62">
                  <c:v>0.41773162939297126</c:v>
                </c:pt>
                <c:pt idx="63">
                  <c:v>0.4542177361211247</c:v>
                </c:pt>
                <c:pt idx="64">
                  <c:v>0.4165526675786594</c:v>
                </c:pt>
                <c:pt idx="65">
                  <c:v>0.3694220921726408</c:v>
                </c:pt>
                <c:pt idx="66">
                  <c:v>0.41474966170500677</c:v>
                </c:pt>
                <c:pt idx="67">
                  <c:v>0.41661085063630277</c:v>
                </c:pt>
                <c:pt idx="68">
                  <c:v>0.379601226993865</c:v>
                </c:pt>
                <c:pt idx="69">
                  <c:v>0.3519736842105263</c:v>
                </c:pt>
                <c:pt idx="70">
                  <c:v>0.3824390243902439</c:v>
                </c:pt>
                <c:pt idx="71">
                  <c:v>0.3456121343445287</c:v>
                </c:pt>
                <c:pt idx="72">
                  <c:v>0.29734848484848486</c:v>
                </c:pt>
                <c:pt idx="73">
                  <c:v>0.31968145620022753</c:v>
                </c:pt>
                <c:pt idx="74">
                  <c:v>0.300794551645857</c:v>
                </c:pt>
                <c:pt idx="75">
                  <c:v>0.31939605110336816</c:v>
                </c:pt>
                <c:pt idx="76">
                  <c:v>0.3191244239631336</c:v>
                </c:pt>
                <c:pt idx="77">
                  <c:v>0.3144399460188934</c:v>
                </c:pt>
                <c:pt idx="78">
                  <c:v>0.29555236728837875</c:v>
                </c:pt>
                <c:pt idx="79">
                  <c:v>0.30428134556574926</c:v>
                </c:pt>
                <c:pt idx="80">
                  <c:v>0.28328611898017</c:v>
                </c:pt>
                <c:pt idx="81">
                  <c:v>0.284037558685446</c:v>
                </c:pt>
                <c:pt idx="82">
                  <c:v>0.27586206896551724</c:v>
                </c:pt>
                <c:pt idx="83">
                  <c:v>0.2776957163958641</c:v>
                </c:pt>
                <c:pt idx="84">
                  <c:v>0.3137254901960784</c:v>
                </c:pt>
                <c:pt idx="85">
                  <c:v>0.33827493261455527</c:v>
                </c:pt>
                <c:pt idx="86">
                  <c:v>0.31598173515981737</c:v>
                </c:pt>
                <c:pt idx="87">
                  <c:v>0.3374558303886926</c:v>
                </c:pt>
                <c:pt idx="88">
                  <c:v>0.30672645739910315</c:v>
                </c:pt>
                <c:pt idx="89">
                  <c:v>0.2749469214437367</c:v>
                </c:pt>
                <c:pt idx="90">
                  <c:v>0.31009615384615385</c:v>
                </c:pt>
                <c:pt idx="91">
                  <c:v>0.2949640287769784</c:v>
                </c:pt>
                <c:pt idx="92">
                  <c:v>0.2772093023255814</c:v>
                </c:pt>
                <c:pt idx="93">
                  <c:v>0.2918572735590119</c:v>
                </c:pt>
                <c:pt idx="94">
                  <c:v>0.29278183292781834</c:v>
                </c:pt>
                <c:pt idx="95">
                  <c:v>0.28315946348733234</c:v>
                </c:pt>
                <c:pt idx="96">
                  <c:v>0.2739179954441913</c:v>
                </c:pt>
                <c:pt idx="97">
                  <c:v>0.2811550151975684</c:v>
                </c:pt>
                <c:pt idx="98">
                  <c:v>0.2871331828442438</c:v>
                </c:pt>
                <c:pt idx="99">
                  <c:v>0.29433497536945813</c:v>
                </c:pt>
                <c:pt idx="100">
                  <c:v>0.31175934366453967</c:v>
                </c:pt>
                <c:pt idx="101">
                  <c:v>0.3573735199138859</c:v>
                </c:pt>
                <c:pt idx="102">
                  <c:v>0.3527481542247744</c:v>
                </c:pt>
                <c:pt idx="103">
                  <c:v>0.32756324900133155</c:v>
                </c:pt>
                <c:pt idx="104">
                  <c:v>0.3223010244286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264506693195048</c:v>
                </c:pt>
                <c:pt idx="1">
                  <c:v>0.8878779215088931</c:v>
                </c:pt>
                <c:pt idx="2">
                  <c:v>0.8960718949998316</c:v>
                </c:pt>
                <c:pt idx="3">
                  <c:v>0.8315479894611814</c:v>
                </c:pt>
                <c:pt idx="4">
                  <c:v>0.8763621219343103</c:v>
                </c:pt>
                <c:pt idx="5">
                  <c:v>0.8356683505469685</c:v>
                </c:pt>
                <c:pt idx="6">
                  <c:v>0.8454447167151454</c:v>
                </c:pt>
                <c:pt idx="7">
                  <c:v>0.8815574794939546</c:v>
                </c:pt>
                <c:pt idx="8">
                  <c:v>0.9004963324996743</c:v>
                </c:pt>
                <c:pt idx="9">
                  <c:v>0.8849424999026888</c:v>
                </c:pt>
                <c:pt idx="10">
                  <c:v>0.917203824035246</c:v>
                </c:pt>
                <c:pt idx="11">
                  <c:v>0.8602075412636768</c:v>
                </c:pt>
                <c:pt idx="12">
                  <c:v>0.8765452477229285</c:v>
                </c:pt>
                <c:pt idx="13">
                  <c:v>0.835195427752791</c:v>
                </c:pt>
                <c:pt idx="14">
                  <c:v>0.8296358394623901</c:v>
                </c:pt>
                <c:pt idx="15">
                  <c:v>0.8439761537647995</c:v>
                </c:pt>
                <c:pt idx="16">
                  <c:v>0.8846745575500082</c:v>
                </c:pt>
                <c:pt idx="17">
                  <c:v>0.9119452200361767</c:v>
                </c:pt>
                <c:pt idx="18">
                  <c:v>0.9042508476692533</c:v>
                </c:pt>
                <c:pt idx="19">
                  <c:v>0.8860795369115232</c:v>
                </c:pt>
                <c:pt idx="20">
                  <c:v>0.8307257841748606</c:v>
                </c:pt>
                <c:pt idx="21">
                  <c:v>0.8091780284979122</c:v>
                </c:pt>
                <c:pt idx="22">
                  <c:v>0.8685224216537429</c:v>
                </c:pt>
                <c:pt idx="23">
                  <c:v>0.8041468103905284</c:v>
                </c:pt>
                <c:pt idx="24">
                  <c:v>0.7977335284284541</c:v>
                </c:pt>
                <c:pt idx="25">
                  <c:v>0.8224800199617178</c:v>
                </c:pt>
                <c:pt idx="26">
                  <c:v>0.8270089521616659</c:v>
                </c:pt>
                <c:pt idx="27">
                  <c:v>0.8121450935765844</c:v>
                </c:pt>
                <c:pt idx="28">
                  <c:v>0.814456359669258</c:v>
                </c:pt>
                <c:pt idx="29">
                  <c:v>0.783573325361706</c:v>
                </c:pt>
                <c:pt idx="30">
                  <c:v>0.7957274221931906</c:v>
                </c:pt>
                <c:pt idx="31">
                  <c:v>0.7971171301293518</c:v>
                </c:pt>
                <c:pt idx="32">
                  <c:v>0.8015777329657781</c:v>
                </c:pt>
                <c:pt idx="33">
                  <c:v>0.8115279705985835</c:v>
                </c:pt>
                <c:pt idx="34">
                  <c:v>0.8035092319188948</c:v>
                </c:pt>
                <c:pt idx="35">
                  <c:v>0.8234570817478246</c:v>
                </c:pt>
                <c:pt idx="36">
                  <c:v>0.8216730488111795</c:v>
                </c:pt>
                <c:pt idx="37">
                  <c:v>0.8043433726299917</c:v>
                </c:pt>
                <c:pt idx="38">
                  <c:v>0.838727268686264</c:v>
                </c:pt>
                <c:pt idx="39">
                  <c:v>0.8651375768837732</c:v>
                </c:pt>
                <c:pt idx="40">
                  <c:v>0.9309835195013956</c:v>
                </c:pt>
                <c:pt idx="41">
                  <c:v>0.9139368385086091</c:v>
                </c:pt>
                <c:pt idx="42">
                  <c:v>0.8977175061055735</c:v>
                </c:pt>
                <c:pt idx="43">
                  <c:v>0.9424336655795936</c:v>
                </c:pt>
                <c:pt idx="44">
                  <c:v>0.9820139385738698</c:v>
                </c:pt>
                <c:pt idx="45">
                  <c:v>0.9322101043293604</c:v>
                </c:pt>
                <c:pt idx="46">
                  <c:v>0.8787567995871847</c:v>
                </c:pt>
                <c:pt idx="47">
                  <c:v>0.8659477007058658</c:v>
                </c:pt>
                <c:pt idx="48">
                  <c:v>0.901214898861233</c:v>
                </c:pt>
                <c:pt idx="49">
                  <c:v>0.9192134664165174</c:v>
                </c:pt>
                <c:pt idx="50">
                  <c:v>0.8980084508709526</c:v>
                </c:pt>
                <c:pt idx="51">
                  <c:v>0.9163464274384241</c:v>
                </c:pt>
              </c:numCache>
            </c:numRef>
          </c:xVal>
          <c:yVal>
            <c:numRef>
              <c:f>Sheet1!$B$109:$B$160</c:f>
              <c:numCache>
                <c:formatCode>General</c:formatCode>
                <c:ptCount val="52"/>
                <c:pt idx="0">
                  <c:v>0.327683615819209</c:v>
                </c:pt>
                <c:pt idx="1">
                  <c:v>0.3535871156661786</c:v>
                </c:pt>
                <c:pt idx="2">
                  <c:v>0.36114911080711354</c:v>
                </c:pt>
                <c:pt idx="3">
                  <c:v>0.4122257053291536</c:v>
                </c:pt>
                <c:pt idx="4">
                  <c:v>0.37947122861586313</c:v>
                </c:pt>
                <c:pt idx="5">
                  <c:v>0.3886703383162864</c:v>
                </c:pt>
                <c:pt idx="6">
                  <c:v>0.37896825396825395</c:v>
                </c:pt>
                <c:pt idx="7">
                  <c:v>0.35130434782608694</c:v>
                </c:pt>
                <c:pt idx="8">
                  <c:v>0.36877523553162855</c:v>
                </c:pt>
                <c:pt idx="9">
                  <c:v>0.3765347885402456</c:v>
                </c:pt>
                <c:pt idx="10">
                  <c:v>0.36484983314794217</c:v>
                </c:pt>
                <c:pt idx="11">
                  <c:v>0.34536082474226804</c:v>
                </c:pt>
                <c:pt idx="12">
                  <c:v>0.3586309523809524</c:v>
                </c:pt>
                <c:pt idx="13">
                  <c:v>0.3712871287128713</c:v>
                </c:pt>
                <c:pt idx="14">
                  <c:v>0.3718861209964413</c:v>
                </c:pt>
                <c:pt idx="15">
                  <c:v>0.38917089678510997</c:v>
                </c:pt>
                <c:pt idx="16">
                  <c:v>0.38022426095820594</c:v>
                </c:pt>
                <c:pt idx="17">
                  <c:v>0.3507057546145494</c:v>
                </c:pt>
                <c:pt idx="18">
                  <c:v>0.361323155216285</c:v>
                </c:pt>
                <c:pt idx="19">
                  <c:v>0.3891891891891892</c:v>
                </c:pt>
                <c:pt idx="20">
                  <c:v>0.4068627450980392</c:v>
                </c:pt>
                <c:pt idx="21">
                  <c:v>0.40375586854460094</c:v>
                </c:pt>
                <c:pt idx="22">
                  <c:v>0.4102141680395387</c:v>
                </c:pt>
                <c:pt idx="23">
                  <c:v>0.4052532833020638</c:v>
                </c:pt>
                <c:pt idx="24">
                  <c:v>0.4147627416520211</c:v>
                </c:pt>
                <c:pt idx="25">
                  <c:v>0.4369114877589454</c:v>
                </c:pt>
                <c:pt idx="26">
                  <c:v>0.41435562805872755</c:v>
                </c:pt>
                <c:pt idx="27">
                  <c:v>0.399452804377565</c:v>
                </c:pt>
                <c:pt idx="28">
                  <c:v>0.41284403669724773</c:v>
                </c:pt>
                <c:pt idx="29">
                  <c:v>0.4203338391502276</c:v>
                </c:pt>
                <c:pt idx="30">
                  <c:v>0.42035398230088494</c:v>
                </c:pt>
                <c:pt idx="31">
                  <c:v>0.40129449838187703</c:v>
                </c:pt>
                <c:pt idx="32">
                  <c:v>0.39083969465648855</c:v>
                </c:pt>
                <c:pt idx="33">
                  <c:v>0.3857302118171683</c:v>
                </c:pt>
                <c:pt idx="34">
                  <c:v>0.40192307692307694</c:v>
                </c:pt>
                <c:pt idx="35">
                  <c:v>0.4100378787878788</c:v>
                </c:pt>
                <c:pt idx="36">
                  <c:v>0.3778409090909091</c:v>
                </c:pt>
                <c:pt idx="37">
                  <c:v>0.3902759526938239</c:v>
                </c:pt>
                <c:pt idx="38">
                  <c:v>0.3795918367346939</c:v>
                </c:pt>
                <c:pt idx="39">
                  <c:v>0.375</c:v>
                </c:pt>
                <c:pt idx="40">
                  <c:v>0.36824324324324326</c:v>
                </c:pt>
                <c:pt idx="41">
                  <c:v>0.35960591133004927</c:v>
                </c:pt>
                <c:pt idx="42">
                  <c:v>0.35921205098493625</c:v>
                </c:pt>
                <c:pt idx="43">
                  <c:v>0.37554112554112556</c:v>
                </c:pt>
                <c:pt idx="44">
                  <c:v>0.37403267411865865</c:v>
                </c:pt>
                <c:pt idx="45">
                  <c:v>0.40425531914893614</c:v>
                </c:pt>
                <c:pt idx="46">
                  <c:v>0.4126250962278676</c:v>
                </c:pt>
                <c:pt idx="47">
                  <c:v>0.39801980198019804</c:v>
                </c:pt>
                <c:pt idx="48">
                  <c:v>0.37363210005211045</c:v>
                </c:pt>
                <c:pt idx="49">
                  <c:v>0.3989455184534271</c:v>
                </c:pt>
                <c:pt idx="50">
                  <c:v>0.4198807157057654</c:v>
                </c:pt>
                <c:pt idx="51">
                  <c:v>0.40714741544352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8851695720545866</c:v>
                </c:pt>
              </c:numCache>
            </c:numRef>
          </c:xVal>
          <c:yVal>
            <c:numRef>
              <c:f>Sheet1!$B$163:$B$164</c:f>
              <c:numCache>
                <c:formatCode>General</c:formatCode>
                <c:ptCount val="2"/>
                <c:pt idx="0">
                  <c:v>0.5621347063541522</c:v>
                </c:pt>
                <c:pt idx="1">
                  <c:v>0.56213470635415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8851695720545866</c:v>
                </c:pt>
                <c:pt idx="1">
                  <c:v>0.18851695720545866</c:v>
                </c:pt>
              </c:numCache>
            </c:numRef>
          </c:xVal>
          <c:yVal>
            <c:numRef>
              <c:f>Sheet1!$B$167:$B$168</c:f>
              <c:numCache>
                <c:formatCode>General</c:formatCode>
                <c:ptCount val="2"/>
                <c:pt idx="0">
                  <c:v>0.56213470635415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760603184597382</c:v>
                </c:pt>
              </c:numCache>
            </c:numRef>
          </c:xVal>
          <c:yVal>
            <c:numRef>
              <c:f>Sheet1!$B$171:$B$172</c:f>
              <c:numCache>
                <c:formatCode>General</c:formatCode>
                <c:ptCount val="2"/>
                <c:pt idx="0">
                  <c:v>0.4087899579319871</c:v>
                </c:pt>
                <c:pt idx="1">
                  <c:v>0.408789957931987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760603184597382</c:v>
                </c:pt>
                <c:pt idx="1">
                  <c:v>0.7760603184597382</c:v>
                </c:pt>
              </c:numCache>
            </c:numRef>
          </c:xVal>
          <c:yVal>
            <c:numRef>
              <c:f>Sheet1!$B$175:$B$176</c:f>
              <c:numCache>
                <c:formatCode>General</c:formatCode>
                <c:ptCount val="2"/>
                <c:pt idx="0">
                  <c:v>0.408789957931987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609810747569693</c:v>
                </c:pt>
              </c:numCache>
            </c:numRef>
          </c:xVal>
          <c:yVal>
            <c:numRef>
              <c:f>Sheet1!$B$179:$B$180</c:f>
              <c:numCache>
                <c:formatCode>General</c:formatCode>
                <c:ptCount val="2"/>
                <c:pt idx="0">
                  <c:v>0.38662622863306456</c:v>
                </c:pt>
                <c:pt idx="1">
                  <c:v>0.386626228633064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609810747569693</c:v>
                </c:pt>
                <c:pt idx="1">
                  <c:v>0.8609810747569693</c:v>
                </c:pt>
              </c:numCache>
            </c:numRef>
          </c:xVal>
          <c:yVal>
            <c:numRef>
              <c:f>Sheet1!$B$183:$B$184</c:f>
              <c:numCache>
                <c:formatCode>General</c:formatCode>
                <c:ptCount val="2"/>
                <c:pt idx="0">
                  <c:v>0.386626228633064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264506693195048</c:v>
                </c:pt>
                <c:pt idx="1">
                  <c:v>0.8878779215088931</c:v>
                </c:pt>
                <c:pt idx="2">
                  <c:v>0.8960718949998316</c:v>
                </c:pt>
                <c:pt idx="3">
                  <c:v>0.8315479894611814</c:v>
                </c:pt>
                <c:pt idx="4">
                  <c:v>0.8763621219343103</c:v>
                </c:pt>
                <c:pt idx="5">
                  <c:v>0.8356683505469685</c:v>
                </c:pt>
                <c:pt idx="6">
                  <c:v>0.8454447167151454</c:v>
                </c:pt>
                <c:pt idx="7">
                  <c:v>0.8815574794939546</c:v>
                </c:pt>
                <c:pt idx="8">
                  <c:v>0.9004963324996743</c:v>
                </c:pt>
                <c:pt idx="9">
                  <c:v>0.8849424999026888</c:v>
                </c:pt>
                <c:pt idx="10">
                  <c:v>0.917203824035246</c:v>
                </c:pt>
                <c:pt idx="11">
                  <c:v>0.8602075412636768</c:v>
                </c:pt>
                <c:pt idx="12">
                  <c:v>0.8765452477229285</c:v>
                </c:pt>
                <c:pt idx="13">
                  <c:v>0.835195427752791</c:v>
                </c:pt>
                <c:pt idx="14">
                  <c:v>0.8296358394623901</c:v>
                </c:pt>
                <c:pt idx="15">
                  <c:v>0.8439761537647995</c:v>
                </c:pt>
                <c:pt idx="16">
                  <c:v>0.8846745575500082</c:v>
                </c:pt>
                <c:pt idx="17">
                  <c:v>0.9119452200361767</c:v>
                </c:pt>
                <c:pt idx="18">
                  <c:v>0.9042508476692533</c:v>
                </c:pt>
                <c:pt idx="19">
                  <c:v>0.8860795369115232</c:v>
                </c:pt>
                <c:pt idx="20">
                  <c:v>0.8307257841748606</c:v>
                </c:pt>
                <c:pt idx="21">
                  <c:v>0.8091780284979122</c:v>
                </c:pt>
                <c:pt idx="22">
                  <c:v>0.8685224216537429</c:v>
                </c:pt>
                <c:pt idx="23">
                  <c:v>0.8041468103905284</c:v>
                </c:pt>
                <c:pt idx="24">
                  <c:v>0.7977335284284541</c:v>
                </c:pt>
                <c:pt idx="25">
                  <c:v>0.8224800199617178</c:v>
                </c:pt>
                <c:pt idx="26">
                  <c:v>0.8270089521616659</c:v>
                </c:pt>
                <c:pt idx="27">
                  <c:v>0.8121450935765844</c:v>
                </c:pt>
                <c:pt idx="28">
                  <c:v>0.814456359669258</c:v>
                </c:pt>
                <c:pt idx="29">
                  <c:v>0.783573325361706</c:v>
                </c:pt>
                <c:pt idx="30">
                  <c:v>0.7957274221931906</c:v>
                </c:pt>
                <c:pt idx="31">
                  <c:v>0.7971171301293518</c:v>
                </c:pt>
                <c:pt idx="32">
                  <c:v>0.8015777329657781</c:v>
                </c:pt>
                <c:pt idx="33">
                  <c:v>0.8115279705985835</c:v>
                </c:pt>
                <c:pt idx="34">
                  <c:v>0.8035092319188948</c:v>
                </c:pt>
                <c:pt idx="35">
                  <c:v>0.8234570817478246</c:v>
                </c:pt>
                <c:pt idx="36">
                  <c:v>0.8216730488111795</c:v>
                </c:pt>
                <c:pt idx="37">
                  <c:v>0.8043433726299917</c:v>
                </c:pt>
                <c:pt idx="38">
                  <c:v>0.838727268686264</c:v>
                </c:pt>
                <c:pt idx="39">
                  <c:v>0.8651375768837732</c:v>
                </c:pt>
                <c:pt idx="40">
                  <c:v>0.9309835195013956</c:v>
                </c:pt>
                <c:pt idx="41">
                  <c:v>0.9139368385086091</c:v>
                </c:pt>
                <c:pt idx="42">
                  <c:v>0.8977175061055735</c:v>
                </c:pt>
                <c:pt idx="43">
                  <c:v>0.9424336655795936</c:v>
                </c:pt>
                <c:pt idx="44">
                  <c:v>0.9820139385738698</c:v>
                </c:pt>
                <c:pt idx="45">
                  <c:v>0.9322101043293604</c:v>
                </c:pt>
                <c:pt idx="46">
                  <c:v>0.8787567995871847</c:v>
                </c:pt>
                <c:pt idx="47">
                  <c:v>0.8659477007058658</c:v>
                </c:pt>
                <c:pt idx="48">
                  <c:v>0.901214898861233</c:v>
                </c:pt>
                <c:pt idx="49">
                  <c:v>0.9192134664165174</c:v>
                </c:pt>
                <c:pt idx="50">
                  <c:v>0.8980084508709526</c:v>
                </c:pt>
                <c:pt idx="51">
                  <c:v>0.9163464274384241</c:v>
                </c:pt>
                <c:pt idx="52">
                  <c:v>0.7760603184597382</c:v>
                </c:pt>
                <c:pt idx="53">
                  <c:v>0.18851695720545866</c:v>
                </c:pt>
                <c:pt idx="54">
                  <c:v>0.8609810747569693</c:v>
                </c:pt>
              </c:numCache>
            </c:numRef>
          </c:xVal>
          <c:yVal>
            <c:numRef>
              <c:f>Sheet1!$B$187:$B$241</c:f>
              <c:numCache>
                <c:formatCode>General</c:formatCode>
                <c:ptCount val="55"/>
                <c:pt idx="0">
                  <c:v>0.369539117843384</c:v>
                </c:pt>
                <c:pt idx="1">
                  <c:v>0.3796063378973095</c:v>
                </c:pt>
                <c:pt idx="2">
                  <c:v>0.3774677675612181</c:v>
                </c:pt>
                <c:pt idx="3">
                  <c:v>0.39430806006476615</c:v>
                </c:pt>
                <c:pt idx="4">
                  <c:v>0.38261188183686606</c:v>
                </c:pt>
                <c:pt idx="5">
                  <c:v>0.3932326743557698</c:v>
                </c:pt>
                <c:pt idx="6">
                  <c:v>0.39068111048933163</c:v>
                </c:pt>
                <c:pt idx="7">
                  <c:v>0.38125592949277676</c:v>
                </c:pt>
                <c:pt idx="8">
                  <c:v>0.3763130200139484</c:v>
                </c:pt>
                <c:pt idx="9">
                  <c:v>0.3803724626080976</c:v>
                </c:pt>
                <c:pt idx="10">
                  <c:v>0.3719524804261666</c:v>
                </c:pt>
                <c:pt idx="11">
                  <c:v>0.3868281155179267</c:v>
                </c:pt>
                <c:pt idx="12">
                  <c:v>0.38256408727422253</c:v>
                </c:pt>
                <c:pt idx="13">
                  <c:v>0.39335610392995723</c:v>
                </c:pt>
                <c:pt idx="14">
                  <c:v>0.3948071179723972</c:v>
                </c:pt>
                <c:pt idx="15">
                  <c:v>0.391064395249255</c:v>
                </c:pt>
                <c:pt idx="16">
                  <c:v>0.38044239370658833</c:v>
                </c:pt>
                <c:pt idx="17">
                  <c:v>0.37332493965295044</c:v>
                </c:pt>
                <c:pt idx="18">
                  <c:v>0.3753331175555201</c:v>
                </c:pt>
                <c:pt idx="19">
                  <c:v>0.3800757038230197</c:v>
                </c:pt>
                <c:pt idx="20">
                  <c:v>0.3945226499505459</c:v>
                </c:pt>
                <c:pt idx="21">
                  <c:v>0.40014646495934814</c:v>
                </c:pt>
                <c:pt idx="22">
                  <c:v>0.38465798931846945</c:v>
                </c:pt>
                <c:pt idx="23">
                  <c:v>0.40145957804309884</c:v>
                </c:pt>
                <c:pt idx="24">
                  <c:v>0.4031334002218317</c:v>
                </c:pt>
                <c:pt idx="25">
                  <c:v>0.39667473730647074</c:v>
                </c:pt>
                <c:pt idx="26">
                  <c:v>0.39549271736612196</c:v>
                </c:pt>
                <c:pt idx="27">
                  <c:v>0.3993720815213839</c:v>
                </c:pt>
                <c:pt idx="28">
                  <c:v>0.39876885707721504</c:v>
                </c:pt>
                <c:pt idx="29">
                  <c:v>0.4068291151597757</c:v>
                </c:pt>
                <c:pt idx="30">
                  <c:v>0.40365698005651474</c:v>
                </c:pt>
                <c:pt idx="31">
                  <c:v>0.4032942759092055</c:v>
                </c:pt>
                <c:pt idx="32">
                  <c:v>0.4021300894595403</c:v>
                </c:pt>
                <c:pt idx="33">
                  <c:v>0.39953314634493164</c:v>
                </c:pt>
                <c:pt idx="34">
                  <c:v>0.401625981608826</c:v>
                </c:pt>
                <c:pt idx="35">
                  <c:v>0.3964197309466616</c:v>
                </c:pt>
                <c:pt idx="36">
                  <c:v>0.396885351188311</c:v>
                </c:pt>
                <c:pt idx="37">
                  <c:v>0.40140827665983503</c:v>
                </c:pt>
                <c:pt idx="38">
                  <c:v>0.3924343179050852</c:v>
                </c:pt>
                <c:pt idx="39">
                  <c:v>0.38554141036264744</c:v>
                </c:pt>
                <c:pt idx="40">
                  <c:v>0.36835607533688114</c:v>
                </c:pt>
                <c:pt idx="41">
                  <c:v>0.3728051410240355</c:v>
                </c:pt>
                <c:pt idx="42">
                  <c:v>0.37703827445883326</c:v>
                </c:pt>
                <c:pt idx="43">
                  <c:v>0.36536766650521635</c:v>
                </c:pt>
                <c:pt idx="44">
                  <c:v>0.3550374893556848</c:v>
                </c:pt>
                <c:pt idx="45">
                  <c:v>0.36803594519114824</c:v>
                </c:pt>
                <c:pt idx="46">
                  <c:v>0.38198688755312793</c:v>
                </c:pt>
                <c:pt idx="47">
                  <c:v>0.3853299736553644</c:v>
                </c:pt>
                <c:pt idx="48">
                  <c:v>0.3761254791698095</c:v>
                </c:pt>
                <c:pt idx="49">
                  <c:v>0.3714279776818641</c:v>
                </c:pt>
                <c:pt idx="50">
                  <c:v>0.3769623398899249</c:v>
                </c:pt>
                <c:pt idx="51">
                  <c:v>0.37217625500027973</c:v>
                </c:pt>
                <c:pt idx="52">
                  <c:v>0.4087899579319871</c:v>
                </c:pt>
                <c:pt idx="53">
                  <c:v>0.5621347063541522</c:v>
                </c:pt>
                <c:pt idx="54">
                  <c:v>0.386626228633064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07207207207207"/>
          <c:min val="0.217890520694259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9.6282</c:v>
                </c:pt>
                <c:pt idx="1">
                  <c:v>854.3967</c:v>
                </c:pt>
                <c:pt idx="2">
                  <c:v>816.9798</c:v>
                </c:pt>
                <c:pt idx="3">
                  <c:v>821.5133</c:v>
                </c:pt>
                <c:pt idx="4">
                  <c:v>815.415</c:v>
                </c:pt>
                <c:pt idx="5">
                  <c:v>811.4525</c:v>
                </c:pt>
                <c:pt idx="6">
                  <c:v>804.3402</c:v>
                </c:pt>
                <c:pt idx="7">
                  <c:v>811.7699</c:v>
                </c:pt>
                <c:pt idx="8">
                  <c:v>814.8268</c:v>
                </c:pt>
                <c:pt idx="9">
                  <c:v>823.3521</c:v>
                </c:pt>
                <c:pt idx="10">
                  <c:v>825.7331</c:v>
                </c:pt>
                <c:pt idx="11">
                  <c:v>876.105</c:v>
                </c:pt>
                <c:pt idx="12">
                  <c:v>901.9009</c:v>
                </c:pt>
                <c:pt idx="13">
                  <c:v>907.6497</c:v>
                </c:pt>
                <c:pt idx="14">
                  <c:v>913.8788</c:v>
                </c:pt>
                <c:pt idx="15">
                  <c:v>926.2689</c:v>
                </c:pt>
                <c:pt idx="16">
                  <c:v>934.0126</c:v>
                </c:pt>
                <c:pt idx="17">
                  <c:v>984.6788</c:v>
                </c:pt>
                <c:pt idx="18">
                  <c:v>1019.5104</c:v>
                </c:pt>
                <c:pt idx="19">
                  <c:v>1045.0859</c:v>
                </c:pt>
                <c:pt idx="20">
                  <c:v>1090.8676</c:v>
                </c:pt>
                <c:pt idx="21">
                  <c:v>1071.8202</c:v>
                </c:pt>
                <c:pt idx="22">
                  <c:v>1042.1195</c:v>
                </c:pt>
                <c:pt idx="23">
                  <c:v>1031.983</c:v>
                </c:pt>
                <c:pt idx="24">
                  <c:v>1024.9658</c:v>
                </c:pt>
                <c:pt idx="25">
                  <c:v>1026.8276</c:v>
                </c:pt>
                <c:pt idx="26">
                  <c:v>994.7206</c:v>
                </c:pt>
                <c:pt idx="27">
                  <c:v>999.7493</c:v>
                </c:pt>
                <c:pt idx="28">
                  <c:v>994.692</c:v>
                </c:pt>
                <c:pt idx="29">
                  <c:v>991.7391</c:v>
                </c:pt>
                <c:pt idx="30">
                  <c:v>1024.789</c:v>
                </c:pt>
                <c:pt idx="31">
                  <c:v>956.0627</c:v>
                </c:pt>
                <c:pt idx="32">
                  <c:v>972.9024</c:v>
                </c:pt>
                <c:pt idx="33">
                  <c:v>946.9324</c:v>
                </c:pt>
                <c:pt idx="34">
                  <c:v>962.3308</c:v>
                </c:pt>
                <c:pt idx="35">
                  <c:v>972.083</c:v>
                </c:pt>
                <c:pt idx="36">
                  <c:v>1050.1407</c:v>
                </c:pt>
                <c:pt idx="37">
                  <c:v>1046.991</c:v>
                </c:pt>
                <c:pt idx="38">
                  <c:v>1103.9096</c:v>
                </c:pt>
                <c:pt idx="39">
                  <c:v>1124.0667</c:v>
                </c:pt>
                <c:pt idx="40">
                  <c:v>1119.0377</c:v>
                </c:pt>
                <c:pt idx="41">
                  <c:v>1142.8881</c:v>
                </c:pt>
                <c:pt idx="42">
                  <c:v>1111.8425</c:v>
                </c:pt>
                <c:pt idx="43">
                  <c:v>1126.56</c:v>
                </c:pt>
                <c:pt idx="44">
                  <c:v>1071.6143</c:v>
                </c:pt>
                <c:pt idx="45">
                  <c:v>1056.6273</c:v>
                </c:pt>
                <c:pt idx="46">
                  <c:v>1069.1143</c:v>
                </c:pt>
                <c:pt idx="47">
                  <c:v>1064.5427</c:v>
                </c:pt>
                <c:pt idx="48">
                  <c:v>1076.2753</c:v>
                </c:pt>
                <c:pt idx="49">
                  <c:v>1054.3705</c:v>
                </c:pt>
                <c:pt idx="50">
                  <c:v>1027.0111</c:v>
                </c:pt>
                <c:pt idx="51">
                  <c:v>1050.5626</c:v>
                </c:pt>
                <c:pt idx="52">
                  <c:v>1018.2176</c:v>
                </c:pt>
                <c:pt idx="53">
                  <c:v>1035.2528</c:v>
                </c:pt>
                <c:pt idx="54">
                  <c:v>1050.9936</c:v>
                </c:pt>
                <c:pt idx="55">
                  <c:v>1091.5033</c:v>
                </c:pt>
                <c:pt idx="56">
                  <c:v>1092.4686</c:v>
                </c:pt>
                <c:pt idx="57">
                  <c:v>1059.3126</c:v>
                </c:pt>
                <c:pt idx="58">
                  <c:v>1067.6451</c:v>
                </c:pt>
                <c:pt idx="59">
                  <c:v>1016.1524</c:v>
                </c:pt>
                <c:pt idx="60">
                  <c:v>1003.3103</c:v>
                </c:pt>
                <c:pt idx="61">
                  <c:v>1001.2713</c:v>
                </c:pt>
                <c:pt idx="62">
                  <c:v>1008.5564</c:v>
                </c:pt>
                <c:pt idx="63">
                  <c:v>1001.1603</c:v>
                </c:pt>
                <c:pt idx="64">
                  <c:v>997.7849</c:v>
                </c:pt>
                <c:pt idx="65">
                  <c:v>1028.5723</c:v>
                </c:pt>
                <c:pt idx="66">
                  <c:v>1023.217</c:v>
                </c:pt>
                <c:pt idx="67">
                  <c:v>994.4293</c:v>
                </c:pt>
                <c:pt idx="68">
                  <c:v>1022.5232</c:v>
                </c:pt>
                <c:pt idx="69">
                  <c:v>1037.1371</c:v>
                </c:pt>
                <c:pt idx="70">
                  <c:v>1004.227</c:v>
                </c:pt>
                <c:pt idx="71">
                  <c:v>1085.4263</c:v>
                </c:pt>
                <c:pt idx="72">
                  <c:v>1244.6338</c:v>
                </c:pt>
                <c:pt idx="73">
                  <c:v>1209.3274</c:v>
                </c:pt>
                <c:pt idx="74">
                  <c:v>1229.7245</c:v>
                </c:pt>
                <c:pt idx="75">
                  <c:v>1207.3491</c:v>
                </c:pt>
                <c:pt idx="76">
                  <c:v>1190.9134</c:v>
                </c:pt>
                <c:pt idx="77">
                  <c:v>1216.2446</c:v>
                </c:pt>
                <c:pt idx="78">
                  <c:v>1238.5971</c:v>
                </c:pt>
                <c:pt idx="79">
                  <c:v>1176.5779</c:v>
                </c:pt>
                <c:pt idx="80">
                  <c:v>1205.94</c:v>
                </c:pt>
                <c:pt idx="81">
                  <c:v>1184.5744</c:v>
                </c:pt>
                <c:pt idx="82">
                  <c:v>1167.9479</c:v>
                </c:pt>
                <c:pt idx="83">
                  <c:v>1168.4521</c:v>
                </c:pt>
                <c:pt idx="84">
                  <c:v>1155.0357</c:v>
                </c:pt>
                <c:pt idx="85">
                  <c:v>1116.0956</c:v>
                </c:pt>
                <c:pt idx="86">
                  <c:v>1158.4798</c:v>
                </c:pt>
                <c:pt idx="87">
                  <c:v>1142.8586</c:v>
                </c:pt>
                <c:pt idx="88">
                  <c:v>1196.2836</c:v>
                </c:pt>
                <c:pt idx="89">
                  <c:v>1201.5367</c:v>
                </c:pt>
                <c:pt idx="90">
                  <c:v>1205.814</c:v>
                </c:pt>
                <c:pt idx="91">
                  <c:v>1149.2439</c:v>
                </c:pt>
                <c:pt idx="92">
                  <c:v>1102.198</c:v>
                </c:pt>
                <c:pt idx="93">
                  <c:v>1146.3636</c:v>
                </c:pt>
                <c:pt idx="94">
                  <c:v>1124.9557</c:v>
                </c:pt>
                <c:pt idx="95">
                  <c:v>1072.6</c:v>
                </c:pt>
                <c:pt idx="96">
                  <c:v>1123.1123</c:v>
                </c:pt>
                <c:pt idx="97">
                  <c:v>1109.1315</c:v>
                </c:pt>
                <c:pt idx="98">
                  <c:v>1132.3255</c:v>
                </c:pt>
                <c:pt idx="99">
                  <c:v>1078.3445</c:v>
                </c:pt>
                <c:pt idx="100">
                  <c:v>1077.4854</c:v>
                </c:pt>
                <c:pt idx="101">
                  <c:v>1070.0437</c:v>
                </c:pt>
                <c:pt idx="102">
                  <c:v>1073.8977</c:v>
                </c:pt>
                <c:pt idx="103">
                  <c:v>1058.498</c:v>
                </c:pt>
                <c:pt idx="104">
                  <c:v>1088.6357</c:v>
                </c:pt>
              </c:numCache>
            </c:numRef>
          </c:xVal>
          <c:yVal>
            <c:numRef>
              <c:f>Sheet1!$B$2:$B$106</c:f>
              <c:numCache>
                <c:formatCode>General</c:formatCode>
                <c:ptCount val="105"/>
                <c:pt idx="0">
                  <c:v>0.4869029275808937</c:v>
                </c:pt>
                <c:pt idx="1">
                  <c:v>0.49916805324459235</c:v>
                </c:pt>
                <c:pt idx="2">
                  <c:v>0.5695305580159433</c:v>
                </c:pt>
                <c:pt idx="3">
                  <c:v>0.6006006006006006</c:v>
                </c:pt>
                <c:pt idx="4">
                  <c:v>0.5802631578947368</c:v>
                </c:pt>
                <c:pt idx="5">
                  <c:v>0.5755627009646302</c:v>
                </c:pt>
                <c:pt idx="6">
                  <c:v>0.5731272294887039</c:v>
                </c:pt>
                <c:pt idx="7">
                  <c:v>0.600547195622435</c:v>
                </c:pt>
                <c:pt idx="8">
                  <c:v>0.5735099337748344</c:v>
                </c:pt>
                <c:pt idx="9">
                  <c:v>0.5111317254174397</c:v>
                </c:pt>
                <c:pt idx="10">
                  <c:v>0.48643410852713176</c:v>
                </c:pt>
                <c:pt idx="11">
                  <c:v>0.40668523676880225</c:v>
                </c:pt>
                <c:pt idx="12">
                  <c:v>0.38671209540034074</c:v>
                </c:pt>
                <c:pt idx="13">
                  <c:v>0.3435047951176983</c:v>
                </c:pt>
                <c:pt idx="14">
                  <c:v>0.2862776025236593</c:v>
                </c:pt>
                <c:pt idx="15">
                  <c:v>0.28266913809082483</c:v>
                </c:pt>
                <c:pt idx="16">
                  <c:v>0.2766143106457243</c:v>
                </c:pt>
                <c:pt idx="17">
                  <c:v>0.31230610134436404</c:v>
                </c:pt>
                <c:pt idx="18">
                  <c:v>0.30087390761548066</c:v>
                </c:pt>
                <c:pt idx="19">
                  <c:v>0.29685157421289354</c:v>
                </c:pt>
                <c:pt idx="20">
                  <c:v>0.27236315086782376</c:v>
                </c:pt>
                <c:pt idx="21">
                  <c:v>0.32711621233859395</c:v>
                </c:pt>
                <c:pt idx="22">
                  <c:v>0.355021216407355</c:v>
                </c:pt>
                <c:pt idx="23">
                  <c:v>0.4021887824897401</c:v>
                </c:pt>
                <c:pt idx="24">
                  <c:v>0.42627737226277373</c:v>
                </c:pt>
                <c:pt idx="25">
                  <c:v>0.4299835255354201</c:v>
                </c:pt>
                <c:pt idx="26">
                  <c:v>0.42659974905897113</c:v>
                </c:pt>
                <c:pt idx="27">
                  <c:v>0.42138364779874216</c:v>
                </c:pt>
                <c:pt idx="28">
                  <c:v>0.3760217983651226</c:v>
                </c:pt>
                <c:pt idx="29">
                  <c:v>0.38382541720154045</c:v>
                </c:pt>
                <c:pt idx="30">
                  <c:v>0.34801762114537443</c:v>
                </c:pt>
                <c:pt idx="31">
                  <c:v>0.3904761904761905</c:v>
                </c:pt>
                <c:pt idx="32">
                  <c:v>0.3894165535956581</c:v>
                </c:pt>
                <c:pt idx="33">
                  <c:v>0.39487726787620064</c:v>
                </c:pt>
                <c:pt idx="34">
                  <c:v>0.3977732793522267</c:v>
                </c:pt>
                <c:pt idx="35">
                  <c:v>0.39414802065404475</c:v>
                </c:pt>
                <c:pt idx="36">
                  <c:v>0.33251231527093594</c:v>
                </c:pt>
                <c:pt idx="37">
                  <c:v>0.3306930693069307</c:v>
                </c:pt>
                <c:pt idx="38">
                  <c:v>0.3398157625383828</c:v>
                </c:pt>
                <c:pt idx="39">
                  <c:v>0.3303964757709251</c:v>
                </c:pt>
                <c:pt idx="40">
                  <c:v>0.31268436578171094</c:v>
                </c:pt>
                <c:pt idx="41">
                  <c:v>0.29124236252545826</c:v>
                </c:pt>
                <c:pt idx="42">
                  <c:v>0.3175438596491228</c:v>
                </c:pt>
                <c:pt idx="43">
                  <c:v>0.294811320754717</c:v>
                </c:pt>
                <c:pt idx="44">
                  <c:v>0.29939792008757526</c:v>
                </c:pt>
                <c:pt idx="45">
                  <c:v>0.31985098456625866</c:v>
                </c:pt>
                <c:pt idx="46">
                  <c:v>0.31218130311614734</c:v>
                </c:pt>
                <c:pt idx="47">
                  <c:v>0.32847533632286996</c:v>
                </c:pt>
                <c:pt idx="48">
                  <c:v>0.3342963268675196</c:v>
                </c:pt>
                <c:pt idx="49">
                  <c:v>0.3778173190984579</c:v>
                </c:pt>
                <c:pt idx="50">
                  <c:v>0.3324538258575198</c:v>
                </c:pt>
                <c:pt idx="51">
                  <c:v>0.32114118507681055</c:v>
                </c:pt>
                <c:pt idx="52">
                  <c:v>0.36135593220338985</c:v>
                </c:pt>
                <c:pt idx="53">
                  <c:v>0.38872832369942195</c:v>
                </c:pt>
                <c:pt idx="54">
                  <c:v>0.3911960132890365</c:v>
                </c:pt>
                <c:pt idx="55">
                  <c:v>0.3779461279461279</c:v>
                </c:pt>
                <c:pt idx="56">
                  <c:v>0.4407114624505929</c:v>
                </c:pt>
                <c:pt idx="57">
                  <c:v>0.44129158512720157</c:v>
                </c:pt>
                <c:pt idx="58">
                  <c:v>0.44844844844844844</c:v>
                </c:pt>
                <c:pt idx="59">
                  <c:v>0.44382371198013654</c:v>
                </c:pt>
                <c:pt idx="60">
                  <c:v>0.449585635359116</c:v>
                </c:pt>
                <c:pt idx="61">
                  <c:v>0.45598731165741474</c:v>
                </c:pt>
                <c:pt idx="62">
                  <c:v>0.41773162939297126</c:v>
                </c:pt>
                <c:pt idx="63">
                  <c:v>0.4542177361211247</c:v>
                </c:pt>
                <c:pt idx="64">
                  <c:v>0.4165526675786594</c:v>
                </c:pt>
                <c:pt idx="65">
                  <c:v>0.3694220921726408</c:v>
                </c:pt>
                <c:pt idx="66">
                  <c:v>0.41474966170500677</c:v>
                </c:pt>
                <c:pt idx="67">
                  <c:v>0.41661085063630277</c:v>
                </c:pt>
                <c:pt idx="68">
                  <c:v>0.379601226993865</c:v>
                </c:pt>
                <c:pt idx="69">
                  <c:v>0.3519736842105263</c:v>
                </c:pt>
                <c:pt idx="70">
                  <c:v>0.3824390243902439</c:v>
                </c:pt>
                <c:pt idx="71">
                  <c:v>0.3456121343445287</c:v>
                </c:pt>
                <c:pt idx="72">
                  <c:v>0.29734848484848486</c:v>
                </c:pt>
                <c:pt idx="73">
                  <c:v>0.31968145620022753</c:v>
                </c:pt>
                <c:pt idx="74">
                  <c:v>0.300794551645857</c:v>
                </c:pt>
                <c:pt idx="75">
                  <c:v>0.31939605110336816</c:v>
                </c:pt>
                <c:pt idx="76">
                  <c:v>0.3191244239631336</c:v>
                </c:pt>
                <c:pt idx="77">
                  <c:v>0.3144399460188934</c:v>
                </c:pt>
                <c:pt idx="78">
                  <c:v>0.29555236728837875</c:v>
                </c:pt>
                <c:pt idx="79">
                  <c:v>0.30428134556574926</c:v>
                </c:pt>
                <c:pt idx="80">
                  <c:v>0.28328611898017</c:v>
                </c:pt>
                <c:pt idx="81">
                  <c:v>0.284037558685446</c:v>
                </c:pt>
                <c:pt idx="82">
                  <c:v>0.27586206896551724</c:v>
                </c:pt>
                <c:pt idx="83">
                  <c:v>0.2776957163958641</c:v>
                </c:pt>
                <c:pt idx="84">
                  <c:v>0.3137254901960784</c:v>
                </c:pt>
                <c:pt idx="85">
                  <c:v>0.33827493261455527</c:v>
                </c:pt>
                <c:pt idx="86">
                  <c:v>0.31598173515981737</c:v>
                </c:pt>
                <c:pt idx="87">
                  <c:v>0.3374558303886926</c:v>
                </c:pt>
                <c:pt idx="88">
                  <c:v>0.30672645739910315</c:v>
                </c:pt>
                <c:pt idx="89">
                  <c:v>0.2749469214437367</c:v>
                </c:pt>
                <c:pt idx="90">
                  <c:v>0.31009615384615385</c:v>
                </c:pt>
                <c:pt idx="91">
                  <c:v>0.2949640287769784</c:v>
                </c:pt>
                <c:pt idx="92">
                  <c:v>0.2772093023255814</c:v>
                </c:pt>
                <c:pt idx="93">
                  <c:v>0.2918572735590119</c:v>
                </c:pt>
                <c:pt idx="94">
                  <c:v>0.29278183292781834</c:v>
                </c:pt>
                <c:pt idx="95">
                  <c:v>0.28315946348733234</c:v>
                </c:pt>
                <c:pt idx="96">
                  <c:v>0.2739179954441913</c:v>
                </c:pt>
                <c:pt idx="97">
                  <c:v>0.2811550151975684</c:v>
                </c:pt>
                <c:pt idx="98">
                  <c:v>0.2871331828442438</c:v>
                </c:pt>
                <c:pt idx="99">
                  <c:v>0.29433497536945813</c:v>
                </c:pt>
                <c:pt idx="100">
                  <c:v>0.31175934366453967</c:v>
                </c:pt>
                <c:pt idx="101">
                  <c:v>0.3573735199138859</c:v>
                </c:pt>
                <c:pt idx="102">
                  <c:v>0.3527481542247744</c:v>
                </c:pt>
                <c:pt idx="103">
                  <c:v>0.32756324900133155</c:v>
                </c:pt>
                <c:pt idx="104">
                  <c:v>0.3223010244286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0.1789</c:v>
                </c:pt>
                <c:pt idx="1">
                  <c:v>1102.7743</c:v>
                </c:pt>
                <c:pt idx="2">
                  <c:v>1143.7614</c:v>
                </c:pt>
                <c:pt idx="3">
                  <c:v>1139.9639</c:v>
                </c:pt>
                <c:pt idx="4">
                  <c:v>1157.7705</c:v>
                </c:pt>
                <c:pt idx="5">
                  <c:v>1118.4393</c:v>
                </c:pt>
                <c:pt idx="6">
                  <c:v>1063.7251</c:v>
                </c:pt>
                <c:pt idx="7">
                  <c:v>1169.4604</c:v>
                </c:pt>
                <c:pt idx="8">
                  <c:v>1167.9197</c:v>
                </c:pt>
                <c:pt idx="9">
                  <c:v>1145.837</c:v>
                </c:pt>
                <c:pt idx="10">
                  <c:v>1206.1311</c:v>
                </c:pt>
                <c:pt idx="11">
                  <c:v>1074.4861</c:v>
                </c:pt>
                <c:pt idx="12">
                  <c:v>1104.5394</c:v>
                </c:pt>
                <c:pt idx="13">
                  <c:v>1146.3844</c:v>
                </c:pt>
                <c:pt idx="14">
                  <c:v>1130.4569</c:v>
                </c:pt>
                <c:pt idx="15">
                  <c:v>1137.1587</c:v>
                </c:pt>
                <c:pt idx="16">
                  <c:v>1178.5147</c:v>
                </c:pt>
                <c:pt idx="17">
                  <c:v>1149.2848</c:v>
                </c:pt>
                <c:pt idx="18">
                  <c:v>1170.331</c:v>
                </c:pt>
                <c:pt idx="19">
                  <c:v>1213.9917</c:v>
                </c:pt>
                <c:pt idx="20">
                  <c:v>1159.0331</c:v>
                </c:pt>
                <c:pt idx="21">
                  <c:v>1071.4302</c:v>
                </c:pt>
                <c:pt idx="22">
                  <c:v>1117.9116</c:v>
                </c:pt>
                <c:pt idx="23">
                  <c:v>1137.6667</c:v>
                </c:pt>
                <c:pt idx="24">
                  <c:v>1110.0127</c:v>
                </c:pt>
                <c:pt idx="25">
                  <c:v>1133.5733</c:v>
                </c:pt>
                <c:pt idx="26">
                  <c:v>1115.1024</c:v>
                </c:pt>
                <c:pt idx="27">
                  <c:v>1087.4315</c:v>
                </c:pt>
                <c:pt idx="28">
                  <c:v>1107.9238</c:v>
                </c:pt>
                <c:pt idx="29">
                  <c:v>1119.7798</c:v>
                </c:pt>
                <c:pt idx="30">
                  <c:v>1133.8737</c:v>
                </c:pt>
                <c:pt idx="31">
                  <c:v>1112.5968</c:v>
                </c:pt>
                <c:pt idx="32">
                  <c:v>1116.8203</c:v>
                </c:pt>
                <c:pt idx="33">
                  <c:v>1116.8295</c:v>
                </c:pt>
                <c:pt idx="34">
                  <c:v>1095.8876</c:v>
                </c:pt>
                <c:pt idx="35">
                  <c:v>1150.3926</c:v>
                </c:pt>
                <c:pt idx="36">
                  <c:v>1194.609</c:v>
                </c:pt>
                <c:pt idx="37">
                  <c:v>1201.8485</c:v>
                </c:pt>
                <c:pt idx="38">
                  <c:v>1252.871</c:v>
                </c:pt>
                <c:pt idx="39">
                  <c:v>1186.5098</c:v>
                </c:pt>
                <c:pt idx="40">
                  <c:v>1196.159</c:v>
                </c:pt>
                <c:pt idx="41">
                  <c:v>1202.5973</c:v>
                </c:pt>
                <c:pt idx="42">
                  <c:v>1144.5742</c:v>
                </c:pt>
                <c:pt idx="43">
                  <c:v>1231.0634</c:v>
                </c:pt>
                <c:pt idx="44">
                  <c:v>1192.6138</c:v>
                </c:pt>
                <c:pt idx="45">
                  <c:v>1142.6859</c:v>
                </c:pt>
                <c:pt idx="46">
                  <c:v>1121.5653</c:v>
                </c:pt>
                <c:pt idx="47">
                  <c:v>1095.9635</c:v>
                </c:pt>
                <c:pt idx="48">
                  <c:v>1066.5635</c:v>
                </c:pt>
                <c:pt idx="49">
                  <c:v>1087.7974</c:v>
                </c:pt>
                <c:pt idx="50">
                  <c:v>1074.1837</c:v>
                </c:pt>
                <c:pt idx="51">
                  <c:v>1036.6771</c:v>
                </c:pt>
              </c:numCache>
            </c:numRef>
          </c:xVal>
          <c:yVal>
            <c:numRef>
              <c:f>Sheet1!$B$109:$B$160</c:f>
              <c:numCache>
                <c:formatCode>General</c:formatCode>
                <c:ptCount val="52"/>
                <c:pt idx="0">
                  <c:v>0.327683615819209</c:v>
                </c:pt>
                <c:pt idx="1">
                  <c:v>0.3535871156661786</c:v>
                </c:pt>
                <c:pt idx="2">
                  <c:v>0.36114911080711354</c:v>
                </c:pt>
                <c:pt idx="3">
                  <c:v>0.4122257053291536</c:v>
                </c:pt>
                <c:pt idx="4">
                  <c:v>0.37947122861586313</c:v>
                </c:pt>
                <c:pt idx="5">
                  <c:v>0.3886703383162864</c:v>
                </c:pt>
                <c:pt idx="6">
                  <c:v>0.37896825396825395</c:v>
                </c:pt>
                <c:pt idx="7">
                  <c:v>0.35130434782608694</c:v>
                </c:pt>
                <c:pt idx="8">
                  <c:v>0.36877523553162855</c:v>
                </c:pt>
                <c:pt idx="9">
                  <c:v>0.3765347885402456</c:v>
                </c:pt>
                <c:pt idx="10">
                  <c:v>0.36484983314794217</c:v>
                </c:pt>
                <c:pt idx="11">
                  <c:v>0.34536082474226804</c:v>
                </c:pt>
                <c:pt idx="12">
                  <c:v>0.3586309523809524</c:v>
                </c:pt>
                <c:pt idx="13">
                  <c:v>0.3712871287128713</c:v>
                </c:pt>
                <c:pt idx="14">
                  <c:v>0.3718861209964413</c:v>
                </c:pt>
                <c:pt idx="15">
                  <c:v>0.38917089678510997</c:v>
                </c:pt>
                <c:pt idx="16">
                  <c:v>0.38022426095820594</c:v>
                </c:pt>
                <c:pt idx="17">
                  <c:v>0.3507057546145494</c:v>
                </c:pt>
                <c:pt idx="18">
                  <c:v>0.361323155216285</c:v>
                </c:pt>
                <c:pt idx="19">
                  <c:v>0.3891891891891892</c:v>
                </c:pt>
                <c:pt idx="20">
                  <c:v>0.4068627450980392</c:v>
                </c:pt>
                <c:pt idx="21">
                  <c:v>0.40375586854460094</c:v>
                </c:pt>
                <c:pt idx="22">
                  <c:v>0.4102141680395387</c:v>
                </c:pt>
                <c:pt idx="23">
                  <c:v>0.4052532833020638</c:v>
                </c:pt>
                <c:pt idx="24">
                  <c:v>0.4147627416520211</c:v>
                </c:pt>
                <c:pt idx="25">
                  <c:v>0.4369114877589454</c:v>
                </c:pt>
                <c:pt idx="26">
                  <c:v>0.41435562805872755</c:v>
                </c:pt>
                <c:pt idx="27">
                  <c:v>0.399452804377565</c:v>
                </c:pt>
                <c:pt idx="28">
                  <c:v>0.41284403669724773</c:v>
                </c:pt>
                <c:pt idx="29">
                  <c:v>0.4203338391502276</c:v>
                </c:pt>
                <c:pt idx="30">
                  <c:v>0.42035398230088494</c:v>
                </c:pt>
                <c:pt idx="31">
                  <c:v>0.40129449838187703</c:v>
                </c:pt>
                <c:pt idx="32">
                  <c:v>0.39083969465648855</c:v>
                </c:pt>
                <c:pt idx="33">
                  <c:v>0.3857302118171683</c:v>
                </c:pt>
                <c:pt idx="34">
                  <c:v>0.40192307692307694</c:v>
                </c:pt>
                <c:pt idx="35">
                  <c:v>0.4100378787878788</c:v>
                </c:pt>
                <c:pt idx="36">
                  <c:v>0.3778409090909091</c:v>
                </c:pt>
                <c:pt idx="37">
                  <c:v>0.3902759526938239</c:v>
                </c:pt>
                <c:pt idx="38">
                  <c:v>0.3795918367346939</c:v>
                </c:pt>
                <c:pt idx="39">
                  <c:v>0.375</c:v>
                </c:pt>
                <c:pt idx="40">
                  <c:v>0.36824324324324326</c:v>
                </c:pt>
                <c:pt idx="41">
                  <c:v>0.35960591133004927</c:v>
                </c:pt>
                <c:pt idx="42">
                  <c:v>0.35921205098493625</c:v>
                </c:pt>
                <c:pt idx="43">
                  <c:v>0.37554112554112556</c:v>
                </c:pt>
                <c:pt idx="44">
                  <c:v>0.37403267411865865</c:v>
                </c:pt>
                <c:pt idx="45">
                  <c:v>0.40425531914893614</c:v>
                </c:pt>
                <c:pt idx="46">
                  <c:v>0.4126250962278676</c:v>
                </c:pt>
                <c:pt idx="47">
                  <c:v>0.39801980198019804</c:v>
                </c:pt>
                <c:pt idx="48">
                  <c:v>0.37363210005211045</c:v>
                </c:pt>
                <c:pt idx="49">
                  <c:v>0.3989455184534271</c:v>
                </c:pt>
                <c:pt idx="50">
                  <c:v>0.4198807157057654</c:v>
                </c:pt>
                <c:pt idx="51">
                  <c:v>0.40714741544352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57.48822336747546</c:v>
                </c:pt>
              </c:numCache>
            </c:numRef>
          </c:xVal>
          <c:yVal>
            <c:numRef>
              <c:f>Sheet1!$B$163:$B$164</c:f>
              <c:numCache>
                <c:formatCode>General</c:formatCode>
                <c:ptCount val="2"/>
                <c:pt idx="0">
                  <c:v>0.5621347063541522</c:v>
                </c:pt>
                <c:pt idx="1">
                  <c:v>0.56213470635415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57.48822336747546</c:v>
                </c:pt>
                <c:pt idx="1">
                  <c:v>-157.48822336747546</c:v>
                </c:pt>
              </c:numCache>
            </c:numRef>
          </c:xVal>
          <c:yVal>
            <c:numRef>
              <c:f>Sheet1!$B$167:$B$168</c:f>
              <c:numCache>
                <c:formatCode>General</c:formatCode>
                <c:ptCount val="2"/>
                <c:pt idx="0">
                  <c:v>0.56213470635415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2.0615311740539</c:v>
                </c:pt>
              </c:numCache>
            </c:numRef>
          </c:xVal>
          <c:yVal>
            <c:numRef>
              <c:f>Sheet1!$B$171:$B$172</c:f>
              <c:numCache>
                <c:formatCode>General</c:formatCode>
                <c:ptCount val="2"/>
                <c:pt idx="0">
                  <c:v>0.4087899579319871</c:v>
                </c:pt>
                <c:pt idx="1">
                  <c:v>0.408789957931987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2.0615311740539</c:v>
                </c:pt>
                <c:pt idx="1">
                  <c:v>972.0615311740539</c:v>
                </c:pt>
              </c:numCache>
            </c:numRef>
          </c:xVal>
          <c:yVal>
            <c:numRef>
              <c:f>Sheet1!$B$175:$B$176</c:f>
              <c:numCache>
                <c:formatCode>General</c:formatCode>
                <c:ptCount val="2"/>
                <c:pt idx="0">
                  <c:v>0.408789957931987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5.3213444178714</c:v>
                </c:pt>
              </c:numCache>
            </c:numRef>
          </c:xVal>
          <c:yVal>
            <c:numRef>
              <c:f>Sheet1!$B$179:$B$180</c:f>
              <c:numCache>
                <c:formatCode>General</c:formatCode>
                <c:ptCount val="2"/>
                <c:pt idx="0">
                  <c:v>0.38662622863306456</c:v>
                </c:pt>
                <c:pt idx="1">
                  <c:v>0.386626228633064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5.3213444178714</c:v>
                </c:pt>
                <c:pt idx="1">
                  <c:v>1135.3213444178714</c:v>
                </c:pt>
              </c:numCache>
            </c:numRef>
          </c:xVal>
          <c:yVal>
            <c:numRef>
              <c:f>Sheet1!$B$183:$B$184</c:f>
              <c:numCache>
                <c:formatCode>General</c:formatCode>
                <c:ptCount val="2"/>
                <c:pt idx="0">
                  <c:v>0.386626228633064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0.1789</c:v>
                </c:pt>
                <c:pt idx="1">
                  <c:v>1102.7743</c:v>
                </c:pt>
                <c:pt idx="2">
                  <c:v>1143.7614</c:v>
                </c:pt>
                <c:pt idx="3">
                  <c:v>1139.9639</c:v>
                </c:pt>
                <c:pt idx="4">
                  <c:v>1157.7705</c:v>
                </c:pt>
                <c:pt idx="5">
                  <c:v>1118.4393</c:v>
                </c:pt>
                <c:pt idx="6">
                  <c:v>1063.7251</c:v>
                </c:pt>
                <c:pt idx="7">
                  <c:v>1169.4604</c:v>
                </c:pt>
                <c:pt idx="8">
                  <c:v>1167.9197</c:v>
                </c:pt>
                <c:pt idx="9">
                  <c:v>1145.837</c:v>
                </c:pt>
                <c:pt idx="10">
                  <c:v>1206.1311</c:v>
                </c:pt>
                <c:pt idx="11">
                  <c:v>1074.4861</c:v>
                </c:pt>
                <c:pt idx="12">
                  <c:v>1104.5394</c:v>
                </c:pt>
                <c:pt idx="13">
                  <c:v>1146.3844</c:v>
                </c:pt>
                <c:pt idx="14">
                  <c:v>1130.4569</c:v>
                </c:pt>
                <c:pt idx="15">
                  <c:v>1137.1587</c:v>
                </c:pt>
                <c:pt idx="16">
                  <c:v>1178.5147</c:v>
                </c:pt>
                <c:pt idx="17">
                  <c:v>1149.2848</c:v>
                </c:pt>
                <c:pt idx="18">
                  <c:v>1170.331</c:v>
                </c:pt>
                <c:pt idx="19">
                  <c:v>1213.9917</c:v>
                </c:pt>
                <c:pt idx="20">
                  <c:v>1159.0331</c:v>
                </c:pt>
                <c:pt idx="21">
                  <c:v>1071.4302</c:v>
                </c:pt>
                <c:pt idx="22">
                  <c:v>1117.9116</c:v>
                </c:pt>
                <c:pt idx="23">
                  <c:v>1137.6667</c:v>
                </c:pt>
                <c:pt idx="24">
                  <c:v>1110.0127</c:v>
                </c:pt>
                <c:pt idx="25">
                  <c:v>1133.5733</c:v>
                </c:pt>
                <c:pt idx="26">
                  <c:v>1115.1024</c:v>
                </c:pt>
                <c:pt idx="27">
                  <c:v>1087.4315</c:v>
                </c:pt>
                <c:pt idx="28">
                  <c:v>1107.9238</c:v>
                </c:pt>
                <c:pt idx="29">
                  <c:v>1119.7798</c:v>
                </c:pt>
                <c:pt idx="30">
                  <c:v>1133.8737</c:v>
                </c:pt>
                <c:pt idx="31">
                  <c:v>1112.5968</c:v>
                </c:pt>
                <c:pt idx="32">
                  <c:v>1116.8203</c:v>
                </c:pt>
                <c:pt idx="33">
                  <c:v>1116.8295</c:v>
                </c:pt>
                <c:pt idx="34">
                  <c:v>1095.8876</c:v>
                </c:pt>
                <c:pt idx="35">
                  <c:v>1150.3926</c:v>
                </c:pt>
                <c:pt idx="36">
                  <c:v>1194.609</c:v>
                </c:pt>
                <c:pt idx="37">
                  <c:v>1201.8485</c:v>
                </c:pt>
                <c:pt idx="38">
                  <c:v>1252.871</c:v>
                </c:pt>
                <c:pt idx="39">
                  <c:v>1186.5098</c:v>
                </c:pt>
                <c:pt idx="40">
                  <c:v>1196.159</c:v>
                </c:pt>
                <c:pt idx="41">
                  <c:v>1202.5973</c:v>
                </c:pt>
                <c:pt idx="42">
                  <c:v>1144.5742</c:v>
                </c:pt>
                <c:pt idx="43">
                  <c:v>1231.0634</c:v>
                </c:pt>
                <c:pt idx="44">
                  <c:v>1192.6138</c:v>
                </c:pt>
                <c:pt idx="45">
                  <c:v>1142.6859</c:v>
                </c:pt>
                <c:pt idx="46">
                  <c:v>1121.5653</c:v>
                </c:pt>
                <c:pt idx="47">
                  <c:v>1095.9635</c:v>
                </c:pt>
                <c:pt idx="48">
                  <c:v>1066.5635</c:v>
                </c:pt>
                <c:pt idx="49">
                  <c:v>1087.7974</c:v>
                </c:pt>
                <c:pt idx="50">
                  <c:v>1074.1837</c:v>
                </c:pt>
                <c:pt idx="51">
                  <c:v>1036.6771</c:v>
                </c:pt>
                <c:pt idx="52">
                  <c:v>972.0615311740539</c:v>
                </c:pt>
                <c:pt idx="53">
                  <c:v>-157.48822336747546</c:v>
                </c:pt>
                <c:pt idx="54">
                  <c:v>1135.3213444178714</c:v>
                </c:pt>
              </c:numCache>
            </c:numRef>
          </c:xVal>
          <c:yVal>
            <c:numRef>
              <c:f>Sheet1!$B$187:$B$241</c:f>
              <c:numCache>
                <c:formatCode>General</c:formatCode>
                <c:ptCount val="55"/>
                <c:pt idx="0">
                  <c:v>0.3900395017522656</c:v>
                </c:pt>
                <c:pt idx="1">
                  <c:v>0.3910447310656283</c:v>
                </c:pt>
                <c:pt idx="2">
                  <c:v>0.38548042855236253</c:v>
                </c:pt>
                <c:pt idx="3">
                  <c:v>0.3859959673144152</c:v>
                </c:pt>
                <c:pt idx="4">
                  <c:v>0.3835785894288678</c:v>
                </c:pt>
                <c:pt idx="5">
                  <c:v>0.38891809124797083</c:v>
                </c:pt>
                <c:pt idx="6">
                  <c:v>0.3963459492952912</c:v>
                </c:pt>
                <c:pt idx="7">
                  <c:v>0.3819915988891657</c:v>
                </c:pt>
                <c:pt idx="8">
                  <c:v>0.3822007603297699</c:v>
                </c:pt>
                <c:pt idx="9">
                  <c:v>0.38519865047349056</c:v>
                </c:pt>
                <c:pt idx="10">
                  <c:v>0.37701327965767056</c:v>
                </c:pt>
                <c:pt idx="11">
                  <c:v>0.39488506381314553</c:v>
                </c:pt>
                <c:pt idx="12">
                  <c:v>0.39080510566236326</c:v>
                </c:pt>
                <c:pt idx="13">
                  <c:v>0.3851243368676057</c:v>
                </c:pt>
                <c:pt idx="14">
                  <c:v>0.38728661300522077</c:v>
                </c:pt>
                <c:pt idx="15">
                  <c:v>0.3863767939991578</c:v>
                </c:pt>
                <c:pt idx="16">
                  <c:v>0.38076241057757837</c:v>
                </c:pt>
                <c:pt idx="17">
                  <c:v>0.3847305860774919</c:v>
                </c:pt>
                <c:pt idx="18">
                  <c:v>0.3818734084885751</c:v>
                </c:pt>
                <c:pt idx="19">
                  <c:v>0.3759461449656388</c:v>
                </c:pt>
                <c:pt idx="20">
                  <c:v>0.3834071821238072</c:v>
                </c:pt>
                <c:pt idx="21">
                  <c:v>0.3952999248804152</c:v>
                </c:pt>
                <c:pt idx="22">
                  <c:v>0.3889897304328912</c:v>
                </c:pt>
                <c:pt idx="23">
                  <c:v>0.3863078292352018</c:v>
                </c:pt>
                <c:pt idx="24">
                  <c:v>0.39006206463370163</c:v>
                </c:pt>
                <c:pt idx="25">
                  <c:v>0.3868635386146847</c:v>
                </c:pt>
                <c:pt idx="26">
                  <c:v>0.3893711001472713</c:v>
                </c:pt>
                <c:pt idx="27">
                  <c:v>0.39312762984598926</c:v>
                </c:pt>
                <c:pt idx="28">
                  <c:v>0.3903456482861181</c:v>
                </c:pt>
                <c:pt idx="29">
                  <c:v>0.38873610844072093</c:v>
                </c:pt>
                <c:pt idx="30">
                  <c:v>0.3868227570889123</c:v>
                </c:pt>
                <c:pt idx="31">
                  <c:v>0.389711253912169</c:v>
                </c:pt>
                <c:pt idx="32">
                  <c:v>0.38913788249372805</c:v>
                </c:pt>
                <c:pt idx="33">
                  <c:v>0.38913663352556194</c:v>
                </c:pt>
                <c:pt idx="34">
                  <c:v>0.39197965161668236</c:v>
                </c:pt>
                <c:pt idx="35">
                  <c:v>0.3845801940194006</c:v>
                </c:pt>
                <c:pt idx="36">
                  <c:v>0.37857749010408176</c:v>
                </c:pt>
                <c:pt idx="37">
                  <c:v>0.37759467433900473</c:v>
                </c:pt>
                <c:pt idx="38">
                  <c:v>0.37066799191982647</c:v>
                </c:pt>
                <c:pt idx="39">
                  <c:v>0.37967701651398733</c:v>
                </c:pt>
                <c:pt idx="40">
                  <c:v>0.3783670661195705</c:v>
                </c:pt>
                <c:pt idx="41">
                  <c:v>0.3774930191908744</c:v>
                </c:pt>
                <c:pt idx="42">
                  <c:v>0.385370084930033</c:v>
                </c:pt>
                <c:pt idx="43">
                  <c:v>0.37362853520023165</c:v>
                </c:pt>
                <c:pt idx="44">
                  <c:v>0.378848353287241</c:v>
                </c:pt>
                <c:pt idx="45">
                  <c:v>0.3856264356461315</c:v>
                </c:pt>
                <c:pt idx="46">
                  <c:v>0.3884937135863049</c:v>
                </c:pt>
                <c:pt idx="47">
                  <c:v>0.39196934762931174</c:v>
                </c:pt>
                <c:pt idx="48">
                  <c:v>0.3959606154645578</c:v>
                </c:pt>
                <c:pt idx="49">
                  <c:v>0.3930779562099037</c:v>
                </c:pt>
                <c:pt idx="50">
                  <c:v>0.39492611685373663</c:v>
                </c:pt>
                <c:pt idx="51">
                  <c:v>0.40001791570371753</c:v>
                </c:pt>
                <c:pt idx="52">
                  <c:v>0.4087899579319871</c:v>
                </c:pt>
                <c:pt idx="53">
                  <c:v>0.5621347063541522</c:v>
                </c:pt>
                <c:pt idx="54">
                  <c:v>0.386626228633064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07207207207207"/>
          <c:min val="0.217890520694259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8.6819</c:v>
                </c:pt>
                <c:pt idx="1">
                  <c:v>860.4868</c:v>
                </c:pt>
                <c:pt idx="2">
                  <c:v>937.6462</c:v>
                </c:pt>
                <c:pt idx="3">
                  <c:v>915.0919</c:v>
                </c:pt>
                <c:pt idx="4">
                  <c:v>941.8926</c:v>
                </c:pt>
                <c:pt idx="5">
                  <c:v>939.81</c:v>
                </c:pt>
                <c:pt idx="6">
                  <c:v>921.1939</c:v>
                </c:pt>
                <c:pt idx="7">
                  <c:v>936.5142</c:v>
                </c:pt>
                <c:pt idx="8">
                  <c:v>928.8349</c:v>
                </c:pt>
                <c:pt idx="9">
                  <c:v>920.9981</c:v>
                </c:pt>
                <c:pt idx="10">
                  <c:v>943.3191</c:v>
                </c:pt>
                <c:pt idx="11">
                  <c:v>973.532</c:v>
                </c:pt>
                <c:pt idx="12">
                  <c:v>975.7524</c:v>
                </c:pt>
                <c:pt idx="13">
                  <c:v>961.0154</c:v>
                </c:pt>
                <c:pt idx="14">
                  <c:v>955.4222</c:v>
                </c:pt>
                <c:pt idx="15">
                  <c:v>963.3612</c:v>
                </c:pt>
                <c:pt idx="16">
                  <c:v>965.6488</c:v>
                </c:pt>
                <c:pt idx="17">
                  <c:v>983.2479</c:v>
                </c:pt>
                <c:pt idx="18">
                  <c:v>1013.7389</c:v>
                </c:pt>
                <c:pt idx="19">
                  <c:v>1060.7774</c:v>
                </c:pt>
                <c:pt idx="20">
                  <c:v>1048.7823</c:v>
                </c:pt>
                <c:pt idx="21">
                  <c:v>1064.9914</c:v>
                </c:pt>
                <c:pt idx="22">
                  <c:v>1085.2694</c:v>
                </c:pt>
                <c:pt idx="23">
                  <c:v>1066.4143</c:v>
                </c:pt>
                <c:pt idx="24">
                  <c:v>1062.0723</c:v>
                </c:pt>
                <c:pt idx="25">
                  <c:v>1038.1058</c:v>
                </c:pt>
                <c:pt idx="26">
                  <c:v>1035.2623</c:v>
                </c:pt>
                <c:pt idx="27">
                  <c:v>1093.5058</c:v>
                </c:pt>
                <c:pt idx="28">
                  <c:v>1038.6667</c:v>
                </c:pt>
                <c:pt idx="29">
                  <c:v>1000.0196</c:v>
                </c:pt>
                <c:pt idx="30">
                  <c:v>1029.1096</c:v>
                </c:pt>
                <c:pt idx="31">
                  <c:v>1058.4344</c:v>
                </c:pt>
                <c:pt idx="32">
                  <c:v>994.3968</c:v>
                </c:pt>
                <c:pt idx="33">
                  <c:v>837.2598</c:v>
                </c:pt>
                <c:pt idx="34">
                  <c:v>1040.0449</c:v>
                </c:pt>
                <c:pt idx="35">
                  <c:v>1119.3607</c:v>
                </c:pt>
                <c:pt idx="36">
                  <c:v>1130.9254</c:v>
                </c:pt>
                <c:pt idx="37">
                  <c:v>1168.5257</c:v>
                </c:pt>
                <c:pt idx="38">
                  <c:v>1214.4421</c:v>
                </c:pt>
                <c:pt idx="39">
                  <c:v>1189.9636</c:v>
                </c:pt>
                <c:pt idx="40">
                  <c:v>1222.572</c:v>
                </c:pt>
                <c:pt idx="41">
                  <c:v>1212.1476</c:v>
                </c:pt>
                <c:pt idx="42">
                  <c:v>1251.6599</c:v>
                </c:pt>
                <c:pt idx="43">
                  <c:v>1267.8954</c:v>
                </c:pt>
                <c:pt idx="44">
                  <c:v>1166.8677</c:v>
                </c:pt>
                <c:pt idx="45">
                  <c:v>1079.4341</c:v>
                </c:pt>
                <c:pt idx="46">
                  <c:v>1071.4498</c:v>
                </c:pt>
                <c:pt idx="47">
                  <c:v>1059.888</c:v>
                </c:pt>
                <c:pt idx="48">
                  <c:v>1052.1063</c:v>
                </c:pt>
                <c:pt idx="49">
                  <c:v>1023.7857</c:v>
                </c:pt>
                <c:pt idx="50">
                  <c:v>1035.443</c:v>
                </c:pt>
                <c:pt idx="51">
                  <c:v>1047.9091</c:v>
                </c:pt>
                <c:pt idx="52">
                  <c:v>1080.0739</c:v>
                </c:pt>
                <c:pt idx="53">
                  <c:v>1144.3764</c:v>
                </c:pt>
                <c:pt idx="54">
                  <c:v>1136.9944</c:v>
                </c:pt>
                <c:pt idx="55">
                  <c:v>1150.4603</c:v>
                </c:pt>
                <c:pt idx="56">
                  <c:v>1166.8217</c:v>
                </c:pt>
                <c:pt idx="57">
                  <c:v>1180.1077</c:v>
                </c:pt>
                <c:pt idx="58">
                  <c:v>1104.7253</c:v>
                </c:pt>
                <c:pt idx="59">
                  <c:v>1143.1964</c:v>
                </c:pt>
                <c:pt idx="60">
                  <c:v>1136.7343</c:v>
                </c:pt>
                <c:pt idx="61">
                  <c:v>1066.2355</c:v>
                </c:pt>
                <c:pt idx="62">
                  <c:v>1049.5648</c:v>
                </c:pt>
                <c:pt idx="63">
                  <c:v>1111.3576</c:v>
                </c:pt>
                <c:pt idx="64">
                  <c:v>1101.9962</c:v>
                </c:pt>
                <c:pt idx="65">
                  <c:v>1084.7752</c:v>
                </c:pt>
                <c:pt idx="66">
                  <c:v>1054.3</c:v>
                </c:pt>
                <c:pt idx="67">
                  <c:v>1069.5228</c:v>
                </c:pt>
                <c:pt idx="68">
                  <c:v>1070.8631</c:v>
                </c:pt>
                <c:pt idx="69">
                  <c:v>1090.1772</c:v>
                </c:pt>
                <c:pt idx="70">
                  <c:v>1086.1084</c:v>
                </c:pt>
                <c:pt idx="71">
                  <c:v>1136.5506</c:v>
                </c:pt>
                <c:pt idx="72">
                  <c:v>1137.3157</c:v>
                </c:pt>
                <c:pt idx="73">
                  <c:v>1097.995</c:v>
                </c:pt>
                <c:pt idx="74">
                  <c:v>946.9485</c:v>
                </c:pt>
                <c:pt idx="75">
                  <c:v>1141.2888</c:v>
                </c:pt>
                <c:pt idx="76">
                  <c:v>1100.1662</c:v>
                </c:pt>
                <c:pt idx="77">
                  <c:v>1141.5205</c:v>
                </c:pt>
                <c:pt idx="78">
                  <c:v>1238.2978</c:v>
                </c:pt>
                <c:pt idx="79">
                  <c:v>1149.5162</c:v>
                </c:pt>
                <c:pt idx="80">
                  <c:v>1035.9841</c:v>
                </c:pt>
                <c:pt idx="81">
                  <c:v>1181.0</c:v>
                </c:pt>
                <c:pt idx="82">
                  <c:v>1172.9377</c:v>
                </c:pt>
                <c:pt idx="83">
                  <c:v>1130.0284</c:v>
                </c:pt>
                <c:pt idx="84">
                  <c:v>1238.5241</c:v>
                </c:pt>
                <c:pt idx="85">
                  <c:v>1207.7442</c:v>
                </c:pt>
                <c:pt idx="86">
                  <c:v>1216.1458</c:v>
                </c:pt>
                <c:pt idx="87">
                  <c:v>1248.4336</c:v>
                </c:pt>
                <c:pt idx="88">
                  <c:v>1279.2417</c:v>
                </c:pt>
                <c:pt idx="89">
                  <c:v>1236.4043</c:v>
                </c:pt>
                <c:pt idx="90">
                  <c:v>1237.5907</c:v>
                </c:pt>
                <c:pt idx="91">
                  <c:v>1210.6129</c:v>
                </c:pt>
                <c:pt idx="92">
                  <c:v>1195.3347</c:v>
                </c:pt>
                <c:pt idx="93">
                  <c:v>1265.0973</c:v>
                </c:pt>
                <c:pt idx="94">
                  <c:v>1278.524</c:v>
                </c:pt>
                <c:pt idx="95">
                  <c:v>1177.7273</c:v>
                </c:pt>
                <c:pt idx="96">
                  <c:v>1198.0622</c:v>
                </c:pt>
                <c:pt idx="97">
                  <c:v>1133.912</c:v>
                </c:pt>
                <c:pt idx="98">
                  <c:v>1162.8211</c:v>
                </c:pt>
                <c:pt idx="99">
                  <c:v>1128.561</c:v>
                </c:pt>
                <c:pt idx="100">
                  <c:v>1124.0096</c:v>
                </c:pt>
                <c:pt idx="101">
                  <c:v>1195.8592</c:v>
                </c:pt>
                <c:pt idx="102">
                  <c:v>1188.5289</c:v>
                </c:pt>
                <c:pt idx="103">
                  <c:v>958.874</c:v>
                </c:pt>
                <c:pt idx="104">
                  <c:v>1059.3279</c:v>
                </c:pt>
              </c:numCache>
            </c:numRef>
          </c:xVal>
          <c:yVal>
            <c:numRef>
              <c:f>Sheet1!$B$2:$B$106</c:f>
              <c:numCache>
                <c:formatCode>General</c:formatCode>
                <c:ptCount val="105"/>
                <c:pt idx="0">
                  <c:v>0.23658170914542728</c:v>
                </c:pt>
                <c:pt idx="1">
                  <c:v>0.24613170205109752</c:v>
                </c:pt>
                <c:pt idx="2">
                  <c:v>0.24171737660581474</c:v>
                </c:pt>
                <c:pt idx="3">
                  <c:v>0.23220973782771537</c:v>
                </c:pt>
                <c:pt idx="4">
                  <c:v>0.23856466876971608</c:v>
                </c:pt>
                <c:pt idx="5">
                  <c:v>0.2326930047118521</c:v>
                </c:pt>
                <c:pt idx="6">
                  <c:v>0.2673721340388007</c:v>
                </c:pt>
                <c:pt idx="7">
                  <c:v>0.26565726083964214</c:v>
                </c:pt>
                <c:pt idx="8">
                  <c:v>0.2744097000638162</c:v>
                </c:pt>
                <c:pt idx="9">
                  <c:v>0.27017364657814097</c:v>
                </c:pt>
                <c:pt idx="10">
                  <c:v>0.27209302325581397</c:v>
                </c:pt>
                <c:pt idx="11">
                  <c:v>0.2683670640421403</c:v>
                </c:pt>
                <c:pt idx="12">
                  <c:v>0.2600884466556108</c:v>
                </c:pt>
                <c:pt idx="13">
                  <c:v>0.2665887167494885</c:v>
                </c:pt>
                <c:pt idx="14">
                  <c:v>0.25251294547669817</c:v>
                </c:pt>
                <c:pt idx="15">
                  <c:v>0.24973050664750268</c:v>
                </c:pt>
                <c:pt idx="16">
                  <c:v>0.23090055484421682</c:v>
                </c:pt>
                <c:pt idx="17">
                  <c:v>0.21798365122615804</c:v>
                </c:pt>
                <c:pt idx="18">
                  <c:v>0.23256860098965362</c:v>
                </c:pt>
                <c:pt idx="19">
                  <c:v>0.19050632911392404</c:v>
                </c:pt>
                <c:pt idx="20">
                  <c:v>0.1869380028395646</c:v>
                </c:pt>
                <c:pt idx="21">
                  <c:v>0.2</c:v>
                </c:pt>
                <c:pt idx="22">
                  <c:v>0.21104428649535265</c:v>
                </c:pt>
                <c:pt idx="23">
                  <c:v>0.19129916567342073</c:v>
                </c:pt>
                <c:pt idx="24">
                  <c:v>0.21460892049127342</c:v>
                </c:pt>
                <c:pt idx="25">
                  <c:v>0.21681723419041002</c:v>
                </c:pt>
                <c:pt idx="26">
                  <c:v>0.23018867924528302</c:v>
                </c:pt>
                <c:pt idx="27">
                  <c:v>0.20592948717948717</c:v>
                </c:pt>
                <c:pt idx="28">
                  <c:v>0.20088105726872246</c:v>
                </c:pt>
                <c:pt idx="29">
                  <c:v>0.20481927710843373</c:v>
                </c:pt>
                <c:pt idx="30">
                  <c:v>0.20633484162895926</c:v>
                </c:pt>
                <c:pt idx="31">
                  <c:v>0.20967741935483872</c:v>
                </c:pt>
                <c:pt idx="32">
                  <c:v>0.2381852551984877</c:v>
                </c:pt>
                <c:pt idx="33">
                  <c:v>0.2355406538139145</c:v>
                </c:pt>
                <c:pt idx="34">
                  <c:v>0.23876592890677398</c:v>
                </c:pt>
                <c:pt idx="35">
                  <c:v>0.24512055109070036</c:v>
                </c:pt>
                <c:pt idx="36">
                  <c:v>0.18966737438075018</c:v>
                </c:pt>
                <c:pt idx="37">
                  <c:v>0.1963898916967509</c:v>
                </c:pt>
                <c:pt idx="38">
                  <c:v>0.16407599309153714</c:v>
                </c:pt>
                <c:pt idx="39">
                  <c:v>0.1572926596758818</c:v>
                </c:pt>
                <c:pt idx="40">
                  <c:v>0.17089065894279507</c:v>
                </c:pt>
                <c:pt idx="41">
                  <c:v>0.15173410404624277</c:v>
                </c:pt>
                <c:pt idx="42">
                  <c:v>0.17592592592592593</c:v>
                </c:pt>
                <c:pt idx="43">
                  <c:v>0.16748423265592152</c:v>
                </c:pt>
                <c:pt idx="44">
                  <c:v>0.2116461366181411</c:v>
                </c:pt>
                <c:pt idx="45">
                  <c:v>0.22289156626506024</c:v>
                </c:pt>
                <c:pt idx="46">
                  <c:v>0.2357373519913886</c:v>
                </c:pt>
                <c:pt idx="47">
                  <c:v>0.21892125757138736</c:v>
                </c:pt>
                <c:pt idx="48">
                  <c:v>0.2380206000895656</c:v>
                </c:pt>
                <c:pt idx="49">
                  <c:v>0.2592997811816193</c:v>
                </c:pt>
                <c:pt idx="50">
                  <c:v>0.2187012987012987</c:v>
                </c:pt>
                <c:pt idx="51">
                  <c:v>0.21382289416846653</c:v>
                </c:pt>
                <c:pt idx="52">
                  <c:v>0.2208778840742825</c:v>
                </c:pt>
                <c:pt idx="53">
                  <c:v>0.1986404833836858</c:v>
                </c:pt>
                <c:pt idx="54">
                  <c:v>0.20503048780487804</c:v>
                </c:pt>
                <c:pt idx="55">
                  <c:v>0.20074211502782932</c:v>
                </c:pt>
                <c:pt idx="56">
                  <c:v>0.21606049693914295</c:v>
                </c:pt>
                <c:pt idx="57">
                  <c:v>0.19306759098786827</c:v>
                </c:pt>
                <c:pt idx="58">
                  <c:v>0.22176591375770022</c:v>
                </c:pt>
                <c:pt idx="59">
                  <c:v>0.21852799090650754</c:v>
                </c:pt>
                <c:pt idx="60">
                  <c:v>0.23915289256198347</c:v>
                </c:pt>
                <c:pt idx="61">
                  <c:v>0.2620131512392514</c:v>
                </c:pt>
                <c:pt idx="62">
                  <c:v>0.2703598484848485</c:v>
                </c:pt>
                <c:pt idx="63">
                  <c:v>0.2905708787684413</c:v>
                </c:pt>
                <c:pt idx="64">
                  <c:v>0.2774044519109618</c:v>
                </c:pt>
                <c:pt idx="65">
                  <c:v>0.2659279778393352</c:v>
                </c:pt>
                <c:pt idx="66">
                  <c:v>0.2641509433962264</c:v>
                </c:pt>
                <c:pt idx="67">
                  <c:v>0.2562755399883246</c:v>
                </c:pt>
                <c:pt idx="68">
                  <c:v>0.20919713531850734</c:v>
                </c:pt>
                <c:pt idx="69">
                  <c:v>0.19689922480620156</c:v>
                </c:pt>
                <c:pt idx="70">
                  <c:v>0.18305785123966942</c:v>
                </c:pt>
                <c:pt idx="71">
                  <c:v>0.20671206225680933</c:v>
                </c:pt>
                <c:pt idx="72">
                  <c:v>0.20656634746922026</c:v>
                </c:pt>
                <c:pt idx="73">
                  <c:v>0.21467098166127294</c:v>
                </c:pt>
                <c:pt idx="74">
                  <c:v>0.237029501525941</c:v>
                </c:pt>
                <c:pt idx="75">
                  <c:v>0.1989117291414752</c:v>
                </c:pt>
                <c:pt idx="76">
                  <c:v>0.19379391100702575</c:v>
                </c:pt>
                <c:pt idx="77">
                  <c:v>0.17655571635311143</c:v>
                </c:pt>
                <c:pt idx="78">
                  <c:v>0.16728624535315986</c:v>
                </c:pt>
                <c:pt idx="79">
                  <c:v>0.17998700454840805</c:v>
                </c:pt>
                <c:pt idx="80">
                  <c:v>0.1778880226789511</c:v>
                </c:pt>
                <c:pt idx="81">
                  <c:v>0.18610129564193167</c:v>
                </c:pt>
                <c:pt idx="82">
                  <c:v>0.1946969696969697</c:v>
                </c:pt>
                <c:pt idx="83">
                  <c:v>0.18096054888507718</c:v>
                </c:pt>
                <c:pt idx="84">
                  <c:v>0.1601027397260274</c:v>
                </c:pt>
                <c:pt idx="85">
                  <c:v>0.1662799690641918</c:v>
                </c:pt>
                <c:pt idx="86">
                  <c:v>0.18568665377176016</c:v>
                </c:pt>
                <c:pt idx="87">
                  <c:v>0.19606709080393292</c:v>
                </c:pt>
                <c:pt idx="88">
                  <c:v>0.17168429617575265</c:v>
                </c:pt>
                <c:pt idx="89">
                  <c:v>0.16607773851590105</c:v>
                </c:pt>
                <c:pt idx="90">
                  <c:v>0.17004405286343613</c:v>
                </c:pt>
                <c:pt idx="91">
                  <c:v>0.17095588235294118</c:v>
                </c:pt>
                <c:pt idx="92">
                  <c:v>0.17231434751261715</c:v>
                </c:pt>
                <c:pt idx="93">
                  <c:v>0.1780929866036249</c:v>
                </c:pt>
                <c:pt idx="94">
                  <c:v>0.17890625</c:v>
                </c:pt>
                <c:pt idx="95">
                  <c:v>0.20522388059701493</c:v>
                </c:pt>
                <c:pt idx="96">
                  <c:v>0.18004866180048662</c:v>
                </c:pt>
                <c:pt idx="97">
                  <c:v>0.19524019391802555</c:v>
                </c:pt>
                <c:pt idx="98">
                  <c:v>0.19683098591549295</c:v>
                </c:pt>
                <c:pt idx="99">
                  <c:v>0.20154075546719682</c:v>
                </c:pt>
                <c:pt idx="100">
                  <c:v>0.22551745443311708</c:v>
                </c:pt>
                <c:pt idx="101">
                  <c:v>0.2143306096794469</c:v>
                </c:pt>
                <c:pt idx="102">
                  <c:v>0.17244125846276384</c:v>
                </c:pt>
                <c:pt idx="103">
                  <c:v>0.21138482023968042</c:v>
                </c:pt>
                <c:pt idx="104">
                  <c:v>0.206626954579300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0.8804</c:v>
                </c:pt>
                <c:pt idx="1">
                  <c:v>1237.3066</c:v>
                </c:pt>
                <c:pt idx="2">
                  <c:v>1168.6596</c:v>
                </c:pt>
                <c:pt idx="3">
                  <c:v>1248.6505</c:v>
                </c:pt>
                <c:pt idx="4">
                  <c:v>1192.7106</c:v>
                </c:pt>
                <c:pt idx="5">
                  <c:v>1276.4301</c:v>
                </c:pt>
                <c:pt idx="6">
                  <c:v>1196.3083</c:v>
                </c:pt>
                <c:pt idx="7">
                  <c:v>1193.1879</c:v>
                </c:pt>
                <c:pt idx="8">
                  <c:v>1221.6064</c:v>
                </c:pt>
                <c:pt idx="9">
                  <c:v>1204.9981</c:v>
                </c:pt>
                <c:pt idx="10">
                  <c:v>1213.0412</c:v>
                </c:pt>
                <c:pt idx="11">
                  <c:v>1130.8368</c:v>
                </c:pt>
                <c:pt idx="12">
                  <c:v>1120.6716</c:v>
                </c:pt>
                <c:pt idx="13">
                  <c:v>1169.0249</c:v>
                </c:pt>
                <c:pt idx="14">
                  <c:v>1180.5156</c:v>
                </c:pt>
                <c:pt idx="15">
                  <c:v>1193.0378</c:v>
                </c:pt>
                <c:pt idx="16">
                  <c:v>1226.6097</c:v>
                </c:pt>
                <c:pt idx="17">
                  <c:v>1239.2465</c:v>
                </c:pt>
                <c:pt idx="18">
                  <c:v>1245.051</c:v>
                </c:pt>
                <c:pt idx="19">
                  <c:v>1382.4907</c:v>
                </c:pt>
                <c:pt idx="20">
                  <c:v>1380.3794</c:v>
                </c:pt>
                <c:pt idx="21">
                  <c:v>1354.5985</c:v>
                </c:pt>
                <c:pt idx="22">
                  <c:v>1248.4758</c:v>
                </c:pt>
                <c:pt idx="23">
                  <c:v>1214.0241</c:v>
                </c:pt>
                <c:pt idx="24">
                  <c:v>1284.5417</c:v>
                </c:pt>
                <c:pt idx="25">
                  <c:v>1212.8032</c:v>
                </c:pt>
                <c:pt idx="26">
                  <c:v>1319.3862</c:v>
                </c:pt>
                <c:pt idx="27">
                  <c:v>1375.8673</c:v>
                </c:pt>
                <c:pt idx="28">
                  <c:v>1312.0894</c:v>
                </c:pt>
                <c:pt idx="29">
                  <c:v>1414.0862</c:v>
                </c:pt>
                <c:pt idx="30">
                  <c:v>1458.137</c:v>
                </c:pt>
                <c:pt idx="31">
                  <c:v>1290.0613</c:v>
                </c:pt>
                <c:pt idx="32">
                  <c:v>1244.4565</c:v>
                </c:pt>
                <c:pt idx="33">
                  <c:v>1304.4868</c:v>
                </c:pt>
                <c:pt idx="34">
                  <c:v>1365.5731</c:v>
                </c:pt>
                <c:pt idx="35">
                  <c:v>1298.3286</c:v>
                </c:pt>
                <c:pt idx="36">
                  <c:v>1337.3679</c:v>
                </c:pt>
                <c:pt idx="37">
                  <c:v>1389.6994</c:v>
                </c:pt>
                <c:pt idx="38">
                  <c:v>1402.253</c:v>
                </c:pt>
                <c:pt idx="39">
                  <c:v>1225.852</c:v>
                </c:pt>
                <c:pt idx="40">
                  <c:v>1292.0321</c:v>
                </c:pt>
                <c:pt idx="41">
                  <c:v>1382.1358</c:v>
                </c:pt>
                <c:pt idx="42">
                  <c:v>1371.4351</c:v>
                </c:pt>
                <c:pt idx="43">
                  <c:v>1314.4512</c:v>
                </c:pt>
                <c:pt idx="44">
                  <c:v>1236.0064</c:v>
                </c:pt>
                <c:pt idx="45">
                  <c:v>1174.3218</c:v>
                </c:pt>
                <c:pt idx="46">
                  <c:v>1187.4578</c:v>
                </c:pt>
                <c:pt idx="47">
                  <c:v>1194.5714</c:v>
                </c:pt>
                <c:pt idx="48">
                  <c:v>1193.1749</c:v>
                </c:pt>
                <c:pt idx="49">
                  <c:v>1166.7363</c:v>
                </c:pt>
                <c:pt idx="50">
                  <c:v>1068.5076</c:v>
                </c:pt>
                <c:pt idx="51">
                  <c:v>1045.0804</c:v>
                </c:pt>
              </c:numCache>
            </c:numRef>
          </c:xVal>
          <c:yVal>
            <c:numRef>
              <c:f>Sheet1!$B$109:$B$160</c:f>
              <c:numCache>
                <c:formatCode>General</c:formatCode>
                <c:ptCount val="52"/>
                <c:pt idx="0">
                  <c:v>0.1859278162595698</c:v>
                </c:pt>
                <c:pt idx="1">
                  <c:v>0.18836206896551724</c:v>
                </c:pt>
                <c:pt idx="2">
                  <c:v>0.19747899159663865</c:v>
                </c:pt>
                <c:pt idx="3">
                  <c:v>0.23007309432648798</c:v>
                </c:pt>
                <c:pt idx="4">
                  <c:v>0.22324255858138062</c:v>
                </c:pt>
                <c:pt idx="5">
                  <c:v>0.20675105485232068</c:v>
                </c:pt>
                <c:pt idx="6">
                  <c:v>0.2080022701475596</c:v>
                </c:pt>
                <c:pt idx="7">
                  <c:v>0.21869829012686157</c:v>
                </c:pt>
                <c:pt idx="8">
                  <c:v>0.23275632490013315</c:v>
                </c:pt>
                <c:pt idx="9">
                  <c:v>0.24213470053600558</c:v>
                </c:pt>
                <c:pt idx="10">
                  <c:v>0.24341279799247176</c:v>
                </c:pt>
                <c:pt idx="11">
                  <c:v>0.24407632627385195</c:v>
                </c:pt>
                <c:pt idx="12">
                  <c:v>0.257999098693105</c:v>
                </c:pt>
                <c:pt idx="13">
                  <c:v>0.24239244491080797</c:v>
                </c:pt>
                <c:pt idx="14">
                  <c:v>0.23962996120561025</c:v>
                </c:pt>
                <c:pt idx="15">
                  <c:v>0.2237242311591754</c:v>
                </c:pt>
                <c:pt idx="16">
                  <c:v>0.1999195494770716</c:v>
                </c:pt>
                <c:pt idx="17">
                  <c:v>0.19026742656729503</c:v>
                </c:pt>
                <c:pt idx="18">
                  <c:v>0.19502262443438914</c:v>
                </c:pt>
                <c:pt idx="19">
                  <c:v>0.1804932735426009</c:v>
                </c:pt>
                <c:pt idx="20">
                  <c:v>0.1793054571226081</c:v>
                </c:pt>
                <c:pt idx="21">
                  <c:v>0.17483443708609273</c:v>
                </c:pt>
                <c:pt idx="22">
                  <c:v>0.1996370235934664</c:v>
                </c:pt>
                <c:pt idx="23">
                  <c:v>0.22510561255280628</c:v>
                </c:pt>
                <c:pt idx="24">
                  <c:v>0.20869565217391303</c:v>
                </c:pt>
                <c:pt idx="25">
                  <c:v>0.20166453265044815</c:v>
                </c:pt>
                <c:pt idx="26">
                  <c:v>0.1704781704781705</c:v>
                </c:pt>
                <c:pt idx="27">
                  <c:v>0.16640378548895898</c:v>
                </c:pt>
                <c:pt idx="28">
                  <c:v>0.18132716049382716</c:v>
                </c:pt>
                <c:pt idx="29">
                  <c:v>0.1969439728353141</c:v>
                </c:pt>
                <c:pt idx="30">
                  <c:v>0.19193689745836984</c:v>
                </c:pt>
                <c:pt idx="31">
                  <c:v>0.17014613778705637</c:v>
                </c:pt>
                <c:pt idx="32">
                  <c:v>0.17084493964716807</c:v>
                </c:pt>
                <c:pt idx="33">
                  <c:v>0.20416386836803224</c:v>
                </c:pt>
                <c:pt idx="34">
                  <c:v>0.23887323943661973</c:v>
                </c:pt>
                <c:pt idx="35">
                  <c:v>0.23269611074489124</c:v>
                </c:pt>
                <c:pt idx="36">
                  <c:v>0.19202898550724637</c:v>
                </c:pt>
                <c:pt idx="37">
                  <c:v>0.15658021133525457</c:v>
                </c:pt>
                <c:pt idx="38">
                  <c:v>0.151183970856102</c:v>
                </c:pt>
                <c:pt idx="39">
                  <c:v>0.1966955153422502</c:v>
                </c:pt>
                <c:pt idx="40">
                  <c:v>0.19138755980861244</c:v>
                </c:pt>
                <c:pt idx="41">
                  <c:v>0.1879432624113475</c:v>
                </c:pt>
                <c:pt idx="42">
                  <c:v>0.17992424242424243</c:v>
                </c:pt>
                <c:pt idx="43">
                  <c:v>0.16408839779005524</c:v>
                </c:pt>
                <c:pt idx="44">
                  <c:v>0.17486033519553074</c:v>
                </c:pt>
                <c:pt idx="45">
                  <c:v>0.19148936170212766</c:v>
                </c:pt>
                <c:pt idx="46">
                  <c:v>0.1914648212226067</c:v>
                </c:pt>
                <c:pt idx="47">
                  <c:v>0.18519842688594923</c:v>
                </c:pt>
                <c:pt idx="48">
                  <c:v>0.17766143106457244</c:v>
                </c:pt>
                <c:pt idx="49">
                  <c:v>0.18540580789277736</c:v>
                </c:pt>
                <c:pt idx="50">
                  <c:v>0.22227112676056338</c:v>
                </c:pt>
                <c:pt idx="51">
                  <c:v>0.204202232435981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6.7100447582408</c:v>
                </c:pt>
              </c:numCache>
            </c:numRef>
          </c:xVal>
          <c:yVal>
            <c:numRef>
              <c:f>Sheet1!$B$163:$B$164</c:f>
              <c:numCache>
                <c:formatCode>General</c:formatCode>
                <c:ptCount val="2"/>
                <c:pt idx="0">
                  <c:v>0.24837081045043133</c:v>
                </c:pt>
                <c:pt idx="1">
                  <c:v>0.2483708104504313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6.7100447582408</c:v>
                </c:pt>
                <c:pt idx="1">
                  <c:v>926.7100447582408</c:v>
                </c:pt>
              </c:numCache>
            </c:numRef>
          </c:xVal>
          <c:yVal>
            <c:numRef>
              <c:f>Sheet1!$B$167:$B$168</c:f>
              <c:numCache>
                <c:formatCode>General</c:formatCode>
                <c:ptCount val="2"/>
                <c:pt idx="0">
                  <c:v>0.248370810450431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6.0786147386857</c:v>
                </c:pt>
              </c:numCache>
            </c:numRef>
          </c:xVal>
          <c:yVal>
            <c:numRef>
              <c:f>Sheet1!$B$171:$B$172</c:f>
              <c:numCache>
                <c:formatCode>General</c:formatCode>
                <c:ptCount val="2"/>
                <c:pt idx="0">
                  <c:v>0.2164009483846989</c:v>
                </c:pt>
                <c:pt idx="1">
                  <c:v>0.216400948384698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6.0786147386857</c:v>
                </c:pt>
                <c:pt idx="1">
                  <c:v>1146.0786147386857</c:v>
                </c:pt>
              </c:numCache>
            </c:numRef>
          </c:xVal>
          <c:yVal>
            <c:numRef>
              <c:f>Sheet1!$B$175:$B$176</c:f>
              <c:numCache>
                <c:formatCode>General</c:formatCode>
                <c:ptCount val="2"/>
                <c:pt idx="0">
                  <c:v>0.21640094838469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6.4229108738577</c:v>
                </c:pt>
              </c:numCache>
            </c:numRef>
          </c:xVal>
          <c:yVal>
            <c:numRef>
              <c:f>Sheet1!$B$179:$B$180</c:f>
              <c:numCache>
                <c:formatCode>General</c:formatCode>
                <c:ptCount val="2"/>
                <c:pt idx="0">
                  <c:v>0.18866096314897055</c:v>
                </c:pt>
                <c:pt idx="1">
                  <c:v>0.188660963148970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6.4229108738577</c:v>
                </c:pt>
                <c:pt idx="1">
                  <c:v>1336.4229108738577</c:v>
                </c:pt>
              </c:numCache>
            </c:numRef>
          </c:xVal>
          <c:yVal>
            <c:numRef>
              <c:f>Sheet1!$B$183:$B$184</c:f>
              <c:numCache>
                <c:formatCode>General</c:formatCode>
                <c:ptCount val="2"/>
                <c:pt idx="0">
                  <c:v>0.18866096314897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0.8804</c:v>
                </c:pt>
                <c:pt idx="1">
                  <c:v>1237.3066</c:v>
                </c:pt>
                <c:pt idx="2">
                  <c:v>1168.6596</c:v>
                </c:pt>
                <c:pt idx="3">
                  <c:v>1248.6505</c:v>
                </c:pt>
                <c:pt idx="4">
                  <c:v>1192.7106</c:v>
                </c:pt>
                <c:pt idx="5">
                  <c:v>1276.4301</c:v>
                </c:pt>
                <c:pt idx="6">
                  <c:v>1196.3083</c:v>
                </c:pt>
                <c:pt idx="7">
                  <c:v>1193.1879</c:v>
                </c:pt>
                <c:pt idx="8">
                  <c:v>1221.6064</c:v>
                </c:pt>
                <c:pt idx="9">
                  <c:v>1204.9981</c:v>
                </c:pt>
                <c:pt idx="10">
                  <c:v>1213.0412</c:v>
                </c:pt>
                <c:pt idx="11">
                  <c:v>1130.8368</c:v>
                </c:pt>
                <c:pt idx="12">
                  <c:v>1120.6716</c:v>
                </c:pt>
                <c:pt idx="13">
                  <c:v>1169.0249</c:v>
                </c:pt>
                <c:pt idx="14">
                  <c:v>1180.5156</c:v>
                </c:pt>
                <c:pt idx="15">
                  <c:v>1193.0378</c:v>
                </c:pt>
                <c:pt idx="16">
                  <c:v>1226.6097</c:v>
                </c:pt>
                <c:pt idx="17">
                  <c:v>1239.2465</c:v>
                </c:pt>
                <c:pt idx="18">
                  <c:v>1245.051</c:v>
                </c:pt>
                <c:pt idx="19">
                  <c:v>1382.4907</c:v>
                </c:pt>
                <c:pt idx="20">
                  <c:v>1380.3794</c:v>
                </c:pt>
                <c:pt idx="21">
                  <c:v>1354.5985</c:v>
                </c:pt>
                <c:pt idx="22">
                  <c:v>1248.4758</c:v>
                </c:pt>
                <c:pt idx="23">
                  <c:v>1214.0241</c:v>
                </c:pt>
                <c:pt idx="24">
                  <c:v>1284.5417</c:v>
                </c:pt>
                <c:pt idx="25">
                  <c:v>1212.8032</c:v>
                </c:pt>
                <c:pt idx="26">
                  <c:v>1319.3862</c:v>
                </c:pt>
                <c:pt idx="27">
                  <c:v>1375.8673</c:v>
                </c:pt>
                <c:pt idx="28">
                  <c:v>1312.0894</c:v>
                </c:pt>
                <c:pt idx="29">
                  <c:v>1414.0862</c:v>
                </c:pt>
                <c:pt idx="30">
                  <c:v>1458.137</c:v>
                </c:pt>
                <c:pt idx="31">
                  <c:v>1290.0613</c:v>
                </c:pt>
                <c:pt idx="32">
                  <c:v>1244.4565</c:v>
                </c:pt>
                <c:pt idx="33">
                  <c:v>1304.4868</c:v>
                </c:pt>
                <c:pt idx="34">
                  <c:v>1365.5731</c:v>
                </c:pt>
                <c:pt idx="35">
                  <c:v>1298.3286</c:v>
                </c:pt>
                <c:pt idx="36">
                  <c:v>1337.3679</c:v>
                </c:pt>
                <c:pt idx="37">
                  <c:v>1389.6994</c:v>
                </c:pt>
                <c:pt idx="38">
                  <c:v>1402.253</c:v>
                </c:pt>
                <c:pt idx="39">
                  <c:v>1225.852</c:v>
                </c:pt>
                <c:pt idx="40">
                  <c:v>1292.0321</c:v>
                </c:pt>
                <c:pt idx="41">
                  <c:v>1382.1358</c:v>
                </c:pt>
                <c:pt idx="42">
                  <c:v>1371.4351</c:v>
                </c:pt>
                <c:pt idx="43">
                  <c:v>1314.4512</c:v>
                </c:pt>
                <c:pt idx="44">
                  <c:v>1236.0064</c:v>
                </c:pt>
                <c:pt idx="45">
                  <c:v>1174.3218</c:v>
                </c:pt>
                <c:pt idx="46">
                  <c:v>1187.4578</c:v>
                </c:pt>
                <c:pt idx="47">
                  <c:v>1194.5714</c:v>
                </c:pt>
                <c:pt idx="48">
                  <c:v>1193.1749</c:v>
                </c:pt>
                <c:pt idx="49">
                  <c:v>1166.7363</c:v>
                </c:pt>
                <c:pt idx="50">
                  <c:v>1068.5076</c:v>
                </c:pt>
                <c:pt idx="51">
                  <c:v>1045.0804</c:v>
                </c:pt>
                <c:pt idx="52">
                  <c:v>1146.0786147386857</c:v>
                </c:pt>
                <c:pt idx="53">
                  <c:v>926.7100447582408</c:v>
                </c:pt>
                <c:pt idx="54">
                  <c:v>1336.4229108738577</c:v>
                </c:pt>
              </c:numCache>
            </c:numRef>
          </c:xVal>
          <c:yVal>
            <c:numRef>
              <c:f>Sheet1!$B$187:$B$241</c:f>
              <c:numCache>
                <c:formatCode>General</c:formatCode>
                <c:ptCount val="55"/>
                <c:pt idx="0">
                  <c:v>0.2025849309002453</c:v>
                </c:pt>
                <c:pt idx="1">
                  <c:v>0.20310576163301938</c:v>
                </c:pt>
                <c:pt idx="2">
                  <c:v>0.21311008960681238</c:v>
                </c:pt>
                <c:pt idx="3">
                  <c:v>0.20145254887642533</c:v>
                </c:pt>
                <c:pt idx="4">
                  <c:v>0.20960499700119675</c:v>
                </c:pt>
                <c:pt idx="5">
                  <c:v>0.19740406563053287</c:v>
                </c:pt>
                <c:pt idx="6">
                  <c:v>0.2090806831819284</c:v>
                </c:pt>
                <c:pt idx="7">
                  <c:v>0.20953543728639654</c:v>
                </c:pt>
                <c:pt idx="8">
                  <c:v>0.2053938434145123</c:v>
                </c:pt>
                <c:pt idx="9">
                  <c:v>0.20781426790920465</c:v>
                </c:pt>
                <c:pt idx="10">
                  <c:v>0.20664210000199804</c:v>
                </c:pt>
                <c:pt idx="11">
                  <c:v>0.21862222700665765</c:v>
                </c:pt>
                <c:pt idx="12">
                  <c:v>0.2201036609326734</c:v>
                </c:pt>
                <c:pt idx="13">
                  <c:v>0.21305685230570928</c:v>
                </c:pt>
                <c:pt idx="14">
                  <c:v>0.2113822455283051</c:v>
                </c:pt>
                <c:pt idx="15">
                  <c:v>0.20955731223546736</c:v>
                </c:pt>
                <c:pt idx="16">
                  <c:v>0.20466468330334533</c:v>
                </c:pt>
                <c:pt idx="17">
                  <c:v>0.2028230486836354</c:v>
                </c:pt>
                <c:pt idx="18">
                  <c:v>0.20197712502019954</c:v>
                </c:pt>
                <c:pt idx="19">
                  <c:v>0.18194723536122362</c:v>
                </c:pt>
                <c:pt idx="20">
                  <c:v>0.18225492743299762</c:v>
                </c:pt>
                <c:pt idx="21">
                  <c:v>0.18601212846231513</c:v>
                </c:pt>
                <c:pt idx="22">
                  <c:v>0.2014780089270761</c:v>
                </c:pt>
                <c:pt idx="23">
                  <c:v>0.20649885624822228</c:v>
                </c:pt>
                <c:pt idx="24">
                  <c:v>0.19622191481852042</c:v>
                </c:pt>
                <c:pt idx="25">
                  <c:v>0.20667678513110435</c:v>
                </c:pt>
                <c:pt idx="26">
                  <c:v>0.19114382246076508</c:v>
                </c:pt>
                <c:pt idx="27">
                  <c:v>0.18291250210123589</c:v>
                </c:pt>
                <c:pt idx="28">
                  <c:v>0.19220722771313112</c:v>
                </c:pt>
                <c:pt idx="29">
                  <c:v>0.17734263873652079</c:v>
                </c:pt>
                <c:pt idx="30">
                  <c:v>0.17092285854644748</c:v>
                </c:pt>
                <c:pt idx="31">
                  <c:v>0.19541751129492654</c:v>
                </c:pt>
                <c:pt idx="32">
                  <c:v>0.2020637649750471</c:v>
                </c:pt>
                <c:pt idx="33">
                  <c:v>0.19331519898432376</c:v>
                </c:pt>
                <c:pt idx="34">
                  <c:v>0.18441273595017055</c:v>
                </c:pt>
                <c:pt idx="35">
                  <c:v>0.19421266941315837</c:v>
                </c:pt>
                <c:pt idx="36">
                  <c:v>0.18852324436811202</c:v>
                </c:pt>
                <c:pt idx="37">
                  <c:v>0.1808966694360604</c:v>
                </c:pt>
                <c:pt idx="38">
                  <c:v>0.179067160037954</c:v>
                </c:pt>
                <c:pt idx="39">
                  <c:v>0.20477510734672294</c:v>
                </c:pt>
                <c:pt idx="40">
                  <c:v>0.19513029510819224</c:v>
                </c:pt>
                <c:pt idx="41">
                  <c:v>0.18199895700962632</c:v>
                </c:pt>
                <c:pt idx="42">
                  <c:v>0.1835584324761313</c:v>
                </c:pt>
                <c:pt idx="43">
                  <c:v>0.19186302881429354</c:v>
                </c:pt>
                <c:pt idx="44">
                  <c:v>0.20329524736774232</c:v>
                </c:pt>
                <c:pt idx="45">
                  <c:v>0.21228490415292203</c:v>
                </c:pt>
                <c:pt idx="46">
                  <c:v>0.21037051820359076</c:v>
                </c:pt>
                <c:pt idx="47">
                  <c:v>0.20933381175648635</c:v>
                </c:pt>
                <c:pt idx="48">
                  <c:v>0.20953733185227208</c:v>
                </c:pt>
                <c:pt idx="49">
                  <c:v>0.2133903833413091</c:v>
                </c:pt>
                <c:pt idx="50">
                  <c:v>0.22770582511209767</c:v>
                </c:pt>
                <c:pt idx="51">
                  <c:v>0.2311200077028539</c:v>
                </c:pt>
                <c:pt idx="52">
                  <c:v>0.2164009483846989</c:v>
                </c:pt>
                <c:pt idx="53">
                  <c:v>0.24837081045043133</c:v>
                </c:pt>
                <c:pt idx="54">
                  <c:v>0.188660963148970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50.0"/>
          <c:min val="63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68505452212956"/>
          <c:min val="0.12094717668488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053508489830979</c:v>
                </c:pt>
                <c:pt idx="1">
                  <c:v>0.8240535744697214</c:v>
                </c:pt>
                <c:pt idx="2">
                  <c:v>0.7288990911105441</c:v>
                </c:pt>
                <c:pt idx="3">
                  <c:v>0.7323786800089784</c:v>
                </c:pt>
                <c:pt idx="4">
                  <c:v>0.6960915681494462</c:v>
                </c:pt>
                <c:pt idx="5">
                  <c:v>0.6997221269493601</c:v>
                </c:pt>
                <c:pt idx="6">
                  <c:v>0.682610364816671</c:v>
                </c:pt>
                <c:pt idx="7">
                  <c:v>0.738395998063005</c:v>
                </c:pt>
                <c:pt idx="8">
                  <c:v>0.7262319490149826</c:v>
                </c:pt>
                <c:pt idx="9">
                  <c:v>0.7099033473455741</c:v>
                </c:pt>
                <c:pt idx="10">
                  <c:v>0.7447674055552316</c:v>
                </c:pt>
                <c:pt idx="11">
                  <c:v>0.7374169834608646</c:v>
                </c:pt>
                <c:pt idx="12">
                  <c:v>0.7668828167155778</c:v>
                </c:pt>
                <c:pt idx="13">
                  <c:v>0.7421955483285593</c:v>
                </c:pt>
                <c:pt idx="14">
                  <c:v>0.7781001642388091</c:v>
                </c:pt>
                <c:pt idx="15">
                  <c:v>0.798406889757794</c:v>
                </c:pt>
                <c:pt idx="16">
                  <c:v>0.7565355485737526</c:v>
                </c:pt>
                <c:pt idx="17">
                  <c:v>0.7083191660172748</c:v>
                </c:pt>
                <c:pt idx="18">
                  <c:v>0.7917341375977488</c:v>
                </c:pt>
                <c:pt idx="19">
                  <c:v>0.9492142556143199</c:v>
                </c:pt>
                <c:pt idx="20">
                  <c:v>1.0190440499106512</c:v>
                </c:pt>
                <c:pt idx="21">
                  <c:v>0.9032184150082677</c:v>
                </c:pt>
                <c:pt idx="22">
                  <c:v>0.922043828103248</c:v>
                </c:pt>
                <c:pt idx="23">
                  <c:v>0.8106277179476461</c:v>
                </c:pt>
                <c:pt idx="24">
                  <c:v>0.7160174858251588</c:v>
                </c:pt>
                <c:pt idx="25">
                  <c:v>0.7468310403917098</c:v>
                </c:pt>
                <c:pt idx="26">
                  <c:v>0.7537379554537504</c:v>
                </c:pt>
                <c:pt idx="27">
                  <c:v>0.8265015542955394</c:v>
                </c:pt>
                <c:pt idx="28">
                  <c:v>0.8061170670669998</c:v>
                </c:pt>
                <c:pt idx="29">
                  <c:v>0.7949320541720358</c:v>
                </c:pt>
                <c:pt idx="30">
                  <c:v>0.8002740176505851</c:v>
                </c:pt>
                <c:pt idx="31">
                  <c:v>0.8556281144214124</c:v>
                </c:pt>
                <c:pt idx="32">
                  <c:v>0.874112190218395</c:v>
                </c:pt>
                <c:pt idx="33">
                  <c:v>0.9081900687120023</c:v>
                </c:pt>
                <c:pt idx="34">
                  <c:v>0.9172654399280759</c:v>
                </c:pt>
                <c:pt idx="35">
                  <c:v>0.9147420809594765</c:v>
                </c:pt>
                <c:pt idx="36">
                  <c:v>1.0447429305645752</c:v>
                </c:pt>
                <c:pt idx="37">
                  <c:v>1.010901323776967</c:v>
                </c:pt>
                <c:pt idx="38">
                  <c:v>1.0932907052471967</c:v>
                </c:pt>
                <c:pt idx="39">
                  <c:v>0.9971760242035317</c:v>
                </c:pt>
                <c:pt idx="40">
                  <c:v>1.0813489070975915</c:v>
                </c:pt>
                <c:pt idx="41">
                  <c:v>1.0202347928922733</c:v>
                </c:pt>
                <c:pt idx="42">
                  <c:v>1.0149467970530397</c:v>
                </c:pt>
                <c:pt idx="43">
                  <c:v>1.0018497773002835</c:v>
                </c:pt>
                <c:pt idx="44">
                  <c:v>0.9812241275879873</c:v>
                </c:pt>
                <c:pt idx="45">
                  <c:v>0.9628085684112532</c:v>
                </c:pt>
                <c:pt idx="46">
                  <c:v>0.9589938193632</c:v>
                </c:pt>
                <c:pt idx="47">
                  <c:v>0.9665265884968138</c:v>
                </c:pt>
                <c:pt idx="48">
                  <c:v>0.9477435858835611</c:v>
                </c:pt>
                <c:pt idx="49">
                  <c:v>0.897976986228398</c:v>
                </c:pt>
                <c:pt idx="50">
                  <c:v>0.9085177360415556</c:v>
                </c:pt>
                <c:pt idx="51">
                  <c:v>0.9146420320271722</c:v>
                </c:pt>
                <c:pt idx="52">
                  <c:v>0.9057902604043742</c:v>
                </c:pt>
                <c:pt idx="53">
                  <c:v>0.8977289540865541</c:v>
                </c:pt>
                <c:pt idx="54">
                  <c:v>0.9047172127987537</c:v>
                </c:pt>
                <c:pt idx="55">
                  <c:v>0.8662967089074315</c:v>
                </c:pt>
                <c:pt idx="56">
                  <c:v>0.8517579860984712</c:v>
                </c:pt>
                <c:pt idx="57">
                  <c:v>0.8503580703765238</c:v>
                </c:pt>
                <c:pt idx="58">
                  <c:v>0.8247764643462406</c:v>
                </c:pt>
                <c:pt idx="59">
                  <c:v>0.8180167017977874</c:v>
                </c:pt>
                <c:pt idx="60">
                  <c:v>0.7934216817837688</c:v>
                </c:pt>
                <c:pt idx="61">
                  <c:v>0.8356379424580566</c:v>
                </c:pt>
                <c:pt idx="62">
                  <c:v>0.8869614479688775</c:v>
                </c:pt>
                <c:pt idx="63">
                  <c:v>0.8774694146173115</c:v>
                </c:pt>
                <c:pt idx="64">
                  <c:v>0.9121830846934036</c:v>
                </c:pt>
                <c:pt idx="65">
                  <c:v>0.8665334394691133</c:v>
                </c:pt>
                <c:pt idx="66">
                  <c:v>0.8552144905732144</c:v>
                </c:pt>
                <c:pt idx="67">
                  <c:v>0.920286921331226</c:v>
                </c:pt>
                <c:pt idx="68">
                  <c:v>0.9903898129655946</c:v>
                </c:pt>
                <c:pt idx="69">
                  <c:v>1.0010505221466455</c:v>
                </c:pt>
                <c:pt idx="70">
                  <c:v>0.8144963518816576</c:v>
                </c:pt>
                <c:pt idx="71">
                  <c:v>0.816568936681416</c:v>
                </c:pt>
                <c:pt idx="72">
                  <c:v>1.059171391633195</c:v>
                </c:pt>
                <c:pt idx="73">
                  <c:v>0.8953495180628366</c:v>
                </c:pt>
                <c:pt idx="74">
                  <c:v>0.9153405087002898</c:v>
                </c:pt>
                <c:pt idx="75">
                  <c:v>0.8676975465900557</c:v>
                </c:pt>
                <c:pt idx="76">
                  <c:v>0.9258846654684629</c:v>
                </c:pt>
                <c:pt idx="77">
                  <c:v>0.9537997927850679</c:v>
                </c:pt>
                <c:pt idx="78">
                  <c:v>1.0505472724806642</c:v>
                </c:pt>
                <c:pt idx="79">
                  <c:v>0.8897190677807172</c:v>
                </c:pt>
                <c:pt idx="80">
                  <c:v>0.9639628162202097</c:v>
                </c:pt>
                <c:pt idx="81">
                  <c:v>1.0443601691524087</c:v>
                </c:pt>
                <c:pt idx="82">
                  <c:v>1.0816278078381696</c:v>
                </c:pt>
                <c:pt idx="83">
                  <c:v>1.0933889133569648</c:v>
                </c:pt>
                <c:pt idx="84">
                  <c:v>1.1202640489115199</c:v>
                </c:pt>
                <c:pt idx="85">
                  <c:v>1.0029188343314466</c:v>
                </c:pt>
                <c:pt idx="86">
                  <c:v>0.9634574395941562</c:v>
                </c:pt>
                <c:pt idx="87">
                  <c:v>0.9201653793808148</c:v>
                </c:pt>
                <c:pt idx="88">
                  <c:v>0.9668773933334066</c:v>
                </c:pt>
                <c:pt idx="89">
                  <c:v>0.9599112960718786</c:v>
                </c:pt>
                <c:pt idx="90">
                  <c:v>0.9549829246637035</c:v>
                </c:pt>
                <c:pt idx="91">
                  <c:v>1.1101544417119265</c:v>
                </c:pt>
                <c:pt idx="92">
                  <c:v>1.0735815062518494</c:v>
                </c:pt>
                <c:pt idx="93">
                  <c:v>1.030374264318916</c:v>
                </c:pt>
                <c:pt idx="94">
                  <c:v>1.0881542825436306</c:v>
                </c:pt>
                <c:pt idx="95">
                  <c:v>1.0982130284375458</c:v>
                </c:pt>
                <c:pt idx="96">
                  <c:v>1.0330576431903753</c:v>
                </c:pt>
                <c:pt idx="97">
                  <c:v>1.1380979046813418</c:v>
                </c:pt>
                <c:pt idx="98">
                  <c:v>1.1258822168692877</c:v>
                </c:pt>
                <c:pt idx="99">
                  <c:v>1.1166792210719092</c:v>
                </c:pt>
                <c:pt idx="100">
                  <c:v>1.0821049207271607</c:v>
                </c:pt>
                <c:pt idx="101">
                  <c:v>0.9741069286067258</c:v>
                </c:pt>
                <c:pt idx="102">
                  <c:v>1.004844858031178</c:v>
                </c:pt>
                <c:pt idx="103">
                  <c:v>0.5053505323263986</c:v>
                </c:pt>
                <c:pt idx="104">
                  <c:v>0.5721301526870172</c:v>
                </c:pt>
              </c:numCache>
            </c:numRef>
          </c:xVal>
          <c:yVal>
            <c:numRef>
              <c:f>Sheet1!$B$2:$B$106</c:f>
              <c:numCache>
                <c:formatCode>General</c:formatCode>
                <c:ptCount val="105"/>
                <c:pt idx="0">
                  <c:v>0.05161787365177196</c:v>
                </c:pt>
                <c:pt idx="1">
                  <c:v>0.054076539101497505</c:v>
                </c:pt>
                <c:pt idx="2">
                  <c:v>0.0566873339238264</c:v>
                </c:pt>
                <c:pt idx="3">
                  <c:v>0.06906906906906907</c:v>
                </c:pt>
                <c:pt idx="4">
                  <c:v>0.06842105263157895</c:v>
                </c:pt>
                <c:pt idx="5">
                  <c:v>0.05787781350482315</c:v>
                </c:pt>
                <c:pt idx="6">
                  <c:v>0.07253269916765755</c:v>
                </c:pt>
                <c:pt idx="7">
                  <c:v>0.058823529411764705</c:v>
                </c:pt>
                <c:pt idx="8">
                  <c:v>0.052980132450331126</c:v>
                </c:pt>
                <c:pt idx="9">
                  <c:v>0.04916512059369202</c:v>
                </c:pt>
                <c:pt idx="10">
                  <c:v>0.04941860465116279</c:v>
                </c:pt>
                <c:pt idx="11">
                  <c:v>0.055710306406685235</c:v>
                </c:pt>
                <c:pt idx="12">
                  <c:v>0.041737649063032366</c:v>
                </c:pt>
                <c:pt idx="13">
                  <c:v>0.05056669572798605</c:v>
                </c:pt>
                <c:pt idx="14">
                  <c:v>0.050473186119873815</c:v>
                </c:pt>
                <c:pt idx="15">
                  <c:v>0.06950880444856349</c:v>
                </c:pt>
                <c:pt idx="16">
                  <c:v>0.07853403141361257</c:v>
                </c:pt>
                <c:pt idx="17">
                  <c:v>0.09720785935884178</c:v>
                </c:pt>
                <c:pt idx="18">
                  <c:v>0.04868913857677903</c:v>
                </c:pt>
                <c:pt idx="19">
                  <c:v>0.035982008995502246</c:v>
                </c:pt>
                <c:pt idx="20">
                  <c:v>0.03871829105473965</c:v>
                </c:pt>
                <c:pt idx="21">
                  <c:v>0.03873744619799139</c:v>
                </c:pt>
                <c:pt idx="22">
                  <c:v>0.02545968882602546</c:v>
                </c:pt>
                <c:pt idx="23">
                  <c:v>0.049247606019151846</c:v>
                </c:pt>
                <c:pt idx="24">
                  <c:v>0.03795620437956204</c:v>
                </c:pt>
                <c:pt idx="25">
                  <c:v>0.03789126853377265</c:v>
                </c:pt>
                <c:pt idx="26">
                  <c:v>0.03136762860727729</c:v>
                </c:pt>
                <c:pt idx="27">
                  <c:v>0.03647798742138365</c:v>
                </c:pt>
                <c:pt idx="28">
                  <c:v>0.02316076294277929</c:v>
                </c:pt>
                <c:pt idx="29">
                  <c:v>0.03080872913992298</c:v>
                </c:pt>
                <c:pt idx="30">
                  <c:v>0.02643171806167401</c:v>
                </c:pt>
                <c:pt idx="31">
                  <c:v>0.027210884353741496</c:v>
                </c:pt>
                <c:pt idx="32">
                  <c:v>0.027137042062415198</c:v>
                </c:pt>
                <c:pt idx="33">
                  <c:v>0.030949839914621132</c:v>
                </c:pt>
                <c:pt idx="34">
                  <c:v>0.02631578947368421</c:v>
                </c:pt>
                <c:pt idx="35">
                  <c:v>0.025817555938037865</c:v>
                </c:pt>
                <c:pt idx="36">
                  <c:v>0.023809523809523808</c:v>
                </c:pt>
                <c:pt idx="37">
                  <c:v>0.032673267326732675</c:v>
                </c:pt>
                <c:pt idx="38">
                  <c:v>0.021494370522006142</c:v>
                </c:pt>
                <c:pt idx="39">
                  <c:v>0.02753303964757709</c:v>
                </c:pt>
                <c:pt idx="40">
                  <c:v>0.025565388397246803</c:v>
                </c:pt>
                <c:pt idx="41">
                  <c:v>0.0274949083503055</c:v>
                </c:pt>
                <c:pt idx="42">
                  <c:v>0.02631578947368421</c:v>
                </c:pt>
                <c:pt idx="43">
                  <c:v>0.029874213836477988</c:v>
                </c:pt>
                <c:pt idx="44">
                  <c:v>0.038314176245210725</c:v>
                </c:pt>
                <c:pt idx="45">
                  <c:v>0.03938265034592869</c:v>
                </c:pt>
                <c:pt idx="46">
                  <c:v>0.04589235127478754</c:v>
                </c:pt>
                <c:pt idx="47">
                  <c:v>0.04708520179372197</c:v>
                </c:pt>
                <c:pt idx="48">
                  <c:v>0.051176227816756084</c:v>
                </c:pt>
                <c:pt idx="49">
                  <c:v>0.07502965599051008</c:v>
                </c:pt>
                <c:pt idx="50">
                  <c:v>0.056464379947229554</c:v>
                </c:pt>
                <c:pt idx="51">
                  <c:v>0.055596196049743966</c:v>
                </c:pt>
                <c:pt idx="52">
                  <c:v>0.05627118644067797</c:v>
                </c:pt>
                <c:pt idx="53">
                  <c:v>0.0476878612716763</c:v>
                </c:pt>
                <c:pt idx="54">
                  <c:v>0.04983388704318937</c:v>
                </c:pt>
                <c:pt idx="55">
                  <c:v>0.047979797979797977</c:v>
                </c:pt>
                <c:pt idx="56">
                  <c:v>0.05632411067193676</c:v>
                </c:pt>
                <c:pt idx="57">
                  <c:v>0.060665362035225046</c:v>
                </c:pt>
                <c:pt idx="58">
                  <c:v>0.05405405405405406</c:v>
                </c:pt>
                <c:pt idx="59">
                  <c:v>0.06207324643078833</c:v>
                </c:pt>
                <c:pt idx="60">
                  <c:v>0.0649171270718232</c:v>
                </c:pt>
                <c:pt idx="61">
                  <c:v>0.05868358445678033</c:v>
                </c:pt>
                <c:pt idx="62">
                  <c:v>0.06469648562300319</c:v>
                </c:pt>
                <c:pt idx="63">
                  <c:v>0.06560922855082912</c:v>
                </c:pt>
                <c:pt idx="64">
                  <c:v>0.0560875512995896</c:v>
                </c:pt>
                <c:pt idx="65">
                  <c:v>0.04974396488661302</c:v>
                </c:pt>
                <c:pt idx="66">
                  <c:v>0.04533152909336942</c:v>
                </c:pt>
                <c:pt idx="67">
                  <c:v>0.038178164768921635</c:v>
                </c:pt>
                <c:pt idx="68">
                  <c:v>0.03144171779141104</c:v>
                </c:pt>
                <c:pt idx="69">
                  <c:v>0.029605263157894735</c:v>
                </c:pt>
                <c:pt idx="70">
                  <c:v>0.03121951219512195</c:v>
                </c:pt>
                <c:pt idx="71">
                  <c:v>0.04225352112676056</c:v>
                </c:pt>
                <c:pt idx="72">
                  <c:v>0.03314393939393939</c:v>
                </c:pt>
                <c:pt idx="73">
                  <c:v>0.03640500568828214</c:v>
                </c:pt>
                <c:pt idx="74">
                  <c:v>0.03178206583427923</c:v>
                </c:pt>
                <c:pt idx="75">
                  <c:v>0.023228803716608595</c:v>
                </c:pt>
                <c:pt idx="76">
                  <c:v>0.03456221198156682</c:v>
                </c:pt>
                <c:pt idx="77">
                  <c:v>0.024291497975708502</c:v>
                </c:pt>
                <c:pt idx="78">
                  <c:v>0.024390243902439025</c:v>
                </c:pt>
                <c:pt idx="79">
                  <c:v>0.021406727828746176</c:v>
                </c:pt>
                <c:pt idx="80">
                  <c:v>0.018413597733711047</c:v>
                </c:pt>
                <c:pt idx="81">
                  <c:v>0.02112676056338028</c:v>
                </c:pt>
                <c:pt idx="82">
                  <c:v>0.01867816091954023</c:v>
                </c:pt>
                <c:pt idx="83">
                  <c:v>0.0206794682422452</c:v>
                </c:pt>
                <c:pt idx="84">
                  <c:v>0.01680672268907563</c:v>
                </c:pt>
                <c:pt idx="85">
                  <c:v>0.02021563342318059</c:v>
                </c:pt>
                <c:pt idx="86">
                  <c:v>0.024657534246575342</c:v>
                </c:pt>
                <c:pt idx="87">
                  <c:v>0.029151943462897525</c:v>
                </c:pt>
                <c:pt idx="88">
                  <c:v>0.021524663677130046</c:v>
                </c:pt>
                <c:pt idx="89">
                  <c:v>0.025477707006369428</c:v>
                </c:pt>
                <c:pt idx="90">
                  <c:v>0.03245192307692308</c:v>
                </c:pt>
                <c:pt idx="91">
                  <c:v>0.017985611510791366</c:v>
                </c:pt>
                <c:pt idx="92">
                  <c:v>0.026046511627906978</c:v>
                </c:pt>
                <c:pt idx="93">
                  <c:v>0.021957913998170174</c:v>
                </c:pt>
                <c:pt idx="94">
                  <c:v>0.024330900243309004</c:v>
                </c:pt>
                <c:pt idx="95">
                  <c:v>0.021609538002980627</c:v>
                </c:pt>
                <c:pt idx="96">
                  <c:v>0.0244874715261959</c:v>
                </c:pt>
                <c:pt idx="97">
                  <c:v>0.031914893617021274</c:v>
                </c:pt>
                <c:pt idx="98">
                  <c:v>0.03566591422121896</c:v>
                </c:pt>
                <c:pt idx="99">
                  <c:v>0.04187192118226601</c:v>
                </c:pt>
                <c:pt idx="100">
                  <c:v>0.04375569735642662</c:v>
                </c:pt>
                <c:pt idx="101">
                  <c:v>0.05166846071044134</c:v>
                </c:pt>
                <c:pt idx="102">
                  <c:v>0.043478260869565216</c:v>
                </c:pt>
                <c:pt idx="103">
                  <c:v>0.08921438082556592</c:v>
                </c:pt>
                <c:pt idx="104">
                  <c:v>0.082742316784869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65033391495602</c:v>
                </c:pt>
                <c:pt idx="1">
                  <c:v>0.8416691109105977</c:v>
                </c:pt>
                <c:pt idx="2">
                  <c:v>0.8163729408179303</c:v>
                </c:pt>
                <c:pt idx="3">
                  <c:v>0.7592000751042914</c:v>
                </c:pt>
                <c:pt idx="4">
                  <c:v>0.7627763992649513</c:v>
                </c:pt>
                <c:pt idx="5">
                  <c:v>0.7999937984588796</c:v>
                </c:pt>
                <c:pt idx="6">
                  <c:v>0.8090066469604885</c:v>
                </c:pt>
                <c:pt idx="7">
                  <c:v>0.8543329772308494</c:v>
                </c:pt>
                <c:pt idx="8">
                  <c:v>0.9555040184713132</c:v>
                </c:pt>
                <c:pt idx="9">
                  <c:v>0.9244750911172498</c:v>
                </c:pt>
                <c:pt idx="10">
                  <c:v>0.9109631053419567</c:v>
                </c:pt>
                <c:pt idx="11">
                  <c:v>0.8662039338692388</c:v>
                </c:pt>
                <c:pt idx="12">
                  <c:v>0.9286020042450419</c:v>
                </c:pt>
                <c:pt idx="13">
                  <c:v>0.8658565656185929</c:v>
                </c:pt>
                <c:pt idx="14">
                  <c:v>0.8699177546710353</c:v>
                </c:pt>
                <c:pt idx="15">
                  <c:v>0.864042987050819</c:v>
                </c:pt>
                <c:pt idx="16">
                  <c:v>0.8973094443404768</c:v>
                </c:pt>
                <c:pt idx="17">
                  <c:v>0.9164986585269475</c:v>
                </c:pt>
                <c:pt idx="18">
                  <c:v>0.929258288244324</c:v>
                </c:pt>
                <c:pt idx="19">
                  <c:v>0.9514374001693927</c:v>
                </c:pt>
                <c:pt idx="20">
                  <c:v>0.9370384460954638</c:v>
                </c:pt>
                <c:pt idx="21">
                  <c:v>0.8803484185826265</c:v>
                </c:pt>
                <c:pt idx="22">
                  <c:v>0.919508952354049</c:v>
                </c:pt>
                <c:pt idx="23">
                  <c:v>0.8236301820109561</c:v>
                </c:pt>
                <c:pt idx="24">
                  <c:v>0.8609674169108948</c:v>
                </c:pt>
                <c:pt idx="25">
                  <c:v>0.8412655984477574</c:v>
                </c:pt>
                <c:pt idx="26">
                  <c:v>0.9480466544478353</c:v>
                </c:pt>
                <c:pt idx="27">
                  <c:v>0.8971009709684837</c:v>
                </c:pt>
                <c:pt idx="28">
                  <c:v>0.8996965500328561</c:v>
                </c:pt>
                <c:pt idx="29">
                  <c:v>0.8516912732582481</c:v>
                </c:pt>
                <c:pt idx="30">
                  <c:v>0.7631610010271221</c:v>
                </c:pt>
                <c:pt idx="31">
                  <c:v>0.785544784484729</c:v>
                </c:pt>
                <c:pt idx="32">
                  <c:v>0.8090392036734102</c:v>
                </c:pt>
                <c:pt idx="33">
                  <c:v>0.8598519930667347</c:v>
                </c:pt>
                <c:pt idx="34">
                  <c:v>0.8595328405028959</c:v>
                </c:pt>
                <c:pt idx="35">
                  <c:v>0.8141390151092176</c:v>
                </c:pt>
                <c:pt idx="36">
                  <c:v>0.7788611515758004</c:v>
                </c:pt>
                <c:pt idx="37">
                  <c:v>0.8526311400568451</c:v>
                </c:pt>
                <c:pt idx="38">
                  <c:v>0.8523312458276888</c:v>
                </c:pt>
                <c:pt idx="39">
                  <c:v>0.8346823607816288</c:v>
                </c:pt>
                <c:pt idx="40">
                  <c:v>0.8921717261930475</c:v>
                </c:pt>
                <c:pt idx="41">
                  <c:v>0.8846862342001464</c:v>
                </c:pt>
                <c:pt idx="42">
                  <c:v>0.8642332844385483</c:v>
                </c:pt>
                <c:pt idx="43">
                  <c:v>0.9606607413531761</c:v>
                </c:pt>
                <c:pt idx="44">
                  <c:v>0.9397324121206092</c:v>
                </c:pt>
                <c:pt idx="45">
                  <c:v>0.887980443496659</c:v>
                </c:pt>
                <c:pt idx="46">
                  <c:v>0.8721489175310275</c:v>
                </c:pt>
                <c:pt idx="47">
                  <c:v>0.8944876326540158</c:v>
                </c:pt>
                <c:pt idx="48">
                  <c:v>0.9424271614139064</c:v>
                </c:pt>
                <c:pt idx="49">
                  <c:v>0.9106693576695357</c:v>
                </c:pt>
                <c:pt idx="50">
                  <c:v>0.8882527643731184</c:v>
                </c:pt>
                <c:pt idx="51">
                  <c:v>0.9131066597944322</c:v>
                </c:pt>
              </c:numCache>
            </c:numRef>
          </c:xVal>
          <c:yVal>
            <c:numRef>
              <c:f>Sheet1!$B$109:$B$160</c:f>
              <c:numCache>
                <c:formatCode>General</c:formatCode>
                <c:ptCount val="52"/>
                <c:pt idx="0">
                  <c:v>0.06991525423728813</c:v>
                </c:pt>
                <c:pt idx="1">
                  <c:v>0.07101024890190337</c:v>
                </c:pt>
                <c:pt idx="2">
                  <c:v>0.06361149110807114</c:v>
                </c:pt>
                <c:pt idx="3">
                  <c:v>0.07210031347962383</c:v>
                </c:pt>
                <c:pt idx="4">
                  <c:v>0.07542768273716952</c:v>
                </c:pt>
                <c:pt idx="5">
                  <c:v>0.059008654602675056</c:v>
                </c:pt>
                <c:pt idx="6">
                  <c:v>0.057539682539682536</c:v>
                </c:pt>
                <c:pt idx="7">
                  <c:v>0.050434782608695654</c:v>
                </c:pt>
                <c:pt idx="8">
                  <c:v>0.05114401076716016</c:v>
                </c:pt>
                <c:pt idx="9">
                  <c:v>0.05593451568894952</c:v>
                </c:pt>
                <c:pt idx="10">
                  <c:v>0.058954393770856504</c:v>
                </c:pt>
                <c:pt idx="11">
                  <c:v>0.061855670103092786</c:v>
                </c:pt>
                <c:pt idx="12">
                  <c:v>0.049107142857142856</c:v>
                </c:pt>
                <c:pt idx="13">
                  <c:v>0.054455445544554455</c:v>
                </c:pt>
                <c:pt idx="14">
                  <c:v>0.051601423487544484</c:v>
                </c:pt>
                <c:pt idx="15">
                  <c:v>0.047377326565143825</c:v>
                </c:pt>
                <c:pt idx="16">
                  <c:v>0.053007135575942915</c:v>
                </c:pt>
                <c:pt idx="17">
                  <c:v>0.04668838219326819</c:v>
                </c:pt>
                <c:pt idx="18">
                  <c:v>0.04198473282442748</c:v>
                </c:pt>
                <c:pt idx="19">
                  <c:v>0.04432432432432432</c:v>
                </c:pt>
                <c:pt idx="20">
                  <c:v>0.04411764705882353</c:v>
                </c:pt>
                <c:pt idx="21">
                  <c:v>0.046948356807511735</c:v>
                </c:pt>
                <c:pt idx="22">
                  <c:v>0.042833607907743</c:v>
                </c:pt>
                <c:pt idx="23">
                  <c:v>0.04878048780487805</c:v>
                </c:pt>
                <c:pt idx="24">
                  <c:v>0.05975395430579965</c:v>
                </c:pt>
                <c:pt idx="25">
                  <c:v>0.05273069679849341</c:v>
                </c:pt>
                <c:pt idx="26">
                  <c:v>0.037520391517128875</c:v>
                </c:pt>
                <c:pt idx="27">
                  <c:v>0.05198358413132695</c:v>
                </c:pt>
                <c:pt idx="28">
                  <c:v>0.053735255570117955</c:v>
                </c:pt>
                <c:pt idx="29">
                  <c:v>0.048558421851289835</c:v>
                </c:pt>
                <c:pt idx="30">
                  <c:v>0.06932153392330384</c:v>
                </c:pt>
                <c:pt idx="31">
                  <c:v>0.05825242718446602</c:v>
                </c:pt>
                <c:pt idx="32">
                  <c:v>0.05648854961832061</c:v>
                </c:pt>
                <c:pt idx="33">
                  <c:v>0.05351170568561873</c:v>
                </c:pt>
                <c:pt idx="34">
                  <c:v>0.06153846153846154</c:v>
                </c:pt>
                <c:pt idx="35">
                  <c:v>0.06060606060606061</c:v>
                </c:pt>
                <c:pt idx="36">
                  <c:v>0.05823863636363636</c:v>
                </c:pt>
                <c:pt idx="37">
                  <c:v>0.05387647831800263</c:v>
                </c:pt>
                <c:pt idx="38">
                  <c:v>0.053061224489795916</c:v>
                </c:pt>
                <c:pt idx="39">
                  <c:v>0.07107843137254902</c:v>
                </c:pt>
                <c:pt idx="40">
                  <c:v>0.0731981981981982</c:v>
                </c:pt>
                <c:pt idx="41">
                  <c:v>0.0729064039408867</c:v>
                </c:pt>
                <c:pt idx="42">
                  <c:v>0.07879490150637311</c:v>
                </c:pt>
                <c:pt idx="43">
                  <c:v>0.05952380952380952</c:v>
                </c:pt>
                <c:pt idx="44">
                  <c:v>0.058469475494411005</c:v>
                </c:pt>
                <c:pt idx="45">
                  <c:v>0.06648936170212766</c:v>
                </c:pt>
                <c:pt idx="46">
                  <c:v>0.05850654349499615</c:v>
                </c:pt>
                <c:pt idx="47">
                  <c:v>0.05478547854785479</c:v>
                </c:pt>
                <c:pt idx="48">
                  <c:v>0.04637832204273059</c:v>
                </c:pt>
                <c:pt idx="49">
                  <c:v>0.05975395430579965</c:v>
                </c:pt>
                <c:pt idx="50">
                  <c:v>0.05646123260437376</c:v>
                </c:pt>
                <c:pt idx="51">
                  <c:v>0.0536056158264199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873169783066762</c:v>
                </c:pt>
              </c:numCache>
            </c:numRef>
          </c:xVal>
          <c:yVal>
            <c:numRef>
              <c:f>Sheet1!$B$163:$B$164</c:f>
              <c:numCache>
                <c:formatCode>General</c:formatCode>
                <c:ptCount val="2"/>
                <c:pt idx="0">
                  <c:v>0.06440734924405475</c:v>
                </c:pt>
                <c:pt idx="1">
                  <c:v>0.064407349244054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873169783066762</c:v>
                </c:pt>
                <c:pt idx="1">
                  <c:v>0.7873169783066762</c:v>
                </c:pt>
              </c:numCache>
            </c:numRef>
          </c:xVal>
          <c:yVal>
            <c:numRef>
              <c:f>Sheet1!$B$167:$B$168</c:f>
              <c:numCache>
                <c:formatCode>General</c:formatCode>
                <c:ptCount val="2"/>
                <c:pt idx="0">
                  <c:v>0.064407349244054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88111199078003</c:v>
                </c:pt>
              </c:numCache>
            </c:numRef>
          </c:xVal>
          <c:yVal>
            <c:numRef>
              <c:f>Sheet1!$B$171:$B$172</c:f>
              <c:numCache>
                <c:formatCode>General</c:formatCode>
                <c:ptCount val="2"/>
                <c:pt idx="0">
                  <c:v>0.06335468010914104</c:v>
                </c:pt>
                <c:pt idx="1">
                  <c:v>0.063354680109141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88111199078003</c:v>
                </c:pt>
                <c:pt idx="1">
                  <c:v>0.7988111199078003</c:v>
                </c:pt>
              </c:numCache>
            </c:numRef>
          </c:xVal>
          <c:yVal>
            <c:numRef>
              <c:f>Sheet1!$B$175:$B$176</c:f>
              <c:numCache>
                <c:formatCode>General</c:formatCode>
                <c:ptCount val="2"/>
                <c:pt idx="0">
                  <c:v>0.063354680109141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102837712363202</c:v>
                </c:pt>
              </c:numCache>
            </c:numRef>
          </c:xVal>
          <c:yVal>
            <c:numRef>
              <c:f>Sheet1!$B$179:$B$180</c:f>
              <c:numCache>
                <c:formatCode>General</c:formatCode>
                <c:ptCount val="2"/>
                <c:pt idx="0">
                  <c:v>0.06230397912004077</c:v>
                </c:pt>
                <c:pt idx="1">
                  <c:v>0.0623039791200407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102837712363202</c:v>
                </c:pt>
                <c:pt idx="1">
                  <c:v>0.8102837712363202</c:v>
                </c:pt>
              </c:numCache>
            </c:numRef>
          </c:xVal>
          <c:yVal>
            <c:numRef>
              <c:f>Sheet1!$B$183:$B$184</c:f>
              <c:numCache>
                <c:formatCode>General</c:formatCode>
                <c:ptCount val="2"/>
                <c:pt idx="0">
                  <c:v>0.062303979120040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65033391495602</c:v>
                </c:pt>
                <c:pt idx="1">
                  <c:v>0.8416691109105977</c:v>
                </c:pt>
                <c:pt idx="2">
                  <c:v>0.8163729408179303</c:v>
                </c:pt>
                <c:pt idx="3">
                  <c:v>0.7592000751042914</c:v>
                </c:pt>
                <c:pt idx="4">
                  <c:v>0.7627763992649513</c:v>
                </c:pt>
                <c:pt idx="5">
                  <c:v>0.7999937984588796</c:v>
                </c:pt>
                <c:pt idx="6">
                  <c:v>0.8090066469604885</c:v>
                </c:pt>
                <c:pt idx="7">
                  <c:v>0.8543329772308494</c:v>
                </c:pt>
                <c:pt idx="8">
                  <c:v>0.9555040184713132</c:v>
                </c:pt>
                <c:pt idx="9">
                  <c:v>0.9244750911172498</c:v>
                </c:pt>
                <c:pt idx="10">
                  <c:v>0.9109631053419567</c:v>
                </c:pt>
                <c:pt idx="11">
                  <c:v>0.8662039338692388</c:v>
                </c:pt>
                <c:pt idx="12">
                  <c:v>0.9286020042450419</c:v>
                </c:pt>
                <c:pt idx="13">
                  <c:v>0.8658565656185929</c:v>
                </c:pt>
                <c:pt idx="14">
                  <c:v>0.8699177546710353</c:v>
                </c:pt>
                <c:pt idx="15">
                  <c:v>0.864042987050819</c:v>
                </c:pt>
                <c:pt idx="16">
                  <c:v>0.8973094443404768</c:v>
                </c:pt>
                <c:pt idx="17">
                  <c:v>0.9164986585269475</c:v>
                </c:pt>
                <c:pt idx="18">
                  <c:v>0.929258288244324</c:v>
                </c:pt>
                <c:pt idx="19">
                  <c:v>0.9514374001693927</c:v>
                </c:pt>
                <c:pt idx="20">
                  <c:v>0.9370384460954638</c:v>
                </c:pt>
                <c:pt idx="21">
                  <c:v>0.8803484185826265</c:v>
                </c:pt>
                <c:pt idx="22">
                  <c:v>0.919508952354049</c:v>
                </c:pt>
                <c:pt idx="23">
                  <c:v>0.8236301820109561</c:v>
                </c:pt>
                <c:pt idx="24">
                  <c:v>0.8609674169108948</c:v>
                </c:pt>
                <c:pt idx="25">
                  <c:v>0.8412655984477574</c:v>
                </c:pt>
                <c:pt idx="26">
                  <c:v>0.9480466544478353</c:v>
                </c:pt>
                <c:pt idx="27">
                  <c:v>0.8971009709684837</c:v>
                </c:pt>
                <c:pt idx="28">
                  <c:v>0.8996965500328561</c:v>
                </c:pt>
                <c:pt idx="29">
                  <c:v>0.8516912732582481</c:v>
                </c:pt>
                <c:pt idx="30">
                  <c:v>0.7631610010271221</c:v>
                </c:pt>
                <c:pt idx="31">
                  <c:v>0.785544784484729</c:v>
                </c:pt>
                <c:pt idx="32">
                  <c:v>0.8090392036734102</c:v>
                </c:pt>
                <c:pt idx="33">
                  <c:v>0.8598519930667347</c:v>
                </c:pt>
                <c:pt idx="34">
                  <c:v>0.8595328405028959</c:v>
                </c:pt>
                <c:pt idx="35">
                  <c:v>0.8141390151092176</c:v>
                </c:pt>
                <c:pt idx="36">
                  <c:v>0.7788611515758004</c:v>
                </c:pt>
                <c:pt idx="37">
                  <c:v>0.8526311400568451</c:v>
                </c:pt>
                <c:pt idx="38">
                  <c:v>0.8523312458276888</c:v>
                </c:pt>
                <c:pt idx="39">
                  <c:v>0.8346823607816288</c:v>
                </c:pt>
                <c:pt idx="40">
                  <c:v>0.8921717261930475</c:v>
                </c:pt>
                <c:pt idx="41">
                  <c:v>0.8846862342001464</c:v>
                </c:pt>
                <c:pt idx="42">
                  <c:v>0.8642332844385483</c:v>
                </c:pt>
                <c:pt idx="43">
                  <c:v>0.9606607413531761</c:v>
                </c:pt>
                <c:pt idx="44">
                  <c:v>0.9397324121206092</c:v>
                </c:pt>
                <c:pt idx="45">
                  <c:v>0.887980443496659</c:v>
                </c:pt>
                <c:pt idx="46">
                  <c:v>0.8721489175310275</c:v>
                </c:pt>
                <c:pt idx="47">
                  <c:v>0.8944876326540158</c:v>
                </c:pt>
                <c:pt idx="48">
                  <c:v>0.9424271614139064</c:v>
                </c:pt>
                <c:pt idx="49">
                  <c:v>0.9106693576695357</c:v>
                </c:pt>
                <c:pt idx="50">
                  <c:v>0.8882527643731184</c:v>
                </c:pt>
                <c:pt idx="51">
                  <c:v>0.9131066597944322</c:v>
                </c:pt>
                <c:pt idx="52">
                  <c:v>0.7988111199078003</c:v>
                </c:pt>
                <c:pt idx="53">
                  <c:v>0.7873169783066762</c:v>
                </c:pt>
                <c:pt idx="54">
                  <c:v>0.8102837712363202</c:v>
                </c:pt>
              </c:numCache>
            </c:numRef>
          </c:xVal>
          <c:yVal>
            <c:numRef>
              <c:f>Sheet1!$B$187:$B$241</c:f>
              <c:numCache>
                <c:formatCode>General</c:formatCode>
                <c:ptCount val="55"/>
                <c:pt idx="0">
                  <c:v>0.06539769585468615</c:v>
                </c:pt>
                <c:pt idx="1">
                  <c:v>0.059429612376493454</c:v>
                </c:pt>
                <c:pt idx="2">
                  <c:v>0.061746314085255605</c:v>
                </c:pt>
                <c:pt idx="3">
                  <c:v>0.0669823824390184</c:v>
                </c:pt>
                <c:pt idx="4">
                  <c:v>0.06665485158103726</c:v>
                </c:pt>
                <c:pt idx="5">
                  <c:v>0.06324636673956119</c:v>
                </c:pt>
                <c:pt idx="6">
                  <c:v>0.062420942122000445</c:v>
                </c:pt>
                <c:pt idx="7">
                  <c:v>0.05826981622410407</c:v>
                </c:pt>
                <c:pt idx="8">
                  <c:v>0.04900425850289909</c:v>
                </c:pt>
                <c:pt idx="9">
                  <c:v>0.05184598390081033</c:v>
                </c:pt>
                <c:pt idx="10">
                  <c:v>0.05308345346318749</c:v>
                </c:pt>
                <c:pt idx="11">
                  <c:v>0.057182637199451256</c:v>
                </c:pt>
                <c:pt idx="12">
                  <c:v>0.05146802839766322</c:v>
                </c:pt>
                <c:pt idx="13">
                  <c:v>0.05721445026114767</c:v>
                </c:pt>
                <c:pt idx="14">
                  <c:v>0.056842513972652886</c:v>
                </c:pt>
                <c:pt idx="15">
                  <c:v>0.05738054341088318</c:v>
                </c:pt>
                <c:pt idx="16">
                  <c:v>0.05433389808215994</c:v>
                </c:pt>
                <c:pt idx="17">
                  <c:v>0.05257649033494978</c:v>
                </c:pt>
                <c:pt idx="18">
                  <c:v>0.05140792387365818</c:v>
                </c:pt>
                <c:pt idx="19">
                  <c:v>0.04937669201889895</c:v>
                </c:pt>
                <c:pt idx="20">
                  <c:v>0.05069539288884323</c:v>
                </c:pt>
                <c:pt idx="21">
                  <c:v>0.05588724142273785</c:v>
                </c:pt>
                <c:pt idx="22">
                  <c:v>0.052300798290360634</c:v>
                </c:pt>
                <c:pt idx="23">
                  <c:v>0.06108167342972588</c:v>
                </c:pt>
                <c:pt idx="24">
                  <c:v>0.05766221366264376</c:v>
                </c:pt>
                <c:pt idx="25">
                  <c:v>0.05946656729926415</c:v>
                </c:pt>
                <c:pt idx="26">
                  <c:v>0.049687227027887804</c:v>
                </c:pt>
                <c:pt idx="27">
                  <c:v>0.054352990720111</c:v>
                </c:pt>
                <c:pt idx="28">
                  <c:v>0.05411527953965836</c:v>
                </c:pt>
                <c:pt idx="29">
                  <c:v>0.05851175166670071</c:v>
                </c:pt>
                <c:pt idx="30">
                  <c:v>0.06661962855888212</c:v>
                </c:pt>
                <c:pt idx="31">
                  <c:v>0.06456965225041986</c:v>
                </c:pt>
                <c:pt idx="32">
                  <c:v>0.062417960477262086</c:v>
                </c:pt>
                <c:pt idx="33">
                  <c:v>0.05776436763758516</c:v>
                </c:pt>
                <c:pt idx="34">
                  <c:v>0.05779359661917774</c:v>
                </c:pt>
                <c:pt idx="35">
                  <c:v>0.0619509039297919</c:v>
                </c:pt>
                <c:pt idx="36">
                  <c:v>0.06518176008034555</c:v>
                </c:pt>
                <c:pt idx="37">
                  <c:v>0.05842567575045164</c:v>
                </c:pt>
                <c:pt idx="38">
                  <c:v>0.058453140994027625</c:v>
                </c:pt>
                <c:pt idx="39">
                  <c:v>0.06006948062149581</c:v>
                </c:pt>
                <c:pt idx="40">
                  <c:v>0.054804426243841534</c:v>
                </c:pt>
                <c:pt idx="41">
                  <c:v>0.05548997081550404</c:v>
                </c:pt>
                <c:pt idx="42">
                  <c:v>0.05736311538594065</c:v>
                </c:pt>
                <c:pt idx="43">
                  <c:v>0.04853198982869818</c:v>
                </c:pt>
                <c:pt idx="44">
                  <c:v>0.05044867112539293</c:v>
                </c:pt>
                <c:pt idx="45">
                  <c:v>0.05518827691171173</c:v>
                </c:pt>
                <c:pt idx="46">
                  <c:v>0.05663817715837091</c:v>
                </c:pt>
                <c:pt idx="47">
                  <c:v>0.05459232834776462</c:v>
                </c:pt>
                <c:pt idx="48">
                  <c:v>0.050201877627816124</c:v>
                </c:pt>
                <c:pt idx="49">
                  <c:v>0.053110355786035165</c:v>
                </c:pt>
                <c:pt idx="50">
                  <c:v>0.055163336921289705</c:v>
                </c:pt>
                <c:pt idx="51">
                  <c:v>0.05288714009856815</c:v>
                </c:pt>
                <c:pt idx="52">
                  <c:v>0.06335468010914104</c:v>
                </c:pt>
                <c:pt idx="53">
                  <c:v>0.06440734924405475</c:v>
                </c:pt>
                <c:pt idx="54">
                  <c:v>0.0623039791200407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664943123061014"/>
          <c:min val="0.0134453781512605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6.2687</c:v>
                </c:pt>
                <c:pt idx="1">
                  <c:v>855.0</c:v>
                </c:pt>
                <c:pt idx="2">
                  <c:v>825.9375</c:v>
                </c:pt>
                <c:pt idx="3">
                  <c:v>835.6087</c:v>
                </c:pt>
                <c:pt idx="4">
                  <c:v>804.8462</c:v>
                </c:pt>
                <c:pt idx="5">
                  <c:v>792.5833</c:v>
                </c:pt>
                <c:pt idx="6">
                  <c:v>785.9016</c:v>
                </c:pt>
                <c:pt idx="7">
                  <c:v>830.1163</c:v>
                </c:pt>
                <c:pt idx="8">
                  <c:v>800.275</c:v>
                </c:pt>
                <c:pt idx="9">
                  <c:v>774.4528</c:v>
                </c:pt>
                <c:pt idx="10">
                  <c:v>790.7451</c:v>
                </c:pt>
                <c:pt idx="11">
                  <c:v>782.55</c:v>
                </c:pt>
                <c:pt idx="12">
                  <c:v>785.3673</c:v>
                </c:pt>
                <c:pt idx="13">
                  <c:v>758.7759</c:v>
                </c:pt>
                <c:pt idx="14">
                  <c:v>769.5781</c:v>
                </c:pt>
                <c:pt idx="15">
                  <c:v>758.84</c:v>
                </c:pt>
                <c:pt idx="16">
                  <c:v>726.5778</c:v>
                </c:pt>
                <c:pt idx="17">
                  <c:v>740.1596</c:v>
                </c:pt>
                <c:pt idx="18">
                  <c:v>846.1026</c:v>
                </c:pt>
                <c:pt idx="19">
                  <c:v>1002.375</c:v>
                </c:pt>
                <c:pt idx="20">
                  <c:v>994.1379</c:v>
                </c:pt>
                <c:pt idx="21">
                  <c:v>934.2222</c:v>
                </c:pt>
                <c:pt idx="22">
                  <c:v>949.7778</c:v>
                </c:pt>
                <c:pt idx="23">
                  <c:v>907.5</c:v>
                </c:pt>
                <c:pt idx="24">
                  <c:v>865.9615</c:v>
                </c:pt>
                <c:pt idx="25">
                  <c:v>889.1739</c:v>
                </c:pt>
                <c:pt idx="26">
                  <c:v>905.56</c:v>
                </c:pt>
                <c:pt idx="27">
                  <c:v>902.1724</c:v>
                </c:pt>
                <c:pt idx="28">
                  <c:v>901.2941</c:v>
                </c:pt>
                <c:pt idx="29">
                  <c:v>902.4583</c:v>
                </c:pt>
                <c:pt idx="30">
                  <c:v>911.6111</c:v>
                </c:pt>
                <c:pt idx="31">
                  <c:v>968.65</c:v>
                </c:pt>
                <c:pt idx="32">
                  <c:v>966.0</c:v>
                </c:pt>
                <c:pt idx="33">
                  <c:v>970.6552</c:v>
                </c:pt>
                <c:pt idx="34">
                  <c:v>964.9615</c:v>
                </c:pt>
                <c:pt idx="35">
                  <c:v>952.4</c:v>
                </c:pt>
                <c:pt idx="36">
                  <c:v>1056.7931</c:v>
                </c:pt>
                <c:pt idx="37">
                  <c:v>1047.7879</c:v>
                </c:pt>
                <c:pt idx="38">
                  <c:v>1152.619</c:v>
                </c:pt>
                <c:pt idx="39">
                  <c:v>1009.72</c:v>
                </c:pt>
                <c:pt idx="40">
                  <c:v>1094.8077</c:v>
                </c:pt>
                <c:pt idx="41">
                  <c:v>1028.8519</c:v>
                </c:pt>
                <c:pt idx="42">
                  <c:v>1042.7333</c:v>
                </c:pt>
                <c:pt idx="43">
                  <c:v>1041.2368</c:v>
                </c:pt>
                <c:pt idx="44">
                  <c:v>986.3</c:v>
                </c:pt>
                <c:pt idx="45">
                  <c:v>961.2027</c:v>
                </c:pt>
                <c:pt idx="46">
                  <c:v>960.6173</c:v>
                </c:pt>
                <c:pt idx="47">
                  <c:v>960.2143</c:v>
                </c:pt>
                <c:pt idx="48">
                  <c:v>965.7419</c:v>
                </c:pt>
                <c:pt idx="49">
                  <c:v>938.6126</c:v>
                </c:pt>
                <c:pt idx="50">
                  <c:v>942.4953</c:v>
                </c:pt>
                <c:pt idx="51">
                  <c:v>968.3553</c:v>
                </c:pt>
                <c:pt idx="52">
                  <c:v>964.8313</c:v>
                </c:pt>
                <c:pt idx="53">
                  <c:v>1070.2879</c:v>
                </c:pt>
                <c:pt idx="54">
                  <c:v>1117.05</c:v>
                </c:pt>
                <c:pt idx="55">
                  <c:v>1082.6667</c:v>
                </c:pt>
                <c:pt idx="56">
                  <c:v>1090.3509</c:v>
                </c:pt>
                <c:pt idx="57">
                  <c:v>1084.2903</c:v>
                </c:pt>
                <c:pt idx="58">
                  <c:v>1091.8889</c:v>
                </c:pt>
                <c:pt idx="59">
                  <c:v>1066.05</c:v>
                </c:pt>
                <c:pt idx="60">
                  <c:v>1058.1596</c:v>
                </c:pt>
                <c:pt idx="61">
                  <c:v>1042.3919</c:v>
                </c:pt>
                <c:pt idx="62">
                  <c:v>1024.5556</c:v>
                </c:pt>
                <c:pt idx="63">
                  <c:v>983.967</c:v>
                </c:pt>
                <c:pt idx="64">
                  <c:v>1017.7805</c:v>
                </c:pt>
                <c:pt idx="65">
                  <c:v>989.6324</c:v>
                </c:pt>
                <c:pt idx="66">
                  <c:v>1007.2836</c:v>
                </c:pt>
                <c:pt idx="67">
                  <c:v>1057.2281</c:v>
                </c:pt>
                <c:pt idx="68">
                  <c:v>1107.1951</c:v>
                </c:pt>
                <c:pt idx="69">
                  <c:v>1110.5185</c:v>
                </c:pt>
                <c:pt idx="70">
                  <c:v>918.0313</c:v>
                </c:pt>
                <c:pt idx="71">
                  <c:v>919.2564</c:v>
                </c:pt>
                <c:pt idx="72">
                  <c:v>1077.0</c:v>
                </c:pt>
                <c:pt idx="73">
                  <c:v>1007.6875</c:v>
                </c:pt>
                <c:pt idx="74">
                  <c:v>1027.7143</c:v>
                </c:pt>
                <c:pt idx="75">
                  <c:v>980.2</c:v>
                </c:pt>
                <c:pt idx="76">
                  <c:v>1065.9</c:v>
                </c:pt>
                <c:pt idx="77">
                  <c:v>1102.2222</c:v>
                </c:pt>
                <c:pt idx="78">
                  <c:v>1195.1176</c:v>
                </c:pt>
                <c:pt idx="79">
                  <c:v>1008.1429</c:v>
                </c:pt>
                <c:pt idx="80">
                  <c:v>1072.9231</c:v>
                </c:pt>
                <c:pt idx="81">
                  <c:v>1169.2222</c:v>
                </c:pt>
                <c:pt idx="82">
                  <c:v>1212.3077</c:v>
                </c:pt>
                <c:pt idx="83">
                  <c:v>1231.3571</c:v>
                </c:pt>
                <c:pt idx="84">
                  <c:v>1266.75</c:v>
                </c:pt>
                <c:pt idx="85">
                  <c:v>1172.2</c:v>
                </c:pt>
                <c:pt idx="86">
                  <c:v>1138.7037</c:v>
                </c:pt>
                <c:pt idx="87">
                  <c:v>1114.4848</c:v>
                </c:pt>
                <c:pt idx="88">
                  <c:v>1153.2083</c:v>
                </c:pt>
                <c:pt idx="89">
                  <c:v>1087.0</c:v>
                </c:pt>
                <c:pt idx="90">
                  <c:v>1117.6296</c:v>
                </c:pt>
                <c:pt idx="91">
                  <c:v>1263.2</c:v>
                </c:pt>
                <c:pt idx="92">
                  <c:v>1167.8571</c:v>
                </c:pt>
                <c:pt idx="93">
                  <c:v>1132.625</c:v>
                </c:pt>
                <c:pt idx="94">
                  <c:v>1168.4333</c:v>
                </c:pt>
                <c:pt idx="95">
                  <c:v>1162.8276</c:v>
                </c:pt>
                <c:pt idx="96">
                  <c:v>1075.1628</c:v>
                </c:pt>
                <c:pt idx="97">
                  <c:v>1131.2222</c:v>
                </c:pt>
                <c:pt idx="98">
                  <c:v>1122.3671</c:v>
                </c:pt>
                <c:pt idx="99">
                  <c:v>1099.9804</c:v>
                </c:pt>
                <c:pt idx="100">
                  <c:v>1144.2778</c:v>
                </c:pt>
                <c:pt idx="101">
                  <c:v>1122.0313</c:v>
                </c:pt>
                <c:pt idx="102">
                  <c:v>1159.4528</c:v>
                </c:pt>
                <c:pt idx="103">
                  <c:v>574.5075</c:v>
                </c:pt>
                <c:pt idx="104">
                  <c:v>678.2286</c:v>
                </c:pt>
              </c:numCache>
            </c:numRef>
          </c:xVal>
          <c:yVal>
            <c:numRef>
              <c:f>Sheet1!$B$2:$B$106</c:f>
              <c:numCache>
                <c:formatCode>General</c:formatCode>
                <c:ptCount val="105"/>
                <c:pt idx="0">
                  <c:v>0.05161787365177196</c:v>
                </c:pt>
                <c:pt idx="1">
                  <c:v>0.054076539101497505</c:v>
                </c:pt>
                <c:pt idx="2">
                  <c:v>0.0566873339238264</c:v>
                </c:pt>
                <c:pt idx="3">
                  <c:v>0.06906906906906907</c:v>
                </c:pt>
                <c:pt idx="4">
                  <c:v>0.06842105263157895</c:v>
                </c:pt>
                <c:pt idx="5">
                  <c:v>0.05787781350482315</c:v>
                </c:pt>
                <c:pt idx="6">
                  <c:v>0.07253269916765755</c:v>
                </c:pt>
                <c:pt idx="7">
                  <c:v>0.058823529411764705</c:v>
                </c:pt>
                <c:pt idx="8">
                  <c:v>0.052980132450331126</c:v>
                </c:pt>
                <c:pt idx="9">
                  <c:v>0.04916512059369202</c:v>
                </c:pt>
                <c:pt idx="10">
                  <c:v>0.04941860465116279</c:v>
                </c:pt>
                <c:pt idx="11">
                  <c:v>0.055710306406685235</c:v>
                </c:pt>
                <c:pt idx="12">
                  <c:v>0.041737649063032366</c:v>
                </c:pt>
                <c:pt idx="13">
                  <c:v>0.05056669572798605</c:v>
                </c:pt>
                <c:pt idx="14">
                  <c:v>0.050473186119873815</c:v>
                </c:pt>
                <c:pt idx="15">
                  <c:v>0.06950880444856349</c:v>
                </c:pt>
                <c:pt idx="16">
                  <c:v>0.07853403141361257</c:v>
                </c:pt>
                <c:pt idx="17">
                  <c:v>0.09720785935884178</c:v>
                </c:pt>
                <c:pt idx="18">
                  <c:v>0.04868913857677903</c:v>
                </c:pt>
                <c:pt idx="19">
                  <c:v>0.035982008995502246</c:v>
                </c:pt>
                <c:pt idx="20">
                  <c:v>0.03871829105473965</c:v>
                </c:pt>
                <c:pt idx="21">
                  <c:v>0.03873744619799139</c:v>
                </c:pt>
                <c:pt idx="22">
                  <c:v>0.02545968882602546</c:v>
                </c:pt>
                <c:pt idx="23">
                  <c:v>0.049247606019151846</c:v>
                </c:pt>
                <c:pt idx="24">
                  <c:v>0.03795620437956204</c:v>
                </c:pt>
                <c:pt idx="25">
                  <c:v>0.03789126853377265</c:v>
                </c:pt>
                <c:pt idx="26">
                  <c:v>0.03136762860727729</c:v>
                </c:pt>
                <c:pt idx="27">
                  <c:v>0.03647798742138365</c:v>
                </c:pt>
                <c:pt idx="28">
                  <c:v>0.02316076294277929</c:v>
                </c:pt>
                <c:pt idx="29">
                  <c:v>0.03080872913992298</c:v>
                </c:pt>
                <c:pt idx="30">
                  <c:v>0.02643171806167401</c:v>
                </c:pt>
                <c:pt idx="31">
                  <c:v>0.027210884353741496</c:v>
                </c:pt>
                <c:pt idx="32">
                  <c:v>0.027137042062415198</c:v>
                </c:pt>
                <c:pt idx="33">
                  <c:v>0.030949839914621132</c:v>
                </c:pt>
                <c:pt idx="34">
                  <c:v>0.02631578947368421</c:v>
                </c:pt>
                <c:pt idx="35">
                  <c:v>0.025817555938037865</c:v>
                </c:pt>
                <c:pt idx="36">
                  <c:v>0.023809523809523808</c:v>
                </c:pt>
                <c:pt idx="37">
                  <c:v>0.032673267326732675</c:v>
                </c:pt>
                <c:pt idx="38">
                  <c:v>0.021494370522006142</c:v>
                </c:pt>
                <c:pt idx="39">
                  <c:v>0.02753303964757709</c:v>
                </c:pt>
                <c:pt idx="40">
                  <c:v>0.025565388397246803</c:v>
                </c:pt>
                <c:pt idx="41">
                  <c:v>0.0274949083503055</c:v>
                </c:pt>
                <c:pt idx="42">
                  <c:v>0.02631578947368421</c:v>
                </c:pt>
                <c:pt idx="43">
                  <c:v>0.029874213836477988</c:v>
                </c:pt>
                <c:pt idx="44">
                  <c:v>0.038314176245210725</c:v>
                </c:pt>
                <c:pt idx="45">
                  <c:v>0.03938265034592869</c:v>
                </c:pt>
                <c:pt idx="46">
                  <c:v>0.04589235127478754</c:v>
                </c:pt>
                <c:pt idx="47">
                  <c:v>0.04708520179372197</c:v>
                </c:pt>
                <c:pt idx="48">
                  <c:v>0.051176227816756084</c:v>
                </c:pt>
                <c:pt idx="49">
                  <c:v>0.07502965599051008</c:v>
                </c:pt>
                <c:pt idx="50">
                  <c:v>0.056464379947229554</c:v>
                </c:pt>
                <c:pt idx="51">
                  <c:v>0.055596196049743966</c:v>
                </c:pt>
                <c:pt idx="52">
                  <c:v>0.05627118644067797</c:v>
                </c:pt>
                <c:pt idx="53">
                  <c:v>0.0476878612716763</c:v>
                </c:pt>
                <c:pt idx="54">
                  <c:v>0.04983388704318937</c:v>
                </c:pt>
                <c:pt idx="55">
                  <c:v>0.047979797979797977</c:v>
                </c:pt>
                <c:pt idx="56">
                  <c:v>0.05632411067193676</c:v>
                </c:pt>
                <c:pt idx="57">
                  <c:v>0.060665362035225046</c:v>
                </c:pt>
                <c:pt idx="58">
                  <c:v>0.05405405405405406</c:v>
                </c:pt>
                <c:pt idx="59">
                  <c:v>0.06207324643078833</c:v>
                </c:pt>
                <c:pt idx="60">
                  <c:v>0.0649171270718232</c:v>
                </c:pt>
                <c:pt idx="61">
                  <c:v>0.05868358445678033</c:v>
                </c:pt>
                <c:pt idx="62">
                  <c:v>0.06469648562300319</c:v>
                </c:pt>
                <c:pt idx="63">
                  <c:v>0.06560922855082912</c:v>
                </c:pt>
                <c:pt idx="64">
                  <c:v>0.0560875512995896</c:v>
                </c:pt>
                <c:pt idx="65">
                  <c:v>0.04974396488661302</c:v>
                </c:pt>
                <c:pt idx="66">
                  <c:v>0.04533152909336942</c:v>
                </c:pt>
                <c:pt idx="67">
                  <c:v>0.038178164768921635</c:v>
                </c:pt>
                <c:pt idx="68">
                  <c:v>0.03144171779141104</c:v>
                </c:pt>
                <c:pt idx="69">
                  <c:v>0.029605263157894735</c:v>
                </c:pt>
                <c:pt idx="70">
                  <c:v>0.03121951219512195</c:v>
                </c:pt>
                <c:pt idx="71">
                  <c:v>0.04225352112676056</c:v>
                </c:pt>
                <c:pt idx="72">
                  <c:v>0.03314393939393939</c:v>
                </c:pt>
                <c:pt idx="73">
                  <c:v>0.03640500568828214</c:v>
                </c:pt>
                <c:pt idx="74">
                  <c:v>0.03178206583427923</c:v>
                </c:pt>
                <c:pt idx="75">
                  <c:v>0.023228803716608595</c:v>
                </c:pt>
                <c:pt idx="76">
                  <c:v>0.03456221198156682</c:v>
                </c:pt>
                <c:pt idx="77">
                  <c:v>0.024291497975708502</c:v>
                </c:pt>
                <c:pt idx="78">
                  <c:v>0.024390243902439025</c:v>
                </c:pt>
                <c:pt idx="79">
                  <c:v>0.021406727828746176</c:v>
                </c:pt>
                <c:pt idx="80">
                  <c:v>0.018413597733711047</c:v>
                </c:pt>
                <c:pt idx="81">
                  <c:v>0.02112676056338028</c:v>
                </c:pt>
                <c:pt idx="82">
                  <c:v>0.01867816091954023</c:v>
                </c:pt>
                <c:pt idx="83">
                  <c:v>0.0206794682422452</c:v>
                </c:pt>
                <c:pt idx="84">
                  <c:v>0.01680672268907563</c:v>
                </c:pt>
                <c:pt idx="85">
                  <c:v>0.02021563342318059</c:v>
                </c:pt>
                <c:pt idx="86">
                  <c:v>0.024657534246575342</c:v>
                </c:pt>
                <c:pt idx="87">
                  <c:v>0.029151943462897525</c:v>
                </c:pt>
                <c:pt idx="88">
                  <c:v>0.021524663677130046</c:v>
                </c:pt>
                <c:pt idx="89">
                  <c:v>0.025477707006369428</c:v>
                </c:pt>
                <c:pt idx="90">
                  <c:v>0.03245192307692308</c:v>
                </c:pt>
                <c:pt idx="91">
                  <c:v>0.017985611510791366</c:v>
                </c:pt>
                <c:pt idx="92">
                  <c:v>0.026046511627906978</c:v>
                </c:pt>
                <c:pt idx="93">
                  <c:v>0.021957913998170174</c:v>
                </c:pt>
                <c:pt idx="94">
                  <c:v>0.024330900243309004</c:v>
                </c:pt>
                <c:pt idx="95">
                  <c:v>0.021609538002980627</c:v>
                </c:pt>
                <c:pt idx="96">
                  <c:v>0.0244874715261959</c:v>
                </c:pt>
                <c:pt idx="97">
                  <c:v>0.031914893617021274</c:v>
                </c:pt>
                <c:pt idx="98">
                  <c:v>0.03566591422121896</c:v>
                </c:pt>
                <c:pt idx="99">
                  <c:v>0.04187192118226601</c:v>
                </c:pt>
                <c:pt idx="100">
                  <c:v>0.04375569735642662</c:v>
                </c:pt>
                <c:pt idx="101">
                  <c:v>0.05166846071044134</c:v>
                </c:pt>
                <c:pt idx="102">
                  <c:v>0.043478260869565216</c:v>
                </c:pt>
                <c:pt idx="103">
                  <c:v>0.08921438082556592</c:v>
                </c:pt>
                <c:pt idx="104">
                  <c:v>0.082742316784869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30.4949</c:v>
                </c:pt>
                <c:pt idx="1">
                  <c:v>1045.3814</c:v>
                </c:pt>
                <c:pt idx="2">
                  <c:v>1042.0323</c:v>
                </c:pt>
                <c:pt idx="3">
                  <c:v>1040.7826</c:v>
                </c:pt>
                <c:pt idx="4">
                  <c:v>1007.7113</c:v>
                </c:pt>
                <c:pt idx="5">
                  <c:v>1070.6933</c:v>
                </c:pt>
                <c:pt idx="6">
                  <c:v>1017.8793</c:v>
                </c:pt>
                <c:pt idx="7">
                  <c:v>1133.3448</c:v>
                </c:pt>
                <c:pt idx="8">
                  <c:v>1239.2632</c:v>
                </c:pt>
                <c:pt idx="9">
                  <c:v>1197.0244</c:v>
                </c:pt>
                <c:pt idx="10">
                  <c:v>1197.9245</c:v>
                </c:pt>
                <c:pt idx="11">
                  <c:v>1081.9762</c:v>
                </c:pt>
                <c:pt idx="12">
                  <c:v>1170.1364</c:v>
                </c:pt>
                <c:pt idx="13">
                  <c:v>1188.4697</c:v>
                </c:pt>
                <c:pt idx="14">
                  <c:v>1185.3448</c:v>
                </c:pt>
                <c:pt idx="15">
                  <c:v>1164.1964</c:v>
                </c:pt>
                <c:pt idx="16">
                  <c:v>1195.3462</c:v>
                </c:pt>
                <c:pt idx="17">
                  <c:v>1155.0233</c:v>
                </c:pt>
                <c:pt idx="18">
                  <c:v>1202.697</c:v>
                </c:pt>
                <c:pt idx="19">
                  <c:v>1303.5366</c:v>
                </c:pt>
                <c:pt idx="20">
                  <c:v>1307.3611</c:v>
                </c:pt>
                <c:pt idx="21">
                  <c:v>1165.6667</c:v>
                </c:pt>
                <c:pt idx="22">
                  <c:v>1183.5385</c:v>
                </c:pt>
                <c:pt idx="23">
                  <c:v>1165.2308</c:v>
                </c:pt>
                <c:pt idx="24">
                  <c:v>1198.0</c:v>
                </c:pt>
                <c:pt idx="25">
                  <c:v>1159.4643</c:v>
                </c:pt>
                <c:pt idx="26">
                  <c:v>1278.3043</c:v>
                </c:pt>
                <c:pt idx="27">
                  <c:v>1201.1842</c:v>
                </c:pt>
                <c:pt idx="28">
                  <c:v>1223.878</c:v>
                </c:pt>
                <c:pt idx="29">
                  <c:v>1217.125</c:v>
                </c:pt>
                <c:pt idx="30">
                  <c:v>1087.4681</c:v>
                </c:pt>
                <c:pt idx="31">
                  <c:v>1096.4444</c:v>
                </c:pt>
                <c:pt idx="32">
                  <c:v>1127.2162</c:v>
                </c:pt>
                <c:pt idx="33">
                  <c:v>1183.3333</c:v>
                </c:pt>
                <c:pt idx="34">
                  <c:v>1172.2969</c:v>
                </c:pt>
                <c:pt idx="35">
                  <c:v>1137.375</c:v>
                </c:pt>
                <c:pt idx="36">
                  <c:v>1132.3659</c:v>
                </c:pt>
                <c:pt idx="37">
                  <c:v>1274.0</c:v>
                </c:pt>
                <c:pt idx="38">
                  <c:v>1273.1923</c:v>
                </c:pt>
                <c:pt idx="39">
                  <c:v>1144.7414</c:v>
                </c:pt>
                <c:pt idx="40">
                  <c:v>1146.2923</c:v>
                </c:pt>
                <c:pt idx="41">
                  <c:v>1164.1081</c:v>
                </c:pt>
                <c:pt idx="42">
                  <c:v>1101.8824</c:v>
                </c:pt>
                <c:pt idx="43">
                  <c:v>1254.8727</c:v>
                </c:pt>
                <c:pt idx="44">
                  <c:v>1141.2647</c:v>
                </c:pt>
                <c:pt idx="45">
                  <c:v>1088.47</c:v>
                </c:pt>
                <c:pt idx="46">
                  <c:v>1113.1316</c:v>
                </c:pt>
                <c:pt idx="47">
                  <c:v>1132.0843</c:v>
                </c:pt>
                <c:pt idx="48">
                  <c:v>1115.3371</c:v>
                </c:pt>
                <c:pt idx="49">
                  <c:v>1077.6863</c:v>
                </c:pt>
                <c:pt idx="50">
                  <c:v>1062.5141</c:v>
                </c:pt>
                <c:pt idx="51">
                  <c:v>1033.0119</c:v>
                </c:pt>
              </c:numCache>
            </c:numRef>
          </c:xVal>
          <c:yVal>
            <c:numRef>
              <c:f>Sheet1!$B$109:$B$160</c:f>
              <c:numCache>
                <c:formatCode>General</c:formatCode>
                <c:ptCount val="52"/>
                <c:pt idx="0">
                  <c:v>0.06991525423728813</c:v>
                </c:pt>
                <c:pt idx="1">
                  <c:v>0.07101024890190337</c:v>
                </c:pt>
                <c:pt idx="2">
                  <c:v>0.06361149110807114</c:v>
                </c:pt>
                <c:pt idx="3">
                  <c:v>0.07210031347962383</c:v>
                </c:pt>
                <c:pt idx="4">
                  <c:v>0.07542768273716952</c:v>
                </c:pt>
                <c:pt idx="5">
                  <c:v>0.059008654602675056</c:v>
                </c:pt>
                <c:pt idx="6">
                  <c:v>0.057539682539682536</c:v>
                </c:pt>
                <c:pt idx="7">
                  <c:v>0.050434782608695654</c:v>
                </c:pt>
                <c:pt idx="8">
                  <c:v>0.05114401076716016</c:v>
                </c:pt>
                <c:pt idx="9">
                  <c:v>0.05593451568894952</c:v>
                </c:pt>
                <c:pt idx="10">
                  <c:v>0.058954393770856504</c:v>
                </c:pt>
                <c:pt idx="11">
                  <c:v>0.061855670103092786</c:v>
                </c:pt>
                <c:pt idx="12">
                  <c:v>0.049107142857142856</c:v>
                </c:pt>
                <c:pt idx="13">
                  <c:v>0.054455445544554455</c:v>
                </c:pt>
                <c:pt idx="14">
                  <c:v>0.051601423487544484</c:v>
                </c:pt>
                <c:pt idx="15">
                  <c:v>0.047377326565143825</c:v>
                </c:pt>
                <c:pt idx="16">
                  <c:v>0.053007135575942915</c:v>
                </c:pt>
                <c:pt idx="17">
                  <c:v>0.04668838219326819</c:v>
                </c:pt>
                <c:pt idx="18">
                  <c:v>0.04198473282442748</c:v>
                </c:pt>
                <c:pt idx="19">
                  <c:v>0.04432432432432432</c:v>
                </c:pt>
                <c:pt idx="20">
                  <c:v>0.04411764705882353</c:v>
                </c:pt>
                <c:pt idx="21">
                  <c:v>0.046948356807511735</c:v>
                </c:pt>
                <c:pt idx="22">
                  <c:v>0.042833607907743</c:v>
                </c:pt>
                <c:pt idx="23">
                  <c:v>0.04878048780487805</c:v>
                </c:pt>
                <c:pt idx="24">
                  <c:v>0.05975395430579965</c:v>
                </c:pt>
                <c:pt idx="25">
                  <c:v>0.05273069679849341</c:v>
                </c:pt>
                <c:pt idx="26">
                  <c:v>0.037520391517128875</c:v>
                </c:pt>
                <c:pt idx="27">
                  <c:v>0.05198358413132695</c:v>
                </c:pt>
                <c:pt idx="28">
                  <c:v>0.053735255570117955</c:v>
                </c:pt>
                <c:pt idx="29">
                  <c:v>0.048558421851289835</c:v>
                </c:pt>
                <c:pt idx="30">
                  <c:v>0.06932153392330384</c:v>
                </c:pt>
                <c:pt idx="31">
                  <c:v>0.05825242718446602</c:v>
                </c:pt>
                <c:pt idx="32">
                  <c:v>0.05648854961832061</c:v>
                </c:pt>
                <c:pt idx="33">
                  <c:v>0.05351170568561873</c:v>
                </c:pt>
                <c:pt idx="34">
                  <c:v>0.06153846153846154</c:v>
                </c:pt>
                <c:pt idx="35">
                  <c:v>0.06060606060606061</c:v>
                </c:pt>
                <c:pt idx="36">
                  <c:v>0.05823863636363636</c:v>
                </c:pt>
                <c:pt idx="37">
                  <c:v>0.05387647831800263</c:v>
                </c:pt>
                <c:pt idx="38">
                  <c:v>0.053061224489795916</c:v>
                </c:pt>
                <c:pt idx="39">
                  <c:v>0.07107843137254902</c:v>
                </c:pt>
                <c:pt idx="40">
                  <c:v>0.0731981981981982</c:v>
                </c:pt>
                <c:pt idx="41">
                  <c:v>0.0729064039408867</c:v>
                </c:pt>
                <c:pt idx="42">
                  <c:v>0.07879490150637311</c:v>
                </c:pt>
                <c:pt idx="43">
                  <c:v>0.05952380952380952</c:v>
                </c:pt>
                <c:pt idx="44">
                  <c:v>0.058469475494411005</c:v>
                </c:pt>
                <c:pt idx="45">
                  <c:v>0.06648936170212766</c:v>
                </c:pt>
                <c:pt idx="46">
                  <c:v>0.05850654349499615</c:v>
                </c:pt>
                <c:pt idx="47">
                  <c:v>0.05478547854785479</c:v>
                </c:pt>
                <c:pt idx="48">
                  <c:v>0.04637832204273059</c:v>
                </c:pt>
                <c:pt idx="49">
                  <c:v>0.05975395430579965</c:v>
                </c:pt>
                <c:pt idx="50">
                  <c:v>0.05646123260437376</c:v>
                </c:pt>
                <c:pt idx="51">
                  <c:v>0.0536056158264199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1.3694256471638</c:v>
                </c:pt>
              </c:numCache>
            </c:numRef>
          </c:xVal>
          <c:yVal>
            <c:numRef>
              <c:f>Sheet1!$B$163:$B$164</c:f>
              <c:numCache>
                <c:formatCode>General</c:formatCode>
                <c:ptCount val="2"/>
                <c:pt idx="0">
                  <c:v>0.06440734924405475</c:v>
                </c:pt>
                <c:pt idx="1">
                  <c:v>0.064407349244054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1.3694256471638</c:v>
                </c:pt>
                <c:pt idx="1">
                  <c:v>1041.3694256471638</c:v>
                </c:pt>
              </c:numCache>
            </c:numRef>
          </c:xVal>
          <c:yVal>
            <c:numRef>
              <c:f>Sheet1!$B$167:$B$168</c:f>
              <c:numCache>
                <c:formatCode>General</c:formatCode>
                <c:ptCount val="2"/>
                <c:pt idx="0">
                  <c:v>0.064407349244054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6.3496887646645</c:v>
                </c:pt>
              </c:numCache>
            </c:numRef>
          </c:xVal>
          <c:yVal>
            <c:numRef>
              <c:f>Sheet1!$B$171:$B$172</c:f>
              <c:numCache>
                <c:formatCode>General</c:formatCode>
                <c:ptCount val="2"/>
                <c:pt idx="0">
                  <c:v>0.06335468010914104</c:v>
                </c:pt>
                <c:pt idx="1">
                  <c:v>0.063354680109141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6.3496887646645</c:v>
                </c:pt>
                <c:pt idx="1">
                  <c:v>1056.3496887646645</c:v>
                </c:pt>
              </c:numCache>
            </c:numRef>
          </c:xVal>
          <c:yVal>
            <c:numRef>
              <c:f>Sheet1!$B$175:$B$176</c:f>
              <c:numCache>
                <c:formatCode>General</c:formatCode>
                <c:ptCount val="2"/>
                <c:pt idx="0">
                  <c:v>0.063354680109141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71.3019437064136</c:v>
                </c:pt>
              </c:numCache>
            </c:numRef>
          </c:xVal>
          <c:yVal>
            <c:numRef>
              <c:f>Sheet1!$B$179:$B$180</c:f>
              <c:numCache>
                <c:formatCode>General</c:formatCode>
                <c:ptCount val="2"/>
                <c:pt idx="0">
                  <c:v>0.06230397912004077</c:v>
                </c:pt>
                <c:pt idx="1">
                  <c:v>0.0623039791200407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71.3019437064136</c:v>
                </c:pt>
                <c:pt idx="1">
                  <c:v>1071.3019437064136</c:v>
                </c:pt>
              </c:numCache>
            </c:numRef>
          </c:xVal>
          <c:yVal>
            <c:numRef>
              <c:f>Sheet1!$B$183:$B$184</c:f>
              <c:numCache>
                <c:formatCode>General</c:formatCode>
                <c:ptCount val="2"/>
                <c:pt idx="0">
                  <c:v>0.062303979120040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30.4949</c:v>
                </c:pt>
                <c:pt idx="1">
                  <c:v>1045.3814</c:v>
                </c:pt>
                <c:pt idx="2">
                  <c:v>1042.0323</c:v>
                </c:pt>
                <c:pt idx="3">
                  <c:v>1040.7826</c:v>
                </c:pt>
                <c:pt idx="4">
                  <c:v>1007.7113</c:v>
                </c:pt>
                <c:pt idx="5">
                  <c:v>1070.6933</c:v>
                </c:pt>
                <c:pt idx="6">
                  <c:v>1017.8793</c:v>
                </c:pt>
                <c:pt idx="7">
                  <c:v>1133.3448</c:v>
                </c:pt>
                <c:pt idx="8">
                  <c:v>1239.2632</c:v>
                </c:pt>
                <c:pt idx="9">
                  <c:v>1197.0244</c:v>
                </c:pt>
                <c:pt idx="10">
                  <c:v>1197.9245</c:v>
                </c:pt>
                <c:pt idx="11">
                  <c:v>1081.9762</c:v>
                </c:pt>
                <c:pt idx="12">
                  <c:v>1170.1364</c:v>
                </c:pt>
                <c:pt idx="13">
                  <c:v>1188.4697</c:v>
                </c:pt>
                <c:pt idx="14">
                  <c:v>1185.3448</c:v>
                </c:pt>
                <c:pt idx="15">
                  <c:v>1164.1964</c:v>
                </c:pt>
                <c:pt idx="16">
                  <c:v>1195.3462</c:v>
                </c:pt>
                <c:pt idx="17">
                  <c:v>1155.0233</c:v>
                </c:pt>
                <c:pt idx="18">
                  <c:v>1202.697</c:v>
                </c:pt>
                <c:pt idx="19">
                  <c:v>1303.5366</c:v>
                </c:pt>
                <c:pt idx="20">
                  <c:v>1307.3611</c:v>
                </c:pt>
                <c:pt idx="21">
                  <c:v>1165.6667</c:v>
                </c:pt>
                <c:pt idx="22">
                  <c:v>1183.5385</c:v>
                </c:pt>
                <c:pt idx="23">
                  <c:v>1165.2308</c:v>
                </c:pt>
                <c:pt idx="24">
                  <c:v>1198.0</c:v>
                </c:pt>
                <c:pt idx="25">
                  <c:v>1159.4643</c:v>
                </c:pt>
                <c:pt idx="26">
                  <c:v>1278.3043</c:v>
                </c:pt>
                <c:pt idx="27">
                  <c:v>1201.1842</c:v>
                </c:pt>
                <c:pt idx="28">
                  <c:v>1223.878</c:v>
                </c:pt>
                <c:pt idx="29">
                  <c:v>1217.125</c:v>
                </c:pt>
                <c:pt idx="30">
                  <c:v>1087.4681</c:v>
                </c:pt>
                <c:pt idx="31">
                  <c:v>1096.4444</c:v>
                </c:pt>
                <c:pt idx="32">
                  <c:v>1127.2162</c:v>
                </c:pt>
                <c:pt idx="33">
                  <c:v>1183.3333</c:v>
                </c:pt>
                <c:pt idx="34">
                  <c:v>1172.2969</c:v>
                </c:pt>
                <c:pt idx="35">
                  <c:v>1137.375</c:v>
                </c:pt>
                <c:pt idx="36">
                  <c:v>1132.3659</c:v>
                </c:pt>
                <c:pt idx="37">
                  <c:v>1274.0</c:v>
                </c:pt>
                <c:pt idx="38">
                  <c:v>1273.1923</c:v>
                </c:pt>
                <c:pt idx="39">
                  <c:v>1144.7414</c:v>
                </c:pt>
                <c:pt idx="40">
                  <c:v>1146.2923</c:v>
                </c:pt>
                <c:pt idx="41">
                  <c:v>1164.1081</c:v>
                </c:pt>
                <c:pt idx="42">
                  <c:v>1101.8824</c:v>
                </c:pt>
                <c:pt idx="43">
                  <c:v>1254.8727</c:v>
                </c:pt>
                <c:pt idx="44">
                  <c:v>1141.2647</c:v>
                </c:pt>
                <c:pt idx="45">
                  <c:v>1088.47</c:v>
                </c:pt>
                <c:pt idx="46">
                  <c:v>1113.1316</c:v>
                </c:pt>
                <c:pt idx="47">
                  <c:v>1132.0843</c:v>
                </c:pt>
                <c:pt idx="48">
                  <c:v>1115.3371</c:v>
                </c:pt>
                <c:pt idx="49">
                  <c:v>1077.6863</c:v>
                </c:pt>
                <c:pt idx="50">
                  <c:v>1062.5141</c:v>
                </c:pt>
                <c:pt idx="51">
                  <c:v>1033.0119</c:v>
                </c:pt>
                <c:pt idx="52">
                  <c:v>1056.3496887646645</c:v>
                </c:pt>
                <c:pt idx="53">
                  <c:v>1041.3694256471638</c:v>
                </c:pt>
                <c:pt idx="54">
                  <c:v>1071.3019437064136</c:v>
                </c:pt>
              </c:numCache>
            </c:numRef>
          </c:xVal>
          <c:yVal>
            <c:numRef>
              <c:f>Sheet1!$B$187:$B$241</c:f>
              <c:numCache>
                <c:formatCode>General</c:formatCode>
                <c:ptCount val="55"/>
                <c:pt idx="0">
                  <c:v>0.07219854690737328</c:v>
                </c:pt>
                <c:pt idx="1">
                  <c:v>0.06412542618715182</c:v>
                </c:pt>
                <c:pt idx="2">
                  <c:v>0.064360768795762</c:v>
                </c:pt>
                <c:pt idx="3">
                  <c:v>0.06444858571910861</c:v>
                </c:pt>
                <c:pt idx="4">
                  <c:v>0.06677251931683036</c:v>
                </c:pt>
                <c:pt idx="5">
                  <c:v>0.06234674875892332</c:v>
                </c:pt>
                <c:pt idx="6">
                  <c:v>0.06605800985328841</c:v>
                </c:pt>
                <c:pt idx="7">
                  <c:v>0.057944202569397515</c:v>
                </c:pt>
                <c:pt idx="8">
                  <c:v>0.05050127385546939</c:v>
                </c:pt>
                <c:pt idx="9">
                  <c:v>0.053469411377957146</c:v>
                </c:pt>
                <c:pt idx="10">
                  <c:v>0.053406160987700055</c:v>
                </c:pt>
                <c:pt idx="11">
                  <c:v>0.06155389482243655</c:v>
                </c:pt>
                <c:pt idx="12">
                  <c:v>0.05535884198925886</c:v>
                </c:pt>
                <c:pt idx="13">
                  <c:v>0.054070553599412916</c:v>
                </c:pt>
                <c:pt idx="14">
                  <c:v>0.05429014158354177</c:v>
                </c:pt>
                <c:pt idx="15">
                  <c:v>0.05577624818648931</c:v>
                </c:pt>
                <c:pt idx="16">
                  <c:v>0.05358733916923529</c:v>
                </c:pt>
                <c:pt idx="17">
                  <c:v>0.05642084562551533</c:v>
                </c:pt>
                <c:pt idx="18">
                  <c:v>0.05307079548664244</c:v>
                </c:pt>
                <c:pt idx="19">
                  <c:v>0.04598475609838669</c:v>
                </c:pt>
                <c:pt idx="20">
                  <c:v>0.045716006939917356</c:v>
                </c:pt>
                <c:pt idx="21">
                  <c:v>0.055672929612114244</c:v>
                </c:pt>
                <c:pt idx="22">
                  <c:v>0.054417071013517754</c:v>
                </c:pt>
                <c:pt idx="23">
                  <c:v>0.05570356048103221</c:v>
                </c:pt>
                <c:pt idx="24">
                  <c:v>0.05340085557223022</c:v>
                </c:pt>
                <c:pt idx="25">
                  <c:v>0.05610877476324254</c:v>
                </c:pt>
                <c:pt idx="26">
                  <c:v>0.047757840002490684</c:v>
                </c:pt>
                <c:pt idx="27">
                  <c:v>0.05317710055316942</c:v>
                </c:pt>
                <c:pt idx="28">
                  <c:v>0.0515823980685384</c:v>
                </c:pt>
                <c:pt idx="29">
                  <c:v>0.052056934103874616</c:v>
                </c:pt>
                <c:pt idx="30">
                  <c:v>0.06116797679304768</c:v>
                </c:pt>
                <c:pt idx="31">
                  <c:v>0.06053720856944504</c:v>
                </c:pt>
                <c:pt idx="32">
                  <c:v>0.05837486176474205</c:v>
                </c:pt>
                <c:pt idx="33">
                  <c:v>0.05443149050033118</c:v>
                </c:pt>
                <c:pt idx="34">
                  <c:v>0.05520702278233691</c:v>
                </c:pt>
                <c:pt idx="35">
                  <c:v>0.057660998788912995</c:v>
                </c:pt>
                <c:pt idx="36">
                  <c:v>0.05801299026745625</c:v>
                </c:pt>
                <c:pt idx="37">
                  <c:v>0.0480603049005949</c:v>
                </c:pt>
                <c:pt idx="38">
                  <c:v>0.048117062305561745</c:v>
                </c:pt>
                <c:pt idx="39">
                  <c:v>0.05714335888802437</c:v>
                </c:pt>
                <c:pt idx="40">
                  <c:v>0.05703437651912123</c:v>
                </c:pt>
                <c:pt idx="41">
                  <c:v>0.05578245306312492</c:v>
                </c:pt>
                <c:pt idx="42">
                  <c:v>0.06015507811480883</c:v>
                </c:pt>
                <c:pt idx="43">
                  <c:v>0.04940438799087872</c:v>
                </c:pt>
                <c:pt idx="44">
                  <c:v>0.05738766800013062</c:v>
                </c:pt>
                <c:pt idx="45">
                  <c:v>0.061097572875706746</c:v>
                </c:pt>
                <c:pt idx="46">
                  <c:v>0.059364592290922516</c:v>
                </c:pt>
                <c:pt idx="47">
                  <c:v>0.05803277841310274</c:v>
                </c:pt>
                <c:pt idx="48">
                  <c:v>0.05920961091583973</c:v>
                </c:pt>
                <c:pt idx="49">
                  <c:v>0.06185534782672929</c:v>
                </c:pt>
                <c:pt idx="50">
                  <c:v>0.06292150444383698</c:v>
                </c:pt>
                <c:pt idx="51">
                  <c:v>0.06499463594416226</c:v>
                </c:pt>
                <c:pt idx="52">
                  <c:v>0.06335468010914104</c:v>
                </c:pt>
                <c:pt idx="53">
                  <c:v>0.06440734924405475</c:v>
                </c:pt>
                <c:pt idx="54">
                  <c:v>0.0623039791200407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9.0"/>
          <c:min val="4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664943123061014"/>
          <c:min val="0.0134453781512605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382651153000779</c:v>
                </c:pt>
                <c:pt idx="1">
                  <c:v>0.7372959382582345</c:v>
                </c:pt>
                <c:pt idx="2">
                  <c:v>0.7633433456561922</c:v>
                </c:pt>
                <c:pt idx="3">
                  <c:v>0.7332044535476907</c:v>
                </c:pt>
                <c:pt idx="4">
                  <c:v>0.8077743821352402</c:v>
                </c:pt>
                <c:pt idx="5">
                  <c:v>0.6366130923694779</c:v>
                </c:pt>
                <c:pt idx="6">
                  <c:v>0.6842107737512243</c:v>
                </c:pt>
                <c:pt idx="7">
                  <c:v>0.6485916984080476</c:v>
                </c:pt>
                <c:pt idx="8">
                  <c:v>0.6754252155258632</c:v>
                </c:pt>
                <c:pt idx="9">
                  <c:v>0.6261194133020769</c:v>
                </c:pt>
                <c:pt idx="10">
                  <c:v>0.6430028496404041</c:v>
                </c:pt>
                <c:pt idx="11">
                  <c:v>0.6218687037333419</c:v>
                </c:pt>
                <c:pt idx="12">
                  <c:v>0.6725680245587469</c:v>
                </c:pt>
                <c:pt idx="13">
                  <c:v>0.6324779578015108</c:v>
                </c:pt>
                <c:pt idx="14">
                  <c:v>0.6555179727427598</c:v>
                </c:pt>
                <c:pt idx="15">
                  <c:v>0.6255894476504534</c:v>
                </c:pt>
                <c:pt idx="16">
                  <c:v>0.6578341330918968</c:v>
                </c:pt>
                <c:pt idx="17">
                  <c:v>0.7132922353584248</c:v>
                </c:pt>
                <c:pt idx="18">
                  <c:v>0.8597015307537693</c:v>
                </c:pt>
                <c:pt idx="19">
                  <c:v>1.0366587563962841</c:v>
                </c:pt>
                <c:pt idx="20">
                  <c:v>1.014648305236543</c:v>
                </c:pt>
                <c:pt idx="21">
                  <c:v>0.8474719230569661</c:v>
                </c:pt>
                <c:pt idx="22">
                  <c:v>1.3257931563576324</c:v>
                </c:pt>
                <c:pt idx="23">
                  <c:v>1.1417629196922336</c:v>
                </c:pt>
                <c:pt idx="24">
                  <c:v>1.2288951641960661</c:v>
                </c:pt>
                <c:pt idx="25">
                  <c:v>1.1054794076037882</c:v>
                </c:pt>
                <c:pt idx="26">
                  <c:v>1.3021314141001064</c:v>
                </c:pt>
                <c:pt idx="27">
                  <c:v>1.062379180405087</c:v>
                </c:pt>
                <c:pt idx="28">
                  <c:v>0.8585983235836583</c:v>
                </c:pt>
                <c:pt idx="29">
                  <c:v>0.8517775365738556</c:v>
                </c:pt>
                <c:pt idx="30">
                  <c:v>0.7470691251792665</c:v>
                </c:pt>
                <c:pt idx="31">
                  <c:v>0.9127014039385659</c:v>
                </c:pt>
                <c:pt idx="32">
                  <c:v>0.8090452261306532</c:v>
                </c:pt>
                <c:pt idx="33">
                  <c:v>0.9897911288310289</c:v>
                </c:pt>
                <c:pt idx="34">
                  <c:v>0.79655621389403</c:v>
                </c:pt>
                <c:pt idx="35">
                  <c:v>0.8461727430914179</c:v>
                </c:pt>
                <c:pt idx="36">
                  <c:v>0.9653671365067094</c:v>
                </c:pt>
                <c:pt idx="37">
                  <c:v>0.926999823055826</c:v>
                </c:pt>
                <c:pt idx="38">
                  <c:v>1.0495316885781403</c:v>
                </c:pt>
                <c:pt idx="39">
                  <c:v>0.9992281048985651</c:v>
                </c:pt>
                <c:pt idx="40">
                  <c:v>1.0708759778228114</c:v>
                </c:pt>
                <c:pt idx="41">
                  <c:v>0.9682260392612416</c:v>
                </c:pt>
                <c:pt idx="42">
                  <c:v>0.9745171028037384</c:v>
                </c:pt>
                <c:pt idx="43">
                  <c:v>0.902415279572881</c:v>
                </c:pt>
                <c:pt idx="44">
                  <c:v>0.9708823876835846</c:v>
                </c:pt>
                <c:pt idx="45">
                  <c:v>1.1805969219817023</c:v>
                </c:pt>
                <c:pt idx="46">
                  <c:v>0.9361601169448167</c:v>
                </c:pt>
                <c:pt idx="47">
                  <c:v>0.8262492251339859</c:v>
                </c:pt>
                <c:pt idx="48">
                  <c:v>0.8862886892462707</c:v>
                </c:pt>
                <c:pt idx="49">
                  <c:v>1.058386734011905</c:v>
                </c:pt>
                <c:pt idx="50">
                  <c:v>0.9601989684813754</c:v>
                </c:pt>
                <c:pt idx="51">
                  <c:v>0.8673432088791241</c:v>
                </c:pt>
                <c:pt idx="52">
                  <c:v>0.880952065728141</c:v>
                </c:pt>
                <c:pt idx="53">
                  <c:v>0.85623032</c:v>
                </c:pt>
                <c:pt idx="54">
                  <c:v>0.993272900228825</c:v>
                </c:pt>
                <c:pt idx="55">
                  <c:v>1.0215443315472348</c:v>
                </c:pt>
                <c:pt idx="56">
                  <c:v>1.0982215241974658</c:v>
                </c:pt>
                <c:pt idx="57">
                  <c:v>1.1748730089933903</c:v>
                </c:pt>
                <c:pt idx="58">
                  <c:v>1.0951744232698093</c:v>
                </c:pt>
                <c:pt idx="59">
                  <c:v>1.1247077848705835</c:v>
                </c:pt>
                <c:pt idx="60">
                  <c:v>1.1924268649988732</c:v>
                </c:pt>
                <c:pt idx="61">
                  <c:v>1.1885882554161917</c:v>
                </c:pt>
                <c:pt idx="62">
                  <c:v>1.0820977721824605</c:v>
                </c:pt>
                <c:pt idx="63">
                  <c:v>0.8701783845923029</c:v>
                </c:pt>
                <c:pt idx="64">
                  <c:v>0.9281660662988463</c:v>
                </c:pt>
                <c:pt idx="65">
                  <c:v>0.984953869121672</c:v>
                </c:pt>
                <c:pt idx="66">
                  <c:v>0.9866347166687269</c:v>
                </c:pt>
                <c:pt idx="67">
                  <c:v>0.9216602624953263</c:v>
                </c:pt>
                <c:pt idx="68">
                  <c:v>0.9545372878985827</c:v>
                </c:pt>
                <c:pt idx="69">
                  <c:v>1.130154942119323</c:v>
                </c:pt>
                <c:pt idx="70">
                  <c:v>1.0461436164909004</c:v>
                </c:pt>
                <c:pt idx="71">
                  <c:v>0.8985888563049853</c:v>
                </c:pt>
                <c:pt idx="72">
                  <c:v>0.9005016722408027</c:v>
                </c:pt>
                <c:pt idx="73">
                  <c:v>0.9826304241833252</c:v>
                </c:pt>
                <c:pt idx="74">
                  <c:v>1.281345332786075</c:v>
                </c:pt>
                <c:pt idx="75">
                  <c:v>1.3992336904410299</c:v>
                </c:pt>
                <c:pt idx="76">
                  <c:v>1.310264290104487</c:v>
                </c:pt>
                <c:pt idx="77">
                  <c:v>1.2681367107138366</c:v>
                </c:pt>
                <c:pt idx="78">
                  <c:v>1.1787063535686286</c:v>
                </c:pt>
                <c:pt idx="79">
                  <c:v>1.161231938520563</c:v>
                </c:pt>
                <c:pt idx="80">
                  <c:v>1.012430384524652</c:v>
                </c:pt>
                <c:pt idx="81">
                  <c:v>1.0755314705185144</c:v>
                </c:pt>
                <c:pt idx="82">
                  <c:v>1.1897033366045142</c:v>
                </c:pt>
                <c:pt idx="83">
                  <c:v>1.039720233403962</c:v>
                </c:pt>
                <c:pt idx="84">
                  <c:v>1.8515405753040226</c:v>
                </c:pt>
                <c:pt idx="85">
                  <c:v>0.9861815122515512</c:v>
                </c:pt>
                <c:pt idx="86">
                  <c:v>0.9759520772832915</c:v>
                </c:pt>
                <c:pt idx="87">
                  <c:v>0.9306931073406507</c:v>
                </c:pt>
                <c:pt idx="88">
                  <c:v>0.9672294259737646</c:v>
                </c:pt>
                <c:pt idx="89">
                  <c:v>0.8418525402726146</c:v>
                </c:pt>
                <c:pt idx="90">
                  <c:v>0.8778459725876762</c:v>
                </c:pt>
                <c:pt idx="91">
                  <c:v>1.0199676924103003</c:v>
                </c:pt>
                <c:pt idx="92">
                  <c:v>0.9649630918424283</c:v>
                </c:pt>
                <c:pt idx="93">
                  <c:v>0.93912839432572</c:v>
                </c:pt>
                <c:pt idx="94">
                  <c:v>0.9144790768000436</c:v>
                </c:pt>
                <c:pt idx="95">
                  <c:v>0.7996281143617104</c:v>
                </c:pt>
                <c:pt idx="96">
                  <c:v>0.805767794298471</c:v>
                </c:pt>
                <c:pt idx="97">
                  <c:v>0.8532441990225446</c:v>
                </c:pt>
                <c:pt idx="98">
                  <c:v>0.8988242147330288</c:v>
                </c:pt>
                <c:pt idx="99">
                  <c:v>0.9050592396511213</c:v>
                </c:pt>
                <c:pt idx="100">
                  <c:v>0.9543980228072442</c:v>
                </c:pt>
                <c:pt idx="101">
                  <c:v>1.0211677993091748</c:v>
                </c:pt>
                <c:pt idx="102">
                  <c:v>0.9710659966499162</c:v>
                </c:pt>
                <c:pt idx="103">
                  <c:v>0.5553479942000967</c:v>
                </c:pt>
                <c:pt idx="104">
                  <c:v>0.6447720857212202</c:v>
                </c:pt>
              </c:numCache>
            </c:numRef>
          </c:xVal>
          <c:yVal>
            <c:numRef>
              <c:f>Sheet1!$B$2:$B$106</c:f>
              <c:numCache>
                <c:formatCode>General</c:formatCode>
                <c:ptCount val="105"/>
                <c:pt idx="0">
                  <c:v>0.05161787365177196</c:v>
                </c:pt>
                <c:pt idx="1">
                  <c:v>0.054076539101497505</c:v>
                </c:pt>
                <c:pt idx="2">
                  <c:v>0.0566873339238264</c:v>
                </c:pt>
                <c:pt idx="3">
                  <c:v>0.06906906906906907</c:v>
                </c:pt>
                <c:pt idx="4">
                  <c:v>0.06842105263157895</c:v>
                </c:pt>
                <c:pt idx="5">
                  <c:v>0.05787781350482315</c:v>
                </c:pt>
                <c:pt idx="6">
                  <c:v>0.07253269916765755</c:v>
                </c:pt>
                <c:pt idx="7">
                  <c:v>0.058823529411764705</c:v>
                </c:pt>
                <c:pt idx="8">
                  <c:v>0.052980132450331126</c:v>
                </c:pt>
                <c:pt idx="9">
                  <c:v>0.04916512059369202</c:v>
                </c:pt>
                <c:pt idx="10">
                  <c:v>0.04941860465116279</c:v>
                </c:pt>
                <c:pt idx="11">
                  <c:v>0.055710306406685235</c:v>
                </c:pt>
                <c:pt idx="12">
                  <c:v>0.041737649063032366</c:v>
                </c:pt>
                <c:pt idx="13">
                  <c:v>0.05056669572798605</c:v>
                </c:pt>
                <c:pt idx="14">
                  <c:v>0.050473186119873815</c:v>
                </c:pt>
                <c:pt idx="15">
                  <c:v>0.06950880444856349</c:v>
                </c:pt>
                <c:pt idx="16">
                  <c:v>0.07853403141361257</c:v>
                </c:pt>
                <c:pt idx="17">
                  <c:v>0.09720785935884178</c:v>
                </c:pt>
                <c:pt idx="18">
                  <c:v>0.04868913857677903</c:v>
                </c:pt>
                <c:pt idx="19">
                  <c:v>0.035982008995502246</c:v>
                </c:pt>
                <c:pt idx="20">
                  <c:v>0.03871829105473965</c:v>
                </c:pt>
                <c:pt idx="21">
                  <c:v>0.03873744619799139</c:v>
                </c:pt>
                <c:pt idx="22">
                  <c:v>0.02545968882602546</c:v>
                </c:pt>
                <c:pt idx="23">
                  <c:v>0.049247606019151846</c:v>
                </c:pt>
                <c:pt idx="24">
                  <c:v>0.03795620437956204</c:v>
                </c:pt>
                <c:pt idx="25">
                  <c:v>0.03789126853377265</c:v>
                </c:pt>
                <c:pt idx="26">
                  <c:v>0.03136762860727729</c:v>
                </c:pt>
                <c:pt idx="27">
                  <c:v>0.03647798742138365</c:v>
                </c:pt>
                <c:pt idx="28">
                  <c:v>0.02316076294277929</c:v>
                </c:pt>
                <c:pt idx="29">
                  <c:v>0.03080872913992298</c:v>
                </c:pt>
                <c:pt idx="30">
                  <c:v>0.02643171806167401</c:v>
                </c:pt>
                <c:pt idx="31">
                  <c:v>0.027210884353741496</c:v>
                </c:pt>
                <c:pt idx="32">
                  <c:v>0.027137042062415198</c:v>
                </c:pt>
                <c:pt idx="33">
                  <c:v>0.030949839914621132</c:v>
                </c:pt>
                <c:pt idx="34">
                  <c:v>0.02631578947368421</c:v>
                </c:pt>
                <c:pt idx="35">
                  <c:v>0.025817555938037865</c:v>
                </c:pt>
                <c:pt idx="36">
                  <c:v>0.023809523809523808</c:v>
                </c:pt>
                <c:pt idx="37">
                  <c:v>0.032673267326732675</c:v>
                </c:pt>
                <c:pt idx="38">
                  <c:v>0.021494370522006142</c:v>
                </c:pt>
                <c:pt idx="39">
                  <c:v>0.02753303964757709</c:v>
                </c:pt>
                <c:pt idx="40">
                  <c:v>0.025565388397246803</c:v>
                </c:pt>
                <c:pt idx="41">
                  <c:v>0.0274949083503055</c:v>
                </c:pt>
                <c:pt idx="42">
                  <c:v>0.02631578947368421</c:v>
                </c:pt>
                <c:pt idx="43">
                  <c:v>0.029874213836477988</c:v>
                </c:pt>
                <c:pt idx="44">
                  <c:v>0.038314176245210725</c:v>
                </c:pt>
                <c:pt idx="45">
                  <c:v>0.03938265034592869</c:v>
                </c:pt>
                <c:pt idx="46">
                  <c:v>0.04589235127478754</c:v>
                </c:pt>
                <c:pt idx="47">
                  <c:v>0.04708520179372197</c:v>
                </c:pt>
                <c:pt idx="48">
                  <c:v>0.051176227816756084</c:v>
                </c:pt>
                <c:pt idx="49">
                  <c:v>0.07502965599051008</c:v>
                </c:pt>
                <c:pt idx="50">
                  <c:v>0.056464379947229554</c:v>
                </c:pt>
                <c:pt idx="51">
                  <c:v>0.055596196049743966</c:v>
                </c:pt>
                <c:pt idx="52">
                  <c:v>0.05627118644067797</c:v>
                </c:pt>
                <c:pt idx="53">
                  <c:v>0.0476878612716763</c:v>
                </c:pt>
                <c:pt idx="54">
                  <c:v>0.04983388704318937</c:v>
                </c:pt>
                <c:pt idx="55">
                  <c:v>0.047979797979797977</c:v>
                </c:pt>
                <c:pt idx="56">
                  <c:v>0.05632411067193676</c:v>
                </c:pt>
                <c:pt idx="57">
                  <c:v>0.060665362035225046</c:v>
                </c:pt>
                <c:pt idx="58">
                  <c:v>0.05405405405405406</c:v>
                </c:pt>
                <c:pt idx="59">
                  <c:v>0.06207324643078833</c:v>
                </c:pt>
                <c:pt idx="60">
                  <c:v>0.0649171270718232</c:v>
                </c:pt>
                <c:pt idx="61">
                  <c:v>0.05868358445678033</c:v>
                </c:pt>
                <c:pt idx="62">
                  <c:v>0.06469648562300319</c:v>
                </c:pt>
                <c:pt idx="63">
                  <c:v>0.06560922855082912</c:v>
                </c:pt>
                <c:pt idx="64">
                  <c:v>0.0560875512995896</c:v>
                </c:pt>
                <c:pt idx="65">
                  <c:v>0.04974396488661302</c:v>
                </c:pt>
                <c:pt idx="66">
                  <c:v>0.04533152909336942</c:v>
                </c:pt>
                <c:pt idx="67">
                  <c:v>0.038178164768921635</c:v>
                </c:pt>
                <c:pt idx="68">
                  <c:v>0.03144171779141104</c:v>
                </c:pt>
                <c:pt idx="69">
                  <c:v>0.029605263157894735</c:v>
                </c:pt>
                <c:pt idx="70">
                  <c:v>0.03121951219512195</c:v>
                </c:pt>
                <c:pt idx="71">
                  <c:v>0.04225352112676056</c:v>
                </c:pt>
                <c:pt idx="72">
                  <c:v>0.03314393939393939</c:v>
                </c:pt>
                <c:pt idx="73">
                  <c:v>0.03640500568828214</c:v>
                </c:pt>
                <c:pt idx="74">
                  <c:v>0.03178206583427923</c:v>
                </c:pt>
                <c:pt idx="75">
                  <c:v>0.023228803716608595</c:v>
                </c:pt>
                <c:pt idx="76">
                  <c:v>0.03456221198156682</c:v>
                </c:pt>
                <c:pt idx="77">
                  <c:v>0.024291497975708502</c:v>
                </c:pt>
                <c:pt idx="78">
                  <c:v>0.024390243902439025</c:v>
                </c:pt>
                <c:pt idx="79">
                  <c:v>0.021406727828746176</c:v>
                </c:pt>
                <c:pt idx="80">
                  <c:v>0.018413597733711047</c:v>
                </c:pt>
                <c:pt idx="81">
                  <c:v>0.02112676056338028</c:v>
                </c:pt>
                <c:pt idx="82">
                  <c:v>0.01867816091954023</c:v>
                </c:pt>
                <c:pt idx="83">
                  <c:v>0.0206794682422452</c:v>
                </c:pt>
                <c:pt idx="84">
                  <c:v>0.01680672268907563</c:v>
                </c:pt>
                <c:pt idx="85">
                  <c:v>0.02021563342318059</c:v>
                </c:pt>
                <c:pt idx="86">
                  <c:v>0.024657534246575342</c:v>
                </c:pt>
                <c:pt idx="87">
                  <c:v>0.029151943462897525</c:v>
                </c:pt>
                <c:pt idx="88">
                  <c:v>0.021524663677130046</c:v>
                </c:pt>
                <c:pt idx="89">
                  <c:v>0.025477707006369428</c:v>
                </c:pt>
                <c:pt idx="90">
                  <c:v>0.03245192307692308</c:v>
                </c:pt>
                <c:pt idx="91">
                  <c:v>0.017985611510791366</c:v>
                </c:pt>
                <c:pt idx="92">
                  <c:v>0.026046511627906978</c:v>
                </c:pt>
                <c:pt idx="93">
                  <c:v>0.021957913998170174</c:v>
                </c:pt>
                <c:pt idx="94">
                  <c:v>0.024330900243309004</c:v>
                </c:pt>
                <c:pt idx="95">
                  <c:v>0.021609538002980627</c:v>
                </c:pt>
                <c:pt idx="96">
                  <c:v>0.0244874715261959</c:v>
                </c:pt>
                <c:pt idx="97">
                  <c:v>0.031914893617021274</c:v>
                </c:pt>
                <c:pt idx="98">
                  <c:v>0.03566591422121896</c:v>
                </c:pt>
                <c:pt idx="99">
                  <c:v>0.04187192118226601</c:v>
                </c:pt>
                <c:pt idx="100">
                  <c:v>0.04375569735642662</c:v>
                </c:pt>
                <c:pt idx="101">
                  <c:v>0.05166846071044134</c:v>
                </c:pt>
                <c:pt idx="102">
                  <c:v>0.043478260869565216</c:v>
                </c:pt>
                <c:pt idx="103">
                  <c:v>0.08921438082556592</c:v>
                </c:pt>
                <c:pt idx="104">
                  <c:v>0.082742316784869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675575068843234</c:v>
                </c:pt>
                <c:pt idx="1">
                  <c:v>0.9281279351325225</c:v>
                </c:pt>
                <c:pt idx="2">
                  <c:v>0.9373955245698865</c:v>
                </c:pt>
                <c:pt idx="3">
                  <c:v>0.7978637928371209</c:v>
                </c:pt>
                <c:pt idx="4">
                  <c:v>0.8405036125736329</c:v>
                </c:pt>
                <c:pt idx="5">
                  <c:v>0.8532554085072495</c:v>
                </c:pt>
                <c:pt idx="6">
                  <c:v>0.854244065488845</c:v>
                </c:pt>
                <c:pt idx="7">
                  <c:v>1.0451078106940375</c:v>
                </c:pt>
                <c:pt idx="8">
                  <c:v>1.0205806323406597</c:v>
                </c:pt>
                <c:pt idx="9">
                  <c:v>1.2196432947222717</c:v>
                </c:pt>
                <c:pt idx="10">
                  <c:v>1.0756258417886324</c:v>
                </c:pt>
                <c:pt idx="11">
                  <c:v>0.8811598664386351</c:v>
                </c:pt>
                <c:pt idx="12">
                  <c:v>1.10712263322171</c:v>
                </c:pt>
                <c:pt idx="13">
                  <c:v>1.0962964896678455</c:v>
                </c:pt>
                <c:pt idx="14">
                  <c:v>1.0021031280955242</c:v>
                </c:pt>
                <c:pt idx="15">
                  <c:v>1.0322720340485902</c:v>
                </c:pt>
                <c:pt idx="16">
                  <c:v>1.0532612564983699</c:v>
                </c:pt>
                <c:pt idx="17">
                  <c:v>0.9578631640045104</c:v>
                </c:pt>
                <c:pt idx="18">
                  <c:v>1.1927573948018972</c:v>
                </c:pt>
                <c:pt idx="19">
                  <c:v>1.201495287339646</c:v>
                </c:pt>
                <c:pt idx="20">
                  <c:v>1.0162593113235208</c:v>
                </c:pt>
                <c:pt idx="21">
                  <c:v>1.0573899673439766</c:v>
                </c:pt>
                <c:pt idx="22">
                  <c:v>1.0767271652110626</c:v>
                </c:pt>
                <c:pt idx="23">
                  <c:v>0.9350271224522548</c:v>
                </c:pt>
                <c:pt idx="24">
                  <c:v>1.1725937627212475</c:v>
                </c:pt>
                <c:pt idx="25">
                  <c:v>0.9490470071439779</c:v>
                </c:pt>
                <c:pt idx="26">
                  <c:v>1.1088370712400484</c:v>
                </c:pt>
                <c:pt idx="27">
                  <c:v>1.5307803424930306</c:v>
                </c:pt>
                <c:pt idx="28">
                  <c:v>1.2491100224535618</c:v>
                </c:pt>
                <c:pt idx="29">
                  <c:v>1.0873365901839225</c:v>
                </c:pt>
                <c:pt idx="30">
                  <c:v>0.9626450881485663</c:v>
                </c:pt>
                <c:pt idx="31">
                  <c:v>0.9910242006552933</c:v>
                </c:pt>
                <c:pt idx="32">
                  <c:v>0.9435027269699542</c:v>
                </c:pt>
                <c:pt idx="33">
                  <c:v>1.0182130498146265</c:v>
                </c:pt>
                <c:pt idx="34">
                  <c:v>0.9350754567129431</c:v>
                </c:pt>
                <c:pt idx="35">
                  <c:v>0.9502872062663186</c:v>
                </c:pt>
                <c:pt idx="36">
                  <c:v>1.0127799796239418</c:v>
                </c:pt>
                <c:pt idx="37">
                  <c:v>1.1218080093393599</c:v>
                </c:pt>
                <c:pt idx="38">
                  <c:v>1.0824419909775551</c:v>
                </c:pt>
                <c:pt idx="39">
                  <c:v>1.1012423280423282</c:v>
                </c:pt>
                <c:pt idx="40">
                  <c:v>1.084541233516646</c:v>
                </c:pt>
                <c:pt idx="41">
                  <c:v>1.0229920723719013</c:v>
                </c:pt>
                <c:pt idx="42">
                  <c:v>0.9001081306982129</c:v>
                </c:pt>
                <c:pt idx="43">
                  <c:v>1.0500351065274542</c:v>
                </c:pt>
                <c:pt idx="44">
                  <c:v>0.9765876136485185</c:v>
                </c:pt>
                <c:pt idx="45">
                  <c:v>0.947319408181027</c:v>
                </c:pt>
                <c:pt idx="46">
                  <c:v>1.0029602299850195</c:v>
                </c:pt>
                <c:pt idx="47">
                  <c:v>1.0457363828381203</c:v>
                </c:pt>
                <c:pt idx="48">
                  <c:v>1.0970252258229947</c:v>
                </c:pt>
                <c:pt idx="49">
                  <c:v>1.0650692763386373</c:v>
                </c:pt>
                <c:pt idx="50">
                  <c:v>0.9208455164995129</c:v>
                </c:pt>
                <c:pt idx="51">
                  <c:v>0.9163322861127228</c:v>
                </c:pt>
              </c:numCache>
            </c:numRef>
          </c:xVal>
          <c:yVal>
            <c:numRef>
              <c:f>Sheet1!$B$109:$B$160</c:f>
              <c:numCache>
                <c:formatCode>General</c:formatCode>
                <c:ptCount val="52"/>
                <c:pt idx="0">
                  <c:v>0.06991525423728813</c:v>
                </c:pt>
                <c:pt idx="1">
                  <c:v>0.07101024890190337</c:v>
                </c:pt>
                <c:pt idx="2">
                  <c:v>0.06361149110807114</c:v>
                </c:pt>
                <c:pt idx="3">
                  <c:v>0.07210031347962383</c:v>
                </c:pt>
                <c:pt idx="4">
                  <c:v>0.07542768273716952</c:v>
                </c:pt>
                <c:pt idx="5">
                  <c:v>0.059008654602675056</c:v>
                </c:pt>
                <c:pt idx="6">
                  <c:v>0.057539682539682536</c:v>
                </c:pt>
                <c:pt idx="7">
                  <c:v>0.050434782608695654</c:v>
                </c:pt>
                <c:pt idx="8">
                  <c:v>0.05114401076716016</c:v>
                </c:pt>
                <c:pt idx="9">
                  <c:v>0.05593451568894952</c:v>
                </c:pt>
                <c:pt idx="10">
                  <c:v>0.058954393770856504</c:v>
                </c:pt>
                <c:pt idx="11">
                  <c:v>0.061855670103092786</c:v>
                </c:pt>
                <c:pt idx="12">
                  <c:v>0.049107142857142856</c:v>
                </c:pt>
                <c:pt idx="13">
                  <c:v>0.054455445544554455</c:v>
                </c:pt>
                <c:pt idx="14">
                  <c:v>0.051601423487544484</c:v>
                </c:pt>
                <c:pt idx="15">
                  <c:v>0.047377326565143825</c:v>
                </c:pt>
                <c:pt idx="16">
                  <c:v>0.053007135575942915</c:v>
                </c:pt>
                <c:pt idx="17">
                  <c:v>0.04668838219326819</c:v>
                </c:pt>
                <c:pt idx="18">
                  <c:v>0.04198473282442748</c:v>
                </c:pt>
                <c:pt idx="19">
                  <c:v>0.04432432432432432</c:v>
                </c:pt>
                <c:pt idx="20">
                  <c:v>0.04411764705882353</c:v>
                </c:pt>
                <c:pt idx="21">
                  <c:v>0.046948356807511735</c:v>
                </c:pt>
                <c:pt idx="22">
                  <c:v>0.042833607907743</c:v>
                </c:pt>
                <c:pt idx="23">
                  <c:v>0.04878048780487805</c:v>
                </c:pt>
                <c:pt idx="24">
                  <c:v>0.05975395430579965</c:v>
                </c:pt>
                <c:pt idx="25">
                  <c:v>0.05273069679849341</c:v>
                </c:pt>
                <c:pt idx="26">
                  <c:v>0.037520391517128875</c:v>
                </c:pt>
                <c:pt idx="27">
                  <c:v>0.05198358413132695</c:v>
                </c:pt>
                <c:pt idx="28">
                  <c:v>0.053735255570117955</c:v>
                </c:pt>
                <c:pt idx="29">
                  <c:v>0.048558421851289835</c:v>
                </c:pt>
                <c:pt idx="30">
                  <c:v>0.06932153392330384</c:v>
                </c:pt>
                <c:pt idx="31">
                  <c:v>0.05825242718446602</c:v>
                </c:pt>
                <c:pt idx="32">
                  <c:v>0.05648854961832061</c:v>
                </c:pt>
                <c:pt idx="33">
                  <c:v>0.05351170568561873</c:v>
                </c:pt>
                <c:pt idx="34">
                  <c:v>0.06153846153846154</c:v>
                </c:pt>
                <c:pt idx="35">
                  <c:v>0.06060606060606061</c:v>
                </c:pt>
                <c:pt idx="36">
                  <c:v>0.05823863636363636</c:v>
                </c:pt>
                <c:pt idx="37">
                  <c:v>0.05387647831800263</c:v>
                </c:pt>
                <c:pt idx="38">
                  <c:v>0.053061224489795916</c:v>
                </c:pt>
                <c:pt idx="39">
                  <c:v>0.07107843137254902</c:v>
                </c:pt>
                <c:pt idx="40">
                  <c:v>0.0731981981981982</c:v>
                </c:pt>
                <c:pt idx="41">
                  <c:v>0.0729064039408867</c:v>
                </c:pt>
                <c:pt idx="42">
                  <c:v>0.07879490150637311</c:v>
                </c:pt>
                <c:pt idx="43">
                  <c:v>0.05952380952380952</c:v>
                </c:pt>
                <c:pt idx="44">
                  <c:v>0.058469475494411005</c:v>
                </c:pt>
                <c:pt idx="45">
                  <c:v>0.06648936170212766</c:v>
                </c:pt>
                <c:pt idx="46">
                  <c:v>0.05850654349499615</c:v>
                </c:pt>
                <c:pt idx="47">
                  <c:v>0.05478547854785479</c:v>
                </c:pt>
                <c:pt idx="48">
                  <c:v>0.04637832204273059</c:v>
                </c:pt>
                <c:pt idx="49">
                  <c:v>0.05975395430579965</c:v>
                </c:pt>
                <c:pt idx="50">
                  <c:v>0.05646123260437376</c:v>
                </c:pt>
                <c:pt idx="51">
                  <c:v>0.0536056158264199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955083758086806</c:v>
                </c:pt>
              </c:numCache>
            </c:numRef>
          </c:xVal>
          <c:yVal>
            <c:numRef>
              <c:f>Sheet1!$B$163:$B$164</c:f>
              <c:numCache>
                <c:formatCode>General</c:formatCode>
                <c:ptCount val="2"/>
                <c:pt idx="0">
                  <c:v>0.06440734924405475</c:v>
                </c:pt>
                <c:pt idx="1">
                  <c:v>0.064407349244054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955083758086806</c:v>
                </c:pt>
                <c:pt idx="1">
                  <c:v>0.7955083758086806</c:v>
                </c:pt>
              </c:numCache>
            </c:numRef>
          </c:xVal>
          <c:yVal>
            <c:numRef>
              <c:f>Sheet1!$B$167:$B$168</c:f>
              <c:numCache>
                <c:formatCode>General</c:formatCode>
                <c:ptCount val="2"/>
                <c:pt idx="0">
                  <c:v>0.064407349244054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275525380146327</c:v>
                </c:pt>
              </c:numCache>
            </c:numRef>
          </c:xVal>
          <c:yVal>
            <c:numRef>
              <c:f>Sheet1!$B$171:$B$172</c:f>
              <c:numCache>
                <c:formatCode>General</c:formatCode>
                <c:ptCount val="2"/>
                <c:pt idx="0">
                  <c:v>0.06335468010914104</c:v>
                </c:pt>
                <c:pt idx="1">
                  <c:v>0.063354680109141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275525380146327</c:v>
                </c:pt>
                <c:pt idx="1">
                  <c:v>0.8275525380146327</c:v>
                </c:pt>
              </c:numCache>
            </c:numRef>
          </c:xVal>
          <c:yVal>
            <c:numRef>
              <c:f>Sheet1!$B$175:$B$176</c:f>
              <c:numCache>
                <c:formatCode>General</c:formatCode>
                <c:ptCount val="2"/>
                <c:pt idx="0">
                  <c:v>0.063354680109141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95367881536312</c:v>
                </c:pt>
              </c:numCache>
            </c:numRef>
          </c:xVal>
          <c:yVal>
            <c:numRef>
              <c:f>Sheet1!$B$179:$B$180</c:f>
              <c:numCache>
                <c:formatCode>General</c:formatCode>
                <c:ptCount val="2"/>
                <c:pt idx="0">
                  <c:v>0.06230397912004077</c:v>
                </c:pt>
                <c:pt idx="1">
                  <c:v>0.0623039791200407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95367881536312</c:v>
                </c:pt>
                <c:pt idx="1">
                  <c:v>0.8595367881536312</c:v>
                </c:pt>
              </c:numCache>
            </c:numRef>
          </c:xVal>
          <c:yVal>
            <c:numRef>
              <c:f>Sheet1!$B$183:$B$184</c:f>
              <c:numCache>
                <c:formatCode>General</c:formatCode>
                <c:ptCount val="2"/>
                <c:pt idx="0">
                  <c:v>0.062303979120040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675575068843234</c:v>
                </c:pt>
                <c:pt idx="1">
                  <c:v>0.9281279351325225</c:v>
                </c:pt>
                <c:pt idx="2">
                  <c:v>0.9373955245698865</c:v>
                </c:pt>
                <c:pt idx="3">
                  <c:v>0.7978637928371209</c:v>
                </c:pt>
                <c:pt idx="4">
                  <c:v>0.8405036125736329</c:v>
                </c:pt>
                <c:pt idx="5">
                  <c:v>0.8532554085072495</c:v>
                </c:pt>
                <c:pt idx="6">
                  <c:v>0.854244065488845</c:v>
                </c:pt>
                <c:pt idx="7">
                  <c:v>1.0451078106940375</c:v>
                </c:pt>
                <c:pt idx="8">
                  <c:v>1.0205806323406597</c:v>
                </c:pt>
                <c:pt idx="9">
                  <c:v>1.2196432947222717</c:v>
                </c:pt>
                <c:pt idx="10">
                  <c:v>1.0756258417886324</c:v>
                </c:pt>
                <c:pt idx="11">
                  <c:v>0.8811598664386351</c:v>
                </c:pt>
                <c:pt idx="12">
                  <c:v>1.10712263322171</c:v>
                </c:pt>
                <c:pt idx="13">
                  <c:v>1.0962964896678455</c:v>
                </c:pt>
                <c:pt idx="14">
                  <c:v>1.0021031280955242</c:v>
                </c:pt>
                <c:pt idx="15">
                  <c:v>1.0322720340485902</c:v>
                </c:pt>
                <c:pt idx="16">
                  <c:v>1.0532612564983699</c:v>
                </c:pt>
                <c:pt idx="17">
                  <c:v>0.9578631640045104</c:v>
                </c:pt>
                <c:pt idx="18">
                  <c:v>1.1927573948018972</c:v>
                </c:pt>
                <c:pt idx="19">
                  <c:v>1.201495287339646</c:v>
                </c:pt>
                <c:pt idx="20">
                  <c:v>1.0162593113235208</c:v>
                </c:pt>
                <c:pt idx="21">
                  <c:v>1.0573899673439766</c:v>
                </c:pt>
                <c:pt idx="22">
                  <c:v>1.0767271652110626</c:v>
                </c:pt>
                <c:pt idx="23">
                  <c:v>0.9350271224522548</c:v>
                </c:pt>
                <c:pt idx="24">
                  <c:v>1.1725937627212475</c:v>
                </c:pt>
                <c:pt idx="25">
                  <c:v>0.9490470071439779</c:v>
                </c:pt>
                <c:pt idx="26">
                  <c:v>1.1088370712400484</c:v>
                </c:pt>
                <c:pt idx="27">
                  <c:v>1.5307803424930306</c:v>
                </c:pt>
                <c:pt idx="28">
                  <c:v>1.2491100224535618</c:v>
                </c:pt>
                <c:pt idx="29">
                  <c:v>1.0873365901839225</c:v>
                </c:pt>
                <c:pt idx="30">
                  <c:v>0.9626450881485663</c:v>
                </c:pt>
                <c:pt idx="31">
                  <c:v>0.9910242006552933</c:v>
                </c:pt>
                <c:pt idx="32">
                  <c:v>0.9435027269699542</c:v>
                </c:pt>
                <c:pt idx="33">
                  <c:v>1.0182130498146265</c:v>
                </c:pt>
                <c:pt idx="34">
                  <c:v>0.9350754567129431</c:v>
                </c:pt>
                <c:pt idx="35">
                  <c:v>0.9502872062663186</c:v>
                </c:pt>
                <c:pt idx="36">
                  <c:v>1.0127799796239418</c:v>
                </c:pt>
                <c:pt idx="37">
                  <c:v>1.1218080093393599</c:v>
                </c:pt>
                <c:pt idx="38">
                  <c:v>1.0824419909775551</c:v>
                </c:pt>
                <c:pt idx="39">
                  <c:v>1.1012423280423282</c:v>
                </c:pt>
                <c:pt idx="40">
                  <c:v>1.084541233516646</c:v>
                </c:pt>
                <c:pt idx="41">
                  <c:v>1.0229920723719013</c:v>
                </c:pt>
                <c:pt idx="42">
                  <c:v>0.9001081306982129</c:v>
                </c:pt>
                <c:pt idx="43">
                  <c:v>1.0500351065274542</c:v>
                </c:pt>
                <c:pt idx="44">
                  <c:v>0.9765876136485185</c:v>
                </c:pt>
                <c:pt idx="45">
                  <c:v>0.947319408181027</c:v>
                </c:pt>
                <c:pt idx="46">
                  <c:v>1.0029602299850195</c:v>
                </c:pt>
                <c:pt idx="47">
                  <c:v>1.0457363828381203</c:v>
                </c:pt>
                <c:pt idx="48">
                  <c:v>1.0970252258229947</c:v>
                </c:pt>
                <c:pt idx="49">
                  <c:v>1.0650692763386373</c:v>
                </c:pt>
                <c:pt idx="50">
                  <c:v>0.9208455164995129</c:v>
                </c:pt>
                <c:pt idx="51">
                  <c:v>0.9163322861127228</c:v>
                </c:pt>
                <c:pt idx="52">
                  <c:v>0.8275525380146327</c:v>
                </c:pt>
                <c:pt idx="53">
                  <c:v>0.7955083758086806</c:v>
                </c:pt>
                <c:pt idx="54">
                  <c:v>0.8595367881536312</c:v>
                </c:pt>
              </c:numCache>
            </c:numRef>
          </c:xVal>
          <c:yVal>
            <c:numRef>
              <c:f>Sheet1!$B$187:$B$241</c:f>
              <c:numCache>
                <c:formatCode>General</c:formatCode>
                <c:ptCount val="55"/>
                <c:pt idx="0">
                  <c:v>0.06204049390256626</c:v>
                </c:pt>
                <c:pt idx="1">
                  <c:v>0.060050720542427</c:v>
                </c:pt>
                <c:pt idx="2">
                  <c:v>0.05974627490602483</c:v>
                </c:pt>
                <c:pt idx="3">
                  <c:v>0.06432997244169826</c:v>
                </c:pt>
                <c:pt idx="4">
                  <c:v>0.06292922987066692</c:v>
                </c:pt>
                <c:pt idx="5">
                  <c:v>0.06251032604950404</c:v>
                </c:pt>
                <c:pt idx="6">
                  <c:v>0.06247784809976538</c:v>
                </c:pt>
                <c:pt idx="7">
                  <c:v>0.05620786443596339</c:v>
                </c:pt>
                <c:pt idx="8">
                  <c:v>0.05701359633349849</c:v>
                </c:pt>
                <c:pt idx="9">
                  <c:v>0.05047427353092109</c:v>
                </c:pt>
                <c:pt idx="10">
                  <c:v>0.05520532958468087</c:v>
                </c:pt>
                <c:pt idx="11">
                  <c:v>0.06159364857789233</c:v>
                </c:pt>
                <c:pt idx="12">
                  <c:v>0.05417064189407067</c:v>
                </c:pt>
                <c:pt idx="13">
                  <c:v>0.05452628692844705</c:v>
                </c:pt>
                <c:pt idx="14">
                  <c:v>0.0576205929615919</c:v>
                </c:pt>
                <c:pt idx="15">
                  <c:v>0.05662952707174916</c:v>
                </c:pt>
                <c:pt idx="16">
                  <c:v>0.055940019057880194</c:v>
                </c:pt>
                <c:pt idx="17">
                  <c:v>0.059073901193805595</c:v>
                </c:pt>
                <c:pt idx="18">
                  <c:v>0.05135749078680242</c:v>
                </c:pt>
                <c:pt idx="19">
                  <c:v>0.05107044599781516</c:v>
                </c:pt>
                <c:pt idx="20">
                  <c:v>0.05715555421111625</c:v>
                </c:pt>
                <c:pt idx="21">
                  <c:v>0.05580438853503424</c:v>
                </c:pt>
                <c:pt idx="22">
                  <c:v>0.055169150477644195</c:v>
                </c:pt>
                <c:pt idx="23">
                  <c:v>0.05982407827602</c:v>
                </c:pt>
                <c:pt idx="24">
                  <c:v>0.052019877682819106</c:v>
                </c:pt>
                <c:pt idx="25">
                  <c:v>0.059363517010752015</c:v>
                </c:pt>
                <c:pt idx="26">
                  <c:v>0.05411432162038</c:v>
                </c:pt>
                <c:pt idx="27">
                  <c:v>0.040253242791799</c:v>
                </c:pt>
                <c:pt idx="28">
                  <c:v>0.049506274599001025</c:v>
                </c:pt>
                <c:pt idx="29">
                  <c:v>0.05482062477313887</c:v>
                </c:pt>
                <c:pt idx="30">
                  <c:v>0.05891681223889413</c:v>
                </c:pt>
                <c:pt idx="31">
                  <c:v>0.057984542091836705</c:v>
                </c:pt>
                <c:pt idx="32">
                  <c:v>0.05954564979915192</c:v>
                </c:pt>
                <c:pt idx="33">
                  <c:v>0.057091372779438876</c:v>
                </c:pt>
                <c:pt idx="34">
                  <c:v>0.05982249046779277</c:v>
                </c:pt>
                <c:pt idx="35">
                  <c:v>0.05932277575720185</c:v>
                </c:pt>
                <c:pt idx="36">
                  <c:v>0.0572698522560061</c:v>
                </c:pt>
                <c:pt idx="37">
                  <c:v>0.05368821885319686</c:v>
                </c:pt>
                <c:pt idx="38">
                  <c:v>0.05498141516856881</c:v>
                </c:pt>
                <c:pt idx="39">
                  <c:v>0.0543638132969123</c:v>
                </c:pt>
                <c:pt idx="40">
                  <c:v>0.05491245384533632</c:v>
                </c:pt>
                <c:pt idx="41">
                  <c:v>0.05693437914331988</c:v>
                </c:pt>
                <c:pt idx="42">
                  <c:v>0.060971187212915806</c:v>
                </c:pt>
                <c:pt idx="43">
                  <c:v>0.056045999937553645</c:v>
                </c:pt>
                <c:pt idx="44">
                  <c:v>0.05845879226751161</c:v>
                </c:pt>
                <c:pt idx="45">
                  <c:v>0.05942026962903296</c:v>
                </c:pt>
                <c:pt idx="46">
                  <c:v>0.05759243667219513</c:v>
                </c:pt>
                <c:pt idx="47">
                  <c:v>0.05618721547997291</c:v>
                </c:pt>
                <c:pt idx="48">
                  <c:v>0.054502347527157956</c:v>
                </c:pt>
                <c:pt idx="49">
                  <c:v>0.055552118823497115</c:v>
                </c:pt>
                <c:pt idx="50">
                  <c:v>0.06028995217760658</c:v>
                </c:pt>
                <c:pt idx="51">
                  <c:v>0.06043821438825181</c:v>
                </c:pt>
                <c:pt idx="52">
                  <c:v>0.06335468010914104</c:v>
                </c:pt>
                <c:pt idx="53">
                  <c:v>0.06440734924405475</c:v>
                </c:pt>
                <c:pt idx="54">
                  <c:v>0.062303979120040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664943123061014"/>
          <c:min val="0.0134453781512605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6.2687</c:v>
                </c:pt>
                <c:pt idx="1">
                  <c:v>855.0</c:v>
                </c:pt>
                <c:pt idx="2">
                  <c:v>825.9375</c:v>
                </c:pt>
                <c:pt idx="3">
                  <c:v>835.6087</c:v>
                </c:pt>
                <c:pt idx="4">
                  <c:v>804.8462</c:v>
                </c:pt>
                <c:pt idx="5">
                  <c:v>792.5833</c:v>
                </c:pt>
                <c:pt idx="6">
                  <c:v>785.9016</c:v>
                </c:pt>
                <c:pt idx="7">
                  <c:v>830.1163</c:v>
                </c:pt>
                <c:pt idx="8">
                  <c:v>800.275</c:v>
                </c:pt>
                <c:pt idx="9">
                  <c:v>774.4528</c:v>
                </c:pt>
                <c:pt idx="10">
                  <c:v>790.7451</c:v>
                </c:pt>
                <c:pt idx="11">
                  <c:v>782.55</c:v>
                </c:pt>
                <c:pt idx="12">
                  <c:v>785.3673</c:v>
                </c:pt>
                <c:pt idx="13">
                  <c:v>758.7759</c:v>
                </c:pt>
                <c:pt idx="14">
                  <c:v>769.5781</c:v>
                </c:pt>
                <c:pt idx="15">
                  <c:v>758.84</c:v>
                </c:pt>
                <c:pt idx="16">
                  <c:v>726.5778</c:v>
                </c:pt>
                <c:pt idx="17">
                  <c:v>740.1596</c:v>
                </c:pt>
                <c:pt idx="18">
                  <c:v>846.1026</c:v>
                </c:pt>
                <c:pt idx="19">
                  <c:v>1002.375</c:v>
                </c:pt>
                <c:pt idx="20">
                  <c:v>994.1379</c:v>
                </c:pt>
                <c:pt idx="21">
                  <c:v>934.2222</c:v>
                </c:pt>
                <c:pt idx="22">
                  <c:v>949.7778</c:v>
                </c:pt>
                <c:pt idx="23">
                  <c:v>907.5</c:v>
                </c:pt>
                <c:pt idx="24">
                  <c:v>865.9615</c:v>
                </c:pt>
                <c:pt idx="25">
                  <c:v>889.1739</c:v>
                </c:pt>
                <c:pt idx="26">
                  <c:v>905.56</c:v>
                </c:pt>
                <c:pt idx="27">
                  <c:v>902.1724</c:v>
                </c:pt>
                <c:pt idx="28">
                  <c:v>901.2941</c:v>
                </c:pt>
                <c:pt idx="29">
                  <c:v>902.4583</c:v>
                </c:pt>
                <c:pt idx="30">
                  <c:v>911.6111</c:v>
                </c:pt>
                <c:pt idx="31">
                  <c:v>968.65</c:v>
                </c:pt>
                <c:pt idx="32">
                  <c:v>966.0</c:v>
                </c:pt>
                <c:pt idx="33">
                  <c:v>970.6552</c:v>
                </c:pt>
                <c:pt idx="34">
                  <c:v>964.9615</c:v>
                </c:pt>
                <c:pt idx="35">
                  <c:v>952.4</c:v>
                </c:pt>
                <c:pt idx="36">
                  <c:v>1056.7931</c:v>
                </c:pt>
                <c:pt idx="37">
                  <c:v>1047.7879</c:v>
                </c:pt>
                <c:pt idx="38">
                  <c:v>1152.619</c:v>
                </c:pt>
                <c:pt idx="39">
                  <c:v>1009.72</c:v>
                </c:pt>
                <c:pt idx="40">
                  <c:v>1094.8077</c:v>
                </c:pt>
                <c:pt idx="41">
                  <c:v>1028.8519</c:v>
                </c:pt>
                <c:pt idx="42">
                  <c:v>1042.7333</c:v>
                </c:pt>
                <c:pt idx="43">
                  <c:v>1041.2368</c:v>
                </c:pt>
                <c:pt idx="44">
                  <c:v>986.3</c:v>
                </c:pt>
                <c:pt idx="45">
                  <c:v>961.2027</c:v>
                </c:pt>
                <c:pt idx="46">
                  <c:v>960.6173</c:v>
                </c:pt>
                <c:pt idx="47">
                  <c:v>960.2143</c:v>
                </c:pt>
                <c:pt idx="48">
                  <c:v>965.7419</c:v>
                </c:pt>
                <c:pt idx="49">
                  <c:v>938.6126</c:v>
                </c:pt>
                <c:pt idx="50">
                  <c:v>942.4953</c:v>
                </c:pt>
                <c:pt idx="51">
                  <c:v>968.3553</c:v>
                </c:pt>
                <c:pt idx="52">
                  <c:v>964.8313</c:v>
                </c:pt>
                <c:pt idx="53">
                  <c:v>1070.2879</c:v>
                </c:pt>
                <c:pt idx="54">
                  <c:v>1117.05</c:v>
                </c:pt>
                <c:pt idx="55">
                  <c:v>1082.6667</c:v>
                </c:pt>
                <c:pt idx="56">
                  <c:v>1090.3509</c:v>
                </c:pt>
                <c:pt idx="57">
                  <c:v>1084.2903</c:v>
                </c:pt>
                <c:pt idx="58">
                  <c:v>1091.8889</c:v>
                </c:pt>
                <c:pt idx="59">
                  <c:v>1066.05</c:v>
                </c:pt>
                <c:pt idx="60">
                  <c:v>1058.1596</c:v>
                </c:pt>
                <c:pt idx="61">
                  <c:v>1042.3919</c:v>
                </c:pt>
                <c:pt idx="62">
                  <c:v>1024.5556</c:v>
                </c:pt>
                <c:pt idx="63">
                  <c:v>983.967</c:v>
                </c:pt>
                <c:pt idx="64">
                  <c:v>1017.7805</c:v>
                </c:pt>
                <c:pt idx="65">
                  <c:v>989.6324</c:v>
                </c:pt>
                <c:pt idx="66">
                  <c:v>1007.2836</c:v>
                </c:pt>
                <c:pt idx="67">
                  <c:v>1057.2281</c:v>
                </c:pt>
                <c:pt idx="68">
                  <c:v>1107.1951</c:v>
                </c:pt>
                <c:pt idx="69">
                  <c:v>1110.5185</c:v>
                </c:pt>
                <c:pt idx="70">
                  <c:v>918.0313</c:v>
                </c:pt>
                <c:pt idx="71">
                  <c:v>919.2564</c:v>
                </c:pt>
                <c:pt idx="72">
                  <c:v>1077.0</c:v>
                </c:pt>
                <c:pt idx="73">
                  <c:v>1007.6875</c:v>
                </c:pt>
                <c:pt idx="74">
                  <c:v>1027.7143</c:v>
                </c:pt>
                <c:pt idx="75">
                  <c:v>980.2</c:v>
                </c:pt>
                <c:pt idx="76">
                  <c:v>1065.9</c:v>
                </c:pt>
                <c:pt idx="77">
                  <c:v>1102.2222</c:v>
                </c:pt>
                <c:pt idx="78">
                  <c:v>1195.1176</c:v>
                </c:pt>
                <c:pt idx="79">
                  <c:v>1008.1429</c:v>
                </c:pt>
                <c:pt idx="80">
                  <c:v>1072.9231</c:v>
                </c:pt>
                <c:pt idx="81">
                  <c:v>1169.2222</c:v>
                </c:pt>
                <c:pt idx="82">
                  <c:v>1212.3077</c:v>
                </c:pt>
                <c:pt idx="83">
                  <c:v>1231.3571</c:v>
                </c:pt>
                <c:pt idx="84">
                  <c:v>1266.75</c:v>
                </c:pt>
                <c:pt idx="85">
                  <c:v>1172.2</c:v>
                </c:pt>
                <c:pt idx="86">
                  <c:v>1138.7037</c:v>
                </c:pt>
                <c:pt idx="87">
                  <c:v>1114.4848</c:v>
                </c:pt>
                <c:pt idx="88">
                  <c:v>1153.2083</c:v>
                </c:pt>
                <c:pt idx="89">
                  <c:v>1087.0</c:v>
                </c:pt>
                <c:pt idx="90">
                  <c:v>1117.6296</c:v>
                </c:pt>
                <c:pt idx="91">
                  <c:v>1263.2</c:v>
                </c:pt>
                <c:pt idx="92">
                  <c:v>1167.8571</c:v>
                </c:pt>
                <c:pt idx="93">
                  <c:v>1132.625</c:v>
                </c:pt>
                <c:pt idx="94">
                  <c:v>1168.4333</c:v>
                </c:pt>
                <c:pt idx="95">
                  <c:v>1162.8276</c:v>
                </c:pt>
                <c:pt idx="96">
                  <c:v>1075.1628</c:v>
                </c:pt>
                <c:pt idx="97">
                  <c:v>1131.2222</c:v>
                </c:pt>
                <c:pt idx="98">
                  <c:v>1122.3671</c:v>
                </c:pt>
                <c:pt idx="99">
                  <c:v>1099.9804</c:v>
                </c:pt>
                <c:pt idx="100">
                  <c:v>1144.2778</c:v>
                </c:pt>
                <c:pt idx="101">
                  <c:v>1122.0313</c:v>
                </c:pt>
                <c:pt idx="102">
                  <c:v>1159.4528</c:v>
                </c:pt>
                <c:pt idx="103">
                  <c:v>574.5075</c:v>
                </c:pt>
                <c:pt idx="104">
                  <c:v>678.2286</c:v>
                </c:pt>
              </c:numCache>
            </c:numRef>
          </c:xVal>
          <c:yVal>
            <c:numRef>
              <c:f>Sheet1!$B$2:$B$106</c:f>
              <c:numCache>
                <c:formatCode>General</c:formatCode>
                <c:ptCount val="105"/>
                <c:pt idx="0">
                  <c:v>0.05161787365177196</c:v>
                </c:pt>
                <c:pt idx="1">
                  <c:v>0.054076539101497505</c:v>
                </c:pt>
                <c:pt idx="2">
                  <c:v>0.0566873339238264</c:v>
                </c:pt>
                <c:pt idx="3">
                  <c:v>0.06906906906906907</c:v>
                </c:pt>
                <c:pt idx="4">
                  <c:v>0.06842105263157895</c:v>
                </c:pt>
                <c:pt idx="5">
                  <c:v>0.05787781350482315</c:v>
                </c:pt>
                <c:pt idx="6">
                  <c:v>0.07253269916765755</c:v>
                </c:pt>
                <c:pt idx="7">
                  <c:v>0.058823529411764705</c:v>
                </c:pt>
                <c:pt idx="8">
                  <c:v>0.052980132450331126</c:v>
                </c:pt>
                <c:pt idx="9">
                  <c:v>0.04916512059369202</c:v>
                </c:pt>
                <c:pt idx="10">
                  <c:v>0.04941860465116279</c:v>
                </c:pt>
                <c:pt idx="11">
                  <c:v>0.055710306406685235</c:v>
                </c:pt>
                <c:pt idx="12">
                  <c:v>0.041737649063032366</c:v>
                </c:pt>
                <c:pt idx="13">
                  <c:v>0.05056669572798605</c:v>
                </c:pt>
                <c:pt idx="14">
                  <c:v>0.050473186119873815</c:v>
                </c:pt>
                <c:pt idx="15">
                  <c:v>0.06950880444856349</c:v>
                </c:pt>
                <c:pt idx="16">
                  <c:v>0.07853403141361257</c:v>
                </c:pt>
                <c:pt idx="17">
                  <c:v>0.09720785935884178</c:v>
                </c:pt>
                <c:pt idx="18">
                  <c:v>0.04868913857677903</c:v>
                </c:pt>
                <c:pt idx="19">
                  <c:v>0.035982008995502246</c:v>
                </c:pt>
                <c:pt idx="20">
                  <c:v>0.03871829105473965</c:v>
                </c:pt>
                <c:pt idx="21">
                  <c:v>0.03873744619799139</c:v>
                </c:pt>
                <c:pt idx="22">
                  <c:v>0.02545968882602546</c:v>
                </c:pt>
                <c:pt idx="23">
                  <c:v>0.049247606019151846</c:v>
                </c:pt>
                <c:pt idx="24">
                  <c:v>0.03795620437956204</c:v>
                </c:pt>
                <c:pt idx="25">
                  <c:v>0.03789126853377265</c:v>
                </c:pt>
                <c:pt idx="26">
                  <c:v>0.03136762860727729</c:v>
                </c:pt>
                <c:pt idx="27">
                  <c:v>0.03647798742138365</c:v>
                </c:pt>
                <c:pt idx="28">
                  <c:v>0.02316076294277929</c:v>
                </c:pt>
                <c:pt idx="29">
                  <c:v>0.03080872913992298</c:v>
                </c:pt>
                <c:pt idx="30">
                  <c:v>0.02643171806167401</c:v>
                </c:pt>
                <c:pt idx="31">
                  <c:v>0.027210884353741496</c:v>
                </c:pt>
                <c:pt idx="32">
                  <c:v>0.027137042062415198</c:v>
                </c:pt>
                <c:pt idx="33">
                  <c:v>0.030949839914621132</c:v>
                </c:pt>
                <c:pt idx="34">
                  <c:v>0.02631578947368421</c:v>
                </c:pt>
                <c:pt idx="35">
                  <c:v>0.025817555938037865</c:v>
                </c:pt>
                <c:pt idx="36">
                  <c:v>0.023809523809523808</c:v>
                </c:pt>
                <c:pt idx="37">
                  <c:v>0.032673267326732675</c:v>
                </c:pt>
                <c:pt idx="38">
                  <c:v>0.021494370522006142</c:v>
                </c:pt>
                <c:pt idx="39">
                  <c:v>0.02753303964757709</c:v>
                </c:pt>
                <c:pt idx="40">
                  <c:v>0.025565388397246803</c:v>
                </c:pt>
                <c:pt idx="41">
                  <c:v>0.0274949083503055</c:v>
                </c:pt>
                <c:pt idx="42">
                  <c:v>0.02631578947368421</c:v>
                </c:pt>
                <c:pt idx="43">
                  <c:v>0.029874213836477988</c:v>
                </c:pt>
                <c:pt idx="44">
                  <c:v>0.038314176245210725</c:v>
                </c:pt>
                <c:pt idx="45">
                  <c:v>0.03938265034592869</c:v>
                </c:pt>
                <c:pt idx="46">
                  <c:v>0.04589235127478754</c:v>
                </c:pt>
                <c:pt idx="47">
                  <c:v>0.04708520179372197</c:v>
                </c:pt>
                <c:pt idx="48">
                  <c:v>0.051176227816756084</c:v>
                </c:pt>
                <c:pt idx="49">
                  <c:v>0.07502965599051008</c:v>
                </c:pt>
                <c:pt idx="50">
                  <c:v>0.056464379947229554</c:v>
                </c:pt>
                <c:pt idx="51">
                  <c:v>0.055596196049743966</c:v>
                </c:pt>
                <c:pt idx="52">
                  <c:v>0.05627118644067797</c:v>
                </c:pt>
                <c:pt idx="53">
                  <c:v>0.0476878612716763</c:v>
                </c:pt>
                <c:pt idx="54">
                  <c:v>0.04983388704318937</c:v>
                </c:pt>
                <c:pt idx="55">
                  <c:v>0.047979797979797977</c:v>
                </c:pt>
                <c:pt idx="56">
                  <c:v>0.05632411067193676</c:v>
                </c:pt>
                <c:pt idx="57">
                  <c:v>0.060665362035225046</c:v>
                </c:pt>
                <c:pt idx="58">
                  <c:v>0.05405405405405406</c:v>
                </c:pt>
                <c:pt idx="59">
                  <c:v>0.06207324643078833</c:v>
                </c:pt>
                <c:pt idx="60">
                  <c:v>0.0649171270718232</c:v>
                </c:pt>
                <c:pt idx="61">
                  <c:v>0.05868358445678033</c:v>
                </c:pt>
                <c:pt idx="62">
                  <c:v>0.06469648562300319</c:v>
                </c:pt>
                <c:pt idx="63">
                  <c:v>0.06560922855082912</c:v>
                </c:pt>
                <c:pt idx="64">
                  <c:v>0.0560875512995896</c:v>
                </c:pt>
                <c:pt idx="65">
                  <c:v>0.04974396488661302</c:v>
                </c:pt>
                <c:pt idx="66">
                  <c:v>0.04533152909336942</c:v>
                </c:pt>
                <c:pt idx="67">
                  <c:v>0.038178164768921635</c:v>
                </c:pt>
                <c:pt idx="68">
                  <c:v>0.03144171779141104</c:v>
                </c:pt>
                <c:pt idx="69">
                  <c:v>0.029605263157894735</c:v>
                </c:pt>
                <c:pt idx="70">
                  <c:v>0.03121951219512195</c:v>
                </c:pt>
                <c:pt idx="71">
                  <c:v>0.04225352112676056</c:v>
                </c:pt>
                <c:pt idx="72">
                  <c:v>0.03314393939393939</c:v>
                </c:pt>
                <c:pt idx="73">
                  <c:v>0.03640500568828214</c:v>
                </c:pt>
                <c:pt idx="74">
                  <c:v>0.03178206583427923</c:v>
                </c:pt>
                <c:pt idx="75">
                  <c:v>0.023228803716608595</c:v>
                </c:pt>
                <c:pt idx="76">
                  <c:v>0.03456221198156682</c:v>
                </c:pt>
                <c:pt idx="77">
                  <c:v>0.024291497975708502</c:v>
                </c:pt>
                <c:pt idx="78">
                  <c:v>0.024390243902439025</c:v>
                </c:pt>
                <c:pt idx="79">
                  <c:v>0.021406727828746176</c:v>
                </c:pt>
                <c:pt idx="80">
                  <c:v>0.018413597733711047</c:v>
                </c:pt>
                <c:pt idx="81">
                  <c:v>0.02112676056338028</c:v>
                </c:pt>
                <c:pt idx="82">
                  <c:v>0.01867816091954023</c:v>
                </c:pt>
                <c:pt idx="83">
                  <c:v>0.0206794682422452</c:v>
                </c:pt>
                <c:pt idx="84">
                  <c:v>0.01680672268907563</c:v>
                </c:pt>
                <c:pt idx="85">
                  <c:v>0.02021563342318059</c:v>
                </c:pt>
                <c:pt idx="86">
                  <c:v>0.024657534246575342</c:v>
                </c:pt>
                <c:pt idx="87">
                  <c:v>0.029151943462897525</c:v>
                </c:pt>
                <c:pt idx="88">
                  <c:v>0.021524663677130046</c:v>
                </c:pt>
                <c:pt idx="89">
                  <c:v>0.025477707006369428</c:v>
                </c:pt>
                <c:pt idx="90">
                  <c:v>0.03245192307692308</c:v>
                </c:pt>
                <c:pt idx="91">
                  <c:v>0.017985611510791366</c:v>
                </c:pt>
                <c:pt idx="92">
                  <c:v>0.026046511627906978</c:v>
                </c:pt>
                <c:pt idx="93">
                  <c:v>0.021957913998170174</c:v>
                </c:pt>
                <c:pt idx="94">
                  <c:v>0.024330900243309004</c:v>
                </c:pt>
                <c:pt idx="95">
                  <c:v>0.021609538002980627</c:v>
                </c:pt>
                <c:pt idx="96">
                  <c:v>0.0244874715261959</c:v>
                </c:pt>
                <c:pt idx="97">
                  <c:v>0.031914893617021274</c:v>
                </c:pt>
                <c:pt idx="98">
                  <c:v>0.03566591422121896</c:v>
                </c:pt>
                <c:pt idx="99">
                  <c:v>0.04187192118226601</c:v>
                </c:pt>
                <c:pt idx="100">
                  <c:v>0.04375569735642662</c:v>
                </c:pt>
                <c:pt idx="101">
                  <c:v>0.05166846071044134</c:v>
                </c:pt>
                <c:pt idx="102">
                  <c:v>0.043478260869565216</c:v>
                </c:pt>
                <c:pt idx="103">
                  <c:v>0.08921438082556592</c:v>
                </c:pt>
                <c:pt idx="104">
                  <c:v>0.082742316784869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30.4949</c:v>
                </c:pt>
                <c:pt idx="1">
                  <c:v>1045.3814</c:v>
                </c:pt>
                <c:pt idx="2">
                  <c:v>1042.0323</c:v>
                </c:pt>
                <c:pt idx="3">
                  <c:v>1040.7826</c:v>
                </c:pt>
                <c:pt idx="4">
                  <c:v>1007.7113</c:v>
                </c:pt>
                <c:pt idx="5">
                  <c:v>1070.6933</c:v>
                </c:pt>
                <c:pt idx="6">
                  <c:v>1017.8793</c:v>
                </c:pt>
                <c:pt idx="7">
                  <c:v>1133.3448</c:v>
                </c:pt>
                <c:pt idx="8">
                  <c:v>1239.2632</c:v>
                </c:pt>
                <c:pt idx="9">
                  <c:v>1197.0244</c:v>
                </c:pt>
                <c:pt idx="10">
                  <c:v>1197.9245</c:v>
                </c:pt>
                <c:pt idx="11">
                  <c:v>1081.9762</c:v>
                </c:pt>
                <c:pt idx="12">
                  <c:v>1170.1364</c:v>
                </c:pt>
                <c:pt idx="13">
                  <c:v>1188.4697</c:v>
                </c:pt>
                <c:pt idx="14">
                  <c:v>1185.3448</c:v>
                </c:pt>
                <c:pt idx="15">
                  <c:v>1164.1964</c:v>
                </c:pt>
                <c:pt idx="16">
                  <c:v>1195.3462</c:v>
                </c:pt>
                <c:pt idx="17">
                  <c:v>1155.0233</c:v>
                </c:pt>
                <c:pt idx="18">
                  <c:v>1202.697</c:v>
                </c:pt>
                <c:pt idx="19">
                  <c:v>1303.5366</c:v>
                </c:pt>
                <c:pt idx="20">
                  <c:v>1307.3611</c:v>
                </c:pt>
                <c:pt idx="21">
                  <c:v>1165.6667</c:v>
                </c:pt>
                <c:pt idx="22">
                  <c:v>1183.5385</c:v>
                </c:pt>
                <c:pt idx="23">
                  <c:v>1165.2308</c:v>
                </c:pt>
                <c:pt idx="24">
                  <c:v>1198.0</c:v>
                </c:pt>
                <c:pt idx="25">
                  <c:v>1159.4643</c:v>
                </c:pt>
                <c:pt idx="26">
                  <c:v>1278.3043</c:v>
                </c:pt>
                <c:pt idx="27">
                  <c:v>1201.1842</c:v>
                </c:pt>
                <c:pt idx="28">
                  <c:v>1223.878</c:v>
                </c:pt>
                <c:pt idx="29">
                  <c:v>1217.125</c:v>
                </c:pt>
                <c:pt idx="30">
                  <c:v>1087.4681</c:v>
                </c:pt>
                <c:pt idx="31">
                  <c:v>1096.4444</c:v>
                </c:pt>
                <c:pt idx="32">
                  <c:v>1127.2162</c:v>
                </c:pt>
                <c:pt idx="33">
                  <c:v>1183.3333</c:v>
                </c:pt>
                <c:pt idx="34">
                  <c:v>1172.2969</c:v>
                </c:pt>
                <c:pt idx="35">
                  <c:v>1137.375</c:v>
                </c:pt>
                <c:pt idx="36">
                  <c:v>1132.3659</c:v>
                </c:pt>
                <c:pt idx="37">
                  <c:v>1274.0</c:v>
                </c:pt>
                <c:pt idx="38">
                  <c:v>1273.1923</c:v>
                </c:pt>
                <c:pt idx="39">
                  <c:v>1144.7414</c:v>
                </c:pt>
                <c:pt idx="40">
                  <c:v>1146.2923</c:v>
                </c:pt>
                <c:pt idx="41">
                  <c:v>1164.1081</c:v>
                </c:pt>
                <c:pt idx="42">
                  <c:v>1101.8824</c:v>
                </c:pt>
                <c:pt idx="43">
                  <c:v>1254.8727</c:v>
                </c:pt>
                <c:pt idx="44">
                  <c:v>1141.2647</c:v>
                </c:pt>
                <c:pt idx="45">
                  <c:v>1088.47</c:v>
                </c:pt>
                <c:pt idx="46">
                  <c:v>1113.1316</c:v>
                </c:pt>
                <c:pt idx="47">
                  <c:v>1132.0843</c:v>
                </c:pt>
                <c:pt idx="48">
                  <c:v>1115.3371</c:v>
                </c:pt>
                <c:pt idx="49">
                  <c:v>1077.6863</c:v>
                </c:pt>
                <c:pt idx="50">
                  <c:v>1062.5141</c:v>
                </c:pt>
                <c:pt idx="51">
                  <c:v>1033.0119</c:v>
                </c:pt>
              </c:numCache>
            </c:numRef>
          </c:xVal>
          <c:yVal>
            <c:numRef>
              <c:f>Sheet1!$B$109:$B$160</c:f>
              <c:numCache>
                <c:formatCode>General</c:formatCode>
                <c:ptCount val="52"/>
                <c:pt idx="0">
                  <c:v>0.06991525423728813</c:v>
                </c:pt>
                <c:pt idx="1">
                  <c:v>0.07101024890190337</c:v>
                </c:pt>
                <c:pt idx="2">
                  <c:v>0.06361149110807114</c:v>
                </c:pt>
                <c:pt idx="3">
                  <c:v>0.07210031347962383</c:v>
                </c:pt>
                <c:pt idx="4">
                  <c:v>0.07542768273716952</c:v>
                </c:pt>
                <c:pt idx="5">
                  <c:v>0.059008654602675056</c:v>
                </c:pt>
                <c:pt idx="6">
                  <c:v>0.057539682539682536</c:v>
                </c:pt>
                <c:pt idx="7">
                  <c:v>0.050434782608695654</c:v>
                </c:pt>
                <c:pt idx="8">
                  <c:v>0.05114401076716016</c:v>
                </c:pt>
                <c:pt idx="9">
                  <c:v>0.05593451568894952</c:v>
                </c:pt>
                <c:pt idx="10">
                  <c:v>0.058954393770856504</c:v>
                </c:pt>
                <c:pt idx="11">
                  <c:v>0.061855670103092786</c:v>
                </c:pt>
                <c:pt idx="12">
                  <c:v>0.049107142857142856</c:v>
                </c:pt>
                <c:pt idx="13">
                  <c:v>0.054455445544554455</c:v>
                </c:pt>
                <c:pt idx="14">
                  <c:v>0.051601423487544484</c:v>
                </c:pt>
                <c:pt idx="15">
                  <c:v>0.047377326565143825</c:v>
                </c:pt>
                <c:pt idx="16">
                  <c:v>0.053007135575942915</c:v>
                </c:pt>
                <c:pt idx="17">
                  <c:v>0.04668838219326819</c:v>
                </c:pt>
                <c:pt idx="18">
                  <c:v>0.04198473282442748</c:v>
                </c:pt>
                <c:pt idx="19">
                  <c:v>0.04432432432432432</c:v>
                </c:pt>
                <c:pt idx="20">
                  <c:v>0.04411764705882353</c:v>
                </c:pt>
                <c:pt idx="21">
                  <c:v>0.046948356807511735</c:v>
                </c:pt>
                <c:pt idx="22">
                  <c:v>0.042833607907743</c:v>
                </c:pt>
                <c:pt idx="23">
                  <c:v>0.04878048780487805</c:v>
                </c:pt>
                <c:pt idx="24">
                  <c:v>0.05975395430579965</c:v>
                </c:pt>
                <c:pt idx="25">
                  <c:v>0.05273069679849341</c:v>
                </c:pt>
                <c:pt idx="26">
                  <c:v>0.037520391517128875</c:v>
                </c:pt>
                <c:pt idx="27">
                  <c:v>0.05198358413132695</c:v>
                </c:pt>
                <c:pt idx="28">
                  <c:v>0.053735255570117955</c:v>
                </c:pt>
                <c:pt idx="29">
                  <c:v>0.048558421851289835</c:v>
                </c:pt>
                <c:pt idx="30">
                  <c:v>0.06932153392330384</c:v>
                </c:pt>
                <c:pt idx="31">
                  <c:v>0.05825242718446602</c:v>
                </c:pt>
                <c:pt idx="32">
                  <c:v>0.05648854961832061</c:v>
                </c:pt>
                <c:pt idx="33">
                  <c:v>0.05351170568561873</c:v>
                </c:pt>
                <c:pt idx="34">
                  <c:v>0.06153846153846154</c:v>
                </c:pt>
                <c:pt idx="35">
                  <c:v>0.06060606060606061</c:v>
                </c:pt>
                <c:pt idx="36">
                  <c:v>0.05823863636363636</c:v>
                </c:pt>
                <c:pt idx="37">
                  <c:v>0.05387647831800263</c:v>
                </c:pt>
                <c:pt idx="38">
                  <c:v>0.053061224489795916</c:v>
                </c:pt>
                <c:pt idx="39">
                  <c:v>0.07107843137254902</c:v>
                </c:pt>
                <c:pt idx="40">
                  <c:v>0.0731981981981982</c:v>
                </c:pt>
                <c:pt idx="41">
                  <c:v>0.0729064039408867</c:v>
                </c:pt>
                <c:pt idx="42">
                  <c:v>0.07879490150637311</c:v>
                </c:pt>
                <c:pt idx="43">
                  <c:v>0.05952380952380952</c:v>
                </c:pt>
                <c:pt idx="44">
                  <c:v>0.058469475494411005</c:v>
                </c:pt>
                <c:pt idx="45">
                  <c:v>0.06648936170212766</c:v>
                </c:pt>
                <c:pt idx="46">
                  <c:v>0.05850654349499615</c:v>
                </c:pt>
                <c:pt idx="47">
                  <c:v>0.05478547854785479</c:v>
                </c:pt>
                <c:pt idx="48">
                  <c:v>0.04637832204273059</c:v>
                </c:pt>
                <c:pt idx="49">
                  <c:v>0.05975395430579965</c:v>
                </c:pt>
                <c:pt idx="50">
                  <c:v>0.05646123260437376</c:v>
                </c:pt>
                <c:pt idx="51">
                  <c:v>0.0536056158264199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1.3694256471638</c:v>
                </c:pt>
              </c:numCache>
            </c:numRef>
          </c:xVal>
          <c:yVal>
            <c:numRef>
              <c:f>Sheet1!$B$163:$B$164</c:f>
              <c:numCache>
                <c:formatCode>General</c:formatCode>
                <c:ptCount val="2"/>
                <c:pt idx="0">
                  <c:v>0.06440734924405475</c:v>
                </c:pt>
                <c:pt idx="1">
                  <c:v>0.064407349244054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1.3694256471638</c:v>
                </c:pt>
                <c:pt idx="1">
                  <c:v>1041.3694256471638</c:v>
                </c:pt>
              </c:numCache>
            </c:numRef>
          </c:xVal>
          <c:yVal>
            <c:numRef>
              <c:f>Sheet1!$B$167:$B$168</c:f>
              <c:numCache>
                <c:formatCode>General</c:formatCode>
                <c:ptCount val="2"/>
                <c:pt idx="0">
                  <c:v>0.064407349244054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6.3496887646645</c:v>
                </c:pt>
              </c:numCache>
            </c:numRef>
          </c:xVal>
          <c:yVal>
            <c:numRef>
              <c:f>Sheet1!$B$171:$B$172</c:f>
              <c:numCache>
                <c:formatCode>General</c:formatCode>
                <c:ptCount val="2"/>
                <c:pt idx="0">
                  <c:v>0.06335468010914104</c:v>
                </c:pt>
                <c:pt idx="1">
                  <c:v>0.063354680109141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6.3496887646645</c:v>
                </c:pt>
                <c:pt idx="1">
                  <c:v>1056.3496887646645</c:v>
                </c:pt>
              </c:numCache>
            </c:numRef>
          </c:xVal>
          <c:yVal>
            <c:numRef>
              <c:f>Sheet1!$B$175:$B$176</c:f>
              <c:numCache>
                <c:formatCode>General</c:formatCode>
                <c:ptCount val="2"/>
                <c:pt idx="0">
                  <c:v>0.063354680109141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71.3019437064136</c:v>
                </c:pt>
              </c:numCache>
            </c:numRef>
          </c:xVal>
          <c:yVal>
            <c:numRef>
              <c:f>Sheet1!$B$179:$B$180</c:f>
              <c:numCache>
                <c:formatCode>General</c:formatCode>
                <c:ptCount val="2"/>
                <c:pt idx="0">
                  <c:v>0.06230397912004077</c:v>
                </c:pt>
                <c:pt idx="1">
                  <c:v>0.0623039791200407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71.3019437064136</c:v>
                </c:pt>
                <c:pt idx="1">
                  <c:v>1071.3019437064136</c:v>
                </c:pt>
              </c:numCache>
            </c:numRef>
          </c:xVal>
          <c:yVal>
            <c:numRef>
              <c:f>Sheet1!$B$183:$B$184</c:f>
              <c:numCache>
                <c:formatCode>General</c:formatCode>
                <c:ptCount val="2"/>
                <c:pt idx="0">
                  <c:v>0.062303979120040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30.4949</c:v>
                </c:pt>
                <c:pt idx="1">
                  <c:v>1045.3814</c:v>
                </c:pt>
                <c:pt idx="2">
                  <c:v>1042.0323</c:v>
                </c:pt>
                <c:pt idx="3">
                  <c:v>1040.7826</c:v>
                </c:pt>
                <c:pt idx="4">
                  <c:v>1007.7113</c:v>
                </c:pt>
                <c:pt idx="5">
                  <c:v>1070.6933</c:v>
                </c:pt>
                <c:pt idx="6">
                  <c:v>1017.8793</c:v>
                </c:pt>
                <c:pt idx="7">
                  <c:v>1133.3448</c:v>
                </c:pt>
                <c:pt idx="8">
                  <c:v>1239.2632</c:v>
                </c:pt>
                <c:pt idx="9">
                  <c:v>1197.0244</c:v>
                </c:pt>
                <c:pt idx="10">
                  <c:v>1197.9245</c:v>
                </c:pt>
                <c:pt idx="11">
                  <c:v>1081.9762</c:v>
                </c:pt>
                <c:pt idx="12">
                  <c:v>1170.1364</c:v>
                </c:pt>
                <c:pt idx="13">
                  <c:v>1188.4697</c:v>
                </c:pt>
                <c:pt idx="14">
                  <c:v>1185.3448</c:v>
                </c:pt>
                <c:pt idx="15">
                  <c:v>1164.1964</c:v>
                </c:pt>
                <c:pt idx="16">
                  <c:v>1195.3462</c:v>
                </c:pt>
                <c:pt idx="17">
                  <c:v>1155.0233</c:v>
                </c:pt>
                <c:pt idx="18">
                  <c:v>1202.697</c:v>
                </c:pt>
                <c:pt idx="19">
                  <c:v>1303.5366</c:v>
                </c:pt>
                <c:pt idx="20">
                  <c:v>1307.3611</c:v>
                </c:pt>
                <c:pt idx="21">
                  <c:v>1165.6667</c:v>
                </c:pt>
                <c:pt idx="22">
                  <c:v>1183.5385</c:v>
                </c:pt>
                <c:pt idx="23">
                  <c:v>1165.2308</c:v>
                </c:pt>
                <c:pt idx="24">
                  <c:v>1198.0</c:v>
                </c:pt>
                <c:pt idx="25">
                  <c:v>1159.4643</c:v>
                </c:pt>
                <c:pt idx="26">
                  <c:v>1278.3043</c:v>
                </c:pt>
                <c:pt idx="27">
                  <c:v>1201.1842</c:v>
                </c:pt>
                <c:pt idx="28">
                  <c:v>1223.878</c:v>
                </c:pt>
                <c:pt idx="29">
                  <c:v>1217.125</c:v>
                </c:pt>
                <c:pt idx="30">
                  <c:v>1087.4681</c:v>
                </c:pt>
                <c:pt idx="31">
                  <c:v>1096.4444</c:v>
                </c:pt>
                <c:pt idx="32">
                  <c:v>1127.2162</c:v>
                </c:pt>
                <c:pt idx="33">
                  <c:v>1183.3333</c:v>
                </c:pt>
                <c:pt idx="34">
                  <c:v>1172.2969</c:v>
                </c:pt>
                <c:pt idx="35">
                  <c:v>1137.375</c:v>
                </c:pt>
                <c:pt idx="36">
                  <c:v>1132.3659</c:v>
                </c:pt>
                <c:pt idx="37">
                  <c:v>1274.0</c:v>
                </c:pt>
                <c:pt idx="38">
                  <c:v>1273.1923</c:v>
                </c:pt>
                <c:pt idx="39">
                  <c:v>1144.7414</c:v>
                </c:pt>
                <c:pt idx="40">
                  <c:v>1146.2923</c:v>
                </c:pt>
                <c:pt idx="41">
                  <c:v>1164.1081</c:v>
                </c:pt>
                <c:pt idx="42">
                  <c:v>1101.8824</c:v>
                </c:pt>
                <c:pt idx="43">
                  <c:v>1254.8727</c:v>
                </c:pt>
                <c:pt idx="44">
                  <c:v>1141.2647</c:v>
                </c:pt>
                <c:pt idx="45">
                  <c:v>1088.47</c:v>
                </c:pt>
                <c:pt idx="46">
                  <c:v>1113.1316</c:v>
                </c:pt>
                <c:pt idx="47">
                  <c:v>1132.0843</c:v>
                </c:pt>
                <c:pt idx="48">
                  <c:v>1115.3371</c:v>
                </c:pt>
                <c:pt idx="49">
                  <c:v>1077.6863</c:v>
                </c:pt>
                <c:pt idx="50">
                  <c:v>1062.5141</c:v>
                </c:pt>
                <c:pt idx="51">
                  <c:v>1033.0119</c:v>
                </c:pt>
                <c:pt idx="52">
                  <c:v>1056.3496887646645</c:v>
                </c:pt>
                <c:pt idx="53">
                  <c:v>1041.3694256471638</c:v>
                </c:pt>
                <c:pt idx="54">
                  <c:v>1071.3019437064136</c:v>
                </c:pt>
              </c:numCache>
            </c:numRef>
          </c:xVal>
          <c:yVal>
            <c:numRef>
              <c:f>Sheet1!$B$187:$B$241</c:f>
              <c:numCache>
                <c:formatCode>General</c:formatCode>
                <c:ptCount val="55"/>
                <c:pt idx="0">
                  <c:v>0.07219854690737328</c:v>
                </c:pt>
                <c:pt idx="1">
                  <c:v>0.06412542618715182</c:v>
                </c:pt>
                <c:pt idx="2">
                  <c:v>0.064360768795762</c:v>
                </c:pt>
                <c:pt idx="3">
                  <c:v>0.06444858571910861</c:v>
                </c:pt>
                <c:pt idx="4">
                  <c:v>0.06677251931683036</c:v>
                </c:pt>
                <c:pt idx="5">
                  <c:v>0.06234674875892332</c:v>
                </c:pt>
                <c:pt idx="6">
                  <c:v>0.06605800985328841</c:v>
                </c:pt>
                <c:pt idx="7">
                  <c:v>0.057944202569397515</c:v>
                </c:pt>
                <c:pt idx="8">
                  <c:v>0.05050127385546939</c:v>
                </c:pt>
                <c:pt idx="9">
                  <c:v>0.053469411377957146</c:v>
                </c:pt>
                <c:pt idx="10">
                  <c:v>0.053406160987700055</c:v>
                </c:pt>
                <c:pt idx="11">
                  <c:v>0.06155389482243655</c:v>
                </c:pt>
                <c:pt idx="12">
                  <c:v>0.05535884198925886</c:v>
                </c:pt>
                <c:pt idx="13">
                  <c:v>0.054070553599412916</c:v>
                </c:pt>
                <c:pt idx="14">
                  <c:v>0.05429014158354177</c:v>
                </c:pt>
                <c:pt idx="15">
                  <c:v>0.05577624818648931</c:v>
                </c:pt>
                <c:pt idx="16">
                  <c:v>0.05358733916923529</c:v>
                </c:pt>
                <c:pt idx="17">
                  <c:v>0.05642084562551533</c:v>
                </c:pt>
                <c:pt idx="18">
                  <c:v>0.05307079548664244</c:v>
                </c:pt>
                <c:pt idx="19">
                  <c:v>0.04598475609838669</c:v>
                </c:pt>
                <c:pt idx="20">
                  <c:v>0.045716006939917356</c:v>
                </c:pt>
                <c:pt idx="21">
                  <c:v>0.055672929612114244</c:v>
                </c:pt>
                <c:pt idx="22">
                  <c:v>0.054417071013517754</c:v>
                </c:pt>
                <c:pt idx="23">
                  <c:v>0.05570356048103221</c:v>
                </c:pt>
                <c:pt idx="24">
                  <c:v>0.05340085557223022</c:v>
                </c:pt>
                <c:pt idx="25">
                  <c:v>0.05610877476324254</c:v>
                </c:pt>
                <c:pt idx="26">
                  <c:v>0.047757840002490684</c:v>
                </c:pt>
                <c:pt idx="27">
                  <c:v>0.05317710055316942</c:v>
                </c:pt>
                <c:pt idx="28">
                  <c:v>0.0515823980685384</c:v>
                </c:pt>
                <c:pt idx="29">
                  <c:v>0.052056934103874616</c:v>
                </c:pt>
                <c:pt idx="30">
                  <c:v>0.06116797679304768</c:v>
                </c:pt>
                <c:pt idx="31">
                  <c:v>0.06053720856944504</c:v>
                </c:pt>
                <c:pt idx="32">
                  <c:v>0.05837486176474205</c:v>
                </c:pt>
                <c:pt idx="33">
                  <c:v>0.05443149050033118</c:v>
                </c:pt>
                <c:pt idx="34">
                  <c:v>0.05520702278233691</c:v>
                </c:pt>
                <c:pt idx="35">
                  <c:v>0.057660998788912995</c:v>
                </c:pt>
                <c:pt idx="36">
                  <c:v>0.05801299026745625</c:v>
                </c:pt>
                <c:pt idx="37">
                  <c:v>0.0480603049005949</c:v>
                </c:pt>
                <c:pt idx="38">
                  <c:v>0.048117062305561745</c:v>
                </c:pt>
                <c:pt idx="39">
                  <c:v>0.05714335888802437</c:v>
                </c:pt>
                <c:pt idx="40">
                  <c:v>0.05703437651912123</c:v>
                </c:pt>
                <c:pt idx="41">
                  <c:v>0.05578245306312492</c:v>
                </c:pt>
                <c:pt idx="42">
                  <c:v>0.06015507811480883</c:v>
                </c:pt>
                <c:pt idx="43">
                  <c:v>0.04940438799087872</c:v>
                </c:pt>
                <c:pt idx="44">
                  <c:v>0.05738766800013062</c:v>
                </c:pt>
                <c:pt idx="45">
                  <c:v>0.061097572875706746</c:v>
                </c:pt>
                <c:pt idx="46">
                  <c:v>0.059364592290922516</c:v>
                </c:pt>
                <c:pt idx="47">
                  <c:v>0.05803277841310274</c:v>
                </c:pt>
                <c:pt idx="48">
                  <c:v>0.05920961091583973</c:v>
                </c:pt>
                <c:pt idx="49">
                  <c:v>0.06185534782672929</c:v>
                </c:pt>
                <c:pt idx="50">
                  <c:v>0.06292150444383698</c:v>
                </c:pt>
                <c:pt idx="51">
                  <c:v>0.06499463594416226</c:v>
                </c:pt>
                <c:pt idx="52">
                  <c:v>0.06335468010914104</c:v>
                </c:pt>
                <c:pt idx="53">
                  <c:v>0.06440734924405475</c:v>
                </c:pt>
                <c:pt idx="54">
                  <c:v>0.0623039791200407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9.0"/>
          <c:min val="4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664943123061014"/>
          <c:min val="0.0134453781512605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0.7802282662662352</c:v>
                </c:pt>
                <c:pt idx="5">
                  <c:v>1.3217569313427648</c:v>
                </c:pt>
                <c:pt idx="6">
                  <c:v>0.0</c:v>
                </c:pt>
                <c:pt idx="7">
                  <c:v>1.269678438462568</c:v>
                </c:pt>
                <c:pt idx="8">
                  <c:v>1.7255762083367165</c:v>
                </c:pt>
                <c:pt idx="9">
                  <c:v>0.8831937468404575</c:v>
                </c:pt>
                <c:pt idx="10">
                  <c:v>1.5684297273009709</c:v>
                </c:pt>
                <c:pt idx="11">
                  <c:v>1.5459148719411169</c:v>
                </c:pt>
                <c:pt idx="12">
                  <c:v>1.5003200863231956</c:v>
                </c:pt>
                <c:pt idx="13">
                  <c:v>1.0095145891007609</c:v>
                </c:pt>
                <c:pt idx="14">
                  <c:v>1.2136035313535303</c:v>
                </c:pt>
                <c:pt idx="15">
                  <c:v>0.5664703417686486</c:v>
                </c:pt>
                <c:pt idx="16">
                  <c:v>1.180248472094825</c:v>
                </c:pt>
                <c:pt idx="17">
                  <c:v>0.7896932147309419</c:v>
                </c:pt>
                <c:pt idx="18">
                  <c:v>0.769271437025571</c:v>
                </c:pt>
                <c:pt idx="19">
                  <c:v>0.31784809956108107</c:v>
                </c:pt>
                <c:pt idx="20">
                  <c:v>0.041128985004259384</c:v>
                </c:pt>
                <c:pt idx="21">
                  <c:v>2.416248274986488</c:v>
                </c:pt>
                <c:pt idx="22">
                  <c:v>1.015364079427522</c:v>
                </c:pt>
                <c:pt idx="23">
                  <c:v>3.413315950499105</c:v>
                </c:pt>
                <c:pt idx="24">
                  <c:v>1.0006180204198714</c:v>
                </c:pt>
                <c:pt idx="25">
                  <c:v>4.898640502831235</c:v>
                </c:pt>
                <c:pt idx="26">
                  <c:v>1.4771039763949083</c:v>
                </c:pt>
                <c:pt idx="27">
                  <c:v>1.1960483509899338</c:v>
                </c:pt>
                <c:pt idx="28">
                  <c:v>2.725045296270914</c:v>
                </c:pt>
                <c:pt idx="29">
                  <c:v>1.7464773737361932</c:v>
                </c:pt>
                <c:pt idx="30">
                  <c:v>1.1414120235949547</c:v>
                </c:pt>
                <c:pt idx="31">
                  <c:v>1.0775819815017555</c:v>
                </c:pt>
                <c:pt idx="32">
                  <c:v>2.0323381911140563</c:v>
                </c:pt>
                <c:pt idx="33">
                  <c:v>2.4941954724829443</c:v>
                </c:pt>
                <c:pt idx="34">
                  <c:v>1.1435792831069782</c:v>
                </c:pt>
                <c:pt idx="35">
                  <c:v>1.577820400341782</c:v>
                </c:pt>
                <c:pt idx="36">
                  <c:v>2.134045687545911</c:v>
                </c:pt>
                <c:pt idx="37">
                  <c:v>0.867162529576039</c:v>
                </c:pt>
                <c:pt idx="38">
                  <c:v>1.4957920727013065</c:v>
                </c:pt>
                <c:pt idx="39">
                  <c:v>1.4736831717858607</c:v>
                </c:pt>
                <c:pt idx="40">
                  <c:v>1.1804902252721796</c:v>
                </c:pt>
                <c:pt idx="41">
                  <c:v>2.1719676266312558</c:v>
                </c:pt>
                <c:pt idx="42">
                  <c:v>3.0969317247699624</c:v>
                </c:pt>
                <c:pt idx="43">
                  <c:v>2.553671430848011</c:v>
                </c:pt>
                <c:pt idx="44">
                  <c:v>2.368993301213024</c:v>
                </c:pt>
                <c:pt idx="45">
                  <c:v>2.6998715046837827</c:v>
                </c:pt>
                <c:pt idx="46">
                  <c:v>2.810987675458117</c:v>
                </c:pt>
                <c:pt idx="47">
                  <c:v>2.096429372551767</c:v>
                </c:pt>
                <c:pt idx="48">
                  <c:v>2.2882295205349146</c:v>
                </c:pt>
                <c:pt idx="49">
                  <c:v>2.391471000160171</c:v>
                </c:pt>
                <c:pt idx="50">
                  <c:v>2.5145296961325965</c:v>
                </c:pt>
              </c:numCache>
            </c:numRef>
          </c:xVal>
          <c:yVal>
            <c:numRef>
              <c:f>Sheet1!$B$2:$B$52</c:f>
              <c:numCache>
                <c:formatCode>General</c:formatCode>
                <c:ptCount val="51"/>
                <c:pt idx="0">
                  <c:v>0.0</c:v>
                </c:pt>
                <c:pt idx="1">
                  <c:v>0.0</c:v>
                </c:pt>
                <c:pt idx="2">
                  <c:v>0.0</c:v>
                </c:pt>
                <c:pt idx="3">
                  <c:v>0.0</c:v>
                </c:pt>
                <c:pt idx="4">
                  <c:v>0.00034223134839151266</c:v>
                </c:pt>
                <c:pt idx="5">
                  <c:v>0.0002841716396703609</c:v>
                </c:pt>
                <c:pt idx="6">
                  <c:v>0.0</c:v>
                </c:pt>
                <c:pt idx="7">
                  <c:v>0.00025290844714213456</c:v>
                </c:pt>
                <c:pt idx="8">
                  <c:v>0.00023674242424242425</c:v>
                </c:pt>
                <c:pt idx="9">
                  <c:v>0.00021381227282446012</c:v>
                </c:pt>
                <c:pt idx="10">
                  <c:v>0.00020999580008399833</c:v>
                </c:pt>
                <c:pt idx="11">
                  <c:v>0.00023084025854108956</c:v>
                </c:pt>
                <c:pt idx="12">
                  <c:v>0.0002358490566037736</c:v>
                </c:pt>
                <c:pt idx="13">
                  <c:v>0.0005837711617046118</c:v>
                </c:pt>
                <c:pt idx="14">
                  <c:v>0.0003769317753486619</c:v>
                </c:pt>
                <c:pt idx="15">
                  <c:v>0.0007751937984496124</c:v>
                </c:pt>
                <c:pt idx="16">
                  <c:v>0.00041322314049586776</c:v>
                </c:pt>
                <c:pt idx="17">
                  <c:v>0.00048638132295719845</c:v>
                </c:pt>
                <c:pt idx="18">
                  <c:v>0.00045599635202918376</c:v>
                </c:pt>
                <c:pt idx="19">
                  <c:v>0.0016181229773462784</c:v>
                </c:pt>
                <c:pt idx="20">
                  <c:v>0.001017293997965412</c:v>
                </c:pt>
                <c:pt idx="21">
                  <c:v>0.0006045949214026602</c:v>
                </c:pt>
                <c:pt idx="22">
                  <c:v>0.002927400468384075</c:v>
                </c:pt>
                <c:pt idx="23">
                  <c:v>0.000723589001447178</c:v>
                </c:pt>
                <c:pt idx="24">
                  <c:v>0.0044609665427509295</c:v>
                </c:pt>
                <c:pt idx="25">
                  <c:v>0.000649772579597141</c:v>
                </c:pt>
                <c:pt idx="26">
                  <c:v>0.002126151665485471</c:v>
                </c:pt>
                <c:pt idx="27">
                  <c:v>0.0035335689045936395</c:v>
                </c:pt>
                <c:pt idx="28">
                  <c:v>0.0015151515151515152</c:v>
                </c:pt>
                <c:pt idx="29">
                  <c:v>0.002572898799313894</c:v>
                </c:pt>
                <c:pt idx="30">
                  <c:v>0.004280821917808219</c:v>
                </c:pt>
                <c:pt idx="31">
                  <c:v>0.0038669760247486465</c:v>
                </c:pt>
                <c:pt idx="32">
                  <c:v>0.0019342359767891683</c:v>
                </c:pt>
                <c:pt idx="33">
                  <c:v>0.001735106998264893</c:v>
                </c:pt>
                <c:pt idx="34">
                  <c:v>0.004882017900732303</c:v>
                </c:pt>
                <c:pt idx="35">
                  <c:v>0.0035335689045936395</c:v>
                </c:pt>
                <c:pt idx="36">
                  <c:v>0.0026431718061674008</c:v>
                </c:pt>
                <c:pt idx="37">
                  <c:v>0.007352941176470588</c:v>
                </c:pt>
                <c:pt idx="38">
                  <c:v>0.003604902667627974</c:v>
                </c:pt>
                <c:pt idx="39">
                  <c:v>0.0031520882584712374</c:v>
                </c:pt>
                <c:pt idx="40">
                  <c:v>0.00390625</c:v>
                </c:pt>
                <c:pt idx="41">
                  <c:v>0.0026652452025586353</c:v>
                </c:pt>
                <c:pt idx="42">
                  <c:v>0.0024330900243309003</c:v>
                </c:pt>
                <c:pt idx="43">
                  <c:v>0.004407227853680035</c:v>
                </c:pt>
                <c:pt idx="44">
                  <c:v>0.004929577464788733</c:v>
                </c:pt>
                <c:pt idx="45">
                  <c:v>0.0034791252485089465</c:v>
                </c:pt>
                <c:pt idx="46">
                  <c:v>0.0026258881680568426</c:v>
                </c:pt>
                <c:pt idx="47">
                  <c:v>0.0043997485857950975</c:v>
                </c:pt>
                <c:pt idx="48">
                  <c:v>0.0031859816806053365</c:v>
                </c:pt>
                <c:pt idx="49">
                  <c:v>0.002996005326231691</c:v>
                </c:pt>
                <c:pt idx="50">
                  <c:v>0.0026061057334326137</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3.5751713297482013</c:v>
                </c:pt>
                <c:pt idx="1">
                  <c:v>1.5620157998163466</c:v>
                </c:pt>
                <c:pt idx="2">
                  <c:v>2.1575611103877335</c:v>
                </c:pt>
                <c:pt idx="3">
                  <c:v>1.8770649720695278</c:v>
                </c:pt>
                <c:pt idx="4">
                  <c:v>2.8608642305933256</c:v>
                </c:pt>
                <c:pt idx="5">
                  <c:v>2.877799805258891</c:v>
                </c:pt>
                <c:pt idx="6">
                  <c:v>2.5893433018776073</c:v>
                </c:pt>
                <c:pt idx="7">
                  <c:v>2.4737288238074786</c:v>
                </c:pt>
                <c:pt idx="8">
                  <c:v>2.4486291069378967</c:v>
                </c:pt>
                <c:pt idx="9">
                  <c:v>2.4750683444927524</c:v>
                </c:pt>
                <c:pt idx="10">
                  <c:v>2.832517509015712</c:v>
                </c:pt>
                <c:pt idx="11">
                  <c:v>2.659639082999065</c:v>
                </c:pt>
                <c:pt idx="12">
                  <c:v>2.411447941247378</c:v>
                </c:pt>
                <c:pt idx="13">
                  <c:v>2.295757310539225</c:v>
                </c:pt>
                <c:pt idx="14">
                  <c:v>2.127033817674312</c:v>
                </c:pt>
                <c:pt idx="15">
                  <c:v>2.0563067764505782</c:v>
                </c:pt>
                <c:pt idx="16">
                  <c:v>3.1305649065187744</c:v>
                </c:pt>
                <c:pt idx="17">
                  <c:v>2.647991641424905</c:v>
                </c:pt>
                <c:pt idx="18">
                  <c:v>2.8628318614897967</c:v>
                </c:pt>
                <c:pt idx="19">
                  <c:v>2.424310483846679</c:v>
                </c:pt>
                <c:pt idx="20">
                  <c:v>2.281491731838035</c:v>
                </c:pt>
                <c:pt idx="21">
                  <c:v>1.9794596746502808</c:v>
                </c:pt>
                <c:pt idx="22">
                  <c:v>2.75592862667462</c:v>
                </c:pt>
                <c:pt idx="23">
                  <c:v>2.0861492520371505</c:v>
                </c:pt>
                <c:pt idx="24">
                  <c:v>2.298799073642688</c:v>
                </c:pt>
                <c:pt idx="25">
                  <c:v>2.187854223746318</c:v>
                </c:pt>
                <c:pt idx="26">
                  <c:v>2.441167594771395</c:v>
                </c:pt>
                <c:pt idx="27">
                  <c:v>2.290935135323666</c:v>
                </c:pt>
                <c:pt idx="28">
                  <c:v>2.023652262114659</c:v>
                </c:pt>
                <c:pt idx="29">
                  <c:v>1.8576411832541109</c:v>
                </c:pt>
                <c:pt idx="30">
                  <c:v>1.876844698050108</c:v>
                </c:pt>
                <c:pt idx="31">
                  <c:v>2.0720617160307766</c:v>
                </c:pt>
                <c:pt idx="32">
                  <c:v>1.7456039707797317</c:v>
                </c:pt>
                <c:pt idx="33">
                  <c:v>2.184346058528401</c:v>
                </c:pt>
                <c:pt idx="34">
                  <c:v>2.5142883027219294</c:v>
                </c:pt>
                <c:pt idx="35">
                  <c:v>2.1417184285173665</c:v>
                </c:pt>
                <c:pt idx="36">
                  <c:v>1.8174384150263638</c:v>
                </c:pt>
                <c:pt idx="37">
                  <c:v>1.815032252109354</c:v>
                </c:pt>
                <c:pt idx="38">
                  <c:v>2.016697265282169</c:v>
                </c:pt>
                <c:pt idx="39">
                  <c:v>2.1266267097172036</c:v>
                </c:pt>
                <c:pt idx="40">
                  <c:v>2.346262955772434</c:v>
                </c:pt>
                <c:pt idx="41">
                  <c:v>1.481763356049861</c:v>
                </c:pt>
                <c:pt idx="42">
                  <c:v>1.9552278570443258</c:v>
                </c:pt>
                <c:pt idx="43">
                  <c:v>2.072344627798463</c:v>
                </c:pt>
                <c:pt idx="44">
                  <c:v>3.376615426179183</c:v>
                </c:pt>
                <c:pt idx="45">
                  <c:v>2.878039236958997</c:v>
                </c:pt>
                <c:pt idx="46">
                  <c:v>2.4616816166538893</c:v>
                </c:pt>
                <c:pt idx="47">
                  <c:v>3.0658596086972074</c:v>
                </c:pt>
                <c:pt idx="48">
                  <c:v>2.7714973138657264</c:v>
                </c:pt>
                <c:pt idx="49">
                  <c:v>2.7597132823965143</c:v>
                </c:pt>
                <c:pt idx="50">
                  <c:v>3.0248515574645247</c:v>
                </c:pt>
                <c:pt idx="51">
                  <c:v>3.1479530196795507</c:v>
                </c:pt>
              </c:numCache>
            </c:numRef>
          </c:xVal>
          <c:yVal>
            <c:numRef>
              <c:f>Sheet1!$B$55:$B$106</c:f>
              <c:numCache>
                <c:formatCode>General</c:formatCode>
                <c:ptCount val="52"/>
                <c:pt idx="0">
                  <c:v>0.0018228217280349982</c:v>
                </c:pt>
                <c:pt idx="1">
                  <c:v>0.0034482758620689655</c:v>
                </c:pt>
                <c:pt idx="2">
                  <c:v>0.0028011204481792717</c:v>
                </c:pt>
                <c:pt idx="3">
                  <c:v>0.0027845457709711106</c:v>
                </c:pt>
                <c:pt idx="4">
                  <c:v>0.0018999366687777073</c:v>
                </c:pt>
                <c:pt idx="5">
                  <c:v>0.0019474196689386564</c:v>
                </c:pt>
                <c:pt idx="6">
                  <c:v>0.0022701475595913734</c:v>
                </c:pt>
                <c:pt idx="7">
                  <c:v>0.002482073910645339</c:v>
                </c:pt>
                <c:pt idx="8">
                  <c:v>0.003195739014647137</c:v>
                </c:pt>
                <c:pt idx="9">
                  <c:v>0.002796550920531345</c:v>
                </c:pt>
                <c:pt idx="10">
                  <c:v>0.002509410288582183</c:v>
                </c:pt>
                <c:pt idx="11">
                  <c:v>0.002725938351855735</c:v>
                </c:pt>
                <c:pt idx="12">
                  <c:v>0.0027039206849932404</c:v>
                </c:pt>
                <c:pt idx="13">
                  <c:v>0.003934942287513116</c:v>
                </c:pt>
                <c:pt idx="14">
                  <c:v>0.004476275738585497</c:v>
                </c:pt>
                <c:pt idx="15">
                  <c:v>0.004731328151402501</c:v>
                </c:pt>
                <c:pt idx="16">
                  <c:v>0.0028157683024939663</c:v>
                </c:pt>
                <c:pt idx="17">
                  <c:v>0.0035072336694432268</c:v>
                </c:pt>
                <c:pt idx="18">
                  <c:v>0.0027149321266968325</c:v>
                </c:pt>
                <c:pt idx="19">
                  <c:v>0.002802690582959641</c:v>
                </c:pt>
                <c:pt idx="20">
                  <c:v>0.003543586109142452</c:v>
                </c:pt>
                <c:pt idx="21">
                  <c:v>0.003973509933774834</c:v>
                </c:pt>
                <c:pt idx="22">
                  <c:v>0.0030248033877797943</c:v>
                </c:pt>
                <c:pt idx="23">
                  <c:v>0.0030175015087507543</c:v>
                </c:pt>
                <c:pt idx="24">
                  <c:v>0.003105590062111801</c:v>
                </c:pt>
                <c:pt idx="25">
                  <c:v>0.003201024327784891</c:v>
                </c:pt>
                <c:pt idx="26">
                  <c:v>0.003465003465003465</c:v>
                </c:pt>
                <c:pt idx="27">
                  <c:v>0.003943217665615142</c:v>
                </c:pt>
                <c:pt idx="28">
                  <c:v>0.0038580246913580245</c:v>
                </c:pt>
                <c:pt idx="29">
                  <c:v>0.0050933786078098476</c:v>
                </c:pt>
                <c:pt idx="30">
                  <c:v>0.0035056967572304996</c:v>
                </c:pt>
                <c:pt idx="31">
                  <c:v>0.0041753653444676405</c:v>
                </c:pt>
                <c:pt idx="32">
                  <c:v>0.004642525533890436</c:v>
                </c:pt>
                <c:pt idx="33">
                  <c:v>0.004029550033579583</c:v>
                </c:pt>
                <c:pt idx="34">
                  <c:v>0.0033802816901408453</c:v>
                </c:pt>
                <c:pt idx="35">
                  <c:v>0.0032959789057350032</c:v>
                </c:pt>
                <c:pt idx="36">
                  <c:v>0.005434782608695652</c:v>
                </c:pt>
                <c:pt idx="37">
                  <c:v>0.005763688760806916</c:v>
                </c:pt>
                <c:pt idx="38">
                  <c:v>0.00546448087431694</c:v>
                </c:pt>
                <c:pt idx="39">
                  <c:v>0.004720692368214005</c:v>
                </c:pt>
                <c:pt idx="40">
                  <c:v>0.003417634996582365</c:v>
                </c:pt>
                <c:pt idx="41">
                  <c:v>0.00425531914893617</c:v>
                </c:pt>
                <c:pt idx="42">
                  <c:v>0.003787878787878788</c:v>
                </c:pt>
                <c:pt idx="43">
                  <c:v>0.0038674033149171273</c:v>
                </c:pt>
                <c:pt idx="44">
                  <c:v>0.0022346368715083797</c:v>
                </c:pt>
                <c:pt idx="45">
                  <c:v>0.002216312056737589</c:v>
                </c:pt>
                <c:pt idx="46">
                  <c:v>0.002306805074971165</c:v>
                </c:pt>
                <c:pt idx="47">
                  <c:v>0.0021451555237754737</c:v>
                </c:pt>
                <c:pt idx="48">
                  <c:v>0.0020942408376963353</c:v>
                </c:pt>
                <c:pt idx="49">
                  <c:v>0.001737403822288409</c:v>
                </c:pt>
                <c:pt idx="50">
                  <c:v>0.0014671361502347417</c:v>
                </c:pt>
                <c:pt idx="51">
                  <c:v>0.001969796454366382</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2.0746314604637957</c:v>
                </c:pt>
              </c:numCache>
            </c:numRef>
          </c:xVal>
          <c:yVal>
            <c:numRef>
              <c:f>Sheet1!$B$109:$B$110</c:f>
              <c:numCache>
                <c:formatCode>General</c:formatCode>
                <c:ptCount val="2"/>
                <c:pt idx="0">
                  <c:v>0.0038165457443067106</c:v>
                </c:pt>
                <c:pt idx="1">
                  <c:v>0.0038165457443067106</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2.0746314604637957</c:v>
                </c:pt>
                <c:pt idx="1">
                  <c:v>2.0746314604637957</c:v>
                </c:pt>
              </c:numCache>
            </c:numRef>
          </c:xVal>
          <c:yVal>
            <c:numRef>
              <c:f>Sheet1!$B$113:$B$114</c:f>
              <c:numCache>
                <c:formatCode>General</c:formatCode>
                <c:ptCount val="2"/>
                <c:pt idx="0">
                  <c:v>0.00381654574430671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2.106266171335408</c:v>
                </c:pt>
              </c:numCache>
            </c:numRef>
          </c:xVal>
          <c:yVal>
            <c:numRef>
              <c:f>Sheet1!$B$117:$B$118</c:f>
              <c:numCache>
                <c:formatCode>General</c:formatCode>
                <c:ptCount val="2"/>
                <c:pt idx="0">
                  <c:v>0.003762366868698121</c:v>
                </c:pt>
                <c:pt idx="1">
                  <c:v>0.003762366868698121</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2.106266171335408</c:v>
                </c:pt>
                <c:pt idx="1">
                  <c:v>2.106266171335408</c:v>
                </c:pt>
              </c:numCache>
            </c:numRef>
          </c:xVal>
          <c:yVal>
            <c:numRef>
              <c:f>Sheet1!$B$121:$B$122</c:f>
              <c:numCache>
                <c:formatCode>General</c:formatCode>
                <c:ptCount val="2"/>
                <c:pt idx="0">
                  <c:v>0.00376236686869812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2.6762522683149217</c:v>
                </c:pt>
              </c:numCache>
            </c:numRef>
          </c:xVal>
          <c:yVal>
            <c:numRef>
              <c:f>Sheet1!$B$125:$B$126</c:f>
              <c:numCache>
                <c:formatCode>General</c:formatCode>
                <c:ptCount val="2"/>
                <c:pt idx="0">
                  <c:v>0.00278618580062361</c:v>
                </c:pt>
                <c:pt idx="1">
                  <c:v>0.00278618580062361</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2.6762522683149217</c:v>
                </c:pt>
                <c:pt idx="1">
                  <c:v>2.6762522683149217</c:v>
                </c:pt>
              </c:numCache>
            </c:numRef>
          </c:xVal>
          <c:yVal>
            <c:numRef>
              <c:f>Sheet1!$B$129:$B$130</c:f>
              <c:numCache>
                <c:formatCode>General</c:formatCode>
                <c:ptCount val="2"/>
                <c:pt idx="0">
                  <c:v>0.0027861858006236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3.5751713297482013</c:v>
                </c:pt>
                <c:pt idx="1">
                  <c:v>1.5620157998163466</c:v>
                </c:pt>
                <c:pt idx="2">
                  <c:v>2.1575611103877335</c:v>
                </c:pt>
                <c:pt idx="3">
                  <c:v>1.8770649720695278</c:v>
                </c:pt>
                <c:pt idx="4">
                  <c:v>2.8608642305933256</c:v>
                </c:pt>
                <c:pt idx="5">
                  <c:v>2.877799805258891</c:v>
                </c:pt>
                <c:pt idx="6">
                  <c:v>2.5893433018776073</c:v>
                </c:pt>
                <c:pt idx="7">
                  <c:v>2.4737288238074786</c:v>
                </c:pt>
                <c:pt idx="8">
                  <c:v>2.4486291069378967</c:v>
                </c:pt>
                <c:pt idx="9">
                  <c:v>2.4750683444927524</c:v>
                </c:pt>
                <c:pt idx="10">
                  <c:v>2.832517509015712</c:v>
                </c:pt>
                <c:pt idx="11">
                  <c:v>2.659639082999065</c:v>
                </c:pt>
                <c:pt idx="12">
                  <c:v>2.411447941247378</c:v>
                </c:pt>
                <c:pt idx="13">
                  <c:v>2.295757310539225</c:v>
                </c:pt>
                <c:pt idx="14">
                  <c:v>2.127033817674312</c:v>
                </c:pt>
                <c:pt idx="15">
                  <c:v>2.0563067764505782</c:v>
                </c:pt>
                <c:pt idx="16">
                  <c:v>3.1305649065187744</c:v>
                </c:pt>
                <c:pt idx="17">
                  <c:v>2.647991641424905</c:v>
                </c:pt>
                <c:pt idx="18">
                  <c:v>2.8628318614897967</c:v>
                </c:pt>
                <c:pt idx="19">
                  <c:v>2.424310483846679</c:v>
                </c:pt>
                <c:pt idx="20">
                  <c:v>2.281491731838035</c:v>
                </c:pt>
                <c:pt idx="21">
                  <c:v>1.9794596746502808</c:v>
                </c:pt>
                <c:pt idx="22">
                  <c:v>2.75592862667462</c:v>
                </c:pt>
                <c:pt idx="23">
                  <c:v>2.0861492520371505</c:v>
                </c:pt>
                <c:pt idx="24">
                  <c:v>2.298799073642688</c:v>
                </c:pt>
                <c:pt idx="25">
                  <c:v>2.187854223746318</c:v>
                </c:pt>
                <c:pt idx="26">
                  <c:v>2.441167594771395</c:v>
                </c:pt>
                <c:pt idx="27">
                  <c:v>2.290935135323666</c:v>
                </c:pt>
                <c:pt idx="28">
                  <c:v>2.023652262114659</c:v>
                </c:pt>
                <c:pt idx="29">
                  <c:v>1.8576411832541109</c:v>
                </c:pt>
                <c:pt idx="30">
                  <c:v>1.876844698050108</c:v>
                </c:pt>
                <c:pt idx="31">
                  <c:v>2.0720617160307766</c:v>
                </c:pt>
                <c:pt idx="32">
                  <c:v>1.7456039707797317</c:v>
                </c:pt>
                <c:pt idx="33">
                  <c:v>2.184346058528401</c:v>
                </c:pt>
                <c:pt idx="34">
                  <c:v>2.5142883027219294</c:v>
                </c:pt>
                <c:pt idx="35">
                  <c:v>2.1417184285173665</c:v>
                </c:pt>
                <c:pt idx="36">
                  <c:v>1.8174384150263638</c:v>
                </c:pt>
                <c:pt idx="37">
                  <c:v>1.815032252109354</c:v>
                </c:pt>
                <c:pt idx="38">
                  <c:v>2.016697265282169</c:v>
                </c:pt>
                <c:pt idx="39">
                  <c:v>2.1266267097172036</c:v>
                </c:pt>
                <c:pt idx="40">
                  <c:v>2.346262955772434</c:v>
                </c:pt>
                <c:pt idx="41">
                  <c:v>1.481763356049861</c:v>
                </c:pt>
                <c:pt idx="42">
                  <c:v>1.9552278570443258</c:v>
                </c:pt>
                <c:pt idx="43">
                  <c:v>2.072344627798463</c:v>
                </c:pt>
                <c:pt idx="44">
                  <c:v>3.376615426179183</c:v>
                </c:pt>
                <c:pt idx="45">
                  <c:v>2.878039236958997</c:v>
                </c:pt>
                <c:pt idx="46">
                  <c:v>2.4616816166538893</c:v>
                </c:pt>
                <c:pt idx="47">
                  <c:v>3.0658596086972074</c:v>
                </c:pt>
                <c:pt idx="48">
                  <c:v>2.7714973138657264</c:v>
                </c:pt>
                <c:pt idx="49">
                  <c:v>2.7597132823965143</c:v>
                </c:pt>
                <c:pt idx="50">
                  <c:v>3.0248515574645247</c:v>
                </c:pt>
                <c:pt idx="51">
                  <c:v>3.1479530196795507</c:v>
                </c:pt>
                <c:pt idx="52">
                  <c:v>2.106266171335408</c:v>
                </c:pt>
                <c:pt idx="53">
                  <c:v>2.0746314604637957</c:v>
                </c:pt>
                <c:pt idx="54">
                  <c:v>2.6762522683149217</c:v>
                </c:pt>
              </c:numCache>
            </c:numRef>
          </c:xVal>
          <c:yVal>
            <c:numRef>
              <c:f>Sheet1!$B$133:$B$187</c:f>
              <c:numCache>
                <c:formatCode>General</c:formatCode>
                <c:ptCount val="55"/>
                <c:pt idx="0">
                  <c:v>0.0012466609347495314</c:v>
                </c:pt>
                <c:pt idx="1">
                  <c:v>0.004694471900355624</c:v>
                </c:pt>
                <c:pt idx="2">
                  <c:v>0.0036745170971751572</c:v>
                </c:pt>
                <c:pt idx="3">
                  <c:v>0.004154906042353381</c:v>
                </c:pt>
                <c:pt idx="4">
                  <c:v>0.002470011943978225</c:v>
                </c:pt>
                <c:pt idx="5">
                  <c:v>0.0024410073990374006</c:v>
                </c:pt>
                <c:pt idx="6">
                  <c:v>0.0029350295849397716</c:v>
                </c:pt>
                <c:pt idx="7">
                  <c:v>0.0031330355806744913</c:v>
                </c:pt>
                <c:pt idx="8">
                  <c:v>0.0031760223632503427</c:v>
                </c:pt>
                <c:pt idx="9">
                  <c:v>0.0031307414637825395</c:v>
                </c:pt>
                <c:pt idx="10">
                  <c:v>0.0025185596771469514</c:v>
                </c:pt>
                <c:pt idx="11">
                  <c:v>0.002814638208623898</c:v>
                </c:pt>
                <c:pt idx="12">
                  <c:v>0.0032397003200081726</c:v>
                </c:pt>
                <c:pt idx="13">
                  <c:v>0.003437836737807426</c:v>
                </c:pt>
                <c:pt idx="14">
                  <c:v>0.003726799363995925</c:v>
                </c:pt>
                <c:pt idx="15">
                  <c:v>0.0038479293336730904</c:v>
                </c:pt>
                <c:pt idx="16">
                  <c:v>0.0020081117410075114</c:v>
                </c:pt>
                <c:pt idx="17">
                  <c:v>0.002834586084574647</c:v>
                </c:pt>
                <c:pt idx="18">
                  <c:v>0.0024666421003271734</c:v>
                </c:pt>
                <c:pt idx="19">
                  <c:v>0.0032176714132694335</c:v>
                </c:pt>
                <c:pt idx="20">
                  <c:v>0.0034622685404900252</c:v>
                </c:pt>
                <c:pt idx="21">
                  <c:v>0.0039795407647437355</c:v>
                </c:pt>
                <c:pt idx="22">
                  <c:v>0.002649728871207219</c:v>
                </c:pt>
                <c:pt idx="23">
                  <c:v>0.003796819912151297</c:v>
                </c:pt>
                <c:pt idx="24">
                  <c:v>0.0034326272922246244</c:v>
                </c:pt>
                <c:pt idx="25">
                  <c:v>0.003622635895317091</c:v>
                </c:pt>
                <c:pt idx="26">
                  <c:v>0.0031888012484806057</c:v>
                </c:pt>
                <c:pt idx="27">
                  <c:v>0.003446095388636475</c:v>
                </c:pt>
                <c:pt idx="28">
                  <c:v>0.0039038547656280345</c:v>
                </c:pt>
                <c:pt idx="29">
                  <c:v>0.004188172002720427</c:v>
                </c:pt>
                <c:pt idx="30">
                  <c:v>0.0041552832924805095</c:v>
                </c:pt>
                <c:pt idx="31">
                  <c:v>0.0038209467917683882</c:v>
                </c:pt>
                <c:pt idx="32">
                  <c:v>0.004380051429809788</c:v>
                </c:pt>
                <c:pt idx="33">
                  <c:v>0.0036286441198817884</c:v>
                </c:pt>
                <c:pt idx="34">
                  <c:v>0.003063571789088927</c:v>
                </c:pt>
                <c:pt idx="35">
                  <c:v>0.003701649910047846</c:v>
                </c:pt>
                <c:pt idx="36">
                  <c:v>0.00425702487726611</c:v>
                </c:pt>
                <c:pt idx="37">
                  <c:v>0.004261145768457554</c:v>
                </c:pt>
                <c:pt idx="38">
                  <c:v>0.003915766172366503</c:v>
                </c:pt>
                <c:pt idx="39">
                  <c:v>0.003727496593423972</c:v>
                </c:pt>
                <c:pt idx="40">
                  <c:v>0.003351338742560152</c:v>
                </c:pt>
                <c:pt idx="41">
                  <c:v>0.004831915456762884</c:v>
                </c:pt>
                <c:pt idx="42">
                  <c:v>0.004021041148204523</c:v>
                </c:pt>
                <c:pt idx="43">
                  <c:v>0.003820462265719394</c:v>
                </c:pt>
                <c:pt idx="44">
                  <c:v>0.0015867157449381206</c:v>
                </c:pt>
                <c:pt idx="45">
                  <c:v>0.002440597338697369</c:v>
                </c:pt>
                <c:pt idx="46">
                  <c:v>0.003153668111202562</c:v>
                </c:pt>
                <c:pt idx="47">
                  <c:v>0.0021189286312303735</c:v>
                </c:pt>
                <c:pt idx="48">
                  <c:v>0.002623065312619967</c:v>
                </c:pt>
                <c:pt idx="49">
                  <c:v>0.002643247117907496</c:v>
                </c:pt>
                <c:pt idx="50">
                  <c:v>0.002189160665773162</c:v>
                </c:pt>
                <c:pt idx="51">
                  <c:v>0.0019783321604755722</c:v>
                </c:pt>
                <c:pt idx="52">
                  <c:v>0.003762366868698121</c:v>
                </c:pt>
                <c:pt idx="53">
                  <c:v>0.0038165457443067106</c:v>
                </c:pt>
                <c:pt idx="54">
                  <c:v>0.0027861858006236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82352941176470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3291503391284172</c:v>
                </c:pt>
                <c:pt idx="1">
                  <c:v>0.0</c:v>
                </c:pt>
                <c:pt idx="2">
                  <c:v>0.0</c:v>
                </c:pt>
                <c:pt idx="3">
                  <c:v>0.0</c:v>
                </c:pt>
                <c:pt idx="4">
                  <c:v>1.137759336099585</c:v>
                </c:pt>
                <c:pt idx="5">
                  <c:v>1.288706392998901</c:v>
                </c:pt>
                <c:pt idx="6">
                  <c:v>1.1285444539169445</c:v>
                </c:pt>
                <c:pt idx="7">
                  <c:v>2.667206313872306</c:v>
                </c:pt>
                <c:pt idx="8">
                  <c:v>1.533156682827488</c:v>
                </c:pt>
                <c:pt idx="9">
                  <c:v>1.392667695838836</c:v>
                </c:pt>
                <c:pt idx="10">
                  <c:v>2.2479055347722134</c:v>
                </c:pt>
                <c:pt idx="11">
                  <c:v>1.6152394597666877</c:v>
                </c:pt>
                <c:pt idx="12">
                  <c:v>2.1011933413134263</c:v>
                </c:pt>
                <c:pt idx="13">
                  <c:v>1.784229016045333</c:v>
                </c:pt>
                <c:pt idx="14">
                  <c:v>1.429108658642753</c:v>
                </c:pt>
                <c:pt idx="15">
                  <c:v>1.5377354607471845</c:v>
                </c:pt>
                <c:pt idx="16">
                  <c:v>0.9557839056980815</c:v>
                </c:pt>
                <c:pt idx="17">
                  <c:v>0.5459875412238915</c:v>
                </c:pt>
                <c:pt idx="18">
                  <c:v>0.7305275524357753</c:v>
                </c:pt>
                <c:pt idx="19">
                  <c:v>0.8341639193437093</c:v>
                </c:pt>
                <c:pt idx="20">
                  <c:v>0.9421367814776672</c:v>
                </c:pt>
                <c:pt idx="21">
                  <c:v>0.9558597354660104</c:v>
                </c:pt>
                <c:pt idx="22">
                  <c:v>0.8432740720243435</c:v>
                </c:pt>
                <c:pt idx="23">
                  <c:v>3.287104754409919</c:v>
                </c:pt>
                <c:pt idx="24">
                  <c:v>2.823575146253399</c:v>
                </c:pt>
                <c:pt idx="25">
                  <c:v>3.0862638485237324</c:v>
                </c:pt>
                <c:pt idx="26">
                  <c:v>3.7089224413853237</c:v>
                </c:pt>
                <c:pt idx="27">
                  <c:v>3.508234608547052</c:v>
                </c:pt>
                <c:pt idx="28">
                  <c:v>5.1582209167317234</c:v>
                </c:pt>
                <c:pt idx="29">
                  <c:v>2.6412325930658604</c:v>
                </c:pt>
                <c:pt idx="30">
                  <c:v>1.7311425818418795</c:v>
                </c:pt>
                <c:pt idx="31">
                  <c:v>3.4703466180148177</c:v>
                </c:pt>
                <c:pt idx="32">
                  <c:v>3.085779708856374</c:v>
                </c:pt>
                <c:pt idx="33">
                  <c:v>2.098271254839941</c:v>
                </c:pt>
                <c:pt idx="34">
                  <c:v>3.1323868612394357</c:v>
                </c:pt>
                <c:pt idx="35">
                  <c:v>3.126002384046416</c:v>
                </c:pt>
                <c:pt idx="36">
                  <c:v>3.7115165192861697</c:v>
                </c:pt>
                <c:pt idx="37">
                  <c:v>2.8919149639523765</c:v>
                </c:pt>
                <c:pt idx="38">
                  <c:v>3.723318258987998</c:v>
                </c:pt>
                <c:pt idx="39">
                  <c:v>3.4473614642716877</c:v>
                </c:pt>
                <c:pt idx="40">
                  <c:v>3.4771727577009632</c:v>
                </c:pt>
                <c:pt idx="41">
                  <c:v>3.305715628367</c:v>
                </c:pt>
                <c:pt idx="42">
                  <c:v>4.175970192850893</c:v>
                </c:pt>
                <c:pt idx="43">
                  <c:v>4.63751009607114</c:v>
                </c:pt>
                <c:pt idx="44">
                  <c:v>3.224039031230091</c:v>
                </c:pt>
                <c:pt idx="45">
                  <c:v>3.7911501862739043</c:v>
                </c:pt>
                <c:pt idx="46">
                  <c:v>3.9645496431505993</c:v>
                </c:pt>
                <c:pt idx="47">
                  <c:v>3.563304415212201</c:v>
                </c:pt>
                <c:pt idx="48">
                  <c:v>3.4093011529881943</c:v>
                </c:pt>
                <c:pt idx="49">
                  <c:v>3.429731795138258</c:v>
                </c:pt>
                <c:pt idx="50">
                  <c:v>3.513166513172167</c:v>
                </c:pt>
                <c:pt idx="51">
                  <c:v>3.802516201565951</c:v>
                </c:pt>
                <c:pt idx="52">
                  <c:v>3.399432168618188</c:v>
                </c:pt>
              </c:numCache>
            </c:numRef>
          </c:xVal>
          <c:yVal>
            <c:numRef>
              <c:f>Sheet1!$B$2:$B$54</c:f>
              <c:numCache>
                <c:formatCode>General</c:formatCode>
                <c:ptCount val="53"/>
                <c:pt idx="0">
                  <c:v>0.0006779661016949153</c:v>
                </c:pt>
                <c:pt idx="1">
                  <c:v>0.0</c:v>
                </c:pt>
                <c:pt idx="2">
                  <c:v>0.0</c:v>
                </c:pt>
                <c:pt idx="3">
                  <c:v>0.0</c:v>
                </c:pt>
                <c:pt idx="4">
                  <c:v>0.0009881422924901185</c:v>
                </c:pt>
                <c:pt idx="5">
                  <c:v>0.0009784735812133072</c:v>
                </c:pt>
                <c:pt idx="6">
                  <c:v>0.001001001001001001</c:v>
                </c:pt>
                <c:pt idx="7">
                  <c:v>0.0006207324643078833</c:v>
                </c:pt>
                <c:pt idx="8">
                  <c:v>0.0013812154696132596</c:v>
                </c:pt>
                <c:pt idx="9">
                  <c:v>0.0015860428231562252</c:v>
                </c:pt>
                <c:pt idx="10">
                  <c:v>0.0007987220447284345</c:v>
                </c:pt>
                <c:pt idx="11">
                  <c:v>0.0014419610670511895</c:v>
                </c:pt>
                <c:pt idx="12">
                  <c:v>0.0006839945280437756</c:v>
                </c:pt>
                <c:pt idx="13">
                  <c:v>0.001463057790782736</c:v>
                </c:pt>
                <c:pt idx="14">
                  <c:v>0.0006765899864682003</c:v>
                </c:pt>
                <c:pt idx="15">
                  <c:v>0.0006697923643670462</c:v>
                </c:pt>
                <c:pt idx="16">
                  <c:v>0.0015337423312883436</c:v>
                </c:pt>
                <c:pt idx="17">
                  <c:v>0.0010964912280701754</c:v>
                </c:pt>
                <c:pt idx="18">
                  <c:v>0.001951219512195122</c:v>
                </c:pt>
                <c:pt idx="19">
                  <c:v>0.0021668472372697724</c:v>
                </c:pt>
                <c:pt idx="20">
                  <c:v>0.000946969696969697</c:v>
                </c:pt>
                <c:pt idx="21">
                  <c:v>0.0011376564277588168</c:v>
                </c:pt>
                <c:pt idx="22">
                  <c:v>0.00340522133938706</c:v>
                </c:pt>
                <c:pt idx="23">
                  <c:v>0.0023228803716608595</c:v>
                </c:pt>
                <c:pt idx="24">
                  <c:v>0.0034562211981566822</c:v>
                </c:pt>
                <c:pt idx="25">
                  <c:v>0.004048582995951417</c:v>
                </c:pt>
                <c:pt idx="26">
                  <c:v>0.0028694404591104736</c:v>
                </c:pt>
                <c:pt idx="27">
                  <c:v>0.0045871559633027525</c:v>
                </c:pt>
                <c:pt idx="28">
                  <c:v>0.0028328611898017</c:v>
                </c:pt>
                <c:pt idx="29">
                  <c:v>0.004694835680751174</c:v>
                </c:pt>
                <c:pt idx="30">
                  <c:v>0.007183908045977011</c:v>
                </c:pt>
                <c:pt idx="31">
                  <c:v>0.005908419497784343</c:v>
                </c:pt>
                <c:pt idx="32">
                  <c:v>0.004201680672268907</c:v>
                </c:pt>
                <c:pt idx="33">
                  <c:v>0.005390835579514825</c:v>
                </c:pt>
                <c:pt idx="34">
                  <c:v>0.0045662100456621</c:v>
                </c:pt>
                <c:pt idx="35">
                  <c:v>0.0035335689045936395</c:v>
                </c:pt>
                <c:pt idx="36">
                  <c:v>0.0053811659192825115</c:v>
                </c:pt>
                <c:pt idx="37">
                  <c:v>0.009554140127388535</c:v>
                </c:pt>
                <c:pt idx="38">
                  <c:v>0.007211538461538462</c:v>
                </c:pt>
                <c:pt idx="39">
                  <c:v>0.007194244604316547</c:v>
                </c:pt>
                <c:pt idx="40">
                  <c:v>0.0074418604651162795</c:v>
                </c:pt>
                <c:pt idx="41">
                  <c:v>0.006404391582799634</c:v>
                </c:pt>
                <c:pt idx="42">
                  <c:v>0.0056772100567721</c:v>
                </c:pt>
                <c:pt idx="43">
                  <c:v>0.005216095380029807</c:v>
                </c:pt>
                <c:pt idx="44">
                  <c:v>0.007972665148063782</c:v>
                </c:pt>
                <c:pt idx="45">
                  <c:v>0.0070921985815602835</c:v>
                </c:pt>
                <c:pt idx="46">
                  <c:v>0.006772009029345372</c:v>
                </c:pt>
                <c:pt idx="47">
                  <c:v>0.007799671592775041</c:v>
                </c:pt>
                <c:pt idx="48">
                  <c:v>0.006684898207231844</c:v>
                </c:pt>
                <c:pt idx="49">
                  <c:v>0.00914962325080732</c:v>
                </c:pt>
                <c:pt idx="50">
                  <c:v>0.009023789991796555</c:v>
                </c:pt>
                <c:pt idx="51">
                  <c:v>0.007989347536617843</c:v>
                </c:pt>
                <c:pt idx="52">
                  <c:v>0.008668242710795903</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251176244400697</c:v>
                </c:pt>
                <c:pt idx="1">
                  <c:v>3.8487496466436655</c:v>
                </c:pt>
                <c:pt idx="2">
                  <c:v>3.4742770005904244</c:v>
                </c:pt>
                <c:pt idx="3">
                  <c:v>3.3255209484016075</c:v>
                </c:pt>
                <c:pt idx="4">
                  <c:v>3.397136703171282</c:v>
                </c:pt>
                <c:pt idx="5">
                  <c:v>4.765713763719308</c:v>
                </c:pt>
                <c:pt idx="6">
                  <c:v>4.240371628535177</c:v>
                </c:pt>
                <c:pt idx="7">
                  <c:v>3.7932195442843066</c:v>
                </c:pt>
                <c:pt idx="8">
                  <c:v>3.4718968088131508</c:v>
                </c:pt>
                <c:pt idx="9">
                  <c:v>3.69856337779009</c:v>
                </c:pt>
                <c:pt idx="10">
                  <c:v>4.356778785136879</c:v>
                </c:pt>
                <c:pt idx="11">
                  <c:v>3.329411730043892</c:v>
                </c:pt>
                <c:pt idx="12">
                  <c:v>3.562313102502364</c:v>
                </c:pt>
                <c:pt idx="13">
                  <c:v>3.0421530413645335</c:v>
                </c:pt>
                <c:pt idx="14">
                  <c:v>3.155372230674642</c:v>
                </c:pt>
                <c:pt idx="15">
                  <c:v>3.1853319354999754</c:v>
                </c:pt>
                <c:pt idx="16">
                  <c:v>3.0707447155809175</c:v>
                </c:pt>
                <c:pt idx="17">
                  <c:v>2.707732566168009</c:v>
                </c:pt>
                <c:pt idx="18">
                  <c:v>2.80367424215254</c:v>
                </c:pt>
                <c:pt idx="19">
                  <c:v>3.438065668721156</c:v>
                </c:pt>
                <c:pt idx="20">
                  <c:v>2.7400593233674275</c:v>
                </c:pt>
                <c:pt idx="21">
                  <c:v>4.154184752705264</c:v>
                </c:pt>
                <c:pt idx="22">
                  <c:v>3.67706655768174</c:v>
                </c:pt>
                <c:pt idx="23">
                  <c:v>1.2808746899324268</c:v>
                </c:pt>
                <c:pt idx="24">
                  <c:v>3.248459012904084</c:v>
                </c:pt>
                <c:pt idx="25">
                  <c:v>4.430422167084659</c:v>
                </c:pt>
                <c:pt idx="26">
                  <c:v>3.939880010641798</c:v>
                </c:pt>
                <c:pt idx="27">
                  <c:v>2.1956499875729385</c:v>
                </c:pt>
                <c:pt idx="28">
                  <c:v>2.7383635365183965</c:v>
                </c:pt>
                <c:pt idx="29">
                  <c:v>2.5465270501086765</c:v>
                </c:pt>
                <c:pt idx="30">
                  <c:v>2.222972254717259</c:v>
                </c:pt>
                <c:pt idx="31">
                  <c:v>3.0512449134423063</c:v>
                </c:pt>
                <c:pt idx="32">
                  <c:v>2.9637834852178693</c:v>
                </c:pt>
                <c:pt idx="33">
                  <c:v>3.857033763341299</c:v>
                </c:pt>
                <c:pt idx="34">
                  <c:v>4.563554950090144</c:v>
                </c:pt>
                <c:pt idx="35">
                  <c:v>3.4971551765436226</c:v>
                </c:pt>
                <c:pt idx="36">
                  <c:v>3.40694193420774</c:v>
                </c:pt>
                <c:pt idx="37">
                  <c:v>4.358533108550886</c:v>
                </c:pt>
                <c:pt idx="38">
                  <c:v>2.600765679471629</c:v>
                </c:pt>
                <c:pt idx="39">
                  <c:v>1.6137817277502455</c:v>
                </c:pt>
                <c:pt idx="40">
                  <c:v>1.4742123283424258</c:v>
                </c:pt>
                <c:pt idx="41">
                  <c:v>1.5080985981025672</c:v>
                </c:pt>
                <c:pt idx="42">
                  <c:v>1.3838514598295173</c:v>
                </c:pt>
                <c:pt idx="43">
                  <c:v>1.372615814704503</c:v>
                </c:pt>
                <c:pt idx="44">
                  <c:v>2.299011370578382</c:v>
                </c:pt>
                <c:pt idx="45">
                  <c:v>2.4919721177944862</c:v>
                </c:pt>
                <c:pt idx="46">
                  <c:v>2.54717523659306</c:v>
                </c:pt>
                <c:pt idx="47">
                  <c:v>2.668700205314716</c:v>
                </c:pt>
                <c:pt idx="48">
                  <c:v>2.3550742921283825</c:v>
                </c:pt>
                <c:pt idx="49">
                  <c:v>1.9280409913076229</c:v>
                </c:pt>
                <c:pt idx="50">
                  <c:v>2.598684210526316</c:v>
                </c:pt>
                <c:pt idx="51">
                  <c:v>3.741955222998868</c:v>
                </c:pt>
              </c:numCache>
            </c:numRef>
          </c:xVal>
          <c:yVal>
            <c:numRef>
              <c:f>Sheet1!$B$57:$B$108</c:f>
              <c:numCache>
                <c:formatCode>General</c:formatCode>
                <c:ptCount val="52"/>
                <c:pt idx="0">
                  <c:v>0.007768361581920904</c:v>
                </c:pt>
                <c:pt idx="1">
                  <c:v>0.008052708638360176</c:v>
                </c:pt>
                <c:pt idx="2">
                  <c:v>0.008891928864569083</c:v>
                </c:pt>
                <c:pt idx="3">
                  <c:v>0.009404388714733543</c:v>
                </c:pt>
                <c:pt idx="4">
                  <c:v>0.01166407465007776</c:v>
                </c:pt>
                <c:pt idx="5">
                  <c:v>0.006294256490952006</c:v>
                </c:pt>
                <c:pt idx="6">
                  <c:v>0.007936507936507936</c:v>
                </c:pt>
                <c:pt idx="7">
                  <c:v>0.010434782608695653</c:v>
                </c:pt>
                <c:pt idx="8">
                  <c:v>0.012113055181695828</c:v>
                </c:pt>
                <c:pt idx="9">
                  <c:v>0.010914051841746248</c:v>
                </c:pt>
                <c:pt idx="10">
                  <c:v>0.008898776418242492</c:v>
                </c:pt>
                <c:pt idx="11">
                  <c:v>0.010309278350515464</c:v>
                </c:pt>
                <c:pt idx="12">
                  <c:v>0.009672619047619048</c:v>
                </c:pt>
                <c:pt idx="13">
                  <c:v>0.020627062706270627</c:v>
                </c:pt>
                <c:pt idx="14">
                  <c:v>0.021352313167259787</c:v>
                </c:pt>
                <c:pt idx="15">
                  <c:v>0.021996615905245348</c:v>
                </c:pt>
                <c:pt idx="16">
                  <c:v>0.022426095820591234</c:v>
                </c:pt>
                <c:pt idx="17">
                  <c:v>0.03691639522258415</c:v>
                </c:pt>
                <c:pt idx="18">
                  <c:v>0.015267175572519083</c:v>
                </c:pt>
                <c:pt idx="19">
                  <c:v>0.012972972972972972</c:v>
                </c:pt>
                <c:pt idx="20">
                  <c:v>0.015931372549019607</c:v>
                </c:pt>
                <c:pt idx="21">
                  <c:v>0.02190923317683881</c:v>
                </c:pt>
                <c:pt idx="22">
                  <c:v>0.018121911037891267</c:v>
                </c:pt>
                <c:pt idx="23">
                  <c:v>0.03189493433395872</c:v>
                </c:pt>
                <c:pt idx="24">
                  <c:v>0.015817223198594025</c:v>
                </c:pt>
                <c:pt idx="25">
                  <c:v>0.015065913370998116</c:v>
                </c:pt>
                <c:pt idx="26">
                  <c:v>0.013050570962479609</c:v>
                </c:pt>
                <c:pt idx="27">
                  <c:v>0.02188782489740082</c:v>
                </c:pt>
                <c:pt idx="28">
                  <c:v>0.01310615989515072</c:v>
                </c:pt>
                <c:pt idx="29">
                  <c:v>0.018209408194233688</c:v>
                </c:pt>
                <c:pt idx="30">
                  <c:v>0.017699115044247787</c:v>
                </c:pt>
                <c:pt idx="31">
                  <c:v>0.022653721682847898</c:v>
                </c:pt>
                <c:pt idx="32">
                  <c:v>0.015267175572519083</c:v>
                </c:pt>
                <c:pt idx="33">
                  <c:v>0.008918617614269788</c:v>
                </c:pt>
                <c:pt idx="34">
                  <c:v>0.008653846153846154</c:v>
                </c:pt>
                <c:pt idx="35">
                  <c:v>0.015151515151515152</c:v>
                </c:pt>
                <c:pt idx="36">
                  <c:v>0.01278409090909091</c:v>
                </c:pt>
                <c:pt idx="37">
                  <c:v>0.013140604467805518</c:v>
                </c:pt>
                <c:pt idx="38">
                  <c:v>0.024489795918367346</c:v>
                </c:pt>
                <c:pt idx="39">
                  <c:v>0.03553921568627451</c:v>
                </c:pt>
                <c:pt idx="40">
                  <c:v>0.030405405405405407</c:v>
                </c:pt>
                <c:pt idx="41">
                  <c:v>0.019704433497536946</c:v>
                </c:pt>
                <c:pt idx="42">
                  <c:v>0.03244495944380069</c:v>
                </c:pt>
                <c:pt idx="43">
                  <c:v>0.024891774891774892</c:v>
                </c:pt>
                <c:pt idx="44">
                  <c:v>0.010318142734307825</c:v>
                </c:pt>
                <c:pt idx="45">
                  <c:v>0.007978723404255319</c:v>
                </c:pt>
                <c:pt idx="46">
                  <c:v>0.008468052347959968</c:v>
                </c:pt>
                <c:pt idx="47">
                  <c:v>0.006600660066006601</c:v>
                </c:pt>
                <c:pt idx="48">
                  <c:v>0.008337675872850442</c:v>
                </c:pt>
                <c:pt idx="49">
                  <c:v>0.009373169302870533</c:v>
                </c:pt>
                <c:pt idx="50">
                  <c:v>0.006361829025844931</c:v>
                </c:pt>
                <c:pt idx="51">
                  <c:v>0.0057434588385449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437520144744093</c:v>
                </c:pt>
              </c:numCache>
            </c:numRef>
          </c:xVal>
          <c:yVal>
            <c:numRef>
              <c:f>Sheet1!$B$111:$B$112</c:f>
              <c:numCache>
                <c:formatCode>General</c:formatCode>
                <c:ptCount val="2"/>
                <c:pt idx="0">
                  <c:v>0.01860902876339239</c:v>
                </c:pt>
                <c:pt idx="1">
                  <c:v>0.01860902876339239</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437520144744093</c:v>
                </c:pt>
                <c:pt idx="1">
                  <c:v>2.437520144744093</c:v>
                </c:pt>
              </c:numCache>
            </c:numRef>
          </c:xVal>
          <c:yVal>
            <c:numRef>
              <c:f>Sheet1!$B$115:$B$116</c:f>
              <c:numCache>
                <c:formatCode>General</c:formatCode>
                <c:ptCount val="2"/>
                <c:pt idx="0">
                  <c:v>0.018609028763392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437520144744093</c:v>
                </c:pt>
              </c:numCache>
            </c:numRef>
          </c:xVal>
          <c:yVal>
            <c:numRef>
              <c:f>Sheet1!$B$119:$B$120</c:f>
              <c:numCache>
                <c:formatCode>General</c:formatCode>
                <c:ptCount val="2"/>
                <c:pt idx="0">
                  <c:v>0.01860902876339239</c:v>
                </c:pt>
                <c:pt idx="1">
                  <c:v>0.0186090287633923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437520144744093</c:v>
                </c:pt>
                <c:pt idx="1">
                  <c:v>2.437520144744093</c:v>
                </c:pt>
              </c:numCache>
            </c:numRef>
          </c:xVal>
          <c:yVal>
            <c:numRef>
              <c:f>Sheet1!$B$123:$B$124</c:f>
              <c:numCache>
                <c:formatCode>General</c:formatCode>
                <c:ptCount val="2"/>
                <c:pt idx="0">
                  <c:v>0.0186090287633923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9851128001912275</c:v>
                </c:pt>
              </c:numCache>
            </c:numRef>
          </c:xVal>
          <c:yVal>
            <c:numRef>
              <c:f>Sheet1!$B$127:$B$128</c:f>
              <c:numCache>
                <c:formatCode>General</c:formatCode>
                <c:ptCount val="2"/>
                <c:pt idx="0">
                  <c:v>0.015859038501341002</c:v>
                </c:pt>
                <c:pt idx="1">
                  <c:v>0.01585903850134100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9851128001912275</c:v>
                </c:pt>
                <c:pt idx="1">
                  <c:v>2.9851128001912275</c:v>
                </c:pt>
              </c:numCache>
            </c:numRef>
          </c:xVal>
          <c:yVal>
            <c:numRef>
              <c:f>Sheet1!$B$131:$B$132</c:f>
              <c:numCache>
                <c:formatCode>General</c:formatCode>
                <c:ptCount val="2"/>
                <c:pt idx="0">
                  <c:v>0.01585903850134100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251176244400697</c:v>
                </c:pt>
                <c:pt idx="1">
                  <c:v>3.8487496466436655</c:v>
                </c:pt>
                <c:pt idx="2">
                  <c:v>3.4742770005904244</c:v>
                </c:pt>
                <c:pt idx="3">
                  <c:v>3.3255209484016075</c:v>
                </c:pt>
                <c:pt idx="4">
                  <c:v>3.397136703171282</c:v>
                </c:pt>
                <c:pt idx="5">
                  <c:v>4.765713763719308</c:v>
                </c:pt>
                <c:pt idx="6">
                  <c:v>4.240371628535177</c:v>
                </c:pt>
                <c:pt idx="7">
                  <c:v>3.7932195442843066</c:v>
                </c:pt>
                <c:pt idx="8">
                  <c:v>3.4718968088131508</c:v>
                </c:pt>
                <c:pt idx="9">
                  <c:v>3.69856337779009</c:v>
                </c:pt>
                <c:pt idx="10">
                  <c:v>4.356778785136879</c:v>
                </c:pt>
                <c:pt idx="11">
                  <c:v>3.329411730043892</c:v>
                </c:pt>
                <c:pt idx="12">
                  <c:v>3.562313102502364</c:v>
                </c:pt>
                <c:pt idx="13">
                  <c:v>3.0421530413645335</c:v>
                </c:pt>
                <c:pt idx="14">
                  <c:v>3.155372230674642</c:v>
                </c:pt>
                <c:pt idx="15">
                  <c:v>3.1853319354999754</c:v>
                </c:pt>
                <c:pt idx="16">
                  <c:v>3.0707447155809175</c:v>
                </c:pt>
                <c:pt idx="17">
                  <c:v>2.707732566168009</c:v>
                </c:pt>
                <c:pt idx="18">
                  <c:v>2.80367424215254</c:v>
                </c:pt>
                <c:pt idx="19">
                  <c:v>3.438065668721156</c:v>
                </c:pt>
                <c:pt idx="20">
                  <c:v>2.7400593233674275</c:v>
                </c:pt>
                <c:pt idx="21">
                  <c:v>4.154184752705264</c:v>
                </c:pt>
                <c:pt idx="22">
                  <c:v>3.67706655768174</c:v>
                </c:pt>
                <c:pt idx="23">
                  <c:v>1.2808746899324268</c:v>
                </c:pt>
                <c:pt idx="24">
                  <c:v>3.248459012904084</c:v>
                </c:pt>
                <c:pt idx="25">
                  <c:v>4.430422167084659</c:v>
                </c:pt>
                <c:pt idx="26">
                  <c:v>3.939880010641798</c:v>
                </c:pt>
                <c:pt idx="27">
                  <c:v>2.1956499875729385</c:v>
                </c:pt>
                <c:pt idx="28">
                  <c:v>2.7383635365183965</c:v>
                </c:pt>
                <c:pt idx="29">
                  <c:v>2.5465270501086765</c:v>
                </c:pt>
                <c:pt idx="30">
                  <c:v>2.222972254717259</c:v>
                </c:pt>
                <c:pt idx="31">
                  <c:v>3.0512449134423063</c:v>
                </c:pt>
                <c:pt idx="32">
                  <c:v>2.9637834852178693</c:v>
                </c:pt>
                <c:pt idx="33">
                  <c:v>3.857033763341299</c:v>
                </c:pt>
                <c:pt idx="34">
                  <c:v>4.563554950090144</c:v>
                </c:pt>
                <c:pt idx="35">
                  <c:v>3.4971551765436226</c:v>
                </c:pt>
                <c:pt idx="36">
                  <c:v>3.40694193420774</c:v>
                </c:pt>
                <c:pt idx="37">
                  <c:v>4.358533108550886</c:v>
                </c:pt>
                <c:pt idx="38">
                  <c:v>2.600765679471629</c:v>
                </c:pt>
                <c:pt idx="39">
                  <c:v>1.6137817277502455</c:v>
                </c:pt>
                <c:pt idx="40">
                  <c:v>1.4742123283424258</c:v>
                </c:pt>
                <c:pt idx="41">
                  <c:v>1.5080985981025672</c:v>
                </c:pt>
                <c:pt idx="42">
                  <c:v>1.3838514598295173</c:v>
                </c:pt>
                <c:pt idx="43">
                  <c:v>1.372615814704503</c:v>
                </c:pt>
                <c:pt idx="44">
                  <c:v>2.299011370578382</c:v>
                </c:pt>
                <c:pt idx="45">
                  <c:v>2.4919721177944862</c:v>
                </c:pt>
                <c:pt idx="46">
                  <c:v>2.54717523659306</c:v>
                </c:pt>
                <c:pt idx="47">
                  <c:v>2.668700205314716</c:v>
                </c:pt>
                <c:pt idx="48">
                  <c:v>2.3550742921283825</c:v>
                </c:pt>
                <c:pt idx="49">
                  <c:v>1.9280409913076229</c:v>
                </c:pt>
                <c:pt idx="50">
                  <c:v>2.598684210526316</c:v>
                </c:pt>
                <c:pt idx="51">
                  <c:v>3.741955222998868</c:v>
                </c:pt>
                <c:pt idx="52">
                  <c:v>2.437520144744093</c:v>
                </c:pt>
                <c:pt idx="53">
                  <c:v>2.437520144744093</c:v>
                </c:pt>
                <c:pt idx="54">
                  <c:v>2.9851128001912275</c:v>
                </c:pt>
              </c:numCache>
            </c:numRef>
          </c:xVal>
          <c:yVal>
            <c:numRef>
              <c:f>Sheet1!$B$135:$B$189</c:f>
              <c:numCache>
                <c:formatCode>General</c:formatCode>
                <c:ptCount val="55"/>
                <c:pt idx="0">
                  <c:v>0.014522877628134166</c:v>
                </c:pt>
                <c:pt idx="1">
                  <c:v>0.011521885886038516</c:v>
                </c:pt>
                <c:pt idx="2">
                  <c:v>0.013402473800809129</c:v>
                </c:pt>
                <c:pt idx="3">
                  <c:v>0.014149521247247984</c:v>
                </c:pt>
                <c:pt idx="4">
                  <c:v>0.013789869549463155</c:v>
                </c:pt>
                <c:pt idx="5">
                  <c:v>0.006916925670585064</c:v>
                </c:pt>
                <c:pt idx="6">
                  <c:v>0.009555174634720623</c:v>
                </c:pt>
                <c:pt idx="7">
                  <c:v>0.011800756026497689</c:v>
                </c:pt>
                <c:pt idx="8">
                  <c:v>0.013414427036748666</c:v>
                </c:pt>
                <c:pt idx="9">
                  <c:v>0.01227611582819127</c:v>
                </c:pt>
                <c:pt idx="10">
                  <c:v>0.008970582157258742</c:v>
                </c:pt>
                <c:pt idx="11">
                  <c:v>0.014129981884326261</c:v>
                </c:pt>
                <c:pt idx="12">
                  <c:v>0.012960359721011776</c:v>
                </c:pt>
                <c:pt idx="13">
                  <c:v>0.01557258449906157</c:v>
                </c:pt>
                <c:pt idx="14">
                  <c:v>0.015004001876590279</c:v>
                </c:pt>
                <c:pt idx="15">
                  <c:v>0.014853545336123482</c:v>
                </c:pt>
                <c:pt idx="16">
                  <c:v>0.015428998158213738</c:v>
                </c:pt>
                <c:pt idx="17">
                  <c:v>0.017252031878555917</c:v>
                </c:pt>
                <c:pt idx="18">
                  <c:v>0.01677021629527912</c:v>
                </c:pt>
                <c:pt idx="19">
                  <c:v>0.013584325783347291</c:v>
                </c:pt>
                <c:pt idx="20">
                  <c:v>0.017089688087751215</c:v>
                </c:pt>
                <c:pt idx="21">
                  <c:v>0.009988001968855267</c:v>
                </c:pt>
                <c:pt idx="22">
                  <c:v>0.01238407207153197</c:v>
                </c:pt>
                <c:pt idx="23">
                  <c:v>0.02441765987949244</c:v>
                </c:pt>
                <c:pt idx="24">
                  <c:v>0.014536523465201363</c:v>
                </c:pt>
                <c:pt idx="25">
                  <c:v>0.00860074779003999</c:v>
                </c:pt>
                <c:pt idx="26">
                  <c:v>0.011064232535360482</c:v>
                </c:pt>
                <c:pt idx="27">
                  <c:v>0.019823691835084603</c:v>
                </c:pt>
                <c:pt idx="28">
                  <c:v>0.017098204267204976</c:v>
                </c:pt>
                <c:pt idx="29">
                  <c:v>0.01806160007663583</c:v>
                </c:pt>
                <c:pt idx="30">
                  <c:v>0.019686480410065224</c:v>
                </c:pt>
                <c:pt idx="31">
                  <c:v>0.015526925450443986</c:v>
                </c:pt>
                <c:pt idx="32">
                  <c:v>0.015966153540028047</c:v>
                </c:pt>
                <c:pt idx="33">
                  <c:v>0.011480283355358868</c:v>
                </c:pt>
                <c:pt idx="34">
                  <c:v>0.007932159829293996</c:v>
                </c:pt>
                <c:pt idx="35">
                  <c:v>0.013287580439002768</c:v>
                </c:pt>
                <c:pt idx="36">
                  <c:v>0.013740628038279253</c:v>
                </c:pt>
                <c:pt idx="37">
                  <c:v>0.008961772009319361</c:v>
                </c:pt>
                <c:pt idx="38">
                  <c:v>0.017789215666269072</c:v>
                </c:pt>
                <c:pt idx="39">
                  <c:v>0.022745812927089774</c:v>
                </c:pt>
                <c:pt idx="40">
                  <c:v>0.023446725339690458</c:v>
                </c:pt>
                <c:pt idx="41">
                  <c:v>0.023276549733917323</c:v>
                </c:pt>
                <c:pt idx="42">
                  <c:v>0.023900514312221687</c:v>
                </c:pt>
                <c:pt idx="43">
                  <c:v>0.02395693931057457</c:v>
                </c:pt>
                <c:pt idx="44">
                  <c:v>0.01930461475486877</c:v>
                </c:pt>
                <c:pt idx="45">
                  <c:v>0.01833557294884025</c:v>
                </c:pt>
                <c:pt idx="46">
                  <c:v>0.018058344907848745</c:v>
                </c:pt>
                <c:pt idx="47">
                  <c:v>0.017448050965341848</c:v>
                </c:pt>
                <c:pt idx="48">
                  <c:v>0.019023068815946776</c:v>
                </c:pt>
                <c:pt idx="49">
                  <c:v>0.021167614414115635</c:v>
                </c:pt>
                <c:pt idx="50">
                  <c:v>0.017799668727086153</c:v>
                </c:pt>
                <c:pt idx="51">
                  <c:v>0.012058203570622466</c:v>
                </c:pt>
                <c:pt idx="52">
                  <c:v>0.01860902876339239</c:v>
                </c:pt>
                <c:pt idx="53">
                  <c:v>0.01860902876339239</c:v>
                </c:pt>
                <c:pt idx="54">
                  <c:v>0.015859038501341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29967426710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6779661016949153</c:v>
                </c:pt>
                <c:pt idx="1">
                  <c:v>0.0</c:v>
                </c:pt>
                <c:pt idx="2">
                  <c:v>0.0</c:v>
                </c:pt>
                <c:pt idx="3">
                  <c:v>0.0</c:v>
                </c:pt>
                <c:pt idx="4">
                  <c:v>0.0009881422924901185</c:v>
                </c:pt>
                <c:pt idx="5">
                  <c:v>0.0009784735812133072</c:v>
                </c:pt>
                <c:pt idx="6">
                  <c:v>0.001001001001001001</c:v>
                </c:pt>
                <c:pt idx="7">
                  <c:v>0.0006207324643078833</c:v>
                </c:pt>
                <c:pt idx="8">
                  <c:v>0.0013812154696132596</c:v>
                </c:pt>
                <c:pt idx="9">
                  <c:v>0.0015860428231562252</c:v>
                </c:pt>
                <c:pt idx="10">
                  <c:v>0.0007987220447284345</c:v>
                </c:pt>
                <c:pt idx="11">
                  <c:v>0.0014419610670511895</c:v>
                </c:pt>
                <c:pt idx="12">
                  <c:v>0.0006839945280437756</c:v>
                </c:pt>
                <c:pt idx="13">
                  <c:v>0.001463057790782736</c:v>
                </c:pt>
                <c:pt idx="14">
                  <c:v>0.0006765899864682003</c:v>
                </c:pt>
                <c:pt idx="15">
                  <c:v>0.0006697923643670462</c:v>
                </c:pt>
                <c:pt idx="16">
                  <c:v>0.0015337423312883436</c:v>
                </c:pt>
                <c:pt idx="17">
                  <c:v>0.0010964912280701754</c:v>
                </c:pt>
                <c:pt idx="18">
                  <c:v>0.001951219512195122</c:v>
                </c:pt>
                <c:pt idx="19">
                  <c:v>0.0021668472372697724</c:v>
                </c:pt>
                <c:pt idx="20">
                  <c:v>0.000946969696969697</c:v>
                </c:pt>
                <c:pt idx="21">
                  <c:v>0.0011376564277588168</c:v>
                </c:pt>
                <c:pt idx="22">
                  <c:v>0.00340522133938706</c:v>
                </c:pt>
                <c:pt idx="23">
                  <c:v>0.0023228803716608595</c:v>
                </c:pt>
                <c:pt idx="24">
                  <c:v>0.0034562211981566822</c:v>
                </c:pt>
                <c:pt idx="25">
                  <c:v>0.004048582995951417</c:v>
                </c:pt>
                <c:pt idx="26">
                  <c:v>0.0028694404591104736</c:v>
                </c:pt>
                <c:pt idx="27">
                  <c:v>0.0045871559633027525</c:v>
                </c:pt>
                <c:pt idx="28">
                  <c:v>0.0028328611898017</c:v>
                </c:pt>
                <c:pt idx="29">
                  <c:v>0.004694835680751174</c:v>
                </c:pt>
                <c:pt idx="30">
                  <c:v>0.007183908045977011</c:v>
                </c:pt>
                <c:pt idx="31">
                  <c:v>0.005908419497784343</c:v>
                </c:pt>
                <c:pt idx="32">
                  <c:v>0.004201680672268907</c:v>
                </c:pt>
                <c:pt idx="33">
                  <c:v>0.005390835579514825</c:v>
                </c:pt>
                <c:pt idx="34">
                  <c:v>0.0045662100456621</c:v>
                </c:pt>
                <c:pt idx="35">
                  <c:v>0.0035335689045936395</c:v>
                </c:pt>
                <c:pt idx="36">
                  <c:v>0.0053811659192825115</c:v>
                </c:pt>
                <c:pt idx="37">
                  <c:v>0.009554140127388535</c:v>
                </c:pt>
                <c:pt idx="38">
                  <c:v>0.007211538461538462</c:v>
                </c:pt>
                <c:pt idx="39">
                  <c:v>0.007194244604316547</c:v>
                </c:pt>
                <c:pt idx="40">
                  <c:v>0.0074418604651162795</c:v>
                </c:pt>
                <c:pt idx="41">
                  <c:v>0.006404391582799634</c:v>
                </c:pt>
                <c:pt idx="42">
                  <c:v>0.0056772100567721</c:v>
                </c:pt>
                <c:pt idx="43">
                  <c:v>0.005216095380029807</c:v>
                </c:pt>
                <c:pt idx="44">
                  <c:v>0.007972665148063782</c:v>
                </c:pt>
                <c:pt idx="45">
                  <c:v>0.0070921985815602835</c:v>
                </c:pt>
                <c:pt idx="46">
                  <c:v>0.006772009029345372</c:v>
                </c:pt>
                <c:pt idx="47">
                  <c:v>0.007799671592775041</c:v>
                </c:pt>
                <c:pt idx="48">
                  <c:v>0.006684898207231844</c:v>
                </c:pt>
                <c:pt idx="49">
                  <c:v>0.00914962325080732</c:v>
                </c:pt>
                <c:pt idx="50">
                  <c:v>0.009023789991796555</c:v>
                </c:pt>
                <c:pt idx="51">
                  <c:v>0.007989347536617843</c:v>
                </c:pt>
                <c:pt idx="52">
                  <c:v>0.008668242710795903</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7768361581920904</c:v>
                </c:pt>
                <c:pt idx="1">
                  <c:v>0.008052708638360176</c:v>
                </c:pt>
                <c:pt idx="2">
                  <c:v>0.008891928864569083</c:v>
                </c:pt>
                <c:pt idx="3">
                  <c:v>0.009404388714733543</c:v>
                </c:pt>
                <c:pt idx="4">
                  <c:v>0.01166407465007776</c:v>
                </c:pt>
                <c:pt idx="5">
                  <c:v>0.006294256490952006</c:v>
                </c:pt>
                <c:pt idx="6">
                  <c:v>0.007936507936507936</c:v>
                </c:pt>
                <c:pt idx="7">
                  <c:v>0.010434782608695653</c:v>
                </c:pt>
                <c:pt idx="8">
                  <c:v>0.012113055181695828</c:v>
                </c:pt>
                <c:pt idx="9">
                  <c:v>0.010914051841746248</c:v>
                </c:pt>
                <c:pt idx="10">
                  <c:v>0.008898776418242492</c:v>
                </c:pt>
                <c:pt idx="11">
                  <c:v>0.010309278350515464</c:v>
                </c:pt>
                <c:pt idx="12">
                  <c:v>0.009672619047619048</c:v>
                </c:pt>
                <c:pt idx="13">
                  <c:v>0.020627062706270627</c:v>
                </c:pt>
                <c:pt idx="14">
                  <c:v>0.021352313167259787</c:v>
                </c:pt>
                <c:pt idx="15">
                  <c:v>0.021996615905245348</c:v>
                </c:pt>
                <c:pt idx="16">
                  <c:v>0.022426095820591234</c:v>
                </c:pt>
                <c:pt idx="17">
                  <c:v>0.03691639522258415</c:v>
                </c:pt>
                <c:pt idx="18">
                  <c:v>0.015267175572519083</c:v>
                </c:pt>
                <c:pt idx="19">
                  <c:v>0.012972972972972972</c:v>
                </c:pt>
                <c:pt idx="20">
                  <c:v>0.015931372549019607</c:v>
                </c:pt>
                <c:pt idx="21">
                  <c:v>0.02190923317683881</c:v>
                </c:pt>
                <c:pt idx="22">
                  <c:v>0.018121911037891267</c:v>
                </c:pt>
                <c:pt idx="23">
                  <c:v>0.03189493433395872</c:v>
                </c:pt>
                <c:pt idx="24">
                  <c:v>0.015817223198594025</c:v>
                </c:pt>
                <c:pt idx="25">
                  <c:v>0.015065913370998116</c:v>
                </c:pt>
                <c:pt idx="26">
                  <c:v>0.013050570962479609</c:v>
                </c:pt>
                <c:pt idx="27">
                  <c:v>0.02188782489740082</c:v>
                </c:pt>
                <c:pt idx="28">
                  <c:v>0.01310615989515072</c:v>
                </c:pt>
                <c:pt idx="29">
                  <c:v>0.018209408194233688</c:v>
                </c:pt>
                <c:pt idx="30">
                  <c:v>0.017699115044247787</c:v>
                </c:pt>
                <c:pt idx="31">
                  <c:v>0.022653721682847898</c:v>
                </c:pt>
                <c:pt idx="32">
                  <c:v>0.015267175572519083</c:v>
                </c:pt>
                <c:pt idx="33">
                  <c:v>0.008918617614269788</c:v>
                </c:pt>
                <c:pt idx="34">
                  <c:v>0.008653846153846154</c:v>
                </c:pt>
                <c:pt idx="35">
                  <c:v>0.015151515151515152</c:v>
                </c:pt>
                <c:pt idx="36">
                  <c:v>0.01278409090909091</c:v>
                </c:pt>
                <c:pt idx="37">
                  <c:v>0.013140604467805518</c:v>
                </c:pt>
                <c:pt idx="38">
                  <c:v>0.024489795918367346</c:v>
                </c:pt>
                <c:pt idx="39">
                  <c:v>0.03553921568627451</c:v>
                </c:pt>
                <c:pt idx="40">
                  <c:v>0.030405405405405407</c:v>
                </c:pt>
                <c:pt idx="41">
                  <c:v>0.019704433497536946</c:v>
                </c:pt>
                <c:pt idx="42">
                  <c:v>0.03244495944380069</c:v>
                </c:pt>
                <c:pt idx="43">
                  <c:v>0.024891774891774892</c:v>
                </c:pt>
                <c:pt idx="44">
                  <c:v>0.010318142734307825</c:v>
                </c:pt>
                <c:pt idx="45">
                  <c:v>0.007978723404255319</c:v>
                </c:pt>
                <c:pt idx="46">
                  <c:v>0.008468052347959968</c:v>
                </c:pt>
                <c:pt idx="47">
                  <c:v>0.006600660066006601</c:v>
                </c:pt>
                <c:pt idx="48">
                  <c:v>0.008337675872850442</c:v>
                </c:pt>
                <c:pt idx="49">
                  <c:v>0.009373169302870533</c:v>
                </c:pt>
                <c:pt idx="50">
                  <c:v>0.006361829025844931</c:v>
                </c:pt>
                <c:pt idx="51">
                  <c:v>0.0057434588385449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28.2898829653845</c:v>
                </c:pt>
              </c:numCache>
            </c:numRef>
          </c:xVal>
          <c:yVal>
            <c:numRef>
              <c:f>Sheet1!$B$111:$B$112</c:f>
              <c:numCache>
                <c:formatCode>General</c:formatCode>
                <c:ptCount val="2"/>
                <c:pt idx="0">
                  <c:v>0.01860902876339239</c:v>
                </c:pt>
                <c:pt idx="1">
                  <c:v>0.01860902876339239</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28.2898829653845</c:v>
                </c:pt>
                <c:pt idx="1">
                  <c:v>2828.2898829653845</c:v>
                </c:pt>
              </c:numCache>
            </c:numRef>
          </c:xVal>
          <c:yVal>
            <c:numRef>
              <c:f>Sheet1!$B$115:$B$116</c:f>
              <c:numCache>
                <c:formatCode>General</c:formatCode>
                <c:ptCount val="2"/>
                <c:pt idx="0">
                  <c:v>0.018609028763392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28.2898829653845</c:v>
                </c:pt>
              </c:numCache>
            </c:numRef>
          </c:xVal>
          <c:yVal>
            <c:numRef>
              <c:f>Sheet1!$B$119:$B$120</c:f>
              <c:numCache>
                <c:formatCode>General</c:formatCode>
                <c:ptCount val="2"/>
                <c:pt idx="0">
                  <c:v>0.01860902876339239</c:v>
                </c:pt>
                <c:pt idx="1">
                  <c:v>0.0186090287633923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28.2898829653845</c:v>
                </c:pt>
                <c:pt idx="1">
                  <c:v>2828.2898829653845</c:v>
                </c:pt>
              </c:numCache>
            </c:numRef>
          </c:xVal>
          <c:yVal>
            <c:numRef>
              <c:f>Sheet1!$B$123:$B$124</c:f>
              <c:numCache>
                <c:formatCode>General</c:formatCode>
                <c:ptCount val="2"/>
                <c:pt idx="0">
                  <c:v>0.0186090287633923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251.738263537946</c:v>
                </c:pt>
              </c:numCache>
            </c:numRef>
          </c:xVal>
          <c:yVal>
            <c:numRef>
              <c:f>Sheet1!$B$127:$B$128</c:f>
              <c:numCache>
                <c:formatCode>General</c:formatCode>
                <c:ptCount val="2"/>
                <c:pt idx="0">
                  <c:v>0.015859038501341002</c:v>
                </c:pt>
                <c:pt idx="1">
                  <c:v>0.01585903850134100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251.738263537946</c:v>
                </c:pt>
                <c:pt idx="1">
                  <c:v>3251.738263537946</c:v>
                </c:pt>
              </c:numCache>
            </c:numRef>
          </c:xVal>
          <c:yVal>
            <c:numRef>
              <c:f>Sheet1!$B$131:$B$132</c:f>
              <c:numCache>
                <c:formatCode>General</c:formatCode>
                <c:ptCount val="2"/>
                <c:pt idx="0">
                  <c:v>0.01585903850134100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28.2898829653845</c:v>
                </c:pt>
                <c:pt idx="53">
                  <c:v>2828.2898829653845</c:v>
                </c:pt>
                <c:pt idx="54">
                  <c:v>3251.738263537946</c:v>
                </c:pt>
              </c:numCache>
            </c:numRef>
          </c:xVal>
          <c:yVal>
            <c:numRef>
              <c:f>Sheet1!$B$135:$B$189</c:f>
              <c:numCache>
                <c:formatCode>General</c:formatCode>
                <c:ptCount val="55"/>
                <c:pt idx="0">
                  <c:v>0.011849780663994093</c:v>
                </c:pt>
                <c:pt idx="1">
                  <c:v>0.009168825718641437</c:v>
                </c:pt>
                <c:pt idx="2">
                  <c:v>0.010272262151205261</c:v>
                </c:pt>
                <c:pt idx="3">
                  <c:v>0.01112084764370029</c:v>
                </c:pt>
                <c:pt idx="4">
                  <c:v>0.011244671388779992</c:v>
                </c:pt>
                <c:pt idx="5">
                  <c:v>-2.116383724185683e-05</c:v>
                </c:pt>
                <c:pt idx="6">
                  <c:v>0.0033347528059947673</c:v>
                </c:pt>
                <c:pt idx="7">
                  <c:v>0.007565232042012721</c:v>
                </c:pt>
                <c:pt idx="8">
                  <c:v>0.010104854027265204</c:v>
                </c:pt>
                <c:pt idx="9">
                  <c:v>0.008952300742907548</c:v>
                </c:pt>
                <c:pt idx="10">
                  <c:v>0.004793529343947403</c:v>
                </c:pt>
                <c:pt idx="11">
                  <c:v>0.012758641471710939</c:v>
                </c:pt>
                <c:pt idx="12">
                  <c:v>0.010306232405249659</c:v>
                </c:pt>
                <c:pt idx="13">
                  <c:v>0.01705748074598731</c:v>
                </c:pt>
                <c:pt idx="14">
                  <c:v>0.017312327140063553</c:v>
                </c:pt>
                <c:pt idx="15">
                  <c:v>0.01625823550834857</c:v>
                </c:pt>
                <c:pt idx="16">
                  <c:v>0.017001511784565458</c:v>
                </c:pt>
                <c:pt idx="17">
                  <c:v>0.025515853847117225</c:v>
                </c:pt>
                <c:pt idx="18">
                  <c:v>0.018192571574105004</c:v>
                </c:pt>
                <c:pt idx="19">
                  <c:v>0.013535635374671933</c:v>
                </c:pt>
                <c:pt idx="20">
                  <c:v>0.014359658869418757</c:v>
                </c:pt>
                <c:pt idx="21">
                  <c:v>0.019325281600981462</c:v>
                </c:pt>
                <c:pt idx="22">
                  <c:v>0.01517071654398518</c:v>
                </c:pt>
                <c:pt idx="23">
                  <c:v>0.027251735257526423</c:v>
                </c:pt>
                <c:pt idx="24">
                  <c:v>0.017154029185193903</c:v>
                </c:pt>
                <c:pt idx="25">
                  <c:v>0.01267920284960792</c:v>
                </c:pt>
                <c:pt idx="26">
                  <c:v>0.012923549949175946</c:v>
                </c:pt>
                <c:pt idx="27">
                  <c:v>0.021423338341292314</c:v>
                </c:pt>
                <c:pt idx="28">
                  <c:v>0.016736663557451483</c:v>
                </c:pt>
                <c:pt idx="29">
                  <c:v>0.02019334991869122</c:v>
                </c:pt>
                <c:pt idx="30">
                  <c:v>0.01968842003187623</c:v>
                </c:pt>
                <c:pt idx="31">
                  <c:v>0.022611384787198652</c:v>
                </c:pt>
                <c:pt idx="32">
                  <c:v>0.01780042581417554</c:v>
                </c:pt>
                <c:pt idx="33">
                  <c:v>0.010070127839602473</c:v>
                </c:pt>
                <c:pt idx="34">
                  <c:v>0.006767518154435867</c:v>
                </c:pt>
                <c:pt idx="35">
                  <c:v>0.018677071770399838</c:v>
                </c:pt>
                <c:pt idx="36">
                  <c:v>0.011159813294129746</c:v>
                </c:pt>
                <c:pt idx="37">
                  <c:v>0.011103529360366921</c:v>
                </c:pt>
                <c:pt idx="38">
                  <c:v>0.017121016187295054</c:v>
                </c:pt>
                <c:pt idx="39">
                  <c:v>0.024304822862877568</c:v>
                </c:pt>
                <c:pt idx="40">
                  <c:v>0.02508762784317261</c:v>
                </c:pt>
                <c:pt idx="41">
                  <c:v>0.024399583428156953</c:v>
                </c:pt>
                <c:pt idx="42">
                  <c:v>0.025314858631361993</c:v>
                </c:pt>
                <c:pt idx="43">
                  <c:v>0.024988006962429657</c:v>
                </c:pt>
                <c:pt idx="44">
                  <c:v>0.01803562702616027</c:v>
                </c:pt>
                <c:pt idx="45">
                  <c:v>0.01631356153653834</c:v>
                </c:pt>
                <c:pt idx="46">
                  <c:v>0.016001393423542835</c:v>
                </c:pt>
                <c:pt idx="47">
                  <c:v>0.015263112543711009</c:v>
                </c:pt>
                <c:pt idx="48">
                  <c:v>0.019549334090950818</c:v>
                </c:pt>
                <c:pt idx="49">
                  <c:v>0.02009525908915513</c:v>
                </c:pt>
                <c:pt idx="50">
                  <c:v>0.01664720491834053</c:v>
                </c:pt>
                <c:pt idx="51">
                  <c:v>0.009292348129357818</c:v>
                </c:pt>
                <c:pt idx="52">
                  <c:v>0.01860902876339239</c:v>
                </c:pt>
                <c:pt idx="53">
                  <c:v>0.01860902876339239</c:v>
                </c:pt>
                <c:pt idx="54">
                  <c:v>0.015859038501341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29967426710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12007550578819</c:v>
                </c:pt>
                <c:pt idx="1">
                  <c:v>0.5873070921669953</c:v>
                </c:pt>
                <c:pt idx="2">
                  <c:v>0.5475552200495195</c:v>
                </c:pt>
                <c:pt idx="3">
                  <c:v>0.5494933108076914</c:v>
                </c:pt>
                <c:pt idx="4">
                  <c:v>0.5803213229732578</c:v>
                </c:pt>
                <c:pt idx="5">
                  <c:v>0.5285243214991732</c:v>
                </c:pt>
                <c:pt idx="6">
                  <c:v>0.5118123326288254</c:v>
                </c:pt>
                <c:pt idx="7">
                  <c:v>0.5102980965007318</c:v>
                </c:pt>
                <c:pt idx="8">
                  <c:v>0.5458528285872114</c:v>
                </c:pt>
                <c:pt idx="9">
                  <c:v>0.5376514634015487</c:v>
                </c:pt>
                <c:pt idx="10">
                  <c:v>0.5556514980976558</c:v>
                </c:pt>
                <c:pt idx="11">
                  <c:v>0.5710114888882161</c:v>
                </c:pt>
                <c:pt idx="12">
                  <c:v>0.6017194170192759</c:v>
                </c:pt>
                <c:pt idx="13">
                  <c:v>0.6132669345514502</c:v>
                </c:pt>
                <c:pt idx="14">
                  <c:v>0.6186059319609581</c:v>
                </c:pt>
                <c:pt idx="15">
                  <c:v>0.6634819921392727</c:v>
                </c:pt>
                <c:pt idx="16">
                  <c:v>0.6699873585870524</c:v>
                </c:pt>
                <c:pt idx="17">
                  <c:v>0.6111275223769442</c:v>
                </c:pt>
                <c:pt idx="18">
                  <c:v>0.5914874259762261</c:v>
                </c:pt>
                <c:pt idx="19">
                  <c:v>0.503309724814053</c:v>
                </c:pt>
                <c:pt idx="20">
                  <c:v>0.6354948777140956</c:v>
                </c:pt>
                <c:pt idx="21">
                  <c:v>0.6107828532921473</c:v>
                </c:pt>
                <c:pt idx="22">
                  <c:v>0.5880602545694787</c:v>
                </c:pt>
                <c:pt idx="23">
                  <c:v>0.5119334630689093</c:v>
                </c:pt>
                <c:pt idx="24">
                  <c:v>0.46436012102441876</c:v>
                </c:pt>
                <c:pt idx="25">
                  <c:v>0.45964658375162104</c:v>
                </c:pt>
                <c:pt idx="26">
                  <c:v>0.4878349527347429</c:v>
                </c:pt>
                <c:pt idx="27">
                  <c:v>0.49636113304895596</c:v>
                </c:pt>
                <c:pt idx="28">
                  <c:v>0.48941121083370887</c:v>
                </c:pt>
                <c:pt idx="29">
                  <c:v>0.4927594528693467</c:v>
                </c:pt>
                <c:pt idx="30">
                  <c:v>0.4774215736531538</c:v>
                </c:pt>
                <c:pt idx="31">
                  <c:v>0.487138427755819</c:v>
                </c:pt>
                <c:pt idx="32">
                  <c:v>0.5028563180458003</c:v>
                </c:pt>
                <c:pt idx="33">
                  <c:v>0.5151707987060611</c:v>
                </c:pt>
                <c:pt idx="34">
                  <c:v>0.5093507521585983</c:v>
                </c:pt>
                <c:pt idx="35">
                  <c:v>0.4994527140744049</c:v>
                </c:pt>
                <c:pt idx="36">
                  <c:v>0.5251118120373841</c:v>
                </c:pt>
                <c:pt idx="37">
                  <c:v>0.5316038668444848</c:v>
                </c:pt>
                <c:pt idx="38">
                  <c:v>0.5937519266421077</c:v>
                </c:pt>
                <c:pt idx="39">
                  <c:v>0.6140726152313699</c:v>
                </c:pt>
                <c:pt idx="40">
                  <c:v>0.5325713185932368</c:v>
                </c:pt>
                <c:pt idx="41">
                  <c:v>0.5811341033249802</c:v>
                </c:pt>
                <c:pt idx="42">
                  <c:v>0.5846267813759574</c:v>
                </c:pt>
                <c:pt idx="43">
                  <c:v>0.6079309179964784</c:v>
                </c:pt>
                <c:pt idx="44">
                  <c:v>0.6039266265102917</c:v>
                </c:pt>
                <c:pt idx="45">
                  <c:v>0.6389094048573853</c:v>
                </c:pt>
                <c:pt idx="46">
                  <c:v>0.6087627825645006</c:v>
                </c:pt>
                <c:pt idx="47">
                  <c:v>0.5546994213877662</c:v>
                </c:pt>
                <c:pt idx="48">
                  <c:v>0.5336140294286196</c:v>
                </c:pt>
                <c:pt idx="49">
                  <c:v>0.4908040471288616</c:v>
                </c:pt>
                <c:pt idx="50">
                  <c:v>0.5409576541879738</c:v>
                </c:pt>
                <c:pt idx="51">
                  <c:v>0.544357518381348</c:v>
                </c:pt>
                <c:pt idx="52">
                  <c:v>0.5189253708303125</c:v>
                </c:pt>
                <c:pt idx="53">
                  <c:v>0.45236075061827247</c:v>
                </c:pt>
                <c:pt idx="54">
                  <c:v>0.42870227809012046</c:v>
                </c:pt>
                <c:pt idx="55">
                  <c:v>0.41373953781169703</c:v>
                </c:pt>
                <c:pt idx="56">
                  <c:v>0.4148236869846125</c:v>
                </c:pt>
                <c:pt idx="57">
                  <c:v>0.41468699632449973</c:v>
                </c:pt>
                <c:pt idx="58">
                  <c:v>0.40188861341703946</c:v>
                </c:pt>
                <c:pt idx="59">
                  <c:v>0.40735397176286536</c:v>
                </c:pt>
                <c:pt idx="60">
                  <c:v>0.38487539085755684</c:v>
                </c:pt>
                <c:pt idx="61">
                  <c:v>0.3756550033979457</c:v>
                </c:pt>
                <c:pt idx="62">
                  <c:v>0.4227094713527821</c:v>
                </c:pt>
                <c:pt idx="63">
                  <c:v>0.4164975456507054</c:v>
                </c:pt>
                <c:pt idx="64">
                  <c:v>0.4103782892972798</c:v>
                </c:pt>
                <c:pt idx="65">
                  <c:v>0.4194163620430008</c:v>
                </c:pt>
                <c:pt idx="66">
                  <c:v>0.4116888046031249</c:v>
                </c:pt>
                <c:pt idx="67">
                  <c:v>0.4129946164908223</c:v>
                </c:pt>
                <c:pt idx="68">
                  <c:v>0.4473647463938013</c:v>
                </c:pt>
                <c:pt idx="69">
                  <c:v>0.4684783055495747</c:v>
                </c:pt>
                <c:pt idx="70">
                  <c:v>0.43109412018874244</c:v>
                </c:pt>
                <c:pt idx="71">
                  <c:v>0.4456760813945912</c:v>
                </c:pt>
                <c:pt idx="72">
                  <c:v>0.4956630830290052</c:v>
                </c:pt>
                <c:pt idx="73">
                  <c:v>0.515405866336406</c:v>
                </c:pt>
                <c:pt idx="74">
                  <c:v>0.505869549206322</c:v>
                </c:pt>
                <c:pt idx="75">
                  <c:v>0.4807181260030619</c:v>
                </c:pt>
                <c:pt idx="76">
                  <c:v>0.4869147931842782</c:v>
                </c:pt>
                <c:pt idx="77">
                  <c:v>0.49160869175242367</c:v>
                </c:pt>
                <c:pt idx="78">
                  <c:v>0.4813842949720361</c:v>
                </c:pt>
                <c:pt idx="79">
                  <c:v>0.43752730671044215</c:v>
                </c:pt>
                <c:pt idx="80">
                  <c:v>0.46926600500806315</c:v>
                </c:pt>
                <c:pt idx="81">
                  <c:v>0.4230889239619556</c:v>
                </c:pt>
                <c:pt idx="82">
                  <c:v>0.4555471595456274</c:v>
                </c:pt>
                <c:pt idx="83">
                  <c:v>0.48797097367434955</c:v>
                </c:pt>
                <c:pt idx="84">
                  <c:v>0.40569399800848566</c:v>
                </c:pt>
                <c:pt idx="85">
                  <c:v>0.4748890831599503</c:v>
                </c:pt>
                <c:pt idx="86">
                  <c:v>0.4747138109781595</c:v>
                </c:pt>
                <c:pt idx="87">
                  <c:v>0.47364354582898266</c:v>
                </c:pt>
                <c:pt idx="88">
                  <c:v>0.485842497099419</c:v>
                </c:pt>
                <c:pt idx="89">
                  <c:v>0.5175248446525585</c:v>
                </c:pt>
                <c:pt idx="90">
                  <c:v>0.4952110377282341</c:v>
                </c:pt>
                <c:pt idx="91">
                  <c:v>0.5388308016045242</c:v>
                </c:pt>
                <c:pt idx="92">
                  <c:v>0.542070024083302</c:v>
                </c:pt>
                <c:pt idx="93">
                  <c:v>0.5457791694872023</c:v>
                </c:pt>
                <c:pt idx="94">
                  <c:v>0.5933921908401217</c:v>
                </c:pt>
                <c:pt idx="95">
                  <c:v>0.5954990517719324</c:v>
                </c:pt>
                <c:pt idx="96">
                  <c:v>0.5380687238660702</c:v>
                </c:pt>
                <c:pt idx="97">
                  <c:v>0.5342395685165132</c:v>
                </c:pt>
                <c:pt idx="98">
                  <c:v>0.5548744845357847</c:v>
                </c:pt>
                <c:pt idx="99">
                  <c:v>0.5365643268802391</c:v>
                </c:pt>
                <c:pt idx="100">
                  <c:v>0.5115919637682594</c:v>
                </c:pt>
                <c:pt idx="101">
                  <c:v>0.4672036008127417</c:v>
                </c:pt>
                <c:pt idx="102">
                  <c:v>0.46455162829825863</c:v>
                </c:pt>
                <c:pt idx="103">
                  <c:v>0.4885930996893225</c:v>
                </c:pt>
                <c:pt idx="104">
                  <c:v>0.47661595823428615</c:v>
                </c:pt>
              </c:numCache>
            </c:numRef>
          </c:xVal>
          <c:yVal>
            <c:numRef>
              <c:f>Sheet1!$B$2:$B$106</c:f>
              <c:numCache>
                <c:formatCode>General</c:formatCode>
                <c:ptCount val="105"/>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094046846421616</c:v>
                </c:pt>
                <c:pt idx="1">
                  <c:v>0.4400863154132699</c:v>
                </c:pt>
                <c:pt idx="2">
                  <c:v>0.4480167365391939</c:v>
                </c:pt>
                <c:pt idx="3">
                  <c:v>0.4105802450259168</c:v>
                </c:pt>
                <c:pt idx="4">
                  <c:v>0.4470881655302592</c:v>
                </c:pt>
                <c:pt idx="5">
                  <c:v>0.40810458475120975</c:v>
                </c:pt>
                <c:pt idx="6">
                  <c:v>0.39141028382996224</c:v>
                </c:pt>
                <c:pt idx="7">
                  <c:v>0.39439049547184457</c:v>
                </c:pt>
                <c:pt idx="8">
                  <c:v>0.44214011287706495</c:v>
                </c:pt>
                <c:pt idx="9">
                  <c:v>0.4206962621192053</c:v>
                </c:pt>
                <c:pt idx="10">
                  <c:v>0.4348343911190899</c:v>
                </c:pt>
                <c:pt idx="11">
                  <c:v>0.4483935714429991</c:v>
                </c:pt>
                <c:pt idx="12">
                  <c:v>0.5160260582140834</c:v>
                </c:pt>
                <c:pt idx="13">
                  <c:v>0.4957413910369173</c:v>
                </c:pt>
                <c:pt idx="14">
                  <c:v>0.4926941060367168</c:v>
                </c:pt>
                <c:pt idx="15">
                  <c:v>0.5000588358613743</c:v>
                </c:pt>
                <c:pt idx="16">
                  <c:v>0.5204075133187203</c:v>
                </c:pt>
                <c:pt idx="17">
                  <c:v>0.5383694314157089</c:v>
                </c:pt>
                <c:pt idx="18">
                  <c:v>0.5026376682691903</c:v>
                </c:pt>
                <c:pt idx="19">
                  <c:v>0.5233536740019388</c:v>
                </c:pt>
                <c:pt idx="20">
                  <c:v>0.5014781903500468</c:v>
                </c:pt>
                <c:pt idx="21">
                  <c:v>0.5483831081798445</c:v>
                </c:pt>
                <c:pt idx="22">
                  <c:v>0.5540750020231544</c:v>
                </c:pt>
                <c:pt idx="23">
                  <c:v>0.5023248580333444</c:v>
                </c:pt>
                <c:pt idx="24">
                  <c:v>0.4549214013180714</c:v>
                </c:pt>
                <c:pt idx="25">
                  <c:v>0.43964830668487914</c:v>
                </c:pt>
                <c:pt idx="26">
                  <c:v>0.43288810710705083</c:v>
                </c:pt>
                <c:pt idx="27">
                  <c:v>0.4513627211249218</c:v>
                </c:pt>
                <c:pt idx="28">
                  <c:v>0.4400999140589643</c:v>
                </c:pt>
                <c:pt idx="29">
                  <c:v>0.44602740642825206</c:v>
                </c:pt>
                <c:pt idx="30">
                  <c:v>0.4530727059682912</c:v>
                </c:pt>
                <c:pt idx="31">
                  <c:v>0.4341653132817258</c:v>
                </c:pt>
                <c:pt idx="32">
                  <c:v>0.4025479550687897</c:v>
                </c:pt>
                <c:pt idx="33">
                  <c:v>0.39158876755061794</c:v>
                </c:pt>
                <c:pt idx="34">
                  <c:v>0.3951383334144356</c:v>
                </c:pt>
                <c:pt idx="35">
                  <c:v>0.3630365567219304</c:v>
                </c:pt>
                <c:pt idx="36">
                  <c:v>0.3425702894411135</c:v>
                </c:pt>
                <c:pt idx="37">
                  <c:v>0.3454699583608054</c:v>
                </c:pt>
                <c:pt idx="38">
                  <c:v>0.36184962343245936</c:v>
                </c:pt>
                <c:pt idx="39">
                  <c:v>0.33432862629742854</c:v>
                </c:pt>
                <c:pt idx="40">
                  <c:v>0.3637496996582969</c:v>
                </c:pt>
                <c:pt idx="41">
                  <c:v>0.3727959650570819</c:v>
                </c:pt>
                <c:pt idx="42">
                  <c:v>0.41235703369643706</c:v>
                </c:pt>
                <c:pt idx="43">
                  <c:v>0.4530758137968317</c:v>
                </c:pt>
                <c:pt idx="44">
                  <c:v>0.48544409010785067</c:v>
                </c:pt>
                <c:pt idx="45">
                  <c:v>0.444575813454472</c:v>
                </c:pt>
                <c:pt idx="46">
                  <c:v>0.4563946322678073</c:v>
                </c:pt>
                <c:pt idx="47">
                  <c:v>0.5201406628236293</c:v>
                </c:pt>
                <c:pt idx="48">
                  <c:v>0.5409221283468137</c:v>
                </c:pt>
                <c:pt idx="49">
                  <c:v>0.5845641027548971</c:v>
                </c:pt>
                <c:pt idx="50">
                  <c:v>0.5639825406466198</c:v>
                </c:pt>
                <c:pt idx="51">
                  <c:v>0.6092311858682348</c:v>
                </c:pt>
              </c:numCache>
            </c:numRef>
          </c:xVal>
          <c:yVal>
            <c:numRef>
              <c:f>Sheet1!$B$109:$B$160</c:f>
              <c:numCache>
                <c:formatCode>General</c:formatCode>
                <c:ptCount val="52"/>
                <c:pt idx="0">
                  <c:v>0.11725067385444744</c:v>
                </c:pt>
                <c:pt idx="1">
                  <c:v>0.1459170013386881</c:v>
                </c:pt>
                <c:pt idx="2">
                  <c:v>0.1440329218106996</c:v>
                </c:pt>
                <c:pt idx="3">
                  <c:v>0.16807909604519775</c:v>
                </c:pt>
                <c:pt idx="4">
                  <c:v>0.16666666666666666</c:v>
                </c:pt>
                <c:pt idx="5">
                  <c:v>0.16530278232405893</c:v>
                </c:pt>
                <c:pt idx="6">
                  <c:v>0.2191780821917808</c:v>
                </c:pt>
                <c:pt idx="7">
                  <c:v>0.16993464052287582</c:v>
                </c:pt>
                <c:pt idx="8">
                  <c:v>0.2081447963800905</c:v>
                </c:pt>
                <c:pt idx="9">
                  <c:v>0.20437956204379562</c:v>
                </c:pt>
                <c:pt idx="10">
                  <c:v>0.21784232365145229</c:v>
                </c:pt>
                <c:pt idx="11">
                  <c:v>0.18594436310395315</c:v>
                </c:pt>
                <c:pt idx="12">
                  <c:v>0.20232896652110627</c:v>
                </c:pt>
                <c:pt idx="13">
                  <c:v>0.1767515923566879</c:v>
                </c:pt>
                <c:pt idx="14">
                  <c:v>0.18232044198895028</c:v>
                </c:pt>
                <c:pt idx="15">
                  <c:v>0.17677642980935876</c:v>
                </c:pt>
                <c:pt idx="16">
                  <c:v>0.19831223628691982</c:v>
                </c:pt>
                <c:pt idx="17">
                  <c:v>0.1694915254237288</c:v>
                </c:pt>
                <c:pt idx="18">
                  <c:v>0.1853932584269663</c:v>
                </c:pt>
                <c:pt idx="19">
                  <c:v>0.2222222222222222</c:v>
                </c:pt>
                <c:pt idx="20">
                  <c:v>0.18498659517426275</c:v>
                </c:pt>
                <c:pt idx="21">
                  <c:v>0.19029850746268656</c:v>
                </c:pt>
                <c:pt idx="22">
                  <c:v>0.17338709677419356</c:v>
                </c:pt>
                <c:pt idx="23">
                  <c:v>0.1691542288557214</c:v>
                </c:pt>
                <c:pt idx="24">
                  <c:v>0.1875</c:v>
                </c:pt>
                <c:pt idx="25">
                  <c:v>0.22321428571428573</c:v>
                </c:pt>
                <c:pt idx="26">
                  <c:v>0.22440944881889763</c:v>
                </c:pt>
                <c:pt idx="27">
                  <c:v>0.21611721611721613</c:v>
                </c:pt>
                <c:pt idx="28">
                  <c:v>0.19784172661870503</c:v>
                </c:pt>
                <c:pt idx="29">
                  <c:v>0.15450643776824036</c:v>
                </c:pt>
                <c:pt idx="30">
                  <c:v>0.1703056768558952</c:v>
                </c:pt>
                <c:pt idx="31">
                  <c:v>0.13333333333333333</c:v>
                </c:pt>
                <c:pt idx="32">
                  <c:v>0.17567567567567569</c:v>
                </c:pt>
                <c:pt idx="33">
                  <c:v>0.18181818181818182</c:v>
                </c:pt>
                <c:pt idx="34">
                  <c:v>0.2230971128608924</c:v>
                </c:pt>
                <c:pt idx="35">
                  <c:v>0.21578947368421053</c:v>
                </c:pt>
                <c:pt idx="36">
                  <c:v>0.21008403361344538</c:v>
                </c:pt>
                <c:pt idx="37">
                  <c:v>0.29559748427672955</c:v>
                </c:pt>
                <c:pt idx="38">
                  <c:v>0.25287356321839083</c:v>
                </c:pt>
                <c:pt idx="39">
                  <c:v>0.30618892508143325</c:v>
                </c:pt>
                <c:pt idx="40">
                  <c:v>0.2214765100671141</c:v>
                </c:pt>
                <c:pt idx="41">
                  <c:v>0.2376237623762376</c:v>
                </c:pt>
                <c:pt idx="42">
                  <c:v>0.21069182389937108</c:v>
                </c:pt>
                <c:pt idx="43">
                  <c:v>0.1483375959079284</c:v>
                </c:pt>
                <c:pt idx="44">
                  <c:v>0.1615798922800718</c:v>
                </c:pt>
                <c:pt idx="45">
                  <c:v>0.19089900110987792</c:v>
                </c:pt>
                <c:pt idx="46">
                  <c:v>0.18157543391188252</c:v>
                </c:pt>
                <c:pt idx="47">
                  <c:v>0.1734820322180917</c:v>
                </c:pt>
                <c:pt idx="48">
                  <c:v>0.1545275590551181</c:v>
                </c:pt>
                <c:pt idx="49">
                  <c:v>0.1562867215041128</c:v>
                </c:pt>
                <c:pt idx="50">
                  <c:v>0.15683453237410072</c:v>
                </c:pt>
                <c:pt idx="51">
                  <c:v>0.15776397515527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17342897224329</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17342897224329</c:v>
                </c:pt>
                <c:pt idx="1">
                  <c:v>0.1317342897224329</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6700607073895475</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6700607073895475</c:v>
                </c:pt>
                <c:pt idx="1">
                  <c:v>0.36700607073895475</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567970802741044</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567970802741044</c:v>
                </c:pt>
                <c:pt idx="1">
                  <c:v>0.4567970802741044</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094046846421616</c:v>
                </c:pt>
                <c:pt idx="1">
                  <c:v>0.4400863154132699</c:v>
                </c:pt>
                <c:pt idx="2">
                  <c:v>0.4480167365391939</c:v>
                </c:pt>
                <c:pt idx="3">
                  <c:v>0.4105802450259168</c:v>
                </c:pt>
                <c:pt idx="4">
                  <c:v>0.4470881655302592</c:v>
                </c:pt>
                <c:pt idx="5">
                  <c:v>0.40810458475120975</c:v>
                </c:pt>
                <c:pt idx="6">
                  <c:v>0.39141028382996224</c:v>
                </c:pt>
                <c:pt idx="7">
                  <c:v>0.39439049547184457</c:v>
                </c:pt>
                <c:pt idx="8">
                  <c:v>0.44214011287706495</c:v>
                </c:pt>
                <c:pt idx="9">
                  <c:v>0.4206962621192053</c:v>
                </c:pt>
                <c:pt idx="10">
                  <c:v>0.4348343911190899</c:v>
                </c:pt>
                <c:pt idx="11">
                  <c:v>0.4483935714429991</c:v>
                </c:pt>
                <c:pt idx="12">
                  <c:v>0.5160260582140834</c:v>
                </c:pt>
                <c:pt idx="13">
                  <c:v>0.4957413910369173</c:v>
                </c:pt>
                <c:pt idx="14">
                  <c:v>0.4926941060367168</c:v>
                </c:pt>
                <c:pt idx="15">
                  <c:v>0.5000588358613743</c:v>
                </c:pt>
                <c:pt idx="16">
                  <c:v>0.5204075133187203</c:v>
                </c:pt>
                <c:pt idx="17">
                  <c:v>0.5383694314157089</c:v>
                </c:pt>
                <c:pt idx="18">
                  <c:v>0.5026376682691903</c:v>
                </c:pt>
                <c:pt idx="19">
                  <c:v>0.5233536740019388</c:v>
                </c:pt>
                <c:pt idx="20">
                  <c:v>0.5014781903500468</c:v>
                </c:pt>
                <c:pt idx="21">
                  <c:v>0.5483831081798445</c:v>
                </c:pt>
                <c:pt idx="22">
                  <c:v>0.5540750020231544</c:v>
                </c:pt>
                <c:pt idx="23">
                  <c:v>0.5023248580333444</c:v>
                </c:pt>
                <c:pt idx="24">
                  <c:v>0.4549214013180714</c:v>
                </c:pt>
                <c:pt idx="25">
                  <c:v>0.43964830668487914</c:v>
                </c:pt>
                <c:pt idx="26">
                  <c:v>0.43288810710705083</c:v>
                </c:pt>
                <c:pt idx="27">
                  <c:v>0.4513627211249218</c:v>
                </c:pt>
                <c:pt idx="28">
                  <c:v>0.4400999140589643</c:v>
                </c:pt>
                <c:pt idx="29">
                  <c:v>0.44602740642825206</c:v>
                </c:pt>
                <c:pt idx="30">
                  <c:v>0.4530727059682912</c:v>
                </c:pt>
                <c:pt idx="31">
                  <c:v>0.4341653132817258</c:v>
                </c:pt>
                <c:pt idx="32">
                  <c:v>0.4025479550687897</c:v>
                </c:pt>
                <c:pt idx="33">
                  <c:v>0.39158876755061794</c:v>
                </c:pt>
                <c:pt idx="34">
                  <c:v>0.3951383334144356</c:v>
                </c:pt>
                <c:pt idx="35">
                  <c:v>0.3630365567219304</c:v>
                </c:pt>
                <c:pt idx="36">
                  <c:v>0.3425702894411135</c:v>
                </c:pt>
                <c:pt idx="37">
                  <c:v>0.3454699583608054</c:v>
                </c:pt>
                <c:pt idx="38">
                  <c:v>0.36184962343245936</c:v>
                </c:pt>
                <c:pt idx="39">
                  <c:v>0.33432862629742854</c:v>
                </c:pt>
                <c:pt idx="40">
                  <c:v>0.3637496996582969</c:v>
                </c:pt>
                <c:pt idx="41">
                  <c:v>0.3727959650570819</c:v>
                </c:pt>
                <c:pt idx="42">
                  <c:v>0.41235703369643706</c:v>
                </c:pt>
                <c:pt idx="43">
                  <c:v>0.4530758137968317</c:v>
                </c:pt>
                <c:pt idx="44">
                  <c:v>0.48544409010785067</c:v>
                </c:pt>
                <c:pt idx="45">
                  <c:v>0.444575813454472</c:v>
                </c:pt>
                <c:pt idx="46">
                  <c:v>0.4563946322678073</c:v>
                </c:pt>
                <c:pt idx="47">
                  <c:v>0.5201406628236293</c:v>
                </c:pt>
                <c:pt idx="48">
                  <c:v>0.5409221283468137</c:v>
                </c:pt>
                <c:pt idx="49">
                  <c:v>0.5845641027548971</c:v>
                </c:pt>
                <c:pt idx="50">
                  <c:v>0.5639825406466198</c:v>
                </c:pt>
                <c:pt idx="51">
                  <c:v>0.6092311858682348</c:v>
                </c:pt>
                <c:pt idx="52">
                  <c:v>0.36700607073895475</c:v>
                </c:pt>
                <c:pt idx="53">
                  <c:v>0.1317342897224329</c:v>
                </c:pt>
                <c:pt idx="54">
                  <c:v>0.4567970802741044</c:v>
                </c:pt>
              </c:numCache>
            </c:numRef>
          </c:xVal>
          <c:yVal>
            <c:numRef>
              <c:f>Sheet1!$B$187:$B$241</c:f>
              <c:numCache>
                <c:formatCode>General</c:formatCode>
                <c:ptCount val="55"/>
                <c:pt idx="0">
                  <c:v>0.18778202910005146</c:v>
                </c:pt>
                <c:pt idx="1">
                  <c:v>0.19401588643752302</c:v>
                </c:pt>
                <c:pt idx="2">
                  <c:v>0.19164527403219989</c:v>
                </c:pt>
                <c:pt idx="3">
                  <c:v>0.2028360304603851</c:v>
                </c:pt>
                <c:pt idx="4">
                  <c:v>0.19192284844067714</c:v>
                </c:pt>
                <c:pt idx="5">
                  <c:v>0.20357607072626724</c:v>
                </c:pt>
                <c:pt idx="6">
                  <c:v>0.2085664383541271</c:v>
                </c:pt>
                <c:pt idx="7">
                  <c:v>0.20767557435377282</c:v>
                </c:pt>
                <c:pt idx="8">
                  <c:v>0.1934019521119198</c:v>
                </c:pt>
                <c:pt idx="9">
                  <c:v>0.19981208567447478</c:v>
                </c:pt>
                <c:pt idx="10">
                  <c:v>0.19558582537089217</c:v>
                </c:pt>
                <c:pt idx="11">
                  <c:v>0.19153262812304392</c:v>
                </c:pt>
                <c:pt idx="12">
                  <c:v>0.1713154908996148</c:v>
                </c:pt>
                <c:pt idx="13">
                  <c:v>0.17737911386294625</c:v>
                </c:pt>
                <c:pt idx="14">
                  <c:v>0.17829002786225653</c:v>
                </c:pt>
                <c:pt idx="15">
                  <c:v>0.17608851553309227</c:v>
                </c:pt>
                <c:pt idx="16">
                  <c:v>0.17000575820579036</c:v>
                </c:pt>
                <c:pt idx="17">
                  <c:v>0.1646364663122078</c:v>
                </c:pt>
                <c:pt idx="18">
                  <c:v>0.17531763439069825</c:v>
                </c:pt>
                <c:pt idx="19">
                  <c:v>0.16912507293664594</c:v>
                </c:pt>
                <c:pt idx="20">
                  <c:v>0.17566423297546124</c:v>
                </c:pt>
                <c:pt idx="21">
                  <c:v>0.1616431137546297</c:v>
                </c:pt>
                <c:pt idx="22">
                  <c:v>0.15994165629852758</c:v>
                </c:pt>
                <c:pt idx="23">
                  <c:v>0.17541114163499633</c:v>
                </c:pt>
                <c:pt idx="24">
                  <c:v>0.18958128730066326</c:v>
                </c:pt>
                <c:pt idx="25">
                  <c:v>0.19414681881912993</c:v>
                </c:pt>
                <c:pt idx="26">
                  <c:v>0.19616762108513733</c:v>
                </c:pt>
                <c:pt idx="27">
                  <c:v>0.19064507083479118</c:v>
                </c:pt>
                <c:pt idx="28">
                  <c:v>0.19401182144303322</c:v>
                </c:pt>
                <c:pt idx="29">
                  <c:v>0.19223993736273418</c:v>
                </c:pt>
                <c:pt idx="30">
                  <c:v>0.19013391118535533</c:v>
                </c:pt>
                <c:pt idx="31">
                  <c:v>0.195785830414281</c:v>
                </c:pt>
                <c:pt idx="32">
                  <c:v>0.20523709415084573</c:v>
                </c:pt>
                <c:pt idx="33">
                  <c:v>0.20851308485427933</c:v>
                </c:pt>
                <c:pt idx="34">
                  <c:v>0.20745202583399971</c:v>
                </c:pt>
                <c:pt idx="35">
                  <c:v>0.2170480950529972</c:v>
                </c:pt>
                <c:pt idx="36">
                  <c:v>0.223166003085392</c:v>
                </c:pt>
                <c:pt idx="37">
                  <c:v>0.22229921543273118</c:v>
                </c:pt>
                <c:pt idx="38">
                  <c:v>0.21740290077335334</c:v>
                </c:pt>
                <c:pt idx="39">
                  <c:v>0.22562965395319354</c:v>
                </c:pt>
                <c:pt idx="40">
                  <c:v>0.2168349177872663</c:v>
                </c:pt>
                <c:pt idx="41">
                  <c:v>0.21413075004690474</c:v>
                </c:pt>
                <c:pt idx="42">
                  <c:v>0.2023049013819804</c:v>
                </c:pt>
                <c:pt idx="43">
                  <c:v>0.1901329821732922</c:v>
                </c:pt>
                <c:pt idx="44">
                  <c:v>0.18045724917709663</c:v>
                </c:pt>
                <c:pt idx="45">
                  <c:v>0.19267385685534147</c:v>
                </c:pt>
                <c:pt idx="46">
                  <c:v>0.18914089964534275</c:v>
                </c:pt>
                <c:pt idx="47">
                  <c:v>0.17008552686926795</c:v>
                </c:pt>
                <c:pt idx="48">
                  <c:v>0.16387339775433188</c:v>
                </c:pt>
                <c:pt idx="49">
                  <c:v>0.15082765853294294</c:v>
                </c:pt>
                <c:pt idx="50">
                  <c:v>0.1569800312354867</c:v>
                </c:pt>
                <c:pt idx="51">
                  <c:v>0.14345401565785512</c:v>
                </c:pt>
                <c:pt idx="52">
                  <c:v>0.2158615024342142</c:v>
                </c:pt>
                <c:pt idx="53">
                  <c:v>0.28619045392924036</c:v>
                </c:pt>
                <c:pt idx="54">
                  <c:v>0.18902059730312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0.1532</c:v>
                </c:pt>
                <c:pt idx="1">
                  <c:v>668.5827</c:v>
                </c:pt>
                <c:pt idx="2">
                  <c:v>654.552</c:v>
                </c:pt>
                <c:pt idx="3">
                  <c:v>658.186</c:v>
                </c:pt>
                <c:pt idx="4">
                  <c:v>656.072</c:v>
                </c:pt>
                <c:pt idx="5">
                  <c:v>641.1222</c:v>
                </c:pt>
                <c:pt idx="6">
                  <c:v>641.2899</c:v>
                </c:pt>
                <c:pt idx="7">
                  <c:v>635.944</c:v>
                </c:pt>
                <c:pt idx="8">
                  <c:v>639.6316</c:v>
                </c:pt>
                <c:pt idx="9">
                  <c:v>629.3462</c:v>
                </c:pt>
                <c:pt idx="10">
                  <c:v>627.7989</c:v>
                </c:pt>
                <c:pt idx="11">
                  <c:v>639.3711</c:v>
                </c:pt>
                <c:pt idx="12">
                  <c:v>639.9286</c:v>
                </c:pt>
                <c:pt idx="13">
                  <c:v>657.8209</c:v>
                </c:pt>
                <c:pt idx="14">
                  <c:v>647.6488</c:v>
                </c:pt>
                <c:pt idx="15">
                  <c:v>669.0082</c:v>
                </c:pt>
                <c:pt idx="16">
                  <c:v>667.5275</c:v>
                </c:pt>
                <c:pt idx="17">
                  <c:v>666.9792</c:v>
                </c:pt>
                <c:pt idx="18">
                  <c:v>651.6957</c:v>
                </c:pt>
                <c:pt idx="19">
                  <c:v>569.7073</c:v>
                </c:pt>
                <c:pt idx="20">
                  <c:v>658.6471</c:v>
                </c:pt>
                <c:pt idx="21">
                  <c:v>634.9158</c:v>
                </c:pt>
                <c:pt idx="22">
                  <c:v>615.4167</c:v>
                </c:pt>
                <c:pt idx="23">
                  <c:v>590.7126</c:v>
                </c:pt>
                <c:pt idx="24">
                  <c:v>587.2625</c:v>
                </c:pt>
                <c:pt idx="25">
                  <c:v>585.0145</c:v>
                </c:pt>
                <c:pt idx="26">
                  <c:v>612.3939</c:v>
                </c:pt>
                <c:pt idx="27">
                  <c:v>589.6533</c:v>
                </c:pt>
                <c:pt idx="28">
                  <c:v>597.1176</c:v>
                </c:pt>
                <c:pt idx="29">
                  <c:v>590.8243</c:v>
                </c:pt>
                <c:pt idx="30">
                  <c:v>550.4179</c:v>
                </c:pt>
                <c:pt idx="31">
                  <c:v>554.6071</c:v>
                </c:pt>
                <c:pt idx="32">
                  <c:v>553.5733</c:v>
                </c:pt>
                <c:pt idx="33">
                  <c:v>557.3026</c:v>
                </c:pt>
                <c:pt idx="34">
                  <c:v>559.0097</c:v>
                </c:pt>
                <c:pt idx="35">
                  <c:v>544.913</c:v>
                </c:pt>
                <c:pt idx="36">
                  <c:v>551.7542</c:v>
                </c:pt>
                <c:pt idx="37">
                  <c:v>570.2949</c:v>
                </c:pt>
                <c:pt idx="38">
                  <c:v>604.8026</c:v>
                </c:pt>
                <c:pt idx="39">
                  <c:v>634.2344</c:v>
                </c:pt>
                <c:pt idx="40">
                  <c:v>561.1786</c:v>
                </c:pt>
                <c:pt idx="41">
                  <c:v>631.4405</c:v>
                </c:pt>
                <c:pt idx="42">
                  <c:v>639.4052</c:v>
                </c:pt>
                <c:pt idx="43">
                  <c:v>657.2222</c:v>
                </c:pt>
                <c:pt idx="44">
                  <c:v>629.137</c:v>
                </c:pt>
                <c:pt idx="45">
                  <c:v>656.4053</c:v>
                </c:pt>
                <c:pt idx="46">
                  <c:v>628.5953</c:v>
                </c:pt>
                <c:pt idx="47">
                  <c:v>595.6901</c:v>
                </c:pt>
                <c:pt idx="48">
                  <c:v>591.5651</c:v>
                </c:pt>
                <c:pt idx="49">
                  <c:v>571.9583</c:v>
                </c:pt>
                <c:pt idx="50">
                  <c:v>591.3616</c:v>
                </c:pt>
                <c:pt idx="51">
                  <c:v>585.5116</c:v>
                </c:pt>
                <c:pt idx="52">
                  <c:v>564.747</c:v>
                </c:pt>
                <c:pt idx="53">
                  <c:v>554.0989</c:v>
                </c:pt>
                <c:pt idx="54">
                  <c:v>550.4184</c:v>
                </c:pt>
                <c:pt idx="55">
                  <c:v>556.1527</c:v>
                </c:pt>
                <c:pt idx="56">
                  <c:v>549.1879</c:v>
                </c:pt>
                <c:pt idx="57">
                  <c:v>543.3409</c:v>
                </c:pt>
                <c:pt idx="58">
                  <c:v>567.7429</c:v>
                </c:pt>
                <c:pt idx="59">
                  <c:v>572.9588</c:v>
                </c:pt>
                <c:pt idx="60">
                  <c:v>556.291</c:v>
                </c:pt>
                <c:pt idx="61">
                  <c:v>505.1745</c:v>
                </c:pt>
                <c:pt idx="62">
                  <c:v>532.2857</c:v>
                </c:pt>
                <c:pt idx="63">
                  <c:v>521.9733</c:v>
                </c:pt>
                <c:pt idx="64">
                  <c:v>508.8889</c:v>
                </c:pt>
                <c:pt idx="65">
                  <c:v>510.2778</c:v>
                </c:pt>
                <c:pt idx="66">
                  <c:v>509.6968</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11725067385444744</c:v>
                </c:pt>
                <c:pt idx="1">
                  <c:v>0.1459170013386881</c:v>
                </c:pt>
                <c:pt idx="2">
                  <c:v>0.1440329218106996</c:v>
                </c:pt>
                <c:pt idx="3">
                  <c:v>0.16807909604519775</c:v>
                </c:pt>
                <c:pt idx="4">
                  <c:v>0.16666666666666666</c:v>
                </c:pt>
                <c:pt idx="5">
                  <c:v>0.16530278232405893</c:v>
                </c:pt>
                <c:pt idx="6">
                  <c:v>0.2191780821917808</c:v>
                </c:pt>
                <c:pt idx="7">
                  <c:v>0.16993464052287582</c:v>
                </c:pt>
                <c:pt idx="8">
                  <c:v>0.2081447963800905</c:v>
                </c:pt>
                <c:pt idx="9">
                  <c:v>0.20437956204379562</c:v>
                </c:pt>
                <c:pt idx="10">
                  <c:v>0.21784232365145229</c:v>
                </c:pt>
                <c:pt idx="11">
                  <c:v>0.18594436310395315</c:v>
                </c:pt>
                <c:pt idx="12">
                  <c:v>0.20232896652110627</c:v>
                </c:pt>
                <c:pt idx="13">
                  <c:v>0.1767515923566879</c:v>
                </c:pt>
                <c:pt idx="14">
                  <c:v>0.18232044198895028</c:v>
                </c:pt>
                <c:pt idx="15">
                  <c:v>0.17677642980935876</c:v>
                </c:pt>
                <c:pt idx="16">
                  <c:v>0.19831223628691982</c:v>
                </c:pt>
                <c:pt idx="17">
                  <c:v>0.1694915254237288</c:v>
                </c:pt>
                <c:pt idx="18">
                  <c:v>0.1853932584269663</c:v>
                </c:pt>
                <c:pt idx="19">
                  <c:v>0.2222222222222222</c:v>
                </c:pt>
                <c:pt idx="20">
                  <c:v>0.18498659517426275</c:v>
                </c:pt>
                <c:pt idx="21">
                  <c:v>0.19029850746268656</c:v>
                </c:pt>
                <c:pt idx="22">
                  <c:v>0.17338709677419356</c:v>
                </c:pt>
                <c:pt idx="23">
                  <c:v>0.1691542288557214</c:v>
                </c:pt>
                <c:pt idx="24">
                  <c:v>0.1875</c:v>
                </c:pt>
                <c:pt idx="25">
                  <c:v>0.22321428571428573</c:v>
                </c:pt>
                <c:pt idx="26">
                  <c:v>0.22440944881889763</c:v>
                </c:pt>
                <c:pt idx="27">
                  <c:v>0.21611721611721613</c:v>
                </c:pt>
                <c:pt idx="28">
                  <c:v>0.19784172661870503</c:v>
                </c:pt>
                <c:pt idx="29">
                  <c:v>0.15450643776824036</c:v>
                </c:pt>
                <c:pt idx="30">
                  <c:v>0.1703056768558952</c:v>
                </c:pt>
                <c:pt idx="31">
                  <c:v>0.13333333333333333</c:v>
                </c:pt>
                <c:pt idx="32">
                  <c:v>0.17567567567567569</c:v>
                </c:pt>
                <c:pt idx="33">
                  <c:v>0.18181818181818182</c:v>
                </c:pt>
                <c:pt idx="34">
                  <c:v>0.2230971128608924</c:v>
                </c:pt>
                <c:pt idx="35">
                  <c:v>0.21578947368421053</c:v>
                </c:pt>
                <c:pt idx="36">
                  <c:v>0.21008403361344538</c:v>
                </c:pt>
                <c:pt idx="37">
                  <c:v>0.29559748427672955</c:v>
                </c:pt>
                <c:pt idx="38">
                  <c:v>0.25287356321839083</c:v>
                </c:pt>
                <c:pt idx="39">
                  <c:v>0.30618892508143325</c:v>
                </c:pt>
                <c:pt idx="40">
                  <c:v>0.2214765100671141</c:v>
                </c:pt>
                <c:pt idx="41">
                  <c:v>0.2376237623762376</c:v>
                </c:pt>
                <c:pt idx="42">
                  <c:v>0.21069182389937108</c:v>
                </c:pt>
                <c:pt idx="43">
                  <c:v>0.1483375959079284</c:v>
                </c:pt>
                <c:pt idx="44">
                  <c:v>0.1615798922800718</c:v>
                </c:pt>
                <c:pt idx="45">
                  <c:v>0.19089900110987792</c:v>
                </c:pt>
                <c:pt idx="46">
                  <c:v>0.18157543391188252</c:v>
                </c:pt>
                <c:pt idx="47">
                  <c:v>0.1734820322180917</c:v>
                </c:pt>
                <c:pt idx="48">
                  <c:v>0.1545275590551181</c:v>
                </c:pt>
                <c:pt idx="49">
                  <c:v>0.1562867215041128</c:v>
                </c:pt>
                <c:pt idx="50">
                  <c:v>0.15683453237410072</c:v>
                </c:pt>
                <c:pt idx="51">
                  <c:v>0.15776397515527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31517896627905</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31517896627905</c:v>
                </c:pt>
                <c:pt idx="1">
                  <c:v>-49.31517896627905</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41.7006150857098</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41.7006150857098</c:v>
                </c:pt>
                <c:pt idx="1">
                  <c:v>441.7006150857098</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29.095820983926</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29.095820983926</c:v>
                </c:pt>
                <c:pt idx="1">
                  <c:v>629.095820983926</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441.7006150857098</c:v>
                </c:pt>
                <c:pt idx="53">
                  <c:v>-49.31517896627905</c:v>
                </c:pt>
                <c:pt idx="54">
                  <c:v>629.095820983926</c:v>
                </c:pt>
              </c:numCache>
            </c:numRef>
          </c:xVal>
          <c:yVal>
            <c:numRef>
              <c:f>Sheet1!$B$187:$B$241</c:f>
              <c:numCache>
                <c:formatCode>General</c:formatCode>
                <c:ptCount val="55"/>
                <c:pt idx="0">
                  <c:v>0.20079741316412225</c:v>
                </c:pt>
                <c:pt idx="1">
                  <c:v>0.20268731044957122</c:v>
                </c:pt>
                <c:pt idx="2">
                  <c:v>0.19556431970754995</c:v>
                </c:pt>
                <c:pt idx="3">
                  <c:v>0.20178072637655334</c:v>
                </c:pt>
                <c:pt idx="4">
                  <c:v>0.19762441903960087</c:v>
                </c:pt>
                <c:pt idx="5">
                  <c:v>0.20341703220907897</c:v>
                </c:pt>
                <c:pt idx="6">
                  <c:v>0.20630778857139453</c:v>
                </c:pt>
                <c:pt idx="7">
                  <c:v>0.20498811039536835</c:v>
                </c:pt>
                <c:pt idx="8">
                  <c:v>0.19700547255808856</c:v>
                </c:pt>
                <c:pt idx="9">
                  <c:v>0.1989002540392702</c:v>
                </c:pt>
                <c:pt idx="10">
                  <c:v>0.19312938341853753</c:v>
                </c:pt>
                <c:pt idx="11">
                  <c:v>0.193277126758662</c:v>
                </c:pt>
                <c:pt idx="12">
                  <c:v>0.18117513532340418</c:v>
                </c:pt>
                <c:pt idx="13">
                  <c:v>0.17872680688480214</c:v>
                </c:pt>
                <c:pt idx="14">
                  <c:v>0.17972427137401878</c:v>
                </c:pt>
                <c:pt idx="15">
                  <c:v>0.1799124346565409</c:v>
                </c:pt>
                <c:pt idx="16">
                  <c:v>0.17614500096809832</c:v>
                </c:pt>
                <c:pt idx="17">
                  <c:v>0.17832878074047648</c:v>
                </c:pt>
                <c:pt idx="18">
                  <c:v>0.18481116839116787</c:v>
                </c:pt>
                <c:pt idx="19">
                  <c:v>0.17444332425779002</c:v>
                </c:pt>
                <c:pt idx="20">
                  <c:v>0.176351068193922</c:v>
                </c:pt>
                <c:pt idx="21">
                  <c:v>0.17126238078244277</c:v>
                </c:pt>
                <c:pt idx="22">
                  <c:v>0.17164668534462213</c:v>
                </c:pt>
                <c:pt idx="23">
                  <c:v>0.17549894075485012</c:v>
                </c:pt>
                <c:pt idx="24">
                  <c:v>0.18520012797860563</c:v>
                </c:pt>
                <c:pt idx="25">
                  <c:v>0.189630165123907</c:v>
                </c:pt>
                <c:pt idx="26">
                  <c:v>0.19474096748615236</c:v>
                </c:pt>
                <c:pt idx="27">
                  <c:v>0.1913770027407992</c:v>
                </c:pt>
                <c:pt idx="28">
                  <c:v>0.1910577969164643</c:v>
                </c:pt>
                <c:pt idx="29">
                  <c:v>0.18290719144470657</c:v>
                </c:pt>
                <c:pt idx="30">
                  <c:v>0.18387431949239302</c:v>
                </c:pt>
                <c:pt idx="31">
                  <c:v>0.18912127776265805</c:v>
                </c:pt>
                <c:pt idx="32">
                  <c:v>0.19478929380991195</c:v>
                </c:pt>
                <c:pt idx="33">
                  <c:v>0.19583782034542463</c:v>
                </c:pt>
                <c:pt idx="34">
                  <c:v>0.19224607447181163</c:v>
                </c:pt>
                <c:pt idx="35">
                  <c:v>0.19972602687380214</c:v>
                </c:pt>
                <c:pt idx="36">
                  <c:v>0.20069909903066474</c:v>
                </c:pt>
                <c:pt idx="37">
                  <c:v>0.19691053868912636</c:v>
                </c:pt>
                <c:pt idx="38">
                  <c:v>0.19221145540704374</c:v>
                </c:pt>
                <c:pt idx="39">
                  <c:v>0.2052255882993203</c:v>
                </c:pt>
                <c:pt idx="40">
                  <c:v>0.2030384569087561</c:v>
                </c:pt>
                <c:pt idx="41">
                  <c:v>0.19927537745932453</c:v>
                </c:pt>
                <c:pt idx="42">
                  <c:v>0.1903041698118603</c:v>
                </c:pt>
                <c:pt idx="43">
                  <c:v>0.18741433013144176</c:v>
                </c:pt>
                <c:pt idx="44">
                  <c:v>0.18767362219991232</c:v>
                </c:pt>
                <c:pt idx="45">
                  <c:v>0.19609430507558545</c:v>
                </c:pt>
                <c:pt idx="46">
                  <c:v>0.19386732666880935</c:v>
                </c:pt>
                <c:pt idx="47">
                  <c:v>0.18220933870427558</c:v>
                </c:pt>
                <c:pt idx="48">
                  <c:v>0.18372289510152573</c:v>
                </c:pt>
                <c:pt idx="49">
                  <c:v>0.17560609227472135</c:v>
                </c:pt>
                <c:pt idx="50">
                  <c:v>0.17840628333024028</c:v>
                </c:pt>
                <c:pt idx="51">
                  <c:v>0.17685512865205685</c:v>
                </c:pt>
                <c:pt idx="52">
                  <c:v>0.2158615024342142</c:v>
                </c:pt>
                <c:pt idx="53">
                  <c:v>0.28619045392924036</c:v>
                </c:pt>
                <c:pt idx="54">
                  <c:v>0.18902059730312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2</c:f>
              <c:numCache>
                <c:formatCode>General</c:formatCode>
                <c:ptCount val="111"/>
                <c:pt idx="0">
                  <c:v>0.05347974006745085</c:v>
                </c:pt>
                <c:pt idx="1">
                  <c:v>0.055474834052439435</c:v>
                </c:pt>
                <c:pt idx="2">
                  <c:v>0.08838131244936538</c:v>
                </c:pt>
                <c:pt idx="3">
                  <c:v>0.054100443859937536</c:v>
                </c:pt>
                <c:pt idx="4">
                  <c:v>0.07631406304524835</c:v>
                </c:pt>
                <c:pt idx="5">
                  <c:v>0.0719957551937114</c:v>
                </c:pt>
                <c:pt idx="6">
                  <c:v>0.0</c:v>
                </c:pt>
                <c:pt idx="7">
                  <c:v>0.05805057051574623</c:v>
                </c:pt>
                <c:pt idx="8">
                  <c:v>0.06082461011791556</c:v>
                </c:pt>
                <c:pt idx="9">
                  <c:v>0.05067199677938808</c:v>
                </c:pt>
                <c:pt idx="10">
                  <c:v>0.07206139807162534</c:v>
                </c:pt>
                <c:pt idx="11">
                  <c:v>0.07443202561117578</c:v>
                </c:pt>
                <c:pt idx="12">
                  <c:v>0.05000223472417565</c:v>
                </c:pt>
                <c:pt idx="13">
                  <c:v>0.09636989452094932</c:v>
                </c:pt>
                <c:pt idx="14">
                  <c:v>0.07548354312354313</c:v>
                </c:pt>
                <c:pt idx="15">
                  <c:v>0.09104629831246598</c:v>
                </c:pt>
                <c:pt idx="16">
                  <c:v>0.12463172143390591</c:v>
                </c:pt>
                <c:pt idx="17">
                  <c:v>0.10583611551888289</c:v>
                </c:pt>
                <c:pt idx="18">
                  <c:v>0.0942710400694344</c:v>
                </c:pt>
                <c:pt idx="19">
                  <c:v>0.0</c:v>
                </c:pt>
                <c:pt idx="20">
                  <c:v>0.0</c:v>
                </c:pt>
                <c:pt idx="21">
                  <c:v>0.06246711924439197</c:v>
                </c:pt>
                <c:pt idx="22">
                  <c:v>0.06753173488423132</c:v>
                </c:pt>
                <c:pt idx="23">
                  <c:v>0.06740216795983568</c:v>
                </c:pt>
                <c:pt idx="24">
                  <c:v>0.08493816893260053</c:v>
                </c:pt>
                <c:pt idx="25">
                  <c:v>0.07374442203453926</c:v>
                </c:pt>
                <c:pt idx="26">
                  <c:v>0.06558786548141801</c:v>
                </c:pt>
                <c:pt idx="27">
                  <c:v>0.06772175261284023</c:v>
                </c:pt>
                <c:pt idx="28">
                  <c:v>0.06339501008599639</c:v>
                </c:pt>
                <c:pt idx="29">
                  <c:v>0.07070659406414552</c:v>
                </c:pt>
                <c:pt idx="30">
                  <c:v>0.06756910139945986</c:v>
                </c:pt>
                <c:pt idx="31">
                  <c:v>0.05029537498866418</c:v>
                </c:pt>
                <c:pt idx="32">
                  <c:v>0.05759788783685361</c:v>
                </c:pt>
                <c:pt idx="33">
                  <c:v>0.041783070925176184</c:v>
                </c:pt>
                <c:pt idx="34">
                  <c:v>0.04559622349102773</c:v>
                </c:pt>
                <c:pt idx="35">
                  <c:v>0.04053507401621662</c:v>
                </c:pt>
                <c:pt idx="36">
                  <c:v>0.042884672780973104</c:v>
                </c:pt>
                <c:pt idx="37">
                  <c:v>0.03396836619214962</c:v>
                </c:pt>
                <c:pt idx="38">
                  <c:v>0.04556981615430982</c:v>
                </c:pt>
                <c:pt idx="39">
                  <c:v>0.06941385575134071</c:v>
                </c:pt>
                <c:pt idx="40">
                  <c:v>0.04364431482345621</c:v>
                </c:pt>
                <c:pt idx="41">
                  <c:v>0.05298208592045646</c:v>
                </c:pt>
                <c:pt idx="42">
                  <c:v>0.07638793381518429</c:v>
                </c:pt>
                <c:pt idx="43">
                  <c:v>0.04090509740461817</c:v>
                </c:pt>
                <c:pt idx="44">
                  <c:v>0.042842151855634995</c:v>
                </c:pt>
                <c:pt idx="45">
                  <c:v>0.05735051330217116</c:v>
                </c:pt>
                <c:pt idx="46">
                  <c:v>0.04318165143917015</c:v>
                </c:pt>
                <c:pt idx="47">
                  <c:v>0.07736737450483798</c:v>
                </c:pt>
                <c:pt idx="48">
                  <c:v>0.04411372856077554</c:v>
                </c:pt>
                <c:pt idx="49">
                  <c:v>0.05160215626127752</c:v>
                </c:pt>
                <c:pt idx="50">
                  <c:v>0.06111948736499405</c:v>
                </c:pt>
                <c:pt idx="51">
                  <c:v>0.0645014155879923</c:v>
                </c:pt>
                <c:pt idx="52">
                  <c:v>0.055904474361512566</c:v>
                </c:pt>
                <c:pt idx="53">
                  <c:v>0.06174147863390718</c:v>
                </c:pt>
                <c:pt idx="54">
                  <c:v>0.05146983355152422</c:v>
                </c:pt>
                <c:pt idx="55">
                  <c:v>0.034991361520070464</c:v>
                </c:pt>
                <c:pt idx="56">
                  <c:v>0.036831057608476964</c:v>
                </c:pt>
                <c:pt idx="57">
                  <c:v>0.06970377164849263</c:v>
                </c:pt>
                <c:pt idx="58">
                  <c:v>0.06695344523387929</c:v>
                </c:pt>
                <c:pt idx="59">
                  <c:v>0.06764300526403134</c:v>
                </c:pt>
                <c:pt idx="60">
                  <c:v>0.059010395672005944</c:v>
                </c:pt>
                <c:pt idx="61">
                  <c:v>0.050929982861175525</c:v>
                </c:pt>
                <c:pt idx="62">
                  <c:v>0.05216185996374149</c:v>
                </c:pt>
                <c:pt idx="63">
                  <c:v>0.057369159751607404</c:v>
                </c:pt>
                <c:pt idx="64">
                  <c:v>0.05889236199513945</c:v>
                </c:pt>
                <c:pt idx="65">
                  <c:v>0.048630305918231205</c:v>
                </c:pt>
                <c:pt idx="66">
                  <c:v>0.0388725442342892</c:v>
                </c:pt>
                <c:pt idx="67">
                  <c:v>0.029489123461830056</c:v>
                </c:pt>
                <c:pt idx="68">
                  <c:v>0.03374118401641973</c:v>
                </c:pt>
                <c:pt idx="69">
                  <c:v>0.05661242351965156</c:v>
                </c:pt>
                <c:pt idx="70">
                  <c:v>0.03820199161425576</c:v>
                </c:pt>
                <c:pt idx="71">
                  <c:v>0.06082554952737849</c:v>
                </c:pt>
                <c:pt idx="72">
                  <c:v>0.04935473959133507</c:v>
                </c:pt>
                <c:pt idx="73">
                  <c:v>0.0629725484496124</c:v>
                </c:pt>
                <c:pt idx="74">
                  <c:v>0.06960836339783535</c:v>
                </c:pt>
                <c:pt idx="75">
                  <c:v>0.08462265424598352</c:v>
                </c:pt>
                <c:pt idx="76">
                  <c:v>0.06515376669449083</c:v>
                </c:pt>
                <c:pt idx="77">
                  <c:v>0.04804279320987654</c:v>
                </c:pt>
                <c:pt idx="78">
                  <c:v>0.08639707544504098</c:v>
                </c:pt>
                <c:pt idx="79">
                  <c:v>0.04302991918332624</c:v>
                </c:pt>
                <c:pt idx="80">
                  <c:v>0.07385382761553727</c:v>
                </c:pt>
                <c:pt idx="81">
                  <c:v>0.03367992766726944</c:v>
                </c:pt>
                <c:pt idx="82">
                  <c:v>0.05820758754863813</c:v>
                </c:pt>
                <c:pt idx="83">
                  <c:v>0.06898621384542437</c:v>
                </c:pt>
                <c:pt idx="84">
                  <c:v>0.0</c:v>
                </c:pt>
                <c:pt idx="85">
                  <c:v>0.04451424710424711</c:v>
                </c:pt>
                <c:pt idx="86">
                  <c:v>0.062387228231181036</c:v>
                </c:pt>
                <c:pt idx="87">
                  <c:v>0.06851193712327147</c:v>
                </c:pt>
                <c:pt idx="88">
                  <c:v>0.04431178127200188</c:v>
                </c:pt>
                <c:pt idx="89">
                  <c:v>0.046720526102792384</c:v>
                </c:pt>
                <c:pt idx="90">
                  <c:v>0.0416962712838566</c:v>
                </c:pt>
                <c:pt idx="91">
                  <c:v>0.05053478152309613</c:v>
                </c:pt>
                <c:pt idx="92">
                  <c:v>0.0</c:v>
                </c:pt>
                <c:pt idx="93">
                  <c:v>0.0</c:v>
                </c:pt>
                <c:pt idx="94">
                  <c:v>0.07472578659370725</c:v>
                </c:pt>
                <c:pt idx="95">
                  <c:v>0.0892207251751133</c:v>
                </c:pt>
                <c:pt idx="96">
                  <c:v>0.0611208615318509</c:v>
                </c:pt>
                <c:pt idx="97">
                  <c:v>0.03771463979300014</c:v>
                </c:pt>
                <c:pt idx="98">
                  <c:v>0.05484189343482397</c:v>
                </c:pt>
                <c:pt idx="99">
                  <c:v>0.0722500969869391</c:v>
                </c:pt>
                <c:pt idx="100">
                  <c:v>0.05151113504401573</c:v>
                </c:pt>
                <c:pt idx="101">
                  <c:v>0.08715276925561118</c:v>
                </c:pt>
                <c:pt idx="102">
                  <c:v>0.044926501885211564</c:v>
                </c:pt>
                <c:pt idx="103">
                  <c:v>0.06154713830605295</c:v>
                </c:pt>
                <c:pt idx="104">
                  <c:v>0.04442180838418258</c:v>
                </c:pt>
                <c:pt idx="105">
                  <c:v>0.0</c:v>
                </c:pt>
                <c:pt idx="106">
                  <c:v>0.0</c:v>
                </c:pt>
                <c:pt idx="107">
                  <c:v>0.0</c:v>
                </c:pt>
                <c:pt idx="108">
                  <c:v>0.0</c:v>
                </c:pt>
                <c:pt idx="109">
                  <c:v>0.0</c:v>
                </c:pt>
                <c:pt idx="110">
                  <c:v>0.0</c:v>
                </c:pt>
              </c:numCache>
            </c:numRef>
          </c:xVal>
          <c:yVal>
            <c:numRef>
              <c:f>Sheet1!$B$2:$B$112</c:f>
              <c:numCache>
                <c:formatCode>General</c:formatCode>
                <c:ptCount val="111"/>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pt idx="105">
                  <c:v>0.1459170013386881</c:v>
                </c:pt>
                <c:pt idx="106">
                  <c:v>0.16530278232405893</c:v>
                </c:pt>
                <c:pt idx="107">
                  <c:v>0.16993464052287582</c:v>
                </c:pt>
                <c:pt idx="108">
                  <c:v>0.20437956204379562</c:v>
                </c:pt>
                <c:pt idx="109">
                  <c:v>0.19831223628691982</c:v>
                </c:pt>
                <c:pt idx="110">
                  <c:v>0.17338709677419356</c:v>
                </c:pt>
              </c:numCache>
            </c:numRef>
          </c:yVal>
          <c:smooth val="0"/>
          <c:extLst>
            <c:ext xmlns:c16="http://schemas.microsoft.com/office/drawing/2014/chart" uri="{C3380CC4-5D6E-409C-BE32-E72D297353CC}">
              <c16:uniqueId val="{00000000-096C-4121-9522-6AB7243CCAAE}"/>
            </c:ext>
          </c:extLst>
        </c:ser>
        <c:ser>
          <c:idx val="1"/>
          <c:order val="1"/>
          <c:tx>
            <c:strRef>
              <c:f>Sheet1!$B$11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5:$A$160</c:f>
              <c:numCache>
                <c:formatCode>General</c:formatCode>
                <c:ptCount val="46"/>
                <c:pt idx="0">
                  <c:v>0.06011581840167088</c:v>
                </c:pt>
                <c:pt idx="1">
                  <c:v>0.04423790567182287</c:v>
                </c:pt>
                <c:pt idx="2">
                  <c:v>0.0574232666950234</c:v>
                </c:pt>
                <c:pt idx="3">
                  <c:v>0.042483686725399435</c:v>
                </c:pt>
                <c:pt idx="4">
                  <c:v>0.05136928362129938</c:v>
                </c:pt>
                <c:pt idx="5">
                  <c:v>0.052629686065724254</c:v>
                </c:pt>
                <c:pt idx="6">
                  <c:v>0.059992955635491604</c:v>
                </c:pt>
                <c:pt idx="7">
                  <c:v>0.0478927686775869</c:v>
                </c:pt>
                <c:pt idx="8">
                  <c:v>0.04660105621805792</c:v>
                </c:pt>
                <c:pt idx="9">
                  <c:v>0.08081674064679772</c:v>
                </c:pt>
                <c:pt idx="10">
                  <c:v>0.05359073359073359</c:v>
                </c:pt>
                <c:pt idx="11">
                  <c:v>0.06732953926905132</c:v>
                </c:pt>
                <c:pt idx="12">
                  <c:v>0.08076002983704383</c:v>
                </c:pt>
                <c:pt idx="13">
                  <c:v>0.06132285341776867</c:v>
                </c:pt>
                <c:pt idx="14">
                  <c:v>0.09912789909127899</c:v>
                </c:pt>
                <c:pt idx="15">
                  <c:v>0.09398175507531106</c:v>
                </c:pt>
                <c:pt idx="16">
                  <c:v>0.08720222325150533</c:v>
                </c:pt>
                <c:pt idx="17">
                  <c:v>0.09589131875414182</c:v>
                </c:pt>
                <c:pt idx="18">
                  <c:v>0.06005212454212454</c:v>
                </c:pt>
                <c:pt idx="19">
                  <c:v>0.08405165456012914</c:v>
                </c:pt>
                <c:pt idx="20">
                  <c:v>0.06221308342133052</c:v>
                </c:pt>
                <c:pt idx="21">
                  <c:v>0.09547948258396322</c:v>
                </c:pt>
                <c:pt idx="22">
                  <c:v>0.08384246587044923</c:v>
                </c:pt>
                <c:pt idx="23">
                  <c:v>0.10630068358756882</c:v>
                </c:pt>
                <c:pt idx="24">
                  <c:v>0.07215989583333333</c:v>
                </c:pt>
                <c:pt idx="25">
                  <c:v>0.07369448809663423</c:v>
                </c:pt>
                <c:pt idx="26">
                  <c:v>0.058345273483947684</c:v>
                </c:pt>
                <c:pt idx="27">
                  <c:v>0.05352540500736377</c:v>
                </c:pt>
                <c:pt idx="28">
                  <c:v>0.0771088158647429</c:v>
                </c:pt>
                <c:pt idx="29">
                  <c:v>0.07709529239969404</c:v>
                </c:pt>
                <c:pt idx="30">
                  <c:v>0.06968185288877576</c:v>
                </c:pt>
                <c:pt idx="31">
                  <c:v>0.038852754839583045</c:v>
                </c:pt>
                <c:pt idx="32">
                  <c:v>0.08462114070561987</c:v>
                </c:pt>
                <c:pt idx="33">
                  <c:v>0.054564022842639594</c:v>
                </c:pt>
                <c:pt idx="34">
                  <c:v>0.058479447380008806</c:v>
                </c:pt>
                <c:pt idx="35">
                  <c:v>0.04712993490574013</c:v>
                </c:pt>
                <c:pt idx="36">
                  <c:v>0.053066429916138975</c:v>
                </c:pt>
                <c:pt idx="37">
                  <c:v>0.06302887095186534</c:v>
                </c:pt>
                <c:pt idx="38">
                  <c:v>0.0786863022983548</c:v>
                </c:pt>
                <c:pt idx="39">
                  <c:v>0.05121559325028713</c:v>
                </c:pt>
                <c:pt idx="40">
                  <c:v>0.05877343996840442</c:v>
                </c:pt>
                <c:pt idx="41">
                  <c:v>0.06316747572815534</c:v>
                </c:pt>
                <c:pt idx="42">
                  <c:v>0.054476388320929096</c:v>
                </c:pt>
                <c:pt idx="43">
                  <c:v>0.10122575630252101</c:v>
                </c:pt>
                <c:pt idx="44">
                  <c:v>0.08305206094248259</c:v>
                </c:pt>
                <c:pt idx="45">
                  <c:v>0.06615077821011674</c:v>
                </c:pt>
              </c:numCache>
            </c:numRef>
          </c:xVal>
          <c:yVal>
            <c:numRef>
              <c:f>Sheet1!$B$115:$B$160</c:f>
              <c:numCache>
                <c:formatCode>General</c:formatCode>
                <c:ptCount val="46"/>
                <c:pt idx="0">
                  <c:v>0.11725067385444744</c:v>
                </c:pt>
                <c:pt idx="1">
                  <c:v>0.1440329218106996</c:v>
                </c:pt>
                <c:pt idx="2">
                  <c:v>0.16807909604519775</c:v>
                </c:pt>
                <c:pt idx="3">
                  <c:v>0.16666666666666666</c:v>
                </c:pt>
                <c:pt idx="4">
                  <c:v>0.2191780821917808</c:v>
                </c:pt>
                <c:pt idx="5">
                  <c:v>0.2081447963800905</c:v>
                </c:pt>
                <c:pt idx="6">
                  <c:v>0.21784232365145229</c:v>
                </c:pt>
                <c:pt idx="7">
                  <c:v>0.18594436310395315</c:v>
                </c:pt>
                <c:pt idx="8">
                  <c:v>0.20232896652110627</c:v>
                </c:pt>
                <c:pt idx="9">
                  <c:v>0.1767515923566879</c:v>
                </c:pt>
                <c:pt idx="10">
                  <c:v>0.18232044198895028</c:v>
                </c:pt>
                <c:pt idx="11">
                  <c:v>0.17677642980935876</c:v>
                </c:pt>
                <c:pt idx="12">
                  <c:v>0.1694915254237288</c:v>
                </c:pt>
                <c:pt idx="13">
                  <c:v>0.1853932584269663</c:v>
                </c:pt>
                <c:pt idx="14">
                  <c:v>0.2222222222222222</c:v>
                </c:pt>
                <c:pt idx="15">
                  <c:v>0.18498659517426275</c:v>
                </c:pt>
                <c:pt idx="16">
                  <c:v>0.19029850746268656</c:v>
                </c:pt>
                <c:pt idx="17">
                  <c:v>0.1691542288557214</c:v>
                </c:pt>
                <c:pt idx="18">
                  <c:v>0.1875</c:v>
                </c:pt>
                <c:pt idx="19">
                  <c:v>0.22321428571428573</c:v>
                </c:pt>
                <c:pt idx="20">
                  <c:v>0.22440944881889763</c:v>
                </c:pt>
                <c:pt idx="21">
                  <c:v>0.21611721611721613</c:v>
                </c:pt>
                <c:pt idx="22">
                  <c:v>0.19784172661870503</c:v>
                </c:pt>
                <c:pt idx="23">
                  <c:v>0.15450643776824036</c:v>
                </c:pt>
                <c:pt idx="24">
                  <c:v>0.1703056768558952</c:v>
                </c:pt>
                <c:pt idx="25">
                  <c:v>0.13333333333333333</c:v>
                </c:pt>
                <c:pt idx="26">
                  <c:v>0.17567567567567569</c:v>
                </c:pt>
                <c:pt idx="27">
                  <c:v>0.18181818181818182</c:v>
                </c:pt>
                <c:pt idx="28">
                  <c:v>0.2230971128608924</c:v>
                </c:pt>
                <c:pt idx="29">
                  <c:v>0.21578947368421053</c:v>
                </c:pt>
                <c:pt idx="30">
                  <c:v>0.21008403361344538</c:v>
                </c:pt>
                <c:pt idx="31">
                  <c:v>0.29559748427672955</c:v>
                </c:pt>
                <c:pt idx="32">
                  <c:v>0.25287356321839083</c:v>
                </c:pt>
                <c:pt idx="33">
                  <c:v>0.30618892508143325</c:v>
                </c:pt>
                <c:pt idx="34">
                  <c:v>0.2214765100671141</c:v>
                </c:pt>
                <c:pt idx="35">
                  <c:v>0.2376237623762376</c:v>
                </c:pt>
                <c:pt idx="36">
                  <c:v>0.21069182389937108</c:v>
                </c:pt>
                <c:pt idx="37">
                  <c:v>0.1483375959079284</c:v>
                </c:pt>
                <c:pt idx="38">
                  <c:v>0.1615798922800718</c:v>
                </c:pt>
                <c:pt idx="39">
                  <c:v>0.19089900110987792</c:v>
                </c:pt>
                <c:pt idx="40">
                  <c:v>0.18157543391188252</c:v>
                </c:pt>
                <c:pt idx="41">
                  <c:v>0.1734820322180917</c:v>
                </c:pt>
                <c:pt idx="42">
                  <c:v>0.1545275590551181</c:v>
                </c:pt>
                <c:pt idx="43">
                  <c:v>0.1562867215041128</c:v>
                </c:pt>
                <c:pt idx="44">
                  <c:v>0.15683453237410072</c:v>
                </c:pt>
                <c:pt idx="45">
                  <c:v>0.15776397515527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127012113140927</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127012113140927</c:v>
                </c:pt>
                <c:pt idx="1">
                  <c:v>-0.2127012113140927</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04591986846137249</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04591986846137249</c:v>
                </c:pt>
                <c:pt idx="1">
                  <c:v>-0.004591986846137249</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7483248674699006</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7483248674699006</c:v>
                </c:pt>
                <c:pt idx="1">
                  <c:v>0.07483248674699006</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5</c:f>
              <c:numCache>
                <c:formatCode>General</c:formatCode>
                <c:ptCount val="49"/>
                <c:pt idx="0">
                  <c:v>0.06011581840167088</c:v>
                </c:pt>
                <c:pt idx="1">
                  <c:v>0.04423790567182287</c:v>
                </c:pt>
                <c:pt idx="2">
                  <c:v>0.0574232666950234</c:v>
                </c:pt>
                <c:pt idx="3">
                  <c:v>0.042483686725399435</c:v>
                </c:pt>
                <c:pt idx="4">
                  <c:v>0.05136928362129938</c:v>
                </c:pt>
                <c:pt idx="5">
                  <c:v>0.052629686065724254</c:v>
                </c:pt>
                <c:pt idx="6">
                  <c:v>0.059992955635491604</c:v>
                </c:pt>
                <c:pt idx="7">
                  <c:v>0.0478927686775869</c:v>
                </c:pt>
                <c:pt idx="8">
                  <c:v>0.04660105621805792</c:v>
                </c:pt>
                <c:pt idx="9">
                  <c:v>0.08081674064679772</c:v>
                </c:pt>
                <c:pt idx="10">
                  <c:v>0.05359073359073359</c:v>
                </c:pt>
                <c:pt idx="11">
                  <c:v>0.06732953926905132</c:v>
                </c:pt>
                <c:pt idx="12">
                  <c:v>0.08076002983704383</c:v>
                </c:pt>
                <c:pt idx="13">
                  <c:v>0.06132285341776867</c:v>
                </c:pt>
                <c:pt idx="14">
                  <c:v>0.09912789909127899</c:v>
                </c:pt>
                <c:pt idx="15">
                  <c:v>0.09398175507531106</c:v>
                </c:pt>
                <c:pt idx="16">
                  <c:v>0.08720222325150533</c:v>
                </c:pt>
                <c:pt idx="17">
                  <c:v>0.09589131875414182</c:v>
                </c:pt>
                <c:pt idx="18">
                  <c:v>0.06005212454212454</c:v>
                </c:pt>
                <c:pt idx="19">
                  <c:v>0.08405165456012914</c:v>
                </c:pt>
                <c:pt idx="20">
                  <c:v>0.06221308342133052</c:v>
                </c:pt>
                <c:pt idx="21">
                  <c:v>0.09547948258396322</c:v>
                </c:pt>
                <c:pt idx="22">
                  <c:v>0.08384246587044923</c:v>
                </c:pt>
                <c:pt idx="23">
                  <c:v>0.10630068358756882</c:v>
                </c:pt>
                <c:pt idx="24">
                  <c:v>0.07215989583333333</c:v>
                </c:pt>
                <c:pt idx="25">
                  <c:v>0.07369448809663423</c:v>
                </c:pt>
                <c:pt idx="26">
                  <c:v>0.058345273483947684</c:v>
                </c:pt>
                <c:pt idx="27">
                  <c:v>0.05352540500736377</c:v>
                </c:pt>
                <c:pt idx="28">
                  <c:v>0.0771088158647429</c:v>
                </c:pt>
                <c:pt idx="29">
                  <c:v>0.07709529239969404</c:v>
                </c:pt>
                <c:pt idx="30">
                  <c:v>0.06968185288877576</c:v>
                </c:pt>
                <c:pt idx="31">
                  <c:v>0.038852754839583045</c:v>
                </c:pt>
                <c:pt idx="32">
                  <c:v>0.08462114070561987</c:v>
                </c:pt>
                <c:pt idx="33">
                  <c:v>0.054564022842639594</c:v>
                </c:pt>
                <c:pt idx="34">
                  <c:v>0.058479447380008806</c:v>
                </c:pt>
                <c:pt idx="35">
                  <c:v>0.04712993490574013</c:v>
                </c:pt>
                <c:pt idx="36">
                  <c:v>0.053066429916138975</c:v>
                </c:pt>
                <c:pt idx="37">
                  <c:v>0.06302887095186534</c:v>
                </c:pt>
                <c:pt idx="38">
                  <c:v>0.0786863022983548</c:v>
                </c:pt>
                <c:pt idx="39">
                  <c:v>0.05121559325028713</c:v>
                </c:pt>
                <c:pt idx="40">
                  <c:v>0.05877343996840442</c:v>
                </c:pt>
                <c:pt idx="41">
                  <c:v>0.06316747572815534</c:v>
                </c:pt>
                <c:pt idx="42">
                  <c:v>0.054476388320929096</c:v>
                </c:pt>
                <c:pt idx="43">
                  <c:v>0.10122575630252101</c:v>
                </c:pt>
                <c:pt idx="44">
                  <c:v>0.08305206094248259</c:v>
                </c:pt>
                <c:pt idx="45">
                  <c:v>0.06615077821011674</c:v>
                </c:pt>
                <c:pt idx="46">
                  <c:v>-0.004591986846137249</c:v>
                </c:pt>
                <c:pt idx="47">
                  <c:v>-0.2127012113140927</c:v>
                </c:pt>
                <c:pt idx="48">
                  <c:v>0.07483248674699006</c:v>
                </c:pt>
              </c:numCache>
            </c:numRef>
          </c:xVal>
          <c:yVal>
            <c:numRef>
              <c:f>Sheet1!$B$187:$B$235</c:f>
              <c:numCache>
                <c:formatCode>General</c:formatCode>
                <c:ptCount val="49"/>
                <c:pt idx="0">
                  <c:v>0.1939939849887132</c:v>
                </c:pt>
                <c:pt idx="1">
                  <c:v>0.1993598065041919</c:v>
                </c:pt>
                <c:pt idx="2">
                  <c:v>0.19490391264261123</c:v>
                </c:pt>
                <c:pt idx="3">
                  <c:v>0.19995263163969504</c:v>
                </c:pt>
                <c:pt idx="4">
                  <c:v>0.1969498108147473</c:v>
                </c:pt>
                <c:pt idx="5">
                  <c:v>0.196523867262246</c:v>
                </c:pt>
                <c:pt idx="6">
                  <c:v>0.19403550553901683</c:v>
                </c:pt>
                <c:pt idx="7">
                  <c:v>0.19812467296453026</c:v>
                </c:pt>
                <c:pt idx="8">
                  <c:v>0.19856119750179663</c:v>
                </c:pt>
                <c:pt idx="9">
                  <c:v>0.18699826358231295</c:v>
                </c:pt>
                <c:pt idx="10">
                  <c:v>0.19619908845946302</c:v>
                </c:pt>
                <c:pt idx="11">
                  <c:v>0.19155616212777235</c:v>
                </c:pt>
                <c:pt idx="12">
                  <c:v>0.1870174285751124</c:v>
                </c:pt>
                <c:pt idx="13">
                  <c:v>0.19358607655833504</c:v>
                </c:pt>
                <c:pt idx="14">
                  <c:v>0.18081014492802447</c:v>
                </c:pt>
                <c:pt idx="15">
                  <c:v>0.18254924569979808</c:v>
                </c:pt>
                <c:pt idx="16">
                  <c:v>0.18484033763007837</c:v>
                </c:pt>
                <c:pt idx="17">
                  <c:v>0.1819039229771341</c:v>
                </c:pt>
                <c:pt idx="18">
                  <c:v>0.19401550985081395</c:v>
                </c:pt>
                <c:pt idx="19">
                  <c:v>0.18590504868862956</c:v>
                </c:pt>
                <c:pt idx="20">
                  <c:v>0.19328523000576162</c:v>
                </c:pt>
                <c:pt idx="21">
                  <c:v>0.1820430999218872</c:v>
                </c:pt>
                <c:pt idx="22">
                  <c:v>0.18597574243729648</c:v>
                </c:pt>
                <c:pt idx="23">
                  <c:v>0.17838615620665227</c:v>
                </c:pt>
                <c:pt idx="24">
                  <c:v>0.18992377935674634</c:v>
                </c:pt>
                <c:pt idx="25">
                  <c:v>0.18940517541150437</c:v>
                </c:pt>
                <c:pt idx="26">
                  <c:v>0.1945923273637649</c:v>
                </c:pt>
                <c:pt idx="27">
                  <c:v>0.19622116576421875</c:v>
                </c:pt>
                <c:pt idx="28">
                  <c:v>0.18825132895128457</c:v>
                </c:pt>
                <c:pt idx="29">
                  <c:v>0.1882558991048657</c:v>
                </c:pt>
                <c:pt idx="30">
                  <c:v>0.19076121538340945</c:v>
                </c:pt>
                <c:pt idx="31">
                  <c:v>0.20117967783686466</c:v>
                </c:pt>
                <c:pt idx="32">
                  <c:v>0.18571259511716628</c:v>
                </c:pt>
                <c:pt idx="33">
                  <c:v>0.19587017265689385</c:v>
                </c:pt>
                <c:pt idx="34">
                  <c:v>0.19454698430195633</c:v>
                </c:pt>
                <c:pt idx="35">
                  <c:v>0.19838246691612532</c:v>
                </c:pt>
                <c:pt idx="36">
                  <c:v>0.19637627295377605</c:v>
                </c:pt>
                <c:pt idx="37">
                  <c:v>0.19300954072859522</c:v>
                </c:pt>
                <c:pt idx="38">
                  <c:v>0.1877182292429118</c:v>
                </c:pt>
                <c:pt idx="39">
                  <c:v>0.19700174932288314</c:v>
                </c:pt>
                <c:pt idx="40">
                  <c:v>0.19444763171178628</c:v>
                </c:pt>
                <c:pt idx="41">
                  <c:v>0.1929627002840469</c:v>
                </c:pt>
                <c:pt idx="42">
                  <c:v>0.19589978808620712</c:v>
                </c:pt>
                <c:pt idx="43">
                  <c:v>0.1801011898183693</c:v>
                </c:pt>
                <c:pt idx="44">
                  <c:v>0.18624285385430603</c:v>
                </c:pt>
                <c:pt idx="45">
                  <c:v>0.19195451558639476</c:v>
                </c:pt>
                <c:pt idx="46">
                  <c:v>0.2158615024342142</c:v>
                </c:pt>
                <c:pt idx="47">
                  <c:v>0.28619045392924036</c:v>
                </c:pt>
                <c:pt idx="48">
                  <c:v>0.18902059730312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0.1532</c:v>
                </c:pt>
                <c:pt idx="1">
                  <c:v>668.5827</c:v>
                </c:pt>
                <c:pt idx="2">
                  <c:v>654.552</c:v>
                </c:pt>
                <c:pt idx="3">
                  <c:v>658.186</c:v>
                </c:pt>
                <c:pt idx="4">
                  <c:v>656.072</c:v>
                </c:pt>
                <c:pt idx="5">
                  <c:v>641.1222</c:v>
                </c:pt>
                <c:pt idx="6">
                  <c:v>641.2899</c:v>
                </c:pt>
                <c:pt idx="7">
                  <c:v>635.944</c:v>
                </c:pt>
                <c:pt idx="8">
                  <c:v>639.6316</c:v>
                </c:pt>
                <c:pt idx="9">
                  <c:v>629.3462</c:v>
                </c:pt>
                <c:pt idx="10">
                  <c:v>627.7989</c:v>
                </c:pt>
                <c:pt idx="11">
                  <c:v>639.3711</c:v>
                </c:pt>
                <c:pt idx="12">
                  <c:v>639.9286</c:v>
                </c:pt>
                <c:pt idx="13">
                  <c:v>657.8209</c:v>
                </c:pt>
                <c:pt idx="14">
                  <c:v>647.6488</c:v>
                </c:pt>
                <c:pt idx="15">
                  <c:v>669.0082</c:v>
                </c:pt>
                <c:pt idx="16">
                  <c:v>667.5275</c:v>
                </c:pt>
                <c:pt idx="17">
                  <c:v>666.9792</c:v>
                </c:pt>
                <c:pt idx="18">
                  <c:v>651.6957</c:v>
                </c:pt>
                <c:pt idx="19">
                  <c:v>569.7073</c:v>
                </c:pt>
                <c:pt idx="20">
                  <c:v>658.6471</c:v>
                </c:pt>
                <c:pt idx="21">
                  <c:v>634.9158</c:v>
                </c:pt>
                <c:pt idx="22">
                  <c:v>615.4167</c:v>
                </c:pt>
                <c:pt idx="23">
                  <c:v>590.7126</c:v>
                </c:pt>
                <c:pt idx="24">
                  <c:v>587.2625</c:v>
                </c:pt>
                <c:pt idx="25">
                  <c:v>585.0145</c:v>
                </c:pt>
                <c:pt idx="26">
                  <c:v>612.3939</c:v>
                </c:pt>
                <c:pt idx="27">
                  <c:v>589.6533</c:v>
                </c:pt>
                <c:pt idx="28">
                  <c:v>597.1176</c:v>
                </c:pt>
                <c:pt idx="29">
                  <c:v>590.8243</c:v>
                </c:pt>
                <c:pt idx="30">
                  <c:v>550.4179</c:v>
                </c:pt>
                <c:pt idx="31">
                  <c:v>554.6071</c:v>
                </c:pt>
                <c:pt idx="32">
                  <c:v>553.5733</c:v>
                </c:pt>
                <c:pt idx="33">
                  <c:v>557.3026</c:v>
                </c:pt>
                <c:pt idx="34">
                  <c:v>559.0097</c:v>
                </c:pt>
                <c:pt idx="35">
                  <c:v>544.913</c:v>
                </c:pt>
                <c:pt idx="36">
                  <c:v>551.7542</c:v>
                </c:pt>
                <c:pt idx="37">
                  <c:v>570.2949</c:v>
                </c:pt>
                <c:pt idx="38">
                  <c:v>604.8026</c:v>
                </c:pt>
                <c:pt idx="39">
                  <c:v>634.2344</c:v>
                </c:pt>
                <c:pt idx="40">
                  <c:v>561.1786</c:v>
                </c:pt>
                <c:pt idx="41">
                  <c:v>631.4405</c:v>
                </c:pt>
                <c:pt idx="42">
                  <c:v>639.4052</c:v>
                </c:pt>
                <c:pt idx="43">
                  <c:v>657.2222</c:v>
                </c:pt>
                <c:pt idx="44">
                  <c:v>629.137</c:v>
                </c:pt>
                <c:pt idx="45">
                  <c:v>656.4053</c:v>
                </c:pt>
                <c:pt idx="46">
                  <c:v>628.5953</c:v>
                </c:pt>
                <c:pt idx="47">
                  <c:v>595.6901</c:v>
                </c:pt>
                <c:pt idx="48">
                  <c:v>591.5651</c:v>
                </c:pt>
                <c:pt idx="49">
                  <c:v>571.9583</c:v>
                </c:pt>
                <c:pt idx="50">
                  <c:v>591.3616</c:v>
                </c:pt>
                <c:pt idx="51">
                  <c:v>585.5116</c:v>
                </c:pt>
                <c:pt idx="52">
                  <c:v>564.747</c:v>
                </c:pt>
                <c:pt idx="53">
                  <c:v>554.0989</c:v>
                </c:pt>
                <c:pt idx="54">
                  <c:v>550.4184</c:v>
                </c:pt>
                <c:pt idx="55">
                  <c:v>556.1527</c:v>
                </c:pt>
                <c:pt idx="56">
                  <c:v>549.1879</c:v>
                </c:pt>
                <c:pt idx="57">
                  <c:v>543.3409</c:v>
                </c:pt>
                <c:pt idx="58">
                  <c:v>567.7429</c:v>
                </c:pt>
                <c:pt idx="59">
                  <c:v>572.9588</c:v>
                </c:pt>
                <c:pt idx="60">
                  <c:v>556.291</c:v>
                </c:pt>
                <c:pt idx="61">
                  <c:v>505.1745</c:v>
                </c:pt>
                <c:pt idx="62">
                  <c:v>532.2857</c:v>
                </c:pt>
                <c:pt idx="63">
                  <c:v>521.9733</c:v>
                </c:pt>
                <c:pt idx="64">
                  <c:v>508.8889</c:v>
                </c:pt>
                <c:pt idx="65">
                  <c:v>510.2778</c:v>
                </c:pt>
                <c:pt idx="66">
                  <c:v>509.6968</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11725067385444744</c:v>
                </c:pt>
                <c:pt idx="1">
                  <c:v>0.1459170013386881</c:v>
                </c:pt>
                <c:pt idx="2">
                  <c:v>0.1440329218106996</c:v>
                </c:pt>
                <c:pt idx="3">
                  <c:v>0.16807909604519775</c:v>
                </c:pt>
                <c:pt idx="4">
                  <c:v>0.16666666666666666</c:v>
                </c:pt>
                <c:pt idx="5">
                  <c:v>0.16530278232405893</c:v>
                </c:pt>
                <c:pt idx="6">
                  <c:v>0.2191780821917808</c:v>
                </c:pt>
                <c:pt idx="7">
                  <c:v>0.16993464052287582</c:v>
                </c:pt>
                <c:pt idx="8">
                  <c:v>0.2081447963800905</c:v>
                </c:pt>
                <c:pt idx="9">
                  <c:v>0.20437956204379562</c:v>
                </c:pt>
                <c:pt idx="10">
                  <c:v>0.21784232365145229</c:v>
                </c:pt>
                <c:pt idx="11">
                  <c:v>0.18594436310395315</c:v>
                </c:pt>
                <c:pt idx="12">
                  <c:v>0.20232896652110627</c:v>
                </c:pt>
                <c:pt idx="13">
                  <c:v>0.1767515923566879</c:v>
                </c:pt>
                <c:pt idx="14">
                  <c:v>0.18232044198895028</c:v>
                </c:pt>
                <c:pt idx="15">
                  <c:v>0.17677642980935876</c:v>
                </c:pt>
                <c:pt idx="16">
                  <c:v>0.19831223628691982</c:v>
                </c:pt>
                <c:pt idx="17">
                  <c:v>0.1694915254237288</c:v>
                </c:pt>
                <c:pt idx="18">
                  <c:v>0.1853932584269663</c:v>
                </c:pt>
                <c:pt idx="19">
                  <c:v>0.2222222222222222</c:v>
                </c:pt>
                <c:pt idx="20">
                  <c:v>0.18498659517426275</c:v>
                </c:pt>
                <c:pt idx="21">
                  <c:v>0.19029850746268656</c:v>
                </c:pt>
                <c:pt idx="22">
                  <c:v>0.17338709677419356</c:v>
                </c:pt>
                <c:pt idx="23">
                  <c:v>0.1691542288557214</c:v>
                </c:pt>
                <c:pt idx="24">
                  <c:v>0.1875</c:v>
                </c:pt>
                <c:pt idx="25">
                  <c:v>0.22321428571428573</c:v>
                </c:pt>
                <c:pt idx="26">
                  <c:v>0.22440944881889763</c:v>
                </c:pt>
                <c:pt idx="27">
                  <c:v>0.21611721611721613</c:v>
                </c:pt>
                <c:pt idx="28">
                  <c:v>0.19784172661870503</c:v>
                </c:pt>
                <c:pt idx="29">
                  <c:v>0.15450643776824036</c:v>
                </c:pt>
                <c:pt idx="30">
                  <c:v>0.1703056768558952</c:v>
                </c:pt>
                <c:pt idx="31">
                  <c:v>0.13333333333333333</c:v>
                </c:pt>
                <c:pt idx="32">
                  <c:v>0.17567567567567569</c:v>
                </c:pt>
                <c:pt idx="33">
                  <c:v>0.18181818181818182</c:v>
                </c:pt>
                <c:pt idx="34">
                  <c:v>0.2230971128608924</c:v>
                </c:pt>
                <c:pt idx="35">
                  <c:v>0.21578947368421053</c:v>
                </c:pt>
                <c:pt idx="36">
                  <c:v>0.21008403361344538</c:v>
                </c:pt>
                <c:pt idx="37">
                  <c:v>0.29559748427672955</c:v>
                </c:pt>
                <c:pt idx="38">
                  <c:v>0.25287356321839083</c:v>
                </c:pt>
                <c:pt idx="39">
                  <c:v>0.30618892508143325</c:v>
                </c:pt>
                <c:pt idx="40">
                  <c:v>0.2214765100671141</c:v>
                </c:pt>
                <c:pt idx="41">
                  <c:v>0.2376237623762376</c:v>
                </c:pt>
                <c:pt idx="42">
                  <c:v>0.21069182389937108</c:v>
                </c:pt>
                <c:pt idx="43">
                  <c:v>0.1483375959079284</c:v>
                </c:pt>
                <c:pt idx="44">
                  <c:v>0.1615798922800718</c:v>
                </c:pt>
                <c:pt idx="45">
                  <c:v>0.19089900110987792</c:v>
                </c:pt>
                <c:pt idx="46">
                  <c:v>0.18157543391188252</c:v>
                </c:pt>
                <c:pt idx="47">
                  <c:v>0.1734820322180917</c:v>
                </c:pt>
                <c:pt idx="48">
                  <c:v>0.1545275590551181</c:v>
                </c:pt>
                <c:pt idx="49">
                  <c:v>0.1562867215041128</c:v>
                </c:pt>
                <c:pt idx="50">
                  <c:v>0.15683453237410072</c:v>
                </c:pt>
                <c:pt idx="51">
                  <c:v>0.15776397515527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31517896627905</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31517896627905</c:v>
                </c:pt>
                <c:pt idx="1">
                  <c:v>-49.31517896627905</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41.7006150857098</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41.7006150857098</c:v>
                </c:pt>
                <c:pt idx="1">
                  <c:v>441.7006150857098</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29.095820983926</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29.095820983926</c:v>
                </c:pt>
                <c:pt idx="1">
                  <c:v>629.095820983926</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441.7006150857098</c:v>
                </c:pt>
                <c:pt idx="53">
                  <c:v>-49.31517896627905</c:v>
                </c:pt>
                <c:pt idx="54">
                  <c:v>629.095820983926</c:v>
                </c:pt>
              </c:numCache>
            </c:numRef>
          </c:xVal>
          <c:yVal>
            <c:numRef>
              <c:f>Sheet1!$B$187:$B$241</c:f>
              <c:numCache>
                <c:formatCode>General</c:formatCode>
                <c:ptCount val="55"/>
                <c:pt idx="0">
                  <c:v>0.20079741316412225</c:v>
                </c:pt>
                <c:pt idx="1">
                  <c:v>0.20268731044957122</c:v>
                </c:pt>
                <c:pt idx="2">
                  <c:v>0.19556431970754995</c:v>
                </c:pt>
                <c:pt idx="3">
                  <c:v>0.20178072637655334</c:v>
                </c:pt>
                <c:pt idx="4">
                  <c:v>0.19762441903960087</c:v>
                </c:pt>
                <c:pt idx="5">
                  <c:v>0.20341703220907897</c:v>
                </c:pt>
                <c:pt idx="6">
                  <c:v>0.20630778857139453</c:v>
                </c:pt>
                <c:pt idx="7">
                  <c:v>0.20498811039536835</c:v>
                </c:pt>
                <c:pt idx="8">
                  <c:v>0.19700547255808856</c:v>
                </c:pt>
                <c:pt idx="9">
                  <c:v>0.1989002540392702</c:v>
                </c:pt>
                <c:pt idx="10">
                  <c:v>0.19312938341853753</c:v>
                </c:pt>
                <c:pt idx="11">
                  <c:v>0.193277126758662</c:v>
                </c:pt>
                <c:pt idx="12">
                  <c:v>0.18117513532340418</c:v>
                </c:pt>
                <c:pt idx="13">
                  <c:v>0.17872680688480214</c:v>
                </c:pt>
                <c:pt idx="14">
                  <c:v>0.17972427137401878</c:v>
                </c:pt>
                <c:pt idx="15">
                  <c:v>0.1799124346565409</c:v>
                </c:pt>
                <c:pt idx="16">
                  <c:v>0.17614500096809832</c:v>
                </c:pt>
                <c:pt idx="17">
                  <c:v>0.17832878074047648</c:v>
                </c:pt>
                <c:pt idx="18">
                  <c:v>0.18481116839116787</c:v>
                </c:pt>
                <c:pt idx="19">
                  <c:v>0.17444332425779002</c:v>
                </c:pt>
                <c:pt idx="20">
                  <c:v>0.176351068193922</c:v>
                </c:pt>
                <c:pt idx="21">
                  <c:v>0.17126238078244277</c:v>
                </c:pt>
                <c:pt idx="22">
                  <c:v>0.17164668534462213</c:v>
                </c:pt>
                <c:pt idx="23">
                  <c:v>0.17549894075485012</c:v>
                </c:pt>
                <c:pt idx="24">
                  <c:v>0.18520012797860563</c:v>
                </c:pt>
                <c:pt idx="25">
                  <c:v>0.189630165123907</c:v>
                </c:pt>
                <c:pt idx="26">
                  <c:v>0.19474096748615236</c:v>
                </c:pt>
                <c:pt idx="27">
                  <c:v>0.1913770027407992</c:v>
                </c:pt>
                <c:pt idx="28">
                  <c:v>0.1910577969164643</c:v>
                </c:pt>
                <c:pt idx="29">
                  <c:v>0.18290719144470657</c:v>
                </c:pt>
                <c:pt idx="30">
                  <c:v>0.18387431949239302</c:v>
                </c:pt>
                <c:pt idx="31">
                  <c:v>0.18912127776265805</c:v>
                </c:pt>
                <c:pt idx="32">
                  <c:v>0.19478929380991195</c:v>
                </c:pt>
                <c:pt idx="33">
                  <c:v>0.19583782034542463</c:v>
                </c:pt>
                <c:pt idx="34">
                  <c:v>0.19224607447181163</c:v>
                </c:pt>
                <c:pt idx="35">
                  <c:v>0.19972602687380214</c:v>
                </c:pt>
                <c:pt idx="36">
                  <c:v>0.20069909903066474</c:v>
                </c:pt>
                <c:pt idx="37">
                  <c:v>0.19691053868912636</c:v>
                </c:pt>
                <c:pt idx="38">
                  <c:v>0.19221145540704374</c:v>
                </c:pt>
                <c:pt idx="39">
                  <c:v>0.2052255882993203</c:v>
                </c:pt>
                <c:pt idx="40">
                  <c:v>0.2030384569087561</c:v>
                </c:pt>
                <c:pt idx="41">
                  <c:v>0.19927537745932453</c:v>
                </c:pt>
                <c:pt idx="42">
                  <c:v>0.1903041698118603</c:v>
                </c:pt>
                <c:pt idx="43">
                  <c:v>0.18741433013144176</c:v>
                </c:pt>
                <c:pt idx="44">
                  <c:v>0.18767362219991232</c:v>
                </c:pt>
                <c:pt idx="45">
                  <c:v>0.19609430507558545</c:v>
                </c:pt>
                <c:pt idx="46">
                  <c:v>0.19386732666880935</c:v>
                </c:pt>
                <c:pt idx="47">
                  <c:v>0.18220933870427558</c:v>
                </c:pt>
                <c:pt idx="48">
                  <c:v>0.18372289510152573</c:v>
                </c:pt>
                <c:pt idx="49">
                  <c:v>0.17560609227472135</c:v>
                </c:pt>
                <c:pt idx="50">
                  <c:v>0.17840628333024028</c:v>
                </c:pt>
                <c:pt idx="51">
                  <c:v>0.17685512865205685</c:v>
                </c:pt>
                <c:pt idx="52">
                  <c:v>0.2158615024342142</c:v>
                </c:pt>
                <c:pt idx="53">
                  <c:v>0.28619045392924036</c:v>
                </c:pt>
                <c:pt idx="54">
                  <c:v>0.18902059730312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683490669593854</c:v>
                </c:pt>
                <c:pt idx="1">
                  <c:v>0.37783707261938404</c:v>
                </c:pt>
                <c:pt idx="2">
                  <c:v>0.34055775234131114</c:v>
                </c:pt>
                <c:pt idx="3">
                  <c:v>0.36290350371432634</c:v>
                </c:pt>
                <c:pt idx="4">
                  <c:v>0.32019131283552954</c:v>
                </c:pt>
                <c:pt idx="5">
                  <c:v>0.3569722717149221</c:v>
                </c:pt>
                <c:pt idx="6">
                  <c:v>0.0</c:v>
                </c:pt>
                <c:pt idx="7">
                  <c:v>0.0</c:v>
                </c:pt>
                <c:pt idx="8">
                  <c:v>0.28390217487794056</c:v>
                </c:pt>
                <c:pt idx="9">
                  <c:v>0.32941439413766027</c:v>
                </c:pt>
                <c:pt idx="10">
                  <c:v>0.2302159515951595</c:v>
                </c:pt>
                <c:pt idx="11">
                  <c:v>0.21762120490129339</c:v>
                </c:pt>
                <c:pt idx="12">
                  <c:v>0.356010347705146</c:v>
                </c:pt>
                <c:pt idx="13">
                  <c:v>0.33189752774974773</c:v>
                </c:pt>
                <c:pt idx="14">
                  <c:v>0.20824720257234727</c:v>
                </c:pt>
                <c:pt idx="15">
                  <c:v>0.20309902853673345</c:v>
                </c:pt>
                <c:pt idx="16">
                  <c:v>0.29773751115075825</c:v>
                </c:pt>
                <c:pt idx="17">
                  <c:v>0.2531230360531309</c:v>
                </c:pt>
                <c:pt idx="18">
                  <c:v>0.3783429317851959</c:v>
                </c:pt>
                <c:pt idx="19">
                  <c:v>0.35707132560325916</c:v>
                </c:pt>
                <c:pt idx="20">
                  <c:v>0.3696111672278339</c:v>
                </c:pt>
                <c:pt idx="21">
                  <c:v>0.35850694522868437</c:v>
                </c:pt>
                <c:pt idx="22">
                  <c:v>0.16216513833992094</c:v>
                </c:pt>
                <c:pt idx="23">
                  <c:v>0.0</c:v>
                </c:pt>
                <c:pt idx="24">
                  <c:v>0.33838231057332185</c:v>
                </c:pt>
                <c:pt idx="25">
                  <c:v>0.3210836992316136</c:v>
                </c:pt>
                <c:pt idx="26">
                  <c:v>0.3685789346975625</c:v>
                </c:pt>
                <c:pt idx="27">
                  <c:v>0.2379553268765133</c:v>
                </c:pt>
                <c:pt idx="28">
                  <c:v>0.3072646364882442</c:v>
                </c:pt>
                <c:pt idx="29">
                  <c:v>0.32379847782611476</c:v>
                </c:pt>
                <c:pt idx="30">
                  <c:v>0.3098327610470025</c:v>
                </c:pt>
                <c:pt idx="31">
                  <c:v>0.0</c:v>
                </c:pt>
                <c:pt idx="32">
                  <c:v>0.2534676282051282</c:v>
                </c:pt>
                <c:pt idx="33">
                  <c:v>0.37369419699808215</c:v>
                </c:pt>
                <c:pt idx="34">
                  <c:v>0.36429436298468554</c:v>
                </c:pt>
                <c:pt idx="35">
                  <c:v>0.2747922339889057</c:v>
                </c:pt>
                <c:pt idx="36">
                  <c:v>0.28338685156651255</c:v>
                </c:pt>
                <c:pt idx="37">
                  <c:v>0.26994078147774087</c:v>
                </c:pt>
                <c:pt idx="38">
                  <c:v>0.38571594387755104</c:v>
                </c:pt>
                <c:pt idx="39">
                  <c:v>0.2248260900389933</c:v>
                </c:pt>
                <c:pt idx="40">
                  <c:v>0.3224546700336079</c:v>
                </c:pt>
                <c:pt idx="41">
                  <c:v>0.2524752099160336</c:v>
                </c:pt>
                <c:pt idx="42">
                  <c:v>0.37006898946637345</c:v>
                </c:pt>
                <c:pt idx="43">
                  <c:v>0.3515967366590879</c:v>
                </c:pt>
                <c:pt idx="44">
                  <c:v>0.33281802738173205</c:v>
                </c:pt>
                <c:pt idx="45">
                  <c:v>0.33269401926001013</c:v>
                </c:pt>
                <c:pt idx="46">
                  <c:v>0.3619203408870615</c:v>
                </c:pt>
                <c:pt idx="47">
                  <c:v>0.3073339868438024</c:v>
                </c:pt>
                <c:pt idx="48">
                  <c:v>0.3579006881948121</c:v>
                </c:pt>
                <c:pt idx="49">
                  <c:v>0.34156032189032787</c:v>
                </c:pt>
                <c:pt idx="50">
                  <c:v>0.39124154813099565</c:v>
                </c:pt>
                <c:pt idx="51">
                  <c:v>0.34064006833377836</c:v>
                </c:pt>
                <c:pt idx="52">
                  <c:v>0.3205147559591373</c:v>
                </c:pt>
                <c:pt idx="53">
                  <c:v>0.34911197418645434</c:v>
                </c:pt>
                <c:pt idx="54">
                  <c:v>0.33223495445171203</c:v>
                </c:pt>
                <c:pt idx="55">
                  <c:v>0.324476487747958</c:v>
                </c:pt>
                <c:pt idx="56">
                  <c:v>0.32324184814596824</c:v>
                </c:pt>
                <c:pt idx="57">
                  <c:v>0.2820352452634311</c:v>
                </c:pt>
                <c:pt idx="58">
                  <c:v>0.2612233827183215</c:v>
                </c:pt>
                <c:pt idx="59">
                  <c:v>0.2747345001198753</c:v>
                </c:pt>
                <c:pt idx="60">
                  <c:v>0.22884786052585346</c:v>
                </c:pt>
                <c:pt idx="61">
                  <c:v>0.20712361623616238</c:v>
                </c:pt>
                <c:pt idx="62">
                  <c:v>0.24396631221926848</c:v>
                </c:pt>
                <c:pt idx="63">
                  <c:v>0.21621261696634286</c:v>
                </c:pt>
                <c:pt idx="64">
                  <c:v>0.24255905624404192</c:v>
                </c:pt>
                <c:pt idx="65">
                  <c:v>0.18971198066734826</c:v>
                </c:pt>
                <c:pt idx="66">
                  <c:v>0.20453322632423757</c:v>
                </c:pt>
                <c:pt idx="67">
                  <c:v>0.20290930979133226</c:v>
                </c:pt>
                <c:pt idx="68">
                  <c:v>0.22953957587922155</c:v>
                </c:pt>
                <c:pt idx="69">
                  <c:v>0.25200858626658973</c:v>
                </c:pt>
                <c:pt idx="70">
                  <c:v>0.25280604484082747</c:v>
                </c:pt>
                <c:pt idx="71">
                  <c:v>0.23498271391529818</c:v>
                </c:pt>
                <c:pt idx="72">
                  <c:v>0.24407384895912473</c:v>
                </c:pt>
                <c:pt idx="73">
                  <c:v>0.22097133628017682</c:v>
                </c:pt>
                <c:pt idx="74">
                  <c:v>0.2935038613015345</c:v>
                </c:pt>
                <c:pt idx="75">
                  <c:v>0.23171903881700553</c:v>
                </c:pt>
                <c:pt idx="76">
                  <c:v>0.28878885420279804</c:v>
                </c:pt>
                <c:pt idx="77">
                  <c:v>0.23448453721421714</c:v>
                </c:pt>
                <c:pt idx="78">
                  <c:v>0.2674669086961206</c:v>
                </c:pt>
                <c:pt idx="79">
                  <c:v>0.22470755219902266</c:v>
                </c:pt>
                <c:pt idx="80">
                  <c:v>0.18408653710247347</c:v>
                </c:pt>
                <c:pt idx="81">
                  <c:v>0.1923928281561278</c:v>
                </c:pt>
                <c:pt idx="82">
                  <c:v>0.17394593023255814</c:v>
                </c:pt>
                <c:pt idx="83">
                  <c:v>0.2777888782816229</c:v>
                </c:pt>
                <c:pt idx="84">
                  <c:v>0.1974700121901666</c:v>
                </c:pt>
                <c:pt idx="85">
                  <c:v>0.15533804904338455</c:v>
                </c:pt>
                <c:pt idx="86">
                  <c:v>0.20575550113633348</c:v>
                </c:pt>
                <c:pt idx="87">
                  <c:v>0.2540596748859068</c:v>
                </c:pt>
                <c:pt idx="88">
                  <c:v>0.2464110929853181</c:v>
                </c:pt>
                <c:pt idx="89">
                  <c:v>0.2527285901926445</c:v>
                </c:pt>
                <c:pt idx="90">
                  <c:v>0.24375069298614027</c:v>
                </c:pt>
                <c:pt idx="91">
                  <c:v>0.13856125057051574</c:v>
                </c:pt>
                <c:pt idx="92">
                  <c:v>0.2075937735203558</c:v>
                </c:pt>
                <c:pt idx="93">
                  <c:v>0.1688925303837225</c:v>
                </c:pt>
                <c:pt idx="94">
                  <c:v>0.26055633508893966</c:v>
                </c:pt>
                <c:pt idx="95">
                  <c:v>0.31181573298905174</c:v>
                </c:pt>
                <c:pt idx="96">
                  <c:v>0.25658358511837653</c:v>
                </c:pt>
                <c:pt idx="97">
                  <c:v>0.2604030089327692</c:v>
                </c:pt>
                <c:pt idx="98">
                  <c:v>0.23443124682170216</c:v>
                </c:pt>
                <c:pt idx="99">
                  <c:v>0.2302155012567473</c:v>
                </c:pt>
                <c:pt idx="100">
                  <c:v>0.23814170671515783</c:v>
                </c:pt>
                <c:pt idx="101">
                  <c:v>0.2530413033286451</c:v>
                </c:pt>
                <c:pt idx="102">
                  <c:v>0.23909649513957015</c:v>
                </c:pt>
                <c:pt idx="103">
                  <c:v>0.23997094633805943</c:v>
                </c:pt>
                <c:pt idx="104">
                  <c:v>0.2534553692018784</c:v>
                </c:pt>
              </c:numCache>
            </c:numRef>
          </c:xVal>
          <c:yVal>
            <c:numRef>
              <c:f>Sheet1!$B$2:$B$106</c:f>
              <c:numCache>
                <c:formatCode>General</c:formatCode>
                <c:ptCount val="105"/>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5333301400745806</c:v>
                </c:pt>
                <c:pt idx="1">
                  <c:v>0.20953235178641538</c:v>
                </c:pt>
                <c:pt idx="2">
                  <c:v>0.21879223701481343</c:v>
                </c:pt>
                <c:pt idx="3">
                  <c:v>0.21806773748913366</c:v>
                </c:pt>
                <c:pt idx="4">
                  <c:v>0.2209382644146768</c:v>
                </c:pt>
                <c:pt idx="5">
                  <c:v>0.2308660040040682</c:v>
                </c:pt>
                <c:pt idx="6">
                  <c:v>0.18938416837399888</c:v>
                </c:pt>
                <c:pt idx="7">
                  <c:v>0.19736224965223373</c:v>
                </c:pt>
                <c:pt idx="8">
                  <c:v>0.30090679122493963</c:v>
                </c:pt>
                <c:pt idx="9">
                  <c:v>0.2790827105132038</c:v>
                </c:pt>
                <c:pt idx="10">
                  <c:v>0.2664736257641301</c:v>
                </c:pt>
                <c:pt idx="11">
                  <c:v>0.25246269678302535</c:v>
                </c:pt>
                <c:pt idx="12">
                  <c:v>0.25447291061993005</c:v>
                </c:pt>
                <c:pt idx="13">
                  <c:v>0.27844444128425333</c:v>
                </c:pt>
                <c:pt idx="14">
                  <c:v>0.28510783587664723</c:v>
                </c:pt>
                <c:pt idx="15">
                  <c:v>0.29515486903740323</c:v>
                </c:pt>
                <c:pt idx="16">
                  <c:v>0.3174112527788793</c:v>
                </c:pt>
                <c:pt idx="17">
                  <c:v>0.2575611474632323</c:v>
                </c:pt>
                <c:pt idx="18">
                  <c:v>0.2589401494298073</c:v>
                </c:pt>
                <c:pt idx="19">
                  <c:v>0.2812769396551724</c:v>
                </c:pt>
                <c:pt idx="20">
                  <c:v>0.2826393697685869</c:v>
                </c:pt>
                <c:pt idx="21">
                  <c:v>0.33914811979283943</c:v>
                </c:pt>
                <c:pt idx="22">
                  <c:v>0.3534182503237961</c:v>
                </c:pt>
                <c:pt idx="23">
                  <c:v>0.3091880341880342</c:v>
                </c:pt>
                <c:pt idx="24">
                  <c:v>0.20205490679402247</c:v>
                </c:pt>
                <c:pt idx="25">
                  <c:v>0.21908835904628332</c:v>
                </c:pt>
                <c:pt idx="26">
                  <c:v>0.31112016702833717</c:v>
                </c:pt>
                <c:pt idx="27">
                  <c:v>0.23515750887630746</c:v>
                </c:pt>
                <c:pt idx="28">
                  <c:v>0.2653744928787225</c:v>
                </c:pt>
                <c:pt idx="29">
                  <c:v>0.338370287749669</c:v>
                </c:pt>
                <c:pt idx="30">
                  <c:v>0.2408640347700109</c:v>
                </c:pt>
                <c:pt idx="31">
                  <c:v>0.16279608808290158</c:v>
                </c:pt>
                <c:pt idx="32">
                  <c:v>0.24939453621346888</c:v>
                </c:pt>
                <c:pt idx="33">
                  <c:v>0.2386987531427985</c:v>
                </c:pt>
                <c:pt idx="34">
                  <c:v>0.2564913949849888</c:v>
                </c:pt>
                <c:pt idx="35">
                  <c:v>0.25201713514142843</c:v>
                </c:pt>
                <c:pt idx="36">
                  <c:v>0.22347563464207004</c:v>
                </c:pt>
                <c:pt idx="37">
                  <c:v>0.20638954408169136</c:v>
                </c:pt>
                <c:pt idx="38">
                  <c:v>0.24123164380838802</c:v>
                </c:pt>
                <c:pt idx="39">
                  <c:v>0.24251816686251468</c:v>
                </c:pt>
                <c:pt idx="40">
                  <c:v>0.21411821846029827</c:v>
                </c:pt>
                <c:pt idx="41">
                  <c:v>0.20691062945368172</c:v>
                </c:pt>
                <c:pt idx="42">
                  <c:v>0.2835547782350252</c:v>
                </c:pt>
                <c:pt idx="43">
                  <c:v>0.21523035294117646</c:v>
                </c:pt>
                <c:pt idx="44">
                  <c:v>0.28862018307153353</c:v>
                </c:pt>
                <c:pt idx="45">
                  <c:v>0.20173625417594654</c:v>
                </c:pt>
                <c:pt idx="46">
                  <c:v>0.26062057793345006</c:v>
                </c:pt>
                <c:pt idx="47">
                  <c:v>0.28767384838735777</c:v>
                </c:pt>
                <c:pt idx="48">
                  <c:v>0.2903305529865416</c:v>
                </c:pt>
                <c:pt idx="49">
                  <c:v>0.30390072532324186</c:v>
                </c:pt>
                <c:pt idx="50">
                  <c:v>0.34275106743873196</c:v>
                </c:pt>
                <c:pt idx="51">
                  <c:v>0.35317161820449144</c:v>
                </c:pt>
              </c:numCache>
            </c:numRef>
          </c:xVal>
          <c:yVal>
            <c:numRef>
              <c:f>Sheet1!$B$109:$B$160</c:f>
              <c:numCache>
                <c:formatCode>General</c:formatCode>
                <c:ptCount val="52"/>
                <c:pt idx="0">
                  <c:v>0.11725067385444744</c:v>
                </c:pt>
                <c:pt idx="1">
                  <c:v>0.1459170013386881</c:v>
                </c:pt>
                <c:pt idx="2">
                  <c:v>0.1440329218106996</c:v>
                </c:pt>
                <c:pt idx="3">
                  <c:v>0.16807909604519775</c:v>
                </c:pt>
                <c:pt idx="4">
                  <c:v>0.16666666666666666</c:v>
                </c:pt>
                <c:pt idx="5">
                  <c:v>0.16530278232405893</c:v>
                </c:pt>
                <c:pt idx="6">
                  <c:v>0.2191780821917808</c:v>
                </c:pt>
                <c:pt idx="7">
                  <c:v>0.16993464052287582</c:v>
                </c:pt>
                <c:pt idx="8">
                  <c:v>0.2081447963800905</c:v>
                </c:pt>
                <c:pt idx="9">
                  <c:v>0.20437956204379562</c:v>
                </c:pt>
                <c:pt idx="10">
                  <c:v>0.21784232365145229</c:v>
                </c:pt>
                <c:pt idx="11">
                  <c:v>0.18594436310395315</c:v>
                </c:pt>
                <c:pt idx="12">
                  <c:v>0.20232896652110627</c:v>
                </c:pt>
                <c:pt idx="13">
                  <c:v>0.1767515923566879</c:v>
                </c:pt>
                <c:pt idx="14">
                  <c:v>0.18232044198895028</c:v>
                </c:pt>
                <c:pt idx="15">
                  <c:v>0.17677642980935876</c:v>
                </c:pt>
                <c:pt idx="16">
                  <c:v>0.19831223628691982</c:v>
                </c:pt>
                <c:pt idx="17">
                  <c:v>0.1694915254237288</c:v>
                </c:pt>
                <c:pt idx="18">
                  <c:v>0.1853932584269663</c:v>
                </c:pt>
                <c:pt idx="19">
                  <c:v>0.2222222222222222</c:v>
                </c:pt>
                <c:pt idx="20">
                  <c:v>0.18498659517426275</c:v>
                </c:pt>
                <c:pt idx="21">
                  <c:v>0.19029850746268656</c:v>
                </c:pt>
                <c:pt idx="22">
                  <c:v>0.17338709677419356</c:v>
                </c:pt>
                <c:pt idx="23">
                  <c:v>0.1691542288557214</c:v>
                </c:pt>
                <c:pt idx="24">
                  <c:v>0.1875</c:v>
                </c:pt>
                <c:pt idx="25">
                  <c:v>0.22321428571428573</c:v>
                </c:pt>
                <c:pt idx="26">
                  <c:v>0.22440944881889763</c:v>
                </c:pt>
                <c:pt idx="27">
                  <c:v>0.21611721611721613</c:v>
                </c:pt>
                <c:pt idx="28">
                  <c:v>0.19784172661870503</c:v>
                </c:pt>
                <c:pt idx="29">
                  <c:v>0.15450643776824036</c:v>
                </c:pt>
                <c:pt idx="30">
                  <c:v>0.1703056768558952</c:v>
                </c:pt>
                <c:pt idx="31">
                  <c:v>0.13333333333333333</c:v>
                </c:pt>
                <c:pt idx="32">
                  <c:v>0.17567567567567569</c:v>
                </c:pt>
                <c:pt idx="33">
                  <c:v>0.18181818181818182</c:v>
                </c:pt>
                <c:pt idx="34">
                  <c:v>0.2230971128608924</c:v>
                </c:pt>
                <c:pt idx="35">
                  <c:v>0.21578947368421053</c:v>
                </c:pt>
                <c:pt idx="36">
                  <c:v>0.21008403361344538</c:v>
                </c:pt>
                <c:pt idx="37">
                  <c:v>0.29559748427672955</c:v>
                </c:pt>
                <c:pt idx="38">
                  <c:v>0.25287356321839083</c:v>
                </c:pt>
                <c:pt idx="39">
                  <c:v>0.30618892508143325</c:v>
                </c:pt>
                <c:pt idx="40">
                  <c:v>0.2214765100671141</c:v>
                </c:pt>
                <c:pt idx="41">
                  <c:v>0.2376237623762376</c:v>
                </c:pt>
                <c:pt idx="42">
                  <c:v>0.21069182389937108</c:v>
                </c:pt>
                <c:pt idx="43">
                  <c:v>0.1483375959079284</c:v>
                </c:pt>
                <c:pt idx="44">
                  <c:v>0.1615798922800718</c:v>
                </c:pt>
                <c:pt idx="45">
                  <c:v>0.19089900110987792</c:v>
                </c:pt>
                <c:pt idx="46">
                  <c:v>0.18157543391188252</c:v>
                </c:pt>
                <c:pt idx="47">
                  <c:v>0.1734820322180917</c:v>
                </c:pt>
                <c:pt idx="48">
                  <c:v>0.1545275590551181</c:v>
                </c:pt>
                <c:pt idx="49">
                  <c:v>0.1562867215041128</c:v>
                </c:pt>
                <c:pt idx="50">
                  <c:v>0.15683453237410072</c:v>
                </c:pt>
                <c:pt idx="51">
                  <c:v>0.15776397515527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328271223297022</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328271223297022</c:v>
                </c:pt>
                <c:pt idx="1">
                  <c:v>-0.5328271223297022</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444301833243165</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444301833243165</c:v>
                </c:pt>
                <c:pt idx="1">
                  <c:v>0.0444301833243165</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473929142162306</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473929142162306</c:v>
                </c:pt>
                <c:pt idx="1">
                  <c:v>0.26473929142162306</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5333301400745806</c:v>
                </c:pt>
                <c:pt idx="1">
                  <c:v>0.20953235178641538</c:v>
                </c:pt>
                <c:pt idx="2">
                  <c:v>0.21879223701481343</c:v>
                </c:pt>
                <c:pt idx="3">
                  <c:v>0.21806773748913366</c:v>
                </c:pt>
                <c:pt idx="4">
                  <c:v>0.2209382644146768</c:v>
                </c:pt>
                <c:pt idx="5">
                  <c:v>0.2308660040040682</c:v>
                </c:pt>
                <c:pt idx="6">
                  <c:v>0.18938416837399888</c:v>
                </c:pt>
                <c:pt idx="7">
                  <c:v>0.19736224965223373</c:v>
                </c:pt>
                <c:pt idx="8">
                  <c:v>0.30090679122493963</c:v>
                </c:pt>
                <c:pt idx="9">
                  <c:v>0.2790827105132038</c:v>
                </c:pt>
                <c:pt idx="10">
                  <c:v>0.2664736257641301</c:v>
                </c:pt>
                <c:pt idx="11">
                  <c:v>0.25246269678302535</c:v>
                </c:pt>
                <c:pt idx="12">
                  <c:v>0.25447291061993005</c:v>
                </c:pt>
                <c:pt idx="13">
                  <c:v>0.27844444128425333</c:v>
                </c:pt>
                <c:pt idx="14">
                  <c:v>0.28510783587664723</c:v>
                </c:pt>
                <c:pt idx="15">
                  <c:v>0.29515486903740323</c:v>
                </c:pt>
                <c:pt idx="16">
                  <c:v>0.3174112527788793</c:v>
                </c:pt>
                <c:pt idx="17">
                  <c:v>0.2575611474632323</c:v>
                </c:pt>
                <c:pt idx="18">
                  <c:v>0.2589401494298073</c:v>
                </c:pt>
                <c:pt idx="19">
                  <c:v>0.2812769396551724</c:v>
                </c:pt>
                <c:pt idx="20">
                  <c:v>0.2826393697685869</c:v>
                </c:pt>
                <c:pt idx="21">
                  <c:v>0.33914811979283943</c:v>
                </c:pt>
                <c:pt idx="22">
                  <c:v>0.3534182503237961</c:v>
                </c:pt>
                <c:pt idx="23">
                  <c:v>0.3091880341880342</c:v>
                </c:pt>
                <c:pt idx="24">
                  <c:v>0.20205490679402247</c:v>
                </c:pt>
                <c:pt idx="25">
                  <c:v>0.21908835904628332</c:v>
                </c:pt>
                <c:pt idx="26">
                  <c:v>0.31112016702833717</c:v>
                </c:pt>
                <c:pt idx="27">
                  <c:v>0.23515750887630746</c:v>
                </c:pt>
                <c:pt idx="28">
                  <c:v>0.2653744928787225</c:v>
                </c:pt>
                <c:pt idx="29">
                  <c:v>0.338370287749669</c:v>
                </c:pt>
                <c:pt idx="30">
                  <c:v>0.2408640347700109</c:v>
                </c:pt>
                <c:pt idx="31">
                  <c:v>0.16279608808290158</c:v>
                </c:pt>
                <c:pt idx="32">
                  <c:v>0.24939453621346888</c:v>
                </c:pt>
                <c:pt idx="33">
                  <c:v>0.2386987531427985</c:v>
                </c:pt>
                <c:pt idx="34">
                  <c:v>0.2564913949849888</c:v>
                </c:pt>
                <c:pt idx="35">
                  <c:v>0.25201713514142843</c:v>
                </c:pt>
                <c:pt idx="36">
                  <c:v>0.22347563464207004</c:v>
                </c:pt>
                <c:pt idx="37">
                  <c:v>0.20638954408169136</c:v>
                </c:pt>
                <c:pt idx="38">
                  <c:v>0.24123164380838802</c:v>
                </c:pt>
                <c:pt idx="39">
                  <c:v>0.24251816686251468</c:v>
                </c:pt>
                <c:pt idx="40">
                  <c:v>0.21411821846029827</c:v>
                </c:pt>
                <c:pt idx="41">
                  <c:v>0.20691062945368172</c:v>
                </c:pt>
                <c:pt idx="42">
                  <c:v>0.2835547782350252</c:v>
                </c:pt>
                <c:pt idx="43">
                  <c:v>0.21523035294117646</c:v>
                </c:pt>
                <c:pt idx="44">
                  <c:v>0.28862018307153353</c:v>
                </c:pt>
                <c:pt idx="45">
                  <c:v>0.20173625417594654</c:v>
                </c:pt>
                <c:pt idx="46">
                  <c:v>0.26062057793345006</c:v>
                </c:pt>
                <c:pt idx="47">
                  <c:v>0.28767384838735777</c:v>
                </c:pt>
                <c:pt idx="48">
                  <c:v>0.2903305529865416</c:v>
                </c:pt>
                <c:pt idx="49">
                  <c:v>0.30390072532324186</c:v>
                </c:pt>
                <c:pt idx="50">
                  <c:v>0.34275106743873196</c:v>
                </c:pt>
                <c:pt idx="51">
                  <c:v>0.35317161820449144</c:v>
                </c:pt>
                <c:pt idx="52">
                  <c:v>0.0444301833243165</c:v>
                </c:pt>
                <c:pt idx="53">
                  <c:v>-0.5328271223297022</c:v>
                </c:pt>
                <c:pt idx="54">
                  <c:v>0.26473929142162306</c:v>
                </c:pt>
              </c:numCache>
            </c:numRef>
          </c:xVal>
          <c:yVal>
            <c:numRef>
              <c:f>Sheet1!$B$187:$B$241</c:f>
              <c:numCache>
                <c:formatCode>General</c:formatCode>
                <c:ptCount val="55"/>
                <c:pt idx="0">
                  <c:v>0.19041025755192945</c:v>
                </c:pt>
                <c:pt idx="1">
                  <c:v>0.19574662076227228</c:v>
                </c:pt>
                <c:pt idx="2">
                  <c:v>0.19461846177199382</c:v>
                </c:pt>
                <c:pt idx="3">
                  <c:v>0.1947067296752332</c:v>
                </c:pt>
                <c:pt idx="4">
                  <c:v>0.19435700495640446</c:v>
                </c:pt>
                <c:pt idx="5">
                  <c:v>0.19314747930952414</c:v>
                </c:pt>
                <c:pt idx="6">
                  <c:v>0.19820133307174978</c:v>
                </c:pt>
                <c:pt idx="7">
                  <c:v>0.19722934001814146</c:v>
                </c:pt>
                <c:pt idx="8">
                  <c:v>0.1846142046694584</c:v>
                </c:pt>
                <c:pt idx="9">
                  <c:v>0.1872730964647909</c:v>
                </c:pt>
                <c:pt idx="10">
                  <c:v>0.18880929826081594</c:v>
                </c:pt>
                <c:pt idx="11">
                  <c:v>0.19051629085330632</c:v>
                </c:pt>
                <c:pt idx="12">
                  <c:v>0.19027138060263377</c:v>
                </c:pt>
                <c:pt idx="13">
                  <c:v>0.1873508586779391</c:v>
                </c:pt>
                <c:pt idx="14">
                  <c:v>0.18653903776118216</c:v>
                </c:pt>
                <c:pt idx="15">
                  <c:v>0.18531497822843848</c:v>
                </c:pt>
                <c:pt idx="16">
                  <c:v>0.18260341768641025</c:v>
                </c:pt>
                <c:pt idx="17">
                  <c:v>0.18989513164566008</c:v>
                </c:pt>
                <c:pt idx="18">
                  <c:v>0.1897271237894253</c:v>
                </c:pt>
                <c:pt idx="19">
                  <c:v>0.18700576708951405</c:v>
                </c:pt>
                <c:pt idx="20">
                  <c:v>0.18683977823077952</c:v>
                </c:pt>
                <c:pt idx="21">
                  <c:v>0.17995515139180424</c:v>
                </c:pt>
                <c:pt idx="22">
                  <c:v>0.17821657951387487</c:v>
                </c:pt>
                <c:pt idx="23">
                  <c:v>0.18360527653816322</c:v>
                </c:pt>
                <c:pt idx="24">
                  <c:v>0.19665761982807176</c:v>
                </c:pt>
                <c:pt idx="25">
                  <c:v>0.1945823843559371</c:v>
                </c:pt>
                <c:pt idx="26">
                  <c:v>0.18336987912443337</c:v>
                </c:pt>
                <c:pt idx="27">
                  <c:v>0.192624632677625</c:v>
                </c:pt>
                <c:pt idx="28">
                  <c:v>0.18894320884562324</c:v>
                </c:pt>
                <c:pt idx="29">
                  <c:v>0.18004991695215244</c:v>
                </c:pt>
                <c:pt idx="30">
                  <c:v>0.1919293898823369</c:v>
                </c:pt>
                <c:pt idx="31">
                  <c:v>0.20144063691567407</c:v>
                </c:pt>
                <c:pt idx="32">
                  <c:v>0.19089009385893624</c:v>
                </c:pt>
                <c:pt idx="33">
                  <c:v>0.19219319249694522</c:v>
                </c:pt>
                <c:pt idx="34">
                  <c:v>0.1900254627292465</c:v>
                </c:pt>
                <c:pt idx="35">
                  <c:v>0.19057057493559162</c:v>
                </c:pt>
                <c:pt idx="36">
                  <c:v>0.19404786969575136</c:v>
                </c:pt>
                <c:pt idx="37">
                  <c:v>0.1961295182474298</c:v>
                </c:pt>
                <c:pt idx="38">
                  <c:v>0.19188460299445184</c:v>
                </c:pt>
                <c:pt idx="39">
                  <c:v>0.1917278621154977</c:v>
                </c:pt>
                <c:pt idx="40">
                  <c:v>0.19518791116828152</c:v>
                </c:pt>
                <c:pt idx="41">
                  <c:v>0.19606603288744817</c:v>
                </c:pt>
                <c:pt idx="42">
                  <c:v>0.18672825133106996</c:v>
                </c:pt>
                <c:pt idx="43">
                  <c:v>0.19505241656094519</c:v>
                </c:pt>
                <c:pt idx="44">
                  <c:v>0.18611111819553372</c:v>
                </c:pt>
                <c:pt idx="45">
                  <c:v>0.19669644221161012</c:v>
                </c:pt>
                <c:pt idx="46">
                  <c:v>0.18952239225365086</c:v>
                </c:pt>
                <c:pt idx="47">
                  <c:v>0.18622641292710243</c:v>
                </c:pt>
                <c:pt idx="48">
                  <c:v>0.18590273880975033</c:v>
                </c:pt>
                <c:pt idx="49">
                  <c:v>0.18424944489263717</c:v>
                </c:pt>
                <c:pt idx="50">
                  <c:v>0.17951619370734495</c:v>
                </c:pt>
                <c:pt idx="51">
                  <c:v>0.17824662742870556</c:v>
                </c:pt>
                <c:pt idx="52">
                  <c:v>0.2158615024342142</c:v>
                </c:pt>
                <c:pt idx="53">
                  <c:v>0.28619045392924036</c:v>
                </c:pt>
                <c:pt idx="54">
                  <c:v>0.18902059730312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34223134839151266</c:v>
                </c:pt>
                <c:pt idx="5">
                  <c:v>0.0002841716396703609</c:v>
                </c:pt>
                <c:pt idx="6">
                  <c:v>0.0</c:v>
                </c:pt>
                <c:pt idx="7">
                  <c:v>0.00025290844714213456</c:v>
                </c:pt>
                <c:pt idx="8">
                  <c:v>0.00023674242424242425</c:v>
                </c:pt>
                <c:pt idx="9">
                  <c:v>0.00021381227282446012</c:v>
                </c:pt>
                <c:pt idx="10">
                  <c:v>0.00020999580008399833</c:v>
                </c:pt>
                <c:pt idx="11">
                  <c:v>0.00023084025854108956</c:v>
                </c:pt>
                <c:pt idx="12">
                  <c:v>0.0002358490566037736</c:v>
                </c:pt>
                <c:pt idx="13">
                  <c:v>0.0005837711617046118</c:v>
                </c:pt>
                <c:pt idx="14">
                  <c:v>0.0003769317753486619</c:v>
                </c:pt>
                <c:pt idx="15">
                  <c:v>0.0007751937984496124</c:v>
                </c:pt>
                <c:pt idx="16">
                  <c:v>0.00041322314049586776</c:v>
                </c:pt>
                <c:pt idx="17">
                  <c:v>0.00048638132295719845</c:v>
                </c:pt>
                <c:pt idx="18">
                  <c:v>0.00045599635202918376</c:v>
                </c:pt>
                <c:pt idx="19">
                  <c:v>0.0016181229773462784</c:v>
                </c:pt>
                <c:pt idx="20">
                  <c:v>0.001017293997965412</c:v>
                </c:pt>
                <c:pt idx="21">
                  <c:v>0.0006045949214026602</c:v>
                </c:pt>
                <c:pt idx="22">
                  <c:v>0.002927400468384075</c:v>
                </c:pt>
                <c:pt idx="23">
                  <c:v>0.000723589001447178</c:v>
                </c:pt>
                <c:pt idx="24">
                  <c:v>0.0044609665427509295</c:v>
                </c:pt>
                <c:pt idx="25">
                  <c:v>0.000649772579597141</c:v>
                </c:pt>
                <c:pt idx="26">
                  <c:v>0.002126151665485471</c:v>
                </c:pt>
                <c:pt idx="27">
                  <c:v>0.0035335689045936395</c:v>
                </c:pt>
                <c:pt idx="28">
                  <c:v>0.0015151515151515152</c:v>
                </c:pt>
                <c:pt idx="29">
                  <c:v>0.002572898799313894</c:v>
                </c:pt>
                <c:pt idx="30">
                  <c:v>0.004280821917808219</c:v>
                </c:pt>
                <c:pt idx="31">
                  <c:v>0.0038669760247486465</c:v>
                </c:pt>
                <c:pt idx="32">
                  <c:v>0.0019342359767891683</c:v>
                </c:pt>
                <c:pt idx="33">
                  <c:v>0.001735106998264893</c:v>
                </c:pt>
                <c:pt idx="34">
                  <c:v>0.004882017900732303</c:v>
                </c:pt>
                <c:pt idx="35">
                  <c:v>0.0035335689045936395</c:v>
                </c:pt>
                <c:pt idx="36">
                  <c:v>0.0026431718061674008</c:v>
                </c:pt>
                <c:pt idx="37">
                  <c:v>0.007352941176470588</c:v>
                </c:pt>
                <c:pt idx="38">
                  <c:v>0.003604902667627974</c:v>
                </c:pt>
                <c:pt idx="39">
                  <c:v>0.0031520882584712374</c:v>
                </c:pt>
                <c:pt idx="40">
                  <c:v>0.00390625</c:v>
                </c:pt>
                <c:pt idx="41">
                  <c:v>0.0026652452025586353</c:v>
                </c:pt>
                <c:pt idx="42">
                  <c:v>0.0024330900243309003</c:v>
                </c:pt>
                <c:pt idx="43">
                  <c:v>0.004407227853680035</c:v>
                </c:pt>
                <c:pt idx="44">
                  <c:v>0.004929577464788733</c:v>
                </c:pt>
                <c:pt idx="45">
                  <c:v>0.0034791252485089465</c:v>
                </c:pt>
                <c:pt idx="46">
                  <c:v>0.0026258881680568426</c:v>
                </c:pt>
                <c:pt idx="47">
                  <c:v>0.0043997485857950975</c:v>
                </c:pt>
                <c:pt idx="48">
                  <c:v>0.0031859816806053365</c:v>
                </c:pt>
                <c:pt idx="49">
                  <c:v>0.002996005326231691</c:v>
                </c:pt>
                <c:pt idx="50">
                  <c:v>0.0026061057334326137</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18228217280349982</c:v>
                </c:pt>
                <c:pt idx="1">
                  <c:v>0.0034482758620689655</c:v>
                </c:pt>
                <c:pt idx="2">
                  <c:v>0.0028011204481792717</c:v>
                </c:pt>
                <c:pt idx="3">
                  <c:v>0.0027845457709711106</c:v>
                </c:pt>
                <c:pt idx="4">
                  <c:v>0.0018999366687777073</c:v>
                </c:pt>
                <c:pt idx="5">
                  <c:v>0.0019474196689386564</c:v>
                </c:pt>
                <c:pt idx="6">
                  <c:v>0.0022701475595913734</c:v>
                </c:pt>
                <c:pt idx="7">
                  <c:v>0.002482073910645339</c:v>
                </c:pt>
                <c:pt idx="8">
                  <c:v>0.003195739014647137</c:v>
                </c:pt>
                <c:pt idx="9">
                  <c:v>0.002796550920531345</c:v>
                </c:pt>
                <c:pt idx="10">
                  <c:v>0.002509410288582183</c:v>
                </c:pt>
                <c:pt idx="11">
                  <c:v>0.002725938351855735</c:v>
                </c:pt>
                <c:pt idx="12">
                  <c:v>0.0027039206849932404</c:v>
                </c:pt>
                <c:pt idx="13">
                  <c:v>0.003934942287513116</c:v>
                </c:pt>
                <c:pt idx="14">
                  <c:v>0.004476275738585497</c:v>
                </c:pt>
                <c:pt idx="15">
                  <c:v>0.004731328151402501</c:v>
                </c:pt>
                <c:pt idx="16">
                  <c:v>0.0028157683024939663</c:v>
                </c:pt>
                <c:pt idx="17">
                  <c:v>0.0035072336694432268</c:v>
                </c:pt>
                <c:pt idx="18">
                  <c:v>0.0027149321266968325</c:v>
                </c:pt>
                <c:pt idx="19">
                  <c:v>0.002802690582959641</c:v>
                </c:pt>
                <c:pt idx="20">
                  <c:v>0.003543586109142452</c:v>
                </c:pt>
                <c:pt idx="21">
                  <c:v>0.003973509933774834</c:v>
                </c:pt>
                <c:pt idx="22">
                  <c:v>0.0030248033877797943</c:v>
                </c:pt>
                <c:pt idx="23">
                  <c:v>0.0030175015087507543</c:v>
                </c:pt>
                <c:pt idx="24">
                  <c:v>0.003105590062111801</c:v>
                </c:pt>
                <c:pt idx="25">
                  <c:v>0.003201024327784891</c:v>
                </c:pt>
                <c:pt idx="26">
                  <c:v>0.003465003465003465</c:v>
                </c:pt>
                <c:pt idx="27">
                  <c:v>0.003943217665615142</c:v>
                </c:pt>
                <c:pt idx="28">
                  <c:v>0.0038580246913580245</c:v>
                </c:pt>
                <c:pt idx="29">
                  <c:v>0.0050933786078098476</c:v>
                </c:pt>
                <c:pt idx="30">
                  <c:v>0.0035056967572304996</c:v>
                </c:pt>
                <c:pt idx="31">
                  <c:v>0.0041753653444676405</c:v>
                </c:pt>
                <c:pt idx="32">
                  <c:v>0.004642525533890436</c:v>
                </c:pt>
                <c:pt idx="33">
                  <c:v>0.004029550033579583</c:v>
                </c:pt>
                <c:pt idx="34">
                  <c:v>0.0033802816901408453</c:v>
                </c:pt>
                <c:pt idx="35">
                  <c:v>0.0032959789057350032</c:v>
                </c:pt>
                <c:pt idx="36">
                  <c:v>0.005434782608695652</c:v>
                </c:pt>
                <c:pt idx="37">
                  <c:v>0.005763688760806916</c:v>
                </c:pt>
                <c:pt idx="38">
                  <c:v>0.00546448087431694</c:v>
                </c:pt>
                <c:pt idx="39">
                  <c:v>0.004720692368214005</c:v>
                </c:pt>
                <c:pt idx="40">
                  <c:v>0.003417634996582365</c:v>
                </c:pt>
                <c:pt idx="41">
                  <c:v>0.00425531914893617</c:v>
                </c:pt>
                <c:pt idx="42">
                  <c:v>0.003787878787878788</c:v>
                </c:pt>
                <c:pt idx="43">
                  <c:v>0.0038674033149171273</c:v>
                </c:pt>
                <c:pt idx="44">
                  <c:v>0.0022346368715083797</c:v>
                </c:pt>
                <c:pt idx="45">
                  <c:v>0.002216312056737589</c:v>
                </c:pt>
                <c:pt idx="46">
                  <c:v>0.002306805074971165</c:v>
                </c:pt>
                <c:pt idx="47">
                  <c:v>0.0021451555237754737</c:v>
                </c:pt>
                <c:pt idx="48">
                  <c:v>0.0020942408376963353</c:v>
                </c:pt>
                <c:pt idx="49">
                  <c:v>0.001737403822288409</c:v>
                </c:pt>
                <c:pt idx="50">
                  <c:v>0.0014671361502347417</c:v>
                </c:pt>
                <c:pt idx="51">
                  <c:v>0.001969796454366382</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491.3539367717603</c:v>
                </c:pt>
              </c:numCache>
            </c:numRef>
          </c:xVal>
          <c:yVal>
            <c:numRef>
              <c:f>Sheet1!$B$109:$B$110</c:f>
              <c:numCache>
                <c:formatCode>General</c:formatCode>
                <c:ptCount val="2"/>
                <c:pt idx="0">
                  <c:v>0.0038165457443067106</c:v>
                </c:pt>
                <c:pt idx="1">
                  <c:v>0.0038165457443067106</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491.3539367717603</c:v>
                </c:pt>
                <c:pt idx="1">
                  <c:v>3491.3539367717603</c:v>
                </c:pt>
              </c:numCache>
            </c:numRef>
          </c:xVal>
          <c:yVal>
            <c:numRef>
              <c:f>Sheet1!$B$113:$B$114</c:f>
              <c:numCache>
                <c:formatCode>General</c:formatCode>
                <c:ptCount val="2"/>
                <c:pt idx="0">
                  <c:v>0.00381654574430671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556.841749683943</c:v>
                </c:pt>
              </c:numCache>
            </c:numRef>
          </c:xVal>
          <c:yVal>
            <c:numRef>
              <c:f>Sheet1!$B$117:$B$118</c:f>
              <c:numCache>
                <c:formatCode>General</c:formatCode>
                <c:ptCount val="2"/>
                <c:pt idx="0">
                  <c:v>0.003762366868698121</c:v>
                </c:pt>
                <c:pt idx="1">
                  <c:v>0.003762366868698121</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556.841749683943</c:v>
                </c:pt>
                <c:pt idx="1">
                  <c:v>3556.841749683943</c:v>
                </c:pt>
              </c:numCache>
            </c:numRef>
          </c:xVal>
          <c:yVal>
            <c:numRef>
              <c:f>Sheet1!$B$121:$B$122</c:f>
              <c:numCache>
                <c:formatCode>General</c:formatCode>
                <c:ptCount val="2"/>
                <c:pt idx="0">
                  <c:v>0.00376236686869812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736.784346062649</c:v>
                </c:pt>
              </c:numCache>
            </c:numRef>
          </c:xVal>
          <c:yVal>
            <c:numRef>
              <c:f>Sheet1!$B$125:$B$126</c:f>
              <c:numCache>
                <c:formatCode>General</c:formatCode>
                <c:ptCount val="2"/>
                <c:pt idx="0">
                  <c:v>0.00278618580062361</c:v>
                </c:pt>
                <c:pt idx="1">
                  <c:v>0.00278618580062361</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736.784346062649</c:v>
                </c:pt>
                <c:pt idx="1">
                  <c:v>4736.784346062649</c:v>
                </c:pt>
              </c:numCache>
            </c:numRef>
          </c:xVal>
          <c:yVal>
            <c:numRef>
              <c:f>Sheet1!$B$129:$B$130</c:f>
              <c:numCache>
                <c:formatCode>General</c:formatCode>
                <c:ptCount val="2"/>
                <c:pt idx="0">
                  <c:v>0.0027861858006236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556.841749683943</c:v>
                </c:pt>
                <c:pt idx="53">
                  <c:v>3491.3539367717603</c:v>
                </c:pt>
                <c:pt idx="54">
                  <c:v>4736.784346062649</c:v>
                </c:pt>
              </c:numCache>
            </c:numRef>
          </c:xVal>
          <c:yVal>
            <c:numRef>
              <c:f>Sheet1!$B$133:$B$187</c:f>
              <c:numCache>
                <c:formatCode>General</c:formatCode>
                <c:ptCount val="55"/>
                <c:pt idx="0">
                  <c:v>0.0019540621004029467</c:v>
                </c:pt>
                <c:pt idx="1">
                  <c:v>0.004482721578584393</c:v>
                </c:pt>
                <c:pt idx="2">
                  <c:v>0.0036698872065338214</c:v>
                </c:pt>
                <c:pt idx="3">
                  <c:v>0.003898742482023378</c:v>
                </c:pt>
                <c:pt idx="4">
                  <c:v>0.0024345375567921407</c:v>
                </c:pt>
                <c:pt idx="5">
                  <c:v>0.002705482347475664</c:v>
                </c:pt>
                <c:pt idx="6">
                  <c:v>0.0032594368728609564</c:v>
                </c:pt>
                <c:pt idx="7">
                  <c:v>0.0033371812333466673</c:v>
                </c:pt>
                <c:pt idx="8">
                  <c:v>0.003321209555006085</c:v>
                </c:pt>
                <c:pt idx="9">
                  <c:v>0.0034519938195223007</c:v>
                </c:pt>
                <c:pt idx="10">
                  <c:v>0.003009878106113827</c:v>
                </c:pt>
                <c:pt idx="11">
                  <c:v>0.003391090890838075</c:v>
                </c:pt>
                <c:pt idx="12">
                  <c:v>0.00361338864054322</c:v>
                </c:pt>
                <c:pt idx="13">
                  <c:v>0.003682483036879338</c:v>
                </c:pt>
                <c:pt idx="14">
                  <c:v>0.003955661570875367</c:v>
                </c:pt>
                <c:pt idx="15">
                  <c:v>0.003910443077687982</c:v>
                </c:pt>
                <c:pt idx="16">
                  <c:v>0.0023488318869469595</c:v>
                </c:pt>
                <c:pt idx="17">
                  <c:v>0.00298642380133252</c:v>
                </c:pt>
                <c:pt idx="18">
                  <c:v>0.0026255087938953075</c:v>
                </c:pt>
                <c:pt idx="19">
                  <c:v>0.00297579283778967</c:v>
                </c:pt>
                <c:pt idx="20">
                  <c:v>0.003153664990452136</c:v>
                </c:pt>
                <c:pt idx="21">
                  <c:v>0.003668335995900137</c:v>
                </c:pt>
                <c:pt idx="22">
                  <c:v>0.0024992609311218538</c:v>
                </c:pt>
                <c:pt idx="23">
                  <c:v>0.0035789035321661254</c:v>
                </c:pt>
                <c:pt idx="24">
                  <c:v>0.003122558046544654</c:v>
                </c:pt>
                <c:pt idx="25">
                  <c:v>0.003522811755652101</c:v>
                </c:pt>
                <c:pt idx="26">
                  <c:v>0.0029873752105211795</c:v>
                </c:pt>
                <c:pt idx="27">
                  <c:v>0.003199994481378174</c:v>
                </c:pt>
                <c:pt idx="28">
                  <c:v>0.0036151398125689902</c:v>
                </c:pt>
                <c:pt idx="29">
                  <c:v>0.003763752657968351</c:v>
                </c:pt>
                <c:pt idx="30">
                  <c:v>0.003716320111502105</c:v>
                </c:pt>
                <c:pt idx="31">
                  <c:v>0.0033347222956157676</c:v>
                </c:pt>
                <c:pt idx="32">
                  <c:v>0.0037969830644536883</c:v>
                </c:pt>
                <c:pt idx="33">
                  <c:v>0.003222276732770286</c:v>
                </c:pt>
                <c:pt idx="34">
                  <c:v>0.0028476421566388985</c:v>
                </c:pt>
                <c:pt idx="35">
                  <c:v>0.003311847109471037</c:v>
                </c:pt>
                <c:pt idx="36">
                  <c:v>0.0035184545497617408</c:v>
                </c:pt>
                <c:pt idx="37">
                  <c:v>0.003531140060764693</c:v>
                </c:pt>
                <c:pt idx="38">
                  <c:v>0.003294528732106715</c:v>
                </c:pt>
                <c:pt idx="39">
                  <c:v>0.00329039217041689</c:v>
                </c:pt>
                <c:pt idx="40">
                  <c:v>0.003083839829127894</c:v>
                </c:pt>
                <c:pt idx="41">
                  <c:v>0.0043661739529735795</c:v>
                </c:pt>
                <c:pt idx="42">
                  <c:v>0.0035435497458341674</c:v>
                </c:pt>
                <c:pt idx="43">
                  <c:v>0.0035593080603227886</c:v>
                </c:pt>
                <c:pt idx="44">
                  <c:v>0.0019775164051842537</c:v>
                </c:pt>
                <c:pt idx="45">
                  <c:v>0.0028555016238495656</c:v>
                </c:pt>
                <c:pt idx="46">
                  <c:v>0.0033993215730947868</c:v>
                </c:pt>
                <c:pt idx="47">
                  <c:v>0.0027552589179890667</c:v>
                </c:pt>
                <c:pt idx="48">
                  <c:v>0.0032265512074268494</c:v>
                </c:pt>
                <c:pt idx="49">
                  <c:v>0.00346759453101054</c:v>
                </c:pt>
                <c:pt idx="50">
                  <c:v>0.003288682364008018</c:v>
                </c:pt>
                <c:pt idx="51">
                  <c:v>0.0029953174089656434</c:v>
                </c:pt>
                <c:pt idx="52">
                  <c:v>0.003762366868698121</c:v>
                </c:pt>
                <c:pt idx="53">
                  <c:v>0.0038165457443067106</c:v>
                </c:pt>
                <c:pt idx="54">
                  <c:v>0.0027861858006236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82352941176470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0.1532</c:v>
                </c:pt>
                <c:pt idx="1">
                  <c:v>668.5827</c:v>
                </c:pt>
                <c:pt idx="2">
                  <c:v>654.552</c:v>
                </c:pt>
                <c:pt idx="3">
                  <c:v>658.186</c:v>
                </c:pt>
                <c:pt idx="4">
                  <c:v>656.072</c:v>
                </c:pt>
                <c:pt idx="5">
                  <c:v>641.1222</c:v>
                </c:pt>
                <c:pt idx="6">
                  <c:v>641.2899</c:v>
                </c:pt>
                <c:pt idx="7">
                  <c:v>635.944</c:v>
                </c:pt>
                <c:pt idx="8">
                  <c:v>639.6316</c:v>
                </c:pt>
                <c:pt idx="9">
                  <c:v>629.3462</c:v>
                </c:pt>
                <c:pt idx="10">
                  <c:v>627.7989</c:v>
                </c:pt>
                <c:pt idx="11">
                  <c:v>639.3711</c:v>
                </c:pt>
                <c:pt idx="12">
                  <c:v>639.9286</c:v>
                </c:pt>
                <c:pt idx="13">
                  <c:v>657.8209</c:v>
                </c:pt>
                <c:pt idx="14">
                  <c:v>647.6488</c:v>
                </c:pt>
                <c:pt idx="15">
                  <c:v>669.0082</c:v>
                </c:pt>
                <c:pt idx="16">
                  <c:v>667.5275</c:v>
                </c:pt>
                <c:pt idx="17">
                  <c:v>666.9792</c:v>
                </c:pt>
                <c:pt idx="18">
                  <c:v>651.6957</c:v>
                </c:pt>
                <c:pt idx="19">
                  <c:v>569.7073</c:v>
                </c:pt>
                <c:pt idx="20">
                  <c:v>658.6471</c:v>
                </c:pt>
                <c:pt idx="21">
                  <c:v>634.9158</c:v>
                </c:pt>
                <c:pt idx="22">
                  <c:v>615.4167</c:v>
                </c:pt>
                <c:pt idx="23">
                  <c:v>590.7126</c:v>
                </c:pt>
                <c:pt idx="24">
                  <c:v>587.2625</c:v>
                </c:pt>
                <c:pt idx="25">
                  <c:v>585.0145</c:v>
                </c:pt>
                <c:pt idx="26">
                  <c:v>612.3939</c:v>
                </c:pt>
                <c:pt idx="27">
                  <c:v>589.6533</c:v>
                </c:pt>
                <c:pt idx="28">
                  <c:v>597.1176</c:v>
                </c:pt>
                <c:pt idx="29">
                  <c:v>590.8243</c:v>
                </c:pt>
                <c:pt idx="30">
                  <c:v>550.4179</c:v>
                </c:pt>
                <c:pt idx="31">
                  <c:v>554.6071</c:v>
                </c:pt>
                <c:pt idx="32">
                  <c:v>553.5733</c:v>
                </c:pt>
                <c:pt idx="33">
                  <c:v>557.3026</c:v>
                </c:pt>
                <c:pt idx="34">
                  <c:v>559.0097</c:v>
                </c:pt>
                <c:pt idx="35">
                  <c:v>544.913</c:v>
                </c:pt>
                <c:pt idx="36">
                  <c:v>551.7542</c:v>
                </c:pt>
                <c:pt idx="37">
                  <c:v>570.2949</c:v>
                </c:pt>
                <c:pt idx="38">
                  <c:v>604.8026</c:v>
                </c:pt>
                <c:pt idx="39">
                  <c:v>634.2344</c:v>
                </c:pt>
                <c:pt idx="40">
                  <c:v>561.1786</c:v>
                </c:pt>
                <c:pt idx="41">
                  <c:v>631.4405</c:v>
                </c:pt>
                <c:pt idx="42">
                  <c:v>639.4052</c:v>
                </c:pt>
                <c:pt idx="43">
                  <c:v>657.2222</c:v>
                </c:pt>
                <c:pt idx="44">
                  <c:v>629.137</c:v>
                </c:pt>
                <c:pt idx="45">
                  <c:v>656.4053</c:v>
                </c:pt>
                <c:pt idx="46">
                  <c:v>628.5953</c:v>
                </c:pt>
                <c:pt idx="47">
                  <c:v>595.6901</c:v>
                </c:pt>
                <c:pt idx="48">
                  <c:v>591.5651</c:v>
                </c:pt>
                <c:pt idx="49">
                  <c:v>571.9583</c:v>
                </c:pt>
                <c:pt idx="50">
                  <c:v>591.3616</c:v>
                </c:pt>
                <c:pt idx="51">
                  <c:v>585.5116</c:v>
                </c:pt>
                <c:pt idx="52">
                  <c:v>564.747</c:v>
                </c:pt>
                <c:pt idx="53">
                  <c:v>554.0989</c:v>
                </c:pt>
                <c:pt idx="54">
                  <c:v>550.4184</c:v>
                </c:pt>
                <c:pt idx="55">
                  <c:v>556.1527</c:v>
                </c:pt>
                <c:pt idx="56">
                  <c:v>549.1879</c:v>
                </c:pt>
                <c:pt idx="57">
                  <c:v>543.3409</c:v>
                </c:pt>
                <c:pt idx="58">
                  <c:v>567.7429</c:v>
                </c:pt>
                <c:pt idx="59">
                  <c:v>572.9588</c:v>
                </c:pt>
                <c:pt idx="60">
                  <c:v>556.291</c:v>
                </c:pt>
                <c:pt idx="61">
                  <c:v>505.1745</c:v>
                </c:pt>
                <c:pt idx="62">
                  <c:v>532.2857</c:v>
                </c:pt>
                <c:pt idx="63">
                  <c:v>521.9733</c:v>
                </c:pt>
                <c:pt idx="64">
                  <c:v>508.8889</c:v>
                </c:pt>
                <c:pt idx="65">
                  <c:v>510.2778</c:v>
                </c:pt>
                <c:pt idx="66">
                  <c:v>509.6968</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20294599018003273</c:v>
                </c:pt>
                <c:pt idx="1">
                  <c:v>0.2247787610619469</c:v>
                </c:pt>
                <c:pt idx="2">
                  <c:v>0.2399232245681382</c:v>
                </c:pt>
                <c:pt idx="3">
                  <c:v>0.258</c:v>
                </c:pt>
                <c:pt idx="4">
                  <c:v>0.2587991718426501</c:v>
                </c:pt>
                <c:pt idx="5">
                  <c:v>0.29900332225913623</c:v>
                </c:pt>
                <c:pt idx="6">
                  <c:v>0.3976470588235294</c:v>
                </c:pt>
                <c:pt idx="7">
                  <c:v>0.34916201117318435</c:v>
                </c:pt>
                <c:pt idx="8">
                  <c:v>0.34545454545454546</c:v>
                </c:pt>
                <c:pt idx="9">
                  <c:v>0.3159722222222222</c:v>
                </c:pt>
                <c:pt idx="10">
                  <c:v>0.31239092495637</c:v>
                </c:pt>
                <c:pt idx="11">
                  <c:v>0.2708688245315162</c:v>
                </c:pt>
                <c:pt idx="12">
                  <c:v>0.24962852897473997</c:v>
                </c:pt>
                <c:pt idx="13">
                  <c:v>0.2171799027552674</c:v>
                </c:pt>
                <c:pt idx="14">
                  <c:v>0.2503725782414307</c:v>
                </c:pt>
                <c:pt idx="15">
                  <c:v>0.1918238993710692</c:v>
                </c:pt>
                <c:pt idx="16">
                  <c:v>0.12944523470839261</c:v>
                </c:pt>
                <c:pt idx="17">
                  <c:v>0.1693121693121693</c:v>
                </c:pt>
                <c:pt idx="18">
                  <c:v>0.14375</c:v>
                </c:pt>
                <c:pt idx="19">
                  <c:v>0.20448877805486285</c:v>
                </c:pt>
                <c:pt idx="20">
                  <c:v>0.2078239608801956</c:v>
                </c:pt>
                <c:pt idx="21">
                  <c:v>0.23002421307506055</c:v>
                </c:pt>
                <c:pt idx="22">
                  <c:v>0.183206106870229</c:v>
                </c:pt>
                <c:pt idx="23">
                  <c:v>0.22250639386189258</c:v>
                </c:pt>
                <c:pt idx="24">
                  <c:v>0.24464831804281345</c:v>
                </c:pt>
                <c:pt idx="25">
                  <c:v>0.23793103448275862</c:v>
                </c:pt>
                <c:pt idx="26">
                  <c:v>0.2584856396866841</c:v>
                </c:pt>
                <c:pt idx="27">
                  <c:v>0.21929824561403508</c:v>
                </c:pt>
                <c:pt idx="28">
                  <c:v>0.19883040935672514</c:v>
                </c:pt>
                <c:pt idx="29">
                  <c:v>0.18974358974358974</c:v>
                </c:pt>
                <c:pt idx="30">
                  <c:v>0.1930835734870317</c:v>
                </c:pt>
                <c:pt idx="31">
                  <c:v>0.1728395061728395</c:v>
                </c:pt>
                <c:pt idx="32">
                  <c:v>0.21367521367521367</c:v>
                </c:pt>
                <c:pt idx="33">
                  <c:v>0.15384615384615385</c:v>
                </c:pt>
                <c:pt idx="34">
                  <c:v>0.19180633147113593</c:v>
                </c:pt>
                <c:pt idx="35">
                  <c:v>0.1885245901639344</c:v>
                </c:pt>
                <c:pt idx="36">
                  <c:v>0.1782477341389728</c:v>
                </c:pt>
                <c:pt idx="37">
                  <c:v>0.1638655462184874</c:v>
                </c:pt>
                <c:pt idx="38">
                  <c:v>0.14671814671814673</c:v>
                </c:pt>
                <c:pt idx="39">
                  <c:v>0.13278008298755187</c:v>
                </c:pt>
                <c:pt idx="40">
                  <c:v>0.10916179337231968</c:v>
                </c:pt>
                <c:pt idx="41">
                  <c:v>0.168</c:v>
                </c:pt>
                <c:pt idx="42">
                  <c:v>0.17956656346749225</c:v>
                </c:pt>
                <c:pt idx="43">
                  <c:v>0.12379642365887207</c:v>
                </c:pt>
                <c:pt idx="44">
                  <c:v>0.13165013525698827</c:v>
                </c:pt>
                <c:pt idx="45">
                  <c:v>0.18698517298187808</c:v>
                </c:pt>
                <c:pt idx="46">
                  <c:v>0.17296862429605792</c:v>
                </c:pt>
                <c:pt idx="47">
                  <c:v>0.20952380952380953</c:v>
                </c:pt>
                <c:pt idx="48">
                  <c:v>0.18948734587929916</c:v>
                </c:pt>
                <c:pt idx="49">
                  <c:v>0.22093023255813954</c:v>
                </c:pt>
                <c:pt idx="50">
                  <c:v>0.1837571780147662</c:v>
                </c:pt>
                <c:pt idx="51">
                  <c:v>0.19282511210762332</c:v>
                </c:pt>
                <c:pt idx="52">
                  <c:v>0.19347319347319347</c:v>
                </c:pt>
                <c:pt idx="53">
                  <c:v>0.24728260869565216</c:v>
                </c:pt>
                <c:pt idx="54">
                  <c:v>0.24955752212389382</c:v>
                </c:pt>
                <c:pt idx="55">
                  <c:v>0.21652892561983472</c:v>
                </c:pt>
                <c:pt idx="56">
                  <c:v>0.2365079365079365</c:v>
                </c:pt>
                <c:pt idx="57">
                  <c:v>0.22602739726027396</c:v>
                </c:pt>
                <c:pt idx="58">
                  <c:v>0.2564102564102564</c:v>
                </c:pt>
                <c:pt idx="59">
                  <c:v>0.22716627634660422</c:v>
                </c:pt>
                <c:pt idx="60">
                  <c:v>0.2027231467473525</c:v>
                </c:pt>
                <c:pt idx="61">
                  <c:v>0.22238805970149253</c:v>
                </c:pt>
                <c:pt idx="62">
                  <c:v>0.1769352290679305</c:v>
                </c:pt>
                <c:pt idx="63">
                  <c:v>0.2148997134670487</c:v>
                </c:pt>
                <c:pt idx="64">
                  <c:v>0.21739130434782608</c:v>
                </c:pt>
                <c:pt idx="65">
                  <c:v>0.1724550898203593</c:v>
                </c:pt>
                <c:pt idx="66">
                  <c:v>0.1739618406285073</c:v>
                </c:pt>
                <c:pt idx="67">
                  <c:v>0.18223234624145787</c:v>
                </c:pt>
                <c:pt idx="68">
                  <c:v>0.1810918774966711</c:v>
                </c:pt>
                <c:pt idx="69">
                  <c:v>0.15196998123827393</c:v>
                </c:pt>
                <c:pt idx="70">
                  <c:v>0.170018281535649</c:v>
                </c:pt>
                <c:pt idx="71">
                  <c:v>0.15841584158415842</c:v>
                </c:pt>
                <c:pt idx="72">
                  <c:v>0.13333333333333333</c:v>
                </c:pt>
                <c:pt idx="73">
                  <c:v>0.15732758620689655</c:v>
                </c:pt>
                <c:pt idx="74">
                  <c:v>0.14444444444444443</c:v>
                </c:pt>
                <c:pt idx="75">
                  <c:v>0.18518518518518517</c:v>
                </c:pt>
                <c:pt idx="76">
                  <c:v>0.17659574468085107</c:v>
                </c:pt>
                <c:pt idx="77">
                  <c:v>0.143646408839779</c:v>
                </c:pt>
                <c:pt idx="78">
                  <c:v>0.14917127071823205</c:v>
                </c:pt>
                <c:pt idx="79">
                  <c:v>0.1518987341772152</c:v>
                </c:pt>
                <c:pt idx="80">
                  <c:v>0.1357142857142857</c:v>
                </c:pt>
                <c:pt idx="81">
                  <c:v>0.1108433734939759</c:v>
                </c:pt>
                <c:pt idx="82">
                  <c:v>0.1168091168091168</c:v>
                </c:pt>
                <c:pt idx="83">
                  <c:v>0.08469945355191257</c:v>
                </c:pt>
                <c:pt idx="84">
                  <c:v>0.10526315789473684</c:v>
                </c:pt>
                <c:pt idx="85">
                  <c:v>0.1048158640226629</c:v>
                </c:pt>
                <c:pt idx="86">
                  <c:v>0.12222222222222222</c:v>
                </c:pt>
                <c:pt idx="87">
                  <c:v>0.13854351687388988</c:v>
                </c:pt>
                <c:pt idx="88">
                  <c:v>0.1342281879194631</c:v>
                </c:pt>
                <c:pt idx="89">
                  <c:v>0.11313131313131314</c:v>
                </c:pt>
                <c:pt idx="90">
                  <c:v>0.1276595744680851</c:v>
                </c:pt>
                <c:pt idx="91">
                  <c:v>0.1223175965665236</c:v>
                </c:pt>
                <c:pt idx="92">
                  <c:v>0.11591355599214145</c:v>
                </c:pt>
                <c:pt idx="93">
                  <c:v>0.09109311740890688</c:v>
                </c:pt>
                <c:pt idx="94">
                  <c:v>0.1478537360890302</c:v>
                </c:pt>
                <c:pt idx="95">
                  <c:v>0.14564369310793238</c:v>
                </c:pt>
                <c:pt idx="96">
                  <c:v>0.1111111111111111</c:v>
                </c:pt>
                <c:pt idx="97">
                  <c:v>0.13801452784503632</c:v>
                </c:pt>
                <c:pt idx="98">
                  <c:v>0.15014577259475217</c:v>
                </c:pt>
                <c:pt idx="99">
                  <c:v>0.1375515818431912</c:v>
                </c:pt>
                <c:pt idx="100">
                  <c:v>0.11675392670157068</c:v>
                </c:pt>
                <c:pt idx="101">
                  <c:v>0.17493237150586113</c:v>
                </c:pt>
                <c:pt idx="102">
                  <c:v>0.13663663663663664</c:v>
                </c:pt>
                <c:pt idx="103">
                  <c:v>0.15486194477791115</c:v>
                </c:pt>
                <c:pt idx="104">
                  <c:v>0.148040638606676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11725067385444744</c:v>
                </c:pt>
                <c:pt idx="1">
                  <c:v>0.1459170013386881</c:v>
                </c:pt>
                <c:pt idx="2">
                  <c:v>0.1440329218106996</c:v>
                </c:pt>
                <c:pt idx="3">
                  <c:v>0.16807909604519775</c:v>
                </c:pt>
                <c:pt idx="4">
                  <c:v>0.16666666666666666</c:v>
                </c:pt>
                <c:pt idx="5">
                  <c:v>0.16530278232405893</c:v>
                </c:pt>
                <c:pt idx="6">
                  <c:v>0.2191780821917808</c:v>
                </c:pt>
                <c:pt idx="7">
                  <c:v>0.16993464052287582</c:v>
                </c:pt>
                <c:pt idx="8">
                  <c:v>0.2081447963800905</c:v>
                </c:pt>
                <c:pt idx="9">
                  <c:v>0.20437956204379562</c:v>
                </c:pt>
                <c:pt idx="10">
                  <c:v>0.21784232365145229</c:v>
                </c:pt>
                <c:pt idx="11">
                  <c:v>0.18594436310395315</c:v>
                </c:pt>
                <c:pt idx="12">
                  <c:v>0.20232896652110627</c:v>
                </c:pt>
                <c:pt idx="13">
                  <c:v>0.1767515923566879</c:v>
                </c:pt>
                <c:pt idx="14">
                  <c:v>0.18232044198895028</c:v>
                </c:pt>
                <c:pt idx="15">
                  <c:v>0.17677642980935876</c:v>
                </c:pt>
                <c:pt idx="16">
                  <c:v>0.19831223628691982</c:v>
                </c:pt>
                <c:pt idx="17">
                  <c:v>0.1694915254237288</c:v>
                </c:pt>
                <c:pt idx="18">
                  <c:v>0.1853932584269663</c:v>
                </c:pt>
                <c:pt idx="19">
                  <c:v>0.2222222222222222</c:v>
                </c:pt>
                <c:pt idx="20">
                  <c:v>0.18498659517426275</c:v>
                </c:pt>
                <c:pt idx="21">
                  <c:v>0.19029850746268656</c:v>
                </c:pt>
                <c:pt idx="22">
                  <c:v>0.17338709677419356</c:v>
                </c:pt>
                <c:pt idx="23">
                  <c:v>0.1691542288557214</c:v>
                </c:pt>
                <c:pt idx="24">
                  <c:v>0.1875</c:v>
                </c:pt>
                <c:pt idx="25">
                  <c:v>0.22321428571428573</c:v>
                </c:pt>
                <c:pt idx="26">
                  <c:v>0.22440944881889763</c:v>
                </c:pt>
                <c:pt idx="27">
                  <c:v>0.21611721611721613</c:v>
                </c:pt>
                <c:pt idx="28">
                  <c:v>0.19784172661870503</c:v>
                </c:pt>
                <c:pt idx="29">
                  <c:v>0.15450643776824036</c:v>
                </c:pt>
                <c:pt idx="30">
                  <c:v>0.1703056768558952</c:v>
                </c:pt>
                <c:pt idx="31">
                  <c:v>0.13333333333333333</c:v>
                </c:pt>
                <c:pt idx="32">
                  <c:v>0.17567567567567569</c:v>
                </c:pt>
                <c:pt idx="33">
                  <c:v>0.18181818181818182</c:v>
                </c:pt>
                <c:pt idx="34">
                  <c:v>0.2230971128608924</c:v>
                </c:pt>
                <c:pt idx="35">
                  <c:v>0.21578947368421053</c:v>
                </c:pt>
                <c:pt idx="36">
                  <c:v>0.21008403361344538</c:v>
                </c:pt>
                <c:pt idx="37">
                  <c:v>0.29559748427672955</c:v>
                </c:pt>
                <c:pt idx="38">
                  <c:v>0.25287356321839083</c:v>
                </c:pt>
                <c:pt idx="39">
                  <c:v>0.30618892508143325</c:v>
                </c:pt>
                <c:pt idx="40">
                  <c:v>0.2214765100671141</c:v>
                </c:pt>
                <c:pt idx="41">
                  <c:v>0.2376237623762376</c:v>
                </c:pt>
                <c:pt idx="42">
                  <c:v>0.21069182389937108</c:v>
                </c:pt>
                <c:pt idx="43">
                  <c:v>0.1483375959079284</c:v>
                </c:pt>
                <c:pt idx="44">
                  <c:v>0.1615798922800718</c:v>
                </c:pt>
                <c:pt idx="45">
                  <c:v>0.19089900110987792</c:v>
                </c:pt>
                <c:pt idx="46">
                  <c:v>0.18157543391188252</c:v>
                </c:pt>
                <c:pt idx="47">
                  <c:v>0.1734820322180917</c:v>
                </c:pt>
                <c:pt idx="48">
                  <c:v>0.1545275590551181</c:v>
                </c:pt>
                <c:pt idx="49">
                  <c:v>0.1562867215041128</c:v>
                </c:pt>
                <c:pt idx="50">
                  <c:v>0.15683453237410072</c:v>
                </c:pt>
                <c:pt idx="51">
                  <c:v>0.15776397515527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9.31517896627905</c:v>
                </c:pt>
              </c:numCache>
            </c:numRef>
          </c:xVal>
          <c:yVal>
            <c:numRef>
              <c:f>Sheet1!$B$163:$B$164</c:f>
              <c:numCache>
                <c:formatCode>General</c:formatCode>
                <c:ptCount val="2"/>
                <c:pt idx="0">
                  <c:v>0.28619045392924036</c:v>
                </c:pt>
                <c:pt idx="1">
                  <c:v>0.286190453929240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9.31517896627905</c:v>
                </c:pt>
                <c:pt idx="1">
                  <c:v>-49.31517896627905</c:v>
                </c:pt>
              </c:numCache>
            </c:numRef>
          </c:xVal>
          <c:yVal>
            <c:numRef>
              <c:f>Sheet1!$B$167:$B$168</c:f>
              <c:numCache>
                <c:formatCode>General</c:formatCode>
                <c:ptCount val="2"/>
                <c:pt idx="0">
                  <c:v>0.286190453929240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41.7006150857098</c:v>
                </c:pt>
              </c:numCache>
            </c:numRef>
          </c:xVal>
          <c:yVal>
            <c:numRef>
              <c:f>Sheet1!$B$171:$B$172</c:f>
              <c:numCache>
                <c:formatCode>General</c:formatCode>
                <c:ptCount val="2"/>
                <c:pt idx="0">
                  <c:v>0.2158615024342142</c:v>
                </c:pt>
                <c:pt idx="1">
                  <c:v>0.21586150243421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41.7006150857098</c:v>
                </c:pt>
                <c:pt idx="1">
                  <c:v>441.7006150857098</c:v>
                </c:pt>
              </c:numCache>
            </c:numRef>
          </c:xVal>
          <c:yVal>
            <c:numRef>
              <c:f>Sheet1!$B$175:$B$176</c:f>
              <c:numCache>
                <c:formatCode>General</c:formatCode>
                <c:ptCount val="2"/>
                <c:pt idx="0">
                  <c:v>0.21586150243421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29.095820983926</c:v>
                </c:pt>
              </c:numCache>
            </c:numRef>
          </c:xVal>
          <c:yVal>
            <c:numRef>
              <c:f>Sheet1!$B$179:$B$180</c:f>
              <c:numCache>
                <c:formatCode>General</c:formatCode>
                <c:ptCount val="2"/>
                <c:pt idx="0">
                  <c:v>0.18902059730312454</c:v>
                </c:pt>
                <c:pt idx="1">
                  <c:v>0.189020597303124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29.095820983926</c:v>
                </c:pt>
                <c:pt idx="1">
                  <c:v>629.095820983926</c:v>
                </c:pt>
              </c:numCache>
            </c:numRef>
          </c:xVal>
          <c:yVal>
            <c:numRef>
              <c:f>Sheet1!$B$183:$B$184</c:f>
              <c:numCache>
                <c:formatCode>General</c:formatCode>
                <c:ptCount val="2"/>
                <c:pt idx="0">
                  <c:v>0.18902059730312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441.7006150857098</c:v>
                </c:pt>
                <c:pt idx="53">
                  <c:v>-49.31517896627905</c:v>
                </c:pt>
                <c:pt idx="54">
                  <c:v>629.095820983926</c:v>
                </c:pt>
              </c:numCache>
            </c:numRef>
          </c:xVal>
          <c:yVal>
            <c:numRef>
              <c:f>Sheet1!$B$187:$B$241</c:f>
              <c:numCache>
                <c:formatCode>General</c:formatCode>
                <c:ptCount val="55"/>
                <c:pt idx="0">
                  <c:v>0.20079741316412225</c:v>
                </c:pt>
                <c:pt idx="1">
                  <c:v>0.20268731044957122</c:v>
                </c:pt>
                <c:pt idx="2">
                  <c:v>0.19556431970754995</c:v>
                </c:pt>
                <c:pt idx="3">
                  <c:v>0.20178072637655334</c:v>
                </c:pt>
                <c:pt idx="4">
                  <c:v>0.19762441903960087</c:v>
                </c:pt>
                <c:pt idx="5">
                  <c:v>0.20341703220907897</c:v>
                </c:pt>
                <c:pt idx="6">
                  <c:v>0.20630778857139453</c:v>
                </c:pt>
                <c:pt idx="7">
                  <c:v>0.20498811039536835</c:v>
                </c:pt>
                <c:pt idx="8">
                  <c:v>0.19700547255808856</c:v>
                </c:pt>
                <c:pt idx="9">
                  <c:v>0.1989002540392702</c:v>
                </c:pt>
                <c:pt idx="10">
                  <c:v>0.19312938341853753</c:v>
                </c:pt>
                <c:pt idx="11">
                  <c:v>0.193277126758662</c:v>
                </c:pt>
                <c:pt idx="12">
                  <c:v>0.18117513532340418</c:v>
                </c:pt>
                <c:pt idx="13">
                  <c:v>0.17872680688480214</c:v>
                </c:pt>
                <c:pt idx="14">
                  <c:v>0.17972427137401878</c:v>
                </c:pt>
                <c:pt idx="15">
                  <c:v>0.1799124346565409</c:v>
                </c:pt>
                <c:pt idx="16">
                  <c:v>0.17614500096809832</c:v>
                </c:pt>
                <c:pt idx="17">
                  <c:v>0.17832878074047648</c:v>
                </c:pt>
                <c:pt idx="18">
                  <c:v>0.18481116839116787</c:v>
                </c:pt>
                <c:pt idx="19">
                  <c:v>0.17444332425779002</c:v>
                </c:pt>
                <c:pt idx="20">
                  <c:v>0.176351068193922</c:v>
                </c:pt>
                <c:pt idx="21">
                  <c:v>0.17126238078244277</c:v>
                </c:pt>
                <c:pt idx="22">
                  <c:v>0.17164668534462213</c:v>
                </c:pt>
                <c:pt idx="23">
                  <c:v>0.17549894075485012</c:v>
                </c:pt>
                <c:pt idx="24">
                  <c:v>0.18520012797860563</c:v>
                </c:pt>
                <c:pt idx="25">
                  <c:v>0.189630165123907</c:v>
                </c:pt>
                <c:pt idx="26">
                  <c:v>0.19474096748615236</c:v>
                </c:pt>
                <c:pt idx="27">
                  <c:v>0.1913770027407992</c:v>
                </c:pt>
                <c:pt idx="28">
                  <c:v>0.1910577969164643</c:v>
                </c:pt>
                <c:pt idx="29">
                  <c:v>0.18290719144470657</c:v>
                </c:pt>
                <c:pt idx="30">
                  <c:v>0.18387431949239302</c:v>
                </c:pt>
                <c:pt idx="31">
                  <c:v>0.18912127776265805</c:v>
                </c:pt>
                <c:pt idx="32">
                  <c:v>0.19478929380991195</c:v>
                </c:pt>
                <c:pt idx="33">
                  <c:v>0.19583782034542463</c:v>
                </c:pt>
                <c:pt idx="34">
                  <c:v>0.19224607447181163</c:v>
                </c:pt>
                <c:pt idx="35">
                  <c:v>0.19972602687380214</c:v>
                </c:pt>
                <c:pt idx="36">
                  <c:v>0.20069909903066474</c:v>
                </c:pt>
                <c:pt idx="37">
                  <c:v>0.19691053868912636</c:v>
                </c:pt>
                <c:pt idx="38">
                  <c:v>0.19221145540704374</c:v>
                </c:pt>
                <c:pt idx="39">
                  <c:v>0.2052255882993203</c:v>
                </c:pt>
                <c:pt idx="40">
                  <c:v>0.2030384569087561</c:v>
                </c:pt>
                <c:pt idx="41">
                  <c:v>0.19927537745932453</c:v>
                </c:pt>
                <c:pt idx="42">
                  <c:v>0.1903041698118603</c:v>
                </c:pt>
                <c:pt idx="43">
                  <c:v>0.18741433013144176</c:v>
                </c:pt>
                <c:pt idx="44">
                  <c:v>0.18767362219991232</c:v>
                </c:pt>
                <c:pt idx="45">
                  <c:v>0.19609430507558545</c:v>
                </c:pt>
                <c:pt idx="46">
                  <c:v>0.19386732666880935</c:v>
                </c:pt>
                <c:pt idx="47">
                  <c:v>0.18220933870427558</c:v>
                </c:pt>
                <c:pt idx="48">
                  <c:v>0.18372289510152573</c:v>
                </c:pt>
                <c:pt idx="49">
                  <c:v>0.17560609227472135</c:v>
                </c:pt>
                <c:pt idx="50">
                  <c:v>0.17840628333024028</c:v>
                </c:pt>
                <c:pt idx="51">
                  <c:v>0.17685512865205685</c:v>
                </c:pt>
                <c:pt idx="52">
                  <c:v>0.2158615024342142</c:v>
                </c:pt>
                <c:pt idx="53">
                  <c:v>0.28619045392924036</c:v>
                </c:pt>
                <c:pt idx="54">
                  <c:v>0.18902059730312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717647058823526"/>
          <c:min val="0.067759562841530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695757409440174</c:v>
                </c:pt>
                <c:pt idx="1">
                  <c:v>0.18474388245267023</c:v>
                </c:pt>
                <c:pt idx="2">
                  <c:v>0.17455452653485953</c:v>
                </c:pt>
                <c:pt idx="3">
                  <c:v>0.18259848956812186</c:v>
                </c:pt>
                <c:pt idx="4">
                  <c:v>0.16049551000488044</c:v>
                </c:pt>
                <c:pt idx="5">
                  <c:v>0.19308463251670377</c:v>
                </c:pt>
                <c:pt idx="6">
                  <c:v>0.0</c:v>
                </c:pt>
                <c:pt idx="7">
                  <c:v>0.0</c:v>
                </c:pt>
                <c:pt idx="8">
                  <c:v>0.14911478029294276</c:v>
                </c:pt>
                <c:pt idx="9">
                  <c:v>0.17404909709500133</c:v>
                </c:pt>
                <c:pt idx="10">
                  <c:v>0.12325053171983864</c:v>
                </c:pt>
                <c:pt idx="11">
                  <c:v>0.11350125936010892</c:v>
                </c:pt>
                <c:pt idx="12">
                  <c:v>0.18250008344923505</c:v>
                </c:pt>
                <c:pt idx="13">
                  <c:v>0.16404157416750756</c:v>
                </c:pt>
                <c:pt idx="14">
                  <c:v>0.1070489389067524</c:v>
                </c:pt>
                <c:pt idx="15">
                  <c:v>0.10426785063752277</c:v>
                </c:pt>
                <c:pt idx="16">
                  <c:v>0.14860776092774308</c:v>
                </c:pt>
                <c:pt idx="17">
                  <c:v>0.12851882352941177</c:v>
                </c:pt>
                <c:pt idx="18">
                  <c:v>0.198293526850508</c:v>
                </c:pt>
                <c:pt idx="19">
                  <c:v>0.2220530868066437</c:v>
                </c:pt>
                <c:pt idx="20">
                  <c:v>0.19833961840628506</c:v>
                </c:pt>
                <c:pt idx="21">
                  <c:v>0.1968344438170525</c:v>
                </c:pt>
                <c:pt idx="22">
                  <c:v>0.08625583662714097</c:v>
                </c:pt>
                <c:pt idx="23">
                  <c:v>0.0</c:v>
                </c:pt>
                <c:pt idx="24">
                  <c:v>0.204961970613656</c:v>
                </c:pt>
                <c:pt idx="25">
                  <c:v>0.1871186608122942</c:v>
                </c:pt>
                <c:pt idx="26">
                  <c:v>0.21287529340956965</c:v>
                </c:pt>
                <c:pt idx="27">
                  <c:v>0.1417956416464891</c:v>
                </c:pt>
                <c:pt idx="28">
                  <c:v>0.18138108372866354</c:v>
                </c:pt>
                <c:pt idx="29">
                  <c:v>0.18779687271105458</c:v>
                </c:pt>
                <c:pt idx="30">
                  <c:v>0.1891871094849423</c:v>
                </c:pt>
                <c:pt idx="31">
                  <c:v>0.0</c:v>
                </c:pt>
                <c:pt idx="32">
                  <c:v>0.16217692307692305</c:v>
                </c:pt>
                <c:pt idx="33">
                  <c:v>0.2334320570726879</c:v>
                </c:pt>
                <c:pt idx="34">
                  <c:v>0.24165252525252526</c:v>
                </c:pt>
                <c:pt idx="35">
                  <c:v>0.1850899142713061</c:v>
                </c:pt>
                <c:pt idx="36">
                  <c:v>0.1850025680534155</c:v>
                </c:pt>
                <c:pt idx="37">
                  <c:v>0.18951167261736077</c:v>
                </c:pt>
                <c:pt idx="38">
                  <c:v>0.24535548469387755</c:v>
                </c:pt>
                <c:pt idx="39">
                  <c:v>0.13888185040765685</c:v>
                </c:pt>
                <c:pt idx="40">
                  <c:v>0.20963978566634334</c:v>
                </c:pt>
                <c:pt idx="41">
                  <c:v>0.15131383446621352</c:v>
                </c:pt>
                <c:pt idx="42">
                  <c:v>0.22102841764093067</c:v>
                </c:pt>
                <c:pt idx="43">
                  <c:v>0.2119775845927511</c:v>
                </c:pt>
                <c:pt idx="44">
                  <c:v>0.1968608922035072</c:v>
                </c:pt>
                <c:pt idx="45">
                  <c:v>0.18501449569183984</c:v>
                </c:pt>
                <c:pt idx="46">
                  <c:v>0.20680366964405852</c:v>
                </c:pt>
                <c:pt idx="47">
                  <c:v>0.18141240810009027</c:v>
                </c:pt>
                <c:pt idx="48">
                  <c:v>0.21480450729789005</c:v>
                </c:pt>
                <c:pt idx="49">
                  <c:v>0.20574782829131846</c:v>
                </c:pt>
                <c:pt idx="50">
                  <c:v>0.24032682765464772</c:v>
                </c:pt>
                <c:pt idx="51">
                  <c:v>0.2101867572353746</c:v>
                </c:pt>
                <c:pt idx="52">
                  <c:v>0.20537985244040863</c:v>
                </c:pt>
                <c:pt idx="53">
                  <c:v>0.22512903023986075</c:v>
                </c:pt>
                <c:pt idx="54">
                  <c:v>0.21530924191334616</c:v>
                </c:pt>
                <c:pt idx="55">
                  <c:v>0.2105549008168028</c:v>
                </c:pt>
                <c:pt idx="56">
                  <c:v>0.20867692760447323</c:v>
                </c:pt>
                <c:pt idx="57">
                  <c:v>0.18807853620555412</c:v>
                </c:pt>
                <c:pt idx="58">
                  <c:v>0.17220870525444004</c:v>
                </c:pt>
                <c:pt idx="59">
                  <c:v>0.17161826900023974</c:v>
                </c:pt>
                <c:pt idx="60">
                  <c:v>0.14711004658361396</c:v>
                </c:pt>
                <c:pt idx="61">
                  <c:v>0.1458418614186142</c:v>
                </c:pt>
                <c:pt idx="62">
                  <c:v>0.1702133101109176</c:v>
                </c:pt>
                <c:pt idx="63">
                  <c:v>0.15568759191318476</c:v>
                </c:pt>
                <c:pt idx="64">
                  <c:v>0.18223174451858914</c:v>
                </c:pt>
                <c:pt idx="65">
                  <c:v>0.14236917929175574</c:v>
                </c:pt>
                <c:pt idx="66">
                  <c:v>0.15331003210272873</c:v>
                </c:pt>
                <c:pt idx="67">
                  <c:v>0.1519755216693419</c:v>
                </c:pt>
                <c:pt idx="68">
                  <c:v>0.16231782878087092</c:v>
                </c:pt>
                <c:pt idx="69">
                  <c:v>0.17757678015002887</c:v>
                </c:pt>
                <c:pt idx="70">
                  <c:v>0.1919226062182584</c:v>
                </c:pt>
                <c:pt idx="71">
                  <c:v>0.16641637856525496</c:v>
                </c:pt>
                <c:pt idx="72">
                  <c:v>0.15993473636225497</c:v>
                </c:pt>
                <c:pt idx="73">
                  <c:v>0.1415985039102346</c:v>
                </c:pt>
                <c:pt idx="74">
                  <c:v>0.18181286388772072</c:v>
                </c:pt>
                <c:pt idx="75">
                  <c:v>0.14331948243992607</c:v>
                </c:pt>
                <c:pt idx="76">
                  <c:v>0.17934406289744478</c:v>
                </c:pt>
                <c:pt idx="77">
                  <c:v>0.15540719502143102</c:v>
                </c:pt>
                <c:pt idx="78">
                  <c:v>0.17333111493411746</c:v>
                </c:pt>
                <c:pt idx="79">
                  <c:v>0.1619792980897379</c:v>
                </c:pt>
                <c:pt idx="80">
                  <c:v>0.14588441696113075</c:v>
                </c:pt>
                <c:pt idx="81">
                  <c:v>0.15251062495388476</c:v>
                </c:pt>
                <c:pt idx="82">
                  <c:v>0.13233517441860465</c:v>
                </c:pt>
                <c:pt idx="83">
                  <c:v>0.2036016706443914</c:v>
                </c:pt>
                <c:pt idx="84">
                  <c:v>0.16521178382771232</c:v>
                </c:pt>
                <c:pt idx="85">
                  <c:v>0.11121641067097818</c:v>
                </c:pt>
                <c:pt idx="86">
                  <c:v>0.15253957457425013</c:v>
                </c:pt>
                <c:pt idx="87">
                  <c:v>0.1897318306832457</c:v>
                </c:pt>
                <c:pt idx="88">
                  <c:v>0.1776375421424687</c:v>
                </c:pt>
                <c:pt idx="89">
                  <c:v>0.18411922066549913</c:v>
                </c:pt>
                <c:pt idx="90">
                  <c:v>0.1898604367912642</c:v>
                </c:pt>
                <c:pt idx="91">
                  <c:v>0.09756097672295755</c:v>
                </c:pt>
                <c:pt idx="92">
                  <c:v>0.141031132398221</c:v>
                </c:pt>
                <c:pt idx="93">
                  <c:v>0.11163894578724567</c:v>
                </c:pt>
                <c:pt idx="94">
                  <c:v>0.1711920898340455</c:v>
                </c:pt>
                <c:pt idx="95">
                  <c:v>0.20608867529741884</c:v>
                </c:pt>
                <c:pt idx="96">
                  <c:v>0.1905660428410372</c:v>
                </c:pt>
                <c:pt idx="97">
                  <c:v>0.20157950164551008</c:v>
                </c:pt>
                <c:pt idx="98">
                  <c:v>0.1719689781457568</c:v>
                </c:pt>
                <c:pt idx="99">
                  <c:v>0.1705283283200791</c:v>
                </c:pt>
                <c:pt idx="100">
                  <c:v>0.18239780058016195</c:v>
                </c:pt>
                <c:pt idx="101">
                  <c:v>0.1958489920300047</c:v>
                </c:pt>
                <c:pt idx="102">
                  <c:v>0.17815241237848928</c:v>
                </c:pt>
                <c:pt idx="103">
                  <c:v>0.13043955742250776</c:v>
                </c:pt>
                <c:pt idx="104">
                  <c:v>0.14237696846455208</c:v>
                </c:pt>
              </c:numCache>
            </c:numRef>
          </c:xVal>
          <c:yVal>
            <c:numRef>
              <c:f>Sheet1!$B$2:$B$106</c:f>
              <c:numCache>
                <c:formatCode>General</c:formatCode>
                <c:ptCount val="105"/>
                <c:pt idx="0">
                  <c:v>0.2160392798690671</c:v>
                </c:pt>
                <c:pt idx="1">
                  <c:v>0.20353982300884957</c:v>
                </c:pt>
                <c:pt idx="2">
                  <c:v>0.15547024952015356</c:v>
                </c:pt>
                <c:pt idx="3">
                  <c:v>0.162</c:v>
                </c:pt>
                <c:pt idx="4">
                  <c:v>0.15734989648033126</c:v>
                </c:pt>
                <c:pt idx="5">
                  <c:v>0.16611295681063123</c:v>
                </c:pt>
                <c:pt idx="6">
                  <c:v>0.18823529411764706</c:v>
                </c:pt>
                <c:pt idx="7">
                  <c:v>0.17597765363128492</c:v>
                </c:pt>
                <c:pt idx="8">
                  <c:v>0.11688311688311688</c:v>
                </c:pt>
                <c:pt idx="9">
                  <c:v>0.16666666666666666</c:v>
                </c:pt>
                <c:pt idx="10">
                  <c:v>0.16753926701570682</c:v>
                </c:pt>
                <c:pt idx="11">
                  <c:v>0.12776831345826234</c:v>
                </c:pt>
                <c:pt idx="12">
                  <c:v>0.16939078751857356</c:v>
                </c:pt>
                <c:pt idx="13">
                  <c:v>0.18638573743922204</c:v>
                </c:pt>
                <c:pt idx="14">
                  <c:v>0.13412816691505217</c:v>
                </c:pt>
                <c:pt idx="15">
                  <c:v>0.11320754716981132</c:v>
                </c:pt>
                <c:pt idx="16">
                  <c:v>0.11948790896159317</c:v>
                </c:pt>
                <c:pt idx="17">
                  <c:v>0.11992945326278659</c:v>
                </c:pt>
                <c:pt idx="18">
                  <c:v>0.1375</c:v>
                </c:pt>
                <c:pt idx="19">
                  <c:v>0.10473815461346633</c:v>
                </c:pt>
                <c:pt idx="20">
                  <c:v>0.08312958435207823</c:v>
                </c:pt>
                <c:pt idx="21">
                  <c:v>0.0774818401937046</c:v>
                </c:pt>
                <c:pt idx="22">
                  <c:v>0.11195928753180662</c:v>
                </c:pt>
                <c:pt idx="23">
                  <c:v>0.1329923273657289</c:v>
                </c:pt>
                <c:pt idx="24">
                  <c:v>0.15902140672782875</c:v>
                </c:pt>
                <c:pt idx="25">
                  <c:v>0.1482758620689655</c:v>
                </c:pt>
                <c:pt idx="26">
                  <c:v>0.13577023498694518</c:v>
                </c:pt>
                <c:pt idx="27">
                  <c:v>0.13450292397660818</c:v>
                </c:pt>
                <c:pt idx="28">
                  <c:v>0.09064327485380116</c:v>
                </c:pt>
                <c:pt idx="29">
                  <c:v>0.1</c:v>
                </c:pt>
                <c:pt idx="30">
                  <c:v>0.09510086455331412</c:v>
                </c:pt>
                <c:pt idx="31">
                  <c:v>0.11728395061728394</c:v>
                </c:pt>
                <c:pt idx="32">
                  <c:v>0.10256410256410256</c:v>
                </c:pt>
                <c:pt idx="33">
                  <c:v>0.09716599190283401</c:v>
                </c:pt>
                <c:pt idx="34">
                  <c:v>0.07076350093109869</c:v>
                </c:pt>
                <c:pt idx="35">
                  <c:v>0.09836065573770492</c:v>
                </c:pt>
                <c:pt idx="36">
                  <c:v>0.09818731117824774</c:v>
                </c:pt>
                <c:pt idx="37">
                  <c:v>0.05042016806722689</c:v>
                </c:pt>
                <c:pt idx="38">
                  <c:v>0.0888030888030888</c:v>
                </c:pt>
                <c:pt idx="39">
                  <c:v>0.058091286307053944</c:v>
                </c:pt>
                <c:pt idx="40">
                  <c:v>0.09941520467836257</c:v>
                </c:pt>
                <c:pt idx="41">
                  <c:v>0.078</c:v>
                </c:pt>
                <c:pt idx="42">
                  <c:v>0.08668730650154799</c:v>
                </c:pt>
                <c:pt idx="43">
                  <c:v>0.06327372764786796</c:v>
                </c:pt>
                <c:pt idx="44">
                  <c:v>0.08836789900811542</c:v>
                </c:pt>
                <c:pt idx="45">
                  <c:v>0.09802306425041186</c:v>
                </c:pt>
                <c:pt idx="46">
                  <c:v>0.08769106999195495</c:v>
                </c:pt>
                <c:pt idx="47">
                  <c:v>0.13766233766233765</c:v>
                </c:pt>
                <c:pt idx="48">
                  <c:v>0.12978585334198572</c:v>
                </c:pt>
                <c:pt idx="49">
                  <c:v>0.16327519379844962</c:v>
                </c:pt>
                <c:pt idx="50">
                  <c:v>0.15504511894995898</c:v>
                </c:pt>
                <c:pt idx="51">
                  <c:v>0.13565022421524664</c:v>
                </c:pt>
                <c:pt idx="52">
                  <c:v>0.1351981351981352</c:v>
                </c:pt>
                <c:pt idx="53">
                  <c:v>0.14130434782608695</c:v>
                </c:pt>
                <c:pt idx="54">
                  <c:v>0.1504424778761062</c:v>
                </c:pt>
                <c:pt idx="55">
                  <c:v>0.1669421487603306</c:v>
                </c:pt>
                <c:pt idx="56">
                  <c:v>0.16984126984126985</c:v>
                </c:pt>
                <c:pt idx="57">
                  <c:v>0.15924657534246575</c:v>
                </c:pt>
                <c:pt idx="58">
                  <c:v>0.17765567765567766</c:v>
                </c:pt>
                <c:pt idx="59">
                  <c:v>0.12997658079625293</c:v>
                </c:pt>
                <c:pt idx="60">
                  <c:v>0.12859304084720122</c:v>
                </c:pt>
                <c:pt idx="61">
                  <c:v>0.14328358208955225</c:v>
                </c:pt>
                <c:pt idx="62">
                  <c:v>0.16587677725118483</c:v>
                </c:pt>
                <c:pt idx="63">
                  <c:v>0.1489971346704871</c:v>
                </c:pt>
                <c:pt idx="64">
                  <c:v>0.10869565217391304</c:v>
                </c:pt>
                <c:pt idx="65">
                  <c:v>0.11497005988023952</c:v>
                </c:pt>
                <c:pt idx="66">
                  <c:v>0.16161616161616163</c:v>
                </c:pt>
                <c:pt idx="67">
                  <c:v>0.16856492027334852</c:v>
                </c:pt>
                <c:pt idx="68">
                  <c:v>0.13981358189081225</c:v>
                </c:pt>
                <c:pt idx="69">
                  <c:v>0.13883677298311445</c:v>
                </c:pt>
                <c:pt idx="70">
                  <c:v>0.12614259597806216</c:v>
                </c:pt>
                <c:pt idx="71">
                  <c:v>0.15841584158415842</c:v>
                </c:pt>
                <c:pt idx="72">
                  <c:v>0.16565656565656567</c:v>
                </c:pt>
                <c:pt idx="73">
                  <c:v>0.14655172413793102</c:v>
                </c:pt>
                <c:pt idx="74">
                  <c:v>0.14</c:v>
                </c:pt>
                <c:pt idx="75">
                  <c:v>0.12268518518518519</c:v>
                </c:pt>
                <c:pt idx="76">
                  <c:v>0.1595744680851064</c:v>
                </c:pt>
                <c:pt idx="77">
                  <c:v>0.10497237569060773</c:v>
                </c:pt>
                <c:pt idx="78">
                  <c:v>0.1132596685082873</c:v>
                </c:pt>
                <c:pt idx="79">
                  <c:v>0.06582278481012659</c:v>
                </c:pt>
                <c:pt idx="80">
                  <c:v>0.08095238095238096</c:v>
                </c:pt>
                <c:pt idx="81">
                  <c:v>0.10361445783132531</c:v>
                </c:pt>
                <c:pt idx="82">
                  <c:v>0.08831908831908832</c:v>
                </c:pt>
                <c:pt idx="83">
                  <c:v>0.09016393442622951</c:v>
                </c:pt>
                <c:pt idx="84">
                  <c:v>0.08033240997229917</c:v>
                </c:pt>
                <c:pt idx="85">
                  <c:v>0.0821529745042493</c:v>
                </c:pt>
                <c:pt idx="86">
                  <c:v>0.08148148148148149</c:v>
                </c:pt>
                <c:pt idx="87">
                  <c:v>0.07460035523978685</c:v>
                </c:pt>
                <c:pt idx="88">
                  <c:v>0.10234899328859061</c:v>
                </c:pt>
                <c:pt idx="89">
                  <c:v>0.10707070707070707</c:v>
                </c:pt>
                <c:pt idx="90">
                  <c:v>0.12293144208037825</c:v>
                </c:pt>
                <c:pt idx="91">
                  <c:v>0.08798283261802575</c:v>
                </c:pt>
                <c:pt idx="92">
                  <c:v>0.09233791748526522</c:v>
                </c:pt>
                <c:pt idx="93">
                  <c:v>0.0951417004048583</c:v>
                </c:pt>
                <c:pt idx="94">
                  <c:v>0.10810810810810811</c:v>
                </c:pt>
                <c:pt idx="95">
                  <c:v>0.09622886866059818</c:v>
                </c:pt>
                <c:pt idx="96">
                  <c:v>0.07758620689655173</c:v>
                </c:pt>
                <c:pt idx="97">
                  <c:v>0.08393866020984665</c:v>
                </c:pt>
                <c:pt idx="98">
                  <c:v>0.0706997084548105</c:v>
                </c:pt>
                <c:pt idx="99">
                  <c:v>0.09972489683631362</c:v>
                </c:pt>
                <c:pt idx="100">
                  <c:v>0.09581151832460733</c:v>
                </c:pt>
                <c:pt idx="101">
                  <c:v>0.11000901713255185</c:v>
                </c:pt>
                <c:pt idx="102">
                  <c:v>0.0915915915915916</c:v>
                </c:pt>
                <c:pt idx="103">
                  <c:v>0.13805522208883553</c:v>
                </c:pt>
                <c:pt idx="104">
                  <c:v>0.105950653120464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937125167512903</c:v>
                </c:pt>
                <c:pt idx="1">
                  <c:v>0.17172803297997644</c:v>
                </c:pt>
                <c:pt idx="2">
                  <c:v>0.1530975435964748</c:v>
                </c:pt>
                <c:pt idx="3">
                  <c:v>0.16824427471051656</c:v>
                </c:pt>
                <c:pt idx="4">
                  <c:v>0.17387148126577362</c:v>
                </c:pt>
                <c:pt idx="5">
                  <c:v>0.18830231719351492</c:v>
                </c:pt>
                <c:pt idx="6">
                  <c:v>0.15560592289066866</c:v>
                </c:pt>
                <c:pt idx="7">
                  <c:v>0.15805717897741256</c:v>
                </c:pt>
                <c:pt idx="8">
                  <c:v>0.22689897134459955</c:v>
                </c:pt>
                <c:pt idx="9">
                  <c:v>0.21262371699053312</c:v>
                </c:pt>
                <c:pt idx="10">
                  <c:v>0.1999336755687007</c:v>
                </c:pt>
                <c:pt idx="11">
                  <c:v>0.1806650028958037</c:v>
                </c:pt>
                <c:pt idx="12">
                  <c:v>0.16408405894172806</c:v>
                </c:pt>
                <c:pt idx="13">
                  <c:v>0.17955861786904304</c:v>
                </c:pt>
                <c:pt idx="14">
                  <c:v>0.18737636169289473</c:v>
                </c:pt>
                <c:pt idx="15">
                  <c:v>0.20706343816161624</c:v>
                </c:pt>
                <c:pt idx="16">
                  <c:v>0.2277164855019279</c:v>
                </c:pt>
                <c:pt idx="17">
                  <c:v>0.1756487760845282</c:v>
                </c:pt>
                <c:pt idx="18">
                  <c:v>0.1959980731419583</c:v>
                </c:pt>
                <c:pt idx="19">
                  <c:v>0.18723579895320197</c:v>
                </c:pt>
                <c:pt idx="20">
                  <c:v>0.18279992122107336</c:v>
                </c:pt>
                <c:pt idx="21">
                  <c:v>0.23068678225624858</c:v>
                </c:pt>
                <c:pt idx="22">
                  <c:v>0.24453079006240436</c:v>
                </c:pt>
                <c:pt idx="23">
                  <c:v>0.2170940170940171</c:v>
                </c:pt>
                <c:pt idx="24">
                  <c:v>0.13226341087659838</c:v>
                </c:pt>
                <c:pt idx="25">
                  <c:v>0.10591062412342216</c:v>
                </c:pt>
                <c:pt idx="26">
                  <c:v>0.1907043092641382</c:v>
                </c:pt>
                <c:pt idx="27">
                  <c:v>0.12732532386527204</c:v>
                </c:pt>
                <c:pt idx="28">
                  <c:v>0.13304242555028054</c:v>
                </c:pt>
                <c:pt idx="29">
                  <c:v>0.11865584483975562</c:v>
                </c:pt>
                <c:pt idx="30">
                  <c:v>0.14892495472654835</c:v>
                </c:pt>
                <c:pt idx="31">
                  <c:v>0.07412860103626942</c:v>
                </c:pt>
                <c:pt idx="32">
                  <c:v>0.17407878017789072</c:v>
                </c:pt>
                <c:pt idx="33">
                  <c:v>0.19314743701575246</c:v>
                </c:pt>
                <c:pt idx="34">
                  <c:v>0.22525514820922662</c:v>
                </c:pt>
                <c:pt idx="35">
                  <c:v>0.2247310012921503</c:v>
                </c:pt>
                <c:pt idx="36">
                  <c:v>0.22463472369602483</c:v>
                </c:pt>
                <c:pt idx="37">
                  <c:v>0.1858445994534733</c:v>
                </c:pt>
                <c:pt idx="38">
                  <c:v>0.20802452792685353</c:v>
                </c:pt>
                <c:pt idx="39">
                  <c:v>0.21020300822561694</c:v>
                </c:pt>
                <c:pt idx="40">
                  <c:v>0.21389226118500604</c:v>
                </c:pt>
                <c:pt idx="41">
                  <c:v>0.19046559530878862</c:v>
                </c:pt>
                <c:pt idx="42">
                  <c:v>0.24646904435299494</c:v>
                </c:pt>
                <c:pt idx="43">
                  <c:v>0.1656846386554622</c:v>
                </c:pt>
                <c:pt idx="44">
                  <c:v>0.21078535427731948</c:v>
                </c:pt>
                <c:pt idx="45">
                  <c:v>0.13755247772828508</c:v>
                </c:pt>
                <c:pt idx="46">
                  <c:v>0.17242653239929948</c:v>
                </c:pt>
                <c:pt idx="47">
                  <c:v>0.15600740074083086</c:v>
                </c:pt>
                <c:pt idx="48">
                  <c:v>0.16077540353327588</c:v>
                </c:pt>
                <c:pt idx="49">
                  <c:v>0.161625943445811</c:v>
                </c:pt>
                <c:pt idx="50">
                  <c:v>0.19343408200269055</c:v>
                </c:pt>
                <c:pt idx="51">
                  <c:v>0.19961358596223547</c:v>
                </c:pt>
              </c:numCache>
            </c:numRef>
          </c:xVal>
          <c:yVal>
            <c:numRef>
              <c:f>Sheet1!$B$109:$B$160</c:f>
              <c:numCache>
                <c:formatCode>General</c:formatCode>
                <c:ptCount val="52"/>
                <c:pt idx="0">
                  <c:v>0.1091644204851752</c:v>
                </c:pt>
                <c:pt idx="1">
                  <c:v>0.09236947791164658</c:v>
                </c:pt>
                <c:pt idx="2">
                  <c:v>0.1111111111111111</c:v>
                </c:pt>
                <c:pt idx="3">
                  <c:v>0.1370056497175141</c:v>
                </c:pt>
                <c:pt idx="4">
                  <c:v>0.09882005899705015</c:v>
                </c:pt>
                <c:pt idx="5">
                  <c:v>0.12438625204582651</c:v>
                </c:pt>
                <c:pt idx="6">
                  <c:v>0.11350293542074363</c:v>
                </c:pt>
                <c:pt idx="7">
                  <c:v>0.10457516339869281</c:v>
                </c:pt>
                <c:pt idx="8">
                  <c:v>0.13574660633484162</c:v>
                </c:pt>
                <c:pt idx="9">
                  <c:v>0.12895377128953772</c:v>
                </c:pt>
                <c:pt idx="10">
                  <c:v>0.12863070539419086</c:v>
                </c:pt>
                <c:pt idx="11">
                  <c:v>0.13030746705710103</c:v>
                </c:pt>
                <c:pt idx="12">
                  <c:v>0.10771470160116449</c:v>
                </c:pt>
                <c:pt idx="13">
                  <c:v>0.12261146496815287</c:v>
                </c:pt>
                <c:pt idx="14">
                  <c:v>0.10497237569060773</c:v>
                </c:pt>
                <c:pt idx="15">
                  <c:v>0.10051993067590988</c:v>
                </c:pt>
                <c:pt idx="16">
                  <c:v>0.08016877637130802</c:v>
                </c:pt>
                <c:pt idx="17">
                  <c:v>0.07021791767554479</c:v>
                </c:pt>
                <c:pt idx="18">
                  <c:v>0.07303370786516854</c:v>
                </c:pt>
                <c:pt idx="19">
                  <c:v>0.08222222222222222</c:v>
                </c:pt>
                <c:pt idx="20">
                  <c:v>0.09651474530831099</c:v>
                </c:pt>
                <c:pt idx="21">
                  <c:v>0.09328358208955224</c:v>
                </c:pt>
                <c:pt idx="22">
                  <c:v>0.10080645161290322</c:v>
                </c:pt>
                <c:pt idx="23">
                  <c:v>0.09950248756218906</c:v>
                </c:pt>
                <c:pt idx="24">
                  <c:v>0.11057692307692307</c:v>
                </c:pt>
                <c:pt idx="25">
                  <c:v>0.15625</c:v>
                </c:pt>
                <c:pt idx="26">
                  <c:v>0.09055118110236221</c:v>
                </c:pt>
                <c:pt idx="27">
                  <c:v>0.10256410256410256</c:v>
                </c:pt>
                <c:pt idx="28">
                  <c:v>0.09712230215827339</c:v>
                </c:pt>
                <c:pt idx="29">
                  <c:v>0.12017167381974249</c:v>
                </c:pt>
                <c:pt idx="30">
                  <c:v>0.09606986899563319</c:v>
                </c:pt>
                <c:pt idx="31">
                  <c:v>0.10476190476190476</c:v>
                </c:pt>
                <c:pt idx="32">
                  <c:v>0.05405405405405406</c:v>
                </c:pt>
                <c:pt idx="33">
                  <c:v>0.09696969696969697</c:v>
                </c:pt>
                <c:pt idx="34">
                  <c:v>0.08923884514435695</c:v>
                </c:pt>
                <c:pt idx="35">
                  <c:v>0.10263157894736842</c:v>
                </c:pt>
                <c:pt idx="36">
                  <c:v>0.10504201680672269</c:v>
                </c:pt>
                <c:pt idx="37">
                  <c:v>0.09748427672955975</c:v>
                </c:pt>
                <c:pt idx="38">
                  <c:v>0.08045977011494253</c:v>
                </c:pt>
                <c:pt idx="39">
                  <c:v>0.09446254071661238</c:v>
                </c:pt>
                <c:pt idx="40">
                  <c:v>0.08053691275167785</c:v>
                </c:pt>
                <c:pt idx="41">
                  <c:v>0.10396039603960396</c:v>
                </c:pt>
                <c:pt idx="42">
                  <c:v>0.11320754716981132</c:v>
                </c:pt>
                <c:pt idx="43">
                  <c:v>0.08695652173913043</c:v>
                </c:pt>
                <c:pt idx="44">
                  <c:v>0.12746858168761221</c:v>
                </c:pt>
                <c:pt idx="45">
                  <c:v>0.1598224195338513</c:v>
                </c:pt>
                <c:pt idx="46">
                  <c:v>0.1802403204272363</c:v>
                </c:pt>
                <c:pt idx="47">
                  <c:v>0.17967781908302355</c:v>
                </c:pt>
                <c:pt idx="48">
                  <c:v>0.1624015748031496</c:v>
                </c:pt>
                <c:pt idx="49">
                  <c:v>0.1609870740305523</c:v>
                </c:pt>
                <c:pt idx="50">
                  <c:v>0.16115107913669063</c:v>
                </c:pt>
                <c:pt idx="51">
                  <c:v>0.154037267080745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4823103394537923</c:v>
                </c:pt>
              </c:numCache>
            </c:numRef>
          </c:xVal>
          <c:yVal>
            <c:numRef>
              <c:f>Sheet1!$B$163:$B$164</c:f>
              <c:numCache>
                <c:formatCode>General</c:formatCode>
                <c:ptCount val="2"/>
                <c:pt idx="0">
                  <c:v>0.17128980781345352</c:v>
                </c:pt>
                <c:pt idx="1">
                  <c:v>0.171289807813453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4823103394537923</c:v>
                </c:pt>
                <c:pt idx="1">
                  <c:v>-0.14823103394537923</c:v>
                </c:pt>
              </c:numCache>
            </c:numRef>
          </c:xVal>
          <c:yVal>
            <c:numRef>
              <c:f>Sheet1!$B$167:$B$168</c:f>
              <c:numCache>
                <c:formatCode>General</c:formatCode>
                <c:ptCount val="2"/>
                <c:pt idx="0">
                  <c:v>0.171289807813453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367039542073235</c:v>
                </c:pt>
              </c:numCache>
            </c:numRef>
          </c:xVal>
          <c:yVal>
            <c:numRef>
              <c:f>Sheet1!$B$171:$B$172</c:f>
              <c:numCache>
                <c:formatCode>General</c:formatCode>
                <c:ptCount val="2"/>
                <c:pt idx="0">
                  <c:v>0.15964424876278446</c:v>
                </c:pt>
                <c:pt idx="1">
                  <c:v>0.159644248762784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367039542073235</c:v>
                </c:pt>
                <c:pt idx="1">
                  <c:v>-0.08367039542073235</c:v>
                </c:pt>
              </c:numCache>
            </c:numRef>
          </c:xVal>
          <c:yVal>
            <c:numRef>
              <c:f>Sheet1!$B$175:$B$176</c:f>
              <c:numCache>
                <c:formatCode>General</c:formatCode>
                <c:ptCount val="2"/>
                <c:pt idx="0">
                  <c:v>0.159644248762784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48726262295986984</c:v>
                </c:pt>
              </c:numCache>
            </c:numRef>
          </c:xVal>
          <c:yVal>
            <c:numRef>
              <c:f>Sheet1!$B$179:$B$180</c:f>
              <c:numCache>
                <c:formatCode>General</c:formatCode>
                <c:ptCount val="2"/>
                <c:pt idx="0">
                  <c:v>0.13576231186151516</c:v>
                </c:pt>
                <c:pt idx="1">
                  <c:v>0.1357623118615151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48726262295986984</c:v>
                </c:pt>
                <c:pt idx="1">
                  <c:v>0.048726262295986984</c:v>
                </c:pt>
              </c:numCache>
            </c:numRef>
          </c:xVal>
          <c:yVal>
            <c:numRef>
              <c:f>Sheet1!$B$183:$B$184</c:f>
              <c:numCache>
                <c:formatCode>General</c:formatCode>
                <c:ptCount val="2"/>
                <c:pt idx="0">
                  <c:v>0.135762311861515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937125167512903</c:v>
                </c:pt>
                <c:pt idx="1">
                  <c:v>0.17172803297997644</c:v>
                </c:pt>
                <c:pt idx="2">
                  <c:v>0.1530975435964748</c:v>
                </c:pt>
                <c:pt idx="3">
                  <c:v>0.16824427471051656</c:v>
                </c:pt>
                <c:pt idx="4">
                  <c:v>0.17387148126577362</c:v>
                </c:pt>
                <c:pt idx="5">
                  <c:v>0.18830231719351492</c:v>
                </c:pt>
                <c:pt idx="6">
                  <c:v>0.15560592289066866</c:v>
                </c:pt>
                <c:pt idx="7">
                  <c:v>0.15805717897741256</c:v>
                </c:pt>
                <c:pt idx="8">
                  <c:v>0.22689897134459955</c:v>
                </c:pt>
                <c:pt idx="9">
                  <c:v>0.21262371699053312</c:v>
                </c:pt>
                <c:pt idx="10">
                  <c:v>0.1999336755687007</c:v>
                </c:pt>
                <c:pt idx="11">
                  <c:v>0.1806650028958037</c:v>
                </c:pt>
                <c:pt idx="12">
                  <c:v>0.16408405894172806</c:v>
                </c:pt>
                <c:pt idx="13">
                  <c:v>0.17955861786904304</c:v>
                </c:pt>
                <c:pt idx="14">
                  <c:v>0.18737636169289473</c:v>
                </c:pt>
                <c:pt idx="15">
                  <c:v>0.20706343816161624</c:v>
                </c:pt>
                <c:pt idx="16">
                  <c:v>0.2277164855019279</c:v>
                </c:pt>
                <c:pt idx="17">
                  <c:v>0.1756487760845282</c:v>
                </c:pt>
                <c:pt idx="18">
                  <c:v>0.1959980731419583</c:v>
                </c:pt>
                <c:pt idx="19">
                  <c:v>0.18723579895320197</c:v>
                </c:pt>
                <c:pt idx="20">
                  <c:v>0.18279992122107336</c:v>
                </c:pt>
                <c:pt idx="21">
                  <c:v>0.23068678225624858</c:v>
                </c:pt>
                <c:pt idx="22">
                  <c:v>0.24453079006240436</c:v>
                </c:pt>
                <c:pt idx="23">
                  <c:v>0.2170940170940171</c:v>
                </c:pt>
                <c:pt idx="24">
                  <c:v>0.13226341087659838</c:v>
                </c:pt>
                <c:pt idx="25">
                  <c:v>0.10591062412342216</c:v>
                </c:pt>
                <c:pt idx="26">
                  <c:v>0.1907043092641382</c:v>
                </c:pt>
                <c:pt idx="27">
                  <c:v>0.12732532386527204</c:v>
                </c:pt>
                <c:pt idx="28">
                  <c:v>0.13304242555028054</c:v>
                </c:pt>
                <c:pt idx="29">
                  <c:v>0.11865584483975562</c:v>
                </c:pt>
                <c:pt idx="30">
                  <c:v>0.14892495472654835</c:v>
                </c:pt>
                <c:pt idx="31">
                  <c:v>0.07412860103626942</c:v>
                </c:pt>
                <c:pt idx="32">
                  <c:v>0.17407878017789072</c:v>
                </c:pt>
                <c:pt idx="33">
                  <c:v>0.19314743701575246</c:v>
                </c:pt>
                <c:pt idx="34">
                  <c:v>0.22525514820922662</c:v>
                </c:pt>
                <c:pt idx="35">
                  <c:v>0.2247310012921503</c:v>
                </c:pt>
                <c:pt idx="36">
                  <c:v>0.22463472369602483</c:v>
                </c:pt>
                <c:pt idx="37">
                  <c:v>0.1858445994534733</c:v>
                </c:pt>
                <c:pt idx="38">
                  <c:v>0.20802452792685353</c:v>
                </c:pt>
                <c:pt idx="39">
                  <c:v>0.21020300822561694</c:v>
                </c:pt>
                <c:pt idx="40">
                  <c:v>0.21389226118500604</c:v>
                </c:pt>
                <c:pt idx="41">
                  <c:v>0.19046559530878862</c:v>
                </c:pt>
                <c:pt idx="42">
                  <c:v>0.24646904435299494</c:v>
                </c:pt>
                <c:pt idx="43">
                  <c:v>0.1656846386554622</c:v>
                </c:pt>
                <c:pt idx="44">
                  <c:v>0.21078535427731948</c:v>
                </c:pt>
                <c:pt idx="45">
                  <c:v>0.13755247772828508</c:v>
                </c:pt>
                <c:pt idx="46">
                  <c:v>0.17242653239929948</c:v>
                </c:pt>
                <c:pt idx="47">
                  <c:v>0.15600740074083086</c:v>
                </c:pt>
                <c:pt idx="48">
                  <c:v>0.16077540353327588</c:v>
                </c:pt>
                <c:pt idx="49">
                  <c:v>0.161625943445811</c:v>
                </c:pt>
                <c:pt idx="50">
                  <c:v>0.19343408200269055</c:v>
                </c:pt>
                <c:pt idx="51">
                  <c:v>0.19961358596223547</c:v>
                </c:pt>
                <c:pt idx="52">
                  <c:v>-0.08367039542073235</c:v>
                </c:pt>
                <c:pt idx="53">
                  <c:v>-0.14823103394537923</c:v>
                </c:pt>
                <c:pt idx="54">
                  <c:v>0.048726262295986984</c:v>
                </c:pt>
              </c:numCache>
            </c:numRef>
          </c:xVal>
          <c:yVal>
            <c:numRef>
              <c:f>Sheet1!$B$187:$B$241</c:f>
              <c:numCache>
                <c:formatCode>General</c:formatCode>
                <c:ptCount val="55"/>
                <c:pt idx="0">
                  <c:v>0.1158039783177176</c:v>
                </c:pt>
                <c:pt idx="1">
                  <c:v>0.11357504084667838</c:v>
                </c:pt>
                <c:pt idx="2">
                  <c:v>0.11693564057456991</c:v>
                </c:pt>
                <c:pt idx="3">
                  <c:v>0.11420344715696856</c:v>
                </c:pt>
                <c:pt idx="4">
                  <c:v>0.11318840195718263</c:v>
                </c:pt>
                <c:pt idx="5">
                  <c:v>0.11058534294495073</c:v>
                </c:pt>
                <c:pt idx="6">
                  <c:v>0.11648317480193263</c:v>
                </c:pt>
                <c:pt idx="7">
                  <c:v>0.11604101301173302</c:v>
                </c:pt>
                <c:pt idx="8">
                  <c:v>0.10362321206541936</c:v>
                </c:pt>
                <c:pt idx="9">
                  <c:v>0.10619820700572088</c:v>
                </c:pt>
                <c:pt idx="10">
                  <c:v>0.10848725851002047</c:v>
                </c:pt>
                <c:pt idx="11">
                  <c:v>0.11196297483761797</c:v>
                </c:pt>
                <c:pt idx="12">
                  <c:v>0.11495387403480149</c:v>
                </c:pt>
                <c:pt idx="13">
                  <c:v>0.11216254647222934</c:v>
                </c:pt>
                <c:pt idx="14">
                  <c:v>0.11075236839121622</c:v>
                </c:pt>
                <c:pt idx="15">
                  <c:v>0.10720117966708352</c:v>
                </c:pt>
                <c:pt idx="16">
                  <c:v>0.10347574745522517</c:v>
                </c:pt>
                <c:pt idx="17">
                  <c:v>0.11286781046002213</c:v>
                </c:pt>
                <c:pt idx="18">
                  <c:v>0.10919716924677828</c:v>
                </c:pt>
                <c:pt idx="19">
                  <c:v>0.11077772334003369</c:v>
                </c:pt>
                <c:pt idx="20">
                  <c:v>0.11157787459707758</c:v>
                </c:pt>
                <c:pt idx="21">
                  <c:v>0.10293996021642259</c:v>
                </c:pt>
                <c:pt idx="22">
                  <c:v>0.10044275427037294</c:v>
                </c:pt>
                <c:pt idx="23">
                  <c:v>0.10539184658210982</c:v>
                </c:pt>
                <c:pt idx="24">
                  <c:v>0.12069373727874318</c:v>
                </c:pt>
                <c:pt idx="25">
                  <c:v>0.12544729829203213</c:v>
                </c:pt>
                <c:pt idx="26">
                  <c:v>0.11015206748273543</c:v>
                </c:pt>
                <c:pt idx="27">
                  <c:v>0.12158447790959657</c:v>
                </c:pt>
                <c:pt idx="28">
                  <c:v>0.12055321727164567</c:v>
                </c:pt>
                <c:pt idx="29">
                  <c:v>0.12314829345165701</c:v>
                </c:pt>
                <c:pt idx="30">
                  <c:v>0.11768829933367345</c:v>
                </c:pt>
                <c:pt idx="31">
                  <c:v>0.13118019429599384</c:v>
                </c:pt>
                <c:pt idx="32">
                  <c:v>0.11315100902276676</c:v>
                </c:pt>
                <c:pt idx="33">
                  <c:v>0.10971137189561092</c:v>
                </c:pt>
                <c:pt idx="34">
                  <c:v>0.10391972771069963</c:v>
                </c:pt>
                <c:pt idx="35">
                  <c:v>0.1040142742333724</c:v>
                </c:pt>
                <c:pt idx="36">
                  <c:v>0.10403164095180265</c:v>
                </c:pt>
                <c:pt idx="37">
                  <c:v>0.11102867029928917</c:v>
                </c:pt>
                <c:pt idx="38">
                  <c:v>0.10702781664171952</c:v>
                </c:pt>
                <c:pt idx="39">
                  <c:v>0.10663485861745395</c:v>
                </c:pt>
                <c:pt idx="40">
                  <c:v>0.10596938482145023</c:v>
                </c:pt>
                <c:pt idx="41">
                  <c:v>0.1101951271166977</c:v>
                </c:pt>
                <c:pt idx="42">
                  <c:v>0.10009312862675933</c:v>
                </c:pt>
                <c:pt idx="43">
                  <c:v>0.11466515871231475</c:v>
                </c:pt>
                <c:pt idx="44">
                  <c:v>0.1065298140347484</c:v>
                </c:pt>
                <c:pt idx="45">
                  <c:v>0.11973968630044098</c:v>
                </c:pt>
                <c:pt idx="46">
                  <c:v>0.11344904431968494</c:v>
                </c:pt>
                <c:pt idx="47">
                  <c:v>0.1164107555365963</c:v>
                </c:pt>
                <c:pt idx="48">
                  <c:v>0.11555069498976674</c:v>
                </c:pt>
                <c:pt idx="49">
                  <c:v>0.11539727313702906</c:v>
                </c:pt>
                <c:pt idx="50">
                  <c:v>0.10965966637970759</c:v>
                </c:pt>
                <c:pt idx="51">
                  <c:v>0.10854499682393405</c:v>
                </c:pt>
                <c:pt idx="52">
                  <c:v>0.15964424876278446</c:v>
                </c:pt>
                <c:pt idx="53">
                  <c:v>0.17128980781345352</c:v>
                </c:pt>
                <c:pt idx="54">
                  <c:v>0.1357623118615151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92471358428805"/>
          <c:min val="0.0403361344537815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2.4167</c:v>
                </c:pt>
                <c:pt idx="1">
                  <c:v>326.9043</c:v>
                </c:pt>
                <c:pt idx="2">
                  <c:v>335.4938</c:v>
                </c:pt>
                <c:pt idx="3">
                  <c:v>331.1728</c:v>
                </c:pt>
                <c:pt idx="4">
                  <c:v>328.8553</c:v>
                </c:pt>
                <c:pt idx="5">
                  <c:v>346.78</c:v>
                </c:pt>
                <c:pt idx="6">
                  <c:v>345.325</c:v>
                </c:pt>
                <c:pt idx="7">
                  <c:v>338.2381</c:v>
                </c:pt>
                <c:pt idx="8">
                  <c:v>335.9556</c:v>
                </c:pt>
                <c:pt idx="9">
                  <c:v>332.5208</c:v>
                </c:pt>
                <c:pt idx="10">
                  <c:v>336.1042</c:v>
                </c:pt>
                <c:pt idx="11">
                  <c:v>333.4667</c:v>
                </c:pt>
                <c:pt idx="12">
                  <c:v>328.0439</c:v>
                </c:pt>
                <c:pt idx="13">
                  <c:v>325.1304</c:v>
                </c:pt>
                <c:pt idx="14">
                  <c:v>332.9222</c:v>
                </c:pt>
                <c:pt idx="15">
                  <c:v>343.4583</c:v>
                </c:pt>
                <c:pt idx="16">
                  <c:v>333.1786</c:v>
                </c:pt>
                <c:pt idx="17">
                  <c:v>338.6471</c:v>
                </c:pt>
                <c:pt idx="18">
                  <c:v>341.5606</c:v>
                </c:pt>
                <c:pt idx="19">
                  <c:v>354.2857</c:v>
                </c:pt>
                <c:pt idx="20">
                  <c:v>353.4412</c:v>
                </c:pt>
                <c:pt idx="21">
                  <c:v>348.5938</c:v>
                </c:pt>
                <c:pt idx="22">
                  <c:v>327.3409</c:v>
                </c:pt>
                <c:pt idx="23">
                  <c:v>337.4423</c:v>
                </c:pt>
                <c:pt idx="24">
                  <c:v>355.7115</c:v>
                </c:pt>
                <c:pt idx="25">
                  <c:v>340.9302</c:v>
                </c:pt>
                <c:pt idx="26">
                  <c:v>353.6923</c:v>
                </c:pt>
                <c:pt idx="27">
                  <c:v>351.3696</c:v>
                </c:pt>
                <c:pt idx="28">
                  <c:v>352.4839</c:v>
                </c:pt>
                <c:pt idx="29">
                  <c:v>342.6667</c:v>
                </c:pt>
                <c:pt idx="30">
                  <c:v>336.0909</c:v>
                </c:pt>
                <c:pt idx="31">
                  <c:v>347.0263</c:v>
                </c:pt>
                <c:pt idx="32">
                  <c:v>354.1944</c:v>
                </c:pt>
                <c:pt idx="33">
                  <c:v>348.125</c:v>
                </c:pt>
                <c:pt idx="34">
                  <c:v>370.8158</c:v>
                </c:pt>
                <c:pt idx="35">
                  <c:v>367.0333</c:v>
                </c:pt>
                <c:pt idx="36">
                  <c:v>360.2</c:v>
                </c:pt>
                <c:pt idx="37">
                  <c:v>400.375</c:v>
                </c:pt>
                <c:pt idx="38">
                  <c:v>384.7174</c:v>
                </c:pt>
                <c:pt idx="39">
                  <c:v>391.7857</c:v>
                </c:pt>
                <c:pt idx="40">
                  <c:v>364.8431</c:v>
                </c:pt>
                <c:pt idx="41">
                  <c:v>378.4359</c:v>
                </c:pt>
                <c:pt idx="42">
                  <c:v>381.8929</c:v>
                </c:pt>
                <c:pt idx="43">
                  <c:v>396.2391</c:v>
                </c:pt>
                <c:pt idx="44">
                  <c:v>372.1327</c:v>
                </c:pt>
                <c:pt idx="45">
                  <c:v>365.0336</c:v>
                </c:pt>
                <c:pt idx="46">
                  <c:v>359.1835</c:v>
                </c:pt>
                <c:pt idx="47">
                  <c:v>351.6226</c:v>
                </c:pt>
                <c:pt idx="48">
                  <c:v>355.045</c:v>
                </c:pt>
                <c:pt idx="49">
                  <c:v>344.5341</c:v>
                </c:pt>
                <c:pt idx="50">
                  <c:v>363.254</c:v>
                </c:pt>
                <c:pt idx="51">
                  <c:v>361.281</c:v>
                </c:pt>
                <c:pt idx="52">
                  <c:v>361.8793</c:v>
                </c:pt>
                <c:pt idx="53">
                  <c:v>357.3173</c:v>
                </c:pt>
                <c:pt idx="54">
                  <c:v>356.7059</c:v>
                </c:pt>
                <c:pt idx="55">
                  <c:v>360.8911</c:v>
                </c:pt>
                <c:pt idx="56">
                  <c:v>354.5421</c:v>
                </c:pt>
                <c:pt idx="57">
                  <c:v>362.3333</c:v>
                </c:pt>
                <c:pt idx="58">
                  <c:v>374.2784</c:v>
                </c:pt>
                <c:pt idx="59">
                  <c:v>357.9099</c:v>
                </c:pt>
                <c:pt idx="60">
                  <c:v>357.6</c:v>
                </c:pt>
                <c:pt idx="61">
                  <c:v>355.7083</c:v>
                </c:pt>
                <c:pt idx="62">
                  <c:v>371.3714</c:v>
                </c:pt>
                <c:pt idx="63">
                  <c:v>375.8558</c:v>
                </c:pt>
                <c:pt idx="64">
                  <c:v>382.3222</c:v>
                </c:pt>
                <c:pt idx="65">
                  <c:v>382.9375</c:v>
                </c:pt>
                <c:pt idx="66">
                  <c:v>382.0486</c:v>
                </c:pt>
                <c:pt idx="67">
                  <c:v>378.723</c:v>
                </c:pt>
                <c:pt idx="68">
                  <c:v>372.0</c:v>
                </c:pt>
                <c:pt idx="69">
                  <c:v>384.6757</c:v>
                </c:pt>
                <c:pt idx="70">
                  <c:v>387.3478</c:v>
                </c:pt>
                <c:pt idx="71">
                  <c:v>385.0875</c:v>
                </c:pt>
                <c:pt idx="72">
                  <c:v>421.0122</c:v>
                </c:pt>
                <c:pt idx="73">
                  <c:v>416.4412</c:v>
                </c:pt>
                <c:pt idx="74">
                  <c:v>394.4127</c:v>
                </c:pt>
                <c:pt idx="75">
                  <c:v>387.6792</c:v>
                </c:pt>
                <c:pt idx="76">
                  <c:v>387.7867</c:v>
                </c:pt>
                <c:pt idx="77">
                  <c:v>412.6579</c:v>
                </c:pt>
                <c:pt idx="78">
                  <c:v>396.2927</c:v>
                </c:pt>
                <c:pt idx="79">
                  <c:v>364.6154</c:v>
                </c:pt>
                <c:pt idx="80">
                  <c:v>412.8529</c:v>
                </c:pt>
                <c:pt idx="81">
                  <c:v>413.3953</c:v>
                </c:pt>
                <c:pt idx="82">
                  <c:v>409.7097</c:v>
                </c:pt>
                <c:pt idx="83">
                  <c:v>426.5455</c:v>
                </c:pt>
                <c:pt idx="84">
                  <c:v>406.5862</c:v>
                </c:pt>
                <c:pt idx="85">
                  <c:v>412.7241</c:v>
                </c:pt>
                <c:pt idx="86">
                  <c:v>423.3409</c:v>
                </c:pt>
                <c:pt idx="87">
                  <c:v>432.9048</c:v>
                </c:pt>
                <c:pt idx="88">
                  <c:v>408.3443</c:v>
                </c:pt>
                <c:pt idx="89">
                  <c:v>420.5283</c:v>
                </c:pt>
                <c:pt idx="90">
                  <c:v>452.0577</c:v>
                </c:pt>
                <c:pt idx="91">
                  <c:v>427.5122</c:v>
                </c:pt>
                <c:pt idx="92">
                  <c:v>412.234</c:v>
                </c:pt>
                <c:pt idx="93">
                  <c:v>408.766</c:v>
                </c:pt>
                <c:pt idx="94">
                  <c:v>430.6765</c:v>
                </c:pt>
                <c:pt idx="95">
                  <c:v>429.3514</c:v>
                </c:pt>
                <c:pt idx="96">
                  <c:v>422.5802</c:v>
                </c:pt>
                <c:pt idx="97">
                  <c:v>428.7596</c:v>
                </c:pt>
                <c:pt idx="98">
                  <c:v>422.8144</c:v>
                </c:pt>
                <c:pt idx="99">
                  <c:v>413.8552</c:v>
                </c:pt>
                <c:pt idx="100">
                  <c:v>421.2842</c:v>
                </c:pt>
                <c:pt idx="101">
                  <c:v>417.7459</c:v>
                </c:pt>
                <c:pt idx="102">
                  <c:v>399.5246</c:v>
                </c:pt>
                <c:pt idx="103">
                  <c:v>304.5391</c:v>
                </c:pt>
                <c:pt idx="104">
                  <c:v>314.8904</c:v>
                </c:pt>
              </c:numCache>
            </c:numRef>
          </c:xVal>
          <c:yVal>
            <c:numRef>
              <c:f>Sheet1!$B$2:$B$106</c:f>
              <c:numCache>
                <c:formatCode>General</c:formatCode>
                <c:ptCount val="105"/>
                <c:pt idx="0">
                  <c:v>0.2160392798690671</c:v>
                </c:pt>
                <c:pt idx="1">
                  <c:v>0.20353982300884957</c:v>
                </c:pt>
                <c:pt idx="2">
                  <c:v>0.15547024952015356</c:v>
                </c:pt>
                <c:pt idx="3">
                  <c:v>0.162</c:v>
                </c:pt>
                <c:pt idx="4">
                  <c:v>0.15734989648033126</c:v>
                </c:pt>
                <c:pt idx="5">
                  <c:v>0.16611295681063123</c:v>
                </c:pt>
                <c:pt idx="6">
                  <c:v>0.18823529411764706</c:v>
                </c:pt>
                <c:pt idx="7">
                  <c:v>0.17597765363128492</c:v>
                </c:pt>
                <c:pt idx="8">
                  <c:v>0.11688311688311688</c:v>
                </c:pt>
                <c:pt idx="9">
                  <c:v>0.16666666666666666</c:v>
                </c:pt>
                <c:pt idx="10">
                  <c:v>0.16753926701570682</c:v>
                </c:pt>
                <c:pt idx="11">
                  <c:v>0.12776831345826234</c:v>
                </c:pt>
                <c:pt idx="12">
                  <c:v>0.16939078751857356</c:v>
                </c:pt>
                <c:pt idx="13">
                  <c:v>0.18638573743922204</c:v>
                </c:pt>
                <c:pt idx="14">
                  <c:v>0.13412816691505217</c:v>
                </c:pt>
                <c:pt idx="15">
                  <c:v>0.11320754716981132</c:v>
                </c:pt>
                <c:pt idx="16">
                  <c:v>0.11948790896159317</c:v>
                </c:pt>
                <c:pt idx="17">
                  <c:v>0.11992945326278659</c:v>
                </c:pt>
                <c:pt idx="18">
                  <c:v>0.1375</c:v>
                </c:pt>
                <c:pt idx="19">
                  <c:v>0.10473815461346633</c:v>
                </c:pt>
                <c:pt idx="20">
                  <c:v>0.08312958435207823</c:v>
                </c:pt>
                <c:pt idx="21">
                  <c:v>0.0774818401937046</c:v>
                </c:pt>
                <c:pt idx="22">
                  <c:v>0.11195928753180662</c:v>
                </c:pt>
                <c:pt idx="23">
                  <c:v>0.1329923273657289</c:v>
                </c:pt>
                <c:pt idx="24">
                  <c:v>0.15902140672782875</c:v>
                </c:pt>
                <c:pt idx="25">
                  <c:v>0.1482758620689655</c:v>
                </c:pt>
                <c:pt idx="26">
                  <c:v>0.13577023498694518</c:v>
                </c:pt>
                <c:pt idx="27">
                  <c:v>0.13450292397660818</c:v>
                </c:pt>
                <c:pt idx="28">
                  <c:v>0.09064327485380116</c:v>
                </c:pt>
                <c:pt idx="29">
                  <c:v>0.1</c:v>
                </c:pt>
                <c:pt idx="30">
                  <c:v>0.09510086455331412</c:v>
                </c:pt>
                <c:pt idx="31">
                  <c:v>0.11728395061728394</c:v>
                </c:pt>
                <c:pt idx="32">
                  <c:v>0.10256410256410256</c:v>
                </c:pt>
                <c:pt idx="33">
                  <c:v>0.09716599190283401</c:v>
                </c:pt>
                <c:pt idx="34">
                  <c:v>0.07076350093109869</c:v>
                </c:pt>
                <c:pt idx="35">
                  <c:v>0.09836065573770492</c:v>
                </c:pt>
                <c:pt idx="36">
                  <c:v>0.09818731117824774</c:v>
                </c:pt>
                <c:pt idx="37">
                  <c:v>0.05042016806722689</c:v>
                </c:pt>
                <c:pt idx="38">
                  <c:v>0.0888030888030888</c:v>
                </c:pt>
                <c:pt idx="39">
                  <c:v>0.058091286307053944</c:v>
                </c:pt>
                <c:pt idx="40">
                  <c:v>0.09941520467836257</c:v>
                </c:pt>
                <c:pt idx="41">
                  <c:v>0.078</c:v>
                </c:pt>
                <c:pt idx="42">
                  <c:v>0.08668730650154799</c:v>
                </c:pt>
                <c:pt idx="43">
                  <c:v>0.06327372764786796</c:v>
                </c:pt>
                <c:pt idx="44">
                  <c:v>0.08836789900811542</c:v>
                </c:pt>
                <c:pt idx="45">
                  <c:v>0.09802306425041186</c:v>
                </c:pt>
                <c:pt idx="46">
                  <c:v>0.08769106999195495</c:v>
                </c:pt>
                <c:pt idx="47">
                  <c:v>0.13766233766233765</c:v>
                </c:pt>
                <c:pt idx="48">
                  <c:v>0.12978585334198572</c:v>
                </c:pt>
                <c:pt idx="49">
                  <c:v>0.16327519379844962</c:v>
                </c:pt>
                <c:pt idx="50">
                  <c:v>0.15504511894995898</c:v>
                </c:pt>
                <c:pt idx="51">
                  <c:v>0.13565022421524664</c:v>
                </c:pt>
                <c:pt idx="52">
                  <c:v>0.1351981351981352</c:v>
                </c:pt>
                <c:pt idx="53">
                  <c:v>0.14130434782608695</c:v>
                </c:pt>
                <c:pt idx="54">
                  <c:v>0.1504424778761062</c:v>
                </c:pt>
                <c:pt idx="55">
                  <c:v>0.1669421487603306</c:v>
                </c:pt>
                <c:pt idx="56">
                  <c:v>0.16984126984126985</c:v>
                </c:pt>
                <c:pt idx="57">
                  <c:v>0.15924657534246575</c:v>
                </c:pt>
                <c:pt idx="58">
                  <c:v>0.17765567765567766</c:v>
                </c:pt>
                <c:pt idx="59">
                  <c:v>0.12997658079625293</c:v>
                </c:pt>
                <c:pt idx="60">
                  <c:v>0.12859304084720122</c:v>
                </c:pt>
                <c:pt idx="61">
                  <c:v>0.14328358208955225</c:v>
                </c:pt>
                <c:pt idx="62">
                  <c:v>0.16587677725118483</c:v>
                </c:pt>
                <c:pt idx="63">
                  <c:v>0.1489971346704871</c:v>
                </c:pt>
                <c:pt idx="64">
                  <c:v>0.10869565217391304</c:v>
                </c:pt>
                <c:pt idx="65">
                  <c:v>0.11497005988023952</c:v>
                </c:pt>
                <c:pt idx="66">
                  <c:v>0.16161616161616163</c:v>
                </c:pt>
                <c:pt idx="67">
                  <c:v>0.16856492027334852</c:v>
                </c:pt>
                <c:pt idx="68">
                  <c:v>0.13981358189081225</c:v>
                </c:pt>
                <c:pt idx="69">
                  <c:v>0.13883677298311445</c:v>
                </c:pt>
                <c:pt idx="70">
                  <c:v>0.12614259597806216</c:v>
                </c:pt>
                <c:pt idx="71">
                  <c:v>0.15841584158415842</c:v>
                </c:pt>
                <c:pt idx="72">
                  <c:v>0.16565656565656567</c:v>
                </c:pt>
                <c:pt idx="73">
                  <c:v>0.14655172413793102</c:v>
                </c:pt>
                <c:pt idx="74">
                  <c:v>0.14</c:v>
                </c:pt>
                <c:pt idx="75">
                  <c:v>0.12268518518518519</c:v>
                </c:pt>
                <c:pt idx="76">
                  <c:v>0.1595744680851064</c:v>
                </c:pt>
                <c:pt idx="77">
                  <c:v>0.10497237569060773</c:v>
                </c:pt>
                <c:pt idx="78">
                  <c:v>0.1132596685082873</c:v>
                </c:pt>
                <c:pt idx="79">
                  <c:v>0.06582278481012659</c:v>
                </c:pt>
                <c:pt idx="80">
                  <c:v>0.08095238095238096</c:v>
                </c:pt>
                <c:pt idx="81">
                  <c:v>0.10361445783132531</c:v>
                </c:pt>
                <c:pt idx="82">
                  <c:v>0.08831908831908832</c:v>
                </c:pt>
                <c:pt idx="83">
                  <c:v>0.09016393442622951</c:v>
                </c:pt>
                <c:pt idx="84">
                  <c:v>0.08033240997229917</c:v>
                </c:pt>
                <c:pt idx="85">
                  <c:v>0.0821529745042493</c:v>
                </c:pt>
                <c:pt idx="86">
                  <c:v>0.08148148148148149</c:v>
                </c:pt>
                <c:pt idx="87">
                  <c:v>0.07460035523978685</c:v>
                </c:pt>
                <c:pt idx="88">
                  <c:v>0.10234899328859061</c:v>
                </c:pt>
                <c:pt idx="89">
                  <c:v>0.10707070707070707</c:v>
                </c:pt>
                <c:pt idx="90">
                  <c:v>0.12293144208037825</c:v>
                </c:pt>
                <c:pt idx="91">
                  <c:v>0.08798283261802575</c:v>
                </c:pt>
                <c:pt idx="92">
                  <c:v>0.09233791748526522</c:v>
                </c:pt>
                <c:pt idx="93">
                  <c:v>0.0951417004048583</c:v>
                </c:pt>
                <c:pt idx="94">
                  <c:v>0.10810810810810811</c:v>
                </c:pt>
                <c:pt idx="95">
                  <c:v>0.09622886866059818</c:v>
                </c:pt>
                <c:pt idx="96">
                  <c:v>0.07758620689655173</c:v>
                </c:pt>
                <c:pt idx="97">
                  <c:v>0.08393866020984665</c:v>
                </c:pt>
                <c:pt idx="98">
                  <c:v>0.0706997084548105</c:v>
                </c:pt>
                <c:pt idx="99">
                  <c:v>0.09972489683631362</c:v>
                </c:pt>
                <c:pt idx="100">
                  <c:v>0.09581151832460733</c:v>
                </c:pt>
                <c:pt idx="101">
                  <c:v>0.11000901713255185</c:v>
                </c:pt>
                <c:pt idx="102">
                  <c:v>0.0915915915915916</c:v>
                </c:pt>
                <c:pt idx="103">
                  <c:v>0.13805522208883553</c:v>
                </c:pt>
                <c:pt idx="104">
                  <c:v>0.105950653120464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numCache>
            </c:numRef>
          </c:xVal>
          <c:yVal>
            <c:numRef>
              <c:f>Sheet1!$B$109:$B$160</c:f>
              <c:numCache>
                <c:formatCode>General</c:formatCode>
                <c:ptCount val="52"/>
                <c:pt idx="0">
                  <c:v>0.1091644204851752</c:v>
                </c:pt>
                <c:pt idx="1">
                  <c:v>0.09236947791164658</c:v>
                </c:pt>
                <c:pt idx="2">
                  <c:v>0.1111111111111111</c:v>
                </c:pt>
                <c:pt idx="3">
                  <c:v>0.1370056497175141</c:v>
                </c:pt>
                <c:pt idx="4">
                  <c:v>0.09882005899705015</c:v>
                </c:pt>
                <c:pt idx="5">
                  <c:v>0.12438625204582651</c:v>
                </c:pt>
                <c:pt idx="6">
                  <c:v>0.11350293542074363</c:v>
                </c:pt>
                <c:pt idx="7">
                  <c:v>0.10457516339869281</c:v>
                </c:pt>
                <c:pt idx="8">
                  <c:v>0.13574660633484162</c:v>
                </c:pt>
                <c:pt idx="9">
                  <c:v>0.12895377128953772</c:v>
                </c:pt>
                <c:pt idx="10">
                  <c:v>0.12863070539419086</c:v>
                </c:pt>
                <c:pt idx="11">
                  <c:v>0.13030746705710103</c:v>
                </c:pt>
                <c:pt idx="12">
                  <c:v>0.10771470160116449</c:v>
                </c:pt>
                <c:pt idx="13">
                  <c:v>0.12261146496815287</c:v>
                </c:pt>
                <c:pt idx="14">
                  <c:v>0.10497237569060773</c:v>
                </c:pt>
                <c:pt idx="15">
                  <c:v>0.10051993067590988</c:v>
                </c:pt>
                <c:pt idx="16">
                  <c:v>0.08016877637130802</c:v>
                </c:pt>
                <c:pt idx="17">
                  <c:v>0.07021791767554479</c:v>
                </c:pt>
                <c:pt idx="18">
                  <c:v>0.07303370786516854</c:v>
                </c:pt>
                <c:pt idx="19">
                  <c:v>0.08222222222222222</c:v>
                </c:pt>
                <c:pt idx="20">
                  <c:v>0.09651474530831099</c:v>
                </c:pt>
                <c:pt idx="21">
                  <c:v>0.09328358208955224</c:v>
                </c:pt>
                <c:pt idx="22">
                  <c:v>0.10080645161290322</c:v>
                </c:pt>
                <c:pt idx="23">
                  <c:v>0.09950248756218906</c:v>
                </c:pt>
                <c:pt idx="24">
                  <c:v>0.11057692307692307</c:v>
                </c:pt>
                <c:pt idx="25">
                  <c:v>0.15625</c:v>
                </c:pt>
                <c:pt idx="26">
                  <c:v>0.09055118110236221</c:v>
                </c:pt>
                <c:pt idx="27">
                  <c:v>0.10256410256410256</c:v>
                </c:pt>
                <c:pt idx="28">
                  <c:v>0.09712230215827339</c:v>
                </c:pt>
                <c:pt idx="29">
                  <c:v>0.12017167381974249</c:v>
                </c:pt>
                <c:pt idx="30">
                  <c:v>0.09606986899563319</c:v>
                </c:pt>
                <c:pt idx="31">
                  <c:v>0.10476190476190476</c:v>
                </c:pt>
                <c:pt idx="32">
                  <c:v>0.05405405405405406</c:v>
                </c:pt>
                <c:pt idx="33">
                  <c:v>0.09696969696969697</c:v>
                </c:pt>
                <c:pt idx="34">
                  <c:v>0.08923884514435695</c:v>
                </c:pt>
                <c:pt idx="35">
                  <c:v>0.10263157894736842</c:v>
                </c:pt>
                <c:pt idx="36">
                  <c:v>0.10504201680672269</c:v>
                </c:pt>
                <c:pt idx="37">
                  <c:v>0.09748427672955975</c:v>
                </c:pt>
                <c:pt idx="38">
                  <c:v>0.08045977011494253</c:v>
                </c:pt>
                <c:pt idx="39">
                  <c:v>0.09446254071661238</c:v>
                </c:pt>
                <c:pt idx="40">
                  <c:v>0.08053691275167785</c:v>
                </c:pt>
                <c:pt idx="41">
                  <c:v>0.10396039603960396</c:v>
                </c:pt>
                <c:pt idx="42">
                  <c:v>0.11320754716981132</c:v>
                </c:pt>
                <c:pt idx="43">
                  <c:v>0.08695652173913043</c:v>
                </c:pt>
                <c:pt idx="44">
                  <c:v>0.12746858168761221</c:v>
                </c:pt>
                <c:pt idx="45">
                  <c:v>0.1598224195338513</c:v>
                </c:pt>
                <c:pt idx="46">
                  <c:v>0.1802403204272363</c:v>
                </c:pt>
                <c:pt idx="47">
                  <c:v>0.17967781908302355</c:v>
                </c:pt>
                <c:pt idx="48">
                  <c:v>0.1624015748031496</c:v>
                </c:pt>
                <c:pt idx="49">
                  <c:v>0.1609870740305523</c:v>
                </c:pt>
                <c:pt idx="50">
                  <c:v>0.16115107913669063</c:v>
                </c:pt>
                <c:pt idx="51">
                  <c:v>0.154037267080745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40801524785091</c:v>
                </c:pt>
              </c:numCache>
            </c:numRef>
          </c:xVal>
          <c:yVal>
            <c:numRef>
              <c:f>Sheet1!$B$163:$B$164</c:f>
              <c:numCache>
                <c:formatCode>General</c:formatCode>
                <c:ptCount val="2"/>
                <c:pt idx="0">
                  <c:v>0.17128980781345352</c:v>
                </c:pt>
                <c:pt idx="1">
                  <c:v>0.171289807813453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40801524785091</c:v>
                </c:pt>
                <c:pt idx="1">
                  <c:v>101.40801524785091</c:v>
                </c:pt>
              </c:numCache>
            </c:numRef>
          </c:xVal>
          <c:yVal>
            <c:numRef>
              <c:f>Sheet1!$B$167:$B$168</c:f>
              <c:numCache>
                <c:formatCode>General</c:formatCode>
                <c:ptCount val="2"/>
                <c:pt idx="0">
                  <c:v>0.171289807813453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67.1875796284726</c:v>
                </c:pt>
              </c:numCache>
            </c:numRef>
          </c:xVal>
          <c:yVal>
            <c:numRef>
              <c:f>Sheet1!$B$171:$B$172</c:f>
              <c:numCache>
                <c:formatCode>General</c:formatCode>
                <c:ptCount val="2"/>
                <c:pt idx="0">
                  <c:v>0.15964424876278446</c:v>
                </c:pt>
                <c:pt idx="1">
                  <c:v>0.159644248762784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67.1875796284726</c:v>
                </c:pt>
                <c:pt idx="1">
                  <c:v>167.1875796284726</c:v>
                </c:pt>
              </c:numCache>
            </c:numRef>
          </c:xVal>
          <c:yVal>
            <c:numRef>
              <c:f>Sheet1!$B$175:$B$176</c:f>
              <c:numCache>
                <c:formatCode>General</c:formatCode>
                <c:ptCount val="2"/>
                <c:pt idx="0">
                  <c:v>0.159644248762784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02.0839293095758</c:v>
                </c:pt>
              </c:numCache>
            </c:numRef>
          </c:xVal>
          <c:yVal>
            <c:numRef>
              <c:f>Sheet1!$B$179:$B$180</c:f>
              <c:numCache>
                <c:formatCode>General</c:formatCode>
                <c:ptCount val="2"/>
                <c:pt idx="0">
                  <c:v>0.13576231186151516</c:v>
                </c:pt>
                <c:pt idx="1">
                  <c:v>0.1357623118615151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02.0839293095758</c:v>
                </c:pt>
                <c:pt idx="1">
                  <c:v>302.0839293095758</c:v>
                </c:pt>
              </c:numCache>
            </c:numRef>
          </c:xVal>
          <c:yVal>
            <c:numRef>
              <c:f>Sheet1!$B$183:$B$184</c:f>
              <c:numCache>
                <c:formatCode>General</c:formatCode>
                <c:ptCount val="2"/>
                <c:pt idx="0">
                  <c:v>0.135762311861515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pt idx="52">
                  <c:v>167.1875796284726</c:v>
                </c:pt>
                <c:pt idx="53">
                  <c:v>101.40801524785091</c:v>
                </c:pt>
                <c:pt idx="54">
                  <c:v>302.0839293095758</c:v>
                </c:pt>
              </c:numCache>
            </c:numRef>
          </c:xVal>
          <c:yVal>
            <c:numRef>
              <c:f>Sheet1!$B$187:$B$241</c:f>
              <c:numCache>
                <c:formatCode>General</c:formatCode>
                <c:ptCount val="55"/>
                <c:pt idx="0">
                  <c:v>0.12833497532192936</c:v>
                </c:pt>
                <c:pt idx="1">
                  <c:v>0.11180760814459144</c:v>
                </c:pt>
                <c:pt idx="2">
                  <c:v>0.11696948592182815</c:v>
                </c:pt>
                <c:pt idx="3">
                  <c:v>0.11548336607200091</c:v>
                </c:pt>
                <c:pt idx="4">
                  <c:v>0.10996379836891082</c:v>
                </c:pt>
                <c:pt idx="5">
                  <c:v>0.11291582019609825</c:v>
                </c:pt>
                <c:pt idx="6">
                  <c:v>0.11528947278018016</c:v>
                </c:pt>
                <c:pt idx="7">
                  <c:v>0.11585472342127334</c:v>
                </c:pt>
                <c:pt idx="8">
                  <c:v>0.11270307223336909</c:v>
                </c:pt>
                <c:pt idx="9">
                  <c:v>0.11369404895083308</c:v>
                </c:pt>
                <c:pt idx="10">
                  <c:v>0.10948970519308289</c:v>
                </c:pt>
                <c:pt idx="11">
                  <c:v>0.11330712985909257</c:v>
                </c:pt>
                <c:pt idx="12">
                  <c:v>0.11117589700153561</c:v>
                </c:pt>
                <c:pt idx="13">
                  <c:v>0.10921669309911215</c:v>
                </c:pt>
                <c:pt idx="14">
                  <c:v>0.10849449723961221</c:v>
                </c:pt>
                <c:pt idx="15">
                  <c:v>0.10321111748449333</c:v>
                </c:pt>
                <c:pt idx="16">
                  <c:v>0.09792340026986968</c:v>
                </c:pt>
                <c:pt idx="17">
                  <c:v>0.10427641524277757</c:v>
                </c:pt>
                <c:pt idx="18">
                  <c:v>0.10100258932817</c:v>
                </c:pt>
                <c:pt idx="19">
                  <c:v>0.10311105494930607</c:v>
                </c:pt>
                <c:pt idx="20">
                  <c:v>0.10708207879353311</c:v>
                </c:pt>
                <c:pt idx="21">
                  <c:v>0.0985564569105678</c:v>
                </c:pt>
                <c:pt idx="22">
                  <c:v>0.09732426433289036</c:v>
                </c:pt>
                <c:pt idx="23">
                  <c:v>0.09930710296363565</c:v>
                </c:pt>
                <c:pt idx="24">
                  <c:v>0.11324700735918175</c:v>
                </c:pt>
                <c:pt idx="25">
                  <c:v>0.13576706170003866</c:v>
                </c:pt>
                <c:pt idx="26">
                  <c:v>0.12530877408525243</c:v>
                </c:pt>
                <c:pt idx="27">
                  <c:v>0.1305165758214905</c:v>
                </c:pt>
                <c:pt idx="28">
                  <c:v>0.13466902940043077</c:v>
                </c:pt>
                <c:pt idx="29">
                  <c:v>0.14753763441005133</c:v>
                </c:pt>
                <c:pt idx="30">
                  <c:v>0.1164477160992806</c:v>
                </c:pt>
                <c:pt idx="31">
                  <c:v>0.13858564910972673</c:v>
                </c:pt>
                <c:pt idx="32">
                  <c:v>0.11647990181919753</c:v>
                </c:pt>
                <c:pt idx="33">
                  <c:v>0.1059405302675469</c:v>
                </c:pt>
                <c:pt idx="34">
                  <c:v>0.09493319109512405</c:v>
                </c:pt>
                <c:pt idx="35">
                  <c:v>0.10172664409888625</c:v>
                </c:pt>
                <c:pt idx="36">
                  <c:v>0.09180064243295707</c:v>
                </c:pt>
                <c:pt idx="37">
                  <c:v>0.09773658854458732</c:v>
                </c:pt>
                <c:pt idx="38">
                  <c:v>0.0966009354227443</c:v>
                </c:pt>
                <c:pt idx="39">
                  <c:v>0.11006986253173934</c:v>
                </c:pt>
                <c:pt idx="40">
                  <c:v>0.09529420935725046</c:v>
                </c:pt>
                <c:pt idx="41">
                  <c:v>0.09838818118569963</c:v>
                </c:pt>
                <c:pt idx="42">
                  <c:v>0.09381396720765008</c:v>
                </c:pt>
                <c:pt idx="43">
                  <c:v>0.10197830526974379</c:v>
                </c:pt>
                <c:pt idx="44">
                  <c:v>0.10668788339217442</c:v>
                </c:pt>
                <c:pt idx="45">
                  <c:v>0.11926458622908312</c:v>
                </c:pt>
                <c:pt idx="46">
                  <c:v>0.1195210451612704</c:v>
                </c:pt>
                <c:pt idx="47">
                  <c:v>0.12427817600300624</c:v>
                </c:pt>
                <c:pt idx="48">
                  <c:v>0.1239413058827757</c:v>
                </c:pt>
                <c:pt idx="49">
                  <c:v>0.12119146278025889</c:v>
                </c:pt>
                <c:pt idx="50">
                  <c:v>0.11898374900408748</c:v>
                </c:pt>
                <c:pt idx="51">
                  <c:v>0.11779484250187587</c:v>
                </c:pt>
                <c:pt idx="52">
                  <c:v>0.15964424876278446</c:v>
                </c:pt>
                <c:pt idx="53">
                  <c:v>0.17128980781345352</c:v>
                </c:pt>
                <c:pt idx="54">
                  <c:v>0.135762311861515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0.0"/>
          <c:min val="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92471358428805"/>
          <c:min val="0.0403361344537815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2:$B$11</c:f>
              <c:numCache>
                <c:formatCode>General</c:formatCode>
                <c:ptCount val="10"/>
                <c:pt idx="0">
                  <c:v>0.1111111111111111</c:v>
                </c:pt>
                <c:pt idx="1">
                  <c:v>0.125</c:v>
                </c:pt>
                <c:pt idx="2">
                  <c:v>0.1111111111111111</c:v>
                </c:pt>
                <c:pt idx="3">
                  <c:v>0.058823529411764705</c:v>
                </c:pt>
                <c:pt idx="4">
                  <c:v>0.09523809523809523</c:v>
                </c:pt>
                <c:pt idx="5">
                  <c:v>0.05263157894736842</c:v>
                </c:pt>
                <c:pt idx="6">
                  <c:v>0.12</c:v>
                </c:pt>
                <c:pt idx="7">
                  <c:v>0.11538461538461539</c:v>
                </c:pt>
                <c:pt idx="8">
                  <c:v>0.10526315789473684</c:v>
                </c:pt>
                <c:pt idx="9">
                  <c:v>0.09090909090909091</c:v>
                </c:pt>
              </c:numCache>
            </c:numRef>
          </c:yVal>
          <c:smooth val="0"/>
          <c:extLst>
            <c:ext xmlns:c16="http://schemas.microsoft.com/office/drawing/2014/chart" uri="{C3380CC4-5D6E-409C-BE32-E72D297353CC}">
              <c16:uniqueId val="{00000000-096C-4121-9522-6AB7243CCAAE}"/>
            </c:ext>
          </c:extLst>
        </c:ser>
        <c:ser>
          <c:idx val="1"/>
          <c:order val="1"/>
          <c:tx>
            <c:strRef>
              <c:f>Sheet1!$B$1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A$20</c:f>
              <c:numCache>
                <c:formatCode>General</c:formatCode>
                <c:ptCount val="7"/>
                <c:pt idx="0">
                  <c:v>0.0</c:v>
                </c:pt>
                <c:pt idx="1">
                  <c:v>0.0</c:v>
                </c:pt>
                <c:pt idx="2">
                  <c:v>0.0</c:v>
                </c:pt>
                <c:pt idx="3">
                  <c:v>0.0</c:v>
                </c:pt>
                <c:pt idx="4">
                  <c:v>0.0</c:v>
                </c:pt>
                <c:pt idx="5">
                  <c:v>0.0</c:v>
                </c:pt>
                <c:pt idx="6">
                  <c:v>0.48742549789213546</c:v>
                </c:pt>
              </c:numCache>
            </c:numRef>
          </c:xVal>
          <c:yVal>
            <c:numRef>
              <c:f>Sheet1!$B$14:$B$20</c:f>
              <c:numCache>
                <c:formatCode>General</c:formatCode>
                <c:ptCount val="7"/>
                <c:pt idx="0">
                  <c:v>0.0</c:v>
                </c:pt>
                <c:pt idx="1">
                  <c:v>0.0</c:v>
                </c:pt>
                <c:pt idx="2">
                  <c:v>0.0</c:v>
                </c:pt>
                <c:pt idx="3">
                  <c:v>0.0</c:v>
                </c:pt>
                <c:pt idx="4">
                  <c:v>0.0</c:v>
                </c:pt>
                <c:pt idx="5">
                  <c:v>0.0</c:v>
                </c:pt>
                <c:pt idx="6">
                  <c:v>0.09090909090909091</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5394734635071359</c:v>
                </c:pt>
              </c:numCache>
            </c:numRef>
          </c:xVal>
          <c:yVal>
            <c:numRef>
              <c:f>Sheet1!$B$23:$B$24</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5394734635071359</c:v>
                </c:pt>
                <c:pt idx="1">
                  <c:v>0.5394734635071359</c:v>
                </c:pt>
              </c:numCache>
            </c:numRef>
          </c:xVal>
          <c:yVal>
            <c:numRef>
              <c:f>Sheet1!$B$27:$B$28</c:f>
              <c:numCache>
                <c:formatCode>General</c:formatCode>
                <c:ptCount val="2"/>
                <c:pt idx="0">
                  <c:v>0.100616488774383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5394734635071359</c:v>
                </c:pt>
              </c:numCache>
            </c:numRef>
          </c:xVal>
          <c:yVal>
            <c:numRef>
              <c:f>Sheet1!$B$31:$B$32</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5394734635071359</c:v>
                </c:pt>
                <c:pt idx="1">
                  <c:v>0.5394734635071359</c:v>
                </c:pt>
              </c:numCache>
            </c:numRef>
          </c:xVal>
          <c:yVal>
            <c:numRef>
              <c:f>Sheet1!$B$35:$B$36</c:f>
              <c:numCache>
                <c:formatCode>General</c:formatCode>
                <c:ptCount val="2"/>
                <c:pt idx="0">
                  <c:v>0.100616488774383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4439394642821648</c:v>
                </c:pt>
              </c:numCache>
            </c:numRef>
          </c:xVal>
          <c:yVal>
            <c:numRef>
              <c:f>Sheet1!$B$39:$B$40</c:f>
              <c:numCache>
                <c:formatCode>General</c:formatCode>
                <c:ptCount val="2"/>
                <c:pt idx="0">
                  <c:v>0.08279856776284497</c:v>
                </c:pt>
                <c:pt idx="1">
                  <c:v>0.0827985677628449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4439394642821648</c:v>
                </c:pt>
                <c:pt idx="1">
                  <c:v>0.4439394642821648</c:v>
                </c:pt>
              </c:numCache>
            </c:numRef>
          </c:xVal>
          <c:yVal>
            <c:numRef>
              <c:f>Sheet1!$B$43:$B$44</c:f>
              <c:numCache>
                <c:formatCode>General</c:formatCode>
                <c:ptCount val="2"/>
                <c:pt idx="0">
                  <c:v>0.082798567762844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56</c:f>
              <c:numCache>
                <c:formatCode>General</c:formatCode>
                <c:ptCount val="10"/>
                <c:pt idx="0">
                  <c:v>0.0</c:v>
                </c:pt>
                <c:pt idx="1">
                  <c:v>0.0</c:v>
                </c:pt>
                <c:pt idx="2">
                  <c:v>0.0</c:v>
                </c:pt>
                <c:pt idx="3">
                  <c:v>0.0</c:v>
                </c:pt>
                <c:pt idx="4">
                  <c:v>0.0</c:v>
                </c:pt>
                <c:pt idx="5">
                  <c:v>0.0</c:v>
                </c:pt>
                <c:pt idx="6">
                  <c:v>0.48742549789213546</c:v>
                </c:pt>
                <c:pt idx="7">
                  <c:v>0.5394734635071359</c:v>
                </c:pt>
                <c:pt idx="8">
                  <c:v>0.5394734635071359</c:v>
                </c:pt>
                <c:pt idx="9">
                  <c:v>0.4439394642821648</c:v>
                </c:pt>
              </c:numCache>
            </c:numRef>
          </c:xVal>
          <c:yVal>
            <c:numRef>
              <c:f>Sheet1!$B$47:$B$56</c:f>
              <c:numCache>
                <c:formatCode>General</c:formatCode>
                <c:ptCount val="10"/>
                <c:pt idx="0">
                  <c:v>1.7223744408889292e-18</c:v>
                </c:pt>
                <c:pt idx="1">
                  <c:v>1.7223744408889292e-18</c:v>
                </c:pt>
                <c:pt idx="2">
                  <c:v>1.7223744408889292e-18</c:v>
                </c:pt>
                <c:pt idx="3">
                  <c:v>1.7223744408889292e-18</c:v>
                </c:pt>
                <c:pt idx="4">
                  <c:v>1.7223744408889292e-18</c:v>
                </c:pt>
                <c:pt idx="5">
                  <c:v>1.7223744408889292e-18</c:v>
                </c:pt>
                <c:pt idx="6">
                  <c:v>0.09090909090909088</c:v>
                </c:pt>
                <c:pt idx="7">
                  <c:v>0.1006164887743835</c:v>
                </c:pt>
                <c:pt idx="8">
                  <c:v>0.1006164887743835</c:v>
                </c:pt>
                <c:pt idx="9">
                  <c:v>0.082798567762844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0.502498009459498</c:v>
                </c:pt>
                <c:pt idx="5">
                  <c:v>0.6069220938421012</c:v>
                </c:pt>
                <c:pt idx="6">
                  <c:v>0.0</c:v>
                </c:pt>
                <c:pt idx="7">
                  <c:v>0.5700026975991368</c:v>
                </c:pt>
                <c:pt idx="8">
                  <c:v>1.0226958449926187</c:v>
                </c:pt>
                <c:pt idx="9">
                  <c:v>0.5059674164040564</c:v>
                </c:pt>
                <c:pt idx="10">
                  <c:v>0.7177160222062805</c:v>
                </c:pt>
                <c:pt idx="11">
                  <c:v>0.7910602748622102</c:v>
                </c:pt>
                <c:pt idx="12">
                  <c:v>0.613467051080204</c:v>
                </c:pt>
                <c:pt idx="13">
                  <c:v>0.4824088100393313</c:v>
                </c:pt>
                <c:pt idx="14">
                  <c:v>0.6073822334939052</c:v>
                </c:pt>
                <c:pt idx="15">
                  <c:v>0.2799143113766136</c:v>
                </c:pt>
                <c:pt idx="16">
                  <c:v>0.6441815700829071</c:v>
                </c:pt>
                <c:pt idx="17">
                  <c:v>0.3968870394711816</c:v>
                </c:pt>
                <c:pt idx="18">
                  <c:v>0.35587625323663313</c:v>
                </c:pt>
                <c:pt idx="19">
                  <c:v>0.15100927652974078</c:v>
                </c:pt>
                <c:pt idx="20">
                  <c:v>0.021488961297203228</c:v>
                </c:pt>
                <c:pt idx="21">
                  <c:v>1.3342122760118629</c:v>
                </c:pt>
                <c:pt idx="22">
                  <c:v>0.5776957033483454</c:v>
                </c:pt>
                <c:pt idx="23">
                  <c:v>2.1411716928419886</c:v>
                </c:pt>
                <c:pt idx="24">
                  <c:v>0.579508340071987</c:v>
                </c:pt>
                <c:pt idx="25">
                  <c:v>2.779929449169125</c:v>
                </c:pt>
                <c:pt idx="26">
                  <c:v>0.8531292787137332</c:v>
                </c:pt>
                <c:pt idx="27">
                  <c:v>0.6826858009211026</c:v>
                </c:pt>
                <c:pt idx="28">
                  <c:v>1.6312644721594496</c:v>
                </c:pt>
                <c:pt idx="29">
                  <c:v>1.1434859458082247</c:v>
                </c:pt>
                <c:pt idx="30">
                  <c:v>0.6507829255347919</c:v>
                </c:pt>
                <c:pt idx="31">
                  <c:v>0.5230091334076262</c:v>
                </c:pt>
                <c:pt idx="32">
                  <c:v>0.8981856976620224</c:v>
                </c:pt>
                <c:pt idx="33">
                  <c:v>1.147423267473503</c:v>
                </c:pt>
                <c:pt idx="34">
                  <c:v>0.5729624960876119</c:v>
                </c:pt>
                <c:pt idx="35">
                  <c:v>0.7565030230226452</c:v>
                </c:pt>
                <c:pt idx="36">
                  <c:v>0.9467998892414966</c:v>
                </c:pt>
                <c:pt idx="37">
                  <c:v>0.40578838050843186</c:v>
                </c:pt>
                <c:pt idx="38">
                  <c:v>0.7445133407891399</c:v>
                </c:pt>
                <c:pt idx="39">
                  <c:v>0.6824867363555182</c:v>
                </c:pt>
                <c:pt idx="40">
                  <c:v>0.52049577845262</c:v>
                </c:pt>
                <c:pt idx="41">
                  <c:v>1.305074733725487</c:v>
                </c:pt>
                <c:pt idx="42">
                  <c:v>1.6532924161796871</c:v>
                </c:pt>
                <c:pt idx="43">
                  <c:v>1.1453633170483155</c:v>
                </c:pt>
                <c:pt idx="44">
                  <c:v>1.1860915675681671</c:v>
                </c:pt>
                <c:pt idx="45">
                  <c:v>1.5626922590691372</c:v>
                </c:pt>
                <c:pt idx="46">
                  <c:v>1.5559242673847231</c:v>
                </c:pt>
                <c:pt idx="47">
                  <c:v>1.0877546153398123</c:v>
                </c:pt>
                <c:pt idx="48">
                  <c:v>1.278295545994452</c:v>
                </c:pt>
                <c:pt idx="49">
                  <c:v>1.2480545514851704</c:v>
                </c:pt>
                <c:pt idx="50">
                  <c:v>1.1354903515965078</c:v>
                </c:pt>
              </c:numCache>
            </c:numRef>
          </c:xVal>
          <c:yVal>
            <c:numRef>
              <c:f>Sheet1!$B$2:$B$52</c:f>
              <c:numCache>
                <c:formatCode>General</c:formatCode>
                <c:ptCount val="51"/>
                <c:pt idx="0">
                  <c:v>0.0</c:v>
                </c:pt>
                <c:pt idx="1">
                  <c:v>0.0</c:v>
                </c:pt>
                <c:pt idx="2">
                  <c:v>0.0</c:v>
                </c:pt>
                <c:pt idx="3">
                  <c:v>0.0</c:v>
                </c:pt>
                <c:pt idx="4">
                  <c:v>0.00034223134839151266</c:v>
                </c:pt>
                <c:pt idx="5">
                  <c:v>0.0002841716396703609</c:v>
                </c:pt>
                <c:pt idx="6">
                  <c:v>0.0</c:v>
                </c:pt>
                <c:pt idx="7">
                  <c:v>0.00025290844714213456</c:v>
                </c:pt>
                <c:pt idx="8">
                  <c:v>0.00023674242424242425</c:v>
                </c:pt>
                <c:pt idx="9">
                  <c:v>0.00021381227282446012</c:v>
                </c:pt>
                <c:pt idx="10">
                  <c:v>0.00020999580008399833</c:v>
                </c:pt>
                <c:pt idx="11">
                  <c:v>0.00023084025854108956</c:v>
                </c:pt>
                <c:pt idx="12">
                  <c:v>0.0002358490566037736</c:v>
                </c:pt>
                <c:pt idx="13">
                  <c:v>0.0005837711617046118</c:v>
                </c:pt>
                <c:pt idx="14">
                  <c:v>0.0003769317753486619</c:v>
                </c:pt>
                <c:pt idx="15">
                  <c:v>0.0007751937984496124</c:v>
                </c:pt>
                <c:pt idx="16">
                  <c:v>0.00041322314049586776</c:v>
                </c:pt>
                <c:pt idx="17">
                  <c:v>0.00048638132295719845</c:v>
                </c:pt>
                <c:pt idx="18">
                  <c:v>0.00045599635202918376</c:v>
                </c:pt>
                <c:pt idx="19">
                  <c:v>0.0016181229773462784</c:v>
                </c:pt>
                <c:pt idx="20">
                  <c:v>0.001017293997965412</c:v>
                </c:pt>
                <c:pt idx="21">
                  <c:v>0.0006045949214026602</c:v>
                </c:pt>
                <c:pt idx="22">
                  <c:v>0.002927400468384075</c:v>
                </c:pt>
                <c:pt idx="23">
                  <c:v>0.000723589001447178</c:v>
                </c:pt>
                <c:pt idx="24">
                  <c:v>0.0044609665427509295</c:v>
                </c:pt>
                <c:pt idx="25">
                  <c:v>0.000649772579597141</c:v>
                </c:pt>
                <c:pt idx="26">
                  <c:v>0.002126151665485471</c:v>
                </c:pt>
                <c:pt idx="27">
                  <c:v>0.0035335689045936395</c:v>
                </c:pt>
                <c:pt idx="28">
                  <c:v>0.0015151515151515152</c:v>
                </c:pt>
                <c:pt idx="29">
                  <c:v>0.002572898799313894</c:v>
                </c:pt>
                <c:pt idx="30">
                  <c:v>0.004280821917808219</c:v>
                </c:pt>
                <c:pt idx="31">
                  <c:v>0.0038669760247486465</c:v>
                </c:pt>
                <c:pt idx="32">
                  <c:v>0.0019342359767891683</c:v>
                </c:pt>
                <c:pt idx="33">
                  <c:v>0.001735106998264893</c:v>
                </c:pt>
                <c:pt idx="34">
                  <c:v>0.004882017900732303</c:v>
                </c:pt>
                <c:pt idx="35">
                  <c:v>0.0035335689045936395</c:v>
                </c:pt>
                <c:pt idx="36">
                  <c:v>0.0026431718061674008</c:v>
                </c:pt>
                <c:pt idx="37">
                  <c:v>0.007352941176470588</c:v>
                </c:pt>
                <c:pt idx="38">
                  <c:v>0.003604902667627974</c:v>
                </c:pt>
                <c:pt idx="39">
                  <c:v>0.0031520882584712374</c:v>
                </c:pt>
                <c:pt idx="40">
                  <c:v>0.00390625</c:v>
                </c:pt>
                <c:pt idx="41">
                  <c:v>0.0026652452025586353</c:v>
                </c:pt>
                <c:pt idx="42">
                  <c:v>0.0024330900243309003</c:v>
                </c:pt>
                <c:pt idx="43">
                  <c:v>0.004407227853680035</c:v>
                </c:pt>
                <c:pt idx="44">
                  <c:v>0.004929577464788733</c:v>
                </c:pt>
                <c:pt idx="45">
                  <c:v>0.0034791252485089465</c:v>
                </c:pt>
                <c:pt idx="46">
                  <c:v>0.0026258881680568426</c:v>
                </c:pt>
                <c:pt idx="47">
                  <c:v>0.0043997485857950975</c:v>
                </c:pt>
                <c:pt idx="48">
                  <c:v>0.0031859816806053365</c:v>
                </c:pt>
                <c:pt idx="49">
                  <c:v>0.002996005326231691</c:v>
                </c:pt>
                <c:pt idx="50">
                  <c:v>0.0026061057334326137</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1.7173020982479459</c:v>
                </c:pt>
                <c:pt idx="1">
                  <c:v>0.7695266170479743</c:v>
                </c:pt>
                <c:pt idx="2">
                  <c:v>1.1315777598460182</c:v>
                </c:pt>
                <c:pt idx="3">
                  <c:v>1.1299240052821282</c:v>
                </c:pt>
                <c:pt idx="4">
                  <c:v>1.5881159616838807</c:v>
                </c:pt>
                <c:pt idx="5">
                  <c:v>1.2847750803347637</c:v>
                </c:pt>
                <c:pt idx="6">
                  <c:v>1.4610822213824346</c:v>
                </c:pt>
                <c:pt idx="7">
                  <c:v>1.4824976339197076</c:v>
                </c:pt>
                <c:pt idx="8">
                  <c:v>1.2769128647100285</c:v>
                </c:pt>
                <c:pt idx="9">
                  <c:v>1.0914257542780377</c:v>
                </c:pt>
                <c:pt idx="10">
                  <c:v>1.3899440732985748</c:v>
                </c:pt>
                <c:pt idx="11">
                  <c:v>1.4677334930724646</c:v>
                </c:pt>
                <c:pt idx="12">
                  <c:v>1.4119445006161764</c:v>
                </c:pt>
                <c:pt idx="13">
                  <c:v>1.3961472465682634</c:v>
                </c:pt>
                <c:pt idx="14">
                  <c:v>1.3281159329470904</c:v>
                </c:pt>
                <c:pt idx="15">
                  <c:v>1.0838593171949331</c:v>
                </c:pt>
                <c:pt idx="16">
                  <c:v>1.8416911791607344</c:v>
                </c:pt>
                <c:pt idx="17">
                  <c:v>1.4123532638094276</c:v>
                </c:pt>
                <c:pt idx="18">
                  <c:v>1.424801362145932</c:v>
                </c:pt>
                <c:pt idx="19">
                  <c:v>1.1891834850283605</c:v>
                </c:pt>
                <c:pt idx="20">
                  <c:v>1.1541346161472645</c:v>
                </c:pt>
                <c:pt idx="21">
                  <c:v>0.9427696566510223</c:v>
                </c:pt>
                <c:pt idx="22">
                  <c:v>1.4939373813484111</c:v>
                </c:pt>
                <c:pt idx="23">
                  <c:v>1.05200884382346</c:v>
                </c:pt>
                <c:pt idx="24">
                  <c:v>1.1804194308127745</c:v>
                </c:pt>
                <c:pt idx="25">
                  <c:v>1.0713747138075256</c:v>
                </c:pt>
                <c:pt idx="26">
                  <c:v>1.1678665176599008</c:v>
                </c:pt>
                <c:pt idx="27">
                  <c:v>1.08982867726501</c:v>
                </c:pt>
                <c:pt idx="28">
                  <c:v>1.127034515628189</c:v>
                </c:pt>
                <c:pt idx="29">
                  <c:v>1.0689168912940545</c:v>
                </c:pt>
                <c:pt idx="30">
                  <c:v>1.044737737714347</c:v>
                </c:pt>
                <c:pt idx="31">
                  <c:v>0.9558726480810688</c:v>
                </c:pt>
                <c:pt idx="32">
                  <c:v>0.8144339475532342</c:v>
                </c:pt>
                <c:pt idx="33">
                  <c:v>0.871102287197021</c:v>
                </c:pt>
                <c:pt idx="34">
                  <c:v>1.110130783287328</c:v>
                </c:pt>
                <c:pt idx="35">
                  <c:v>0.9909897828793914</c:v>
                </c:pt>
                <c:pt idx="36">
                  <c:v>0.8761409584392095</c:v>
                </c:pt>
                <c:pt idx="37">
                  <c:v>0.8689827015208389</c:v>
                </c:pt>
                <c:pt idx="38">
                  <c:v>0.9629129110084632</c:v>
                </c:pt>
                <c:pt idx="39">
                  <c:v>0.9972776542792249</c:v>
                </c:pt>
                <c:pt idx="40">
                  <c:v>1.0614091517185078</c:v>
                </c:pt>
                <c:pt idx="41">
                  <c:v>0.6860136759629083</c:v>
                </c:pt>
                <c:pt idx="42">
                  <c:v>0.9448989476558782</c:v>
                </c:pt>
                <c:pt idx="43">
                  <c:v>0.9491780790388749</c:v>
                </c:pt>
                <c:pt idx="44">
                  <c:v>1.601475265814626</c:v>
                </c:pt>
                <c:pt idx="45">
                  <c:v>1.5124022346368715</c:v>
                </c:pt>
                <c:pt idx="46">
                  <c:v>1.2435937441643325</c:v>
                </c:pt>
                <c:pt idx="47">
                  <c:v>1.6289036922654578</c:v>
                </c:pt>
                <c:pt idx="48">
                  <c:v>1.4138186965576869</c:v>
                </c:pt>
                <c:pt idx="49">
                  <c:v>1.3962695096382787</c:v>
                </c:pt>
                <c:pt idx="50">
                  <c:v>1.6171502041331982</c:v>
                </c:pt>
                <c:pt idx="51">
                  <c:v>1.5337925908787502</c:v>
                </c:pt>
              </c:numCache>
            </c:numRef>
          </c:xVal>
          <c:yVal>
            <c:numRef>
              <c:f>Sheet1!$B$55:$B$106</c:f>
              <c:numCache>
                <c:formatCode>General</c:formatCode>
                <c:ptCount val="52"/>
                <c:pt idx="0">
                  <c:v>0.0018228217280349982</c:v>
                </c:pt>
                <c:pt idx="1">
                  <c:v>0.0034482758620689655</c:v>
                </c:pt>
                <c:pt idx="2">
                  <c:v>0.0028011204481792717</c:v>
                </c:pt>
                <c:pt idx="3">
                  <c:v>0.0027845457709711106</c:v>
                </c:pt>
                <c:pt idx="4">
                  <c:v>0.0018999366687777073</c:v>
                </c:pt>
                <c:pt idx="5">
                  <c:v>0.0019474196689386564</c:v>
                </c:pt>
                <c:pt idx="6">
                  <c:v>0.0022701475595913734</c:v>
                </c:pt>
                <c:pt idx="7">
                  <c:v>0.002482073910645339</c:v>
                </c:pt>
                <c:pt idx="8">
                  <c:v>0.003195739014647137</c:v>
                </c:pt>
                <c:pt idx="9">
                  <c:v>0.002796550920531345</c:v>
                </c:pt>
                <c:pt idx="10">
                  <c:v>0.002509410288582183</c:v>
                </c:pt>
                <c:pt idx="11">
                  <c:v>0.002725938351855735</c:v>
                </c:pt>
                <c:pt idx="12">
                  <c:v>0.0027039206849932404</c:v>
                </c:pt>
                <c:pt idx="13">
                  <c:v>0.003934942287513116</c:v>
                </c:pt>
                <c:pt idx="14">
                  <c:v>0.004476275738585497</c:v>
                </c:pt>
                <c:pt idx="15">
                  <c:v>0.004731328151402501</c:v>
                </c:pt>
                <c:pt idx="16">
                  <c:v>0.0028157683024939663</c:v>
                </c:pt>
                <c:pt idx="17">
                  <c:v>0.0035072336694432268</c:v>
                </c:pt>
                <c:pt idx="18">
                  <c:v>0.0027149321266968325</c:v>
                </c:pt>
                <c:pt idx="19">
                  <c:v>0.002802690582959641</c:v>
                </c:pt>
                <c:pt idx="20">
                  <c:v>0.003543586109142452</c:v>
                </c:pt>
                <c:pt idx="21">
                  <c:v>0.003973509933774834</c:v>
                </c:pt>
                <c:pt idx="22">
                  <c:v>0.0030248033877797943</c:v>
                </c:pt>
                <c:pt idx="23">
                  <c:v>0.0030175015087507543</c:v>
                </c:pt>
                <c:pt idx="24">
                  <c:v>0.003105590062111801</c:v>
                </c:pt>
                <c:pt idx="25">
                  <c:v>0.003201024327784891</c:v>
                </c:pt>
                <c:pt idx="26">
                  <c:v>0.003465003465003465</c:v>
                </c:pt>
                <c:pt idx="27">
                  <c:v>0.003943217665615142</c:v>
                </c:pt>
                <c:pt idx="28">
                  <c:v>0.0038580246913580245</c:v>
                </c:pt>
                <c:pt idx="29">
                  <c:v>0.0050933786078098476</c:v>
                </c:pt>
                <c:pt idx="30">
                  <c:v>0.0035056967572304996</c:v>
                </c:pt>
                <c:pt idx="31">
                  <c:v>0.0041753653444676405</c:v>
                </c:pt>
                <c:pt idx="32">
                  <c:v>0.004642525533890436</c:v>
                </c:pt>
                <c:pt idx="33">
                  <c:v>0.004029550033579583</c:v>
                </c:pt>
                <c:pt idx="34">
                  <c:v>0.0033802816901408453</c:v>
                </c:pt>
                <c:pt idx="35">
                  <c:v>0.0032959789057350032</c:v>
                </c:pt>
                <c:pt idx="36">
                  <c:v>0.005434782608695652</c:v>
                </c:pt>
                <c:pt idx="37">
                  <c:v>0.005763688760806916</c:v>
                </c:pt>
                <c:pt idx="38">
                  <c:v>0.00546448087431694</c:v>
                </c:pt>
                <c:pt idx="39">
                  <c:v>0.004720692368214005</c:v>
                </c:pt>
                <c:pt idx="40">
                  <c:v>0.003417634996582365</c:v>
                </c:pt>
                <c:pt idx="41">
                  <c:v>0.00425531914893617</c:v>
                </c:pt>
                <c:pt idx="42">
                  <c:v>0.003787878787878788</c:v>
                </c:pt>
                <c:pt idx="43">
                  <c:v>0.0038674033149171273</c:v>
                </c:pt>
                <c:pt idx="44">
                  <c:v>0.0022346368715083797</c:v>
                </c:pt>
                <c:pt idx="45">
                  <c:v>0.002216312056737589</c:v>
                </c:pt>
                <c:pt idx="46">
                  <c:v>0.002306805074971165</c:v>
                </c:pt>
                <c:pt idx="47">
                  <c:v>0.0021451555237754737</c:v>
                </c:pt>
                <c:pt idx="48">
                  <c:v>0.0020942408376963353</c:v>
                </c:pt>
                <c:pt idx="49">
                  <c:v>0.001737403822288409</c:v>
                </c:pt>
                <c:pt idx="50">
                  <c:v>0.0014671361502347417</c:v>
                </c:pt>
                <c:pt idx="51">
                  <c:v>0.001969796454366382</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1.026463327686345</c:v>
                </c:pt>
              </c:numCache>
            </c:numRef>
          </c:xVal>
          <c:yVal>
            <c:numRef>
              <c:f>Sheet1!$B$109:$B$110</c:f>
              <c:numCache>
                <c:formatCode>General</c:formatCode>
                <c:ptCount val="2"/>
                <c:pt idx="0">
                  <c:v>0.0038165457443067106</c:v>
                </c:pt>
                <c:pt idx="1">
                  <c:v>0.0038165457443067106</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1.026463327686345</c:v>
                </c:pt>
                <c:pt idx="1">
                  <c:v>1.026463327686345</c:v>
                </c:pt>
              </c:numCache>
            </c:numRef>
          </c:xVal>
          <c:yVal>
            <c:numRef>
              <c:f>Sheet1!$B$113:$B$114</c:f>
              <c:numCache>
                <c:formatCode>General</c:formatCode>
                <c:ptCount val="2"/>
                <c:pt idx="0">
                  <c:v>0.00381654574430671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1.045716268912193</c:v>
                </c:pt>
              </c:numCache>
            </c:numRef>
          </c:xVal>
          <c:yVal>
            <c:numRef>
              <c:f>Sheet1!$B$117:$B$118</c:f>
              <c:numCache>
                <c:formatCode>General</c:formatCode>
                <c:ptCount val="2"/>
                <c:pt idx="0">
                  <c:v>0.003762366868698121</c:v>
                </c:pt>
                <c:pt idx="1">
                  <c:v>0.003762366868698121</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1.045716268912193</c:v>
                </c:pt>
                <c:pt idx="1">
                  <c:v>1.045716268912193</c:v>
                </c:pt>
              </c:numCache>
            </c:numRef>
          </c:xVal>
          <c:yVal>
            <c:numRef>
              <c:f>Sheet1!$B$121:$B$122</c:f>
              <c:numCache>
                <c:formatCode>General</c:formatCode>
                <c:ptCount val="2"/>
                <c:pt idx="0">
                  <c:v>0.00376236686869812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1.3926108199398306</c:v>
                </c:pt>
              </c:numCache>
            </c:numRef>
          </c:xVal>
          <c:yVal>
            <c:numRef>
              <c:f>Sheet1!$B$125:$B$126</c:f>
              <c:numCache>
                <c:formatCode>General</c:formatCode>
                <c:ptCount val="2"/>
                <c:pt idx="0">
                  <c:v>0.00278618580062361</c:v>
                </c:pt>
                <c:pt idx="1">
                  <c:v>0.00278618580062361</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1.3926108199398306</c:v>
                </c:pt>
                <c:pt idx="1">
                  <c:v>1.3926108199398306</c:v>
                </c:pt>
              </c:numCache>
            </c:numRef>
          </c:xVal>
          <c:yVal>
            <c:numRef>
              <c:f>Sheet1!$B$129:$B$130</c:f>
              <c:numCache>
                <c:formatCode>General</c:formatCode>
                <c:ptCount val="2"/>
                <c:pt idx="0">
                  <c:v>0.0027861858006236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1.7173020982479459</c:v>
                </c:pt>
                <c:pt idx="1">
                  <c:v>0.7695266170479743</c:v>
                </c:pt>
                <c:pt idx="2">
                  <c:v>1.1315777598460182</c:v>
                </c:pt>
                <c:pt idx="3">
                  <c:v>1.1299240052821282</c:v>
                </c:pt>
                <c:pt idx="4">
                  <c:v>1.5881159616838807</c:v>
                </c:pt>
                <c:pt idx="5">
                  <c:v>1.2847750803347637</c:v>
                </c:pt>
                <c:pt idx="6">
                  <c:v>1.4610822213824346</c:v>
                </c:pt>
                <c:pt idx="7">
                  <c:v>1.4824976339197076</c:v>
                </c:pt>
                <c:pt idx="8">
                  <c:v>1.2769128647100285</c:v>
                </c:pt>
                <c:pt idx="9">
                  <c:v>1.0914257542780377</c:v>
                </c:pt>
                <c:pt idx="10">
                  <c:v>1.3899440732985748</c:v>
                </c:pt>
                <c:pt idx="11">
                  <c:v>1.4677334930724646</c:v>
                </c:pt>
                <c:pt idx="12">
                  <c:v>1.4119445006161764</c:v>
                </c:pt>
                <c:pt idx="13">
                  <c:v>1.3961472465682634</c:v>
                </c:pt>
                <c:pt idx="14">
                  <c:v>1.3281159329470904</c:v>
                </c:pt>
                <c:pt idx="15">
                  <c:v>1.0838593171949331</c:v>
                </c:pt>
                <c:pt idx="16">
                  <c:v>1.8416911791607344</c:v>
                </c:pt>
                <c:pt idx="17">
                  <c:v>1.4123532638094276</c:v>
                </c:pt>
                <c:pt idx="18">
                  <c:v>1.424801362145932</c:v>
                </c:pt>
                <c:pt idx="19">
                  <c:v>1.1891834850283605</c:v>
                </c:pt>
                <c:pt idx="20">
                  <c:v>1.1541346161472645</c:v>
                </c:pt>
                <c:pt idx="21">
                  <c:v>0.9427696566510223</c:v>
                </c:pt>
                <c:pt idx="22">
                  <c:v>1.4939373813484111</c:v>
                </c:pt>
                <c:pt idx="23">
                  <c:v>1.05200884382346</c:v>
                </c:pt>
                <c:pt idx="24">
                  <c:v>1.1804194308127745</c:v>
                </c:pt>
                <c:pt idx="25">
                  <c:v>1.0713747138075256</c:v>
                </c:pt>
                <c:pt idx="26">
                  <c:v>1.1678665176599008</c:v>
                </c:pt>
                <c:pt idx="27">
                  <c:v>1.08982867726501</c:v>
                </c:pt>
                <c:pt idx="28">
                  <c:v>1.127034515628189</c:v>
                </c:pt>
                <c:pt idx="29">
                  <c:v>1.0689168912940545</c:v>
                </c:pt>
                <c:pt idx="30">
                  <c:v>1.044737737714347</c:v>
                </c:pt>
                <c:pt idx="31">
                  <c:v>0.9558726480810688</c:v>
                </c:pt>
                <c:pt idx="32">
                  <c:v>0.8144339475532342</c:v>
                </c:pt>
                <c:pt idx="33">
                  <c:v>0.871102287197021</c:v>
                </c:pt>
                <c:pt idx="34">
                  <c:v>1.110130783287328</c:v>
                </c:pt>
                <c:pt idx="35">
                  <c:v>0.9909897828793914</c:v>
                </c:pt>
                <c:pt idx="36">
                  <c:v>0.8761409584392095</c:v>
                </c:pt>
                <c:pt idx="37">
                  <c:v>0.8689827015208389</c:v>
                </c:pt>
                <c:pt idx="38">
                  <c:v>0.9629129110084632</c:v>
                </c:pt>
                <c:pt idx="39">
                  <c:v>0.9972776542792249</c:v>
                </c:pt>
                <c:pt idx="40">
                  <c:v>1.0614091517185078</c:v>
                </c:pt>
                <c:pt idx="41">
                  <c:v>0.6860136759629083</c:v>
                </c:pt>
                <c:pt idx="42">
                  <c:v>0.9448989476558782</c:v>
                </c:pt>
                <c:pt idx="43">
                  <c:v>0.9491780790388749</c:v>
                </c:pt>
                <c:pt idx="44">
                  <c:v>1.601475265814626</c:v>
                </c:pt>
                <c:pt idx="45">
                  <c:v>1.5124022346368715</c:v>
                </c:pt>
                <c:pt idx="46">
                  <c:v>1.2435937441643325</c:v>
                </c:pt>
                <c:pt idx="47">
                  <c:v>1.6289036922654578</c:v>
                </c:pt>
                <c:pt idx="48">
                  <c:v>1.4138186965576869</c:v>
                </c:pt>
                <c:pt idx="49">
                  <c:v>1.3962695096382787</c:v>
                </c:pt>
                <c:pt idx="50">
                  <c:v>1.6171502041331982</c:v>
                </c:pt>
                <c:pt idx="51">
                  <c:v>1.5337925908787502</c:v>
                </c:pt>
                <c:pt idx="52">
                  <c:v>1.045716268912193</c:v>
                </c:pt>
                <c:pt idx="53">
                  <c:v>1.026463327686345</c:v>
                </c:pt>
                <c:pt idx="54">
                  <c:v>1.3926108199398306</c:v>
                </c:pt>
              </c:numCache>
            </c:numRef>
          </c:xVal>
          <c:yVal>
            <c:numRef>
              <c:f>Sheet1!$B$133:$B$187</c:f>
              <c:numCache>
                <c:formatCode>General</c:formatCode>
                <c:ptCount val="55"/>
                <c:pt idx="0">
                  <c:v>0.0018724860093921195</c:v>
                </c:pt>
                <c:pt idx="1">
                  <c:v>0.004539580314539938</c:v>
                </c:pt>
                <c:pt idx="2">
                  <c:v>0.003520747732052836</c:v>
                </c:pt>
                <c:pt idx="3">
                  <c:v>0.0035254014917954694</c:v>
                </c:pt>
                <c:pt idx="4">
                  <c:v>0.002236023171904313</c:v>
                </c:pt>
                <c:pt idx="5">
                  <c:v>0.0030896417273668705</c:v>
                </c:pt>
                <c:pt idx="6">
                  <c:v>0.002593503368470115</c:v>
                </c:pt>
                <c:pt idx="7">
                  <c:v>0.002533239175152689</c:v>
                </c:pt>
                <c:pt idx="8">
                  <c:v>0.003111766450926955</c:v>
                </c:pt>
                <c:pt idx="9">
                  <c:v>0.0036337377676834686</c:v>
                </c:pt>
                <c:pt idx="10">
                  <c:v>0.002793690177895704</c:v>
                </c:pt>
                <c:pt idx="11">
                  <c:v>0.0025747863102655606</c:v>
                </c:pt>
                <c:pt idx="12">
                  <c:v>0.0027317797195925385</c:v>
                </c:pt>
                <c:pt idx="13">
                  <c:v>0.002776234094224406</c:v>
                </c:pt>
                <c:pt idx="14">
                  <c:v>0.00296767809412724</c:v>
                </c:pt>
                <c:pt idx="15">
                  <c:v>0.003655030153543733</c:v>
                </c:pt>
                <c:pt idx="16">
                  <c:v>0.0015224480353088123</c:v>
                </c:pt>
                <c:pt idx="17">
                  <c:v>0.002730629436633653</c:v>
                </c:pt>
                <c:pt idx="18">
                  <c:v>0.0026955997773506586</c:v>
                </c:pt>
                <c:pt idx="19">
                  <c:v>0.003358641933131753</c:v>
                </c:pt>
                <c:pt idx="20">
                  <c:v>0.003457271450827538</c:v>
                </c:pt>
                <c:pt idx="21">
                  <c:v>0.004052064512013814</c:v>
                </c:pt>
                <c:pt idx="22">
                  <c:v>0.002501047072883072</c:v>
                </c:pt>
                <c:pt idx="23">
                  <c:v>0.003744659203704184</c:v>
                </c:pt>
                <c:pt idx="24">
                  <c:v>0.003383304481965367</c:v>
                </c:pt>
                <c:pt idx="25">
                  <c:v>0.0036901625401237546</c:v>
                </c:pt>
                <c:pt idx="26">
                  <c:v>0.0034186290961246784</c:v>
                </c:pt>
                <c:pt idx="27">
                  <c:v>0.003638232033562699</c:v>
                </c:pt>
                <c:pt idx="28">
                  <c:v>0.0035335326806199027</c:v>
                </c:pt>
                <c:pt idx="29">
                  <c:v>0.003697078992974427</c:v>
                </c:pt>
                <c:pt idx="30">
                  <c:v>0.0037651205113455126</c:v>
                </c:pt>
                <c:pt idx="31">
                  <c:v>0.004015191946182895</c:v>
                </c:pt>
                <c:pt idx="32">
                  <c:v>0.004413208523091686</c:v>
                </c:pt>
                <c:pt idx="33">
                  <c:v>0.004253740580584069</c:v>
                </c:pt>
                <c:pt idx="34">
                  <c:v>0.003581100748328273</c:v>
                </c:pt>
                <c:pt idx="35">
                  <c:v>0.003916370324299269</c:v>
                </c:pt>
                <c:pt idx="36">
                  <c:v>0.004239561472090422</c:v>
                </c:pt>
                <c:pt idx="37">
                  <c:v>0.0042597052156673285</c:v>
                </c:pt>
                <c:pt idx="38">
                  <c:v>0.003995380244431945</c:v>
                </c:pt>
                <c:pt idx="39">
                  <c:v>0.003898675895254993</c:v>
                </c:pt>
                <c:pt idx="40">
                  <c:v>0.003718206200697844</c:v>
                </c:pt>
                <c:pt idx="41">
                  <c:v>0.004774590497850567</c:v>
                </c:pt>
                <c:pt idx="42">
                  <c:v>0.004046072565581666</c:v>
                </c:pt>
                <c:pt idx="43">
                  <c:v>0.004034030845607944</c:v>
                </c:pt>
                <c:pt idx="44">
                  <c:v>0.002198429327502749</c:v>
                </c:pt>
                <c:pt idx="45">
                  <c:v>0.0024490859217160352</c:v>
                </c:pt>
                <c:pt idx="46">
                  <c:v>0.0032055283580691906</c:v>
                </c:pt>
                <c:pt idx="47">
                  <c:v>0.0021212441697968766</c:v>
                </c:pt>
                <c:pt idx="48">
                  <c:v>0.002726505625230016</c:v>
                </c:pt>
                <c:pt idx="49">
                  <c:v>0.0027758900389663454</c:v>
                </c:pt>
                <c:pt idx="50">
                  <c:v>0.0021543191563152906</c:v>
                </c:pt>
                <c:pt idx="51">
                  <c:v>0.0023888922382441155</c:v>
                </c:pt>
                <c:pt idx="52">
                  <c:v>0.003762366868698121</c:v>
                </c:pt>
                <c:pt idx="53">
                  <c:v>0.0038165457443067106</c:v>
                </c:pt>
                <c:pt idx="54">
                  <c:v>0.0027861858006236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82352941176470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0</c:v>
                </c:pt>
                <c:pt idx="5">
                  <c:v>3495.0</c:v>
                </c:pt>
                <c:pt idx="6">
                  <c:v>5639.0</c:v>
                </c:pt>
                <c:pt idx="7">
                  <c:v>4715.0</c:v>
                </c:pt>
                <c:pt idx="8">
                  <c:v>0.0</c:v>
                </c:pt>
                <c:pt idx="9">
                  <c:v>6343.0</c:v>
                </c:pt>
                <c:pt idx="10">
                  <c:v>3985.0</c:v>
                </c:pt>
                <c:pt idx="11">
                  <c:v>7232.0</c:v>
                </c:pt>
                <c:pt idx="12">
                  <c:v>4352.6667</c:v>
                </c:pt>
                <c:pt idx="13">
                  <c:v>3761.3333</c:v>
                </c:pt>
                <c:pt idx="14">
                  <c:v>4709.5</c:v>
                </c:pt>
                <c:pt idx="15">
                  <c:v>5029.5</c:v>
                </c:pt>
                <c:pt idx="16">
                  <c:v>5482.0</c:v>
                </c:pt>
              </c:numCache>
            </c:numRef>
          </c:xVal>
          <c:yVal>
            <c:numRef>
              <c:f>Sheet1!$B$4:$B$20</c:f>
              <c:numCache>
                <c:formatCode>General</c:formatCode>
                <c:ptCount val="17"/>
                <c:pt idx="0">
                  <c:v>0.0</c:v>
                </c:pt>
                <c:pt idx="1">
                  <c:v>0.0</c:v>
                </c:pt>
                <c:pt idx="2">
                  <c:v>0.0</c:v>
                </c:pt>
                <c:pt idx="3">
                  <c:v>0.0</c:v>
                </c:pt>
                <c:pt idx="4">
                  <c:v>0.0</c:v>
                </c:pt>
                <c:pt idx="5">
                  <c:v>0.1111111111111111</c:v>
                </c:pt>
                <c:pt idx="6">
                  <c:v>0.125</c:v>
                </c:pt>
                <c:pt idx="7">
                  <c:v>0.1111111111111111</c:v>
                </c:pt>
                <c:pt idx="8">
                  <c:v>0.0</c:v>
                </c:pt>
                <c:pt idx="9">
                  <c:v>0.058823529411764705</c:v>
                </c:pt>
                <c:pt idx="10">
                  <c:v>0.09523809523809523</c:v>
                </c:pt>
                <c:pt idx="11">
                  <c:v>0.05263157894736842</c:v>
                </c:pt>
                <c:pt idx="12">
                  <c:v>0.12</c:v>
                </c:pt>
                <c:pt idx="13">
                  <c:v>0.11538461538461539</c:v>
                </c:pt>
                <c:pt idx="14">
                  <c:v>0.10526315789473684</c:v>
                </c:pt>
                <c:pt idx="15">
                  <c:v>0.09090909090909091</c:v>
                </c:pt>
                <c:pt idx="16">
                  <c:v>0.09090909090909091</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5623.225031461166</c:v>
                </c:pt>
              </c:numCache>
            </c:numRef>
          </c:xVal>
          <c:yVal>
            <c:numRef>
              <c:f>Sheet1!$B$23:$B$24</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5623.225031461166</c:v>
                </c:pt>
                <c:pt idx="1">
                  <c:v>5623.225031461166</c:v>
                </c:pt>
              </c:numCache>
            </c:numRef>
          </c:xVal>
          <c:yVal>
            <c:numRef>
              <c:f>Sheet1!$B$27:$B$28</c:f>
              <c:numCache>
                <c:formatCode>General</c:formatCode>
                <c:ptCount val="2"/>
                <c:pt idx="0">
                  <c:v>0.100616488774383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5623.225031461166</c:v>
                </c:pt>
              </c:numCache>
            </c:numRef>
          </c:xVal>
          <c:yVal>
            <c:numRef>
              <c:f>Sheet1!$B$31:$B$32</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5623.225031461166</c:v>
                </c:pt>
                <c:pt idx="1">
                  <c:v>5623.225031461166</c:v>
                </c:pt>
              </c:numCache>
            </c:numRef>
          </c:xVal>
          <c:yVal>
            <c:numRef>
              <c:f>Sheet1!$B$35:$B$36</c:f>
              <c:numCache>
                <c:formatCode>General</c:formatCode>
                <c:ptCount val="2"/>
                <c:pt idx="0">
                  <c:v>0.100616488774383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4475.3335113673575</c:v>
                </c:pt>
              </c:numCache>
            </c:numRef>
          </c:xVal>
          <c:yVal>
            <c:numRef>
              <c:f>Sheet1!$B$39:$B$40</c:f>
              <c:numCache>
                <c:formatCode>General</c:formatCode>
                <c:ptCount val="2"/>
                <c:pt idx="0">
                  <c:v>0.08279856776284497</c:v>
                </c:pt>
                <c:pt idx="1">
                  <c:v>0.0827985677628449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4475.3335113673575</c:v>
                </c:pt>
                <c:pt idx="1">
                  <c:v>4475.3335113673575</c:v>
                </c:pt>
              </c:numCache>
            </c:numRef>
          </c:xVal>
          <c:yVal>
            <c:numRef>
              <c:f>Sheet1!$B$43:$B$44</c:f>
              <c:numCache>
                <c:formatCode>General</c:formatCode>
                <c:ptCount val="2"/>
                <c:pt idx="0">
                  <c:v>0.082798567762844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0.0</c:v>
                </c:pt>
                <c:pt idx="5">
                  <c:v>3495.0</c:v>
                </c:pt>
                <c:pt idx="6">
                  <c:v>5639.0</c:v>
                </c:pt>
                <c:pt idx="7">
                  <c:v>4715.0</c:v>
                </c:pt>
                <c:pt idx="8">
                  <c:v>0.0</c:v>
                </c:pt>
                <c:pt idx="9">
                  <c:v>6343.0</c:v>
                </c:pt>
                <c:pt idx="10">
                  <c:v>3985.0</c:v>
                </c:pt>
                <c:pt idx="11">
                  <c:v>7232.0</c:v>
                </c:pt>
                <c:pt idx="12">
                  <c:v>4352.6667</c:v>
                </c:pt>
                <c:pt idx="13">
                  <c:v>3761.3333</c:v>
                </c:pt>
                <c:pt idx="14">
                  <c:v>4709.5</c:v>
                </c:pt>
                <c:pt idx="15">
                  <c:v>5029.5</c:v>
                </c:pt>
                <c:pt idx="16">
                  <c:v>5482.0</c:v>
                </c:pt>
                <c:pt idx="17">
                  <c:v>5623.225031461166</c:v>
                </c:pt>
                <c:pt idx="18">
                  <c:v>5623.225031461166</c:v>
                </c:pt>
                <c:pt idx="19">
                  <c:v>4475.3335113673575</c:v>
                </c:pt>
              </c:numCache>
            </c:numRef>
          </c:xVal>
          <c:yVal>
            <c:numRef>
              <c:f>Sheet1!$B$47:$B$66</c:f>
              <c:numCache>
                <c:formatCode>General</c:formatCode>
                <c:ptCount val="20"/>
                <c:pt idx="0">
                  <c:v>0.013331080975140245</c:v>
                </c:pt>
                <c:pt idx="1">
                  <c:v>0.013331080975140245</c:v>
                </c:pt>
                <c:pt idx="2">
                  <c:v>0.013331080975140245</c:v>
                </c:pt>
                <c:pt idx="3">
                  <c:v>0.013331080975140245</c:v>
                </c:pt>
                <c:pt idx="4">
                  <c:v>0.013331080975140245</c:v>
                </c:pt>
                <c:pt idx="5">
                  <c:v>0.06758153308252929</c:v>
                </c:pt>
                <c:pt idx="6">
                  <c:v>0.10086135262995191</c:v>
                </c:pt>
                <c:pt idx="7">
                  <c:v>0.08651874383246194</c:v>
                </c:pt>
                <c:pt idx="8">
                  <c:v>0.013331080975140245</c:v>
                </c:pt>
                <c:pt idx="9">
                  <c:v>0.11178905457089666</c:v>
                </c:pt>
                <c:pt idx="10">
                  <c:v>0.07518746199028913</c:v>
                </c:pt>
                <c:pt idx="11">
                  <c:v>0.1255883827321181</c:v>
                </c:pt>
                <c:pt idx="12">
                  <c:v>0.08089449623916802</c:v>
                </c:pt>
                <c:pt idx="13">
                  <c:v>0.071715639502058</c:v>
                </c:pt>
                <c:pt idx="14">
                  <c:v>0.08643337116104831</c:v>
                </c:pt>
                <c:pt idx="15">
                  <c:v>0.09140050840693228</c:v>
                </c:pt>
                <c:pt idx="16">
                  <c:v>0.09842435091869009</c:v>
                </c:pt>
                <c:pt idx="17">
                  <c:v>0.1006164887743835</c:v>
                </c:pt>
                <c:pt idx="18">
                  <c:v>0.1006164887743835</c:v>
                </c:pt>
                <c:pt idx="19">
                  <c:v>0.082798567762844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7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c:f>
              <c:numCache>
                <c:formatCode>General</c:formatCode>
                <c:ptCount val="4"/>
                <c:pt idx="0">
                  <c:v>0.0</c:v>
                </c:pt>
                <c:pt idx="1">
                  <c:v>0.0</c:v>
                </c:pt>
                <c:pt idx="2">
                  <c:v>0.0</c:v>
                </c:pt>
                <c:pt idx="3">
                  <c:v>0.0</c:v>
                </c:pt>
              </c:numCache>
            </c:numRef>
          </c:xVal>
          <c:yVal>
            <c:numRef>
              <c:f>Sheet1!$B$2:$B$5</c:f>
              <c:numCache>
                <c:formatCode>General</c:formatCode>
                <c:ptCount val="4"/>
                <c:pt idx="0">
                  <c:v>0.125</c:v>
                </c:pt>
                <c:pt idx="1">
                  <c:v>0.1111111111111111</c:v>
                </c:pt>
                <c:pt idx="2">
                  <c:v>0.05263157894736842</c:v>
                </c:pt>
                <c:pt idx="3">
                  <c:v>0.10526315789473684</c:v>
                </c:pt>
              </c:numCache>
            </c:numRef>
          </c:yVal>
          <c:smooth val="0"/>
          <c:extLst>
            <c:ext xmlns:c16="http://schemas.microsoft.com/office/drawing/2014/chart" uri="{C3380CC4-5D6E-409C-BE32-E72D297353CC}">
              <c16:uniqueId val="{00000000-096C-4121-9522-6AB7243CCAAE}"/>
            </c:ext>
          </c:extLst>
        </c:ser>
        <c:ser>
          <c:idx val="1"/>
          <c:order val="1"/>
          <c:tx>
            <c:strRef>
              <c:f>Sheet1!$B$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A$20</c:f>
              <c:numCache>
                <c:formatCode>General</c:formatCode>
                <c:ptCount val="13"/>
                <c:pt idx="0">
                  <c:v>0.0</c:v>
                </c:pt>
                <c:pt idx="1">
                  <c:v>0.0</c:v>
                </c:pt>
                <c:pt idx="2">
                  <c:v>0.0</c:v>
                </c:pt>
                <c:pt idx="3">
                  <c:v>0.0</c:v>
                </c:pt>
                <c:pt idx="4">
                  <c:v>0.0</c:v>
                </c:pt>
                <c:pt idx="5">
                  <c:v>0.5694037145650049</c:v>
                </c:pt>
                <c:pt idx="6">
                  <c:v>0.0</c:v>
                </c:pt>
                <c:pt idx="7">
                  <c:v>1.6700895208004212</c:v>
                </c:pt>
                <c:pt idx="8">
                  <c:v>0.6785288608888133</c:v>
                </c:pt>
                <c:pt idx="9">
                  <c:v>1.252926511226252</c:v>
                </c:pt>
                <c:pt idx="10">
                  <c:v>0.60961641815235</c:v>
                </c:pt>
                <c:pt idx="11">
                  <c:v>0.6221548738248391</c:v>
                </c:pt>
                <c:pt idx="12">
                  <c:v>0.8419597604054677</c:v>
                </c:pt>
              </c:numCache>
            </c:numRef>
          </c:xVal>
          <c:yVal>
            <c:numRef>
              <c:f>Sheet1!$B$8:$B$20</c:f>
              <c:numCache>
                <c:formatCode>General</c:formatCode>
                <c:ptCount val="13"/>
                <c:pt idx="0">
                  <c:v>0.0</c:v>
                </c:pt>
                <c:pt idx="1">
                  <c:v>0.0</c:v>
                </c:pt>
                <c:pt idx="2">
                  <c:v>0.0</c:v>
                </c:pt>
                <c:pt idx="3">
                  <c:v>0.0</c:v>
                </c:pt>
                <c:pt idx="4">
                  <c:v>0.0</c:v>
                </c:pt>
                <c:pt idx="5">
                  <c:v>0.1111111111111111</c:v>
                </c:pt>
                <c:pt idx="6">
                  <c:v>0.0</c:v>
                </c:pt>
                <c:pt idx="7">
                  <c:v>0.058823529411764705</c:v>
                </c:pt>
                <c:pt idx="8">
                  <c:v>0.09523809523809523</c:v>
                </c:pt>
                <c:pt idx="9">
                  <c:v>0.12</c:v>
                </c:pt>
                <c:pt idx="10">
                  <c:v>0.11538461538461539</c:v>
                </c:pt>
                <c:pt idx="11">
                  <c:v>0.09090909090909091</c:v>
                </c:pt>
                <c:pt idx="12">
                  <c:v>0.09090909090909091</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1.1697090864621449</c:v>
                </c:pt>
              </c:numCache>
            </c:numRef>
          </c:xVal>
          <c:yVal>
            <c:numRef>
              <c:f>Sheet1!$B$23:$B$24</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1.1697090864621449</c:v>
                </c:pt>
                <c:pt idx="1">
                  <c:v>1.1697090864621449</c:v>
                </c:pt>
              </c:numCache>
            </c:numRef>
          </c:xVal>
          <c:yVal>
            <c:numRef>
              <c:f>Sheet1!$B$27:$B$28</c:f>
              <c:numCache>
                <c:formatCode>General</c:formatCode>
                <c:ptCount val="2"/>
                <c:pt idx="0">
                  <c:v>0.100616488774383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1.1697090864621449</c:v>
                </c:pt>
              </c:numCache>
            </c:numRef>
          </c:xVal>
          <c:yVal>
            <c:numRef>
              <c:f>Sheet1!$B$31:$B$32</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1.1697090864621449</c:v>
                </c:pt>
                <c:pt idx="1">
                  <c:v>1.1697090864621449</c:v>
                </c:pt>
              </c:numCache>
            </c:numRef>
          </c:xVal>
          <c:yVal>
            <c:numRef>
              <c:f>Sheet1!$B$35:$B$36</c:f>
              <c:numCache>
                <c:formatCode>General</c:formatCode>
                <c:ptCount val="2"/>
                <c:pt idx="0">
                  <c:v>0.100616488774383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9144883758699994</c:v>
                </c:pt>
              </c:numCache>
            </c:numRef>
          </c:xVal>
          <c:yVal>
            <c:numRef>
              <c:f>Sheet1!$B$39:$B$40</c:f>
              <c:numCache>
                <c:formatCode>General</c:formatCode>
                <c:ptCount val="2"/>
                <c:pt idx="0">
                  <c:v>0.08279856776284497</c:v>
                </c:pt>
                <c:pt idx="1">
                  <c:v>0.0827985677628449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9144883758699994</c:v>
                </c:pt>
                <c:pt idx="1">
                  <c:v>0.9144883758699994</c:v>
                </c:pt>
              </c:numCache>
            </c:numRef>
          </c:xVal>
          <c:yVal>
            <c:numRef>
              <c:f>Sheet1!$B$43:$B$44</c:f>
              <c:numCache>
                <c:formatCode>General</c:formatCode>
                <c:ptCount val="2"/>
                <c:pt idx="0">
                  <c:v>0.082798567762844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2</c:f>
              <c:numCache>
                <c:formatCode>General</c:formatCode>
                <c:ptCount val="16"/>
                <c:pt idx="0">
                  <c:v>0.0</c:v>
                </c:pt>
                <c:pt idx="1">
                  <c:v>0.0</c:v>
                </c:pt>
                <c:pt idx="2">
                  <c:v>0.0</c:v>
                </c:pt>
                <c:pt idx="3">
                  <c:v>0.0</c:v>
                </c:pt>
                <c:pt idx="4">
                  <c:v>0.0</c:v>
                </c:pt>
                <c:pt idx="5">
                  <c:v>0.5694037145650049</c:v>
                </c:pt>
                <c:pt idx="6">
                  <c:v>0.0</c:v>
                </c:pt>
                <c:pt idx="7">
                  <c:v>1.6700895208004212</c:v>
                </c:pt>
                <c:pt idx="8">
                  <c:v>0.6785288608888133</c:v>
                </c:pt>
                <c:pt idx="9">
                  <c:v>1.252926511226252</c:v>
                </c:pt>
                <c:pt idx="10">
                  <c:v>0.60961641815235</c:v>
                </c:pt>
                <c:pt idx="11">
                  <c:v>0.6221548738248391</c:v>
                </c:pt>
                <c:pt idx="12">
                  <c:v>0.8419597604054677</c:v>
                </c:pt>
                <c:pt idx="13">
                  <c:v>1.1697090864621449</c:v>
                </c:pt>
                <c:pt idx="14">
                  <c:v>1.1697090864621449</c:v>
                </c:pt>
                <c:pt idx="15">
                  <c:v>0.9144883758699994</c:v>
                </c:pt>
              </c:numCache>
            </c:numRef>
          </c:xVal>
          <c:yVal>
            <c:numRef>
              <c:f>Sheet1!$B$47:$B$62</c:f>
              <c:numCache>
                <c:formatCode>General</c:formatCode>
                <c:ptCount val="16"/>
                <c:pt idx="0">
                  <c:v>0.018954682956565133</c:v>
                </c:pt>
                <c:pt idx="1">
                  <c:v>0.018954682956565133</c:v>
                </c:pt>
                <c:pt idx="2">
                  <c:v>0.018954682956565133</c:v>
                </c:pt>
                <c:pt idx="3">
                  <c:v>0.018954682956565133</c:v>
                </c:pt>
                <c:pt idx="4">
                  <c:v>0.018954682956565133</c:v>
                </c:pt>
                <c:pt idx="5">
                  <c:v>0.058706905204739264</c:v>
                </c:pt>
                <c:pt idx="6">
                  <c:v>0.018954682956565133</c:v>
                </c:pt>
                <c:pt idx="7">
                  <c:v>0.13554993533549164</c:v>
                </c:pt>
                <c:pt idx="8">
                  <c:v>0.06632534350882116</c:v>
                </c:pt>
                <c:pt idx="9">
                  <c:v>0.10642621126042437</c:v>
                </c:pt>
                <c:pt idx="10">
                  <c:v>0.061514305805252203</c:v>
                </c:pt>
                <c:pt idx="11">
                  <c:v>0.062389662715985464</c:v>
                </c:pt>
                <c:pt idx="12">
                  <c:v>0.07773507139366337</c:v>
                </c:pt>
                <c:pt idx="13">
                  <c:v>0.10061648877438352</c:v>
                </c:pt>
                <c:pt idx="14">
                  <c:v>0.10061648877438352</c:v>
                </c:pt>
                <c:pt idx="15">
                  <c:v>0.082798567762844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0</c:v>
                </c:pt>
                <c:pt idx="5">
                  <c:v>3495.0</c:v>
                </c:pt>
                <c:pt idx="6">
                  <c:v>5639.0</c:v>
                </c:pt>
                <c:pt idx="7">
                  <c:v>4715.0</c:v>
                </c:pt>
                <c:pt idx="8">
                  <c:v>0.0</c:v>
                </c:pt>
                <c:pt idx="9">
                  <c:v>6343.0</c:v>
                </c:pt>
                <c:pt idx="10">
                  <c:v>3985.0</c:v>
                </c:pt>
                <c:pt idx="11">
                  <c:v>7232.0</c:v>
                </c:pt>
                <c:pt idx="12">
                  <c:v>4352.6667</c:v>
                </c:pt>
                <c:pt idx="13">
                  <c:v>3761.3333</c:v>
                </c:pt>
                <c:pt idx="14">
                  <c:v>4709.5</c:v>
                </c:pt>
                <c:pt idx="15">
                  <c:v>5029.5</c:v>
                </c:pt>
                <c:pt idx="16">
                  <c:v>5482.0</c:v>
                </c:pt>
              </c:numCache>
            </c:numRef>
          </c:xVal>
          <c:yVal>
            <c:numRef>
              <c:f>Sheet1!$B$4:$B$20</c:f>
              <c:numCache>
                <c:formatCode>General</c:formatCode>
                <c:ptCount val="17"/>
                <c:pt idx="0">
                  <c:v>0.0</c:v>
                </c:pt>
                <c:pt idx="1">
                  <c:v>0.0</c:v>
                </c:pt>
                <c:pt idx="2">
                  <c:v>0.0</c:v>
                </c:pt>
                <c:pt idx="3">
                  <c:v>0.0</c:v>
                </c:pt>
                <c:pt idx="4">
                  <c:v>0.0</c:v>
                </c:pt>
                <c:pt idx="5">
                  <c:v>0.1111111111111111</c:v>
                </c:pt>
                <c:pt idx="6">
                  <c:v>0.125</c:v>
                </c:pt>
                <c:pt idx="7">
                  <c:v>0.1111111111111111</c:v>
                </c:pt>
                <c:pt idx="8">
                  <c:v>0.0</c:v>
                </c:pt>
                <c:pt idx="9">
                  <c:v>0.058823529411764705</c:v>
                </c:pt>
                <c:pt idx="10">
                  <c:v>0.09523809523809523</c:v>
                </c:pt>
                <c:pt idx="11">
                  <c:v>0.05263157894736842</c:v>
                </c:pt>
                <c:pt idx="12">
                  <c:v>0.12</c:v>
                </c:pt>
                <c:pt idx="13">
                  <c:v>0.11538461538461539</c:v>
                </c:pt>
                <c:pt idx="14">
                  <c:v>0.10526315789473684</c:v>
                </c:pt>
                <c:pt idx="15">
                  <c:v>0.09090909090909091</c:v>
                </c:pt>
                <c:pt idx="16">
                  <c:v>0.09090909090909091</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5623.225031461166</c:v>
                </c:pt>
              </c:numCache>
            </c:numRef>
          </c:xVal>
          <c:yVal>
            <c:numRef>
              <c:f>Sheet1!$B$23:$B$24</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5623.225031461166</c:v>
                </c:pt>
                <c:pt idx="1">
                  <c:v>5623.225031461166</c:v>
                </c:pt>
              </c:numCache>
            </c:numRef>
          </c:xVal>
          <c:yVal>
            <c:numRef>
              <c:f>Sheet1!$B$27:$B$28</c:f>
              <c:numCache>
                <c:formatCode>General</c:formatCode>
                <c:ptCount val="2"/>
                <c:pt idx="0">
                  <c:v>0.100616488774383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5623.225031461166</c:v>
                </c:pt>
              </c:numCache>
            </c:numRef>
          </c:xVal>
          <c:yVal>
            <c:numRef>
              <c:f>Sheet1!$B$31:$B$32</c:f>
              <c:numCache>
                <c:formatCode>General</c:formatCode>
                <c:ptCount val="2"/>
                <c:pt idx="0">
                  <c:v>0.1006164887743835</c:v>
                </c:pt>
                <c:pt idx="1">
                  <c:v>0.1006164887743835</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5623.225031461166</c:v>
                </c:pt>
                <c:pt idx="1">
                  <c:v>5623.225031461166</c:v>
                </c:pt>
              </c:numCache>
            </c:numRef>
          </c:xVal>
          <c:yVal>
            <c:numRef>
              <c:f>Sheet1!$B$35:$B$36</c:f>
              <c:numCache>
                <c:formatCode>General</c:formatCode>
                <c:ptCount val="2"/>
                <c:pt idx="0">
                  <c:v>0.100616488774383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4475.3335113673575</c:v>
                </c:pt>
              </c:numCache>
            </c:numRef>
          </c:xVal>
          <c:yVal>
            <c:numRef>
              <c:f>Sheet1!$B$39:$B$40</c:f>
              <c:numCache>
                <c:formatCode>General</c:formatCode>
                <c:ptCount val="2"/>
                <c:pt idx="0">
                  <c:v>0.08279856776284497</c:v>
                </c:pt>
                <c:pt idx="1">
                  <c:v>0.0827985677628449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4475.3335113673575</c:v>
                </c:pt>
                <c:pt idx="1">
                  <c:v>4475.3335113673575</c:v>
                </c:pt>
              </c:numCache>
            </c:numRef>
          </c:xVal>
          <c:yVal>
            <c:numRef>
              <c:f>Sheet1!$B$43:$B$44</c:f>
              <c:numCache>
                <c:formatCode>General</c:formatCode>
                <c:ptCount val="2"/>
                <c:pt idx="0">
                  <c:v>0.082798567762844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0.0</c:v>
                </c:pt>
                <c:pt idx="5">
                  <c:v>3495.0</c:v>
                </c:pt>
                <c:pt idx="6">
                  <c:v>5639.0</c:v>
                </c:pt>
                <c:pt idx="7">
                  <c:v>4715.0</c:v>
                </c:pt>
                <c:pt idx="8">
                  <c:v>0.0</c:v>
                </c:pt>
                <c:pt idx="9">
                  <c:v>6343.0</c:v>
                </c:pt>
                <c:pt idx="10">
                  <c:v>3985.0</c:v>
                </c:pt>
                <c:pt idx="11">
                  <c:v>7232.0</c:v>
                </c:pt>
                <c:pt idx="12">
                  <c:v>4352.6667</c:v>
                </c:pt>
                <c:pt idx="13">
                  <c:v>3761.3333</c:v>
                </c:pt>
                <c:pt idx="14">
                  <c:v>4709.5</c:v>
                </c:pt>
                <c:pt idx="15">
                  <c:v>5029.5</c:v>
                </c:pt>
                <c:pt idx="16">
                  <c:v>5482.0</c:v>
                </c:pt>
                <c:pt idx="17">
                  <c:v>5623.225031461166</c:v>
                </c:pt>
                <c:pt idx="18">
                  <c:v>5623.225031461166</c:v>
                </c:pt>
                <c:pt idx="19">
                  <c:v>4475.3335113673575</c:v>
                </c:pt>
              </c:numCache>
            </c:numRef>
          </c:xVal>
          <c:yVal>
            <c:numRef>
              <c:f>Sheet1!$B$47:$B$66</c:f>
              <c:numCache>
                <c:formatCode>General</c:formatCode>
                <c:ptCount val="20"/>
                <c:pt idx="0">
                  <c:v>0.013331080975140245</c:v>
                </c:pt>
                <c:pt idx="1">
                  <c:v>0.013331080975140245</c:v>
                </c:pt>
                <c:pt idx="2">
                  <c:v>0.013331080975140245</c:v>
                </c:pt>
                <c:pt idx="3">
                  <c:v>0.013331080975140245</c:v>
                </c:pt>
                <c:pt idx="4">
                  <c:v>0.013331080975140245</c:v>
                </c:pt>
                <c:pt idx="5">
                  <c:v>0.06758153308252929</c:v>
                </c:pt>
                <c:pt idx="6">
                  <c:v>0.10086135262995191</c:v>
                </c:pt>
                <c:pt idx="7">
                  <c:v>0.08651874383246194</c:v>
                </c:pt>
                <c:pt idx="8">
                  <c:v>0.013331080975140245</c:v>
                </c:pt>
                <c:pt idx="9">
                  <c:v>0.11178905457089666</c:v>
                </c:pt>
                <c:pt idx="10">
                  <c:v>0.07518746199028913</c:v>
                </c:pt>
                <c:pt idx="11">
                  <c:v>0.1255883827321181</c:v>
                </c:pt>
                <c:pt idx="12">
                  <c:v>0.08089449623916802</c:v>
                </c:pt>
                <c:pt idx="13">
                  <c:v>0.071715639502058</c:v>
                </c:pt>
                <c:pt idx="14">
                  <c:v>0.08643337116104831</c:v>
                </c:pt>
                <c:pt idx="15">
                  <c:v>0.09140050840693228</c:v>
                </c:pt>
                <c:pt idx="16">
                  <c:v>0.09842435091869009</c:v>
                </c:pt>
                <c:pt idx="17">
                  <c:v>0.1006164887743835</c:v>
                </c:pt>
                <c:pt idx="18">
                  <c:v>0.1006164887743835</c:v>
                </c:pt>
                <c:pt idx="19">
                  <c:v>0.082798567762844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7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010632375013353</c:v>
                </c:pt>
                <c:pt idx="1">
                  <c:v>0.7166178783698058</c:v>
                </c:pt>
                <c:pt idx="2">
                  <c:v>0.6460720514511421</c:v>
                </c:pt>
                <c:pt idx="3">
                  <c:v>0.6469444049970522</c:v>
                </c:pt>
                <c:pt idx="4">
                  <c:v>0.6425378100020889</c:v>
                </c:pt>
                <c:pt idx="5">
                  <c:v>0.6331366952895359</c:v>
                </c:pt>
                <c:pt idx="6">
                  <c:v>0.6398747545166145</c:v>
                </c:pt>
                <c:pt idx="7">
                  <c:v>0.6175510896436271</c:v>
                </c:pt>
                <c:pt idx="8">
                  <c:v>0.6655769479134974</c:v>
                </c:pt>
                <c:pt idx="9">
                  <c:v>0.7430444877798734</c:v>
                </c:pt>
                <c:pt idx="10">
                  <c:v>0.736539547724454</c:v>
                </c:pt>
                <c:pt idx="11">
                  <c:v>0.7871655346043177</c:v>
                </c:pt>
                <c:pt idx="12">
                  <c:v>0.837918962980498</c:v>
                </c:pt>
                <c:pt idx="13">
                  <c:v>0.8393853146328478</c:v>
                </c:pt>
                <c:pt idx="14">
                  <c:v>0.7994745576279902</c:v>
                </c:pt>
                <c:pt idx="15">
                  <c:v>0.8278491486100867</c:v>
                </c:pt>
                <c:pt idx="16">
                  <c:v>0.8393237936334526</c:v>
                </c:pt>
                <c:pt idx="17">
                  <c:v>0.8568604987419166</c:v>
                </c:pt>
                <c:pt idx="18">
                  <c:v>0.9135643993071957</c:v>
                </c:pt>
                <c:pt idx="19">
                  <c:v>0.8696410581302825</c:v>
                </c:pt>
                <c:pt idx="20">
                  <c:v>0.8877057851655913</c:v>
                </c:pt>
                <c:pt idx="21">
                  <c:v>0.7808256508839888</c:v>
                </c:pt>
                <c:pt idx="22">
                  <c:v>0.7793004591758435</c:v>
                </c:pt>
                <c:pt idx="23">
                  <c:v>0.8292206748774843</c:v>
                </c:pt>
                <c:pt idx="24">
                  <c:v>0.8136555679976142</c:v>
                </c:pt>
                <c:pt idx="25">
                  <c:v>0.8455485164260406</c:v>
                </c:pt>
                <c:pt idx="26">
                  <c:v>0.7935128717827558</c:v>
                </c:pt>
                <c:pt idx="27">
                  <c:v>0.8437815934416993</c:v>
                </c:pt>
                <c:pt idx="28">
                  <c:v>0.7408733918086206</c:v>
                </c:pt>
                <c:pt idx="29">
                  <c:v>0.73045540469654</c:v>
                </c:pt>
                <c:pt idx="30">
                  <c:v>0.7103448293383354</c:v>
                </c:pt>
                <c:pt idx="31">
                  <c:v>0.7034605424046265</c:v>
                </c:pt>
                <c:pt idx="32">
                  <c:v>0.6797857151703569</c:v>
                </c:pt>
                <c:pt idx="33">
                  <c:v>0.6401273004066282</c:v>
                </c:pt>
                <c:pt idx="34">
                  <c:v>0.7179997485268652</c:v>
                </c:pt>
                <c:pt idx="35">
                  <c:v>0.8133807287819295</c:v>
                </c:pt>
                <c:pt idx="36">
                  <c:v>0.8864092765343868</c:v>
                </c:pt>
                <c:pt idx="37">
                  <c:v>0.8390042455568099</c:v>
                </c:pt>
                <c:pt idx="38">
                  <c:v>0.9281804733545723</c:v>
                </c:pt>
                <c:pt idx="39">
                  <c:v>0.9869568880889222</c:v>
                </c:pt>
                <c:pt idx="40">
                  <c:v>1.0097843275798257</c:v>
                </c:pt>
                <c:pt idx="41">
                  <c:v>1.0154932607628655</c:v>
                </c:pt>
                <c:pt idx="42">
                  <c:v>0.9354417606697546</c:v>
                </c:pt>
                <c:pt idx="43">
                  <c:v>0.856618858318775</c:v>
                </c:pt>
                <c:pt idx="44">
                  <c:v>0.8762025714316325</c:v>
                </c:pt>
                <c:pt idx="45">
                  <c:v>0.8799848026759108</c:v>
                </c:pt>
                <c:pt idx="46">
                  <c:v>0.943323838838034</c:v>
                </c:pt>
                <c:pt idx="47">
                  <c:v>0.9456639717044807</c:v>
                </c:pt>
                <c:pt idx="48">
                  <c:v>0.9673097452259048</c:v>
                </c:pt>
                <c:pt idx="49">
                  <c:v>0.9154264025564464</c:v>
                </c:pt>
                <c:pt idx="50">
                  <c:v>0.9062252344453008</c:v>
                </c:pt>
                <c:pt idx="51">
                  <c:v>0.8849222910941458</c:v>
                </c:pt>
                <c:pt idx="52">
                  <c:v>0.8401808091174925</c:v>
                </c:pt>
                <c:pt idx="53">
                  <c:v>0.7802449470928344</c:v>
                </c:pt>
                <c:pt idx="54">
                  <c:v>0.7265633884514063</c:v>
                </c:pt>
                <c:pt idx="55">
                  <c:v>0.745066935547584</c:v>
                </c:pt>
                <c:pt idx="56">
                  <c:v>0.7845901318701414</c:v>
                </c:pt>
                <c:pt idx="57">
                  <c:v>0.768825420865074</c:v>
                </c:pt>
                <c:pt idx="58">
                  <c:v>0.7430442464076042</c:v>
                </c:pt>
                <c:pt idx="59">
                  <c:v>0.733130218933911</c:v>
                </c:pt>
                <c:pt idx="60">
                  <c:v>0.7441114237836193</c:v>
                </c:pt>
                <c:pt idx="61">
                  <c:v>0.9277710069174006</c:v>
                </c:pt>
                <c:pt idx="62">
                  <c:v>1.055378382402896</c:v>
                </c:pt>
                <c:pt idx="63">
                  <c:v>1.065190895348706</c:v>
                </c:pt>
                <c:pt idx="64">
                  <c:v>1.1860785906941116</c:v>
                </c:pt>
                <c:pt idx="65">
                  <c:v>0.9838832436038172</c:v>
                </c:pt>
                <c:pt idx="66">
                  <c:v>0.971765319909631</c:v>
                </c:pt>
                <c:pt idx="67">
                  <c:v>1.037547834293649</c:v>
                </c:pt>
                <c:pt idx="68">
                  <c:v>1.1024321079531774</c:v>
                </c:pt>
                <c:pt idx="69">
                  <c:v>1.0962070327760465</c:v>
                </c:pt>
                <c:pt idx="70">
                  <c:v>0.8972439817750167</c:v>
                </c:pt>
                <c:pt idx="71">
                  <c:v>0.86725399321554</c:v>
                </c:pt>
                <c:pt idx="72">
                  <c:v>0.9382976592688036</c:v>
                </c:pt>
                <c:pt idx="73">
                  <c:v>0.8381510377524238</c:v>
                </c:pt>
                <c:pt idx="74">
                  <c:v>0.8896759584430788</c:v>
                </c:pt>
                <c:pt idx="75">
                  <c:v>0.8546039625372314</c:v>
                </c:pt>
                <c:pt idx="76">
                  <c:v>0.7864879091695504</c:v>
                </c:pt>
                <c:pt idx="77">
                  <c:v>1.191957270904816</c:v>
                </c:pt>
                <c:pt idx="78">
                  <c:v>0.8097829872575321</c:v>
                </c:pt>
                <c:pt idx="79">
                  <c:v>0.9130986417215247</c:v>
                </c:pt>
                <c:pt idx="80">
                  <c:v>0.9245865223538755</c:v>
                </c:pt>
                <c:pt idx="81">
                  <c:v>0.9786347511768148</c:v>
                </c:pt>
                <c:pt idx="82">
                  <c:v>0.9923329783840756</c:v>
                </c:pt>
                <c:pt idx="83">
                  <c:v>0.9564269686506406</c:v>
                </c:pt>
                <c:pt idx="84">
                  <c:v>0.9531127960595294</c:v>
                </c:pt>
                <c:pt idx="85">
                  <c:v>0.954028560460902</c:v>
                </c:pt>
                <c:pt idx="86">
                  <c:v>0.9436601896600509</c:v>
                </c:pt>
                <c:pt idx="87">
                  <c:v>0.921565294524691</c:v>
                </c:pt>
                <c:pt idx="88">
                  <c:v>0.8973391619278543</c:v>
                </c:pt>
                <c:pt idx="89">
                  <c:v>0.8710530274123537</c:v>
                </c:pt>
                <c:pt idx="90">
                  <c:v>0.8266546103416829</c:v>
                </c:pt>
                <c:pt idx="91">
                  <c:v>0.836091018007617</c:v>
                </c:pt>
                <c:pt idx="92">
                  <c:v>0.8031085545522695</c:v>
                </c:pt>
                <c:pt idx="93">
                  <c:v>0.7626361669016405</c:v>
                </c:pt>
                <c:pt idx="94">
                  <c:v>0.79442284314476</c:v>
                </c:pt>
                <c:pt idx="95">
                  <c:v>0.8198916422472242</c:v>
                </c:pt>
                <c:pt idx="96">
                  <c:v>0.8797990875667496</c:v>
                </c:pt>
                <c:pt idx="97">
                  <c:v>0.9873787238524019</c:v>
                </c:pt>
                <c:pt idx="98">
                  <c:v>0.9193518051378096</c:v>
                </c:pt>
                <c:pt idx="99">
                  <c:v>0.8798661857143095</c:v>
                </c:pt>
                <c:pt idx="100">
                  <c:v>0.890414727145098</c:v>
                </c:pt>
                <c:pt idx="101">
                  <c:v>0.8134503288222558</c:v>
                </c:pt>
                <c:pt idx="102">
                  <c:v>0.8307985611759097</c:v>
                </c:pt>
                <c:pt idx="103">
                  <c:v>0.8249621403606279</c:v>
                </c:pt>
                <c:pt idx="104">
                  <c:v>0.7799566086963223</c:v>
                </c:pt>
              </c:numCache>
            </c:numRef>
          </c:xVal>
          <c:yVal>
            <c:numRef>
              <c:f>Sheet1!$B$2:$B$106</c:f>
              <c:numCache>
                <c:formatCode>General</c:formatCode>
                <c:ptCount val="105"/>
                <c:pt idx="0">
                  <c:v>0.38292011019283745</c:v>
                </c:pt>
                <c:pt idx="1">
                  <c:v>0.39156626506024095</c:v>
                </c:pt>
                <c:pt idx="2">
                  <c:v>0.44631901840490795</c:v>
                </c:pt>
                <c:pt idx="3">
                  <c:v>0.4312080536912752</c:v>
                </c:pt>
                <c:pt idx="4">
                  <c:v>0.4380952380952381</c:v>
                </c:pt>
                <c:pt idx="5">
                  <c:v>0.42939481268011526</c:v>
                </c:pt>
                <c:pt idx="6">
                  <c:v>0.4409722222222222</c:v>
                </c:pt>
                <c:pt idx="7">
                  <c:v>0.47232472324723246</c:v>
                </c:pt>
                <c:pt idx="8">
                  <c:v>0.4727272727272727</c:v>
                </c:pt>
                <c:pt idx="9">
                  <c:v>0.44591029023746703</c:v>
                </c:pt>
                <c:pt idx="10">
                  <c:v>0.4318488529014845</c:v>
                </c:pt>
                <c:pt idx="11">
                  <c:v>0.37228260869565216</c:v>
                </c:pt>
                <c:pt idx="12">
                  <c:v>0.3644278606965174</c:v>
                </c:pt>
                <c:pt idx="13">
                  <c:v>0.33378016085790885</c:v>
                </c:pt>
                <c:pt idx="14">
                  <c:v>0.3510791366906475</c:v>
                </c:pt>
                <c:pt idx="15">
                  <c:v>0.3707052441229656</c:v>
                </c:pt>
                <c:pt idx="16">
                  <c:v>0.3265720081135903</c:v>
                </c:pt>
                <c:pt idx="17">
                  <c:v>0.3140495867768595</c:v>
                </c:pt>
                <c:pt idx="18">
                  <c:v>0.3</c:v>
                </c:pt>
                <c:pt idx="19">
                  <c:v>0.3081081081081081</c:v>
                </c:pt>
                <c:pt idx="20">
                  <c:v>0.3238341968911917</c:v>
                </c:pt>
                <c:pt idx="21">
                  <c:v>0.40966921119592875</c:v>
                </c:pt>
                <c:pt idx="22">
                  <c:v>0.4241486068111455</c:v>
                </c:pt>
                <c:pt idx="23">
                  <c:v>0.4049586776859504</c:v>
                </c:pt>
                <c:pt idx="24">
                  <c:v>0.41812865497076024</c:v>
                </c:pt>
                <c:pt idx="25">
                  <c:v>0.42452830188679247</c:v>
                </c:pt>
                <c:pt idx="26">
                  <c:v>0.4202247191011236</c:v>
                </c:pt>
                <c:pt idx="27">
                  <c:v>0.36828644501278773</c:v>
                </c:pt>
                <c:pt idx="28">
                  <c:v>0.4253731343283582</c:v>
                </c:pt>
                <c:pt idx="29">
                  <c:v>0.40401785714285715</c:v>
                </c:pt>
                <c:pt idx="30">
                  <c:v>0.405</c:v>
                </c:pt>
                <c:pt idx="31">
                  <c:v>0.41025641025641024</c:v>
                </c:pt>
                <c:pt idx="32">
                  <c:v>0.484593837535014</c:v>
                </c:pt>
                <c:pt idx="33">
                  <c:v>0.4164859002169197</c:v>
                </c:pt>
                <c:pt idx="34">
                  <c:v>0.384321223709369</c:v>
                </c:pt>
                <c:pt idx="35">
                  <c:v>0.415014164305949</c:v>
                </c:pt>
                <c:pt idx="36">
                  <c:v>0.398884239888424</c:v>
                </c:pt>
                <c:pt idx="37">
                  <c:v>0.4154929577464789</c:v>
                </c:pt>
                <c:pt idx="38">
                  <c:v>0.34845360824742266</c:v>
                </c:pt>
                <c:pt idx="39">
                  <c:v>0.35764705882352943</c:v>
                </c:pt>
                <c:pt idx="40">
                  <c:v>0.36507936507936506</c:v>
                </c:pt>
                <c:pt idx="41">
                  <c:v>0.35650224215246634</c:v>
                </c:pt>
                <c:pt idx="42">
                  <c:v>0.3902439024390244</c:v>
                </c:pt>
                <c:pt idx="43">
                  <c:v>0.41471571906354515</c:v>
                </c:pt>
                <c:pt idx="44">
                  <c:v>0.3718518518518519</c:v>
                </c:pt>
                <c:pt idx="45">
                  <c:v>0.3686868686868687</c:v>
                </c:pt>
                <c:pt idx="46">
                  <c:v>0.3728813559322034</c:v>
                </c:pt>
                <c:pt idx="47">
                  <c:v>0.3390452876376989</c:v>
                </c:pt>
                <c:pt idx="48">
                  <c:v>0.3139963167587477</c:v>
                </c:pt>
                <c:pt idx="49">
                  <c:v>0.31382636655948554</c:v>
                </c:pt>
                <c:pt idx="50">
                  <c:v>0.3274021352313167</c:v>
                </c:pt>
                <c:pt idx="51">
                  <c:v>0.330550918196995</c:v>
                </c:pt>
                <c:pt idx="52">
                  <c:v>0.34076433121019106</c:v>
                </c:pt>
                <c:pt idx="53">
                  <c:v>0.33275862068965517</c:v>
                </c:pt>
                <c:pt idx="54">
                  <c:v>0.375</c:v>
                </c:pt>
                <c:pt idx="55">
                  <c:v>0.38256227758007116</c:v>
                </c:pt>
                <c:pt idx="56">
                  <c:v>0.35447761194029853</c:v>
                </c:pt>
                <c:pt idx="57">
                  <c:v>0.36310679611650487</c:v>
                </c:pt>
                <c:pt idx="58">
                  <c:v>0.3597122302158273</c:v>
                </c:pt>
                <c:pt idx="59">
                  <c:v>0.3472584856396867</c:v>
                </c:pt>
                <c:pt idx="60">
                  <c:v>0.3323353293413174</c:v>
                </c:pt>
                <c:pt idx="61">
                  <c:v>0.3406896551724138</c:v>
                </c:pt>
                <c:pt idx="62">
                  <c:v>0.28891820580474936</c:v>
                </c:pt>
                <c:pt idx="63">
                  <c:v>0.2623655913978495</c:v>
                </c:pt>
                <c:pt idx="64">
                  <c:v>0.2735760971055089</c:v>
                </c:pt>
                <c:pt idx="65">
                  <c:v>0.3104738154613466</c:v>
                </c:pt>
                <c:pt idx="66">
                  <c:v>0.33540372670807456</c:v>
                </c:pt>
                <c:pt idx="67">
                  <c:v>0.31801242236024846</c:v>
                </c:pt>
                <c:pt idx="68">
                  <c:v>0.2946859903381642</c:v>
                </c:pt>
                <c:pt idx="69">
                  <c:v>0.2804878048780488</c:v>
                </c:pt>
                <c:pt idx="70">
                  <c:v>0.31868131868131866</c:v>
                </c:pt>
                <c:pt idx="71">
                  <c:v>0.35148514851485146</c:v>
                </c:pt>
                <c:pt idx="72">
                  <c:v>0.32620320855614976</c:v>
                </c:pt>
                <c:pt idx="73">
                  <c:v>0.3435114503816794</c:v>
                </c:pt>
                <c:pt idx="74">
                  <c:v>0.36065573770491804</c:v>
                </c:pt>
                <c:pt idx="75">
                  <c:v>0.4005235602094241</c:v>
                </c:pt>
                <c:pt idx="76">
                  <c:v>0.37719298245614036</c:v>
                </c:pt>
                <c:pt idx="77">
                  <c:v>0.32697547683923706</c:v>
                </c:pt>
                <c:pt idx="78">
                  <c:v>0.37755102040816324</c:v>
                </c:pt>
                <c:pt idx="79">
                  <c:v>0.3682539682539683</c:v>
                </c:pt>
                <c:pt idx="80">
                  <c:v>0.34332425068119893</c:v>
                </c:pt>
                <c:pt idx="81">
                  <c:v>0.34444444444444444</c:v>
                </c:pt>
                <c:pt idx="82">
                  <c:v>0.31563421828908556</c:v>
                </c:pt>
                <c:pt idx="83">
                  <c:v>0.34146341463414637</c:v>
                </c:pt>
                <c:pt idx="84">
                  <c:v>0.32764505119453924</c:v>
                </c:pt>
                <c:pt idx="85">
                  <c:v>0.33214285714285713</c:v>
                </c:pt>
                <c:pt idx="86">
                  <c:v>0.33194154488517746</c:v>
                </c:pt>
                <c:pt idx="87">
                  <c:v>0.35365853658536583</c:v>
                </c:pt>
                <c:pt idx="88">
                  <c:v>0.38202247191011235</c:v>
                </c:pt>
                <c:pt idx="89">
                  <c:v>0.37530266343825663</c:v>
                </c:pt>
                <c:pt idx="90">
                  <c:v>0.3700564971751412</c:v>
                </c:pt>
                <c:pt idx="91">
                  <c:v>0.3904109589041096</c:v>
                </c:pt>
                <c:pt idx="92">
                  <c:v>0.36578947368421055</c:v>
                </c:pt>
                <c:pt idx="93">
                  <c:v>0.36049382716049383</c:v>
                </c:pt>
                <c:pt idx="94">
                  <c:v>0.3963963963963964</c:v>
                </c:pt>
                <c:pt idx="95">
                  <c:v>0.40458015267175573</c:v>
                </c:pt>
                <c:pt idx="96">
                  <c:v>0.38461538461538464</c:v>
                </c:pt>
                <c:pt idx="97">
                  <c:v>0.3027027027027027</c:v>
                </c:pt>
                <c:pt idx="98">
                  <c:v>0.3062568605927552</c:v>
                </c:pt>
                <c:pt idx="99">
                  <c:v>0.3296032553407935</c:v>
                </c:pt>
                <c:pt idx="100">
                  <c:v>0.3311367380560132</c:v>
                </c:pt>
                <c:pt idx="101">
                  <c:v>0.3884514435695538</c:v>
                </c:pt>
                <c:pt idx="102">
                  <c:v>0.3720430107526882</c:v>
                </c:pt>
                <c:pt idx="103">
                  <c:v>0.34615384615384615</c:v>
                </c:pt>
                <c:pt idx="104">
                  <c:v>0.339517625231910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036573999575349</c:v>
                </c:pt>
                <c:pt idx="1">
                  <c:v>0.7880732420877179</c:v>
                </c:pt>
                <c:pt idx="2">
                  <c:v>0.7686365861249095</c:v>
                </c:pt>
                <c:pt idx="3">
                  <c:v>0.7212883435873975</c:v>
                </c:pt>
                <c:pt idx="4">
                  <c:v>0.7428605419095718</c:v>
                </c:pt>
                <c:pt idx="5">
                  <c:v>0.762129050356607</c:v>
                </c:pt>
                <c:pt idx="6">
                  <c:v>0.7960799769307104</c:v>
                </c:pt>
                <c:pt idx="7">
                  <c:v>0.8587396621891702</c:v>
                </c:pt>
                <c:pt idx="8">
                  <c:v>0.984582375684429</c:v>
                </c:pt>
                <c:pt idx="9">
                  <c:v>0.8540267315380456</c:v>
                </c:pt>
                <c:pt idx="10">
                  <c:v>0.912305655641876</c:v>
                </c:pt>
                <c:pt idx="11">
                  <c:v>0.8923967081997647</c:v>
                </c:pt>
                <c:pt idx="12">
                  <c:v>0.9405888216906609</c:v>
                </c:pt>
                <c:pt idx="13">
                  <c:v>0.9411791682780666</c:v>
                </c:pt>
                <c:pt idx="14">
                  <c:v>0.9168779807610523</c:v>
                </c:pt>
                <c:pt idx="15">
                  <c:v>0.9086159939437363</c:v>
                </c:pt>
                <c:pt idx="16">
                  <c:v>0.9271356091385768</c:v>
                </c:pt>
                <c:pt idx="17">
                  <c:v>0.9933702342552131</c:v>
                </c:pt>
                <c:pt idx="18">
                  <c:v>1.3403895554751344</c:v>
                </c:pt>
                <c:pt idx="19">
                  <c:v>1.0475391958727693</c:v>
                </c:pt>
                <c:pt idx="20">
                  <c:v>0.934753206728593</c:v>
                </c:pt>
                <c:pt idx="21">
                  <c:v>0.9624165189925711</c:v>
                </c:pt>
                <c:pt idx="22">
                  <c:v>1.0041648190966004</c:v>
                </c:pt>
                <c:pt idx="23">
                  <c:v>0.8915925100136145</c:v>
                </c:pt>
                <c:pt idx="24">
                  <c:v>0.9757013885788748</c:v>
                </c:pt>
                <c:pt idx="25">
                  <c:v>0.9492432172148941</c:v>
                </c:pt>
                <c:pt idx="26">
                  <c:v>0.93888036233204</c:v>
                </c:pt>
                <c:pt idx="27">
                  <c:v>0.9975179723423238</c:v>
                </c:pt>
                <c:pt idx="28">
                  <c:v>0.9568138902806701</c:v>
                </c:pt>
                <c:pt idx="29">
                  <c:v>0.94358817915741</c:v>
                </c:pt>
                <c:pt idx="30">
                  <c:v>0.9202493319425552</c:v>
                </c:pt>
                <c:pt idx="31">
                  <c:v>0.8117380893906686</c:v>
                </c:pt>
                <c:pt idx="32">
                  <c:v>0.9220197522123894</c:v>
                </c:pt>
                <c:pt idx="33">
                  <c:v>1.0195129228643387</c:v>
                </c:pt>
                <c:pt idx="34">
                  <c:v>0.9919454763661069</c:v>
                </c:pt>
                <c:pt idx="35">
                  <c:v>0.9771690579048474</c:v>
                </c:pt>
                <c:pt idx="36">
                  <c:v>0.9564505321069093</c:v>
                </c:pt>
                <c:pt idx="37">
                  <c:v>0.936930589043899</c:v>
                </c:pt>
                <c:pt idx="38">
                  <c:v>0.974103617291837</c:v>
                </c:pt>
                <c:pt idx="39">
                  <c:v>0.9920585849517763</c:v>
                </c:pt>
                <c:pt idx="40">
                  <c:v>1.0682551296485494</c:v>
                </c:pt>
                <c:pt idx="41">
                  <c:v>1.053328444837229</c:v>
                </c:pt>
                <c:pt idx="42">
                  <c:v>1.026864341189807</c:v>
                </c:pt>
                <c:pt idx="43">
                  <c:v>1.1284585636434754</c:v>
                </c:pt>
                <c:pt idx="44">
                  <c:v>1.1574107671674647</c:v>
                </c:pt>
                <c:pt idx="45">
                  <c:v>1.1495060357413966</c:v>
                </c:pt>
                <c:pt idx="46">
                  <c:v>1.0967534752019805</c:v>
                </c:pt>
                <c:pt idx="47">
                  <c:v>1.036015242592273</c:v>
                </c:pt>
                <c:pt idx="48">
                  <c:v>1.049572881939202</c:v>
                </c:pt>
                <c:pt idx="49">
                  <c:v>1.0736055087623924</c:v>
                </c:pt>
                <c:pt idx="50">
                  <c:v>1.0435015004485877</c:v>
                </c:pt>
                <c:pt idx="51">
                  <c:v>0.9908013924960944</c:v>
                </c:pt>
              </c:numCache>
            </c:numRef>
          </c:xVal>
          <c:yVal>
            <c:numRef>
              <c:f>Sheet1!$B$109:$B$160</c:f>
              <c:numCache>
                <c:formatCode>General</c:formatCode>
                <c:ptCount val="52"/>
                <c:pt idx="0">
                  <c:v>0.332089552238806</c:v>
                </c:pt>
                <c:pt idx="1">
                  <c:v>0.3286573146292585</c:v>
                </c:pt>
                <c:pt idx="2">
                  <c:v>0.32967032967032966</c:v>
                </c:pt>
                <c:pt idx="3">
                  <c:v>0.3376383763837638</c:v>
                </c:pt>
                <c:pt idx="4">
                  <c:v>0.35785288270377735</c:v>
                </c:pt>
                <c:pt idx="5">
                  <c:v>0.3430493273542601</c:v>
                </c:pt>
                <c:pt idx="6">
                  <c:v>0.3808139534883721</c:v>
                </c:pt>
                <c:pt idx="7">
                  <c:v>0.32894736842105265</c:v>
                </c:pt>
                <c:pt idx="8">
                  <c:v>0.31989247311827956</c:v>
                </c:pt>
                <c:pt idx="9">
                  <c:v>0.3412698412698413</c:v>
                </c:pt>
                <c:pt idx="10">
                  <c:v>0.34826883910386963</c:v>
                </c:pt>
                <c:pt idx="11">
                  <c:v>0.3188854489164087</c:v>
                </c:pt>
                <c:pt idx="12">
                  <c:v>0.30153846153846153</c:v>
                </c:pt>
                <c:pt idx="13">
                  <c:v>0.31643356643356646</c:v>
                </c:pt>
                <c:pt idx="14">
                  <c:v>0.321011673151751</c:v>
                </c:pt>
                <c:pt idx="15">
                  <c:v>0.3046092184368738</c:v>
                </c:pt>
                <c:pt idx="16">
                  <c:v>0.2966751918158568</c:v>
                </c:pt>
                <c:pt idx="17">
                  <c:v>0.33791208791208793</c:v>
                </c:pt>
                <c:pt idx="18">
                  <c:v>0.26409495548961426</c:v>
                </c:pt>
                <c:pt idx="19">
                  <c:v>0.27823691460055094</c:v>
                </c:pt>
                <c:pt idx="20">
                  <c:v>0.28222996515679444</c:v>
                </c:pt>
                <c:pt idx="21">
                  <c:v>0.29646017699115046</c:v>
                </c:pt>
                <c:pt idx="22">
                  <c:v>0.3080568720379147</c:v>
                </c:pt>
                <c:pt idx="23">
                  <c:v>0.3173913043478261</c:v>
                </c:pt>
                <c:pt idx="24">
                  <c:v>0.3020408163265306</c:v>
                </c:pt>
                <c:pt idx="25">
                  <c:v>0.2826086956521739</c:v>
                </c:pt>
                <c:pt idx="26">
                  <c:v>0.3130081300813008</c:v>
                </c:pt>
                <c:pt idx="27">
                  <c:v>0.31313131313131315</c:v>
                </c:pt>
                <c:pt idx="28">
                  <c:v>0.3221476510067114</c:v>
                </c:pt>
                <c:pt idx="29">
                  <c:v>0.3482758620689655</c:v>
                </c:pt>
                <c:pt idx="30">
                  <c:v>0.3617021276595745</c:v>
                </c:pt>
                <c:pt idx="31">
                  <c:v>0.3531468531468531</c:v>
                </c:pt>
                <c:pt idx="32">
                  <c:v>0.2972027972027972</c:v>
                </c:pt>
                <c:pt idx="33">
                  <c:v>0.2932692307692308</c:v>
                </c:pt>
                <c:pt idx="34">
                  <c:v>0.31227436823104693</c:v>
                </c:pt>
                <c:pt idx="35">
                  <c:v>0.29462738301559793</c:v>
                </c:pt>
                <c:pt idx="36">
                  <c:v>0.3184713375796178</c:v>
                </c:pt>
                <c:pt idx="37">
                  <c:v>0.3</c:v>
                </c:pt>
                <c:pt idx="38">
                  <c:v>0.2575107296137339</c:v>
                </c:pt>
                <c:pt idx="39">
                  <c:v>0.2781954887218045</c:v>
                </c:pt>
                <c:pt idx="40">
                  <c:v>0.29411764705882354</c:v>
                </c:pt>
                <c:pt idx="41">
                  <c:v>0.28628230616302186</c:v>
                </c:pt>
                <c:pt idx="42">
                  <c:v>0.2786885245901639</c:v>
                </c:pt>
                <c:pt idx="43">
                  <c:v>0.30023640661938533</c:v>
                </c:pt>
                <c:pt idx="44">
                  <c:v>0.29927007299270075</c:v>
                </c:pt>
                <c:pt idx="45">
                  <c:v>0.30963665086887837</c:v>
                </c:pt>
                <c:pt idx="46">
                  <c:v>0.33222591362126247</c:v>
                </c:pt>
                <c:pt idx="47">
                  <c:v>0.3141592920353982</c:v>
                </c:pt>
                <c:pt idx="48">
                  <c:v>0.3458755426917511</c:v>
                </c:pt>
                <c:pt idx="49">
                  <c:v>0.3371104815864023</c:v>
                </c:pt>
                <c:pt idx="50">
                  <c:v>0.3217477656405164</c:v>
                </c:pt>
                <c:pt idx="51">
                  <c:v>0.3702531645569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419816453393514</c:v>
                </c:pt>
              </c:numCache>
            </c:numRef>
          </c:xVal>
          <c:yVal>
            <c:numRef>
              <c:f>Sheet1!$B$163:$B$164</c:f>
              <c:numCache>
                <c:formatCode>General</c:formatCode>
                <c:ptCount val="2"/>
                <c:pt idx="0">
                  <c:v>0.4339475240357047</c:v>
                </c:pt>
                <c:pt idx="1">
                  <c:v>0.43394752403570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419816453393514</c:v>
                </c:pt>
                <c:pt idx="1">
                  <c:v>-0.03419816453393514</c:v>
                </c:pt>
              </c:numCache>
            </c:numRef>
          </c:xVal>
          <c:yVal>
            <c:numRef>
              <c:f>Sheet1!$B$167:$B$168</c:f>
              <c:numCache>
                <c:formatCode>General</c:formatCode>
                <c:ptCount val="2"/>
                <c:pt idx="0">
                  <c:v>0.4339475240357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244321980562056</c:v>
                </c:pt>
              </c:numCache>
            </c:numRef>
          </c:xVal>
          <c:yVal>
            <c:numRef>
              <c:f>Sheet1!$B$171:$B$172</c:f>
              <c:numCache>
                <c:formatCode>General</c:formatCode>
                <c:ptCount val="2"/>
                <c:pt idx="0">
                  <c:v>0.3437467386189079</c:v>
                </c:pt>
                <c:pt idx="1">
                  <c:v>0.343746738618907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244321980562056</c:v>
                </c:pt>
                <c:pt idx="1">
                  <c:v>0.7244321980562056</c:v>
                </c:pt>
              </c:numCache>
            </c:numRef>
          </c:xVal>
          <c:yVal>
            <c:numRef>
              <c:f>Sheet1!$B$175:$B$176</c:f>
              <c:numCache>
                <c:formatCode>General</c:formatCode>
                <c:ptCount val="2"/>
                <c:pt idx="0">
                  <c:v>0.34374673861890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838033346484996</c:v>
                </c:pt>
              </c:numCache>
            </c:numRef>
          </c:xVal>
          <c:yVal>
            <c:numRef>
              <c:f>Sheet1!$B$179:$B$180</c:f>
              <c:numCache>
                <c:formatCode>General</c:formatCode>
                <c:ptCount val="2"/>
                <c:pt idx="0">
                  <c:v>0.3129076351651593</c:v>
                </c:pt>
                <c:pt idx="1">
                  <c:v>0.31290763516515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838033346484996</c:v>
                </c:pt>
                <c:pt idx="1">
                  <c:v>0.9838033346484996</c:v>
                </c:pt>
              </c:numCache>
            </c:numRef>
          </c:xVal>
          <c:yVal>
            <c:numRef>
              <c:f>Sheet1!$B$183:$B$184</c:f>
              <c:numCache>
                <c:formatCode>General</c:formatCode>
                <c:ptCount val="2"/>
                <c:pt idx="0">
                  <c:v>0.31290763516515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036573999575349</c:v>
                </c:pt>
                <c:pt idx="1">
                  <c:v>0.7880732420877179</c:v>
                </c:pt>
                <c:pt idx="2">
                  <c:v>0.7686365861249095</c:v>
                </c:pt>
                <c:pt idx="3">
                  <c:v>0.7212883435873975</c:v>
                </c:pt>
                <c:pt idx="4">
                  <c:v>0.7428605419095718</c:v>
                </c:pt>
                <c:pt idx="5">
                  <c:v>0.762129050356607</c:v>
                </c:pt>
                <c:pt idx="6">
                  <c:v>0.7960799769307104</c:v>
                </c:pt>
                <c:pt idx="7">
                  <c:v>0.8587396621891702</c:v>
                </c:pt>
                <c:pt idx="8">
                  <c:v>0.984582375684429</c:v>
                </c:pt>
                <c:pt idx="9">
                  <c:v>0.8540267315380456</c:v>
                </c:pt>
                <c:pt idx="10">
                  <c:v>0.912305655641876</c:v>
                </c:pt>
                <c:pt idx="11">
                  <c:v>0.8923967081997647</c:v>
                </c:pt>
                <c:pt idx="12">
                  <c:v>0.9405888216906609</c:v>
                </c:pt>
                <c:pt idx="13">
                  <c:v>0.9411791682780666</c:v>
                </c:pt>
                <c:pt idx="14">
                  <c:v>0.9168779807610523</c:v>
                </c:pt>
                <c:pt idx="15">
                  <c:v>0.9086159939437363</c:v>
                </c:pt>
                <c:pt idx="16">
                  <c:v>0.9271356091385768</c:v>
                </c:pt>
                <c:pt idx="17">
                  <c:v>0.9933702342552131</c:v>
                </c:pt>
                <c:pt idx="18">
                  <c:v>1.3403895554751344</c:v>
                </c:pt>
                <c:pt idx="19">
                  <c:v>1.0475391958727693</c:v>
                </c:pt>
                <c:pt idx="20">
                  <c:v>0.934753206728593</c:v>
                </c:pt>
                <c:pt idx="21">
                  <c:v>0.9624165189925711</c:v>
                </c:pt>
                <c:pt idx="22">
                  <c:v>1.0041648190966004</c:v>
                </c:pt>
                <c:pt idx="23">
                  <c:v>0.8915925100136145</c:v>
                </c:pt>
                <c:pt idx="24">
                  <c:v>0.9757013885788748</c:v>
                </c:pt>
                <c:pt idx="25">
                  <c:v>0.9492432172148941</c:v>
                </c:pt>
                <c:pt idx="26">
                  <c:v>0.93888036233204</c:v>
                </c:pt>
                <c:pt idx="27">
                  <c:v>0.9975179723423238</c:v>
                </c:pt>
                <c:pt idx="28">
                  <c:v>0.9568138902806701</c:v>
                </c:pt>
                <c:pt idx="29">
                  <c:v>0.94358817915741</c:v>
                </c:pt>
                <c:pt idx="30">
                  <c:v>0.9202493319425552</c:v>
                </c:pt>
                <c:pt idx="31">
                  <c:v>0.8117380893906686</c:v>
                </c:pt>
                <c:pt idx="32">
                  <c:v>0.9220197522123894</c:v>
                </c:pt>
                <c:pt idx="33">
                  <c:v>1.0195129228643387</c:v>
                </c:pt>
                <c:pt idx="34">
                  <c:v>0.9919454763661069</c:v>
                </c:pt>
                <c:pt idx="35">
                  <c:v>0.9771690579048474</c:v>
                </c:pt>
                <c:pt idx="36">
                  <c:v>0.9564505321069093</c:v>
                </c:pt>
                <c:pt idx="37">
                  <c:v>0.936930589043899</c:v>
                </c:pt>
                <c:pt idx="38">
                  <c:v>0.974103617291837</c:v>
                </c:pt>
                <c:pt idx="39">
                  <c:v>0.9920585849517763</c:v>
                </c:pt>
                <c:pt idx="40">
                  <c:v>1.0682551296485494</c:v>
                </c:pt>
                <c:pt idx="41">
                  <c:v>1.053328444837229</c:v>
                </c:pt>
                <c:pt idx="42">
                  <c:v>1.026864341189807</c:v>
                </c:pt>
                <c:pt idx="43">
                  <c:v>1.1284585636434754</c:v>
                </c:pt>
                <c:pt idx="44">
                  <c:v>1.1574107671674647</c:v>
                </c:pt>
                <c:pt idx="45">
                  <c:v>1.1495060357413966</c:v>
                </c:pt>
                <c:pt idx="46">
                  <c:v>1.0967534752019805</c:v>
                </c:pt>
                <c:pt idx="47">
                  <c:v>1.036015242592273</c:v>
                </c:pt>
                <c:pt idx="48">
                  <c:v>1.049572881939202</c:v>
                </c:pt>
                <c:pt idx="49">
                  <c:v>1.0736055087623924</c:v>
                </c:pt>
                <c:pt idx="50">
                  <c:v>1.0435015004485877</c:v>
                </c:pt>
                <c:pt idx="51">
                  <c:v>0.9908013924960944</c:v>
                </c:pt>
                <c:pt idx="52">
                  <c:v>0.7244321980562056</c:v>
                </c:pt>
                <c:pt idx="53">
                  <c:v>-0.03419816453393514</c:v>
                </c:pt>
                <c:pt idx="54">
                  <c:v>0.9838033346484996</c:v>
                </c:pt>
              </c:numCache>
            </c:numRef>
          </c:xVal>
          <c:yVal>
            <c:numRef>
              <c:f>Sheet1!$B$187:$B$241</c:f>
              <c:numCache>
                <c:formatCode>General</c:formatCode>
                <c:ptCount val="55"/>
                <c:pt idx="0">
                  <c:v>0.3343269001986455</c:v>
                </c:pt>
                <c:pt idx="1">
                  <c:v>0.3361798490776193</c:v>
                </c:pt>
                <c:pt idx="2">
                  <c:v>0.3384908581278444</c:v>
                </c:pt>
                <c:pt idx="3">
                  <c:v>0.344120541403909</c:v>
                </c:pt>
                <c:pt idx="4">
                  <c:v>0.34155561739377116</c:v>
                </c:pt>
                <c:pt idx="5">
                  <c:v>0.33926460100233824</c:v>
                </c:pt>
                <c:pt idx="6">
                  <c:v>0.3352278521538524</c:v>
                </c:pt>
                <c:pt idx="7">
                  <c:v>0.32777764569891266</c:v>
                </c:pt>
                <c:pt idx="8">
                  <c:v>0.31281500756049446</c:v>
                </c:pt>
                <c:pt idx="9">
                  <c:v>0.32833801088769166</c:v>
                </c:pt>
                <c:pt idx="10">
                  <c:v>0.321408674828081</c:v>
                </c:pt>
                <c:pt idx="11">
                  <c:v>0.32377583910815133</c:v>
                </c:pt>
                <c:pt idx="12">
                  <c:v>0.318045819981402</c:v>
                </c:pt>
                <c:pt idx="13">
                  <c:v>0.31797562805595586</c:v>
                </c:pt>
                <c:pt idx="14">
                  <c:v>0.32086502756945756</c:v>
                </c:pt>
                <c:pt idx="15">
                  <c:v>0.3218473738302646</c:v>
                </c:pt>
                <c:pt idx="16">
                  <c:v>0.3196454004865033</c:v>
                </c:pt>
                <c:pt idx="17">
                  <c:v>0.3117701354010015</c:v>
                </c:pt>
                <c:pt idx="18">
                  <c:v>0.27050970493000076</c:v>
                </c:pt>
                <c:pt idx="19">
                  <c:v>0.3053294719052331</c:v>
                </c:pt>
                <c:pt idx="20">
                  <c:v>0.318739671795046</c:v>
                </c:pt>
                <c:pt idx="21">
                  <c:v>0.3154505172653992</c:v>
                </c:pt>
                <c:pt idx="22">
                  <c:v>0.31048666445262424</c:v>
                </c:pt>
                <c:pt idx="23">
                  <c:v>0.3238714578858837</c:v>
                </c:pt>
                <c:pt idx="24">
                  <c:v>0.313870952658002</c:v>
                </c:pt>
                <c:pt idx="25">
                  <c:v>0.3170168165139845</c:v>
                </c:pt>
                <c:pt idx="26">
                  <c:v>0.3182489549778371</c:v>
                </c:pt>
                <c:pt idx="27">
                  <c:v>0.3112769713363796</c:v>
                </c:pt>
                <c:pt idx="28">
                  <c:v>0.3161166671259014</c:v>
                </c:pt>
                <c:pt idx="29">
                  <c:v>0.31768919782048194</c:v>
                </c:pt>
                <c:pt idx="30">
                  <c:v>0.32046417553468115</c:v>
                </c:pt>
                <c:pt idx="31">
                  <c:v>0.33336611010966294</c:v>
                </c:pt>
                <c:pt idx="32">
                  <c:v>0.3202536734156892</c:v>
                </c:pt>
                <c:pt idx="33">
                  <c:v>0.30866178229290975</c:v>
                </c:pt>
                <c:pt idx="34">
                  <c:v>0.31193953842909466</c:v>
                </c:pt>
                <c:pt idx="35">
                  <c:v>0.3136964474806942</c:v>
                </c:pt>
                <c:pt idx="36">
                  <c:v>0.316159870238085</c:v>
                </c:pt>
                <c:pt idx="37">
                  <c:v>0.31848078208448566</c:v>
                </c:pt>
                <c:pt idx="38">
                  <c:v>0.31406092689593673</c:v>
                </c:pt>
                <c:pt idx="39">
                  <c:v>0.31192608987263304</c:v>
                </c:pt>
                <c:pt idx="40">
                  <c:v>0.3028663573380308</c:v>
                </c:pt>
                <c:pt idx="41">
                  <c:v>0.30464113298641526</c:v>
                </c:pt>
                <c:pt idx="42">
                  <c:v>0.3077877021880472</c:v>
                </c:pt>
                <c:pt idx="43">
                  <c:v>0.29570819797753545</c:v>
                </c:pt>
                <c:pt idx="44">
                  <c:v>0.29226579489668003</c:v>
                </c:pt>
                <c:pt idx="45">
                  <c:v>0.2932056636632105</c:v>
                </c:pt>
                <c:pt idx="46">
                  <c:v>0.2994779177516923</c:v>
                </c:pt>
                <c:pt idx="47">
                  <c:v>0.3066996644103923</c:v>
                </c:pt>
                <c:pt idx="48">
                  <c:v>0.30508766760958494</c:v>
                </c:pt>
                <c:pt idx="49">
                  <c:v>0.30223019983347416</c:v>
                </c:pt>
                <c:pt idx="50">
                  <c:v>0.3058095519501334</c:v>
                </c:pt>
                <c:pt idx="51">
                  <c:v>0.3120755694512455</c:v>
                </c:pt>
                <c:pt idx="52">
                  <c:v>0.3437467386189079</c:v>
                </c:pt>
                <c:pt idx="53">
                  <c:v>0.4339475240357047</c:v>
                </c:pt>
                <c:pt idx="54">
                  <c:v>0.31290763516515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5126050420167"/>
          <c:min val="0.206008583690987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5.2266</c:v>
                </c:pt>
                <c:pt idx="1">
                  <c:v>978.8538</c:v>
                </c:pt>
                <c:pt idx="2">
                  <c:v>960.701</c:v>
                </c:pt>
                <c:pt idx="3">
                  <c:v>962.144</c:v>
                </c:pt>
                <c:pt idx="4">
                  <c:v>931.7435</c:v>
                </c:pt>
                <c:pt idx="5">
                  <c:v>919.4161</c:v>
                </c:pt>
                <c:pt idx="6">
                  <c:v>914.9134</c:v>
                </c:pt>
                <c:pt idx="7">
                  <c:v>900.6953</c:v>
                </c:pt>
                <c:pt idx="8">
                  <c:v>887.95</c:v>
                </c:pt>
                <c:pt idx="9">
                  <c:v>922.5118</c:v>
                </c:pt>
                <c:pt idx="10">
                  <c:v>921.1688</c:v>
                </c:pt>
                <c:pt idx="11">
                  <c:v>968.8139</c:v>
                </c:pt>
                <c:pt idx="12">
                  <c:v>969.8669</c:v>
                </c:pt>
                <c:pt idx="13">
                  <c:v>981.1606</c:v>
                </c:pt>
                <c:pt idx="14">
                  <c:v>1002.4426</c:v>
                </c:pt>
                <c:pt idx="15">
                  <c:v>1011.3463</c:v>
                </c:pt>
                <c:pt idx="16">
                  <c:v>1062.2795</c:v>
                </c:pt>
                <c:pt idx="17">
                  <c:v>1098.1118</c:v>
                </c:pt>
                <c:pt idx="18">
                  <c:v>1160.4095</c:v>
                </c:pt>
                <c:pt idx="19">
                  <c:v>1138.4912</c:v>
                </c:pt>
                <c:pt idx="20">
                  <c:v>1177.368</c:v>
                </c:pt>
                <c:pt idx="21">
                  <c:v>1157.2795</c:v>
                </c:pt>
                <c:pt idx="22">
                  <c:v>1135.9343</c:v>
                </c:pt>
                <c:pt idx="23">
                  <c:v>1109.4898</c:v>
                </c:pt>
                <c:pt idx="24">
                  <c:v>1091.8881</c:v>
                </c:pt>
                <c:pt idx="25">
                  <c:v>1132.2889</c:v>
                </c:pt>
                <c:pt idx="26">
                  <c:v>1131.1818</c:v>
                </c:pt>
                <c:pt idx="27">
                  <c:v>1135.7361</c:v>
                </c:pt>
                <c:pt idx="28">
                  <c:v>1158.4386</c:v>
                </c:pt>
                <c:pt idx="29">
                  <c:v>1113.7293</c:v>
                </c:pt>
                <c:pt idx="30">
                  <c:v>1118.3951</c:v>
                </c:pt>
                <c:pt idx="31">
                  <c:v>1077.7847</c:v>
                </c:pt>
                <c:pt idx="32">
                  <c:v>1059.3353</c:v>
                </c:pt>
                <c:pt idx="33">
                  <c:v>992.3802</c:v>
                </c:pt>
                <c:pt idx="34">
                  <c:v>1034.1443</c:v>
                </c:pt>
                <c:pt idx="35">
                  <c:v>1057.6109</c:v>
                </c:pt>
                <c:pt idx="36">
                  <c:v>1071.5035</c:v>
                </c:pt>
                <c:pt idx="37">
                  <c:v>1051.8686</c:v>
                </c:pt>
                <c:pt idx="38">
                  <c:v>1131.0888</c:v>
                </c:pt>
                <c:pt idx="39">
                  <c:v>1166.6316</c:v>
                </c:pt>
                <c:pt idx="40">
                  <c:v>1200.472</c:v>
                </c:pt>
                <c:pt idx="41">
                  <c:v>1259.7987</c:v>
                </c:pt>
                <c:pt idx="42">
                  <c:v>1271.1473</c:v>
                </c:pt>
                <c:pt idx="43">
                  <c:v>1299.504</c:v>
                </c:pt>
                <c:pt idx="44">
                  <c:v>1284.0159</c:v>
                </c:pt>
                <c:pt idx="45">
                  <c:v>1215.2877</c:v>
                </c:pt>
                <c:pt idx="46">
                  <c:v>1206.035</c:v>
                </c:pt>
                <c:pt idx="47">
                  <c:v>1164.4404</c:v>
                </c:pt>
                <c:pt idx="48">
                  <c:v>1205.3343</c:v>
                </c:pt>
                <c:pt idx="49">
                  <c:v>1178.6742</c:v>
                </c:pt>
                <c:pt idx="50">
                  <c:v>1161.5725</c:v>
                </c:pt>
                <c:pt idx="51">
                  <c:v>1218.7525</c:v>
                </c:pt>
                <c:pt idx="52">
                  <c:v>1168.2757</c:v>
                </c:pt>
                <c:pt idx="53">
                  <c:v>1195.9948</c:v>
                </c:pt>
                <c:pt idx="54">
                  <c:v>1162.151</c:v>
                </c:pt>
                <c:pt idx="55">
                  <c:v>1152.4372</c:v>
                </c:pt>
                <c:pt idx="56">
                  <c:v>1208.2211</c:v>
                </c:pt>
                <c:pt idx="57">
                  <c:v>1177.123</c:v>
                </c:pt>
                <c:pt idx="58">
                  <c:v>1174.075</c:v>
                </c:pt>
                <c:pt idx="59">
                  <c:v>1143.6165</c:v>
                </c:pt>
                <c:pt idx="60">
                  <c:v>1118.0766</c:v>
                </c:pt>
                <c:pt idx="61">
                  <c:v>1156.6356</c:v>
                </c:pt>
                <c:pt idx="62">
                  <c:v>1197.0776</c:v>
                </c:pt>
                <c:pt idx="63">
                  <c:v>1170.5779</c:v>
                </c:pt>
                <c:pt idx="64">
                  <c:v>1162.5188</c:v>
                </c:pt>
                <c:pt idx="65">
                  <c:v>1144.5622</c:v>
                </c:pt>
                <c:pt idx="66">
                  <c:v>1168.1519</c:v>
                </c:pt>
                <c:pt idx="67">
                  <c:v>1202.9258</c:v>
                </c:pt>
                <c:pt idx="68">
                  <c:v>1265.8142</c:v>
                </c:pt>
                <c:pt idx="69">
                  <c:v>1250.6261</c:v>
                </c:pt>
                <c:pt idx="70">
                  <c:v>1095.0276</c:v>
                </c:pt>
                <c:pt idx="71">
                  <c:v>1224.6831</c:v>
                </c:pt>
                <c:pt idx="72">
                  <c:v>1423.2295</c:v>
                </c:pt>
                <c:pt idx="73">
                  <c:v>1254.6593</c:v>
                </c:pt>
                <c:pt idx="74">
                  <c:v>1216.0091</c:v>
                </c:pt>
                <c:pt idx="75">
                  <c:v>1161.8105</c:v>
                </c:pt>
                <c:pt idx="76">
                  <c:v>1162.5659</c:v>
                </c:pt>
                <c:pt idx="77">
                  <c:v>1207.95</c:v>
                </c:pt>
                <c:pt idx="78">
                  <c:v>1196.2703</c:v>
                </c:pt>
                <c:pt idx="79">
                  <c:v>1084.2672</c:v>
                </c:pt>
                <c:pt idx="80">
                  <c:v>1214.4603</c:v>
                </c:pt>
                <c:pt idx="81">
                  <c:v>1280.4919</c:v>
                </c:pt>
                <c:pt idx="82">
                  <c:v>1349.5794</c:v>
                </c:pt>
                <c:pt idx="83">
                  <c:v>1247.551</c:v>
                </c:pt>
                <c:pt idx="84">
                  <c:v>1314.5</c:v>
                </c:pt>
                <c:pt idx="85">
                  <c:v>1351.2581</c:v>
                </c:pt>
                <c:pt idx="86">
                  <c:v>1310.327</c:v>
                </c:pt>
                <c:pt idx="87">
                  <c:v>1337.5172</c:v>
                </c:pt>
                <c:pt idx="88">
                  <c:v>1355.0882</c:v>
                </c:pt>
                <c:pt idx="89">
                  <c:v>1300.0645</c:v>
                </c:pt>
                <c:pt idx="90">
                  <c:v>1336.9466</c:v>
                </c:pt>
                <c:pt idx="91">
                  <c:v>1342.886</c:v>
                </c:pt>
                <c:pt idx="92">
                  <c:v>1236.5252</c:v>
                </c:pt>
                <c:pt idx="93">
                  <c:v>1217.0</c:v>
                </c:pt>
                <c:pt idx="94">
                  <c:v>1297.1932</c:v>
                </c:pt>
                <c:pt idx="95">
                  <c:v>1333.2217</c:v>
                </c:pt>
                <c:pt idx="96">
                  <c:v>1281.5633</c:v>
                </c:pt>
                <c:pt idx="97">
                  <c:v>1260.0714</c:v>
                </c:pt>
                <c:pt idx="98">
                  <c:v>1200.5054</c:v>
                </c:pt>
                <c:pt idx="99">
                  <c:v>1161.9043</c:v>
                </c:pt>
                <c:pt idx="100">
                  <c:v>1186.6517</c:v>
                </c:pt>
                <c:pt idx="101">
                  <c:v>1166.25</c:v>
                </c:pt>
                <c:pt idx="102">
                  <c:v>1179.474</c:v>
                </c:pt>
                <c:pt idx="103">
                  <c:v>1137.2754</c:v>
                </c:pt>
                <c:pt idx="104">
                  <c:v>1184.082</c:v>
                </c:pt>
              </c:numCache>
            </c:numRef>
          </c:xVal>
          <c:yVal>
            <c:numRef>
              <c:f>Sheet1!$B$2:$B$106</c:f>
              <c:numCache>
                <c:formatCode>General</c:formatCode>
                <c:ptCount val="105"/>
                <c:pt idx="0">
                  <c:v>0.38292011019283745</c:v>
                </c:pt>
                <c:pt idx="1">
                  <c:v>0.39156626506024095</c:v>
                </c:pt>
                <c:pt idx="2">
                  <c:v>0.44631901840490795</c:v>
                </c:pt>
                <c:pt idx="3">
                  <c:v>0.4312080536912752</c:v>
                </c:pt>
                <c:pt idx="4">
                  <c:v>0.4380952380952381</c:v>
                </c:pt>
                <c:pt idx="5">
                  <c:v>0.42939481268011526</c:v>
                </c:pt>
                <c:pt idx="6">
                  <c:v>0.4409722222222222</c:v>
                </c:pt>
                <c:pt idx="7">
                  <c:v>0.47232472324723246</c:v>
                </c:pt>
                <c:pt idx="8">
                  <c:v>0.4727272727272727</c:v>
                </c:pt>
                <c:pt idx="9">
                  <c:v>0.44591029023746703</c:v>
                </c:pt>
                <c:pt idx="10">
                  <c:v>0.4318488529014845</c:v>
                </c:pt>
                <c:pt idx="11">
                  <c:v>0.37228260869565216</c:v>
                </c:pt>
                <c:pt idx="12">
                  <c:v>0.3644278606965174</c:v>
                </c:pt>
                <c:pt idx="13">
                  <c:v>0.33378016085790885</c:v>
                </c:pt>
                <c:pt idx="14">
                  <c:v>0.3510791366906475</c:v>
                </c:pt>
                <c:pt idx="15">
                  <c:v>0.3707052441229656</c:v>
                </c:pt>
                <c:pt idx="16">
                  <c:v>0.3265720081135903</c:v>
                </c:pt>
                <c:pt idx="17">
                  <c:v>0.3140495867768595</c:v>
                </c:pt>
                <c:pt idx="18">
                  <c:v>0.3</c:v>
                </c:pt>
                <c:pt idx="19">
                  <c:v>0.3081081081081081</c:v>
                </c:pt>
                <c:pt idx="20">
                  <c:v>0.3238341968911917</c:v>
                </c:pt>
                <c:pt idx="21">
                  <c:v>0.40966921119592875</c:v>
                </c:pt>
                <c:pt idx="22">
                  <c:v>0.4241486068111455</c:v>
                </c:pt>
                <c:pt idx="23">
                  <c:v>0.4049586776859504</c:v>
                </c:pt>
                <c:pt idx="24">
                  <c:v>0.41812865497076024</c:v>
                </c:pt>
                <c:pt idx="25">
                  <c:v>0.42452830188679247</c:v>
                </c:pt>
                <c:pt idx="26">
                  <c:v>0.4202247191011236</c:v>
                </c:pt>
                <c:pt idx="27">
                  <c:v>0.36828644501278773</c:v>
                </c:pt>
                <c:pt idx="28">
                  <c:v>0.4253731343283582</c:v>
                </c:pt>
                <c:pt idx="29">
                  <c:v>0.40401785714285715</c:v>
                </c:pt>
                <c:pt idx="30">
                  <c:v>0.405</c:v>
                </c:pt>
                <c:pt idx="31">
                  <c:v>0.41025641025641024</c:v>
                </c:pt>
                <c:pt idx="32">
                  <c:v>0.484593837535014</c:v>
                </c:pt>
                <c:pt idx="33">
                  <c:v>0.4164859002169197</c:v>
                </c:pt>
                <c:pt idx="34">
                  <c:v>0.384321223709369</c:v>
                </c:pt>
                <c:pt idx="35">
                  <c:v>0.415014164305949</c:v>
                </c:pt>
                <c:pt idx="36">
                  <c:v>0.398884239888424</c:v>
                </c:pt>
                <c:pt idx="37">
                  <c:v>0.4154929577464789</c:v>
                </c:pt>
                <c:pt idx="38">
                  <c:v>0.34845360824742266</c:v>
                </c:pt>
                <c:pt idx="39">
                  <c:v>0.35764705882352943</c:v>
                </c:pt>
                <c:pt idx="40">
                  <c:v>0.36507936507936506</c:v>
                </c:pt>
                <c:pt idx="41">
                  <c:v>0.35650224215246634</c:v>
                </c:pt>
                <c:pt idx="42">
                  <c:v>0.3902439024390244</c:v>
                </c:pt>
                <c:pt idx="43">
                  <c:v>0.41471571906354515</c:v>
                </c:pt>
                <c:pt idx="44">
                  <c:v>0.3718518518518519</c:v>
                </c:pt>
                <c:pt idx="45">
                  <c:v>0.3686868686868687</c:v>
                </c:pt>
                <c:pt idx="46">
                  <c:v>0.3728813559322034</c:v>
                </c:pt>
                <c:pt idx="47">
                  <c:v>0.3390452876376989</c:v>
                </c:pt>
                <c:pt idx="48">
                  <c:v>0.3139963167587477</c:v>
                </c:pt>
                <c:pt idx="49">
                  <c:v>0.31382636655948554</c:v>
                </c:pt>
                <c:pt idx="50">
                  <c:v>0.3274021352313167</c:v>
                </c:pt>
                <c:pt idx="51">
                  <c:v>0.330550918196995</c:v>
                </c:pt>
                <c:pt idx="52">
                  <c:v>0.34076433121019106</c:v>
                </c:pt>
                <c:pt idx="53">
                  <c:v>0.33275862068965517</c:v>
                </c:pt>
                <c:pt idx="54">
                  <c:v>0.375</c:v>
                </c:pt>
                <c:pt idx="55">
                  <c:v>0.38256227758007116</c:v>
                </c:pt>
                <c:pt idx="56">
                  <c:v>0.35447761194029853</c:v>
                </c:pt>
                <c:pt idx="57">
                  <c:v>0.36310679611650487</c:v>
                </c:pt>
                <c:pt idx="58">
                  <c:v>0.3597122302158273</c:v>
                </c:pt>
                <c:pt idx="59">
                  <c:v>0.3472584856396867</c:v>
                </c:pt>
                <c:pt idx="60">
                  <c:v>0.3323353293413174</c:v>
                </c:pt>
                <c:pt idx="61">
                  <c:v>0.3406896551724138</c:v>
                </c:pt>
                <c:pt idx="62">
                  <c:v>0.28891820580474936</c:v>
                </c:pt>
                <c:pt idx="63">
                  <c:v>0.2623655913978495</c:v>
                </c:pt>
                <c:pt idx="64">
                  <c:v>0.2735760971055089</c:v>
                </c:pt>
                <c:pt idx="65">
                  <c:v>0.3104738154613466</c:v>
                </c:pt>
                <c:pt idx="66">
                  <c:v>0.33540372670807456</c:v>
                </c:pt>
                <c:pt idx="67">
                  <c:v>0.31801242236024846</c:v>
                </c:pt>
                <c:pt idx="68">
                  <c:v>0.2946859903381642</c:v>
                </c:pt>
                <c:pt idx="69">
                  <c:v>0.2804878048780488</c:v>
                </c:pt>
                <c:pt idx="70">
                  <c:v>0.31868131868131866</c:v>
                </c:pt>
                <c:pt idx="71">
                  <c:v>0.35148514851485146</c:v>
                </c:pt>
                <c:pt idx="72">
                  <c:v>0.32620320855614976</c:v>
                </c:pt>
                <c:pt idx="73">
                  <c:v>0.3435114503816794</c:v>
                </c:pt>
                <c:pt idx="74">
                  <c:v>0.36065573770491804</c:v>
                </c:pt>
                <c:pt idx="75">
                  <c:v>0.4005235602094241</c:v>
                </c:pt>
                <c:pt idx="76">
                  <c:v>0.37719298245614036</c:v>
                </c:pt>
                <c:pt idx="77">
                  <c:v>0.32697547683923706</c:v>
                </c:pt>
                <c:pt idx="78">
                  <c:v>0.37755102040816324</c:v>
                </c:pt>
                <c:pt idx="79">
                  <c:v>0.3682539682539683</c:v>
                </c:pt>
                <c:pt idx="80">
                  <c:v>0.34332425068119893</c:v>
                </c:pt>
                <c:pt idx="81">
                  <c:v>0.34444444444444444</c:v>
                </c:pt>
                <c:pt idx="82">
                  <c:v>0.31563421828908556</c:v>
                </c:pt>
                <c:pt idx="83">
                  <c:v>0.34146341463414637</c:v>
                </c:pt>
                <c:pt idx="84">
                  <c:v>0.32764505119453924</c:v>
                </c:pt>
                <c:pt idx="85">
                  <c:v>0.33214285714285713</c:v>
                </c:pt>
                <c:pt idx="86">
                  <c:v>0.33194154488517746</c:v>
                </c:pt>
                <c:pt idx="87">
                  <c:v>0.35365853658536583</c:v>
                </c:pt>
                <c:pt idx="88">
                  <c:v>0.38202247191011235</c:v>
                </c:pt>
                <c:pt idx="89">
                  <c:v>0.37530266343825663</c:v>
                </c:pt>
                <c:pt idx="90">
                  <c:v>0.3700564971751412</c:v>
                </c:pt>
                <c:pt idx="91">
                  <c:v>0.3904109589041096</c:v>
                </c:pt>
                <c:pt idx="92">
                  <c:v>0.36578947368421055</c:v>
                </c:pt>
                <c:pt idx="93">
                  <c:v>0.36049382716049383</c:v>
                </c:pt>
                <c:pt idx="94">
                  <c:v>0.3963963963963964</c:v>
                </c:pt>
                <c:pt idx="95">
                  <c:v>0.40458015267175573</c:v>
                </c:pt>
                <c:pt idx="96">
                  <c:v>0.38461538461538464</c:v>
                </c:pt>
                <c:pt idx="97">
                  <c:v>0.3027027027027027</c:v>
                </c:pt>
                <c:pt idx="98">
                  <c:v>0.3062568605927552</c:v>
                </c:pt>
                <c:pt idx="99">
                  <c:v>0.3296032553407935</c:v>
                </c:pt>
                <c:pt idx="100">
                  <c:v>0.3311367380560132</c:v>
                </c:pt>
                <c:pt idx="101">
                  <c:v>0.3884514435695538</c:v>
                </c:pt>
                <c:pt idx="102">
                  <c:v>0.3720430107526882</c:v>
                </c:pt>
                <c:pt idx="103">
                  <c:v>0.34615384615384615</c:v>
                </c:pt>
                <c:pt idx="104">
                  <c:v>0.339517625231910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6124</c:v>
                </c:pt>
                <c:pt idx="1">
                  <c:v>1247.1646</c:v>
                </c:pt>
                <c:pt idx="2">
                  <c:v>1185.7556</c:v>
                </c:pt>
                <c:pt idx="3">
                  <c:v>1215.8798</c:v>
                </c:pt>
                <c:pt idx="4">
                  <c:v>1282.5722</c:v>
                </c:pt>
                <c:pt idx="5">
                  <c:v>1337.7386</c:v>
                </c:pt>
                <c:pt idx="6">
                  <c:v>1251.1298</c:v>
                </c:pt>
                <c:pt idx="7">
                  <c:v>1296.5333</c:v>
                </c:pt>
                <c:pt idx="8">
                  <c:v>1380.4286</c:v>
                </c:pt>
                <c:pt idx="9">
                  <c:v>1260.8837</c:v>
                </c:pt>
                <c:pt idx="10">
                  <c:v>1352.6433</c:v>
                </c:pt>
                <c:pt idx="11">
                  <c:v>1270.9563</c:v>
                </c:pt>
                <c:pt idx="12">
                  <c:v>1276.7959</c:v>
                </c:pt>
                <c:pt idx="13">
                  <c:v>1375.011</c:v>
                </c:pt>
                <c:pt idx="14">
                  <c:v>1369.0061</c:v>
                </c:pt>
                <c:pt idx="15">
                  <c:v>1398.6316</c:v>
                </c:pt>
                <c:pt idx="16">
                  <c:v>1409.3966</c:v>
                </c:pt>
                <c:pt idx="17">
                  <c:v>1328.2114</c:v>
                </c:pt>
                <c:pt idx="18">
                  <c:v>1416.3371</c:v>
                </c:pt>
                <c:pt idx="19">
                  <c:v>1577.2871</c:v>
                </c:pt>
                <c:pt idx="20">
                  <c:v>1483.037</c:v>
                </c:pt>
                <c:pt idx="21">
                  <c:v>1429.2687</c:v>
                </c:pt>
                <c:pt idx="22">
                  <c:v>1497.5846</c:v>
                </c:pt>
                <c:pt idx="23">
                  <c:v>1491.1644</c:v>
                </c:pt>
                <c:pt idx="24">
                  <c:v>1477.473</c:v>
                </c:pt>
                <c:pt idx="25">
                  <c:v>1503.1385</c:v>
                </c:pt>
                <c:pt idx="26">
                  <c:v>1418.4935</c:v>
                </c:pt>
                <c:pt idx="27">
                  <c:v>1395.3441</c:v>
                </c:pt>
                <c:pt idx="28">
                  <c:v>1396.1458</c:v>
                </c:pt>
                <c:pt idx="29">
                  <c:v>1429.9307</c:v>
                </c:pt>
                <c:pt idx="30">
                  <c:v>1369.2353</c:v>
                </c:pt>
                <c:pt idx="31">
                  <c:v>1186.2475</c:v>
                </c:pt>
                <c:pt idx="32">
                  <c:v>1302.3529</c:v>
                </c:pt>
                <c:pt idx="33">
                  <c:v>1472.6803</c:v>
                </c:pt>
                <c:pt idx="34">
                  <c:v>1472.6243</c:v>
                </c:pt>
                <c:pt idx="35">
                  <c:v>1485.4882</c:v>
                </c:pt>
                <c:pt idx="36">
                  <c:v>1559.51</c:v>
                </c:pt>
                <c:pt idx="37">
                  <c:v>1592.0541</c:v>
                </c:pt>
                <c:pt idx="38">
                  <c:v>1631.6333</c:v>
                </c:pt>
                <c:pt idx="39">
                  <c:v>1489.6216</c:v>
                </c:pt>
                <c:pt idx="40">
                  <c:v>1531.6923</c:v>
                </c:pt>
                <c:pt idx="41">
                  <c:v>1570.6389</c:v>
                </c:pt>
                <c:pt idx="42">
                  <c:v>1557.2255</c:v>
                </c:pt>
                <c:pt idx="43">
                  <c:v>1593.9449</c:v>
                </c:pt>
                <c:pt idx="44">
                  <c:v>1458.9878</c:v>
                </c:pt>
                <c:pt idx="45">
                  <c:v>1485.2041</c:v>
                </c:pt>
                <c:pt idx="46">
                  <c:v>1412.205</c:v>
                </c:pt>
                <c:pt idx="47">
                  <c:v>1316.7934</c:v>
                </c:pt>
                <c:pt idx="48">
                  <c:v>1234.6151</c:v>
                </c:pt>
                <c:pt idx="49">
                  <c:v>1276.9538</c:v>
                </c:pt>
                <c:pt idx="50">
                  <c:v>1264.8673</c:v>
                </c:pt>
                <c:pt idx="51">
                  <c:v>1131.9573</c:v>
                </c:pt>
              </c:numCache>
            </c:numRef>
          </c:xVal>
          <c:yVal>
            <c:numRef>
              <c:f>Sheet1!$B$109:$B$160</c:f>
              <c:numCache>
                <c:formatCode>General</c:formatCode>
                <c:ptCount val="52"/>
                <c:pt idx="0">
                  <c:v>0.332089552238806</c:v>
                </c:pt>
                <c:pt idx="1">
                  <c:v>0.3286573146292585</c:v>
                </c:pt>
                <c:pt idx="2">
                  <c:v>0.32967032967032966</c:v>
                </c:pt>
                <c:pt idx="3">
                  <c:v>0.3376383763837638</c:v>
                </c:pt>
                <c:pt idx="4">
                  <c:v>0.35785288270377735</c:v>
                </c:pt>
                <c:pt idx="5">
                  <c:v>0.3430493273542601</c:v>
                </c:pt>
                <c:pt idx="6">
                  <c:v>0.3808139534883721</c:v>
                </c:pt>
                <c:pt idx="7">
                  <c:v>0.32894736842105265</c:v>
                </c:pt>
                <c:pt idx="8">
                  <c:v>0.31989247311827956</c:v>
                </c:pt>
                <c:pt idx="9">
                  <c:v>0.3412698412698413</c:v>
                </c:pt>
                <c:pt idx="10">
                  <c:v>0.34826883910386963</c:v>
                </c:pt>
                <c:pt idx="11">
                  <c:v>0.3188854489164087</c:v>
                </c:pt>
                <c:pt idx="12">
                  <c:v>0.30153846153846153</c:v>
                </c:pt>
                <c:pt idx="13">
                  <c:v>0.31643356643356646</c:v>
                </c:pt>
                <c:pt idx="14">
                  <c:v>0.321011673151751</c:v>
                </c:pt>
                <c:pt idx="15">
                  <c:v>0.3046092184368738</c:v>
                </c:pt>
                <c:pt idx="16">
                  <c:v>0.2966751918158568</c:v>
                </c:pt>
                <c:pt idx="17">
                  <c:v>0.33791208791208793</c:v>
                </c:pt>
                <c:pt idx="18">
                  <c:v>0.26409495548961426</c:v>
                </c:pt>
                <c:pt idx="19">
                  <c:v>0.27823691460055094</c:v>
                </c:pt>
                <c:pt idx="20">
                  <c:v>0.28222996515679444</c:v>
                </c:pt>
                <c:pt idx="21">
                  <c:v>0.29646017699115046</c:v>
                </c:pt>
                <c:pt idx="22">
                  <c:v>0.3080568720379147</c:v>
                </c:pt>
                <c:pt idx="23">
                  <c:v>0.3173913043478261</c:v>
                </c:pt>
                <c:pt idx="24">
                  <c:v>0.3020408163265306</c:v>
                </c:pt>
                <c:pt idx="25">
                  <c:v>0.2826086956521739</c:v>
                </c:pt>
                <c:pt idx="26">
                  <c:v>0.3130081300813008</c:v>
                </c:pt>
                <c:pt idx="27">
                  <c:v>0.31313131313131315</c:v>
                </c:pt>
                <c:pt idx="28">
                  <c:v>0.3221476510067114</c:v>
                </c:pt>
                <c:pt idx="29">
                  <c:v>0.3482758620689655</c:v>
                </c:pt>
                <c:pt idx="30">
                  <c:v>0.3617021276595745</c:v>
                </c:pt>
                <c:pt idx="31">
                  <c:v>0.3531468531468531</c:v>
                </c:pt>
                <c:pt idx="32">
                  <c:v>0.2972027972027972</c:v>
                </c:pt>
                <c:pt idx="33">
                  <c:v>0.2932692307692308</c:v>
                </c:pt>
                <c:pt idx="34">
                  <c:v>0.31227436823104693</c:v>
                </c:pt>
                <c:pt idx="35">
                  <c:v>0.29462738301559793</c:v>
                </c:pt>
                <c:pt idx="36">
                  <c:v>0.3184713375796178</c:v>
                </c:pt>
                <c:pt idx="37">
                  <c:v>0.3</c:v>
                </c:pt>
                <c:pt idx="38">
                  <c:v>0.2575107296137339</c:v>
                </c:pt>
                <c:pt idx="39">
                  <c:v>0.2781954887218045</c:v>
                </c:pt>
                <c:pt idx="40">
                  <c:v>0.29411764705882354</c:v>
                </c:pt>
                <c:pt idx="41">
                  <c:v>0.28628230616302186</c:v>
                </c:pt>
                <c:pt idx="42">
                  <c:v>0.2786885245901639</c:v>
                </c:pt>
                <c:pt idx="43">
                  <c:v>0.30023640661938533</c:v>
                </c:pt>
                <c:pt idx="44">
                  <c:v>0.29927007299270075</c:v>
                </c:pt>
                <c:pt idx="45">
                  <c:v>0.30963665086887837</c:v>
                </c:pt>
                <c:pt idx="46">
                  <c:v>0.33222591362126247</c:v>
                </c:pt>
                <c:pt idx="47">
                  <c:v>0.3141592920353982</c:v>
                </c:pt>
                <c:pt idx="48">
                  <c:v>0.3458755426917511</c:v>
                </c:pt>
                <c:pt idx="49">
                  <c:v>0.3371104815864023</c:v>
                </c:pt>
                <c:pt idx="50">
                  <c:v>0.3217477656405164</c:v>
                </c:pt>
                <c:pt idx="51">
                  <c:v>0.3702531645569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5.9516809201566</c:v>
                </c:pt>
              </c:numCache>
            </c:numRef>
          </c:xVal>
          <c:yVal>
            <c:numRef>
              <c:f>Sheet1!$B$163:$B$164</c:f>
              <c:numCache>
                <c:formatCode>General</c:formatCode>
                <c:ptCount val="2"/>
                <c:pt idx="0">
                  <c:v>0.4339475240357047</c:v>
                </c:pt>
                <c:pt idx="1">
                  <c:v>0.43394752403570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5.9516809201566</c:v>
                </c:pt>
                <c:pt idx="1">
                  <c:v>635.9516809201566</c:v>
                </c:pt>
              </c:numCache>
            </c:numRef>
          </c:xVal>
          <c:yVal>
            <c:numRef>
              <c:f>Sheet1!$B$167:$B$168</c:f>
              <c:numCache>
                <c:formatCode>General</c:formatCode>
                <c:ptCount val="2"/>
                <c:pt idx="0">
                  <c:v>0.4339475240357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3.3666756319226</c:v>
                </c:pt>
              </c:numCache>
            </c:numRef>
          </c:xVal>
          <c:yVal>
            <c:numRef>
              <c:f>Sheet1!$B$171:$B$172</c:f>
              <c:numCache>
                <c:formatCode>General</c:formatCode>
                <c:ptCount val="2"/>
                <c:pt idx="0">
                  <c:v>0.3437467386189079</c:v>
                </c:pt>
                <c:pt idx="1">
                  <c:v>0.343746738618907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3.3666756319226</c:v>
                </c:pt>
                <c:pt idx="1">
                  <c:v>1213.3666756319226</c:v>
                </c:pt>
              </c:numCache>
            </c:numRef>
          </c:xVal>
          <c:yVal>
            <c:numRef>
              <c:f>Sheet1!$B$175:$B$176</c:f>
              <c:numCache>
                <c:formatCode>General</c:formatCode>
                <c:ptCount val="2"/>
                <c:pt idx="0">
                  <c:v>0.34374673861890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10.781373024856</c:v>
                </c:pt>
              </c:numCache>
            </c:numRef>
          </c:xVal>
          <c:yVal>
            <c:numRef>
              <c:f>Sheet1!$B$179:$B$180</c:f>
              <c:numCache>
                <c:formatCode>General</c:formatCode>
                <c:ptCount val="2"/>
                <c:pt idx="0">
                  <c:v>0.3129076351651593</c:v>
                </c:pt>
                <c:pt idx="1">
                  <c:v>0.31290763516515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10.781373024856</c:v>
                </c:pt>
                <c:pt idx="1">
                  <c:v>1410.781373024856</c:v>
                </c:pt>
              </c:numCache>
            </c:numRef>
          </c:xVal>
          <c:yVal>
            <c:numRef>
              <c:f>Sheet1!$B$183:$B$184</c:f>
              <c:numCache>
                <c:formatCode>General</c:formatCode>
                <c:ptCount val="2"/>
                <c:pt idx="0">
                  <c:v>0.31290763516515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6124</c:v>
                </c:pt>
                <c:pt idx="1">
                  <c:v>1247.1646</c:v>
                </c:pt>
                <c:pt idx="2">
                  <c:v>1185.7556</c:v>
                </c:pt>
                <c:pt idx="3">
                  <c:v>1215.8798</c:v>
                </c:pt>
                <c:pt idx="4">
                  <c:v>1282.5722</c:v>
                </c:pt>
                <c:pt idx="5">
                  <c:v>1337.7386</c:v>
                </c:pt>
                <c:pt idx="6">
                  <c:v>1251.1298</c:v>
                </c:pt>
                <c:pt idx="7">
                  <c:v>1296.5333</c:v>
                </c:pt>
                <c:pt idx="8">
                  <c:v>1380.4286</c:v>
                </c:pt>
                <c:pt idx="9">
                  <c:v>1260.8837</c:v>
                </c:pt>
                <c:pt idx="10">
                  <c:v>1352.6433</c:v>
                </c:pt>
                <c:pt idx="11">
                  <c:v>1270.9563</c:v>
                </c:pt>
                <c:pt idx="12">
                  <c:v>1276.7959</c:v>
                </c:pt>
                <c:pt idx="13">
                  <c:v>1375.011</c:v>
                </c:pt>
                <c:pt idx="14">
                  <c:v>1369.0061</c:v>
                </c:pt>
                <c:pt idx="15">
                  <c:v>1398.6316</c:v>
                </c:pt>
                <c:pt idx="16">
                  <c:v>1409.3966</c:v>
                </c:pt>
                <c:pt idx="17">
                  <c:v>1328.2114</c:v>
                </c:pt>
                <c:pt idx="18">
                  <c:v>1416.3371</c:v>
                </c:pt>
                <c:pt idx="19">
                  <c:v>1577.2871</c:v>
                </c:pt>
                <c:pt idx="20">
                  <c:v>1483.037</c:v>
                </c:pt>
                <c:pt idx="21">
                  <c:v>1429.2687</c:v>
                </c:pt>
                <c:pt idx="22">
                  <c:v>1497.5846</c:v>
                </c:pt>
                <c:pt idx="23">
                  <c:v>1491.1644</c:v>
                </c:pt>
                <c:pt idx="24">
                  <c:v>1477.473</c:v>
                </c:pt>
                <c:pt idx="25">
                  <c:v>1503.1385</c:v>
                </c:pt>
                <c:pt idx="26">
                  <c:v>1418.4935</c:v>
                </c:pt>
                <c:pt idx="27">
                  <c:v>1395.3441</c:v>
                </c:pt>
                <c:pt idx="28">
                  <c:v>1396.1458</c:v>
                </c:pt>
                <c:pt idx="29">
                  <c:v>1429.9307</c:v>
                </c:pt>
                <c:pt idx="30">
                  <c:v>1369.2353</c:v>
                </c:pt>
                <c:pt idx="31">
                  <c:v>1186.2475</c:v>
                </c:pt>
                <c:pt idx="32">
                  <c:v>1302.3529</c:v>
                </c:pt>
                <c:pt idx="33">
                  <c:v>1472.6803</c:v>
                </c:pt>
                <c:pt idx="34">
                  <c:v>1472.6243</c:v>
                </c:pt>
                <c:pt idx="35">
                  <c:v>1485.4882</c:v>
                </c:pt>
                <c:pt idx="36">
                  <c:v>1559.51</c:v>
                </c:pt>
                <c:pt idx="37">
                  <c:v>1592.0541</c:v>
                </c:pt>
                <c:pt idx="38">
                  <c:v>1631.6333</c:v>
                </c:pt>
                <c:pt idx="39">
                  <c:v>1489.6216</c:v>
                </c:pt>
                <c:pt idx="40">
                  <c:v>1531.6923</c:v>
                </c:pt>
                <c:pt idx="41">
                  <c:v>1570.6389</c:v>
                </c:pt>
                <c:pt idx="42">
                  <c:v>1557.2255</c:v>
                </c:pt>
                <c:pt idx="43">
                  <c:v>1593.9449</c:v>
                </c:pt>
                <c:pt idx="44">
                  <c:v>1458.9878</c:v>
                </c:pt>
                <c:pt idx="45">
                  <c:v>1485.2041</c:v>
                </c:pt>
                <c:pt idx="46">
                  <c:v>1412.205</c:v>
                </c:pt>
                <c:pt idx="47">
                  <c:v>1316.7934</c:v>
                </c:pt>
                <c:pt idx="48">
                  <c:v>1234.6151</c:v>
                </c:pt>
                <c:pt idx="49">
                  <c:v>1276.9538</c:v>
                </c:pt>
                <c:pt idx="50">
                  <c:v>1264.8673</c:v>
                </c:pt>
                <c:pt idx="51">
                  <c:v>1131.9573</c:v>
                </c:pt>
                <c:pt idx="52">
                  <c:v>1213.3666756319226</c:v>
                </c:pt>
                <c:pt idx="53">
                  <c:v>635.9516809201566</c:v>
                </c:pt>
                <c:pt idx="54">
                  <c:v>1410.781373024856</c:v>
                </c:pt>
              </c:numCache>
            </c:numRef>
          </c:xVal>
          <c:yVal>
            <c:numRef>
              <c:f>Sheet1!$B$187:$B$241</c:f>
              <c:numCache>
                <c:formatCode>General</c:formatCode>
                <c:ptCount val="55"/>
                <c:pt idx="0">
                  <c:v>0.3457391456224635</c:v>
                </c:pt>
                <c:pt idx="1">
                  <c:v>0.33846700159895077</c:v>
                </c:pt>
                <c:pt idx="2">
                  <c:v>0.34805999811339894</c:v>
                </c:pt>
                <c:pt idx="3">
                  <c:v>0.3433541513222032</c:v>
                </c:pt>
                <c:pt idx="4">
                  <c:v>0.3329358093733002</c:v>
                </c:pt>
                <c:pt idx="5">
                  <c:v>0.32431799955853935</c:v>
                </c:pt>
                <c:pt idx="6">
                  <c:v>0.3378475785538093</c:v>
                </c:pt>
                <c:pt idx="7">
                  <c:v>0.3307548785058726</c:v>
                </c:pt>
                <c:pt idx="8">
                  <c:v>0.31764918845264617</c:v>
                </c:pt>
                <c:pt idx="9">
                  <c:v>0.33632387472045794</c:v>
                </c:pt>
                <c:pt idx="10">
                  <c:v>0.3219896643772321</c:v>
                </c:pt>
                <c:pt idx="11">
                  <c:v>0.334750385220687</c:v>
                </c:pt>
                <c:pt idx="12">
                  <c:v>0.33383815309761433</c:v>
                </c:pt>
                <c:pt idx="13">
                  <c:v>0.31849549791732845</c:v>
                </c:pt>
                <c:pt idx="14">
                  <c:v>0.3194335523518512</c:v>
                </c:pt>
                <c:pt idx="15">
                  <c:v>0.3148056098965306</c:v>
                </c:pt>
                <c:pt idx="16">
                  <c:v>0.3131239572482537</c:v>
                </c:pt>
                <c:pt idx="17">
                  <c:v>0.3258062894898597</c:v>
                </c:pt>
                <c:pt idx="18">
                  <c:v>0.3120397482184938</c:v>
                </c:pt>
                <c:pt idx="19">
                  <c:v>0.286896971280253</c:v>
                </c:pt>
                <c:pt idx="20">
                  <c:v>0.3016202346583635</c:v>
                </c:pt>
                <c:pt idx="21">
                  <c:v>0.3100196405188693</c:v>
                </c:pt>
                <c:pt idx="22">
                  <c:v>0.2993476837929597</c:v>
                </c:pt>
                <c:pt idx="23">
                  <c:v>0.3003506142465098</c:v>
                </c:pt>
                <c:pt idx="24">
                  <c:v>0.30248941397420304</c:v>
                </c:pt>
                <c:pt idx="25">
                  <c:v>0.29848008224690625</c:v>
                </c:pt>
                <c:pt idx="26">
                  <c:v>0.3117028865584154</c:v>
                </c:pt>
                <c:pt idx="27">
                  <c:v>0.3153191661511716</c:v>
                </c:pt>
                <c:pt idx="28">
                  <c:v>0.3151939287217128</c:v>
                </c:pt>
                <c:pt idx="29">
                  <c:v>0.3099162263012048</c:v>
                </c:pt>
                <c:pt idx="30">
                  <c:v>0.3193977479127444</c:v>
                </c:pt>
                <c:pt idx="31">
                  <c:v>0.34798315603836993</c:v>
                </c:pt>
                <c:pt idx="32">
                  <c:v>0.32984577067940607</c:v>
                </c:pt>
                <c:pt idx="33">
                  <c:v>0.3032381047914252</c:v>
                </c:pt>
                <c:pt idx="34">
                  <c:v>0.30324685282192254</c:v>
                </c:pt>
                <c:pt idx="35">
                  <c:v>0.30123732086631</c:v>
                </c:pt>
                <c:pt idx="36">
                  <c:v>0.2896740179401399</c:v>
                </c:pt>
                <c:pt idx="37">
                  <c:v>0.2845901468810793</c:v>
                </c:pt>
                <c:pt idx="38">
                  <c:v>0.27840728886931154</c:v>
                </c:pt>
                <c:pt idx="39">
                  <c:v>0.30059162248671056</c:v>
                </c:pt>
                <c:pt idx="40">
                  <c:v>0.2940195552252278</c:v>
                </c:pt>
                <c:pt idx="41">
                  <c:v>0.2879355187151136</c:v>
                </c:pt>
                <c:pt idx="42">
                  <c:v>0.2900308907199809</c:v>
                </c:pt>
                <c:pt idx="43">
                  <c:v>0.284294775879931</c:v>
                </c:pt>
                <c:pt idx="44">
                  <c:v>0.30537707635543176</c:v>
                </c:pt>
                <c:pt idx="45">
                  <c:v>0.3012817014996008</c:v>
                </c:pt>
                <c:pt idx="46">
                  <c:v>0.3126852435188138</c:v>
                </c:pt>
                <c:pt idx="47">
                  <c:v>0.3275899504223283</c:v>
                </c:pt>
                <c:pt idx="48">
                  <c:v>0.34042741961191414</c:v>
                </c:pt>
                <c:pt idx="49">
                  <c:v>0.33381348677590855</c:v>
                </c:pt>
                <c:pt idx="50">
                  <c:v>0.3357015773224389</c:v>
                </c:pt>
                <c:pt idx="51">
                  <c:v>0.356464090418814</c:v>
                </c:pt>
                <c:pt idx="52">
                  <c:v>0.3437467386189079</c:v>
                </c:pt>
                <c:pt idx="53">
                  <c:v>0.4339475240357047</c:v>
                </c:pt>
                <c:pt idx="54">
                  <c:v>0.31290763516515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8.0"/>
          <c:min val="5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5126050420167"/>
          <c:min val="0.206008583690987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9</c:f>
              <c:numCache>
                <c:formatCode>General</c:formatCode>
                <c:ptCount val="12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3736949650756694</c:v>
                </c:pt>
                <c:pt idx="42">
                  <c:v>0.41647967786154905</c:v>
                </c:pt>
                <c:pt idx="43">
                  <c:v>0.0</c:v>
                </c:pt>
                <c:pt idx="44">
                  <c:v>0.0</c:v>
                </c:pt>
                <c:pt idx="45">
                  <c:v>0.41306864290610007</c:v>
                </c:pt>
                <c:pt idx="46">
                  <c:v>0.0</c:v>
                </c:pt>
                <c:pt idx="47">
                  <c:v>0.0</c:v>
                </c:pt>
                <c:pt idx="48">
                  <c:v>0.0</c:v>
                </c:pt>
                <c:pt idx="49">
                  <c:v>0.0</c:v>
                </c:pt>
                <c:pt idx="50">
                  <c:v>0.0</c:v>
                </c:pt>
                <c:pt idx="51">
                  <c:v>0.0</c:v>
                </c:pt>
                <c:pt idx="52">
                  <c:v>0.0</c:v>
                </c:pt>
                <c:pt idx="53">
                  <c:v>0.0</c:v>
                </c:pt>
                <c:pt idx="54">
                  <c:v>0.0</c:v>
                </c:pt>
                <c:pt idx="55">
                  <c:v>0.0</c:v>
                </c:pt>
                <c:pt idx="56">
                  <c:v>0.23820381170589464</c:v>
                </c:pt>
                <c:pt idx="57">
                  <c:v>0.0</c:v>
                </c:pt>
                <c:pt idx="58">
                  <c:v>0.28210624390243905</c:v>
                </c:pt>
                <c:pt idx="59">
                  <c:v>0.0</c:v>
                </c:pt>
                <c:pt idx="60">
                  <c:v>0.0</c:v>
                </c:pt>
                <c:pt idx="61">
                  <c:v>0.0</c:v>
                </c:pt>
                <c:pt idx="62">
                  <c:v>0.0</c:v>
                </c:pt>
                <c:pt idx="63">
                  <c:v>0.0</c:v>
                </c:pt>
                <c:pt idx="64">
                  <c:v>0.0</c:v>
                </c:pt>
                <c:pt idx="65">
                  <c:v>0.0</c:v>
                </c:pt>
                <c:pt idx="66">
                  <c:v>0.0</c:v>
                </c:pt>
                <c:pt idx="67">
                  <c:v>0.0</c:v>
                </c:pt>
                <c:pt idx="68">
                  <c:v>0.0</c:v>
                </c:pt>
                <c:pt idx="69">
                  <c:v>0.3863272258414766</c:v>
                </c:pt>
                <c:pt idx="70">
                  <c:v>0.0</c:v>
                </c:pt>
                <c:pt idx="71">
                  <c:v>0.0</c:v>
                </c:pt>
                <c:pt idx="72">
                  <c:v>0.0</c:v>
                </c:pt>
                <c:pt idx="73">
                  <c:v>0.0</c:v>
                </c:pt>
                <c:pt idx="74">
                  <c:v>0.0</c:v>
                </c:pt>
                <c:pt idx="75">
                  <c:v>0.0</c:v>
                </c:pt>
                <c:pt idx="76">
                  <c:v>0.0</c:v>
                </c:pt>
                <c:pt idx="77">
                  <c:v>0.0</c:v>
                </c:pt>
                <c:pt idx="78">
                  <c:v>0.0</c:v>
                </c:pt>
                <c:pt idx="79">
                  <c:v>0.0</c:v>
                </c:pt>
                <c:pt idx="80">
                  <c:v>0.3568132464712269</c:v>
                </c:pt>
                <c:pt idx="81">
                  <c:v>0.0</c:v>
                </c:pt>
                <c:pt idx="82">
                  <c:v>0.0</c:v>
                </c:pt>
                <c:pt idx="83">
                  <c:v>0.3112676751221783</c:v>
                </c:pt>
                <c:pt idx="84">
                  <c:v>0.0</c:v>
                </c:pt>
                <c:pt idx="85">
                  <c:v>0.0</c:v>
                </c:pt>
                <c:pt idx="86">
                  <c:v>0.0</c:v>
                </c:pt>
                <c:pt idx="87">
                  <c:v>0.0</c:v>
                </c:pt>
                <c:pt idx="88">
                  <c:v>0.0</c:v>
                </c:pt>
                <c:pt idx="89">
                  <c:v>0.0</c:v>
                </c:pt>
                <c:pt idx="90">
                  <c:v>0.0</c:v>
                </c:pt>
                <c:pt idx="91">
                  <c:v>0.0</c:v>
                </c:pt>
                <c:pt idx="92">
                  <c:v>0.24971688466111772</c:v>
                </c:pt>
                <c:pt idx="93">
                  <c:v>0.0</c:v>
                </c:pt>
                <c:pt idx="94">
                  <c:v>0.0</c:v>
                </c:pt>
                <c:pt idx="95">
                  <c:v>0.2913458630002455</c:v>
                </c:pt>
                <c:pt idx="96">
                  <c:v>0.2645757713248639</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numCache>
            </c:numRef>
          </c:xVal>
          <c:yVal>
            <c:numRef>
              <c:f>Sheet1!$B$2:$B$129</c:f>
              <c:numCache>
                <c:formatCode>General</c:formatCode>
                <c:ptCount val="128"/>
                <c:pt idx="0">
                  <c:v>0.38292011019283745</c:v>
                </c:pt>
                <c:pt idx="1">
                  <c:v>0.39156626506024095</c:v>
                </c:pt>
                <c:pt idx="2">
                  <c:v>0.44631901840490795</c:v>
                </c:pt>
                <c:pt idx="3">
                  <c:v>0.4312080536912752</c:v>
                </c:pt>
                <c:pt idx="4">
                  <c:v>0.4380952380952381</c:v>
                </c:pt>
                <c:pt idx="5">
                  <c:v>0.42939481268011526</c:v>
                </c:pt>
                <c:pt idx="6">
                  <c:v>0.4409722222222222</c:v>
                </c:pt>
                <c:pt idx="7">
                  <c:v>0.47232472324723246</c:v>
                </c:pt>
                <c:pt idx="8">
                  <c:v>0.4727272727272727</c:v>
                </c:pt>
                <c:pt idx="9">
                  <c:v>0.44591029023746703</c:v>
                </c:pt>
                <c:pt idx="10">
                  <c:v>0.4318488529014845</c:v>
                </c:pt>
                <c:pt idx="11">
                  <c:v>0.37228260869565216</c:v>
                </c:pt>
                <c:pt idx="12">
                  <c:v>0.3644278606965174</c:v>
                </c:pt>
                <c:pt idx="13">
                  <c:v>0.33378016085790885</c:v>
                </c:pt>
                <c:pt idx="14">
                  <c:v>0.3510791366906475</c:v>
                </c:pt>
                <c:pt idx="15">
                  <c:v>0.3707052441229656</c:v>
                </c:pt>
                <c:pt idx="16">
                  <c:v>0.3</c:v>
                </c:pt>
                <c:pt idx="17">
                  <c:v>0.3081081081081081</c:v>
                </c:pt>
                <c:pt idx="18">
                  <c:v>0.3238341968911917</c:v>
                </c:pt>
                <c:pt idx="19">
                  <c:v>0.40966921119592875</c:v>
                </c:pt>
                <c:pt idx="20">
                  <c:v>0.4241486068111455</c:v>
                </c:pt>
                <c:pt idx="21">
                  <c:v>0.4049586776859504</c:v>
                </c:pt>
                <c:pt idx="22">
                  <c:v>0.41812865497076024</c:v>
                </c:pt>
                <c:pt idx="23">
                  <c:v>0.42452830188679247</c:v>
                </c:pt>
                <c:pt idx="24">
                  <c:v>0.36828644501278773</c:v>
                </c:pt>
                <c:pt idx="25">
                  <c:v>0.4253731343283582</c:v>
                </c:pt>
                <c:pt idx="26">
                  <c:v>0.40401785714285715</c:v>
                </c:pt>
                <c:pt idx="27">
                  <c:v>0.405</c:v>
                </c:pt>
                <c:pt idx="28">
                  <c:v>0.41025641025641024</c:v>
                </c:pt>
                <c:pt idx="29">
                  <c:v>0.484593837535014</c:v>
                </c:pt>
                <c:pt idx="30">
                  <c:v>0.4164859002169197</c:v>
                </c:pt>
                <c:pt idx="31">
                  <c:v>0.384321223709369</c:v>
                </c:pt>
                <c:pt idx="32">
                  <c:v>0.415014164305949</c:v>
                </c:pt>
                <c:pt idx="33">
                  <c:v>0.398884239888424</c:v>
                </c:pt>
                <c:pt idx="34">
                  <c:v>0.4154929577464789</c:v>
                </c:pt>
                <c:pt idx="35">
                  <c:v>0.34845360824742266</c:v>
                </c:pt>
                <c:pt idx="36">
                  <c:v>0.35764705882352943</c:v>
                </c:pt>
                <c:pt idx="37">
                  <c:v>0.36507936507936506</c:v>
                </c:pt>
                <c:pt idx="38">
                  <c:v>0.35650224215246634</c:v>
                </c:pt>
                <c:pt idx="39">
                  <c:v>0.3902439024390244</c:v>
                </c:pt>
                <c:pt idx="40">
                  <c:v>0.41471571906354515</c:v>
                </c:pt>
                <c:pt idx="41">
                  <c:v>0.3718518518518519</c:v>
                </c:pt>
                <c:pt idx="42">
                  <c:v>0.3686868686868687</c:v>
                </c:pt>
                <c:pt idx="43">
                  <c:v>0.3728813559322034</c:v>
                </c:pt>
                <c:pt idx="44">
                  <c:v>0.3390452876376989</c:v>
                </c:pt>
                <c:pt idx="45">
                  <c:v>0.3139963167587477</c:v>
                </c:pt>
                <c:pt idx="46">
                  <c:v>0.31382636655948554</c:v>
                </c:pt>
                <c:pt idx="47">
                  <c:v>0.3274021352313167</c:v>
                </c:pt>
                <c:pt idx="48">
                  <c:v>0.330550918196995</c:v>
                </c:pt>
                <c:pt idx="49">
                  <c:v>0.34076433121019106</c:v>
                </c:pt>
                <c:pt idx="50">
                  <c:v>0.33275862068965517</c:v>
                </c:pt>
                <c:pt idx="51">
                  <c:v>0.375</c:v>
                </c:pt>
                <c:pt idx="52">
                  <c:v>0.38256227758007116</c:v>
                </c:pt>
                <c:pt idx="53">
                  <c:v>0.35447761194029853</c:v>
                </c:pt>
                <c:pt idx="54">
                  <c:v>0.36310679611650487</c:v>
                </c:pt>
                <c:pt idx="55">
                  <c:v>0.3597122302158273</c:v>
                </c:pt>
                <c:pt idx="56">
                  <c:v>0.3472584856396867</c:v>
                </c:pt>
                <c:pt idx="57">
                  <c:v>0.3323353293413174</c:v>
                </c:pt>
                <c:pt idx="58">
                  <c:v>0.3406896551724138</c:v>
                </c:pt>
                <c:pt idx="59">
                  <c:v>0.28891820580474936</c:v>
                </c:pt>
                <c:pt idx="60">
                  <c:v>0.2623655913978495</c:v>
                </c:pt>
                <c:pt idx="61">
                  <c:v>0.2735760971055089</c:v>
                </c:pt>
                <c:pt idx="62">
                  <c:v>0.3104738154613466</c:v>
                </c:pt>
                <c:pt idx="63">
                  <c:v>0.33540372670807456</c:v>
                </c:pt>
                <c:pt idx="64">
                  <c:v>0.31801242236024846</c:v>
                </c:pt>
                <c:pt idx="65">
                  <c:v>0.2946859903381642</c:v>
                </c:pt>
                <c:pt idx="66">
                  <c:v>0.2804878048780488</c:v>
                </c:pt>
                <c:pt idx="67">
                  <c:v>0.31868131868131866</c:v>
                </c:pt>
                <c:pt idx="68">
                  <c:v>0.35148514851485146</c:v>
                </c:pt>
                <c:pt idx="69">
                  <c:v>0.32620320855614976</c:v>
                </c:pt>
                <c:pt idx="70">
                  <c:v>0.3435114503816794</c:v>
                </c:pt>
                <c:pt idx="71">
                  <c:v>0.36065573770491804</c:v>
                </c:pt>
                <c:pt idx="72">
                  <c:v>0.4005235602094241</c:v>
                </c:pt>
                <c:pt idx="73">
                  <c:v>0.37719298245614036</c:v>
                </c:pt>
                <c:pt idx="74">
                  <c:v>0.32697547683923706</c:v>
                </c:pt>
                <c:pt idx="75">
                  <c:v>0.37755102040816324</c:v>
                </c:pt>
                <c:pt idx="76">
                  <c:v>0.34332425068119893</c:v>
                </c:pt>
                <c:pt idx="77">
                  <c:v>0.34444444444444444</c:v>
                </c:pt>
                <c:pt idx="78">
                  <c:v>0.31563421828908556</c:v>
                </c:pt>
                <c:pt idx="79">
                  <c:v>0.34146341463414637</c:v>
                </c:pt>
                <c:pt idx="80">
                  <c:v>0.32764505119453924</c:v>
                </c:pt>
                <c:pt idx="81">
                  <c:v>0.33214285714285713</c:v>
                </c:pt>
                <c:pt idx="82">
                  <c:v>0.33194154488517746</c:v>
                </c:pt>
                <c:pt idx="83">
                  <c:v>0.35365853658536583</c:v>
                </c:pt>
                <c:pt idx="84">
                  <c:v>0.38202247191011235</c:v>
                </c:pt>
                <c:pt idx="85">
                  <c:v>0.37530266343825663</c:v>
                </c:pt>
                <c:pt idx="86">
                  <c:v>0.3700564971751412</c:v>
                </c:pt>
                <c:pt idx="87">
                  <c:v>0.3904109589041096</c:v>
                </c:pt>
                <c:pt idx="88">
                  <c:v>0.36578947368421055</c:v>
                </c:pt>
                <c:pt idx="89">
                  <c:v>0.36049382716049383</c:v>
                </c:pt>
                <c:pt idx="90">
                  <c:v>0.40458015267175573</c:v>
                </c:pt>
                <c:pt idx="91">
                  <c:v>0.38461538461538464</c:v>
                </c:pt>
                <c:pt idx="92">
                  <c:v>0.3027027027027027</c:v>
                </c:pt>
                <c:pt idx="93">
                  <c:v>0.3062568605927552</c:v>
                </c:pt>
                <c:pt idx="94">
                  <c:v>0.3296032553407935</c:v>
                </c:pt>
                <c:pt idx="95">
                  <c:v>0.3311367380560132</c:v>
                </c:pt>
                <c:pt idx="96">
                  <c:v>0.3884514435695538</c:v>
                </c:pt>
                <c:pt idx="97">
                  <c:v>0.3720430107526882</c:v>
                </c:pt>
                <c:pt idx="98">
                  <c:v>0.34615384615384615</c:v>
                </c:pt>
                <c:pt idx="99">
                  <c:v>0.3395176252319109</c:v>
                </c:pt>
                <c:pt idx="100">
                  <c:v>0.3376383763837638</c:v>
                </c:pt>
                <c:pt idx="101">
                  <c:v>0.35785288270377735</c:v>
                </c:pt>
                <c:pt idx="102">
                  <c:v>0.3430493273542601</c:v>
                </c:pt>
                <c:pt idx="103">
                  <c:v>0.3808139534883721</c:v>
                </c:pt>
                <c:pt idx="104">
                  <c:v>0.32894736842105265</c:v>
                </c:pt>
                <c:pt idx="105">
                  <c:v>0.31989247311827956</c:v>
                </c:pt>
                <c:pt idx="106">
                  <c:v>0.3412698412698413</c:v>
                </c:pt>
                <c:pt idx="107">
                  <c:v>0.34826883910386963</c:v>
                </c:pt>
                <c:pt idx="108">
                  <c:v>0.321011673151751</c:v>
                </c:pt>
                <c:pt idx="109">
                  <c:v>0.2966751918158568</c:v>
                </c:pt>
                <c:pt idx="110">
                  <c:v>0.33791208791208793</c:v>
                </c:pt>
                <c:pt idx="111">
                  <c:v>0.26409495548961426</c:v>
                </c:pt>
                <c:pt idx="112">
                  <c:v>0.29646017699115046</c:v>
                </c:pt>
                <c:pt idx="113">
                  <c:v>0.3080568720379147</c:v>
                </c:pt>
                <c:pt idx="114">
                  <c:v>0.3173913043478261</c:v>
                </c:pt>
                <c:pt idx="115">
                  <c:v>0.3020408163265306</c:v>
                </c:pt>
                <c:pt idx="116">
                  <c:v>0.3130081300813008</c:v>
                </c:pt>
                <c:pt idx="117">
                  <c:v>0.3482758620689655</c:v>
                </c:pt>
                <c:pt idx="118">
                  <c:v>0.3617021276595745</c:v>
                </c:pt>
                <c:pt idx="119">
                  <c:v>0.3531468531468531</c:v>
                </c:pt>
                <c:pt idx="120">
                  <c:v>0.2972027972027972</c:v>
                </c:pt>
                <c:pt idx="121">
                  <c:v>0.2932692307692308</c:v>
                </c:pt>
                <c:pt idx="122">
                  <c:v>0.3</c:v>
                </c:pt>
                <c:pt idx="123">
                  <c:v>0.2575107296137339</c:v>
                </c:pt>
                <c:pt idx="124">
                  <c:v>0.29411764705882354</c:v>
                </c:pt>
                <c:pt idx="125">
                  <c:v>0.2786885245901639</c:v>
                </c:pt>
                <c:pt idx="126">
                  <c:v>0.30023640661938533</c:v>
                </c:pt>
                <c:pt idx="127">
                  <c:v>0.3141592920353982</c:v>
                </c:pt>
              </c:numCache>
            </c:numRef>
          </c:yVal>
          <c:smooth val="0"/>
          <c:extLst>
            <c:ext xmlns:c16="http://schemas.microsoft.com/office/drawing/2014/chart" uri="{C3380CC4-5D6E-409C-BE32-E72D297353CC}">
              <c16:uniqueId val="{00000000-096C-4121-9522-6AB7243CCAAE}"/>
            </c:ext>
          </c:extLst>
        </c:ser>
        <c:ser>
          <c:idx val="1"/>
          <c:order val="1"/>
          <c:tx>
            <c:strRef>
              <c:f>Sheet1!$B$1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2:$A$155</c:f>
              <c:numCache>
                <c:formatCode>General</c:formatCode>
                <c:ptCount val="24"/>
                <c:pt idx="0">
                  <c:v>0.21937007125890737</c:v>
                </c:pt>
                <c:pt idx="1">
                  <c:v>0.34769015890716476</c:v>
                </c:pt>
                <c:pt idx="2">
                  <c:v>0.17538168909924567</c:v>
                </c:pt>
                <c:pt idx="3">
                  <c:v>0.28832946914700547</c:v>
                </c:pt>
                <c:pt idx="4">
                  <c:v>0.2450663915547025</c:v>
                </c:pt>
                <c:pt idx="5">
                  <c:v>0.2632103751914242</c:v>
                </c:pt>
                <c:pt idx="6">
                  <c:v>0.27386559624045426</c:v>
                </c:pt>
                <c:pt idx="7">
                  <c:v>0.3580674460839955</c:v>
                </c:pt>
                <c:pt idx="8">
                  <c:v>0.26635003591954026</c:v>
                </c:pt>
                <c:pt idx="9">
                  <c:v>0.4101332878581173</c:v>
                </c:pt>
                <c:pt idx="10">
                  <c:v>0.39764722143060705</c:v>
                </c:pt>
                <c:pt idx="11">
                  <c:v>0.29579360169491525</c:v>
                </c:pt>
                <c:pt idx="12">
                  <c:v>0.17982956404933448</c:v>
                </c:pt>
                <c:pt idx="13">
                  <c:v>0.312142929186804</c:v>
                </c:pt>
                <c:pt idx="14">
                  <c:v>0.4269121270188886</c:v>
                </c:pt>
                <c:pt idx="15">
                  <c:v>0.3466654875494531</c:v>
                </c:pt>
                <c:pt idx="16">
                  <c:v>0.3189762185215272</c:v>
                </c:pt>
                <c:pt idx="17">
                  <c:v>0.2953416599190284</c:v>
                </c:pt>
                <c:pt idx="18">
                  <c:v>0.31891863860854625</c:v>
                </c:pt>
                <c:pt idx="19">
                  <c:v>0.22740821256038646</c:v>
                </c:pt>
                <c:pt idx="20">
                  <c:v>0.1785674139427249</c:v>
                </c:pt>
                <c:pt idx="21">
                  <c:v>0.1483967228355607</c:v>
                </c:pt>
                <c:pt idx="22">
                  <c:v>0.30899408818859164</c:v>
                </c:pt>
                <c:pt idx="23">
                  <c:v>0.2010224294086308</c:v>
                </c:pt>
              </c:numCache>
            </c:numRef>
          </c:xVal>
          <c:yVal>
            <c:numRef>
              <c:f>Sheet1!$B$132:$B$155</c:f>
              <c:numCache>
                <c:formatCode>General</c:formatCode>
                <c:ptCount val="24"/>
                <c:pt idx="0">
                  <c:v>0.332089552238806</c:v>
                </c:pt>
                <c:pt idx="1">
                  <c:v>0.3286573146292585</c:v>
                </c:pt>
                <c:pt idx="2">
                  <c:v>0.32967032967032966</c:v>
                </c:pt>
                <c:pt idx="3">
                  <c:v>0.3188854489164087</c:v>
                </c:pt>
                <c:pt idx="4">
                  <c:v>0.30153846153846153</c:v>
                </c:pt>
                <c:pt idx="5">
                  <c:v>0.31643356643356646</c:v>
                </c:pt>
                <c:pt idx="6">
                  <c:v>0.3046092184368738</c:v>
                </c:pt>
                <c:pt idx="7">
                  <c:v>0.27823691460055094</c:v>
                </c:pt>
                <c:pt idx="8">
                  <c:v>0.28222996515679444</c:v>
                </c:pt>
                <c:pt idx="9">
                  <c:v>0.2826086956521739</c:v>
                </c:pt>
                <c:pt idx="10">
                  <c:v>0.31313131313131315</c:v>
                </c:pt>
                <c:pt idx="11">
                  <c:v>0.3221476510067114</c:v>
                </c:pt>
                <c:pt idx="12">
                  <c:v>0.31227436823104693</c:v>
                </c:pt>
                <c:pt idx="13">
                  <c:v>0.29462738301559793</c:v>
                </c:pt>
                <c:pt idx="14">
                  <c:v>0.3184713375796178</c:v>
                </c:pt>
                <c:pt idx="15">
                  <c:v>0.2781954887218045</c:v>
                </c:pt>
                <c:pt idx="16">
                  <c:v>0.28628230616302186</c:v>
                </c:pt>
                <c:pt idx="17">
                  <c:v>0.29927007299270075</c:v>
                </c:pt>
                <c:pt idx="18">
                  <c:v>0.30963665086887837</c:v>
                </c:pt>
                <c:pt idx="19">
                  <c:v>0.33222591362126247</c:v>
                </c:pt>
                <c:pt idx="20">
                  <c:v>0.3458755426917511</c:v>
                </c:pt>
                <c:pt idx="21">
                  <c:v>0.3371104815864023</c:v>
                </c:pt>
                <c:pt idx="22">
                  <c:v>0.3217477656405164</c:v>
                </c:pt>
                <c:pt idx="23">
                  <c:v>0.370253164556962</c:v>
                </c:pt>
              </c:numCache>
            </c:numRef>
          </c:yVal>
          <c:smooth val="0"/>
          <c:extLst>
            <c:ext xmlns:c16="http://schemas.microsoft.com/office/drawing/2014/chart" uri="{C3380CC4-5D6E-409C-BE32-E72D297353CC}">
              <c16:uniqueId val="{00000002-096C-4121-9522-6AB7243CCAAE}"/>
            </c:ext>
          </c:extLst>
        </c:ser>
        <c:ser>
          <c:idx val="2"/>
          <c:order val="2"/>
          <c:tx>
            <c:strRef>
              <c:f>Sheet1!$B$15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8:$A$159</c:f>
              <c:numCache>
                <c:formatCode>General</c:formatCode>
                <c:ptCount val="2"/>
                <c:pt idx="0">
                  <c:v>0</c:v>
                </c:pt>
                <c:pt idx="1">
                  <c:v>-0.43795557066992324</c:v>
                </c:pt>
              </c:numCache>
            </c:numRef>
          </c:xVal>
          <c:yVal>
            <c:numRef>
              <c:f>Sheet1!$B$158:$B$159</c:f>
              <c:numCache>
                <c:formatCode>General</c:formatCode>
                <c:ptCount val="2"/>
                <c:pt idx="0">
                  <c:v>0.4339475240357047</c:v>
                </c:pt>
                <c:pt idx="1">
                  <c:v>0.4339475240357047</c:v>
                </c:pt>
              </c:numCache>
            </c:numRef>
          </c:yVal>
          <c:smooth val="0"/>
          <c:extLst>
            <c:ext xmlns:c16="http://schemas.microsoft.com/office/drawing/2014/chart" uri="{C3380CC4-5D6E-409C-BE32-E72D297353CC}">
              <c16:uniqueId val="{00000005-096C-4121-9522-6AB7243CCAAE}"/>
            </c:ext>
          </c:extLst>
        </c:ser>
        <c:ser>
          <c:idx val="3"/>
          <c:order val="3"/>
          <c:tx>
            <c:strRef>
              <c:f>Sheet1!$B$16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2:$A$163</c:f>
              <c:numCache>
                <c:formatCode>General</c:formatCode>
                <c:ptCount val="2"/>
                <c:pt idx="0">
                  <c:v>-0.43795557066992324</c:v>
                </c:pt>
                <c:pt idx="1">
                  <c:v>-0.43795557066992324</c:v>
                </c:pt>
              </c:numCache>
            </c:numRef>
          </c:xVal>
          <c:yVal>
            <c:numRef>
              <c:f>Sheet1!$B$162:$B$163</c:f>
              <c:numCache>
                <c:formatCode>General</c:formatCode>
                <c:ptCount val="2"/>
                <c:pt idx="0">
                  <c:v>0.4339475240357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6:$A$167</c:f>
              <c:numCache>
                <c:formatCode>General</c:formatCode>
                <c:ptCount val="2"/>
                <c:pt idx="0">
                  <c:v>0</c:v>
                </c:pt>
                <c:pt idx="1">
                  <c:v>0.1008786006445403</c:v>
                </c:pt>
              </c:numCache>
            </c:numRef>
          </c:xVal>
          <c:yVal>
            <c:numRef>
              <c:f>Sheet1!$B$166:$B$167</c:f>
              <c:numCache>
                <c:formatCode>General</c:formatCode>
                <c:ptCount val="2"/>
                <c:pt idx="0">
                  <c:v>0.3437467386189079</c:v>
                </c:pt>
                <c:pt idx="1">
                  <c:v>0.3437467386189079</c:v>
                </c:pt>
              </c:numCache>
            </c:numRef>
          </c:yVal>
          <c:smooth val="0"/>
          <c:extLst>
            <c:ext xmlns:c16="http://schemas.microsoft.com/office/drawing/2014/chart" uri="{C3380CC4-5D6E-409C-BE32-E72D297353CC}">
              <c16:uniqueId val="{0000000D-096C-4121-9522-6AB7243CCAAE}"/>
            </c:ext>
          </c:extLst>
        </c:ser>
        <c:ser>
          <c:idx val="5"/>
          <c:order val="5"/>
          <c:tx>
            <c:strRef>
              <c:f>Sheet1!$B$16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0:$A$171</c:f>
              <c:numCache>
                <c:formatCode>General</c:formatCode>
                <c:ptCount val="2"/>
                <c:pt idx="0">
                  <c:v>0.1008786006445403</c:v>
                </c:pt>
                <c:pt idx="1">
                  <c:v>0.1008786006445403</c:v>
                </c:pt>
              </c:numCache>
            </c:numRef>
          </c:xVal>
          <c:yVal>
            <c:numRef>
              <c:f>Sheet1!$B$170:$B$171</c:f>
              <c:numCache>
                <c:formatCode>General</c:formatCode>
                <c:ptCount val="2"/>
                <c:pt idx="0">
                  <c:v>0.34374673861890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4:$A$175</c:f>
              <c:numCache>
                <c:formatCode>General</c:formatCode>
                <c:ptCount val="2"/>
                <c:pt idx="0">
                  <c:v>0</c:v>
                </c:pt>
                <c:pt idx="1">
                  <c:v>0.2851027476605294</c:v>
                </c:pt>
              </c:numCache>
            </c:numRef>
          </c:xVal>
          <c:yVal>
            <c:numRef>
              <c:f>Sheet1!$B$174:$B$175</c:f>
              <c:numCache>
                <c:formatCode>General</c:formatCode>
                <c:ptCount val="2"/>
                <c:pt idx="0">
                  <c:v>0.3129076351651593</c:v>
                </c:pt>
                <c:pt idx="1">
                  <c:v>0.3129076351651593</c:v>
                </c:pt>
              </c:numCache>
            </c:numRef>
          </c:yVal>
          <c:smooth val="0"/>
          <c:extLst>
            <c:ext xmlns:c16="http://schemas.microsoft.com/office/drawing/2014/chart" uri="{C3380CC4-5D6E-409C-BE32-E72D297353CC}">
              <c16:uniqueId val="{00000015-096C-4121-9522-6AB7243CCAAE}"/>
            </c:ext>
          </c:extLst>
        </c:ser>
        <c:ser>
          <c:idx val="7"/>
          <c:order val="7"/>
          <c:tx>
            <c:strRef>
              <c:f>Sheet1!$B$17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8:$A$179</c:f>
              <c:numCache>
                <c:formatCode>General</c:formatCode>
                <c:ptCount val="2"/>
                <c:pt idx="0">
                  <c:v>0.2851027476605294</c:v>
                </c:pt>
                <c:pt idx="1">
                  <c:v>0.2851027476605294</c:v>
                </c:pt>
              </c:numCache>
            </c:numRef>
          </c:xVal>
          <c:yVal>
            <c:numRef>
              <c:f>Sheet1!$B$178:$B$179</c:f>
              <c:numCache>
                <c:formatCode>General</c:formatCode>
                <c:ptCount val="2"/>
                <c:pt idx="0">
                  <c:v>0.31290763516515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2:$A$208</c:f>
              <c:numCache>
                <c:formatCode>General</c:formatCode>
                <c:ptCount val="27"/>
                <c:pt idx="0">
                  <c:v>0.21937007125890737</c:v>
                </c:pt>
                <c:pt idx="1">
                  <c:v>0.34769015890716476</c:v>
                </c:pt>
                <c:pt idx="2">
                  <c:v>0.17538168909924567</c:v>
                </c:pt>
                <c:pt idx="3">
                  <c:v>0.28832946914700547</c:v>
                </c:pt>
                <c:pt idx="4">
                  <c:v>0.2450663915547025</c:v>
                </c:pt>
                <c:pt idx="5">
                  <c:v>0.2632103751914242</c:v>
                </c:pt>
                <c:pt idx="6">
                  <c:v>0.27386559624045426</c:v>
                </c:pt>
                <c:pt idx="7">
                  <c:v>0.3580674460839955</c:v>
                </c:pt>
                <c:pt idx="8">
                  <c:v>0.26635003591954026</c:v>
                </c:pt>
                <c:pt idx="9">
                  <c:v>0.4101332878581173</c:v>
                </c:pt>
                <c:pt idx="10">
                  <c:v>0.39764722143060705</c:v>
                </c:pt>
                <c:pt idx="11">
                  <c:v>0.29579360169491525</c:v>
                </c:pt>
                <c:pt idx="12">
                  <c:v>0.17982956404933448</c:v>
                </c:pt>
                <c:pt idx="13">
                  <c:v>0.312142929186804</c:v>
                </c:pt>
                <c:pt idx="14">
                  <c:v>0.4269121270188886</c:v>
                </c:pt>
                <c:pt idx="15">
                  <c:v>0.3466654875494531</c:v>
                </c:pt>
                <c:pt idx="16">
                  <c:v>0.3189762185215272</c:v>
                </c:pt>
                <c:pt idx="17">
                  <c:v>0.2953416599190284</c:v>
                </c:pt>
                <c:pt idx="18">
                  <c:v>0.31891863860854625</c:v>
                </c:pt>
                <c:pt idx="19">
                  <c:v>0.22740821256038646</c:v>
                </c:pt>
                <c:pt idx="20">
                  <c:v>0.1785674139427249</c:v>
                </c:pt>
                <c:pt idx="21">
                  <c:v>0.1483967228355607</c:v>
                </c:pt>
                <c:pt idx="22">
                  <c:v>0.30899408818859164</c:v>
                </c:pt>
                <c:pt idx="23">
                  <c:v>0.2010224294086308</c:v>
                </c:pt>
                <c:pt idx="24">
                  <c:v>0.1008786006445403</c:v>
                </c:pt>
                <c:pt idx="25">
                  <c:v>-0.43795557066992324</c:v>
                </c:pt>
                <c:pt idx="26">
                  <c:v>0.2851027476605294</c:v>
                </c:pt>
              </c:numCache>
            </c:numRef>
          </c:xVal>
          <c:yVal>
            <c:numRef>
              <c:f>Sheet1!$B$182:$B$208</c:f>
              <c:numCache>
                <c:formatCode>General</c:formatCode>
                <c:ptCount val="27"/>
                <c:pt idx="0">
                  <c:v>0.3239112785022375</c:v>
                </c:pt>
                <c:pt idx="1">
                  <c:v>0.3024305088947916</c:v>
                </c:pt>
                <c:pt idx="2">
                  <c:v>0.3312749291971005</c:v>
                </c:pt>
                <c:pt idx="3">
                  <c:v>0.3123674823168509</c:v>
                </c:pt>
                <c:pt idx="4">
                  <c:v>0.31960971710098474</c:v>
                </c:pt>
                <c:pt idx="5">
                  <c:v>0.31657241608752196</c:v>
                </c:pt>
                <c:pt idx="6">
                  <c:v>0.31478873316877254</c:v>
                </c:pt>
                <c:pt idx="7">
                  <c:v>0.3006933520779506</c:v>
                </c:pt>
                <c:pt idx="8">
                  <c:v>0.316046837201299</c:v>
                </c:pt>
                <c:pt idx="9">
                  <c:v>0.29197753546603117</c:v>
                </c:pt>
                <c:pt idx="10">
                  <c:v>0.2940677017147312</c:v>
                </c:pt>
                <c:pt idx="11">
                  <c:v>0.3111179872882893</c:v>
                </c:pt>
                <c:pt idx="12">
                  <c:v>0.33053035538331477</c:v>
                </c:pt>
                <c:pt idx="13">
                  <c:v>0.30838111153074915</c:v>
                </c:pt>
                <c:pt idx="14">
                  <c:v>0.2891687594988507</c:v>
                </c:pt>
                <c:pt idx="15">
                  <c:v>0.30260203877574593</c:v>
                </c:pt>
                <c:pt idx="16">
                  <c:v>0.30723721959184586</c:v>
                </c:pt>
                <c:pt idx="17">
                  <c:v>0.31119364229555846</c:v>
                </c:pt>
                <c:pt idx="18">
                  <c:v>0.3072468584634164</c:v>
                </c:pt>
                <c:pt idx="19">
                  <c:v>0.3225656944667709</c:v>
                </c:pt>
                <c:pt idx="20">
                  <c:v>0.33074163918265576</c:v>
                </c:pt>
                <c:pt idx="21">
                  <c:v>0.3357922098021749</c:v>
                </c:pt>
                <c:pt idx="22">
                  <c:v>0.30890822719325156</c:v>
                </c:pt>
                <c:pt idx="23">
                  <c:v>0.326982671879914</c:v>
                </c:pt>
                <c:pt idx="24">
                  <c:v>0.3437467386189079</c:v>
                </c:pt>
                <c:pt idx="25">
                  <c:v>0.4339475240357047</c:v>
                </c:pt>
                <c:pt idx="26">
                  <c:v>0.31290763516515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5126050420167"/>
          <c:min val="0.206008583690987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915.2266</c:v>
                </c:pt>
                <c:pt idx="1">
                  <c:v>978.8538</c:v>
                </c:pt>
                <c:pt idx="2">
                  <c:v>960.701</c:v>
                </c:pt>
                <c:pt idx="3">
                  <c:v>962.144</c:v>
                </c:pt>
                <c:pt idx="4">
                  <c:v>931.7435</c:v>
                </c:pt>
                <c:pt idx="5">
                  <c:v>919.4161</c:v>
                </c:pt>
                <c:pt idx="6">
                  <c:v>914.9134</c:v>
                </c:pt>
                <c:pt idx="7">
                  <c:v>900.6953</c:v>
                </c:pt>
                <c:pt idx="8">
                  <c:v>887.95</c:v>
                </c:pt>
                <c:pt idx="9">
                  <c:v>922.5118</c:v>
                </c:pt>
                <c:pt idx="10">
                  <c:v>921.1688</c:v>
                </c:pt>
                <c:pt idx="11">
                  <c:v>968.8139</c:v>
                </c:pt>
                <c:pt idx="12">
                  <c:v>969.8669</c:v>
                </c:pt>
                <c:pt idx="13">
                  <c:v>981.1606</c:v>
                </c:pt>
                <c:pt idx="14">
                  <c:v>1002.4426</c:v>
                </c:pt>
                <c:pt idx="15">
                  <c:v>1011.3463</c:v>
                </c:pt>
                <c:pt idx="16">
                  <c:v>1160.4095</c:v>
                </c:pt>
                <c:pt idx="17">
                  <c:v>1138.4912</c:v>
                </c:pt>
                <c:pt idx="18">
                  <c:v>1177.368</c:v>
                </c:pt>
                <c:pt idx="19">
                  <c:v>1157.2795</c:v>
                </c:pt>
                <c:pt idx="20">
                  <c:v>1135.9343</c:v>
                </c:pt>
                <c:pt idx="21">
                  <c:v>1109.4898</c:v>
                </c:pt>
                <c:pt idx="22">
                  <c:v>1091.8881</c:v>
                </c:pt>
                <c:pt idx="23">
                  <c:v>1132.2889</c:v>
                </c:pt>
                <c:pt idx="24">
                  <c:v>1135.7361</c:v>
                </c:pt>
                <c:pt idx="25">
                  <c:v>1158.4386</c:v>
                </c:pt>
                <c:pt idx="26">
                  <c:v>1113.7293</c:v>
                </c:pt>
                <c:pt idx="27">
                  <c:v>1118.3951</c:v>
                </c:pt>
                <c:pt idx="28">
                  <c:v>1077.7847</c:v>
                </c:pt>
                <c:pt idx="29">
                  <c:v>1059.3353</c:v>
                </c:pt>
                <c:pt idx="30">
                  <c:v>992.3802</c:v>
                </c:pt>
                <c:pt idx="31">
                  <c:v>1034.1443</c:v>
                </c:pt>
                <c:pt idx="32">
                  <c:v>1057.6109</c:v>
                </c:pt>
                <c:pt idx="33">
                  <c:v>1071.5035</c:v>
                </c:pt>
                <c:pt idx="34">
                  <c:v>1051.8686</c:v>
                </c:pt>
                <c:pt idx="35">
                  <c:v>1131.0888</c:v>
                </c:pt>
                <c:pt idx="36">
                  <c:v>1166.6316</c:v>
                </c:pt>
                <c:pt idx="37">
                  <c:v>1200.472</c:v>
                </c:pt>
                <c:pt idx="38">
                  <c:v>1259.7987</c:v>
                </c:pt>
                <c:pt idx="39">
                  <c:v>1271.1473</c:v>
                </c:pt>
                <c:pt idx="40">
                  <c:v>1299.504</c:v>
                </c:pt>
                <c:pt idx="41">
                  <c:v>1284.0159</c:v>
                </c:pt>
                <c:pt idx="42">
                  <c:v>1215.2877</c:v>
                </c:pt>
                <c:pt idx="43">
                  <c:v>1206.035</c:v>
                </c:pt>
                <c:pt idx="44">
                  <c:v>1164.4404</c:v>
                </c:pt>
                <c:pt idx="45">
                  <c:v>1205.3343</c:v>
                </c:pt>
                <c:pt idx="46">
                  <c:v>1178.6742</c:v>
                </c:pt>
                <c:pt idx="47">
                  <c:v>1161.5725</c:v>
                </c:pt>
                <c:pt idx="48">
                  <c:v>1218.7525</c:v>
                </c:pt>
                <c:pt idx="49">
                  <c:v>1168.2757</c:v>
                </c:pt>
                <c:pt idx="50">
                  <c:v>1195.9948</c:v>
                </c:pt>
                <c:pt idx="51">
                  <c:v>1162.151</c:v>
                </c:pt>
                <c:pt idx="52">
                  <c:v>1152.4372</c:v>
                </c:pt>
                <c:pt idx="53">
                  <c:v>1208.2211</c:v>
                </c:pt>
                <c:pt idx="54">
                  <c:v>1177.123</c:v>
                </c:pt>
                <c:pt idx="55">
                  <c:v>1174.075</c:v>
                </c:pt>
                <c:pt idx="56">
                  <c:v>1143.6165</c:v>
                </c:pt>
                <c:pt idx="57">
                  <c:v>1118.0766</c:v>
                </c:pt>
                <c:pt idx="58">
                  <c:v>1156.6356</c:v>
                </c:pt>
                <c:pt idx="59">
                  <c:v>1197.0776</c:v>
                </c:pt>
                <c:pt idx="60">
                  <c:v>1170.5779</c:v>
                </c:pt>
                <c:pt idx="61">
                  <c:v>1162.5188</c:v>
                </c:pt>
                <c:pt idx="62">
                  <c:v>1144.5622</c:v>
                </c:pt>
                <c:pt idx="63">
                  <c:v>1168.1519</c:v>
                </c:pt>
                <c:pt idx="64">
                  <c:v>1202.9258</c:v>
                </c:pt>
                <c:pt idx="65">
                  <c:v>1265.8142</c:v>
                </c:pt>
                <c:pt idx="66">
                  <c:v>1250.6261</c:v>
                </c:pt>
                <c:pt idx="67">
                  <c:v>1095.0276</c:v>
                </c:pt>
                <c:pt idx="68">
                  <c:v>1224.6831</c:v>
                </c:pt>
                <c:pt idx="69">
                  <c:v>1423.2295</c:v>
                </c:pt>
                <c:pt idx="70">
                  <c:v>1254.6593</c:v>
                </c:pt>
                <c:pt idx="71">
                  <c:v>1216.0091</c:v>
                </c:pt>
                <c:pt idx="72">
                  <c:v>1161.8105</c:v>
                </c:pt>
                <c:pt idx="73">
                  <c:v>1162.5659</c:v>
                </c:pt>
                <c:pt idx="74">
                  <c:v>1207.95</c:v>
                </c:pt>
                <c:pt idx="75">
                  <c:v>1196.2703</c:v>
                </c:pt>
                <c:pt idx="76">
                  <c:v>1214.4603</c:v>
                </c:pt>
                <c:pt idx="77">
                  <c:v>1280.4919</c:v>
                </c:pt>
                <c:pt idx="78">
                  <c:v>1349.5794</c:v>
                </c:pt>
                <c:pt idx="79">
                  <c:v>1247.551</c:v>
                </c:pt>
                <c:pt idx="80">
                  <c:v>1314.5</c:v>
                </c:pt>
                <c:pt idx="81">
                  <c:v>1351.2581</c:v>
                </c:pt>
                <c:pt idx="82">
                  <c:v>1310.327</c:v>
                </c:pt>
                <c:pt idx="83">
                  <c:v>1337.5172</c:v>
                </c:pt>
                <c:pt idx="84">
                  <c:v>1355.0882</c:v>
                </c:pt>
                <c:pt idx="85">
                  <c:v>1300.0645</c:v>
                </c:pt>
                <c:pt idx="86">
                  <c:v>1336.9466</c:v>
                </c:pt>
                <c:pt idx="87">
                  <c:v>1342.886</c:v>
                </c:pt>
                <c:pt idx="88">
                  <c:v>1236.5252</c:v>
                </c:pt>
                <c:pt idx="89">
                  <c:v>1217.0</c:v>
                </c:pt>
                <c:pt idx="90">
                  <c:v>1333.2217</c:v>
                </c:pt>
                <c:pt idx="91">
                  <c:v>1281.5633</c:v>
                </c:pt>
                <c:pt idx="92">
                  <c:v>1260.0714</c:v>
                </c:pt>
                <c:pt idx="93">
                  <c:v>1200.5054</c:v>
                </c:pt>
                <c:pt idx="94">
                  <c:v>1161.9043</c:v>
                </c:pt>
                <c:pt idx="95">
                  <c:v>1186.6517</c:v>
                </c:pt>
                <c:pt idx="96">
                  <c:v>1166.25</c:v>
                </c:pt>
                <c:pt idx="97">
                  <c:v>1179.474</c:v>
                </c:pt>
                <c:pt idx="98">
                  <c:v>1137.2754</c:v>
                </c:pt>
                <c:pt idx="99">
                  <c:v>1184.082</c:v>
                </c:pt>
              </c:numCache>
            </c:numRef>
          </c:xVal>
          <c:yVal>
            <c:numRef>
              <c:f>Sheet1!$B$2:$B$101</c:f>
              <c:numCache>
                <c:formatCode>General</c:formatCode>
                <c:ptCount val="100"/>
                <c:pt idx="0">
                  <c:v>0.38292011019283745</c:v>
                </c:pt>
                <c:pt idx="1">
                  <c:v>0.39156626506024095</c:v>
                </c:pt>
                <c:pt idx="2">
                  <c:v>0.44631901840490795</c:v>
                </c:pt>
                <c:pt idx="3">
                  <c:v>0.4312080536912752</c:v>
                </c:pt>
                <c:pt idx="4">
                  <c:v>0.4380952380952381</c:v>
                </c:pt>
                <c:pt idx="5">
                  <c:v>0.42939481268011526</c:v>
                </c:pt>
                <c:pt idx="6">
                  <c:v>0.4409722222222222</c:v>
                </c:pt>
                <c:pt idx="7">
                  <c:v>0.47232472324723246</c:v>
                </c:pt>
                <c:pt idx="8">
                  <c:v>0.4727272727272727</c:v>
                </c:pt>
                <c:pt idx="9">
                  <c:v>0.44591029023746703</c:v>
                </c:pt>
                <c:pt idx="10">
                  <c:v>0.4318488529014845</c:v>
                </c:pt>
                <c:pt idx="11">
                  <c:v>0.37228260869565216</c:v>
                </c:pt>
                <c:pt idx="12">
                  <c:v>0.3644278606965174</c:v>
                </c:pt>
                <c:pt idx="13">
                  <c:v>0.33378016085790885</c:v>
                </c:pt>
                <c:pt idx="14">
                  <c:v>0.3510791366906475</c:v>
                </c:pt>
                <c:pt idx="15">
                  <c:v>0.3707052441229656</c:v>
                </c:pt>
                <c:pt idx="16">
                  <c:v>0.3</c:v>
                </c:pt>
                <c:pt idx="17">
                  <c:v>0.3081081081081081</c:v>
                </c:pt>
                <c:pt idx="18">
                  <c:v>0.3238341968911917</c:v>
                </c:pt>
                <c:pt idx="19">
                  <c:v>0.40966921119592875</c:v>
                </c:pt>
                <c:pt idx="20">
                  <c:v>0.4241486068111455</c:v>
                </c:pt>
                <c:pt idx="21">
                  <c:v>0.4049586776859504</c:v>
                </c:pt>
                <c:pt idx="22">
                  <c:v>0.41812865497076024</c:v>
                </c:pt>
                <c:pt idx="23">
                  <c:v>0.42452830188679247</c:v>
                </c:pt>
                <c:pt idx="24">
                  <c:v>0.36828644501278773</c:v>
                </c:pt>
                <c:pt idx="25">
                  <c:v>0.4253731343283582</c:v>
                </c:pt>
                <c:pt idx="26">
                  <c:v>0.40401785714285715</c:v>
                </c:pt>
                <c:pt idx="27">
                  <c:v>0.405</c:v>
                </c:pt>
                <c:pt idx="28">
                  <c:v>0.41025641025641024</c:v>
                </c:pt>
                <c:pt idx="29">
                  <c:v>0.484593837535014</c:v>
                </c:pt>
                <c:pt idx="30">
                  <c:v>0.4164859002169197</c:v>
                </c:pt>
                <c:pt idx="31">
                  <c:v>0.384321223709369</c:v>
                </c:pt>
                <c:pt idx="32">
                  <c:v>0.415014164305949</c:v>
                </c:pt>
                <c:pt idx="33">
                  <c:v>0.398884239888424</c:v>
                </c:pt>
                <c:pt idx="34">
                  <c:v>0.4154929577464789</c:v>
                </c:pt>
                <c:pt idx="35">
                  <c:v>0.34845360824742266</c:v>
                </c:pt>
                <c:pt idx="36">
                  <c:v>0.35764705882352943</c:v>
                </c:pt>
                <c:pt idx="37">
                  <c:v>0.36507936507936506</c:v>
                </c:pt>
                <c:pt idx="38">
                  <c:v>0.35650224215246634</c:v>
                </c:pt>
                <c:pt idx="39">
                  <c:v>0.3902439024390244</c:v>
                </c:pt>
                <c:pt idx="40">
                  <c:v>0.41471571906354515</c:v>
                </c:pt>
                <c:pt idx="41">
                  <c:v>0.3718518518518519</c:v>
                </c:pt>
                <c:pt idx="42">
                  <c:v>0.3686868686868687</c:v>
                </c:pt>
                <c:pt idx="43">
                  <c:v>0.3728813559322034</c:v>
                </c:pt>
                <c:pt idx="44">
                  <c:v>0.3390452876376989</c:v>
                </c:pt>
                <c:pt idx="45">
                  <c:v>0.3139963167587477</c:v>
                </c:pt>
                <c:pt idx="46">
                  <c:v>0.31382636655948554</c:v>
                </c:pt>
                <c:pt idx="47">
                  <c:v>0.3274021352313167</c:v>
                </c:pt>
                <c:pt idx="48">
                  <c:v>0.330550918196995</c:v>
                </c:pt>
                <c:pt idx="49">
                  <c:v>0.34076433121019106</c:v>
                </c:pt>
                <c:pt idx="50">
                  <c:v>0.33275862068965517</c:v>
                </c:pt>
                <c:pt idx="51">
                  <c:v>0.375</c:v>
                </c:pt>
                <c:pt idx="52">
                  <c:v>0.38256227758007116</c:v>
                </c:pt>
                <c:pt idx="53">
                  <c:v>0.35447761194029853</c:v>
                </c:pt>
                <c:pt idx="54">
                  <c:v>0.36310679611650487</c:v>
                </c:pt>
                <c:pt idx="55">
                  <c:v>0.3597122302158273</c:v>
                </c:pt>
                <c:pt idx="56">
                  <c:v>0.3472584856396867</c:v>
                </c:pt>
                <c:pt idx="57">
                  <c:v>0.3323353293413174</c:v>
                </c:pt>
                <c:pt idx="58">
                  <c:v>0.3406896551724138</c:v>
                </c:pt>
                <c:pt idx="59">
                  <c:v>0.28891820580474936</c:v>
                </c:pt>
                <c:pt idx="60">
                  <c:v>0.2623655913978495</c:v>
                </c:pt>
                <c:pt idx="61">
                  <c:v>0.2735760971055089</c:v>
                </c:pt>
                <c:pt idx="62">
                  <c:v>0.3104738154613466</c:v>
                </c:pt>
                <c:pt idx="63">
                  <c:v>0.33540372670807456</c:v>
                </c:pt>
                <c:pt idx="64">
                  <c:v>0.31801242236024846</c:v>
                </c:pt>
                <c:pt idx="65">
                  <c:v>0.2946859903381642</c:v>
                </c:pt>
                <c:pt idx="66">
                  <c:v>0.2804878048780488</c:v>
                </c:pt>
                <c:pt idx="67">
                  <c:v>0.31868131868131866</c:v>
                </c:pt>
                <c:pt idx="68">
                  <c:v>0.35148514851485146</c:v>
                </c:pt>
                <c:pt idx="69">
                  <c:v>0.32620320855614976</c:v>
                </c:pt>
                <c:pt idx="70">
                  <c:v>0.3435114503816794</c:v>
                </c:pt>
                <c:pt idx="71">
                  <c:v>0.36065573770491804</c:v>
                </c:pt>
                <c:pt idx="72">
                  <c:v>0.4005235602094241</c:v>
                </c:pt>
                <c:pt idx="73">
                  <c:v>0.37719298245614036</c:v>
                </c:pt>
                <c:pt idx="74">
                  <c:v>0.32697547683923706</c:v>
                </c:pt>
                <c:pt idx="75">
                  <c:v>0.37755102040816324</c:v>
                </c:pt>
                <c:pt idx="76">
                  <c:v>0.34332425068119893</c:v>
                </c:pt>
                <c:pt idx="77">
                  <c:v>0.34444444444444444</c:v>
                </c:pt>
                <c:pt idx="78">
                  <c:v>0.31563421828908556</c:v>
                </c:pt>
                <c:pt idx="79">
                  <c:v>0.34146341463414637</c:v>
                </c:pt>
                <c:pt idx="80">
                  <c:v>0.32764505119453924</c:v>
                </c:pt>
                <c:pt idx="81">
                  <c:v>0.33214285714285713</c:v>
                </c:pt>
                <c:pt idx="82">
                  <c:v>0.33194154488517746</c:v>
                </c:pt>
                <c:pt idx="83">
                  <c:v>0.35365853658536583</c:v>
                </c:pt>
                <c:pt idx="84">
                  <c:v>0.38202247191011235</c:v>
                </c:pt>
                <c:pt idx="85">
                  <c:v>0.37530266343825663</c:v>
                </c:pt>
                <c:pt idx="86">
                  <c:v>0.3700564971751412</c:v>
                </c:pt>
                <c:pt idx="87">
                  <c:v>0.3904109589041096</c:v>
                </c:pt>
                <c:pt idx="88">
                  <c:v>0.36578947368421055</c:v>
                </c:pt>
                <c:pt idx="89">
                  <c:v>0.36049382716049383</c:v>
                </c:pt>
                <c:pt idx="90">
                  <c:v>0.40458015267175573</c:v>
                </c:pt>
                <c:pt idx="91">
                  <c:v>0.38461538461538464</c:v>
                </c:pt>
                <c:pt idx="92">
                  <c:v>0.3027027027027027</c:v>
                </c:pt>
                <c:pt idx="93">
                  <c:v>0.3062568605927552</c:v>
                </c:pt>
                <c:pt idx="94">
                  <c:v>0.3296032553407935</c:v>
                </c:pt>
                <c:pt idx="95">
                  <c:v>0.3311367380560132</c:v>
                </c:pt>
                <c:pt idx="96">
                  <c:v>0.3884514435695538</c:v>
                </c:pt>
                <c:pt idx="97">
                  <c:v>0.3720430107526882</c:v>
                </c:pt>
                <c:pt idx="98">
                  <c:v>0.34615384615384615</c:v>
                </c:pt>
                <c:pt idx="99">
                  <c:v>0.3395176252319109</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55</c:f>
              <c:numCache>
                <c:formatCode>General</c:formatCode>
                <c:ptCount val="52"/>
                <c:pt idx="0">
                  <c:v>1200.6124</c:v>
                </c:pt>
                <c:pt idx="1">
                  <c:v>1247.1646</c:v>
                </c:pt>
                <c:pt idx="2">
                  <c:v>1185.7556</c:v>
                </c:pt>
                <c:pt idx="3">
                  <c:v>1215.8798</c:v>
                </c:pt>
                <c:pt idx="4">
                  <c:v>1282.5722</c:v>
                </c:pt>
                <c:pt idx="5">
                  <c:v>1337.7386</c:v>
                </c:pt>
                <c:pt idx="6">
                  <c:v>1251.1298</c:v>
                </c:pt>
                <c:pt idx="7">
                  <c:v>1296.5333</c:v>
                </c:pt>
                <c:pt idx="8">
                  <c:v>1380.4286</c:v>
                </c:pt>
                <c:pt idx="9">
                  <c:v>1260.8837</c:v>
                </c:pt>
                <c:pt idx="10">
                  <c:v>1352.6433</c:v>
                </c:pt>
                <c:pt idx="11">
                  <c:v>1270.9563</c:v>
                </c:pt>
                <c:pt idx="12">
                  <c:v>1276.7959</c:v>
                </c:pt>
                <c:pt idx="13">
                  <c:v>1375.011</c:v>
                </c:pt>
                <c:pt idx="14">
                  <c:v>1369.0061</c:v>
                </c:pt>
                <c:pt idx="15">
                  <c:v>1398.6316</c:v>
                </c:pt>
                <c:pt idx="16">
                  <c:v>1409.3966</c:v>
                </c:pt>
                <c:pt idx="17">
                  <c:v>1328.2114</c:v>
                </c:pt>
                <c:pt idx="18">
                  <c:v>1416.3371</c:v>
                </c:pt>
                <c:pt idx="19">
                  <c:v>1577.2871</c:v>
                </c:pt>
                <c:pt idx="20">
                  <c:v>1483.037</c:v>
                </c:pt>
                <c:pt idx="21">
                  <c:v>1429.2687</c:v>
                </c:pt>
                <c:pt idx="22">
                  <c:v>1497.5846</c:v>
                </c:pt>
                <c:pt idx="23">
                  <c:v>1491.1644</c:v>
                </c:pt>
                <c:pt idx="24">
                  <c:v>1477.473</c:v>
                </c:pt>
                <c:pt idx="25">
                  <c:v>1503.1385</c:v>
                </c:pt>
                <c:pt idx="26">
                  <c:v>1418.4935</c:v>
                </c:pt>
                <c:pt idx="27">
                  <c:v>1395.3441</c:v>
                </c:pt>
                <c:pt idx="28">
                  <c:v>1396.1458</c:v>
                </c:pt>
                <c:pt idx="29">
                  <c:v>1429.9307</c:v>
                </c:pt>
                <c:pt idx="30">
                  <c:v>1369.2353</c:v>
                </c:pt>
                <c:pt idx="31">
                  <c:v>1186.2475</c:v>
                </c:pt>
                <c:pt idx="32">
                  <c:v>1302.3529</c:v>
                </c:pt>
                <c:pt idx="33">
                  <c:v>1472.6803</c:v>
                </c:pt>
                <c:pt idx="34">
                  <c:v>1472.6243</c:v>
                </c:pt>
                <c:pt idx="35">
                  <c:v>1485.4882</c:v>
                </c:pt>
                <c:pt idx="36">
                  <c:v>1559.51</c:v>
                </c:pt>
                <c:pt idx="37">
                  <c:v>1592.0541</c:v>
                </c:pt>
                <c:pt idx="38">
                  <c:v>1631.6333</c:v>
                </c:pt>
                <c:pt idx="39">
                  <c:v>1489.6216</c:v>
                </c:pt>
                <c:pt idx="40">
                  <c:v>1531.6923</c:v>
                </c:pt>
                <c:pt idx="41">
                  <c:v>1570.6389</c:v>
                </c:pt>
                <c:pt idx="42">
                  <c:v>1557.2255</c:v>
                </c:pt>
                <c:pt idx="43">
                  <c:v>1593.9449</c:v>
                </c:pt>
                <c:pt idx="44">
                  <c:v>1458.9878</c:v>
                </c:pt>
                <c:pt idx="45">
                  <c:v>1485.2041</c:v>
                </c:pt>
                <c:pt idx="46">
                  <c:v>1412.205</c:v>
                </c:pt>
                <c:pt idx="47">
                  <c:v>1316.7934</c:v>
                </c:pt>
                <c:pt idx="48">
                  <c:v>1234.6151</c:v>
                </c:pt>
                <c:pt idx="49">
                  <c:v>1276.9538</c:v>
                </c:pt>
                <c:pt idx="50">
                  <c:v>1264.8673</c:v>
                </c:pt>
                <c:pt idx="51">
                  <c:v>1131.9573</c:v>
                </c:pt>
              </c:numCache>
            </c:numRef>
          </c:xVal>
          <c:yVal>
            <c:numRef>
              <c:f>Sheet1!$B$104:$B$155</c:f>
              <c:numCache>
                <c:formatCode>General</c:formatCode>
                <c:ptCount val="52"/>
                <c:pt idx="0">
                  <c:v>0.332089552238806</c:v>
                </c:pt>
                <c:pt idx="1">
                  <c:v>0.3286573146292585</c:v>
                </c:pt>
                <c:pt idx="2">
                  <c:v>0.32967032967032966</c:v>
                </c:pt>
                <c:pt idx="3">
                  <c:v>0.3376383763837638</c:v>
                </c:pt>
                <c:pt idx="4">
                  <c:v>0.35785288270377735</c:v>
                </c:pt>
                <c:pt idx="5">
                  <c:v>0.3430493273542601</c:v>
                </c:pt>
                <c:pt idx="6">
                  <c:v>0.3808139534883721</c:v>
                </c:pt>
                <c:pt idx="7">
                  <c:v>0.32894736842105265</c:v>
                </c:pt>
                <c:pt idx="8">
                  <c:v>0.31989247311827956</c:v>
                </c:pt>
                <c:pt idx="9">
                  <c:v>0.3412698412698413</c:v>
                </c:pt>
                <c:pt idx="10">
                  <c:v>0.34826883910386963</c:v>
                </c:pt>
                <c:pt idx="11">
                  <c:v>0.3188854489164087</c:v>
                </c:pt>
                <c:pt idx="12">
                  <c:v>0.30153846153846153</c:v>
                </c:pt>
                <c:pt idx="13">
                  <c:v>0.31643356643356646</c:v>
                </c:pt>
                <c:pt idx="14">
                  <c:v>0.321011673151751</c:v>
                </c:pt>
                <c:pt idx="15">
                  <c:v>0.3046092184368738</c:v>
                </c:pt>
                <c:pt idx="16">
                  <c:v>0.2966751918158568</c:v>
                </c:pt>
                <c:pt idx="17">
                  <c:v>0.33791208791208793</c:v>
                </c:pt>
                <c:pt idx="18">
                  <c:v>0.26409495548961426</c:v>
                </c:pt>
                <c:pt idx="19">
                  <c:v>0.27823691460055094</c:v>
                </c:pt>
                <c:pt idx="20">
                  <c:v>0.28222996515679444</c:v>
                </c:pt>
                <c:pt idx="21">
                  <c:v>0.29646017699115046</c:v>
                </c:pt>
                <c:pt idx="22">
                  <c:v>0.3080568720379147</c:v>
                </c:pt>
                <c:pt idx="23">
                  <c:v>0.3173913043478261</c:v>
                </c:pt>
                <c:pt idx="24">
                  <c:v>0.3020408163265306</c:v>
                </c:pt>
                <c:pt idx="25">
                  <c:v>0.2826086956521739</c:v>
                </c:pt>
                <c:pt idx="26">
                  <c:v>0.3130081300813008</c:v>
                </c:pt>
                <c:pt idx="27">
                  <c:v>0.31313131313131315</c:v>
                </c:pt>
                <c:pt idx="28">
                  <c:v>0.3221476510067114</c:v>
                </c:pt>
                <c:pt idx="29">
                  <c:v>0.3482758620689655</c:v>
                </c:pt>
                <c:pt idx="30">
                  <c:v>0.3617021276595745</c:v>
                </c:pt>
                <c:pt idx="31">
                  <c:v>0.3531468531468531</c:v>
                </c:pt>
                <c:pt idx="32">
                  <c:v>0.2972027972027972</c:v>
                </c:pt>
                <c:pt idx="33">
                  <c:v>0.2932692307692308</c:v>
                </c:pt>
                <c:pt idx="34">
                  <c:v>0.31227436823104693</c:v>
                </c:pt>
                <c:pt idx="35">
                  <c:v>0.29462738301559793</c:v>
                </c:pt>
                <c:pt idx="36">
                  <c:v>0.3184713375796178</c:v>
                </c:pt>
                <c:pt idx="37">
                  <c:v>0.3</c:v>
                </c:pt>
                <c:pt idx="38">
                  <c:v>0.2575107296137339</c:v>
                </c:pt>
                <c:pt idx="39">
                  <c:v>0.2781954887218045</c:v>
                </c:pt>
                <c:pt idx="40">
                  <c:v>0.29411764705882354</c:v>
                </c:pt>
                <c:pt idx="41">
                  <c:v>0.28628230616302186</c:v>
                </c:pt>
                <c:pt idx="42">
                  <c:v>0.2786885245901639</c:v>
                </c:pt>
                <c:pt idx="43">
                  <c:v>0.30023640661938533</c:v>
                </c:pt>
                <c:pt idx="44">
                  <c:v>0.29927007299270075</c:v>
                </c:pt>
                <c:pt idx="45">
                  <c:v>0.30963665086887837</c:v>
                </c:pt>
                <c:pt idx="46">
                  <c:v>0.33222591362126247</c:v>
                </c:pt>
                <c:pt idx="47">
                  <c:v>0.3141592920353982</c:v>
                </c:pt>
                <c:pt idx="48">
                  <c:v>0.3458755426917511</c:v>
                </c:pt>
                <c:pt idx="49">
                  <c:v>0.3371104815864023</c:v>
                </c:pt>
                <c:pt idx="50">
                  <c:v>0.3217477656405164</c:v>
                </c:pt>
                <c:pt idx="51">
                  <c:v>0.370253164556962</c:v>
                </c:pt>
              </c:numCache>
            </c:numRef>
          </c:yVal>
          <c:smooth val="0"/>
          <c:extLst>
            <c:ext xmlns:c16="http://schemas.microsoft.com/office/drawing/2014/chart" uri="{C3380CC4-5D6E-409C-BE32-E72D297353CC}">
              <c16:uniqueId val="{00000002-F32D-48B7-BC20-E66FC6253BAD}"/>
            </c:ext>
          </c:extLst>
        </c:ser>
        <c:ser>
          <c:idx val="2"/>
          <c:order val="2"/>
          <c:tx>
            <c:strRef>
              <c:f>Sheet1!$B$157</c:f>
              <c:strCache>
                <c:ptCount val="1"/>
                <c:pt idx="0">
                  <c:v>Custom Linep3yQ</c:v>
                </c:pt>
              </c:strCache>
            </c:strRef>
          </c:tx>
          <c:spPr>
            <a:ln w="19050" cap="rnd">
              <a:solidFill>
                <a:srgbClr val="C00000"/>
              </a:solidFill>
              <a:prstDash val="sysDot"/>
              <a:round/>
            </a:ln>
            <a:effectLst/>
          </c:spPr>
          <c:marker>
            <c:symbol val="none"/>
          </c:marker>
          <c:xVal>
            <c:numRef>
              <c:f>Sheet1!$A$158:$A$159</c:f>
              <c:numCache>
                <c:formatCode>General</c:formatCode>
                <c:ptCount val="2"/>
                <c:pt idx="0">
                  <c:v>0</c:v>
                </c:pt>
                <c:pt idx="1">
                  <c:v>635.9516809201566</c:v>
                </c:pt>
              </c:numCache>
            </c:numRef>
          </c:xVal>
          <c:yVal>
            <c:numRef>
              <c:f>Sheet1!$B$158:$B$159</c:f>
              <c:numCache>
                <c:formatCode>General</c:formatCode>
                <c:ptCount val="2"/>
                <c:pt idx="0">
                  <c:v>0.4339475240357047</c:v>
                </c:pt>
                <c:pt idx="1">
                  <c:v>0.4339475240357047</c:v>
                </c:pt>
              </c:numCache>
            </c:numRef>
          </c:yVal>
          <c:smooth val="0"/>
          <c:extLst>
            <c:ext xmlns:c16="http://schemas.microsoft.com/office/drawing/2014/chart" uri="{C3380CC4-5D6E-409C-BE32-E72D297353CC}">
              <c16:uniqueId val="{00000003-F32D-48B7-BC20-E66FC6253BAD}"/>
            </c:ext>
          </c:extLst>
        </c:ser>
        <c:ser>
          <c:idx val="3"/>
          <c:order val="3"/>
          <c:tx>
            <c:strRef>
              <c:f>Sheet1!$B$16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2:$A$163</c:f>
              <c:numCache>
                <c:formatCode>General</c:formatCode>
                <c:ptCount val="2"/>
                <c:pt idx="0">
                  <c:v>635.9516809201566</c:v>
                </c:pt>
                <c:pt idx="1">
                  <c:v>635.9516809201566</c:v>
                </c:pt>
              </c:numCache>
            </c:numRef>
          </c:xVal>
          <c:yVal>
            <c:numRef>
              <c:f>Sheet1!$B$162:$B$163</c:f>
              <c:numCache>
                <c:formatCode>General</c:formatCode>
                <c:ptCount val="2"/>
                <c:pt idx="0">
                  <c:v>0.4339475240357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6:$A$167</c:f>
              <c:numCache>
                <c:formatCode>General</c:formatCode>
                <c:ptCount val="2"/>
                <c:pt idx="0">
                  <c:v>0</c:v>
                </c:pt>
                <c:pt idx="1">
                  <c:v>1213.3666756319226</c:v>
                </c:pt>
              </c:numCache>
            </c:numRef>
          </c:xVal>
          <c:yVal>
            <c:numRef>
              <c:f>Sheet1!$B$166:$B$167</c:f>
              <c:numCache>
                <c:formatCode>General</c:formatCode>
                <c:ptCount val="2"/>
                <c:pt idx="0">
                  <c:v>0.3437467386189079</c:v>
                </c:pt>
                <c:pt idx="1">
                  <c:v>0.3437467386189079</c:v>
                </c:pt>
              </c:numCache>
            </c:numRef>
          </c:yVal>
          <c:smooth val="0"/>
          <c:extLst>
            <c:ext xmlns:c16="http://schemas.microsoft.com/office/drawing/2014/chart" uri="{C3380CC4-5D6E-409C-BE32-E72D297353CC}">
              <c16:uniqueId val="{0000000A-F32D-48B7-BC20-E66FC6253BAD}"/>
            </c:ext>
          </c:extLst>
        </c:ser>
        <c:ser>
          <c:idx val="5"/>
          <c:order val="5"/>
          <c:tx>
            <c:strRef>
              <c:f>Sheet1!$B$16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0:$A$171</c:f>
              <c:numCache>
                <c:formatCode>General</c:formatCode>
                <c:ptCount val="2"/>
                <c:pt idx="0">
                  <c:v>1213.3666756319226</c:v>
                </c:pt>
                <c:pt idx="1">
                  <c:v>1213.3666756319226</c:v>
                </c:pt>
              </c:numCache>
            </c:numRef>
          </c:xVal>
          <c:yVal>
            <c:numRef>
              <c:f>Sheet1!$B$170:$B$171</c:f>
              <c:numCache>
                <c:formatCode>General</c:formatCode>
                <c:ptCount val="2"/>
                <c:pt idx="0">
                  <c:v>0.34374673861890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4:$A$175</c:f>
              <c:numCache>
                <c:formatCode>General</c:formatCode>
                <c:ptCount val="2"/>
                <c:pt idx="0">
                  <c:v>0</c:v>
                </c:pt>
                <c:pt idx="1">
                  <c:v>1410.781373024856</c:v>
                </c:pt>
              </c:numCache>
            </c:numRef>
          </c:xVal>
          <c:yVal>
            <c:numRef>
              <c:f>Sheet1!$B$174:$B$175</c:f>
              <c:numCache>
                <c:formatCode>General</c:formatCode>
                <c:ptCount val="2"/>
                <c:pt idx="0">
                  <c:v>0.3129076351651593</c:v>
                </c:pt>
                <c:pt idx="1">
                  <c:v>0.3129076351651593</c:v>
                </c:pt>
              </c:numCache>
            </c:numRef>
          </c:yVal>
          <c:smooth val="0"/>
          <c:extLst>
            <c:ext xmlns:c16="http://schemas.microsoft.com/office/drawing/2014/chart" uri="{C3380CC4-5D6E-409C-BE32-E72D297353CC}">
              <c16:uniqueId val="{00000011-F32D-48B7-BC20-E66FC6253BAD}"/>
            </c:ext>
          </c:extLst>
        </c:ser>
        <c:ser>
          <c:idx val="7"/>
          <c:order val="7"/>
          <c:tx>
            <c:strRef>
              <c:f>Sheet1!$B$17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8:$A$179</c:f>
              <c:numCache>
                <c:formatCode>General</c:formatCode>
                <c:ptCount val="2"/>
                <c:pt idx="0">
                  <c:v>1410.781373024856</c:v>
                </c:pt>
                <c:pt idx="1">
                  <c:v>1410.781373024856</c:v>
                </c:pt>
              </c:numCache>
            </c:numRef>
          </c:xVal>
          <c:yVal>
            <c:numRef>
              <c:f>Sheet1!$B$178:$B$179</c:f>
              <c:numCache>
                <c:formatCode>General</c:formatCode>
                <c:ptCount val="2"/>
                <c:pt idx="0">
                  <c:v>0.31290763516515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2:$A$236</c:f>
              <c:numCache>
                <c:formatCode>General</c:formatCode>
                <c:ptCount val="55"/>
                <c:pt idx="0">
                  <c:v>1200.6124</c:v>
                </c:pt>
                <c:pt idx="1">
                  <c:v>1247.1646</c:v>
                </c:pt>
                <c:pt idx="2">
                  <c:v>1185.7556</c:v>
                </c:pt>
                <c:pt idx="3">
                  <c:v>1215.8798</c:v>
                </c:pt>
                <c:pt idx="4">
                  <c:v>1282.5722</c:v>
                </c:pt>
                <c:pt idx="5">
                  <c:v>1337.7386</c:v>
                </c:pt>
                <c:pt idx="6">
                  <c:v>1251.1298</c:v>
                </c:pt>
                <c:pt idx="7">
                  <c:v>1296.5333</c:v>
                </c:pt>
                <c:pt idx="8">
                  <c:v>1380.4286</c:v>
                </c:pt>
                <c:pt idx="9">
                  <c:v>1260.8837</c:v>
                </c:pt>
                <c:pt idx="10">
                  <c:v>1352.6433</c:v>
                </c:pt>
                <c:pt idx="11">
                  <c:v>1270.9563</c:v>
                </c:pt>
                <c:pt idx="12">
                  <c:v>1276.7959</c:v>
                </c:pt>
                <c:pt idx="13">
                  <c:v>1375.011</c:v>
                </c:pt>
                <c:pt idx="14">
                  <c:v>1369.0061</c:v>
                </c:pt>
                <c:pt idx="15">
                  <c:v>1398.6316</c:v>
                </c:pt>
                <c:pt idx="16">
                  <c:v>1409.3966</c:v>
                </c:pt>
                <c:pt idx="17">
                  <c:v>1328.2114</c:v>
                </c:pt>
                <c:pt idx="18">
                  <c:v>1416.3371</c:v>
                </c:pt>
                <c:pt idx="19">
                  <c:v>1577.2871</c:v>
                </c:pt>
                <c:pt idx="20">
                  <c:v>1483.037</c:v>
                </c:pt>
                <c:pt idx="21">
                  <c:v>1429.2687</c:v>
                </c:pt>
                <c:pt idx="22">
                  <c:v>1497.5846</c:v>
                </c:pt>
                <c:pt idx="23">
                  <c:v>1491.1644</c:v>
                </c:pt>
                <c:pt idx="24">
                  <c:v>1477.473</c:v>
                </c:pt>
                <c:pt idx="25">
                  <c:v>1503.1385</c:v>
                </c:pt>
                <c:pt idx="26">
                  <c:v>1418.4935</c:v>
                </c:pt>
                <c:pt idx="27">
                  <c:v>1395.3441</c:v>
                </c:pt>
                <c:pt idx="28">
                  <c:v>1396.1458</c:v>
                </c:pt>
                <c:pt idx="29">
                  <c:v>1429.9307</c:v>
                </c:pt>
                <c:pt idx="30">
                  <c:v>1369.2353</c:v>
                </c:pt>
                <c:pt idx="31">
                  <c:v>1186.2475</c:v>
                </c:pt>
                <c:pt idx="32">
                  <c:v>1302.3529</c:v>
                </c:pt>
                <c:pt idx="33">
                  <c:v>1472.6803</c:v>
                </c:pt>
                <c:pt idx="34">
                  <c:v>1472.6243</c:v>
                </c:pt>
                <c:pt idx="35">
                  <c:v>1485.4882</c:v>
                </c:pt>
                <c:pt idx="36">
                  <c:v>1559.51</c:v>
                </c:pt>
                <c:pt idx="37">
                  <c:v>1592.0541</c:v>
                </c:pt>
                <c:pt idx="38">
                  <c:v>1631.6333</c:v>
                </c:pt>
                <c:pt idx="39">
                  <c:v>1489.6216</c:v>
                </c:pt>
                <c:pt idx="40">
                  <c:v>1531.6923</c:v>
                </c:pt>
                <c:pt idx="41">
                  <c:v>1570.6389</c:v>
                </c:pt>
                <c:pt idx="42">
                  <c:v>1557.2255</c:v>
                </c:pt>
                <c:pt idx="43">
                  <c:v>1593.9449</c:v>
                </c:pt>
                <c:pt idx="44">
                  <c:v>1458.9878</c:v>
                </c:pt>
                <c:pt idx="45">
                  <c:v>1485.2041</c:v>
                </c:pt>
                <c:pt idx="46">
                  <c:v>1412.205</c:v>
                </c:pt>
                <c:pt idx="47">
                  <c:v>1316.7934</c:v>
                </c:pt>
                <c:pt idx="48">
                  <c:v>1234.6151</c:v>
                </c:pt>
                <c:pt idx="49">
                  <c:v>1276.9538</c:v>
                </c:pt>
                <c:pt idx="50">
                  <c:v>1264.8673</c:v>
                </c:pt>
                <c:pt idx="51">
                  <c:v>1131.9573</c:v>
                </c:pt>
                <c:pt idx="52">
                  <c:v>1213.3666756319226</c:v>
                </c:pt>
                <c:pt idx="53">
                  <c:v>635.9516809201566</c:v>
                </c:pt>
                <c:pt idx="54">
                  <c:v>1410.781373024856</c:v>
                </c:pt>
              </c:numCache>
            </c:numRef>
          </c:xVal>
          <c:yVal>
            <c:numRef>
              <c:f>Sheet1!$B$182:$B$236</c:f>
              <c:numCache>
                <c:formatCode>General</c:formatCode>
                <c:ptCount val="55"/>
                <c:pt idx="0">
                  <c:v>0.3457391456224635</c:v>
                </c:pt>
                <c:pt idx="1">
                  <c:v>0.33846700159895077</c:v>
                </c:pt>
                <c:pt idx="2">
                  <c:v>0.34805999811339894</c:v>
                </c:pt>
                <c:pt idx="3">
                  <c:v>0.3433541513222032</c:v>
                </c:pt>
                <c:pt idx="4">
                  <c:v>0.3329358093733002</c:v>
                </c:pt>
                <c:pt idx="5">
                  <c:v>0.32431799955853935</c:v>
                </c:pt>
                <c:pt idx="6">
                  <c:v>0.3378475785538093</c:v>
                </c:pt>
                <c:pt idx="7">
                  <c:v>0.3307548785058726</c:v>
                </c:pt>
                <c:pt idx="8">
                  <c:v>0.31764918845264617</c:v>
                </c:pt>
                <c:pt idx="9">
                  <c:v>0.33632387472045794</c:v>
                </c:pt>
                <c:pt idx="10">
                  <c:v>0.3219896643772321</c:v>
                </c:pt>
                <c:pt idx="11">
                  <c:v>0.334750385220687</c:v>
                </c:pt>
                <c:pt idx="12">
                  <c:v>0.33383815309761433</c:v>
                </c:pt>
                <c:pt idx="13">
                  <c:v>0.31849549791732845</c:v>
                </c:pt>
                <c:pt idx="14">
                  <c:v>0.3194335523518512</c:v>
                </c:pt>
                <c:pt idx="15">
                  <c:v>0.3148056098965306</c:v>
                </c:pt>
                <c:pt idx="16">
                  <c:v>0.3131239572482537</c:v>
                </c:pt>
                <c:pt idx="17">
                  <c:v>0.3258062894898597</c:v>
                </c:pt>
                <c:pt idx="18">
                  <c:v>0.3120397482184938</c:v>
                </c:pt>
                <c:pt idx="19">
                  <c:v>0.286896971280253</c:v>
                </c:pt>
                <c:pt idx="20">
                  <c:v>0.3016202346583635</c:v>
                </c:pt>
                <c:pt idx="21">
                  <c:v>0.3100196405188693</c:v>
                </c:pt>
                <c:pt idx="22">
                  <c:v>0.2993476837929597</c:v>
                </c:pt>
                <c:pt idx="23">
                  <c:v>0.3003506142465098</c:v>
                </c:pt>
                <c:pt idx="24">
                  <c:v>0.30248941397420304</c:v>
                </c:pt>
                <c:pt idx="25">
                  <c:v>0.29848008224690625</c:v>
                </c:pt>
                <c:pt idx="26">
                  <c:v>0.3117028865584154</c:v>
                </c:pt>
                <c:pt idx="27">
                  <c:v>0.3153191661511716</c:v>
                </c:pt>
                <c:pt idx="28">
                  <c:v>0.3151939287217128</c:v>
                </c:pt>
                <c:pt idx="29">
                  <c:v>0.3099162263012048</c:v>
                </c:pt>
                <c:pt idx="30">
                  <c:v>0.3193977479127444</c:v>
                </c:pt>
                <c:pt idx="31">
                  <c:v>0.34798315603836993</c:v>
                </c:pt>
                <c:pt idx="32">
                  <c:v>0.32984577067940607</c:v>
                </c:pt>
                <c:pt idx="33">
                  <c:v>0.3032381047914252</c:v>
                </c:pt>
                <c:pt idx="34">
                  <c:v>0.30324685282192254</c:v>
                </c:pt>
                <c:pt idx="35">
                  <c:v>0.30123732086631</c:v>
                </c:pt>
                <c:pt idx="36">
                  <c:v>0.2896740179401399</c:v>
                </c:pt>
                <c:pt idx="37">
                  <c:v>0.2845901468810793</c:v>
                </c:pt>
                <c:pt idx="38">
                  <c:v>0.27840728886931154</c:v>
                </c:pt>
                <c:pt idx="39">
                  <c:v>0.30059162248671056</c:v>
                </c:pt>
                <c:pt idx="40">
                  <c:v>0.2940195552252278</c:v>
                </c:pt>
                <c:pt idx="41">
                  <c:v>0.2879355187151136</c:v>
                </c:pt>
                <c:pt idx="42">
                  <c:v>0.2900308907199809</c:v>
                </c:pt>
                <c:pt idx="43">
                  <c:v>0.284294775879931</c:v>
                </c:pt>
                <c:pt idx="44">
                  <c:v>0.30537707635543176</c:v>
                </c:pt>
                <c:pt idx="45">
                  <c:v>0.3012817014996008</c:v>
                </c:pt>
                <c:pt idx="46">
                  <c:v>0.3126852435188138</c:v>
                </c:pt>
                <c:pt idx="47">
                  <c:v>0.3275899504223283</c:v>
                </c:pt>
                <c:pt idx="48">
                  <c:v>0.34042741961191414</c:v>
                </c:pt>
                <c:pt idx="49">
                  <c:v>0.33381348677590855</c:v>
                </c:pt>
                <c:pt idx="50">
                  <c:v>0.3357015773224389</c:v>
                </c:pt>
                <c:pt idx="51">
                  <c:v>0.356464090418814</c:v>
                </c:pt>
                <c:pt idx="52">
                  <c:v>0.3437467386189079</c:v>
                </c:pt>
                <c:pt idx="53">
                  <c:v>0.4339475240357047</c:v>
                </c:pt>
                <c:pt idx="54">
                  <c:v>0.31290763516515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8.0"/>
          <c:min val="5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5126050420167"/>
          <c:min val="0.206008583690987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167162949183264</c:v>
                </c:pt>
                <c:pt idx="1">
                  <c:v>0.7200823172104392</c:v>
                </c:pt>
                <c:pt idx="2">
                  <c:v>0.692943867580855</c:v>
                </c:pt>
                <c:pt idx="3">
                  <c:v>0.7064229140577596</c:v>
                </c:pt>
                <c:pt idx="4">
                  <c:v>0.6753492916449642</c:v>
                </c:pt>
                <c:pt idx="5">
                  <c:v>0.6814448540639965</c:v>
                </c:pt>
                <c:pt idx="6">
                  <c:v>0.6822616922827296</c:v>
                </c:pt>
                <c:pt idx="7">
                  <c:v>0.6775320206744595</c:v>
                </c:pt>
                <c:pt idx="8">
                  <c:v>0.7539507551762953</c:v>
                </c:pt>
                <c:pt idx="9">
                  <c:v>0.8608872586777424</c:v>
                </c:pt>
                <c:pt idx="10">
                  <c:v>0.8733993394906671</c:v>
                </c:pt>
                <c:pt idx="11">
                  <c:v>0.8870492977280915</c:v>
                </c:pt>
                <c:pt idx="12">
                  <c:v>0.9510265915949513</c:v>
                </c:pt>
                <c:pt idx="13">
                  <c:v>0.9408311394685464</c:v>
                </c:pt>
                <c:pt idx="14">
                  <c:v>0.9073749510318717</c:v>
                </c:pt>
                <c:pt idx="15">
                  <c:v>0.9026648515338166</c:v>
                </c:pt>
                <c:pt idx="16">
                  <c:v>0.9245508962164751</c:v>
                </c:pt>
                <c:pt idx="17">
                  <c:v>0.9807597440791739</c:v>
                </c:pt>
                <c:pt idx="18">
                  <c:v>0.9995920327507479</c:v>
                </c:pt>
                <c:pt idx="19">
                  <c:v>0.8430098230860664</c:v>
                </c:pt>
                <c:pt idx="20">
                  <c:v>1.0211960407577658</c:v>
                </c:pt>
                <c:pt idx="21">
                  <c:v>0.8892846125840584</c:v>
                </c:pt>
                <c:pt idx="22">
                  <c:v>0.9204210688655371</c:v>
                </c:pt>
                <c:pt idx="23">
                  <c:v>0.9859907876809335</c:v>
                </c:pt>
                <c:pt idx="24">
                  <c:v>0.955558898939658</c:v>
                </c:pt>
                <c:pt idx="25">
                  <c:v>0.9460624668065</c:v>
                </c:pt>
                <c:pt idx="26">
                  <c:v>0.9329266701497989</c:v>
                </c:pt>
                <c:pt idx="27">
                  <c:v>0.9427884189623948</c:v>
                </c:pt>
                <c:pt idx="28">
                  <c:v>0.837546537277372</c:v>
                </c:pt>
                <c:pt idx="29">
                  <c:v>0.8260279002094437</c:v>
                </c:pt>
                <c:pt idx="30">
                  <c:v>0.8231070392851502</c:v>
                </c:pt>
                <c:pt idx="31">
                  <c:v>0.758134261442753</c:v>
                </c:pt>
                <c:pt idx="32">
                  <c:v>0.7605923647713964</c:v>
                </c:pt>
                <c:pt idx="33">
                  <c:v>0.767175817979873</c:v>
                </c:pt>
                <c:pt idx="34">
                  <c:v>0.8276130138110962</c:v>
                </c:pt>
                <c:pt idx="35">
                  <c:v>0.8911912990077796</c:v>
                </c:pt>
                <c:pt idx="36">
                  <c:v>1.0270135963901794</c:v>
                </c:pt>
                <c:pt idx="37">
                  <c:v>1.0152807980341876</c:v>
                </c:pt>
                <c:pt idx="38">
                  <c:v>1.106946635125779</c:v>
                </c:pt>
                <c:pt idx="39">
                  <c:v>1.1682124568080585</c:v>
                </c:pt>
                <c:pt idx="40">
                  <c:v>1.230493085696982</c:v>
                </c:pt>
                <c:pt idx="41">
                  <c:v>1.1562817367161327</c:v>
                </c:pt>
                <c:pt idx="42">
                  <c:v>1.0518636829998487</c:v>
                </c:pt>
                <c:pt idx="43">
                  <c:v>0.9553548368724536</c:v>
                </c:pt>
                <c:pt idx="44">
                  <c:v>0.8720627702657379</c:v>
                </c:pt>
                <c:pt idx="45">
                  <c:v>0.8800893621193301</c:v>
                </c:pt>
                <c:pt idx="46">
                  <c:v>0.9624205081098466</c:v>
                </c:pt>
                <c:pt idx="47">
                  <c:v>1.0392565247047767</c:v>
                </c:pt>
                <c:pt idx="48">
                  <c:v>1.0091775846048925</c:v>
                </c:pt>
                <c:pt idx="49">
                  <c:v>0.9400773628742859</c:v>
                </c:pt>
                <c:pt idx="50">
                  <c:v>0.9312630298317124</c:v>
                </c:pt>
                <c:pt idx="51">
                  <c:v>0.9122450049461154</c:v>
                </c:pt>
                <c:pt idx="52">
                  <c:v>0.8588904132750035</c:v>
                </c:pt>
                <c:pt idx="53">
                  <c:v>0.7898867550430563</c:v>
                </c:pt>
                <c:pt idx="54">
                  <c:v>0.7548007127398465</c:v>
                </c:pt>
                <c:pt idx="55">
                  <c:v>0.7797140804183412</c:v>
                </c:pt>
                <c:pt idx="56">
                  <c:v>0.7864266329475864</c:v>
                </c:pt>
                <c:pt idx="57">
                  <c:v>0.7555900732476253</c:v>
                </c:pt>
                <c:pt idx="58">
                  <c:v>0.7252854841718902</c:v>
                </c:pt>
                <c:pt idx="59">
                  <c:v>0.7049031254449378</c:v>
                </c:pt>
                <c:pt idx="60">
                  <c:v>0.746318780917525</c:v>
                </c:pt>
                <c:pt idx="61">
                  <c:v>0.9359313063104615</c:v>
                </c:pt>
                <c:pt idx="62">
                  <c:v>1.0344984090563052</c:v>
                </c:pt>
                <c:pt idx="63">
                  <c:v>1.0690899352574468</c:v>
                </c:pt>
                <c:pt idx="64">
                  <c:v>1.1757093196416335</c:v>
                </c:pt>
                <c:pt idx="65">
                  <c:v>0.9538719224695718</c:v>
                </c:pt>
                <c:pt idx="66">
                  <c:v>0.9404116621298559</c:v>
                </c:pt>
                <c:pt idx="67">
                  <c:v>0.9957106869102464</c:v>
                </c:pt>
                <c:pt idx="68">
                  <c:v>1.045375136681149</c:v>
                </c:pt>
                <c:pt idx="69">
                  <c:v>1.0567423871693336</c:v>
                </c:pt>
                <c:pt idx="70">
                  <c:v>0.8501720616573801</c:v>
                </c:pt>
                <c:pt idx="71">
                  <c:v>0.841510845710716</c:v>
                </c:pt>
                <c:pt idx="72">
                  <c:v>0.8262754686462983</c:v>
                </c:pt>
                <c:pt idx="73">
                  <c:v>0.7472870935784205</c:v>
                </c:pt>
                <c:pt idx="74">
                  <c:v>0.9099681006731051</c:v>
                </c:pt>
                <c:pt idx="75">
                  <c:v>0.8866797884238031</c:v>
                </c:pt>
                <c:pt idx="76">
                  <c:v>0.878659675969113</c:v>
                </c:pt>
                <c:pt idx="77">
                  <c:v>1.2492786781199294</c:v>
                </c:pt>
                <c:pt idx="78">
                  <c:v>0.850384631084024</c:v>
                </c:pt>
                <c:pt idx="79">
                  <c:v>1.0944118491670027</c:v>
                </c:pt>
                <c:pt idx="80">
                  <c:v>0.8646960237749457</c:v>
                </c:pt>
                <c:pt idx="81">
                  <c:v>1.0642965188048856</c:v>
                </c:pt>
                <c:pt idx="82">
                  <c:v>1.0988619466993763</c:v>
                </c:pt>
                <c:pt idx="83">
                  <c:v>1.0075868582263656</c:v>
                </c:pt>
                <c:pt idx="84">
                  <c:v>0.8956977017691572</c:v>
                </c:pt>
                <c:pt idx="85">
                  <c:v>0.8977397654441737</c:v>
                </c:pt>
                <c:pt idx="86">
                  <c:v>0.9590583930193487</c:v>
                </c:pt>
                <c:pt idx="87">
                  <c:v>1.002080126987653</c:v>
                </c:pt>
                <c:pt idx="88">
                  <c:v>0.9376749449149081</c:v>
                </c:pt>
                <c:pt idx="89">
                  <c:v>0.9597858119871719</c:v>
                </c:pt>
                <c:pt idx="90">
                  <c:v>0.9395301804979997</c:v>
                </c:pt>
                <c:pt idx="91">
                  <c:v>0.9159249386778218</c:v>
                </c:pt>
                <c:pt idx="92">
                  <c:v>0.8969997411139944</c:v>
                </c:pt>
                <c:pt idx="93">
                  <c:v>0.8506247663369262</c:v>
                </c:pt>
                <c:pt idx="94">
                  <c:v>0.9222383832197811</c:v>
                </c:pt>
                <c:pt idx="95">
                  <c:v>0.8515830255919856</c:v>
                </c:pt>
                <c:pt idx="96">
                  <c:v>0.8923028762139547</c:v>
                </c:pt>
                <c:pt idx="97">
                  <c:v>1.0631683626677901</c:v>
                </c:pt>
                <c:pt idx="98">
                  <c:v>0.9963045363470477</c:v>
                </c:pt>
                <c:pt idx="99">
                  <c:v>0.9158605232106161</c:v>
                </c:pt>
                <c:pt idx="100">
                  <c:v>0.9639456274895503</c:v>
                </c:pt>
                <c:pt idx="101">
                  <c:v>0.9237392670765457</c:v>
                </c:pt>
                <c:pt idx="102">
                  <c:v>0.9089860716491682</c:v>
                </c:pt>
                <c:pt idx="103">
                  <c:v>0.8356596056997536</c:v>
                </c:pt>
                <c:pt idx="104">
                  <c:v>0.7687006513174721</c:v>
                </c:pt>
              </c:numCache>
            </c:numRef>
          </c:xVal>
          <c:yVal>
            <c:numRef>
              <c:f>Sheet1!$B$2:$B$106</c:f>
              <c:numCache>
                <c:formatCode>General</c:formatCode>
                <c:ptCount val="105"/>
                <c:pt idx="0">
                  <c:v>0.25206611570247933</c:v>
                </c:pt>
                <c:pt idx="1">
                  <c:v>0.28012048192771083</c:v>
                </c:pt>
                <c:pt idx="2">
                  <c:v>0.25766871165644173</c:v>
                </c:pt>
                <c:pt idx="3">
                  <c:v>0.2902684563758389</c:v>
                </c:pt>
                <c:pt idx="4">
                  <c:v>0.3180952380952381</c:v>
                </c:pt>
                <c:pt idx="5">
                  <c:v>0.29971181556195964</c:v>
                </c:pt>
                <c:pt idx="6">
                  <c:v>0.3107638888888889</c:v>
                </c:pt>
                <c:pt idx="7">
                  <c:v>0.2915129151291513</c:v>
                </c:pt>
                <c:pt idx="8">
                  <c:v>0.2545454545454545</c:v>
                </c:pt>
                <c:pt idx="9">
                  <c:v>0.21635883905013192</c:v>
                </c:pt>
                <c:pt idx="10">
                  <c:v>0.2213225371120108</c:v>
                </c:pt>
                <c:pt idx="11">
                  <c:v>0.23097826086956522</c:v>
                </c:pt>
                <c:pt idx="12">
                  <c:v>0.208955223880597</c:v>
                </c:pt>
                <c:pt idx="13">
                  <c:v>0.1863270777479893</c:v>
                </c:pt>
                <c:pt idx="14">
                  <c:v>0.1856115107913669</c:v>
                </c:pt>
                <c:pt idx="15">
                  <c:v>0.19168173598553345</c:v>
                </c:pt>
                <c:pt idx="16">
                  <c:v>0.18052738336713997</c:v>
                </c:pt>
                <c:pt idx="17">
                  <c:v>0.21694214876033058</c:v>
                </c:pt>
                <c:pt idx="18">
                  <c:v>0.18857142857142858</c:v>
                </c:pt>
                <c:pt idx="19">
                  <c:v>0.1810810810810811</c:v>
                </c:pt>
                <c:pt idx="20">
                  <c:v>0.15544041450777202</c:v>
                </c:pt>
                <c:pt idx="21">
                  <c:v>0.17557251908396945</c:v>
                </c:pt>
                <c:pt idx="22">
                  <c:v>0.2043343653250774</c:v>
                </c:pt>
                <c:pt idx="23">
                  <c:v>0.21212121212121213</c:v>
                </c:pt>
                <c:pt idx="24">
                  <c:v>0.2222222222222222</c:v>
                </c:pt>
                <c:pt idx="25">
                  <c:v>0.19811320754716982</c:v>
                </c:pt>
                <c:pt idx="26">
                  <c:v>0.2</c:v>
                </c:pt>
                <c:pt idx="27">
                  <c:v>0.23017902813299232</c:v>
                </c:pt>
                <c:pt idx="28">
                  <c:v>0.24129353233830847</c:v>
                </c:pt>
                <c:pt idx="29">
                  <c:v>0.26339285714285715</c:v>
                </c:pt>
                <c:pt idx="30">
                  <c:v>0.185</c:v>
                </c:pt>
                <c:pt idx="31">
                  <c:v>0.2222222222222222</c:v>
                </c:pt>
                <c:pt idx="32">
                  <c:v>0.226890756302521</c:v>
                </c:pt>
                <c:pt idx="33">
                  <c:v>0.2603036876355748</c:v>
                </c:pt>
                <c:pt idx="34">
                  <c:v>0.2638623326959847</c:v>
                </c:pt>
                <c:pt idx="35">
                  <c:v>0.23087818696883852</c:v>
                </c:pt>
                <c:pt idx="36">
                  <c:v>0.2175732217573222</c:v>
                </c:pt>
                <c:pt idx="37">
                  <c:v>0.2007042253521127</c:v>
                </c:pt>
                <c:pt idx="38">
                  <c:v>0.18969072164948453</c:v>
                </c:pt>
                <c:pt idx="39">
                  <c:v>0.18352941176470589</c:v>
                </c:pt>
                <c:pt idx="40">
                  <c:v>0.14512471655328799</c:v>
                </c:pt>
                <c:pt idx="41">
                  <c:v>0.1860986547085202</c:v>
                </c:pt>
                <c:pt idx="42">
                  <c:v>0.20905923344947736</c:v>
                </c:pt>
                <c:pt idx="43">
                  <c:v>0.20903010033444816</c:v>
                </c:pt>
                <c:pt idx="44">
                  <c:v>0.20444444444444446</c:v>
                </c:pt>
                <c:pt idx="45">
                  <c:v>0.20454545454545456</c:v>
                </c:pt>
                <c:pt idx="46">
                  <c:v>0.18252933507170796</c:v>
                </c:pt>
                <c:pt idx="47">
                  <c:v>0.17503059975520197</c:v>
                </c:pt>
                <c:pt idx="48">
                  <c:v>0.20441988950276244</c:v>
                </c:pt>
                <c:pt idx="49">
                  <c:v>0.2655948553054662</c:v>
                </c:pt>
                <c:pt idx="50">
                  <c:v>0.2763938315539739</c:v>
                </c:pt>
                <c:pt idx="51">
                  <c:v>0.3055091819699499</c:v>
                </c:pt>
                <c:pt idx="52">
                  <c:v>0.31687898089171973</c:v>
                </c:pt>
                <c:pt idx="53">
                  <c:v>0.32068965517241377</c:v>
                </c:pt>
                <c:pt idx="54">
                  <c:v>0.3203125</c:v>
                </c:pt>
                <c:pt idx="55">
                  <c:v>0.3185053380782918</c:v>
                </c:pt>
                <c:pt idx="56">
                  <c:v>0.3414179104477612</c:v>
                </c:pt>
                <c:pt idx="57">
                  <c:v>0.34368932038834954</c:v>
                </c:pt>
                <c:pt idx="58">
                  <c:v>0.368705035971223</c:v>
                </c:pt>
                <c:pt idx="59">
                  <c:v>0.3772845953002611</c:v>
                </c:pt>
                <c:pt idx="60">
                  <c:v>0.35778443113772457</c:v>
                </c:pt>
                <c:pt idx="61">
                  <c:v>0.3393103448275862</c:v>
                </c:pt>
                <c:pt idx="62">
                  <c:v>0.3179419525065963</c:v>
                </c:pt>
                <c:pt idx="63">
                  <c:v>0.3053763440860215</c:v>
                </c:pt>
                <c:pt idx="64">
                  <c:v>0.23902894491129786</c:v>
                </c:pt>
                <c:pt idx="65">
                  <c:v>0.2456359102244389</c:v>
                </c:pt>
                <c:pt idx="66">
                  <c:v>0.24472049689440994</c:v>
                </c:pt>
                <c:pt idx="67">
                  <c:v>0.2720496894409938</c:v>
                </c:pt>
                <c:pt idx="68">
                  <c:v>0.25120772946859904</c:v>
                </c:pt>
                <c:pt idx="69">
                  <c:v>0.22682926829268293</c:v>
                </c:pt>
                <c:pt idx="70">
                  <c:v>0.23516483516483516</c:v>
                </c:pt>
                <c:pt idx="71">
                  <c:v>0.2623762376237624</c:v>
                </c:pt>
                <c:pt idx="72">
                  <c:v>0.2914438502673797</c:v>
                </c:pt>
                <c:pt idx="73">
                  <c:v>0.3053435114503817</c:v>
                </c:pt>
                <c:pt idx="74">
                  <c:v>0.29508196721311475</c:v>
                </c:pt>
                <c:pt idx="75">
                  <c:v>0.2198952879581152</c:v>
                </c:pt>
                <c:pt idx="76">
                  <c:v>0.24853801169590642</c:v>
                </c:pt>
                <c:pt idx="77">
                  <c:v>0.2016348773841962</c:v>
                </c:pt>
                <c:pt idx="78">
                  <c:v>0.2585034013605442</c:v>
                </c:pt>
                <c:pt idx="79">
                  <c:v>0.20634920634920634</c:v>
                </c:pt>
                <c:pt idx="80">
                  <c:v>0.23705722070844687</c:v>
                </c:pt>
                <c:pt idx="81">
                  <c:v>0.18333333333333332</c:v>
                </c:pt>
                <c:pt idx="82">
                  <c:v>0.2182890855457227</c:v>
                </c:pt>
                <c:pt idx="83">
                  <c:v>0.20905923344947736</c:v>
                </c:pt>
                <c:pt idx="84">
                  <c:v>0.24914675767918087</c:v>
                </c:pt>
                <c:pt idx="85">
                  <c:v>0.22142857142857142</c:v>
                </c:pt>
                <c:pt idx="86">
                  <c:v>0.20041753653444677</c:v>
                </c:pt>
                <c:pt idx="87">
                  <c:v>0.1916376306620209</c:v>
                </c:pt>
                <c:pt idx="88">
                  <c:v>0.2209737827715356</c:v>
                </c:pt>
                <c:pt idx="89">
                  <c:v>0.1937046004842615</c:v>
                </c:pt>
                <c:pt idx="90">
                  <c:v>0.23163841807909605</c:v>
                </c:pt>
                <c:pt idx="91">
                  <c:v>0.21575342465753425</c:v>
                </c:pt>
                <c:pt idx="92">
                  <c:v>0.24210526315789474</c:v>
                </c:pt>
                <c:pt idx="93">
                  <c:v>0.2345679012345679</c:v>
                </c:pt>
                <c:pt idx="94">
                  <c:v>0.20270270270270271</c:v>
                </c:pt>
                <c:pt idx="95">
                  <c:v>0.1946564885496183</c:v>
                </c:pt>
                <c:pt idx="96">
                  <c:v>0.21821036106750394</c:v>
                </c:pt>
                <c:pt idx="97">
                  <c:v>0.21486486486486486</c:v>
                </c:pt>
                <c:pt idx="98">
                  <c:v>0.26125137211855104</c:v>
                </c:pt>
                <c:pt idx="99">
                  <c:v>0.25635808748728384</c:v>
                </c:pt>
                <c:pt idx="100">
                  <c:v>0.2397034596375618</c:v>
                </c:pt>
                <c:pt idx="101">
                  <c:v>0.22572178477690288</c:v>
                </c:pt>
                <c:pt idx="102">
                  <c:v>0.26666666666666666</c:v>
                </c:pt>
                <c:pt idx="103">
                  <c:v>0.29431438127090304</c:v>
                </c:pt>
                <c:pt idx="104">
                  <c:v>0.302411873840445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09581483967582</c:v>
                </c:pt>
                <c:pt idx="1">
                  <c:v>0.783686395575341</c:v>
                </c:pt>
                <c:pt idx="2">
                  <c:v>0.7714666074275321</c:v>
                </c:pt>
                <c:pt idx="3">
                  <c:v>0.8002162417921611</c:v>
                </c:pt>
                <c:pt idx="4">
                  <c:v>0.7651363577706889</c:v>
                </c:pt>
                <c:pt idx="5">
                  <c:v>0.786653606531936</c:v>
                </c:pt>
                <c:pt idx="6">
                  <c:v>0.8428370924856066</c:v>
                </c:pt>
                <c:pt idx="7">
                  <c:v>0.9010869914383238</c:v>
                </c:pt>
                <c:pt idx="8">
                  <c:v>1.0033196514119949</c:v>
                </c:pt>
                <c:pt idx="9">
                  <c:v>0.862222215900532</c:v>
                </c:pt>
                <c:pt idx="10">
                  <c:v>0.9115006185485239</c:v>
                </c:pt>
                <c:pt idx="11">
                  <c:v>0.8561840268135462</c:v>
                </c:pt>
                <c:pt idx="12">
                  <c:v>0.8891273682758882</c:v>
                </c:pt>
                <c:pt idx="13">
                  <c:v>0.8224107683725261</c:v>
                </c:pt>
                <c:pt idx="14">
                  <c:v>0.7979617806240235</c:v>
                </c:pt>
                <c:pt idx="15">
                  <c:v>0.8139697234890508</c:v>
                </c:pt>
                <c:pt idx="16">
                  <c:v>0.8342859180233585</c:v>
                </c:pt>
                <c:pt idx="17">
                  <c:v>0.8634832173700835</c:v>
                </c:pt>
                <c:pt idx="18">
                  <c:v>1.2735218340644412</c:v>
                </c:pt>
                <c:pt idx="19">
                  <c:v>0.9950558774050994</c:v>
                </c:pt>
                <c:pt idx="20">
                  <c:v>0.9047324308914424</c:v>
                </c:pt>
                <c:pt idx="21">
                  <c:v>0.9707274332692315</c:v>
                </c:pt>
                <c:pt idx="22">
                  <c:v>0.8200396909345233</c:v>
                </c:pt>
                <c:pt idx="23">
                  <c:v>0.6931674233306008</c:v>
                </c:pt>
                <c:pt idx="24">
                  <c:v>0.6643267015684678</c:v>
                </c:pt>
                <c:pt idx="25">
                  <c:v>0.711659743765837</c:v>
                </c:pt>
                <c:pt idx="26">
                  <c:v>0.783842473355135</c:v>
                </c:pt>
                <c:pt idx="27">
                  <c:v>0.8745865789353282</c:v>
                </c:pt>
                <c:pt idx="28">
                  <c:v>0.9105752050852773</c:v>
                </c:pt>
                <c:pt idx="29">
                  <c:v>0.8466490636050167</c:v>
                </c:pt>
                <c:pt idx="30">
                  <c:v>0.9435887992171496</c:v>
                </c:pt>
                <c:pt idx="31">
                  <c:v>0.7983191494704994</c:v>
                </c:pt>
                <c:pt idx="32">
                  <c:v>0.8356047433628319</c:v>
                </c:pt>
                <c:pt idx="33">
                  <c:v>0.9035178408494601</c:v>
                </c:pt>
                <c:pt idx="34">
                  <c:v>0.8891252143111809</c:v>
                </c:pt>
                <c:pt idx="35">
                  <c:v>0.7552305272275142</c:v>
                </c:pt>
                <c:pt idx="36">
                  <c:v>0.7591097725864083</c:v>
                </c:pt>
                <c:pt idx="37">
                  <c:v>0.740537661005197</c:v>
                </c:pt>
                <c:pt idx="38">
                  <c:v>0.7402405955785338</c:v>
                </c:pt>
                <c:pt idx="39">
                  <c:v>0.7510809525648897</c:v>
                </c:pt>
                <c:pt idx="40">
                  <c:v>0.7925328890954225</c:v>
                </c:pt>
                <c:pt idx="41">
                  <c:v>0.7548236566907636</c:v>
                </c:pt>
                <c:pt idx="42">
                  <c:v>0.7794928684146857</c:v>
                </c:pt>
                <c:pt idx="43">
                  <c:v>1.0705667089676265</c:v>
                </c:pt>
                <c:pt idx="44">
                  <c:v>1.1493602297007572</c:v>
                </c:pt>
                <c:pt idx="45">
                  <c:v>1.0629095084598208</c:v>
                </c:pt>
                <c:pt idx="46">
                  <c:v>1.0468846859678649</c:v>
                </c:pt>
                <c:pt idx="47">
                  <c:v>0.9500076080783789</c:v>
                </c:pt>
                <c:pt idx="48">
                  <c:v>0.9317388963926282</c:v>
                </c:pt>
                <c:pt idx="49">
                  <c:v>0.9705555769013953</c:v>
                </c:pt>
                <c:pt idx="50">
                  <c:v>0.9739330727743345</c:v>
                </c:pt>
                <c:pt idx="51">
                  <c:v>0.95976266785614</c:v>
                </c:pt>
              </c:numCache>
            </c:numRef>
          </c:xVal>
          <c:yVal>
            <c:numRef>
              <c:f>Sheet1!$B$109:$B$160</c:f>
              <c:numCache>
                <c:formatCode>General</c:formatCode>
                <c:ptCount val="52"/>
                <c:pt idx="0">
                  <c:v>0.27425373134328357</c:v>
                </c:pt>
                <c:pt idx="1">
                  <c:v>0.3066132264529058</c:v>
                </c:pt>
                <c:pt idx="2">
                  <c:v>0.31684981684981683</c:v>
                </c:pt>
                <c:pt idx="3">
                  <c:v>0.3118081180811808</c:v>
                </c:pt>
                <c:pt idx="4">
                  <c:v>0.3101391650099404</c:v>
                </c:pt>
                <c:pt idx="5">
                  <c:v>0.3452914798206278</c:v>
                </c:pt>
                <c:pt idx="6">
                  <c:v>0.2936046511627907</c:v>
                </c:pt>
                <c:pt idx="7">
                  <c:v>0.2894736842105263</c:v>
                </c:pt>
                <c:pt idx="8">
                  <c:v>0.30376344086021506</c:v>
                </c:pt>
                <c:pt idx="9">
                  <c:v>0.3201058201058201</c:v>
                </c:pt>
                <c:pt idx="10">
                  <c:v>0.3034623217922607</c:v>
                </c:pt>
                <c:pt idx="11">
                  <c:v>0.2755417956656347</c:v>
                </c:pt>
                <c:pt idx="12">
                  <c:v>0.2815384615384615</c:v>
                </c:pt>
                <c:pt idx="13">
                  <c:v>0.28496503496503495</c:v>
                </c:pt>
                <c:pt idx="14">
                  <c:v>0.3326848249027237</c:v>
                </c:pt>
                <c:pt idx="15">
                  <c:v>0.31462925851703405</c:v>
                </c:pt>
                <c:pt idx="16">
                  <c:v>0.2966751918158568</c:v>
                </c:pt>
                <c:pt idx="17">
                  <c:v>0.25824175824175827</c:v>
                </c:pt>
                <c:pt idx="18">
                  <c:v>0.21364985163204747</c:v>
                </c:pt>
                <c:pt idx="19">
                  <c:v>0.2727272727272727</c:v>
                </c:pt>
                <c:pt idx="20">
                  <c:v>0.28222996515679444</c:v>
                </c:pt>
                <c:pt idx="21">
                  <c:v>0.3185840707964602</c:v>
                </c:pt>
                <c:pt idx="22">
                  <c:v>0.3222748815165877</c:v>
                </c:pt>
                <c:pt idx="23">
                  <c:v>0.34347826086956523</c:v>
                </c:pt>
                <c:pt idx="24">
                  <c:v>0.3877551020408163</c:v>
                </c:pt>
                <c:pt idx="25">
                  <c:v>0.3347826086956522</c:v>
                </c:pt>
                <c:pt idx="26">
                  <c:v>0.3008130081300813</c:v>
                </c:pt>
                <c:pt idx="27">
                  <c:v>0.2356902356902357</c:v>
                </c:pt>
                <c:pt idx="28">
                  <c:v>0.23825503355704697</c:v>
                </c:pt>
                <c:pt idx="29">
                  <c:v>0.2517241379310345</c:v>
                </c:pt>
                <c:pt idx="30">
                  <c:v>0.24012158054711247</c:v>
                </c:pt>
                <c:pt idx="31">
                  <c:v>0.27972027972027974</c:v>
                </c:pt>
                <c:pt idx="32">
                  <c:v>0.2517482517482518</c:v>
                </c:pt>
                <c:pt idx="33">
                  <c:v>0.2860576923076923</c:v>
                </c:pt>
                <c:pt idx="34">
                  <c:v>0.259927797833935</c:v>
                </c:pt>
                <c:pt idx="35">
                  <c:v>0.2824956672443674</c:v>
                </c:pt>
                <c:pt idx="36">
                  <c:v>0.3089171974522293</c:v>
                </c:pt>
                <c:pt idx="37">
                  <c:v>0.33513513513513515</c:v>
                </c:pt>
                <c:pt idx="38">
                  <c:v>0.2875536480686695</c:v>
                </c:pt>
                <c:pt idx="39">
                  <c:v>0.2882205513784461</c:v>
                </c:pt>
                <c:pt idx="40">
                  <c:v>0.248868778280543</c:v>
                </c:pt>
                <c:pt idx="41">
                  <c:v>0.3061630218687873</c:v>
                </c:pt>
                <c:pt idx="42">
                  <c:v>0.30327868852459017</c:v>
                </c:pt>
                <c:pt idx="43">
                  <c:v>0.19148936170212766</c:v>
                </c:pt>
                <c:pt idx="44">
                  <c:v>0.19343065693430658</c:v>
                </c:pt>
                <c:pt idx="45">
                  <c:v>0.24328593996840442</c:v>
                </c:pt>
                <c:pt idx="46">
                  <c:v>0.23089700996677742</c:v>
                </c:pt>
                <c:pt idx="47">
                  <c:v>0.24778761061946902</c:v>
                </c:pt>
                <c:pt idx="48">
                  <c:v>0.2170767004341534</c:v>
                </c:pt>
                <c:pt idx="49">
                  <c:v>0.23512747875354106</c:v>
                </c:pt>
                <c:pt idx="50">
                  <c:v>0.2313803376365442</c:v>
                </c:pt>
                <c:pt idx="51">
                  <c:v>0.229430379746835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301793815070201</c:v>
                </c:pt>
              </c:numCache>
            </c:numRef>
          </c:xVal>
          <c:yVal>
            <c:numRef>
              <c:f>Sheet1!$B$163:$B$164</c:f>
              <c:numCache>
                <c:formatCode>General</c:formatCode>
                <c:ptCount val="2"/>
                <c:pt idx="0">
                  <c:v>0.31670657890153053</c:v>
                </c:pt>
                <c:pt idx="1">
                  <c:v>0.3167065789015305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301793815070201</c:v>
                </c:pt>
                <c:pt idx="1">
                  <c:v>0.7301793815070201</c:v>
                </c:pt>
              </c:numCache>
            </c:numRef>
          </c:xVal>
          <c:yVal>
            <c:numRef>
              <c:f>Sheet1!$B$167:$B$168</c:f>
              <c:numCache>
                <c:formatCode>General</c:formatCode>
                <c:ptCount val="2"/>
                <c:pt idx="0">
                  <c:v>0.3167065789015305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725485275997619</c:v>
                </c:pt>
              </c:numCache>
            </c:numRef>
          </c:xVal>
          <c:yVal>
            <c:numRef>
              <c:f>Sheet1!$B$171:$B$172</c:f>
              <c:numCache>
                <c:formatCode>General</c:formatCode>
                <c:ptCount val="2"/>
                <c:pt idx="0">
                  <c:v>0.30575525708792084</c:v>
                </c:pt>
                <c:pt idx="1">
                  <c:v>0.305755257087920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725485275997619</c:v>
                </c:pt>
                <c:pt idx="1">
                  <c:v>0.7725485275997619</c:v>
                </c:pt>
              </c:numCache>
            </c:numRef>
          </c:xVal>
          <c:yVal>
            <c:numRef>
              <c:f>Sheet1!$B$175:$B$176</c:f>
              <c:numCache>
                <c:formatCode>General</c:formatCode>
                <c:ptCount val="2"/>
                <c:pt idx="0">
                  <c:v>0.305755257087920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131267763077627</c:v>
                </c:pt>
              </c:numCache>
            </c:numRef>
          </c:xVal>
          <c:yVal>
            <c:numRef>
              <c:f>Sheet1!$B$179:$B$180</c:f>
              <c:numCache>
                <c:formatCode>General</c:formatCode>
                <c:ptCount val="2"/>
                <c:pt idx="0">
                  <c:v>0.24357203967804048</c:v>
                </c:pt>
                <c:pt idx="1">
                  <c:v>0.2435720396780404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131267763077627</c:v>
                </c:pt>
                <c:pt idx="1">
                  <c:v>1.0131267763077627</c:v>
                </c:pt>
              </c:numCache>
            </c:numRef>
          </c:xVal>
          <c:yVal>
            <c:numRef>
              <c:f>Sheet1!$B$183:$B$184</c:f>
              <c:numCache>
                <c:formatCode>General</c:formatCode>
                <c:ptCount val="2"/>
                <c:pt idx="0">
                  <c:v>0.243572039678040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09581483967582</c:v>
                </c:pt>
                <c:pt idx="1">
                  <c:v>0.783686395575341</c:v>
                </c:pt>
                <c:pt idx="2">
                  <c:v>0.7714666074275321</c:v>
                </c:pt>
                <c:pt idx="3">
                  <c:v>0.8002162417921611</c:v>
                </c:pt>
                <c:pt idx="4">
                  <c:v>0.7651363577706889</c:v>
                </c:pt>
                <c:pt idx="5">
                  <c:v>0.786653606531936</c:v>
                </c:pt>
                <c:pt idx="6">
                  <c:v>0.8428370924856066</c:v>
                </c:pt>
                <c:pt idx="7">
                  <c:v>0.9010869914383238</c:v>
                </c:pt>
                <c:pt idx="8">
                  <c:v>1.0033196514119949</c:v>
                </c:pt>
                <c:pt idx="9">
                  <c:v>0.862222215900532</c:v>
                </c:pt>
                <c:pt idx="10">
                  <c:v>0.9115006185485239</c:v>
                </c:pt>
                <c:pt idx="11">
                  <c:v>0.8561840268135462</c:v>
                </c:pt>
                <c:pt idx="12">
                  <c:v>0.8891273682758882</c:v>
                </c:pt>
                <c:pt idx="13">
                  <c:v>0.8224107683725261</c:v>
                </c:pt>
                <c:pt idx="14">
                  <c:v>0.7979617806240235</c:v>
                </c:pt>
                <c:pt idx="15">
                  <c:v>0.8139697234890508</c:v>
                </c:pt>
                <c:pt idx="16">
                  <c:v>0.8342859180233585</c:v>
                </c:pt>
                <c:pt idx="17">
                  <c:v>0.8634832173700835</c:v>
                </c:pt>
                <c:pt idx="18">
                  <c:v>1.2735218340644412</c:v>
                </c:pt>
                <c:pt idx="19">
                  <c:v>0.9950558774050994</c:v>
                </c:pt>
                <c:pt idx="20">
                  <c:v>0.9047324308914424</c:v>
                </c:pt>
                <c:pt idx="21">
                  <c:v>0.9707274332692315</c:v>
                </c:pt>
                <c:pt idx="22">
                  <c:v>0.8200396909345233</c:v>
                </c:pt>
                <c:pt idx="23">
                  <c:v>0.6931674233306008</c:v>
                </c:pt>
                <c:pt idx="24">
                  <c:v>0.6643267015684678</c:v>
                </c:pt>
                <c:pt idx="25">
                  <c:v>0.711659743765837</c:v>
                </c:pt>
                <c:pt idx="26">
                  <c:v>0.783842473355135</c:v>
                </c:pt>
                <c:pt idx="27">
                  <c:v>0.8745865789353282</c:v>
                </c:pt>
                <c:pt idx="28">
                  <c:v>0.9105752050852773</c:v>
                </c:pt>
                <c:pt idx="29">
                  <c:v>0.8466490636050167</c:v>
                </c:pt>
                <c:pt idx="30">
                  <c:v>0.9435887992171496</c:v>
                </c:pt>
                <c:pt idx="31">
                  <c:v>0.7983191494704994</c:v>
                </c:pt>
                <c:pt idx="32">
                  <c:v>0.8356047433628319</c:v>
                </c:pt>
                <c:pt idx="33">
                  <c:v>0.9035178408494601</c:v>
                </c:pt>
                <c:pt idx="34">
                  <c:v>0.8891252143111809</c:v>
                </c:pt>
                <c:pt idx="35">
                  <c:v>0.7552305272275142</c:v>
                </c:pt>
                <c:pt idx="36">
                  <c:v>0.7591097725864083</c:v>
                </c:pt>
                <c:pt idx="37">
                  <c:v>0.740537661005197</c:v>
                </c:pt>
                <c:pt idx="38">
                  <c:v>0.7402405955785338</c:v>
                </c:pt>
                <c:pt idx="39">
                  <c:v>0.7510809525648897</c:v>
                </c:pt>
                <c:pt idx="40">
                  <c:v>0.7925328890954225</c:v>
                </c:pt>
                <c:pt idx="41">
                  <c:v>0.7548236566907636</c:v>
                </c:pt>
                <c:pt idx="42">
                  <c:v>0.7794928684146857</c:v>
                </c:pt>
                <c:pt idx="43">
                  <c:v>1.0705667089676265</c:v>
                </c:pt>
                <c:pt idx="44">
                  <c:v>1.1493602297007572</c:v>
                </c:pt>
                <c:pt idx="45">
                  <c:v>1.0629095084598208</c:v>
                </c:pt>
                <c:pt idx="46">
                  <c:v>1.0468846859678649</c:v>
                </c:pt>
                <c:pt idx="47">
                  <c:v>0.9500076080783789</c:v>
                </c:pt>
                <c:pt idx="48">
                  <c:v>0.9317388963926282</c:v>
                </c:pt>
                <c:pt idx="49">
                  <c:v>0.9705555769013953</c:v>
                </c:pt>
                <c:pt idx="50">
                  <c:v>0.9739330727743345</c:v>
                </c:pt>
                <c:pt idx="51">
                  <c:v>0.95976266785614</c:v>
                </c:pt>
                <c:pt idx="52">
                  <c:v>0.7725485275997619</c:v>
                </c:pt>
                <c:pt idx="53">
                  <c:v>0.7301793815070201</c:v>
                </c:pt>
                <c:pt idx="54">
                  <c:v>1.0131267763077627</c:v>
                </c:pt>
              </c:numCache>
            </c:numRef>
          </c:xVal>
          <c:yVal>
            <c:numRef>
              <c:f>Sheet1!$B$187:$B$241</c:f>
              <c:numCache>
                <c:formatCode>General</c:formatCode>
                <c:ptCount val="55"/>
                <c:pt idx="0">
                  <c:v>0.29618320146976806</c:v>
                </c:pt>
                <c:pt idx="1">
                  <c:v>0.3028764080251837</c:v>
                </c:pt>
                <c:pt idx="2">
                  <c:v>0.30603490530072147</c:v>
                </c:pt>
                <c:pt idx="3">
                  <c:v>0.29860387288714635</c:v>
                </c:pt>
                <c:pt idx="4">
                  <c:v>0.30767111012299564</c:v>
                </c:pt>
                <c:pt idx="5">
                  <c:v>0.30210946120016596</c:v>
                </c:pt>
                <c:pt idx="6">
                  <c:v>0.2875874919836452</c:v>
                </c:pt>
                <c:pt idx="7">
                  <c:v>0.2725314087752387</c:v>
                </c:pt>
                <c:pt idx="8">
                  <c:v>0.24610692628077557</c:v>
                </c:pt>
                <c:pt idx="9">
                  <c:v>0.282576941984627</c:v>
                </c:pt>
                <c:pt idx="10">
                  <c:v>0.269839757131349</c:v>
                </c:pt>
                <c:pt idx="11">
                  <c:v>0.28413765674905167</c:v>
                </c:pt>
                <c:pt idx="12">
                  <c:v>0.2756226601715884</c:v>
                </c:pt>
                <c:pt idx="13">
                  <c:v>0.29286716527094236</c:v>
                </c:pt>
                <c:pt idx="14">
                  <c:v>0.2991865924377014</c:v>
                </c:pt>
                <c:pt idx="15">
                  <c:v>0.2950489557361011</c:v>
                </c:pt>
                <c:pt idx="16">
                  <c:v>0.289797748079329</c:v>
                </c:pt>
                <c:pt idx="17">
                  <c:v>0.28225100591619023</c:v>
                </c:pt>
                <c:pt idx="18">
                  <c:v>0.17626669276534013</c:v>
                </c:pt>
                <c:pt idx="19">
                  <c:v>0.2482428968369525</c:v>
                </c:pt>
                <c:pt idx="20">
                  <c:v>0.27158915753147406</c:v>
                </c:pt>
                <c:pt idx="21">
                  <c:v>0.2545311666164078</c:v>
                </c:pt>
                <c:pt idx="22">
                  <c:v>0.2934800270928851</c:v>
                </c:pt>
                <c:pt idx="23">
                  <c:v>0.3262732070335822</c:v>
                </c:pt>
                <c:pt idx="24">
                  <c:v>0.33372778316930474</c:v>
                </c:pt>
                <c:pt idx="25">
                  <c:v>0.32149342337394987</c:v>
                </c:pt>
                <c:pt idx="26">
                  <c:v>0.3028360659802735</c:v>
                </c:pt>
                <c:pt idx="27">
                  <c:v>0.27938107586266264</c:v>
                </c:pt>
                <c:pt idx="28">
                  <c:v>0.27007895243220487</c:v>
                </c:pt>
                <c:pt idx="29">
                  <c:v>0.28660219663732245</c:v>
                </c:pt>
                <c:pt idx="30">
                  <c:v>0.2615457973676527</c:v>
                </c:pt>
                <c:pt idx="31">
                  <c:v>0.2990942218896768</c:v>
                </c:pt>
                <c:pt idx="32">
                  <c:v>0.2894568660451029</c:v>
                </c:pt>
                <c:pt idx="33">
                  <c:v>0.2719030974535164</c:v>
                </c:pt>
                <c:pt idx="34">
                  <c:v>0.2756232169154188</c:v>
                </c:pt>
                <c:pt idx="35">
                  <c:v>0.3102315095672501</c:v>
                </c:pt>
                <c:pt idx="36">
                  <c:v>0.30922882558050624</c:v>
                </c:pt>
                <c:pt idx="37">
                  <c:v>0.3140292331751959</c:v>
                </c:pt>
                <c:pt idx="38">
                  <c:v>0.3141060168583026</c:v>
                </c:pt>
                <c:pt idx="39">
                  <c:v>0.3113040666450002</c:v>
                </c:pt>
                <c:pt idx="40">
                  <c:v>0.3005898196372949</c:v>
                </c:pt>
                <c:pt idx="41">
                  <c:v>0.3103366750141694</c:v>
                </c:pt>
                <c:pt idx="42">
                  <c:v>0.3039603256800244</c:v>
                </c:pt>
                <c:pt idx="43">
                  <c:v>0.22872531168089544</c:v>
                </c:pt>
                <c:pt idx="44">
                  <c:v>0.20835923679028856</c:v>
                </c:pt>
                <c:pt idx="45">
                  <c:v>0.2307044987706886</c:v>
                </c:pt>
                <c:pt idx="46">
                  <c:v>0.23484649841663952</c:v>
                </c:pt>
                <c:pt idx="47">
                  <c:v>0.25988670229536814</c:v>
                </c:pt>
                <c:pt idx="48">
                  <c:v>0.2646086889115908</c:v>
                </c:pt>
                <c:pt idx="49">
                  <c:v>0.25457558701576566</c:v>
                </c:pt>
                <c:pt idx="50">
                  <c:v>0.25370259221554636</c:v>
                </c:pt>
                <c:pt idx="51">
                  <c:v>0.25736527317089586</c:v>
                </c:pt>
                <c:pt idx="52">
                  <c:v>0.30575525708792084</c:v>
                </c:pt>
                <c:pt idx="53">
                  <c:v>0.31670657890153053</c:v>
                </c:pt>
                <c:pt idx="54">
                  <c:v>0.243572039678040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30612244897956"/>
          <c:min val="0.116099773242630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34223134839151266</c:v>
                </c:pt>
                <c:pt idx="5">
                  <c:v>0.0002841716396703609</c:v>
                </c:pt>
                <c:pt idx="6">
                  <c:v>0.0</c:v>
                </c:pt>
                <c:pt idx="7">
                  <c:v>0.00025290844714213456</c:v>
                </c:pt>
                <c:pt idx="8">
                  <c:v>0.00023674242424242425</c:v>
                </c:pt>
                <c:pt idx="9">
                  <c:v>0.00021381227282446012</c:v>
                </c:pt>
                <c:pt idx="10">
                  <c:v>0.00020999580008399833</c:v>
                </c:pt>
                <c:pt idx="11">
                  <c:v>0.00023084025854108956</c:v>
                </c:pt>
                <c:pt idx="12">
                  <c:v>0.0002358490566037736</c:v>
                </c:pt>
                <c:pt idx="13">
                  <c:v>0.0005837711617046118</c:v>
                </c:pt>
                <c:pt idx="14">
                  <c:v>0.0003769317753486619</c:v>
                </c:pt>
                <c:pt idx="15">
                  <c:v>0.0007751937984496124</c:v>
                </c:pt>
                <c:pt idx="16">
                  <c:v>0.00041322314049586776</c:v>
                </c:pt>
                <c:pt idx="17">
                  <c:v>0.00048638132295719845</c:v>
                </c:pt>
                <c:pt idx="18">
                  <c:v>0.00045599635202918376</c:v>
                </c:pt>
                <c:pt idx="19">
                  <c:v>0.0016181229773462784</c:v>
                </c:pt>
                <c:pt idx="20">
                  <c:v>0.001017293997965412</c:v>
                </c:pt>
                <c:pt idx="21">
                  <c:v>0.0006045949214026602</c:v>
                </c:pt>
                <c:pt idx="22">
                  <c:v>0.002927400468384075</c:v>
                </c:pt>
                <c:pt idx="23">
                  <c:v>0.000723589001447178</c:v>
                </c:pt>
                <c:pt idx="24">
                  <c:v>0.0044609665427509295</c:v>
                </c:pt>
                <c:pt idx="25">
                  <c:v>0.000649772579597141</c:v>
                </c:pt>
                <c:pt idx="26">
                  <c:v>0.002126151665485471</c:v>
                </c:pt>
                <c:pt idx="27">
                  <c:v>0.0035335689045936395</c:v>
                </c:pt>
                <c:pt idx="28">
                  <c:v>0.0015151515151515152</c:v>
                </c:pt>
                <c:pt idx="29">
                  <c:v>0.002572898799313894</c:v>
                </c:pt>
                <c:pt idx="30">
                  <c:v>0.004280821917808219</c:v>
                </c:pt>
                <c:pt idx="31">
                  <c:v>0.0038669760247486465</c:v>
                </c:pt>
                <c:pt idx="32">
                  <c:v>0.0019342359767891683</c:v>
                </c:pt>
                <c:pt idx="33">
                  <c:v>0.001735106998264893</c:v>
                </c:pt>
                <c:pt idx="34">
                  <c:v>0.004882017900732303</c:v>
                </c:pt>
                <c:pt idx="35">
                  <c:v>0.0035335689045936395</c:v>
                </c:pt>
                <c:pt idx="36">
                  <c:v>0.0026431718061674008</c:v>
                </c:pt>
                <c:pt idx="37">
                  <c:v>0.007352941176470588</c:v>
                </c:pt>
                <c:pt idx="38">
                  <c:v>0.003604902667627974</c:v>
                </c:pt>
                <c:pt idx="39">
                  <c:v>0.0031520882584712374</c:v>
                </c:pt>
                <c:pt idx="40">
                  <c:v>0.00390625</c:v>
                </c:pt>
                <c:pt idx="41">
                  <c:v>0.0026652452025586353</c:v>
                </c:pt>
                <c:pt idx="42">
                  <c:v>0.0024330900243309003</c:v>
                </c:pt>
                <c:pt idx="43">
                  <c:v>0.004407227853680035</c:v>
                </c:pt>
                <c:pt idx="44">
                  <c:v>0.004929577464788733</c:v>
                </c:pt>
                <c:pt idx="45">
                  <c:v>0.0034791252485089465</c:v>
                </c:pt>
                <c:pt idx="46">
                  <c:v>0.0026258881680568426</c:v>
                </c:pt>
                <c:pt idx="47">
                  <c:v>0.0043997485857950975</c:v>
                </c:pt>
                <c:pt idx="48">
                  <c:v>0.0031859816806053365</c:v>
                </c:pt>
                <c:pt idx="49">
                  <c:v>0.002996005326231691</c:v>
                </c:pt>
                <c:pt idx="50">
                  <c:v>0.0026061057334326137</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18228217280349982</c:v>
                </c:pt>
                <c:pt idx="1">
                  <c:v>0.0034482758620689655</c:v>
                </c:pt>
                <c:pt idx="2">
                  <c:v>0.0028011204481792717</c:v>
                </c:pt>
                <c:pt idx="3">
                  <c:v>0.0027845457709711106</c:v>
                </c:pt>
                <c:pt idx="4">
                  <c:v>0.0018999366687777073</c:v>
                </c:pt>
                <c:pt idx="5">
                  <c:v>0.0019474196689386564</c:v>
                </c:pt>
                <c:pt idx="6">
                  <c:v>0.0022701475595913734</c:v>
                </c:pt>
                <c:pt idx="7">
                  <c:v>0.002482073910645339</c:v>
                </c:pt>
                <c:pt idx="8">
                  <c:v>0.003195739014647137</c:v>
                </c:pt>
                <c:pt idx="9">
                  <c:v>0.002796550920531345</c:v>
                </c:pt>
                <c:pt idx="10">
                  <c:v>0.002509410288582183</c:v>
                </c:pt>
                <c:pt idx="11">
                  <c:v>0.002725938351855735</c:v>
                </c:pt>
                <c:pt idx="12">
                  <c:v>0.0027039206849932404</c:v>
                </c:pt>
                <c:pt idx="13">
                  <c:v>0.003934942287513116</c:v>
                </c:pt>
                <c:pt idx="14">
                  <c:v>0.004476275738585497</c:v>
                </c:pt>
                <c:pt idx="15">
                  <c:v>0.004731328151402501</c:v>
                </c:pt>
                <c:pt idx="16">
                  <c:v>0.0028157683024939663</c:v>
                </c:pt>
                <c:pt idx="17">
                  <c:v>0.0035072336694432268</c:v>
                </c:pt>
                <c:pt idx="18">
                  <c:v>0.0027149321266968325</c:v>
                </c:pt>
                <c:pt idx="19">
                  <c:v>0.002802690582959641</c:v>
                </c:pt>
                <c:pt idx="20">
                  <c:v>0.003543586109142452</c:v>
                </c:pt>
                <c:pt idx="21">
                  <c:v>0.003973509933774834</c:v>
                </c:pt>
                <c:pt idx="22">
                  <c:v>0.0030248033877797943</c:v>
                </c:pt>
                <c:pt idx="23">
                  <c:v>0.0030175015087507543</c:v>
                </c:pt>
                <c:pt idx="24">
                  <c:v>0.003105590062111801</c:v>
                </c:pt>
                <c:pt idx="25">
                  <c:v>0.003201024327784891</c:v>
                </c:pt>
                <c:pt idx="26">
                  <c:v>0.003465003465003465</c:v>
                </c:pt>
                <c:pt idx="27">
                  <c:v>0.003943217665615142</c:v>
                </c:pt>
                <c:pt idx="28">
                  <c:v>0.0038580246913580245</c:v>
                </c:pt>
                <c:pt idx="29">
                  <c:v>0.0050933786078098476</c:v>
                </c:pt>
                <c:pt idx="30">
                  <c:v>0.0035056967572304996</c:v>
                </c:pt>
                <c:pt idx="31">
                  <c:v>0.0041753653444676405</c:v>
                </c:pt>
                <c:pt idx="32">
                  <c:v>0.004642525533890436</c:v>
                </c:pt>
                <c:pt idx="33">
                  <c:v>0.004029550033579583</c:v>
                </c:pt>
                <c:pt idx="34">
                  <c:v>0.0033802816901408453</c:v>
                </c:pt>
                <c:pt idx="35">
                  <c:v>0.0032959789057350032</c:v>
                </c:pt>
                <c:pt idx="36">
                  <c:v>0.005434782608695652</c:v>
                </c:pt>
                <c:pt idx="37">
                  <c:v>0.005763688760806916</c:v>
                </c:pt>
                <c:pt idx="38">
                  <c:v>0.00546448087431694</c:v>
                </c:pt>
                <c:pt idx="39">
                  <c:v>0.004720692368214005</c:v>
                </c:pt>
                <c:pt idx="40">
                  <c:v>0.003417634996582365</c:v>
                </c:pt>
                <c:pt idx="41">
                  <c:v>0.00425531914893617</c:v>
                </c:pt>
                <c:pt idx="42">
                  <c:v>0.003787878787878788</c:v>
                </c:pt>
                <c:pt idx="43">
                  <c:v>0.0038674033149171273</c:v>
                </c:pt>
                <c:pt idx="44">
                  <c:v>0.0022346368715083797</c:v>
                </c:pt>
                <c:pt idx="45">
                  <c:v>0.002216312056737589</c:v>
                </c:pt>
                <c:pt idx="46">
                  <c:v>0.002306805074971165</c:v>
                </c:pt>
                <c:pt idx="47">
                  <c:v>0.0021451555237754737</c:v>
                </c:pt>
                <c:pt idx="48">
                  <c:v>0.0020942408376963353</c:v>
                </c:pt>
                <c:pt idx="49">
                  <c:v>0.001737403822288409</c:v>
                </c:pt>
                <c:pt idx="50">
                  <c:v>0.0014671361502347417</c:v>
                </c:pt>
                <c:pt idx="51">
                  <c:v>0.001969796454366382</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491.3539367717603</c:v>
                </c:pt>
              </c:numCache>
            </c:numRef>
          </c:xVal>
          <c:yVal>
            <c:numRef>
              <c:f>Sheet1!$B$109:$B$110</c:f>
              <c:numCache>
                <c:formatCode>General</c:formatCode>
                <c:ptCount val="2"/>
                <c:pt idx="0">
                  <c:v>0.0038165457443067106</c:v>
                </c:pt>
                <c:pt idx="1">
                  <c:v>0.0038165457443067106</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491.3539367717603</c:v>
                </c:pt>
                <c:pt idx="1">
                  <c:v>3491.3539367717603</c:v>
                </c:pt>
              </c:numCache>
            </c:numRef>
          </c:xVal>
          <c:yVal>
            <c:numRef>
              <c:f>Sheet1!$B$113:$B$114</c:f>
              <c:numCache>
                <c:formatCode>General</c:formatCode>
                <c:ptCount val="2"/>
                <c:pt idx="0">
                  <c:v>0.00381654574430671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556.841749683943</c:v>
                </c:pt>
              </c:numCache>
            </c:numRef>
          </c:xVal>
          <c:yVal>
            <c:numRef>
              <c:f>Sheet1!$B$117:$B$118</c:f>
              <c:numCache>
                <c:formatCode>General</c:formatCode>
                <c:ptCount val="2"/>
                <c:pt idx="0">
                  <c:v>0.003762366868698121</c:v>
                </c:pt>
                <c:pt idx="1">
                  <c:v>0.003762366868698121</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556.841749683943</c:v>
                </c:pt>
                <c:pt idx="1">
                  <c:v>3556.841749683943</c:v>
                </c:pt>
              </c:numCache>
            </c:numRef>
          </c:xVal>
          <c:yVal>
            <c:numRef>
              <c:f>Sheet1!$B$121:$B$122</c:f>
              <c:numCache>
                <c:formatCode>General</c:formatCode>
                <c:ptCount val="2"/>
                <c:pt idx="0">
                  <c:v>0.00376236686869812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736.784346062649</c:v>
                </c:pt>
              </c:numCache>
            </c:numRef>
          </c:xVal>
          <c:yVal>
            <c:numRef>
              <c:f>Sheet1!$B$125:$B$126</c:f>
              <c:numCache>
                <c:formatCode>General</c:formatCode>
                <c:ptCount val="2"/>
                <c:pt idx="0">
                  <c:v>0.00278618580062361</c:v>
                </c:pt>
                <c:pt idx="1">
                  <c:v>0.00278618580062361</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736.784346062649</c:v>
                </c:pt>
                <c:pt idx="1">
                  <c:v>4736.784346062649</c:v>
                </c:pt>
              </c:numCache>
            </c:numRef>
          </c:xVal>
          <c:yVal>
            <c:numRef>
              <c:f>Sheet1!$B$129:$B$130</c:f>
              <c:numCache>
                <c:formatCode>General</c:formatCode>
                <c:ptCount val="2"/>
                <c:pt idx="0">
                  <c:v>0.0027861858006236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556.841749683943</c:v>
                </c:pt>
                <c:pt idx="53">
                  <c:v>3491.3539367717603</c:v>
                </c:pt>
                <c:pt idx="54">
                  <c:v>4736.784346062649</c:v>
                </c:pt>
              </c:numCache>
            </c:numRef>
          </c:xVal>
          <c:yVal>
            <c:numRef>
              <c:f>Sheet1!$B$133:$B$187</c:f>
              <c:numCache>
                <c:formatCode>General</c:formatCode>
                <c:ptCount val="55"/>
                <c:pt idx="0">
                  <c:v>0.0019540621004029467</c:v>
                </c:pt>
                <c:pt idx="1">
                  <c:v>0.004482721578584393</c:v>
                </c:pt>
                <c:pt idx="2">
                  <c:v>0.0036698872065338214</c:v>
                </c:pt>
                <c:pt idx="3">
                  <c:v>0.003898742482023378</c:v>
                </c:pt>
                <c:pt idx="4">
                  <c:v>0.0024345375567921407</c:v>
                </c:pt>
                <c:pt idx="5">
                  <c:v>0.002705482347475664</c:v>
                </c:pt>
                <c:pt idx="6">
                  <c:v>0.0032594368728609564</c:v>
                </c:pt>
                <c:pt idx="7">
                  <c:v>0.0033371812333466673</c:v>
                </c:pt>
                <c:pt idx="8">
                  <c:v>0.003321209555006085</c:v>
                </c:pt>
                <c:pt idx="9">
                  <c:v>0.0034519938195223007</c:v>
                </c:pt>
                <c:pt idx="10">
                  <c:v>0.003009878106113827</c:v>
                </c:pt>
                <c:pt idx="11">
                  <c:v>0.003391090890838075</c:v>
                </c:pt>
                <c:pt idx="12">
                  <c:v>0.00361338864054322</c:v>
                </c:pt>
                <c:pt idx="13">
                  <c:v>0.003682483036879338</c:v>
                </c:pt>
                <c:pt idx="14">
                  <c:v>0.003955661570875367</c:v>
                </c:pt>
                <c:pt idx="15">
                  <c:v>0.003910443077687982</c:v>
                </c:pt>
                <c:pt idx="16">
                  <c:v>0.0023488318869469595</c:v>
                </c:pt>
                <c:pt idx="17">
                  <c:v>0.00298642380133252</c:v>
                </c:pt>
                <c:pt idx="18">
                  <c:v>0.0026255087938953075</c:v>
                </c:pt>
                <c:pt idx="19">
                  <c:v>0.00297579283778967</c:v>
                </c:pt>
                <c:pt idx="20">
                  <c:v>0.003153664990452136</c:v>
                </c:pt>
                <c:pt idx="21">
                  <c:v>0.003668335995900137</c:v>
                </c:pt>
                <c:pt idx="22">
                  <c:v>0.0024992609311218538</c:v>
                </c:pt>
                <c:pt idx="23">
                  <c:v>0.0035789035321661254</c:v>
                </c:pt>
                <c:pt idx="24">
                  <c:v>0.003122558046544654</c:v>
                </c:pt>
                <c:pt idx="25">
                  <c:v>0.003522811755652101</c:v>
                </c:pt>
                <c:pt idx="26">
                  <c:v>0.0029873752105211795</c:v>
                </c:pt>
                <c:pt idx="27">
                  <c:v>0.003199994481378174</c:v>
                </c:pt>
                <c:pt idx="28">
                  <c:v>0.0036151398125689902</c:v>
                </c:pt>
                <c:pt idx="29">
                  <c:v>0.003763752657968351</c:v>
                </c:pt>
                <c:pt idx="30">
                  <c:v>0.003716320111502105</c:v>
                </c:pt>
                <c:pt idx="31">
                  <c:v>0.0033347222956157676</c:v>
                </c:pt>
                <c:pt idx="32">
                  <c:v>0.0037969830644536883</c:v>
                </c:pt>
                <c:pt idx="33">
                  <c:v>0.003222276732770286</c:v>
                </c:pt>
                <c:pt idx="34">
                  <c:v>0.0028476421566388985</c:v>
                </c:pt>
                <c:pt idx="35">
                  <c:v>0.003311847109471037</c:v>
                </c:pt>
                <c:pt idx="36">
                  <c:v>0.0035184545497617408</c:v>
                </c:pt>
                <c:pt idx="37">
                  <c:v>0.003531140060764693</c:v>
                </c:pt>
                <c:pt idx="38">
                  <c:v>0.003294528732106715</c:v>
                </c:pt>
                <c:pt idx="39">
                  <c:v>0.00329039217041689</c:v>
                </c:pt>
                <c:pt idx="40">
                  <c:v>0.003083839829127894</c:v>
                </c:pt>
                <c:pt idx="41">
                  <c:v>0.0043661739529735795</c:v>
                </c:pt>
                <c:pt idx="42">
                  <c:v>0.0035435497458341674</c:v>
                </c:pt>
                <c:pt idx="43">
                  <c:v>0.0035593080603227886</c:v>
                </c:pt>
                <c:pt idx="44">
                  <c:v>0.0019775164051842537</c:v>
                </c:pt>
                <c:pt idx="45">
                  <c:v>0.0028555016238495656</c:v>
                </c:pt>
                <c:pt idx="46">
                  <c:v>0.0033993215730947868</c:v>
                </c:pt>
                <c:pt idx="47">
                  <c:v>0.0027552589179890667</c:v>
                </c:pt>
                <c:pt idx="48">
                  <c:v>0.0032265512074268494</c:v>
                </c:pt>
                <c:pt idx="49">
                  <c:v>0.00346759453101054</c:v>
                </c:pt>
                <c:pt idx="50">
                  <c:v>0.003288682364008018</c:v>
                </c:pt>
                <c:pt idx="51">
                  <c:v>0.0029953174089656434</c:v>
                </c:pt>
                <c:pt idx="52">
                  <c:v>0.003762366868698121</c:v>
                </c:pt>
                <c:pt idx="53">
                  <c:v>0.0038165457443067106</c:v>
                </c:pt>
                <c:pt idx="54">
                  <c:v>0.0027861858006236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82352941176470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1.1257</c:v>
                </c:pt>
                <c:pt idx="1">
                  <c:v>983.586</c:v>
                </c:pt>
                <c:pt idx="2">
                  <c:v>1030.3988</c:v>
                </c:pt>
                <c:pt idx="3">
                  <c:v>1050.6012</c:v>
                </c:pt>
                <c:pt idx="4">
                  <c:v>979.3234</c:v>
                </c:pt>
                <c:pt idx="5">
                  <c:v>989.5673</c:v>
                </c:pt>
                <c:pt idx="6">
                  <c:v>975.5196</c:v>
                </c:pt>
                <c:pt idx="7">
                  <c:v>988.1772</c:v>
                </c:pt>
                <c:pt idx="8">
                  <c:v>1005.85</c:v>
                </c:pt>
                <c:pt idx="9">
                  <c:v>1068.8171</c:v>
                </c:pt>
                <c:pt idx="10">
                  <c:v>1092.3354</c:v>
                </c:pt>
                <c:pt idx="11">
                  <c:v>1091.7471</c:v>
                </c:pt>
                <c:pt idx="12">
                  <c:v>1100.7857</c:v>
                </c:pt>
                <c:pt idx="13">
                  <c:v>1099.741</c:v>
                </c:pt>
                <c:pt idx="14">
                  <c:v>1137.7364</c:v>
                </c:pt>
                <c:pt idx="15">
                  <c:v>1102.7453</c:v>
                </c:pt>
                <c:pt idx="16">
                  <c:v>1170.1461</c:v>
                </c:pt>
                <c:pt idx="17">
                  <c:v>1256.8952</c:v>
                </c:pt>
                <c:pt idx="18">
                  <c:v>1269.6818</c:v>
                </c:pt>
                <c:pt idx="19">
                  <c:v>1103.6269</c:v>
                </c:pt>
                <c:pt idx="20">
                  <c:v>1354.4167</c:v>
                </c:pt>
                <c:pt idx="21">
                  <c:v>1318.029</c:v>
                </c:pt>
                <c:pt idx="22">
                  <c:v>1341.6364</c:v>
                </c:pt>
                <c:pt idx="23">
                  <c:v>1319.2468</c:v>
                </c:pt>
                <c:pt idx="24">
                  <c:v>1282.3158</c:v>
                </c:pt>
                <c:pt idx="25">
                  <c:v>1266.8889</c:v>
                </c:pt>
                <c:pt idx="26">
                  <c:v>1329.9213</c:v>
                </c:pt>
                <c:pt idx="27">
                  <c:v>1269.0</c:v>
                </c:pt>
                <c:pt idx="28">
                  <c:v>1309.5979</c:v>
                </c:pt>
                <c:pt idx="29">
                  <c:v>1259.4492</c:v>
                </c:pt>
                <c:pt idx="30">
                  <c:v>1295.9324</c:v>
                </c:pt>
                <c:pt idx="31">
                  <c:v>1161.5513</c:v>
                </c:pt>
                <c:pt idx="32">
                  <c:v>1185.2593</c:v>
                </c:pt>
                <c:pt idx="33">
                  <c:v>1189.3417</c:v>
                </c:pt>
                <c:pt idx="34">
                  <c:v>1192.0217</c:v>
                </c:pt>
                <c:pt idx="35">
                  <c:v>1158.7853</c:v>
                </c:pt>
                <c:pt idx="36">
                  <c:v>1241.4679</c:v>
                </c:pt>
                <c:pt idx="37">
                  <c:v>1272.8684</c:v>
                </c:pt>
                <c:pt idx="38">
                  <c:v>1348.9348</c:v>
                </c:pt>
                <c:pt idx="39">
                  <c:v>1380.8846</c:v>
                </c:pt>
                <c:pt idx="40">
                  <c:v>1462.8594</c:v>
                </c:pt>
                <c:pt idx="41">
                  <c:v>1434.4578</c:v>
                </c:pt>
                <c:pt idx="42">
                  <c:v>1429.35</c:v>
                </c:pt>
                <c:pt idx="43">
                  <c:v>1449.288</c:v>
                </c:pt>
                <c:pt idx="44">
                  <c:v>1277.9493</c:v>
                </c:pt>
                <c:pt idx="45">
                  <c:v>1215.4321</c:v>
                </c:pt>
                <c:pt idx="46">
                  <c:v>1230.45</c:v>
                </c:pt>
                <c:pt idx="47">
                  <c:v>1279.6853</c:v>
                </c:pt>
                <c:pt idx="48">
                  <c:v>1257.5045</c:v>
                </c:pt>
                <c:pt idx="49">
                  <c:v>1210.414</c:v>
                </c:pt>
                <c:pt idx="50">
                  <c:v>1193.6652</c:v>
                </c:pt>
                <c:pt idx="51">
                  <c:v>1256.3825</c:v>
                </c:pt>
                <c:pt idx="52">
                  <c:v>1194.2915</c:v>
                </c:pt>
                <c:pt idx="53">
                  <c:v>1210.7742</c:v>
                </c:pt>
                <c:pt idx="54">
                  <c:v>1207.3171</c:v>
                </c:pt>
                <c:pt idx="55">
                  <c:v>1206.0279</c:v>
                </c:pt>
                <c:pt idx="56">
                  <c:v>1211.0492</c:v>
                </c:pt>
                <c:pt idx="57">
                  <c:v>1156.8588</c:v>
                </c:pt>
                <c:pt idx="58">
                  <c:v>1146.0146</c:v>
                </c:pt>
                <c:pt idx="59">
                  <c:v>1099.5848</c:v>
                </c:pt>
                <c:pt idx="60">
                  <c:v>1121.3933</c:v>
                </c:pt>
                <c:pt idx="61">
                  <c:v>1166.8089</c:v>
                </c:pt>
                <c:pt idx="62">
                  <c:v>1173.3942</c:v>
                </c:pt>
                <c:pt idx="63">
                  <c:v>1174.8627</c:v>
                </c:pt>
                <c:pt idx="64">
                  <c:v>1152.3555</c:v>
                </c:pt>
                <c:pt idx="65">
                  <c:v>1109.6497</c:v>
                </c:pt>
                <c:pt idx="66">
                  <c:v>1130.4619</c:v>
                </c:pt>
                <c:pt idx="67">
                  <c:v>1154.4201</c:v>
                </c:pt>
                <c:pt idx="68">
                  <c:v>1200.3013</c:v>
                </c:pt>
                <c:pt idx="69">
                  <c:v>1205.6022</c:v>
                </c:pt>
                <c:pt idx="70">
                  <c:v>1037.5794</c:v>
                </c:pt>
                <c:pt idx="71">
                  <c:v>1188.3302</c:v>
                </c:pt>
                <c:pt idx="72">
                  <c:v>1253.3119</c:v>
                </c:pt>
                <c:pt idx="73">
                  <c:v>1118.6417</c:v>
                </c:pt>
                <c:pt idx="74">
                  <c:v>1243.7444</c:v>
                </c:pt>
                <c:pt idx="75">
                  <c:v>1205.4167</c:v>
                </c:pt>
                <c:pt idx="76">
                  <c:v>1298.8118</c:v>
                </c:pt>
                <c:pt idx="77">
                  <c:v>1266.0405</c:v>
                </c:pt>
                <c:pt idx="78">
                  <c:v>1256.25</c:v>
                </c:pt>
                <c:pt idx="79">
                  <c:v>1299.5692</c:v>
                </c:pt>
                <c:pt idx="80">
                  <c:v>1135.7931</c:v>
                </c:pt>
                <c:pt idx="81">
                  <c:v>1392.5758</c:v>
                </c:pt>
                <c:pt idx="82">
                  <c:v>1494.4595</c:v>
                </c:pt>
                <c:pt idx="83">
                  <c:v>1314.2833</c:v>
                </c:pt>
                <c:pt idx="84">
                  <c:v>1235.3151</c:v>
                </c:pt>
                <c:pt idx="85">
                  <c:v>1271.5323</c:v>
                </c:pt>
                <c:pt idx="86">
                  <c:v>1331.7083</c:v>
                </c:pt>
                <c:pt idx="87">
                  <c:v>1454.3727</c:v>
                </c:pt>
                <c:pt idx="88">
                  <c:v>1416.0</c:v>
                </c:pt>
                <c:pt idx="89">
                  <c:v>1432.5</c:v>
                </c:pt>
                <c:pt idx="90">
                  <c:v>1519.5</c:v>
                </c:pt>
                <c:pt idx="91">
                  <c:v>1471.1111</c:v>
                </c:pt>
                <c:pt idx="92">
                  <c:v>1381.087</c:v>
                </c:pt>
                <c:pt idx="93">
                  <c:v>1357.4105</c:v>
                </c:pt>
                <c:pt idx="94">
                  <c:v>1505.9</c:v>
                </c:pt>
                <c:pt idx="95">
                  <c:v>1384.7549</c:v>
                </c:pt>
                <c:pt idx="96">
                  <c:v>1299.777</c:v>
                </c:pt>
                <c:pt idx="97">
                  <c:v>1356.7925</c:v>
                </c:pt>
                <c:pt idx="98">
                  <c:v>1300.9916</c:v>
                </c:pt>
                <c:pt idx="99">
                  <c:v>1209.4365</c:v>
                </c:pt>
                <c:pt idx="100">
                  <c:v>1284.646</c:v>
                </c:pt>
                <c:pt idx="101">
                  <c:v>1324.3721</c:v>
                </c:pt>
                <c:pt idx="102">
                  <c:v>1290.4758</c:v>
                </c:pt>
                <c:pt idx="103">
                  <c:v>1152.0227</c:v>
                </c:pt>
                <c:pt idx="104">
                  <c:v>1166.9939</c:v>
                </c:pt>
              </c:numCache>
            </c:numRef>
          </c:xVal>
          <c:yVal>
            <c:numRef>
              <c:f>Sheet1!$B$2:$B$106</c:f>
              <c:numCache>
                <c:formatCode>General</c:formatCode>
                <c:ptCount val="105"/>
                <c:pt idx="0">
                  <c:v>0.25206611570247933</c:v>
                </c:pt>
                <c:pt idx="1">
                  <c:v>0.28012048192771083</c:v>
                </c:pt>
                <c:pt idx="2">
                  <c:v>0.25766871165644173</c:v>
                </c:pt>
                <c:pt idx="3">
                  <c:v>0.2902684563758389</c:v>
                </c:pt>
                <c:pt idx="4">
                  <c:v>0.3180952380952381</c:v>
                </c:pt>
                <c:pt idx="5">
                  <c:v>0.29971181556195964</c:v>
                </c:pt>
                <c:pt idx="6">
                  <c:v>0.3107638888888889</c:v>
                </c:pt>
                <c:pt idx="7">
                  <c:v>0.2915129151291513</c:v>
                </c:pt>
                <c:pt idx="8">
                  <c:v>0.2545454545454545</c:v>
                </c:pt>
                <c:pt idx="9">
                  <c:v>0.21635883905013192</c:v>
                </c:pt>
                <c:pt idx="10">
                  <c:v>0.2213225371120108</c:v>
                </c:pt>
                <c:pt idx="11">
                  <c:v>0.23097826086956522</c:v>
                </c:pt>
                <c:pt idx="12">
                  <c:v>0.208955223880597</c:v>
                </c:pt>
                <c:pt idx="13">
                  <c:v>0.1863270777479893</c:v>
                </c:pt>
                <c:pt idx="14">
                  <c:v>0.1856115107913669</c:v>
                </c:pt>
                <c:pt idx="15">
                  <c:v>0.19168173598553345</c:v>
                </c:pt>
                <c:pt idx="16">
                  <c:v>0.18052738336713997</c:v>
                </c:pt>
                <c:pt idx="17">
                  <c:v>0.21694214876033058</c:v>
                </c:pt>
                <c:pt idx="18">
                  <c:v>0.18857142857142858</c:v>
                </c:pt>
                <c:pt idx="19">
                  <c:v>0.1810810810810811</c:v>
                </c:pt>
                <c:pt idx="20">
                  <c:v>0.15544041450777202</c:v>
                </c:pt>
                <c:pt idx="21">
                  <c:v>0.17557251908396945</c:v>
                </c:pt>
                <c:pt idx="22">
                  <c:v>0.2043343653250774</c:v>
                </c:pt>
                <c:pt idx="23">
                  <c:v>0.21212121212121213</c:v>
                </c:pt>
                <c:pt idx="24">
                  <c:v>0.2222222222222222</c:v>
                </c:pt>
                <c:pt idx="25">
                  <c:v>0.19811320754716982</c:v>
                </c:pt>
                <c:pt idx="26">
                  <c:v>0.2</c:v>
                </c:pt>
                <c:pt idx="27">
                  <c:v>0.23017902813299232</c:v>
                </c:pt>
                <c:pt idx="28">
                  <c:v>0.24129353233830847</c:v>
                </c:pt>
                <c:pt idx="29">
                  <c:v>0.26339285714285715</c:v>
                </c:pt>
                <c:pt idx="30">
                  <c:v>0.185</c:v>
                </c:pt>
                <c:pt idx="31">
                  <c:v>0.2222222222222222</c:v>
                </c:pt>
                <c:pt idx="32">
                  <c:v>0.226890756302521</c:v>
                </c:pt>
                <c:pt idx="33">
                  <c:v>0.2603036876355748</c:v>
                </c:pt>
                <c:pt idx="34">
                  <c:v>0.2638623326959847</c:v>
                </c:pt>
                <c:pt idx="35">
                  <c:v>0.23087818696883852</c:v>
                </c:pt>
                <c:pt idx="36">
                  <c:v>0.2175732217573222</c:v>
                </c:pt>
                <c:pt idx="37">
                  <c:v>0.2007042253521127</c:v>
                </c:pt>
                <c:pt idx="38">
                  <c:v>0.18969072164948453</c:v>
                </c:pt>
                <c:pt idx="39">
                  <c:v>0.18352941176470589</c:v>
                </c:pt>
                <c:pt idx="40">
                  <c:v>0.14512471655328799</c:v>
                </c:pt>
                <c:pt idx="41">
                  <c:v>0.1860986547085202</c:v>
                </c:pt>
                <c:pt idx="42">
                  <c:v>0.20905923344947736</c:v>
                </c:pt>
                <c:pt idx="43">
                  <c:v>0.20903010033444816</c:v>
                </c:pt>
                <c:pt idx="44">
                  <c:v>0.20444444444444446</c:v>
                </c:pt>
                <c:pt idx="45">
                  <c:v>0.20454545454545456</c:v>
                </c:pt>
                <c:pt idx="46">
                  <c:v>0.18252933507170796</c:v>
                </c:pt>
                <c:pt idx="47">
                  <c:v>0.17503059975520197</c:v>
                </c:pt>
                <c:pt idx="48">
                  <c:v>0.20441988950276244</c:v>
                </c:pt>
                <c:pt idx="49">
                  <c:v>0.2655948553054662</c:v>
                </c:pt>
                <c:pt idx="50">
                  <c:v>0.2763938315539739</c:v>
                </c:pt>
                <c:pt idx="51">
                  <c:v>0.3055091819699499</c:v>
                </c:pt>
                <c:pt idx="52">
                  <c:v>0.31687898089171973</c:v>
                </c:pt>
                <c:pt idx="53">
                  <c:v>0.32068965517241377</c:v>
                </c:pt>
                <c:pt idx="54">
                  <c:v>0.3203125</c:v>
                </c:pt>
                <c:pt idx="55">
                  <c:v>0.3185053380782918</c:v>
                </c:pt>
                <c:pt idx="56">
                  <c:v>0.3414179104477612</c:v>
                </c:pt>
                <c:pt idx="57">
                  <c:v>0.34368932038834954</c:v>
                </c:pt>
                <c:pt idx="58">
                  <c:v>0.368705035971223</c:v>
                </c:pt>
                <c:pt idx="59">
                  <c:v>0.3772845953002611</c:v>
                </c:pt>
                <c:pt idx="60">
                  <c:v>0.35778443113772457</c:v>
                </c:pt>
                <c:pt idx="61">
                  <c:v>0.3393103448275862</c:v>
                </c:pt>
                <c:pt idx="62">
                  <c:v>0.3179419525065963</c:v>
                </c:pt>
                <c:pt idx="63">
                  <c:v>0.3053763440860215</c:v>
                </c:pt>
                <c:pt idx="64">
                  <c:v>0.23902894491129786</c:v>
                </c:pt>
                <c:pt idx="65">
                  <c:v>0.2456359102244389</c:v>
                </c:pt>
                <c:pt idx="66">
                  <c:v>0.24472049689440994</c:v>
                </c:pt>
                <c:pt idx="67">
                  <c:v>0.2720496894409938</c:v>
                </c:pt>
                <c:pt idx="68">
                  <c:v>0.25120772946859904</c:v>
                </c:pt>
                <c:pt idx="69">
                  <c:v>0.22682926829268293</c:v>
                </c:pt>
                <c:pt idx="70">
                  <c:v>0.23516483516483516</c:v>
                </c:pt>
                <c:pt idx="71">
                  <c:v>0.2623762376237624</c:v>
                </c:pt>
                <c:pt idx="72">
                  <c:v>0.2914438502673797</c:v>
                </c:pt>
                <c:pt idx="73">
                  <c:v>0.3053435114503817</c:v>
                </c:pt>
                <c:pt idx="74">
                  <c:v>0.29508196721311475</c:v>
                </c:pt>
                <c:pt idx="75">
                  <c:v>0.2198952879581152</c:v>
                </c:pt>
                <c:pt idx="76">
                  <c:v>0.24853801169590642</c:v>
                </c:pt>
                <c:pt idx="77">
                  <c:v>0.2016348773841962</c:v>
                </c:pt>
                <c:pt idx="78">
                  <c:v>0.2585034013605442</c:v>
                </c:pt>
                <c:pt idx="79">
                  <c:v>0.20634920634920634</c:v>
                </c:pt>
                <c:pt idx="80">
                  <c:v>0.23705722070844687</c:v>
                </c:pt>
                <c:pt idx="81">
                  <c:v>0.18333333333333332</c:v>
                </c:pt>
                <c:pt idx="82">
                  <c:v>0.2182890855457227</c:v>
                </c:pt>
                <c:pt idx="83">
                  <c:v>0.20905923344947736</c:v>
                </c:pt>
                <c:pt idx="84">
                  <c:v>0.24914675767918087</c:v>
                </c:pt>
                <c:pt idx="85">
                  <c:v>0.22142857142857142</c:v>
                </c:pt>
                <c:pt idx="86">
                  <c:v>0.20041753653444677</c:v>
                </c:pt>
                <c:pt idx="87">
                  <c:v>0.1916376306620209</c:v>
                </c:pt>
                <c:pt idx="88">
                  <c:v>0.2209737827715356</c:v>
                </c:pt>
                <c:pt idx="89">
                  <c:v>0.1937046004842615</c:v>
                </c:pt>
                <c:pt idx="90">
                  <c:v>0.23163841807909605</c:v>
                </c:pt>
                <c:pt idx="91">
                  <c:v>0.21575342465753425</c:v>
                </c:pt>
                <c:pt idx="92">
                  <c:v>0.24210526315789474</c:v>
                </c:pt>
                <c:pt idx="93">
                  <c:v>0.2345679012345679</c:v>
                </c:pt>
                <c:pt idx="94">
                  <c:v>0.20270270270270271</c:v>
                </c:pt>
                <c:pt idx="95">
                  <c:v>0.1946564885496183</c:v>
                </c:pt>
                <c:pt idx="96">
                  <c:v>0.21821036106750394</c:v>
                </c:pt>
                <c:pt idx="97">
                  <c:v>0.21486486486486486</c:v>
                </c:pt>
                <c:pt idx="98">
                  <c:v>0.26125137211855104</c:v>
                </c:pt>
                <c:pt idx="99">
                  <c:v>0.25635808748728384</c:v>
                </c:pt>
                <c:pt idx="100">
                  <c:v>0.2397034596375618</c:v>
                </c:pt>
                <c:pt idx="101">
                  <c:v>0.22572178477690288</c:v>
                </c:pt>
                <c:pt idx="102">
                  <c:v>0.26666666666666666</c:v>
                </c:pt>
                <c:pt idx="103">
                  <c:v>0.29431438127090304</c:v>
                </c:pt>
                <c:pt idx="104">
                  <c:v>0.302411873840445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9.4626</c:v>
                </c:pt>
                <c:pt idx="1">
                  <c:v>1240.2222</c:v>
                </c:pt>
                <c:pt idx="2">
                  <c:v>1190.1214</c:v>
                </c:pt>
                <c:pt idx="3">
                  <c:v>1348.929</c:v>
                </c:pt>
                <c:pt idx="4">
                  <c:v>1321.0321</c:v>
                </c:pt>
                <c:pt idx="5">
                  <c:v>1380.7857</c:v>
                </c:pt>
                <c:pt idx="6">
                  <c:v>1324.6139</c:v>
                </c:pt>
                <c:pt idx="7">
                  <c:v>1360.4697</c:v>
                </c:pt>
                <c:pt idx="8">
                  <c:v>1406.6991</c:v>
                </c:pt>
                <c:pt idx="9">
                  <c:v>1272.9835</c:v>
                </c:pt>
                <c:pt idx="10">
                  <c:v>1351.4497</c:v>
                </c:pt>
                <c:pt idx="11">
                  <c:v>1219.382</c:v>
                </c:pt>
                <c:pt idx="12">
                  <c:v>1206.9399</c:v>
                </c:pt>
                <c:pt idx="13">
                  <c:v>1201.4969</c:v>
                </c:pt>
                <c:pt idx="14">
                  <c:v>1191.4503</c:v>
                </c:pt>
                <c:pt idx="15">
                  <c:v>1252.9427</c:v>
                </c:pt>
                <c:pt idx="16">
                  <c:v>1268.25</c:v>
                </c:pt>
                <c:pt idx="17">
                  <c:v>1154.5426</c:v>
                </c:pt>
                <c:pt idx="18">
                  <c:v>1345.6806</c:v>
                </c:pt>
                <c:pt idx="19">
                  <c:v>1498.2626</c:v>
                </c:pt>
                <c:pt idx="20">
                  <c:v>1435.4074</c:v>
                </c:pt>
                <c:pt idx="21">
                  <c:v>1441.6111</c:v>
                </c:pt>
                <c:pt idx="22">
                  <c:v>1222.9853</c:v>
                </c:pt>
                <c:pt idx="23">
                  <c:v>1159.3038</c:v>
                </c:pt>
                <c:pt idx="24">
                  <c:v>1005.9684</c:v>
                </c:pt>
                <c:pt idx="25">
                  <c:v>1126.9221</c:v>
                </c:pt>
                <c:pt idx="26">
                  <c:v>1184.2568</c:v>
                </c:pt>
                <c:pt idx="27">
                  <c:v>1223.3857</c:v>
                </c:pt>
                <c:pt idx="28">
                  <c:v>1328.6761</c:v>
                </c:pt>
                <c:pt idx="29">
                  <c:v>1283.0274</c:v>
                </c:pt>
                <c:pt idx="30">
                  <c:v>1403.962</c:v>
                </c:pt>
                <c:pt idx="31">
                  <c:v>1166.6375</c:v>
                </c:pt>
                <c:pt idx="32">
                  <c:v>1180.2917</c:v>
                </c:pt>
                <c:pt idx="33">
                  <c:v>1305.1261</c:v>
                </c:pt>
                <c:pt idx="34">
                  <c:v>1319.9792</c:v>
                </c:pt>
                <c:pt idx="35">
                  <c:v>1148.0982</c:v>
                </c:pt>
                <c:pt idx="36">
                  <c:v>1237.7423</c:v>
                </c:pt>
                <c:pt idx="37">
                  <c:v>1258.3387</c:v>
                </c:pt>
                <c:pt idx="38">
                  <c:v>1239.9104</c:v>
                </c:pt>
                <c:pt idx="39">
                  <c:v>1127.7826</c:v>
                </c:pt>
                <c:pt idx="40">
                  <c:v>1136.3545</c:v>
                </c:pt>
                <c:pt idx="41">
                  <c:v>1125.5325</c:v>
                </c:pt>
                <c:pt idx="42">
                  <c:v>1182.0901</c:v>
                </c:pt>
                <c:pt idx="43">
                  <c:v>1512.1728</c:v>
                </c:pt>
                <c:pt idx="44">
                  <c:v>1448.8396</c:v>
                </c:pt>
                <c:pt idx="45">
                  <c:v>1373.3182</c:v>
                </c:pt>
                <c:pt idx="46">
                  <c:v>1347.9928</c:v>
                </c:pt>
                <c:pt idx="47">
                  <c:v>1207.4762</c:v>
                </c:pt>
                <c:pt idx="48">
                  <c:v>1096.0067</c:v>
                </c:pt>
                <c:pt idx="49">
                  <c:v>1154.3855</c:v>
                </c:pt>
                <c:pt idx="50">
                  <c:v>1180.5408</c:v>
                </c:pt>
                <c:pt idx="51">
                  <c:v>1096.4966</c:v>
                </c:pt>
              </c:numCache>
            </c:numRef>
          </c:xVal>
          <c:yVal>
            <c:numRef>
              <c:f>Sheet1!$B$109:$B$160</c:f>
              <c:numCache>
                <c:formatCode>General</c:formatCode>
                <c:ptCount val="52"/>
                <c:pt idx="0">
                  <c:v>0.27425373134328357</c:v>
                </c:pt>
                <c:pt idx="1">
                  <c:v>0.3066132264529058</c:v>
                </c:pt>
                <c:pt idx="2">
                  <c:v>0.31684981684981683</c:v>
                </c:pt>
                <c:pt idx="3">
                  <c:v>0.3118081180811808</c:v>
                </c:pt>
                <c:pt idx="4">
                  <c:v>0.3101391650099404</c:v>
                </c:pt>
                <c:pt idx="5">
                  <c:v>0.3452914798206278</c:v>
                </c:pt>
                <c:pt idx="6">
                  <c:v>0.2936046511627907</c:v>
                </c:pt>
                <c:pt idx="7">
                  <c:v>0.2894736842105263</c:v>
                </c:pt>
                <c:pt idx="8">
                  <c:v>0.30376344086021506</c:v>
                </c:pt>
                <c:pt idx="9">
                  <c:v>0.3201058201058201</c:v>
                </c:pt>
                <c:pt idx="10">
                  <c:v>0.3034623217922607</c:v>
                </c:pt>
                <c:pt idx="11">
                  <c:v>0.2755417956656347</c:v>
                </c:pt>
                <c:pt idx="12">
                  <c:v>0.2815384615384615</c:v>
                </c:pt>
                <c:pt idx="13">
                  <c:v>0.28496503496503495</c:v>
                </c:pt>
                <c:pt idx="14">
                  <c:v>0.3326848249027237</c:v>
                </c:pt>
                <c:pt idx="15">
                  <c:v>0.31462925851703405</c:v>
                </c:pt>
                <c:pt idx="16">
                  <c:v>0.2966751918158568</c:v>
                </c:pt>
                <c:pt idx="17">
                  <c:v>0.25824175824175827</c:v>
                </c:pt>
                <c:pt idx="18">
                  <c:v>0.21364985163204747</c:v>
                </c:pt>
                <c:pt idx="19">
                  <c:v>0.2727272727272727</c:v>
                </c:pt>
                <c:pt idx="20">
                  <c:v>0.28222996515679444</c:v>
                </c:pt>
                <c:pt idx="21">
                  <c:v>0.3185840707964602</c:v>
                </c:pt>
                <c:pt idx="22">
                  <c:v>0.3222748815165877</c:v>
                </c:pt>
                <c:pt idx="23">
                  <c:v>0.34347826086956523</c:v>
                </c:pt>
                <c:pt idx="24">
                  <c:v>0.3877551020408163</c:v>
                </c:pt>
                <c:pt idx="25">
                  <c:v>0.3347826086956522</c:v>
                </c:pt>
                <c:pt idx="26">
                  <c:v>0.3008130081300813</c:v>
                </c:pt>
                <c:pt idx="27">
                  <c:v>0.2356902356902357</c:v>
                </c:pt>
                <c:pt idx="28">
                  <c:v>0.23825503355704697</c:v>
                </c:pt>
                <c:pt idx="29">
                  <c:v>0.2517241379310345</c:v>
                </c:pt>
                <c:pt idx="30">
                  <c:v>0.24012158054711247</c:v>
                </c:pt>
                <c:pt idx="31">
                  <c:v>0.27972027972027974</c:v>
                </c:pt>
                <c:pt idx="32">
                  <c:v>0.2517482517482518</c:v>
                </c:pt>
                <c:pt idx="33">
                  <c:v>0.2860576923076923</c:v>
                </c:pt>
                <c:pt idx="34">
                  <c:v>0.259927797833935</c:v>
                </c:pt>
                <c:pt idx="35">
                  <c:v>0.2824956672443674</c:v>
                </c:pt>
                <c:pt idx="36">
                  <c:v>0.3089171974522293</c:v>
                </c:pt>
                <c:pt idx="37">
                  <c:v>0.33513513513513515</c:v>
                </c:pt>
                <c:pt idx="38">
                  <c:v>0.2875536480686695</c:v>
                </c:pt>
                <c:pt idx="39">
                  <c:v>0.2882205513784461</c:v>
                </c:pt>
                <c:pt idx="40">
                  <c:v>0.248868778280543</c:v>
                </c:pt>
                <c:pt idx="41">
                  <c:v>0.3061630218687873</c:v>
                </c:pt>
                <c:pt idx="42">
                  <c:v>0.30327868852459017</c:v>
                </c:pt>
                <c:pt idx="43">
                  <c:v>0.19148936170212766</c:v>
                </c:pt>
                <c:pt idx="44">
                  <c:v>0.19343065693430658</c:v>
                </c:pt>
                <c:pt idx="45">
                  <c:v>0.24328593996840442</c:v>
                </c:pt>
                <c:pt idx="46">
                  <c:v>0.23089700996677742</c:v>
                </c:pt>
                <c:pt idx="47">
                  <c:v>0.24778761061946902</c:v>
                </c:pt>
                <c:pt idx="48">
                  <c:v>0.2170767004341534</c:v>
                </c:pt>
                <c:pt idx="49">
                  <c:v>0.23512747875354106</c:v>
                </c:pt>
                <c:pt idx="50">
                  <c:v>0.2313803376365442</c:v>
                </c:pt>
                <c:pt idx="51">
                  <c:v>0.229430379746835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2.500629865947</c:v>
                </c:pt>
              </c:numCache>
            </c:numRef>
          </c:xVal>
          <c:yVal>
            <c:numRef>
              <c:f>Sheet1!$B$163:$B$164</c:f>
              <c:numCache>
                <c:formatCode>General</c:formatCode>
                <c:ptCount val="2"/>
                <c:pt idx="0">
                  <c:v>0.31670657890153053</c:v>
                </c:pt>
                <c:pt idx="1">
                  <c:v>0.3167065789015305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2.500629865947</c:v>
                </c:pt>
                <c:pt idx="1">
                  <c:v>852.500629865947</c:v>
                </c:pt>
              </c:numCache>
            </c:numRef>
          </c:xVal>
          <c:yVal>
            <c:numRef>
              <c:f>Sheet1!$B$167:$B$168</c:f>
              <c:numCache>
                <c:formatCode>General</c:formatCode>
                <c:ptCount val="2"/>
                <c:pt idx="0">
                  <c:v>0.3167065789015305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7.3305990463386</c:v>
                </c:pt>
              </c:numCache>
            </c:numRef>
          </c:xVal>
          <c:yVal>
            <c:numRef>
              <c:f>Sheet1!$B$171:$B$172</c:f>
              <c:numCache>
                <c:formatCode>General</c:formatCode>
                <c:ptCount val="2"/>
                <c:pt idx="0">
                  <c:v>0.30575525708792084</c:v>
                </c:pt>
                <c:pt idx="1">
                  <c:v>0.305755257087920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7.3305990463386</c:v>
                </c:pt>
                <c:pt idx="1">
                  <c:v>977.3305990463386</c:v>
                </c:pt>
              </c:numCache>
            </c:numRef>
          </c:xVal>
          <c:yVal>
            <c:numRef>
              <c:f>Sheet1!$B$175:$B$176</c:f>
              <c:numCache>
                <c:formatCode>General</c:formatCode>
                <c:ptCount val="2"/>
                <c:pt idx="0">
                  <c:v>0.305755257087920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686.1335403649266</c:v>
                </c:pt>
              </c:numCache>
            </c:numRef>
          </c:xVal>
          <c:yVal>
            <c:numRef>
              <c:f>Sheet1!$B$179:$B$180</c:f>
              <c:numCache>
                <c:formatCode>General</c:formatCode>
                <c:ptCount val="2"/>
                <c:pt idx="0">
                  <c:v>0.24357203967804048</c:v>
                </c:pt>
                <c:pt idx="1">
                  <c:v>0.2435720396780404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686.1335403649266</c:v>
                </c:pt>
                <c:pt idx="1">
                  <c:v>1686.1335403649266</c:v>
                </c:pt>
              </c:numCache>
            </c:numRef>
          </c:xVal>
          <c:yVal>
            <c:numRef>
              <c:f>Sheet1!$B$183:$B$184</c:f>
              <c:numCache>
                <c:formatCode>General</c:formatCode>
                <c:ptCount val="2"/>
                <c:pt idx="0">
                  <c:v>0.243572039678040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9.4626</c:v>
                </c:pt>
                <c:pt idx="1">
                  <c:v>1240.2222</c:v>
                </c:pt>
                <c:pt idx="2">
                  <c:v>1190.1214</c:v>
                </c:pt>
                <c:pt idx="3">
                  <c:v>1348.929</c:v>
                </c:pt>
                <c:pt idx="4">
                  <c:v>1321.0321</c:v>
                </c:pt>
                <c:pt idx="5">
                  <c:v>1380.7857</c:v>
                </c:pt>
                <c:pt idx="6">
                  <c:v>1324.6139</c:v>
                </c:pt>
                <c:pt idx="7">
                  <c:v>1360.4697</c:v>
                </c:pt>
                <c:pt idx="8">
                  <c:v>1406.6991</c:v>
                </c:pt>
                <c:pt idx="9">
                  <c:v>1272.9835</c:v>
                </c:pt>
                <c:pt idx="10">
                  <c:v>1351.4497</c:v>
                </c:pt>
                <c:pt idx="11">
                  <c:v>1219.382</c:v>
                </c:pt>
                <c:pt idx="12">
                  <c:v>1206.9399</c:v>
                </c:pt>
                <c:pt idx="13">
                  <c:v>1201.4969</c:v>
                </c:pt>
                <c:pt idx="14">
                  <c:v>1191.4503</c:v>
                </c:pt>
                <c:pt idx="15">
                  <c:v>1252.9427</c:v>
                </c:pt>
                <c:pt idx="16">
                  <c:v>1268.25</c:v>
                </c:pt>
                <c:pt idx="17">
                  <c:v>1154.5426</c:v>
                </c:pt>
                <c:pt idx="18">
                  <c:v>1345.6806</c:v>
                </c:pt>
                <c:pt idx="19">
                  <c:v>1498.2626</c:v>
                </c:pt>
                <c:pt idx="20">
                  <c:v>1435.4074</c:v>
                </c:pt>
                <c:pt idx="21">
                  <c:v>1441.6111</c:v>
                </c:pt>
                <c:pt idx="22">
                  <c:v>1222.9853</c:v>
                </c:pt>
                <c:pt idx="23">
                  <c:v>1159.3038</c:v>
                </c:pt>
                <c:pt idx="24">
                  <c:v>1005.9684</c:v>
                </c:pt>
                <c:pt idx="25">
                  <c:v>1126.9221</c:v>
                </c:pt>
                <c:pt idx="26">
                  <c:v>1184.2568</c:v>
                </c:pt>
                <c:pt idx="27">
                  <c:v>1223.3857</c:v>
                </c:pt>
                <c:pt idx="28">
                  <c:v>1328.6761</c:v>
                </c:pt>
                <c:pt idx="29">
                  <c:v>1283.0274</c:v>
                </c:pt>
                <c:pt idx="30">
                  <c:v>1403.962</c:v>
                </c:pt>
                <c:pt idx="31">
                  <c:v>1166.6375</c:v>
                </c:pt>
                <c:pt idx="32">
                  <c:v>1180.2917</c:v>
                </c:pt>
                <c:pt idx="33">
                  <c:v>1305.1261</c:v>
                </c:pt>
                <c:pt idx="34">
                  <c:v>1319.9792</c:v>
                </c:pt>
                <c:pt idx="35">
                  <c:v>1148.0982</c:v>
                </c:pt>
                <c:pt idx="36">
                  <c:v>1237.7423</c:v>
                </c:pt>
                <c:pt idx="37">
                  <c:v>1258.3387</c:v>
                </c:pt>
                <c:pt idx="38">
                  <c:v>1239.9104</c:v>
                </c:pt>
                <c:pt idx="39">
                  <c:v>1127.7826</c:v>
                </c:pt>
                <c:pt idx="40">
                  <c:v>1136.3545</c:v>
                </c:pt>
                <c:pt idx="41">
                  <c:v>1125.5325</c:v>
                </c:pt>
                <c:pt idx="42">
                  <c:v>1182.0901</c:v>
                </c:pt>
                <c:pt idx="43">
                  <c:v>1512.1728</c:v>
                </c:pt>
                <c:pt idx="44">
                  <c:v>1448.8396</c:v>
                </c:pt>
                <c:pt idx="45">
                  <c:v>1373.3182</c:v>
                </c:pt>
                <c:pt idx="46">
                  <c:v>1347.9928</c:v>
                </c:pt>
                <c:pt idx="47">
                  <c:v>1207.4762</c:v>
                </c:pt>
                <c:pt idx="48">
                  <c:v>1096.0067</c:v>
                </c:pt>
                <c:pt idx="49">
                  <c:v>1154.3855</c:v>
                </c:pt>
                <c:pt idx="50">
                  <c:v>1180.5408</c:v>
                </c:pt>
                <c:pt idx="51">
                  <c:v>1096.4966</c:v>
                </c:pt>
                <c:pt idx="52">
                  <c:v>977.3305990463386</c:v>
                </c:pt>
                <c:pt idx="53">
                  <c:v>852.500629865947</c:v>
                </c:pt>
                <c:pt idx="54">
                  <c:v>1686.1335403649266</c:v>
                </c:pt>
              </c:numCache>
            </c:numRef>
          </c:xVal>
          <c:yVal>
            <c:numRef>
              <c:f>Sheet1!$B$187:$B$241</c:f>
              <c:numCache>
                <c:formatCode>General</c:formatCode>
                <c:ptCount val="55"/>
                <c:pt idx="0">
                  <c:v>0.28539033781114814</c:v>
                </c:pt>
                <c:pt idx="1">
                  <c:v>0.28269180090795376</c:v>
                </c:pt>
                <c:pt idx="2">
                  <c:v>0.2870871395235262</c:v>
                </c:pt>
                <c:pt idx="3">
                  <c:v>0.27315496325635313</c:v>
                </c:pt>
                <c:pt idx="4">
                  <c:v>0.27560235574958203</c:v>
                </c:pt>
                <c:pt idx="5">
                  <c:v>0.27036017787019745</c:v>
                </c:pt>
                <c:pt idx="6">
                  <c:v>0.27528812476218745</c:v>
                </c:pt>
                <c:pt idx="7">
                  <c:v>0.27214249869768864</c:v>
                </c:pt>
                <c:pt idx="8">
                  <c:v>0.26808679765110366</c:v>
                </c:pt>
                <c:pt idx="9">
                  <c:v>0.27981765504628375</c:v>
                </c:pt>
                <c:pt idx="10">
                  <c:v>0.2729338224752025</c:v>
                </c:pt>
                <c:pt idx="11">
                  <c:v>0.2845201097536459</c:v>
                </c:pt>
                <c:pt idx="12">
                  <c:v>0.28561165405211647</c:v>
                </c:pt>
                <c:pt idx="13">
                  <c:v>0.28608916794579803</c:v>
                </c:pt>
                <c:pt idx="14">
                  <c:v>0.2869705552477016</c:v>
                </c:pt>
                <c:pt idx="15">
                  <c:v>0.281575832602869</c:v>
                </c:pt>
                <c:pt idx="16">
                  <c:v>0.2802329245696609</c:v>
                </c:pt>
                <c:pt idx="17">
                  <c:v>0.29020846440328324</c:v>
                </c:pt>
                <c:pt idx="18">
                  <c:v>0.27343994509214864</c:v>
                </c:pt>
                <c:pt idx="19">
                  <c:v>0.2600539401452959</c:v>
                </c:pt>
                <c:pt idx="20">
                  <c:v>0.265568221109862</c:v>
                </c:pt>
                <c:pt idx="21">
                  <c:v>0.2650239710745447</c:v>
                </c:pt>
                <c:pt idx="22">
                  <c:v>0.2842039925732118</c:v>
                </c:pt>
                <c:pt idx="23">
                  <c:v>0.28979076476143195</c:v>
                </c:pt>
                <c:pt idx="24">
                  <c:v>0.30324286542158607</c:v>
                </c:pt>
                <c:pt idx="25">
                  <c:v>0.2926316083497156</c:v>
                </c:pt>
                <c:pt idx="26">
                  <c:v>0.2876016403467643</c:v>
                </c:pt>
                <c:pt idx="27">
                  <c:v>0.28416886551772214</c:v>
                </c:pt>
                <c:pt idx="28">
                  <c:v>0.27493174832659806</c:v>
                </c:pt>
                <c:pt idx="29">
                  <c:v>0.27893650461513403</c:v>
                </c:pt>
                <c:pt idx="30">
                  <c:v>0.26832692318452195</c:v>
                </c:pt>
                <c:pt idx="31">
                  <c:v>0.2891473799291533</c:v>
                </c:pt>
                <c:pt idx="32">
                  <c:v>0.28794949820820775</c:v>
                </c:pt>
                <c:pt idx="33">
                  <c:v>0.27699778767919786</c:v>
                </c:pt>
                <c:pt idx="34">
                  <c:v>0.27569472657057364</c:v>
                </c:pt>
                <c:pt idx="35">
                  <c:v>0.2907738310276524</c:v>
                </c:pt>
                <c:pt idx="36">
                  <c:v>0.2829093623088248</c:v>
                </c:pt>
                <c:pt idx="37">
                  <c:v>0.28110244201490175</c:v>
                </c:pt>
                <c:pt idx="38">
                  <c:v>0.28271915509352236</c:v>
                </c:pt>
                <c:pt idx="39">
                  <c:v>0.29255611676318005</c:v>
                </c:pt>
                <c:pt idx="40">
                  <c:v>0.2918041047578064</c:v>
                </c:pt>
                <c:pt idx="41">
                  <c:v>0.29275351783100534</c:v>
                </c:pt>
                <c:pt idx="42">
                  <c:v>0.2877917247401944</c:v>
                </c:pt>
                <c:pt idx="43">
                  <c:v>0.2588335995676937</c:v>
                </c:pt>
                <c:pt idx="44">
                  <c:v>0.26438981542867346</c:v>
                </c:pt>
                <c:pt idx="45">
                  <c:v>0.27101530096427556</c:v>
                </c:pt>
                <c:pt idx="46">
                  <c:v>0.273237095996986</c:v>
                </c:pt>
                <c:pt idx="47">
                  <c:v>0.2855646045020188</c:v>
                </c:pt>
                <c:pt idx="48">
                  <c:v>0.29534381357270345</c:v>
                </c:pt>
                <c:pt idx="49">
                  <c:v>0.29022224677195807</c:v>
                </c:pt>
                <c:pt idx="50">
                  <c:v>0.28792764468792187</c:v>
                </c:pt>
                <c:pt idx="51">
                  <c:v>0.2953008346903748</c:v>
                </c:pt>
                <c:pt idx="52">
                  <c:v>0.30575525708792084</c:v>
                </c:pt>
                <c:pt idx="53">
                  <c:v>0.31670657890153053</c:v>
                </c:pt>
                <c:pt idx="54">
                  <c:v>0.243572039678040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23.0"/>
          <c:min val="68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30612244897956"/>
          <c:min val="0.116099773242630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2147414743770464</c:v>
                </c:pt>
                <c:pt idx="1">
                  <c:v>1.2004885994678034</c:v>
                </c:pt>
                <c:pt idx="2">
                  <c:v>1.154218643811677</c:v>
                </c:pt>
                <c:pt idx="3">
                  <c:v>1.2758978364775933</c:v>
                </c:pt>
                <c:pt idx="4">
                  <c:v>1.1781097450433176</c:v>
                </c:pt>
                <c:pt idx="5">
                  <c:v>0.9943583172441458</c:v>
                </c:pt>
                <c:pt idx="6">
                  <c:v>1.1155967121721106</c:v>
                </c:pt>
                <c:pt idx="7">
                  <c:v>1.2417406383513445</c:v>
                </c:pt>
                <c:pt idx="8">
                  <c:v>1.2913447612562423</c:v>
                </c:pt>
                <c:pt idx="9">
                  <c:v>1.185060778297946</c:v>
                </c:pt>
                <c:pt idx="10">
                  <c:v>1.2850531503957558</c:v>
                </c:pt>
                <c:pt idx="11">
                  <c:v>1.3257647257119987</c:v>
                </c:pt>
                <c:pt idx="12">
                  <c:v>1.2844640606767794</c:v>
                </c:pt>
                <c:pt idx="13">
                  <c:v>1.2551170906290405</c:v>
                </c:pt>
                <c:pt idx="14">
                  <c:v>1.3460353741496598</c:v>
                </c:pt>
                <c:pt idx="15">
                  <c:v>1.2915822444779135</c:v>
                </c:pt>
                <c:pt idx="16">
                  <c:v>1.365817483269074</c:v>
                </c:pt>
                <c:pt idx="17">
                  <c:v>1.5684861000203534</c:v>
                </c:pt>
                <c:pt idx="18">
                  <c:v>1.5655755856966709</c:v>
                </c:pt>
                <c:pt idx="19">
                  <c:v>1.3915858017323535</c:v>
                </c:pt>
                <c:pt idx="20">
                  <c:v>1.6233020798001818</c:v>
                </c:pt>
                <c:pt idx="21">
                  <c:v>1.8168746446110107</c:v>
                </c:pt>
                <c:pt idx="22">
                  <c:v>1.9611602573529092</c:v>
                </c:pt>
                <c:pt idx="23">
                  <c:v>1.9424151467669917</c:v>
                </c:pt>
                <c:pt idx="24">
                  <c:v>1.5875485138473306</c:v>
                </c:pt>
                <c:pt idx="25">
                  <c:v>1.4340335396319224</c:v>
                </c:pt>
                <c:pt idx="26">
                  <c:v>1.7173705784614264</c:v>
                </c:pt>
                <c:pt idx="27">
                  <c:v>1.4355203619909502</c:v>
                </c:pt>
                <c:pt idx="28">
                  <c:v>1.4931754611680261</c:v>
                </c:pt>
                <c:pt idx="29">
                  <c:v>1.4532385622800439</c:v>
                </c:pt>
                <c:pt idx="30">
                  <c:v>1.4461426595950766</c:v>
                </c:pt>
                <c:pt idx="31">
                  <c:v>1.1322324796102368</c:v>
                </c:pt>
                <c:pt idx="32">
                  <c:v>1.2000889187782344</c:v>
                </c:pt>
                <c:pt idx="33">
                  <c:v>1.3122984189747307</c:v>
                </c:pt>
                <c:pt idx="34">
                  <c:v>1.2642015397524755</c:v>
                </c:pt>
                <c:pt idx="35">
                  <c:v>1.4705397208121826</c:v>
                </c:pt>
                <c:pt idx="36">
                  <c:v>1.4423277622684971</c:v>
                </c:pt>
                <c:pt idx="37">
                  <c:v>1.5313798701982277</c:v>
                </c:pt>
                <c:pt idx="38">
                  <c:v>1.5664931247485825</c:v>
                </c:pt>
                <c:pt idx="39">
                  <c:v>1.4584242020216232</c:v>
                </c:pt>
                <c:pt idx="40">
                  <c:v>1.5411701060117207</c:v>
                </c:pt>
                <c:pt idx="41">
                  <c:v>1.3301516936820432</c:v>
                </c:pt>
                <c:pt idx="42">
                  <c:v>1.5967417018528502</c:v>
                </c:pt>
                <c:pt idx="43">
                  <c:v>1.5086797428321506</c:v>
                </c:pt>
                <c:pt idx="44">
                  <c:v>1.374212914672832</c:v>
                </c:pt>
                <c:pt idx="45">
                  <c:v>1.3386307008836338</c:v>
                </c:pt>
                <c:pt idx="46">
                  <c:v>1.4681923282431544</c:v>
                </c:pt>
                <c:pt idx="47">
                  <c:v>1.545246961605298</c:v>
                </c:pt>
                <c:pt idx="48">
                  <c:v>1.70461170710931</c:v>
                </c:pt>
                <c:pt idx="49">
                  <c:v>1.6110552462840277</c:v>
                </c:pt>
                <c:pt idx="50">
                  <c:v>1.4175199505985179</c:v>
                </c:pt>
                <c:pt idx="51">
                  <c:v>1.458450867723025</c:v>
                </c:pt>
                <c:pt idx="52">
                  <c:v>1.2545078781512606</c:v>
                </c:pt>
                <c:pt idx="53">
                  <c:v>1.3158443732000218</c:v>
                </c:pt>
                <c:pt idx="54">
                  <c:v>1.2989352926791244</c:v>
                </c:pt>
                <c:pt idx="55">
                  <c:v>0.9909843056696795</c:v>
                </c:pt>
                <c:pt idx="56">
                  <c:v>1.1273263892476608</c:v>
                </c:pt>
                <c:pt idx="57">
                  <c:v>1.1411114618267904</c:v>
                </c:pt>
                <c:pt idx="58">
                  <c:v>1.1339461247884886</c:v>
                </c:pt>
                <c:pt idx="59">
                  <c:v>1.1196905228739868</c:v>
                </c:pt>
                <c:pt idx="60">
                  <c:v>1.1708442585115113</c:v>
                </c:pt>
                <c:pt idx="61">
                  <c:v>1.1828116316897839</c:v>
                </c:pt>
                <c:pt idx="62">
                  <c:v>0.9231328770356384</c:v>
                </c:pt>
                <c:pt idx="63">
                  <c:v>1.2013557170866245</c:v>
                </c:pt>
                <c:pt idx="64">
                  <c:v>1.0960200684801216</c:v>
                </c:pt>
                <c:pt idx="65">
                  <c:v>0.8972304022639983</c:v>
                </c:pt>
                <c:pt idx="66">
                  <c:v>1.1585992948960573</c:v>
                </c:pt>
                <c:pt idx="67">
                  <c:v>1.0529536916402553</c:v>
                </c:pt>
                <c:pt idx="68">
                  <c:v>1.2845297115263812</c:v>
                </c:pt>
                <c:pt idx="69">
                  <c:v>0.9991967321618928</c:v>
                </c:pt>
                <c:pt idx="70">
                  <c:v>1.2413936427802124</c:v>
                </c:pt>
                <c:pt idx="71">
                  <c:v>1.354713697890221</c:v>
                </c:pt>
                <c:pt idx="72">
                  <c:v>1.2378389135802468</c:v>
                </c:pt>
                <c:pt idx="73">
                  <c:v>1.1387984322508398</c:v>
                </c:pt>
                <c:pt idx="74">
                  <c:v>1.8907637579811494</c:v>
                </c:pt>
                <c:pt idx="75">
                  <c:v>2.51332110537058</c:v>
                </c:pt>
                <c:pt idx="76">
                  <c:v>1.8515795948886717</c:v>
                </c:pt>
                <c:pt idx="77">
                  <c:v>1.193752123886763</c:v>
                </c:pt>
                <c:pt idx="78">
                  <c:v>1.5169811320754718</c:v>
                </c:pt>
                <c:pt idx="79">
                  <c:v>1.4518974937863325</c:v>
                </c:pt>
                <c:pt idx="80">
                  <c:v>1.2435691329769758</c:v>
                </c:pt>
                <c:pt idx="81">
                  <c:v>1.1058771490966846</c:v>
                </c:pt>
                <c:pt idx="82">
                  <c:v>1.3434206024548452</c:v>
                </c:pt>
                <c:pt idx="83">
                  <c:v>0.8800611356635865</c:v>
                </c:pt>
                <c:pt idx="84">
                  <c:v>1.282944411268337</c:v>
                </c:pt>
                <c:pt idx="85">
                  <c:v>1.177708176050998</c:v>
                </c:pt>
                <c:pt idx="86">
                  <c:v>1.1008886166743286</c:v>
                </c:pt>
                <c:pt idx="87">
                  <c:v>1.3557181731168269</c:v>
                </c:pt>
                <c:pt idx="88">
                  <c:v>1.2170757794699945</c:v>
                </c:pt>
                <c:pt idx="89">
                  <c:v>1.2261555542449933</c:v>
                </c:pt>
                <c:pt idx="90">
                  <c:v>1.3124028329590602</c:v>
                </c:pt>
                <c:pt idx="91">
                  <c:v>1.5192944603023675</c:v>
                </c:pt>
                <c:pt idx="92">
                  <c:v>1.2471115519321065</c:v>
                </c:pt>
                <c:pt idx="93">
                  <c:v>1.4295218731794115</c:v>
                </c:pt>
                <c:pt idx="94">
                  <c:v>1.6030444964871196</c:v>
                </c:pt>
                <c:pt idx="95">
                  <c:v>1.1663822492537623</c:v>
                </c:pt>
                <c:pt idx="96">
                  <c:v>1.0479658033628867</c:v>
                </c:pt>
                <c:pt idx="97">
                  <c:v>1.6279006288832778</c:v>
                </c:pt>
                <c:pt idx="98">
                  <c:v>1.4465105625972872</c:v>
                </c:pt>
                <c:pt idx="99">
                  <c:v>1.2186440872657451</c:v>
                </c:pt>
                <c:pt idx="100">
                  <c:v>1.2483309297555736</c:v>
                </c:pt>
                <c:pt idx="101">
                  <c:v>0.961780755265069</c:v>
                </c:pt>
                <c:pt idx="102">
                  <c:v>0.9296036594150698</c:v>
                </c:pt>
                <c:pt idx="103">
                  <c:v>0.7620037870577397</c:v>
                </c:pt>
                <c:pt idx="104">
                  <c:v>0.7444462235264098</c:v>
                </c:pt>
              </c:numCache>
            </c:numRef>
          </c:xVal>
          <c:yVal>
            <c:numRef>
              <c:f>Sheet1!$B$2:$B$106</c:f>
              <c:numCache>
                <c:formatCode>General</c:formatCode>
                <c:ptCount val="105"/>
                <c:pt idx="0">
                  <c:v>0.25206611570247933</c:v>
                </c:pt>
                <c:pt idx="1">
                  <c:v>0.28012048192771083</c:v>
                </c:pt>
                <c:pt idx="2">
                  <c:v>0.25766871165644173</c:v>
                </c:pt>
                <c:pt idx="3">
                  <c:v>0.2902684563758389</c:v>
                </c:pt>
                <c:pt idx="4">
                  <c:v>0.3180952380952381</c:v>
                </c:pt>
                <c:pt idx="5">
                  <c:v>0.29971181556195964</c:v>
                </c:pt>
                <c:pt idx="6">
                  <c:v>0.3107638888888889</c:v>
                </c:pt>
                <c:pt idx="7">
                  <c:v>0.2915129151291513</c:v>
                </c:pt>
                <c:pt idx="8">
                  <c:v>0.2545454545454545</c:v>
                </c:pt>
                <c:pt idx="9">
                  <c:v>0.21635883905013192</c:v>
                </c:pt>
                <c:pt idx="10">
                  <c:v>0.2213225371120108</c:v>
                </c:pt>
                <c:pt idx="11">
                  <c:v>0.23097826086956522</c:v>
                </c:pt>
                <c:pt idx="12">
                  <c:v>0.208955223880597</c:v>
                </c:pt>
                <c:pt idx="13">
                  <c:v>0.1863270777479893</c:v>
                </c:pt>
                <c:pt idx="14">
                  <c:v>0.1856115107913669</c:v>
                </c:pt>
                <c:pt idx="15">
                  <c:v>0.19168173598553345</c:v>
                </c:pt>
                <c:pt idx="16">
                  <c:v>0.18052738336713997</c:v>
                </c:pt>
                <c:pt idx="17">
                  <c:v>0.21694214876033058</c:v>
                </c:pt>
                <c:pt idx="18">
                  <c:v>0.18857142857142858</c:v>
                </c:pt>
                <c:pt idx="19">
                  <c:v>0.1810810810810811</c:v>
                </c:pt>
                <c:pt idx="20">
                  <c:v>0.15544041450777202</c:v>
                </c:pt>
                <c:pt idx="21">
                  <c:v>0.17557251908396945</c:v>
                </c:pt>
                <c:pt idx="22">
                  <c:v>0.2043343653250774</c:v>
                </c:pt>
                <c:pt idx="23">
                  <c:v>0.21212121212121213</c:v>
                </c:pt>
                <c:pt idx="24">
                  <c:v>0.2222222222222222</c:v>
                </c:pt>
                <c:pt idx="25">
                  <c:v>0.19811320754716982</c:v>
                </c:pt>
                <c:pt idx="26">
                  <c:v>0.2</c:v>
                </c:pt>
                <c:pt idx="27">
                  <c:v>0.23017902813299232</c:v>
                </c:pt>
                <c:pt idx="28">
                  <c:v>0.24129353233830847</c:v>
                </c:pt>
                <c:pt idx="29">
                  <c:v>0.26339285714285715</c:v>
                </c:pt>
                <c:pt idx="30">
                  <c:v>0.185</c:v>
                </c:pt>
                <c:pt idx="31">
                  <c:v>0.2222222222222222</c:v>
                </c:pt>
                <c:pt idx="32">
                  <c:v>0.226890756302521</c:v>
                </c:pt>
                <c:pt idx="33">
                  <c:v>0.2603036876355748</c:v>
                </c:pt>
                <c:pt idx="34">
                  <c:v>0.2638623326959847</c:v>
                </c:pt>
                <c:pt idx="35">
                  <c:v>0.23087818696883852</c:v>
                </c:pt>
                <c:pt idx="36">
                  <c:v>0.2175732217573222</c:v>
                </c:pt>
                <c:pt idx="37">
                  <c:v>0.2007042253521127</c:v>
                </c:pt>
                <c:pt idx="38">
                  <c:v>0.18969072164948453</c:v>
                </c:pt>
                <c:pt idx="39">
                  <c:v>0.18352941176470589</c:v>
                </c:pt>
                <c:pt idx="40">
                  <c:v>0.14512471655328799</c:v>
                </c:pt>
                <c:pt idx="41">
                  <c:v>0.1860986547085202</c:v>
                </c:pt>
                <c:pt idx="42">
                  <c:v>0.20905923344947736</c:v>
                </c:pt>
                <c:pt idx="43">
                  <c:v>0.20903010033444816</c:v>
                </c:pt>
                <c:pt idx="44">
                  <c:v>0.20444444444444446</c:v>
                </c:pt>
                <c:pt idx="45">
                  <c:v>0.20454545454545456</c:v>
                </c:pt>
                <c:pt idx="46">
                  <c:v>0.18252933507170796</c:v>
                </c:pt>
                <c:pt idx="47">
                  <c:v>0.17503059975520197</c:v>
                </c:pt>
                <c:pt idx="48">
                  <c:v>0.20441988950276244</c:v>
                </c:pt>
                <c:pt idx="49">
                  <c:v>0.2655948553054662</c:v>
                </c:pt>
                <c:pt idx="50">
                  <c:v>0.2763938315539739</c:v>
                </c:pt>
                <c:pt idx="51">
                  <c:v>0.3055091819699499</c:v>
                </c:pt>
                <c:pt idx="52">
                  <c:v>0.31687898089171973</c:v>
                </c:pt>
                <c:pt idx="53">
                  <c:v>0.32068965517241377</c:v>
                </c:pt>
                <c:pt idx="54">
                  <c:v>0.3203125</c:v>
                </c:pt>
                <c:pt idx="55">
                  <c:v>0.3185053380782918</c:v>
                </c:pt>
                <c:pt idx="56">
                  <c:v>0.3414179104477612</c:v>
                </c:pt>
                <c:pt idx="57">
                  <c:v>0.34368932038834954</c:v>
                </c:pt>
                <c:pt idx="58">
                  <c:v>0.368705035971223</c:v>
                </c:pt>
                <c:pt idx="59">
                  <c:v>0.3772845953002611</c:v>
                </c:pt>
                <c:pt idx="60">
                  <c:v>0.35778443113772457</c:v>
                </c:pt>
                <c:pt idx="61">
                  <c:v>0.3393103448275862</c:v>
                </c:pt>
                <c:pt idx="62">
                  <c:v>0.3179419525065963</c:v>
                </c:pt>
                <c:pt idx="63">
                  <c:v>0.3053763440860215</c:v>
                </c:pt>
                <c:pt idx="64">
                  <c:v>0.23902894491129786</c:v>
                </c:pt>
                <c:pt idx="65">
                  <c:v>0.2456359102244389</c:v>
                </c:pt>
                <c:pt idx="66">
                  <c:v>0.24472049689440994</c:v>
                </c:pt>
                <c:pt idx="67">
                  <c:v>0.2720496894409938</c:v>
                </c:pt>
                <c:pt idx="68">
                  <c:v>0.25120772946859904</c:v>
                </c:pt>
                <c:pt idx="69">
                  <c:v>0.22682926829268293</c:v>
                </c:pt>
                <c:pt idx="70">
                  <c:v>0.23516483516483516</c:v>
                </c:pt>
                <c:pt idx="71">
                  <c:v>0.2623762376237624</c:v>
                </c:pt>
                <c:pt idx="72">
                  <c:v>0.2914438502673797</c:v>
                </c:pt>
                <c:pt idx="73">
                  <c:v>0.3053435114503817</c:v>
                </c:pt>
                <c:pt idx="74">
                  <c:v>0.29508196721311475</c:v>
                </c:pt>
                <c:pt idx="75">
                  <c:v>0.2198952879581152</c:v>
                </c:pt>
                <c:pt idx="76">
                  <c:v>0.24853801169590642</c:v>
                </c:pt>
                <c:pt idx="77">
                  <c:v>0.2016348773841962</c:v>
                </c:pt>
                <c:pt idx="78">
                  <c:v>0.2585034013605442</c:v>
                </c:pt>
                <c:pt idx="79">
                  <c:v>0.20634920634920634</c:v>
                </c:pt>
                <c:pt idx="80">
                  <c:v>0.23705722070844687</c:v>
                </c:pt>
                <c:pt idx="81">
                  <c:v>0.18333333333333332</c:v>
                </c:pt>
                <c:pt idx="82">
                  <c:v>0.2182890855457227</c:v>
                </c:pt>
                <c:pt idx="83">
                  <c:v>0.20905923344947736</c:v>
                </c:pt>
                <c:pt idx="84">
                  <c:v>0.24914675767918087</c:v>
                </c:pt>
                <c:pt idx="85">
                  <c:v>0.22142857142857142</c:v>
                </c:pt>
                <c:pt idx="86">
                  <c:v>0.20041753653444677</c:v>
                </c:pt>
                <c:pt idx="87">
                  <c:v>0.1916376306620209</c:v>
                </c:pt>
                <c:pt idx="88">
                  <c:v>0.2209737827715356</c:v>
                </c:pt>
                <c:pt idx="89">
                  <c:v>0.1937046004842615</c:v>
                </c:pt>
                <c:pt idx="90">
                  <c:v>0.23163841807909605</c:v>
                </c:pt>
                <c:pt idx="91">
                  <c:v>0.21575342465753425</c:v>
                </c:pt>
                <c:pt idx="92">
                  <c:v>0.24210526315789474</c:v>
                </c:pt>
                <c:pt idx="93">
                  <c:v>0.2345679012345679</c:v>
                </c:pt>
                <c:pt idx="94">
                  <c:v>0.20270270270270271</c:v>
                </c:pt>
                <c:pt idx="95">
                  <c:v>0.1946564885496183</c:v>
                </c:pt>
                <c:pt idx="96">
                  <c:v>0.21821036106750394</c:v>
                </c:pt>
                <c:pt idx="97">
                  <c:v>0.21486486486486486</c:v>
                </c:pt>
                <c:pt idx="98">
                  <c:v>0.26125137211855104</c:v>
                </c:pt>
                <c:pt idx="99">
                  <c:v>0.25635808748728384</c:v>
                </c:pt>
                <c:pt idx="100">
                  <c:v>0.2397034596375618</c:v>
                </c:pt>
                <c:pt idx="101">
                  <c:v>0.22572178477690288</c:v>
                </c:pt>
                <c:pt idx="102">
                  <c:v>0.26666666666666666</c:v>
                </c:pt>
                <c:pt idx="103">
                  <c:v>0.29431438127090304</c:v>
                </c:pt>
                <c:pt idx="104">
                  <c:v>0.302411873840445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52810165326382</c:v>
                </c:pt>
                <c:pt idx="1">
                  <c:v>1.0430800672834315</c:v>
                </c:pt>
                <c:pt idx="2">
                  <c:v>1.0730272962921221</c:v>
                </c:pt>
                <c:pt idx="3">
                  <c:v>1.3801197053407</c:v>
                </c:pt>
                <c:pt idx="4">
                  <c:v>1.3522848913525374</c:v>
                </c:pt>
                <c:pt idx="5">
                  <c:v>1.0967320889594916</c:v>
                </c:pt>
                <c:pt idx="6">
                  <c:v>1.0436878780384011</c:v>
                </c:pt>
                <c:pt idx="7">
                  <c:v>0.8275363138686131</c:v>
                </c:pt>
                <c:pt idx="8">
                  <c:v>1.1564445083853996</c:v>
                </c:pt>
                <c:pt idx="9">
                  <c:v>1.108484413096482</c:v>
                </c:pt>
                <c:pt idx="10">
                  <c:v>1.2794357625025123</c:v>
                </c:pt>
                <c:pt idx="11">
                  <c:v>0.9856578761240781</c:v>
                </c:pt>
                <c:pt idx="12">
                  <c:v>1.1588477196351417</c:v>
                </c:pt>
                <c:pt idx="13">
                  <c:v>1.0515872487955948</c:v>
                </c:pt>
                <c:pt idx="14">
                  <c:v>1.0827147713172849</c:v>
                </c:pt>
                <c:pt idx="15">
                  <c:v>0.9920369754552653</c:v>
                </c:pt>
                <c:pt idx="16">
                  <c:v>0.7204328561690525</c:v>
                </c:pt>
                <c:pt idx="17">
                  <c:v>0.5651211943220754</c:v>
                </c:pt>
                <c:pt idx="18">
                  <c:v>1.2058069892473118</c:v>
                </c:pt>
                <c:pt idx="19">
                  <c:v>1.077886762589928</c:v>
                </c:pt>
                <c:pt idx="20">
                  <c:v>0.9566831511596907</c:v>
                </c:pt>
                <c:pt idx="21">
                  <c:v>1.0348966977745873</c:v>
                </c:pt>
                <c:pt idx="22">
                  <c:v>0.8226358335731876</c:v>
                </c:pt>
                <c:pt idx="23">
                  <c:v>0.8294071185834376</c:v>
                </c:pt>
                <c:pt idx="24">
                  <c:v>0.8841346458076991</c:v>
                </c:pt>
                <c:pt idx="25">
                  <c:v>1.0117295118018281</c:v>
                </c:pt>
                <c:pt idx="26">
                  <c:v>0.76638524510597</c:v>
                </c:pt>
                <c:pt idx="27">
                  <c:v>1.0216164509394572</c:v>
                </c:pt>
                <c:pt idx="28">
                  <c:v>0.8491751629915815</c:v>
                </c:pt>
                <c:pt idx="29">
                  <c:v>1.1066941663799357</c:v>
                </c:pt>
                <c:pt idx="30">
                  <c:v>1.2020222602739725</c:v>
                </c:pt>
                <c:pt idx="31">
                  <c:v>0.9444272689305803</c:v>
                </c:pt>
                <c:pt idx="32">
                  <c:v>1.0960522988611954</c:v>
                </c:pt>
                <c:pt idx="33">
                  <c:v>0.9480990960585117</c:v>
                </c:pt>
                <c:pt idx="34">
                  <c:v>0.7529830005704506</c:v>
                </c:pt>
                <c:pt idx="35">
                  <c:v>0.9627657861635219</c:v>
                </c:pt>
                <c:pt idx="36">
                  <c:v>0.928771087324385</c:v>
                </c:pt>
                <c:pt idx="37">
                  <c:v>1.1104294917049065</c:v>
                </c:pt>
                <c:pt idx="38">
                  <c:v>1.088277152963053</c:v>
                </c:pt>
                <c:pt idx="39">
                  <c:v>1.1685520972663148</c:v>
                </c:pt>
                <c:pt idx="40">
                  <c:v>1.0360320934822091</c:v>
                </c:pt>
                <c:pt idx="41">
                  <c:v>1.0175071261863153</c:v>
                </c:pt>
                <c:pt idx="42">
                  <c:v>0.9347869718025842</c:v>
                </c:pt>
                <c:pt idx="43">
                  <c:v>1.131089767971333</c:v>
                </c:pt>
                <c:pt idx="44">
                  <c:v>1.096028141311748</c:v>
                </c:pt>
                <c:pt idx="45">
                  <c:v>1.105464219592691</c:v>
                </c:pt>
                <c:pt idx="46">
                  <c:v>0.9647815631262525</c:v>
                </c:pt>
                <c:pt idx="47">
                  <c:v>0.9689264965495106</c:v>
                </c:pt>
                <c:pt idx="48">
                  <c:v>0.8817431214802895</c:v>
                </c:pt>
                <c:pt idx="49">
                  <c:v>0.8580877871106817</c:v>
                </c:pt>
                <c:pt idx="50">
                  <c:v>0.8840665265339221</c:v>
                </c:pt>
                <c:pt idx="51">
                  <c:v>0.9790148214285713</c:v>
                </c:pt>
              </c:numCache>
            </c:numRef>
          </c:xVal>
          <c:yVal>
            <c:numRef>
              <c:f>Sheet1!$B$109:$B$160</c:f>
              <c:numCache>
                <c:formatCode>General</c:formatCode>
                <c:ptCount val="52"/>
                <c:pt idx="0">
                  <c:v>0.27425373134328357</c:v>
                </c:pt>
                <c:pt idx="1">
                  <c:v>0.3066132264529058</c:v>
                </c:pt>
                <c:pt idx="2">
                  <c:v>0.31684981684981683</c:v>
                </c:pt>
                <c:pt idx="3">
                  <c:v>0.3118081180811808</c:v>
                </c:pt>
                <c:pt idx="4">
                  <c:v>0.3101391650099404</c:v>
                </c:pt>
                <c:pt idx="5">
                  <c:v>0.3452914798206278</c:v>
                </c:pt>
                <c:pt idx="6">
                  <c:v>0.2936046511627907</c:v>
                </c:pt>
                <c:pt idx="7">
                  <c:v>0.2894736842105263</c:v>
                </c:pt>
                <c:pt idx="8">
                  <c:v>0.30376344086021506</c:v>
                </c:pt>
                <c:pt idx="9">
                  <c:v>0.3201058201058201</c:v>
                </c:pt>
                <c:pt idx="10">
                  <c:v>0.3034623217922607</c:v>
                </c:pt>
                <c:pt idx="11">
                  <c:v>0.2755417956656347</c:v>
                </c:pt>
                <c:pt idx="12">
                  <c:v>0.2815384615384615</c:v>
                </c:pt>
                <c:pt idx="13">
                  <c:v>0.28496503496503495</c:v>
                </c:pt>
                <c:pt idx="14">
                  <c:v>0.3326848249027237</c:v>
                </c:pt>
                <c:pt idx="15">
                  <c:v>0.31462925851703405</c:v>
                </c:pt>
                <c:pt idx="16">
                  <c:v>0.2966751918158568</c:v>
                </c:pt>
                <c:pt idx="17">
                  <c:v>0.25824175824175827</c:v>
                </c:pt>
                <c:pt idx="18">
                  <c:v>0.21364985163204747</c:v>
                </c:pt>
                <c:pt idx="19">
                  <c:v>0.2727272727272727</c:v>
                </c:pt>
                <c:pt idx="20">
                  <c:v>0.28222996515679444</c:v>
                </c:pt>
                <c:pt idx="21">
                  <c:v>0.3185840707964602</c:v>
                </c:pt>
                <c:pt idx="22">
                  <c:v>0.3222748815165877</c:v>
                </c:pt>
                <c:pt idx="23">
                  <c:v>0.34347826086956523</c:v>
                </c:pt>
                <c:pt idx="24">
                  <c:v>0.3877551020408163</c:v>
                </c:pt>
                <c:pt idx="25">
                  <c:v>0.3347826086956522</c:v>
                </c:pt>
                <c:pt idx="26">
                  <c:v>0.3008130081300813</c:v>
                </c:pt>
                <c:pt idx="27">
                  <c:v>0.2356902356902357</c:v>
                </c:pt>
                <c:pt idx="28">
                  <c:v>0.23825503355704697</c:v>
                </c:pt>
                <c:pt idx="29">
                  <c:v>0.2517241379310345</c:v>
                </c:pt>
                <c:pt idx="30">
                  <c:v>0.24012158054711247</c:v>
                </c:pt>
                <c:pt idx="31">
                  <c:v>0.27972027972027974</c:v>
                </c:pt>
                <c:pt idx="32">
                  <c:v>0.2517482517482518</c:v>
                </c:pt>
                <c:pt idx="33">
                  <c:v>0.2860576923076923</c:v>
                </c:pt>
                <c:pt idx="34">
                  <c:v>0.259927797833935</c:v>
                </c:pt>
                <c:pt idx="35">
                  <c:v>0.2824956672443674</c:v>
                </c:pt>
                <c:pt idx="36">
                  <c:v>0.3089171974522293</c:v>
                </c:pt>
                <c:pt idx="37">
                  <c:v>0.33513513513513515</c:v>
                </c:pt>
                <c:pt idx="38">
                  <c:v>0.2875536480686695</c:v>
                </c:pt>
                <c:pt idx="39">
                  <c:v>0.2882205513784461</c:v>
                </c:pt>
                <c:pt idx="40">
                  <c:v>0.248868778280543</c:v>
                </c:pt>
                <c:pt idx="41">
                  <c:v>0.3061630218687873</c:v>
                </c:pt>
                <c:pt idx="42">
                  <c:v>0.30327868852459017</c:v>
                </c:pt>
                <c:pt idx="43">
                  <c:v>0.19148936170212766</c:v>
                </c:pt>
                <c:pt idx="44">
                  <c:v>0.19343065693430658</c:v>
                </c:pt>
                <c:pt idx="45">
                  <c:v>0.24328593996840442</c:v>
                </c:pt>
                <c:pt idx="46">
                  <c:v>0.23089700996677742</c:v>
                </c:pt>
                <c:pt idx="47">
                  <c:v>0.24778761061946902</c:v>
                </c:pt>
                <c:pt idx="48">
                  <c:v>0.2170767004341534</c:v>
                </c:pt>
                <c:pt idx="49">
                  <c:v>0.23512747875354106</c:v>
                </c:pt>
                <c:pt idx="50">
                  <c:v>0.2313803376365442</c:v>
                </c:pt>
                <c:pt idx="51">
                  <c:v>0.229430379746835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8.70025389293993</c:v>
                </c:pt>
              </c:numCache>
            </c:numRef>
          </c:xVal>
          <c:yVal>
            <c:numRef>
              <c:f>Sheet1!$B$163:$B$164</c:f>
              <c:numCache>
                <c:formatCode>General</c:formatCode>
                <c:ptCount val="2"/>
                <c:pt idx="0">
                  <c:v>0.31670657890153053</c:v>
                </c:pt>
                <c:pt idx="1">
                  <c:v>0.3167065789015305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8.70025389293993</c:v>
                </c:pt>
                <c:pt idx="1">
                  <c:v>8.70025389293993</c:v>
                </c:pt>
              </c:numCache>
            </c:numRef>
          </c:xVal>
          <c:yVal>
            <c:numRef>
              <c:f>Sheet1!$B$167:$B$168</c:f>
              <c:numCache>
                <c:formatCode>General</c:formatCode>
                <c:ptCount val="2"/>
                <c:pt idx="0">
                  <c:v>0.3167065789015305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6.332829141665943</c:v>
                </c:pt>
              </c:numCache>
            </c:numRef>
          </c:xVal>
          <c:yVal>
            <c:numRef>
              <c:f>Sheet1!$B$171:$B$172</c:f>
              <c:numCache>
                <c:formatCode>General</c:formatCode>
                <c:ptCount val="2"/>
                <c:pt idx="0">
                  <c:v>0.30575525708792084</c:v>
                </c:pt>
                <c:pt idx="1">
                  <c:v>0.305755257087920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6.332829141665943</c:v>
                </c:pt>
                <c:pt idx="1">
                  <c:v>6.332829141665943</c:v>
                </c:pt>
              </c:numCache>
            </c:numRef>
          </c:xVal>
          <c:yVal>
            <c:numRef>
              <c:f>Sheet1!$B$175:$B$176</c:f>
              <c:numCache>
                <c:formatCode>General</c:formatCode>
                <c:ptCount val="2"/>
                <c:pt idx="0">
                  <c:v>0.305755257087920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7.10975710642082</c:v>
                </c:pt>
              </c:numCache>
            </c:numRef>
          </c:xVal>
          <c:yVal>
            <c:numRef>
              <c:f>Sheet1!$B$179:$B$180</c:f>
              <c:numCache>
                <c:formatCode>General</c:formatCode>
                <c:ptCount val="2"/>
                <c:pt idx="0">
                  <c:v>0.24357203967804048</c:v>
                </c:pt>
                <c:pt idx="1">
                  <c:v>0.2435720396780404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7.10975710642082</c:v>
                </c:pt>
                <c:pt idx="1">
                  <c:v>-7.10975710642082</c:v>
                </c:pt>
              </c:numCache>
            </c:numRef>
          </c:xVal>
          <c:yVal>
            <c:numRef>
              <c:f>Sheet1!$B$183:$B$184</c:f>
              <c:numCache>
                <c:formatCode>General</c:formatCode>
                <c:ptCount val="2"/>
                <c:pt idx="0">
                  <c:v>0.243572039678040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52810165326382</c:v>
                </c:pt>
                <c:pt idx="1">
                  <c:v>1.0430800672834315</c:v>
                </c:pt>
                <c:pt idx="2">
                  <c:v>1.0730272962921221</c:v>
                </c:pt>
                <c:pt idx="3">
                  <c:v>1.3801197053407</c:v>
                </c:pt>
                <c:pt idx="4">
                  <c:v>1.3522848913525374</c:v>
                </c:pt>
                <c:pt idx="5">
                  <c:v>1.0967320889594916</c:v>
                </c:pt>
                <c:pt idx="6">
                  <c:v>1.0436878780384011</c:v>
                </c:pt>
                <c:pt idx="7">
                  <c:v>0.8275363138686131</c:v>
                </c:pt>
                <c:pt idx="8">
                  <c:v>1.1564445083853996</c:v>
                </c:pt>
                <c:pt idx="9">
                  <c:v>1.108484413096482</c:v>
                </c:pt>
                <c:pt idx="10">
                  <c:v>1.2794357625025123</c:v>
                </c:pt>
                <c:pt idx="11">
                  <c:v>0.9856578761240781</c:v>
                </c:pt>
                <c:pt idx="12">
                  <c:v>1.1588477196351417</c:v>
                </c:pt>
                <c:pt idx="13">
                  <c:v>1.0515872487955948</c:v>
                </c:pt>
                <c:pt idx="14">
                  <c:v>1.0827147713172849</c:v>
                </c:pt>
                <c:pt idx="15">
                  <c:v>0.9920369754552653</c:v>
                </c:pt>
                <c:pt idx="16">
                  <c:v>0.7204328561690525</c:v>
                </c:pt>
                <c:pt idx="17">
                  <c:v>0.5651211943220754</c:v>
                </c:pt>
                <c:pt idx="18">
                  <c:v>1.2058069892473118</c:v>
                </c:pt>
                <c:pt idx="19">
                  <c:v>1.077886762589928</c:v>
                </c:pt>
                <c:pt idx="20">
                  <c:v>0.9566831511596907</c:v>
                </c:pt>
                <c:pt idx="21">
                  <c:v>1.0348966977745873</c:v>
                </c:pt>
                <c:pt idx="22">
                  <c:v>0.8226358335731876</c:v>
                </c:pt>
                <c:pt idx="23">
                  <c:v>0.8294071185834376</c:v>
                </c:pt>
                <c:pt idx="24">
                  <c:v>0.8841346458076991</c:v>
                </c:pt>
                <c:pt idx="25">
                  <c:v>1.0117295118018281</c:v>
                </c:pt>
                <c:pt idx="26">
                  <c:v>0.76638524510597</c:v>
                </c:pt>
                <c:pt idx="27">
                  <c:v>1.0216164509394572</c:v>
                </c:pt>
                <c:pt idx="28">
                  <c:v>0.8491751629915815</c:v>
                </c:pt>
                <c:pt idx="29">
                  <c:v>1.1066941663799357</c:v>
                </c:pt>
                <c:pt idx="30">
                  <c:v>1.2020222602739725</c:v>
                </c:pt>
                <c:pt idx="31">
                  <c:v>0.9444272689305803</c:v>
                </c:pt>
                <c:pt idx="32">
                  <c:v>1.0960522988611954</c:v>
                </c:pt>
                <c:pt idx="33">
                  <c:v>0.9480990960585117</c:v>
                </c:pt>
                <c:pt idx="34">
                  <c:v>0.7529830005704506</c:v>
                </c:pt>
                <c:pt idx="35">
                  <c:v>0.9627657861635219</c:v>
                </c:pt>
                <c:pt idx="36">
                  <c:v>0.928771087324385</c:v>
                </c:pt>
                <c:pt idx="37">
                  <c:v>1.1104294917049065</c:v>
                </c:pt>
                <c:pt idx="38">
                  <c:v>1.088277152963053</c:v>
                </c:pt>
                <c:pt idx="39">
                  <c:v>1.1685520972663148</c:v>
                </c:pt>
                <c:pt idx="40">
                  <c:v>1.0360320934822091</c:v>
                </c:pt>
                <c:pt idx="41">
                  <c:v>1.0175071261863153</c:v>
                </c:pt>
                <c:pt idx="42">
                  <c:v>0.9347869718025842</c:v>
                </c:pt>
                <c:pt idx="43">
                  <c:v>1.131089767971333</c:v>
                </c:pt>
                <c:pt idx="44">
                  <c:v>1.096028141311748</c:v>
                </c:pt>
                <c:pt idx="45">
                  <c:v>1.105464219592691</c:v>
                </c:pt>
                <c:pt idx="46">
                  <c:v>0.9647815631262525</c:v>
                </c:pt>
                <c:pt idx="47">
                  <c:v>0.9689264965495106</c:v>
                </c:pt>
                <c:pt idx="48">
                  <c:v>0.8817431214802895</c:v>
                </c:pt>
                <c:pt idx="49">
                  <c:v>0.8580877871106817</c:v>
                </c:pt>
                <c:pt idx="50">
                  <c:v>0.8840665265339221</c:v>
                </c:pt>
                <c:pt idx="51">
                  <c:v>0.9790148214285713</c:v>
                </c:pt>
                <c:pt idx="52">
                  <c:v>6.332829141665943</c:v>
                </c:pt>
                <c:pt idx="53">
                  <c:v>8.70025389293993</c:v>
                </c:pt>
                <c:pt idx="54">
                  <c:v>-7.10975710642082</c:v>
                </c:pt>
              </c:numCache>
            </c:numRef>
          </c:xVal>
          <c:yVal>
            <c:numRef>
              <c:f>Sheet1!$B$187:$B$241</c:f>
              <c:numCache>
                <c:formatCode>General</c:formatCode>
                <c:ptCount val="55"/>
                <c:pt idx="0">
                  <c:v>0.28179333188629724</c:v>
                </c:pt>
                <c:pt idx="1">
                  <c:v>0.28128573830147025</c:v>
                </c:pt>
                <c:pt idx="2">
                  <c:v>0.2814242693116422</c:v>
                </c:pt>
                <c:pt idx="3">
                  <c:v>0.2828448288441882</c:v>
                </c:pt>
                <c:pt idx="4">
                  <c:v>0.2827160695222954</c:v>
                </c:pt>
                <c:pt idx="5">
                  <c:v>0.2815339238266951</c:v>
                </c:pt>
                <c:pt idx="6">
                  <c:v>0.2812885499351561</c:v>
                </c:pt>
                <c:pt idx="7">
                  <c:v>0.2802886679585634</c:v>
                </c:pt>
                <c:pt idx="8">
                  <c:v>0.2818101437661253</c:v>
                </c:pt>
                <c:pt idx="9">
                  <c:v>0.2815882881665175</c:v>
                </c:pt>
                <c:pt idx="10">
                  <c:v>0.28237908130188905</c:v>
                </c:pt>
                <c:pt idx="11">
                  <c:v>0.2810201125854722</c:v>
                </c:pt>
                <c:pt idx="12">
                  <c:v>0.28182126063045976</c:v>
                </c:pt>
                <c:pt idx="13">
                  <c:v>0.2813250911393657</c:v>
                </c:pt>
                <c:pt idx="14">
                  <c:v>0.281469081995342</c:v>
                </c:pt>
                <c:pt idx="15">
                  <c:v>0.2810496212613527</c:v>
                </c:pt>
                <c:pt idx="16">
                  <c:v>0.2797932247847151</c:v>
                </c:pt>
                <c:pt idx="17">
                  <c:v>0.27907477830003696</c:v>
                </c:pt>
                <c:pt idx="18">
                  <c:v>0.2820384865732815</c:v>
                </c:pt>
                <c:pt idx="19">
                  <c:v>0.2814467484122941</c:v>
                </c:pt>
                <c:pt idx="20">
                  <c:v>0.2808860802208215</c:v>
                </c:pt>
                <c:pt idx="21">
                  <c:v>0.2812478833652309</c:v>
                </c:pt>
                <c:pt idx="22">
                  <c:v>0.2802659991338298</c:v>
                </c:pt>
                <c:pt idx="23">
                  <c:v>0.2802973219968687</c:v>
                </c:pt>
                <c:pt idx="24">
                  <c:v>0.2805504826358176</c:v>
                </c:pt>
                <c:pt idx="25">
                  <c:v>0.2811407157313</c:v>
                </c:pt>
                <c:pt idx="26">
                  <c:v>0.28000579306131246</c:v>
                </c:pt>
                <c:pt idx="27">
                  <c:v>0.2811864511035392</c:v>
                </c:pt>
                <c:pt idx="28">
                  <c:v>0.2803887657548267</c:v>
                </c:pt>
                <c:pt idx="29">
                  <c:v>0.2815800067764086</c:v>
                </c:pt>
                <c:pt idx="30">
                  <c:v>0.2820209790326756</c:v>
                </c:pt>
                <c:pt idx="31">
                  <c:v>0.2808293865031739</c:v>
                </c:pt>
                <c:pt idx="32">
                  <c:v>0.28153077922827524</c:v>
                </c:pt>
                <c:pt idx="33">
                  <c:v>0.2808463717782076</c:v>
                </c:pt>
                <c:pt idx="34">
                  <c:v>0.27994379645810297</c:v>
                </c:pt>
                <c:pt idx="35">
                  <c:v>0.2809142175009466</c:v>
                </c:pt>
                <c:pt idx="36">
                  <c:v>0.2807569635537013</c:v>
                </c:pt>
                <c:pt idx="37">
                  <c:v>0.28159728578377313</c:v>
                </c:pt>
                <c:pt idx="38">
                  <c:v>0.2814948126680572</c:v>
                </c:pt>
                <c:pt idx="39">
                  <c:v>0.2818661515028656</c:v>
                </c:pt>
                <c:pt idx="40">
                  <c:v>0.28125313552109066</c:v>
                </c:pt>
                <c:pt idx="41">
                  <c:v>0.28116744203565475</c:v>
                </c:pt>
                <c:pt idx="42">
                  <c:v>0.28078479205675244</c:v>
                </c:pt>
                <c:pt idx="43">
                  <c:v>0.28169285686117695</c:v>
                </c:pt>
                <c:pt idx="44">
                  <c:v>0.28153066747938094</c:v>
                </c:pt>
                <c:pt idx="45">
                  <c:v>0.2815743172426342</c:v>
                </c:pt>
                <c:pt idx="46">
                  <c:v>0.2809235421572895</c:v>
                </c:pt>
                <c:pt idx="47">
                  <c:v>0.2809427159450898</c:v>
                </c:pt>
                <c:pt idx="48">
                  <c:v>0.28053941983328484</c:v>
                </c:pt>
                <c:pt idx="49">
                  <c:v>0.28042999410427244</c:v>
                </c:pt>
                <c:pt idx="50">
                  <c:v>0.2805501675271374</c:v>
                </c:pt>
                <c:pt idx="51">
                  <c:v>0.2809893828950114</c:v>
                </c:pt>
                <c:pt idx="52">
                  <c:v>0.30575525708792084</c:v>
                </c:pt>
                <c:pt idx="53">
                  <c:v>0.31670657890153053</c:v>
                </c:pt>
                <c:pt idx="54">
                  <c:v>0.243572039678040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30612244897956"/>
          <c:min val="0.116099773242630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1.1257</c:v>
                </c:pt>
                <c:pt idx="1">
                  <c:v>983.586</c:v>
                </c:pt>
                <c:pt idx="2">
                  <c:v>1030.3988</c:v>
                </c:pt>
                <c:pt idx="3">
                  <c:v>1050.6012</c:v>
                </c:pt>
                <c:pt idx="4">
                  <c:v>979.3234</c:v>
                </c:pt>
                <c:pt idx="5">
                  <c:v>989.5673</c:v>
                </c:pt>
                <c:pt idx="6">
                  <c:v>975.5196</c:v>
                </c:pt>
                <c:pt idx="7">
                  <c:v>988.1772</c:v>
                </c:pt>
                <c:pt idx="8">
                  <c:v>1005.85</c:v>
                </c:pt>
                <c:pt idx="9">
                  <c:v>1068.8171</c:v>
                </c:pt>
                <c:pt idx="10">
                  <c:v>1092.3354</c:v>
                </c:pt>
                <c:pt idx="11">
                  <c:v>1091.7471</c:v>
                </c:pt>
                <c:pt idx="12">
                  <c:v>1100.7857</c:v>
                </c:pt>
                <c:pt idx="13">
                  <c:v>1099.741</c:v>
                </c:pt>
                <c:pt idx="14">
                  <c:v>1137.7364</c:v>
                </c:pt>
                <c:pt idx="15">
                  <c:v>1102.7453</c:v>
                </c:pt>
                <c:pt idx="16">
                  <c:v>1170.1461</c:v>
                </c:pt>
                <c:pt idx="17">
                  <c:v>1256.8952</c:v>
                </c:pt>
                <c:pt idx="18">
                  <c:v>1269.6818</c:v>
                </c:pt>
                <c:pt idx="19">
                  <c:v>1103.6269</c:v>
                </c:pt>
                <c:pt idx="20">
                  <c:v>1354.4167</c:v>
                </c:pt>
                <c:pt idx="21">
                  <c:v>1318.029</c:v>
                </c:pt>
                <c:pt idx="22">
                  <c:v>1341.6364</c:v>
                </c:pt>
                <c:pt idx="23">
                  <c:v>1319.2468</c:v>
                </c:pt>
                <c:pt idx="24">
                  <c:v>1282.3158</c:v>
                </c:pt>
                <c:pt idx="25">
                  <c:v>1266.8889</c:v>
                </c:pt>
                <c:pt idx="26">
                  <c:v>1329.9213</c:v>
                </c:pt>
                <c:pt idx="27">
                  <c:v>1269.0</c:v>
                </c:pt>
                <c:pt idx="28">
                  <c:v>1309.5979</c:v>
                </c:pt>
                <c:pt idx="29">
                  <c:v>1259.4492</c:v>
                </c:pt>
                <c:pt idx="30">
                  <c:v>1295.9324</c:v>
                </c:pt>
                <c:pt idx="31">
                  <c:v>1161.5513</c:v>
                </c:pt>
                <c:pt idx="32">
                  <c:v>1185.2593</c:v>
                </c:pt>
                <c:pt idx="33">
                  <c:v>1189.3417</c:v>
                </c:pt>
                <c:pt idx="34">
                  <c:v>1192.0217</c:v>
                </c:pt>
                <c:pt idx="35">
                  <c:v>1158.7853</c:v>
                </c:pt>
                <c:pt idx="36">
                  <c:v>1241.4679</c:v>
                </c:pt>
                <c:pt idx="37">
                  <c:v>1272.8684</c:v>
                </c:pt>
                <c:pt idx="38">
                  <c:v>1348.9348</c:v>
                </c:pt>
                <c:pt idx="39">
                  <c:v>1380.8846</c:v>
                </c:pt>
                <c:pt idx="40">
                  <c:v>1462.8594</c:v>
                </c:pt>
                <c:pt idx="41">
                  <c:v>1434.4578</c:v>
                </c:pt>
                <c:pt idx="42">
                  <c:v>1429.35</c:v>
                </c:pt>
                <c:pt idx="43">
                  <c:v>1449.288</c:v>
                </c:pt>
                <c:pt idx="44">
                  <c:v>1277.9493</c:v>
                </c:pt>
                <c:pt idx="45">
                  <c:v>1215.4321</c:v>
                </c:pt>
                <c:pt idx="46">
                  <c:v>1230.45</c:v>
                </c:pt>
                <c:pt idx="47">
                  <c:v>1279.6853</c:v>
                </c:pt>
                <c:pt idx="48">
                  <c:v>1257.5045</c:v>
                </c:pt>
                <c:pt idx="49">
                  <c:v>1210.414</c:v>
                </c:pt>
                <c:pt idx="50">
                  <c:v>1193.6652</c:v>
                </c:pt>
                <c:pt idx="51">
                  <c:v>1256.3825</c:v>
                </c:pt>
                <c:pt idx="52">
                  <c:v>1194.2915</c:v>
                </c:pt>
                <c:pt idx="53">
                  <c:v>1210.7742</c:v>
                </c:pt>
                <c:pt idx="54">
                  <c:v>1207.3171</c:v>
                </c:pt>
                <c:pt idx="55">
                  <c:v>1206.0279</c:v>
                </c:pt>
                <c:pt idx="56">
                  <c:v>1211.0492</c:v>
                </c:pt>
                <c:pt idx="57">
                  <c:v>1156.8588</c:v>
                </c:pt>
                <c:pt idx="58">
                  <c:v>1146.0146</c:v>
                </c:pt>
                <c:pt idx="59">
                  <c:v>1099.5848</c:v>
                </c:pt>
                <c:pt idx="60">
                  <c:v>1121.3933</c:v>
                </c:pt>
                <c:pt idx="61">
                  <c:v>1166.8089</c:v>
                </c:pt>
                <c:pt idx="62">
                  <c:v>1173.3942</c:v>
                </c:pt>
                <c:pt idx="63">
                  <c:v>1174.8627</c:v>
                </c:pt>
                <c:pt idx="64">
                  <c:v>1152.3555</c:v>
                </c:pt>
                <c:pt idx="65">
                  <c:v>1109.6497</c:v>
                </c:pt>
                <c:pt idx="66">
                  <c:v>1130.4619</c:v>
                </c:pt>
                <c:pt idx="67">
                  <c:v>1154.4201</c:v>
                </c:pt>
                <c:pt idx="68">
                  <c:v>1200.3013</c:v>
                </c:pt>
                <c:pt idx="69">
                  <c:v>1205.6022</c:v>
                </c:pt>
                <c:pt idx="70">
                  <c:v>1037.5794</c:v>
                </c:pt>
                <c:pt idx="71">
                  <c:v>1188.3302</c:v>
                </c:pt>
                <c:pt idx="72">
                  <c:v>1253.3119</c:v>
                </c:pt>
                <c:pt idx="73">
                  <c:v>1118.6417</c:v>
                </c:pt>
                <c:pt idx="74">
                  <c:v>1243.7444</c:v>
                </c:pt>
                <c:pt idx="75">
                  <c:v>1205.4167</c:v>
                </c:pt>
                <c:pt idx="76">
                  <c:v>1298.8118</c:v>
                </c:pt>
                <c:pt idx="77">
                  <c:v>1266.0405</c:v>
                </c:pt>
                <c:pt idx="78">
                  <c:v>1256.25</c:v>
                </c:pt>
                <c:pt idx="79">
                  <c:v>1299.5692</c:v>
                </c:pt>
                <c:pt idx="80">
                  <c:v>1135.7931</c:v>
                </c:pt>
                <c:pt idx="81">
                  <c:v>1392.5758</c:v>
                </c:pt>
                <c:pt idx="82">
                  <c:v>1494.4595</c:v>
                </c:pt>
                <c:pt idx="83">
                  <c:v>1314.2833</c:v>
                </c:pt>
                <c:pt idx="84">
                  <c:v>1235.3151</c:v>
                </c:pt>
                <c:pt idx="85">
                  <c:v>1271.5323</c:v>
                </c:pt>
                <c:pt idx="86">
                  <c:v>1331.7083</c:v>
                </c:pt>
                <c:pt idx="87">
                  <c:v>1454.3727</c:v>
                </c:pt>
                <c:pt idx="88">
                  <c:v>1416.0</c:v>
                </c:pt>
                <c:pt idx="89">
                  <c:v>1432.5</c:v>
                </c:pt>
                <c:pt idx="90">
                  <c:v>1519.5</c:v>
                </c:pt>
                <c:pt idx="91">
                  <c:v>1471.1111</c:v>
                </c:pt>
                <c:pt idx="92">
                  <c:v>1381.087</c:v>
                </c:pt>
                <c:pt idx="93">
                  <c:v>1357.4105</c:v>
                </c:pt>
                <c:pt idx="94">
                  <c:v>1505.9</c:v>
                </c:pt>
                <c:pt idx="95">
                  <c:v>1384.7549</c:v>
                </c:pt>
                <c:pt idx="96">
                  <c:v>1299.777</c:v>
                </c:pt>
                <c:pt idx="97">
                  <c:v>1356.7925</c:v>
                </c:pt>
                <c:pt idx="98">
                  <c:v>1300.9916</c:v>
                </c:pt>
                <c:pt idx="99">
                  <c:v>1209.4365</c:v>
                </c:pt>
                <c:pt idx="100">
                  <c:v>1284.646</c:v>
                </c:pt>
                <c:pt idx="101">
                  <c:v>1324.3721</c:v>
                </c:pt>
                <c:pt idx="102">
                  <c:v>1290.4758</c:v>
                </c:pt>
                <c:pt idx="103">
                  <c:v>1152.0227</c:v>
                </c:pt>
                <c:pt idx="104">
                  <c:v>1166.9939</c:v>
                </c:pt>
              </c:numCache>
            </c:numRef>
          </c:xVal>
          <c:yVal>
            <c:numRef>
              <c:f>Sheet1!$B$2:$B$106</c:f>
              <c:numCache>
                <c:formatCode>General</c:formatCode>
                <c:ptCount val="105"/>
                <c:pt idx="0">
                  <c:v>0.25206611570247933</c:v>
                </c:pt>
                <c:pt idx="1">
                  <c:v>0.28012048192771083</c:v>
                </c:pt>
                <c:pt idx="2">
                  <c:v>0.25766871165644173</c:v>
                </c:pt>
                <c:pt idx="3">
                  <c:v>0.2902684563758389</c:v>
                </c:pt>
                <c:pt idx="4">
                  <c:v>0.3180952380952381</c:v>
                </c:pt>
                <c:pt idx="5">
                  <c:v>0.29971181556195964</c:v>
                </c:pt>
                <c:pt idx="6">
                  <c:v>0.3107638888888889</c:v>
                </c:pt>
                <c:pt idx="7">
                  <c:v>0.2915129151291513</c:v>
                </c:pt>
                <c:pt idx="8">
                  <c:v>0.2545454545454545</c:v>
                </c:pt>
                <c:pt idx="9">
                  <c:v>0.21635883905013192</c:v>
                </c:pt>
                <c:pt idx="10">
                  <c:v>0.2213225371120108</c:v>
                </c:pt>
                <c:pt idx="11">
                  <c:v>0.23097826086956522</c:v>
                </c:pt>
                <c:pt idx="12">
                  <c:v>0.208955223880597</c:v>
                </c:pt>
                <c:pt idx="13">
                  <c:v>0.1863270777479893</c:v>
                </c:pt>
                <c:pt idx="14">
                  <c:v>0.1856115107913669</c:v>
                </c:pt>
                <c:pt idx="15">
                  <c:v>0.19168173598553345</c:v>
                </c:pt>
                <c:pt idx="16">
                  <c:v>0.18052738336713997</c:v>
                </c:pt>
                <c:pt idx="17">
                  <c:v>0.21694214876033058</c:v>
                </c:pt>
                <c:pt idx="18">
                  <c:v>0.18857142857142858</c:v>
                </c:pt>
                <c:pt idx="19">
                  <c:v>0.1810810810810811</c:v>
                </c:pt>
                <c:pt idx="20">
                  <c:v>0.15544041450777202</c:v>
                </c:pt>
                <c:pt idx="21">
                  <c:v>0.17557251908396945</c:v>
                </c:pt>
                <c:pt idx="22">
                  <c:v>0.2043343653250774</c:v>
                </c:pt>
                <c:pt idx="23">
                  <c:v>0.21212121212121213</c:v>
                </c:pt>
                <c:pt idx="24">
                  <c:v>0.2222222222222222</c:v>
                </c:pt>
                <c:pt idx="25">
                  <c:v>0.19811320754716982</c:v>
                </c:pt>
                <c:pt idx="26">
                  <c:v>0.2</c:v>
                </c:pt>
                <c:pt idx="27">
                  <c:v>0.23017902813299232</c:v>
                </c:pt>
                <c:pt idx="28">
                  <c:v>0.24129353233830847</c:v>
                </c:pt>
                <c:pt idx="29">
                  <c:v>0.26339285714285715</c:v>
                </c:pt>
                <c:pt idx="30">
                  <c:v>0.185</c:v>
                </c:pt>
                <c:pt idx="31">
                  <c:v>0.2222222222222222</c:v>
                </c:pt>
                <c:pt idx="32">
                  <c:v>0.226890756302521</c:v>
                </c:pt>
                <c:pt idx="33">
                  <c:v>0.2603036876355748</c:v>
                </c:pt>
                <c:pt idx="34">
                  <c:v>0.2638623326959847</c:v>
                </c:pt>
                <c:pt idx="35">
                  <c:v>0.23087818696883852</c:v>
                </c:pt>
                <c:pt idx="36">
                  <c:v>0.2175732217573222</c:v>
                </c:pt>
                <c:pt idx="37">
                  <c:v>0.2007042253521127</c:v>
                </c:pt>
                <c:pt idx="38">
                  <c:v>0.18969072164948453</c:v>
                </c:pt>
                <c:pt idx="39">
                  <c:v>0.18352941176470589</c:v>
                </c:pt>
                <c:pt idx="40">
                  <c:v>0.14512471655328799</c:v>
                </c:pt>
                <c:pt idx="41">
                  <c:v>0.1860986547085202</c:v>
                </c:pt>
                <c:pt idx="42">
                  <c:v>0.20905923344947736</c:v>
                </c:pt>
                <c:pt idx="43">
                  <c:v>0.20903010033444816</c:v>
                </c:pt>
                <c:pt idx="44">
                  <c:v>0.20444444444444446</c:v>
                </c:pt>
                <c:pt idx="45">
                  <c:v>0.20454545454545456</c:v>
                </c:pt>
                <c:pt idx="46">
                  <c:v>0.18252933507170796</c:v>
                </c:pt>
                <c:pt idx="47">
                  <c:v>0.17503059975520197</c:v>
                </c:pt>
                <c:pt idx="48">
                  <c:v>0.20441988950276244</c:v>
                </c:pt>
                <c:pt idx="49">
                  <c:v>0.2655948553054662</c:v>
                </c:pt>
                <c:pt idx="50">
                  <c:v>0.2763938315539739</c:v>
                </c:pt>
                <c:pt idx="51">
                  <c:v>0.3055091819699499</c:v>
                </c:pt>
                <c:pt idx="52">
                  <c:v>0.31687898089171973</c:v>
                </c:pt>
                <c:pt idx="53">
                  <c:v>0.32068965517241377</c:v>
                </c:pt>
                <c:pt idx="54">
                  <c:v>0.3203125</c:v>
                </c:pt>
                <c:pt idx="55">
                  <c:v>0.3185053380782918</c:v>
                </c:pt>
                <c:pt idx="56">
                  <c:v>0.3414179104477612</c:v>
                </c:pt>
                <c:pt idx="57">
                  <c:v>0.34368932038834954</c:v>
                </c:pt>
                <c:pt idx="58">
                  <c:v>0.368705035971223</c:v>
                </c:pt>
                <c:pt idx="59">
                  <c:v>0.3772845953002611</c:v>
                </c:pt>
                <c:pt idx="60">
                  <c:v>0.35778443113772457</c:v>
                </c:pt>
                <c:pt idx="61">
                  <c:v>0.3393103448275862</c:v>
                </c:pt>
                <c:pt idx="62">
                  <c:v>0.3179419525065963</c:v>
                </c:pt>
                <c:pt idx="63">
                  <c:v>0.3053763440860215</c:v>
                </c:pt>
                <c:pt idx="64">
                  <c:v>0.23902894491129786</c:v>
                </c:pt>
                <c:pt idx="65">
                  <c:v>0.2456359102244389</c:v>
                </c:pt>
                <c:pt idx="66">
                  <c:v>0.24472049689440994</c:v>
                </c:pt>
                <c:pt idx="67">
                  <c:v>0.2720496894409938</c:v>
                </c:pt>
                <c:pt idx="68">
                  <c:v>0.25120772946859904</c:v>
                </c:pt>
                <c:pt idx="69">
                  <c:v>0.22682926829268293</c:v>
                </c:pt>
                <c:pt idx="70">
                  <c:v>0.23516483516483516</c:v>
                </c:pt>
                <c:pt idx="71">
                  <c:v>0.2623762376237624</c:v>
                </c:pt>
                <c:pt idx="72">
                  <c:v>0.2914438502673797</c:v>
                </c:pt>
                <c:pt idx="73">
                  <c:v>0.3053435114503817</c:v>
                </c:pt>
                <c:pt idx="74">
                  <c:v>0.29508196721311475</c:v>
                </c:pt>
                <c:pt idx="75">
                  <c:v>0.2198952879581152</c:v>
                </c:pt>
                <c:pt idx="76">
                  <c:v>0.24853801169590642</c:v>
                </c:pt>
                <c:pt idx="77">
                  <c:v>0.2016348773841962</c:v>
                </c:pt>
                <c:pt idx="78">
                  <c:v>0.2585034013605442</c:v>
                </c:pt>
                <c:pt idx="79">
                  <c:v>0.20634920634920634</c:v>
                </c:pt>
                <c:pt idx="80">
                  <c:v>0.23705722070844687</c:v>
                </c:pt>
                <c:pt idx="81">
                  <c:v>0.18333333333333332</c:v>
                </c:pt>
                <c:pt idx="82">
                  <c:v>0.2182890855457227</c:v>
                </c:pt>
                <c:pt idx="83">
                  <c:v>0.20905923344947736</c:v>
                </c:pt>
                <c:pt idx="84">
                  <c:v>0.24914675767918087</c:v>
                </c:pt>
                <c:pt idx="85">
                  <c:v>0.22142857142857142</c:v>
                </c:pt>
                <c:pt idx="86">
                  <c:v>0.20041753653444677</c:v>
                </c:pt>
                <c:pt idx="87">
                  <c:v>0.1916376306620209</c:v>
                </c:pt>
                <c:pt idx="88">
                  <c:v>0.2209737827715356</c:v>
                </c:pt>
                <c:pt idx="89">
                  <c:v>0.1937046004842615</c:v>
                </c:pt>
                <c:pt idx="90">
                  <c:v>0.23163841807909605</c:v>
                </c:pt>
                <c:pt idx="91">
                  <c:v>0.21575342465753425</c:v>
                </c:pt>
                <c:pt idx="92">
                  <c:v>0.24210526315789474</c:v>
                </c:pt>
                <c:pt idx="93">
                  <c:v>0.2345679012345679</c:v>
                </c:pt>
                <c:pt idx="94">
                  <c:v>0.20270270270270271</c:v>
                </c:pt>
                <c:pt idx="95">
                  <c:v>0.1946564885496183</c:v>
                </c:pt>
                <c:pt idx="96">
                  <c:v>0.21821036106750394</c:v>
                </c:pt>
                <c:pt idx="97">
                  <c:v>0.21486486486486486</c:v>
                </c:pt>
                <c:pt idx="98">
                  <c:v>0.26125137211855104</c:v>
                </c:pt>
                <c:pt idx="99">
                  <c:v>0.25635808748728384</c:v>
                </c:pt>
                <c:pt idx="100">
                  <c:v>0.2397034596375618</c:v>
                </c:pt>
                <c:pt idx="101">
                  <c:v>0.22572178477690288</c:v>
                </c:pt>
                <c:pt idx="102">
                  <c:v>0.26666666666666666</c:v>
                </c:pt>
                <c:pt idx="103">
                  <c:v>0.29431438127090304</c:v>
                </c:pt>
                <c:pt idx="104">
                  <c:v>0.302411873840445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9.4626</c:v>
                </c:pt>
                <c:pt idx="1">
                  <c:v>1240.2222</c:v>
                </c:pt>
                <c:pt idx="2">
                  <c:v>1190.1214</c:v>
                </c:pt>
                <c:pt idx="3">
                  <c:v>1348.929</c:v>
                </c:pt>
                <c:pt idx="4">
                  <c:v>1321.0321</c:v>
                </c:pt>
                <c:pt idx="5">
                  <c:v>1380.7857</c:v>
                </c:pt>
                <c:pt idx="6">
                  <c:v>1324.6139</c:v>
                </c:pt>
                <c:pt idx="7">
                  <c:v>1360.4697</c:v>
                </c:pt>
                <c:pt idx="8">
                  <c:v>1406.6991</c:v>
                </c:pt>
                <c:pt idx="9">
                  <c:v>1272.9835</c:v>
                </c:pt>
                <c:pt idx="10">
                  <c:v>1351.4497</c:v>
                </c:pt>
                <c:pt idx="11">
                  <c:v>1219.382</c:v>
                </c:pt>
                <c:pt idx="12">
                  <c:v>1206.9399</c:v>
                </c:pt>
                <c:pt idx="13">
                  <c:v>1201.4969</c:v>
                </c:pt>
                <c:pt idx="14">
                  <c:v>1191.4503</c:v>
                </c:pt>
                <c:pt idx="15">
                  <c:v>1252.9427</c:v>
                </c:pt>
                <c:pt idx="16">
                  <c:v>1268.25</c:v>
                </c:pt>
                <c:pt idx="17">
                  <c:v>1154.5426</c:v>
                </c:pt>
                <c:pt idx="18">
                  <c:v>1345.6806</c:v>
                </c:pt>
                <c:pt idx="19">
                  <c:v>1498.2626</c:v>
                </c:pt>
                <c:pt idx="20">
                  <c:v>1435.4074</c:v>
                </c:pt>
                <c:pt idx="21">
                  <c:v>1441.6111</c:v>
                </c:pt>
                <c:pt idx="22">
                  <c:v>1222.9853</c:v>
                </c:pt>
                <c:pt idx="23">
                  <c:v>1159.3038</c:v>
                </c:pt>
                <c:pt idx="24">
                  <c:v>1005.9684</c:v>
                </c:pt>
                <c:pt idx="25">
                  <c:v>1126.9221</c:v>
                </c:pt>
                <c:pt idx="26">
                  <c:v>1184.2568</c:v>
                </c:pt>
                <c:pt idx="27">
                  <c:v>1223.3857</c:v>
                </c:pt>
                <c:pt idx="28">
                  <c:v>1328.6761</c:v>
                </c:pt>
                <c:pt idx="29">
                  <c:v>1283.0274</c:v>
                </c:pt>
                <c:pt idx="30">
                  <c:v>1403.962</c:v>
                </c:pt>
                <c:pt idx="31">
                  <c:v>1166.6375</c:v>
                </c:pt>
                <c:pt idx="32">
                  <c:v>1180.2917</c:v>
                </c:pt>
                <c:pt idx="33">
                  <c:v>1305.1261</c:v>
                </c:pt>
                <c:pt idx="34">
                  <c:v>1319.9792</c:v>
                </c:pt>
                <c:pt idx="35">
                  <c:v>1148.0982</c:v>
                </c:pt>
                <c:pt idx="36">
                  <c:v>1237.7423</c:v>
                </c:pt>
                <c:pt idx="37">
                  <c:v>1258.3387</c:v>
                </c:pt>
                <c:pt idx="38">
                  <c:v>1239.9104</c:v>
                </c:pt>
                <c:pt idx="39">
                  <c:v>1127.7826</c:v>
                </c:pt>
                <c:pt idx="40">
                  <c:v>1136.3545</c:v>
                </c:pt>
                <c:pt idx="41">
                  <c:v>1125.5325</c:v>
                </c:pt>
                <c:pt idx="42">
                  <c:v>1182.0901</c:v>
                </c:pt>
                <c:pt idx="43">
                  <c:v>1512.1728</c:v>
                </c:pt>
                <c:pt idx="44">
                  <c:v>1448.8396</c:v>
                </c:pt>
                <c:pt idx="45">
                  <c:v>1373.3182</c:v>
                </c:pt>
                <c:pt idx="46">
                  <c:v>1347.9928</c:v>
                </c:pt>
                <c:pt idx="47">
                  <c:v>1207.4762</c:v>
                </c:pt>
                <c:pt idx="48">
                  <c:v>1096.0067</c:v>
                </c:pt>
                <c:pt idx="49">
                  <c:v>1154.3855</c:v>
                </c:pt>
                <c:pt idx="50">
                  <c:v>1180.5408</c:v>
                </c:pt>
                <c:pt idx="51">
                  <c:v>1096.4966</c:v>
                </c:pt>
              </c:numCache>
            </c:numRef>
          </c:xVal>
          <c:yVal>
            <c:numRef>
              <c:f>Sheet1!$B$109:$B$160</c:f>
              <c:numCache>
                <c:formatCode>General</c:formatCode>
                <c:ptCount val="52"/>
                <c:pt idx="0">
                  <c:v>0.27425373134328357</c:v>
                </c:pt>
                <c:pt idx="1">
                  <c:v>0.3066132264529058</c:v>
                </c:pt>
                <c:pt idx="2">
                  <c:v>0.31684981684981683</c:v>
                </c:pt>
                <c:pt idx="3">
                  <c:v>0.3118081180811808</c:v>
                </c:pt>
                <c:pt idx="4">
                  <c:v>0.3101391650099404</c:v>
                </c:pt>
                <c:pt idx="5">
                  <c:v>0.3452914798206278</c:v>
                </c:pt>
                <c:pt idx="6">
                  <c:v>0.2936046511627907</c:v>
                </c:pt>
                <c:pt idx="7">
                  <c:v>0.2894736842105263</c:v>
                </c:pt>
                <c:pt idx="8">
                  <c:v>0.30376344086021506</c:v>
                </c:pt>
                <c:pt idx="9">
                  <c:v>0.3201058201058201</c:v>
                </c:pt>
                <c:pt idx="10">
                  <c:v>0.3034623217922607</c:v>
                </c:pt>
                <c:pt idx="11">
                  <c:v>0.2755417956656347</c:v>
                </c:pt>
                <c:pt idx="12">
                  <c:v>0.2815384615384615</c:v>
                </c:pt>
                <c:pt idx="13">
                  <c:v>0.28496503496503495</c:v>
                </c:pt>
                <c:pt idx="14">
                  <c:v>0.3326848249027237</c:v>
                </c:pt>
                <c:pt idx="15">
                  <c:v>0.31462925851703405</c:v>
                </c:pt>
                <c:pt idx="16">
                  <c:v>0.2966751918158568</c:v>
                </c:pt>
                <c:pt idx="17">
                  <c:v>0.25824175824175827</c:v>
                </c:pt>
                <c:pt idx="18">
                  <c:v>0.21364985163204747</c:v>
                </c:pt>
                <c:pt idx="19">
                  <c:v>0.2727272727272727</c:v>
                </c:pt>
                <c:pt idx="20">
                  <c:v>0.28222996515679444</c:v>
                </c:pt>
                <c:pt idx="21">
                  <c:v>0.3185840707964602</c:v>
                </c:pt>
                <c:pt idx="22">
                  <c:v>0.3222748815165877</c:v>
                </c:pt>
                <c:pt idx="23">
                  <c:v>0.34347826086956523</c:v>
                </c:pt>
                <c:pt idx="24">
                  <c:v>0.3877551020408163</c:v>
                </c:pt>
                <c:pt idx="25">
                  <c:v>0.3347826086956522</c:v>
                </c:pt>
                <c:pt idx="26">
                  <c:v>0.3008130081300813</c:v>
                </c:pt>
                <c:pt idx="27">
                  <c:v>0.2356902356902357</c:v>
                </c:pt>
                <c:pt idx="28">
                  <c:v>0.23825503355704697</c:v>
                </c:pt>
                <c:pt idx="29">
                  <c:v>0.2517241379310345</c:v>
                </c:pt>
                <c:pt idx="30">
                  <c:v>0.24012158054711247</c:v>
                </c:pt>
                <c:pt idx="31">
                  <c:v>0.27972027972027974</c:v>
                </c:pt>
                <c:pt idx="32">
                  <c:v>0.2517482517482518</c:v>
                </c:pt>
                <c:pt idx="33">
                  <c:v>0.2860576923076923</c:v>
                </c:pt>
                <c:pt idx="34">
                  <c:v>0.259927797833935</c:v>
                </c:pt>
                <c:pt idx="35">
                  <c:v>0.2824956672443674</c:v>
                </c:pt>
                <c:pt idx="36">
                  <c:v>0.3089171974522293</c:v>
                </c:pt>
                <c:pt idx="37">
                  <c:v>0.33513513513513515</c:v>
                </c:pt>
                <c:pt idx="38">
                  <c:v>0.2875536480686695</c:v>
                </c:pt>
                <c:pt idx="39">
                  <c:v>0.2882205513784461</c:v>
                </c:pt>
                <c:pt idx="40">
                  <c:v>0.248868778280543</c:v>
                </c:pt>
                <c:pt idx="41">
                  <c:v>0.3061630218687873</c:v>
                </c:pt>
                <c:pt idx="42">
                  <c:v>0.30327868852459017</c:v>
                </c:pt>
                <c:pt idx="43">
                  <c:v>0.19148936170212766</c:v>
                </c:pt>
                <c:pt idx="44">
                  <c:v>0.19343065693430658</c:v>
                </c:pt>
                <c:pt idx="45">
                  <c:v>0.24328593996840442</c:v>
                </c:pt>
                <c:pt idx="46">
                  <c:v>0.23089700996677742</c:v>
                </c:pt>
                <c:pt idx="47">
                  <c:v>0.24778761061946902</c:v>
                </c:pt>
                <c:pt idx="48">
                  <c:v>0.2170767004341534</c:v>
                </c:pt>
                <c:pt idx="49">
                  <c:v>0.23512747875354106</c:v>
                </c:pt>
                <c:pt idx="50">
                  <c:v>0.2313803376365442</c:v>
                </c:pt>
                <c:pt idx="51">
                  <c:v>0.229430379746835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2.500629865947</c:v>
                </c:pt>
              </c:numCache>
            </c:numRef>
          </c:xVal>
          <c:yVal>
            <c:numRef>
              <c:f>Sheet1!$B$163:$B$164</c:f>
              <c:numCache>
                <c:formatCode>General</c:formatCode>
                <c:ptCount val="2"/>
                <c:pt idx="0">
                  <c:v>0.31670657890153053</c:v>
                </c:pt>
                <c:pt idx="1">
                  <c:v>0.3167065789015305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2.500629865947</c:v>
                </c:pt>
                <c:pt idx="1">
                  <c:v>852.500629865947</c:v>
                </c:pt>
              </c:numCache>
            </c:numRef>
          </c:xVal>
          <c:yVal>
            <c:numRef>
              <c:f>Sheet1!$B$167:$B$168</c:f>
              <c:numCache>
                <c:formatCode>General</c:formatCode>
                <c:ptCount val="2"/>
                <c:pt idx="0">
                  <c:v>0.3167065789015305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7.3305990463386</c:v>
                </c:pt>
              </c:numCache>
            </c:numRef>
          </c:xVal>
          <c:yVal>
            <c:numRef>
              <c:f>Sheet1!$B$171:$B$172</c:f>
              <c:numCache>
                <c:formatCode>General</c:formatCode>
                <c:ptCount val="2"/>
                <c:pt idx="0">
                  <c:v>0.30575525708792084</c:v>
                </c:pt>
                <c:pt idx="1">
                  <c:v>0.305755257087920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7.3305990463386</c:v>
                </c:pt>
                <c:pt idx="1">
                  <c:v>977.3305990463386</c:v>
                </c:pt>
              </c:numCache>
            </c:numRef>
          </c:xVal>
          <c:yVal>
            <c:numRef>
              <c:f>Sheet1!$B$175:$B$176</c:f>
              <c:numCache>
                <c:formatCode>General</c:formatCode>
                <c:ptCount val="2"/>
                <c:pt idx="0">
                  <c:v>0.305755257087920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686.1335403649266</c:v>
                </c:pt>
              </c:numCache>
            </c:numRef>
          </c:xVal>
          <c:yVal>
            <c:numRef>
              <c:f>Sheet1!$B$179:$B$180</c:f>
              <c:numCache>
                <c:formatCode>General</c:formatCode>
                <c:ptCount val="2"/>
                <c:pt idx="0">
                  <c:v>0.24357203967804048</c:v>
                </c:pt>
                <c:pt idx="1">
                  <c:v>0.2435720396780404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686.1335403649266</c:v>
                </c:pt>
                <c:pt idx="1">
                  <c:v>1686.1335403649266</c:v>
                </c:pt>
              </c:numCache>
            </c:numRef>
          </c:xVal>
          <c:yVal>
            <c:numRef>
              <c:f>Sheet1!$B$183:$B$184</c:f>
              <c:numCache>
                <c:formatCode>General</c:formatCode>
                <c:ptCount val="2"/>
                <c:pt idx="0">
                  <c:v>0.243572039678040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9.4626</c:v>
                </c:pt>
                <c:pt idx="1">
                  <c:v>1240.2222</c:v>
                </c:pt>
                <c:pt idx="2">
                  <c:v>1190.1214</c:v>
                </c:pt>
                <c:pt idx="3">
                  <c:v>1348.929</c:v>
                </c:pt>
                <c:pt idx="4">
                  <c:v>1321.0321</c:v>
                </c:pt>
                <c:pt idx="5">
                  <c:v>1380.7857</c:v>
                </c:pt>
                <c:pt idx="6">
                  <c:v>1324.6139</c:v>
                </c:pt>
                <c:pt idx="7">
                  <c:v>1360.4697</c:v>
                </c:pt>
                <c:pt idx="8">
                  <c:v>1406.6991</c:v>
                </c:pt>
                <c:pt idx="9">
                  <c:v>1272.9835</c:v>
                </c:pt>
                <c:pt idx="10">
                  <c:v>1351.4497</c:v>
                </c:pt>
                <c:pt idx="11">
                  <c:v>1219.382</c:v>
                </c:pt>
                <c:pt idx="12">
                  <c:v>1206.9399</c:v>
                </c:pt>
                <c:pt idx="13">
                  <c:v>1201.4969</c:v>
                </c:pt>
                <c:pt idx="14">
                  <c:v>1191.4503</c:v>
                </c:pt>
                <c:pt idx="15">
                  <c:v>1252.9427</c:v>
                </c:pt>
                <c:pt idx="16">
                  <c:v>1268.25</c:v>
                </c:pt>
                <c:pt idx="17">
                  <c:v>1154.5426</c:v>
                </c:pt>
                <c:pt idx="18">
                  <c:v>1345.6806</c:v>
                </c:pt>
                <c:pt idx="19">
                  <c:v>1498.2626</c:v>
                </c:pt>
                <c:pt idx="20">
                  <c:v>1435.4074</c:v>
                </c:pt>
                <c:pt idx="21">
                  <c:v>1441.6111</c:v>
                </c:pt>
                <c:pt idx="22">
                  <c:v>1222.9853</c:v>
                </c:pt>
                <c:pt idx="23">
                  <c:v>1159.3038</c:v>
                </c:pt>
                <c:pt idx="24">
                  <c:v>1005.9684</c:v>
                </c:pt>
                <c:pt idx="25">
                  <c:v>1126.9221</c:v>
                </c:pt>
                <c:pt idx="26">
                  <c:v>1184.2568</c:v>
                </c:pt>
                <c:pt idx="27">
                  <c:v>1223.3857</c:v>
                </c:pt>
                <c:pt idx="28">
                  <c:v>1328.6761</c:v>
                </c:pt>
                <c:pt idx="29">
                  <c:v>1283.0274</c:v>
                </c:pt>
                <c:pt idx="30">
                  <c:v>1403.962</c:v>
                </c:pt>
                <c:pt idx="31">
                  <c:v>1166.6375</c:v>
                </c:pt>
                <c:pt idx="32">
                  <c:v>1180.2917</c:v>
                </c:pt>
                <c:pt idx="33">
                  <c:v>1305.1261</c:v>
                </c:pt>
                <c:pt idx="34">
                  <c:v>1319.9792</c:v>
                </c:pt>
                <c:pt idx="35">
                  <c:v>1148.0982</c:v>
                </c:pt>
                <c:pt idx="36">
                  <c:v>1237.7423</c:v>
                </c:pt>
                <c:pt idx="37">
                  <c:v>1258.3387</c:v>
                </c:pt>
                <c:pt idx="38">
                  <c:v>1239.9104</c:v>
                </c:pt>
                <c:pt idx="39">
                  <c:v>1127.7826</c:v>
                </c:pt>
                <c:pt idx="40">
                  <c:v>1136.3545</c:v>
                </c:pt>
                <c:pt idx="41">
                  <c:v>1125.5325</c:v>
                </c:pt>
                <c:pt idx="42">
                  <c:v>1182.0901</c:v>
                </c:pt>
                <c:pt idx="43">
                  <c:v>1512.1728</c:v>
                </c:pt>
                <c:pt idx="44">
                  <c:v>1448.8396</c:v>
                </c:pt>
                <c:pt idx="45">
                  <c:v>1373.3182</c:v>
                </c:pt>
                <c:pt idx="46">
                  <c:v>1347.9928</c:v>
                </c:pt>
                <c:pt idx="47">
                  <c:v>1207.4762</c:v>
                </c:pt>
                <c:pt idx="48">
                  <c:v>1096.0067</c:v>
                </c:pt>
                <c:pt idx="49">
                  <c:v>1154.3855</c:v>
                </c:pt>
                <c:pt idx="50">
                  <c:v>1180.5408</c:v>
                </c:pt>
                <c:pt idx="51">
                  <c:v>1096.4966</c:v>
                </c:pt>
                <c:pt idx="52">
                  <c:v>977.3305990463386</c:v>
                </c:pt>
                <c:pt idx="53">
                  <c:v>852.500629865947</c:v>
                </c:pt>
                <c:pt idx="54">
                  <c:v>1686.1335403649266</c:v>
                </c:pt>
              </c:numCache>
            </c:numRef>
          </c:xVal>
          <c:yVal>
            <c:numRef>
              <c:f>Sheet1!$B$187:$B$241</c:f>
              <c:numCache>
                <c:formatCode>General</c:formatCode>
                <c:ptCount val="55"/>
                <c:pt idx="0">
                  <c:v>0.28539033781114814</c:v>
                </c:pt>
                <c:pt idx="1">
                  <c:v>0.28269180090795376</c:v>
                </c:pt>
                <c:pt idx="2">
                  <c:v>0.2870871395235262</c:v>
                </c:pt>
                <c:pt idx="3">
                  <c:v>0.27315496325635313</c:v>
                </c:pt>
                <c:pt idx="4">
                  <c:v>0.27560235574958203</c:v>
                </c:pt>
                <c:pt idx="5">
                  <c:v>0.27036017787019745</c:v>
                </c:pt>
                <c:pt idx="6">
                  <c:v>0.27528812476218745</c:v>
                </c:pt>
                <c:pt idx="7">
                  <c:v>0.27214249869768864</c:v>
                </c:pt>
                <c:pt idx="8">
                  <c:v>0.26808679765110366</c:v>
                </c:pt>
                <c:pt idx="9">
                  <c:v>0.27981765504628375</c:v>
                </c:pt>
                <c:pt idx="10">
                  <c:v>0.2729338224752025</c:v>
                </c:pt>
                <c:pt idx="11">
                  <c:v>0.2845201097536459</c:v>
                </c:pt>
                <c:pt idx="12">
                  <c:v>0.28561165405211647</c:v>
                </c:pt>
                <c:pt idx="13">
                  <c:v>0.28608916794579803</c:v>
                </c:pt>
                <c:pt idx="14">
                  <c:v>0.2869705552477016</c:v>
                </c:pt>
                <c:pt idx="15">
                  <c:v>0.281575832602869</c:v>
                </c:pt>
                <c:pt idx="16">
                  <c:v>0.2802329245696609</c:v>
                </c:pt>
                <c:pt idx="17">
                  <c:v>0.29020846440328324</c:v>
                </c:pt>
                <c:pt idx="18">
                  <c:v>0.27343994509214864</c:v>
                </c:pt>
                <c:pt idx="19">
                  <c:v>0.2600539401452959</c:v>
                </c:pt>
                <c:pt idx="20">
                  <c:v>0.265568221109862</c:v>
                </c:pt>
                <c:pt idx="21">
                  <c:v>0.2650239710745447</c:v>
                </c:pt>
                <c:pt idx="22">
                  <c:v>0.2842039925732118</c:v>
                </c:pt>
                <c:pt idx="23">
                  <c:v>0.28979076476143195</c:v>
                </c:pt>
                <c:pt idx="24">
                  <c:v>0.30324286542158607</c:v>
                </c:pt>
                <c:pt idx="25">
                  <c:v>0.2926316083497156</c:v>
                </c:pt>
                <c:pt idx="26">
                  <c:v>0.2876016403467643</c:v>
                </c:pt>
                <c:pt idx="27">
                  <c:v>0.28416886551772214</c:v>
                </c:pt>
                <c:pt idx="28">
                  <c:v>0.27493174832659806</c:v>
                </c:pt>
                <c:pt idx="29">
                  <c:v>0.27893650461513403</c:v>
                </c:pt>
                <c:pt idx="30">
                  <c:v>0.26832692318452195</c:v>
                </c:pt>
                <c:pt idx="31">
                  <c:v>0.2891473799291533</c:v>
                </c:pt>
                <c:pt idx="32">
                  <c:v>0.28794949820820775</c:v>
                </c:pt>
                <c:pt idx="33">
                  <c:v>0.27699778767919786</c:v>
                </c:pt>
                <c:pt idx="34">
                  <c:v>0.27569472657057364</c:v>
                </c:pt>
                <c:pt idx="35">
                  <c:v>0.2907738310276524</c:v>
                </c:pt>
                <c:pt idx="36">
                  <c:v>0.2829093623088248</c:v>
                </c:pt>
                <c:pt idx="37">
                  <c:v>0.28110244201490175</c:v>
                </c:pt>
                <c:pt idx="38">
                  <c:v>0.28271915509352236</c:v>
                </c:pt>
                <c:pt idx="39">
                  <c:v>0.29255611676318005</c:v>
                </c:pt>
                <c:pt idx="40">
                  <c:v>0.2918041047578064</c:v>
                </c:pt>
                <c:pt idx="41">
                  <c:v>0.29275351783100534</c:v>
                </c:pt>
                <c:pt idx="42">
                  <c:v>0.2877917247401944</c:v>
                </c:pt>
                <c:pt idx="43">
                  <c:v>0.2588335995676937</c:v>
                </c:pt>
                <c:pt idx="44">
                  <c:v>0.26438981542867346</c:v>
                </c:pt>
                <c:pt idx="45">
                  <c:v>0.27101530096427556</c:v>
                </c:pt>
                <c:pt idx="46">
                  <c:v>0.273237095996986</c:v>
                </c:pt>
                <c:pt idx="47">
                  <c:v>0.2855646045020188</c:v>
                </c:pt>
                <c:pt idx="48">
                  <c:v>0.29534381357270345</c:v>
                </c:pt>
                <c:pt idx="49">
                  <c:v>0.29022224677195807</c:v>
                </c:pt>
                <c:pt idx="50">
                  <c:v>0.28792764468792187</c:v>
                </c:pt>
                <c:pt idx="51">
                  <c:v>0.2953008346903748</c:v>
                </c:pt>
                <c:pt idx="52">
                  <c:v>0.30575525708792084</c:v>
                </c:pt>
                <c:pt idx="53">
                  <c:v>0.31670657890153053</c:v>
                </c:pt>
                <c:pt idx="54">
                  <c:v>0.243572039678040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23.0"/>
          <c:min val="68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30612244897956"/>
          <c:min val="0.116099773242630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043211887094206</c:v>
                </c:pt>
                <c:pt idx="1">
                  <c:v>2.402895945297932</c:v>
                </c:pt>
                <c:pt idx="2">
                  <c:v>2.5317400683314117</c:v>
                </c:pt>
                <c:pt idx="3">
                  <c:v>2.520644986293594</c:v>
                </c:pt>
                <c:pt idx="4">
                  <c:v>2.5483040701529056</c:v>
                </c:pt>
                <c:pt idx="5">
                  <c:v>2.02879374100105</c:v>
                </c:pt>
                <c:pt idx="6">
                  <c:v>1.6512641649434545</c:v>
                </c:pt>
                <c:pt idx="7">
                  <c:v>1.671602478933203</c:v>
                </c:pt>
                <c:pt idx="8">
                  <c:v>1.6515125647099276</c:v>
                </c:pt>
                <c:pt idx="9">
                  <c:v>1.727779885706797</c:v>
                </c:pt>
                <c:pt idx="10">
                  <c:v>1.5982025622402332</c:v>
                </c:pt>
                <c:pt idx="11">
                  <c:v>1.6742461483604867</c:v>
                </c:pt>
                <c:pt idx="12">
                  <c:v>1.710906810028671</c:v>
                </c:pt>
                <c:pt idx="13">
                  <c:v>1.706804200053544</c:v>
                </c:pt>
                <c:pt idx="14">
                  <c:v>1.8013980537787464</c:v>
                </c:pt>
                <c:pt idx="15">
                  <c:v>1.8138459723404592</c:v>
                </c:pt>
                <c:pt idx="16">
                  <c:v>1.7511986042076457</c:v>
                </c:pt>
                <c:pt idx="17">
                  <c:v>2.2538809467846925</c:v>
                </c:pt>
                <c:pt idx="18">
                  <c:v>2.6152194953028713</c:v>
                </c:pt>
                <c:pt idx="19">
                  <c:v>2.0671401384876416</c:v>
                </c:pt>
                <c:pt idx="20">
                  <c:v>2.5011997867640154</c:v>
                </c:pt>
                <c:pt idx="21">
                  <c:v>2.654913941763573</c:v>
                </c:pt>
                <c:pt idx="22">
                  <c:v>2.56587567592726</c:v>
                </c:pt>
                <c:pt idx="23">
                  <c:v>2.6528211997706883</c:v>
                </c:pt>
                <c:pt idx="24">
                  <c:v>2.901002559560335</c:v>
                </c:pt>
                <c:pt idx="25">
                  <c:v>2.838677193438469</c:v>
                </c:pt>
                <c:pt idx="26">
                  <c:v>2.0081821073735138</c:v>
                </c:pt>
                <c:pt idx="27">
                  <c:v>1.961324548018943</c:v>
                </c:pt>
                <c:pt idx="28">
                  <c:v>1.937871744235008</c:v>
                </c:pt>
                <c:pt idx="29">
                  <c:v>1.8896110103216786</c:v>
                </c:pt>
                <c:pt idx="30">
                  <c:v>1.8919735204340842</c:v>
                </c:pt>
                <c:pt idx="31">
                  <c:v>1.8662098844053336</c:v>
                </c:pt>
                <c:pt idx="32">
                  <c:v>1.753570341171622</c:v>
                </c:pt>
                <c:pt idx="33">
                  <c:v>1.7568645791851905</c:v>
                </c:pt>
                <c:pt idx="34">
                  <c:v>1.7934133182806429</c:v>
                </c:pt>
                <c:pt idx="35">
                  <c:v>1.9591925407487436</c:v>
                </c:pt>
                <c:pt idx="36">
                  <c:v>2.0985894674941794</c:v>
                </c:pt>
                <c:pt idx="37">
                  <c:v>2.2578553272210686</c:v>
                </c:pt>
                <c:pt idx="38">
                  <c:v>2.2735171018254126</c:v>
                </c:pt>
                <c:pt idx="39">
                  <c:v>2.299110153095668</c:v>
                </c:pt>
                <c:pt idx="40">
                  <c:v>2.245729847063997</c:v>
                </c:pt>
                <c:pt idx="41">
                  <c:v>2.283999917646826</c:v>
                </c:pt>
                <c:pt idx="42">
                  <c:v>2.3113177809244805</c:v>
                </c:pt>
                <c:pt idx="43">
                  <c:v>2.2791781186529594</c:v>
                </c:pt>
                <c:pt idx="44">
                  <c:v>2.0901342325549654</c:v>
                </c:pt>
                <c:pt idx="45">
                  <c:v>2.048086529967711</c:v>
                </c:pt>
                <c:pt idx="46">
                  <c:v>2.0601381060024635</c:v>
                </c:pt>
                <c:pt idx="47">
                  <c:v>2.024856888742023</c:v>
                </c:pt>
                <c:pt idx="48">
                  <c:v>2.0543435512229267</c:v>
                </c:pt>
                <c:pt idx="49">
                  <c:v>1.9928508392830668</c:v>
                </c:pt>
                <c:pt idx="50">
                  <c:v>1.9256362215521685</c:v>
                </c:pt>
                <c:pt idx="51">
                  <c:v>1.9897272023152413</c:v>
                </c:pt>
                <c:pt idx="52">
                  <c:v>2.0409791520441325</c:v>
                </c:pt>
                <c:pt idx="53">
                  <c:v>2.220309498204326</c:v>
                </c:pt>
                <c:pt idx="54">
                  <c:v>2.2476466122783854</c:v>
                </c:pt>
                <c:pt idx="55">
                  <c:v>2.3003479295020823</c:v>
                </c:pt>
                <c:pt idx="56">
                  <c:v>2.350928592069684</c:v>
                </c:pt>
                <c:pt idx="57">
                  <c:v>2.317281557109003</c:v>
                </c:pt>
                <c:pt idx="58">
                  <c:v>2.0567788305307757</c:v>
                </c:pt>
                <c:pt idx="59">
                  <c:v>2.2531733611164904</c:v>
                </c:pt>
                <c:pt idx="60">
                  <c:v>2.2615027279304174</c:v>
                </c:pt>
                <c:pt idx="61">
                  <c:v>2.1567942298529177</c:v>
                </c:pt>
                <c:pt idx="62">
                  <c:v>2.0151450288664927</c:v>
                </c:pt>
                <c:pt idx="63">
                  <c:v>2.1417994520360066</c:v>
                </c:pt>
                <c:pt idx="64">
                  <c:v>2.0934998688043818</c:v>
                </c:pt>
                <c:pt idx="65">
                  <c:v>2.057323680640897</c:v>
                </c:pt>
                <c:pt idx="66">
                  <c:v>2.044011802577787</c:v>
                </c:pt>
                <c:pt idx="67">
                  <c:v>2.093276995786136</c:v>
                </c:pt>
                <c:pt idx="68">
                  <c:v>2.1155357768138816</c:v>
                </c:pt>
                <c:pt idx="69">
                  <c:v>2.134763080557128</c:v>
                </c:pt>
                <c:pt idx="70">
                  <c:v>2.0452837114970213</c:v>
                </c:pt>
                <c:pt idx="71">
                  <c:v>2.2972140855023735</c:v>
                </c:pt>
                <c:pt idx="72">
                  <c:v>2.6008397266018077</c:v>
                </c:pt>
                <c:pt idx="73">
                  <c:v>2.3899530247273097</c:v>
                </c:pt>
                <c:pt idx="74">
                  <c:v>2.412284409796765</c:v>
                </c:pt>
                <c:pt idx="75">
                  <c:v>2.4023840812489103</c:v>
                </c:pt>
                <c:pt idx="76">
                  <c:v>2.5136660652934713</c:v>
                </c:pt>
                <c:pt idx="77">
                  <c:v>2.592002268936382</c:v>
                </c:pt>
                <c:pt idx="78">
                  <c:v>2.6249168496835678</c:v>
                </c:pt>
                <c:pt idx="79">
                  <c:v>2.697976326754836</c:v>
                </c:pt>
                <c:pt idx="80">
                  <c:v>2.6011764919857834</c:v>
                </c:pt>
                <c:pt idx="81">
                  <c:v>2.5991356054121626</c:v>
                </c:pt>
                <c:pt idx="82">
                  <c:v>2.644033256073953</c:v>
                </c:pt>
                <c:pt idx="83">
                  <c:v>2.545601917144068</c:v>
                </c:pt>
                <c:pt idx="84">
                  <c:v>2.6349509146596803</c:v>
                </c:pt>
                <c:pt idx="85">
                  <c:v>2.430897647158864</c:v>
                </c:pt>
                <c:pt idx="86">
                  <c:v>2.4179735046002193</c:v>
                </c:pt>
                <c:pt idx="87">
                  <c:v>2.4336139098485043</c:v>
                </c:pt>
                <c:pt idx="88">
                  <c:v>2.450404478111931</c:v>
                </c:pt>
                <c:pt idx="89">
                  <c:v>2.4726588823648</c:v>
                </c:pt>
                <c:pt idx="90">
                  <c:v>2.6045952629914133</c:v>
                </c:pt>
                <c:pt idx="91">
                  <c:v>2.730983569003481</c:v>
                </c:pt>
                <c:pt idx="92">
                  <c:v>2.4144404976204643</c:v>
                </c:pt>
                <c:pt idx="93">
                  <c:v>2.1861722644391697</c:v>
                </c:pt>
                <c:pt idx="94">
                  <c:v>2.122159661100884</c:v>
                </c:pt>
                <c:pt idx="95">
                  <c:v>2.0083016337377035</c:v>
                </c:pt>
                <c:pt idx="96">
                  <c:v>1.821549964861066</c:v>
                </c:pt>
                <c:pt idx="97">
                  <c:v>1.8567456014758557</c:v>
                </c:pt>
                <c:pt idx="98">
                  <c:v>1.9556476289222529</c:v>
                </c:pt>
                <c:pt idx="99">
                  <c:v>2.1051934822438727</c:v>
                </c:pt>
                <c:pt idx="100">
                  <c:v>1.8582681367547906</c:v>
                </c:pt>
                <c:pt idx="101">
                  <c:v>1.6806750982163094</c:v>
                </c:pt>
                <c:pt idx="102">
                  <c:v>1.6761342219075426</c:v>
                </c:pt>
                <c:pt idx="103">
                  <c:v>1.6991318433616036</c:v>
                </c:pt>
                <c:pt idx="104">
                  <c:v>1.7074527312896013</c:v>
                </c:pt>
              </c:numCache>
            </c:numRef>
          </c:xVal>
          <c:yVal>
            <c:numRef>
              <c:f>Sheet1!$B$2:$B$106</c:f>
              <c:numCache>
                <c:formatCode>General</c:formatCode>
                <c:ptCount val="105"/>
                <c:pt idx="0">
                  <c:v>0.09098824553765782</c:v>
                </c:pt>
                <c:pt idx="1">
                  <c:v>0.07167985927880387</c:v>
                </c:pt>
                <c:pt idx="2">
                  <c:v>0.07186779400461184</c:v>
                </c:pt>
                <c:pt idx="3">
                  <c:v>0.09128803668195082</c:v>
                </c:pt>
                <c:pt idx="4">
                  <c:v>0.08329101066531235</c:v>
                </c:pt>
                <c:pt idx="5">
                  <c:v>0.10098095787651472</c:v>
                </c:pt>
                <c:pt idx="6">
                  <c:v>0.13532856213402733</c:v>
                </c:pt>
                <c:pt idx="7">
                  <c:v>0.12944983818770225</c:v>
                </c:pt>
                <c:pt idx="8">
                  <c:v>0.12365063788027478</c:v>
                </c:pt>
                <c:pt idx="9">
                  <c:v>0.10784313725490197</c:v>
                </c:pt>
                <c:pt idx="10">
                  <c:v>0.12545676004872108</c:v>
                </c:pt>
                <c:pt idx="11">
                  <c:v>0.11975308641975309</c:v>
                </c:pt>
                <c:pt idx="12">
                  <c:v>0.1080937167199148</c:v>
                </c:pt>
                <c:pt idx="13">
                  <c:v>0.10914603335017686</c:v>
                </c:pt>
                <c:pt idx="14">
                  <c:v>0.08151183970856102</c:v>
                </c:pt>
                <c:pt idx="15">
                  <c:v>0.06598407281001138</c:v>
                </c:pt>
                <c:pt idx="16">
                  <c:v>0.06947368421052631</c:v>
                </c:pt>
                <c:pt idx="17">
                  <c:v>0.05862068965517241</c:v>
                </c:pt>
                <c:pt idx="18">
                  <c:v>0.048411497730711045</c:v>
                </c:pt>
                <c:pt idx="19">
                  <c:v>0.06054872280037843</c:v>
                </c:pt>
                <c:pt idx="20">
                  <c:v>0.04819277108433735</c:v>
                </c:pt>
                <c:pt idx="21">
                  <c:v>0.0455005055611729</c:v>
                </c:pt>
                <c:pt idx="22">
                  <c:v>0.056189640035118525</c:v>
                </c:pt>
                <c:pt idx="23">
                  <c:v>0.06160714285714286</c:v>
                </c:pt>
                <c:pt idx="24">
                  <c:v>0.06027820710973725</c:v>
                </c:pt>
                <c:pt idx="25">
                  <c:v>0.06149479659413434</c:v>
                </c:pt>
                <c:pt idx="26">
                  <c:v>0.09259259259259259</c:v>
                </c:pt>
                <c:pt idx="27">
                  <c:v>0.08808290155440414</c:v>
                </c:pt>
                <c:pt idx="28">
                  <c:v>0.107600341588386</c:v>
                </c:pt>
                <c:pt idx="29">
                  <c:v>0.10617120106171202</c:v>
                </c:pt>
                <c:pt idx="30">
                  <c:v>0.09183673469387756</c:v>
                </c:pt>
                <c:pt idx="31">
                  <c:v>0.10446428571428572</c:v>
                </c:pt>
                <c:pt idx="32">
                  <c:v>0.11449752883031301</c:v>
                </c:pt>
                <c:pt idx="33">
                  <c:v>0.11373260738052027</c:v>
                </c:pt>
                <c:pt idx="34">
                  <c:v>0.1300563236047107</c:v>
                </c:pt>
                <c:pt idx="35">
                  <c:v>0.13854166666666667</c:v>
                </c:pt>
                <c:pt idx="36">
                  <c:v>0.101749837977965</c:v>
                </c:pt>
                <c:pt idx="37">
                  <c:v>0.10368663594470046</c:v>
                </c:pt>
                <c:pt idx="38">
                  <c:v>0.09607993850883935</c:v>
                </c:pt>
                <c:pt idx="39">
                  <c:v>0.09029345372460497</c:v>
                </c:pt>
                <c:pt idx="40">
                  <c:v>0.10107015457788347</c:v>
                </c:pt>
                <c:pt idx="41">
                  <c:v>0.09184372858122002</c:v>
                </c:pt>
                <c:pt idx="42">
                  <c:v>0.08674985145573381</c:v>
                </c:pt>
                <c:pt idx="43">
                  <c:v>0.09037745879851143</c:v>
                </c:pt>
                <c:pt idx="44">
                  <c:v>0.10082230961744726</c:v>
                </c:pt>
                <c:pt idx="45">
                  <c:v>0.11864406779661017</c:v>
                </c:pt>
                <c:pt idx="46">
                  <c:v>0.12841969745735435</c:v>
                </c:pt>
                <c:pt idx="47">
                  <c:v>0.10746873943899966</c:v>
                </c:pt>
                <c:pt idx="48">
                  <c:v>0.11156429942418426</c:v>
                </c:pt>
                <c:pt idx="49">
                  <c:v>0.1209106239460371</c:v>
                </c:pt>
                <c:pt idx="50">
                  <c:v>0.11455576559546314</c:v>
                </c:pt>
                <c:pt idx="51">
                  <c:v>0.09434889434889435</c:v>
                </c:pt>
                <c:pt idx="52">
                  <c:v>0.10419790104947527</c:v>
                </c:pt>
                <c:pt idx="53">
                  <c:v>0.09575471698113208</c:v>
                </c:pt>
                <c:pt idx="54">
                  <c:v>0.09361924686192469</c:v>
                </c:pt>
                <c:pt idx="55">
                  <c:v>0.08763440860215053</c:v>
                </c:pt>
                <c:pt idx="56">
                  <c:v>0.09320046893317702</c:v>
                </c:pt>
                <c:pt idx="57">
                  <c:v>0.08442871587462084</c:v>
                </c:pt>
                <c:pt idx="58">
                  <c:v>0.11251167133520075</c:v>
                </c:pt>
                <c:pt idx="59">
                  <c:v>0.10089203322054753</c:v>
                </c:pt>
                <c:pt idx="60">
                  <c:v>0.10466358134567462</c:v>
                </c:pt>
                <c:pt idx="61">
                  <c:v>0.10283315844700944</c:v>
                </c:pt>
                <c:pt idx="62">
                  <c:v>0.13152804642166344</c:v>
                </c:pt>
                <c:pt idx="63">
                  <c:v>0.13575081357508137</c:v>
                </c:pt>
                <c:pt idx="64">
                  <c:v>0.13537320352341214</c:v>
                </c:pt>
                <c:pt idx="65">
                  <c:v>0.13179026924893716</c:v>
                </c:pt>
                <c:pt idx="66">
                  <c:v>0.12721021611001965</c:v>
                </c:pt>
                <c:pt idx="67">
                  <c:v>0.12916045702930948</c:v>
                </c:pt>
                <c:pt idx="68">
                  <c:v>0.11672908863920099</c:v>
                </c:pt>
                <c:pt idx="69">
                  <c:v>0.10482019892884469</c:v>
                </c:pt>
                <c:pt idx="70">
                  <c:v>0.10922509225092251</c:v>
                </c:pt>
                <c:pt idx="71">
                  <c:v>0.1020746887966805</c:v>
                </c:pt>
                <c:pt idx="72">
                  <c:v>0.09679767103347889</c:v>
                </c:pt>
                <c:pt idx="73">
                  <c:v>0.10238095238095238</c:v>
                </c:pt>
                <c:pt idx="74">
                  <c:v>0.09937888198757763</c:v>
                </c:pt>
                <c:pt idx="75">
                  <c:v>0.11629881154499151</c:v>
                </c:pt>
                <c:pt idx="76">
                  <c:v>0.11317073170731708</c:v>
                </c:pt>
                <c:pt idx="77">
                  <c:v>0.10564663023679417</c:v>
                </c:pt>
                <c:pt idx="78">
                  <c:v>0.09839572192513368</c:v>
                </c:pt>
                <c:pt idx="79">
                  <c:v>0.09690893901420217</c:v>
                </c:pt>
                <c:pt idx="80">
                  <c:v>0.09672131147540984</c:v>
                </c:pt>
                <c:pt idx="81">
                  <c:v>0.09198423127463863</c:v>
                </c:pt>
                <c:pt idx="82">
                  <c:v>0.09689557855126998</c:v>
                </c:pt>
                <c:pt idx="83">
                  <c:v>0.10376398779247202</c:v>
                </c:pt>
                <c:pt idx="84">
                  <c:v>0.09840954274353876</c:v>
                </c:pt>
                <c:pt idx="85">
                  <c:v>0.11158798283261803</c:v>
                </c:pt>
                <c:pt idx="86">
                  <c:v>0.12942691564713457</c:v>
                </c:pt>
                <c:pt idx="87">
                  <c:v>0.11204313960455363</c:v>
                </c:pt>
                <c:pt idx="88">
                  <c:v>0.11075441412520064</c:v>
                </c:pt>
                <c:pt idx="89">
                  <c:v>0.11101321585903083</c:v>
                </c:pt>
                <c:pt idx="90">
                  <c:v>0.10212765957446808</c:v>
                </c:pt>
                <c:pt idx="91">
                  <c:v>0.09819967266775777</c:v>
                </c:pt>
                <c:pt idx="92">
                  <c:v>0.10784313725490197</c:v>
                </c:pt>
                <c:pt idx="93">
                  <c:v>0.11203897007654837</c:v>
                </c:pt>
                <c:pt idx="94">
                  <c:v>0.1162227602905569</c:v>
                </c:pt>
                <c:pt idx="95">
                  <c:v>0.11652173913043479</c:v>
                </c:pt>
                <c:pt idx="96">
                  <c:v>0.11816782140107775</c:v>
                </c:pt>
                <c:pt idx="97">
                  <c:v>0.11711711711711711</c:v>
                </c:pt>
                <c:pt idx="98">
                  <c:v>0.11083359350608804</c:v>
                </c:pt>
                <c:pt idx="99">
                  <c:v>0.1087920688755544</c:v>
                </c:pt>
                <c:pt idx="100">
                  <c:v>0.11317110853611433</c:v>
                </c:pt>
                <c:pt idx="101">
                  <c:v>0.11189044756179024</c:v>
                </c:pt>
                <c:pt idx="102">
                  <c:v>0.1091703056768559</c:v>
                </c:pt>
                <c:pt idx="103">
                  <c:v>0.10904872389791183</c:v>
                </c:pt>
                <c:pt idx="104">
                  <c:v>0.116776315789473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605446201480998</c:v>
                </c:pt>
                <c:pt idx="1">
                  <c:v>1.6764668236266211</c:v>
                </c:pt>
                <c:pt idx="2">
                  <c:v>1.61376900653395</c:v>
                </c:pt>
                <c:pt idx="3">
                  <c:v>1.4883064435141236</c:v>
                </c:pt>
                <c:pt idx="4">
                  <c:v>1.4726129042728133</c:v>
                </c:pt>
                <c:pt idx="5">
                  <c:v>1.5999767171643662</c:v>
                </c:pt>
                <c:pt idx="6">
                  <c:v>1.5641783928415425</c:v>
                </c:pt>
                <c:pt idx="7">
                  <c:v>1.4927590730825784</c:v>
                </c:pt>
                <c:pt idx="8">
                  <c:v>1.5610016240166904</c:v>
                </c:pt>
                <c:pt idx="9">
                  <c:v>1.5985036561031036</c:v>
                </c:pt>
                <c:pt idx="10">
                  <c:v>1.5155204092774588</c:v>
                </c:pt>
                <c:pt idx="11">
                  <c:v>1.633066569589331</c:v>
                </c:pt>
                <c:pt idx="12">
                  <c:v>1.6742922112728722</c:v>
                </c:pt>
                <c:pt idx="13">
                  <c:v>1.591286827512519</c:v>
                </c:pt>
                <c:pt idx="14">
                  <c:v>1.5686977425653479</c:v>
                </c:pt>
                <c:pt idx="15">
                  <c:v>1.6982274819013117</c:v>
                </c:pt>
                <c:pt idx="16">
                  <c:v>1.581585583100307</c:v>
                </c:pt>
                <c:pt idx="17">
                  <c:v>1.6942377629031375</c:v>
                </c:pt>
                <c:pt idx="18">
                  <c:v>1.641397572231744</c:v>
                </c:pt>
                <c:pt idx="19">
                  <c:v>1.8423688798789655</c:v>
                </c:pt>
                <c:pt idx="20">
                  <c:v>1.8062864670294116</c:v>
                </c:pt>
                <c:pt idx="21">
                  <c:v>1.7334739172839178</c:v>
                </c:pt>
                <c:pt idx="22">
                  <c:v>1.6727712787982414</c:v>
                </c:pt>
                <c:pt idx="23">
                  <c:v>1.6404258912982401</c:v>
                </c:pt>
                <c:pt idx="24">
                  <c:v>1.634105532503458</c:v>
                </c:pt>
                <c:pt idx="25">
                  <c:v>1.6621933987343276</c:v>
                </c:pt>
                <c:pt idx="26">
                  <c:v>1.6001560278219378</c:v>
                </c:pt>
                <c:pt idx="27">
                  <c:v>1.6032751802181964</c:v>
                </c:pt>
                <c:pt idx="28">
                  <c:v>1.653899769594286</c:v>
                </c:pt>
                <c:pt idx="29">
                  <c:v>1.6171667376650294</c:v>
                </c:pt>
                <c:pt idx="30">
                  <c:v>1.6967855572385517</c:v>
                </c:pt>
                <c:pt idx="31">
                  <c:v>1.6369852409806762</c:v>
                </c:pt>
                <c:pt idx="32">
                  <c:v>1.6236345655630773</c:v>
                </c:pt>
                <c:pt idx="33">
                  <c:v>1.6133822271398928</c:v>
                </c:pt>
                <c:pt idx="34">
                  <c:v>1.6601053902257028</c:v>
                </c:pt>
                <c:pt idx="35">
                  <c:v>1.6885289123831217</c:v>
                </c:pt>
                <c:pt idx="36">
                  <c:v>1.7455514489817814</c:v>
                </c:pt>
                <c:pt idx="37">
                  <c:v>1.8038346691024727</c:v>
                </c:pt>
                <c:pt idx="38">
                  <c:v>1.8018608245313081</c:v>
                </c:pt>
                <c:pt idx="39">
                  <c:v>1.8174057691801704</c:v>
                </c:pt>
                <c:pt idx="40">
                  <c:v>1.730446651359452</c:v>
                </c:pt>
                <c:pt idx="41">
                  <c:v>1.826963288498714</c:v>
                </c:pt>
                <c:pt idx="42">
                  <c:v>1.823458793279003</c:v>
                </c:pt>
                <c:pt idx="43">
                  <c:v>1.8609803912137748</c:v>
                </c:pt>
                <c:pt idx="44">
                  <c:v>1.7424693082943377</c:v>
                </c:pt>
                <c:pt idx="45">
                  <c:v>1.7170920558904683</c:v>
                </c:pt>
                <c:pt idx="46">
                  <c:v>1.7241691082506247</c:v>
                </c:pt>
                <c:pt idx="47">
                  <c:v>1.6906089101441488</c:v>
                </c:pt>
                <c:pt idx="48">
                  <c:v>1.669481460774411</c:v>
                </c:pt>
                <c:pt idx="49">
                  <c:v>1.7558850097904561</c:v>
                </c:pt>
                <c:pt idx="50">
                  <c:v>1.7257790819813852</c:v>
                </c:pt>
                <c:pt idx="51">
                  <c:v>1.7713841562583885</c:v>
                </c:pt>
              </c:numCache>
            </c:numRef>
          </c:xVal>
          <c:yVal>
            <c:numRef>
              <c:f>Sheet1!$B$109:$B$160</c:f>
              <c:numCache>
                <c:formatCode>General</c:formatCode>
                <c:ptCount val="52"/>
                <c:pt idx="0">
                  <c:v>0.11949685534591195</c:v>
                </c:pt>
                <c:pt idx="1">
                  <c:v>0.1091091091091091</c:v>
                </c:pt>
                <c:pt idx="2">
                  <c:v>0.13124432334241598</c:v>
                </c:pt>
                <c:pt idx="3">
                  <c:v>0.15779283639883834</c:v>
                </c:pt>
                <c:pt idx="4">
                  <c:v>0.13602391629297458</c:v>
                </c:pt>
                <c:pt idx="5">
                  <c:v>0.13177874186550975</c:v>
                </c:pt>
                <c:pt idx="6">
                  <c:v>0.16193053676138927</c:v>
                </c:pt>
                <c:pt idx="7">
                  <c:v>0.16827503015681544</c:v>
                </c:pt>
                <c:pt idx="8">
                  <c:v>0.14991896272285252</c:v>
                </c:pt>
                <c:pt idx="9">
                  <c:v>0.15395894428152493</c:v>
                </c:pt>
                <c:pt idx="10">
                  <c:v>0.17835262083049694</c:v>
                </c:pt>
                <c:pt idx="11">
                  <c:v>0.15218370103556955</c:v>
                </c:pt>
                <c:pt idx="12">
                  <c:v>0.14437367303609341</c:v>
                </c:pt>
                <c:pt idx="13">
                  <c:v>0.14015151515151514</c:v>
                </c:pt>
                <c:pt idx="14">
                  <c:v>0.14042553191489363</c:v>
                </c:pt>
                <c:pt idx="15">
                  <c:v>0.13147138964577657</c:v>
                </c:pt>
                <c:pt idx="16">
                  <c:v>0.14252517428350117</c:v>
                </c:pt>
                <c:pt idx="17">
                  <c:v>0.14160700079554495</c:v>
                </c:pt>
                <c:pt idx="18">
                  <c:v>0.12404580152671756</c:v>
                </c:pt>
                <c:pt idx="19">
                  <c:v>0.11390134529147983</c:v>
                </c:pt>
                <c:pt idx="20">
                  <c:v>0.1068334937439846</c:v>
                </c:pt>
                <c:pt idx="21">
                  <c:v>0.12743628185907047</c:v>
                </c:pt>
                <c:pt idx="22">
                  <c:v>0.12413793103448276</c:v>
                </c:pt>
                <c:pt idx="23">
                  <c:v>0.12945838837516513</c:v>
                </c:pt>
                <c:pt idx="24">
                  <c:v>0.13230429988974643</c:v>
                </c:pt>
                <c:pt idx="25">
                  <c:v>0.1248513674197384</c:v>
                </c:pt>
                <c:pt idx="26">
                  <c:v>0.1231079717457114</c:v>
                </c:pt>
                <c:pt idx="27">
                  <c:v>0.1227154046997389</c:v>
                </c:pt>
                <c:pt idx="28">
                  <c:v>0.12570621468926554</c:v>
                </c:pt>
                <c:pt idx="29">
                  <c:v>0.12811059907834102</c:v>
                </c:pt>
                <c:pt idx="30">
                  <c:v>0.1259328358208955</c:v>
                </c:pt>
                <c:pt idx="31">
                  <c:v>0.141747572815534</c:v>
                </c:pt>
                <c:pt idx="32">
                  <c:v>0.12479201331114809</c:v>
                </c:pt>
                <c:pt idx="33">
                  <c:v>0.1450189155107188</c:v>
                </c:pt>
                <c:pt idx="34">
                  <c:v>0.16649642492339123</c:v>
                </c:pt>
                <c:pt idx="35">
                  <c:v>0.1392811296534018</c:v>
                </c:pt>
                <c:pt idx="36">
                  <c:v>0.14905450500556172</c:v>
                </c:pt>
                <c:pt idx="37">
                  <c:v>0.12547528517110265</c:v>
                </c:pt>
                <c:pt idx="38">
                  <c:v>0.12772277227722773</c:v>
                </c:pt>
                <c:pt idx="39">
                  <c:v>0.1290560471976401</c:v>
                </c:pt>
                <c:pt idx="40">
                  <c:v>0.12148028962188254</c:v>
                </c:pt>
                <c:pt idx="41">
                  <c:v>0.12210200927357033</c:v>
                </c:pt>
                <c:pt idx="42">
                  <c:v>0.1232876712328767</c:v>
                </c:pt>
                <c:pt idx="43">
                  <c:v>0.1073345259391771</c:v>
                </c:pt>
                <c:pt idx="44">
                  <c:v>0.11139112903225806</c:v>
                </c:pt>
                <c:pt idx="45">
                  <c:v>0.12893879029337196</c:v>
                </c:pt>
                <c:pt idx="46">
                  <c:v>0.1471698113207547</c:v>
                </c:pt>
                <c:pt idx="47">
                  <c:v>0.14413208389112003</c:v>
                </c:pt>
                <c:pt idx="48">
                  <c:v>0.14536041417761847</c:v>
                </c:pt>
                <c:pt idx="49">
                  <c:v>0.1483067341377968</c:v>
                </c:pt>
                <c:pt idx="50">
                  <c:v>0.1464081531195625</c:v>
                </c:pt>
                <c:pt idx="51">
                  <c:v>0.1382675884505896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70414607841161</c:v>
                </c:pt>
              </c:numCache>
            </c:numRef>
          </c:xVal>
          <c:yVal>
            <c:numRef>
              <c:f>Sheet1!$B$163:$B$164</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70414607841161</c:v>
                </c:pt>
                <c:pt idx="1">
                  <c:v>1.570414607841161</c:v>
                </c:pt>
              </c:numCache>
            </c:numRef>
          </c:xVal>
          <c:yVal>
            <c:numRef>
              <c:f>Sheet1!$B$167:$B$168</c:f>
              <c:numCache>
                <c:formatCode>General</c:formatCode>
                <c:ptCount val="2"/>
                <c:pt idx="0">
                  <c:v>0.144585722471391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70414607841161</c:v>
                </c:pt>
              </c:numCache>
            </c:numRef>
          </c:xVal>
          <c:yVal>
            <c:numRef>
              <c:f>Sheet1!$B$171:$B$172</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70414607841161</c:v>
                </c:pt>
                <c:pt idx="1">
                  <c:v>1.570414607841161</c:v>
                </c:pt>
              </c:numCache>
            </c:numRef>
          </c:xVal>
          <c:yVal>
            <c:numRef>
              <c:f>Sheet1!$B$175:$B$176</c:f>
              <c:numCache>
                <c:formatCode>General</c:formatCode>
                <c:ptCount val="2"/>
                <c:pt idx="0">
                  <c:v>0.144585722471391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087396524657659</c:v>
                </c:pt>
              </c:numCache>
            </c:numRef>
          </c:xVal>
          <c:yVal>
            <c:numRef>
              <c:f>Sheet1!$B$179:$B$180</c:f>
              <c:numCache>
                <c:formatCode>General</c:formatCode>
                <c:ptCount val="2"/>
                <c:pt idx="0">
                  <c:v>0.1317873267452476</c:v>
                </c:pt>
                <c:pt idx="1">
                  <c:v>0.13178732674524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087396524657659</c:v>
                </c:pt>
                <c:pt idx="1">
                  <c:v>1.7087396524657659</c:v>
                </c:pt>
              </c:numCache>
            </c:numRef>
          </c:xVal>
          <c:yVal>
            <c:numRef>
              <c:f>Sheet1!$B$183:$B$184</c:f>
              <c:numCache>
                <c:formatCode>General</c:formatCode>
                <c:ptCount val="2"/>
                <c:pt idx="0">
                  <c:v>0.13178732674524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605446201480998</c:v>
                </c:pt>
                <c:pt idx="1">
                  <c:v>1.6764668236266211</c:v>
                </c:pt>
                <c:pt idx="2">
                  <c:v>1.61376900653395</c:v>
                </c:pt>
                <c:pt idx="3">
                  <c:v>1.4883064435141236</c:v>
                </c:pt>
                <c:pt idx="4">
                  <c:v>1.4726129042728133</c:v>
                </c:pt>
                <c:pt idx="5">
                  <c:v>1.5999767171643662</c:v>
                </c:pt>
                <c:pt idx="6">
                  <c:v>1.5641783928415425</c:v>
                </c:pt>
                <c:pt idx="7">
                  <c:v>1.4927590730825784</c:v>
                </c:pt>
                <c:pt idx="8">
                  <c:v>1.5610016240166904</c:v>
                </c:pt>
                <c:pt idx="9">
                  <c:v>1.5985036561031036</c:v>
                </c:pt>
                <c:pt idx="10">
                  <c:v>1.5155204092774588</c:v>
                </c:pt>
                <c:pt idx="11">
                  <c:v>1.633066569589331</c:v>
                </c:pt>
                <c:pt idx="12">
                  <c:v>1.6742922112728722</c:v>
                </c:pt>
                <c:pt idx="13">
                  <c:v>1.591286827512519</c:v>
                </c:pt>
                <c:pt idx="14">
                  <c:v>1.5686977425653479</c:v>
                </c:pt>
                <c:pt idx="15">
                  <c:v>1.6982274819013117</c:v>
                </c:pt>
                <c:pt idx="16">
                  <c:v>1.581585583100307</c:v>
                </c:pt>
                <c:pt idx="17">
                  <c:v>1.6942377629031375</c:v>
                </c:pt>
                <c:pt idx="18">
                  <c:v>1.641397572231744</c:v>
                </c:pt>
                <c:pt idx="19">
                  <c:v>1.8423688798789655</c:v>
                </c:pt>
                <c:pt idx="20">
                  <c:v>1.8062864670294116</c:v>
                </c:pt>
                <c:pt idx="21">
                  <c:v>1.7334739172839178</c:v>
                </c:pt>
                <c:pt idx="22">
                  <c:v>1.6727712787982414</c:v>
                </c:pt>
                <c:pt idx="23">
                  <c:v>1.6404258912982401</c:v>
                </c:pt>
                <c:pt idx="24">
                  <c:v>1.634105532503458</c:v>
                </c:pt>
                <c:pt idx="25">
                  <c:v>1.6621933987343276</c:v>
                </c:pt>
                <c:pt idx="26">
                  <c:v>1.6001560278219378</c:v>
                </c:pt>
                <c:pt idx="27">
                  <c:v>1.6032751802181964</c:v>
                </c:pt>
                <c:pt idx="28">
                  <c:v>1.653899769594286</c:v>
                </c:pt>
                <c:pt idx="29">
                  <c:v>1.6171667376650294</c:v>
                </c:pt>
                <c:pt idx="30">
                  <c:v>1.6967855572385517</c:v>
                </c:pt>
                <c:pt idx="31">
                  <c:v>1.6369852409806762</c:v>
                </c:pt>
                <c:pt idx="32">
                  <c:v>1.6236345655630773</c:v>
                </c:pt>
                <c:pt idx="33">
                  <c:v>1.6133822271398928</c:v>
                </c:pt>
                <c:pt idx="34">
                  <c:v>1.6601053902257028</c:v>
                </c:pt>
                <c:pt idx="35">
                  <c:v>1.6885289123831217</c:v>
                </c:pt>
                <c:pt idx="36">
                  <c:v>1.7455514489817814</c:v>
                </c:pt>
                <c:pt idx="37">
                  <c:v>1.8038346691024727</c:v>
                </c:pt>
                <c:pt idx="38">
                  <c:v>1.8018608245313081</c:v>
                </c:pt>
                <c:pt idx="39">
                  <c:v>1.8174057691801704</c:v>
                </c:pt>
                <c:pt idx="40">
                  <c:v>1.730446651359452</c:v>
                </c:pt>
                <c:pt idx="41">
                  <c:v>1.826963288498714</c:v>
                </c:pt>
                <c:pt idx="42">
                  <c:v>1.823458793279003</c:v>
                </c:pt>
                <c:pt idx="43">
                  <c:v>1.8609803912137748</c:v>
                </c:pt>
                <c:pt idx="44">
                  <c:v>1.7424693082943377</c:v>
                </c:pt>
                <c:pt idx="45">
                  <c:v>1.7170920558904683</c:v>
                </c:pt>
                <c:pt idx="46">
                  <c:v>1.7241691082506247</c:v>
                </c:pt>
                <c:pt idx="47">
                  <c:v>1.6906089101441488</c:v>
                </c:pt>
                <c:pt idx="48">
                  <c:v>1.669481460774411</c:v>
                </c:pt>
                <c:pt idx="49">
                  <c:v>1.7558850097904561</c:v>
                </c:pt>
                <c:pt idx="50">
                  <c:v>1.7257790819813852</c:v>
                </c:pt>
                <c:pt idx="51">
                  <c:v>1.7713841562583885</c:v>
                </c:pt>
                <c:pt idx="52">
                  <c:v>1.570414607841161</c:v>
                </c:pt>
                <c:pt idx="53">
                  <c:v>1.570414607841161</c:v>
                </c:pt>
                <c:pt idx="54">
                  <c:v>1.7087396524657659</c:v>
                </c:pt>
              </c:numCache>
            </c:numRef>
          </c:xVal>
          <c:yVal>
            <c:numRef>
              <c:f>Sheet1!$B$187:$B$241</c:f>
              <c:numCache>
                <c:formatCode>General</c:formatCode>
                <c:ptCount val="55"/>
                <c:pt idx="0">
                  <c:v>0.1362465271547596</c:v>
                </c:pt>
                <c:pt idx="1">
                  <c:v>0.13477334012992737</c:v>
                </c:pt>
                <c:pt idx="2">
                  <c:v>0.14057439717274345</c:v>
                </c:pt>
                <c:pt idx="3">
                  <c:v>0.152182703786356</c:v>
                </c:pt>
                <c:pt idx="4">
                  <c:v>0.1536347338659352</c:v>
                </c:pt>
                <c:pt idx="5">
                  <c:v>0.14185051588140157</c:v>
                </c:pt>
                <c:pt idx="6">
                  <c:v>0.14516272244717382</c:v>
                </c:pt>
                <c:pt idx="7">
                  <c:v>0.1517707283888879</c:v>
                </c:pt>
                <c:pt idx="8">
                  <c:v>0.14545665001944588</c:v>
                </c:pt>
                <c:pt idx="9">
                  <c:v>0.14198680948204329</c:v>
                </c:pt>
                <c:pt idx="10">
                  <c:v>0.14966475698892587</c:v>
                </c:pt>
                <c:pt idx="11">
                  <c:v>0.13878890815155248</c:v>
                </c:pt>
                <c:pt idx="12">
                  <c:v>0.13497454410950874</c:v>
                </c:pt>
                <c:pt idx="13">
                  <c:v>0.14265453981562617</c:v>
                </c:pt>
                <c:pt idx="14">
                  <c:v>0.14474457382956754</c:v>
                </c:pt>
                <c:pt idx="15">
                  <c:v>0.13275995552111194</c:v>
                </c:pt>
                <c:pt idx="16">
                  <c:v>0.14355213840567535</c:v>
                </c:pt>
                <c:pt idx="17">
                  <c:v>0.1331291005498616</c:v>
                </c:pt>
                <c:pt idx="18">
                  <c:v>0.1380180899031108</c:v>
                </c:pt>
                <c:pt idx="19">
                  <c:v>0.11942340712639327</c:v>
                </c:pt>
                <c:pt idx="20">
                  <c:v>0.12276189871810725</c:v>
                </c:pt>
                <c:pt idx="21">
                  <c:v>0.12949881196473875</c:v>
                </c:pt>
                <c:pt idx="22">
                  <c:v>0.1351152669680185</c:v>
                </c:pt>
                <c:pt idx="23">
                  <c:v>0.1381079937751123</c:v>
                </c:pt>
                <c:pt idx="24">
                  <c:v>0.13869277907705355</c:v>
                </c:pt>
                <c:pt idx="25">
                  <c:v>0.13609397545402743</c:v>
                </c:pt>
                <c:pt idx="26">
                  <c:v>0.14183392533006833</c:v>
                </c:pt>
                <c:pt idx="27">
                  <c:v>0.14154532866410807</c:v>
                </c:pt>
                <c:pt idx="28">
                  <c:v>0.13686133575402368</c:v>
                </c:pt>
                <c:pt idx="29">
                  <c:v>0.1402600252691984</c:v>
                </c:pt>
                <c:pt idx="30">
                  <c:v>0.1328933682555258</c:v>
                </c:pt>
                <c:pt idx="31">
                  <c:v>0.13842633673635238</c:v>
                </c:pt>
                <c:pt idx="32">
                  <c:v>0.1396615955260347</c:v>
                </c:pt>
                <c:pt idx="33">
                  <c:v>0.14061018357539598</c:v>
                </c:pt>
                <c:pt idx="34">
                  <c:v>0.13628716649362158</c:v>
                </c:pt>
                <c:pt idx="35">
                  <c:v>0.13365730661908684</c:v>
                </c:pt>
                <c:pt idx="36">
                  <c:v>0.12838134961015357</c:v>
                </c:pt>
                <c:pt idx="37">
                  <c:v>0.12298874903429302</c:v>
                </c:pt>
                <c:pt idx="38">
                  <c:v>0.12317137716206428</c:v>
                </c:pt>
                <c:pt idx="39">
                  <c:v>0.12173309565854429</c:v>
                </c:pt>
                <c:pt idx="40">
                  <c:v>0.12977890692060687</c:v>
                </c:pt>
                <c:pt idx="41">
                  <c:v>0.12084879509872193</c:v>
                </c:pt>
                <c:pt idx="42">
                  <c:v>0.12117304524997952</c:v>
                </c:pt>
                <c:pt idx="43">
                  <c:v>0.11770139440070831</c:v>
                </c:pt>
                <c:pt idx="44">
                  <c:v>0.1286665218022798</c:v>
                </c:pt>
                <c:pt idx="45">
                  <c:v>0.13101452840938696</c:v>
                </c:pt>
                <c:pt idx="46">
                  <c:v>0.13035973074114304</c:v>
                </c:pt>
                <c:pt idx="47">
                  <c:v>0.13346485676644182</c:v>
                </c:pt>
                <c:pt idx="48">
                  <c:v>0.13541965431197528</c:v>
                </c:pt>
                <c:pt idx="49">
                  <c:v>0.12742524653533793</c:v>
                </c:pt>
                <c:pt idx="50">
                  <c:v>0.13021076942346635</c:v>
                </c:pt>
                <c:pt idx="51">
                  <c:v>0.12599120246578854</c:v>
                </c:pt>
                <c:pt idx="52">
                  <c:v>0.14458572247139187</c:v>
                </c:pt>
                <c:pt idx="53">
                  <c:v>0.14458572247139187</c:v>
                </c:pt>
                <c:pt idx="54">
                  <c:v>0.13178732674524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402314499659633"/>
          <c:min val="0.0364004044489383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8.1531</c:v>
                </c:pt>
                <c:pt idx="1">
                  <c:v>850.3558</c:v>
                </c:pt>
                <c:pt idx="2">
                  <c:v>892.5561</c:v>
                </c:pt>
                <c:pt idx="3">
                  <c:v>900.4795</c:v>
                </c:pt>
                <c:pt idx="4">
                  <c:v>906.3232</c:v>
                </c:pt>
                <c:pt idx="5">
                  <c:v>909.8229</c:v>
                </c:pt>
                <c:pt idx="6">
                  <c:v>822.7356</c:v>
                </c:pt>
                <c:pt idx="7">
                  <c:v>836.7813</c:v>
                </c:pt>
                <c:pt idx="8">
                  <c:v>829.9683</c:v>
                </c:pt>
                <c:pt idx="9">
                  <c:v>817.3807</c:v>
                </c:pt>
                <c:pt idx="10">
                  <c:v>788.8592</c:v>
                </c:pt>
                <c:pt idx="11">
                  <c:v>835.7887</c:v>
                </c:pt>
                <c:pt idx="12">
                  <c:v>855.1232</c:v>
                </c:pt>
                <c:pt idx="13">
                  <c:v>855.5694</c:v>
                </c:pt>
                <c:pt idx="14">
                  <c:v>881.9553</c:v>
                </c:pt>
                <c:pt idx="15">
                  <c:v>897.8621</c:v>
                </c:pt>
                <c:pt idx="16">
                  <c:v>895.101</c:v>
                </c:pt>
                <c:pt idx="17">
                  <c:v>905.2235</c:v>
                </c:pt>
                <c:pt idx="18">
                  <c:v>942.5</c:v>
                </c:pt>
                <c:pt idx="19">
                  <c:v>757.3125</c:v>
                </c:pt>
                <c:pt idx="20">
                  <c:v>935.0938</c:v>
                </c:pt>
                <c:pt idx="21">
                  <c:v>975.6222</c:v>
                </c:pt>
                <c:pt idx="22">
                  <c:v>915.1406</c:v>
                </c:pt>
                <c:pt idx="23">
                  <c:v>930.5797</c:v>
                </c:pt>
                <c:pt idx="24">
                  <c:v>1002.7179</c:v>
                </c:pt>
                <c:pt idx="25">
                  <c:v>989.4462</c:v>
                </c:pt>
                <c:pt idx="26">
                  <c:v>922.9368</c:v>
                </c:pt>
                <c:pt idx="27">
                  <c:v>966.8824</c:v>
                </c:pt>
                <c:pt idx="28">
                  <c:v>977.0635</c:v>
                </c:pt>
                <c:pt idx="29">
                  <c:v>948.8625</c:v>
                </c:pt>
                <c:pt idx="30">
                  <c:v>970.8384</c:v>
                </c:pt>
                <c:pt idx="31">
                  <c:v>967.0513</c:v>
                </c:pt>
                <c:pt idx="32">
                  <c:v>924.9568</c:v>
                </c:pt>
                <c:pt idx="33">
                  <c:v>925.5904</c:v>
                </c:pt>
                <c:pt idx="34">
                  <c:v>920.7323</c:v>
                </c:pt>
                <c:pt idx="35">
                  <c:v>984.3383</c:v>
                </c:pt>
                <c:pt idx="36">
                  <c:v>1056.3376</c:v>
                </c:pt>
                <c:pt idx="37">
                  <c:v>1126.9333</c:v>
                </c:pt>
                <c:pt idx="38">
                  <c:v>1127.584</c:v>
                </c:pt>
                <c:pt idx="39">
                  <c:v>1147.35</c:v>
                </c:pt>
                <c:pt idx="40">
                  <c:v>1124.9941</c:v>
                </c:pt>
                <c:pt idx="41">
                  <c:v>1142.6493</c:v>
                </c:pt>
                <c:pt idx="42">
                  <c:v>1163.6438</c:v>
                </c:pt>
                <c:pt idx="43">
                  <c:v>1152.5765</c:v>
                </c:pt>
                <c:pt idx="44">
                  <c:v>1053.5957</c:v>
                </c:pt>
                <c:pt idx="45">
                  <c:v>1026.1786</c:v>
                </c:pt>
                <c:pt idx="46">
                  <c:v>1022.1779</c:v>
                </c:pt>
                <c:pt idx="47">
                  <c:v>995.1226</c:v>
                </c:pt>
                <c:pt idx="48">
                  <c:v>1020.1527</c:v>
                </c:pt>
                <c:pt idx="49">
                  <c:v>987.9568</c:v>
                </c:pt>
                <c:pt idx="50">
                  <c:v>964.4653</c:v>
                </c:pt>
                <c:pt idx="51">
                  <c:v>990.5833</c:v>
                </c:pt>
                <c:pt idx="52">
                  <c:v>1015.1367</c:v>
                </c:pt>
                <c:pt idx="53">
                  <c:v>1106.8325</c:v>
                </c:pt>
                <c:pt idx="54">
                  <c:v>1066.7877</c:v>
                </c:pt>
                <c:pt idx="55">
                  <c:v>1083.5644</c:v>
                </c:pt>
                <c:pt idx="56">
                  <c:v>1093.3962</c:v>
                </c:pt>
                <c:pt idx="57">
                  <c:v>1091.2635</c:v>
                </c:pt>
                <c:pt idx="58">
                  <c:v>969.0207</c:v>
                </c:pt>
                <c:pt idx="59">
                  <c:v>1028.5457</c:v>
                </c:pt>
                <c:pt idx="60">
                  <c:v>1039.381</c:v>
                </c:pt>
                <c:pt idx="61">
                  <c:v>1031.5867</c:v>
                </c:pt>
                <c:pt idx="62">
                  <c:v>943.3309</c:v>
                </c:pt>
                <c:pt idx="63">
                  <c:v>999.4418</c:v>
                </c:pt>
                <c:pt idx="64">
                  <c:v>992.5308</c:v>
                </c:pt>
                <c:pt idx="65">
                  <c:v>987.2115</c:v>
                </c:pt>
                <c:pt idx="66">
                  <c:v>982.1583</c:v>
                </c:pt>
                <c:pt idx="67">
                  <c:v>1005.2923</c:v>
                </c:pt>
                <c:pt idx="68">
                  <c:v>1013.7914</c:v>
                </c:pt>
                <c:pt idx="69">
                  <c:v>1049.0657</c:v>
                </c:pt>
                <c:pt idx="70">
                  <c:v>1008.4527</c:v>
                </c:pt>
                <c:pt idx="71">
                  <c:v>1120.8374</c:v>
                </c:pt>
                <c:pt idx="72">
                  <c:v>1244.2256</c:v>
                </c:pt>
                <c:pt idx="73">
                  <c:v>1181.4109</c:v>
                </c:pt>
                <c:pt idx="74">
                  <c:v>1174.9931</c:v>
                </c:pt>
                <c:pt idx="75">
                  <c:v>1182.0657</c:v>
                </c:pt>
                <c:pt idx="76">
                  <c:v>1162.2845</c:v>
                </c:pt>
                <c:pt idx="77">
                  <c:v>1153.3534</c:v>
                </c:pt>
                <c:pt idx="78">
                  <c:v>1167.2391</c:v>
                </c:pt>
                <c:pt idx="79">
                  <c:v>1177.7155</c:v>
                </c:pt>
                <c:pt idx="80">
                  <c:v>1172.7373</c:v>
                </c:pt>
                <c:pt idx="81">
                  <c:v>1156.6286</c:v>
                </c:pt>
                <c:pt idx="82">
                  <c:v>1186.5049</c:v>
                </c:pt>
                <c:pt idx="83">
                  <c:v>1157.0</c:v>
                </c:pt>
                <c:pt idx="84">
                  <c:v>1170.3535</c:v>
                </c:pt>
                <c:pt idx="85">
                  <c:v>1117.7615</c:v>
                </c:pt>
                <c:pt idx="86">
                  <c:v>1112.6617</c:v>
                </c:pt>
                <c:pt idx="87">
                  <c:v>1104.2674</c:v>
                </c:pt>
                <c:pt idx="88">
                  <c:v>1133.7899</c:v>
                </c:pt>
                <c:pt idx="89">
                  <c:v>1130.8651</c:v>
                </c:pt>
                <c:pt idx="90">
                  <c:v>1201.3667</c:v>
                </c:pt>
                <c:pt idx="91">
                  <c:v>1250.575</c:v>
                </c:pt>
                <c:pt idx="92">
                  <c:v>1174.6818</c:v>
                </c:pt>
                <c:pt idx="93">
                  <c:v>1246.3602</c:v>
                </c:pt>
                <c:pt idx="94">
                  <c:v>1230.7431</c:v>
                </c:pt>
                <c:pt idx="95">
                  <c:v>1180.5522</c:v>
                </c:pt>
                <c:pt idx="96">
                  <c:v>1078.241</c:v>
                </c:pt>
                <c:pt idx="97">
                  <c:v>1095.4359</c:v>
                </c:pt>
                <c:pt idx="98">
                  <c:v>1112.0845</c:v>
                </c:pt>
                <c:pt idx="99">
                  <c:v>1060.9952</c:v>
                </c:pt>
                <c:pt idx="100">
                  <c:v>1072.4556</c:v>
                </c:pt>
                <c:pt idx="101">
                  <c:v>1069.2418</c:v>
                </c:pt>
                <c:pt idx="102">
                  <c:v>1081.8667</c:v>
                </c:pt>
                <c:pt idx="103">
                  <c:v>1085.017</c:v>
                </c:pt>
                <c:pt idx="104">
                  <c:v>1100.6995</c:v>
                </c:pt>
              </c:numCache>
            </c:numRef>
          </c:xVal>
          <c:yVal>
            <c:numRef>
              <c:f>Sheet1!$B$2:$B$106</c:f>
              <c:numCache>
                <c:formatCode>General</c:formatCode>
                <c:ptCount val="105"/>
                <c:pt idx="0">
                  <c:v>0.09098824553765782</c:v>
                </c:pt>
                <c:pt idx="1">
                  <c:v>0.07167985927880387</c:v>
                </c:pt>
                <c:pt idx="2">
                  <c:v>0.07186779400461184</c:v>
                </c:pt>
                <c:pt idx="3">
                  <c:v>0.09128803668195082</c:v>
                </c:pt>
                <c:pt idx="4">
                  <c:v>0.08329101066531235</c:v>
                </c:pt>
                <c:pt idx="5">
                  <c:v>0.10098095787651472</c:v>
                </c:pt>
                <c:pt idx="6">
                  <c:v>0.13532856213402733</c:v>
                </c:pt>
                <c:pt idx="7">
                  <c:v>0.12944983818770225</c:v>
                </c:pt>
                <c:pt idx="8">
                  <c:v>0.12365063788027478</c:v>
                </c:pt>
                <c:pt idx="9">
                  <c:v>0.10784313725490197</c:v>
                </c:pt>
                <c:pt idx="10">
                  <c:v>0.12545676004872108</c:v>
                </c:pt>
                <c:pt idx="11">
                  <c:v>0.11975308641975309</c:v>
                </c:pt>
                <c:pt idx="12">
                  <c:v>0.1080937167199148</c:v>
                </c:pt>
                <c:pt idx="13">
                  <c:v>0.10914603335017686</c:v>
                </c:pt>
                <c:pt idx="14">
                  <c:v>0.08151183970856102</c:v>
                </c:pt>
                <c:pt idx="15">
                  <c:v>0.06598407281001138</c:v>
                </c:pt>
                <c:pt idx="16">
                  <c:v>0.06947368421052631</c:v>
                </c:pt>
                <c:pt idx="17">
                  <c:v>0.05862068965517241</c:v>
                </c:pt>
                <c:pt idx="18">
                  <c:v>0.048411497730711045</c:v>
                </c:pt>
                <c:pt idx="19">
                  <c:v>0.06054872280037843</c:v>
                </c:pt>
                <c:pt idx="20">
                  <c:v>0.04819277108433735</c:v>
                </c:pt>
                <c:pt idx="21">
                  <c:v>0.0455005055611729</c:v>
                </c:pt>
                <c:pt idx="22">
                  <c:v>0.056189640035118525</c:v>
                </c:pt>
                <c:pt idx="23">
                  <c:v>0.06160714285714286</c:v>
                </c:pt>
                <c:pt idx="24">
                  <c:v>0.06027820710973725</c:v>
                </c:pt>
                <c:pt idx="25">
                  <c:v>0.06149479659413434</c:v>
                </c:pt>
                <c:pt idx="26">
                  <c:v>0.09259259259259259</c:v>
                </c:pt>
                <c:pt idx="27">
                  <c:v>0.08808290155440414</c:v>
                </c:pt>
                <c:pt idx="28">
                  <c:v>0.107600341588386</c:v>
                </c:pt>
                <c:pt idx="29">
                  <c:v>0.10617120106171202</c:v>
                </c:pt>
                <c:pt idx="30">
                  <c:v>0.09183673469387756</c:v>
                </c:pt>
                <c:pt idx="31">
                  <c:v>0.10446428571428572</c:v>
                </c:pt>
                <c:pt idx="32">
                  <c:v>0.11449752883031301</c:v>
                </c:pt>
                <c:pt idx="33">
                  <c:v>0.11373260738052027</c:v>
                </c:pt>
                <c:pt idx="34">
                  <c:v>0.1300563236047107</c:v>
                </c:pt>
                <c:pt idx="35">
                  <c:v>0.13854166666666667</c:v>
                </c:pt>
                <c:pt idx="36">
                  <c:v>0.101749837977965</c:v>
                </c:pt>
                <c:pt idx="37">
                  <c:v>0.10368663594470046</c:v>
                </c:pt>
                <c:pt idx="38">
                  <c:v>0.09607993850883935</c:v>
                </c:pt>
                <c:pt idx="39">
                  <c:v>0.09029345372460497</c:v>
                </c:pt>
                <c:pt idx="40">
                  <c:v>0.10107015457788347</c:v>
                </c:pt>
                <c:pt idx="41">
                  <c:v>0.09184372858122002</c:v>
                </c:pt>
                <c:pt idx="42">
                  <c:v>0.08674985145573381</c:v>
                </c:pt>
                <c:pt idx="43">
                  <c:v>0.09037745879851143</c:v>
                </c:pt>
                <c:pt idx="44">
                  <c:v>0.10082230961744726</c:v>
                </c:pt>
                <c:pt idx="45">
                  <c:v>0.11864406779661017</c:v>
                </c:pt>
                <c:pt idx="46">
                  <c:v>0.12841969745735435</c:v>
                </c:pt>
                <c:pt idx="47">
                  <c:v>0.10746873943899966</c:v>
                </c:pt>
                <c:pt idx="48">
                  <c:v>0.11156429942418426</c:v>
                </c:pt>
                <c:pt idx="49">
                  <c:v>0.1209106239460371</c:v>
                </c:pt>
                <c:pt idx="50">
                  <c:v>0.11455576559546314</c:v>
                </c:pt>
                <c:pt idx="51">
                  <c:v>0.09434889434889435</c:v>
                </c:pt>
                <c:pt idx="52">
                  <c:v>0.10419790104947527</c:v>
                </c:pt>
                <c:pt idx="53">
                  <c:v>0.09575471698113208</c:v>
                </c:pt>
                <c:pt idx="54">
                  <c:v>0.09361924686192469</c:v>
                </c:pt>
                <c:pt idx="55">
                  <c:v>0.08763440860215053</c:v>
                </c:pt>
                <c:pt idx="56">
                  <c:v>0.09320046893317702</c:v>
                </c:pt>
                <c:pt idx="57">
                  <c:v>0.08442871587462084</c:v>
                </c:pt>
                <c:pt idx="58">
                  <c:v>0.11251167133520075</c:v>
                </c:pt>
                <c:pt idx="59">
                  <c:v>0.10089203322054753</c:v>
                </c:pt>
                <c:pt idx="60">
                  <c:v>0.10466358134567462</c:v>
                </c:pt>
                <c:pt idx="61">
                  <c:v>0.10283315844700944</c:v>
                </c:pt>
                <c:pt idx="62">
                  <c:v>0.13152804642166344</c:v>
                </c:pt>
                <c:pt idx="63">
                  <c:v>0.13575081357508137</c:v>
                </c:pt>
                <c:pt idx="64">
                  <c:v>0.13537320352341214</c:v>
                </c:pt>
                <c:pt idx="65">
                  <c:v>0.13179026924893716</c:v>
                </c:pt>
                <c:pt idx="66">
                  <c:v>0.12721021611001965</c:v>
                </c:pt>
                <c:pt idx="67">
                  <c:v>0.12916045702930948</c:v>
                </c:pt>
                <c:pt idx="68">
                  <c:v>0.11672908863920099</c:v>
                </c:pt>
                <c:pt idx="69">
                  <c:v>0.10482019892884469</c:v>
                </c:pt>
                <c:pt idx="70">
                  <c:v>0.10922509225092251</c:v>
                </c:pt>
                <c:pt idx="71">
                  <c:v>0.1020746887966805</c:v>
                </c:pt>
                <c:pt idx="72">
                  <c:v>0.09679767103347889</c:v>
                </c:pt>
                <c:pt idx="73">
                  <c:v>0.10238095238095238</c:v>
                </c:pt>
                <c:pt idx="74">
                  <c:v>0.09937888198757763</c:v>
                </c:pt>
                <c:pt idx="75">
                  <c:v>0.11629881154499151</c:v>
                </c:pt>
                <c:pt idx="76">
                  <c:v>0.11317073170731708</c:v>
                </c:pt>
                <c:pt idx="77">
                  <c:v>0.10564663023679417</c:v>
                </c:pt>
                <c:pt idx="78">
                  <c:v>0.09839572192513368</c:v>
                </c:pt>
                <c:pt idx="79">
                  <c:v>0.09690893901420217</c:v>
                </c:pt>
                <c:pt idx="80">
                  <c:v>0.09672131147540984</c:v>
                </c:pt>
                <c:pt idx="81">
                  <c:v>0.09198423127463863</c:v>
                </c:pt>
                <c:pt idx="82">
                  <c:v>0.09689557855126998</c:v>
                </c:pt>
                <c:pt idx="83">
                  <c:v>0.10376398779247202</c:v>
                </c:pt>
                <c:pt idx="84">
                  <c:v>0.09840954274353876</c:v>
                </c:pt>
                <c:pt idx="85">
                  <c:v>0.11158798283261803</c:v>
                </c:pt>
                <c:pt idx="86">
                  <c:v>0.12942691564713457</c:v>
                </c:pt>
                <c:pt idx="87">
                  <c:v>0.11204313960455363</c:v>
                </c:pt>
                <c:pt idx="88">
                  <c:v>0.11075441412520064</c:v>
                </c:pt>
                <c:pt idx="89">
                  <c:v>0.11101321585903083</c:v>
                </c:pt>
                <c:pt idx="90">
                  <c:v>0.10212765957446808</c:v>
                </c:pt>
                <c:pt idx="91">
                  <c:v>0.09819967266775777</c:v>
                </c:pt>
                <c:pt idx="92">
                  <c:v>0.10784313725490197</c:v>
                </c:pt>
                <c:pt idx="93">
                  <c:v>0.11203897007654837</c:v>
                </c:pt>
                <c:pt idx="94">
                  <c:v>0.1162227602905569</c:v>
                </c:pt>
                <c:pt idx="95">
                  <c:v>0.11652173913043479</c:v>
                </c:pt>
                <c:pt idx="96">
                  <c:v>0.11816782140107775</c:v>
                </c:pt>
                <c:pt idx="97">
                  <c:v>0.11711711711711711</c:v>
                </c:pt>
                <c:pt idx="98">
                  <c:v>0.11083359350608804</c:v>
                </c:pt>
                <c:pt idx="99">
                  <c:v>0.1087920688755544</c:v>
                </c:pt>
                <c:pt idx="100">
                  <c:v>0.11317110853611433</c:v>
                </c:pt>
                <c:pt idx="101">
                  <c:v>0.11189044756179024</c:v>
                </c:pt>
                <c:pt idx="102">
                  <c:v>0.1091703056768559</c:v>
                </c:pt>
                <c:pt idx="103">
                  <c:v>0.10904872389791183</c:v>
                </c:pt>
                <c:pt idx="104">
                  <c:v>0.116776315789473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0.8543</c:v>
                </c:pt>
                <c:pt idx="1">
                  <c:v>1132.9541</c:v>
                </c:pt>
                <c:pt idx="2">
                  <c:v>1124.6332</c:v>
                </c:pt>
                <c:pt idx="3">
                  <c:v>1052.227</c:v>
                </c:pt>
                <c:pt idx="4">
                  <c:v>1029.9194</c:v>
                </c:pt>
                <c:pt idx="5">
                  <c:v>1158.6049</c:v>
                </c:pt>
                <c:pt idx="6">
                  <c:v>1056.3538</c:v>
                </c:pt>
                <c:pt idx="7">
                  <c:v>1046.0036</c:v>
                </c:pt>
                <c:pt idx="8">
                  <c:v>1125.1784</c:v>
                </c:pt>
                <c:pt idx="9">
                  <c:v>1098.5905</c:v>
                </c:pt>
                <c:pt idx="10">
                  <c:v>1060.3969</c:v>
                </c:pt>
                <c:pt idx="11">
                  <c:v>985.1154</c:v>
                </c:pt>
                <c:pt idx="12">
                  <c:v>1028.8971</c:v>
                </c:pt>
                <c:pt idx="13">
                  <c:v>1101.1969</c:v>
                </c:pt>
                <c:pt idx="14">
                  <c:v>1087.8009</c:v>
                </c:pt>
                <c:pt idx="15">
                  <c:v>1135.9948</c:v>
                </c:pt>
                <c:pt idx="16">
                  <c:v>1121.4076</c:v>
                </c:pt>
                <c:pt idx="17">
                  <c:v>1118.2303</c:v>
                </c:pt>
                <c:pt idx="18">
                  <c:v>1144.0308</c:v>
                </c:pt>
                <c:pt idx="19">
                  <c:v>1291.0551</c:v>
                </c:pt>
                <c:pt idx="20">
                  <c:v>1288.7928</c:v>
                </c:pt>
                <c:pt idx="21">
                  <c:v>1216.6118</c:v>
                </c:pt>
                <c:pt idx="22">
                  <c:v>1187.7111</c:v>
                </c:pt>
                <c:pt idx="23">
                  <c:v>1159.5918</c:v>
                </c:pt>
                <c:pt idx="24">
                  <c:v>1181.4583</c:v>
                </c:pt>
                <c:pt idx="25">
                  <c:v>1127.0381</c:v>
                </c:pt>
                <c:pt idx="26">
                  <c:v>1128.9344</c:v>
                </c:pt>
                <c:pt idx="27">
                  <c:v>1139.6383</c:v>
                </c:pt>
                <c:pt idx="28">
                  <c:v>1160.2135</c:v>
                </c:pt>
                <c:pt idx="29">
                  <c:v>1164.6906</c:v>
                </c:pt>
                <c:pt idx="30">
                  <c:v>1180.3704</c:v>
                </c:pt>
                <c:pt idx="31">
                  <c:v>1184.2534</c:v>
                </c:pt>
                <c:pt idx="32">
                  <c:v>1187.18</c:v>
                </c:pt>
                <c:pt idx="33">
                  <c:v>1171.0217</c:v>
                </c:pt>
                <c:pt idx="34">
                  <c:v>1185.589</c:v>
                </c:pt>
                <c:pt idx="35">
                  <c:v>1250.7604</c:v>
                </c:pt>
                <c:pt idx="36">
                  <c:v>1308.0597</c:v>
                </c:pt>
                <c:pt idx="37">
                  <c:v>1296.2576</c:v>
                </c:pt>
                <c:pt idx="38">
                  <c:v>1298.7984</c:v>
                </c:pt>
                <c:pt idx="39">
                  <c:v>1243.32</c:v>
                </c:pt>
                <c:pt idx="40">
                  <c:v>1254.755</c:v>
                </c:pt>
                <c:pt idx="41">
                  <c:v>1319.1519</c:v>
                </c:pt>
                <c:pt idx="42">
                  <c:v>1317.3403</c:v>
                </c:pt>
                <c:pt idx="43">
                  <c:v>1315.5222</c:v>
                </c:pt>
                <c:pt idx="44">
                  <c:v>1225.6787</c:v>
                </c:pt>
                <c:pt idx="45">
                  <c:v>1160.264</c:v>
                </c:pt>
                <c:pt idx="46">
                  <c:v>1169.3558</c:v>
                </c:pt>
                <c:pt idx="47">
                  <c:v>1126.0867</c:v>
                </c:pt>
                <c:pt idx="48">
                  <c:v>1139.4822</c:v>
                </c:pt>
                <c:pt idx="49">
                  <c:v>1165.3045</c:v>
                </c:pt>
                <c:pt idx="50">
                  <c:v>1119.5229</c:v>
                </c:pt>
                <c:pt idx="51">
                  <c:v>1121.8353</c:v>
                </c:pt>
              </c:numCache>
            </c:numRef>
          </c:xVal>
          <c:yVal>
            <c:numRef>
              <c:f>Sheet1!$B$109:$B$160</c:f>
              <c:numCache>
                <c:formatCode>General</c:formatCode>
                <c:ptCount val="52"/>
                <c:pt idx="0">
                  <c:v>0.11949685534591195</c:v>
                </c:pt>
                <c:pt idx="1">
                  <c:v>0.1091091091091091</c:v>
                </c:pt>
                <c:pt idx="2">
                  <c:v>0.13124432334241598</c:v>
                </c:pt>
                <c:pt idx="3">
                  <c:v>0.15779283639883834</c:v>
                </c:pt>
                <c:pt idx="4">
                  <c:v>0.13602391629297458</c:v>
                </c:pt>
                <c:pt idx="5">
                  <c:v>0.13177874186550975</c:v>
                </c:pt>
                <c:pt idx="6">
                  <c:v>0.16193053676138927</c:v>
                </c:pt>
                <c:pt idx="7">
                  <c:v>0.16827503015681544</c:v>
                </c:pt>
                <c:pt idx="8">
                  <c:v>0.14991896272285252</c:v>
                </c:pt>
                <c:pt idx="9">
                  <c:v>0.15395894428152493</c:v>
                </c:pt>
                <c:pt idx="10">
                  <c:v>0.17835262083049694</c:v>
                </c:pt>
                <c:pt idx="11">
                  <c:v>0.15218370103556955</c:v>
                </c:pt>
                <c:pt idx="12">
                  <c:v>0.14437367303609341</c:v>
                </c:pt>
                <c:pt idx="13">
                  <c:v>0.14015151515151514</c:v>
                </c:pt>
                <c:pt idx="14">
                  <c:v>0.14042553191489363</c:v>
                </c:pt>
                <c:pt idx="15">
                  <c:v>0.13147138964577657</c:v>
                </c:pt>
                <c:pt idx="16">
                  <c:v>0.14252517428350117</c:v>
                </c:pt>
                <c:pt idx="17">
                  <c:v>0.14160700079554495</c:v>
                </c:pt>
                <c:pt idx="18">
                  <c:v>0.12404580152671756</c:v>
                </c:pt>
                <c:pt idx="19">
                  <c:v>0.11390134529147983</c:v>
                </c:pt>
                <c:pt idx="20">
                  <c:v>0.1068334937439846</c:v>
                </c:pt>
                <c:pt idx="21">
                  <c:v>0.12743628185907047</c:v>
                </c:pt>
                <c:pt idx="22">
                  <c:v>0.12413793103448276</c:v>
                </c:pt>
                <c:pt idx="23">
                  <c:v>0.12945838837516513</c:v>
                </c:pt>
                <c:pt idx="24">
                  <c:v>0.13230429988974643</c:v>
                </c:pt>
                <c:pt idx="25">
                  <c:v>0.1248513674197384</c:v>
                </c:pt>
                <c:pt idx="26">
                  <c:v>0.1231079717457114</c:v>
                </c:pt>
                <c:pt idx="27">
                  <c:v>0.1227154046997389</c:v>
                </c:pt>
                <c:pt idx="28">
                  <c:v>0.12570621468926554</c:v>
                </c:pt>
                <c:pt idx="29">
                  <c:v>0.12811059907834102</c:v>
                </c:pt>
                <c:pt idx="30">
                  <c:v>0.1259328358208955</c:v>
                </c:pt>
                <c:pt idx="31">
                  <c:v>0.141747572815534</c:v>
                </c:pt>
                <c:pt idx="32">
                  <c:v>0.12479201331114809</c:v>
                </c:pt>
                <c:pt idx="33">
                  <c:v>0.1450189155107188</c:v>
                </c:pt>
                <c:pt idx="34">
                  <c:v>0.16649642492339123</c:v>
                </c:pt>
                <c:pt idx="35">
                  <c:v>0.1392811296534018</c:v>
                </c:pt>
                <c:pt idx="36">
                  <c:v>0.14905450500556172</c:v>
                </c:pt>
                <c:pt idx="37">
                  <c:v>0.12547528517110265</c:v>
                </c:pt>
                <c:pt idx="38">
                  <c:v>0.12772277227722773</c:v>
                </c:pt>
                <c:pt idx="39">
                  <c:v>0.1290560471976401</c:v>
                </c:pt>
                <c:pt idx="40">
                  <c:v>0.12148028962188254</c:v>
                </c:pt>
                <c:pt idx="41">
                  <c:v>0.12210200927357033</c:v>
                </c:pt>
                <c:pt idx="42">
                  <c:v>0.1232876712328767</c:v>
                </c:pt>
                <c:pt idx="43">
                  <c:v>0.1073345259391771</c:v>
                </c:pt>
                <c:pt idx="44">
                  <c:v>0.11139112903225806</c:v>
                </c:pt>
                <c:pt idx="45">
                  <c:v>0.12893879029337196</c:v>
                </c:pt>
                <c:pt idx="46">
                  <c:v>0.1471698113207547</c:v>
                </c:pt>
                <c:pt idx="47">
                  <c:v>0.14413208389112003</c:v>
                </c:pt>
                <c:pt idx="48">
                  <c:v>0.14536041417761847</c:v>
                </c:pt>
                <c:pt idx="49">
                  <c:v>0.1483067341377968</c:v>
                </c:pt>
                <c:pt idx="50">
                  <c:v>0.1464081531195625</c:v>
                </c:pt>
                <c:pt idx="51">
                  <c:v>0.1382675884505896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8.1336879087805</c:v>
                </c:pt>
              </c:numCache>
            </c:numRef>
          </c:xVal>
          <c:yVal>
            <c:numRef>
              <c:f>Sheet1!$B$163:$B$164</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8.1336879087805</c:v>
                </c:pt>
                <c:pt idx="1">
                  <c:v>1078.1336879087805</c:v>
                </c:pt>
              </c:numCache>
            </c:numRef>
          </c:xVal>
          <c:yVal>
            <c:numRef>
              <c:f>Sheet1!$B$167:$B$168</c:f>
              <c:numCache>
                <c:formatCode>General</c:formatCode>
                <c:ptCount val="2"/>
                <c:pt idx="0">
                  <c:v>0.144585722471391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8.1336879087805</c:v>
                </c:pt>
              </c:numCache>
            </c:numRef>
          </c:xVal>
          <c:yVal>
            <c:numRef>
              <c:f>Sheet1!$B$171:$B$172</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8.1336879087805</c:v>
                </c:pt>
                <c:pt idx="1">
                  <c:v>1078.1336879087805</c:v>
                </c:pt>
              </c:numCache>
            </c:numRef>
          </c:xVal>
          <c:yVal>
            <c:numRef>
              <c:f>Sheet1!$B$175:$B$176</c:f>
              <c:numCache>
                <c:formatCode>General</c:formatCode>
                <c:ptCount val="2"/>
                <c:pt idx="0">
                  <c:v>0.144585722471391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5.4985722868698</c:v>
                </c:pt>
              </c:numCache>
            </c:numRef>
          </c:xVal>
          <c:yVal>
            <c:numRef>
              <c:f>Sheet1!$B$179:$B$180</c:f>
              <c:numCache>
                <c:formatCode>General</c:formatCode>
                <c:ptCount val="2"/>
                <c:pt idx="0">
                  <c:v>0.1317873267452476</c:v>
                </c:pt>
                <c:pt idx="1">
                  <c:v>0.13178732674524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5.4985722868698</c:v>
                </c:pt>
                <c:pt idx="1">
                  <c:v>1195.4985722868698</c:v>
                </c:pt>
              </c:numCache>
            </c:numRef>
          </c:xVal>
          <c:yVal>
            <c:numRef>
              <c:f>Sheet1!$B$183:$B$184</c:f>
              <c:numCache>
                <c:formatCode>General</c:formatCode>
                <c:ptCount val="2"/>
                <c:pt idx="0">
                  <c:v>0.13178732674524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0.8543</c:v>
                </c:pt>
                <c:pt idx="1">
                  <c:v>1132.9541</c:v>
                </c:pt>
                <c:pt idx="2">
                  <c:v>1124.6332</c:v>
                </c:pt>
                <c:pt idx="3">
                  <c:v>1052.227</c:v>
                </c:pt>
                <c:pt idx="4">
                  <c:v>1029.9194</c:v>
                </c:pt>
                <c:pt idx="5">
                  <c:v>1158.6049</c:v>
                </c:pt>
                <c:pt idx="6">
                  <c:v>1056.3538</c:v>
                </c:pt>
                <c:pt idx="7">
                  <c:v>1046.0036</c:v>
                </c:pt>
                <c:pt idx="8">
                  <c:v>1125.1784</c:v>
                </c:pt>
                <c:pt idx="9">
                  <c:v>1098.5905</c:v>
                </c:pt>
                <c:pt idx="10">
                  <c:v>1060.3969</c:v>
                </c:pt>
                <c:pt idx="11">
                  <c:v>985.1154</c:v>
                </c:pt>
                <c:pt idx="12">
                  <c:v>1028.8971</c:v>
                </c:pt>
                <c:pt idx="13">
                  <c:v>1101.1969</c:v>
                </c:pt>
                <c:pt idx="14">
                  <c:v>1087.8009</c:v>
                </c:pt>
                <c:pt idx="15">
                  <c:v>1135.9948</c:v>
                </c:pt>
                <c:pt idx="16">
                  <c:v>1121.4076</c:v>
                </c:pt>
                <c:pt idx="17">
                  <c:v>1118.2303</c:v>
                </c:pt>
                <c:pt idx="18">
                  <c:v>1144.0308</c:v>
                </c:pt>
                <c:pt idx="19">
                  <c:v>1291.0551</c:v>
                </c:pt>
                <c:pt idx="20">
                  <c:v>1288.7928</c:v>
                </c:pt>
                <c:pt idx="21">
                  <c:v>1216.6118</c:v>
                </c:pt>
                <c:pt idx="22">
                  <c:v>1187.7111</c:v>
                </c:pt>
                <c:pt idx="23">
                  <c:v>1159.5918</c:v>
                </c:pt>
                <c:pt idx="24">
                  <c:v>1181.4583</c:v>
                </c:pt>
                <c:pt idx="25">
                  <c:v>1127.0381</c:v>
                </c:pt>
                <c:pt idx="26">
                  <c:v>1128.9344</c:v>
                </c:pt>
                <c:pt idx="27">
                  <c:v>1139.6383</c:v>
                </c:pt>
                <c:pt idx="28">
                  <c:v>1160.2135</c:v>
                </c:pt>
                <c:pt idx="29">
                  <c:v>1164.6906</c:v>
                </c:pt>
                <c:pt idx="30">
                  <c:v>1180.3704</c:v>
                </c:pt>
                <c:pt idx="31">
                  <c:v>1184.2534</c:v>
                </c:pt>
                <c:pt idx="32">
                  <c:v>1187.18</c:v>
                </c:pt>
                <c:pt idx="33">
                  <c:v>1171.0217</c:v>
                </c:pt>
                <c:pt idx="34">
                  <c:v>1185.589</c:v>
                </c:pt>
                <c:pt idx="35">
                  <c:v>1250.7604</c:v>
                </c:pt>
                <c:pt idx="36">
                  <c:v>1308.0597</c:v>
                </c:pt>
                <c:pt idx="37">
                  <c:v>1296.2576</c:v>
                </c:pt>
                <c:pt idx="38">
                  <c:v>1298.7984</c:v>
                </c:pt>
                <c:pt idx="39">
                  <c:v>1243.32</c:v>
                </c:pt>
                <c:pt idx="40">
                  <c:v>1254.755</c:v>
                </c:pt>
                <c:pt idx="41">
                  <c:v>1319.1519</c:v>
                </c:pt>
                <c:pt idx="42">
                  <c:v>1317.3403</c:v>
                </c:pt>
                <c:pt idx="43">
                  <c:v>1315.5222</c:v>
                </c:pt>
                <c:pt idx="44">
                  <c:v>1225.6787</c:v>
                </c:pt>
                <c:pt idx="45">
                  <c:v>1160.264</c:v>
                </c:pt>
                <c:pt idx="46">
                  <c:v>1169.3558</c:v>
                </c:pt>
                <c:pt idx="47">
                  <c:v>1126.0867</c:v>
                </c:pt>
                <c:pt idx="48">
                  <c:v>1139.4822</c:v>
                </c:pt>
                <c:pt idx="49">
                  <c:v>1165.3045</c:v>
                </c:pt>
                <c:pt idx="50">
                  <c:v>1119.5229</c:v>
                </c:pt>
                <c:pt idx="51">
                  <c:v>1121.8353</c:v>
                </c:pt>
                <c:pt idx="52">
                  <c:v>1078.1336879087805</c:v>
                </c:pt>
                <c:pt idx="53">
                  <c:v>1078.1336879087805</c:v>
                </c:pt>
                <c:pt idx="54">
                  <c:v>1195.4985722868698</c:v>
                </c:pt>
              </c:numCache>
            </c:numRef>
          </c:xVal>
          <c:yVal>
            <c:numRef>
              <c:f>Sheet1!$B$187:$B$241</c:f>
              <c:numCache>
                <c:formatCode>General</c:formatCode>
                <c:ptCount val="55"/>
                <c:pt idx="0">
                  <c:v>0.13883664973942964</c:v>
                </c:pt>
                <c:pt idx="1">
                  <c:v>0.1386076709312609</c:v>
                </c:pt>
                <c:pt idx="2">
                  <c:v>0.13951504771233114</c:v>
                </c:pt>
                <c:pt idx="3">
                  <c:v>0.14741079272615532</c:v>
                </c:pt>
                <c:pt idx="4">
                  <c:v>0.14984338995498908</c:v>
                </c:pt>
                <c:pt idx="5">
                  <c:v>0.13581050471896688</c:v>
                </c:pt>
                <c:pt idx="6">
                  <c:v>0.14696077379789985</c:v>
                </c:pt>
                <c:pt idx="7">
                  <c:v>0.14808944150925724</c:v>
                </c:pt>
                <c:pt idx="8">
                  <c:v>0.13945559479004635</c:v>
                </c:pt>
                <c:pt idx="9">
                  <c:v>0.14235494980181407</c:v>
                </c:pt>
                <c:pt idx="10">
                  <c:v>0.14651988217998052</c:v>
                </c:pt>
                <c:pt idx="11">
                  <c:v>0.15472917265867162</c:v>
                </c:pt>
                <c:pt idx="12">
                  <c:v>0.14995486963666874</c:v>
                </c:pt>
                <c:pt idx="13">
                  <c:v>0.14207072732081064</c:v>
                </c:pt>
                <c:pt idx="14">
                  <c:v>0.14353153316623807</c:v>
                </c:pt>
                <c:pt idx="15">
                  <c:v>0.1382760889415482</c:v>
                </c:pt>
                <c:pt idx="16">
                  <c:v>0.13986679266119728</c:v>
                </c:pt>
                <c:pt idx="17">
                  <c:v>0.14021327059585514</c:v>
                </c:pt>
                <c:pt idx="18">
                  <c:v>0.13739977991095287</c:v>
                </c:pt>
                <c:pt idx="19">
                  <c:v>0.12136708680406438</c:v>
                </c:pt>
                <c:pt idx="20">
                  <c:v>0.12161378589813057</c:v>
                </c:pt>
                <c:pt idx="21">
                  <c:v>0.12948497332189873</c:v>
                </c:pt>
                <c:pt idx="22">
                  <c:v>0.13263653434734998</c:v>
                </c:pt>
                <c:pt idx="23">
                  <c:v>0.13570288533341507</c:v>
                </c:pt>
                <c:pt idx="24">
                  <c:v>0.1333183891391004</c:v>
                </c:pt>
                <c:pt idx="25">
                  <c:v>0.13925279838584054</c:v>
                </c:pt>
                <c:pt idx="26">
                  <c:v>0.139046010828011</c:v>
                </c:pt>
                <c:pt idx="27">
                  <c:v>0.13787877286974953</c:v>
                </c:pt>
                <c:pt idx="28">
                  <c:v>0.13563509024576934</c:v>
                </c:pt>
                <c:pt idx="29">
                  <c:v>0.1351468718335147</c:v>
                </c:pt>
                <c:pt idx="30">
                  <c:v>0.13343702236388694</c:v>
                </c:pt>
                <c:pt idx="31">
                  <c:v>0.1330135893168733</c:v>
                </c:pt>
                <c:pt idx="32">
                  <c:v>0.13269444969405844</c:v>
                </c:pt>
                <c:pt idx="33">
                  <c:v>0.13445647859015952</c:v>
                </c:pt>
                <c:pt idx="34">
                  <c:v>0.13286794492398343</c:v>
                </c:pt>
                <c:pt idx="35">
                  <c:v>0.12576113975268677</c:v>
                </c:pt>
                <c:pt idx="36">
                  <c:v>0.1195127706590095</c:v>
                </c:pt>
                <c:pt idx="37">
                  <c:v>0.12079976503556364</c:v>
                </c:pt>
                <c:pt idx="38">
                  <c:v>0.12052269609766711</c:v>
                </c:pt>
                <c:pt idx="39">
                  <c:v>0.12657249984617128</c:v>
                </c:pt>
                <c:pt idx="40">
                  <c:v>0.12532553695855833</c:v>
                </c:pt>
                <c:pt idx="41">
                  <c:v>0.11830318939604664</c:v>
                </c:pt>
                <c:pt idx="42">
                  <c:v>0.11850074059562685</c:v>
                </c:pt>
                <c:pt idx="43">
                  <c:v>0.11869900060664293</c:v>
                </c:pt>
                <c:pt idx="44">
                  <c:v>0.12849624679757013</c:v>
                </c:pt>
                <c:pt idx="45">
                  <c:v>0.135629583326152</c:v>
                </c:pt>
                <c:pt idx="46">
                  <c:v>0.1346381415087843</c:v>
                </c:pt>
                <c:pt idx="47">
                  <c:v>0.1393565465704732</c:v>
                </c:pt>
                <c:pt idx="48">
                  <c:v>0.1378957952490024</c:v>
                </c:pt>
                <c:pt idx="49">
                  <c:v>0.13507992731959204</c:v>
                </c:pt>
                <c:pt idx="50">
                  <c:v>0.1400723152632335</c:v>
                </c:pt>
                <c:pt idx="51">
                  <c:v>0.13982015286871524</c:v>
                </c:pt>
                <c:pt idx="52">
                  <c:v>0.14458572247139187</c:v>
                </c:pt>
                <c:pt idx="53">
                  <c:v>0.14458572247139187</c:v>
                </c:pt>
                <c:pt idx="54">
                  <c:v>0.13178732674524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3.0"/>
          <c:min val="5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402314499659633"/>
          <c:min val="0.0364004044489383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0835179863884</c:v>
                </c:pt>
                <c:pt idx="1">
                  <c:v>0.41135752135503495</c:v>
                </c:pt>
                <c:pt idx="2">
                  <c:v>0.4493391731168586</c:v>
                </c:pt>
                <c:pt idx="3">
                  <c:v>0.4385830245851229</c:v>
                </c:pt>
                <c:pt idx="4">
                  <c:v>0.49836705523418556</c:v>
                </c:pt>
                <c:pt idx="5">
                  <c:v>0.4542567751356745</c:v>
                </c:pt>
                <c:pt idx="6">
                  <c:v>0.400291864219207</c:v>
                </c:pt>
                <c:pt idx="7">
                  <c:v>0.3416145830228945</c:v>
                </c:pt>
                <c:pt idx="8">
                  <c:v>0.3630010557173669</c:v>
                </c:pt>
                <c:pt idx="9">
                  <c:v>0.38982236290199895</c:v>
                </c:pt>
                <c:pt idx="10">
                  <c:v>0.4372395978540064</c:v>
                </c:pt>
                <c:pt idx="11">
                  <c:v>0.3949822026401406</c:v>
                </c:pt>
                <c:pt idx="12">
                  <c:v>0.4240866130880261</c:v>
                </c:pt>
                <c:pt idx="13">
                  <c:v>0.38161597845246686</c:v>
                </c:pt>
                <c:pt idx="14">
                  <c:v>0.3633349810572175</c:v>
                </c:pt>
                <c:pt idx="15">
                  <c:v>0.35374433838407854</c:v>
                </c:pt>
                <c:pt idx="16">
                  <c:v>0.32283730356169105</c:v>
                </c:pt>
                <c:pt idx="17">
                  <c:v>0.3516887947329482</c:v>
                </c:pt>
                <c:pt idx="18">
                  <c:v>0.330354013319313</c:v>
                </c:pt>
                <c:pt idx="19">
                  <c:v>0.26332145340751045</c:v>
                </c:pt>
                <c:pt idx="20">
                  <c:v>0.37157937381049405</c:v>
                </c:pt>
                <c:pt idx="21">
                  <c:v>0.37489234482717015</c:v>
                </c:pt>
                <c:pt idx="22">
                  <c:v>0.3204149166326198</c:v>
                </c:pt>
                <c:pt idx="23">
                  <c:v>0.313341152554239</c:v>
                </c:pt>
                <c:pt idx="24">
                  <c:v>0.35671724250789766</c:v>
                </c:pt>
                <c:pt idx="25">
                  <c:v>0.33809356457980916</c:v>
                </c:pt>
                <c:pt idx="26">
                  <c:v>0.2906361210174535</c:v>
                </c:pt>
                <c:pt idx="27">
                  <c:v>0.3039758208282528</c:v>
                </c:pt>
                <c:pt idx="28">
                  <c:v>0.3376296476650661</c:v>
                </c:pt>
                <c:pt idx="29">
                  <c:v>0.2966330861032739</c:v>
                </c:pt>
                <c:pt idx="30">
                  <c:v>0.2915555745620435</c:v>
                </c:pt>
                <c:pt idx="31">
                  <c:v>0.3242222766102968</c:v>
                </c:pt>
                <c:pt idx="32">
                  <c:v>0.31817905841637883</c:v>
                </c:pt>
                <c:pt idx="33">
                  <c:v>0.33112629075214706</c:v>
                </c:pt>
                <c:pt idx="34">
                  <c:v>0.3174344049658279</c:v>
                </c:pt>
                <c:pt idx="35">
                  <c:v>0.3642147527617156</c:v>
                </c:pt>
                <c:pt idx="36">
                  <c:v>0.3026844978730889</c:v>
                </c:pt>
                <c:pt idx="37">
                  <c:v>0.43584752957673173</c:v>
                </c:pt>
                <c:pt idx="38">
                  <c:v>0.3759496188354899</c:v>
                </c:pt>
                <c:pt idx="39">
                  <c:v>0.4097327371939548</c:v>
                </c:pt>
                <c:pt idx="40">
                  <c:v>0.40543436988609427</c:v>
                </c:pt>
                <c:pt idx="41">
                  <c:v>0.4363123187846038</c:v>
                </c:pt>
                <c:pt idx="42">
                  <c:v>0.45036309641691896</c:v>
                </c:pt>
                <c:pt idx="43">
                  <c:v>0.4228366608400401</c:v>
                </c:pt>
                <c:pt idx="44">
                  <c:v>0.43923612790261396</c:v>
                </c:pt>
                <c:pt idx="45">
                  <c:v>0.45567842127180713</c:v>
                </c:pt>
                <c:pt idx="46">
                  <c:v>0.47331180494427516</c:v>
                </c:pt>
                <c:pt idx="47">
                  <c:v>0.4813109197443997</c:v>
                </c:pt>
                <c:pt idx="48">
                  <c:v>0.4881701303453626</c:v>
                </c:pt>
                <c:pt idx="49">
                  <c:v>0.42275109689023016</c:v>
                </c:pt>
                <c:pt idx="50">
                  <c:v>0.2695657180565359</c:v>
                </c:pt>
                <c:pt idx="51">
                  <c:v>0.24103782720080116</c:v>
                </c:pt>
                <c:pt idx="52">
                  <c:v>0.24699017909510412</c:v>
                </c:pt>
                <c:pt idx="53">
                  <c:v>0.2334104808097849</c:v>
                </c:pt>
                <c:pt idx="54">
                  <c:v>0.20661339370304918</c:v>
                </c:pt>
                <c:pt idx="55">
                  <c:v>0.27394895937690894</c:v>
                </c:pt>
                <c:pt idx="56">
                  <c:v>0.33046984579118405</c:v>
                </c:pt>
                <c:pt idx="57">
                  <c:v>0.4943505211465928</c:v>
                </c:pt>
                <c:pt idx="58">
                  <c:v>0.4137445920808842</c:v>
                </c:pt>
                <c:pt idx="59">
                  <c:v>0.3788427720231758</c:v>
                </c:pt>
                <c:pt idx="60">
                  <c:v>0.2937740525896258</c:v>
                </c:pt>
                <c:pt idx="61">
                  <c:v>0.28369362420609934</c:v>
                </c:pt>
                <c:pt idx="62">
                  <c:v>0.365232725731636</c:v>
                </c:pt>
                <c:pt idx="63">
                  <c:v>0.36589657092297556</c:v>
                </c:pt>
                <c:pt idx="64">
                  <c:v>0.3566915376273996</c:v>
                </c:pt>
                <c:pt idx="65">
                  <c:v>0.3101642616701479</c:v>
                </c:pt>
                <c:pt idx="66">
                  <c:v>0.36326396208579326</c:v>
                </c:pt>
                <c:pt idx="67">
                  <c:v>0.35722432477138516</c:v>
                </c:pt>
                <c:pt idx="68">
                  <c:v>0.34419773373509316</c:v>
                </c:pt>
                <c:pt idx="69">
                  <c:v>0.38191555607736494</c:v>
                </c:pt>
                <c:pt idx="70">
                  <c:v>0.34634269175603566</c:v>
                </c:pt>
                <c:pt idx="71">
                  <c:v>0.3697078343450152</c:v>
                </c:pt>
                <c:pt idx="72">
                  <c:v>0.4103127727949168</c:v>
                </c:pt>
                <c:pt idx="73">
                  <c:v>0.3645088583104137</c:v>
                </c:pt>
                <c:pt idx="74">
                  <c:v>0.3761348736024146</c:v>
                </c:pt>
                <c:pt idx="75">
                  <c:v>0.3583765064089135</c:v>
                </c:pt>
                <c:pt idx="76">
                  <c:v>0.3700229883388834</c:v>
                </c:pt>
                <c:pt idx="77">
                  <c:v>0.3743283100970914</c:v>
                </c:pt>
                <c:pt idx="78">
                  <c:v>0.38336550929544827</c:v>
                </c:pt>
                <c:pt idx="79">
                  <c:v>0.38828862154902605</c:v>
                </c:pt>
                <c:pt idx="80">
                  <c:v>0.3976656847809431</c:v>
                </c:pt>
                <c:pt idx="81">
                  <c:v>0.39376684472549656</c:v>
                </c:pt>
                <c:pt idx="82">
                  <c:v>0.4636441750217685</c:v>
                </c:pt>
                <c:pt idx="83">
                  <c:v>0.3402209901471766</c:v>
                </c:pt>
                <c:pt idx="84">
                  <c:v>0.3573044024130362</c:v>
                </c:pt>
                <c:pt idx="85">
                  <c:v>0.334394529550255</c:v>
                </c:pt>
                <c:pt idx="86">
                  <c:v>0.2958479460979299</c:v>
                </c:pt>
                <c:pt idx="87">
                  <c:v>0.3024061869591964</c:v>
                </c:pt>
                <c:pt idx="88">
                  <c:v>0.2909080519924903</c:v>
                </c:pt>
                <c:pt idx="89">
                  <c:v>0.2783092480570171</c:v>
                </c:pt>
                <c:pt idx="90">
                  <c:v>0.29205872171830394</c:v>
                </c:pt>
                <c:pt idx="91">
                  <c:v>0.3133887848276099</c:v>
                </c:pt>
                <c:pt idx="92">
                  <c:v>0.30605979647007825</c:v>
                </c:pt>
                <c:pt idx="93">
                  <c:v>0.3295838099370365</c:v>
                </c:pt>
                <c:pt idx="94">
                  <c:v>0.3118058607163075</c:v>
                </c:pt>
                <c:pt idx="95">
                  <c:v>0.4175375266701134</c:v>
                </c:pt>
                <c:pt idx="96">
                  <c:v>0.36200577280223983</c:v>
                </c:pt>
                <c:pt idx="97">
                  <c:v>0.3554051724649766</c:v>
                </c:pt>
                <c:pt idx="98">
                  <c:v>0.40461641712608243</c:v>
                </c:pt>
                <c:pt idx="99">
                  <c:v>0.42498925705613544</c:v>
                </c:pt>
                <c:pt idx="100">
                  <c:v>0.4114662848408394</c:v>
                </c:pt>
                <c:pt idx="101">
                  <c:v>0.38266572013212546</c:v>
                </c:pt>
                <c:pt idx="102">
                  <c:v>0.3667159647433389</c:v>
                </c:pt>
                <c:pt idx="103">
                  <c:v>0.368395989945154</c:v>
                </c:pt>
                <c:pt idx="104">
                  <c:v>0.3491149185845371</c:v>
                </c:pt>
              </c:numCache>
            </c:numRef>
          </c:xVal>
          <c:yVal>
            <c:numRef>
              <c:f>Sheet1!$B$2:$B$106</c:f>
              <c:numCache>
                <c:formatCode>General</c:formatCode>
                <c:ptCount val="105"/>
                <c:pt idx="0">
                  <c:v>0.09098824553765782</c:v>
                </c:pt>
                <c:pt idx="1">
                  <c:v>0.07167985927880387</c:v>
                </c:pt>
                <c:pt idx="2">
                  <c:v>0.07186779400461184</c:v>
                </c:pt>
                <c:pt idx="3">
                  <c:v>0.09128803668195082</c:v>
                </c:pt>
                <c:pt idx="4">
                  <c:v>0.08329101066531235</c:v>
                </c:pt>
                <c:pt idx="5">
                  <c:v>0.10098095787651472</c:v>
                </c:pt>
                <c:pt idx="6">
                  <c:v>0.13532856213402733</c:v>
                </c:pt>
                <c:pt idx="7">
                  <c:v>0.12944983818770225</c:v>
                </c:pt>
                <c:pt idx="8">
                  <c:v>0.12365063788027478</c:v>
                </c:pt>
                <c:pt idx="9">
                  <c:v>0.10784313725490197</c:v>
                </c:pt>
                <c:pt idx="10">
                  <c:v>0.12545676004872108</c:v>
                </c:pt>
                <c:pt idx="11">
                  <c:v>0.11975308641975309</c:v>
                </c:pt>
                <c:pt idx="12">
                  <c:v>0.1080937167199148</c:v>
                </c:pt>
                <c:pt idx="13">
                  <c:v>0.10914603335017686</c:v>
                </c:pt>
                <c:pt idx="14">
                  <c:v>0.08151183970856102</c:v>
                </c:pt>
                <c:pt idx="15">
                  <c:v>0.06598407281001138</c:v>
                </c:pt>
                <c:pt idx="16">
                  <c:v>0.06947368421052631</c:v>
                </c:pt>
                <c:pt idx="17">
                  <c:v>0.05862068965517241</c:v>
                </c:pt>
                <c:pt idx="18">
                  <c:v>0.048411497730711045</c:v>
                </c:pt>
                <c:pt idx="19">
                  <c:v>0.06054872280037843</c:v>
                </c:pt>
                <c:pt idx="20">
                  <c:v>0.04819277108433735</c:v>
                </c:pt>
                <c:pt idx="21">
                  <c:v>0.0455005055611729</c:v>
                </c:pt>
                <c:pt idx="22">
                  <c:v>0.056189640035118525</c:v>
                </c:pt>
                <c:pt idx="23">
                  <c:v>0.06160714285714286</c:v>
                </c:pt>
                <c:pt idx="24">
                  <c:v>0.06027820710973725</c:v>
                </c:pt>
                <c:pt idx="25">
                  <c:v>0.06149479659413434</c:v>
                </c:pt>
                <c:pt idx="26">
                  <c:v>0.09259259259259259</c:v>
                </c:pt>
                <c:pt idx="27">
                  <c:v>0.08808290155440414</c:v>
                </c:pt>
                <c:pt idx="28">
                  <c:v>0.107600341588386</c:v>
                </c:pt>
                <c:pt idx="29">
                  <c:v>0.10617120106171202</c:v>
                </c:pt>
                <c:pt idx="30">
                  <c:v>0.09183673469387756</c:v>
                </c:pt>
                <c:pt idx="31">
                  <c:v>0.10446428571428572</c:v>
                </c:pt>
                <c:pt idx="32">
                  <c:v>0.11449752883031301</c:v>
                </c:pt>
                <c:pt idx="33">
                  <c:v>0.11373260738052027</c:v>
                </c:pt>
                <c:pt idx="34">
                  <c:v>0.1300563236047107</c:v>
                </c:pt>
                <c:pt idx="35">
                  <c:v>0.13854166666666667</c:v>
                </c:pt>
                <c:pt idx="36">
                  <c:v>0.101749837977965</c:v>
                </c:pt>
                <c:pt idx="37">
                  <c:v>0.10368663594470046</c:v>
                </c:pt>
                <c:pt idx="38">
                  <c:v>0.09607993850883935</c:v>
                </c:pt>
                <c:pt idx="39">
                  <c:v>0.09029345372460497</c:v>
                </c:pt>
                <c:pt idx="40">
                  <c:v>0.10107015457788347</c:v>
                </c:pt>
                <c:pt idx="41">
                  <c:v>0.09184372858122002</c:v>
                </c:pt>
                <c:pt idx="42">
                  <c:v>0.08674985145573381</c:v>
                </c:pt>
                <c:pt idx="43">
                  <c:v>0.09037745879851143</c:v>
                </c:pt>
                <c:pt idx="44">
                  <c:v>0.10082230961744726</c:v>
                </c:pt>
                <c:pt idx="45">
                  <c:v>0.11864406779661017</c:v>
                </c:pt>
                <c:pt idx="46">
                  <c:v>0.12841969745735435</c:v>
                </c:pt>
                <c:pt idx="47">
                  <c:v>0.10746873943899966</c:v>
                </c:pt>
                <c:pt idx="48">
                  <c:v>0.11156429942418426</c:v>
                </c:pt>
                <c:pt idx="49">
                  <c:v>0.1209106239460371</c:v>
                </c:pt>
                <c:pt idx="50">
                  <c:v>0.11455576559546314</c:v>
                </c:pt>
                <c:pt idx="51">
                  <c:v>0.09434889434889435</c:v>
                </c:pt>
                <c:pt idx="52">
                  <c:v>0.10419790104947527</c:v>
                </c:pt>
                <c:pt idx="53">
                  <c:v>0.09575471698113208</c:v>
                </c:pt>
                <c:pt idx="54">
                  <c:v>0.09361924686192469</c:v>
                </c:pt>
                <c:pt idx="55">
                  <c:v>0.08763440860215053</c:v>
                </c:pt>
                <c:pt idx="56">
                  <c:v>0.09320046893317702</c:v>
                </c:pt>
                <c:pt idx="57">
                  <c:v>0.08442871587462084</c:v>
                </c:pt>
                <c:pt idx="58">
                  <c:v>0.11251167133520075</c:v>
                </c:pt>
                <c:pt idx="59">
                  <c:v>0.10089203322054753</c:v>
                </c:pt>
                <c:pt idx="60">
                  <c:v>0.10466358134567462</c:v>
                </c:pt>
                <c:pt idx="61">
                  <c:v>0.10283315844700944</c:v>
                </c:pt>
                <c:pt idx="62">
                  <c:v>0.13152804642166344</c:v>
                </c:pt>
                <c:pt idx="63">
                  <c:v>0.13575081357508137</c:v>
                </c:pt>
                <c:pt idx="64">
                  <c:v>0.13537320352341214</c:v>
                </c:pt>
                <c:pt idx="65">
                  <c:v>0.13179026924893716</c:v>
                </c:pt>
                <c:pt idx="66">
                  <c:v>0.12721021611001965</c:v>
                </c:pt>
                <c:pt idx="67">
                  <c:v>0.12916045702930948</c:v>
                </c:pt>
                <c:pt idx="68">
                  <c:v>0.11672908863920099</c:v>
                </c:pt>
                <c:pt idx="69">
                  <c:v>0.10482019892884469</c:v>
                </c:pt>
                <c:pt idx="70">
                  <c:v>0.10922509225092251</c:v>
                </c:pt>
                <c:pt idx="71">
                  <c:v>0.1020746887966805</c:v>
                </c:pt>
                <c:pt idx="72">
                  <c:v>0.09679767103347889</c:v>
                </c:pt>
                <c:pt idx="73">
                  <c:v>0.10238095238095238</c:v>
                </c:pt>
                <c:pt idx="74">
                  <c:v>0.09937888198757763</c:v>
                </c:pt>
                <c:pt idx="75">
                  <c:v>0.11629881154499151</c:v>
                </c:pt>
                <c:pt idx="76">
                  <c:v>0.11317073170731708</c:v>
                </c:pt>
                <c:pt idx="77">
                  <c:v>0.10564663023679417</c:v>
                </c:pt>
                <c:pt idx="78">
                  <c:v>0.09839572192513368</c:v>
                </c:pt>
                <c:pt idx="79">
                  <c:v>0.09690893901420217</c:v>
                </c:pt>
                <c:pt idx="80">
                  <c:v>0.09672131147540984</c:v>
                </c:pt>
                <c:pt idx="81">
                  <c:v>0.09198423127463863</c:v>
                </c:pt>
                <c:pt idx="82">
                  <c:v>0.09689557855126998</c:v>
                </c:pt>
                <c:pt idx="83">
                  <c:v>0.10376398779247202</c:v>
                </c:pt>
                <c:pt idx="84">
                  <c:v>0.09840954274353876</c:v>
                </c:pt>
                <c:pt idx="85">
                  <c:v>0.11158798283261803</c:v>
                </c:pt>
                <c:pt idx="86">
                  <c:v>0.12942691564713457</c:v>
                </c:pt>
                <c:pt idx="87">
                  <c:v>0.11204313960455363</c:v>
                </c:pt>
                <c:pt idx="88">
                  <c:v>0.11075441412520064</c:v>
                </c:pt>
                <c:pt idx="89">
                  <c:v>0.11101321585903083</c:v>
                </c:pt>
                <c:pt idx="90">
                  <c:v>0.10212765957446808</c:v>
                </c:pt>
                <c:pt idx="91">
                  <c:v>0.09819967266775777</c:v>
                </c:pt>
                <c:pt idx="92">
                  <c:v>0.10784313725490197</c:v>
                </c:pt>
                <c:pt idx="93">
                  <c:v>0.11203897007654837</c:v>
                </c:pt>
                <c:pt idx="94">
                  <c:v>0.1162227602905569</c:v>
                </c:pt>
                <c:pt idx="95">
                  <c:v>0.11652173913043479</c:v>
                </c:pt>
                <c:pt idx="96">
                  <c:v>0.11816782140107775</c:v>
                </c:pt>
                <c:pt idx="97">
                  <c:v>0.11711711711711711</c:v>
                </c:pt>
                <c:pt idx="98">
                  <c:v>0.11083359350608804</c:v>
                </c:pt>
                <c:pt idx="99">
                  <c:v>0.1087920688755544</c:v>
                </c:pt>
                <c:pt idx="100">
                  <c:v>0.11317110853611433</c:v>
                </c:pt>
                <c:pt idx="101">
                  <c:v>0.11189044756179024</c:v>
                </c:pt>
                <c:pt idx="102">
                  <c:v>0.1091703056768559</c:v>
                </c:pt>
                <c:pt idx="103">
                  <c:v>0.10904872389791183</c:v>
                </c:pt>
                <c:pt idx="104">
                  <c:v>0.116776315789473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4719798917296574</c:v>
                </c:pt>
                <c:pt idx="1">
                  <c:v>0.3746854193347824</c:v>
                </c:pt>
                <c:pt idx="2">
                  <c:v>0.3591982278118281</c:v>
                </c:pt>
                <c:pt idx="3">
                  <c:v>0.348545439808042</c:v>
                </c:pt>
                <c:pt idx="4">
                  <c:v>0.30477652672511907</c:v>
                </c:pt>
                <c:pt idx="5">
                  <c:v>0.3321808451847987</c:v>
                </c:pt>
                <c:pt idx="6">
                  <c:v>0.3735006329175017</c:v>
                </c:pt>
                <c:pt idx="7">
                  <c:v>0.36684508977783714</c:v>
                </c:pt>
                <c:pt idx="8">
                  <c:v>0.33295907762054805</c:v>
                </c:pt>
                <c:pt idx="9">
                  <c:v>0.34274936097407555</c:v>
                </c:pt>
                <c:pt idx="10">
                  <c:v>0.3632740322028092</c:v>
                </c:pt>
                <c:pt idx="11">
                  <c:v>0.36926700015754793</c:v>
                </c:pt>
                <c:pt idx="12">
                  <c:v>0.4443749334342699</c:v>
                </c:pt>
                <c:pt idx="13">
                  <c:v>0.49372452040056003</c:v>
                </c:pt>
                <c:pt idx="14">
                  <c:v>0.47279410742040134</c:v>
                </c:pt>
                <c:pt idx="15">
                  <c:v>0.3960441838117802</c:v>
                </c:pt>
                <c:pt idx="16">
                  <c:v>0.38712915779127705</c:v>
                </c:pt>
                <c:pt idx="17">
                  <c:v>0.35332619222161865</c:v>
                </c:pt>
                <c:pt idx="18">
                  <c:v>0.34027570275004965</c:v>
                </c:pt>
                <c:pt idx="19">
                  <c:v>0.40112581984552254</c:v>
                </c:pt>
                <c:pt idx="20">
                  <c:v>0.3400802037516112</c:v>
                </c:pt>
                <c:pt idx="21">
                  <c:v>0.3212883246365464</c:v>
                </c:pt>
                <c:pt idx="22">
                  <c:v>0.34010330258496424</c:v>
                </c:pt>
                <c:pt idx="23">
                  <c:v>0.3377296849687296</c:v>
                </c:pt>
                <c:pt idx="24">
                  <c:v>0.33952202921963903</c:v>
                </c:pt>
                <c:pt idx="25">
                  <c:v>0.3078580360796328</c:v>
                </c:pt>
                <c:pt idx="26">
                  <c:v>0.3109843607097103</c:v>
                </c:pt>
                <c:pt idx="27">
                  <c:v>0.34028576653914344</c:v>
                </c:pt>
                <c:pt idx="28">
                  <c:v>0.4012771060793536</c:v>
                </c:pt>
                <c:pt idx="29">
                  <c:v>0.39428144766068735</c:v>
                </c:pt>
                <c:pt idx="30">
                  <c:v>0.3939729308042155</c:v>
                </c:pt>
                <c:pt idx="31">
                  <c:v>0.3031463880937906</c:v>
                </c:pt>
                <c:pt idx="32">
                  <c:v>0.3069400040338263</c:v>
                </c:pt>
                <c:pt idx="33">
                  <c:v>0.2963055731869427</c:v>
                </c:pt>
                <c:pt idx="34">
                  <c:v>0.31467290978982354</c:v>
                </c:pt>
                <c:pt idx="35">
                  <c:v>0.30563386972293266</c:v>
                </c:pt>
                <c:pt idx="36">
                  <c:v>0.3478479287837805</c:v>
                </c:pt>
                <c:pt idx="37">
                  <c:v>0.3244125839160024</c:v>
                </c:pt>
                <c:pt idx="38">
                  <c:v>0.3501963547555998</c:v>
                </c:pt>
                <c:pt idx="39">
                  <c:v>0.34662267317974865</c:v>
                </c:pt>
                <c:pt idx="40">
                  <c:v>0.35781381265602163</c:v>
                </c:pt>
                <c:pt idx="41">
                  <c:v>0.35912589403270917</c:v>
                </c:pt>
                <c:pt idx="42">
                  <c:v>0.3553201146678119</c:v>
                </c:pt>
                <c:pt idx="43">
                  <c:v>0.37238091555528435</c:v>
                </c:pt>
                <c:pt idx="44">
                  <c:v>0.4018798941539411</c:v>
                </c:pt>
                <c:pt idx="45">
                  <c:v>0.402952637374369</c:v>
                </c:pt>
                <c:pt idx="46">
                  <c:v>0.38643907781060205</c:v>
                </c:pt>
                <c:pt idx="47">
                  <c:v>0.4041637070055954</c:v>
                </c:pt>
                <c:pt idx="48">
                  <c:v>0.42648631023057637</c:v>
                </c:pt>
                <c:pt idx="49">
                  <c:v>0.47002877316832975</c:v>
                </c:pt>
                <c:pt idx="50">
                  <c:v>0.4728251869479604</c:v>
                </c:pt>
                <c:pt idx="51">
                  <c:v>0.3887937286474292</c:v>
                </c:pt>
              </c:numCache>
            </c:numRef>
          </c:xVal>
          <c:yVal>
            <c:numRef>
              <c:f>Sheet1!$B$109:$B$160</c:f>
              <c:numCache>
                <c:formatCode>General</c:formatCode>
                <c:ptCount val="52"/>
                <c:pt idx="0">
                  <c:v>0.11949685534591195</c:v>
                </c:pt>
                <c:pt idx="1">
                  <c:v>0.1091091091091091</c:v>
                </c:pt>
                <c:pt idx="2">
                  <c:v>0.13124432334241598</c:v>
                </c:pt>
                <c:pt idx="3">
                  <c:v>0.15779283639883834</c:v>
                </c:pt>
                <c:pt idx="4">
                  <c:v>0.13602391629297458</c:v>
                </c:pt>
                <c:pt idx="5">
                  <c:v>0.13177874186550975</c:v>
                </c:pt>
                <c:pt idx="6">
                  <c:v>0.16193053676138927</c:v>
                </c:pt>
                <c:pt idx="7">
                  <c:v>0.16827503015681544</c:v>
                </c:pt>
                <c:pt idx="8">
                  <c:v>0.14991896272285252</c:v>
                </c:pt>
                <c:pt idx="9">
                  <c:v>0.15395894428152493</c:v>
                </c:pt>
                <c:pt idx="10">
                  <c:v>0.17835262083049694</c:v>
                </c:pt>
                <c:pt idx="11">
                  <c:v>0.15218370103556955</c:v>
                </c:pt>
                <c:pt idx="12">
                  <c:v>0.14437367303609341</c:v>
                </c:pt>
                <c:pt idx="13">
                  <c:v>0.14015151515151514</c:v>
                </c:pt>
                <c:pt idx="14">
                  <c:v>0.14042553191489363</c:v>
                </c:pt>
                <c:pt idx="15">
                  <c:v>0.13147138964577657</c:v>
                </c:pt>
                <c:pt idx="16">
                  <c:v>0.14252517428350117</c:v>
                </c:pt>
                <c:pt idx="17">
                  <c:v>0.14160700079554495</c:v>
                </c:pt>
                <c:pt idx="18">
                  <c:v>0.12404580152671756</c:v>
                </c:pt>
                <c:pt idx="19">
                  <c:v>0.11390134529147983</c:v>
                </c:pt>
                <c:pt idx="20">
                  <c:v>0.1068334937439846</c:v>
                </c:pt>
                <c:pt idx="21">
                  <c:v>0.12743628185907047</c:v>
                </c:pt>
                <c:pt idx="22">
                  <c:v>0.12413793103448276</c:v>
                </c:pt>
                <c:pt idx="23">
                  <c:v>0.12945838837516513</c:v>
                </c:pt>
                <c:pt idx="24">
                  <c:v>0.13230429988974643</c:v>
                </c:pt>
                <c:pt idx="25">
                  <c:v>0.1248513674197384</c:v>
                </c:pt>
                <c:pt idx="26">
                  <c:v>0.1231079717457114</c:v>
                </c:pt>
                <c:pt idx="27">
                  <c:v>0.1227154046997389</c:v>
                </c:pt>
                <c:pt idx="28">
                  <c:v>0.12570621468926554</c:v>
                </c:pt>
                <c:pt idx="29">
                  <c:v>0.12811059907834102</c:v>
                </c:pt>
                <c:pt idx="30">
                  <c:v>0.1259328358208955</c:v>
                </c:pt>
                <c:pt idx="31">
                  <c:v>0.141747572815534</c:v>
                </c:pt>
                <c:pt idx="32">
                  <c:v>0.12479201331114809</c:v>
                </c:pt>
                <c:pt idx="33">
                  <c:v>0.1450189155107188</c:v>
                </c:pt>
                <c:pt idx="34">
                  <c:v>0.16649642492339123</c:v>
                </c:pt>
                <c:pt idx="35">
                  <c:v>0.1392811296534018</c:v>
                </c:pt>
                <c:pt idx="36">
                  <c:v>0.14905450500556172</c:v>
                </c:pt>
                <c:pt idx="37">
                  <c:v>0.12547528517110265</c:v>
                </c:pt>
                <c:pt idx="38">
                  <c:v>0.12772277227722773</c:v>
                </c:pt>
                <c:pt idx="39">
                  <c:v>0.1290560471976401</c:v>
                </c:pt>
                <c:pt idx="40">
                  <c:v>0.12148028962188254</c:v>
                </c:pt>
                <c:pt idx="41">
                  <c:v>0.12210200927357033</c:v>
                </c:pt>
                <c:pt idx="42">
                  <c:v>0.1232876712328767</c:v>
                </c:pt>
                <c:pt idx="43">
                  <c:v>0.1073345259391771</c:v>
                </c:pt>
                <c:pt idx="44">
                  <c:v>0.11139112903225806</c:v>
                </c:pt>
                <c:pt idx="45">
                  <c:v>0.12893879029337196</c:v>
                </c:pt>
                <c:pt idx="46">
                  <c:v>0.1471698113207547</c:v>
                </c:pt>
                <c:pt idx="47">
                  <c:v>0.14413208389112003</c:v>
                </c:pt>
                <c:pt idx="48">
                  <c:v>0.14536041417761847</c:v>
                </c:pt>
                <c:pt idx="49">
                  <c:v>0.1483067341377968</c:v>
                </c:pt>
                <c:pt idx="50">
                  <c:v>0.1464081531195625</c:v>
                </c:pt>
                <c:pt idx="51">
                  <c:v>0.1382675884505896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430782975899815</c:v>
                </c:pt>
              </c:numCache>
            </c:numRef>
          </c:xVal>
          <c:yVal>
            <c:numRef>
              <c:f>Sheet1!$B$163:$B$164</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430782975899815</c:v>
                </c:pt>
                <c:pt idx="1">
                  <c:v>0.6430782975899815</c:v>
                </c:pt>
              </c:numCache>
            </c:numRef>
          </c:xVal>
          <c:yVal>
            <c:numRef>
              <c:f>Sheet1!$B$167:$B$168</c:f>
              <c:numCache>
                <c:formatCode>General</c:formatCode>
                <c:ptCount val="2"/>
                <c:pt idx="0">
                  <c:v>0.144585722471391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30782975899815</c:v>
                </c:pt>
              </c:numCache>
            </c:numRef>
          </c:xVal>
          <c:yVal>
            <c:numRef>
              <c:f>Sheet1!$B$171:$B$172</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30782975899815</c:v>
                </c:pt>
                <c:pt idx="1">
                  <c:v>0.6430782975899815</c:v>
                </c:pt>
              </c:numCache>
            </c:numRef>
          </c:xVal>
          <c:yVal>
            <c:numRef>
              <c:f>Sheet1!$B$175:$B$176</c:f>
              <c:numCache>
                <c:formatCode>General</c:formatCode>
                <c:ptCount val="2"/>
                <c:pt idx="0">
                  <c:v>0.144585722471391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638470160425267</c:v>
                </c:pt>
              </c:numCache>
            </c:numRef>
          </c:xVal>
          <c:yVal>
            <c:numRef>
              <c:f>Sheet1!$B$179:$B$180</c:f>
              <c:numCache>
                <c:formatCode>General</c:formatCode>
                <c:ptCount val="2"/>
                <c:pt idx="0">
                  <c:v>0.1317873267452476</c:v>
                </c:pt>
                <c:pt idx="1">
                  <c:v>0.13178732674524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638470160425267</c:v>
                </c:pt>
                <c:pt idx="1">
                  <c:v>0.2638470160425267</c:v>
                </c:pt>
              </c:numCache>
            </c:numRef>
          </c:xVal>
          <c:yVal>
            <c:numRef>
              <c:f>Sheet1!$B$183:$B$184</c:f>
              <c:numCache>
                <c:formatCode>General</c:formatCode>
                <c:ptCount val="2"/>
                <c:pt idx="0">
                  <c:v>0.13178732674524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4719798917296574</c:v>
                </c:pt>
                <c:pt idx="1">
                  <c:v>0.3746854193347824</c:v>
                </c:pt>
                <c:pt idx="2">
                  <c:v>0.3591982278118281</c:v>
                </c:pt>
                <c:pt idx="3">
                  <c:v>0.348545439808042</c:v>
                </c:pt>
                <c:pt idx="4">
                  <c:v>0.30477652672511907</c:v>
                </c:pt>
                <c:pt idx="5">
                  <c:v>0.3321808451847987</c:v>
                </c:pt>
                <c:pt idx="6">
                  <c:v>0.3735006329175017</c:v>
                </c:pt>
                <c:pt idx="7">
                  <c:v>0.36684508977783714</c:v>
                </c:pt>
                <c:pt idx="8">
                  <c:v>0.33295907762054805</c:v>
                </c:pt>
                <c:pt idx="9">
                  <c:v>0.34274936097407555</c:v>
                </c:pt>
                <c:pt idx="10">
                  <c:v>0.3632740322028092</c:v>
                </c:pt>
                <c:pt idx="11">
                  <c:v>0.36926700015754793</c:v>
                </c:pt>
                <c:pt idx="12">
                  <c:v>0.4443749334342699</c:v>
                </c:pt>
                <c:pt idx="13">
                  <c:v>0.49372452040056003</c:v>
                </c:pt>
                <c:pt idx="14">
                  <c:v>0.47279410742040134</c:v>
                </c:pt>
                <c:pt idx="15">
                  <c:v>0.3960441838117802</c:v>
                </c:pt>
                <c:pt idx="16">
                  <c:v>0.38712915779127705</c:v>
                </c:pt>
                <c:pt idx="17">
                  <c:v>0.35332619222161865</c:v>
                </c:pt>
                <c:pt idx="18">
                  <c:v>0.34027570275004965</c:v>
                </c:pt>
                <c:pt idx="19">
                  <c:v>0.40112581984552254</c:v>
                </c:pt>
                <c:pt idx="20">
                  <c:v>0.3400802037516112</c:v>
                </c:pt>
                <c:pt idx="21">
                  <c:v>0.3212883246365464</c:v>
                </c:pt>
                <c:pt idx="22">
                  <c:v>0.34010330258496424</c:v>
                </c:pt>
                <c:pt idx="23">
                  <c:v>0.3377296849687296</c:v>
                </c:pt>
                <c:pt idx="24">
                  <c:v>0.33952202921963903</c:v>
                </c:pt>
                <c:pt idx="25">
                  <c:v>0.3078580360796328</c:v>
                </c:pt>
                <c:pt idx="26">
                  <c:v>0.3109843607097103</c:v>
                </c:pt>
                <c:pt idx="27">
                  <c:v>0.34028576653914344</c:v>
                </c:pt>
                <c:pt idx="28">
                  <c:v>0.4012771060793536</c:v>
                </c:pt>
                <c:pt idx="29">
                  <c:v>0.39428144766068735</c:v>
                </c:pt>
                <c:pt idx="30">
                  <c:v>0.3939729308042155</c:v>
                </c:pt>
                <c:pt idx="31">
                  <c:v>0.3031463880937906</c:v>
                </c:pt>
                <c:pt idx="32">
                  <c:v>0.3069400040338263</c:v>
                </c:pt>
                <c:pt idx="33">
                  <c:v>0.2963055731869427</c:v>
                </c:pt>
                <c:pt idx="34">
                  <c:v>0.31467290978982354</c:v>
                </c:pt>
                <c:pt idx="35">
                  <c:v>0.30563386972293266</c:v>
                </c:pt>
                <c:pt idx="36">
                  <c:v>0.3478479287837805</c:v>
                </c:pt>
                <c:pt idx="37">
                  <c:v>0.3244125839160024</c:v>
                </c:pt>
                <c:pt idx="38">
                  <c:v>0.3501963547555998</c:v>
                </c:pt>
                <c:pt idx="39">
                  <c:v>0.34662267317974865</c:v>
                </c:pt>
                <c:pt idx="40">
                  <c:v>0.35781381265602163</c:v>
                </c:pt>
                <c:pt idx="41">
                  <c:v>0.35912589403270917</c:v>
                </c:pt>
                <c:pt idx="42">
                  <c:v>0.3553201146678119</c:v>
                </c:pt>
                <c:pt idx="43">
                  <c:v>0.37238091555528435</c:v>
                </c:pt>
                <c:pt idx="44">
                  <c:v>0.4018798941539411</c:v>
                </c:pt>
                <c:pt idx="45">
                  <c:v>0.402952637374369</c:v>
                </c:pt>
                <c:pt idx="46">
                  <c:v>0.38643907781060205</c:v>
                </c:pt>
                <c:pt idx="47">
                  <c:v>0.4041637070055954</c:v>
                </c:pt>
                <c:pt idx="48">
                  <c:v>0.42648631023057637</c:v>
                </c:pt>
                <c:pt idx="49">
                  <c:v>0.47002877316832975</c:v>
                </c:pt>
                <c:pt idx="50">
                  <c:v>0.4728251869479604</c:v>
                </c:pt>
                <c:pt idx="51">
                  <c:v>0.3887937286474292</c:v>
                </c:pt>
                <c:pt idx="52">
                  <c:v>0.6430782975899815</c:v>
                </c:pt>
                <c:pt idx="53">
                  <c:v>0.6430782975899815</c:v>
                </c:pt>
                <c:pt idx="54">
                  <c:v>0.2638470160425267</c:v>
                </c:pt>
              </c:numCache>
            </c:numRef>
          </c:xVal>
          <c:yVal>
            <c:numRef>
              <c:f>Sheet1!$B$187:$B$241</c:f>
              <c:numCache>
                <c:formatCode>General</c:formatCode>
                <c:ptCount val="55"/>
                <c:pt idx="0">
                  <c:v>0.1346002770217376</c:v>
                </c:pt>
                <c:pt idx="1">
                  <c:v>0.13552792994970858</c:v>
                </c:pt>
                <c:pt idx="2">
                  <c:v>0.13500526419020545</c:v>
                </c:pt>
                <c:pt idx="3">
                  <c:v>0.13464575113552585</c:v>
                </c:pt>
                <c:pt idx="4">
                  <c:v>0.13316862649577388</c:v>
                </c:pt>
                <c:pt idx="5">
                  <c:v>0.13409347454844797</c:v>
                </c:pt>
                <c:pt idx="6">
                  <c:v>0.13548794547016502</c:v>
                </c:pt>
                <c:pt idx="7">
                  <c:v>0.13526333247271852</c:v>
                </c:pt>
                <c:pt idx="8">
                  <c:v>0.13411973853869424</c:v>
                </c:pt>
                <c:pt idx="9">
                  <c:v>0.13445014356255788</c:v>
                </c:pt>
                <c:pt idx="10">
                  <c:v>0.13514281549474255</c:v>
                </c:pt>
                <c:pt idx="11">
                  <c:v>0.13534506773286456</c:v>
                </c:pt>
                <c:pt idx="12">
                  <c:v>0.13787982976073815</c:v>
                </c:pt>
                <c:pt idx="13">
                  <c:v>0.13954529243127292</c:v>
                </c:pt>
                <c:pt idx="14">
                  <c:v>0.1388389274211434</c:v>
                </c:pt>
                <c:pt idx="15">
                  <c:v>0.13624875107733997</c:v>
                </c:pt>
                <c:pt idx="16">
                  <c:v>0.13594788446514044</c:v>
                </c:pt>
                <c:pt idx="17">
                  <c:v>0.1348070932089118</c:v>
                </c:pt>
                <c:pt idx="18">
                  <c:v>0.1343666619027298</c:v>
                </c:pt>
                <c:pt idx="19">
                  <c:v>0.13642024744923917</c:v>
                </c:pt>
                <c:pt idx="20">
                  <c:v>0.1343600641517851</c:v>
                </c:pt>
                <c:pt idx="21">
                  <c:v>0.13372587093763075</c:v>
                </c:pt>
                <c:pt idx="22">
                  <c:v>0.13436084369720885</c:v>
                </c:pt>
                <c:pt idx="23">
                  <c:v>0.1342807382337799</c:v>
                </c:pt>
                <c:pt idx="24">
                  <c:v>0.1343412267327956</c:v>
                </c:pt>
                <c:pt idx="25">
                  <c:v>0.13327262207333268</c:v>
                </c:pt>
                <c:pt idx="26">
                  <c:v>0.1333781300884438</c:v>
                </c:pt>
                <c:pt idx="27">
                  <c:v>0.1343670015380964</c:v>
                </c:pt>
                <c:pt idx="28">
                  <c:v>0.13642535309632764</c:v>
                </c:pt>
                <c:pt idx="29">
                  <c:v>0.1361892618001622</c:v>
                </c:pt>
                <c:pt idx="30">
                  <c:v>0.13617884989320872</c:v>
                </c:pt>
                <c:pt idx="31">
                  <c:v>0.13311361215411124</c:v>
                </c:pt>
                <c:pt idx="32">
                  <c:v>0.13324164008955863</c:v>
                </c:pt>
                <c:pt idx="33">
                  <c:v>0.13288274655697513</c:v>
                </c:pt>
                <c:pt idx="34">
                  <c:v>0.13350261220023046</c:v>
                </c:pt>
                <c:pt idx="35">
                  <c:v>0.13319756032980332</c:v>
                </c:pt>
                <c:pt idx="36">
                  <c:v>0.13462221135242722</c:v>
                </c:pt>
                <c:pt idx="37">
                  <c:v>0.133831309250753</c:v>
                </c:pt>
                <c:pt idx="38">
                  <c:v>0.1347014666417015</c:v>
                </c:pt>
                <c:pt idx="39">
                  <c:v>0.13458086110826464</c:v>
                </c:pt>
                <c:pt idx="40">
                  <c:v>0.13495854258817677</c:v>
                </c:pt>
                <c:pt idx="41">
                  <c:v>0.13500282305105216</c:v>
                </c:pt>
                <c:pt idx="42">
                  <c:v>0.1348743846211853</c:v>
                </c:pt>
                <c:pt idx="43">
                  <c:v>0.1354501569579816</c:v>
                </c:pt>
                <c:pt idx="44">
                  <c:v>0.1364456961447336</c:v>
                </c:pt>
                <c:pt idx="45">
                  <c:v>0.13648189936138688</c:v>
                </c:pt>
                <c:pt idx="46">
                  <c:v>0.1359245954668296</c:v>
                </c:pt>
                <c:pt idx="47">
                  <c:v>0.136522770853657</c:v>
                </c:pt>
                <c:pt idx="48">
                  <c:v>0.13727611986153748</c:v>
                </c:pt>
                <c:pt idx="49">
                  <c:v>0.13874560220301094</c:v>
                </c:pt>
                <c:pt idx="50">
                  <c:v>0.13883997630110673</c:v>
                </c:pt>
                <c:pt idx="51">
                  <c:v>0.13600406083446395</c:v>
                </c:pt>
                <c:pt idx="52">
                  <c:v>0.14458572247139187</c:v>
                </c:pt>
                <c:pt idx="53">
                  <c:v>0.14458572247139187</c:v>
                </c:pt>
                <c:pt idx="54">
                  <c:v>0.13178732674524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402314499659633"/>
          <c:min val="0.0364004044489383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8.1531</c:v>
                </c:pt>
                <c:pt idx="1">
                  <c:v>850.3558</c:v>
                </c:pt>
                <c:pt idx="2">
                  <c:v>892.5561</c:v>
                </c:pt>
                <c:pt idx="3">
                  <c:v>900.4795</c:v>
                </c:pt>
                <c:pt idx="4">
                  <c:v>906.3232</c:v>
                </c:pt>
                <c:pt idx="5">
                  <c:v>909.8229</c:v>
                </c:pt>
                <c:pt idx="6">
                  <c:v>822.7356</c:v>
                </c:pt>
                <c:pt idx="7">
                  <c:v>836.7813</c:v>
                </c:pt>
                <c:pt idx="8">
                  <c:v>829.9683</c:v>
                </c:pt>
                <c:pt idx="9">
                  <c:v>817.3807</c:v>
                </c:pt>
                <c:pt idx="10">
                  <c:v>788.8592</c:v>
                </c:pt>
                <c:pt idx="11">
                  <c:v>835.7887</c:v>
                </c:pt>
                <c:pt idx="12">
                  <c:v>855.1232</c:v>
                </c:pt>
                <c:pt idx="13">
                  <c:v>855.5694</c:v>
                </c:pt>
                <c:pt idx="14">
                  <c:v>881.9553</c:v>
                </c:pt>
                <c:pt idx="15">
                  <c:v>897.8621</c:v>
                </c:pt>
                <c:pt idx="16">
                  <c:v>895.101</c:v>
                </c:pt>
                <c:pt idx="17">
                  <c:v>905.2235</c:v>
                </c:pt>
                <c:pt idx="18">
                  <c:v>942.5</c:v>
                </c:pt>
                <c:pt idx="19">
                  <c:v>757.3125</c:v>
                </c:pt>
                <c:pt idx="20">
                  <c:v>935.0938</c:v>
                </c:pt>
                <c:pt idx="21">
                  <c:v>975.6222</c:v>
                </c:pt>
                <c:pt idx="22">
                  <c:v>915.1406</c:v>
                </c:pt>
                <c:pt idx="23">
                  <c:v>930.5797</c:v>
                </c:pt>
                <c:pt idx="24">
                  <c:v>1002.7179</c:v>
                </c:pt>
                <c:pt idx="25">
                  <c:v>989.4462</c:v>
                </c:pt>
                <c:pt idx="26">
                  <c:v>922.9368</c:v>
                </c:pt>
                <c:pt idx="27">
                  <c:v>966.8824</c:v>
                </c:pt>
                <c:pt idx="28">
                  <c:v>977.0635</c:v>
                </c:pt>
                <c:pt idx="29">
                  <c:v>948.8625</c:v>
                </c:pt>
                <c:pt idx="30">
                  <c:v>970.8384</c:v>
                </c:pt>
                <c:pt idx="31">
                  <c:v>967.0513</c:v>
                </c:pt>
                <c:pt idx="32">
                  <c:v>924.9568</c:v>
                </c:pt>
                <c:pt idx="33">
                  <c:v>925.5904</c:v>
                </c:pt>
                <c:pt idx="34">
                  <c:v>920.7323</c:v>
                </c:pt>
                <c:pt idx="35">
                  <c:v>984.3383</c:v>
                </c:pt>
                <c:pt idx="36">
                  <c:v>1056.3376</c:v>
                </c:pt>
                <c:pt idx="37">
                  <c:v>1126.9333</c:v>
                </c:pt>
                <c:pt idx="38">
                  <c:v>1127.584</c:v>
                </c:pt>
                <c:pt idx="39">
                  <c:v>1147.35</c:v>
                </c:pt>
                <c:pt idx="40">
                  <c:v>1124.9941</c:v>
                </c:pt>
                <c:pt idx="41">
                  <c:v>1142.6493</c:v>
                </c:pt>
                <c:pt idx="42">
                  <c:v>1163.6438</c:v>
                </c:pt>
                <c:pt idx="43">
                  <c:v>1152.5765</c:v>
                </c:pt>
                <c:pt idx="44">
                  <c:v>1053.5957</c:v>
                </c:pt>
                <c:pt idx="45">
                  <c:v>1026.1786</c:v>
                </c:pt>
                <c:pt idx="46">
                  <c:v>1022.1779</c:v>
                </c:pt>
                <c:pt idx="47">
                  <c:v>995.1226</c:v>
                </c:pt>
                <c:pt idx="48">
                  <c:v>1020.1527</c:v>
                </c:pt>
                <c:pt idx="49">
                  <c:v>987.9568</c:v>
                </c:pt>
                <c:pt idx="50">
                  <c:v>964.4653</c:v>
                </c:pt>
                <c:pt idx="51">
                  <c:v>990.5833</c:v>
                </c:pt>
                <c:pt idx="52">
                  <c:v>1015.1367</c:v>
                </c:pt>
                <c:pt idx="53">
                  <c:v>1106.8325</c:v>
                </c:pt>
                <c:pt idx="54">
                  <c:v>1066.7877</c:v>
                </c:pt>
                <c:pt idx="55">
                  <c:v>1083.5644</c:v>
                </c:pt>
                <c:pt idx="56">
                  <c:v>1093.3962</c:v>
                </c:pt>
                <c:pt idx="57">
                  <c:v>1091.2635</c:v>
                </c:pt>
                <c:pt idx="58">
                  <c:v>969.0207</c:v>
                </c:pt>
                <c:pt idx="59">
                  <c:v>1028.5457</c:v>
                </c:pt>
                <c:pt idx="60">
                  <c:v>1039.381</c:v>
                </c:pt>
                <c:pt idx="61">
                  <c:v>1031.5867</c:v>
                </c:pt>
                <c:pt idx="62">
                  <c:v>943.3309</c:v>
                </c:pt>
                <c:pt idx="63">
                  <c:v>999.4418</c:v>
                </c:pt>
                <c:pt idx="64">
                  <c:v>992.5308</c:v>
                </c:pt>
                <c:pt idx="65">
                  <c:v>987.2115</c:v>
                </c:pt>
                <c:pt idx="66">
                  <c:v>982.1583</c:v>
                </c:pt>
                <c:pt idx="67">
                  <c:v>1005.2923</c:v>
                </c:pt>
                <c:pt idx="68">
                  <c:v>1013.7914</c:v>
                </c:pt>
                <c:pt idx="69">
                  <c:v>1049.0657</c:v>
                </c:pt>
                <c:pt idx="70">
                  <c:v>1008.4527</c:v>
                </c:pt>
                <c:pt idx="71">
                  <c:v>1120.8374</c:v>
                </c:pt>
                <c:pt idx="72">
                  <c:v>1244.2256</c:v>
                </c:pt>
                <c:pt idx="73">
                  <c:v>1181.4109</c:v>
                </c:pt>
                <c:pt idx="74">
                  <c:v>1174.9931</c:v>
                </c:pt>
                <c:pt idx="75">
                  <c:v>1182.0657</c:v>
                </c:pt>
                <c:pt idx="76">
                  <c:v>1162.2845</c:v>
                </c:pt>
                <c:pt idx="77">
                  <c:v>1153.3534</c:v>
                </c:pt>
                <c:pt idx="78">
                  <c:v>1167.2391</c:v>
                </c:pt>
                <c:pt idx="79">
                  <c:v>1177.7155</c:v>
                </c:pt>
                <c:pt idx="80">
                  <c:v>1172.7373</c:v>
                </c:pt>
                <c:pt idx="81">
                  <c:v>1156.6286</c:v>
                </c:pt>
                <c:pt idx="82">
                  <c:v>1186.5049</c:v>
                </c:pt>
                <c:pt idx="83">
                  <c:v>1157.0</c:v>
                </c:pt>
                <c:pt idx="84">
                  <c:v>1170.3535</c:v>
                </c:pt>
                <c:pt idx="85">
                  <c:v>1117.7615</c:v>
                </c:pt>
                <c:pt idx="86">
                  <c:v>1112.6617</c:v>
                </c:pt>
                <c:pt idx="87">
                  <c:v>1104.2674</c:v>
                </c:pt>
                <c:pt idx="88">
                  <c:v>1133.7899</c:v>
                </c:pt>
                <c:pt idx="89">
                  <c:v>1130.8651</c:v>
                </c:pt>
                <c:pt idx="90">
                  <c:v>1201.3667</c:v>
                </c:pt>
                <c:pt idx="91">
                  <c:v>1250.575</c:v>
                </c:pt>
                <c:pt idx="92">
                  <c:v>1174.6818</c:v>
                </c:pt>
                <c:pt idx="93">
                  <c:v>1246.3602</c:v>
                </c:pt>
                <c:pt idx="94">
                  <c:v>1230.7431</c:v>
                </c:pt>
                <c:pt idx="95">
                  <c:v>1180.5522</c:v>
                </c:pt>
                <c:pt idx="96">
                  <c:v>1078.241</c:v>
                </c:pt>
                <c:pt idx="97">
                  <c:v>1095.4359</c:v>
                </c:pt>
                <c:pt idx="98">
                  <c:v>1112.0845</c:v>
                </c:pt>
                <c:pt idx="99">
                  <c:v>1060.9952</c:v>
                </c:pt>
                <c:pt idx="100">
                  <c:v>1072.4556</c:v>
                </c:pt>
                <c:pt idx="101">
                  <c:v>1069.2418</c:v>
                </c:pt>
                <c:pt idx="102">
                  <c:v>1081.8667</c:v>
                </c:pt>
                <c:pt idx="103">
                  <c:v>1085.017</c:v>
                </c:pt>
                <c:pt idx="104">
                  <c:v>1100.6995</c:v>
                </c:pt>
              </c:numCache>
            </c:numRef>
          </c:xVal>
          <c:yVal>
            <c:numRef>
              <c:f>Sheet1!$B$2:$B$106</c:f>
              <c:numCache>
                <c:formatCode>General</c:formatCode>
                <c:ptCount val="105"/>
                <c:pt idx="0">
                  <c:v>0.09098824553765782</c:v>
                </c:pt>
                <c:pt idx="1">
                  <c:v>0.07167985927880387</c:v>
                </c:pt>
                <c:pt idx="2">
                  <c:v>0.07186779400461184</c:v>
                </c:pt>
                <c:pt idx="3">
                  <c:v>0.09128803668195082</c:v>
                </c:pt>
                <c:pt idx="4">
                  <c:v>0.08329101066531235</c:v>
                </c:pt>
                <c:pt idx="5">
                  <c:v>0.10098095787651472</c:v>
                </c:pt>
                <c:pt idx="6">
                  <c:v>0.13532856213402733</c:v>
                </c:pt>
                <c:pt idx="7">
                  <c:v>0.12944983818770225</c:v>
                </c:pt>
                <c:pt idx="8">
                  <c:v>0.12365063788027478</c:v>
                </c:pt>
                <c:pt idx="9">
                  <c:v>0.10784313725490197</c:v>
                </c:pt>
                <c:pt idx="10">
                  <c:v>0.12545676004872108</c:v>
                </c:pt>
                <c:pt idx="11">
                  <c:v>0.11975308641975309</c:v>
                </c:pt>
                <c:pt idx="12">
                  <c:v>0.1080937167199148</c:v>
                </c:pt>
                <c:pt idx="13">
                  <c:v>0.10914603335017686</c:v>
                </c:pt>
                <c:pt idx="14">
                  <c:v>0.08151183970856102</c:v>
                </c:pt>
                <c:pt idx="15">
                  <c:v>0.06598407281001138</c:v>
                </c:pt>
                <c:pt idx="16">
                  <c:v>0.06947368421052631</c:v>
                </c:pt>
                <c:pt idx="17">
                  <c:v>0.05862068965517241</c:v>
                </c:pt>
                <c:pt idx="18">
                  <c:v>0.048411497730711045</c:v>
                </c:pt>
                <c:pt idx="19">
                  <c:v>0.06054872280037843</c:v>
                </c:pt>
                <c:pt idx="20">
                  <c:v>0.04819277108433735</c:v>
                </c:pt>
                <c:pt idx="21">
                  <c:v>0.0455005055611729</c:v>
                </c:pt>
                <c:pt idx="22">
                  <c:v>0.056189640035118525</c:v>
                </c:pt>
                <c:pt idx="23">
                  <c:v>0.06160714285714286</c:v>
                </c:pt>
                <c:pt idx="24">
                  <c:v>0.06027820710973725</c:v>
                </c:pt>
                <c:pt idx="25">
                  <c:v>0.06149479659413434</c:v>
                </c:pt>
                <c:pt idx="26">
                  <c:v>0.09259259259259259</c:v>
                </c:pt>
                <c:pt idx="27">
                  <c:v>0.08808290155440414</c:v>
                </c:pt>
                <c:pt idx="28">
                  <c:v>0.107600341588386</c:v>
                </c:pt>
                <c:pt idx="29">
                  <c:v>0.10617120106171202</c:v>
                </c:pt>
                <c:pt idx="30">
                  <c:v>0.09183673469387756</c:v>
                </c:pt>
                <c:pt idx="31">
                  <c:v>0.10446428571428572</c:v>
                </c:pt>
                <c:pt idx="32">
                  <c:v>0.11449752883031301</c:v>
                </c:pt>
                <c:pt idx="33">
                  <c:v>0.11373260738052027</c:v>
                </c:pt>
                <c:pt idx="34">
                  <c:v>0.1300563236047107</c:v>
                </c:pt>
                <c:pt idx="35">
                  <c:v>0.13854166666666667</c:v>
                </c:pt>
                <c:pt idx="36">
                  <c:v>0.101749837977965</c:v>
                </c:pt>
                <c:pt idx="37">
                  <c:v>0.10368663594470046</c:v>
                </c:pt>
                <c:pt idx="38">
                  <c:v>0.09607993850883935</c:v>
                </c:pt>
                <c:pt idx="39">
                  <c:v>0.09029345372460497</c:v>
                </c:pt>
                <c:pt idx="40">
                  <c:v>0.10107015457788347</c:v>
                </c:pt>
                <c:pt idx="41">
                  <c:v>0.09184372858122002</c:v>
                </c:pt>
                <c:pt idx="42">
                  <c:v>0.08674985145573381</c:v>
                </c:pt>
                <c:pt idx="43">
                  <c:v>0.09037745879851143</c:v>
                </c:pt>
                <c:pt idx="44">
                  <c:v>0.10082230961744726</c:v>
                </c:pt>
                <c:pt idx="45">
                  <c:v>0.11864406779661017</c:v>
                </c:pt>
                <c:pt idx="46">
                  <c:v>0.12841969745735435</c:v>
                </c:pt>
                <c:pt idx="47">
                  <c:v>0.10746873943899966</c:v>
                </c:pt>
                <c:pt idx="48">
                  <c:v>0.11156429942418426</c:v>
                </c:pt>
                <c:pt idx="49">
                  <c:v>0.1209106239460371</c:v>
                </c:pt>
                <c:pt idx="50">
                  <c:v>0.11455576559546314</c:v>
                </c:pt>
                <c:pt idx="51">
                  <c:v>0.09434889434889435</c:v>
                </c:pt>
                <c:pt idx="52">
                  <c:v>0.10419790104947527</c:v>
                </c:pt>
                <c:pt idx="53">
                  <c:v>0.09575471698113208</c:v>
                </c:pt>
                <c:pt idx="54">
                  <c:v>0.09361924686192469</c:v>
                </c:pt>
                <c:pt idx="55">
                  <c:v>0.08763440860215053</c:v>
                </c:pt>
                <c:pt idx="56">
                  <c:v>0.09320046893317702</c:v>
                </c:pt>
                <c:pt idx="57">
                  <c:v>0.08442871587462084</c:v>
                </c:pt>
                <c:pt idx="58">
                  <c:v>0.11251167133520075</c:v>
                </c:pt>
                <c:pt idx="59">
                  <c:v>0.10089203322054753</c:v>
                </c:pt>
                <c:pt idx="60">
                  <c:v>0.10466358134567462</c:v>
                </c:pt>
                <c:pt idx="61">
                  <c:v>0.10283315844700944</c:v>
                </c:pt>
                <c:pt idx="62">
                  <c:v>0.13152804642166344</c:v>
                </c:pt>
                <c:pt idx="63">
                  <c:v>0.13575081357508137</c:v>
                </c:pt>
                <c:pt idx="64">
                  <c:v>0.13537320352341214</c:v>
                </c:pt>
                <c:pt idx="65">
                  <c:v>0.13179026924893716</c:v>
                </c:pt>
                <c:pt idx="66">
                  <c:v>0.12721021611001965</c:v>
                </c:pt>
                <c:pt idx="67">
                  <c:v>0.12916045702930948</c:v>
                </c:pt>
                <c:pt idx="68">
                  <c:v>0.11672908863920099</c:v>
                </c:pt>
                <c:pt idx="69">
                  <c:v>0.10482019892884469</c:v>
                </c:pt>
                <c:pt idx="70">
                  <c:v>0.10922509225092251</c:v>
                </c:pt>
                <c:pt idx="71">
                  <c:v>0.1020746887966805</c:v>
                </c:pt>
                <c:pt idx="72">
                  <c:v>0.09679767103347889</c:v>
                </c:pt>
                <c:pt idx="73">
                  <c:v>0.10238095238095238</c:v>
                </c:pt>
                <c:pt idx="74">
                  <c:v>0.09937888198757763</c:v>
                </c:pt>
                <c:pt idx="75">
                  <c:v>0.11629881154499151</c:v>
                </c:pt>
                <c:pt idx="76">
                  <c:v>0.11317073170731708</c:v>
                </c:pt>
                <c:pt idx="77">
                  <c:v>0.10564663023679417</c:v>
                </c:pt>
                <c:pt idx="78">
                  <c:v>0.09839572192513368</c:v>
                </c:pt>
                <c:pt idx="79">
                  <c:v>0.09690893901420217</c:v>
                </c:pt>
                <c:pt idx="80">
                  <c:v>0.09672131147540984</c:v>
                </c:pt>
                <c:pt idx="81">
                  <c:v>0.09198423127463863</c:v>
                </c:pt>
                <c:pt idx="82">
                  <c:v>0.09689557855126998</c:v>
                </c:pt>
                <c:pt idx="83">
                  <c:v>0.10376398779247202</c:v>
                </c:pt>
                <c:pt idx="84">
                  <c:v>0.09840954274353876</c:v>
                </c:pt>
                <c:pt idx="85">
                  <c:v>0.11158798283261803</c:v>
                </c:pt>
                <c:pt idx="86">
                  <c:v>0.12942691564713457</c:v>
                </c:pt>
                <c:pt idx="87">
                  <c:v>0.11204313960455363</c:v>
                </c:pt>
                <c:pt idx="88">
                  <c:v>0.11075441412520064</c:v>
                </c:pt>
                <c:pt idx="89">
                  <c:v>0.11101321585903083</c:v>
                </c:pt>
                <c:pt idx="90">
                  <c:v>0.10212765957446808</c:v>
                </c:pt>
                <c:pt idx="91">
                  <c:v>0.09819967266775777</c:v>
                </c:pt>
                <c:pt idx="92">
                  <c:v>0.10784313725490197</c:v>
                </c:pt>
                <c:pt idx="93">
                  <c:v>0.11203897007654837</c:v>
                </c:pt>
                <c:pt idx="94">
                  <c:v>0.1162227602905569</c:v>
                </c:pt>
                <c:pt idx="95">
                  <c:v>0.11652173913043479</c:v>
                </c:pt>
                <c:pt idx="96">
                  <c:v>0.11816782140107775</c:v>
                </c:pt>
                <c:pt idx="97">
                  <c:v>0.11711711711711711</c:v>
                </c:pt>
                <c:pt idx="98">
                  <c:v>0.11083359350608804</c:v>
                </c:pt>
                <c:pt idx="99">
                  <c:v>0.1087920688755544</c:v>
                </c:pt>
                <c:pt idx="100">
                  <c:v>0.11317110853611433</c:v>
                </c:pt>
                <c:pt idx="101">
                  <c:v>0.11189044756179024</c:v>
                </c:pt>
                <c:pt idx="102">
                  <c:v>0.1091703056768559</c:v>
                </c:pt>
                <c:pt idx="103">
                  <c:v>0.10904872389791183</c:v>
                </c:pt>
                <c:pt idx="104">
                  <c:v>0.116776315789473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0.8543</c:v>
                </c:pt>
                <c:pt idx="1">
                  <c:v>1132.9541</c:v>
                </c:pt>
                <c:pt idx="2">
                  <c:v>1124.6332</c:v>
                </c:pt>
                <c:pt idx="3">
                  <c:v>1052.227</c:v>
                </c:pt>
                <c:pt idx="4">
                  <c:v>1029.9194</c:v>
                </c:pt>
                <c:pt idx="5">
                  <c:v>1158.6049</c:v>
                </c:pt>
                <c:pt idx="6">
                  <c:v>1056.3538</c:v>
                </c:pt>
                <c:pt idx="7">
                  <c:v>1046.0036</c:v>
                </c:pt>
                <c:pt idx="8">
                  <c:v>1125.1784</c:v>
                </c:pt>
                <c:pt idx="9">
                  <c:v>1098.5905</c:v>
                </c:pt>
                <c:pt idx="10">
                  <c:v>1060.3969</c:v>
                </c:pt>
                <c:pt idx="11">
                  <c:v>985.1154</c:v>
                </c:pt>
                <c:pt idx="12">
                  <c:v>1028.8971</c:v>
                </c:pt>
                <c:pt idx="13">
                  <c:v>1101.1969</c:v>
                </c:pt>
                <c:pt idx="14">
                  <c:v>1087.8009</c:v>
                </c:pt>
                <c:pt idx="15">
                  <c:v>1135.9948</c:v>
                </c:pt>
                <c:pt idx="16">
                  <c:v>1121.4076</c:v>
                </c:pt>
                <c:pt idx="17">
                  <c:v>1118.2303</c:v>
                </c:pt>
                <c:pt idx="18">
                  <c:v>1144.0308</c:v>
                </c:pt>
                <c:pt idx="19">
                  <c:v>1291.0551</c:v>
                </c:pt>
                <c:pt idx="20">
                  <c:v>1288.7928</c:v>
                </c:pt>
                <c:pt idx="21">
                  <c:v>1216.6118</c:v>
                </c:pt>
                <c:pt idx="22">
                  <c:v>1187.7111</c:v>
                </c:pt>
                <c:pt idx="23">
                  <c:v>1159.5918</c:v>
                </c:pt>
                <c:pt idx="24">
                  <c:v>1181.4583</c:v>
                </c:pt>
                <c:pt idx="25">
                  <c:v>1127.0381</c:v>
                </c:pt>
                <c:pt idx="26">
                  <c:v>1128.9344</c:v>
                </c:pt>
                <c:pt idx="27">
                  <c:v>1139.6383</c:v>
                </c:pt>
                <c:pt idx="28">
                  <c:v>1160.2135</c:v>
                </c:pt>
                <c:pt idx="29">
                  <c:v>1164.6906</c:v>
                </c:pt>
                <c:pt idx="30">
                  <c:v>1180.3704</c:v>
                </c:pt>
                <c:pt idx="31">
                  <c:v>1184.2534</c:v>
                </c:pt>
                <c:pt idx="32">
                  <c:v>1187.18</c:v>
                </c:pt>
                <c:pt idx="33">
                  <c:v>1171.0217</c:v>
                </c:pt>
                <c:pt idx="34">
                  <c:v>1185.589</c:v>
                </c:pt>
                <c:pt idx="35">
                  <c:v>1250.7604</c:v>
                </c:pt>
                <c:pt idx="36">
                  <c:v>1308.0597</c:v>
                </c:pt>
                <c:pt idx="37">
                  <c:v>1296.2576</c:v>
                </c:pt>
                <c:pt idx="38">
                  <c:v>1298.7984</c:v>
                </c:pt>
                <c:pt idx="39">
                  <c:v>1243.32</c:v>
                </c:pt>
                <c:pt idx="40">
                  <c:v>1254.755</c:v>
                </c:pt>
                <c:pt idx="41">
                  <c:v>1319.1519</c:v>
                </c:pt>
                <c:pt idx="42">
                  <c:v>1317.3403</c:v>
                </c:pt>
                <c:pt idx="43">
                  <c:v>1315.5222</c:v>
                </c:pt>
                <c:pt idx="44">
                  <c:v>1225.6787</c:v>
                </c:pt>
                <c:pt idx="45">
                  <c:v>1160.264</c:v>
                </c:pt>
                <c:pt idx="46">
                  <c:v>1169.3558</c:v>
                </c:pt>
                <c:pt idx="47">
                  <c:v>1126.0867</c:v>
                </c:pt>
                <c:pt idx="48">
                  <c:v>1139.4822</c:v>
                </c:pt>
                <c:pt idx="49">
                  <c:v>1165.3045</c:v>
                </c:pt>
                <c:pt idx="50">
                  <c:v>1119.5229</c:v>
                </c:pt>
                <c:pt idx="51">
                  <c:v>1121.8353</c:v>
                </c:pt>
              </c:numCache>
            </c:numRef>
          </c:xVal>
          <c:yVal>
            <c:numRef>
              <c:f>Sheet1!$B$109:$B$160</c:f>
              <c:numCache>
                <c:formatCode>General</c:formatCode>
                <c:ptCount val="52"/>
                <c:pt idx="0">
                  <c:v>0.11949685534591195</c:v>
                </c:pt>
                <c:pt idx="1">
                  <c:v>0.1091091091091091</c:v>
                </c:pt>
                <c:pt idx="2">
                  <c:v>0.13124432334241598</c:v>
                </c:pt>
                <c:pt idx="3">
                  <c:v>0.15779283639883834</c:v>
                </c:pt>
                <c:pt idx="4">
                  <c:v>0.13602391629297458</c:v>
                </c:pt>
                <c:pt idx="5">
                  <c:v>0.13177874186550975</c:v>
                </c:pt>
                <c:pt idx="6">
                  <c:v>0.16193053676138927</c:v>
                </c:pt>
                <c:pt idx="7">
                  <c:v>0.16827503015681544</c:v>
                </c:pt>
                <c:pt idx="8">
                  <c:v>0.14991896272285252</c:v>
                </c:pt>
                <c:pt idx="9">
                  <c:v>0.15395894428152493</c:v>
                </c:pt>
                <c:pt idx="10">
                  <c:v>0.17835262083049694</c:v>
                </c:pt>
                <c:pt idx="11">
                  <c:v>0.15218370103556955</c:v>
                </c:pt>
                <c:pt idx="12">
                  <c:v>0.14437367303609341</c:v>
                </c:pt>
                <c:pt idx="13">
                  <c:v>0.14015151515151514</c:v>
                </c:pt>
                <c:pt idx="14">
                  <c:v>0.14042553191489363</c:v>
                </c:pt>
                <c:pt idx="15">
                  <c:v>0.13147138964577657</c:v>
                </c:pt>
                <c:pt idx="16">
                  <c:v>0.14252517428350117</c:v>
                </c:pt>
                <c:pt idx="17">
                  <c:v>0.14160700079554495</c:v>
                </c:pt>
                <c:pt idx="18">
                  <c:v>0.12404580152671756</c:v>
                </c:pt>
                <c:pt idx="19">
                  <c:v>0.11390134529147983</c:v>
                </c:pt>
                <c:pt idx="20">
                  <c:v>0.1068334937439846</c:v>
                </c:pt>
                <c:pt idx="21">
                  <c:v>0.12743628185907047</c:v>
                </c:pt>
                <c:pt idx="22">
                  <c:v>0.12413793103448276</c:v>
                </c:pt>
                <c:pt idx="23">
                  <c:v>0.12945838837516513</c:v>
                </c:pt>
                <c:pt idx="24">
                  <c:v>0.13230429988974643</c:v>
                </c:pt>
                <c:pt idx="25">
                  <c:v>0.1248513674197384</c:v>
                </c:pt>
                <c:pt idx="26">
                  <c:v>0.1231079717457114</c:v>
                </c:pt>
                <c:pt idx="27">
                  <c:v>0.1227154046997389</c:v>
                </c:pt>
                <c:pt idx="28">
                  <c:v>0.12570621468926554</c:v>
                </c:pt>
                <c:pt idx="29">
                  <c:v>0.12811059907834102</c:v>
                </c:pt>
                <c:pt idx="30">
                  <c:v>0.1259328358208955</c:v>
                </c:pt>
                <c:pt idx="31">
                  <c:v>0.141747572815534</c:v>
                </c:pt>
                <c:pt idx="32">
                  <c:v>0.12479201331114809</c:v>
                </c:pt>
                <c:pt idx="33">
                  <c:v>0.1450189155107188</c:v>
                </c:pt>
                <c:pt idx="34">
                  <c:v>0.16649642492339123</c:v>
                </c:pt>
                <c:pt idx="35">
                  <c:v>0.1392811296534018</c:v>
                </c:pt>
                <c:pt idx="36">
                  <c:v>0.14905450500556172</c:v>
                </c:pt>
                <c:pt idx="37">
                  <c:v>0.12547528517110265</c:v>
                </c:pt>
                <c:pt idx="38">
                  <c:v>0.12772277227722773</c:v>
                </c:pt>
                <c:pt idx="39">
                  <c:v>0.1290560471976401</c:v>
                </c:pt>
                <c:pt idx="40">
                  <c:v>0.12148028962188254</c:v>
                </c:pt>
                <c:pt idx="41">
                  <c:v>0.12210200927357033</c:v>
                </c:pt>
                <c:pt idx="42">
                  <c:v>0.1232876712328767</c:v>
                </c:pt>
                <c:pt idx="43">
                  <c:v>0.1073345259391771</c:v>
                </c:pt>
                <c:pt idx="44">
                  <c:v>0.11139112903225806</c:v>
                </c:pt>
                <c:pt idx="45">
                  <c:v>0.12893879029337196</c:v>
                </c:pt>
                <c:pt idx="46">
                  <c:v>0.1471698113207547</c:v>
                </c:pt>
                <c:pt idx="47">
                  <c:v>0.14413208389112003</c:v>
                </c:pt>
                <c:pt idx="48">
                  <c:v>0.14536041417761847</c:v>
                </c:pt>
                <c:pt idx="49">
                  <c:v>0.1483067341377968</c:v>
                </c:pt>
                <c:pt idx="50">
                  <c:v>0.1464081531195625</c:v>
                </c:pt>
                <c:pt idx="51">
                  <c:v>0.1382675884505896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78.1336879087805</c:v>
                </c:pt>
              </c:numCache>
            </c:numRef>
          </c:xVal>
          <c:yVal>
            <c:numRef>
              <c:f>Sheet1!$B$163:$B$164</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78.1336879087805</c:v>
                </c:pt>
                <c:pt idx="1">
                  <c:v>1078.1336879087805</c:v>
                </c:pt>
              </c:numCache>
            </c:numRef>
          </c:xVal>
          <c:yVal>
            <c:numRef>
              <c:f>Sheet1!$B$167:$B$168</c:f>
              <c:numCache>
                <c:formatCode>General</c:formatCode>
                <c:ptCount val="2"/>
                <c:pt idx="0">
                  <c:v>0.144585722471391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8.1336879087805</c:v>
                </c:pt>
              </c:numCache>
            </c:numRef>
          </c:xVal>
          <c:yVal>
            <c:numRef>
              <c:f>Sheet1!$B$171:$B$172</c:f>
              <c:numCache>
                <c:formatCode>General</c:formatCode>
                <c:ptCount val="2"/>
                <c:pt idx="0">
                  <c:v>0.14458572247139187</c:v>
                </c:pt>
                <c:pt idx="1">
                  <c:v>0.1445857224713918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8.1336879087805</c:v>
                </c:pt>
                <c:pt idx="1">
                  <c:v>1078.1336879087805</c:v>
                </c:pt>
              </c:numCache>
            </c:numRef>
          </c:xVal>
          <c:yVal>
            <c:numRef>
              <c:f>Sheet1!$B$175:$B$176</c:f>
              <c:numCache>
                <c:formatCode>General</c:formatCode>
                <c:ptCount val="2"/>
                <c:pt idx="0">
                  <c:v>0.144585722471391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5.4985722868698</c:v>
                </c:pt>
              </c:numCache>
            </c:numRef>
          </c:xVal>
          <c:yVal>
            <c:numRef>
              <c:f>Sheet1!$B$179:$B$180</c:f>
              <c:numCache>
                <c:formatCode>General</c:formatCode>
                <c:ptCount val="2"/>
                <c:pt idx="0">
                  <c:v>0.1317873267452476</c:v>
                </c:pt>
                <c:pt idx="1">
                  <c:v>0.13178732674524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5.4985722868698</c:v>
                </c:pt>
                <c:pt idx="1">
                  <c:v>1195.4985722868698</c:v>
                </c:pt>
              </c:numCache>
            </c:numRef>
          </c:xVal>
          <c:yVal>
            <c:numRef>
              <c:f>Sheet1!$B$183:$B$184</c:f>
              <c:numCache>
                <c:formatCode>General</c:formatCode>
                <c:ptCount val="2"/>
                <c:pt idx="0">
                  <c:v>0.13178732674524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0.8543</c:v>
                </c:pt>
                <c:pt idx="1">
                  <c:v>1132.9541</c:v>
                </c:pt>
                <c:pt idx="2">
                  <c:v>1124.6332</c:v>
                </c:pt>
                <c:pt idx="3">
                  <c:v>1052.227</c:v>
                </c:pt>
                <c:pt idx="4">
                  <c:v>1029.9194</c:v>
                </c:pt>
                <c:pt idx="5">
                  <c:v>1158.6049</c:v>
                </c:pt>
                <c:pt idx="6">
                  <c:v>1056.3538</c:v>
                </c:pt>
                <c:pt idx="7">
                  <c:v>1046.0036</c:v>
                </c:pt>
                <c:pt idx="8">
                  <c:v>1125.1784</c:v>
                </c:pt>
                <c:pt idx="9">
                  <c:v>1098.5905</c:v>
                </c:pt>
                <c:pt idx="10">
                  <c:v>1060.3969</c:v>
                </c:pt>
                <c:pt idx="11">
                  <c:v>985.1154</c:v>
                </c:pt>
                <c:pt idx="12">
                  <c:v>1028.8971</c:v>
                </c:pt>
                <c:pt idx="13">
                  <c:v>1101.1969</c:v>
                </c:pt>
                <c:pt idx="14">
                  <c:v>1087.8009</c:v>
                </c:pt>
                <c:pt idx="15">
                  <c:v>1135.9948</c:v>
                </c:pt>
                <c:pt idx="16">
                  <c:v>1121.4076</c:v>
                </c:pt>
                <c:pt idx="17">
                  <c:v>1118.2303</c:v>
                </c:pt>
                <c:pt idx="18">
                  <c:v>1144.0308</c:v>
                </c:pt>
                <c:pt idx="19">
                  <c:v>1291.0551</c:v>
                </c:pt>
                <c:pt idx="20">
                  <c:v>1288.7928</c:v>
                </c:pt>
                <c:pt idx="21">
                  <c:v>1216.6118</c:v>
                </c:pt>
                <c:pt idx="22">
                  <c:v>1187.7111</c:v>
                </c:pt>
                <c:pt idx="23">
                  <c:v>1159.5918</c:v>
                </c:pt>
                <c:pt idx="24">
                  <c:v>1181.4583</c:v>
                </c:pt>
                <c:pt idx="25">
                  <c:v>1127.0381</c:v>
                </c:pt>
                <c:pt idx="26">
                  <c:v>1128.9344</c:v>
                </c:pt>
                <c:pt idx="27">
                  <c:v>1139.6383</c:v>
                </c:pt>
                <c:pt idx="28">
                  <c:v>1160.2135</c:v>
                </c:pt>
                <c:pt idx="29">
                  <c:v>1164.6906</c:v>
                </c:pt>
                <c:pt idx="30">
                  <c:v>1180.3704</c:v>
                </c:pt>
                <c:pt idx="31">
                  <c:v>1184.2534</c:v>
                </c:pt>
                <c:pt idx="32">
                  <c:v>1187.18</c:v>
                </c:pt>
                <c:pt idx="33">
                  <c:v>1171.0217</c:v>
                </c:pt>
                <c:pt idx="34">
                  <c:v>1185.589</c:v>
                </c:pt>
                <c:pt idx="35">
                  <c:v>1250.7604</c:v>
                </c:pt>
                <c:pt idx="36">
                  <c:v>1308.0597</c:v>
                </c:pt>
                <c:pt idx="37">
                  <c:v>1296.2576</c:v>
                </c:pt>
                <c:pt idx="38">
                  <c:v>1298.7984</c:v>
                </c:pt>
                <c:pt idx="39">
                  <c:v>1243.32</c:v>
                </c:pt>
                <c:pt idx="40">
                  <c:v>1254.755</c:v>
                </c:pt>
                <c:pt idx="41">
                  <c:v>1319.1519</c:v>
                </c:pt>
                <c:pt idx="42">
                  <c:v>1317.3403</c:v>
                </c:pt>
                <c:pt idx="43">
                  <c:v>1315.5222</c:v>
                </c:pt>
                <c:pt idx="44">
                  <c:v>1225.6787</c:v>
                </c:pt>
                <c:pt idx="45">
                  <c:v>1160.264</c:v>
                </c:pt>
                <c:pt idx="46">
                  <c:v>1169.3558</c:v>
                </c:pt>
                <c:pt idx="47">
                  <c:v>1126.0867</c:v>
                </c:pt>
                <c:pt idx="48">
                  <c:v>1139.4822</c:v>
                </c:pt>
                <c:pt idx="49">
                  <c:v>1165.3045</c:v>
                </c:pt>
                <c:pt idx="50">
                  <c:v>1119.5229</c:v>
                </c:pt>
                <c:pt idx="51">
                  <c:v>1121.8353</c:v>
                </c:pt>
                <c:pt idx="52">
                  <c:v>1078.1336879087805</c:v>
                </c:pt>
                <c:pt idx="53">
                  <c:v>1078.1336879087805</c:v>
                </c:pt>
                <c:pt idx="54">
                  <c:v>1195.4985722868698</c:v>
                </c:pt>
              </c:numCache>
            </c:numRef>
          </c:xVal>
          <c:yVal>
            <c:numRef>
              <c:f>Sheet1!$B$187:$B$241</c:f>
              <c:numCache>
                <c:formatCode>General</c:formatCode>
                <c:ptCount val="55"/>
                <c:pt idx="0">
                  <c:v>0.13883664973942964</c:v>
                </c:pt>
                <c:pt idx="1">
                  <c:v>0.1386076709312609</c:v>
                </c:pt>
                <c:pt idx="2">
                  <c:v>0.13951504771233114</c:v>
                </c:pt>
                <c:pt idx="3">
                  <c:v>0.14741079272615532</c:v>
                </c:pt>
                <c:pt idx="4">
                  <c:v>0.14984338995498908</c:v>
                </c:pt>
                <c:pt idx="5">
                  <c:v>0.13581050471896688</c:v>
                </c:pt>
                <c:pt idx="6">
                  <c:v>0.14696077379789985</c:v>
                </c:pt>
                <c:pt idx="7">
                  <c:v>0.14808944150925724</c:v>
                </c:pt>
                <c:pt idx="8">
                  <c:v>0.13945559479004635</c:v>
                </c:pt>
                <c:pt idx="9">
                  <c:v>0.14235494980181407</c:v>
                </c:pt>
                <c:pt idx="10">
                  <c:v>0.14651988217998052</c:v>
                </c:pt>
                <c:pt idx="11">
                  <c:v>0.15472917265867162</c:v>
                </c:pt>
                <c:pt idx="12">
                  <c:v>0.14995486963666874</c:v>
                </c:pt>
                <c:pt idx="13">
                  <c:v>0.14207072732081064</c:v>
                </c:pt>
                <c:pt idx="14">
                  <c:v>0.14353153316623807</c:v>
                </c:pt>
                <c:pt idx="15">
                  <c:v>0.1382760889415482</c:v>
                </c:pt>
                <c:pt idx="16">
                  <c:v>0.13986679266119728</c:v>
                </c:pt>
                <c:pt idx="17">
                  <c:v>0.14021327059585514</c:v>
                </c:pt>
                <c:pt idx="18">
                  <c:v>0.13739977991095287</c:v>
                </c:pt>
                <c:pt idx="19">
                  <c:v>0.12136708680406438</c:v>
                </c:pt>
                <c:pt idx="20">
                  <c:v>0.12161378589813057</c:v>
                </c:pt>
                <c:pt idx="21">
                  <c:v>0.12948497332189873</c:v>
                </c:pt>
                <c:pt idx="22">
                  <c:v>0.13263653434734998</c:v>
                </c:pt>
                <c:pt idx="23">
                  <c:v>0.13570288533341507</c:v>
                </c:pt>
                <c:pt idx="24">
                  <c:v>0.1333183891391004</c:v>
                </c:pt>
                <c:pt idx="25">
                  <c:v>0.13925279838584054</c:v>
                </c:pt>
                <c:pt idx="26">
                  <c:v>0.139046010828011</c:v>
                </c:pt>
                <c:pt idx="27">
                  <c:v>0.13787877286974953</c:v>
                </c:pt>
                <c:pt idx="28">
                  <c:v>0.13563509024576934</c:v>
                </c:pt>
                <c:pt idx="29">
                  <c:v>0.1351468718335147</c:v>
                </c:pt>
                <c:pt idx="30">
                  <c:v>0.13343702236388694</c:v>
                </c:pt>
                <c:pt idx="31">
                  <c:v>0.1330135893168733</c:v>
                </c:pt>
                <c:pt idx="32">
                  <c:v>0.13269444969405844</c:v>
                </c:pt>
                <c:pt idx="33">
                  <c:v>0.13445647859015952</c:v>
                </c:pt>
                <c:pt idx="34">
                  <c:v>0.13286794492398343</c:v>
                </c:pt>
                <c:pt idx="35">
                  <c:v>0.12576113975268677</c:v>
                </c:pt>
                <c:pt idx="36">
                  <c:v>0.1195127706590095</c:v>
                </c:pt>
                <c:pt idx="37">
                  <c:v>0.12079976503556364</c:v>
                </c:pt>
                <c:pt idx="38">
                  <c:v>0.12052269609766711</c:v>
                </c:pt>
                <c:pt idx="39">
                  <c:v>0.12657249984617128</c:v>
                </c:pt>
                <c:pt idx="40">
                  <c:v>0.12532553695855833</c:v>
                </c:pt>
                <c:pt idx="41">
                  <c:v>0.11830318939604664</c:v>
                </c:pt>
                <c:pt idx="42">
                  <c:v>0.11850074059562685</c:v>
                </c:pt>
                <c:pt idx="43">
                  <c:v>0.11869900060664293</c:v>
                </c:pt>
                <c:pt idx="44">
                  <c:v>0.12849624679757013</c:v>
                </c:pt>
                <c:pt idx="45">
                  <c:v>0.135629583326152</c:v>
                </c:pt>
                <c:pt idx="46">
                  <c:v>0.1346381415087843</c:v>
                </c:pt>
                <c:pt idx="47">
                  <c:v>0.1393565465704732</c:v>
                </c:pt>
                <c:pt idx="48">
                  <c:v>0.1378957952490024</c:v>
                </c:pt>
                <c:pt idx="49">
                  <c:v>0.13507992731959204</c:v>
                </c:pt>
                <c:pt idx="50">
                  <c:v>0.1400723152632335</c:v>
                </c:pt>
                <c:pt idx="51">
                  <c:v>0.13982015286871524</c:v>
                </c:pt>
                <c:pt idx="52">
                  <c:v>0.14458572247139187</c:v>
                </c:pt>
                <c:pt idx="53">
                  <c:v>0.14458572247139187</c:v>
                </c:pt>
                <c:pt idx="54">
                  <c:v>0.13178732674524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3.0"/>
          <c:min val="5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402314499659633"/>
          <c:min val="0.0364004044489383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745647559036904</c:v>
                </c:pt>
                <c:pt idx="1">
                  <c:v>0.5229035786519941</c:v>
                </c:pt>
                <c:pt idx="2">
                  <c:v>0.5686131015053696</c:v>
                </c:pt>
                <c:pt idx="3">
                  <c:v>0.5032303257273599</c:v>
                </c:pt>
                <c:pt idx="4">
                  <c:v>0.4491780252307431</c:v>
                </c:pt>
                <c:pt idx="5">
                  <c:v>0.5055930318722454</c:v>
                </c:pt>
                <c:pt idx="6">
                  <c:v>0.4541140993351699</c:v>
                </c:pt>
                <c:pt idx="7">
                  <c:v>0.43148517602415576</c:v>
                </c:pt>
                <c:pt idx="8">
                  <c:v>0.4015193713010216</c:v>
                </c:pt>
                <c:pt idx="9">
                  <c:v>0.4300798674310303</c:v>
                </c:pt>
                <c:pt idx="10">
                  <c:v>0.49311351750463267</c:v>
                </c:pt>
                <c:pt idx="11">
                  <c:v>0.5417992265855479</c:v>
                </c:pt>
                <c:pt idx="12">
                  <c:v>0.5682732504140434</c:v>
                </c:pt>
                <c:pt idx="13">
                  <c:v>0.5487602510928858</c:v>
                </c:pt>
                <c:pt idx="14">
                  <c:v>0.53251998268366</c:v>
                </c:pt>
                <c:pt idx="15">
                  <c:v>0.5559703673573824</c:v>
                </c:pt>
                <c:pt idx="16">
                  <c:v>0.5280680877683728</c:v>
                </c:pt>
                <c:pt idx="17">
                  <c:v>0.5208251271764268</c:v>
                </c:pt>
                <c:pt idx="18">
                  <c:v>0.5225565110172843</c:v>
                </c:pt>
                <c:pt idx="19">
                  <c:v>0.5330130588575346</c:v>
                </c:pt>
                <c:pt idx="20">
                  <c:v>0.5751512357300136</c:v>
                </c:pt>
                <c:pt idx="21">
                  <c:v>0.4733370457788633</c:v>
                </c:pt>
                <c:pt idx="22">
                  <c:v>0.4468955073992434</c:v>
                </c:pt>
                <c:pt idx="23">
                  <c:v>0.4345087616578493</c:v>
                </c:pt>
                <c:pt idx="24">
                  <c:v>0.4194310835401795</c:v>
                </c:pt>
                <c:pt idx="25">
                  <c:v>0.400422374669828</c:v>
                </c:pt>
                <c:pt idx="26">
                  <c:v>0.3985011416036173</c:v>
                </c:pt>
                <c:pt idx="27">
                  <c:v>0.42836218926019076</c:v>
                </c:pt>
                <c:pt idx="28">
                  <c:v>0.412719811395445</c:v>
                </c:pt>
                <c:pt idx="29">
                  <c:v>0.31405822971685693</c:v>
                </c:pt>
                <c:pt idx="30">
                  <c:v>0.3226822804201376</c:v>
                </c:pt>
                <c:pt idx="31">
                  <c:v>0.3509165219842067</c:v>
                </c:pt>
                <c:pt idx="32">
                  <c:v>0.3599778712679591</c:v>
                </c:pt>
                <c:pt idx="33">
                  <c:v>0.36324544368702383</c:v>
                </c:pt>
                <c:pt idx="34">
                  <c:v>0.4483080448230198</c:v>
                </c:pt>
                <c:pt idx="35">
                  <c:v>0.48611046319166284</c:v>
                </c:pt>
                <c:pt idx="36">
                  <c:v>0.4926197227063955</c:v>
                </c:pt>
                <c:pt idx="37">
                  <c:v>0.46811724616313866</c:v>
                </c:pt>
                <c:pt idx="38">
                  <c:v>0.5047977743697197</c:v>
                </c:pt>
                <c:pt idx="39">
                  <c:v>0.5090999168689754</c:v>
                </c:pt>
                <c:pt idx="40">
                  <c:v>0.5087914824171058</c:v>
                </c:pt>
                <c:pt idx="41">
                  <c:v>0.4917720349977085</c:v>
                </c:pt>
                <c:pt idx="42">
                  <c:v>0.5034059049610803</c:v>
                </c:pt>
                <c:pt idx="43">
                  <c:v>0.513767445645515</c:v>
                </c:pt>
                <c:pt idx="44">
                  <c:v>0.4749746089493305</c:v>
                </c:pt>
                <c:pt idx="45">
                  <c:v>0.4761423666861437</c:v>
                </c:pt>
                <c:pt idx="46">
                  <c:v>0.4936748914920143</c:v>
                </c:pt>
                <c:pt idx="47">
                  <c:v>0.48561101501186354</c:v>
                </c:pt>
                <c:pt idx="48">
                  <c:v>0.5310249101741934</c:v>
                </c:pt>
                <c:pt idx="49">
                  <c:v>0.574890076555918</c:v>
                </c:pt>
                <c:pt idx="50">
                  <c:v>0.4939802656968371</c:v>
                </c:pt>
                <c:pt idx="51">
                  <c:v>0.4872529170412873</c:v>
                </c:pt>
                <c:pt idx="52">
                  <c:v>0.5264595993256104</c:v>
                </c:pt>
                <c:pt idx="53">
                  <c:v>0.49838488090639177</c:v>
                </c:pt>
                <c:pt idx="54">
                  <c:v>0.4828382475164682</c:v>
                </c:pt>
                <c:pt idx="55">
                  <c:v>0.49819309018357805</c:v>
                </c:pt>
                <c:pt idx="56">
                  <c:v>0.5095263143680243</c:v>
                </c:pt>
                <c:pt idx="57">
                  <c:v>0.4858023787692583</c:v>
                </c:pt>
                <c:pt idx="58">
                  <c:v>0.44900907305542476</c:v>
                </c:pt>
                <c:pt idx="59">
                  <c:v>0.4681972991705995</c:v>
                </c:pt>
                <c:pt idx="60">
                  <c:v>0.4608423450477177</c:v>
                </c:pt>
                <c:pt idx="61">
                  <c:v>0.4792903503610059</c:v>
                </c:pt>
                <c:pt idx="62">
                  <c:v>0.4656609905482755</c:v>
                </c:pt>
                <c:pt idx="63">
                  <c:v>0.4811218733450689</c:v>
                </c:pt>
                <c:pt idx="64">
                  <c:v>0.4643230457900067</c:v>
                </c:pt>
                <c:pt idx="65">
                  <c:v>0.556675648551966</c:v>
                </c:pt>
                <c:pt idx="66">
                  <c:v>0.561958353715085</c:v>
                </c:pt>
                <c:pt idx="67">
                  <c:v>0.6068208870860582</c:v>
                </c:pt>
                <c:pt idx="68">
                  <c:v>0.5648530001793147</c:v>
                </c:pt>
                <c:pt idx="69">
                  <c:v>0.528670050945869</c:v>
                </c:pt>
                <c:pt idx="70">
                  <c:v>0.499203996632128</c:v>
                </c:pt>
                <c:pt idx="71">
                  <c:v>0.48694417197825807</c:v>
                </c:pt>
                <c:pt idx="72">
                  <c:v>0.5270604067005353</c:v>
                </c:pt>
                <c:pt idx="73">
                  <c:v>0.4979611106791828</c:v>
                </c:pt>
                <c:pt idx="74">
                  <c:v>0.4834676517268929</c:v>
                </c:pt>
                <c:pt idx="75">
                  <c:v>0.47091824379204444</c:v>
                </c:pt>
                <c:pt idx="76">
                  <c:v>0.4936339570967487</c:v>
                </c:pt>
                <c:pt idx="77">
                  <c:v>0.5065776377056254</c:v>
                </c:pt>
                <c:pt idx="78">
                  <c:v>0.46072509471798956</c:v>
                </c:pt>
                <c:pt idx="79">
                  <c:v>0.4942007431748207</c:v>
                </c:pt>
                <c:pt idx="80">
                  <c:v>0.49649086522431507</c:v>
                </c:pt>
                <c:pt idx="81">
                  <c:v>0.48972846453026925</c:v>
                </c:pt>
                <c:pt idx="82">
                  <c:v>0.4936964677730984</c:v>
                </c:pt>
                <c:pt idx="83">
                  <c:v>0.48295695238427977</c:v>
                </c:pt>
                <c:pt idx="84">
                  <c:v>0.46165212153599794</c:v>
                </c:pt>
                <c:pt idx="85">
                  <c:v>0.4904287882524891</c:v>
                </c:pt>
                <c:pt idx="86">
                  <c:v>0.484263119928677</c:v>
                </c:pt>
                <c:pt idx="87">
                  <c:v>0.5391627862458611</c:v>
                </c:pt>
                <c:pt idx="88">
                  <c:v>0.4688584117143203</c:v>
                </c:pt>
                <c:pt idx="89">
                  <c:v>0.43647098196250395</c:v>
                </c:pt>
                <c:pt idx="90">
                  <c:v>0.4495401006881661</c:v>
                </c:pt>
                <c:pt idx="91">
                  <c:v>0.4807930101226811</c:v>
                </c:pt>
                <c:pt idx="92">
                  <c:v>0.4717106059401554</c:v>
                </c:pt>
                <c:pt idx="93">
                  <c:v>0.48412825405249243</c:v>
                </c:pt>
                <c:pt idx="94">
                  <c:v>0.47390692903287</c:v>
                </c:pt>
                <c:pt idx="95">
                  <c:v>0.494058068326846</c:v>
                </c:pt>
                <c:pt idx="96">
                  <c:v>0.5180052608534069</c:v>
                </c:pt>
                <c:pt idx="97">
                  <c:v>0.5484901551180973</c:v>
                </c:pt>
                <c:pt idx="98">
                  <c:v>0.5905229676304821</c:v>
                </c:pt>
                <c:pt idx="99">
                  <c:v>0.5862939663476119</c:v>
                </c:pt>
                <c:pt idx="100">
                  <c:v>0.5764936750870954</c:v>
                </c:pt>
                <c:pt idx="101">
                  <c:v>0.5049961213872092</c:v>
                </c:pt>
                <c:pt idx="102">
                  <c:v>0.5065167058947402</c:v>
                </c:pt>
                <c:pt idx="103">
                  <c:v>0.49672544814703606</c:v>
                </c:pt>
                <c:pt idx="104">
                  <c:v>0.5134146324774678</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07249416785714</c:v>
                </c:pt>
                <c:pt idx="1">
                  <c:v>0.48330302544516496</c:v>
                </c:pt>
                <c:pt idx="2">
                  <c:v>0.48661100476225577</c:v>
                </c:pt>
                <c:pt idx="3">
                  <c:v>0.4209970015225001</c:v>
                </c:pt>
                <c:pt idx="4">
                  <c:v>0.45690986515532844</c:v>
                </c:pt>
                <c:pt idx="5">
                  <c:v>0.45112793120161876</c:v>
                </c:pt>
                <c:pt idx="6">
                  <c:v>0.45276897270323063</c:v>
                </c:pt>
                <c:pt idx="7">
                  <c:v>0.4589733761216955</c:v>
                </c:pt>
                <c:pt idx="8">
                  <c:v>0.49848367711396235</c:v>
                </c:pt>
                <c:pt idx="9">
                  <c:v>0.4746298676964227</c:v>
                </c:pt>
                <c:pt idx="10">
                  <c:v>0.4971756260237251</c:v>
                </c:pt>
                <c:pt idx="11">
                  <c:v>0.47474817301120953</c:v>
                </c:pt>
                <c:pt idx="12">
                  <c:v>0.5098234051900498</c:v>
                </c:pt>
                <c:pt idx="13">
                  <c:v>0.47045942451568085</c:v>
                </c:pt>
                <c:pt idx="14">
                  <c:v>0.4674278218987365</c:v>
                </c:pt>
                <c:pt idx="15">
                  <c:v>0.4720647825654468</c:v>
                </c:pt>
                <c:pt idx="16">
                  <c:v>0.490137988856758</c:v>
                </c:pt>
                <c:pt idx="17">
                  <c:v>0.4817397012197203</c:v>
                </c:pt>
                <c:pt idx="18">
                  <c:v>0.4314717884728017</c:v>
                </c:pt>
                <c:pt idx="19">
                  <c:v>0.47309329453572124</c:v>
                </c:pt>
                <c:pt idx="20">
                  <c:v>0.47117433340273557</c:v>
                </c:pt>
                <c:pt idx="21">
                  <c:v>0.44556597554092675</c:v>
                </c:pt>
                <c:pt idx="22">
                  <c:v>0.4238240703408767</c:v>
                </c:pt>
                <c:pt idx="23">
                  <c:v>0.4298505966197292</c:v>
                </c:pt>
                <c:pt idx="24">
                  <c:v>0.45963832769572066</c:v>
                </c:pt>
                <c:pt idx="25">
                  <c:v>0.49118956945986714</c:v>
                </c:pt>
                <c:pt idx="26">
                  <c:v>0.469343898203579</c:v>
                </c:pt>
                <c:pt idx="27">
                  <c:v>0.4590637520316196</c:v>
                </c:pt>
                <c:pt idx="28">
                  <c:v>0.44109397514611304</c:v>
                </c:pt>
                <c:pt idx="29">
                  <c:v>0.4080089348246874</c:v>
                </c:pt>
                <c:pt idx="30">
                  <c:v>0.40075292419004604</c:v>
                </c:pt>
                <c:pt idx="31">
                  <c:v>0.40654745850912805</c:v>
                </c:pt>
                <c:pt idx="32">
                  <c:v>0.41083755776040864</c:v>
                </c:pt>
                <c:pt idx="33">
                  <c:v>0.4445298393851956</c:v>
                </c:pt>
                <c:pt idx="34">
                  <c:v>0.46974041132662453</c:v>
                </c:pt>
                <c:pt idx="35">
                  <c:v>0.4461277911987576</c:v>
                </c:pt>
                <c:pt idx="36">
                  <c:v>0.35827938252157276</c:v>
                </c:pt>
                <c:pt idx="37">
                  <c:v>0.4050435989476016</c:v>
                </c:pt>
                <c:pt idx="38">
                  <c:v>0.43044596753496356</c:v>
                </c:pt>
                <c:pt idx="39">
                  <c:v>0.4675209948335808</c:v>
                </c:pt>
                <c:pt idx="40">
                  <c:v>0.4703145078161903</c:v>
                </c:pt>
                <c:pt idx="41">
                  <c:v>0.47928576814546314</c:v>
                </c:pt>
                <c:pt idx="42">
                  <c:v>0.4988681113046652</c:v>
                </c:pt>
                <c:pt idx="43">
                  <c:v>0.5691541233089072</c:v>
                </c:pt>
                <c:pt idx="44">
                  <c:v>0.6039240800995076</c:v>
                </c:pt>
                <c:pt idx="45">
                  <c:v>0.6106453997064772</c:v>
                </c:pt>
                <c:pt idx="46">
                  <c:v>0.5822059596071295</c:v>
                </c:pt>
                <c:pt idx="47">
                  <c:v>0.5859313979161836</c:v>
                </c:pt>
                <c:pt idx="48">
                  <c:v>0.619532330252529</c:v>
                </c:pt>
                <c:pt idx="49">
                  <c:v>0.6373683069580883</c:v>
                </c:pt>
                <c:pt idx="50">
                  <c:v>0.5979810889586253</c:v>
                </c:pt>
                <c:pt idx="51">
                  <c:v>0.5478387600793626</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2746253660038698</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2746253660038698</c:v>
                </c:pt>
                <c:pt idx="1">
                  <c:v>2.2746253660038698</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10525506189365</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10525506189365</c:v>
                </c:pt>
                <c:pt idx="1">
                  <c:v>1.010525506189365</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329143305873047</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329143305873047</c:v>
                </c:pt>
                <c:pt idx="1">
                  <c:v>0.4329143305873047</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07249416785714</c:v>
                </c:pt>
                <c:pt idx="1">
                  <c:v>0.48330302544516496</c:v>
                </c:pt>
                <c:pt idx="2">
                  <c:v>0.48661100476225577</c:v>
                </c:pt>
                <c:pt idx="3">
                  <c:v>0.4209970015225001</c:v>
                </c:pt>
                <c:pt idx="4">
                  <c:v>0.45690986515532844</c:v>
                </c:pt>
                <c:pt idx="5">
                  <c:v>0.45112793120161876</c:v>
                </c:pt>
                <c:pt idx="6">
                  <c:v>0.45276897270323063</c:v>
                </c:pt>
                <c:pt idx="7">
                  <c:v>0.4589733761216955</c:v>
                </c:pt>
                <c:pt idx="8">
                  <c:v>0.49848367711396235</c:v>
                </c:pt>
                <c:pt idx="9">
                  <c:v>0.4746298676964227</c:v>
                </c:pt>
                <c:pt idx="10">
                  <c:v>0.4971756260237251</c:v>
                </c:pt>
                <c:pt idx="11">
                  <c:v>0.47474817301120953</c:v>
                </c:pt>
                <c:pt idx="12">
                  <c:v>0.5098234051900498</c:v>
                </c:pt>
                <c:pt idx="13">
                  <c:v>0.47045942451568085</c:v>
                </c:pt>
                <c:pt idx="14">
                  <c:v>0.4674278218987365</c:v>
                </c:pt>
                <c:pt idx="15">
                  <c:v>0.4720647825654468</c:v>
                </c:pt>
                <c:pt idx="16">
                  <c:v>0.490137988856758</c:v>
                </c:pt>
                <c:pt idx="17">
                  <c:v>0.4817397012197203</c:v>
                </c:pt>
                <c:pt idx="18">
                  <c:v>0.4314717884728017</c:v>
                </c:pt>
                <c:pt idx="19">
                  <c:v>0.47309329453572124</c:v>
                </c:pt>
                <c:pt idx="20">
                  <c:v>0.47117433340273557</c:v>
                </c:pt>
                <c:pt idx="21">
                  <c:v>0.44556597554092675</c:v>
                </c:pt>
                <c:pt idx="22">
                  <c:v>0.4238240703408767</c:v>
                </c:pt>
                <c:pt idx="23">
                  <c:v>0.4298505966197292</c:v>
                </c:pt>
                <c:pt idx="24">
                  <c:v>0.45963832769572066</c:v>
                </c:pt>
                <c:pt idx="25">
                  <c:v>0.49118956945986714</c:v>
                </c:pt>
                <c:pt idx="26">
                  <c:v>0.469343898203579</c:v>
                </c:pt>
                <c:pt idx="27">
                  <c:v>0.4590637520316196</c:v>
                </c:pt>
                <c:pt idx="28">
                  <c:v>0.44109397514611304</c:v>
                </c:pt>
                <c:pt idx="29">
                  <c:v>0.4080089348246874</c:v>
                </c:pt>
                <c:pt idx="30">
                  <c:v>0.40075292419004604</c:v>
                </c:pt>
                <c:pt idx="31">
                  <c:v>0.40654745850912805</c:v>
                </c:pt>
                <c:pt idx="32">
                  <c:v>0.41083755776040864</c:v>
                </c:pt>
                <c:pt idx="33">
                  <c:v>0.4445298393851956</c:v>
                </c:pt>
                <c:pt idx="34">
                  <c:v>0.46974041132662453</c:v>
                </c:pt>
                <c:pt idx="35">
                  <c:v>0.4461277911987576</c:v>
                </c:pt>
                <c:pt idx="36">
                  <c:v>0.35827938252157276</c:v>
                </c:pt>
                <c:pt idx="37">
                  <c:v>0.4050435989476016</c:v>
                </c:pt>
                <c:pt idx="38">
                  <c:v>0.43044596753496356</c:v>
                </c:pt>
                <c:pt idx="39">
                  <c:v>0.4675209948335808</c:v>
                </c:pt>
                <c:pt idx="40">
                  <c:v>0.4703145078161903</c:v>
                </c:pt>
                <c:pt idx="41">
                  <c:v>0.47928576814546314</c:v>
                </c:pt>
                <c:pt idx="42">
                  <c:v>0.4988681113046652</c:v>
                </c:pt>
                <c:pt idx="43">
                  <c:v>0.5691541233089072</c:v>
                </c:pt>
                <c:pt idx="44">
                  <c:v>0.6039240800995076</c:v>
                </c:pt>
                <c:pt idx="45">
                  <c:v>0.6106453997064772</c:v>
                </c:pt>
                <c:pt idx="46">
                  <c:v>0.5822059596071295</c:v>
                </c:pt>
                <c:pt idx="47">
                  <c:v>0.5859313979161836</c:v>
                </c:pt>
                <c:pt idx="48">
                  <c:v>0.619532330252529</c:v>
                </c:pt>
                <c:pt idx="49">
                  <c:v>0.6373683069580883</c:v>
                </c:pt>
                <c:pt idx="50">
                  <c:v>0.5979810889586253</c:v>
                </c:pt>
                <c:pt idx="51">
                  <c:v>0.5478387600793626</c:v>
                </c:pt>
                <c:pt idx="52">
                  <c:v>1.010525506189365</c:v>
                </c:pt>
                <c:pt idx="53">
                  <c:v>2.2746253660038698</c:v>
                </c:pt>
                <c:pt idx="54">
                  <c:v>0.4329143305873047</c:v>
                </c:pt>
              </c:numCache>
            </c:numRef>
          </c:xVal>
          <c:yVal>
            <c:numRef>
              <c:f>Sheet1!$B$187:$B$241</c:f>
              <c:numCache>
                <c:formatCode>General</c:formatCode>
                <c:ptCount val="55"/>
                <c:pt idx="0">
                  <c:v>0.12302975671113263</c:v>
                </c:pt>
                <c:pt idx="1">
                  <c:v>0.12218847754713988</c:v>
                </c:pt>
                <c:pt idx="2">
                  <c:v>0.12230469272272983</c:v>
                </c:pt>
                <c:pt idx="3">
                  <c:v>0.11999955651215231</c:v>
                </c:pt>
                <c:pt idx="4">
                  <c:v>0.12126123905395775</c:v>
                </c:pt>
                <c:pt idx="5">
                  <c:v>0.1210581094678058</c:v>
                </c:pt>
                <c:pt idx="6">
                  <c:v>0.12111576216390184</c:v>
                </c:pt>
                <c:pt idx="7">
                  <c:v>0.12133373385102286</c:v>
                </c:pt>
                <c:pt idx="8">
                  <c:v>0.12272180074240419</c:v>
                </c:pt>
                <c:pt idx="9">
                  <c:v>0.12188377414543426</c:v>
                </c:pt>
                <c:pt idx="10">
                  <c:v>0.12267584658956315</c:v>
                </c:pt>
                <c:pt idx="11">
                  <c:v>0.12188793042079553</c:v>
                </c:pt>
                <c:pt idx="12">
                  <c:v>0.1231201854852277</c:v>
                </c:pt>
                <c:pt idx="13">
                  <c:v>0.12173725908591326</c:v>
                </c:pt>
                <c:pt idx="14">
                  <c:v>0.12163075351357583</c:v>
                </c:pt>
                <c:pt idx="15">
                  <c:v>0.12179365815911011</c:v>
                </c:pt>
                <c:pt idx="16">
                  <c:v>0.12242860192425592</c:v>
                </c:pt>
                <c:pt idx="17">
                  <c:v>0.12213355519668098</c:v>
                </c:pt>
                <c:pt idx="18">
                  <c:v>0.12036755434043594</c:v>
                </c:pt>
                <c:pt idx="19">
                  <c:v>0.12182979160728624</c:v>
                </c:pt>
                <c:pt idx="20">
                  <c:v>0.12176237510202939</c:v>
                </c:pt>
                <c:pt idx="21">
                  <c:v>0.12086270810891844</c:v>
                </c:pt>
                <c:pt idx="22">
                  <c:v>0.12009887644968488</c:v>
                </c:pt>
                <c:pt idx="23">
                  <c:v>0.12031059899766931</c:v>
                </c:pt>
                <c:pt idx="24">
                  <c:v>0.12135709477820125</c:v>
                </c:pt>
                <c:pt idx="25">
                  <c:v>0.12246554581438421</c:v>
                </c:pt>
                <c:pt idx="26">
                  <c:v>0.12169806866970773</c:v>
                </c:pt>
                <c:pt idx="27">
                  <c:v>0.12133690891689666</c:v>
                </c:pt>
                <c:pt idx="28">
                  <c:v>0.1207055988100675</c:v>
                </c:pt>
                <c:pt idx="29">
                  <c:v>0.1195432627124717</c:v>
                </c:pt>
                <c:pt idx="30">
                  <c:v>0.11928834620025815</c:v>
                </c:pt>
                <c:pt idx="31">
                  <c:v>0.11949191845957514</c:v>
                </c:pt>
                <c:pt idx="32">
                  <c:v>0.1196426372489007</c:v>
                </c:pt>
                <c:pt idx="33">
                  <c:v>0.12082630680959615</c:v>
                </c:pt>
                <c:pt idx="34">
                  <c:v>0.12171199887839444</c:v>
                </c:pt>
                <c:pt idx="35">
                  <c:v>0.12088244568859033</c:v>
                </c:pt>
                <c:pt idx="36">
                  <c:v>0.11779617541266402</c:v>
                </c:pt>
                <c:pt idx="37">
                  <c:v>0.119439085208139</c:v>
                </c:pt>
                <c:pt idx="38">
                  <c:v>0.12033151543299817</c:v>
                </c:pt>
                <c:pt idx="39">
                  <c:v>0.12163402684389178</c:v>
                </c:pt>
                <c:pt idx="40">
                  <c:v>0.12173216790544844</c:v>
                </c:pt>
                <c:pt idx="41">
                  <c:v>0.12204734417908562</c:v>
                </c:pt>
                <c:pt idx="42">
                  <c:v>0.12273530659679223</c:v>
                </c:pt>
                <c:pt idx="43">
                  <c:v>0.1252045787546888</c:v>
                </c:pt>
                <c:pt idx="44">
                  <c:v>0.1264261089537434</c:v>
                </c:pt>
                <c:pt idx="45">
                  <c:v>0.12666224082261104</c:v>
                </c:pt>
                <c:pt idx="46">
                  <c:v>0.12566311289344004</c:v>
                </c:pt>
                <c:pt idx="47">
                  <c:v>0.12579399414321069</c:v>
                </c:pt>
                <c:pt idx="48">
                  <c:v>0.12697445444152006</c:v>
                </c:pt>
                <c:pt idx="49">
                  <c:v>0.1276010639109159</c:v>
                </c:pt>
                <c:pt idx="50">
                  <c:v>0.12621732114319129</c:v>
                </c:pt>
                <c:pt idx="51">
                  <c:v>0.12445573227076837</c:v>
                </c:pt>
                <c:pt idx="52">
                  <c:v>0.1407107376042369</c:v>
                </c:pt>
                <c:pt idx="53">
                  <c:v>0.18512080583306922</c:v>
                </c:pt>
                <c:pt idx="54">
                  <c:v>0.120418233401295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3.4876</c:v>
                </c:pt>
                <c:pt idx="1">
                  <c:v>843.1884</c:v>
                </c:pt>
                <c:pt idx="2">
                  <c:v>894.1503</c:v>
                </c:pt>
                <c:pt idx="3">
                  <c:v>897.8562</c:v>
                </c:pt>
                <c:pt idx="4">
                  <c:v>911.7173</c:v>
                </c:pt>
                <c:pt idx="5">
                  <c:v>931.7485</c:v>
                </c:pt>
                <c:pt idx="6">
                  <c:v>841.1659</c:v>
                </c:pt>
                <c:pt idx="7">
                  <c:v>854.4477</c:v>
                </c:pt>
                <c:pt idx="8">
                  <c:v>867.0329</c:v>
                </c:pt>
                <c:pt idx="9">
                  <c:v>822.8322</c:v>
                </c:pt>
                <c:pt idx="10">
                  <c:v>811.7078</c:v>
                </c:pt>
                <c:pt idx="11">
                  <c:v>863.8643</c:v>
                </c:pt>
                <c:pt idx="12">
                  <c:v>883.7506</c:v>
                </c:pt>
                <c:pt idx="13">
                  <c:v>870.6893</c:v>
                </c:pt>
                <c:pt idx="14">
                  <c:v>871.5246</c:v>
                </c:pt>
                <c:pt idx="15">
                  <c:v>876.9702</c:v>
                </c:pt>
                <c:pt idx="16">
                  <c:v>886.6871</c:v>
                </c:pt>
                <c:pt idx="17">
                  <c:v>896.3477</c:v>
                </c:pt>
                <c:pt idx="18">
                  <c:v>936.1</c:v>
                </c:pt>
                <c:pt idx="19">
                  <c:v>979.7482</c:v>
                </c:pt>
                <c:pt idx="20">
                  <c:v>978.5339</c:v>
                </c:pt>
                <c:pt idx="21">
                  <c:v>983.1955</c:v>
                </c:pt>
                <c:pt idx="22">
                  <c:v>962.2765</c:v>
                </c:pt>
                <c:pt idx="23">
                  <c:v>938.4754</c:v>
                </c:pt>
                <c:pt idx="24">
                  <c:v>925.0735</c:v>
                </c:pt>
                <c:pt idx="25">
                  <c:v>900.5114</c:v>
                </c:pt>
                <c:pt idx="26">
                  <c:v>890.132</c:v>
                </c:pt>
                <c:pt idx="27">
                  <c:v>937.6632</c:v>
                </c:pt>
                <c:pt idx="28">
                  <c:v>938.335</c:v>
                </c:pt>
                <c:pt idx="29">
                  <c:v>661.4229</c:v>
                </c:pt>
                <c:pt idx="30">
                  <c:v>732.4608</c:v>
                </c:pt>
                <c:pt idx="31">
                  <c:v>788.6473</c:v>
                </c:pt>
                <c:pt idx="32">
                  <c:v>806.0843</c:v>
                </c:pt>
                <c:pt idx="33">
                  <c:v>763.0899</c:v>
                </c:pt>
                <c:pt idx="34">
                  <c:v>881.101</c:v>
                </c:pt>
                <c:pt idx="35">
                  <c:v>932.6195</c:v>
                </c:pt>
                <c:pt idx="36">
                  <c:v>1004.9532</c:v>
                </c:pt>
                <c:pt idx="37">
                  <c:v>1040.2229</c:v>
                </c:pt>
                <c:pt idx="38">
                  <c:v>1085.119</c:v>
                </c:pt>
                <c:pt idx="39">
                  <c:v>1082.3675</c:v>
                </c:pt>
                <c:pt idx="40">
                  <c:v>1081.1327</c:v>
                </c:pt>
                <c:pt idx="41">
                  <c:v>1125.1694</c:v>
                </c:pt>
                <c:pt idx="42">
                  <c:v>1113.473</c:v>
                </c:pt>
                <c:pt idx="43">
                  <c:v>1127.5556</c:v>
                </c:pt>
                <c:pt idx="44">
                  <c:v>1000.3236</c:v>
                </c:pt>
                <c:pt idx="45">
                  <c:v>956.6681</c:v>
                </c:pt>
                <c:pt idx="46">
                  <c:v>966.2008</c:v>
                </c:pt>
                <c:pt idx="47">
                  <c:v>949.8938</c:v>
                </c:pt>
                <c:pt idx="48">
                  <c:v>966.6547</c:v>
                </c:pt>
                <c:pt idx="49">
                  <c:v>952.5241</c:v>
                </c:pt>
                <c:pt idx="50">
                  <c:v>937.6069</c:v>
                </c:pt>
                <c:pt idx="51">
                  <c:v>935.6059</c:v>
                </c:pt>
                <c:pt idx="52">
                  <c:v>954.699</c:v>
                </c:pt>
                <c:pt idx="53">
                  <c:v>1036.6104</c:v>
                </c:pt>
                <c:pt idx="54">
                  <c:v>1037.8654</c:v>
                </c:pt>
                <c:pt idx="55">
                  <c:v>1064.0</c:v>
                </c:pt>
                <c:pt idx="56">
                  <c:v>1092.3459</c:v>
                </c:pt>
                <c:pt idx="57">
                  <c:v>1064.8947</c:v>
                </c:pt>
                <c:pt idx="58">
                  <c:v>1010.5488</c:v>
                </c:pt>
                <c:pt idx="59">
                  <c:v>1017.9644</c:v>
                </c:pt>
                <c:pt idx="60">
                  <c:v>1037.0986</c:v>
                </c:pt>
                <c:pt idx="61">
                  <c:v>1050.5315</c:v>
                </c:pt>
                <c:pt idx="62">
                  <c:v>967.2847</c:v>
                </c:pt>
                <c:pt idx="63">
                  <c:v>1013.2507</c:v>
                </c:pt>
                <c:pt idx="64">
                  <c:v>1005.4656</c:v>
                </c:pt>
                <c:pt idx="65">
                  <c:v>1011.7016</c:v>
                </c:pt>
                <c:pt idx="66">
                  <c:v>1043.8164</c:v>
                </c:pt>
                <c:pt idx="67">
                  <c:v>1063.5902</c:v>
                </c:pt>
                <c:pt idx="68">
                  <c:v>1034.4815</c:v>
                </c:pt>
                <c:pt idx="69">
                  <c:v>1012.6383</c:v>
                </c:pt>
                <c:pt idx="70">
                  <c:v>998.0902</c:v>
                </c:pt>
                <c:pt idx="71">
                  <c:v>1082.6296</c:v>
                </c:pt>
                <c:pt idx="72">
                  <c:v>1199.6667</c:v>
                </c:pt>
                <c:pt idx="73">
                  <c:v>1149.0362</c:v>
                </c:pt>
                <c:pt idx="74">
                  <c:v>1126.131</c:v>
                </c:pt>
                <c:pt idx="75">
                  <c:v>1098.697</c:v>
                </c:pt>
                <c:pt idx="76">
                  <c:v>1157.3723</c:v>
                </c:pt>
                <c:pt idx="77">
                  <c:v>1131.8991</c:v>
                </c:pt>
                <c:pt idx="78">
                  <c:v>1088.0435</c:v>
                </c:pt>
                <c:pt idx="79">
                  <c:v>1161.1584</c:v>
                </c:pt>
                <c:pt idx="80">
                  <c:v>1135.7093</c:v>
                </c:pt>
                <c:pt idx="81">
                  <c:v>1080.2143</c:v>
                </c:pt>
                <c:pt idx="82">
                  <c:v>1113.4684</c:v>
                </c:pt>
                <c:pt idx="83">
                  <c:v>1172.2222</c:v>
                </c:pt>
                <c:pt idx="84">
                  <c:v>1043.043</c:v>
                </c:pt>
                <c:pt idx="85">
                  <c:v>1099.5948</c:v>
                </c:pt>
                <c:pt idx="86">
                  <c:v>1083.5843</c:v>
                </c:pt>
                <c:pt idx="87">
                  <c:v>1106.3333</c:v>
                </c:pt>
                <c:pt idx="88">
                  <c:v>1138.4887</c:v>
                </c:pt>
                <c:pt idx="89">
                  <c:v>1110.6486</c:v>
                </c:pt>
                <c:pt idx="90">
                  <c:v>1145.2342</c:v>
                </c:pt>
                <c:pt idx="91">
                  <c:v>1185.7623</c:v>
                </c:pt>
                <c:pt idx="92">
                  <c:v>1124.4286</c:v>
                </c:pt>
                <c:pt idx="93">
                  <c:v>1174.2357</c:v>
                </c:pt>
                <c:pt idx="94">
                  <c:v>1188.1014</c:v>
                </c:pt>
                <c:pt idx="95">
                  <c:v>1143.5098</c:v>
                </c:pt>
                <c:pt idx="96">
                  <c:v>1095.2754</c:v>
                </c:pt>
                <c:pt idx="97">
                  <c:v>1059.9971</c:v>
                </c:pt>
                <c:pt idx="98">
                  <c:v>1084.1521</c:v>
                </c:pt>
                <c:pt idx="99">
                  <c:v>1022.6959</c:v>
                </c:pt>
                <c:pt idx="100">
                  <c:v>1023.2972</c:v>
                </c:pt>
                <c:pt idx="101">
                  <c:v>1029.1674</c:v>
                </c:pt>
                <c:pt idx="102">
                  <c:v>1023.6926</c:v>
                </c:pt>
                <c:pt idx="103">
                  <c:v>1019.2305</c:v>
                </c:pt>
                <c:pt idx="104">
                  <c:v>1088.0</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5.1217213522967</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5.1217213522967</c:v>
                </c:pt>
                <c:pt idx="1">
                  <c:v>805.1217213522967</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8.8349983762436</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8.8349983762436</c:v>
                </c:pt>
                <c:pt idx="1">
                  <c:v>998.8349983762436</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7.349329584182</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7.349329584182</c:v>
                </c:pt>
                <c:pt idx="1">
                  <c:v>1087.349329584182</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pt idx="52">
                  <c:v>998.8349983762436</c:v>
                </c:pt>
                <c:pt idx="53">
                  <c:v>805.1217213522967</c:v>
                </c:pt>
                <c:pt idx="54">
                  <c:v>1087.349329584182</c:v>
                </c:pt>
              </c:numCache>
            </c:numRef>
          </c:xVal>
          <c:yVal>
            <c:numRef>
              <c:f>Sheet1!$B$187:$B$241</c:f>
              <c:numCache>
                <c:formatCode>General</c:formatCode>
                <c:ptCount val="55"/>
                <c:pt idx="0">
                  <c:v>0.11949882908102599</c:v>
                </c:pt>
                <c:pt idx="1">
                  <c:v>0.11618079674297194</c:v>
                </c:pt>
                <c:pt idx="2">
                  <c:v>0.11677149957736904</c:v>
                </c:pt>
                <c:pt idx="3">
                  <c:v>0.14564289727559177</c:v>
                </c:pt>
                <c:pt idx="4">
                  <c:v>0.12532534246907118</c:v>
                </c:pt>
                <c:pt idx="5">
                  <c:v>0.12802621574859963</c:v>
                </c:pt>
                <c:pt idx="6">
                  <c:v>0.14754898339906644</c:v>
                </c:pt>
                <c:pt idx="7">
                  <c:v>0.14210498482868475</c:v>
                </c:pt>
                <c:pt idx="8">
                  <c:v>0.11503522389767218</c:v>
                </c:pt>
                <c:pt idx="9">
                  <c:v>0.12780275923509854</c:v>
                </c:pt>
                <c:pt idx="10">
                  <c:v>0.12063433755683489</c:v>
                </c:pt>
                <c:pt idx="11">
                  <c:v>0.1606125349981452</c:v>
                </c:pt>
                <c:pt idx="12">
                  <c:v>0.14268289513876328</c:v>
                </c:pt>
                <c:pt idx="13">
                  <c:v>0.1276308396296051</c:v>
                </c:pt>
                <c:pt idx="14">
                  <c:v>0.12985236005791836</c:v>
                </c:pt>
                <c:pt idx="15">
                  <c:v>0.12207597251512864</c:v>
                </c:pt>
                <c:pt idx="16">
                  <c:v>0.10826295781121104</c:v>
                </c:pt>
                <c:pt idx="17">
                  <c:v>0.11308009976430944</c:v>
                </c:pt>
                <c:pt idx="18">
                  <c:v>0.14500746645742105</c:v>
                </c:pt>
                <c:pt idx="19">
                  <c:v>0.09552242891401291</c:v>
                </c:pt>
                <c:pt idx="20">
                  <c:v>0.08056734899243134</c:v>
                </c:pt>
                <c:pt idx="21">
                  <c:v>0.09899862545506732</c:v>
                </c:pt>
                <c:pt idx="22">
                  <c:v>0.10178934443854687</c:v>
                </c:pt>
                <c:pt idx="23">
                  <c:v>0.11376390374791434</c:v>
                </c:pt>
                <c:pt idx="24">
                  <c:v>0.11552775900960999</c:v>
                </c:pt>
                <c:pt idx="25">
                  <c:v>0.1182563264994913</c:v>
                </c:pt>
                <c:pt idx="26">
                  <c:v>0.10911006134808038</c:v>
                </c:pt>
                <c:pt idx="27">
                  <c:v>0.11659868587071354</c:v>
                </c:pt>
                <c:pt idx="28">
                  <c:v>0.1274766644933278</c:v>
                </c:pt>
                <c:pt idx="29">
                  <c:v>0.13001861702271883</c:v>
                </c:pt>
                <c:pt idx="30">
                  <c:v>0.13527884341579213</c:v>
                </c:pt>
                <c:pt idx="31">
                  <c:v>0.1458010156272504</c:v>
                </c:pt>
                <c:pt idx="32">
                  <c:v>0.14225464360781015</c:v>
                </c:pt>
                <c:pt idx="33">
                  <c:v>0.14061807167051774</c:v>
                </c:pt>
                <c:pt idx="34">
                  <c:v>0.13639408559859445</c:v>
                </c:pt>
                <c:pt idx="35">
                  <c:v>0.13186555491547303</c:v>
                </c:pt>
                <c:pt idx="36">
                  <c:v>0.13318747202073478</c:v>
                </c:pt>
                <c:pt idx="37">
                  <c:v>0.11318193559410028</c:v>
                </c:pt>
                <c:pt idx="38">
                  <c:v>0.10519596156865679</c:v>
                </c:pt>
                <c:pt idx="39">
                  <c:v>0.12232139182127713</c:v>
                </c:pt>
                <c:pt idx="40">
                  <c:v>0.10927322334731987</c:v>
                </c:pt>
                <c:pt idx="41">
                  <c:v>0.09035186481952406</c:v>
                </c:pt>
                <c:pt idx="42">
                  <c:v>0.08839804744939811</c:v>
                </c:pt>
                <c:pt idx="43">
                  <c:v>0.08788423731493766</c:v>
                </c:pt>
                <c:pt idx="44">
                  <c:v>0.10705096929754027</c:v>
                </c:pt>
                <c:pt idx="45">
                  <c:v>0.11796817374293078</c:v>
                </c:pt>
                <c:pt idx="46">
                  <c:v>0.116104706441514</c:v>
                </c:pt>
                <c:pt idx="47">
                  <c:v>0.1236470228852121</c:v>
                </c:pt>
                <c:pt idx="48">
                  <c:v>0.1198877630865196</c:v>
                </c:pt>
                <c:pt idx="49">
                  <c:v>0.1197615114173034</c:v>
                </c:pt>
                <c:pt idx="50">
                  <c:v>0.14686951236724688</c:v>
                </c:pt>
                <c:pt idx="51">
                  <c:v>0.15449818981293106</c:v>
                </c:pt>
                <c:pt idx="52">
                  <c:v>0.1407107376042369</c:v>
                </c:pt>
                <c:pt idx="53">
                  <c:v>0.18512080583306922</c:v>
                </c:pt>
                <c:pt idx="54">
                  <c:v>0.120418233401295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3.0"/>
          <c:min val="52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911985932060086</c:v>
                </c:pt>
                <c:pt idx="1">
                  <c:v>2.3826426390956006</c:v>
                </c:pt>
                <c:pt idx="2">
                  <c:v>2.536262025009467</c:v>
                </c:pt>
                <c:pt idx="3">
                  <c:v>2.5133017785997547</c:v>
                </c:pt>
                <c:pt idx="4">
                  <c:v>2.563470632130809</c:v>
                </c:pt>
                <c:pt idx="5">
                  <c:v>2.0776851461829735</c:v>
                </c:pt>
                <c:pt idx="6">
                  <c:v>1.6882545345581368</c:v>
                </c:pt>
                <c:pt idx="7">
                  <c:v>1.7068938962172957</c:v>
                </c:pt>
                <c:pt idx="8">
                  <c:v>1.7252655654039872</c:v>
                </c:pt>
                <c:pt idx="9">
                  <c:v>1.7393032701553537</c:v>
                </c:pt>
                <c:pt idx="10">
                  <c:v>1.6444930676480451</c:v>
                </c:pt>
                <c:pt idx="11">
                  <c:v>1.7304869962720577</c:v>
                </c:pt>
                <c:pt idx="12">
                  <c:v>1.7681837189155012</c:v>
                </c:pt>
                <c:pt idx="13">
                  <c:v>1.7369673975970625</c:v>
                </c:pt>
                <c:pt idx="14">
                  <c:v>1.7800932975404768</c:v>
                </c:pt>
                <c:pt idx="15">
                  <c:v>1.7716405059670153</c:v>
                </c:pt>
                <c:pt idx="16">
                  <c:v>1.7347374339755237</c:v>
                </c:pt>
                <c:pt idx="17">
                  <c:v>2.231781435992638</c:v>
                </c:pt>
                <c:pt idx="18">
                  <c:v>2.5974609756530698</c:v>
                </c:pt>
                <c:pt idx="19">
                  <c:v>2.6742947327965902</c:v>
                </c:pt>
                <c:pt idx="20">
                  <c:v>2.617393872167007</c:v>
                </c:pt>
                <c:pt idx="21">
                  <c:v>2.6755228001466214</c:v>
                </c:pt>
                <c:pt idx="22">
                  <c:v>2.6980355421521223</c:v>
                </c:pt>
                <c:pt idx="23">
                  <c:v>2.6753296215071924</c:v>
                </c:pt>
                <c:pt idx="24">
                  <c:v>2.676366494785261</c:v>
                </c:pt>
                <c:pt idx="25">
                  <c:v>2.583527203006436</c:v>
                </c:pt>
                <c:pt idx="26">
                  <c:v>1.9368034253272821</c:v>
                </c:pt>
                <c:pt idx="27">
                  <c:v>1.9020532920384068</c:v>
                </c:pt>
                <c:pt idx="28">
                  <c:v>1.861059064356366</c:v>
                </c:pt>
                <c:pt idx="29">
                  <c:v>1.3171897870543885</c:v>
                </c:pt>
                <c:pt idx="30">
                  <c:v>1.4274223581967562</c:v>
                </c:pt>
                <c:pt idx="31">
                  <c:v>1.5219268993998338</c:v>
                </c:pt>
                <c:pt idx="32">
                  <c:v>1.5282070697400008</c:v>
                </c:pt>
                <c:pt idx="33">
                  <c:v>1.44842212715686</c:v>
                </c:pt>
                <c:pt idx="34">
                  <c:v>1.7162190010607783</c:v>
                </c:pt>
                <c:pt idx="35">
                  <c:v>1.8562532492709294</c:v>
                </c:pt>
                <c:pt idx="36">
                  <c:v>1.9965058527165664</c:v>
                </c:pt>
                <c:pt idx="37">
                  <c:v>2.084127619853233</c:v>
                </c:pt>
                <c:pt idx="38">
                  <c:v>2.187896071614788</c:v>
                </c:pt>
                <c:pt idx="39">
                  <c:v>2.168895375108533</c:v>
                </c:pt>
                <c:pt idx="40">
                  <c:v>2.158173072220456</c:v>
                </c:pt>
                <c:pt idx="41">
                  <c:v>2.2490599844928174</c:v>
                </c:pt>
                <c:pt idx="42">
                  <c:v>2.2116647237576688</c:v>
                </c:pt>
                <c:pt idx="43">
                  <c:v>2.229700198715321</c:v>
                </c:pt>
                <c:pt idx="44">
                  <c:v>1.9844524801995873</c:v>
                </c:pt>
                <c:pt idx="45">
                  <c:v>1.9093548133432168</c:v>
                </c:pt>
                <c:pt idx="46">
                  <c:v>1.9473196261923342</c:v>
                </c:pt>
                <c:pt idx="47">
                  <c:v>1.9328261708691346</c:v>
                </c:pt>
                <c:pt idx="48">
                  <c:v>1.9466113741642137</c:v>
                </c:pt>
                <c:pt idx="49">
                  <c:v>1.921377991550185</c:v>
                </c:pt>
                <c:pt idx="50">
                  <c:v>1.8720111633018233</c:v>
                </c:pt>
                <c:pt idx="51">
                  <c:v>1.8792972886547081</c:v>
                </c:pt>
                <c:pt idx="52">
                  <c:v>1.919466368891383</c:v>
                </c:pt>
                <c:pt idx="53">
                  <c:v>2.079443743346338</c:v>
                </c:pt>
                <c:pt idx="54">
                  <c:v>2.186709361488655</c:v>
                </c:pt>
                <c:pt idx="55">
                  <c:v>2.258813778848969</c:v>
                </c:pt>
                <c:pt idx="56">
                  <c:v>2.3486703253039405</c:v>
                </c:pt>
                <c:pt idx="57">
                  <c:v>2.2612878086485293</c:v>
                </c:pt>
                <c:pt idx="58">
                  <c:v>2.1449236110831054</c:v>
                </c:pt>
                <c:pt idx="59">
                  <c:v>2.2299935419932546</c:v>
                </c:pt>
                <c:pt idx="60">
                  <c:v>2.256536643476085</c:v>
                </c:pt>
                <c:pt idx="61">
                  <c:v>2.1964031500975443</c:v>
                </c:pt>
                <c:pt idx="62">
                  <c:v>2.0663151760465146</c:v>
                </c:pt>
                <c:pt idx="63">
                  <c:v>2.1713918649741286</c:v>
                </c:pt>
                <c:pt idx="64">
                  <c:v>2.1207826514676613</c:v>
                </c:pt>
                <c:pt idx="65">
                  <c:v>2.1083604267396447</c:v>
                </c:pt>
                <c:pt idx="66">
                  <c:v>2.1723311214946266</c:v>
                </c:pt>
                <c:pt idx="67">
                  <c:v>2.2146682100356045</c:v>
                </c:pt>
                <c:pt idx="68">
                  <c:v>2.1587109771320705</c:v>
                </c:pt>
                <c:pt idx="69">
                  <c:v>2.0606362945601338</c:v>
                </c:pt>
                <c:pt idx="70">
                  <c:v>2.0242671060970974</c:v>
                </c:pt>
                <c:pt idx="71">
                  <c:v>2.2189052279142367</c:v>
                </c:pt>
                <c:pt idx="72">
                  <c:v>2.5076970061066843</c:v>
                </c:pt>
                <c:pt idx="73">
                  <c:v>2.3244601363599857</c:v>
                </c:pt>
                <c:pt idx="74">
                  <c:v>2.311969538109493</c:v>
                </c:pt>
                <c:pt idx="75">
                  <c:v>2.2329487971065682</c:v>
                </c:pt>
                <c:pt idx="76">
                  <c:v>2.5030424783438607</c:v>
                </c:pt>
                <c:pt idx="77">
                  <c:v>2.5437866966075178</c:v>
                </c:pt>
                <c:pt idx="78">
                  <c:v>2.446819778688602</c:v>
                </c:pt>
                <c:pt idx="79">
                  <c:v>2.66004639899239</c:v>
                </c:pt>
                <c:pt idx="80">
                  <c:v>2.519046962085737</c:v>
                </c:pt>
                <c:pt idx="81">
                  <c:v>2.427420045298357</c:v>
                </c:pt>
                <c:pt idx="82">
                  <c:v>2.481277135212383</c:v>
                </c:pt>
                <c:pt idx="83">
                  <c:v>2.5790934136895736</c:v>
                </c:pt>
                <c:pt idx="84">
                  <c:v>2.3483222008387865</c:v>
                </c:pt>
                <c:pt idx="85">
                  <c:v>2.391388871550972</c:v>
                </c:pt>
                <c:pt idx="86">
                  <c:v>2.354784142745971</c:v>
                </c:pt>
                <c:pt idx="87">
                  <c:v>2.4381667952966817</c:v>
                </c:pt>
                <c:pt idx="88">
                  <c:v>2.4605597639913985</c:v>
                </c:pt>
                <c:pt idx="89">
                  <c:v>2.4284551057204165</c:v>
                </c:pt>
                <c:pt idx="90">
                  <c:v>2.482898495801291</c:v>
                </c:pt>
                <c:pt idx="91">
                  <c:v>2.5894467409341915</c:v>
                </c:pt>
                <c:pt idx="92">
                  <c:v>2.311150090622568</c:v>
                </c:pt>
                <c:pt idx="93">
                  <c:v>2.0596626234168207</c:v>
                </c:pt>
                <c:pt idx="94">
                  <c:v>2.048632947344971</c:v>
                </c:pt>
                <c:pt idx="95">
                  <c:v>1.9452867899742803</c:v>
                </c:pt>
                <c:pt idx="96">
                  <c:v>1.8503274002594874</c:v>
                </c:pt>
                <c:pt idx="97">
                  <c:v>1.79667742585592</c:v>
                </c:pt>
                <c:pt idx="98">
                  <c:v>1.90652732211993</c:v>
                </c:pt>
                <c:pt idx="99">
                  <c:v>2.029201209390515</c:v>
                </c:pt>
                <c:pt idx="100">
                  <c:v>1.7730902623757985</c:v>
                </c:pt>
                <c:pt idx="101">
                  <c:v>1.6176846257563293</c:v>
                </c:pt>
                <c:pt idx="102">
                  <c:v>1.5860051885999533</c:v>
                </c:pt>
                <c:pt idx="103">
                  <c:v>1.5961104740989025</c:v>
                </c:pt>
                <c:pt idx="104">
                  <c:v>1.6877527169250883</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025508135587794</c:v>
                </c:pt>
                <c:pt idx="1">
                  <c:v>1.6363344587670854</c:v>
                </c:pt>
                <c:pt idx="2">
                  <c:v>1.5830943817499967</c:v>
                </c:pt>
                <c:pt idx="3">
                  <c:v>1.3823572177615664</c:v>
                </c:pt>
                <c:pt idx="4">
                  <c:v>1.5241233585694118</c:v>
                </c:pt>
                <c:pt idx="5">
                  <c:v>1.4557488027844394</c:v>
                </c:pt>
                <c:pt idx="6">
                  <c:v>1.4348412135498956</c:v>
                </c:pt>
                <c:pt idx="7">
                  <c:v>1.4167653392240507</c:v>
                </c:pt>
                <c:pt idx="8">
                  <c:v>1.5410950028953725</c:v>
                </c:pt>
                <c:pt idx="9">
                  <c:v>1.5352789868431507</c:v>
                </c:pt>
                <c:pt idx="10">
                  <c:v>1.5526936438853918</c:v>
                </c:pt>
                <c:pt idx="11">
                  <c:v>1.5119014227399679</c:v>
                </c:pt>
                <c:pt idx="12">
                  <c:v>1.6113746744241828</c:v>
                </c:pt>
                <c:pt idx="13">
                  <c:v>1.5258138316335186</c:v>
                </c:pt>
                <c:pt idx="14">
                  <c:v>1.5087035397336763</c:v>
                </c:pt>
                <c:pt idx="15">
                  <c:v>1.6146964322259874</c:v>
                </c:pt>
                <c:pt idx="16">
                  <c:v>1.6083289224403527</c:v>
                </c:pt>
                <c:pt idx="17">
                  <c:v>1.6959458937362022</c:v>
                </c:pt>
                <c:pt idx="18">
                  <c:v>1.4061879022499453</c:v>
                </c:pt>
                <c:pt idx="19">
                  <c:v>1.7066413207865423</c:v>
                </c:pt>
                <c:pt idx="20">
                  <c:v>1.7675803124326825</c:v>
                </c:pt>
                <c:pt idx="21">
                  <c:v>1.6824194307917322</c:v>
                </c:pt>
                <c:pt idx="22">
                  <c:v>1.645865221836947</c:v>
                </c:pt>
                <c:pt idx="23">
                  <c:v>1.5792888966600773</c:v>
                </c:pt>
                <c:pt idx="24">
                  <c:v>1.533445643153527</c:v>
                </c:pt>
                <c:pt idx="25">
                  <c:v>1.6175668582524374</c:v>
                </c:pt>
                <c:pt idx="26">
                  <c:v>1.6111271592731098</c:v>
                </c:pt>
                <c:pt idx="27">
                  <c:v>1.5531521460670221</c:v>
                </c:pt>
                <c:pt idx="28">
                  <c:v>1.5061417527569783</c:v>
                </c:pt>
                <c:pt idx="29">
                  <c:v>1.4516340083454085</c:v>
                </c:pt>
                <c:pt idx="30">
                  <c:v>1.4698874104813204</c:v>
                </c:pt>
                <c:pt idx="31">
                  <c:v>1.349991070386915</c:v>
                </c:pt>
                <c:pt idx="32">
                  <c:v>1.3568362225407</c:v>
                </c:pt>
                <c:pt idx="33">
                  <c:v>1.3767078491726368</c:v>
                </c:pt>
                <c:pt idx="34">
                  <c:v>1.4249704795069038</c:v>
                </c:pt>
                <c:pt idx="35">
                  <c:v>1.4005149177234593</c:v>
                </c:pt>
                <c:pt idx="36">
                  <c:v>1.3766953628632996</c:v>
                </c:pt>
                <c:pt idx="37">
                  <c:v>1.557047737291407</c:v>
                </c:pt>
                <c:pt idx="38">
                  <c:v>1.6006277664209476</c:v>
                </c:pt>
                <c:pt idx="39">
                  <c:v>1.5772833049269277</c:v>
                </c:pt>
                <c:pt idx="40">
                  <c:v>1.5666192758094106</c:v>
                </c:pt>
                <c:pt idx="41">
                  <c:v>1.6875602973881727</c:v>
                </c:pt>
                <c:pt idx="42">
                  <c:v>1.698436161654304</c:v>
                </c:pt>
                <c:pt idx="43">
                  <c:v>1.7389512254536514</c:v>
                </c:pt>
                <c:pt idx="44">
                  <c:v>1.628706561192628</c:v>
                </c:pt>
                <c:pt idx="45">
                  <c:v>1.625000351479804</c:v>
                </c:pt>
                <c:pt idx="46">
                  <c:v>1.6309961706782563</c:v>
                </c:pt>
                <c:pt idx="47">
                  <c:v>1.611307891578158</c:v>
                </c:pt>
                <c:pt idx="48">
                  <c:v>1.5964905032199004</c:v>
                </c:pt>
                <c:pt idx="49">
                  <c:v>1.642738223764854</c:v>
                </c:pt>
                <c:pt idx="50">
                  <c:v>1.49832312274686</c:v>
                </c:pt>
                <c:pt idx="51">
                  <c:v>1.482204923339281</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553845698465039</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553845698465039</c:v>
                </c:pt>
                <c:pt idx="1">
                  <c:v>1.0553845698465039</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052979620332873</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052979620332873</c:v>
                </c:pt>
                <c:pt idx="1">
                  <c:v>1.4052979620332873</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651855565541593</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651855565541593</c:v>
                </c:pt>
                <c:pt idx="1">
                  <c:v>1.5651855565541593</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025508135587794</c:v>
                </c:pt>
                <c:pt idx="1">
                  <c:v>1.6363344587670854</c:v>
                </c:pt>
                <c:pt idx="2">
                  <c:v>1.5830943817499967</c:v>
                </c:pt>
                <c:pt idx="3">
                  <c:v>1.3823572177615664</c:v>
                </c:pt>
                <c:pt idx="4">
                  <c:v>1.5241233585694118</c:v>
                </c:pt>
                <c:pt idx="5">
                  <c:v>1.4557488027844394</c:v>
                </c:pt>
                <c:pt idx="6">
                  <c:v>1.4348412135498956</c:v>
                </c:pt>
                <c:pt idx="7">
                  <c:v>1.4167653392240507</c:v>
                </c:pt>
                <c:pt idx="8">
                  <c:v>1.5410950028953725</c:v>
                </c:pt>
                <c:pt idx="9">
                  <c:v>1.5352789868431507</c:v>
                </c:pt>
                <c:pt idx="10">
                  <c:v>1.5526936438853918</c:v>
                </c:pt>
                <c:pt idx="11">
                  <c:v>1.5119014227399679</c:v>
                </c:pt>
                <c:pt idx="12">
                  <c:v>1.6113746744241828</c:v>
                </c:pt>
                <c:pt idx="13">
                  <c:v>1.5258138316335186</c:v>
                </c:pt>
                <c:pt idx="14">
                  <c:v>1.5087035397336763</c:v>
                </c:pt>
                <c:pt idx="15">
                  <c:v>1.6146964322259874</c:v>
                </c:pt>
                <c:pt idx="16">
                  <c:v>1.6083289224403527</c:v>
                </c:pt>
                <c:pt idx="17">
                  <c:v>1.6959458937362022</c:v>
                </c:pt>
                <c:pt idx="18">
                  <c:v>1.4061879022499453</c:v>
                </c:pt>
                <c:pt idx="19">
                  <c:v>1.7066413207865423</c:v>
                </c:pt>
                <c:pt idx="20">
                  <c:v>1.7675803124326825</c:v>
                </c:pt>
                <c:pt idx="21">
                  <c:v>1.6824194307917322</c:v>
                </c:pt>
                <c:pt idx="22">
                  <c:v>1.645865221836947</c:v>
                </c:pt>
                <c:pt idx="23">
                  <c:v>1.5792888966600773</c:v>
                </c:pt>
                <c:pt idx="24">
                  <c:v>1.533445643153527</c:v>
                </c:pt>
                <c:pt idx="25">
                  <c:v>1.6175668582524374</c:v>
                </c:pt>
                <c:pt idx="26">
                  <c:v>1.6111271592731098</c:v>
                </c:pt>
                <c:pt idx="27">
                  <c:v>1.5531521460670221</c:v>
                </c:pt>
                <c:pt idx="28">
                  <c:v>1.5061417527569783</c:v>
                </c:pt>
                <c:pt idx="29">
                  <c:v>1.4516340083454085</c:v>
                </c:pt>
                <c:pt idx="30">
                  <c:v>1.4698874104813204</c:v>
                </c:pt>
                <c:pt idx="31">
                  <c:v>1.349991070386915</c:v>
                </c:pt>
                <c:pt idx="32">
                  <c:v>1.3568362225407</c:v>
                </c:pt>
                <c:pt idx="33">
                  <c:v>1.3767078491726368</c:v>
                </c:pt>
                <c:pt idx="34">
                  <c:v>1.4249704795069038</c:v>
                </c:pt>
                <c:pt idx="35">
                  <c:v>1.4005149177234593</c:v>
                </c:pt>
                <c:pt idx="36">
                  <c:v>1.3766953628632996</c:v>
                </c:pt>
                <c:pt idx="37">
                  <c:v>1.557047737291407</c:v>
                </c:pt>
                <c:pt idx="38">
                  <c:v>1.6006277664209476</c:v>
                </c:pt>
                <c:pt idx="39">
                  <c:v>1.5772833049269277</c:v>
                </c:pt>
                <c:pt idx="40">
                  <c:v>1.5666192758094106</c:v>
                </c:pt>
                <c:pt idx="41">
                  <c:v>1.6875602973881727</c:v>
                </c:pt>
                <c:pt idx="42">
                  <c:v>1.698436161654304</c:v>
                </c:pt>
                <c:pt idx="43">
                  <c:v>1.7389512254536514</c:v>
                </c:pt>
                <c:pt idx="44">
                  <c:v>1.628706561192628</c:v>
                </c:pt>
                <c:pt idx="45">
                  <c:v>1.625000351479804</c:v>
                </c:pt>
                <c:pt idx="46">
                  <c:v>1.6309961706782563</c:v>
                </c:pt>
                <c:pt idx="47">
                  <c:v>1.611307891578158</c:v>
                </c:pt>
                <c:pt idx="48">
                  <c:v>1.5964905032199004</c:v>
                </c:pt>
                <c:pt idx="49">
                  <c:v>1.642738223764854</c:v>
                </c:pt>
                <c:pt idx="50">
                  <c:v>1.49832312274686</c:v>
                </c:pt>
                <c:pt idx="51">
                  <c:v>1.482204923339281</c:v>
                </c:pt>
                <c:pt idx="52">
                  <c:v>1.4052979620332873</c:v>
                </c:pt>
                <c:pt idx="53">
                  <c:v>1.0553845698465039</c:v>
                </c:pt>
                <c:pt idx="54">
                  <c:v>1.5651855565541593</c:v>
                </c:pt>
              </c:numCache>
            </c:numRef>
          </c:xVal>
          <c:yVal>
            <c:numRef>
              <c:f>Sheet1!$B$187:$B$241</c:f>
              <c:numCache>
                <c:formatCode>General</c:formatCode>
                <c:ptCount val="55"/>
                <c:pt idx="0">
                  <c:v>0.1156759353069223</c:v>
                </c:pt>
                <c:pt idx="1">
                  <c:v>0.11138820576521141</c:v>
                </c:pt>
                <c:pt idx="2">
                  <c:v>0.11814529339212648</c:v>
                </c:pt>
                <c:pt idx="3">
                  <c:v>0.14362231527195726</c:v>
                </c:pt>
                <c:pt idx="4">
                  <c:v>0.1256297373186849</c:v>
                </c:pt>
                <c:pt idx="5">
                  <c:v>0.1343076523551744</c:v>
                </c:pt>
                <c:pt idx="6">
                  <c:v>0.13696118744453975</c:v>
                </c:pt>
                <c:pt idx="7">
                  <c:v>0.13925532888076708</c:v>
                </c:pt>
                <c:pt idx="8">
                  <c:v>0.12347574178921669</c:v>
                </c:pt>
                <c:pt idx="9">
                  <c:v>0.12421389493072688</c:v>
                </c:pt>
                <c:pt idx="10">
                  <c:v>0.12200367341678492</c:v>
                </c:pt>
                <c:pt idx="11">
                  <c:v>0.12718091259860756</c:v>
                </c:pt>
                <c:pt idx="12">
                  <c:v>0.11455603457770094</c:v>
                </c:pt>
                <c:pt idx="13">
                  <c:v>0.12541518701626062</c:v>
                </c:pt>
                <c:pt idx="14">
                  <c:v>0.1275867793235411</c:v>
                </c:pt>
                <c:pt idx="15">
                  <c:v>0.11413444599632122</c:v>
                </c:pt>
                <c:pt idx="16">
                  <c:v>0.11494259324173114</c:v>
                </c:pt>
                <c:pt idx="17">
                  <c:v>0.10382248249393997</c:v>
                </c:pt>
                <c:pt idx="18">
                  <c:v>0.14059778878140286</c:v>
                </c:pt>
                <c:pt idx="19">
                  <c:v>0.10246504760962849</c:v>
                </c:pt>
                <c:pt idx="20">
                  <c:v>0.0947308344093612</c:v>
                </c:pt>
                <c:pt idx="21">
                  <c:v>0.1055392248526835</c:v>
                </c:pt>
                <c:pt idx="22">
                  <c:v>0.1101785869062126</c:v>
                </c:pt>
                <c:pt idx="23">
                  <c:v>0.11862827534211973</c:v>
                </c:pt>
                <c:pt idx="24">
                  <c:v>0.1244465779893382</c:v>
                </c:pt>
                <c:pt idx="25">
                  <c:v>0.1137701392320565</c:v>
                </c:pt>
                <c:pt idx="26">
                  <c:v>0.114587448536104</c:v>
                </c:pt>
                <c:pt idx="27">
                  <c:v>0.12194548155095772</c:v>
                </c:pt>
                <c:pt idx="28">
                  <c:v>0.12791191444829839</c:v>
                </c:pt>
                <c:pt idx="29">
                  <c:v>0.13482989101727005</c:v>
                </c:pt>
                <c:pt idx="30">
                  <c:v>0.13251321822804613</c:v>
                </c:pt>
                <c:pt idx="31">
                  <c:v>0.14773013979456212</c:v>
                </c:pt>
                <c:pt idx="32">
                  <c:v>0.1468613714622427</c:v>
                </c:pt>
                <c:pt idx="33">
                  <c:v>0.1443393179648701</c:v>
                </c:pt>
                <c:pt idx="34">
                  <c:v>0.13821395450663587</c:v>
                </c:pt>
                <c:pt idx="35">
                  <c:v>0.14131778874570222</c:v>
                </c:pt>
                <c:pt idx="36">
                  <c:v>0.1443409026937258</c:v>
                </c:pt>
                <c:pt idx="37">
                  <c:v>0.1214510635723105</c:v>
                </c:pt>
                <c:pt idx="38">
                  <c:v>0.11592000328632898</c:v>
                </c:pt>
                <c:pt idx="39">
                  <c:v>0.11888281965993427</c:v>
                </c:pt>
                <c:pt idx="40">
                  <c:v>0.12023626960291442</c:v>
                </c:pt>
                <c:pt idx="41">
                  <c:v>0.10488675986734397</c:v>
                </c:pt>
                <c:pt idx="42">
                  <c:v>0.10350642437607308</c:v>
                </c:pt>
                <c:pt idx="43">
                  <c:v>0.09836436126045486</c:v>
                </c:pt>
                <c:pt idx="44">
                  <c:v>0.11235631804467333</c:v>
                </c:pt>
                <c:pt idx="45">
                  <c:v>0.11282670023035721</c:v>
                </c:pt>
                <c:pt idx="46">
                  <c:v>0.1120657269562938</c:v>
                </c:pt>
                <c:pt idx="47">
                  <c:v>0.11456451047720839</c:v>
                </c:pt>
                <c:pt idx="48">
                  <c:v>0.11644509362337177</c:v>
                </c:pt>
                <c:pt idx="49">
                  <c:v>0.11057545710562167</c:v>
                </c:pt>
                <c:pt idx="50">
                  <c:v>0.12890423397638318</c:v>
                </c:pt>
                <c:pt idx="51">
                  <c:v>0.13094991256828575</c:v>
                </c:pt>
                <c:pt idx="52">
                  <c:v>0.1407107376042369</c:v>
                </c:pt>
                <c:pt idx="53">
                  <c:v>0.18512080583306922</c:v>
                </c:pt>
                <c:pt idx="54">
                  <c:v>0.120418233401295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3.4876</c:v>
                </c:pt>
                <c:pt idx="1">
                  <c:v>843.1884</c:v>
                </c:pt>
                <c:pt idx="2">
                  <c:v>894.1503</c:v>
                </c:pt>
                <c:pt idx="3">
                  <c:v>897.8562</c:v>
                </c:pt>
                <c:pt idx="4">
                  <c:v>911.7173</c:v>
                </c:pt>
                <c:pt idx="5">
                  <c:v>931.7485</c:v>
                </c:pt>
                <c:pt idx="6">
                  <c:v>841.1659</c:v>
                </c:pt>
                <c:pt idx="7">
                  <c:v>854.4477</c:v>
                </c:pt>
                <c:pt idx="8">
                  <c:v>867.0329</c:v>
                </c:pt>
                <c:pt idx="9">
                  <c:v>822.8322</c:v>
                </c:pt>
                <c:pt idx="10">
                  <c:v>811.7078</c:v>
                </c:pt>
                <c:pt idx="11">
                  <c:v>863.8643</c:v>
                </c:pt>
                <c:pt idx="12">
                  <c:v>883.7506</c:v>
                </c:pt>
                <c:pt idx="13">
                  <c:v>870.6893</c:v>
                </c:pt>
                <c:pt idx="14">
                  <c:v>871.5246</c:v>
                </c:pt>
                <c:pt idx="15">
                  <c:v>876.9702</c:v>
                </c:pt>
                <c:pt idx="16">
                  <c:v>886.6871</c:v>
                </c:pt>
                <c:pt idx="17">
                  <c:v>896.3477</c:v>
                </c:pt>
                <c:pt idx="18">
                  <c:v>936.1</c:v>
                </c:pt>
                <c:pt idx="19">
                  <c:v>979.7482</c:v>
                </c:pt>
                <c:pt idx="20">
                  <c:v>978.5339</c:v>
                </c:pt>
                <c:pt idx="21">
                  <c:v>983.1955</c:v>
                </c:pt>
                <c:pt idx="22">
                  <c:v>962.2765</c:v>
                </c:pt>
                <c:pt idx="23">
                  <c:v>938.4754</c:v>
                </c:pt>
                <c:pt idx="24">
                  <c:v>925.0735</c:v>
                </c:pt>
                <c:pt idx="25">
                  <c:v>900.5114</c:v>
                </c:pt>
                <c:pt idx="26">
                  <c:v>890.132</c:v>
                </c:pt>
                <c:pt idx="27">
                  <c:v>937.6632</c:v>
                </c:pt>
                <c:pt idx="28">
                  <c:v>938.335</c:v>
                </c:pt>
                <c:pt idx="29">
                  <c:v>661.4229</c:v>
                </c:pt>
                <c:pt idx="30">
                  <c:v>732.4608</c:v>
                </c:pt>
                <c:pt idx="31">
                  <c:v>788.6473</c:v>
                </c:pt>
                <c:pt idx="32">
                  <c:v>806.0843</c:v>
                </c:pt>
                <c:pt idx="33">
                  <c:v>763.0899</c:v>
                </c:pt>
                <c:pt idx="34">
                  <c:v>881.101</c:v>
                </c:pt>
                <c:pt idx="35">
                  <c:v>932.6195</c:v>
                </c:pt>
                <c:pt idx="36">
                  <c:v>1004.9532</c:v>
                </c:pt>
                <c:pt idx="37">
                  <c:v>1040.2229</c:v>
                </c:pt>
                <c:pt idx="38">
                  <c:v>1085.119</c:v>
                </c:pt>
                <c:pt idx="39">
                  <c:v>1082.3675</c:v>
                </c:pt>
                <c:pt idx="40">
                  <c:v>1081.1327</c:v>
                </c:pt>
                <c:pt idx="41">
                  <c:v>1125.1694</c:v>
                </c:pt>
                <c:pt idx="42">
                  <c:v>1113.473</c:v>
                </c:pt>
                <c:pt idx="43">
                  <c:v>1127.5556</c:v>
                </c:pt>
                <c:pt idx="44">
                  <c:v>1000.3236</c:v>
                </c:pt>
                <c:pt idx="45">
                  <c:v>956.6681</c:v>
                </c:pt>
                <c:pt idx="46">
                  <c:v>966.2008</c:v>
                </c:pt>
                <c:pt idx="47">
                  <c:v>949.8938</c:v>
                </c:pt>
                <c:pt idx="48">
                  <c:v>966.6547</c:v>
                </c:pt>
                <c:pt idx="49">
                  <c:v>952.5241</c:v>
                </c:pt>
                <c:pt idx="50">
                  <c:v>937.6069</c:v>
                </c:pt>
                <c:pt idx="51">
                  <c:v>935.6059</c:v>
                </c:pt>
                <c:pt idx="52">
                  <c:v>954.699</c:v>
                </c:pt>
                <c:pt idx="53">
                  <c:v>1036.6104</c:v>
                </c:pt>
                <c:pt idx="54">
                  <c:v>1037.8654</c:v>
                </c:pt>
                <c:pt idx="55">
                  <c:v>1064.0</c:v>
                </c:pt>
                <c:pt idx="56">
                  <c:v>1092.3459</c:v>
                </c:pt>
                <c:pt idx="57">
                  <c:v>1064.8947</c:v>
                </c:pt>
                <c:pt idx="58">
                  <c:v>1010.5488</c:v>
                </c:pt>
                <c:pt idx="59">
                  <c:v>1017.9644</c:v>
                </c:pt>
                <c:pt idx="60">
                  <c:v>1037.0986</c:v>
                </c:pt>
                <c:pt idx="61">
                  <c:v>1050.5315</c:v>
                </c:pt>
                <c:pt idx="62">
                  <c:v>967.2847</c:v>
                </c:pt>
                <c:pt idx="63">
                  <c:v>1013.2507</c:v>
                </c:pt>
                <c:pt idx="64">
                  <c:v>1005.4656</c:v>
                </c:pt>
                <c:pt idx="65">
                  <c:v>1011.7016</c:v>
                </c:pt>
                <c:pt idx="66">
                  <c:v>1043.8164</c:v>
                </c:pt>
                <c:pt idx="67">
                  <c:v>1063.5902</c:v>
                </c:pt>
                <c:pt idx="68">
                  <c:v>1034.4815</c:v>
                </c:pt>
                <c:pt idx="69">
                  <c:v>1012.6383</c:v>
                </c:pt>
                <c:pt idx="70">
                  <c:v>998.0902</c:v>
                </c:pt>
                <c:pt idx="71">
                  <c:v>1082.6296</c:v>
                </c:pt>
                <c:pt idx="72">
                  <c:v>1199.6667</c:v>
                </c:pt>
                <c:pt idx="73">
                  <c:v>1149.0362</c:v>
                </c:pt>
                <c:pt idx="74">
                  <c:v>1126.131</c:v>
                </c:pt>
                <c:pt idx="75">
                  <c:v>1098.697</c:v>
                </c:pt>
                <c:pt idx="76">
                  <c:v>1157.3723</c:v>
                </c:pt>
                <c:pt idx="77">
                  <c:v>1131.8991</c:v>
                </c:pt>
                <c:pt idx="78">
                  <c:v>1088.0435</c:v>
                </c:pt>
                <c:pt idx="79">
                  <c:v>1161.1584</c:v>
                </c:pt>
                <c:pt idx="80">
                  <c:v>1135.7093</c:v>
                </c:pt>
                <c:pt idx="81">
                  <c:v>1080.2143</c:v>
                </c:pt>
                <c:pt idx="82">
                  <c:v>1113.4684</c:v>
                </c:pt>
                <c:pt idx="83">
                  <c:v>1172.2222</c:v>
                </c:pt>
                <c:pt idx="84">
                  <c:v>1043.043</c:v>
                </c:pt>
                <c:pt idx="85">
                  <c:v>1099.5948</c:v>
                </c:pt>
                <c:pt idx="86">
                  <c:v>1083.5843</c:v>
                </c:pt>
                <c:pt idx="87">
                  <c:v>1106.3333</c:v>
                </c:pt>
                <c:pt idx="88">
                  <c:v>1138.4887</c:v>
                </c:pt>
                <c:pt idx="89">
                  <c:v>1110.6486</c:v>
                </c:pt>
                <c:pt idx="90">
                  <c:v>1145.2342</c:v>
                </c:pt>
                <c:pt idx="91">
                  <c:v>1185.7623</c:v>
                </c:pt>
                <c:pt idx="92">
                  <c:v>1124.4286</c:v>
                </c:pt>
                <c:pt idx="93">
                  <c:v>1174.2357</c:v>
                </c:pt>
                <c:pt idx="94">
                  <c:v>1188.1014</c:v>
                </c:pt>
                <c:pt idx="95">
                  <c:v>1143.5098</c:v>
                </c:pt>
                <c:pt idx="96">
                  <c:v>1095.2754</c:v>
                </c:pt>
                <c:pt idx="97">
                  <c:v>1059.9971</c:v>
                </c:pt>
                <c:pt idx="98">
                  <c:v>1084.1521</c:v>
                </c:pt>
                <c:pt idx="99">
                  <c:v>1022.6959</c:v>
                </c:pt>
                <c:pt idx="100">
                  <c:v>1023.2972</c:v>
                </c:pt>
                <c:pt idx="101">
                  <c:v>1029.1674</c:v>
                </c:pt>
                <c:pt idx="102">
                  <c:v>1023.6926</c:v>
                </c:pt>
                <c:pt idx="103">
                  <c:v>1019.2305</c:v>
                </c:pt>
                <c:pt idx="104">
                  <c:v>1088.0</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5.1217213522967</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5.1217213522967</c:v>
                </c:pt>
                <c:pt idx="1">
                  <c:v>805.1217213522967</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8.8349983762436</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8.8349983762436</c:v>
                </c:pt>
                <c:pt idx="1">
                  <c:v>998.8349983762436</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7.349329584182</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7.349329584182</c:v>
                </c:pt>
                <c:pt idx="1">
                  <c:v>1087.349329584182</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pt idx="52">
                  <c:v>998.8349983762436</c:v>
                </c:pt>
                <c:pt idx="53">
                  <c:v>805.1217213522967</c:v>
                </c:pt>
                <c:pt idx="54">
                  <c:v>1087.349329584182</c:v>
                </c:pt>
              </c:numCache>
            </c:numRef>
          </c:xVal>
          <c:yVal>
            <c:numRef>
              <c:f>Sheet1!$B$187:$B$241</c:f>
              <c:numCache>
                <c:formatCode>General</c:formatCode>
                <c:ptCount val="55"/>
                <c:pt idx="0">
                  <c:v>0.11949882908102599</c:v>
                </c:pt>
                <c:pt idx="1">
                  <c:v>0.11618079674297194</c:v>
                </c:pt>
                <c:pt idx="2">
                  <c:v>0.11677149957736904</c:v>
                </c:pt>
                <c:pt idx="3">
                  <c:v>0.14564289727559177</c:v>
                </c:pt>
                <c:pt idx="4">
                  <c:v>0.12532534246907118</c:v>
                </c:pt>
                <c:pt idx="5">
                  <c:v>0.12802621574859963</c:v>
                </c:pt>
                <c:pt idx="6">
                  <c:v>0.14754898339906644</c:v>
                </c:pt>
                <c:pt idx="7">
                  <c:v>0.14210498482868475</c:v>
                </c:pt>
                <c:pt idx="8">
                  <c:v>0.11503522389767218</c:v>
                </c:pt>
                <c:pt idx="9">
                  <c:v>0.12780275923509854</c:v>
                </c:pt>
                <c:pt idx="10">
                  <c:v>0.12063433755683489</c:v>
                </c:pt>
                <c:pt idx="11">
                  <c:v>0.1606125349981452</c:v>
                </c:pt>
                <c:pt idx="12">
                  <c:v>0.14268289513876328</c:v>
                </c:pt>
                <c:pt idx="13">
                  <c:v>0.1276308396296051</c:v>
                </c:pt>
                <c:pt idx="14">
                  <c:v>0.12985236005791836</c:v>
                </c:pt>
                <c:pt idx="15">
                  <c:v>0.12207597251512864</c:v>
                </c:pt>
                <c:pt idx="16">
                  <c:v>0.10826295781121104</c:v>
                </c:pt>
                <c:pt idx="17">
                  <c:v>0.11308009976430944</c:v>
                </c:pt>
                <c:pt idx="18">
                  <c:v>0.14500746645742105</c:v>
                </c:pt>
                <c:pt idx="19">
                  <c:v>0.09552242891401291</c:v>
                </c:pt>
                <c:pt idx="20">
                  <c:v>0.08056734899243134</c:v>
                </c:pt>
                <c:pt idx="21">
                  <c:v>0.09899862545506732</c:v>
                </c:pt>
                <c:pt idx="22">
                  <c:v>0.10178934443854687</c:v>
                </c:pt>
                <c:pt idx="23">
                  <c:v>0.11376390374791434</c:v>
                </c:pt>
                <c:pt idx="24">
                  <c:v>0.11552775900960999</c:v>
                </c:pt>
                <c:pt idx="25">
                  <c:v>0.1182563264994913</c:v>
                </c:pt>
                <c:pt idx="26">
                  <c:v>0.10911006134808038</c:v>
                </c:pt>
                <c:pt idx="27">
                  <c:v>0.11659868587071354</c:v>
                </c:pt>
                <c:pt idx="28">
                  <c:v>0.1274766644933278</c:v>
                </c:pt>
                <c:pt idx="29">
                  <c:v>0.13001861702271883</c:v>
                </c:pt>
                <c:pt idx="30">
                  <c:v>0.13527884341579213</c:v>
                </c:pt>
                <c:pt idx="31">
                  <c:v>0.1458010156272504</c:v>
                </c:pt>
                <c:pt idx="32">
                  <c:v>0.14225464360781015</c:v>
                </c:pt>
                <c:pt idx="33">
                  <c:v>0.14061807167051774</c:v>
                </c:pt>
                <c:pt idx="34">
                  <c:v>0.13639408559859445</c:v>
                </c:pt>
                <c:pt idx="35">
                  <c:v>0.13186555491547303</c:v>
                </c:pt>
                <c:pt idx="36">
                  <c:v>0.13318747202073478</c:v>
                </c:pt>
                <c:pt idx="37">
                  <c:v>0.11318193559410028</c:v>
                </c:pt>
                <c:pt idx="38">
                  <c:v>0.10519596156865679</c:v>
                </c:pt>
                <c:pt idx="39">
                  <c:v>0.12232139182127713</c:v>
                </c:pt>
                <c:pt idx="40">
                  <c:v>0.10927322334731987</c:v>
                </c:pt>
                <c:pt idx="41">
                  <c:v>0.09035186481952406</c:v>
                </c:pt>
                <c:pt idx="42">
                  <c:v>0.08839804744939811</c:v>
                </c:pt>
                <c:pt idx="43">
                  <c:v>0.08788423731493766</c:v>
                </c:pt>
                <c:pt idx="44">
                  <c:v>0.10705096929754027</c:v>
                </c:pt>
                <c:pt idx="45">
                  <c:v>0.11796817374293078</c:v>
                </c:pt>
                <c:pt idx="46">
                  <c:v>0.116104706441514</c:v>
                </c:pt>
                <c:pt idx="47">
                  <c:v>0.1236470228852121</c:v>
                </c:pt>
                <c:pt idx="48">
                  <c:v>0.1198877630865196</c:v>
                </c:pt>
                <c:pt idx="49">
                  <c:v>0.1197615114173034</c:v>
                </c:pt>
                <c:pt idx="50">
                  <c:v>0.14686951236724688</c:v>
                </c:pt>
                <c:pt idx="51">
                  <c:v>0.15449818981293106</c:v>
                </c:pt>
                <c:pt idx="52">
                  <c:v>0.1407107376042369</c:v>
                </c:pt>
                <c:pt idx="53">
                  <c:v>0.18512080583306922</c:v>
                </c:pt>
                <c:pt idx="54">
                  <c:v>0.120418233401295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3.0"/>
          <c:min val="52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85850033536818</c:v>
                </c:pt>
                <c:pt idx="1">
                  <c:v>0.40789030927914843</c:v>
                </c:pt>
                <c:pt idx="2">
                  <c:v>0.45014174060789125</c:v>
                </c:pt>
                <c:pt idx="3">
                  <c:v>0.43730533325689813</c:v>
                </c:pt>
                <c:pt idx="4">
                  <c:v>0.5013331513604226</c:v>
                </c:pt>
                <c:pt idx="5">
                  <c:v>0.46520379828591035</c:v>
                </c:pt>
                <c:pt idx="6">
                  <c:v>0.40925889949168</c:v>
                </c:pt>
                <c:pt idx="7">
                  <c:v>0.34882686163083626</c:v>
                </c:pt>
                <c:pt idx="8">
                  <c:v>0.3792119024807215</c:v>
                </c:pt>
                <c:pt idx="9">
                  <c:v>0.3924222733370755</c:v>
                </c:pt>
                <c:pt idx="10">
                  <c:v>0.4499038510889653</c:v>
                </c:pt>
                <c:pt idx="11">
                  <c:v>0.40825034365286733</c:v>
                </c:pt>
                <c:pt idx="12">
                  <c:v>0.43828397916055944</c:v>
                </c:pt>
                <c:pt idx="13">
                  <c:v>0.38836001982725593</c:v>
                </c:pt>
                <c:pt idx="14">
                  <c:v>0.3590378945870602</c:v>
                </c:pt>
                <c:pt idx="15">
                  <c:v>0.34551323993022204</c:v>
                </c:pt>
                <c:pt idx="16">
                  <c:v>0.31980265072537684</c:v>
                </c:pt>
                <c:pt idx="17">
                  <c:v>0.34824045362791645</c:v>
                </c:pt>
                <c:pt idx="18">
                  <c:v>0.3281107606028742</c:v>
                </c:pt>
                <c:pt idx="19">
                  <c:v>0.3406634909596662</c:v>
                </c:pt>
                <c:pt idx="20">
                  <c:v>0.388841219794571</c:v>
                </c:pt>
                <c:pt idx="21">
                  <c:v>0.3778024592086178</c:v>
                </c:pt>
                <c:pt idx="22">
                  <c:v>0.33691844130293114</c:v>
                </c:pt>
                <c:pt idx="23">
                  <c:v>0.31599976173969885</c:v>
                </c:pt>
                <c:pt idx="24">
                  <c:v>0.3290952201383157</c:v>
                </c:pt>
                <c:pt idx="25">
                  <c:v>0.3077045615726801</c:v>
                </c:pt>
                <c:pt idx="26">
                  <c:v>0.2803057713957315</c:v>
                </c:pt>
                <c:pt idx="27">
                  <c:v>0.29478966716163846</c:v>
                </c:pt>
                <c:pt idx="28">
                  <c:v>0.3242468022209404</c:v>
                </c:pt>
                <c:pt idx="29">
                  <c:v>0.20677381184984878</c:v>
                </c:pt>
                <c:pt idx="30">
                  <c:v>0.21996763765027633</c:v>
                </c:pt>
                <c:pt idx="31">
                  <c:v>0.2644089543631902</c:v>
                </c:pt>
                <c:pt idx="32">
                  <c:v>0.2772876998993097</c:v>
                </c:pt>
                <c:pt idx="33">
                  <c:v>0.2729923820487192</c:v>
                </c:pt>
                <c:pt idx="34">
                  <c:v>0.3037710001591081</c:v>
                </c:pt>
                <c:pt idx="35">
                  <c:v>0.34507829331974066</c:v>
                </c:pt>
                <c:pt idx="36">
                  <c:v>0.2879607378625487</c:v>
                </c:pt>
                <c:pt idx="37">
                  <c:v>0.4023118148821618</c:v>
                </c:pt>
                <c:pt idx="38">
                  <c:v>0.36179129398887167</c:v>
                </c:pt>
                <c:pt idx="39">
                  <c:v>0.3865266905693798</c:v>
                </c:pt>
                <c:pt idx="40">
                  <c:v>0.3896272478120124</c:v>
                </c:pt>
                <c:pt idx="41">
                  <c:v>0.42963774619166295</c:v>
                </c:pt>
                <c:pt idx="42">
                  <c:v>0.4309455763495977</c:v>
                </c:pt>
                <c:pt idx="43">
                  <c:v>0.41365744036555313</c:v>
                </c:pt>
                <c:pt idx="44">
                  <c:v>0.41702738983616133</c:v>
                </c:pt>
                <c:pt idx="45">
                  <c:v>0.4248120254009383</c:v>
                </c:pt>
                <c:pt idx="46">
                  <c:v>0.447392028908669</c:v>
                </c:pt>
                <c:pt idx="47">
                  <c:v>0.4594351073299942</c:v>
                </c:pt>
                <c:pt idx="48">
                  <c:v>0.46256991810927656</c:v>
                </c:pt>
                <c:pt idx="49">
                  <c:v>0.40758928739533884</c:v>
                </c:pt>
                <c:pt idx="50">
                  <c:v>0.26205886023402053</c:v>
                </c:pt>
                <c:pt idx="51">
                  <c:v>0.22766022125776808</c:v>
                </c:pt>
                <c:pt idx="52">
                  <c:v>0.23228524492505964</c:v>
                </c:pt>
                <c:pt idx="53">
                  <c:v>0.2186019401096584</c:v>
                </c:pt>
                <c:pt idx="54">
                  <c:v>0.2010117781644582</c:v>
                </c:pt>
                <c:pt idx="55">
                  <c:v>0.2690026479063276</c:v>
                </c:pt>
                <c:pt idx="56">
                  <c:v>0.33015240141097274</c:v>
                </c:pt>
                <c:pt idx="57">
                  <c:v>0.48240525767721965</c:v>
                </c:pt>
                <c:pt idx="58">
                  <c:v>0.4314759230982651</c:v>
                </c:pt>
                <c:pt idx="59">
                  <c:v>0.3749453768723246</c:v>
                </c:pt>
                <c:pt idx="60">
                  <c:v>0.293128947572668</c:v>
                </c:pt>
                <c:pt idx="61">
                  <c:v>0.2889035779325866</c:v>
                </c:pt>
                <c:pt idx="62">
                  <c:v>0.37450700230375983</c:v>
                </c:pt>
                <c:pt idx="63">
                  <c:v>0.37095202203400407</c:v>
                </c:pt>
                <c:pt idx="64">
                  <c:v>0.361339991560419</c:v>
                </c:pt>
                <c:pt idx="65">
                  <c:v>0.3178586146884505</c:v>
                </c:pt>
                <c:pt idx="66">
                  <c:v>0.3860690085845929</c:v>
                </c:pt>
                <c:pt idx="67">
                  <c:v>0.37794011853911796</c:v>
                </c:pt>
                <c:pt idx="68">
                  <c:v>0.3512223401094937</c:v>
                </c:pt>
                <c:pt idx="69">
                  <c:v>0.368654050408604</c:v>
                </c:pt>
                <c:pt idx="70">
                  <c:v>0.3427837978750218</c:v>
                </c:pt>
                <c:pt idx="71">
                  <c:v>0.35710500453840144</c:v>
                </c:pt>
                <c:pt idx="72">
                  <c:v>0.3956184233042043</c:v>
                </c:pt>
                <c:pt idx="73">
                  <c:v>0.35452006869018743</c:v>
                </c:pt>
                <c:pt idx="74">
                  <c:v>0.3604933010625857</c:v>
                </c:pt>
                <c:pt idx="75">
                  <c:v>0.333100937166144</c:v>
                </c:pt>
                <c:pt idx="76">
                  <c:v>0.3684591483983884</c:v>
                </c:pt>
                <c:pt idx="77">
                  <c:v>0.36736517818685815</c:v>
                </c:pt>
                <c:pt idx="78">
                  <c:v>0.3573546761011536</c:v>
                </c:pt>
                <c:pt idx="79">
                  <c:v>0.3828298044273618</c:v>
                </c:pt>
                <c:pt idx="80">
                  <c:v>0.38510979099631737</c:v>
                </c:pt>
                <c:pt idx="81">
                  <c:v>0.3677520826809582</c:v>
                </c:pt>
                <c:pt idx="82">
                  <c:v>0.43510409247429876</c:v>
                </c:pt>
                <c:pt idx="83">
                  <c:v>0.34469714568409826</c:v>
                </c:pt>
                <c:pt idx="84">
                  <c:v>0.31843699857017604</c:v>
                </c:pt>
                <c:pt idx="85">
                  <c:v>0.3289596983273326</c:v>
                </c:pt>
                <c:pt idx="86">
                  <c:v>0.2881164954082297</c:v>
                </c:pt>
                <c:pt idx="87">
                  <c:v>0.3029719384625361</c:v>
                </c:pt>
                <c:pt idx="88">
                  <c:v>0.2921136710888523</c:v>
                </c:pt>
                <c:pt idx="89">
                  <c:v>0.27333390757357245</c:v>
                </c:pt>
                <c:pt idx="90">
                  <c:v>0.2784126083402216</c:v>
                </c:pt>
                <c:pt idx="91">
                  <c:v>0.2971469974143029</c:v>
                </c:pt>
                <c:pt idx="92">
                  <c:v>0.29296647693114425</c:v>
                </c:pt>
                <c:pt idx="93">
                  <c:v>0.31051142018983197</c:v>
                </c:pt>
                <c:pt idx="94">
                  <c:v>0.301002686625056</c:v>
                </c:pt>
                <c:pt idx="95">
                  <c:v>0.4044363761424832</c:v>
                </c:pt>
                <c:pt idx="96">
                  <c:v>0.3677248570665393</c:v>
                </c:pt>
                <c:pt idx="97">
                  <c:v>0.34390734513801774</c:v>
                </c:pt>
                <c:pt idx="98">
                  <c:v>0.39445360341027885</c:v>
                </c:pt>
                <c:pt idx="99">
                  <c:v>0.4096481970279939</c:v>
                </c:pt>
                <c:pt idx="100">
                  <c:v>0.3926058078041025</c:v>
                </c:pt>
                <c:pt idx="101">
                  <c:v>0.36832368904536583</c:v>
                </c:pt>
                <c:pt idx="102">
                  <c:v>0.346996926155151</c:v>
                </c:pt>
                <c:pt idx="103">
                  <c:v>0.3460594894179485</c:v>
                </c:pt>
                <c:pt idx="104">
                  <c:v>0.345086948272418</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3507224874540525</c:v>
                </c:pt>
                <c:pt idx="1">
                  <c:v>0.3657159534650297</c:v>
                </c:pt>
                <c:pt idx="2">
                  <c:v>0.3523705648584703</c:v>
                </c:pt>
                <c:pt idx="3">
                  <c:v>0.32373326510559725</c:v>
                </c:pt>
                <c:pt idx="4">
                  <c:v>0.3154372898523461</c:v>
                </c:pt>
                <c:pt idx="5">
                  <c:v>0.30223681538486813</c:v>
                </c:pt>
                <c:pt idx="6">
                  <c:v>0.3426169955099824</c:v>
                </c:pt>
                <c:pt idx="7">
                  <c:v>0.3481696527146303</c:v>
                </c:pt>
                <c:pt idx="8">
                  <c:v>0.32871302809368036</c:v>
                </c:pt>
                <c:pt idx="9">
                  <c:v>0.32919279830754106</c:v>
                </c:pt>
                <c:pt idx="10">
                  <c:v>0.3721845495032545</c:v>
                </c:pt>
                <c:pt idx="11">
                  <c:v>0.34186928647343007</c:v>
                </c:pt>
                <c:pt idx="12">
                  <c:v>0.42767595098620076</c:v>
                </c:pt>
                <c:pt idx="13">
                  <c:v>0.47341038034067</c:v>
                </c:pt>
                <c:pt idx="14">
                  <c:v>0.4547122903765312</c:v>
                </c:pt>
                <c:pt idx="15">
                  <c:v>0.37656388052840206</c:v>
                </c:pt>
                <c:pt idx="16">
                  <c:v>0.3936752002855084</c:v>
                </c:pt>
                <c:pt idx="17">
                  <c:v>0.3536824157554566</c:v>
                </c:pt>
                <c:pt idx="18">
                  <c:v>0.29151473398741046</c:v>
                </c:pt>
                <c:pt idx="19">
                  <c:v>0.3715748276358861</c:v>
                </c:pt>
                <c:pt idx="20">
                  <c:v>0.33279276779836237</c:v>
                </c:pt>
                <c:pt idx="21">
                  <c:v>0.31182570148040756</c:v>
                </c:pt>
                <c:pt idx="22">
                  <c:v>0.3346328363305164</c:v>
                </c:pt>
                <c:pt idx="23">
                  <c:v>0.32514284514340785</c:v>
                </c:pt>
                <c:pt idx="24">
                  <c:v>0.31860768237157794</c:v>
                </c:pt>
                <c:pt idx="25">
                  <c:v>0.2995926686920327</c:v>
                </c:pt>
                <c:pt idx="26">
                  <c:v>0.3131165592211574</c:v>
                </c:pt>
                <c:pt idx="27">
                  <c:v>0.3296474461136512</c:v>
                </c:pt>
                <c:pt idx="28">
                  <c:v>0.36542734632574764</c:v>
                </c:pt>
                <c:pt idx="29">
                  <c:v>0.3539229103303927</c:v>
                </c:pt>
                <c:pt idx="30">
                  <c:v>0.3412899459151452</c:v>
                </c:pt>
                <c:pt idx="31">
                  <c:v>0.24999914886312305</c:v>
                </c:pt>
                <c:pt idx="32">
                  <c:v>0.25650311003046</c:v>
                </c:pt>
                <c:pt idx="33">
                  <c:v>0.2528391608002329</c:v>
                </c:pt>
                <c:pt idx="34">
                  <c:v>0.270103096942583</c:v>
                </c:pt>
                <c:pt idx="35">
                  <c:v>0.2535016076830987</c:v>
                </c:pt>
                <c:pt idx="36">
                  <c:v>0.27434346367594925</c:v>
                </c:pt>
                <c:pt idx="37">
                  <c:v>0.2800289230423783</c:v>
                </c:pt>
                <c:pt idx="38">
                  <c:v>0.3110861846208444</c:v>
                </c:pt>
                <c:pt idx="39">
                  <c:v>0.30082558600118564</c:v>
                </c:pt>
                <c:pt idx="40">
                  <c:v>0.32393834020679113</c:v>
                </c:pt>
                <c:pt idx="41">
                  <c:v>0.3317234694035061</c:v>
                </c:pt>
                <c:pt idx="42">
                  <c:v>0.3309581406167961</c:v>
                </c:pt>
                <c:pt idx="43">
                  <c:v>0.34796296215569783</c:v>
                </c:pt>
                <c:pt idx="44">
                  <c:v>0.3756418648547909</c:v>
                </c:pt>
                <c:pt idx="45">
                  <c:v>0.3813413352631762</c:v>
                </c:pt>
                <c:pt idx="46">
                  <c:v>0.3655561702697618</c:v>
                </c:pt>
                <c:pt idx="47">
                  <c:v>0.3852056893111201</c:v>
                </c:pt>
                <c:pt idx="48">
                  <c:v>0.4078400150191399</c:v>
                </c:pt>
                <c:pt idx="49">
                  <c:v>0.43974077325545396</c:v>
                </c:pt>
                <c:pt idx="50">
                  <c:v>0.4105072995831326</c:v>
                </c:pt>
                <c:pt idx="51">
                  <c:v>0.3253229835711573</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637313663108633</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637313663108633</c:v>
                </c:pt>
                <c:pt idx="1">
                  <c:v>1.1637313663108633</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35425767861039</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35425767861039</c:v>
                </c:pt>
                <c:pt idx="1">
                  <c:v>0.5835425767861039</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1843414711053303</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1843414711053303</c:v>
                </c:pt>
                <c:pt idx="1">
                  <c:v>0.31843414711053303</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3507224874540525</c:v>
                </c:pt>
                <c:pt idx="1">
                  <c:v>0.3657159534650297</c:v>
                </c:pt>
                <c:pt idx="2">
                  <c:v>0.3523705648584703</c:v>
                </c:pt>
                <c:pt idx="3">
                  <c:v>0.32373326510559725</c:v>
                </c:pt>
                <c:pt idx="4">
                  <c:v>0.3154372898523461</c:v>
                </c:pt>
                <c:pt idx="5">
                  <c:v>0.30223681538486813</c:v>
                </c:pt>
                <c:pt idx="6">
                  <c:v>0.3426169955099824</c:v>
                </c:pt>
                <c:pt idx="7">
                  <c:v>0.3481696527146303</c:v>
                </c:pt>
                <c:pt idx="8">
                  <c:v>0.32871302809368036</c:v>
                </c:pt>
                <c:pt idx="9">
                  <c:v>0.32919279830754106</c:v>
                </c:pt>
                <c:pt idx="10">
                  <c:v>0.3721845495032545</c:v>
                </c:pt>
                <c:pt idx="11">
                  <c:v>0.34186928647343007</c:v>
                </c:pt>
                <c:pt idx="12">
                  <c:v>0.42767595098620076</c:v>
                </c:pt>
                <c:pt idx="13">
                  <c:v>0.47341038034067</c:v>
                </c:pt>
                <c:pt idx="14">
                  <c:v>0.4547122903765312</c:v>
                </c:pt>
                <c:pt idx="15">
                  <c:v>0.37656388052840206</c:v>
                </c:pt>
                <c:pt idx="16">
                  <c:v>0.3936752002855084</c:v>
                </c:pt>
                <c:pt idx="17">
                  <c:v>0.3536824157554566</c:v>
                </c:pt>
                <c:pt idx="18">
                  <c:v>0.29151473398741046</c:v>
                </c:pt>
                <c:pt idx="19">
                  <c:v>0.3715748276358861</c:v>
                </c:pt>
                <c:pt idx="20">
                  <c:v>0.33279276779836237</c:v>
                </c:pt>
                <c:pt idx="21">
                  <c:v>0.31182570148040756</c:v>
                </c:pt>
                <c:pt idx="22">
                  <c:v>0.3346328363305164</c:v>
                </c:pt>
                <c:pt idx="23">
                  <c:v>0.32514284514340785</c:v>
                </c:pt>
                <c:pt idx="24">
                  <c:v>0.31860768237157794</c:v>
                </c:pt>
                <c:pt idx="25">
                  <c:v>0.2995926686920327</c:v>
                </c:pt>
                <c:pt idx="26">
                  <c:v>0.3131165592211574</c:v>
                </c:pt>
                <c:pt idx="27">
                  <c:v>0.3296474461136512</c:v>
                </c:pt>
                <c:pt idx="28">
                  <c:v>0.36542734632574764</c:v>
                </c:pt>
                <c:pt idx="29">
                  <c:v>0.3539229103303927</c:v>
                </c:pt>
                <c:pt idx="30">
                  <c:v>0.3412899459151452</c:v>
                </c:pt>
                <c:pt idx="31">
                  <c:v>0.24999914886312305</c:v>
                </c:pt>
                <c:pt idx="32">
                  <c:v>0.25650311003046</c:v>
                </c:pt>
                <c:pt idx="33">
                  <c:v>0.2528391608002329</c:v>
                </c:pt>
                <c:pt idx="34">
                  <c:v>0.270103096942583</c:v>
                </c:pt>
                <c:pt idx="35">
                  <c:v>0.2535016076830987</c:v>
                </c:pt>
                <c:pt idx="36">
                  <c:v>0.27434346367594925</c:v>
                </c:pt>
                <c:pt idx="37">
                  <c:v>0.2800289230423783</c:v>
                </c:pt>
                <c:pt idx="38">
                  <c:v>0.3110861846208444</c:v>
                </c:pt>
                <c:pt idx="39">
                  <c:v>0.30082558600118564</c:v>
                </c:pt>
                <c:pt idx="40">
                  <c:v>0.32393834020679113</c:v>
                </c:pt>
                <c:pt idx="41">
                  <c:v>0.3317234694035061</c:v>
                </c:pt>
                <c:pt idx="42">
                  <c:v>0.3309581406167961</c:v>
                </c:pt>
                <c:pt idx="43">
                  <c:v>0.34796296215569783</c:v>
                </c:pt>
                <c:pt idx="44">
                  <c:v>0.3756418648547909</c:v>
                </c:pt>
                <c:pt idx="45">
                  <c:v>0.3813413352631762</c:v>
                </c:pt>
                <c:pt idx="46">
                  <c:v>0.3655561702697618</c:v>
                </c:pt>
                <c:pt idx="47">
                  <c:v>0.3852056893111201</c:v>
                </c:pt>
                <c:pt idx="48">
                  <c:v>0.4078400150191399</c:v>
                </c:pt>
                <c:pt idx="49">
                  <c:v>0.43974077325545396</c:v>
                </c:pt>
                <c:pt idx="50">
                  <c:v>0.4105072995831326</c:v>
                </c:pt>
                <c:pt idx="51">
                  <c:v>0.3253229835711573</c:v>
                </c:pt>
                <c:pt idx="52">
                  <c:v>0.5835425767861039</c:v>
                </c:pt>
                <c:pt idx="53">
                  <c:v>1.1637313663108633</c:v>
                </c:pt>
                <c:pt idx="54">
                  <c:v>0.31843414711053303</c:v>
                </c:pt>
              </c:numCache>
            </c:numRef>
          </c:xVal>
          <c:yVal>
            <c:numRef>
              <c:f>Sheet1!$B$187:$B$241</c:f>
              <c:numCache>
                <c:formatCode>General</c:formatCode>
                <c:ptCount val="55"/>
                <c:pt idx="0">
                  <c:v>0.12169178304951972</c:v>
                </c:pt>
                <c:pt idx="1">
                  <c:v>0.12403737993445339</c:v>
                </c:pt>
                <c:pt idx="2">
                  <c:v>0.12301586826573768</c:v>
                </c:pt>
                <c:pt idx="3">
                  <c:v>0.12082384997983397</c:v>
                </c:pt>
                <c:pt idx="4">
                  <c:v>0.12018884145558556</c:v>
                </c:pt>
                <c:pt idx="5">
                  <c:v>0.1191784221190902</c:v>
                </c:pt>
                <c:pt idx="6">
                  <c:v>0.12226928941405771</c:v>
                </c:pt>
                <c:pt idx="7">
                  <c:v>0.12269431294047178</c:v>
                </c:pt>
                <c:pt idx="8">
                  <c:v>0.121205021795038</c:v>
                </c:pt>
                <c:pt idx="9">
                  <c:v>0.12124174540693193</c:v>
                </c:pt>
                <c:pt idx="10">
                  <c:v>0.12453251323690419</c:v>
                </c:pt>
                <c:pt idx="11">
                  <c:v>0.12221205664788205</c:v>
                </c:pt>
                <c:pt idx="12">
                  <c:v>0.12878005639951817</c:v>
                </c:pt>
                <c:pt idx="13">
                  <c:v>0.1322807602474887</c:v>
                </c:pt>
                <c:pt idx="14">
                  <c:v>0.1308495305063273</c:v>
                </c:pt>
                <c:pt idx="15">
                  <c:v>0.12486772548701117</c:v>
                </c:pt>
                <c:pt idx="16">
                  <c:v>0.12617749722272656</c:v>
                </c:pt>
                <c:pt idx="17">
                  <c:v>0.12311628280130453</c:v>
                </c:pt>
                <c:pt idx="18">
                  <c:v>0.11835770931833749</c:v>
                </c:pt>
                <c:pt idx="19">
                  <c:v>0.12448584258380069</c:v>
                </c:pt>
                <c:pt idx="20">
                  <c:v>0.12151730207675322</c:v>
                </c:pt>
                <c:pt idx="21">
                  <c:v>0.11991239542817503</c:v>
                </c:pt>
                <c:pt idx="22">
                  <c:v>0.12165814859177401</c:v>
                </c:pt>
                <c:pt idx="23">
                  <c:v>0.12093174511118328</c:v>
                </c:pt>
                <c:pt idx="24">
                  <c:v>0.12043151651348627</c:v>
                </c:pt>
                <c:pt idx="25">
                  <c:v>0.11897602811018139</c:v>
                </c:pt>
                <c:pt idx="26">
                  <c:v>0.12001120306006217</c:v>
                </c:pt>
                <c:pt idx="27">
                  <c:v>0.12127654604502419</c:v>
                </c:pt>
                <c:pt idx="28">
                  <c:v>0.12401528874107245</c:v>
                </c:pt>
                <c:pt idx="29">
                  <c:v>0.12313469125847297</c:v>
                </c:pt>
                <c:pt idx="30">
                  <c:v>0.12216771150680783</c:v>
                </c:pt>
                <c:pt idx="31">
                  <c:v>0.115179933392264</c:v>
                </c:pt>
                <c:pt idx="32">
                  <c:v>0.11567777368910204</c:v>
                </c:pt>
                <c:pt idx="33">
                  <c:v>0.11539731974335338</c:v>
                </c:pt>
                <c:pt idx="34">
                  <c:v>0.11671877337331403</c:v>
                </c:pt>
                <c:pt idx="35">
                  <c:v>0.1154480261889056</c:v>
                </c:pt>
                <c:pt idx="36">
                  <c:v>0.11704334871731252</c:v>
                </c:pt>
                <c:pt idx="37">
                  <c:v>0.11747853747472058</c:v>
                </c:pt>
                <c:pt idx="38">
                  <c:v>0.11985578972537185</c:v>
                </c:pt>
                <c:pt idx="39">
                  <c:v>0.11907040073993323</c:v>
                </c:pt>
                <c:pt idx="40">
                  <c:v>0.12083954728285065</c:v>
                </c:pt>
                <c:pt idx="41">
                  <c:v>0.12143545352067987</c:v>
                </c:pt>
                <c:pt idx="42">
                  <c:v>0.12137687206538647</c:v>
                </c:pt>
                <c:pt idx="43">
                  <c:v>0.12267849198358641</c:v>
                </c:pt>
                <c:pt idx="44">
                  <c:v>0.12479715056430943</c:v>
                </c:pt>
                <c:pt idx="45">
                  <c:v>0.1252334117852681</c:v>
                </c:pt>
                <c:pt idx="46">
                  <c:v>0.12402514946269699</c:v>
                </c:pt>
                <c:pt idx="47">
                  <c:v>0.12552920555106997</c:v>
                </c:pt>
                <c:pt idx="48">
                  <c:v>0.12726173118264955</c:v>
                </c:pt>
                <c:pt idx="49">
                  <c:v>0.12970354818326177</c:v>
                </c:pt>
                <c:pt idx="50">
                  <c:v>0.12746589626065744</c:v>
                </c:pt>
                <c:pt idx="51">
                  <c:v>0.12094553365727626</c:v>
                </c:pt>
                <c:pt idx="52">
                  <c:v>0.1407107376042369</c:v>
                </c:pt>
                <c:pt idx="53">
                  <c:v>0.18512080583306922</c:v>
                </c:pt>
                <c:pt idx="54">
                  <c:v>0.120418233401295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3.4876</c:v>
                </c:pt>
                <c:pt idx="1">
                  <c:v>843.1884</c:v>
                </c:pt>
                <c:pt idx="2">
                  <c:v>894.1503</c:v>
                </c:pt>
                <c:pt idx="3">
                  <c:v>897.8562</c:v>
                </c:pt>
                <c:pt idx="4">
                  <c:v>911.7173</c:v>
                </c:pt>
                <c:pt idx="5">
                  <c:v>931.7485</c:v>
                </c:pt>
                <c:pt idx="6">
                  <c:v>841.1659</c:v>
                </c:pt>
                <c:pt idx="7">
                  <c:v>854.4477</c:v>
                </c:pt>
                <c:pt idx="8">
                  <c:v>867.0329</c:v>
                </c:pt>
                <c:pt idx="9">
                  <c:v>822.8322</c:v>
                </c:pt>
                <c:pt idx="10">
                  <c:v>811.7078</c:v>
                </c:pt>
                <c:pt idx="11">
                  <c:v>863.8643</c:v>
                </c:pt>
                <c:pt idx="12">
                  <c:v>883.7506</c:v>
                </c:pt>
                <c:pt idx="13">
                  <c:v>870.6893</c:v>
                </c:pt>
                <c:pt idx="14">
                  <c:v>871.5246</c:v>
                </c:pt>
                <c:pt idx="15">
                  <c:v>876.9702</c:v>
                </c:pt>
                <c:pt idx="16">
                  <c:v>886.6871</c:v>
                </c:pt>
                <c:pt idx="17">
                  <c:v>896.3477</c:v>
                </c:pt>
                <c:pt idx="18">
                  <c:v>936.1</c:v>
                </c:pt>
                <c:pt idx="19">
                  <c:v>979.7482</c:v>
                </c:pt>
                <c:pt idx="20">
                  <c:v>978.5339</c:v>
                </c:pt>
                <c:pt idx="21">
                  <c:v>983.1955</c:v>
                </c:pt>
                <c:pt idx="22">
                  <c:v>962.2765</c:v>
                </c:pt>
                <c:pt idx="23">
                  <c:v>938.4754</c:v>
                </c:pt>
                <c:pt idx="24">
                  <c:v>925.0735</c:v>
                </c:pt>
                <c:pt idx="25">
                  <c:v>900.5114</c:v>
                </c:pt>
                <c:pt idx="26">
                  <c:v>890.132</c:v>
                </c:pt>
                <c:pt idx="27">
                  <c:v>937.6632</c:v>
                </c:pt>
                <c:pt idx="28">
                  <c:v>938.335</c:v>
                </c:pt>
                <c:pt idx="29">
                  <c:v>661.4229</c:v>
                </c:pt>
                <c:pt idx="30">
                  <c:v>732.4608</c:v>
                </c:pt>
                <c:pt idx="31">
                  <c:v>788.6473</c:v>
                </c:pt>
                <c:pt idx="32">
                  <c:v>806.0843</c:v>
                </c:pt>
                <c:pt idx="33">
                  <c:v>763.0899</c:v>
                </c:pt>
                <c:pt idx="34">
                  <c:v>881.101</c:v>
                </c:pt>
                <c:pt idx="35">
                  <c:v>932.6195</c:v>
                </c:pt>
                <c:pt idx="36">
                  <c:v>1004.9532</c:v>
                </c:pt>
                <c:pt idx="37">
                  <c:v>1040.2229</c:v>
                </c:pt>
                <c:pt idx="38">
                  <c:v>1085.119</c:v>
                </c:pt>
                <c:pt idx="39">
                  <c:v>1082.3675</c:v>
                </c:pt>
                <c:pt idx="40">
                  <c:v>1081.1327</c:v>
                </c:pt>
                <c:pt idx="41">
                  <c:v>1125.1694</c:v>
                </c:pt>
                <c:pt idx="42">
                  <c:v>1113.473</c:v>
                </c:pt>
                <c:pt idx="43">
                  <c:v>1127.5556</c:v>
                </c:pt>
                <c:pt idx="44">
                  <c:v>1000.3236</c:v>
                </c:pt>
                <c:pt idx="45">
                  <c:v>956.6681</c:v>
                </c:pt>
                <c:pt idx="46">
                  <c:v>966.2008</c:v>
                </c:pt>
                <c:pt idx="47">
                  <c:v>949.8938</c:v>
                </c:pt>
                <c:pt idx="48">
                  <c:v>966.6547</c:v>
                </c:pt>
                <c:pt idx="49">
                  <c:v>952.5241</c:v>
                </c:pt>
                <c:pt idx="50">
                  <c:v>937.6069</c:v>
                </c:pt>
                <c:pt idx="51">
                  <c:v>935.6059</c:v>
                </c:pt>
                <c:pt idx="52">
                  <c:v>954.699</c:v>
                </c:pt>
                <c:pt idx="53">
                  <c:v>1036.6104</c:v>
                </c:pt>
                <c:pt idx="54">
                  <c:v>1037.8654</c:v>
                </c:pt>
                <c:pt idx="55">
                  <c:v>1064.0</c:v>
                </c:pt>
                <c:pt idx="56">
                  <c:v>1092.3459</c:v>
                </c:pt>
                <c:pt idx="57">
                  <c:v>1064.8947</c:v>
                </c:pt>
                <c:pt idx="58">
                  <c:v>1010.5488</c:v>
                </c:pt>
                <c:pt idx="59">
                  <c:v>1017.9644</c:v>
                </c:pt>
                <c:pt idx="60">
                  <c:v>1037.0986</c:v>
                </c:pt>
                <c:pt idx="61">
                  <c:v>1050.5315</c:v>
                </c:pt>
                <c:pt idx="62">
                  <c:v>967.2847</c:v>
                </c:pt>
                <c:pt idx="63">
                  <c:v>1013.2507</c:v>
                </c:pt>
                <c:pt idx="64">
                  <c:v>1005.4656</c:v>
                </c:pt>
                <c:pt idx="65">
                  <c:v>1011.7016</c:v>
                </c:pt>
                <c:pt idx="66">
                  <c:v>1043.8164</c:v>
                </c:pt>
                <c:pt idx="67">
                  <c:v>1063.5902</c:v>
                </c:pt>
                <c:pt idx="68">
                  <c:v>1034.4815</c:v>
                </c:pt>
                <c:pt idx="69">
                  <c:v>1012.6383</c:v>
                </c:pt>
                <c:pt idx="70">
                  <c:v>998.0902</c:v>
                </c:pt>
                <c:pt idx="71">
                  <c:v>1082.6296</c:v>
                </c:pt>
                <c:pt idx="72">
                  <c:v>1199.6667</c:v>
                </c:pt>
                <c:pt idx="73">
                  <c:v>1149.0362</c:v>
                </c:pt>
                <c:pt idx="74">
                  <c:v>1126.131</c:v>
                </c:pt>
                <c:pt idx="75">
                  <c:v>1098.697</c:v>
                </c:pt>
                <c:pt idx="76">
                  <c:v>1157.3723</c:v>
                </c:pt>
                <c:pt idx="77">
                  <c:v>1131.8991</c:v>
                </c:pt>
                <c:pt idx="78">
                  <c:v>1088.0435</c:v>
                </c:pt>
                <c:pt idx="79">
                  <c:v>1161.1584</c:v>
                </c:pt>
                <c:pt idx="80">
                  <c:v>1135.7093</c:v>
                </c:pt>
                <c:pt idx="81">
                  <c:v>1080.2143</c:v>
                </c:pt>
                <c:pt idx="82">
                  <c:v>1113.4684</c:v>
                </c:pt>
                <c:pt idx="83">
                  <c:v>1172.2222</c:v>
                </c:pt>
                <c:pt idx="84">
                  <c:v>1043.043</c:v>
                </c:pt>
                <c:pt idx="85">
                  <c:v>1099.5948</c:v>
                </c:pt>
                <c:pt idx="86">
                  <c:v>1083.5843</c:v>
                </c:pt>
                <c:pt idx="87">
                  <c:v>1106.3333</c:v>
                </c:pt>
                <c:pt idx="88">
                  <c:v>1138.4887</c:v>
                </c:pt>
                <c:pt idx="89">
                  <c:v>1110.6486</c:v>
                </c:pt>
                <c:pt idx="90">
                  <c:v>1145.2342</c:v>
                </c:pt>
                <c:pt idx="91">
                  <c:v>1185.7623</c:v>
                </c:pt>
                <c:pt idx="92">
                  <c:v>1124.4286</c:v>
                </c:pt>
                <c:pt idx="93">
                  <c:v>1174.2357</c:v>
                </c:pt>
                <c:pt idx="94">
                  <c:v>1188.1014</c:v>
                </c:pt>
                <c:pt idx="95">
                  <c:v>1143.5098</c:v>
                </c:pt>
                <c:pt idx="96">
                  <c:v>1095.2754</c:v>
                </c:pt>
                <c:pt idx="97">
                  <c:v>1059.9971</c:v>
                </c:pt>
                <c:pt idx="98">
                  <c:v>1084.1521</c:v>
                </c:pt>
                <c:pt idx="99">
                  <c:v>1022.6959</c:v>
                </c:pt>
                <c:pt idx="100">
                  <c:v>1023.2972</c:v>
                </c:pt>
                <c:pt idx="101">
                  <c:v>1029.1674</c:v>
                </c:pt>
                <c:pt idx="102">
                  <c:v>1023.6926</c:v>
                </c:pt>
                <c:pt idx="103">
                  <c:v>1019.2305</c:v>
                </c:pt>
                <c:pt idx="104">
                  <c:v>1088.0</c:v>
                </c:pt>
              </c:numCache>
            </c:numRef>
          </c:xVal>
          <c:yVal>
            <c:numRef>
              <c:f>Sheet1!$B$2:$B$106</c:f>
              <c:numCache>
                <c:formatCode>General</c:formatCode>
                <c:ptCount val="105"/>
                <c:pt idx="0">
                  <c:v>0.17501088376142795</c:v>
                </c:pt>
                <c:pt idx="1">
                  <c:v>0.15875109938434476</c:v>
                </c:pt>
                <c:pt idx="2">
                  <c:v>0.12528823981552653</c:v>
                </c:pt>
                <c:pt idx="3">
                  <c:v>0.1275531471446436</c:v>
                </c:pt>
                <c:pt idx="4">
                  <c:v>0.12036566785170137</c:v>
                </c:pt>
                <c:pt idx="5">
                  <c:v>0.09636468551644548</c:v>
                </c:pt>
                <c:pt idx="6">
                  <c:v>0.13337670787247885</c:v>
                </c:pt>
                <c:pt idx="7">
                  <c:v>0.13915857605177995</c:v>
                </c:pt>
                <c:pt idx="8">
                  <c:v>0.1491658488714426</c:v>
                </c:pt>
                <c:pt idx="9">
                  <c:v>0.17892156862745098</c:v>
                </c:pt>
                <c:pt idx="10">
                  <c:v>0.18757612667478685</c:v>
                </c:pt>
                <c:pt idx="11">
                  <c:v>0.1728395061728395</c:v>
                </c:pt>
                <c:pt idx="12">
                  <c:v>0.20926517571884984</c:v>
                </c:pt>
                <c:pt idx="13">
                  <c:v>0.2228398180899444</c:v>
                </c:pt>
                <c:pt idx="14">
                  <c:v>0.2222222222222222</c:v>
                </c:pt>
                <c:pt idx="15">
                  <c:v>0.2098976109215017</c:v>
                </c:pt>
                <c:pt idx="16">
                  <c:v>0.21754385964912282</c:v>
                </c:pt>
                <c:pt idx="17">
                  <c:v>0.17655172413793102</c:v>
                </c:pt>
                <c:pt idx="18">
                  <c:v>0.1437216338880484</c:v>
                </c:pt>
                <c:pt idx="19">
                  <c:v>0.1315042573320719</c:v>
                </c:pt>
                <c:pt idx="20">
                  <c:v>0.1664156626506024</c:v>
                </c:pt>
                <c:pt idx="21">
                  <c:v>0.134479271991911</c:v>
                </c:pt>
                <c:pt idx="22">
                  <c:v>0.14925373134328357</c:v>
                </c:pt>
                <c:pt idx="23">
                  <c:v>0.16339285714285715</c:v>
                </c:pt>
                <c:pt idx="24">
                  <c:v>0.15765069551777433</c:v>
                </c:pt>
                <c:pt idx="25">
                  <c:v>0.1665089877010407</c:v>
                </c:pt>
                <c:pt idx="26">
                  <c:v>0.19200779727095516</c:v>
                </c:pt>
                <c:pt idx="27">
                  <c:v>0.16666666666666666</c:v>
                </c:pt>
                <c:pt idx="28">
                  <c:v>0.1682322801024765</c:v>
                </c:pt>
                <c:pt idx="29">
                  <c:v>0.23224950232249503</c:v>
                </c:pt>
                <c:pt idx="30">
                  <c:v>0.18923933209647495</c:v>
                </c:pt>
                <c:pt idx="31">
                  <c:v>0.18482142857142858</c:v>
                </c:pt>
                <c:pt idx="32">
                  <c:v>0.20510708401976935</c:v>
                </c:pt>
                <c:pt idx="33">
                  <c:v>0.22867513611615245</c:v>
                </c:pt>
                <c:pt idx="34">
                  <c:v>0.20276497695852536</c:v>
                </c:pt>
                <c:pt idx="35">
                  <c:v>0.20260416666666667</c:v>
                </c:pt>
                <c:pt idx="36">
                  <c:v>0.152300712896954</c:v>
                </c:pt>
                <c:pt idx="37">
                  <c:v>0.1205837173579109</c:v>
                </c:pt>
                <c:pt idx="38">
                  <c:v>0.1291314373558801</c:v>
                </c:pt>
                <c:pt idx="39">
                  <c:v>0.12490594431903687</c:v>
                </c:pt>
                <c:pt idx="40">
                  <c:v>0.11652794292508918</c:v>
                </c:pt>
                <c:pt idx="41">
                  <c:v>0.08498971898560657</c:v>
                </c:pt>
                <c:pt idx="42">
                  <c:v>0.08793820558526441</c:v>
                </c:pt>
                <c:pt idx="43">
                  <c:v>0.11004784688995216</c:v>
                </c:pt>
                <c:pt idx="44">
                  <c:v>0.1347872720772256</c:v>
                </c:pt>
                <c:pt idx="45">
                  <c:v>0.1596045197740113</c:v>
                </c:pt>
                <c:pt idx="46">
                  <c:v>0.1667203089797232</c:v>
                </c:pt>
                <c:pt idx="47">
                  <c:v>0.15275430888813787</c:v>
                </c:pt>
                <c:pt idx="48">
                  <c:v>0.16050863723608444</c:v>
                </c:pt>
                <c:pt idx="49">
                  <c:v>0.18887015177065766</c:v>
                </c:pt>
                <c:pt idx="50">
                  <c:v>0.14328922495274102</c:v>
                </c:pt>
                <c:pt idx="51">
                  <c:v>0.11597051597051597</c:v>
                </c:pt>
                <c:pt idx="52">
                  <c:v>0.1469265367316342</c:v>
                </c:pt>
                <c:pt idx="53">
                  <c:v>0.11745283018867925</c:v>
                </c:pt>
                <c:pt idx="54">
                  <c:v>0.1087866108786611</c:v>
                </c:pt>
                <c:pt idx="55">
                  <c:v>0.09247311827956989</c:v>
                </c:pt>
                <c:pt idx="56">
                  <c:v>0.09320046893317702</c:v>
                </c:pt>
                <c:pt idx="57">
                  <c:v>0.09605662285136501</c:v>
                </c:pt>
                <c:pt idx="58">
                  <c:v>0.11484593837535013</c:v>
                </c:pt>
                <c:pt idx="59">
                  <c:v>0.12088588126730238</c:v>
                </c:pt>
                <c:pt idx="60">
                  <c:v>0.12637949448202207</c:v>
                </c:pt>
                <c:pt idx="61">
                  <c:v>0.11647429171038824</c:v>
                </c:pt>
                <c:pt idx="62">
                  <c:v>0.13588007736943908</c:v>
                </c:pt>
                <c:pt idx="63">
                  <c:v>0.15574151557415156</c:v>
                </c:pt>
                <c:pt idx="64">
                  <c:v>0.16828929068150209</c:v>
                </c:pt>
                <c:pt idx="65">
                  <c:v>0.1487954652810581</c:v>
                </c:pt>
                <c:pt idx="66">
                  <c:v>0.14980353634577603</c:v>
                </c:pt>
                <c:pt idx="67">
                  <c:v>0.13214108296075508</c:v>
                </c:pt>
                <c:pt idx="68">
                  <c:v>0.11797752808988764</c:v>
                </c:pt>
                <c:pt idx="69">
                  <c:v>0.10788064269319052</c:v>
                </c:pt>
                <c:pt idx="70">
                  <c:v>0.0981549815498155</c:v>
                </c:pt>
                <c:pt idx="71">
                  <c:v>0.11203319502074689</c:v>
                </c:pt>
                <c:pt idx="72">
                  <c:v>0.09170305676855896</c:v>
                </c:pt>
                <c:pt idx="73">
                  <c:v>0.10952380952380952</c:v>
                </c:pt>
                <c:pt idx="74">
                  <c:v>0.10006901311249138</c:v>
                </c:pt>
                <c:pt idx="75">
                  <c:v>0.11205432937181664</c:v>
                </c:pt>
                <c:pt idx="76">
                  <c:v>0.09170731707317073</c:v>
                </c:pt>
                <c:pt idx="77">
                  <c:v>0.09927140255009108</c:v>
                </c:pt>
                <c:pt idx="78">
                  <c:v>0.07379679144385026</c:v>
                </c:pt>
                <c:pt idx="79">
                  <c:v>0.08437761069340016</c:v>
                </c:pt>
                <c:pt idx="80">
                  <c:v>0.07049180327868852</c:v>
                </c:pt>
                <c:pt idx="81">
                  <c:v>0.09198423127463863</c:v>
                </c:pt>
                <c:pt idx="82">
                  <c:v>0.07431796801505174</c:v>
                </c:pt>
                <c:pt idx="83">
                  <c:v>0.07324516785350967</c:v>
                </c:pt>
                <c:pt idx="84">
                  <c:v>0.09244532803180915</c:v>
                </c:pt>
                <c:pt idx="85">
                  <c:v>0.09957081545064378</c:v>
                </c:pt>
                <c:pt idx="86">
                  <c:v>0.11461687057308435</c:v>
                </c:pt>
                <c:pt idx="87">
                  <c:v>0.1348112642300779</c:v>
                </c:pt>
                <c:pt idx="88">
                  <c:v>0.10674157303370786</c:v>
                </c:pt>
                <c:pt idx="89">
                  <c:v>0.09779735682819383</c:v>
                </c:pt>
                <c:pt idx="90">
                  <c:v>0.09446808510638298</c:v>
                </c:pt>
                <c:pt idx="91">
                  <c:v>0.09983633387888707</c:v>
                </c:pt>
                <c:pt idx="92">
                  <c:v>0.11764705882352941</c:v>
                </c:pt>
                <c:pt idx="93">
                  <c:v>0.09742519137091162</c:v>
                </c:pt>
                <c:pt idx="94">
                  <c:v>0.11138014527845036</c:v>
                </c:pt>
                <c:pt idx="95">
                  <c:v>0.11826086956521739</c:v>
                </c:pt>
                <c:pt idx="96">
                  <c:v>0.11739799846035412</c:v>
                </c:pt>
                <c:pt idx="97">
                  <c:v>0.12725225225225226</c:v>
                </c:pt>
                <c:pt idx="98">
                  <c:v>0.15391820168591944</c:v>
                </c:pt>
                <c:pt idx="99">
                  <c:v>0.15783981215757892</c:v>
                </c:pt>
                <c:pt idx="100">
                  <c:v>0.18327539590575512</c:v>
                </c:pt>
                <c:pt idx="101">
                  <c:v>0.15965263861055445</c:v>
                </c:pt>
                <c:pt idx="102">
                  <c:v>0.12469674915089762</c:v>
                </c:pt>
                <c:pt idx="103">
                  <c:v>0.11879350348027842</c:v>
                </c:pt>
                <c:pt idx="104">
                  <c:v>0.117324561403508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numCache>
            </c:numRef>
          </c:xVal>
          <c:yVal>
            <c:numRef>
              <c:f>Sheet1!$B$109:$B$160</c:f>
              <c:numCache>
                <c:formatCode>General</c:formatCode>
                <c:ptCount val="52"/>
                <c:pt idx="0">
                  <c:v>0.1223996129656507</c:v>
                </c:pt>
                <c:pt idx="1">
                  <c:v>0.12562562562562563</c:v>
                </c:pt>
                <c:pt idx="2">
                  <c:v>0.12942779291553133</c:v>
                </c:pt>
                <c:pt idx="3">
                  <c:v>0.14762826718296224</c:v>
                </c:pt>
                <c:pt idx="4">
                  <c:v>0.11758844045839562</c:v>
                </c:pt>
                <c:pt idx="5">
                  <c:v>0.13232104121475055</c:v>
                </c:pt>
                <c:pt idx="6">
                  <c:v>0.12719891745602166</c:v>
                </c:pt>
                <c:pt idx="7">
                  <c:v>0.13208685162846803</c:v>
                </c:pt>
                <c:pt idx="8">
                  <c:v>0.1094003241491086</c:v>
                </c:pt>
                <c:pt idx="9">
                  <c:v>0.1217008797653959</c:v>
                </c:pt>
                <c:pt idx="10">
                  <c:v>0.14227365554799182</c:v>
                </c:pt>
                <c:pt idx="11">
                  <c:v>0.1629896443043674</c:v>
                </c:pt>
                <c:pt idx="12">
                  <c:v>0.1597664543524416</c:v>
                </c:pt>
                <c:pt idx="13">
                  <c:v>0.16017316017316016</c:v>
                </c:pt>
                <c:pt idx="14">
                  <c:v>0.15623100303951368</c:v>
                </c:pt>
                <c:pt idx="15">
                  <c:v>0.1553133514986376</c:v>
                </c:pt>
                <c:pt idx="16">
                  <c:v>0.12780790085205268</c:v>
                </c:pt>
                <c:pt idx="17">
                  <c:v>0.10898965791567224</c:v>
                </c:pt>
                <c:pt idx="18">
                  <c:v>0.12309160305343511</c:v>
                </c:pt>
                <c:pt idx="19">
                  <c:v>0.12556053811659193</c:v>
                </c:pt>
                <c:pt idx="20">
                  <c:v>0.0875842155919153</c:v>
                </c:pt>
                <c:pt idx="21">
                  <c:v>0.07496251874062969</c:v>
                </c:pt>
                <c:pt idx="22">
                  <c:v>0.07724137931034483</c:v>
                </c:pt>
                <c:pt idx="23">
                  <c:v>0.0845442536327609</c:v>
                </c:pt>
                <c:pt idx="24">
                  <c:v>0.07607497243660419</c:v>
                </c:pt>
                <c:pt idx="25">
                  <c:v>0.08085612366230678</c:v>
                </c:pt>
                <c:pt idx="26">
                  <c:v>0.08375378405650857</c:v>
                </c:pt>
                <c:pt idx="27">
                  <c:v>0.08790252393385553</c:v>
                </c:pt>
                <c:pt idx="28">
                  <c:v>0.11581920903954802</c:v>
                </c:pt>
                <c:pt idx="29">
                  <c:v>0.1032258064516129</c:v>
                </c:pt>
                <c:pt idx="30">
                  <c:v>0.11473880597014925</c:v>
                </c:pt>
                <c:pt idx="31">
                  <c:v>0.129126213592233</c:v>
                </c:pt>
                <c:pt idx="32">
                  <c:v>0.1405990016638935</c:v>
                </c:pt>
                <c:pt idx="33">
                  <c:v>0.16078184110970997</c:v>
                </c:pt>
                <c:pt idx="34">
                  <c:v>0.18232890704800817</c:v>
                </c:pt>
                <c:pt idx="35">
                  <c:v>0.17394094993581516</c:v>
                </c:pt>
                <c:pt idx="36">
                  <c:v>0.11790878754171301</c:v>
                </c:pt>
                <c:pt idx="37">
                  <c:v>0.09885931558935361</c:v>
                </c:pt>
                <c:pt idx="38">
                  <c:v>0.10594059405940594</c:v>
                </c:pt>
                <c:pt idx="39">
                  <c:v>0.13864306784660768</c:v>
                </c:pt>
                <c:pt idx="40">
                  <c:v>0.1086082059533387</c:v>
                </c:pt>
                <c:pt idx="41">
                  <c:v>0.10896445131375579</c:v>
                </c:pt>
                <c:pt idx="42">
                  <c:v>0.09075342465753425</c:v>
                </c:pt>
                <c:pt idx="43">
                  <c:v>0.10316040548598689</c:v>
                </c:pt>
                <c:pt idx="44">
                  <c:v>0.0967741935483871</c:v>
                </c:pt>
                <c:pt idx="45">
                  <c:v>0.12966316551973922</c:v>
                </c:pt>
                <c:pt idx="46">
                  <c:v>0.11179245283018868</c:v>
                </c:pt>
                <c:pt idx="47">
                  <c:v>0.1142347166443552</c:v>
                </c:pt>
                <c:pt idx="48">
                  <c:v>0.1135005973715651</c:v>
                </c:pt>
                <c:pt idx="49">
                  <c:v>0.13468275593616194</c:v>
                </c:pt>
                <c:pt idx="50">
                  <c:v>0.16256524981357195</c:v>
                </c:pt>
                <c:pt idx="51">
                  <c:v>0.1520943472956486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5.1217213522967</c:v>
                </c:pt>
              </c:numCache>
            </c:numRef>
          </c:xVal>
          <c:yVal>
            <c:numRef>
              <c:f>Sheet1!$B$163:$B$164</c:f>
              <c:numCache>
                <c:formatCode>General</c:formatCode>
                <c:ptCount val="2"/>
                <c:pt idx="0">
                  <c:v>0.18512080583306922</c:v>
                </c:pt>
                <c:pt idx="1">
                  <c:v>0.185120805833069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5.1217213522967</c:v>
                </c:pt>
                <c:pt idx="1">
                  <c:v>805.1217213522967</c:v>
                </c:pt>
              </c:numCache>
            </c:numRef>
          </c:xVal>
          <c:yVal>
            <c:numRef>
              <c:f>Sheet1!$B$167:$B$168</c:f>
              <c:numCache>
                <c:formatCode>General</c:formatCode>
                <c:ptCount val="2"/>
                <c:pt idx="0">
                  <c:v>0.185120805833069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8.8349983762436</c:v>
                </c:pt>
              </c:numCache>
            </c:numRef>
          </c:xVal>
          <c:yVal>
            <c:numRef>
              <c:f>Sheet1!$B$171:$B$172</c:f>
              <c:numCache>
                <c:formatCode>General</c:formatCode>
                <c:ptCount val="2"/>
                <c:pt idx="0">
                  <c:v>0.1407107376042369</c:v>
                </c:pt>
                <c:pt idx="1">
                  <c:v>0.140710737604236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8.8349983762436</c:v>
                </c:pt>
                <c:pt idx="1">
                  <c:v>998.8349983762436</c:v>
                </c:pt>
              </c:numCache>
            </c:numRef>
          </c:xVal>
          <c:yVal>
            <c:numRef>
              <c:f>Sheet1!$B$175:$B$176</c:f>
              <c:numCache>
                <c:formatCode>General</c:formatCode>
                <c:ptCount val="2"/>
                <c:pt idx="0">
                  <c:v>0.140710737604236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7.349329584182</c:v>
                </c:pt>
              </c:numCache>
            </c:numRef>
          </c:xVal>
          <c:yVal>
            <c:numRef>
              <c:f>Sheet1!$B$179:$B$180</c:f>
              <c:numCache>
                <c:formatCode>General</c:formatCode>
                <c:ptCount val="2"/>
                <c:pt idx="0">
                  <c:v>0.12041823340129545</c:v>
                </c:pt>
                <c:pt idx="1">
                  <c:v>0.120418233401295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7.349329584182</c:v>
                </c:pt>
                <c:pt idx="1">
                  <c:v>1087.349329584182</c:v>
                </c:pt>
              </c:numCache>
            </c:numRef>
          </c:xVal>
          <c:yVal>
            <c:numRef>
              <c:f>Sheet1!$B$183:$B$184</c:f>
              <c:numCache>
                <c:formatCode>General</c:formatCode>
                <c:ptCount val="2"/>
                <c:pt idx="0">
                  <c:v>0.120418233401295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91.3597</c:v>
                </c:pt>
                <c:pt idx="1">
                  <c:v>1105.8327</c:v>
                </c:pt>
                <c:pt idx="2">
                  <c:v>1103.2561</c:v>
                </c:pt>
                <c:pt idx="3">
                  <c:v>977.3213</c:v>
                </c:pt>
                <c:pt idx="4">
                  <c:v>1065.9449</c:v>
                </c:pt>
                <c:pt idx="5">
                  <c:v>1054.1639</c:v>
                </c:pt>
                <c:pt idx="6">
                  <c:v>969.0071</c:v>
                </c:pt>
                <c:pt idx="7">
                  <c:v>992.7534</c:v>
                </c:pt>
                <c:pt idx="8">
                  <c:v>1110.8296</c:v>
                </c:pt>
                <c:pt idx="9">
                  <c:v>1055.1386</c:v>
                </c:pt>
                <c:pt idx="10">
                  <c:v>1086.4067</c:v>
                </c:pt>
                <c:pt idx="11">
                  <c:v>912.0249</c:v>
                </c:pt>
                <c:pt idx="12">
                  <c:v>990.2326</c:v>
                </c:pt>
                <c:pt idx="13">
                  <c:v>1055.8885</c:v>
                </c:pt>
                <c:pt idx="14">
                  <c:v>1046.1984</c:v>
                </c:pt>
                <c:pt idx="15">
                  <c:v>1080.1184</c:v>
                </c:pt>
                <c:pt idx="16">
                  <c:v>1140.3697</c:v>
                </c:pt>
                <c:pt idx="17">
                  <c:v>1119.3577</c:v>
                </c:pt>
                <c:pt idx="18">
                  <c:v>980.093</c:v>
                </c:pt>
                <c:pt idx="19">
                  <c:v>1195.9429</c:v>
                </c:pt>
                <c:pt idx="20">
                  <c:v>1261.1758</c:v>
                </c:pt>
                <c:pt idx="21">
                  <c:v>1180.78</c:v>
                </c:pt>
                <c:pt idx="22">
                  <c:v>1168.6071</c:v>
                </c:pt>
                <c:pt idx="23">
                  <c:v>1116.375</c:v>
                </c:pt>
                <c:pt idx="24">
                  <c:v>1108.6812</c:v>
                </c:pt>
                <c:pt idx="25">
                  <c:v>1096.7794</c:v>
                </c:pt>
                <c:pt idx="26">
                  <c:v>1136.6747</c:v>
                </c:pt>
                <c:pt idx="27">
                  <c:v>1104.0099</c:v>
                </c:pt>
                <c:pt idx="28">
                  <c:v>1056.561</c:v>
                </c:pt>
                <c:pt idx="29">
                  <c:v>1045.4732</c:v>
                </c:pt>
                <c:pt idx="30">
                  <c:v>1022.5285</c:v>
                </c:pt>
                <c:pt idx="31">
                  <c:v>976.6316</c:v>
                </c:pt>
                <c:pt idx="32">
                  <c:v>992.1006</c:v>
                </c:pt>
                <c:pt idx="33">
                  <c:v>999.2392</c:v>
                </c:pt>
                <c:pt idx="34">
                  <c:v>1017.6639</c:v>
                </c:pt>
                <c:pt idx="35">
                  <c:v>1037.417</c:v>
                </c:pt>
                <c:pt idx="36">
                  <c:v>1031.6509</c:v>
                </c:pt>
                <c:pt idx="37">
                  <c:v>1118.9135</c:v>
                </c:pt>
                <c:pt idx="38">
                  <c:v>1153.7477</c:v>
                </c:pt>
                <c:pt idx="39">
                  <c:v>1079.0479</c:v>
                </c:pt>
                <c:pt idx="40">
                  <c:v>1135.963</c:v>
                </c:pt>
                <c:pt idx="41">
                  <c:v>1218.4965</c:v>
                </c:pt>
                <c:pt idx="42">
                  <c:v>1227.0189</c:v>
                </c:pt>
                <c:pt idx="43">
                  <c:v>1229.2601</c:v>
                </c:pt>
                <c:pt idx="44">
                  <c:v>1145.6563</c:v>
                </c:pt>
                <c:pt idx="45">
                  <c:v>1098.0363</c:v>
                </c:pt>
                <c:pt idx="46">
                  <c:v>1106.1646</c:v>
                </c:pt>
                <c:pt idx="47">
                  <c:v>1073.2656</c:v>
                </c:pt>
                <c:pt idx="48">
                  <c:v>1089.6632</c:v>
                </c:pt>
                <c:pt idx="49">
                  <c:v>1090.2139</c:v>
                </c:pt>
                <c:pt idx="50">
                  <c:v>971.9709</c:v>
                </c:pt>
                <c:pt idx="51">
                  <c:v>938.6952</c:v>
                </c:pt>
                <c:pt idx="52">
                  <c:v>998.8349983762436</c:v>
                </c:pt>
                <c:pt idx="53">
                  <c:v>805.1217213522967</c:v>
                </c:pt>
                <c:pt idx="54">
                  <c:v>1087.349329584182</c:v>
                </c:pt>
              </c:numCache>
            </c:numRef>
          </c:xVal>
          <c:yVal>
            <c:numRef>
              <c:f>Sheet1!$B$187:$B$241</c:f>
              <c:numCache>
                <c:formatCode>General</c:formatCode>
                <c:ptCount val="55"/>
                <c:pt idx="0">
                  <c:v>0.11949882908102599</c:v>
                </c:pt>
                <c:pt idx="1">
                  <c:v>0.11618079674297194</c:v>
                </c:pt>
                <c:pt idx="2">
                  <c:v>0.11677149957736904</c:v>
                </c:pt>
                <c:pt idx="3">
                  <c:v>0.14564289727559177</c:v>
                </c:pt>
                <c:pt idx="4">
                  <c:v>0.12532534246907118</c:v>
                </c:pt>
                <c:pt idx="5">
                  <c:v>0.12802621574859963</c:v>
                </c:pt>
                <c:pt idx="6">
                  <c:v>0.14754898339906644</c:v>
                </c:pt>
                <c:pt idx="7">
                  <c:v>0.14210498482868475</c:v>
                </c:pt>
                <c:pt idx="8">
                  <c:v>0.11503522389767218</c:v>
                </c:pt>
                <c:pt idx="9">
                  <c:v>0.12780275923509854</c:v>
                </c:pt>
                <c:pt idx="10">
                  <c:v>0.12063433755683489</c:v>
                </c:pt>
                <c:pt idx="11">
                  <c:v>0.1606125349981452</c:v>
                </c:pt>
                <c:pt idx="12">
                  <c:v>0.14268289513876328</c:v>
                </c:pt>
                <c:pt idx="13">
                  <c:v>0.1276308396296051</c:v>
                </c:pt>
                <c:pt idx="14">
                  <c:v>0.12985236005791836</c:v>
                </c:pt>
                <c:pt idx="15">
                  <c:v>0.12207597251512864</c:v>
                </c:pt>
                <c:pt idx="16">
                  <c:v>0.10826295781121104</c:v>
                </c:pt>
                <c:pt idx="17">
                  <c:v>0.11308009976430944</c:v>
                </c:pt>
                <c:pt idx="18">
                  <c:v>0.14500746645742105</c:v>
                </c:pt>
                <c:pt idx="19">
                  <c:v>0.09552242891401291</c:v>
                </c:pt>
                <c:pt idx="20">
                  <c:v>0.08056734899243134</c:v>
                </c:pt>
                <c:pt idx="21">
                  <c:v>0.09899862545506732</c:v>
                </c:pt>
                <c:pt idx="22">
                  <c:v>0.10178934443854687</c:v>
                </c:pt>
                <c:pt idx="23">
                  <c:v>0.11376390374791434</c:v>
                </c:pt>
                <c:pt idx="24">
                  <c:v>0.11552775900960999</c:v>
                </c:pt>
                <c:pt idx="25">
                  <c:v>0.1182563264994913</c:v>
                </c:pt>
                <c:pt idx="26">
                  <c:v>0.10911006134808038</c:v>
                </c:pt>
                <c:pt idx="27">
                  <c:v>0.11659868587071354</c:v>
                </c:pt>
                <c:pt idx="28">
                  <c:v>0.1274766644933278</c:v>
                </c:pt>
                <c:pt idx="29">
                  <c:v>0.13001861702271883</c:v>
                </c:pt>
                <c:pt idx="30">
                  <c:v>0.13527884341579213</c:v>
                </c:pt>
                <c:pt idx="31">
                  <c:v>0.1458010156272504</c:v>
                </c:pt>
                <c:pt idx="32">
                  <c:v>0.14225464360781015</c:v>
                </c:pt>
                <c:pt idx="33">
                  <c:v>0.14061807167051774</c:v>
                </c:pt>
                <c:pt idx="34">
                  <c:v>0.13639408559859445</c:v>
                </c:pt>
                <c:pt idx="35">
                  <c:v>0.13186555491547303</c:v>
                </c:pt>
                <c:pt idx="36">
                  <c:v>0.13318747202073478</c:v>
                </c:pt>
                <c:pt idx="37">
                  <c:v>0.11318193559410028</c:v>
                </c:pt>
                <c:pt idx="38">
                  <c:v>0.10519596156865679</c:v>
                </c:pt>
                <c:pt idx="39">
                  <c:v>0.12232139182127713</c:v>
                </c:pt>
                <c:pt idx="40">
                  <c:v>0.10927322334731987</c:v>
                </c:pt>
                <c:pt idx="41">
                  <c:v>0.09035186481952406</c:v>
                </c:pt>
                <c:pt idx="42">
                  <c:v>0.08839804744939811</c:v>
                </c:pt>
                <c:pt idx="43">
                  <c:v>0.08788423731493766</c:v>
                </c:pt>
                <c:pt idx="44">
                  <c:v>0.10705096929754027</c:v>
                </c:pt>
                <c:pt idx="45">
                  <c:v>0.11796817374293078</c:v>
                </c:pt>
                <c:pt idx="46">
                  <c:v>0.116104706441514</c:v>
                </c:pt>
                <c:pt idx="47">
                  <c:v>0.1236470228852121</c:v>
                </c:pt>
                <c:pt idx="48">
                  <c:v>0.1198877630865196</c:v>
                </c:pt>
                <c:pt idx="49">
                  <c:v>0.1197615114173034</c:v>
                </c:pt>
                <c:pt idx="50">
                  <c:v>0.14686951236724688</c:v>
                </c:pt>
                <c:pt idx="51">
                  <c:v>0.15449818981293106</c:v>
                </c:pt>
                <c:pt idx="52">
                  <c:v>0.1407107376042369</c:v>
                </c:pt>
                <c:pt idx="53">
                  <c:v>0.18512080583306922</c:v>
                </c:pt>
                <c:pt idx="54">
                  <c:v>0.120418233401295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3.0"/>
          <c:min val="52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8699402786994"/>
          <c:min val="0.056393442622950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0</c:f>
              <c:numCache>
                <c:formatCode>General</c:formatCode>
                <c:ptCount val="109"/>
                <c:pt idx="0">
                  <c:v>0.3096467330677291</c:v>
                </c:pt>
                <c:pt idx="1">
                  <c:v>0.2946764863957004</c:v>
                </c:pt>
                <c:pt idx="2">
                  <c:v>0.27847578148710167</c:v>
                </c:pt>
                <c:pt idx="3">
                  <c:v>0.3016210235120746</c:v>
                </c:pt>
                <c:pt idx="4">
                  <c:v>0.3002536538767712</c:v>
                </c:pt>
                <c:pt idx="5">
                  <c:v>0.36963698172528986</c:v>
                </c:pt>
                <c:pt idx="6">
                  <c:v>0.28867708556048904</c:v>
                </c:pt>
                <c:pt idx="7">
                  <c:v>0.2818268987341772</c:v>
                </c:pt>
                <c:pt idx="8">
                  <c:v>0.28450000000000003</c:v>
                </c:pt>
                <c:pt idx="9">
                  <c:v>0.263271746031746</c:v>
                </c:pt>
                <c:pt idx="10">
                  <c:v>0.28085521222410864</c:v>
                </c:pt>
                <c:pt idx="11">
                  <c:v>0.2930042546201232</c:v>
                </c:pt>
                <c:pt idx="12">
                  <c:v>0.23180472157560444</c:v>
                </c:pt>
                <c:pt idx="13">
                  <c:v>0.28627285197655566</c:v>
                </c:pt>
                <c:pt idx="14">
                  <c:v>0.2496587399463807</c:v>
                </c:pt>
                <c:pt idx="15">
                  <c:v>0.2837540836763134</c:v>
                </c:pt>
                <c:pt idx="16">
                  <c:v>0.2748496381255283</c:v>
                </c:pt>
                <c:pt idx="17">
                  <c:v>0.318666923752914</c:v>
                </c:pt>
                <c:pt idx="18">
                  <c:v>0.3463808050565536</c:v>
                </c:pt>
                <c:pt idx="19">
                  <c:v>0.34008352117758733</c:v>
                </c:pt>
                <c:pt idx="20">
                  <c:v>0.3206542379273748</c:v>
                </c:pt>
                <c:pt idx="21">
                  <c:v>0.3027053269098417</c:v>
                </c:pt>
                <c:pt idx="22">
                  <c:v>0.26932852899393</c:v>
                </c:pt>
                <c:pt idx="23">
                  <c:v>0.23014648328301462</c:v>
                </c:pt>
                <c:pt idx="24">
                  <c:v>0.29908411841913374</c:v>
                </c:pt>
                <c:pt idx="25">
                  <c:v>0.2181923742741317</c:v>
                </c:pt>
                <c:pt idx="26">
                  <c:v>0.21796201055873296</c:v>
                </c:pt>
                <c:pt idx="27">
                  <c:v>0.27761992723201795</c:v>
                </c:pt>
                <c:pt idx="28">
                  <c:v>0.24292995468638207</c:v>
                </c:pt>
                <c:pt idx="29">
                  <c:v>0.23202039224952742</c:v>
                </c:pt>
                <c:pt idx="30">
                  <c:v>0.3268269815059445</c:v>
                </c:pt>
                <c:pt idx="31">
                  <c:v>0.33617729452054795</c:v>
                </c:pt>
                <c:pt idx="32">
                  <c:v>0.25186649616368284</c:v>
                </c:pt>
                <c:pt idx="33">
                  <c:v>0.19922459965928452</c:v>
                </c:pt>
                <c:pt idx="34">
                  <c:v>0.1987649853563293</c:v>
                </c:pt>
                <c:pt idx="35">
                  <c:v>0.24208287211469742</c:v>
                </c:pt>
                <c:pt idx="36">
                  <c:v>0.22989339853300736</c:v>
                </c:pt>
                <c:pt idx="37">
                  <c:v>0.22103972457627116</c:v>
                </c:pt>
                <c:pt idx="38">
                  <c:v>0.30054166778568553</c:v>
                </c:pt>
                <c:pt idx="39">
                  <c:v>0.24038197231462602</c:v>
                </c:pt>
                <c:pt idx="40">
                  <c:v>0.285120550563179</c:v>
                </c:pt>
                <c:pt idx="41">
                  <c:v>0.31193788900911196</c:v>
                </c:pt>
                <c:pt idx="42">
                  <c:v>0.31501278810612193</c:v>
                </c:pt>
                <c:pt idx="43">
                  <c:v>0.2636540189385598</c:v>
                </c:pt>
                <c:pt idx="44">
                  <c:v>0.3117386734524534</c:v>
                </c:pt>
                <c:pt idx="45">
                  <c:v>0.3003066915784375</c:v>
                </c:pt>
                <c:pt idx="46">
                  <c:v>0.2791346996648621</c:v>
                </c:pt>
                <c:pt idx="47">
                  <c:v>0.2946020627062706</c:v>
                </c:pt>
                <c:pt idx="48">
                  <c:v>0.25768939540890096</c:v>
                </c:pt>
                <c:pt idx="49">
                  <c:v>0.30076180037995026</c:v>
                </c:pt>
                <c:pt idx="50">
                  <c:v>0.28500803145987086</c:v>
                </c:pt>
                <c:pt idx="51">
                  <c:v>0.3178754430493171</c:v>
                </c:pt>
                <c:pt idx="52">
                  <c:v>0.2669705667045311</c:v>
                </c:pt>
                <c:pt idx="53">
                  <c:v>0.2905168270441836</c:v>
                </c:pt>
                <c:pt idx="54">
                  <c:v>0.26694996427720885</c:v>
                </c:pt>
                <c:pt idx="55">
                  <c:v>0.3158491983948042</c:v>
                </c:pt>
                <c:pt idx="56">
                  <c:v>0.2547741816605246</c:v>
                </c:pt>
                <c:pt idx="57">
                  <c:v>0.28516725399841486</c:v>
                </c:pt>
                <c:pt idx="58">
                  <c:v>0.2330102082856847</c:v>
                </c:pt>
                <c:pt idx="59">
                  <c:v>0.25831159559175854</c:v>
                </c:pt>
                <c:pt idx="60">
                  <c:v>0.2552800653404119</c:v>
                </c:pt>
                <c:pt idx="61">
                  <c:v>0.2793556541019956</c:v>
                </c:pt>
                <c:pt idx="62">
                  <c:v>0.2876226925270829</c:v>
                </c:pt>
                <c:pt idx="63">
                  <c:v>0.3219182827979586</c:v>
                </c:pt>
                <c:pt idx="64">
                  <c:v>0.3812601226182433</c:v>
                </c:pt>
                <c:pt idx="65">
                  <c:v>0.3705770829812405</c:v>
                </c:pt>
                <c:pt idx="66">
                  <c:v>0.29306433070866145</c:v>
                </c:pt>
                <c:pt idx="67">
                  <c:v>0.36793454025726535</c:v>
                </c:pt>
                <c:pt idx="68">
                  <c:v>0.3201618000869483</c:v>
                </c:pt>
                <c:pt idx="69">
                  <c:v>0.3688104593441278</c:v>
                </c:pt>
                <c:pt idx="70">
                  <c:v>0.28079718216840943</c:v>
                </c:pt>
                <c:pt idx="71">
                  <c:v>0.3327749491353001</c:v>
                </c:pt>
                <c:pt idx="72">
                  <c:v>0.37618104667609614</c:v>
                </c:pt>
                <c:pt idx="73">
                  <c:v>0.3123384314177128</c:v>
                </c:pt>
                <c:pt idx="74">
                  <c:v>0.2744551144050397</c:v>
                </c:pt>
                <c:pt idx="75">
                  <c:v>0.41682341049885885</c:v>
                </c:pt>
                <c:pt idx="76">
                  <c:v>0.5254360917656699</c:v>
                </c:pt>
                <c:pt idx="77">
                  <c:v>0.3958113083084655</c:v>
                </c:pt>
                <c:pt idx="78">
                  <c:v>0.2908926802299867</c:v>
                </c:pt>
                <c:pt idx="79">
                  <c:v>0.24688907659819542</c:v>
                </c:pt>
                <c:pt idx="80">
                  <c:v>0.2499556050338819</c:v>
                </c:pt>
                <c:pt idx="81">
                  <c:v>0.30085810742971886</c:v>
                </c:pt>
                <c:pt idx="82">
                  <c:v>0.429402694665104</c:v>
                </c:pt>
                <c:pt idx="83">
                  <c:v>0.33157417789757415</c:v>
                </c:pt>
                <c:pt idx="84">
                  <c:v>0.32220581913499347</c:v>
                </c:pt>
                <c:pt idx="85">
                  <c:v>0.36558695786864936</c:v>
                </c:pt>
                <c:pt idx="86">
                  <c:v>0.2738075376307021</c:v>
                </c:pt>
                <c:pt idx="87">
                  <c:v>0.2297134626690182</c:v>
                </c:pt>
                <c:pt idx="88">
                  <c:v>0.384077808727948</c:v>
                </c:pt>
                <c:pt idx="89">
                  <c:v>0.36402734952760807</c:v>
                </c:pt>
                <c:pt idx="90">
                  <c:v>0.3959332822321018</c:v>
                </c:pt>
                <c:pt idx="91">
                  <c:v>0.24824499619482496</c:v>
                </c:pt>
                <c:pt idx="92">
                  <c:v>0.42795841450753336</c:v>
                </c:pt>
                <c:pt idx="93">
                  <c:v>0.2957977360348241</c:v>
                </c:pt>
                <c:pt idx="94">
                  <c:v>0.30804697538795195</c:v>
                </c:pt>
                <c:pt idx="95">
                  <c:v>0.3979735220649459</c:v>
                </c:pt>
                <c:pt idx="96">
                  <c:v>0.3631643302057873</c:v>
                </c:pt>
                <c:pt idx="97">
                  <c:v>0.4044580115255499</c:v>
                </c:pt>
                <c:pt idx="98">
                  <c:v>0.3393497274379164</c:v>
                </c:pt>
                <c:pt idx="99">
                  <c:v>0.3599620380921374</c:v>
                </c:pt>
                <c:pt idx="100">
                  <c:v>0.32218182087255076</c:v>
                </c:pt>
                <c:pt idx="101">
                  <c:v>0.3578992311467365</c:v>
                </c:pt>
                <c:pt idx="102">
                  <c:v>0.34501583397386626</c:v>
                </c:pt>
                <c:pt idx="103">
                  <c:v>0.26266389315683725</c:v>
                </c:pt>
                <c:pt idx="104">
                  <c:v>0.297464427672956</c:v>
                </c:pt>
                <c:pt idx="105">
                  <c:v>0.0</c:v>
                </c:pt>
                <c:pt idx="106">
                  <c:v>0.0</c:v>
                </c:pt>
                <c:pt idx="107">
                  <c:v>0.0</c:v>
                </c:pt>
                <c:pt idx="108">
                  <c:v>0.0</c:v>
                </c:pt>
              </c:numCache>
            </c:numRef>
          </c:xVal>
          <c:yVal>
            <c:numRef>
              <c:f>Sheet1!$B$2:$B$110</c:f>
              <c:numCache>
                <c:formatCode>General</c:formatCode>
                <c:ptCount val="109"/>
                <c:pt idx="0">
                  <c:v>0.5135845749342682</c:v>
                </c:pt>
                <c:pt idx="1">
                  <c:v>0.58719646799117</c:v>
                </c:pt>
                <c:pt idx="2">
                  <c:v>0.623006833712984</c:v>
                </c:pt>
                <c:pt idx="3">
                  <c:v>0.6303797468354431</c:v>
                </c:pt>
                <c:pt idx="4">
                  <c:v>0.6174785100286533</c:v>
                </c:pt>
                <c:pt idx="5">
                  <c:v>0.553763440860215</c:v>
                </c:pt>
                <c:pt idx="6">
                  <c:v>0.5346062052505967</c:v>
                </c:pt>
                <c:pt idx="7">
                  <c:v>0.592</c:v>
                </c:pt>
                <c:pt idx="8">
                  <c:v>0.5859649122807018</c:v>
                </c:pt>
                <c:pt idx="9">
                  <c:v>0.5690021231422505</c:v>
                </c:pt>
                <c:pt idx="10">
                  <c:v>0.5365853658536586</c:v>
                </c:pt>
                <c:pt idx="11">
                  <c:v>0.48578199052132703</c:v>
                </c:pt>
                <c:pt idx="12">
                  <c:v>0.46282722513089003</c:v>
                </c:pt>
                <c:pt idx="13">
                  <c:v>0.3969022265246854</c:v>
                </c:pt>
                <c:pt idx="14">
                  <c:v>0.39138240574506283</c:v>
                </c:pt>
                <c:pt idx="15">
                  <c:v>0.3854625550660793</c:v>
                </c:pt>
                <c:pt idx="16">
                  <c:v>0.3783068783068783</c:v>
                </c:pt>
                <c:pt idx="17">
                  <c:v>0.3530239099859353</c:v>
                </c:pt>
                <c:pt idx="18">
                  <c:v>0.36038961038961037</c:v>
                </c:pt>
                <c:pt idx="19">
                  <c:v>0.3644067796610169</c:v>
                </c:pt>
                <c:pt idx="20">
                  <c:v>0.37138263665594856</c:v>
                </c:pt>
                <c:pt idx="21">
                  <c:v>0.4069767441860465</c:v>
                </c:pt>
                <c:pt idx="22">
                  <c:v>0.5</c:v>
                </c:pt>
                <c:pt idx="23">
                  <c:v>0.48096192384769537</c:v>
                </c:pt>
                <c:pt idx="24">
                  <c:v>0.5053571428571428</c:v>
                </c:pt>
                <c:pt idx="25">
                  <c:v>0.5119047619047619</c:v>
                </c:pt>
                <c:pt idx="26">
                  <c:v>0.5250431778929189</c:v>
                </c:pt>
                <c:pt idx="27">
                  <c:v>0.5</c:v>
                </c:pt>
                <c:pt idx="28">
                  <c:v>0.4802527646129542</c:v>
                </c:pt>
                <c:pt idx="29">
                  <c:v>0.47375</c:v>
                </c:pt>
                <c:pt idx="30">
                  <c:v>0.5264900662251656</c:v>
                </c:pt>
                <c:pt idx="31">
                  <c:v>0.5083713850837138</c:v>
                </c:pt>
                <c:pt idx="32">
                  <c:v>0.5512820512820513</c:v>
                </c:pt>
                <c:pt idx="33">
                  <c:v>0.5909090909090909</c:v>
                </c:pt>
                <c:pt idx="34">
                  <c:v>0.511049723756906</c:v>
                </c:pt>
                <c:pt idx="35">
                  <c:v>0.49714285714285716</c:v>
                </c:pt>
                <c:pt idx="36">
                  <c:v>0.4863325740318907</c:v>
                </c:pt>
                <c:pt idx="37">
                  <c:v>0.48691860465116277</c:v>
                </c:pt>
                <c:pt idx="38">
                  <c:v>0.4537177541729894</c:v>
                </c:pt>
                <c:pt idx="39">
                  <c:v>0.4574468085106383</c:v>
                </c:pt>
                <c:pt idx="40">
                  <c:v>0.4694783573806881</c:v>
                </c:pt>
                <c:pt idx="41">
                  <c:v>0.42020497803806733</c:v>
                </c:pt>
                <c:pt idx="42">
                  <c:v>0.40852130325814534</c:v>
                </c:pt>
                <c:pt idx="43">
                  <c:v>0.39057239057239057</c:v>
                </c:pt>
                <c:pt idx="44">
                  <c:v>0.4167215273206057</c:v>
                </c:pt>
                <c:pt idx="45">
                  <c:v>0.42848593656493117</c:v>
                </c:pt>
                <c:pt idx="46">
                  <c:v>0.4398843930635838</c:v>
                </c:pt>
                <c:pt idx="47">
                  <c:v>0.4126984126984127</c:v>
                </c:pt>
                <c:pt idx="48">
                  <c:v>0.4267340376665136</c:v>
                </c:pt>
                <c:pt idx="49">
                  <c:v>0.44441235922610456</c:v>
                </c:pt>
                <c:pt idx="50">
                  <c:v>0.42159853569249545</c:v>
                </c:pt>
                <c:pt idx="51">
                  <c:v>0.4232142857142857</c:v>
                </c:pt>
                <c:pt idx="52">
                  <c:v>0.41311697092630156</c:v>
                </c:pt>
                <c:pt idx="53">
                  <c:v>0.4014401440144014</c:v>
                </c:pt>
                <c:pt idx="54">
                  <c:v>0.42094240837696334</c:v>
                </c:pt>
                <c:pt idx="55">
                  <c:v>0.41288278775079196</c:v>
                </c:pt>
                <c:pt idx="56">
                  <c:v>0.40759493670886077</c:v>
                </c:pt>
                <c:pt idx="57">
                  <c:v>0.4387966804979253</c:v>
                </c:pt>
                <c:pt idx="58">
                  <c:v>0.4523809523809524</c:v>
                </c:pt>
                <c:pt idx="59">
                  <c:v>0.47098591549295776</c:v>
                </c:pt>
                <c:pt idx="60">
                  <c:v>0.48169934640522877</c:v>
                </c:pt>
                <c:pt idx="61">
                  <c:v>0.4591633466135458</c:v>
                </c:pt>
                <c:pt idx="62">
                  <c:v>0.4602739726027397</c:v>
                </c:pt>
                <c:pt idx="63">
                  <c:v>0.5047784535186794</c:v>
                </c:pt>
                <c:pt idx="64">
                  <c:v>0.42251461988304095</c:v>
                </c:pt>
                <c:pt idx="65">
                  <c:v>0.3832943013270882</c:v>
                </c:pt>
                <c:pt idx="66">
                  <c:v>0.40221088435374147</c:v>
                </c:pt>
                <c:pt idx="67">
                  <c:v>0.35149863760217986</c:v>
                </c:pt>
                <c:pt idx="68">
                  <c:v>0.345707656612529</c:v>
                </c:pt>
                <c:pt idx="69">
                  <c:v>0.3315068493150685</c:v>
                </c:pt>
                <c:pt idx="70">
                  <c:v>0.3323943661971831</c:v>
                </c:pt>
                <c:pt idx="71">
                  <c:v>0.36585365853658536</c:v>
                </c:pt>
                <c:pt idx="72">
                  <c:v>0.35470668485675305</c:v>
                </c:pt>
                <c:pt idx="73">
                  <c:v>0.3737864077669903</c:v>
                </c:pt>
                <c:pt idx="74">
                  <c:v>0.35907859078590787</c:v>
                </c:pt>
                <c:pt idx="75">
                  <c:v>0.3804878048780488</c:v>
                </c:pt>
                <c:pt idx="76">
                  <c:v>0.3869653767820774</c:v>
                </c:pt>
                <c:pt idx="77">
                  <c:v>0.3841698841698842</c:v>
                </c:pt>
                <c:pt idx="78">
                  <c:v>0.38613861386138615</c:v>
                </c:pt>
                <c:pt idx="79">
                  <c:v>0.3692022263450835</c:v>
                </c:pt>
                <c:pt idx="80">
                  <c:v>0.3391915641476274</c:v>
                </c:pt>
                <c:pt idx="81">
                  <c:v>0.3757309941520468</c:v>
                </c:pt>
                <c:pt idx="82">
                  <c:v>0.38155136268343814</c:v>
                </c:pt>
                <c:pt idx="83">
                  <c:v>0.3735763097949886</c:v>
                </c:pt>
                <c:pt idx="84">
                  <c:v>0.37176470588235294</c:v>
                </c:pt>
                <c:pt idx="85">
                  <c:v>0.4059590316573557</c:v>
                </c:pt>
                <c:pt idx="86">
                  <c:v>0.3911917098445596</c:v>
                </c:pt>
                <c:pt idx="87">
                  <c:v>0.4067796610169492</c:v>
                </c:pt>
                <c:pt idx="88">
                  <c:v>0.4170542635658915</c:v>
                </c:pt>
                <c:pt idx="89">
                  <c:v>0.4223385689354276</c:v>
                </c:pt>
                <c:pt idx="90">
                  <c:v>0.384070796460177</c:v>
                </c:pt>
                <c:pt idx="91">
                  <c:v>0.3525535420098847</c:v>
                </c:pt>
                <c:pt idx="92">
                  <c:v>0.36628643852978454</c:v>
                </c:pt>
                <c:pt idx="93">
                  <c:v>0.3436385255648038</c:v>
                </c:pt>
                <c:pt idx="94">
                  <c:v>0.3505747126436782</c:v>
                </c:pt>
                <c:pt idx="95">
                  <c:v>0.3637295081967213</c:v>
                </c:pt>
                <c:pt idx="96">
                  <c:v>0.4089068825910931</c:v>
                </c:pt>
                <c:pt idx="97">
                  <c:v>0.41226993865030676</c:v>
                </c:pt>
                <c:pt idx="98">
                  <c:v>0.42140992167101826</c:v>
                </c:pt>
                <c:pt idx="99">
                  <c:v>0.41974708171206226</c:v>
                </c:pt>
                <c:pt idx="100">
                  <c:v>0.421994037760848</c:v>
                </c:pt>
                <c:pt idx="101">
                  <c:v>0.44533485975958786</c:v>
                </c:pt>
                <c:pt idx="102">
                  <c:v>0.39981532779316714</c:v>
                </c:pt>
                <c:pt idx="103">
                  <c:v>0.3781446540880503</c:v>
                </c:pt>
                <c:pt idx="104">
                  <c:v>0.3595617529880478</c:v>
                </c:pt>
                <c:pt idx="105">
                  <c:v>0.40772532188841204</c:v>
                </c:pt>
                <c:pt idx="106">
                  <c:v>0.39878542510121456</c:v>
                </c:pt>
                <c:pt idx="107">
                  <c:v>0.3992248062015504</c:v>
                </c:pt>
                <c:pt idx="108">
                  <c:v>0.4215328467153285</c:v>
                </c:pt>
              </c:numCache>
            </c:numRef>
          </c:yVal>
          <c:smooth val="0"/>
          <c:extLst>
            <c:ext xmlns:c16="http://schemas.microsoft.com/office/drawing/2014/chart" uri="{C3380CC4-5D6E-409C-BE32-E72D297353CC}">
              <c16:uniqueId val="{00000000-096C-4121-9522-6AB7243CCAAE}"/>
            </c:ext>
          </c:extLst>
        </c:ser>
        <c:ser>
          <c:idx val="1"/>
          <c:order val="1"/>
          <c:tx>
            <c:strRef>
              <c:f>Sheet1!$B$1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3:$A$160</c:f>
              <c:numCache>
                <c:formatCode>General</c:formatCode>
                <c:ptCount val="48"/>
                <c:pt idx="0">
                  <c:v>0.381188315301391</c:v>
                </c:pt>
                <c:pt idx="1">
                  <c:v>0.41627333050487914</c:v>
                </c:pt>
                <c:pt idx="2">
                  <c:v>0.32783757369317434</c:v>
                </c:pt>
                <c:pt idx="3">
                  <c:v>0.39445088607594936</c:v>
                </c:pt>
                <c:pt idx="4">
                  <c:v>0.38938626569524104</c:v>
                </c:pt>
                <c:pt idx="5">
                  <c:v>0.3814997532387415</c:v>
                </c:pt>
                <c:pt idx="6">
                  <c:v>0.2915725231142751</c:v>
                </c:pt>
                <c:pt idx="7">
                  <c:v>0.3196635453391623</c:v>
                </c:pt>
                <c:pt idx="8">
                  <c:v>0.4586077651149314</c:v>
                </c:pt>
                <c:pt idx="9">
                  <c:v>0.34889540212209746</c:v>
                </c:pt>
                <c:pt idx="10">
                  <c:v>0.35832668479903296</c:v>
                </c:pt>
                <c:pt idx="11">
                  <c:v>0.30589249498673393</c:v>
                </c:pt>
                <c:pt idx="12">
                  <c:v>0.30784179886479407</c:v>
                </c:pt>
                <c:pt idx="13">
                  <c:v>0.3781788628762542</c:v>
                </c:pt>
                <c:pt idx="14">
                  <c:v>0.2875743831432061</c:v>
                </c:pt>
                <c:pt idx="15">
                  <c:v>0.3098643144620338</c:v>
                </c:pt>
                <c:pt idx="16">
                  <c:v>0.3321838380979337</c:v>
                </c:pt>
                <c:pt idx="17">
                  <c:v>0.33318912919749577</c:v>
                </c:pt>
                <c:pt idx="18">
                  <c:v>0.3294320011378182</c:v>
                </c:pt>
                <c:pt idx="19">
                  <c:v>0.27689416151715324</c:v>
                </c:pt>
                <c:pt idx="20">
                  <c:v>0.24706173305644702</c:v>
                </c:pt>
                <c:pt idx="21">
                  <c:v>0.28985533634418825</c:v>
                </c:pt>
                <c:pt idx="22">
                  <c:v>0.47386970954356844</c:v>
                </c:pt>
                <c:pt idx="23">
                  <c:v>0.4530950147710487</c:v>
                </c:pt>
                <c:pt idx="24">
                  <c:v>0.34809298579587056</c:v>
                </c:pt>
                <c:pt idx="25">
                  <c:v>0.20289375533185464</c:v>
                </c:pt>
                <c:pt idx="26">
                  <c:v>0.2101715746421268</c:v>
                </c:pt>
                <c:pt idx="27">
                  <c:v>0.2738434225320441</c:v>
                </c:pt>
                <c:pt idx="28">
                  <c:v>0.19856229481286933</c:v>
                </c:pt>
                <c:pt idx="29">
                  <c:v>0.49738924818108327</c:v>
                </c:pt>
                <c:pt idx="30">
                  <c:v>0.3253531220242144</c:v>
                </c:pt>
                <c:pt idx="31">
                  <c:v>0.4116715013586957</c:v>
                </c:pt>
                <c:pt idx="32">
                  <c:v>0.2665920794126771</c:v>
                </c:pt>
                <c:pt idx="33">
                  <c:v>0.2996577777777778</c:v>
                </c:pt>
                <c:pt idx="34">
                  <c:v>0.28783008639308855</c:v>
                </c:pt>
                <c:pt idx="35">
                  <c:v>0.2636389646956898</c:v>
                </c:pt>
                <c:pt idx="36">
                  <c:v>0.2579711313131313</c:v>
                </c:pt>
                <c:pt idx="37">
                  <c:v>0.42772649544863456</c:v>
                </c:pt>
                <c:pt idx="38">
                  <c:v>0.37138001423487543</c:v>
                </c:pt>
                <c:pt idx="39">
                  <c:v>0.33984888668613283</c:v>
                </c:pt>
                <c:pt idx="40">
                  <c:v>0.34922399088599143</c:v>
                </c:pt>
                <c:pt idx="41">
                  <c:v>0.3274251191608254</c:v>
                </c:pt>
                <c:pt idx="42">
                  <c:v>0.3335892499865155</c:v>
                </c:pt>
                <c:pt idx="43">
                  <c:v>0.31846148930258406</c:v>
                </c:pt>
                <c:pt idx="44">
                  <c:v>0.3232918309266003</c:v>
                </c:pt>
                <c:pt idx="45">
                  <c:v>0.33006982130092927</c:v>
                </c:pt>
                <c:pt idx="46">
                  <c:v>0.2816873858331642</c:v>
                </c:pt>
                <c:pt idx="47">
                  <c:v>0.2436677276746242</c:v>
                </c:pt>
              </c:numCache>
            </c:numRef>
          </c:xVal>
          <c:yVal>
            <c:numRef>
              <c:f>Sheet1!$B$113:$B$160</c:f>
              <c:numCache>
                <c:formatCode>General</c:formatCode>
                <c:ptCount val="48"/>
                <c:pt idx="0">
                  <c:v>0.36459246275197194</c:v>
                </c:pt>
                <c:pt idx="1">
                  <c:v>0.36432637571157495</c:v>
                </c:pt>
                <c:pt idx="2">
                  <c:v>0.38015873015873014</c:v>
                </c:pt>
                <c:pt idx="3">
                  <c:v>0.411231884057971</c:v>
                </c:pt>
                <c:pt idx="4">
                  <c:v>0.4082784571966134</c:v>
                </c:pt>
                <c:pt idx="5">
                  <c:v>0.3985828166519043</c:v>
                </c:pt>
                <c:pt idx="6">
                  <c:v>0.4247191011235955</c:v>
                </c:pt>
                <c:pt idx="7">
                  <c:v>0.40429887410440124</c:v>
                </c:pt>
                <c:pt idx="8">
                  <c:v>0.4306784660766962</c:v>
                </c:pt>
                <c:pt idx="9">
                  <c:v>0.4238845144356955</c:v>
                </c:pt>
                <c:pt idx="10">
                  <c:v>0.41405269761606023</c:v>
                </c:pt>
                <c:pt idx="11">
                  <c:v>0.4186046511627907</c:v>
                </c:pt>
                <c:pt idx="12">
                  <c:v>0.42744063324538256</c:v>
                </c:pt>
                <c:pt idx="13">
                  <c:v>0.4231943031536114</c:v>
                </c:pt>
                <c:pt idx="14">
                  <c:v>0.43902439024390244</c:v>
                </c:pt>
                <c:pt idx="15">
                  <c:v>0.40942028985507245</c:v>
                </c:pt>
                <c:pt idx="16">
                  <c:v>0.38026315789473686</c:v>
                </c:pt>
                <c:pt idx="17">
                  <c:v>0.3827683615819209</c:v>
                </c:pt>
                <c:pt idx="18">
                  <c:v>0.39783001808318263</c:v>
                </c:pt>
                <c:pt idx="19">
                  <c:v>0.3971631205673759</c:v>
                </c:pt>
                <c:pt idx="20">
                  <c:v>0.4074803149606299</c:v>
                </c:pt>
                <c:pt idx="21">
                  <c:v>0.417910447761194</c:v>
                </c:pt>
                <c:pt idx="22">
                  <c:v>0.38997214484679665</c:v>
                </c:pt>
                <c:pt idx="23">
                  <c:v>0.41025641025641024</c:v>
                </c:pt>
                <c:pt idx="24">
                  <c:v>0.3926247288503254</c:v>
                </c:pt>
                <c:pt idx="25">
                  <c:v>0.39368770764119604</c:v>
                </c:pt>
                <c:pt idx="26">
                  <c:v>0.3711484593837535</c:v>
                </c:pt>
                <c:pt idx="27">
                  <c:v>0.4111310592459605</c:v>
                </c:pt>
                <c:pt idx="28">
                  <c:v>0.3861566484517304</c:v>
                </c:pt>
                <c:pt idx="29">
                  <c:v>0.3948220064724919</c:v>
                </c:pt>
                <c:pt idx="30">
                  <c:v>0.39281437125748503</c:v>
                </c:pt>
                <c:pt idx="31">
                  <c:v>0.3983606557377049</c:v>
                </c:pt>
                <c:pt idx="32">
                  <c:v>0.368532206969377</c:v>
                </c:pt>
                <c:pt idx="33">
                  <c:v>0.4056795131845842</c:v>
                </c:pt>
                <c:pt idx="34">
                  <c:v>0.4077868852459016</c:v>
                </c:pt>
                <c:pt idx="35">
                  <c:v>0.44233576642335765</c:v>
                </c:pt>
                <c:pt idx="36">
                  <c:v>0.39093959731543626</c:v>
                </c:pt>
                <c:pt idx="37">
                  <c:v>0.378419452887538</c:v>
                </c:pt>
                <c:pt idx="38">
                  <c:v>0.4044750430292599</c:v>
                </c:pt>
                <c:pt idx="39">
                  <c:v>0.399737876802097</c:v>
                </c:pt>
                <c:pt idx="40">
                  <c:v>0.3968253968253968</c:v>
                </c:pt>
                <c:pt idx="41">
                  <c:v>0.4198822759973839</c:v>
                </c:pt>
                <c:pt idx="42">
                  <c:v>0.3951137320977254</c:v>
                </c:pt>
                <c:pt idx="43">
                  <c:v>0.40425531914893614</c:v>
                </c:pt>
                <c:pt idx="44">
                  <c:v>0.37380801017164655</c:v>
                </c:pt>
                <c:pt idx="45">
                  <c:v>0.3828856964397252</c:v>
                </c:pt>
                <c:pt idx="46">
                  <c:v>0.41544271926143517</c:v>
                </c:pt>
                <c:pt idx="47">
                  <c:v>0.387994143484626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4.0601396011473</c:v>
                </c:pt>
              </c:numCache>
            </c:numRef>
          </c:xVal>
          <c:yVal>
            <c:numRef>
              <c:f>Sheet1!$B$163:$B$164</c:f>
              <c:numCache>
                <c:formatCode>General</c:formatCode>
                <c:ptCount val="2"/>
                <c:pt idx="0">
                  <c:v>0.5819978546548925</c:v>
                </c:pt>
                <c:pt idx="1">
                  <c:v>0.58199785465489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4.0601396011473</c:v>
                </c:pt>
                <c:pt idx="1">
                  <c:v>-34.0601396011473</c:v>
                </c:pt>
              </c:numCache>
            </c:numRef>
          </c:xVal>
          <c:yVal>
            <c:numRef>
              <c:f>Sheet1!$B$167:$B$168</c:f>
              <c:numCache>
                <c:formatCode>General</c:formatCode>
                <c:ptCount val="2"/>
                <c:pt idx="0">
                  <c:v>0.58199785465489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375000858132335</c:v>
                </c:pt>
              </c:numCache>
            </c:numRef>
          </c:xVal>
          <c:yVal>
            <c:numRef>
              <c:f>Sheet1!$B$171:$B$172</c:f>
              <c:numCache>
                <c:formatCode>General</c:formatCode>
                <c:ptCount val="2"/>
                <c:pt idx="0">
                  <c:v>0.4106951461970427</c:v>
                </c:pt>
                <c:pt idx="1">
                  <c:v>0.410695146197042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375000858132335</c:v>
                </c:pt>
                <c:pt idx="1">
                  <c:v>-1.5375000858132335</c:v>
                </c:pt>
              </c:numCache>
            </c:numRef>
          </c:xVal>
          <c:yVal>
            <c:numRef>
              <c:f>Sheet1!$B$175:$B$176</c:f>
              <c:numCache>
                <c:formatCode>General</c:formatCode>
                <c:ptCount val="2"/>
                <c:pt idx="0">
                  <c:v>0.41069514619704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081784303790702</c:v>
                </c:pt>
              </c:numCache>
            </c:numRef>
          </c:xVal>
          <c:yVal>
            <c:numRef>
              <c:f>Sheet1!$B$179:$B$180</c:f>
              <c:numCache>
                <c:formatCode>General</c:formatCode>
                <c:ptCount val="2"/>
                <c:pt idx="0">
                  <c:v>0.3993934638372742</c:v>
                </c:pt>
                <c:pt idx="1">
                  <c:v>0.399393463837274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081784303790702</c:v>
                </c:pt>
                <c:pt idx="1">
                  <c:v>0.6081784303790702</c:v>
                </c:pt>
              </c:numCache>
            </c:numRef>
          </c:xVal>
          <c:yVal>
            <c:numRef>
              <c:f>Sheet1!$B$183:$B$184</c:f>
              <c:numCache>
                <c:formatCode>General</c:formatCode>
                <c:ptCount val="2"/>
                <c:pt idx="0">
                  <c:v>0.39939346383727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7</c:f>
              <c:numCache>
                <c:formatCode>General</c:formatCode>
                <c:ptCount val="51"/>
                <c:pt idx="0">
                  <c:v>0.381188315301391</c:v>
                </c:pt>
                <c:pt idx="1">
                  <c:v>0.41627333050487914</c:v>
                </c:pt>
                <c:pt idx="2">
                  <c:v>0.32783757369317434</c:v>
                </c:pt>
                <c:pt idx="3">
                  <c:v>0.39445088607594936</c:v>
                </c:pt>
                <c:pt idx="4">
                  <c:v>0.38938626569524104</c:v>
                </c:pt>
                <c:pt idx="5">
                  <c:v>0.3814997532387415</c:v>
                </c:pt>
                <c:pt idx="6">
                  <c:v>0.2915725231142751</c:v>
                </c:pt>
                <c:pt idx="7">
                  <c:v>0.3196635453391623</c:v>
                </c:pt>
                <c:pt idx="8">
                  <c:v>0.4586077651149314</c:v>
                </c:pt>
                <c:pt idx="9">
                  <c:v>0.34889540212209746</c:v>
                </c:pt>
                <c:pt idx="10">
                  <c:v>0.35832668479903296</c:v>
                </c:pt>
                <c:pt idx="11">
                  <c:v>0.30589249498673393</c:v>
                </c:pt>
                <c:pt idx="12">
                  <c:v>0.30784179886479407</c:v>
                </c:pt>
                <c:pt idx="13">
                  <c:v>0.3781788628762542</c:v>
                </c:pt>
                <c:pt idx="14">
                  <c:v>0.2875743831432061</c:v>
                </c:pt>
                <c:pt idx="15">
                  <c:v>0.3098643144620338</c:v>
                </c:pt>
                <c:pt idx="16">
                  <c:v>0.3321838380979337</c:v>
                </c:pt>
                <c:pt idx="17">
                  <c:v>0.33318912919749577</c:v>
                </c:pt>
                <c:pt idx="18">
                  <c:v>0.3294320011378182</c:v>
                </c:pt>
                <c:pt idx="19">
                  <c:v>0.27689416151715324</c:v>
                </c:pt>
                <c:pt idx="20">
                  <c:v>0.24706173305644702</c:v>
                </c:pt>
                <c:pt idx="21">
                  <c:v>0.28985533634418825</c:v>
                </c:pt>
                <c:pt idx="22">
                  <c:v>0.47386970954356844</c:v>
                </c:pt>
                <c:pt idx="23">
                  <c:v>0.4530950147710487</c:v>
                </c:pt>
                <c:pt idx="24">
                  <c:v>0.34809298579587056</c:v>
                </c:pt>
                <c:pt idx="25">
                  <c:v>0.20289375533185464</c:v>
                </c:pt>
                <c:pt idx="26">
                  <c:v>0.2101715746421268</c:v>
                </c:pt>
                <c:pt idx="27">
                  <c:v>0.2738434225320441</c:v>
                </c:pt>
                <c:pt idx="28">
                  <c:v>0.19856229481286933</c:v>
                </c:pt>
                <c:pt idx="29">
                  <c:v>0.49738924818108327</c:v>
                </c:pt>
                <c:pt idx="30">
                  <c:v>0.3253531220242144</c:v>
                </c:pt>
                <c:pt idx="31">
                  <c:v>0.4116715013586957</c:v>
                </c:pt>
                <c:pt idx="32">
                  <c:v>0.2665920794126771</c:v>
                </c:pt>
                <c:pt idx="33">
                  <c:v>0.2996577777777778</c:v>
                </c:pt>
                <c:pt idx="34">
                  <c:v>0.28783008639308855</c:v>
                </c:pt>
                <c:pt idx="35">
                  <c:v>0.2636389646956898</c:v>
                </c:pt>
                <c:pt idx="36">
                  <c:v>0.2579711313131313</c:v>
                </c:pt>
                <c:pt idx="37">
                  <c:v>0.42772649544863456</c:v>
                </c:pt>
                <c:pt idx="38">
                  <c:v>0.37138001423487543</c:v>
                </c:pt>
                <c:pt idx="39">
                  <c:v>0.33984888668613283</c:v>
                </c:pt>
                <c:pt idx="40">
                  <c:v>0.34922399088599143</c:v>
                </c:pt>
                <c:pt idx="41">
                  <c:v>0.3274251191608254</c:v>
                </c:pt>
                <c:pt idx="42">
                  <c:v>0.3335892499865155</c:v>
                </c:pt>
                <c:pt idx="43">
                  <c:v>0.31846148930258406</c:v>
                </c:pt>
                <c:pt idx="44">
                  <c:v>0.3232918309266003</c:v>
                </c:pt>
                <c:pt idx="45">
                  <c:v>0.33006982130092927</c:v>
                </c:pt>
                <c:pt idx="46">
                  <c:v>0.2816873858331642</c:v>
                </c:pt>
                <c:pt idx="47">
                  <c:v>0.2436677276746242</c:v>
                </c:pt>
                <c:pt idx="48">
                  <c:v>-1.5375000858132335</c:v>
                </c:pt>
                <c:pt idx="49">
                  <c:v>-34.0601396011473</c:v>
                </c:pt>
                <c:pt idx="50">
                  <c:v>0.6081784303790702</c:v>
                </c:pt>
              </c:numCache>
            </c:numRef>
          </c:xVal>
          <c:yVal>
            <c:numRef>
              <c:f>Sheet1!$B$187:$B$237</c:f>
              <c:numCache>
                <c:formatCode>General</c:formatCode>
                <c:ptCount val="51"/>
                <c:pt idx="0">
                  <c:v>0.4005890624136945</c:v>
                </c:pt>
                <c:pt idx="1">
                  <c:v>0.400404263202431</c:v>
                </c:pt>
                <c:pt idx="2">
                  <c:v>0.4008700705566964</c:v>
                </c:pt>
                <c:pt idx="3">
                  <c:v>0.40051920602046653</c:v>
                </c:pt>
                <c:pt idx="4">
                  <c:v>0.40054588230509336</c:v>
                </c:pt>
                <c:pt idx="5">
                  <c:v>0.4005874220129466</c:v>
                </c:pt>
                <c:pt idx="6">
                  <c:v>0.40106108523075434</c:v>
                </c:pt>
                <c:pt idx="7">
                  <c:v>0.40091312466352536</c:v>
                </c:pt>
                <c:pt idx="8">
                  <c:v>0.40018127996928</c:v>
                </c:pt>
                <c:pt idx="9">
                  <c:v>0.4007591551113982</c:v>
                </c:pt>
                <c:pt idx="10">
                  <c:v>0.4007094788154128</c:v>
                </c:pt>
                <c:pt idx="11">
                  <c:v>0.4009856593119683</c:v>
                </c:pt>
                <c:pt idx="12">
                  <c:v>0.4009753919708516</c:v>
                </c:pt>
                <c:pt idx="13">
                  <c:v>0.4006049137516881</c:v>
                </c:pt>
                <c:pt idx="14">
                  <c:v>0.4010821441674226</c:v>
                </c:pt>
                <c:pt idx="15">
                  <c:v>0.40096473901017965</c:v>
                </c:pt>
                <c:pt idx="16">
                  <c:v>0.40084717798477404</c:v>
                </c:pt>
                <c:pt idx="17">
                  <c:v>0.4008418829321366</c:v>
                </c:pt>
                <c:pt idx="18">
                  <c:v>0.400861672414855</c:v>
                </c:pt>
                <c:pt idx="19">
                  <c:v>0.4011383988539652</c:v>
                </c:pt>
                <c:pt idx="20">
                  <c:v>0.4012955317272913</c:v>
                </c:pt>
                <c:pt idx="21">
                  <c:v>0.4010701299684825</c:v>
                </c:pt>
                <c:pt idx="22">
                  <c:v>0.40010089250823994</c:v>
                </c:pt>
                <c:pt idx="23">
                  <c:v>0.40021031663663026</c:v>
                </c:pt>
                <c:pt idx="24">
                  <c:v>0.4007633815853881</c:v>
                </c:pt>
                <c:pt idx="25">
                  <c:v>0.40152817256838175</c:v>
                </c:pt>
                <c:pt idx="26">
                  <c:v>0.40148983895899165</c:v>
                </c:pt>
                <c:pt idx="27">
                  <c:v>0.401154467655844</c:v>
                </c:pt>
                <c:pt idx="28">
                  <c:v>0.401550987165522</c:v>
                </c:pt>
                <c:pt idx="29">
                  <c:v>0.39997701078368353</c:v>
                </c:pt>
                <c:pt idx="30">
                  <c:v>0.40088315661939816</c:v>
                </c:pt>
                <c:pt idx="31">
                  <c:v>0.4004285018807286</c:v>
                </c:pt>
                <c:pt idx="32">
                  <c:v>0.4011926618102797</c:v>
                </c:pt>
                <c:pt idx="33">
                  <c:v>0.4010184987112384</c:v>
                </c:pt>
                <c:pt idx="34">
                  <c:v>0.4010807973314979</c:v>
                </c:pt>
                <c:pt idx="35">
                  <c:v>0.40120821640722953</c:v>
                </c:pt>
                <c:pt idx="36">
                  <c:v>0.4012380699253938</c:v>
                </c:pt>
                <c:pt idx="37">
                  <c:v>0.40034393728164114</c:v>
                </c:pt>
                <c:pt idx="38">
                  <c:v>0.4006407245347002</c:v>
                </c:pt>
                <c:pt idx="39">
                  <c:v>0.4008068047677416</c:v>
                </c:pt>
                <c:pt idx="40">
                  <c:v>0.40075742437410067</c:v>
                </c:pt>
                <c:pt idx="41">
                  <c:v>0.40087224303038116</c:v>
                </c:pt>
                <c:pt idx="42">
                  <c:v>0.40083977542254046</c:v>
                </c:pt>
                <c:pt idx="43">
                  <c:v>0.40091945611318175</c:v>
                </c:pt>
                <c:pt idx="44">
                  <c:v>0.4008940138177438</c:v>
                </c:pt>
                <c:pt idx="45">
                  <c:v>0.40085831289905066</c:v>
                </c:pt>
                <c:pt idx="46">
                  <c:v>0.40111315206219755</c:v>
                </c:pt>
                <c:pt idx="47">
                  <c:v>0.40131340857625225</c:v>
                </c:pt>
                <c:pt idx="48">
                  <c:v>0.4106951461970427</c:v>
                </c:pt>
                <c:pt idx="49">
                  <c:v>0.5819978546548925</c:v>
                </c:pt>
                <c:pt idx="50">
                  <c:v>0.39939346383727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564556962025316"/>
          <c:min val="0.265205479452054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7.2133</c:v>
                </c:pt>
                <c:pt idx="1">
                  <c:v>877.2519</c:v>
                </c:pt>
                <c:pt idx="2">
                  <c:v>917.5777</c:v>
                </c:pt>
                <c:pt idx="3">
                  <c:v>940.0522</c:v>
                </c:pt>
                <c:pt idx="4">
                  <c:v>942.9466</c:v>
                </c:pt>
                <c:pt idx="5">
                  <c:v>940.5413</c:v>
                </c:pt>
                <c:pt idx="6">
                  <c:v>887.2009</c:v>
                </c:pt>
                <c:pt idx="7">
                  <c:v>890.573</c:v>
                </c:pt>
                <c:pt idx="8">
                  <c:v>890.485</c:v>
                </c:pt>
                <c:pt idx="9">
                  <c:v>829.306</c:v>
                </c:pt>
                <c:pt idx="10">
                  <c:v>827.1186</c:v>
                </c:pt>
                <c:pt idx="11">
                  <c:v>891.8317</c:v>
                </c:pt>
                <c:pt idx="12">
                  <c:v>911.1471</c:v>
                </c:pt>
                <c:pt idx="13">
                  <c:v>918.2488</c:v>
                </c:pt>
                <c:pt idx="14">
                  <c:v>931.2271</c:v>
                </c:pt>
                <c:pt idx="15">
                  <c:v>953.6029</c:v>
                </c:pt>
                <c:pt idx="16">
                  <c:v>981.6713</c:v>
                </c:pt>
                <c:pt idx="17">
                  <c:v>1018.5657</c:v>
                </c:pt>
                <c:pt idx="18">
                  <c:v>1041.2207</c:v>
                </c:pt>
                <c:pt idx="19">
                  <c:v>1086.6802</c:v>
                </c:pt>
                <c:pt idx="20">
                  <c:v>1110.5325</c:v>
                </c:pt>
                <c:pt idx="21">
                  <c:v>1099.5771</c:v>
                </c:pt>
                <c:pt idx="22">
                  <c:v>1042.7054</c:v>
                </c:pt>
                <c:pt idx="23">
                  <c:v>1029.1</c:v>
                </c:pt>
                <c:pt idx="24">
                  <c:v>1025.4099</c:v>
                </c:pt>
                <c:pt idx="25">
                  <c:v>995.7209</c:v>
                </c:pt>
                <c:pt idx="26">
                  <c:v>990.8553</c:v>
                </c:pt>
                <c:pt idx="27">
                  <c:v>991.936</c:v>
                </c:pt>
                <c:pt idx="28">
                  <c:v>1018.6053</c:v>
                </c:pt>
                <c:pt idx="29">
                  <c:v>981.9103</c:v>
                </c:pt>
                <c:pt idx="30">
                  <c:v>989.6321</c:v>
                </c:pt>
                <c:pt idx="31">
                  <c:v>981.6377</c:v>
                </c:pt>
                <c:pt idx="32">
                  <c:v>935.5581</c:v>
                </c:pt>
                <c:pt idx="33">
                  <c:v>877.0863</c:v>
                </c:pt>
                <c:pt idx="34">
                  <c:v>916.2072</c:v>
                </c:pt>
                <c:pt idx="35">
                  <c:v>930.9124</c:v>
                </c:pt>
                <c:pt idx="36">
                  <c:v>1034.2904</c:v>
                </c:pt>
                <c:pt idx="37">
                  <c:v>1043.3075</c:v>
                </c:pt>
                <c:pt idx="38">
                  <c:v>1119.0669</c:v>
                </c:pt>
                <c:pt idx="39">
                  <c:v>1120.0598</c:v>
                </c:pt>
                <c:pt idx="40">
                  <c:v>1103.3215</c:v>
                </c:pt>
                <c:pt idx="41">
                  <c:v>1177.7735</c:v>
                </c:pt>
                <c:pt idx="42">
                  <c:v>1182.138</c:v>
                </c:pt>
                <c:pt idx="43">
                  <c:v>1197.2529</c:v>
                </c:pt>
                <c:pt idx="44">
                  <c:v>1127.06</c:v>
                </c:pt>
                <c:pt idx="45">
                  <c:v>1084.933</c:v>
                </c:pt>
                <c:pt idx="46">
                  <c:v>1082.7635</c:v>
                </c:pt>
                <c:pt idx="47">
                  <c:v>1071.1731</c:v>
                </c:pt>
                <c:pt idx="48">
                  <c:v>1062.1098</c:v>
                </c:pt>
                <c:pt idx="49">
                  <c:v>1029.0565</c:v>
                </c:pt>
                <c:pt idx="50">
                  <c:v>1025.2214</c:v>
                </c:pt>
                <c:pt idx="51">
                  <c:v>1038.711</c:v>
                </c:pt>
                <c:pt idx="52">
                  <c:v>1057.6039</c:v>
                </c:pt>
                <c:pt idx="53">
                  <c:v>1153.2937</c:v>
                </c:pt>
                <c:pt idx="54">
                  <c:v>1120.9229</c:v>
                </c:pt>
                <c:pt idx="55">
                  <c:v>1153.376</c:v>
                </c:pt>
                <c:pt idx="56">
                  <c:v>1175.2733</c:v>
                </c:pt>
                <c:pt idx="57">
                  <c:v>1122.8936</c:v>
                </c:pt>
                <c:pt idx="58">
                  <c:v>1071.4586</c:v>
                </c:pt>
                <c:pt idx="59">
                  <c:v>1078.1926</c:v>
                </c:pt>
                <c:pt idx="60">
                  <c:v>1093.9389</c:v>
                </c:pt>
                <c:pt idx="61">
                  <c:v>1133.9046</c:v>
                </c:pt>
                <c:pt idx="62">
                  <c:v>1045.125</c:v>
                </c:pt>
                <c:pt idx="63">
                  <c:v>1072.3098</c:v>
                </c:pt>
                <c:pt idx="64">
                  <c:v>1100.5709</c:v>
                </c:pt>
                <c:pt idx="65">
                  <c:v>1096.3523</c:v>
                </c:pt>
                <c:pt idx="66">
                  <c:v>1116.5751</c:v>
                </c:pt>
                <c:pt idx="67">
                  <c:v>1158.4419</c:v>
                </c:pt>
                <c:pt idx="68">
                  <c:v>1207.5436</c:v>
                </c:pt>
                <c:pt idx="69">
                  <c:v>1256.0455</c:v>
                </c:pt>
                <c:pt idx="70">
                  <c:v>1275.5212</c:v>
                </c:pt>
                <c:pt idx="71">
                  <c:v>1308.4711</c:v>
                </c:pt>
                <c:pt idx="72">
                  <c:v>1329.8</c:v>
                </c:pt>
                <c:pt idx="73">
                  <c:v>1356.0173</c:v>
                </c:pt>
                <c:pt idx="74">
                  <c:v>1305.4</c:v>
                </c:pt>
                <c:pt idx="75">
                  <c:v>1278.3974</c:v>
                </c:pt>
                <c:pt idx="76">
                  <c:v>1282.5895</c:v>
                </c:pt>
                <c:pt idx="77">
                  <c:v>1260.0653</c:v>
                </c:pt>
                <c:pt idx="78">
                  <c:v>1315.4167</c:v>
                </c:pt>
                <c:pt idx="79">
                  <c:v>1286.0452</c:v>
                </c:pt>
                <c:pt idx="80">
                  <c:v>1291.0207</c:v>
                </c:pt>
                <c:pt idx="81">
                  <c:v>1198.6187</c:v>
                </c:pt>
                <c:pt idx="82">
                  <c:v>1245.9835</c:v>
                </c:pt>
                <c:pt idx="83">
                  <c:v>1230.1402</c:v>
                </c:pt>
                <c:pt idx="84">
                  <c:v>1229.2152</c:v>
                </c:pt>
                <c:pt idx="85">
                  <c:v>1180.1147</c:v>
                </c:pt>
                <c:pt idx="86">
                  <c:v>1191.4735</c:v>
                </c:pt>
                <c:pt idx="87">
                  <c:v>1172.2278</c:v>
                </c:pt>
                <c:pt idx="88">
                  <c:v>1240.9554</c:v>
                </c:pt>
                <c:pt idx="89">
                  <c:v>1220.8264</c:v>
                </c:pt>
                <c:pt idx="90">
                  <c:v>1291.3364</c:v>
                </c:pt>
                <c:pt idx="91">
                  <c:v>1304.7757</c:v>
                </c:pt>
                <c:pt idx="92">
                  <c:v>1246.7855</c:v>
                </c:pt>
                <c:pt idx="93">
                  <c:v>1279.128</c:v>
                </c:pt>
                <c:pt idx="94">
                  <c:v>1275.8279</c:v>
                </c:pt>
                <c:pt idx="95">
                  <c:v>1194.9155</c:v>
                </c:pt>
                <c:pt idx="96">
                  <c:v>1151.5033</c:v>
                </c:pt>
                <c:pt idx="97">
                  <c:v>1128.1682</c:v>
                </c:pt>
                <c:pt idx="98">
                  <c:v>1120.5328</c:v>
                </c:pt>
                <c:pt idx="99">
                  <c:v>1105.6234</c:v>
                </c:pt>
                <c:pt idx="100">
                  <c:v>1088.5235</c:v>
                </c:pt>
                <c:pt idx="101">
                  <c:v>1093.919</c:v>
                </c:pt>
                <c:pt idx="102">
                  <c:v>1122.164</c:v>
                </c:pt>
                <c:pt idx="103">
                  <c:v>1111.1996</c:v>
                </c:pt>
                <c:pt idx="104">
                  <c:v>1182.4211</c:v>
                </c:pt>
              </c:numCache>
            </c:numRef>
          </c:xVal>
          <c:yVal>
            <c:numRef>
              <c:f>Sheet1!$B$2:$B$106</c:f>
              <c:numCache>
                <c:formatCode>General</c:formatCode>
                <c:ptCount val="105"/>
                <c:pt idx="0">
                  <c:v>0.5135845749342682</c:v>
                </c:pt>
                <c:pt idx="1">
                  <c:v>0.58719646799117</c:v>
                </c:pt>
                <c:pt idx="2">
                  <c:v>0.623006833712984</c:v>
                </c:pt>
                <c:pt idx="3">
                  <c:v>0.6303797468354431</c:v>
                </c:pt>
                <c:pt idx="4">
                  <c:v>0.6174785100286533</c:v>
                </c:pt>
                <c:pt idx="5">
                  <c:v>0.553763440860215</c:v>
                </c:pt>
                <c:pt idx="6">
                  <c:v>0.5346062052505967</c:v>
                </c:pt>
                <c:pt idx="7">
                  <c:v>0.592</c:v>
                </c:pt>
                <c:pt idx="8">
                  <c:v>0.5859649122807018</c:v>
                </c:pt>
                <c:pt idx="9">
                  <c:v>0.5690021231422505</c:v>
                </c:pt>
                <c:pt idx="10">
                  <c:v>0.5365853658536586</c:v>
                </c:pt>
                <c:pt idx="11">
                  <c:v>0.48578199052132703</c:v>
                </c:pt>
                <c:pt idx="12">
                  <c:v>0.46282722513089003</c:v>
                </c:pt>
                <c:pt idx="13">
                  <c:v>0.3969022265246854</c:v>
                </c:pt>
                <c:pt idx="14">
                  <c:v>0.39138240574506283</c:v>
                </c:pt>
                <c:pt idx="15">
                  <c:v>0.3854625550660793</c:v>
                </c:pt>
                <c:pt idx="16">
                  <c:v>0.3783068783068783</c:v>
                </c:pt>
                <c:pt idx="17">
                  <c:v>0.3530239099859353</c:v>
                </c:pt>
                <c:pt idx="18">
                  <c:v>0.36038961038961037</c:v>
                </c:pt>
                <c:pt idx="19">
                  <c:v>0.3644067796610169</c:v>
                </c:pt>
                <c:pt idx="20">
                  <c:v>0.37138263665594856</c:v>
                </c:pt>
                <c:pt idx="21">
                  <c:v>0.4069767441860465</c:v>
                </c:pt>
                <c:pt idx="22">
                  <c:v>0.5</c:v>
                </c:pt>
                <c:pt idx="23">
                  <c:v>0.48096192384769537</c:v>
                </c:pt>
                <c:pt idx="24">
                  <c:v>0.5053571428571428</c:v>
                </c:pt>
                <c:pt idx="25">
                  <c:v>0.5119047619047619</c:v>
                </c:pt>
                <c:pt idx="26">
                  <c:v>0.5250431778929189</c:v>
                </c:pt>
                <c:pt idx="27">
                  <c:v>0.5</c:v>
                </c:pt>
                <c:pt idx="28">
                  <c:v>0.4802527646129542</c:v>
                </c:pt>
                <c:pt idx="29">
                  <c:v>0.47375</c:v>
                </c:pt>
                <c:pt idx="30">
                  <c:v>0.5264900662251656</c:v>
                </c:pt>
                <c:pt idx="31">
                  <c:v>0.5083713850837138</c:v>
                </c:pt>
                <c:pt idx="32">
                  <c:v>0.5512820512820513</c:v>
                </c:pt>
                <c:pt idx="33">
                  <c:v>0.5909090909090909</c:v>
                </c:pt>
                <c:pt idx="34">
                  <c:v>0.511049723756906</c:v>
                </c:pt>
                <c:pt idx="35">
                  <c:v>0.49714285714285716</c:v>
                </c:pt>
                <c:pt idx="36">
                  <c:v>0.4863325740318907</c:v>
                </c:pt>
                <c:pt idx="37">
                  <c:v>0.48691860465116277</c:v>
                </c:pt>
                <c:pt idx="38">
                  <c:v>0.4537177541729894</c:v>
                </c:pt>
                <c:pt idx="39">
                  <c:v>0.4574468085106383</c:v>
                </c:pt>
                <c:pt idx="40">
                  <c:v>0.4694783573806881</c:v>
                </c:pt>
                <c:pt idx="41">
                  <c:v>0.42020497803806733</c:v>
                </c:pt>
                <c:pt idx="42">
                  <c:v>0.40852130325814534</c:v>
                </c:pt>
                <c:pt idx="43">
                  <c:v>0.39057239057239057</c:v>
                </c:pt>
                <c:pt idx="44">
                  <c:v>0.4167215273206057</c:v>
                </c:pt>
                <c:pt idx="45">
                  <c:v>0.42848593656493117</c:v>
                </c:pt>
                <c:pt idx="46">
                  <c:v>0.4398843930635838</c:v>
                </c:pt>
                <c:pt idx="47">
                  <c:v>0.4126984126984127</c:v>
                </c:pt>
                <c:pt idx="48">
                  <c:v>0.4267340376665136</c:v>
                </c:pt>
                <c:pt idx="49">
                  <c:v>0.44441235922610456</c:v>
                </c:pt>
                <c:pt idx="50">
                  <c:v>0.42159853569249545</c:v>
                </c:pt>
                <c:pt idx="51">
                  <c:v>0.4232142857142857</c:v>
                </c:pt>
                <c:pt idx="52">
                  <c:v>0.41311697092630156</c:v>
                </c:pt>
                <c:pt idx="53">
                  <c:v>0.4014401440144014</c:v>
                </c:pt>
                <c:pt idx="54">
                  <c:v>0.42094240837696334</c:v>
                </c:pt>
                <c:pt idx="55">
                  <c:v>0.41288278775079196</c:v>
                </c:pt>
                <c:pt idx="56">
                  <c:v>0.40759493670886077</c:v>
                </c:pt>
                <c:pt idx="57">
                  <c:v>0.4387966804979253</c:v>
                </c:pt>
                <c:pt idx="58">
                  <c:v>0.4523809523809524</c:v>
                </c:pt>
                <c:pt idx="59">
                  <c:v>0.47098591549295776</c:v>
                </c:pt>
                <c:pt idx="60">
                  <c:v>0.48169934640522877</c:v>
                </c:pt>
                <c:pt idx="61">
                  <c:v>0.4591633466135458</c:v>
                </c:pt>
                <c:pt idx="62">
                  <c:v>0.4602739726027397</c:v>
                </c:pt>
                <c:pt idx="63">
                  <c:v>0.5047784535186794</c:v>
                </c:pt>
                <c:pt idx="64">
                  <c:v>0.42251461988304095</c:v>
                </c:pt>
                <c:pt idx="65">
                  <c:v>0.3832943013270882</c:v>
                </c:pt>
                <c:pt idx="66">
                  <c:v>0.40221088435374147</c:v>
                </c:pt>
                <c:pt idx="67">
                  <c:v>0.35149863760217986</c:v>
                </c:pt>
                <c:pt idx="68">
                  <c:v>0.345707656612529</c:v>
                </c:pt>
                <c:pt idx="69">
                  <c:v>0.3315068493150685</c:v>
                </c:pt>
                <c:pt idx="70">
                  <c:v>0.3323943661971831</c:v>
                </c:pt>
                <c:pt idx="71">
                  <c:v>0.36585365853658536</c:v>
                </c:pt>
                <c:pt idx="72">
                  <c:v>0.35470668485675305</c:v>
                </c:pt>
                <c:pt idx="73">
                  <c:v>0.3737864077669903</c:v>
                </c:pt>
                <c:pt idx="74">
                  <c:v>0.35907859078590787</c:v>
                </c:pt>
                <c:pt idx="75">
                  <c:v>0.3804878048780488</c:v>
                </c:pt>
                <c:pt idx="76">
                  <c:v>0.3869653767820774</c:v>
                </c:pt>
                <c:pt idx="77">
                  <c:v>0.3841698841698842</c:v>
                </c:pt>
                <c:pt idx="78">
                  <c:v>0.38613861386138615</c:v>
                </c:pt>
                <c:pt idx="79">
                  <c:v>0.3692022263450835</c:v>
                </c:pt>
                <c:pt idx="80">
                  <c:v>0.3391915641476274</c:v>
                </c:pt>
                <c:pt idx="81">
                  <c:v>0.3757309941520468</c:v>
                </c:pt>
                <c:pt idx="82">
                  <c:v>0.38155136268343814</c:v>
                </c:pt>
                <c:pt idx="83">
                  <c:v>0.3735763097949886</c:v>
                </c:pt>
                <c:pt idx="84">
                  <c:v>0.37176470588235294</c:v>
                </c:pt>
                <c:pt idx="85">
                  <c:v>0.4059590316573557</c:v>
                </c:pt>
                <c:pt idx="86">
                  <c:v>0.3911917098445596</c:v>
                </c:pt>
                <c:pt idx="87">
                  <c:v>0.4067796610169492</c:v>
                </c:pt>
                <c:pt idx="88">
                  <c:v>0.4170542635658915</c:v>
                </c:pt>
                <c:pt idx="89">
                  <c:v>0.4223385689354276</c:v>
                </c:pt>
                <c:pt idx="90">
                  <c:v>0.384070796460177</c:v>
                </c:pt>
                <c:pt idx="91">
                  <c:v>0.3525535420098847</c:v>
                </c:pt>
                <c:pt idx="92">
                  <c:v>0.36628643852978454</c:v>
                </c:pt>
                <c:pt idx="93">
                  <c:v>0.3436385255648038</c:v>
                </c:pt>
                <c:pt idx="94">
                  <c:v>0.3505747126436782</c:v>
                </c:pt>
                <c:pt idx="95">
                  <c:v>0.3637295081967213</c:v>
                </c:pt>
                <c:pt idx="96">
                  <c:v>0.4089068825910931</c:v>
                </c:pt>
                <c:pt idx="97">
                  <c:v>0.41226993865030676</c:v>
                </c:pt>
                <c:pt idx="98">
                  <c:v>0.42140992167101826</c:v>
                </c:pt>
                <c:pt idx="99">
                  <c:v>0.41974708171206226</c:v>
                </c:pt>
                <c:pt idx="100">
                  <c:v>0.421994037760848</c:v>
                </c:pt>
                <c:pt idx="101">
                  <c:v>0.44533485975958786</c:v>
                </c:pt>
                <c:pt idx="102">
                  <c:v>0.39981532779316714</c:v>
                </c:pt>
                <c:pt idx="103">
                  <c:v>0.3781446540880503</c:v>
                </c:pt>
                <c:pt idx="104">
                  <c:v>0.35956175298804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3.1442</c:v>
                </c:pt>
                <c:pt idx="1">
                  <c:v>1226.4453</c:v>
                </c:pt>
                <c:pt idx="2">
                  <c:v>1251.1921</c:v>
                </c:pt>
                <c:pt idx="3">
                  <c:v>1246.4648</c:v>
                </c:pt>
                <c:pt idx="4">
                  <c:v>1255.9654</c:v>
                </c:pt>
                <c:pt idx="5">
                  <c:v>1236.8222</c:v>
                </c:pt>
                <c:pt idx="6">
                  <c:v>1089.7037</c:v>
                </c:pt>
                <c:pt idx="7">
                  <c:v>1133.3671</c:v>
                </c:pt>
                <c:pt idx="8">
                  <c:v>1187.1062</c:v>
                </c:pt>
                <c:pt idx="9">
                  <c:v>1134.4334</c:v>
                </c:pt>
                <c:pt idx="10">
                  <c:v>1185.703</c:v>
                </c:pt>
                <c:pt idx="11">
                  <c:v>1004.9588</c:v>
                </c:pt>
                <c:pt idx="12">
                  <c:v>1057.5905</c:v>
                </c:pt>
                <c:pt idx="13">
                  <c:v>1130.7548</c:v>
                </c:pt>
                <c:pt idx="14">
                  <c:v>1096.1377</c:v>
                </c:pt>
                <c:pt idx="15">
                  <c:v>1154.8643</c:v>
                </c:pt>
                <c:pt idx="16">
                  <c:v>1173.6055</c:v>
                </c:pt>
                <c:pt idx="17">
                  <c:v>1170.8266</c:v>
                </c:pt>
                <c:pt idx="18">
                  <c:v>1158.1182</c:v>
                </c:pt>
                <c:pt idx="19">
                  <c:v>1299.4643</c:v>
                </c:pt>
                <c:pt idx="20">
                  <c:v>1308.686</c:v>
                </c:pt>
                <c:pt idx="21">
                  <c:v>1219.4214</c:v>
                </c:pt>
                <c:pt idx="22">
                  <c:v>1256.2286</c:v>
                </c:pt>
                <c:pt idx="23">
                  <c:v>1226.9813</c:v>
                </c:pt>
                <c:pt idx="24">
                  <c:v>1229.2368</c:v>
                </c:pt>
                <c:pt idx="25">
                  <c:v>1188.5635</c:v>
                </c:pt>
                <c:pt idx="26">
                  <c:v>1218.2792</c:v>
                </c:pt>
                <c:pt idx="27">
                  <c:v>1189.1603</c:v>
                </c:pt>
                <c:pt idx="28">
                  <c:v>1233.2868</c:v>
                </c:pt>
                <c:pt idx="29">
                  <c:v>1217.7817</c:v>
                </c:pt>
                <c:pt idx="30">
                  <c:v>1209.6415</c:v>
                </c:pt>
                <c:pt idx="31">
                  <c:v>1222.767</c:v>
                </c:pt>
                <c:pt idx="32">
                  <c:v>1230.541</c:v>
                </c:pt>
                <c:pt idx="33">
                  <c:v>1195.8354</c:v>
                </c:pt>
                <c:pt idx="34">
                  <c:v>1211.9609</c:v>
                </c:pt>
                <c:pt idx="35">
                  <c:v>1289.106</c:v>
                </c:pt>
                <c:pt idx="36">
                  <c:v>1348.46</c:v>
                </c:pt>
                <c:pt idx="37">
                  <c:v>1275.8312</c:v>
                </c:pt>
                <c:pt idx="38">
                  <c:v>1332.6533</c:v>
                </c:pt>
                <c:pt idx="39">
                  <c:v>1217.2211</c:v>
                </c:pt>
                <c:pt idx="40">
                  <c:v>1276.9571</c:v>
                </c:pt>
                <c:pt idx="41">
                  <c:v>1315.6867</c:v>
                </c:pt>
                <c:pt idx="42">
                  <c:v>1304.4723</c:v>
                </c:pt>
                <c:pt idx="43">
                  <c:v>1290.6328</c:v>
                </c:pt>
                <c:pt idx="44">
                  <c:v>1212.3893</c:v>
                </c:pt>
                <c:pt idx="45">
                  <c:v>1151.9907</c:v>
                </c:pt>
                <c:pt idx="46">
                  <c:v>1163.3369</c:v>
                </c:pt>
                <c:pt idx="47">
                  <c:v>1146.1429</c:v>
                </c:pt>
                <c:pt idx="48">
                  <c:v>1141.9745</c:v>
                </c:pt>
                <c:pt idx="49">
                  <c:v>1154.4192</c:v>
                </c:pt>
                <c:pt idx="50">
                  <c:v>1110.299</c:v>
                </c:pt>
                <c:pt idx="51">
                  <c:v>1102.3528</c:v>
                </c:pt>
              </c:numCache>
            </c:numRef>
          </c:xVal>
          <c:yVal>
            <c:numRef>
              <c:f>Sheet1!$B$109:$B$160</c:f>
              <c:numCache>
                <c:formatCode>General</c:formatCode>
                <c:ptCount val="52"/>
                <c:pt idx="0">
                  <c:v>0.36459246275197194</c:v>
                </c:pt>
                <c:pt idx="1">
                  <c:v>0.36432637571157495</c:v>
                </c:pt>
                <c:pt idx="2">
                  <c:v>0.38015873015873014</c:v>
                </c:pt>
                <c:pt idx="3">
                  <c:v>0.411231884057971</c:v>
                </c:pt>
                <c:pt idx="4">
                  <c:v>0.4082784571966134</c:v>
                </c:pt>
                <c:pt idx="5">
                  <c:v>0.3985828166519043</c:v>
                </c:pt>
                <c:pt idx="6">
                  <c:v>0.4247191011235955</c:v>
                </c:pt>
                <c:pt idx="7">
                  <c:v>0.40429887410440124</c:v>
                </c:pt>
                <c:pt idx="8">
                  <c:v>0.4306784660766962</c:v>
                </c:pt>
                <c:pt idx="9">
                  <c:v>0.4238845144356955</c:v>
                </c:pt>
                <c:pt idx="10">
                  <c:v>0.41405269761606023</c:v>
                </c:pt>
                <c:pt idx="11">
                  <c:v>0.4186046511627907</c:v>
                </c:pt>
                <c:pt idx="12">
                  <c:v>0.42744063324538256</c:v>
                </c:pt>
                <c:pt idx="13">
                  <c:v>0.4231943031536114</c:v>
                </c:pt>
                <c:pt idx="14">
                  <c:v>0.43902439024390244</c:v>
                </c:pt>
                <c:pt idx="15">
                  <c:v>0.40942028985507245</c:v>
                </c:pt>
                <c:pt idx="16">
                  <c:v>0.38026315789473686</c:v>
                </c:pt>
                <c:pt idx="17">
                  <c:v>0.3827683615819209</c:v>
                </c:pt>
                <c:pt idx="18">
                  <c:v>0.39783001808318263</c:v>
                </c:pt>
                <c:pt idx="19">
                  <c:v>0.3971631205673759</c:v>
                </c:pt>
                <c:pt idx="20">
                  <c:v>0.4074803149606299</c:v>
                </c:pt>
                <c:pt idx="21">
                  <c:v>0.417910447761194</c:v>
                </c:pt>
                <c:pt idx="22">
                  <c:v>0.38997214484679665</c:v>
                </c:pt>
                <c:pt idx="23">
                  <c:v>0.41025641025641024</c:v>
                </c:pt>
                <c:pt idx="24">
                  <c:v>0.40772532188841204</c:v>
                </c:pt>
                <c:pt idx="25">
                  <c:v>0.3926247288503254</c:v>
                </c:pt>
                <c:pt idx="26">
                  <c:v>0.39878542510121456</c:v>
                </c:pt>
                <c:pt idx="27">
                  <c:v>0.39368770764119604</c:v>
                </c:pt>
                <c:pt idx="28">
                  <c:v>0.3711484593837535</c:v>
                </c:pt>
                <c:pt idx="29">
                  <c:v>0.4111310592459605</c:v>
                </c:pt>
                <c:pt idx="30">
                  <c:v>0.3861566484517304</c:v>
                </c:pt>
                <c:pt idx="31">
                  <c:v>0.3992248062015504</c:v>
                </c:pt>
                <c:pt idx="32">
                  <c:v>0.3948220064724919</c:v>
                </c:pt>
                <c:pt idx="33">
                  <c:v>0.39281437125748503</c:v>
                </c:pt>
                <c:pt idx="34">
                  <c:v>0.3983606557377049</c:v>
                </c:pt>
                <c:pt idx="35">
                  <c:v>0.368532206969377</c:v>
                </c:pt>
                <c:pt idx="36">
                  <c:v>0.4056795131845842</c:v>
                </c:pt>
                <c:pt idx="37">
                  <c:v>0.4215328467153285</c:v>
                </c:pt>
                <c:pt idx="38">
                  <c:v>0.4077868852459016</c:v>
                </c:pt>
                <c:pt idx="39">
                  <c:v>0.44233576642335765</c:v>
                </c:pt>
                <c:pt idx="40">
                  <c:v>0.39093959731543626</c:v>
                </c:pt>
                <c:pt idx="41">
                  <c:v>0.378419452887538</c:v>
                </c:pt>
                <c:pt idx="42">
                  <c:v>0.4044750430292599</c:v>
                </c:pt>
                <c:pt idx="43">
                  <c:v>0.399737876802097</c:v>
                </c:pt>
                <c:pt idx="44">
                  <c:v>0.3968253968253968</c:v>
                </c:pt>
                <c:pt idx="45">
                  <c:v>0.4198822759973839</c:v>
                </c:pt>
                <c:pt idx="46">
                  <c:v>0.3951137320977254</c:v>
                </c:pt>
                <c:pt idx="47">
                  <c:v>0.40425531914893614</c:v>
                </c:pt>
                <c:pt idx="48">
                  <c:v>0.37380801017164655</c:v>
                </c:pt>
                <c:pt idx="49">
                  <c:v>0.3828856964397252</c:v>
                </c:pt>
                <c:pt idx="50">
                  <c:v>0.41544271926143517</c:v>
                </c:pt>
                <c:pt idx="51">
                  <c:v>0.387994143484626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07.517274132188</c:v>
                </c:pt>
              </c:numCache>
            </c:numRef>
          </c:xVal>
          <c:yVal>
            <c:numRef>
              <c:f>Sheet1!$B$163:$B$164</c:f>
              <c:numCache>
                <c:formatCode>General</c:formatCode>
                <c:ptCount val="2"/>
                <c:pt idx="0">
                  <c:v>0.5819978546548925</c:v>
                </c:pt>
                <c:pt idx="1">
                  <c:v>0.58199785465489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07.517274132188</c:v>
                </c:pt>
                <c:pt idx="1">
                  <c:v>-1107.517274132188</c:v>
                </c:pt>
              </c:numCache>
            </c:numRef>
          </c:xVal>
          <c:yVal>
            <c:numRef>
              <c:f>Sheet1!$B$167:$B$168</c:f>
              <c:numCache>
                <c:formatCode>General</c:formatCode>
                <c:ptCount val="2"/>
                <c:pt idx="0">
                  <c:v>0.58199785465489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4.1696348855721</c:v>
                </c:pt>
              </c:numCache>
            </c:numRef>
          </c:xVal>
          <c:yVal>
            <c:numRef>
              <c:f>Sheet1!$B$171:$B$172</c:f>
              <c:numCache>
                <c:formatCode>General</c:formatCode>
                <c:ptCount val="2"/>
                <c:pt idx="0">
                  <c:v>0.4106951461970427</c:v>
                </c:pt>
                <c:pt idx="1">
                  <c:v>0.410695146197042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4.1696348855721</c:v>
                </c:pt>
                <c:pt idx="1">
                  <c:v>1084.1696348855721</c:v>
                </c:pt>
              </c:numCache>
            </c:numRef>
          </c:xVal>
          <c:yVal>
            <c:numRef>
              <c:f>Sheet1!$B$175:$B$176</c:f>
              <c:numCache>
                <c:formatCode>General</c:formatCode>
                <c:ptCount val="2"/>
                <c:pt idx="0">
                  <c:v>0.41069514619704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8.7660017543212</c:v>
                </c:pt>
              </c:numCache>
            </c:numRef>
          </c:xVal>
          <c:yVal>
            <c:numRef>
              <c:f>Sheet1!$B$179:$B$180</c:f>
              <c:numCache>
                <c:formatCode>General</c:formatCode>
                <c:ptCount val="2"/>
                <c:pt idx="0">
                  <c:v>0.3993934638372742</c:v>
                </c:pt>
                <c:pt idx="1">
                  <c:v>0.399393463837274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8.7660017543212</c:v>
                </c:pt>
                <c:pt idx="1">
                  <c:v>1228.7660017543212</c:v>
                </c:pt>
              </c:numCache>
            </c:numRef>
          </c:xVal>
          <c:yVal>
            <c:numRef>
              <c:f>Sheet1!$B$183:$B$184</c:f>
              <c:numCache>
                <c:formatCode>General</c:formatCode>
                <c:ptCount val="2"/>
                <c:pt idx="0">
                  <c:v>0.39939346383727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3.1442</c:v>
                </c:pt>
                <c:pt idx="1">
                  <c:v>1226.4453</c:v>
                </c:pt>
                <c:pt idx="2">
                  <c:v>1251.1921</c:v>
                </c:pt>
                <c:pt idx="3">
                  <c:v>1246.4648</c:v>
                </c:pt>
                <c:pt idx="4">
                  <c:v>1255.9654</c:v>
                </c:pt>
                <c:pt idx="5">
                  <c:v>1236.8222</c:v>
                </c:pt>
                <c:pt idx="6">
                  <c:v>1089.7037</c:v>
                </c:pt>
                <c:pt idx="7">
                  <c:v>1133.3671</c:v>
                </c:pt>
                <c:pt idx="8">
                  <c:v>1187.1062</c:v>
                </c:pt>
                <c:pt idx="9">
                  <c:v>1134.4334</c:v>
                </c:pt>
                <c:pt idx="10">
                  <c:v>1185.703</c:v>
                </c:pt>
                <c:pt idx="11">
                  <c:v>1004.9588</c:v>
                </c:pt>
                <c:pt idx="12">
                  <c:v>1057.5905</c:v>
                </c:pt>
                <c:pt idx="13">
                  <c:v>1130.7548</c:v>
                </c:pt>
                <c:pt idx="14">
                  <c:v>1096.1377</c:v>
                </c:pt>
                <c:pt idx="15">
                  <c:v>1154.8643</c:v>
                </c:pt>
                <c:pt idx="16">
                  <c:v>1173.6055</c:v>
                </c:pt>
                <c:pt idx="17">
                  <c:v>1170.8266</c:v>
                </c:pt>
                <c:pt idx="18">
                  <c:v>1158.1182</c:v>
                </c:pt>
                <c:pt idx="19">
                  <c:v>1299.4643</c:v>
                </c:pt>
                <c:pt idx="20">
                  <c:v>1308.686</c:v>
                </c:pt>
                <c:pt idx="21">
                  <c:v>1219.4214</c:v>
                </c:pt>
                <c:pt idx="22">
                  <c:v>1256.2286</c:v>
                </c:pt>
                <c:pt idx="23">
                  <c:v>1226.9813</c:v>
                </c:pt>
                <c:pt idx="24">
                  <c:v>1229.2368</c:v>
                </c:pt>
                <c:pt idx="25">
                  <c:v>1188.5635</c:v>
                </c:pt>
                <c:pt idx="26">
                  <c:v>1218.2792</c:v>
                </c:pt>
                <c:pt idx="27">
                  <c:v>1189.1603</c:v>
                </c:pt>
                <c:pt idx="28">
                  <c:v>1233.2868</c:v>
                </c:pt>
                <c:pt idx="29">
                  <c:v>1217.7817</c:v>
                </c:pt>
                <c:pt idx="30">
                  <c:v>1209.6415</c:v>
                </c:pt>
                <c:pt idx="31">
                  <c:v>1222.767</c:v>
                </c:pt>
                <c:pt idx="32">
                  <c:v>1230.541</c:v>
                </c:pt>
                <c:pt idx="33">
                  <c:v>1195.8354</c:v>
                </c:pt>
                <c:pt idx="34">
                  <c:v>1211.9609</c:v>
                </c:pt>
                <c:pt idx="35">
                  <c:v>1289.106</c:v>
                </c:pt>
                <c:pt idx="36">
                  <c:v>1348.46</c:v>
                </c:pt>
                <c:pt idx="37">
                  <c:v>1275.8312</c:v>
                </c:pt>
                <c:pt idx="38">
                  <c:v>1332.6533</c:v>
                </c:pt>
                <c:pt idx="39">
                  <c:v>1217.2211</c:v>
                </c:pt>
                <c:pt idx="40">
                  <c:v>1276.9571</c:v>
                </c:pt>
                <c:pt idx="41">
                  <c:v>1315.6867</c:v>
                </c:pt>
                <c:pt idx="42">
                  <c:v>1304.4723</c:v>
                </c:pt>
                <c:pt idx="43">
                  <c:v>1290.6328</c:v>
                </c:pt>
                <c:pt idx="44">
                  <c:v>1212.3893</c:v>
                </c:pt>
                <c:pt idx="45">
                  <c:v>1151.9907</c:v>
                </c:pt>
                <c:pt idx="46">
                  <c:v>1163.3369</c:v>
                </c:pt>
                <c:pt idx="47">
                  <c:v>1146.1429</c:v>
                </c:pt>
                <c:pt idx="48">
                  <c:v>1141.9745</c:v>
                </c:pt>
                <c:pt idx="49">
                  <c:v>1154.4192</c:v>
                </c:pt>
                <c:pt idx="50">
                  <c:v>1110.299</c:v>
                </c:pt>
                <c:pt idx="51">
                  <c:v>1102.3528</c:v>
                </c:pt>
                <c:pt idx="52">
                  <c:v>1084.1696348855721</c:v>
                </c:pt>
                <c:pt idx="53">
                  <c:v>-1107.517274132188</c:v>
                </c:pt>
                <c:pt idx="54">
                  <c:v>1228.7660017543212</c:v>
                </c:pt>
              </c:numCache>
            </c:numRef>
          </c:xVal>
          <c:yVal>
            <c:numRef>
              <c:f>Sheet1!$B$187:$B$241</c:f>
              <c:numCache>
                <c:formatCode>General</c:formatCode>
                <c:ptCount val="55"/>
                <c:pt idx="0">
                  <c:v>0.39905126294417936</c:v>
                </c:pt>
                <c:pt idx="1">
                  <c:v>0.3995748503730985</c:v>
                </c:pt>
                <c:pt idx="2">
                  <c:v>0.39764063529510424</c:v>
                </c:pt>
                <c:pt idx="3">
                  <c:v>0.3980101220545318</c:v>
                </c:pt>
                <c:pt idx="4">
                  <c:v>0.39726755316602935</c:v>
                </c:pt>
                <c:pt idx="5">
                  <c:v>0.398763789692815</c:v>
                </c:pt>
                <c:pt idx="6">
                  <c:v>0.4102626025070736</c:v>
                </c:pt>
                <c:pt idx="7">
                  <c:v>0.40684986200581713</c:v>
                </c:pt>
                <c:pt idx="8">
                  <c:v>0.40264960267944605</c:v>
                </c:pt>
                <c:pt idx="9">
                  <c:v>0.4067665197741886</c:v>
                </c:pt>
                <c:pt idx="10">
                  <c:v>0.40275927708573056</c:v>
                </c:pt>
                <c:pt idx="11">
                  <c:v>0.41688628166410047</c:v>
                </c:pt>
                <c:pt idx="12">
                  <c:v>0.4127725769539776</c:v>
                </c:pt>
                <c:pt idx="13">
                  <c:v>0.40705403992167877</c:v>
                </c:pt>
                <c:pt idx="14">
                  <c:v>0.4097597197177103</c:v>
                </c:pt>
                <c:pt idx="15">
                  <c:v>0.40516963634534153</c:v>
                </c:pt>
                <c:pt idx="16">
                  <c:v>0.4037048202228649</c:v>
                </c:pt>
                <c:pt idx="17">
                  <c:v>0.40392201962966645</c:v>
                </c:pt>
                <c:pt idx="18">
                  <c:v>0.40491531083892107</c:v>
                </c:pt>
                <c:pt idx="19">
                  <c:v>0.3938676700192725</c:v>
                </c:pt>
                <c:pt idx="20">
                  <c:v>0.393146900013262</c:v>
                </c:pt>
                <c:pt idx="21">
                  <c:v>0.40012383987017786</c:v>
                </c:pt>
                <c:pt idx="22">
                  <c:v>0.3972469813988301</c:v>
                </c:pt>
                <c:pt idx="23">
                  <c:v>0.3995329565006865</c:v>
                </c:pt>
                <c:pt idx="24">
                  <c:v>0.3993566661476543</c:v>
                </c:pt>
                <c:pt idx="25">
                  <c:v>0.4025356998058155</c:v>
                </c:pt>
                <c:pt idx="26">
                  <c:v>0.4002131144617244</c:v>
                </c:pt>
                <c:pt idx="27">
                  <c:v>0.4024890537926523</c:v>
                </c:pt>
                <c:pt idx="28">
                  <c:v>0.3990401172982727</c:v>
                </c:pt>
                <c:pt idx="29">
                  <c:v>0.400251999166062</c:v>
                </c:pt>
                <c:pt idx="30">
                  <c:v>0.40088823890525616</c:v>
                </c:pt>
                <c:pt idx="31">
                  <c:v>0.3998623470725257</c:v>
                </c:pt>
                <c:pt idx="32">
                  <c:v>0.3992547296021325</c:v>
                </c:pt>
                <c:pt idx="33">
                  <c:v>0.4019673265767246</c:v>
                </c:pt>
                <c:pt idx="34">
                  <c:v>0.4007069541148226</c:v>
                </c:pt>
                <c:pt idx="35">
                  <c:v>0.39467727691965504</c:v>
                </c:pt>
                <c:pt idx="36">
                  <c:v>0.39003815583170554</c:v>
                </c:pt>
                <c:pt idx="37">
                  <c:v>0.3957148380716973</c:v>
                </c:pt>
                <c:pt idx="38">
                  <c:v>0.39127361081874756</c:v>
                </c:pt>
                <c:pt idx="39">
                  <c:v>0.40029581577963325</c:v>
                </c:pt>
                <c:pt idx="40">
                  <c:v>0.3956268374915692</c:v>
                </c:pt>
                <c:pt idx="41">
                  <c:v>0.39259972383304825</c:v>
                </c:pt>
                <c:pt idx="42">
                  <c:v>0.39347624368897544</c:v>
                </c:pt>
                <c:pt idx="43">
                  <c:v>0.39455794191144866</c:v>
                </c:pt>
                <c:pt idx="44">
                  <c:v>0.40067347028097694</c:v>
                </c:pt>
                <c:pt idx="45">
                  <c:v>0.405394237524004</c:v>
                </c:pt>
                <c:pt idx="46">
                  <c:v>0.40450741615243524</c:v>
                </c:pt>
                <c:pt idx="47">
                  <c:v>0.4058513027984271</c:v>
                </c:pt>
                <c:pt idx="48">
                  <c:v>0.40617710581664</c:v>
                </c:pt>
                <c:pt idx="49">
                  <c:v>0.4052044254546896</c:v>
                </c:pt>
                <c:pt idx="50">
                  <c:v>0.40865286953974794</c:v>
                </c:pt>
                <c:pt idx="51">
                  <c:v>0.40927394619825563</c:v>
                </c:pt>
                <c:pt idx="52">
                  <c:v>0.4106951461970427</c:v>
                </c:pt>
                <c:pt idx="53">
                  <c:v>0.5819978546548925</c:v>
                </c:pt>
                <c:pt idx="54">
                  <c:v>0.39939346383727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564556962025316"/>
          <c:min val="0.265205479452054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0</c:v>
                </c:pt>
                <c:pt idx="1">
                  <c:v>0.0</c:v>
                </c:pt>
                <c:pt idx="2">
                  <c:v>1.444763901689708</c:v>
                </c:pt>
                <c:pt idx="3">
                  <c:v>0.7823641093474427</c:v>
                </c:pt>
                <c:pt idx="4">
                  <c:v>1.096764778325123</c:v>
                </c:pt>
                <c:pt idx="5">
                  <c:v>0.8496994274809161</c:v>
                </c:pt>
                <c:pt idx="6">
                  <c:v>0.5272129688493326</c:v>
                </c:pt>
                <c:pt idx="7">
                  <c:v>0.9820345503116652</c:v>
                </c:pt>
                <c:pt idx="8">
                  <c:v>0.7635545376712328</c:v>
                </c:pt>
                <c:pt idx="9">
                  <c:v>0.9491115625000001</c:v>
                </c:pt>
                <c:pt idx="10">
                  <c:v>1.0892631079478055</c:v>
                </c:pt>
                <c:pt idx="11">
                  <c:v>0.760185387755102</c:v>
                </c:pt>
                <c:pt idx="12">
                  <c:v>0.6717878830574145</c:v>
                </c:pt>
                <c:pt idx="13">
                  <c:v>1.1957019488428746</c:v>
                </c:pt>
                <c:pt idx="14">
                  <c:v>0.92094547920434</c:v>
                </c:pt>
                <c:pt idx="15">
                  <c:v>0.8691324707846412</c:v>
                </c:pt>
                <c:pt idx="16">
                  <c:v>0.8037575443786983</c:v>
                </c:pt>
                <c:pt idx="17">
                  <c:v>0.9819031830238727</c:v>
                </c:pt>
                <c:pt idx="18">
                  <c:v>1.0644502420135526</c:v>
                </c:pt>
                <c:pt idx="19">
                  <c:v>0.8365065383072604</c:v>
                </c:pt>
                <c:pt idx="20">
                  <c:v>0.9713072203869749</c:v>
                </c:pt>
                <c:pt idx="21">
                  <c:v>1.0142531157270032</c:v>
                </c:pt>
                <c:pt idx="22">
                  <c:v>1.0787875406283858</c:v>
                </c:pt>
                <c:pt idx="23">
                  <c:v>1.1834640788295014</c:v>
                </c:pt>
                <c:pt idx="24">
                  <c:v>0.8051428571428572</c:v>
                </c:pt>
                <c:pt idx="25">
                  <c:v>1.021260577501504</c:v>
                </c:pt>
                <c:pt idx="26">
                  <c:v>0.7528543607437225</c:v>
                </c:pt>
                <c:pt idx="27">
                  <c:v>1.0004368176304084</c:v>
                </c:pt>
                <c:pt idx="28">
                  <c:v>0.8873962212981378</c:v>
                </c:pt>
                <c:pt idx="29">
                  <c:v>0.9971309352517985</c:v>
                </c:pt>
                <c:pt idx="30">
                  <c:v>0.9056131130614352</c:v>
                </c:pt>
                <c:pt idx="31">
                  <c:v>0.9325264122137404</c:v>
                </c:pt>
                <c:pt idx="32">
                  <c:v>0.8956001403078577</c:v>
                </c:pt>
                <c:pt idx="33">
                  <c:v>1.0700610425675745</c:v>
                </c:pt>
                <c:pt idx="34">
                  <c:v>0.9540992226794694</c:v>
                </c:pt>
                <c:pt idx="35">
                  <c:v>0.982376223386899</c:v>
                </c:pt>
                <c:pt idx="36">
                  <c:v>1.3560046004842614</c:v>
                </c:pt>
                <c:pt idx="37">
                  <c:v>0.8645365146528757</c:v>
                </c:pt>
                <c:pt idx="38">
                  <c:v>1.0372289740202554</c:v>
                </c:pt>
                <c:pt idx="39">
                  <c:v>1.1324516824332413</c:v>
                </c:pt>
                <c:pt idx="40">
                  <c:v>1.2339179068598043</c:v>
                </c:pt>
                <c:pt idx="41">
                  <c:v>0.9792952212850432</c:v>
                </c:pt>
                <c:pt idx="42">
                  <c:v>1.1039550283016604</c:v>
                </c:pt>
                <c:pt idx="43">
                  <c:v>1.1996867723648355</c:v>
                </c:pt>
                <c:pt idx="44">
                  <c:v>1.1737964832121628</c:v>
                </c:pt>
                <c:pt idx="45">
                  <c:v>1.0307575566273333</c:v>
                </c:pt>
                <c:pt idx="46">
                  <c:v>1.0295441950852118</c:v>
                </c:pt>
                <c:pt idx="47">
                  <c:v>0.9559579450689981</c:v>
                </c:pt>
                <c:pt idx="48">
                  <c:v>1.0370813303974136</c:v>
                </c:pt>
                <c:pt idx="49">
                  <c:v>0.9832547023778203</c:v>
                </c:pt>
                <c:pt idx="50">
                  <c:v>1.1073391262602015</c:v>
                </c:pt>
                <c:pt idx="51">
                  <c:v>1.0597465906382486</c:v>
                </c:pt>
                <c:pt idx="52">
                  <c:v>1.1058255033557047</c:v>
                </c:pt>
                <c:pt idx="53">
                  <c:v>1.283166143820721</c:v>
                </c:pt>
                <c:pt idx="54">
                  <c:v>1.2569278622948148</c:v>
                </c:pt>
                <c:pt idx="55">
                  <c:v>1.1821509601665379</c:v>
                </c:pt>
                <c:pt idx="56">
                  <c:v>1.0970104986924711</c:v>
                </c:pt>
                <c:pt idx="57">
                  <c:v>1.2693305531817132</c:v>
                </c:pt>
                <c:pt idx="58">
                  <c:v>1.1884660046542734</c:v>
                </c:pt>
                <c:pt idx="59">
                  <c:v>1.1136661393812912</c:v>
                </c:pt>
                <c:pt idx="60">
                  <c:v>1.1125320616505</c:v>
                </c:pt>
                <c:pt idx="61">
                  <c:v>1.282609931994004</c:v>
                </c:pt>
                <c:pt idx="62">
                  <c:v>1.291176502109088</c:v>
                </c:pt>
                <c:pt idx="63">
                  <c:v>1.2319129499379395</c:v>
                </c:pt>
                <c:pt idx="64">
                  <c:v>1.3224222602739726</c:v>
                </c:pt>
                <c:pt idx="65">
                  <c:v>1.1760833698563429</c:v>
                </c:pt>
                <c:pt idx="66">
                  <c:v>1.4892137876282592</c:v>
                </c:pt>
                <c:pt idx="67">
                  <c:v>1.3786437527021183</c:v>
                </c:pt>
                <c:pt idx="68">
                  <c:v>1.5692865195490526</c:v>
                </c:pt>
                <c:pt idx="69">
                  <c:v>1.9051575931232092</c:v>
                </c:pt>
                <c:pt idx="70">
                  <c:v>1.54092875</c:v>
                </c:pt>
                <c:pt idx="71">
                  <c:v>1.3347648261758691</c:v>
                </c:pt>
                <c:pt idx="72">
                  <c:v>1.3880536373507057</c:v>
                </c:pt>
                <c:pt idx="73">
                  <c:v>0.9950267649340574</c:v>
                </c:pt>
                <c:pt idx="74">
                  <c:v>1.5652985093167702</c:v>
                </c:pt>
                <c:pt idx="75">
                  <c:v>1.3603068252326784</c:v>
                </c:pt>
                <c:pt idx="76">
                  <c:v>1.4101372807017545</c:v>
                </c:pt>
                <c:pt idx="77">
                  <c:v>1.4159033779337575</c:v>
                </c:pt>
                <c:pt idx="78">
                  <c:v>1.4120382570870882</c:v>
                </c:pt>
                <c:pt idx="79">
                  <c:v>1.6717131785202675</c:v>
                </c:pt>
                <c:pt idx="80">
                  <c:v>1.1914190799031477</c:v>
                </c:pt>
                <c:pt idx="81">
                  <c:v>1.3484150943396227</c:v>
                </c:pt>
                <c:pt idx="82">
                  <c:v>1.1827166766887154</c:v>
                </c:pt>
                <c:pt idx="83">
                  <c:v>0.9633907418637558</c:v>
                </c:pt>
                <c:pt idx="84">
                  <c:v>1.1826747206095602</c:v>
                </c:pt>
                <c:pt idx="85">
                  <c:v>0.9161723145071983</c:v>
                </c:pt>
                <c:pt idx="86">
                  <c:v>1.395549154092364</c:v>
                </c:pt>
                <c:pt idx="87">
                  <c:v>1.1437877767936226</c:v>
                </c:pt>
                <c:pt idx="88">
                  <c:v>1.2817050098231826</c:v>
                </c:pt>
                <c:pt idx="89">
                  <c:v>1.281821923172655</c:v>
                </c:pt>
                <c:pt idx="90">
                  <c:v>1.4301520572450805</c:v>
                </c:pt>
                <c:pt idx="91">
                  <c:v>1.408587248136903</c:v>
                </c:pt>
                <c:pt idx="92">
                  <c:v>1.3697268949706263</c:v>
                </c:pt>
                <c:pt idx="93">
                  <c:v>1.3822060713902888</c:v>
                </c:pt>
                <c:pt idx="94">
                  <c:v>1.2836300469831852</c:v>
                </c:pt>
                <c:pt idx="95">
                  <c:v>1.4256142493638677</c:v>
                </c:pt>
                <c:pt idx="96">
                  <c:v>1.4606812766052457</c:v>
                </c:pt>
                <c:pt idx="97">
                  <c:v>1.4872102000879601</c:v>
                </c:pt>
                <c:pt idx="98">
                  <c:v>1.0967706035692804</c:v>
                </c:pt>
                <c:pt idx="99">
                  <c:v>1.0372799580120153</c:v>
                </c:pt>
                <c:pt idx="100">
                  <c:v>1.291758803713738</c:v>
                </c:pt>
                <c:pt idx="101">
                  <c:v>1.1452637062102327</c:v>
                </c:pt>
              </c:numCache>
            </c:numRef>
          </c:xVal>
          <c:yVal>
            <c:numRef>
              <c:f>Sheet1!$B$2:$B$103</c:f>
              <c:numCache>
                <c:formatCode>General</c:formatCode>
                <c:ptCount val="102"/>
                <c:pt idx="0">
                  <c:v>0.623006833712984</c:v>
                </c:pt>
                <c:pt idx="1">
                  <c:v>0.6174785100286533</c:v>
                </c:pt>
                <c:pt idx="2">
                  <c:v>0.553763440860215</c:v>
                </c:pt>
                <c:pt idx="3">
                  <c:v>0.5346062052505967</c:v>
                </c:pt>
                <c:pt idx="4">
                  <c:v>0.592</c:v>
                </c:pt>
                <c:pt idx="5">
                  <c:v>0.5859649122807018</c:v>
                </c:pt>
                <c:pt idx="6">
                  <c:v>0.5690021231422505</c:v>
                </c:pt>
                <c:pt idx="7">
                  <c:v>0.5365853658536586</c:v>
                </c:pt>
                <c:pt idx="8">
                  <c:v>0.48578199052132703</c:v>
                </c:pt>
                <c:pt idx="9">
                  <c:v>0.46282722513089003</c:v>
                </c:pt>
                <c:pt idx="10">
                  <c:v>0.3969022265246854</c:v>
                </c:pt>
                <c:pt idx="11">
                  <c:v>0.39138240574506283</c:v>
                </c:pt>
                <c:pt idx="12">
                  <c:v>0.3854625550660793</c:v>
                </c:pt>
                <c:pt idx="13">
                  <c:v>0.3783068783068783</c:v>
                </c:pt>
                <c:pt idx="14">
                  <c:v>0.3530239099859353</c:v>
                </c:pt>
                <c:pt idx="15">
                  <c:v>0.36038961038961037</c:v>
                </c:pt>
                <c:pt idx="16">
                  <c:v>0.3644067796610169</c:v>
                </c:pt>
                <c:pt idx="17">
                  <c:v>0.37138263665594856</c:v>
                </c:pt>
                <c:pt idx="18">
                  <c:v>0.4069767441860465</c:v>
                </c:pt>
                <c:pt idx="19">
                  <c:v>0.5</c:v>
                </c:pt>
                <c:pt idx="20">
                  <c:v>0.48096192384769537</c:v>
                </c:pt>
                <c:pt idx="21">
                  <c:v>0.5053571428571428</c:v>
                </c:pt>
                <c:pt idx="22">
                  <c:v>0.5119047619047619</c:v>
                </c:pt>
                <c:pt idx="23">
                  <c:v>0.5250431778929189</c:v>
                </c:pt>
                <c:pt idx="24">
                  <c:v>0.5</c:v>
                </c:pt>
                <c:pt idx="25">
                  <c:v>0.4802527646129542</c:v>
                </c:pt>
                <c:pt idx="26">
                  <c:v>0.47375</c:v>
                </c:pt>
                <c:pt idx="27">
                  <c:v>0.5264900662251656</c:v>
                </c:pt>
                <c:pt idx="28">
                  <c:v>0.5083713850837138</c:v>
                </c:pt>
                <c:pt idx="29">
                  <c:v>0.5512820512820513</c:v>
                </c:pt>
                <c:pt idx="30">
                  <c:v>0.5909090909090909</c:v>
                </c:pt>
                <c:pt idx="31">
                  <c:v>0.511049723756906</c:v>
                </c:pt>
                <c:pt idx="32">
                  <c:v>0.49714285714285716</c:v>
                </c:pt>
                <c:pt idx="33">
                  <c:v>0.4863325740318907</c:v>
                </c:pt>
                <c:pt idx="34">
                  <c:v>0.48691860465116277</c:v>
                </c:pt>
                <c:pt idx="35">
                  <c:v>0.4537177541729894</c:v>
                </c:pt>
                <c:pt idx="36">
                  <c:v>0.4574468085106383</c:v>
                </c:pt>
                <c:pt idx="37">
                  <c:v>0.4694783573806881</c:v>
                </c:pt>
                <c:pt idx="38">
                  <c:v>0.42020497803806733</c:v>
                </c:pt>
                <c:pt idx="39">
                  <c:v>0.40852130325814534</c:v>
                </c:pt>
                <c:pt idx="40">
                  <c:v>0.39057239057239057</c:v>
                </c:pt>
                <c:pt idx="41">
                  <c:v>0.4167215273206057</c:v>
                </c:pt>
                <c:pt idx="42">
                  <c:v>0.42848593656493117</c:v>
                </c:pt>
                <c:pt idx="43">
                  <c:v>0.4398843930635838</c:v>
                </c:pt>
                <c:pt idx="44">
                  <c:v>0.4126984126984127</c:v>
                </c:pt>
                <c:pt idx="45">
                  <c:v>0.4267340376665136</c:v>
                </c:pt>
                <c:pt idx="46">
                  <c:v>0.44441235922610456</c:v>
                </c:pt>
                <c:pt idx="47">
                  <c:v>0.42159853569249545</c:v>
                </c:pt>
                <c:pt idx="48">
                  <c:v>0.4232142857142857</c:v>
                </c:pt>
                <c:pt idx="49">
                  <c:v>0.41311697092630156</c:v>
                </c:pt>
                <c:pt idx="50">
                  <c:v>0.4014401440144014</c:v>
                </c:pt>
                <c:pt idx="51">
                  <c:v>0.42094240837696334</c:v>
                </c:pt>
                <c:pt idx="52">
                  <c:v>0.41288278775079196</c:v>
                </c:pt>
                <c:pt idx="53">
                  <c:v>0.40759493670886077</c:v>
                </c:pt>
                <c:pt idx="54">
                  <c:v>0.4387966804979253</c:v>
                </c:pt>
                <c:pt idx="55">
                  <c:v>0.4523809523809524</c:v>
                </c:pt>
                <c:pt idx="56">
                  <c:v>0.47098591549295776</c:v>
                </c:pt>
                <c:pt idx="57">
                  <c:v>0.48169934640522877</c:v>
                </c:pt>
                <c:pt idx="58">
                  <c:v>0.4591633466135458</c:v>
                </c:pt>
                <c:pt idx="59">
                  <c:v>0.4602739726027397</c:v>
                </c:pt>
                <c:pt idx="60">
                  <c:v>0.5047784535186794</c:v>
                </c:pt>
                <c:pt idx="61">
                  <c:v>0.42251461988304095</c:v>
                </c:pt>
                <c:pt idx="62">
                  <c:v>0.3832943013270882</c:v>
                </c:pt>
                <c:pt idx="63">
                  <c:v>0.40221088435374147</c:v>
                </c:pt>
                <c:pt idx="64">
                  <c:v>0.35149863760217986</c:v>
                </c:pt>
                <c:pt idx="65">
                  <c:v>0.345707656612529</c:v>
                </c:pt>
                <c:pt idx="66">
                  <c:v>0.3315068493150685</c:v>
                </c:pt>
                <c:pt idx="67">
                  <c:v>0.3323943661971831</c:v>
                </c:pt>
                <c:pt idx="68">
                  <c:v>0.36585365853658536</c:v>
                </c:pt>
                <c:pt idx="69">
                  <c:v>0.35470668485675305</c:v>
                </c:pt>
                <c:pt idx="70">
                  <c:v>0.3737864077669903</c:v>
                </c:pt>
                <c:pt idx="71">
                  <c:v>0.35907859078590787</c:v>
                </c:pt>
                <c:pt idx="72">
                  <c:v>0.3804878048780488</c:v>
                </c:pt>
                <c:pt idx="73">
                  <c:v>0.3869653767820774</c:v>
                </c:pt>
                <c:pt idx="74">
                  <c:v>0.3841698841698842</c:v>
                </c:pt>
                <c:pt idx="75">
                  <c:v>0.38613861386138615</c:v>
                </c:pt>
                <c:pt idx="76">
                  <c:v>0.3692022263450835</c:v>
                </c:pt>
                <c:pt idx="77">
                  <c:v>0.3391915641476274</c:v>
                </c:pt>
                <c:pt idx="78">
                  <c:v>0.3757309941520468</c:v>
                </c:pt>
                <c:pt idx="79">
                  <c:v>0.38155136268343814</c:v>
                </c:pt>
                <c:pt idx="80">
                  <c:v>0.3735763097949886</c:v>
                </c:pt>
                <c:pt idx="81">
                  <c:v>0.37176470588235294</c:v>
                </c:pt>
                <c:pt idx="82">
                  <c:v>0.4059590316573557</c:v>
                </c:pt>
                <c:pt idx="83">
                  <c:v>0.3911917098445596</c:v>
                </c:pt>
                <c:pt idx="84">
                  <c:v>0.4067796610169492</c:v>
                </c:pt>
                <c:pt idx="85">
                  <c:v>0.4170542635658915</c:v>
                </c:pt>
                <c:pt idx="86">
                  <c:v>0.4223385689354276</c:v>
                </c:pt>
                <c:pt idx="87">
                  <c:v>0.384070796460177</c:v>
                </c:pt>
                <c:pt idx="88">
                  <c:v>0.3525535420098847</c:v>
                </c:pt>
                <c:pt idx="89">
                  <c:v>0.36628643852978454</c:v>
                </c:pt>
                <c:pt idx="90">
                  <c:v>0.3436385255648038</c:v>
                </c:pt>
                <c:pt idx="91">
                  <c:v>0.3505747126436782</c:v>
                </c:pt>
                <c:pt idx="92">
                  <c:v>0.3637295081967213</c:v>
                </c:pt>
                <c:pt idx="93">
                  <c:v>0.4089068825910931</c:v>
                </c:pt>
                <c:pt idx="94">
                  <c:v>0.41226993865030676</c:v>
                </c:pt>
                <c:pt idx="95">
                  <c:v>0.42140992167101826</c:v>
                </c:pt>
                <c:pt idx="96">
                  <c:v>0.41974708171206226</c:v>
                </c:pt>
                <c:pt idx="97">
                  <c:v>0.421994037760848</c:v>
                </c:pt>
                <c:pt idx="98">
                  <c:v>0.44533485975958786</c:v>
                </c:pt>
                <c:pt idx="99">
                  <c:v>0.39981532779316714</c:v>
                </c:pt>
                <c:pt idx="100">
                  <c:v>0.3781446540880503</c:v>
                </c:pt>
                <c:pt idx="101">
                  <c:v>0.3595617529880478</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1.1726082966837037</c:v>
                </c:pt>
                <c:pt idx="1">
                  <c:v>1.1933303819022136</c:v>
                </c:pt>
                <c:pt idx="2">
                  <c:v>1.2199313589274832</c:v>
                </c:pt>
                <c:pt idx="3">
                  <c:v>1.2236237819494835</c:v>
                </c:pt>
                <c:pt idx="4">
                  <c:v>1.3873890154867148</c:v>
                </c:pt>
                <c:pt idx="5">
                  <c:v>1.2896998957247132</c:v>
                </c:pt>
                <c:pt idx="6">
                  <c:v>1.1689205076682727</c:v>
                </c:pt>
                <c:pt idx="7">
                  <c:v>1.34338252297975</c:v>
                </c:pt>
                <c:pt idx="8">
                  <c:v>1.1241535984848485</c:v>
                </c:pt>
                <c:pt idx="9">
                  <c:v>1.213297754010695</c:v>
                </c:pt>
                <c:pt idx="10">
                  <c:v>1.292241036946426</c:v>
                </c:pt>
                <c:pt idx="11">
                  <c:v>1.0981656057915585</c:v>
                </c:pt>
                <c:pt idx="12">
                  <c:v>0.9367497785651019</c:v>
                </c:pt>
                <c:pt idx="13">
                  <c:v>1.0563414596778682</c:v>
                </c:pt>
                <c:pt idx="14">
                  <c:v>0.8843386042759177</c:v>
                </c:pt>
                <c:pt idx="15">
                  <c:v>0.9555388879695516</c:v>
                </c:pt>
                <c:pt idx="16">
                  <c:v>0.8584007460503217</c:v>
                </c:pt>
                <c:pt idx="17">
                  <c:v>0.8929428004881026</c:v>
                </c:pt>
                <c:pt idx="18">
                  <c:v>1.4938641728474684</c:v>
                </c:pt>
                <c:pt idx="19">
                  <c:v>1.1571365093499555</c:v>
                </c:pt>
                <c:pt idx="20">
                  <c:v>0.9786397457468685</c:v>
                </c:pt>
                <c:pt idx="21">
                  <c:v>0.859756588948451</c:v>
                </c:pt>
                <c:pt idx="22">
                  <c:v>1.085763699222126</c:v>
                </c:pt>
                <c:pt idx="23">
                  <c:v>0.8112273057851239</c:v>
                </c:pt>
                <c:pt idx="24">
                  <c:v>1.2851404077365394</c:v>
                </c:pt>
                <c:pt idx="25">
                  <c:v>1.2708511093290564</c:v>
                </c:pt>
                <c:pt idx="26">
                  <c:v>1.1671576930446446</c:v>
                </c:pt>
                <c:pt idx="27">
                  <c:v>0.985056577203446</c:v>
                </c:pt>
                <c:pt idx="28">
                  <c:v>1.0736681058134618</c:v>
                </c:pt>
                <c:pt idx="29">
                  <c:v>0.9086566930308909</c:v>
                </c:pt>
                <c:pt idx="30">
                  <c:v>0.8583583466382827</c:v>
                </c:pt>
                <c:pt idx="31">
                  <c:v>1.6110237154150198</c:v>
                </c:pt>
                <c:pt idx="32">
                  <c:v>0.756480107449178</c:v>
                </c:pt>
                <c:pt idx="33">
                  <c:v>1.1158650352763597</c:v>
                </c:pt>
                <c:pt idx="34">
                  <c:v>1.1296384946988234</c:v>
                </c:pt>
                <c:pt idx="35">
                  <c:v>0.9134497785651019</c:v>
                </c:pt>
                <c:pt idx="36">
                  <c:v>1.1574763948497855</c:v>
                </c:pt>
                <c:pt idx="37">
                  <c:v>1.2095479711793706</c:v>
                </c:pt>
                <c:pt idx="38">
                  <c:v>0.9598943567801765</c:v>
                </c:pt>
                <c:pt idx="39">
                  <c:v>1.0831778420467186</c:v>
                </c:pt>
                <c:pt idx="40">
                  <c:v>1.2485185931880807</c:v>
                </c:pt>
                <c:pt idx="41">
                  <c:v>0.9734290470553418</c:v>
                </c:pt>
                <c:pt idx="42">
                  <c:v>0.9758171005385996</c:v>
                </c:pt>
                <c:pt idx="43">
                  <c:v>1.133252376248491</c:v>
                </c:pt>
                <c:pt idx="44">
                  <c:v>1.0762975074491026</c:v>
                </c:pt>
                <c:pt idx="45">
                  <c:v>1.064264839269768</c:v>
                </c:pt>
                <c:pt idx="46">
                  <c:v>0.9038133217376252</c:v>
                </c:pt>
                <c:pt idx="47">
                  <c:v>0.8307963618265789</c:v>
                </c:pt>
                <c:pt idx="48">
                  <c:v>1.1276903842103232</c:v>
                </c:pt>
                <c:pt idx="49">
                  <c:v>1.1228666472133062</c:v>
                </c:pt>
                <c:pt idx="50">
                  <c:v>0.9636897050020167</c:v>
                </c:pt>
                <c:pt idx="51">
                  <c:v>0.9757061426801203</c:v>
                </c:pt>
              </c:numCache>
            </c:numRef>
          </c:xVal>
          <c:yVal>
            <c:numRef>
              <c:f>Sheet1!$B$106:$B$157</c:f>
              <c:numCache>
                <c:formatCode>General</c:formatCode>
                <c:ptCount val="52"/>
                <c:pt idx="0">
                  <c:v>0.36459246275197194</c:v>
                </c:pt>
                <c:pt idx="1">
                  <c:v>0.36432637571157495</c:v>
                </c:pt>
                <c:pt idx="2">
                  <c:v>0.38015873015873014</c:v>
                </c:pt>
                <c:pt idx="3">
                  <c:v>0.411231884057971</c:v>
                </c:pt>
                <c:pt idx="4">
                  <c:v>0.4082784571966134</c:v>
                </c:pt>
                <c:pt idx="5">
                  <c:v>0.3985828166519043</c:v>
                </c:pt>
                <c:pt idx="6">
                  <c:v>0.4247191011235955</c:v>
                </c:pt>
                <c:pt idx="7">
                  <c:v>0.40429887410440124</c:v>
                </c:pt>
                <c:pt idx="8">
                  <c:v>0.4306784660766962</c:v>
                </c:pt>
                <c:pt idx="9">
                  <c:v>0.4238845144356955</c:v>
                </c:pt>
                <c:pt idx="10">
                  <c:v>0.41405269761606023</c:v>
                </c:pt>
                <c:pt idx="11">
                  <c:v>0.4186046511627907</c:v>
                </c:pt>
                <c:pt idx="12">
                  <c:v>0.42744063324538256</c:v>
                </c:pt>
                <c:pt idx="13">
                  <c:v>0.4231943031536114</c:v>
                </c:pt>
                <c:pt idx="14">
                  <c:v>0.43902439024390244</c:v>
                </c:pt>
                <c:pt idx="15">
                  <c:v>0.40942028985507245</c:v>
                </c:pt>
                <c:pt idx="16">
                  <c:v>0.38026315789473686</c:v>
                </c:pt>
                <c:pt idx="17">
                  <c:v>0.3827683615819209</c:v>
                </c:pt>
                <c:pt idx="18">
                  <c:v>0.39783001808318263</c:v>
                </c:pt>
                <c:pt idx="19">
                  <c:v>0.3971631205673759</c:v>
                </c:pt>
                <c:pt idx="20">
                  <c:v>0.4074803149606299</c:v>
                </c:pt>
                <c:pt idx="21">
                  <c:v>0.417910447761194</c:v>
                </c:pt>
                <c:pt idx="22">
                  <c:v>0.38997214484679665</c:v>
                </c:pt>
                <c:pt idx="23">
                  <c:v>0.41025641025641024</c:v>
                </c:pt>
                <c:pt idx="24">
                  <c:v>0.40772532188841204</c:v>
                </c:pt>
                <c:pt idx="25">
                  <c:v>0.3926247288503254</c:v>
                </c:pt>
                <c:pt idx="26">
                  <c:v>0.39878542510121456</c:v>
                </c:pt>
                <c:pt idx="27">
                  <c:v>0.39368770764119604</c:v>
                </c:pt>
                <c:pt idx="28">
                  <c:v>0.3711484593837535</c:v>
                </c:pt>
                <c:pt idx="29">
                  <c:v>0.4111310592459605</c:v>
                </c:pt>
                <c:pt idx="30">
                  <c:v>0.3861566484517304</c:v>
                </c:pt>
                <c:pt idx="31">
                  <c:v>0.3992248062015504</c:v>
                </c:pt>
                <c:pt idx="32">
                  <c:v>0.3948220064724919</c:v>
                </c:pt>
                <c:pt idx="33">
                  <c:v>0.39281437125748503</c:v>
                </c:pt>
                <c:pt idx="34">
                  <c:v>0.3983606557377049</c:v>
                </c:pt>
                <c:pt idx="35">
                  <c:v>0.368532206969377</c:v>
                </c:pt>
                <c:pt idx="36">
                  <c:v>0.4056795131845842</c:v>
                </c:pt>
                <c:pt idx="37">
                  <c:v>0.4215328467153285</c:v>
                </c:pt>
                <c:pt idx="38">
                  <c:v>0.4077868852459016</c:v>
                </c:pt>
                <c:pt idx="39">
                  <c:v>0.44233576642335765</c:v>
                </c:pt>
                <c:pt idx="40">
                  <c:v>0.39093959731543626</c:v>
                </c:pt>
                <c:pt idx="41">
                  <c:v>0.378419452887538</c:v>
                </c:pt>
                <c:pt idx="42">
                  <c:v>0.4044750430292599</c:v>
                </c:pt>
                <c:pt idx="43">
                  <c:v>0.399737876802097</c:v>
                </c:pt>
                <c:pt idx="44">
                  <c:v>0.3968253968253968</c:v>
                </c:pt>
                <c:pt idx="45">
                  <c:v>0.4198822759973839</c:v>
                </c:pt>
                <c:pt idx="46">
                  <c:v>0.3951137320977254</c:v>
                </c:pt>
                <c:pt idx="47">
                  <c:v>0.40425531914893614</c:v>
                </c:pt>
                <c:pt idx="48">
                  <c:v>0.37380801017164655</c:v>
                </c:pt>
                <c:pt idx="49">
                  <c:v>0.3828856964397252</c:v>
                </c:pt>
                <c:pt idx="50">
                  <c:v>0.41544271926143517</c:v>
                </c:pt>
                <c:pt idx="51">
                  <c:v>0.38799414348462663</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142.8609213933418</c:v>
                </c:pt>
              </c:numCache>
            </c:numRef>
          </c:xVal>
          <c:yVal>
            <c:numRef>
              <c:f>Sheet1!$B$160:$B$161</c:f>
              <c:numCache>
                <c:formatCode>General</c:formatCode>
                <c:ptCount val="2"/>
                <c:pt idx="0">
                  <c:v>0.5844699836888584</c:v>
                </c:pt>
                <c:pt idx="1">
                  <c:v>0.5844699836888584</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142.8609213933418</c:v>
                </c:pt>
                <c:pt idx="1">
                  <c:v>-142.8609213933418</c:v>
                </c:pt>
              </c:numCache>
            </c:numRef>
          </c:xVal>
          <c:yVal>
            <c:numRef>
              <c:f>Sheet1!$B$164:$B$165</c:f>
              <c:numCache>
                <c:formatCode>General</c:formatCode>
                <c:ptCount val="2"/>
                <c:pt idx="0">
                  <c:v>0.58446998368885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6.285898189225291</c:v>
                </c:pt>
              </c:numCache>
            </c:numRef>
          </c:xVal>
          <c:yVal>
            <c:numRef>
              <c:f>Sheet1!$B$168:$B$169</c:f>
              <c:numCache>
                <c:formatCode>General</c:formatCode>
                <c:ptCount val="2"/>
                <c:pt idx="0">
                  <c:v>0.4106951461970427</c:v>
                </c:pt>
                <c:pt idx="1">
                  <c:v>0.4106951461970427</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6.285898189225291</c:v>
                </c:pt>
                <c:pt idx="1">
                  <c:v>-6.285898189225291</c:v>
                </c:pt>
              </c:numCache>
            </c:numRef>
          </c:xVal>
          <c:yVal>
            <c:numRef>
              <c:f>Sheet1!$B$172:$B$173</c:f>
              <c:numCache>
                <c:formatCode>General</c:formatCode>
                <c:ptCount val="2"/>
                <c:pt idx="0">
                  <c:v>0.41069514619704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2.596443770114116</c:v>
                </c:pt>
              </c:numCache>
            </c:numRef>
          </c:xVal>
          <c:yVal>
            <c:numRef>
              <c:f>Sheet1!$B$176:$B$177</c:f>
              <c:numCache>
                <c:formatCode>General</c:formatCode>
                <c:ptCount val="2"/>
                <c:pt idx="0">
                  <c:v>0.3993934638372742</c:v>
                </c:pt>
                <c:pt idx="1">
                  <c:v>0.399393463837274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2.596443770114116</c:v>
                </c:pt>
                <c:pt idx="1">
                  <c:v>2.596443770114116</c:v>
                </c:pt>
              </c:numCache>
            </c:numRef>
          </c:xVal>
          <c:yVal>
            <c:numRef>
              <c:f>Sheet1!$B$180:$B$181</c:f>
              <c:numCache>
                <c:formatCode>General</c:formatCode>
                <c:ptCount val="2"/>
                <c:pt idx="0">
                  <c:v>0.39939346383727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1.1726082966837037</c:v>
                </c:pt>
                <c:pt idx="1">
                  <c:v>1.1933303819022136</c:v>
                </c:pt>
                <c:pt idx="2">
                  <c:v>1.2199313589274832</c:v>
                </c:pt>
                <c:pt idx="3">
                  <c:v>1.2236237819494835</c:v>
                </c:pt>
                <c:pt idx="4">
                  <c:v>1.3873890154867148</c:v>
                </c:pt>
                <c:pt idx="5">
                  <c:v>1.2896998957247132</c:v>
                </c:pt>
                <c:pt idx="6">
                  <c:v>1.1689205076682727</c:v>
                </c:pt>
                <c:pt idx="7">
                  <c:v>1.34338252297975</c:v>
                </c:pt>
                <c:pt idx="8">
                  <c:v>1.1241535984848485</c:v>
                </c:pt>
                <c:pt idx="9">
                  <c:v>1.213297754010695</c:v>
                </c:pt>
                <c:pt idx="10">
                  <c:v>1.292241036946426</c:v>
                </c:pt>
                <c:pt idx="11">
                  <c:v>1.0981656057915585</c:v>
                </c:pt>
                <c:pt idx="12">
                  <c:v>0.9367497785651019</c:v>
                </c:pt>
                <c:pt idx="13">
                  <c:v>1.0563414596778682</c:v>
                </c:pt>
                <c:pt idx="14">
                  <c:v>0.8843386042759177</c:v>
                </c:pt>
                <c:pt idx="15">
                  <c:v>0.9555388879695516</c:v>
                </c:pt>
                <c:pt idx="16">
                  <c:v>0.8584007460503217</c:v>
                </c:pt>
                <c:pt idx="17">
                  <c:v>0.8929428004881026</c:v>
                </c:pt>
                <c:pt idx="18">
                  <c:v>1.4938641728474684</c:v>
                </c:pt>
                <c:pt idx="19">
                  <c:v>1.1571365093499555</c:v>
                </c:pt>
                <c:pt idx="20">
                  <c:v>0.9786397457468685</c:v>
                </c:pt>
                <c:pt idx="21">
                  <c:v>0.859756588948451</c:v>
                </c:pt>
                <c:pt idx="22">
                  <c:v>1.085763699222126</c:v>
                </c:pt>
                <c:pt idx="23">
                  <c:v>0.8112273057851239</c:v>
                </c:pt>
                <c:pt idx="24">
                  <c:v>1.2851404077365394</c:v>
                </c:pt>
                <c:pt idx="25">
                  <c:v>1.2708511093290564</c:v>
                </c:pt>
                <c:pt idx="26">
                  <c:v>1.1671576930446446</c:v>
                </c:pt>
                <c:pt idx="27">
                  <c:v>0.985056577203446</c:v>
                </c:pt>
                <c:pt idx="28">
                  <c:v>1.0736681058134618</c:v>
                </c:pt>
                <c:pt idx="29">
                  <c:v>0.9086566930308909</c:v>
                </c:pt>
                <c:pt idx="30">
                  <c:v>0.8583583466382827</c:v>
                </c:pt>
                <c:pt idx="31">
                  <c:v>1.6110237154150198</c:v>
                </c:pt>
                <c:pt idx="32">
                  <c:v>0.756480107449178</c:v>
                </c:pt>
                <c:pt idx="33">
                  <c:v>1.1158650352763597</c:v>
                </c:pt>
                <c:pt idx="34">
                  <c:v>1.1296384946988234</c:v>
                </c:pt>
                <c:pt idx="35">
                  <c:v>0.9134497785651019</c:v>
                </c:pt>
                <c:pt idx="36">
                  <c:v>1.1574763948497855</c:v>
                </c:pt>
                <c:pt idx="37">
                  <c:v>1.2095479711793706</c:v>
                </c:pt>
                <c:pt idx="38">
                  <c:v>0.9598943567801765</c:v>
                </c:pt>
                <c:pt idx="39">
                  <c:v>1.0831778420467186</c:v>
                </c:pt>
                <c:pt idx="40">
                  <c:v>1.2485185931880807</c:v>
                </c:pt>
                <c:pt idx="41">
                  <c:v>0.9734290470553418</c:v>
                </c:pt>
                <c:pt idx="42">
                  <c:v>0.9758171005385996</c:v>
                </c:pt>
                <c:pt idx="43">
                  <c:v>1.133252376248491</c:v>
                </c:pt>
                <c:pt idx="44">
                  <c:v>1.0762975074491026</c:v>
                </c:pt>
                <c:pt idx="45">
                  <c:v>1.064264839269768</c:v>
                </c:pt>
                <c:pt idx="46">
                  <c:v>0.9038133217376252</c:v>
                </c:pt>
                <c:pt idx="47">
                  <c:v>0.8307963618265789</c:v>
                </c:pt>
                <c:pt idx="48">
                  <c:v>1.1276903842103232</c:v>
                </c:pt>
                <c:pt idx="49">
                  <c:v>1.1228666472133062</c:v>
                </c:pt>
                <c:pt idx="50">
                  <c:v>0.9636897050020167</c:v>
                </c:pt>
                <c:pt idx="51">
                  <c:v>0.9757061426801203</c:v>
                </c:pt>
                <c:pt idx="52">
                  <c:v>-6.285898189225291</c:v>
                </c:pt>
                <c:pt idx="53">
                  <c:v>-142.8609213933418</c:v>
                </c:pt>
                <c:pt idx="54">
                  <c:v>2.596443770114116</c:v>
                </c:pt>
              </c:numCache>
            </c:numRef>
          </c:xVal>
          <c:yVal>
            <c:numRef>
              <c:f>Sheet1!$B$184:$B$238</c:f>
              <c:numCache>
                <c:formatCode>General</c:formatCode>
                <c:ptCount val="55"/>
                <c:pt idx="0">
                  <c:v>0.4012051185030081</c:v>
                </c:pt>
                <c:pt idx="1">
                  <c:v>0.4011787522106447</c:v>
                </c:pt>
                <c:pt idx="2">
                  <c:v>0.40114490575503925</c:v>
                </c:pt>
                <c:pt idx="3">
                  <c:v>0.4011402076030965</c:v>
                </c:pt>
                <c:pt idx="4">
                  <c:v>0.40093183658343934</c:v>
                </c:pt>
                <c:pt idx="5">
                  <c:v>0.40105613391477485</c:v>
                </c:pt>
                <c:pt idx="6">
                  <c:v>0.40120981075875023</c:v>
                </c:pt>
                <c:pt idx="7">
                  <c:v>0.4009878294063185</c:v>
                </c:pt>
                <c:pt idx="8">
                  <c:v>0.40126677111786896</c:v>
                </c:pt>
                <c:pt idx="9">
                  <c:v>0.40115334619743753</c:v>
                </c:pt>
                <c:pt idx="10">
                  <c:v>0.4010529006266341</c:v>
                </c:pt>
                <c:pt idx="11">
                  <c:v>0.40129983762667176</c:v>
                </c:pt>
                <c:pt idx="12">
                  <c:v>0.4015052193171655</c:v>
                </c:pt>
                <c:pt idx="13">
                  <c:v>0.4013530536834853</c:v>
                </c:pt>
                <c:pt idx="14">
                  <c:v>0.40157190605886384</c:v>
                </c:pt>
                <c:pt idx="15">
                  <c:v>0.40148131249762575</c:v>
                </c:pt>
                <c:pt idx="16">
                  <c:v>0.4016049087777526</c:v>
                </c:pt>
                <c:pt idx="17">
                  <c:v>0.4015609582825908</c:v>
                </c:pt>
                <c:pt idx="18">
                  <c:v>0.40079636010514047</c:v>
                </c:pt>
                <c:pt idx="19">
                  <c:v>0.40122480444020625</c:v>
                </c:pt>
                <c:pt idx="20">
                  <c:v>0.40145191951117776</c:v>
                </c:pt>
                <c:pt idx="21">
                  <c:v>0.40160318363523567</c:v>
                </c:pt>
                <c:pt idx="22">
                  <c:v>0.401315617520009</c:v>
                </c:pt>
                <c:pt idx="23">
                  <c:v>0.40166493115024576</c:v>
                </c:pt>
                <c:pt idx="24">
                  <c:v>0.40106193529972506</c:v>
                </c:pt>
                <c:pt idx="25">
                  <c:v>0.4010801166659103</c:v>
                </c:pt>
                <c:pt idx="26">
                  <c:v>0.4012120537224896</c:v>
                </c:pt>
                <c:pt idx="27">
                  <c:v>0.4014437548862162</c:v>
                </c:pt>
                <c:pt idx="28">
                  <c:v>0.4013310076677069</c:v>
                </c:pt>
                <c:pt idx="29">
                  <c:v>0.4015409642964364</c:v>
                </c:pt>
                <c:pt idx="30">
                  <c:v>0.40160496272576424</c:v>
                </c:pt>
                <c:pt idx="31">
                  <c:v>0.40064728906716696</c:v>
                </c:pt>
                <c:pt idx="32">
                  <c:v>0.4017345901938305</c:v>
                </c:pt>
                <c:pt idx="33">
                  <c:v>0.4012773172901544</c:v>
                </c:pt>
                <c:pt idx="34">
                  <c:v>0.4012597922653242</c:v>
                </c:pt>
                <c:pt idx="35">
                  <c:v>0.40153486568747954</c:v>
                </c:pt>
                <c:pt idx="36">
                  <c:v>0.4012243719779147</c:v>
                </c:pt>
                <c:pt idx="37">
                  <c:v>0.4011581173326485</c:v>
                </c:pt>
                <c:pt idx="38">
                  <c:v>0.4014757707018639</c:v>
                </c:pt>
                <c:pt idx="39">
                  <c:v>0.4013189077036743</c:v>
                </c:pt>
                <c:pt idx="40">
                  <c:v>0.40110853203258673</c:v>
                </c:pt>
                <c:pt idx="41">
                  <c:v>0.40145854948126375</c:v>
                </c:pt>
                <c:pt idx="42">
                  <c:v>0.40145551097834986</c:v>
                </c:pt>
                <c:pt idx="43">
                  <c:v>0.4012551940476979</c:v>
                </c:pt>
                <c:pt idx="44">
                  <c:v>0.4013276620790977</c:v>
                </c:pt>
                <c:pt idx="45">
                  <c:v>0.4013429721622183</c:v>
                </c:pt>
                <c:pt idx="46">
                  <c:v>0.4015471268878067</c:v>
                </c:pt>
                <c:pt idx="47">
                  <c:v>0.40164003194500536</c:v>
                </c:pt>
                <c:pt idx="48">
                  <c:v>0.4012622709951506</c:v>
                </c:pt>
                <c:pt idx="49">
                  <c:v>0.40126840860430557</c:v>
                </c:pt>
                <c:pt idx="50">
                  <c:v>0.40147094159032504</c:v>
                </c:pt>
                <c:pt idx="51">
                  <c:v>0.4014556521585113</c:v>
                </c:pt>
                <c:pt idx="52">
                  <c:v>0.4106951461970427</c:v>
                </c:pt>
                <c:pt idx="53">
                  <c:v>0.5844699836888584</c:v>
                </c:pt>
                <c:pt idx="54">
                  <c:v>0.39939346383727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476082004555809"/>
          <c:min val="0.265205479452054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917.5777</c:v>
                </c:pt>
                <c:pt idx="1">
                  <c:v>942.9466</c:v>
                </c:pt>
                <c:pt idx="2">
                  <c:v>940.5413</c:v>
                </c:pt>
                <c:pt idx="3">
                  <c:v>887.2009</c:v>
                </c:pt>
                <c:pt idx="4">
                  <c:v>890.573</c:v>
                </c:pt>
                <c:pt idx="5">
                  <c:v>890.485</c:v>
                </c:pt>
                <c:pt idx="6">
                  <c:v>829.306</c:v>
                </c:pt>
                <c:pt idx="7">
                  <c:v>827.1186</c:v>
                </c:pt>
                <c:pt idx="8">
                  <c:v>891.8317</c:v>
                </c:pt>
                <c:pt idx="9">
                  <c:v>911.1471</c:v>
                </c:pt>
                <c:pt idx="10">
                  <c:v>918.2488</c:v>
                </c:pt>
                <c:pt idx="11">
                  <c:v>931.2271</c:v>
                </c:pt>
                <c:pt idx="12">
                  <c:v>953.6029</c:v>
                </c:pt>
                <c:pt idx="13">
                  <c:v>981.6713</c:v>
                </c:pt>
                <c:pt idx="14">
                  <c:v>1018.5657</c:v>
                </c:pt>
                <c:pt idx="15">
                  <c:v>1041.2207</c:v>
                </c:pt>
                <c:pt idx="16">
                  <c:v>1086.6802</c:v>
                </c:pt>
                <c:pt idx="17">
                  <c:v>1110.5325</c:v>
                </c:pt>
                <c:pt idx="18">
                  <c:v>1099.5771</c:v>
                </c:pt>
                <c:pt idx="19">
                  <c:v>1042.7054</c:v>
                </c:pt>
                <c:pt idx="20">
                  <c:v>1029.1</c:v>
                </c:pt>
                <c:pt idx="21">
                  <c:v>1025.4099</c:v>
                </c:pt>
                <c:pt idx="22">
                  <c:v>995.7209</c:v>
                </c:pt>
                <c:pt idx="23">
                  <c:v>990.8553</c:v>
                </c:pt>
                <c:pt idx="24">
                  <c:v>991.936</c:v>
                </c:pt>
                <c:pt idx="25">
                  <c:v>1018.6053</c:v>
                </c:pt>
                <c:pt idx="26">
                  <c:v>981.9103</c:v>
                </c:pt>
                <c:pt idx="27">
                  <c:v>989.6321</c:v>
                </c:pt>
                <c:pt idx="28">
                  <c:v>981.6377</c:v>
                </c:pt>
                <c:pt idx="29">
                  <c:v>935.5581</c:v>
                </c:pt>
                <c:pt idx="30">
                  <c:v>877.0863</c:v>
                </c:pt>
                <c:pt idx="31">
                  <c:v>916.2072</c:v>
                </c:pt>
                <c:pt idx="32">
                  <c:v>930.9124</c:v>
                </c:pt>
                <c:pt idx="33">
                  <c:v>1034.2904</c:v>
                </c:pt>
                <c:pt idx="34">
                  <c:v>1043.3075</c:v>
                </c:pt>
                <c:pt idx="35">
                  <c:v>1119.0669</c:v>
                </c:pt>
                <c:pt idx="36">
                  <c:v>1120.0598</c:v>
                </c:pt>
                <c:pt idx="37">
                  <c:v>1103.3215</c:v>
                </c:pt>
                <c:pt idx="38">
                  <c:v>1177.7735</c:v>
                </c:pt>
                <c:pt idx="39">
                  <c:v>1182.138</c:v>
                </c:pt>
                <c:pt idx="40">
                  <c:v>1197.2529</c:v>
                </c:pt>
                <c:pt idx="41">
                  <c:v>1127.06</c:v>
                </c:pt>
                <c:pt idx="42">
                  <c:v>1084.933</c:v>
                </c:pt>
                <c:pt idx="43">
                  <c:v>1082.7635</c:v>
                </c:pt>
                <c:pt idx="44">
                  <c:v>1071.1731</c:v>
                </c:pt>
                <c:pt idx="45">
                  <c:v>1062.1098</c:v>
                </c:pt>
                <c:pt idx="46">
                  <c:v>1029.0565</c:v>
                </c:pt>
                <c:pt idx="47">
                  <c:v>1025.2214</c:v>
                </c:pt>
                <c:pt idx="48">
                  <c:v>1038.711</c:v>
                </c:pt>
                <c:pt idx="49">
                  <c:v>1057.6039</c:v>
                </c:pt>
                <c:pt idx="50">
                  <c:v>1153.2937</c:v>
                </c:pt>
                <c:pt idx="51">
                  <c:v>1120.9229</c:v>
                </c:pt>
                <c:pt idx="52">
                  <c:v>1153.376</c:v>
                </c:pt>
                <c:pt idx="53">
                  <c:v>1175.2733</c:v>
                </c:pt>
                <c:pt idx="54">
                  <c:v>1122.8936</c:v>
                </c:pt>
                <c:pt idx="55">
                  <c:v>1071.4586</c:v>
                </c:pt>
                <c:pt idx="56">
                  <c:v>1078.1926</c:v>
                </c:pt>
                <c:pt idx="57">
                  <c:v>1093.9389</c:v>
                </c:pt>
                <c:pt idx="58">
                  <c:v>1133.9046</c:v>
                </c:pt>
                <c:pt idx="59">
                  <c:v>1045.125</c:v>
                </c:pt>
                <c:pt idx="60">
                  <c:v>1072.3098</c:v>
                </c:pt>
                <c:pt idx="61">
                  <c:v>1100.5709</c:v>
                </c:pt>
                <c:pt idx="62">
                  <c:v>1096.3523</c:v>
                </c:pt>
                <c:pt idx="63">
                  <c:v>1116.5751</c:v>
                </c:pt>
                <c:pt idx="64">
                  <c:v>1158.4419</c:v>
                </c:pt>
                <c:pt idx="65">
                  <c:v>1207.5436</c:v>
                </c:pt>
                <c:pt idx="66">
                  <c:v>1256.0455</c:v>
                </c:pt>
                <c:pt idx="67">
                  <c:v>1275.5212</c:v>
                </c:pt>
                <c:pt idx="68">
                  <c:v>1308.4711</c:v>
                </c:pt>
                <c:pt idx="69">
                  <c:v>1329.8</c:v>
                </c:pt>
                <c:pt idx="70">
                  <c:v>1356.0173</c:v>
                </c:pt>
                <c:pt idx="71">
                  <c:v>1305.4</c:v>
                </c:pt>
                <c:pt idx="72">
                  <c:v>1278.3974</c:v>
                </c:pt>
                <c:pt idx="73">
                  <c:v>1282.5895</c:v>
                </c:pt>
                <c:pt idx="74">
                  <c:v>1260.0653</c:v>
                </c:pt>
                <c:pt idx="75">
                  <c:v>1315.4167</c:v>
                </c:pt>
                <c:pt idx="76">
                  <c:v>1286.0452</c:v>
                </c:pt>
                <c:pt idx="77">
                  <c:v>1291.0207</c:v>
                </c:pt>
                <c:pt idx="78">
                  <c:v>1198.6187</c:v>
                </c:pt>
                <c:pt idx="79">
                  <c:v>1245.9835</c:v>
                </c:pt>
                <c:pt idx="80">
                  <c:v>1230.1402</c:v>
                </c:pt>
                <c:pt idx="81">
                  <c:v>1229.2152</c:v>
                </c:pt>
                <c:pt idx="82">
                  <c:v>1180.1147</c:v>
                </c:pt>
                <c:pt idx="83">
                  <c:v>1191.4735</c:v>
                </c:pt>
                <c:pt idx="84">
                  <c:v>1172.2278</c:v>
                </c:pt>
                <c:pt idx="85">
                  <c:v>1240.9554</c:v>
                </c:pt>
                <c:pt idx="86">
                  <c:v>1220.8264</c:v>
                </c:pt>
                <c:pt idx="87">
                  <c:v>1291.3364</c:v>
                </c:pt>
                <c:pt idx="88">
                  <c:v>1304.7757</c:v>
                </c:pt>
                <c:pt idx="89">
                  <c:v>1246.7855</c:v>
                </c:pt>
                <c:pt idx="90">
                  <c:v>1279.128</c:v>
                </c:pt>
                <c:pt idx="91">
                  <c:v>1275.8279</c:v>
                </c:pt>
                <c:pt idx="92">
                  <c:v>1194.9155</c:v>
                </c:pt>
                <c:pt idx="93">
                  <c:v>1151.5033</c:v>
                </c:pt>
                <c:pt idx="94">
                  <c:v>1128.1682</c:v>
                </c:pt>
                <c:pt idx="95">
                  <c:v>1120.5328</c:v>
                </c:pt>
                <c:pt idx="96">
                  <c:v>1105.6234</c:v>
                </c:pt>
                <c:pt idx="97">
                  <c:v>1088.5235</c:v>
                </c:pt>
                <c:pt idx="98">
                  <c:v>1093.919</c:v>
                </c:pt>
                <c:pt idx="99">
                  <c:v>1122.164</c:v>
                </c:pt>
                <c:pt idx="100">
                  <c:v>1111.1996</c:v>
                </c:pt>
                <c:pt idx="101">
                  <c:v>1182.4211</c:v>
                </c:pt>
              </c:numCache>
            </c:numRef>
          </c:xVal>
          <c:yVal>
            <c:numRef>
              <c:f>Sheet1!$B$2:$B$103</c:f>
              <c:numCache>
                <c:formatCode>General</c:formatCode>
                <c:ptCount val="102"/>
                <c:pt idx="0">
                  <c:v>0.623006833712984</c:v>
                </c:pt>
                <c:pt idx="1">
                  <c:v>0.6174785100286533</c:v>
                </c:pt>
                <c:pt idx="2">
                  <c:v>0.553763440860215</c:v>
                </c:pt>
                <c:pt idx="3">
                  <c:v>0.5346062052505967</c:v>
                </c:pt>
                <c:pt idx="4">
                  <c:v>0.592</c:v>
                </c:pt>
                <c:pt idx="5">
                  <c:v>0.5859649122807018</c:v>
                </c:pt>
                <c:pt idx="6">
                  <c:v>0.5690021231422505</c:v>
                </c:pt>
                <c:pt idx="7">
                  <c:v>0.5365853658536586</c:v>
                </c:pt>
                <c:pt idx="8">
                  <c:v>0.48578199052132703</c:v>
                </c:pt>
                <c:pt idx="9">
                  <c:v>0.46282722513089003</c:v>
                </c:pt>
                <c:pt idx="10">
                  <c:v>0.3969022265246854</c:v>
                </c:pt>
                <c:pt idx="11">
                  <c:v>0.39138240574506283</c:v>
                </c:pt>
                <c:pt idx="12">
                  <c:v>0.3854625550660793</c:v>
                </c:pt>
                <c:pt idx="13">
                  <c:v>0.3783068783068783</c:v>
                </c:pt>
                <c:pt idx="14">
                  <c:v>0.3530239099859353</c:v>
                </c:pt>
                <c:pt idx="15">
                  <c:v>0.36038961038961037</c:v>
                </c:pt>
                <c:pt idx="16">
                  <c:v>0.3644067796610169</c:v>
                </c:pt>
                <c:pt idx="17">
                  <c:v>0.37138263665594856</c:v>
                </c:pt>
                <c:pt idx="18">
                  <c:v>0.4069767441860465</c:v>
                </c:pt>
                <c:pt idx="19">
                  <c:v>0.5</c:v>
                </c:pt>
                <c:pt idx="20">
                  <c:v>0.48096192384769537</c:v>
                </c:pt>
                <c:pt idx="21">
                  <c:v>0.5053571428571428</c:v>
                </c:pt>
                <c:pt idx="22">
                  <c:v>0.5119047619047619</c:v>
                </c:pt>
                <c:pt idx="23">
                  <c:v>0.5250431778929189</c:v>
                </c:pt>
                <c:pt idx="24">
                  <c:v>0.5</c:v>
                </c:pt>
                <c:pt idx="25">
                  <c:v>0.4802527646129542</c:v>
                </c:pt>
                <c:pt idx="26">
                  <c:v>0.47375</c:v>
                </c:pt>
                <c:pt idx="27">
                  <c:v>0.5264900662251656</c:v>
                </c:pt>
                <c:pt idx="28">
                  <c:v>0.5083713850837138</c:v>
                </c:pt>
                <c:pt idx="29">
                  <c:v>0.5512820512820513</c:v>
                </c:pt>
                <c:pt idx="30">
                  <c:v>0.5909090909090909</c:v>
                </c:pt>
                <c:pt idx="31">
                  <c:v>0.511049723756906</c:v>
                </c:pt>
                <c:pt idx="32">
                  <c:v>0.49714285714285716</c:v>
                </c:pt>
                <c:pt idx="33">
                  <c:v>0.4863325740318907</c:v>
                </c:pt>
                <c:pt idx="34">
                  <c:v>0.48691860465116277</c:v>
                </c:pt>
                <c:pt idx="35">
                  <c:v>0.4537177541729894</c:v>
                </c:pt>
                <c:pt idx="36">
                  <c:v>0.4574468085106383</c:v>
                </c:pt>
                <c:pt idx="37">
                  <c:v>0.4694783573806881</c:v>
                </c:pt>
                <c:pt idx="38">
                  <c:v>0.42020497803806733</c:v>
                </c:pt>
                <c:pt idx="39">
                  <c:v>0.40852130325814534</c:v>
                </c:pt>
                <c:pt idx="40">
                  <c:v>0.39057239057239057</c:v>
                </c:pt>
                <c:pt idx="41">
                  <c:v>0.4167215273206057</c:v>
                </c:pt>
                <c:pt idx="42">
                  <c:v>0.42848593656493117</c:v>
                </c:pt>
                <c:pt idx="43">
                  <c:v>0.4398843930635838</c:v>
                </c:pt>
                <c:pt idx="44">
                  <c:v>0.4126984126984127</c:v>
                </c:pt>
                <c:pt idx="45">
                  <c:v>0.4267340376665136</c:v>
                </c:pt>
                <c:pt idx="46">
                  <c:v>0.44441235922610456</c:v>
                </c:pt>
                <c:pt idx="47">
                  <c:v>0.42159853569249545</c:v>
                </c:pt>
                <c:pt idx="48">
                  <c:v>0.4232142857142857</c:v>
                </c:pt>
                <c:pt idx="49">
                  <c:v>0.41311697092630156</c:v>
                </c:pt>
                <c:pt idx="50">
                  <c:v>0.4014401440144014</c:v>
                </c:pt>
                <c:pt idx="51">
                  <c:v>0.42094240837696334</c:v>
                </c:pt>
                <c:pt idx="52">
                  <c:v>0.41288278775079196</c:v>
                </c:pt>
                <c:pt idx="53">
                  <c:v>0.40759493670886077</c:v>
                </c:pt>
                <c:pt idx="54">
                  <c:v>0.4387966804979253</c:v>
                </c:pt>
                <c:pt idx="55">
                  <c:v>0.4523809523809524</c:v>
                </c:pt>
                <c:pt idx="56">
                  <c:v>0.47098591549295776</c:v>
                </c:pt>
                <c:pt idx="57">
                  <c:v>0.48169934640522877</c:v>
                </c:pt>
                <c:pt idx="58">
                  <c:v>0.4591633466135458</c:v>
                </c:pt>
                <c:pt idx="59">
                  <c:v>0.4602739726027397</c:v>
                </c:pt>
                <c:pt idx="60">
                  <c:v>0.5047784535186794</c:v>
                </c:pt>
                <c:pt idx="61">
                  <c:v>0.42251461988304095</c:v>
                </c:pt>
                <c:pt idx="62">
                  <c:v>0.3832943013270882</c:v>
                </c:pt>
                <c:pt idx="63">
                  <c:v>0.40221088435374147</c:v>
                </c:pt>
                <c:pt idx="64">
                  <c:v>0.35149863760217986</c:v>
                </c:pt>
                <c:pt idx="65">
                  <c:v>0.345707656612529</c:v>
                </c:pt>
                <c:pt idx="66">
                  <c:v>0.3315068493150685</c:v>
                </c:pt>
                <c:pt idx="67">
                  <c:v>0.3323943661971831</c:v>
                </c:pt>
                <c:pt idx="68">
                  <c:v>0.36585365853658536</c:v>
                </c:pt>
                <c:pt idx="69">
                  <c:v>0.35470668485675305</c:v>
                </c:pt>
                <c:pt idx="70">
                  <c:v>0.3737864077669903</c:v>
                </c:pt>
                <c:pt idx="71">
                  <c:v>0.35907859078590787</c:v>
                </c:pt>
                <c:pt idx="72">
                  <c:v>0.3804878048780488</c:v>
                </c:pt>
                <c:pt idx="73">
                  <c:v>0.3869653767820774</c:v>
                </c:pt>
                <c:pt idx="74">
                  <c:v>0.3841698841698842</c:v>
                </c:pt>
                <c:pt idx="75">
                  <c:v>0.38613861386138615</c:v>
                </c:pt>
                <c:pt idx="76">
                  <c:v>0.3692022263450835</c:v>
                </c:pt>
                <c:pt idx="77">
                  <c:v>0.3391915641476274</c:v>
                </c:pt>
                <c:pt idx="78">
                  <c:v>0.3757309941520468</c:v>
                </c:pt>
                <c:pt idx="79">
                  <c:v>0.38155136268343814</c:v>
                </c:pt>
                <c:pt idx="80">
                  <c:v>0.3735763097949886</c:v>
                </c:pt>
                <c:pt idx="81">
                  <c:v>0.37176470588235294</c:v>
                </c:pt>
                <c:pt idx="82">
                  <c:v>0.4059590316573557</c:v>
                </c:pt>
                <c:pt idx="83">
                  <c:v>0.3911917098445596</c:v>
                </c:pt>
                <c:pt idx="84">
                  <c:v>0.4067796610169492</c:v>
                </c:pt>
                <c:pt idx="85">
                  <c:v>0.4170542635658915</c:v>
                </c:pt>
                <c:pt idx="86">
                  <c:v>0.4223385689354276</c:v>
                </c:pt>
                <c:pt idx="87">
                  <c:v>0.384070796460177</c:v>
                </c:pt>
                <c:pt idx="88">
                  <c:v>0.3525535420098847</c:v>
                </c:pt>
                <c:pt idx="89">
                  <c:v>0.36628643852978454</c:v>
                </c:pt>
                <c:pt idx="90">
                  <c:v>0.3436385255648038</c:v>
                </c:pt>
                <c:pt idx="91">
                  <c:v>0.3505747126436782</c:v>
                </c:pt>
                <c:pt idx="92">
                  <c:v>0.3637295081967213</c:v>
                </c:pt>
                <c:pt idx="93">
                  <c:v>0.4089068825910931</c:v>
                </c:pt>
                <c:pt idx="94">
                  <c:v>0.41226993865030676</c:v>
                </c:pt>
                <c:pt idx="95">
                  <c:v>0.42140992167101826</c:v>
                </c:pt>
                <c:pt idx="96">
                  <c:v>0.41974708171206226</c:v>
                </c:pt>
                <c:pt idx="97">
                  <c:v>0.421994037760848</c:v>
                </c:pt>
                <c:pt idx="98">
                  <c:v>0.44533485975958786</c:v>
                </c:pt>
                <c:pt idx="99">
                  <c:v>0.39981532779316714</c:v>
                </c:pt>
                <c:pt idx="100">
                  <c:v>0.3781446540880503</c:v>
                </c:pt>
                <c:pt idx="101">
                  <c:v>0.3595617529880478</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1233.1442</c:v>
                </c:pt>
                <c:pt idx="1">
                  <c:v>1226.4453</c:v>
                </c:pt>
                <c:pt idx="2">
                  <c:v>1251.1921</c:v>
                </c:pt>
                <c:pt idx="3">
                  <c:v>1246.4648</c:v>
                </c:pt>
                <c:pt idx="4">
                  <c:v>1255.9654</c:v>
                </c:pt>
                <c:pt idx="5">
                  <c:v>1236.8222</c:v>
                </c:pt>
                <c:pt idx="6">
                  <c:v>1089.7037</c:v>
                </c:pt>
                <c:pt idx="7">
                  <c:v>1133.3671</c:v>
                </c:pt>
                <c:pt idx="8">
                  <c:v>1187.1062</c:v>
                </c:pt>
                <c:pt idx="9">
                  <c:v>1134.4334</c:v>
                </c:pt>
                <c:pt idx="10">
                  <c:v>1185.703</c:v>
                </c:pt>
                <c:pt idx="11">
                  <c:v>1004.9588</c:v>
                </c:pt>
                <c:pt idx="12">
                  <c:v>1057.5905</c:v>
                </c:pt>
                <c:pt idx="13">
                  <c:v>1130.7548</c:v>
                </c:pt>
                <c:pt idx="14">
                  <c:v>1096.1377</c:v>
                </c:pt>
                <c:pt idx="15">
                  <c:v>1154.8643</c:v>
                </c:pt>
                <c:pt idx="16">
                  <c:v>1173.6055</c:v>
                </c:pt>
                <c:pt idx="17">
                  <c:v>1170.8266</c:v>
                </c:pt>
                <c:pt idx="18">
                  <c:v>1158.1182</c:v>
                </c:pt>
                <c:pt idx="19">
                  <c:v>1299.4643</c:v>
                </c:pt>
                <c:pt idx="20">
                  <c:v>1308.686</c:v>
                </c:pt>
                <c:pt idx="21">
                  <c:v>1219.4214</c:v>
                </c:pt>
                <c:pt idx="22">
                  <c:v>1256.2286</c:v>
                </c:pt>
                <c:pt idx="23">
                  <c:v>1226.9813</c:v>
                </c:pt>
                <c:pt idx="24">
                  <c:v>1229.2368</c:v>
                </c:pt>
                <c:pt idx="25">
                  <c:v>1188.5635</c:v>
                </c:pt>
                <c:pt idx="26">
                  <c:v>1218.2792</c:v>
                </c:pt>
                <c:pt idx="27">
                  <c:v>1189.1603</c:v>
                </c:pt>
                <c:pt idx="28">
                  <c:v>1233.2868</c:v>
                </c:pt>
                <c:pt idx="29">
                  <c:v>1217.7817</c:v>
                </c:pt>
                <c:pt idx="30">
                  <c:v>1209.6415</c:v>
                </c:pt>
                <c:pt idx="31">
                  <c:v>1222.767</c:v>
                </c:pt>
                <c:pt idx="32">
                  <c:v>1230.541</c:v>
                </c:pt>
                <c:pt idx="33">
                  <c:v>1195.8354</c:v>
                </c:pt>
                <c:pt idx="34">
                  <c:v>1211.9609</c:v>
                </c:pt>
                <c:pt idx="35">
                  <c:v>1289.106</c:v>
                </c:pt>
                <c:pt idx="36">
                  <c:v>1348.46</c:v>
                </c:pt>
                <c:pt idx="37">
                  <c:v>1275.8312</c:v>
                </c:pt>
                <c:pt idx="38">
                  <c:v>1332.6533</c:v>
                </c:pt>
                <c:pt idx="39">
                  <c:v>1217.2211</c:v>
                </c:pt>
                <c:pt idx="40">
                  <c:v>1276.9571</c:v>
                </c:pt>
                <c:pt idx="41">
                  <c:v>1315.6867</c:v>
                </c:pt>
                <c:pt idx="42">
                  <c:v>1304.4723</c:v>
                </c:pt>
                <c:pt idx="43">
                  <c:v>1290.6328</c:v>
                </c:pt>
                <c:pt idx="44">
                  <c:v>1212.3893</c:v>
                </c:pt>
                <c:pt idx="45">
                  <c:v>1151.9907</c:v>
                </c:pt>
                <c:pt idx="46">
                  <c:v>1163.3369</c:v>
                </c:pt>
                <c:pt idx="47">
                  <c:v>1146.1429</c:v>
                </c:pt>
                <c:pt idx="48">
                  <c:v>1141.9745</c:v>
                </c:pt>
                <c:pt idx="49">
                  <c:v>1154.4192</c:v>
                </c:pt>
                <c:pt idx="50">
                  <c:v>1110.299</c:v>
                </c:pt>
                <c:pt idx="51">
                  <c:v>1102.3528</c:v>
                </c:pt>
              </c:numCache>
            </c:numRef>
          </c:xVal>
          <c:yVal>
            <c:numRef>
              <c:f>Sheet1!$B$106:$B$157</c:f>
              <c:numCache>
                <c:formatCode>General</c:formatCode>
                <c:ptCount val="52"/>
                <c:pt idx="0">
                  <c:v>0.36459246275197194</c:v>
                </c:pt>
                <c:pt idx="1">
                  <c:v>0.36432637571157495</c:v>
                </c:pt>
                <c:pt idx="2">
                  <c:v>0.38015873015873014</c:v>
                </c:pt>
                <c:pt idx="3">
                  <c:v>0.411231884057971</c:v>
                </c:pt>
                <c:pt idx="4">
                  <c:v>0.4082784571966134</c:v>
                </c:pt>
                <c:pt idx="5">
                  <c:v>0.3985828166519043</c:v>
                </c:pt>
                <c:pt idx="6">
                  <c:v>0.4247191011235955</c:v>
                </c:pt>
                <c:pt idx="7">
                  <c:v>0.40429887410440124</c:v>
                </c:pt>
                <c:pt idx="8">
                  <c:v>0.4306784660766962</c:v>
                </c:pt>
                <c:pt idx="9">
                  <c:v>0.4238845144356955</c:v>
                </c:pt>
                <c:pt idx="10">
                  <c:v>0.41405269761606023</c:v>
                </c:pt>
                <c:pt idx="11">
                  <c:v>0.4186046511627907</c:v>
                </c:pt>
                <c:pt idx="12">
                  <c:v>0.42744063324538256</c:v>
                </c:pt>
                <c:pt idx="13">
                  <c:v>0.4231943031536114</c:v>
                </c:pt>
                <c:pt idx="14">
                  <c:v>0.43902439024390244</c:v>
                </c:pt>
                <c:pt idx="15">
                  <c:v>0.40942028985507245</c:v>
                </c:pt>
                <c:pt idx="16">
                  <c:v>0.38026315789473686</c:v>
                </c:pt>
                <c:pt idx="17">
                  <c:v>0.3827683615819209</c:v>
                </c:pt>
                <c:pt idx="18">
                  <c:v>0.39783001808318263</c:v>
                </c:pt>
                <c:pt idx="19">
                  <c:v>0.3971631205673759</c:v>
                </c:pt>
                <c:pt idx="20">
                  <c:v>0.4074803149606299</c:v>
                </c:pt>
                <c:pt idx="21">
                  <c:v>0.417910447761194</c:v>
                </c:pt>
                <c:pt idx="22">
                  <c:v>0.38997214484679665</c:v>
                </c:pt>
                <c:pt idx="23">
                  <c:v>0.41025641025641024</c:v>
                </c:pt>
                <c:pt idx="24">
                  <c:v>0.40772532188841204</c:v>
                </c:pt>
                <c:pt idx="25">
                  <c:v>0.3926247288503254</c:v>
                </c:pt>
                <c:pt idx="26">
                  <c:v>0.39878542510121456</c:v>
                </c:pt>
                <c:pt idx="27">
                  <c:v>0.39368770764119604</c:v>
                </c:pt>
                <c:pt idx="28">
                  <c:v>0.3711484593837535</c:v>
                </c:pt>
                <c:pt idx="29">
                  <c:v>0.4111310592459605</c:v>
                </c:pt>
                <c:pt idx="30">
                  <c:v>0.3861566484517304</c:v>
                </c:pt>
                <c:pt idx="31">
                  <c:v>0.3992248062015504</c:v>
                </c:pt>
                <c:pt idx="32">
                  <c:v>0.3948220064724919</c:v>
                </c:pt>
                <c:pt idx="33">
                  <c:v>0.39281437125748503</c:v>
                </c:pt>
                <c:pt idx="34">
                  <c:v>0.3983606557377049</c:v>
                </c:pt>
                <c:pt idx="35">
                  <c:v>0.368532206969377</c:v>
                </c:pt>
                <c:pt idx="36">
                  <c:v>0.4056795131845842</c:v>
                </c:pt>
                <c:pt idx="37">
                  <c:v>0.4215328467153285</c:v>
                </c:pt>
                <c:pt idx="38">
                  <c:v>0.4077868852459016</c:v>
                </c:pt>
                <c:pt idx="39">
                  <c:v>0.44233576642335765</c:v>
                </c:pt>
                <c:pt idx="40">
                  <c:v>0.39093959731543626</c:v>
                </c:pt>
                <c:pt idx="41">
                  <c:v>0.378419452887538</c:v>
                </c:pt>
                <c:pt idx="42">
                  <c:v>0.4044750430292599</c:v>
                </c:pt>
                <c:pt idx="43">
                  <c:v>0.399737876802097</c:v>
                </c:pt>
                <c:pt idx="44">
                  <c:v>0.3968253968253968</c:v>
                </c:pt>
                <c:pt idx="45">
                  <c:v>0.4198822759973839</c:v>
                </c:pt>
                <c:pt idx="46">
                  <c:v>0.3951137320977254</c:v>
                </c:pt>
                <c:pt idx="47">
                  <c:v>0.40425531914893614</c:v>
                </c:pt>
                <c:pt idx="48">
                  <c:v>0.37380801017164655</c:v>
                </c:pt>
                <c:pt idx="49">
                  <c:v>0.3828856964397252</c:v>
                </c:pt>
                <c:pt idx="50">
                  <c:v>0.41544271926143517</c:v>
                </c:pt>
                <c:pt idx="51">
                  <c:v>0.38799414348462663</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1139.1462710693784</c:v>
                </c:pt>
              </c:numCache>
            </c:numRef>
          </c:xVal>
          <c:yVal>
            <c:numRef>
              <c:f>Sheet1!$B$160:$B$161</c:f>
              <c:numCache>
                <c:formatCode>General</c:formatCode>
                <c:ptCount val="2"/>
                <c:pt idx="0">
                  <c:v>0.5844699836888584</c:v>
                </c:pt>
                <c:pt idx="1">
                  <c:v>0.5844699836888584</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1139.1462710693784</c:v>
                </c:pt>
                <c:pt idx="1">
                  <c:v>-1139.1462710693784</c:v>
                </c:pt>
              </c:numCache>
            </c:numRef>
          </c:xVal>
          <c:yVal>
            <c:numRef>
              <c:f>Sheet1!$B$164:$B$165</c:f>
              <c:numCache>
                <c:formatCode>General</c:formatCode>
                <c:ptCount val="2"/>
                <c:pt idx="0">
                  <c:v>0.58446998368885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1084.1696348855721</c:v>
                </c:pt>
              </c:numCache>
            </c:numRef>
          </c:xVal>
          <c:yVal>
            <c:numRef>
              <c:f>Sheet1!$B$168:$B$169</c:f>
              <c:numCache>
                <c:formatCode>General</c:formatCode>
                <c:ptCount val="2"/>
                <c:pt idx="0">
                  <c:v>0.4106951461970427</c:v>
                </c:pt>
                <c:pt idx="1">
                  <c:v>0.4106951461970427</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1084.1696348855721</c:v>
                </c:pt>
                <c:pt idx="1">
                  <c:v>1084.1696348855721</c:v>
                </c:pt>
              </c:numCache>
            </c:numRef>
          </c:xVal>
          <c:yVal>
            <c:numRef>
              <c:f>Sheet1!$B$172:$B$173</c:f>
              <c:numCache>
                <c:formatCode>General</c:formatCode>
                <c:ptCount val="2"/>
                <c:pt idx="0">
                  <c:v>0.41069514619704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1228.7660017543212</c:v>
                </c:pt>
              </c:numCache>
            </c:numRef>
          </c:xVal>
          <c:yVal>
            <c:numRef>
              <c:f>Sheet1!$B$176:$B$177</c:f>
              <c:numCache>
                <c:formatCode>General</c:formatCode>
                <c:ptCount val="2"/>
                <c:pt idx="0">
                  <c:v>0.3993934638372742</c:v>
                </c:pt>
                <c:pt idx="1">
                  <c:v>0.399393463837274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1228.7660017543212</c:v>
                </c:pt>
                <c:pt idx="1">
                  <c:v>1228.7660017543212</c:v>
                </c:pt>
              </c:numCache>
            </c:numRef>
          </c:xVal>
          <c:yVal>
            <c:numRef>
              <c:f>Sheet1!$B$180:$B$181</c:f>
              <c:numCache>
                <c:formatCode>General</c:formatCode>
                <c:ptCount val="2"/>
                <c:pt idx="0">
                  <c:v>0.39939346383727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1233.1442</c:v>
                </c:pt>
                <c:pt idx="1">
                  <c:v>1226.4453</c:v>
                </c:pt>
                <c:pt idx="2">
                  <c:v>1251.1921</c:v>
                </c:pt>
                <c:pt idx="3">
                  <c:v>1246.4648</c:v>
                </c:pt>
                <c:pt idx="4">
                  <c:v>1255.9654</c:v>
                </c:pt>
                <c:pt idx="5">
                  <c:v>1236.8222</c:v>
                </c:pt>
                <c:pt idx="6">
                  <c:v>1089.7037</c:v>
                </c:pt>
                <c:pt idx="7">
                  <c:v>1133.3671</c:v>
                </c:pt>
                <c:pt idx="8">
                  <c:v>1187.1062</c:v>
                </c:pt>
                <c:pt idx="9">
                  <c:v>1134.4334</c:v>
                </c:pt>
                <c:pt idx="10">
                  <c:v>1185.703</c:v>
                </c:pt>
                <c:pt idx="11">
                  <c:v>1004.9588</c:v>
                </c:pt>
                <c:pt idx="12">
                  <c:v>1057.5905</c:v>
                </c:pt>
                <c:pt idx="13">
                  <c:v>1130.7548</c:v>
                </c:pt>
                <c:pt idx="14">
                  <c:v>1096.1377</c:v>
                </c:pt>
                <c:pt idx="15">
                  <c:v>1154.8643</c:v>
                </c:pt>
                <c:pt idx="16">
                  <c:v>1173.6055</c:v>
                </c:pt>
                <c:pt idx="17">
                  <c:v>1170.8266</c:v>
                </c:pt>
                <c:pt idx="18">
                  <c:v>1158.1182</c:v>
                </c:pt>
                <c:pt idx="19">
                  <c:v>1299.4643</c:v>
                </c:pt>
                <c:pt idx="20">
                  <c:v>1308.686</c:v>
                </c:pt>
                <c:pt idx="21">
                  <c:v>1219.4214</c:v>
                </c:pt>
                <c:pt idx="22">
                  <c:v>1256.2286</c:v>
                </c:pt>
                <c:pt idx="23">
                  <c:v>1226.9813</c:v>
                </c:pt>
                <c:pt idx="24">
                  <c:v>1229.2368</c:v>
                </c:pt>
                <c:pt idx="25">
                  <c:v>1188.5635</c:v>
                </c:pt>
                <c:pt idx="26">
                  <c:v>1218.2792</c:v>
                </c:pt>
                <c:pt idx="27">
                  <c:v>1189.1603</c:v>
                </c:pt>
                <c:pt idx="28">
                  <c:v>1233.2868</c:v>
                </c:pt>
                <c:pt idx="29">
                  <c:v>1217.7817</c:v>
                </c:pt>
                <c:pt idx="30">
                  <c:v>1209.6415</c:v>
                </c:pt>
                <c:pt idx="31">
                  <c:v>1222.767</c:v>
                </c:pt>
                <c:pt idx="32">
                  <c:v>1230.541</c:v>
                </c:pt>
                <c:pt idx="33">
                  <c:v>1195.8354</c:v>
                </c:pt>
                <c:pt idx="34">
                  <c:v>1211.9609</c:v>
                </c:pt>
                <c:pt idx="35">
                  <c:v>1289.106</c:v>
                </c:pt>
                <c:pt idx="36">
                  <c:v>1348.46</c:v>
                </c:pt>
                <c:pt idx="37">
                  <c:v>1275.8312</c:v>
                </c:pt>
                <c:pt idx="38">
                  <c:v>1332.6533</c:v>
                </c:pt>
                <c:pt idx="39">
                  <c:v>1217.2211</c:v>
                </c:pt>
                <c:pt idx="40">
                  <c:v>1276.9571</c:v>
                </c:pt>
                <c:pt idx="41">
                  <c:v>1315.6867</c:v>
                </c:pt>
                <c:pt idx="42">
                  <c:v>1304.4723</c:v>
                </c:pt>
                <c:pt idx="43">
                  <c:v>1290.6328</c:v>
                </c:pt>
                <c:pt idx="44">
                  <c:v>1212.3893</c:v>
                </c:pt>
                <c:pt idx="45">
                  <c:v>1151.9907</c:v>
                </c:pt>
                <c:pt idx="46">
                  <c:v>1163.3369</c:v>
                </c:pt>
                <c:pt idx="47">
                  <c:v>1146.1429</c:v>
                </c:pt>
                <c:pt idx="48">
                  <c:v>1141.9745</c:v>
                </c:pt>
                <c:pt idx="49">
                  <c:v>1154.4192</c:v>
                </c:pt>
                <c:pt idx="50">
                  <c:v>1110.299</c:v>
                </c:pt>
                <c:pt idx="51">
                  <c:v>1102.3528</c:v>
                </c:pt>
                <c:pt idx="52">
                  <c:v>1084.1696348855721</c:v>
                </c:pt>
                <c:pt idx="53">
                  <c:v>-1139.1462710693784</c:v>
                </c:pt>
                <c:pt idx="54">
                  <c:v>1228.7660017543212</c:v>
                </c:pt>
              </c:numCache>
            </c:numRef>
          </c:xVal>
          <c:yVal>
            <c:numRef>
              <c:f>Sheet1!$B$184:$B$238</c:f>
              <c:numCache>
                <c:formatCode>General</c:formatCode>
                <c:ptCount val="55"/>
                <c:pt idx="0">
                  <c:v>0.39905126294417936</c:v>
                </c:pt>
                <c:pt idx="1">
                  <c:v>0.3995748503730985</c:v>
                </c:pt>
                <c:pt idx="2">
                  <c:v>0.39764063529510424</c:v>
                </c:pt>
                <c:pt idx="3">
                  <c:v>0.3980101220545318</c:v>
                </c:pt>
                <c:pt idx="4">
                  <c:v>0.39726755316602935</c:v>
                </c:pt>
                <c:pt idx="5">
                  <c:v>0.398763789692815</c:v>
                </c:pt>
                <c:pt idx="6">
                  <c:v>0.4102626025070736</c:v>
                </c:pt>
                <c:pt idx="7">
                  <c:v>0.40684986200581713</c:v>
                </c:pt>
                <c:pt idx="8">
                  <c:v>0.40264960267944605</c:v>
                </c:pt>
                <c:pt idx="9">
                  <c:v>0.4067665197741886</c:v>
                </c:pt>
                <c:pt idx="10">
                  <c:v>0.40275927708573056</c:v>
                </c:pt>
                <c:pt idx="11">
                  <c:v>0.41688628166410047</c:v>
                </c:pt>
                <c:pt idx="12">
                  <c:v>0.4127725769539776</c:v>
                </c:pt>
                <c:pt idx="13">
                  <c:v>0.40705403992167877</c:v>
                </c:pt>
                <c:pt idx="14">
                  <c:v>0.4097597197177103</c:v>
                </c:pt>
                <c:pt idx="15">
                  <c:v>0.40516963634534153</c:v>
                </c:pt>
                <c:pt idx="16">
                  <c:v>0.4037048202228649</c:v>
                </c:pt>
                <c:pt idx="17">
                  <c:v>0.40392201962966645</c:v>
                </c:pt>
                <c:pt idx="18">
                  <c:v>0.40491531083892107</c:v>
                </c:pt>
                <c:pt idx="19">
                  <c:v>0.3938676700192725</c:v>
                </c:pt>
                <c:pt idx="20">
                  <c:v>0.393146900013262</c:v>
                </c:pt>
                <c:pt idx="21">
                  <c:v>0.40012383987017786</c:v>
                </c:pt>
                <c:pt idx="22">
                  <c:v>0.3972469813988301</c:v>
                </c:pt>
                <c:pt idx="23">
                  <c:v>0.3995329565006865</c:v>
                </c:pt>
                <c:pt idx="24">
                  <c:v>0.3993566661476543</c:v>
                </c:pt>
                <c:pt idx="25">
                  <c:v>0.4025356998058155</c:v>
                </c:pt>
                <c:pt idx="26">
                  <c:v>0.4002131144617244</c:v>
                </c:pt>
                <c:pt idx="27">
                  <c:v>0.4024890537926523</c:v>
                </c:pt>
                <c:pt idx="28">
                  <c:v>0.3990401172982727</c:v>
                </c:pt>
                <c:pt idx="29">
                  <c:v>0.400251999166062</c:v>
                </c:pt>
                <c:pt idx="30">
                  <c:v>0.40088823890525616</c:v>
                </c:pt>
                <c:pt idx="31">
                  <c:v>0.3998623470725257</c:v>
                </c:pt>
                <c:pt idx="32">
                  <c:v>0.3992547296021325</c:v>
                </c:pt>
                <c:pt idx="33">
                  <c:v>0.4019673265767246</c:v>
                </c:pt>
                <c:pt idx="34">
                  <c:v>0.4007069541148226</c:v>
                </c:pt>
                <c:pt idx="35">
                  <c:v>0.39467727691965504</c:v>
                </c:pt>
                <c:pt idx="36">
                  <c:v>0.39003815583170554</c:v>
                </c:pt>
                <c:pt idx="37">
                  <c:v>0.3957148380716973</c:v>
                </c:pt>
                <c:pt idx="38">
                  <c:v>0.39127361081874756</c:v>
                </c:pt>
                <c:pt idx="39">
                  <c:v>0.40029581577963325</c:v>
                </c:pt>
                <c:pt idx="40">
                  <c:v>0.3956268374915692</c:v>
                </c:pt>
                <c:pt idx="41">
                  <c:v>0.39259972383304825</c:v>
                </c:pt>
                <c:pt idx="42">
                  <c:v>0.39347624368897544</c:v>
                </c:pt>
                <c:pt idx="43">
                  <c:v>0.39455794191144866</c:v>
                </c:pt>
                <c:pt idx="44">
                  <c:v>0.40067347028097694</c:v>
                </c:pt>
                <c:pt idx="45">
                  <c:v>0.405394237524004</c:v>
                </c:pt>
                <c:pt idx="46">
                  <c:v>0.40450741615243524</c:v>
                </c:pt>
                <c:pt idx="47">
                  <c:v>0.4058513027984271</c:v>
                </c:pt>
                <c:pt idx="48">
                  <c:v>0.40617710581664</c:v>
                </c:pt>
                <c:pt idx="49">
                  <c:v>0.4052044254546896</c:v>
                </c:pt>
                <c:pt idx="50">
                  <c:v>0.40865286953974794</c:v>
                </c:pt>
                <c:pt idx="51">
                  <c:v>0.40927394619825563</c:v>
                </c:pt>
                <c:pt idx="52">
                  <c:v>0.4106951461970427</c:v>
                </c:pt>
                <c:pt idx="53">
                  <c:v>0.5844699836888584</c:v>
                </c:pt>
                <c:pt idx="54">
                  <c:v>0.39939346383727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476082004555809"/>
          <c:min val="0.265205479452054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060931567816866</c:v>
                </c:pt>
                <c:pt idx="5">
                  <c:v>1.3751179412149883</c:v>
                </c:pt>
                <c:pt idx="6">
                  <c:v>1.8413838094244517</c:v>
                </c:pt>
                <c:pt idx="7">
                  <c:v>2.104104738936418</c:v>
                </c:pt>
                <c:pt idx="8">
                  <c:v>1.6606498324220798</c:v>
                </c:pt>
                <c:pt idx="9">
                  <c:v>1.8679203093385108</c:v>
                </c:pt>
                <c:pt idx="10">
                  <c:v>1.3255864120640446</c:v>
                </c:pt>
                <c:pt idx="11">
                  <c:v>1.871271697388784</c:v>
                </c:pt>
                <c:pt idx="12">
                  <c:v>1.2765986342205393</c:v>
                </c:pt>
                <c:pt idx="13">
                  <c:v>1.3993599836293056</c:v>
                </c:pt>
                <c:pt idx="14">
                  <c:v>0.7611521807580728</c:v>
                </c:pt>
                <c:pt idx="15">
                  <c:v>0.8613599732956034</c:v>
                </c:pt>
                <c:pt idx="16">
                  <c:v>1.1934437102789726</c:v>
                </c:pt>
                <c:pt idx="17">
                  <c:v>0.7835828181097894</c:v>
                </c:pt>
                <c:pt idx="18">
                  <c:v>0.5852186182583894</c:v>
                </c:pt>
                <c:pt idx="19">
                  <c:v>0.6360281103920007</c:v>
                </c:pt>
                <c:pt idx="20">
                  <c:v>2.1428759788921177</c:v>
                </c:pt>
                <c:pt idx="21">
                  <c:v>0.0</c:v>
                </c:pt>
                <c:pt idx="22">
                  <c:v>1.7330332642336586</c:v>
                </c:pt>
                <c:pt idx="23">
                  <c:v>2.5438800401757606</c:v>
                </c:pt>
                <c:pt idx="24">
                  <c:v>2.7866797882225716</c:v>
                </c:pt>
                <c:pt idx="25">
                  <c:v>2.0129552845399865</c:v>
                </c:pt>
                <c:pt idx="26">
                  <c:v>2.6480304015430223</c:v>
                </c:pt>
                <c:pt idx="27">
                  <c:v>2.802401800860258</c:v>
                </c:pt>
                <c:pt idx="28">
                  <c:v>2.2413114162130863</c:v>
                </c:pt>
                <c:pt idx="29">
                  <c:v>2.124063115152333</c:v>
                </c:pt>
                <c:pt idx="30">
                  <c:v>2.7758965067416783</c:v>
                </c:pt>
                <c:pt idx="31">
                  <c:v>3.6610503782838406</c:v>
                </c:pt>
                <c:pt idx="32">
                  <c:v>2.900301610663209</c:v>
                </c:pt>
                <c:pt idx="33">
                  <c:v>3.9884573185397736</c:v>
                </c:pt>
                <c:pt idx="34">
                  <c:v>2.4575074521989326</c:v>
                </c:pt>
                <c:pt idx="35">
                  <c:v>2.4641981595741655</c:v>
                </c:pt>
                <c:pt idx="36">
                  <c:v>2.6332372009050515</c:v>
                </c:pt>
                <c:pt idx="37">
                  <c:v>2.701900164574172</c:v>
                </c:pt>
                <c:pt idx="38">
                  <c:v>3.634372294157126</c:v>
                </c:pt>
                <c:pt idx="39">
                  <c:v>3.4195705483259675</c:v>
                </c:pt>
                <c:pt idx="40">
                  <c:v>3.3473430330822094</c:v>
                </c:pt>
                <c:pt idx="41">
                  <c:v>2.756945890820644</c:v>
                </c:pt>
                <c:pt idx="42">
                  <c:v>2.91637771262614</c:v>
                </c:pt>
                <c:pt idx="43">
                  <c:v>2.5411020411917113</c:v>
                </c:pt>
                <c:pt idx="44">
                  <c:v>2.90253378823272</c:v>
                </c:pt>
                <c:pt idx="45">
                  <c:v>3.3929780277588204</c:v>
                </c:pt>
                <c:pt idx="46">
                  <c:v>2.4870355439942826</c:v>
                </c:pt>
                <c:pt idx="47">
                  <c:v>3.733116665870095</c:v>
                </c:pt>
                <c:pt idx="48">
                  <c:v>3.5134825881320633</c:v>
                </c:pt>
                <c:pt idx="49">
                  <c:v>3.481277413763089</c:v>
                </c:pt>
              </c:numCache>
            </c:numRef>
          </c:xVal>
          <c:yVal>
            <c:numRef>
              <c:f>Sheet1!$B$2:$B$51</c:f>
              <c:numCache>
                <c:formatCode>General</c:formatCode>
                <c:ptCount val="50"/>
                <c:pt idx="0">
                  <c:v>0.0</c:v>
                </c:pt>
                <c:pt idx="1">
                  <c:v>0.0</c:v>
                </c:pt>
                <c:pt idx="2">
                  <c:v>0.0</c:v>
                </c:pt>
                <c:pt idx="3">
                  <c:v>0.0</c:v>
                </c:pt>
                <c:pt idx="4">
                  <c:v>0.0005633802816901409</c:v>
                </c:pt>
                <c:pt idx="5">
                  <c:v>0.00065359477124183</c:v>
                </c:pt>
                <c:pt idx="6">
                  <c:v>0.00099601593625498</c:v>
                </c:pt>
                <c:pt idx="7">
                  <c:v>0.0009132420091324201</c:v>
                </c:pt>
                <c:pt idx="8">
                  <c:v>0.0008688097306689834</c:v>
                </c:pt>
                <c:pt idx="9">
                  <c:v>0.0007309941520467836</c:v>
                </c:pt>
                <c:pt idx="10">
                  <c:v>0.00156128024980484</c:v>
                </c:pt>
                <c:pt idx="11">
                  <c:v>0.0017006802721088435</c:v>
                </c:pt>
                <c:pt idx="12">
                  <c:v>0.0018165304268846503</c:v>
                </c:pt>
                <c:pt idx="13">
                  <c:v>0.002320185614849188</c:v>
                </c:pt>
                <c:pt idx="14">
                  <c:v>0.0027397260273972603</c:v>
                </c:pt>
                <c:pt idx="15">
                  <c:v>0.0028169014084507044</c:v>
                </c:pt>
                <c:pt idx="16">
                  <c:v>0.0016260162601626016</c:v>
                </c:pt>
                <c:pt idx="17">
                  <c:v>0.002728512960436562</c:v>
                </c:pt>
                <c:pt idx="18">
                  <c:v>0.003236245954692557</c:v>
                </c:pt>
                <c:pt idx="19">
                  <c:v>0.0027100271002710027</c:v>
                </c:pt>
                <c:pt idx="20">
                  <c:v>0.0032520325203252032</c:v>
                </c:pt>
                <c:pt idx="21">
                  <c:v>0.0</c:v>
                </c:pt>
                <c:pt idx="22">
                  <c:v>0.009652509652509652</c:v>
                </c:pt>
                <c:pt idx="23">
                  <c:v>0.0049504950495049506</c:v>
                </c:pt>
                <c:pt idx="24">
                  <c:v>0.0055658627087198514</c:v>
                </c:pt>
                <c:pt idx="25">
                  <c:v>0.007029876977152899</c:v>
                </c:pt>
                <c:pt idx="26">
                  <c:v>0.0043859649122807015</c:v>
                </c:pt>
                <c:pt idx="27">
                  <c:v>0.006289308176100629</c:v>
                </c:pt>
                <c:pt idx="28">
                  <c:v>0.00683371298405467</c:v>
                </c:pt>
                <c:pt idx="29">
                  <c:v>0.009411764705882352</c:v>
                </c:pt>
                <c:pt idx="30">
                  <c:v>0.0074487895716946</c:v>
                </c:pt>
                <c:pt idx="31">
                  <c:v>0.0051813471502590676</c:v>
                </c:pt>
                <c:pt idx="32">
                  <c:v>0.005649717514124294</c:v>
                </c:pt>
                <c:pt idx="33">
                  <c:v>0.004651162790697674</c:v>
                </c:pt>
                <c:pt idx="34">
                  <c:v>0.006980802792321117</c:v>
                </c:pt>
                <c:pt idx="35">
                  <c:v>0.008849557522123894</c:v>
                </c:pt>
                <c:pt idx="36">
                  <c:v>0.008237232289950576</c:v>
                </c:pt>
                <c:pt idx="37">
                  <c:v>0.0076045627376425855</c:v>
                </c:pt>
                <c:pt idx="38">
                  <c:v>0.005945303210463734</c:v>
                </c:pt>
                <c:pt idx="39">
                  <c:v>0.005747126436781609</c:v>
                </c:pt>
                <c:pt idx="40">
                  <c:v>0.007172131147540984</c:v>
                </c:pt>
                <c:pt idx="41">
                  <c:v>0.008771929824561403</c:v>
                </c:pt>
                <c:pt idx="42">
                  <c:v>0.0098159509202454</c:v>
                </c:pt>
                <c:pt idx="43">
                  <c:v>0.010443864229765013</c:v>
                </c:pt>
                <c:pt idx="44">
                  <c:v>0.010214007782101167</c:v>
                </c:pt>
                <c:pt idx="45">
                  <c:v>0.006955945677376615</c:v>
                </c:pt>
                <c:pt idx="46">
                  <c:v>0.011448196908986834</c:v>
                </c:pt>
                <c:pt idx="47">
                  <c:v>0.007386888273314866</c:v>
                </c:pt>
                <c:pt idx="48">
                  <c:v>0.007861635220125786</c:v>
                </c:pt>
                <c:pt idx="49">
                  <c:v>0.0069721115537848604</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2.9148661805268534</c:v>
                </c:pt>
                <c:pt idx="1">
                  <c:v>2.519416545680473</c:v>
                </c:pt>
                <c:pt idx="2">
                  <c:v>2.781465804585487</c:v>
                </c:pt>
                <c:pt idx="3">
                  <c:v>2.4729983169749876</c:v>
                </c:pt>
                <c:pt idx="4">
                  <c:v>3.333172317866374</c:v>
                </c:pt>
                <c:pt idx="5">
                  <c:v>3.071851606322031</c:v>
                </c:pt>
                <c:pt idx="6">
                  <c:v>3.5464123145484394</c:v>
                </c:pt>
                <c:pt idx="7">
                  <c:v>3.154184648241278</c:v>
                </c:pt>
                <c:pt idx="8">
                  <c:v>2.5207984881741763</c:v>
                </c:pt>
                <c:pt idx="9">
                  <c:v>3.348056964169688</c:v>
                </c:pt>
                <c:pt idx="10">
                  <c:v>3.216900567397606</c:v>
                </c:pt>
                <c:pt idx="11">
                  <c:v>3.3983910294690585</c:v>
                </c:pt>
                <c:pt idx="12">
                  <c:v>3.2488525639247112</c:v>
                </c:pt>
                <c:pt idx="13">
                  <c:v>2.386976515890778</c:v>
                </c:pt>
                <c:pt idx="14">
                  <c:v>2.808357771595761</c:v>
                </c:pt>
                <c:pt idx="15">
                  <c:v>2.6044424204440952</c:v>
                </c:pt>
                <c:pt idx="16">
                  <c:v>2.6174007270976456</c:v>
                </c:pt>
                <c:pt idx="17">
                  <c:v>2.3584057147325024</c:v>
                </c:pt>
                <c:pt idx="18">
                  <c:v>3.39775267790241</c:v>
                </c:pt>
                <c:pt idx="19">
                  <c:v>3.2954091353353085</c:v>
                </c:pt>
                <c:pt idx="20">
                  <c:v>2.6568942620266816</c:v>
                </c:pt>
                <c:pt idx="21">
                  <c:v>3.0260965798847757</c:v>
                </c:pt>
                <c:pt idx="22">
                  <c:v>2.899082618767268</c:v>
                </c:pt>
                <c:pt idx="23">
                  <c:v>2.7504624375162563</c:v>
                </c:pt>
                <c:pt idx="24">
                  <c:v>3.286037710832614</c:v>
                </c:pt>
                <c:pt idx="25">
                  <c:v>3.2081702102390675</c:v>
                </c:pt>
                <c:pt idx="26">
                  <c:v>3.2477789065998928</c:v>
                </c:pt>
                <c:pt idx="27">
                  <c:v>2.8499564973762013</c:v>
                </c:pt>
                <c:pt idx="28">
                  <c:v>2.5078103069348385</c:v>
                </c:pt>
                <c:pt idx="29">
                  <c:v>2.7317828499842967</c:v>
                </c:pt>
                <c:pt idx="30">
                  <c:v>2.3861451523327046</c:v>
                </c:pt>
                <c:pt idx="31">
                  <c:v>2.8126833505697135</c:v>
                </c:pt>
                <c:pt idx="32">
                  <c:v>3.7783528881330906</c:v>
                </c:pt>
                <c:pt idx="33">
                  <c:v>3.523530262060467</c:v>
                </c:pt>
                <c:pt idx="34">
                  <c:v>3.4429110363048885</c:v>
                </c:pt>
                <c:pt idx="35">
                  <c:v>3.035532888068743</c:v>
                </c:pt>
                <c:pt idx="36">
                  <c:v>2.734731409526423</c:v>
                </c:pt>
                <c:pt idx="37">
                  <c:v>3.0077670460398873</c:v>
                </c:pt>
                <c:pt idx="38">
                  <c:v>2.51319997036469</c:v>
                </c:pt>
                <c:pt idx="39">
                  <c:v>2.8394177498809534</c:v>
                </c:pt>
                <c:pt idx="40">
                  <c:v>2.6248308540176155</c:v>
                </c:pt>
                <c:pt idx="41">
                  <c:v>3.458229416864171</c:v>
                </c:pt>
                <c:pt idx="42">
                  <c:v>3.600609576552921</c:v>
                </c:pt>
                <c:pt idx="43">
                  <c:v>3.1793058403196888</c:v>
                </c:pt>
                <c:pt idx="44">
                  <c:v>3.428154967115642</c:v>
                </c:pt>
                <c:pt idx="45">
                  <c:v>3.801787724172691</c:v>
                </c:pt>
                <c:pt idx="46">
                  <c:v>3.7047807642963346</c:v>
                </c:pt>
                <c:pt idx="47">
                  <c:v>3.814236126746339</c:v>
                </c:pt>
                <c:pt idx="48">
                  <c:v>2.8135924039959685</c:v>
                </c:pt>
                <c:pt idx="49">
                  <c:v>3.6481509303156647</c:v>
                </c:pt>
                <c:pt idx="50">
                  <c:v>3.9529264324861897</c:v>
                </c:pt>
                <c:pt idx="51">
                  <c:v>3.364806120674665</c:v>
                </c:pt>
              </c:numCache>
            </c:numRef>
          </c:xVal>
          <c:yVal>
            <c:numRef>
              <c:f>Sheet1!$B$54:$B$105</c:f>
              <c:numCache>
                <c:formatCode>General</c:formatCode>
                <c:ptCount val="52"/>
                <c:pt idx="0">
                  <c:v>0.007011393514460999</c:v>
                </c:pt>
                <c:pt idx="1">
                  <c:v>0.007590132827324478</c:v>
                </c:pt>
                <c:pt idx="2">
                  <c:v>0.007142857142857143</c:v>
                </c:pt>
                <c:pt idx="3">
                  <c:v>0.009057971014492754</c:v>
                </c:pt>
                <c:pt idx="4">
                  <c:v>0.00658513640639699</c:v>
                </c:pt>
                <c:pt idx="5">
                  <c:v>0.0070859167404783</c:v>
                </c:pt>
                <c:pt idx="6">
                  <c:v>0.00749063670411985</c:v>
                </c:pt>
                <c:pt idx="7">
                  <c:v>0.01023541453428864</c:v>
                </c:pt>
                <c:pt idx="8">
                  <c:v>0.016224188790560472</c:v>
                </c:pt>
                <c:pt idx="9">
                  <c:v>0.014435695538057743</c:v>
                </c:pt>
                <c:pt idx="10">
                  <c:v>0.013801756587202008</c:v>
                </c:pt>
                <c:pt idx="11">
                  <c:v>0.011252813203300824</c:v>
                </c:pt>
                <c:pt idx="12">
                  <c:v>0.014072119613016711</c:v>
                </c:pt>
                <c:pt idx="13">
                  <c:v>0.02034587995930824</c:v>
                </c:pt>
                <c:pt idx="14">
                  <c:v>0.014846235418875928</c:v>
                </c:pt>
                <c:pt idx="15">
                  <c:v>0.01570048309178744</c:v>
                </c:pt>
                <c:pt idx="16">
                  <c:v>0.017105263157894738</c:v>
                </c:pt>
                <c:pt idx="17">
                  <c:v>0.022598870056497175</c:v>
                </c:pt>
                <c:pt idx="18">
                  <c:v>0.012658227848101266</c:v>
                </c:pt>
                <c:pt idx="19">
                  <c:v>0.010638297872340425</c:v>
                </c:pt>
                <c:pt idx="20">
                  <c:v>0.011811023622047244</c:v>
                </c:pt>
                <c:pt idx="21">
                  <c:v>0.011940298507462687</c:v>
                </c:pt>
                <c:pt idx="22">
                  <c:v>0.016713091922005572</c:v>
                </c:pt>
                <c:pt idx="23">
                  <c:v>0.01282051282051282</c:v>
                </c:pt>
                <c:pt idx="24">
                  <c:v>0.012875536480686695</c:v>
                </c:pt>
                <c:pt idx="25">
                  <c:v>0.010845986984815618</c:v>
                </c:pt>
                <c:pt idx="26">
                  <c:v>0.01417004048582996</c:v>
                </c:pt>
                <c:pt idx="27">
                  <c:v>0.014950166112956811</c:v>
                </c:pt>
                <c:pt idx="28">
                  <c:v>0.011204481792717087</c:v>
                </c:pt>
                <c:pt idx="29">
                  <c:v>0.012567324955116697</c:v>
                </c:pt>
                <c:pt idx="30">
                  <c:v>0.014571948998178506</c:v>
                </c:pt>
                <c:pt idx="31">
                  <c:v>0.011627906976744186</c:v>
                </c:pt>
                <c:pt idx="32">
                  <c:v>0.009708737864077669</c:v>
                </c:pt>
                <c:pt idx="33">
                  <c:v>0.008383233532934131</c:v>
                </c:pt>
                <c:pt idx="34">
                  <c:v>0.00819672131147541</c:v>
                </c:pt>
                <c:pt idx="35">
                  <c:v>0.010559662090813094</c:v>
                </c:pt>
                <c:pt idx="36">
                  <c:v>0.016227180527383367</c:v>
                </c:pt>
                <c:pt idx="37">
                  <c:v>0.014598540145985401</c:v>
                </c:pt>
                <c:pt idx="38">
                  <c:v>0.014344262295081968</c:v>
                </c:pt>
                <c:pt idx="39">
                  <c:v>0.010218978102189781</c:v>
                </c:pt>
                <c:pt idx="40">
                  <c:v>0.013422818791946308</c:v>
                </c:pt>
                <c:pt idx="41">
                  <c:v>0.010638297872340425</c:v>
                </c:pt>
                <c:pt idx="42">
                  <c:v>0.0068846815834767644</c:v>
                </c:pt>
                <c:pt idx="43">
                  <c:v>0.007863695937090432</c:v>
                </c:pt>
                <c:pt idx="44">
                  <c:v>0.008465608465608466</c:v>
                </c:pt>
                <c:pt idx="45">
                  <c:v>0.004578155657292348</c:v>
                </c:pt>
                <c:pt idx="46">
                  <c:v>0.005897219882055603</c:v>
                </c:pt>
                <c:pt idx="47">
                  <c:v>0.004559270516717325</c:v>
                </c:pt>
                <c:pt idx="48">
                  <c:v>0.006993006993006993</c:v>
                </c:pt>
                <c:pt idx="49">
                  <c:v>0.005621486570893191</c:v>
                </c:pt>
                <c:pt idx="50">
                  <c:v>0.00419639110365086</c:v>
                </c:pt>
                <c:pt idx="51">
                  <c:v>0.007320644216691069</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2.485358111790669</c:v>
                </c:pt>
              </c:numCache>
            </c:numRef>
          </c:xVal>
          <c:yVal>
            <c:numRef>
              <c:f>Sheet1!$B$108:$B$109</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2.485358111790669</c:v>
                </c:pt>
                <c:pt idx="1">
                  <c:v>2.485358111790669</c:v>
                </c:pt>
              </c:numCache>
            </c:numRef>
          </c:xVal>
          <c:yVal>
            <c:numRef>
              <c:f>Sheet1!$B$112:$B$113</c:f>
              <c:numCache>
                <c:formatCode>General</c:formatCode>
                <c:ptCount val="2"/>
                <c:pt idx="0">
                  <c:v>0.0147082280366071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2.485358111790669</c:v>
                </c:pt>
              </c:numCache>
            </c:numRef>
          </c:xVal>
          <c:yVal>
            <c:numRef>
              <c:f>Sheet1!$B$116:$B$117</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2.485358111790669</c:v>
                </c:pt>
                <c:pt idx="1">
                  <c:v>2.485358111790669</c:v>
                </c:pt>
              </c:numCache>
            </c:numRef>
          </c:xVal>
          <c:yVal>
            <c:numRef>
              <c:f>Sheet1!$B$120:$B$121</c:f>
              <c:numCache>
                <c:formatCode>General</c:formatCode>
                <c:ptCount val="2"/>
                <c:pt idx="0">
                  <c:v>0.0147082280366071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3.685331491145339</c:v>
                </c:pt>
              </c:numCache>
            </c:numRef>
          </c:xVal>
          <c:yVal>
            <c:numRef>
              <c:f>Sheet1!$B$124:$B$125</c:f>
              <c:numCache>
                <c:formatCode>General</c:formatCode>
                <c:ptCount val="2"/>
                <c:pt idx="0">
                  <c:v>0.007435404284073813</c:v>
                </c:pt>
                <c:pt idx="1">
                  <c:v>0.00743540428407381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3.685331491145339</c:v>
                </c:pt>
                <c:pt idx="1">
                  <c:v>3.685331491145339</c:v>
                </c:pt>
              </c:numCache>
            </c:numRef>
          </c:xVal>
          <c:yVal>
            <c:numRef>
              <c:f>Sheet1!$B$128:$B$129</c:f>
              <c:numCache>
                <c:formatCode>General</c:formatCode>
                <c:ptCount val="2"/>
                <c:pt idx="0">
                  <c:v>0.0074354042840738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2.9148661805268534</c:v>
                </c:pt>
                <c:pt idx="1">
                  <c:v>2.519416545680473</c:v>
                </c:pt>
                <c:pt idx="2">
                  <c:v>2.781465804585487</c:v>
                </c:pt>
                <c:pt idx="3">
                  <c:v>2.4729983169749876</c:v>
                </c:pt>
                <c:pt idx="4">
                  <c:v>3.333172317866374</c:v>
                </c:pt>
                <c:pt idx="5">
                  <c:v>3.071851606322031</c:v>
                </c:pt>
                <c:pt idx="6">
                  <c:v>3.5464123145484394</c:v>
                </c:pt>
                <c:pt idx="7">
                  <c:v>3.154184648241278</c:v>
                </c:pt>
                <c:pt idx="8">
                  <c:v>2.5207984881741763</c:v>
                </c:pt>
                <c:pt idx="9">
                  <c:v>3.348056964169688</c:v>
                </c:pt>
                <c:pt idx="10">
                  <c:v>3.216900567397606</c:v>
                </c:pt>
                <c:pt idx="11">
                  <c:v>3.3983910294690585</c:v>
                </c:pt>
                <c:pt idx="12">
                  <c:v>3.2488525639247112</c:v>
                </c:pt>
                <c:pt idx="13">
                  <c:v>2.386976515890778</c:v>
                </c:pt>
                <c:pt idx="14">
                  <c:v>2.808357771595761</c:v>
                </c:pt>
                <c:pt idx="15">
                  <c:v>2.6044424204440952</c:v>
                </c:pt>
                <c:pt idx="16">
                  <c:v>2.6174007270976456</c:v>
                </c:pt>
                <c:pt idx="17">
                  <c:v>2.3584057147325024</c:v>
                </c:pt>
                <c:pt idx="18">
                  <c:v>3.39775267790241</c:v>
                </c:pt>
                <c:pt idx="19">
                  <c:v>3.2954091353353085</c:v>
                </c:pt>
                <c:pt idx="20">
                  <c:v>2.6568942620266816</c:v>
                </c:pt>
                <c:pt idx="21">
                  <c:v>3.0260965798847757</c:v>
                </c:pt>
                <c:pt idx="22">
                  <c:v>2.899082618767268</c:v>
                </c:pt>
                <c:pt idx="23">
                  <c:v>2.7504624375162563</c:v>
                </c:pt>
                <c:pt idx="24">
                  <c:v>3.286037710832614</c:v>
                </c:pt>
                <c:pt idx="25">
                  <c:v>3.2081702102390675</c:v>
                </c:pt>
                <c:pt idx="26">
                  <c:v>3.2477789065998928</c:v>
                </c:pt>
                <c:pt idx="27">
                  <c:v>2.8499564973762013</c:v>
                </c:pt>
                <c:pt idx="28">
                  <c:v>2.5078103069348385</c:v>
                </c:pt>
                <c:pt idx="29">
                  <c:v>2.7317828499842967</c:v>
                </c:pt>
                <c:pt idx="30">
                  <c:v>2.3861451523327046</c:v>
                </c:pt>
                <c:pt idx="31">
                  <c:v>2.8126833505697135</c:v>
                </c:pt>
                <c:pt idx="32">
                  <c:v>3.7783528881330906</c:v>
                </c:pt>
                <c:pt idx="33">
                  <c:v>3.523530262060467</c:v>
                </c:pt>
                <c:pt idx="34">
                  <c:v>3.4429110363048885</c:v>
                </c:pt>
                <c:pt idx="35">
                  <c:v>3.035532888068743</c:v>
                </c:pt>
                <c:pt idx="36">
                  <c:v>2.734731409526423</c:v>
                </c:pt>
                <c:pt idx="37">
                  <c:v>3.0077670460398873</c:v>
                </c:pt>
                <c:pt idx="38">
                  <c:v>2.51319997036469</c:v>
                </c:pt>
                <c:pt idx="39">
                  <c:v>2.8394177498809534</c:v>
                </c:pt>
                <c:pt idx="40">
                  <c:v>2.6248308540176155</c:v>
                </c:pt>
                <c:pt idx="41">
                  <c:v>3.458229416864171</c:v>
                </c:pt>
                <c:pt idx="42">
                  <c:v>3.600609576552921</c:v>
                </c:pt>
                <c:pt idx="43">
                  <c:v>3.1793058403196888</c:v>
                </c:pt>
                <c:pt idx="44">
                  <c:v>3.428154967115642</c:v>
                </c:pt>
                <c:pt idx="45">
                  <c:v>3.801787724172691</c:v>
                </c:pt>
                <c:pt idx="46">
                  <c:v>3.7047807642963346</c:v>
                </c:pt>
                <c:pt idx="47">
                  <c:v>3.814236126746339</c:v>
                </c:pt>
                <c:pt idx="48">
                  <c:v>2.8135924039959685</c:v>
                </c:pt>
                <c:pt idx="49">
                  <c:v>3.6481509303156647</c:v>
                </c:pt>
                <c:pt idx="50">
                  <c:v>3.9529264324861897</c:v>
                </c:pt>
                <c:pt idx="51">
                  <c:v>3.364806120674665</c:v>
                </c:pt>
                <c:pt idx="52">
                  <c:v>2.485358111790669</c:v>
                </c:pt>
                <c:pt idx="53">
                  <c:v>2.485358111790669</c:v>
                </c:pt>
                <c:pt idx="54">
                  <c:v>3.685331491145339</c:v>
                </c:pt>
              </c:numCache>
            </c:numRef>
          </c:xVal>
          <c:yVal>
            <c:numRef>
              <c:f>Sheet1!$B$132:$B$186</c:f>
              <c:numCache>
                <c:formatCode>General</c:formatCode>
                <c:ptCount val="55"/>
                <c:pt idx="0">
                  <c:v>0.012105056551345385</c:v>
                </c:pt>
                <c:pt idx="1">
                  <c:v>0.014501805968226672</c:v>
                </c:pt>
                <c:pt idx="2">
                  <c:v>0.012913572339641455</c:v>
                </c:pt>
                <c:pt idx="3">
                  <c:v>0.014783138539505318</c:v>
                </c:pt>
                <c:pt idx="4">
                  <c:v>0.009569777966157596</c:v>
                </c:pt>
                <c:pt idx="5">
                  <c:v>0.011153595999663209</c:v>
                </c:pt>
                <c:pt idx="6">
                  <c:v>0.008277368534797144</c:v>
                </c:pt>
                <c:pt idx="7">
                  <c:v>0.010654590177375182</c:v>
                </c:pt>
                <c:pt idx="8">
                  <c:v>0.01449343026226039</c:v>
                </c:pt>
                <c:pt idx="9">
                  <c:v>0.009479564790561137</c:v>
                </c:pt>
                <c:pt idx="10">
                  <c:v>0.010274480222979863</c:v>
                </c:pt>
                <c:pt idx="11">
                  <c:v>0.009174499034962716</c:v>
                </c:pt>
                <c:pt idx="12">
                  <c:v>0.010080824894219017</c:v>
                </c:pt>
                <c:pt idx="13">
                  <c:v>0.015304501270483056</c:v>
                </c:pt>
                <c:pt idx="14">
                  <c:v>0.012750584943596183</c:v>
                </c:pt>
                <c:pt idx="15">
                  <c:v>0.013986479368320474</c:v>
                </c:pt>
                <c:pt idx="16">
                  <c:v>0.013907941392358677</c:v>
                </c:pt>
                <c:pt idx="17">
                  <c:v>0.01547766377964185</c:v>
                </c:pt>
                <c:pt idx="18">
                  <c:v>0.00917836796948765</c:v>
                </c:pt>
                <c:pt idx="19">
                  <c:v>0.009798653852580077</c:v>
                </c:pt>
                <c:pt idx="20">
                  <c:v>0.013668578149935863</c:v>
                </c:pt>
                <c:pt idx="21">
                  <c:v>0.011430909020765073</c:v>
                </c:pt>
                <c:pt idx="22">
                  <c:v>0.012200717892538154</c:v>
                </c:pt>
                <c:pt idx="23">
                  <c:v>0.01310147819514541</c:v>
                </c:pt>
                <c:pt idx="24">
                  <c:v>0.009855452378189807</c:v>
                </c:pt>
                <c:pt idx="25">
                  <c:v>0.010327393354223544</c:v>
                </c:pt>
                <c:pt idx="26">
                  <c:v>0.01008733213898658</c:v>
                </c:pt>
                <c:pt idx="27">
                  <c:v>0.0124984625164355</c:v>
                </c:pt>
                <c:pt idx="28">
                  <c:v>0.01457214930273649</c:v>
                </c:pt>
                <c:pt idx="29">
                  <c:v>0.013214691829903723</c:v>
                </c:pt>
                <c:pt idx="30">
                  <c:v>0.015309540016122062</c:v>
                </c:pt>
                <c:pt idx="31">
                  <c:v>0.012724368384090388</c:v>
                </c:pt>
                <c:pt idx="32">
                  <c:v>0.006871618255861939</c:v>
                </c:pt>
                <c:pt idx="33">
                  <c:v>0.008416052557046652</c:v>
                </c:pt>
                <c:pt idx="34">
                  <c:v>0.008904671246489027</c:v>
                </c:pt>
                <c:pt idx="35">
                  <c:v>0.011373717246782981</c:v>
                </c:pt>
                <c:pt idx="36">
                  <c:v>0.013196821138567832</c:v>
                </c:pt>
                <c:pt idx="37">
                  <c:v>0.011542001042816146</c:v>
                </c:pt>
                <c:pt idx="38">
                  <c:v>0.014539483517907277</c:v>
                </c:pt>
                <c:pt idx="39">
                  <c:v>0.012562335977650625</c:v>
                </c:pt>
                <c:pt idx="40">
                  <c:v>0.013862908723736515</c:v>
                </c:pt>
                <c:pt idx="41">
                  <c:v>0.008811829285243346</c:v>
                </c:pt>
                <c:pt idx="42">
                  <c:v>0.007948888635817684</c:v>
                </c:pt>
                <c:pt idx="43">
                  <c:v>0.010502335131069011</c:v>
                </c:pt>
                <c:pt idx="44">
                  <c:v>0.008994105139223621</c:v>
                </c:pt>
                <c:pt idx="45">
                  <c:v>0.006729583911502409</c:v>
                </c:pt>
                <c:pt idx="46">
                  <c:v>0.007317525722619275</c:v>
                </c:pt>
                <c:pt idx="47">
                  <c:v>0.006654136372851668</c:v>
                </c:pt>
                <c:pt idx="48">
                  <c:v>0.012718858774073586</c:v>
                </c:pt>
                <c:pt idx="49">
                  <c:v>0.007660749004704186</c:v>
                </c:pt>
                <c:pt idx="50">
                  <c:v>0.005813559267405094</c:v>
                </c:pt>
                <c:pt idx="51">
                  <c:v>0.009378051152542095</c:v>
                </c:pt>
                <c:pt idx="52">
                  <c:v>0.014708228036607108</c:v>
                </c:pt>
                <c:pt idx="53">
                  <c:v>0.014708228036607108</c:v>
                </c:pt>
                <c:pt idx="54">
                  <c:v>0.0074354042840738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118644067796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87753156331203</c:v>
                </c:pt>
                <c:pt idx="1">
                  <c:v>0.6449963671546636</c:v>
                </c:pt>
                <c:pt idx="2">
                  <c:v>0.6326230160733184</c:v>
                </c:pt>
                <c:pt idx="3">
                  <c:v>0.6338119060957934</c:v>
                </c:pt>
                <c:pt idx="4">
                  <c:v>0.6371933943712045</c:v>
                </c:pt>
                <c:pt idx="5">
                  <c:v>0.6436346576092165</c:v>
                </c:pt>
                <c:pt idx="6">
                  <c:v>0.6004176980187368</c:v>
                </c:pt>
                <c:pt idx="7">
                  <c:v>0.5926268673755725</c:v>
                </c:pt>
                <c:pt idx="8">
                  <c:v>0.6050406646066233</c:v>
                </c:pt>
                <c:pt idx="9">
                  <c:v>0.6363770305474985</c:v>
                </c:pt>
                <c:pt idx="10">
                  <c:v>0.6446156552760249</c:v>
                </c:pt>
                <c:pt idx="11">
                  <c:v>0.694246021931155</c:v>
                </c:pt>
                <c:pt idx="12">
                  <c:v>0.7224131166078782</c:v>
                </c:pt>
                <c:pt idx="13">
                  <c:v>0.7244062257554714</c:v>
                </c:pt>
                <c:pt idx="14">
                  <c:v>0.7250410629877798</c:v>
                </c:pt>
                <c:pt idx="15">
                  <c:v>0.7362509512130686</c:v>
                </c:pt>
                <c:pt idx="16">
                  <c:v>0.7463048012741006</c:v>
                </c:pt>
                <c:pt idx="17">
                  <c:v>0.7478518751534269</c:v>
                </c:pt>
                <c:pt idx="18">
                  <c:v>0.7703758778976509</c:v>
                </c:pt>
                <c:pt idx="19">
                  <c:v>0.7644878254090426</c:v>
                </c:pt>
                <c:pt idx="20">
                  <c:v>0.7969082157983485</c:v>
                </c:pt>
                <c:pt idx="21">
                  <c:v>0.717895109929208</c:v>
                </c:pt>
                <c:pt idx="22">
                  <c:v>0.6580070127167572</c:v>
                </c:pt>
                <c:pt idx="23">
                  <c:v>0.6394993900195959</c:v>
                </c:pt>
                <c:pt idx="24">
                  <c:v>0.6189011246908348</c:v>
                </c:pt>
                <c:pt idx="25">
                  <c:v>0.5942982401599494</c:v>
                </c:pt>
                <c:pt idx="26">
                  <c:v>0.5905027912737707</c:v>
                </c:pt>
                <c:pt idx="27">
                  <c:v>0.6123834052458408</c:v>
                </c:pt>
                <c:pt idx="28">
                  <c:v>0.6044949102431018</c:v>
                </c:pt>
                <c:pt idx="29">
                  <c:v>0.6007213643860589</c:v>
                </c:pt>
                <c:pt idx="30">
                  <c:v>0.5950603269734289</c:v>
                </c:pt>
                <c:pt idx="31">
                  <c:v>0.5937942644738132</c:v>
                </c:pt>
                <c:pt idx="32">
                  <c:v>0.5674777949440224</c:v>
                </c:pt>
                <c:pt idx="33">
                  <c:v>0.5661604592817416</c:v>
                </c:pt>
                <c:pt idx="34">
                  <c:v>0.6052902298454574</c:v>
                </c:pt>
                <c:pt idx="35">
                  <c:v>0.6585574980104811</c:v>
                </c:pt>
                <c:pt idx="36">
                  <c:v>0.7090339885363609</c:v>
                </c:pt>
                <c:pt idx="37">
                  <c:v>0.677678276295772</c:v>
                </c:pt>
                <c:pt idx="38">
                  <c:v>0.7283918117156318</c:v>
                </c:pt>
                <c:pt idx="39">
                  <c:v>0.7444859595315617</c:v>
                </c:pt>
                <c:pt idx="40">
                  <c:v>0.7277373419516168</c:v>
                </c:pt>
                <c:pt idx="41">
                  <c:v>0.7177183280432257</c:v>
                </c:pt>
                <c:pt idx="42">
                  <c:v>0.7363509577890427</c:v>
                </c:pt>
                <c:pt idx="43">
                  <c:v>0.745987547068077</c:v>
                </c:pt>
                <c:pt idx="44">
                  <c:v>0.735420292888238</c:v>
                </c:pt>
                <c:pt idx="45">
                  <c:v>0.7385332974562526</c:v>
                </c:pt>
                <c:pt idx="46">
                  <c:v>0.7408663540694193</c:v>
                </c:pt>
                <c:pt idx="47">
                  <c:v>0.7437632991513623</c:v>
                </c:pt>
                <c:pt idx="48">
                  <c:v>0.7517821828477088</c:v>
                </c:pt>
                <c:pt idx="49">
                  <c:v>0.7497257118160194</c:v>
                </c:pt>
                <c:pt idx="50">
                  <c:v>0.7088517330973124</c:v>
                </c:pt>
                <c:pt idx="51">
                  <c:v>0.7102138904588748</c:v>
                </c:pt>
                <c:pt idx="52">
                  <c:v>0.716844138424947</c:v>
                </c:pt>
                <c:pt idx="53">
                  <c:v>0.6834681721662792</c:v>
                </c:pt>
                <c:pt idx="54">
                  <c:v>0.6495013348967981</c:v>
                </c:pt>
                <c:pt idx="55">
                  <c:v>0.663409462023408</c:v>
                </c:pt>
                <c:pt idx="56">
                  <c:v>0.6623934841381198</c:v>
                </c:pt>
                <c:pt idx="57">
                  <c:v>0.6601146335176796</c:v>
                </c:pt>
                <c:pt idx="58">
                  <c:v>0.6400102264966715</c:v>
                </c:pt>
                <c:pt idx="59">
                  <c:v>0.6464185142284643</c:v>
                </c:pt>
                <c:pt idx="60">
                  <c:v>0.6428506937147008</c:v>
                </c:pt>
                <c:pt idx="61">
                  <c:v>0.6926230021722166</c:v>
                </c:pt>
                <c:pt idx="62">
                  <c:v>0.6945283594659679</c:v>
                </c:pt>
                <c:pt idx="63">
                  <c:v>0.7118403472913842</c:v>
                </c:pt>
                <c:pt idx="64">
                  <c:v>0.7708384603207868</c:v>
                </c:pt>
                <c:pt idx="65">
                  <c:v>0.7740181871864492</c:v>
                </c:pt>
                <c:pt idx="66">
                  <c:v>0.7655779827697272</c:v>
                </c:pt>
                <c:pt idx="67">
                  <c:v>0.7892334422823526</c:v>
                </c:pt>
                <c:pt idx="68">
                  <c:v>0.8001164448441359</c:v>
                </c:pt>
                <c:pt idx="69">
                  <c:v>0.8059052344842759</c:v>
                </c:pt>
                <c:pt idx="70">
                  <c:v>0.7756681595555667</c:v>
                </c:pt>
                <c:pt idx="71">
                  <c:v>0.7505643414313559</c:v>
                </c:pt>
                <c:pt idx="72">
                  <c:v>0.81643839453129</c:v>
                </c:pt>
                <c:pt idx="73">
                  <c:v>0.7695122662147343</c:v>
                </c:pt>
                <c:pt idx="74">
                  <c:v>0.7525616946087873</c:v>
                </c:pt>
                <c:pt idx="75">
                  <c:v>0.7162276418684047</c:v>
                </c:pt>
                <c:pt idx="76">
                  <c:v>0.7052179126713692</c:v>
                </c:pt>
                <c:pt idx="77">
                  <c:v>0.7186477941002793</c:v>
                </c:pt>
                <c:pt idx="78">
                  <c:v>0.7444396149732921</c:v>
                </c:pt>
                <c:pt idx="79">
                  <c:v>0.7243542641092819</c:v>
                </c:pt>
                <c:pt idx="80">
                  <c:v>0.7582339507462815</c:v>
                </c:pt>
                <c:pt idx="81">
                  <c:v>0.7503306829714617</c:v>
                </c:pt>
                <c:pt idx="82">
                  <c:v>0.7361704633057242</c:v>
                </c:pt>
                <c:pt idx="83">
                  <c:v>0.6955105154783364</c:v>
                </c:pt>
                <c:pt idx="84">
                  <c:v>0.7136797905240774</c:v>
                </c:pt>
                <c:pt idx="85">
                  <c:v>0.6994522510259197</c:v>
                </c:pt>
                <c:pt idx="86">
                  <c:v>0.7215640546299966</c:v>
                </c:pt>
                <c:pt idx="87">
                  <c:v>0.7383825777813955</c:v>
                </c:pt>
                <c:pt idx="88">
                  <c:v>0.7205883913681799</c:v>
                </c:pt>
                <c:pt idx="89">
                  <c:v>0.695463591189584</c:v>
                </c:pt>
                <c:pt idx="90">
                  <c:v>0.7231414465266486</c:v>
                </c:pt>
                <c:pt idx="91">
                  <c:v>0.7551369413996786</c:v>
                </c:pt>
                <c:pt idx="92">
                  <c:v>0.7510489562918906</c:v>
                </c:pt>
                <c:pt idx="93">
                  <c:v>0.76724729925919</c:v>
                </c:pt>
                <c:pt idx="94">
                  <c:v>0.7569204304252577</c:v>
                </c:pt>
                <c:pt idx="95">
                  <c:v>0.7638830924894304</c:v>
                </c:pt>
                <c:pt idx="96">
                  <c:v>0.786147700912063</c:v>
                </c:pt>
                <c:pt idx="97">
                  <c:v>0.8155919659311534</c:v>
                </c:pt>
                <c:pt idx="98">
                  <c:v>0.8234271074818712</c:v>
                </c:pt>
                <c:pt idx="99">
                  <c:v>0.8090436470323574</c:v>
                </c:pt>
                <c:pt idx="100">
                  <c:v>0.7992875995367509</c:v>
                </c:pt>
                <c:pt idx="101">
                  <c:v>0.738206216760703</c:v>
                </c:pt>
                <c:pt idx="102">
                  <c:v>0.7333629015644816</c:v>
                </c:pt>
                <c:pt idx="103">
                  <c:v>0.7553558122484452</c:v>
                </c:pt>
                <c:pt idx="104">
                  <c:v>0.750986848512638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6.83427103351109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6.834271033511094</c:v>
                </c:pt>
                <c:pt idx="1">
                  <c:v>-36.83427103351109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4.698021568603128</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4.698021568603128</c:v>
                </c:pt>
                <c:pt idx="1">
                  <c:v>-4.698021568603128</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859842954086514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8598429540865142</c:v>
                </c:pt>
                <c:pt idx="1">
                  <c:v>2.859842954086514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pt idx="52">
                  <c:v>-4.698021568603128</c:v>
                </c:pt>
                <c:pt idx="53">
                  <c:v>-36.834271033511094</c:v>
                </c:pt>
                <c:pt idx="54">
                  <c:v>2.8598429540865142</c:v>
                </c:pt>
              </c:numCache>
            </c:numRef>
          </c:xVal>
          <c:yVal>
            <c:numRef>
              <c:f>Sheet1!$B$187:$B$241</c:f>
              <c:numCache>
                <c:formatCode>General</c:formatCode>
                <c:ptCount val="55"/>
                <c:pt idx="0">
                  <c:v>0.20806006730049406</c:v>
                </c:pt>
                <c:pt idx="1">
                  <c:v>0.2080975485853624</c:v>
                </c:pt>
                <c:pt idx="2">
                  <c:v>0.2080907361883833</c:v>
                </c:pt>
                <c:pt idx="3">
                  <c:v>0.2081302208172249</c:v>
                </c:pt>
                <c:pt idx="4">
                  <c:v>0.208110192914811</c:v>
                </c:pt>
                <c:pt idx="5">
                  <c:v>0.20809943555020158</c:v>
                </c:pt>
                <c:pt idx="6">
                  <c:v>0.20809901089489458</c:v>
                </c:pt>
                <c:pt idx="7">
                  <c:v>0.20810219551834944</c:v>
                </c:pt>
                <c:pt idx="8">
                  <c:v>0.20807288251061207</c:v>
                </c:pt>
                <c:pt idx="9">
                  <c:v>0.208092727345978</c:v>
                </c:pt>
                <c:pt idx="10">
                  <c:v>0.20807594305832677</c:v>
                </c:pt>
                <c:pt idx="11">
                  <c:v>0.208104573380348</c:v>
                </c:pt>
                <c:pt idx="12">
                  <c:v>0.20808958834403213</c:v>
                </c:pt>
                <c:pt idx="13">
                  <c:v>0.20811115753873996</c:v>
                </c:pt>
                <c:pt idx="14">
                  <c:v>0.2081260663297092</c:v>
                </c:pt>
                <c:pt idx="15">
                  <c:v>0.20811971488112396</c:v>
                </c:pt>
                <c:pt idx="16">
                  <c:v>0.20809879705342774</c:v>
                </c:pt>
                <c:pt idx="17">
                  <c:v>0.2081369899459969</c:v>
                </c:pt>
                <c:pt idx="18">
                  <c:v>0.20811521816287445</c:v>
                </c:pt>
                <c:pt idx="19">
                  <c:v>0.20808924806168264</c:v>
                </c:pt>
                <c:pt idx="20">
                  <c:v>0.208134588154507</c:v>
                </c:pt>
                <c:pt idx="21">
                  <c:v>0.2081813857049377</c:v>
                </c:pt>
                <c:pt idx="22">
                  <c:v>0.2081643151128134</c:v>
                </c:pt>
                <c:pt idx="23">
                  <c:v>0.2081447488774403</c:v>
                </c:pt>
                <c:pt idx="24">
                  <c:v>0.20814042489798404</c:v>
                </c:pt>
                <c:pt idx="25">
                  <c:v>0.20811187568005524</c:v>
                </c:pt>
                <c:pt idx="26">
                  <c:v>0.208140024130675</c:v>
                </c:pt>
                <c:pt idx="27">
                  <c:v>0.20812125375948815</c:v>
                </c:pt>
                <c:pt idx="28">
                  <c:v>0.2081079014647236</c:v>
                </c:pt>
                <c:pt idx="29">
                  <c:v>0.2081546184130162</c:v>
                </c:pt>
                <c:pt idx="30">
                  <c:v>0.20815505081325716</c:v>
                </c:pt>
                <c:pt idx="31">
                  <c:v>0.2081471160446976</c:v>
                </c:pt>
                <c:pt idx="32">
                  <c:v>0.2081383971463127</c:v>
                </c:pt>
                <c:pt idx="33">
                  <c:v>0.20811859984946945</c:v>
                </c:pt>
                <c:pt idx="34">
                  <c:v>0.20808484370897573</c:v>
                </c:pt>
                <c:pt idx="35">
                  <c:v>0.20810262812351774</c:v>
                </c:pt>
                <c:pt idx="36">
                  <c:v>0.20815672291811835</c:v>
                </c:pt>
                <c:pt idx="37">
                  <c:v>0.20816601308400892</c:v>
                </c:pt>
                <c:pt idx="38">
                  <c:v>0.20815111809640385</c:v>
                </c:pt>
                <c:pt idx="39">
                  <c:v>0.20811120941318115</c:v>
                </c:pt>
                <c:pt idx="40">
                  <c:v>0.2080891565378807</c:v>
                </c:pt>
                <c:pt idx="41">
                  <c:v>0.20806726088296104</c:v>
                </c:pt>
                <c:pt idx="42">
                  <c:v>0.2081048084882902</c:v>
                </c:pt>
                <c:pt idx="43">
                  <c:v>0.20803329389175354</c:v>
                </c:pt>
                <c:pt idx="44">
                  <c:v>0.20798924738394953</c:v>
                </c:pt>
                <c:pt idx="45">
                  <c:v>0.2079931700396608</c:v>
                </c:pt>
                <c:pt idx="46">
                  <c:v>0.20803608807184004</c:v>
                </c:pt>
                <c:pt idx="47">
                  <c:v>0.20803267405973072</c:v>
                </c:pt>
                <c:pt idx="48">
                  <c:v>0.2079757462070987</c:v>
                </c:pt>
                <c:pt idx="49">
                  <c:v>0.20794293682106743</c:v>
                </c:pt>
                <c:pt idx="50">
                  <c:v>0.20796543923350386</c:v>
                </c:pt>
                <c:pt idx="51">
                  <c:v>0.20800716259642713</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5633802816901409</c:v>
                </c:pt>
                <c:pt idx="5">
                  <c:v>0.00065359477124183</c:v>
                </c:pt>
                <c:pt idx="6">
                  <c:v>0.00099601593625498</c:v>
                </c:pt>
                <c:pt idx="7">
                  <c:v>0.0009132420091324201</c:v>
                </c:pt>
                <c:pt idx="8">
                  <c:v>0.0008688097306689834</c:v>
                </c:pt>
                <c:pt idx="9">
                  <c:v>0.0007309941520467836</c:v>
                </c:pt>
                <c:pt idx="10">
                  <c:v>0.00156128024980484</c:v>
                </c:pt>
                <c:pt idx="11">
                  <c:v>0.0017006802721088435</c:v>
                </c:pt>
                <c:pt idx="12">
                  <c:v>0.0018165304268846503</c:v>
                </c:pt>
                <c:pt idx="13">
                  <c:v>0.002320185614849188</c:v>
                </c:pt>
                <c:pt idx="14">
                  <c:v>0.0027397260273972603</c:v>
                </c:pt>
                <c:pt idx="15">
                  <c:v>0.0028169014084507044</c:v>
                </c:pt>
                <c:pt idx="16">
                  <c:v>0.0016260162601626016</c:v>
                </c:pt>
                <c:pt idx="17">
                  <c:v>0.002728512960436562</c:v>
                </c:pt>
                <c:pt idx="18">
                  <c:v>0.003236245954692557</c:v>
                </c:pt>
                <c:pt idx="19">
                  <c:v>0.0027100271002710027</c:v>
                </c:pt>
                <c:pt idx="20">
                  <c:v>0.0032520325203252032</c:v>
                </c:pt>
                <c:pt idx="21">
                  <c:v>0.0</c:v>
                </c:pt>
                <c:pt idx="22">
                  <c:v>0.009652509652509652</c:v>
                </c:pt>
                <c:pt idx="23">
                  <c:v>0.0049504950495049506</c:v>
                </c:pt>
                <c:pt idx="24">
                  <c:v>0.0055658627087198514</c:v>
                </c:pt>
                <c:pt idx="25">
                  <c:v>0.007029876977152899</c:v>
                </c:pt>
                <c:pt idx="26">
                  <c:v>0.0043859649122807015</c:v>
                </c:pt>
                <c:pt idx="27">
                  <c:v>0.006289308176100629</c:v>
                </c:pt>
                <c:pt idx="28">
                  <c:v>0.00683371298405467</c:v>
                </c:pt>
                <c:pt idx="29">
                  <c:v>0.009411764705882352</c:v>
                </c:pt>
                <c:pt idx="30">
                  <c:v>0.0074487895716946</c:v>
                </c:pt>
                <c:pt idx="31">
                  <c:v>0.0051813471502590676</c:v>
                </c:pt>
                <c:pt idx="32">
                  <c:v>0.005649717514124294</c:v>
                </c:pt>
                <c:pt idx="33">
                  <c:v>0.004651162790697674</c:v>
                </c:pt>
                <c:pt idx="34">
                  <c:v>0.006980802792321117</c:v>
                </c:pt>
                <c:pt idx="35">
                  <c:v>0.008849557522123894</c:v>
                </c:pt>
                <c:pt idx="36">
                  <c:v>0.008237232289950576</c:v>
                </c:pt>
                <c:pt idx="37">
                  <c:v>0.0076045627376425855</c:v>
                </c:pt>
                <c:pt idx="38">
                  <c:v>0.005945303210463734</c:v>
                </c:pt>
                <c:pt idx="39">
                  <c:v>0.005747126436781609</c:v>
                </c:pt>
                <c:pt idx="40">
                  <c:v>0.007172131147540984</c:v>
                </c:pt>
                <c:pt idx="41">
                  <c:v>0.008771929824561403</c:v>
                </c:pt>
                <c:pt idx="42">
                  <c:v>0.0098159509202454</c:v>
                </c:pt>
                <c:pt idx="43">
                  <c:v>0.010443864229765013</c:v>
                </c:pt>
                <c:pt idx="44">
                  <c:v>0.010214007782101167</c:v>
                </c:pt>
                <c:pt idx="45">
                  <c:v>0.006955945677376615</c:v>
                </c:pt>
                <c:pt idx="46">
                  <c:v>0.011448196908986834</c:v>
                </c:pt>
                <c:pt idx="47">
                  <c:v>0.007386888273314866</c:v>
                </c:pt>
                <c:pt idx="48">
                  <c:v>0.007861635220125786</c:v>
                </c:pt>
                <c:pt idx="49">
                  <c:v>0.0069721115537848604</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7011393514460999</c:v>
                </c:pt>
                <c:pt idx="1">
                  <c:v>0.007590132827324478</c:v>
                </c:pt>
                <c:pt idx="2">
                  <c:v>0.007142857142857143</c:v>
                </c:pt>
                <c:pt idx="3">
                  <c:v>0.009057971014492754</c:v>
                </c:pt>
                <c:pt idx="4">
                  <c:v>0.00658513640639699</c:v>
                </c:pt>
                <c:pt idx="5">
                  <c:v>0.0070859167404783</c:v>
                </c:pt>
                <c:pt idx="6">
                  <c:v>0.00749063670411985</c:v>
                </c:pt>
                <c:pt idx="7">
                  <c:v>0.01023541453428864</c:v>
                </c:pt>
                <c:pt idx="8">
                  <c:v>0.016224188790560472</c:v>
                </c:pt>
                <c:pt idx="9">
                  <c:v>0.014435695538057743</c:v>
                </c:pt>
                <c:pt idx="10">
                  <c:v>0.013801756587202008</c:v>
                </c:pt>
                <c:pt idx="11">
                  <c:v>0.011252813203300824</c:v>
                </c:pt>
                <c:pt idx="12">
                  <c:v>0.014072119613016711</c:v>
                </c:pt>
                <c:pt idx="13">
                  <c:v>0.02034587995930824</c:v>
                </c:pt>
                <c:pt idx="14">
                  <c:v>0.014846235418875928</c:v>
                </c:pt>
                <c:pt idx="15">
                  <c:v>0.01570048309178744</c:v>
                </c:pt>
                <c:pt idx="16">
                  <c:v>0.017105263157894738</c:v>
                </c:pt>
                <c:pt idx="17">
                  <c:v>0.022598870056497175</c:v>
                </c:pt>
                <c:pt idx="18">
                  <c:v>0.012658227848101266</c:v>
                </c:pt>
                <c:pt idx="19">
                  <c:v>0.010638297872340425</c:v>
                </c:pt>
                <c:pt idx="20">
                  <c:v>0.011811023622047244</c:v>
                </c:pt>
                <c:pt idx="21">
                  <c:v>0.011940298507462687</c:v>
                </c:pt>
                <c:pt idx="22">
                  <c:v>0.016713091922005572</c:v>
                </c:pt>
                <c:pt idx="23">
                  <c:v>0.01282051282051282</c:v>
                </c:pt>
                <c:pt idx="24">
                  <c:v>0.012875536480686695</c:v>
                </c:pt>
                <c:pt idx="25">
                  <c:v>0.010845986984815618</c:v>
                </c:pt>
                <c:pt idx="26">
                  <c:v>0.01417004048582996</c:v>
                </c:pt>
                <c:pt idx="27">
                  <c:v>0.014950166112956811</c:v>
                </c:pt>
                <c:pt idx="28">
                  <c:v>0.011204481792717087</c:v>
                </c:pt>
                <c:pt idx="29">
                  <c:v>0.012567324955116697</c:v>
                </c:pt>
                <c:pt idx="30">
                  <c:v>0.014571948998178506</c:v>
                </c:pt>
                <c:pt idx="31">
                  <c:v>0.011627906976744186</c:v>
                </c:pt>
                <c:pt idx="32">
                  <c:v>0.009708737864077669</c:v>
                </c:pt>
                <c:pt idx="33">
                  <c:v>0.008383233532934131</c:v>
                </c:pt>
                <c:pt idx="34">
                  <c:v>0.00819672131147541</c:v>
                </c:pt>
                <c:pt idx="35">
                  <c:v>0.010559662090813094</c:v>
                </c:pt>
                <c:pt idx="36">
                  <c:v>0.016227180527383367</c:v>
                </c:pt>
                <c:pt idx="37">
                  <c:v>0.014598540145985401</c:v>
                </c:pt>
                <c:pt idx="38">
                  <c:v>0.014344262295081968</c:v>
                </c:pt>
                <c:pt idx="39">
                  <c:v>0.010218978102189781</c:v>
                </c:pt>
                <c:pt idx="40">
                  <c:v>0.013422818791946308</c:v>
                </c:pt>
                <c:pt idx="41">
                  <c:v>0.010638297872340425</c:v>
                </c:pt>
                <c:pt idx="42">
                  <c:v>0.0068846815834767644</c:v>
                </c:pt>
                <c:pt idx="43">
                  <c:v>0.007863695937090432</c:v>
                </c:pt>
                <c:pt idx="44">
                  <c:v>0.008465608465608466</c:v>
                </c:pt>
                <c:pt idx="45">
                  <c:v>0.004578155657292348</c:v>
                </c:pt>
                <c:pt idx="46">
                  <c:v>0.005897219882055603</c:v>
                </c:pt>
                <c:pt idx="47">
                  <c:v>0.004559270516717325</c:v>
                </c:pt>
                <c:pt idx="48">
                  <c:v>0.006993006993006993</c:v>
                </c:pt>
                <c:pt idx="49">
                  <c:v>0.005621486570893191</c:v>
                </c:pt>
                <c:pt idx="50">
                  <c:v>0.00419639110365086</c:v>
                </c:pt>
                <c:pt idx="51">
                  <c:v>0.007320644216691069</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46.2102550608365</c:v>
                </c:pt>
              </c:numCache>
            </c:numRef>
          </c:xVal>
          <c:yVal>
            <c:numRef>
              <c:f>Sheet1!$B$108:$B$109</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46.2102550608365</c:v>
                </c:pt>
                <c:pt idx="1">
                  <c:v>3346.2102550608365</c:v>
                </c:pt>
              </c:numCache>
            </c:numRef>
          </c:xVal>
          <c:yVal>
            <c:numRef>
              <c:f>Sheet1!$B$112:$B$113</c:f>
              <c:numCache>
                <c:formatCode>General</c:formatCode>
                <c:ptCount val="2"/>
                <c:pt idx="0">
                  <c:v>0.0147082280366071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46.2102550608365</c:v>
                </c:pt>
              </c:numCache>
            </c:numRef>
          </c:xVal>
          <c:yVal>
            <c:numRef>
              <c:f>Sheet1!$B$116:$B$117</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46.2102550608365</c:v>
                </c:pt>
                <c:pt idx="1">
                  <c:v>3346.2102550608365</c:v>
                </c:pt>
              </c:numCache>
            </c:numRef>
          </c:xVal>
          <c:yVal>
            <c:numRef>
              <c:f>Sheet1!$B$120:$B$121</c:f>
              <c:numCache>
                <c:formatCode>General</c:formatCode>
                <c:ptCount val="2"/>
                <c:pt idx="0">
                  <c:v>0.0147082280366071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50.154856330464</c:v>
                </c:pt>
              </c:numCache>
            </c:numRef>
          </c:xVal>
          <c:yVal>
            <c:numRef>
              <c:f>Sheet1!$B$124:$B$125</c:f>
              <c:numCache>
                <c:formatCode>General</c:formatCode>
                <c:ptCount val="2"/>
                <c:pt idx="0">
                  <c:v>0.007435404284073813</c:v>
                </c:pt>
                <c:pt idx="1">
                  <c:v>0.00743540428407381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50.154856330464</c:v>
                </c:pt>
                <c:pt idx="1">
                  <c:v>4950.154856330464</c:v>
                </c:pt>
              </c:numCache>
            </c:numRef>
          </c:xVal>
          <c:yVal>
            <c:numRef>
              <c:f>Sheet1!$B$128:$B$129</c:f>
              <c:numCache>
                <c:formatCode>General</c:formatCode>
                <c:ptCount val="2"/>
                <c:pt idx="0">
                  <c:v>0.0074354042840738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46.2102550608365</c:v>
                </c:pt>
                <c:pt idx="53">
                  <c:v>3346.2102550608365</c:v>
                </c:pt>
                <c:pt idx="54">
                  <c:v>4950.154856330464</c:v>
                </c:pt>
              </c:numCache>
            </c:numRef>
          </c:xVal>
          <c:yVal>
            <c:numRef>
              <c:f>Sheet1!$B$132:$B$186</c:f>
              <c:numCache>
                <c:formatCode>General</c:formatCode>
                <c:ptCount val="55"/>
                <c:pt idx="0">
                  <c:v>0.0118582176417429</c:v>
                </c:pt>
                <c:pt idx="1">
                  <c:v>0.013370418698780608</c:v>
                </c:pt>
                <c:pt idx="2">
                  <c:v>0.011839954243189569</c:v>
                </c:pt>
                <c:pt idx="3">
                  <c:v>0.013378353786786052</c:v>
                </c:pt>
                <c:pt idx="4">
                  <c:v>0.0076006380106164555</c:v>
                </c:pt>
                <c:pt idx="5">
                  <c:v>0.010361886760716085</c:v>
                </c:pt>
                <c:pt idx="6">
                  <c:v>0.00924122561754706</c:v>
                </c:pt>
                <c:pt idx="7">
                  <c:v>0.011474386099079505</c:v>
                </c:pt>
                <c:pt idx="8">
                  <c:v>0.014547181821015328</c:v>
                </c:pt>
                <c:pt idx="9">
                  <c:v>0.010273364279228137</c:v>
                </c:pt>
                <c:pt idx="10">
                  <c:v>0.010847575813618972</c:v>
                </c:pt>
                <c:pt idx="11">
                  <c:v>0.01191633286599398</c:v>
                </c:pt>
                <c:pt idx="12">
                  <c:v>0.011934734561795408</c:v>
                </c:pt>
                <c:pt idx="13">
                  <c:v>0.015248087237669105</c:v>
                </c:pt>
                <c:pt idx="14">
                  <c:v>0.012590674782040727</c:v>
                </c:pt>
                <c:pt idx="15">
                  <c:v>0.013751389982293239</c:v>
                </c:pt>
                <c:pt idx="16">
                  <c:v>0.01404612182249549</c:v>
                </c:pt>
                <c:pt idx="17">
                  <c:v>0.01564325462034028</c:v>
                </c:pt>
                <c:pt idx="18">
                  <c:v>0.009755743071890532</c:v>
                </c:pt>
                <c:pt idx="19">
                  <c:v>0.008688339065378855</c:v>
                </c:pt>
                <c:pt idx="20">
                  <c:v>0.012302204859858775</c:v>
                </c:pt>
                <c:pt idx="21">
                  <c:v>0.01032107773668808</c:v>
                </c:pt>
                <c:pt idx="22">
                  <c:v>0.011535146201521202</c:v>
                </c:pt>
                <c:pt idx="23">
                  <c:v>0.012461057613356582</c:v>
                </c:pt>
                <c:pt idx="24">
                  <c:v>0.009158398262079023</c:v>
                </c:pt>
                <c:pt idx="25">
                  <c:v>0.011067202726000088</c:v>
                </c:pt>
                <c:pt idx="26">
                  <c:v>0.010464394948172029</c:v>
                </c:pt>
                <c:pt idx="27">
                  <c:v>0.012640012892090588</c:v>
                </c:pt>
                <c:pt idx="28">
                  <c:v>0.014337932643444537</c:v>
                </c:pt>
                <c:pt idx="29">
                  <c:v>0.012231490529589446</c:v>
                </c:pt>
                <c:pt idx="30">
                  <c:v>0.014529508339576001</c:v>
                </c:pt>
                <c:pt idx="31">
                  <c:v>0.012004449977843248</c:v>
                </c:pt>
                <c:pt idx="32">
                  <c:v>0.006078828695588151</c:v>
                </c:pt>
                <c:pt idx="33">
                  <c:v>0.007974396979282532</c:v>
                </c:pt>
                <c:pt idx="34">
                  <c:v>0.00853114859945979</c:v>
                </c:pt>
                <c:pt idx="35">
                  <c:v>0.010526709874429191</c:v>
                </c:pt>
                <c:pt idx="36">
                  <c:v>0.011607128785570596</c:v>
                </c:pt>
                <c:pt idx="37">
                  <c:v>0.009692505408256738</c:v>
                </c:pt>
                <c:pt idx="38">
                  <c:v>0.013100140079209534</c:v>
                </c:pt>
                <c:pt idx="39">
                  <c:v>0.011963317202224624</c:v>
                </c:pt>
                <c:pt idx="40">
                  <c:v>0.013661182994980137</c:v>
                </c:pt>
                <c:pt idx="41">
                  <c:v>0.008019740339313648</c:v>
                </c:pt>
                <c:pt idx="42">
                  <c:v>0.0061222825978067726</c:v>
                </c:pt>
                <c:pt idx="43">
                  <c:v>0.010345638874516134</c:v>
                </c:pt>
                <c:pt idx="44">
                  <c:v>0.010278001544658522</c:v>
                </c:pt>
                <c:pt idx="45">
                  <c:v>0.008094233131774368</c:v>
                </c:pt>
                <c:pt idx="46">
                  <c:v>0.008454388638997515</c:v>
                </c:pt>
                <c:pt idx="47">
                  <c:v>0.008372446839350886</c:v>
                </c:pt>
                <c:pt idx="48">
                  <c:v>0.01507440176423792</c:v>
                </c:pt>
                <c:pt idx="49">
                  <c:v>0.010601576749610164</c:v>
                </c:pt>
                <c:pt idx="50">
                  <c:v>0.008405094058573287</c:v>
                </c:pt>
                <c:pt idx="51">
                  <c:v>0.012332282470868216</c:v>
                </c:pt>
                <c:pt idx="52">
                  <c:v>0.014708228036607108</c:v>
                </c:pt>
                <c:pt idx="53">
                  <c:v>0.014708228036607108</c:v>
                </c:pt>
                <c:pt idx="54">
                  <c:v>0.00743540428407381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118644067796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898410554977982</c:v>
                </c:pt>
                <c:pt idx="5">
                  <c:v>2.118763296661091</c:v>
                </c:pt>
                <c:pt idx="6">
                  <c:v>2.3383516182787196</c:v>
                </c:pt>
                <c:pt idx="7">
                  <c:v>2.494526905673104</c:v>
                </c:pt>
                <c:pt idx="8">
                  <c:v>1.9245809134278893</c:v>
                </c:pt>
                <c:pt idx="9">
                  <c:v>2.3949055987648578</c:v>
                </c:pt>
                <c:pt idx="10">
                  <c:v>1.7571316639247798</c:v>
                </c:pt>
                <c:pt idx="11">
                  <c:v>2.364915184112536</c:v>
                </c:pt>
                <c:pt idx="12">
                  <c:v>1.6095890410958904</c:v>
                </c:pt>
                <c:pt idx="13">
                  <c:v>1.4998782566350133</c:v>
                </c:pt>
                <c:pt idx="14">
                  <c:v>0.98822828630663</c:v>
                </c:pt>
                <c:pt idx="15">
                  <c:v>1.0403156074362299</c:v>
                </c:pt>
                <c:pt idx="16">
                  <c:v>1.810985847925162</c:v>
                </c:pt>
                <c:pt idx="17">
                  <c:v>1.310888252148997</c:v>
                </c:pt>
                <c:pt idx="18">
                  <c:v>0.8630681818181818</c:v>
                </c:pt>
                <c:pt idx="19">
                  <c:v>0.8563394683026585</c:v>
                </c:pt>
                <c:pt idx="20">
                  <c:v>3.1498371335504887</c:v>
                </c:pt>
                <c:pt idx="21">
                  <c:v>0.0</c:v>
                </c:pt>
                <c:pt idx="22">
                  <c:v>2.8231055900621116</c:v>
                </c:pt>
                <c:pt idx="23">
                  <c:v>3.4788004136504656</c:v>
                </c:pt>
                <c:pt idx="24">
                  <c:v>3.979532127192982</c:v>
                </c:pt>
                <c:pt idx="25">
                  <c:v>2.86137310813775</c:v>
                </c:pt>
                <c:pt idx="26">
                  <c:v>3.9971392122419664</c:v>
                </c:pt>
                <c:pt idx="27">
                  <c:v>4.792039615028606</c:v>
                </c:pt>
                <c:pt idx="28">
                  <c:v>2.7893462469733654</c:v>
                </c:pt>
                <c:pt idx="29">
                  <c:v>2.9796511627906974</c:v>
                </c:pt>
                <c:pt idx="30">
                  <c:v>3.592653838444578</c:v>
                </c:pt>
                <c:pt idx="31">
                  <c:v>3.795431574691732</c:v>
                </c:pt>
                <c:pt idx="32">
                  <c:v>3.7876575151283833</c:v>
                </c:pt>
                <c:pt idx="33">
                  <c:v>4.021656183093393</c:v>
                </c:pt>
                <c:pt idx="34">
                  <c:v>3.8871742112482854</c:v>
                </c:pt>
                <c:pt idx="35">
                  <c:v>3.0155890168290522</c:v>
                </c:pt>
                <c:pt idx="36">
                  <c:v>3.5302554027504915</c:v>
                </c:pt>
                <c:pt idx="37">
                  <c:v>3.680945692907961</c:v>
                </c:pt>
                <c:pt idx="38">
                  <c:v>5.559257602862254</c:v>
                </c:pt>
                <c:pt idx="39">
                  <c:v>5.176373171404913</c:v>
                </c:pt>
                <c:pt idx="40">
                  <c:v>5.1092052156469405</c:v>
                </c:pt>
                <c:pt idx="41">
                  <c:v>4.264563686867784</c:v>
                </c:pt>
                <c:pt idx="42">
                  <c:v>4.044168722576881</c:v>
                </c:pt>
                <c:pt idx="43">
                  <c:v>3.9370865139949114</c:v>
                </c:pt>
                <c:pt idx="44">
                  <c:v>4.542576385897061</c:v>
                </c:pt>
                <c:pt idx="45">
                  <c:v>5.720025778664453</c:v>
                </c:pt>
                <c:pt idx="46">
                  <c:v>3.267194706236214</c:v>
                </c:pt>
                <c:pt idx="47">
                  <c:v>4.512478955861314</c:v>
                </c:pt>
                <c:pt idx="48">
                  <c:v>5.254340099569622</c:v>
                </c:pt>
                <c:pt idx="49">
                  <c:v>4.551749808512691</c:v>
                </c:pt>
              </c:numCache>
            </c:numRef>
          </c:xVal>
          <c:yVal>
            <c:numRef>
              <c:f>Sheet1!$B$2:$B$51</c:f>
              <c:numCache>
                <c:formatCode>General</c:formatCode>
                <c:ptCount val="50"/>
                <c:pt idx="0">
                  <c:v>0.0</c:v>
                </c:pt>
                <c:pt idx="1">
                  <c:v>0.0</c:v>
                </c:pt>
                <c:pt idx="2">
                  <c:v>0.0</c:v>
                </c:pt>
                <c:pt idx="3">
                  <c:v>0.0</c:v>
                </c:pt>
                <c:pt idx="4">
                  <c:v>0.0005633802816901409</c:v>
                </c:pt>
                <c:pt idx="5">
                  <c:v>0.00065359477124183</c:v>
                </c:pt>
                <c:pt idx="6">
                  <c:v>0.00099601593625498</c:v>
                </c:pt>
                <c:pt idx="7">
                  <c:v>0.0009132420091324201</c:v>
                </c:pt>
                <c:pt idx="8">
                  <c:v>0.0008688097306689834</c:v>
                </c:pt>
                <c:pt idx="9">
                  <c:v>0.0007309941520467836</c:v>
                </c:pt>
                <c:pt idx="10">
                  <c:v>0.00156128024980484</c:v>
                </c:pt>
                <c:pt idx="11">
                  <c:v>0.0017006802721088435</c:v>
                </c:pt>
                <c:pt idx="12">
                  <c:v>0.0018165304268846503</c:v>
                </c:pt>
                <c:pt idx="13">
                  <c:v>0.002320185614849188</c:v>
                </c:pt>
                <c:pt idx="14">
                  <c:v>0.0027397260273972603</c:v>
                </c:pt>
                <c:pt idx="15">
                  <c:v>0.0028169014084507044</c:v>
                </c:pt>
                <c:pt idx="16">
                  <c:v>0.0016260162601626016</c:v>
                </c:pt>
                <c:pt idx="17">
                  <c:v>0.002728512960436562</c:v>
                </c:pt>
                <c:pt idx="18">
                  <c:v>0.003236245954692557</c:v>
                </c:pt>
                <c:pt idx="19">
                  <c:v>0.0027100271002710027</c:v>
                </c:pt>
                <c:pt idx="20">
                  <c:v>0.0032520325203252032</c:v>
                </c:pt>
                <c:pt idx="21">
                  <c:v>0.0</c:v>
                </c:pt>
                <c:pt idx="22">
                  <c:v>0.009652509652509652</c:v>
                </c:pt>
                <c:pt idx="23">
                  <c:v>0.0049504950495049506</c:v>
                </c:pt>
                <c:pt idx="24">
                  <c:v>0.0055658627087198514</c:v>
                </c:pt>
                <c:pt idx="25">
                  <c:v>0.007029876977152899</c:v>
                </c:pt>
                <c:pt idx="26">
                  <c:v>0.0043859649122807015</c:v>
                </c:pt>
                <c:pt idx="27">
                  <c:v>0.006289308176100629</c:v>
                </c:pt>
                <c:pt idx="28">
                  <c:v>0.00683371298405467</c:v>
                </c:pt>
                <c:pt idx="29">
                  <c:v>0.009411764705882352</c:v>
                </c:pt>
                <c:pt idx="30">
                  <c:v>0.0074487895716946</c:v>
                </c:pt>
                <c:pt idx="31">
                  <c:v>0.0051813471502590676</c:v>
                </c:pt>
                <c:pt idx="32">
                  <c:v>0.005649717514124294</c:v>
                </c:pt>
                <c:pt idx="33">
                  <c:v>0.004651162790697674</c:v>
                </c:pt>
                <c:pt idx="34">
                  <c:v>0.006980802792321117</c:v>
                </c:pt>
                <c:pt idx="35">
                  <c:v>0.008849557522123894</c:v>
                </c:pt>
                <c:pt idx="36">
                  <c:v>0.008237232289950576</c:v>
                </c:pt>
                <c:pt idx="37">
                  <c:v>0.0076045627376425855</c:v>
                </c:pt>
                <c:pt idx="38">
                  <c:v>0.005945303210463734</c:v>
                </c:pt>
                <c:pt idx="39">
                  <c:v>0.005747126436781609</c:v>
                </c:pt>
                <c:pt idx="40">
                  <c:v>0.007172131147540984</c:v>
                </c:pt>
                <c:pt idx="41">
                  <c:v>0.008771929824561403</c:v>
                </c:pt>
                <c:pt idx="42">
                  <c:v>0.0098159509202454</c:v>
                </c:pt>
                <c:pt idx="43">
                  <c:v>0.010443864229765013</c:v>
                </c:pt>
                <c:pt idx="44">
                  <c:v>0.010214007782101167</c:v>
                </c:pt>
                <c:pt idx="45">
                  <c:v>0.006955945677376615</c:v>
                </c:pt>
                <c:pt idx="46">
                  <c:v>0.011448196908986834</c:v>
                </c:pt>
                <c:pt idx="47">
                  <c:v>0.007386888273314866</c:v>
                </c:pt>
                <c:pt idx="48">
                  <c:v>0.007861635220125786</c:v>
                </c:pt>
                <c:pt idx="49">
                  <c:v>0.0069721115537848604</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3.7796267680969926</c:v>
                </c:pt>
                <c:pt idx="1">
                  <c:v>3.5429335927998054</c:v>
                </c:pt>
                <c:pt idx="2">
                  <c:v>3.8793689701401584</c:v>
                </c:pt>
                <c:pt idx="3">
                  <c:v>3.5728074747117975</c:v>
                </c:pt>
                <c:pt idx="4">
                  <c:v>5.427883001442549</c:v>
                </c:pt>
                <c:pt idx="5">
                  <c:v>4.488790406673618</c:v>
                </c:pt>
                <c:pt idx="6">
                  <c:v>4.882803700542826</c:v>
                </c:pt>
                <c:pt idx="7">
                  <c:v>4.8116157719630275</c:v>
                </c:pt>
                <c:pt idx="8">
                  <c:v>3.2023932765151515</c:v>
                </c:pt>
                <c:pt idx="9">
                  <c:v>4.624890588235295</c:v>
                </c:pt>
                <c:pt idx="10">
                  <c:v>4.5748033143713585</c:v>
                </c:pt>
                <c:pt idx="11">
                  <c:v>4.329390301871329</c:v>
                </c:pt>
                <c:pt idx="12">
                  <c:v>3.5056465899025686</c:v>
                </c:pt>
                <c:pt idx="13">
                  <c:v>3.014775919235039</c:v>
                </c:pt>
                <c:pt idx="14">
                  <c:v>3.076413311819282</c:v>
                </c:pt>
                <c:pt idx="15">
                  <c:v>2.943265596558001</c:v>
                </c:pt>
                <c:pt idx="16">
                  <c:v>2.554294031597425</c:v>
                </c:pt>
                <c:pt idx="17">
                  <c:v>2.3947528981086026</c:v>
                </c:pt>
                <c:pt idx="18">
                  <c:v>5.725157820058046</c:v>
                </c:pt>
                <c:pt idx="19">
                  <c:v>4.161917453250223</c:v>
                </c:pt>
                <c:pt idx="20">
                  <c:v>2.8991088427743503</c:v>
                </c:pt>
                <c:pt idx="21">
                  <c:v>3.0414219281180244</c:v>
                </c:pt>
                <c:pt idx="22">
                  <c:v>3.496974935177182</c:v>
                </c:pt>
                <c:pt idx="23">
                  <c:v>2.54003305785124</c:v>
                </c:pt>
                <c:pt idx="24">
                  <c:v>4.778010141139571</c:v>
                </c:pt>
                <c:pt idx="25">
                  <c:v>4.436460839347768</c:v>
                </c:pt>
                <c:pt idx="26">
                  <c:v>4.102455355432075</c:v>
                </c:pt>
                <c:pt idx="27">
                  <c:v>3.149712806494367</c:v>
                </c:pt>
                <c:pt idx="28">
                  <c:v>2.9842207491520387</c:v>
                </c:pt>
                <c:pt idx="29">
                  <c:v>2.904363975526041</c:v>
                </c:pt>
                <c:pt idx="30">
                  <c:v>2.4024303707645913</c:v>
                </c:pt>
                <c:pt idx="31">
                  <c:v>5.19433465085639</c:v>
                </c:pt>
                <c:pt idx="32">
                  <c:v>3.2270490937080107</c:v>
                </c:pt>
                <c:pt idx="33">
                  <c:v>4.508198024628367</c:v>
                </c:pt>
                <c:pt idx="34">
                  <c:v>4.388675288360713</c:v>
                </c:pt>
                <c:pt idx="35">
                  <c:v>3.024552701505757</c:v>
                </c:pt>
                <c:pt idx="36">
                  <c:v>3.459334763948498</c:v>
                </c:pt>
                <c:pt idx="37">
                  <c:v>4.221060864618885</c:v>
                </c:pt>
                <c:pt idx="38">
                  <c:v>2.665683449356145</c:v>
                </c:pt>
                <c:pt idx="39">
                  <c:v>3.5164150389321467</c:v>
                </c:pt>
                <c:pt idx="40">
                  <c:v>3.4974605432382284</c:v>
                </c:pt>
                <c:pt idx="41">
                  <c:v>3.5670950725066595</c:v>
                </c:pt>
                <c:pt idx="42">
                  <c:v>3.919621484141233</c:v>
                </c:pt>
                <c:pt idx="43">
                  <c:v>3.782972933816266</c:v>
                </c:pt>
                <c:pt idx="44">
                  <c:v>3.837961287747535</c:v>
                </c:pt>
                <c:pt idx="45">
                  <c:v>4.438959853795438</c:v>
                </c:pt>
                <c:pt idx="46">
                  <c:v>3.6712540620004197</c:v>
                </c:pt>
                <c:pt idx="47">
                  <c:v>3.4383867337348395</c:v>
                </c:pt>
                <c:pt idx="48">
                  <c:v>3.2246093408621017</c:v>
                </c:pt>
                <c:pt idx="49">
                  <c:v>4.135676393346951</c:v>
                </c:pt>
                <c:pt idx="50">
                  <c:v>4.110895848596686</c:v>
                </c:pt>
                <c:pt idx="51">
                  <c:v>3.4255620463798904</c:v>
                </c:pt>
              </c:numCache>
            </c:numRef>
          </c:xVal>
          <c:yVal>
            <c:numRef>
              <c:f>Sheet1!$B$54:$B$105</c:f>
              <c:numCache>
                <c:formatCode>General</c:formatCode>
                <c:ptCount val="52"/>
                <c:pt idx="0">
                  <c:v>0.007011393514460999</c:v>
                </c:pt>
                <c:pt idx="1">
                  <c:v>0.007590132827324478</c:v>
                </c:pt>
                <c:pt idx="2">
                  <c:v>0.007142857142857143</c:v>
                </c:pt>
                <c:pt idx="3">
                  <c:v>0.009057971014492754</c:v>
                </c:pt>
                <c:pt idx="4">
                  <c:v>0.00658513640639699</c:v>
                </c:pt>
                <c:pt idx="5">
                  <c:v>0.0070859167404783</c:v>
                </c:pt>
                <c:pt idx="6">
                  <c:v>0.00749063670411985</c:v>
                </c:pt>
                <c:pt idx="7">
                  <c:v>0.01023541453428864</c:v>
                </c:pt>
                <c:pt idx="8">
                  <c:v>0.016224188790560472</c:v>
                </c:pt>
                <c:pt idx="9">
                  <c:v>0.014435695538057743</c:v>
                </c:pt>
                <c:pt idx="10">
                  <c:v>0.013801756587202008</c:v>
                </c:pt>
                <c:pt idx="11">
                  <c:v>0.011252813203300824</c:v>
                </c:pt>
                <c:pt idx="12">
                  <c:v>0.014072119613016711</c:v>
                </c:pt>
                <c:pt idx="13">
                  <c:v>0.02034587995930824</c:v>
                </c:pt>
                <c:pt idx="14">
                  <c:v>0.014846235418875928</c:v>
                </c:pt>
                <c:pt idx="15">
                  <c:v>0.01570048309178744</c:v>
                </c:pt>
                <c:pt idx="16">
                  <c:v>0.017105263157894738</c:v>
                </c:pt>
                <c:pt idx="17">
                  <c:v>0.022598870056497175</c:v>
                </c:pt>
                <c:pt idx="18">
                  <c:v>0.012658227848101266</c:v>
                </c:pt>
                <c:pt idx="19">
                  <c:v>0.010638297872340425</c:v>
                </c:pt>
                <c:pt idx="20">
                  <c:v>0.011811023622047244</c:v>
                </c:pt>
                <c:pt idx="21">
                  <c:v>0.011940298507462687</c:v>
                </c:pt>
                <c:pt idx="22">
                  <c:v>0.016713091922005572</c:v>
                </c:pt>
                <c:pt idx="23">
                  <c:v>0.01282051282051282</c:v>
                </c:pt>
                <c:pt idx="24">
                  <c:v>0.012875536480686695</c:v>
                </c:pt>
                <c:pt idx="25">
                  <c:v>0.010845986984815618</c:v>
                </c:pt>
                <c:pt idx="26">
                  <c:v>0.01417004048582996</c:v>
                </c:pt>
                <c:pt idx="27">
                  <c:v>0.014950166112956811</c:v>
                </c:pt>
                <c:pt idx="28">
                  <c:v>0.011204481792717087</c:v>
                </c:pt>
                <c:pt idx="29">
                  <c:v>0.012567324955116697</c:v>
                </c:pt>
                <c:pt idx="30">
                  <c:v>0.014571948998178506</c:v>
                </c:pt>
                <c:pt idx="31">
                  <c:v>0.011627906976744186</c:v>
                </c:pt>
                <c:pt idx="32">
                  <c:v>0.009708737864077669</c:v>
                </c:pt>
                <c:pt idx="33">
                  <c:v>0.008383233532934131</c:v>
                </c:pt>
                <c:pt idx="34">
                  <c:v>0.00819672131147541</c:v>
                </c:pt>
                <c:pt idx="35">
                  <c:v>0.010559662090813094</c:v>
                </c:pt>
                <c:pt idx="36">
                  <c:v>0.016227180527383367</c:v>
                </c:pt>
                <c:pt idx="37">
                  <c:v>0.014598540145985401</c:v>
                </c:pt>
                <c:pt idx="38">
                  <c:v>0.014344262295081968</c:v>
                </c:pt>
                <c:pt idx="39">
                  <c:v>0.010218978102189781</c:v>
                </c:pt>
                <c:pt idx="40">
                  <c:v>0.013422818791946308</c:v>
                </c:pt>
                <c:pt idx="41">
                  <c:v>0.010638297872340425</c:v>
                </c:pt>
                <c:pt idx="42">
                  <c:v>0.0068846815834767644</c:v>
                </c:pt>
                <c:pt idx="43">
                  <c:v>0.007863695937090432</c:v>
                </c:pt>
                <c:pt idx="44">
                  <c:v>0.008465608465608466</c:v>
                </c:pt>
                <c:pt idx="45">
                  <c:v>0.004578155657292348</c:v>
                </c:pt>
                <c:pt idx="46">
                  <c:v>0.005897219882055603</c:v>
                </c:pt>
                <c:pt idx="47">
                  <c:v>0.004559270516717325</c:v>
                </c:pt>
                <c:pt idx="48">
                  <c:v>0.006993006993006993</c:v>
                </c:pt>
                <c:pt idx="49">
                  <c:v>0.005621486570893191</c:v>
                </c:pt>
                <c:pt idx="50">
                  <c:v>0.00419639110365086</c:v>
                </c:pt>
                <c:pt idx="51">
                  <c:v>0.007320644216691069</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2.0560493242082893</c:v>
                </c:pt>
              </c:numCache>
            </c:numRef>
          </c:xVal>
          <c:yVal>
            <c:numRef>
              <c:f>Sheet1!$B$108:$B$109</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2.0560493242082893</c:v>
                </c:pt>
                <c:pt idx="1">
                  <c:v>2.0560493242082893</c:v>
                </c:pt>
              </c:numCache>
            </c:numRef>
          </c:xVal>
          <c:yVal>
            <c:numRef>
              <c:f>Sheet1!$B$112:$B$113</c:f>
              <c:numCache>
                <c:formatCode>General</c:formatCode>
                <c:ptCount val="2"/>
                <c:pt idx="0">
                  <c:v>0.0147082280366071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2.0560493242082893</c:v>
                </c:pt>
              </c:numCache>
            </c:numRef>
          </c:xVal>
          <c:yVal>
            <c:numRef>
              <c:f>Sheet1!$B$116:$B$117</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2.0560493242082893</c:v>
                </c:pt>
                <c:pt idx="1">
                  <c:v>2.0560493242082893</c:v>
                </c:pt>
              </c:numCache>
            </c:numRef>
          </c:xVal>
          <c:yVal>
            <c:numRef>
              <c:f>Sheet1!$B$120:$B$121</c:f>
              <c:numCache>
                <c:formatCode>General</c:formatCode>
                <c:ptCount val="2"/>
                <c:pt idx="0">
                  <c:v>0.0147082280366071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5.5141307722944</c:v>
                </c:pt>
              </c:numCache>
            </c:numRef>
          </c:xVal>
          <c:yVal>
            <c:numRef>
              <c:f>Sheet1!$B$124:$B$125</c:f>
              <c:numCache>
                <c:formatCode>General</c:formatCode>
                <c:ptCount val="2"/>
                <c:pt idx="0">
                  <c:v>0.007435404284073813</c:v>
                </c:pt>
                <c:pt idx="1">
                  <c:v>0.00743540428407381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5.5141307722944</c:v>
                </c:pt>
                <c:pt idx="1">
                  <c:v>5.5141307722944</c:v>
                </c:pt>
              </c:numCache>
            </c:numRef>
          </c:xVal>
          <c:yVal>
            <c:numRef>
              <c:f>Sheet1!$B$128:$B$129</c:f>
              <c:numCache>
                <c:formatCode>General</c:formatCode>
                <c:ptCount val="2"/>
                <c:pt idx="0">
                  <c:v>0.0074354042840738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3.7796267680969926</c:v>
                </c:pt>
                <c:pt idx="1">
                  <c:v>3.5429335927998054</c:v>
                </c:pt>
                <c:pt idx="2">
                  <c:v>3.8793689701401584</c:v>
                </c:pt>
                <c:pt idx="3">
                  <c:v>3.5728074747117975</c:v>
                </c:pt>
                <c:pt idx="4">
                  <c:v>5.427883001442549</c:v>
                </c:pt>
                <c:pt idx="5">
                  <c:v>4.488790406673618</c:v>
                </c:pt>
                <c:pt idx="6">
                  <c:v>4.882803700542826</c:v>
                </c:pt>
                <c:pt idx="7">
                  <c:v>4.8116157719630275</c:v>
                </c:pt>
                <c:pt idx="8">
                  <c:v>3.2023932765151515</c:v>
                </c:pt>
                <c:pt idx="9">
                  <c:v>4.624890588235295</c:v>
                </c:pt>
                <c:pt idx="10">
                  <c:v>4.5748033143713585</c:v>
                </c:pt>
                <c:pt idx="11">
                  <c:v>4.329390301871329</c:v>
                </c:pt>
                <c:pt idx="12">
                  <c:v>3.5056465899025686</c:v>
                </c:pt>
                <c:pt idx="13">
                  <c:v>3.014775919235039</c:v>
                </c:pt>
                <c:pt idx="14">
                  <c:v>3.076413311819282</c:v>
                </c:pt>
                <c:pt idx="15">
                  <c:v>2.943265596558001</c:v>
                </c:pt>
                <c:pt idx="16">
                  <c:v>2.554294031597425</c:v>
                </c:pt>
                <c:pt idx="17">
                  <c:v>2.3947528981086026</c:v>
                </c:pt>
                <c:pt idx="18">
                  <c:v>5.725157820058046</c:v>
                </c:pt>
                <c:pt idx="19">
                  <c:v>4.161917453250223</c:v>
                </c:pt>
                <c:pt idx="20">
                  <c:v>2.8991088427743503</c:v>
                </c:pt>
                <c:pt idx="21">
                  <c:v>3.0414219281180244</c:v>
                </c:pt>
                <c:pt idx="22">
                  <c:v>3.496974935177182</c:v>
                </c:pt>
                <c:pt idx="23">
                  <c:v>2.54003305785124</c:v>
                </c:pt>
                <c:pt idx="24">
                  <c:v>4.778010141139571</c:v>
                </c:pt>
                <c:pt idx="25">
                  <c:v>4.436460839347768</c:v>
                </c:pt>
                <c:pt idx="26">
                  <c:v>4.102455355432075</c:v>
                </c:pt>
                <c:pt idx="27">
                  <c:v>3.149712806494367</c:v>
                </c:pt>
                <c:pt idx="28">
                  <c:v>2.9842207491520387</c:v>
                </c:pt>
                <c:pt idx="29">
                  <c:v>2.904363975526041</c:v>
                </c:pt>
                <c:pt idx="30">
                  <c:v>2.4024303707645913</c:v>
                </c:pt>
                <c:pt idx="31">
                  <c:v>5.19433465085639</c:v>
                </c:pt>
                <c:pt idx="32">
                  <c:v>3.2270490937080107</c:v>
                </c:pt>
                <c:pt idx="33">
                  <c:v>4.508198024628367</c:v>
                </c:pt>
                <c:pt idx="34">
                  <c:v>4.388675288360713</c:v>
                </c:pt>
                <c:pt idx="35">
                  <c:v>3.024552701505757</c:v>
                </c:pt>
                <c:pt idx="36">
                  <c:v>3.459334763948498</c:v>
                </c:pt>
                <c:pt idx="37">
                  <c:v>4.221060864618885</c:v>
                </c:pt>
                <c:pt idx="38">
                  <c:v>2.665683449356145</c:v>
                </c:pt>
                <c:pt idx="39">
                  <c:v>3.5164150389321467</c:v>
                </c:pt>
                <c:pt idx="40">
                  <c:v>3.4974605432382284</c:v>
                </c:pt>
                <c:pt idx="41">
                  <c:v>3.5670950725066595</c:v>
                </c:pt>
                <c:pt idx="42">
                  <c:v>3.919621484141233</c:v>
                </c:pt>
                <c:pt idx="43">
                  <c:v>3.782972933816266</c:v>
                </c:pt>
                <c:pt idx="44">
                  <c:v>3.837961287747535</c:v>
                </c:pt>
                <c:pt idx="45">
                  <c:v>4.438959853795438</c:v>
                </c:pt>
                <c:pt idx="46">
                  <c:v>3.6712540620004197</c:v>
                </c:pt>
                <c:pt idx="47">
                  <c:v>3.4383867337348395</c:v>
                </c:pt>
                <c:pt idx="48">
                  <c:v>3.2246093408621017</c:v>
                </c:pt>
                <c:pt idx="49">
                  <c:v>4.135676393346951</c:v>
                </c:pt>
                <c:pt idx="50">
                  <c:v>4.110895848596686</c:v>
                </c:pt>
                <c:pt idx="51">
                  <c:v>3.4255620463798904</c:v>
                </c:pt>
                <c:pt idx="52">
                  <c:v>2.0560493242082893</c:v>
                </c:pt>
                <c:pt idx="53">
                  <c:v>2.0560493242082893</c:v>
                </c:pt>
                <c:pt idx="54">
                  <c:v>5.5141307722944</c:v>
                </c:pt>
              </c:numCache>
            </c:numRef>
          </c:xVal>
          <c:yVal>
            <c:numRef>
              <c:f>Sheet1!$B$132:$B$186</c:f>
              <c:numCache>
                <c:formatCode>General</c:formatCode>
                <c:ptCount val="55"/>
                <c:pt idx="0">
                  <c:v>0.011083306194415657</c:v>
                </c:pt>
                <c:pt idx="1">
                  <c:v>0.011581104691416542</c:v>
                </c:pt>
                <c:pt idx="2">
                  <c:v>0.0108735345429842</c:v>
                </c:pt>
                <c:pt idx="3">
                  <c:v>0.01151827578434434</c:v>
                </c:pt>
                <c:pt idx="4">
                  <c:v>0.00761679527959289</c:v>
                </c:pt>
                <c:pt idx="5">
                  <c:v>0.00959183694116035</c:v>
                </c:pt>
                <c:pt idx="6">
                  <c:v>0.008763172467669758</c:v>
                </c:pt>
                <c:pt idx="7">
                  <c:v>0.008912890531180192</c:v>
                </c:pt>
                <c:pt idx="8">
                  <c:v>0.012297308094416481</c:v>
                </c:pt>
                <c:pt idx="9">
                  <c:v>0.0093055994282372</c:v>
                </c:pt>
                <c:pt idx="10">
                  <c:v>0.009410939895350514</c:v>
                </c:pt>
                <c:pt idx="11">
                  <c:v>0.009927077416483451</c:v>
                </c:pt>
                <c:pt idx="12">
                  <c:v>0.011659524417615266</c:v>
                </c:pt>
                <c:pt idx="13">
                  <c:v>0.0126918933558971</c:v>
                </c:pt>
                <c:pt idx="14">
                  <c:v>0.012562261391016977</c:v>
                </c:pt>
                <c:pt idx="15">
                  <c:v>0.01284228945880113</c:v>
                </c:pt>
                <c:pt idx="16">
                  <c:v>0.013660350478812965</c:v>
                </c:pt>
                <c:pt idx="17">
                  <c:v>0.013995887556976862</c:v>
                </c:pt>
                <c:pt idx="18">
                  <c:v>0.006991585204493764</c:v>
                </c:pt>
                <c:pt idx="19">
                  <c:v>0.010279295989018838</c:v>
                </c:pt>
                <c:pt idx="20">
                  <c:v>0.01293515722162674</c:v>
                </c:pt>
                <c:pt idx="21">
                  <c:v>0.01263585311242</c:v>
                </c:pt>
                <c:pt idx="22">
                  <c:v>0.011677762107330604</c:v>
                </c:pt>
                <c:pt idx="23">
                  <c:v>0.013690343279778631</c:v>
                </c:pt>
                <c:pt idx="24">
                  <c:v>0.0089835678225456</c:v>
                </c:pt>
                <c:pt idx="25">
                  <c:v>0.009701893261672371</c:v>
                </c:pt>
                <c:pt idx="26">
                  <c:v>0.01040435300802764</c:v>
                </c:pt>
                <c:pt idx="27">
                  <c:v>0.012408102411847562</c:v>
                </c:pt>
                <c:pt idx="28">
                  <c:v>0.012756155106257354</c:v>
                </c:pt>
                <c:pt idx="29">
                  <c:v>0.012924104950339039</c:v>
                </c:pt>
                <c:pt idx="30">
                  <c:v>0.013979740769710529</c:v>
                </c:pt>
                <c:pt idx="31">
                  <c:v>0.008107979775102116</c:v>
                </c:pt>
                <c:pt idx="32">
                  <c:v>0.012245453499430702</c:v>
                </c:pt>
                <c:pt idx="33">
                  <c:v>0.009551020035323876</c:v>
                </c:pt>
                <c:pt idx="34">
                  <c:v>0.009802392887104527</c:v>
                </c:pt>
                <c:pt idx="35">
                  <c:v>0.012671331430046225</c:v>
                </c:pt>
                <c:pt idx="36">
                  <c:v>0.011756924595395454</c:v>
                </c:pt>
                <c:pt idx="37">
                  <c:v>0.010154909211707414</c:v>
                </c:pt>
                <c:pt idx="38">
                  <c:v>0.013426083121199153</c:v>
                </c:pt>
                <c:pt idx="39">
                  <c:v>0.011636876879361473</c:v>
                </c:pt>
                <c:pt idx="40">
                  <c:v>0.0116767408063885</c:v>
                </c:pt>
                <c:pt idx="41">
                  <c:v>0.011530289756561375</c:v>
                </c:pt>
                <c:pt idx="42">
                  <c:v>0.010788877936619933</c:v>
                </c:pt>
                <c:pt idx="43">
                  <c:v>0.011076268744925705</c:v>
                </c:pt>
                <c:pt idx="44">
                  <c:v>0.010960620628307348</c:v>
                </c:pt>
                <c:pt idx="45">
                  <c:v>0.00969663748852018</c:v>
                </c:pt>
                <c:pt idx="46">
                  <c:v>0.011311228990005587</c:v>
                </c:pt>
                <c:pt idx="47">
                  <c:v>0.011800981201347</c:v>
                </c:pt>
                <c:pt idx="48">
                  <c:v>0.012250584637234833</c:v>
                </c:pt>
                <c:pt idx="49">
                  <c:v>0.010334484568762035</c:v>
                </c:pt>
                <c:pt idx="50">
                  <c:v>0.010386601483058597</c:v>
                </c:pt>
                <c:pt idx="51">
                  <c:v>0.01182795329330438</c:v>
                </c:pt>
                <c:pt idx="52">
                  <c:v>0.014708228036607108</c:v>
                </c:pt>
                <c:pt idx="53">
                  <c:v>0.014708228036607108</c:v>
                </c:pt>
                <c:pt idx="54">
                  <c:v>0.0074354042840738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118644067796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5633802816901409</c:v>
                </c:pt>
                <c:pt idx="5">
                  <c:v>0.00065359477124183</c:v>
                </c:pt>
                <c:pt idx="6">
                  <c:v>0.00099601593625498</c:v>
                </c:pt>
                <c:pt idx="7">
                  <c:v>0.0009132420091324201</c:v>
                </c:pt>
                <c:pt idx="8">
                  <c:v>0.0008688097306689834</c:v>
                </c:pt>
                <c:pt idx="9">
                  <c:v>0.0007309941520467836</c:v>
                </c:pt>
                <c:pt idx="10">
                  <c:v>0.00156128024980484</c:v>
                </c:pt>
                <c:pt idx="11">
                  <c:v>0.0017006802721088435</c:v>
                </c:pt>
                <c:pt idx="12">
                  <c:v>0.0018165304268846503</c:v>
                </c:pt>
                <c:pt idx="13">
                  <c:v>0.002320185614849188</c:v>
                </c:pt>
                <c:pt idx="14">
                  <c:v>0.0027397260273972603</c:v>
                </c:pt>
                <c:pt idx="15">
                  <c:v>0.0028169014084507044</c:v>
                </c:pt>
                <c:pt idx="16">
                  <c:v>0.0016260162601626016</c:v>
                </c:pt>
                <c:pt idx="17">
                  <c:v>0.002728512960436562</c:v>
                </c:pt>
                <c:pt idx="18">
                  <c:v>0.003236245954692557</c:v>
                </c:pt>
                <c:pt idx="19">
                  <c:v>0.0027100271002710027</c:v>
                </c:pt>
                <c:pt idx="20">
                  <c:v>0.0032520325203252032</c:v>
                </c:pt>
                <c:pt idx="21">
                  <c:v>0.0</c:v>
                </c:pt>
                <c:pt idx="22">
                  <c:v>0.009652509652509652</c:v>
                </c:pt>
                <c:pt idx="23">
                  <c:v>0.0049504950495049506</c:v>
                </c:pt>
                <c:pt idx="24">
                  <c:v>0.0055658627087198514</c:v>
                </c:pt>
                <c:pt idx="25">
                  <c:v>0.007029876977152899</c:v>
                </c:pt>
                <c:pt idx="26">
                  <c:v>0.0043859649122807015</c:v>
                </c:pt>
                <c:pt idx="27">
                  <c:v>0.006289308176100629</c:v>
                </c:pt>
                <c:pt idx="28">
                  <c:v>0.00683371298405467</c:v>
                </c:pt>
                <c:pt idx="29">
                  <c:v>0.009411764705882352</c:v>
                </c:pt>
                <c:pt idx="30">
                  <c:v>0.0074487895716946</c:v>
                </c:pt>
                <c:pt idx="31">
                  <c:v>0.0051813471502590676</c:v>
                </c:pt>
                <c:pt idx="32">
                  <c:v>0.005649717514124294</c:v>
                </c:pt>
                <c:pt idx="33">
                  <c:v>0.004651162790697674</c:v>
                </c:pt>
                <c:pt idx="34">
                  <c:v>0.006980802792321117</c:v>
                </c:pt>
                <c:pt idx="35">
                  <c:v>0.008849557522123894</c:v>
                </c:pt>
                <c:pt idx="36">
                  <c:v>0.008237232289950576</c:v>
                </c:pt>
                <c:pt idx="37">
                  <c:v>0.0076045627376425855</c:v>
                </c:pt>
                <c:pt idx="38">
                  <c:v>0.005945303210463734</c:v>
                </c:pt>
                <c:pt idx="39">
                  <c:v>0.005747126436781609</c:v>
                </c:pt>
                <c:pt idx="40">
                  <c:v>0.007172131147540984</c:v>
                </c:pt>
                <c:pt idx="41">
                  <c:v>0.008771929824561403</c:v>
                </c:pt>
                <c:pt idx="42">
                  <c:v>0.0098159509202454</c:v>
                </c:pt>
                <c:pt idx="43">
                  <c:v>0.010443864229765013</c:v>
                </c:pt>
                <c:pt idx="44">
                  <c:v>0.010214007782101167</c:v>
                </c:pt>
                <c:pt idx="45">
                  <c:v>0.006955945677376615</c:v>
                </c:pt>
                <c:pt idx="46">
                  <c:v>0.011448196908986834</c:v>
                </c:pt>
                <c:pt idx="47">
                  <c:v>0.007386888273314866</c:v>
                </c:pt>
                <c:pt idx="48">
                  <c:v>0.007861635220125786</c:v>
                </c:pt>
                <c:pt idx="49">
                  <c:v>0.0069721115537848604</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7011393514460999</c:v>
                </c:pt>
                <c:pt idx="1">
                  <c:v>0.007590132827324478</c:v>
                </c:pt>
                <c:pt idx="2">
                  <c:v>0.007142857142857143</c:v>
                </c:pt>
                <c:pt idx="3">
                  <c:v>0.009057971014492754</c:v>
                </c:pt>
                <c:pt idx="4">
                  <c:v>0.00658513640639699</c:v>
                </c:pt>
                <c:pt idx="5">
                  <c:v>0.0070859167404783</c:v>
                </c:pt>
                <c:pt idx="6">
                  <c:v>0.00749063670411985</c:v>
                </c:pt>
                <c:pt idx="7">
                  <c:v>0.01023541453428864</c:v>
                </c:pt>
                <c:pt idx="8">
                  <c:v>0.016224188790560472</c:v>
                </c:pt>
                <c:pt idx="9">
                  <c:v>0.014435695538057743</c:v>
                </c:pt>
                <c:pt idx="10">
                  <c:v>0.013801756587202008</c:v>
                </c:pt>
                <c:pt idx="11">
                  <c:v>0.011252813203300824</c:v>
                </c:pt>
                <c:pt idx="12">
                  <c:v>0.014072119613016711</c:v>
                </c:pt>
                <c:pt idx="13">
                  <c:v>0.02034587995930824</c:v>
                </c:pt>
                <c:pt idx="14">
                  <c:v>0.014846235418875928</c:v>
                </c:pt>
                <c:pt idx="15">
                  <c:v>0.01570048309178744</c:v>
                </c:pt>
                <c:pt idx="16">
                  <c:v>0.017105263157894738</c:v>
                </c:pt>
                <c:pt idx="17">
                  <c:v>0.022598870056497175</c:v>
                </c:pt>
                <c:pt idx="18">
                  <c:v>0.012658227848101266</c:v>
                </c:pt>
                <c:pt idx="19">
                  <c:v>0.010638297872340425</c:v>
                </c:pt>
                <c:pt idx="20">
                  <c:v>0.011811023622047244</c:v>
                </c:pt>
                <c:pt idx="21">
                  <c:v>0.011940298507462687</c:v>
                </c:pt>
                <c:pt idx="22">
                  <c:v>0.016713091922005572</c:v>
                </c:pt>
                <c:pt idx="23">
                  <c:v>0.01282051282051282</c:v>
                </c:pt>
                <c:pt idx="24">
                  <c:v>0.012875536480686695</c:v>
                </c:pt>
                <c:pt idx="25">
                  <c:v>0.010845986984815618</c:v>
                </c:pt>
                <c:pt idx="26">
                  <c:v>0.01417004048582996</c:v>
                </c:pt>
                <c:pt idx="27">
                  <c:v>0.014950166112956811</c:v>
                </c:pt>
                <c:pt idx="28">
                  <c:v>0.011204481792717087</c:v>
                </c:pt>
                <c:pt idx="29">
                  <c:v>0.012567324955116697</c:v>
                </c:pt>
                <c:pt idx="30">
                  <c:v>0.014571948998178506</c:v>
                </c:pt>
                <c:pt idx="31">
                  <c:v>0.011627906976744186</c:v>
                </c:pt>
                <c:pt idx="32">
                  <c:v>0.009708737864077669</c:v>
                </c:pt>
                <c:pt idx="33">
                  <c:v>0.008383233532934131</c:v>
                </c:pt>
                <c:pt idx="34">
                  <c:v>0.00819672131147541</c:v>
                </c:pt>
                <c:pt idx="35">
                  <c:v>0.010559662090813094</c:v>
                </c:pt>
                <c:pt idx="36">
                  <c:v>0.016227180527383367</c:v>
                </c:pt>
                <c:pt idx="37">
                  <c:v>0.014598540145985401</c:v>
                </c:pt>
                <c:pt idx="38">
                  <c:v>0.014344262295081968</c:v>
                </c:pt>
                <c:pt idx="39">
                  <c:v>0.010218978102189781</c:v>
                </c:pt>
                <c:pt idx="40">
                  <c:v>0.013422818791946308</c:v>
                </c:pt>
                <c:pt idx="41">
                  <c:v>0.010638297872340425</c:v>
                </c:pt>
                <c:pt idx="42">
                  <c:v>0.0068846815834767644</c:v>
                </c:pt>
                <c:pt idx="43">
                  <c:v>0.007863695937090432</c:v>
                </c:pt>
                <c:pt idx="44">
                  <c:v>0.008465608465608466</c:v>
                </c:pt>
                <c:pt idx="45">
                  <c:v>0.004578155657292348</c:v>
                </c:pt>
                <c:pt idx="46">
                  <c:v>0.005897219882055603</c:v>
                </c:pt>
                <c:pt idx="47">
                  <c:v>0.004559270516717325</c:v>
                </c:pt>
                <c:pt idx="48">
                  <c:v>0.006993006993006993</c:v>
                </c:pt>
                <c:pt idx="49">
                  <c:v>0.005621486570893191</c:v>
                </c:pt>
                <c:pt idx="50">
                  <c:v>0.00419639110365086</c:v>
                </c:pt>
                <c:pt idx="51">
                  <c:v>0.007320644216691069</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46.2102550608365</c:v>
                </c:pt>
              </c:numCache>
            </c:numRef>
          </c:xVal>
          <c:yVal>
            <c:numRef>
              <c:f>Sheet1!$B$108:$B$109</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46.2102550608365</c:v>
                </c:pt>
                <c:pt idx="1">
                  <c:v>3346.2102550608365</c:v>
                </c:pt>
              </c:numCache>
            </c:numRef>
          </c:xVal>
          <c:yVal>
            <c:numRef>
              <c:f>Sheet1!$B$112:$B$113</c:f>
              <c:numCache>
                <c:formatCode>General</c:formatCode>
                <c:ptCount val="2"/>
                <c:pt idx="0">
                  <c:v>0.0147082280366071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46.2102550608365</c:v>
                </c:pt>
              </c:numCache>
            </c:numRef>
          </c:xVal>
          <c:yVal>
            <c:numRef>
              <c:f>Sheet1!$B$116:$B$117</c:f>
              <c:numCache>
                <c:formatCode>General</c:formatCode>
                <c:ptCount val="2"/>
                <c:pt idx="0">
                  <c:v>0.014708228036607108</c:v>
                </c:pt>
                <c:pt idx="1">
                  <c:v>0.014708228036607108</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46.2102550608365</c:v>
                </c:pt>
                <c:pt idx="1">
                  <c:v>3346.2102550608365</c:v>
                </c:pt>
              </c:numCache>
            </c:numRef>
          </c:xVal>
          <c:yVal>
            <c:numRef>
              <c:f>Sheet1!$B$120:$B$121</c:f>
              <c:numCache>
                <c:formatCode>General</c:formatCode>
                <c:ptCount val="2"/>
                <c:pt idx="0">
                  <c:v>0.0147082280366071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50.154856330464</c:v>
                </c:pt>
              </c:numCache>
            </c:numRef>
          </c:xVal>
          <c:yVal>
            <c:numRef>
              <c:f>Sheet1!$B$124:$B$125</c:f>
              <c:numCache>
                <c:formatCode>General</c:formatCode>
                <c:ptCount val="2"/>
                <c:pt idx="0">
                  <c:v>0.007435404284073813</c:v>
                </c:pt>
                <c:pt idx="1">
                  <c:v>0.00743540428407381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50.154856330464</c:v>
                </c:pt>
                <c:pt idx="1">
                  <c:v>4950.154856330464</c:v>
                </c:pt>
              </c:numCache>
            </c:numRef>
          </c:xVal>
          <c:yVal>
            <c:numRef>
              <c:f>Sheet1!$B$128:$B$129</c:f>
              <c:numCache>
                <c:formatCode>General</c:formatCode>
                <c:ptCount val="2"/>
                <c:pt idx="0">
                  <c:v>0.0074354042840738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46.2102550608365</c:v>
                </c:pt>
                <c:pt idx="53">
                  <c:v>3346.2102550608365</c:v>
                </c:pt>
                <c:pt idx="54">
                  <c:v>4950.154856330464</c:v>
                </c:pt>
              </c:numCache>
            </c:numRef>
          </c:xVal>
          <c:yVal>
            <c:numRef>
              <c:f>Sheet1!$B$132:$B$186</c:f>
              <c:numCache>
                <c:formatCode>General</c:formatCode>
                <c:ptCount val="55"/>
                <c:pt idx="0">
                  <c:v>0.0118582176417429</c:v>
                </c:pt>
                <c:pt idx="1">
                  <c:v>0.013370418698780608</c:v>
                </c:pt>
                <c:pt idx="2">
                  <c:v>0.011839954243189569</c:v>
                </c:pt>
                <c:pt idx="3">
                  <c:v>0.013378353786786052</c:v>
                </c:pt>
                <c:pt idx="4">
                  <c:v>0.0076006380106164555</c:v>
                </c:pt>
                <c:pt idx="5">
                  <c:v>0.010361886760716085</c:v>
                </c:pt>
                <c:pt idx="6">
                  <c:v>0.00924122561754706</c:v>
                </c:pt>
                <c:pt idx="7">
                  <c:v>0.011474386099079505</c:v>
                </c:pt>
                <c:pt idx="8">
                  <c:v>0.014547181821015328</c:v>
                </c:pt>
                <c:pt idx="9">
                  <c:v>0.010273364279228137</c:v>
                </c:pt>
                <c:pt idx="10">
                  <c:v>0.010847575813618972</c:v>
                </c:pt>
                <c:pt idx="11">
                  <c:v>0.01191633286599398</c:v>
                </c:pt>
                <c:pt idx="12">
                  <c:v>0.011934734561795408</c:v>
                </c:pt>
                <c:pt idx="13">
                  <c:v>0.015248087237669105</c:v>
                </c:pt>
                <c:pt idx="14">
                  <c:v>0.012590674782040727</c:v>
                </c:pt>
                <c:pt idx="15">
                  <c:v>0.013751389982293239</c:v>
                </c:pt>
                <c:pt idx="16">
                  <c:v>0.01404612182249549</c:v>
                </c:pt>
                <c:pt idx="17">
                  <c:v>0.01564325462034028</c:v>
                </c:pt>
                <c:pt idx="18">
                  <c:v>0.009755743071890532</c:v>
                </c:pt>
                <c:pt idx="19">
                  <c:v>0.008688339065378855</c:v>
                </c:pt>
                <c:pt idx="20">
                  <c:v>0.012302204859858775</c:v>
                </c:pt>
                <c:pt idx="21">
                  <c:v>0.01032107773668808</c:v>
                </c:pt>
                <c:pt idx="22">
                  <c:v>0.011535146201521202</c:v>
                </c:pt>
                <c:pt idx="23">
                  <c:v>0.012461057613356582</c:v>
                </c:pt>
                <c:pt idx="24">
                  <c:v>0.009158398262079023</c:v>
                </c:pt>
                <c:pt idx="25">
                  <c:v>0.011067202726000088</c:v>
                </c:pt>
                <c:pt idx="26">
                  <c:v>0.010464394948172029</c:v>
                </c:pt>
                <c:pt idx="27">
                  <c:v>0.012640012892090588</c:v>
                </c:pt>
                <c:pt idx="28">
                  <c:v>0.014337932643444537</c:v>
                </c:pt>
                <c:pt idx="29">
                  <c:v>0.012231490529589446</c:v>
                </c:pt>
                <c:pt idx="30">
                  <c:v>0.014529508339576001</c:v>
                </c:pt>
                <c:pt idx="31">
                  <c:v>0.012004449977843248</c:v>
                </c:pt>
                <c:pt idx="32">
                  <c:v>0.006078828695588151</c:v>
                </c:pt>
                <c:pt idx="33">
                  <c:v>0.007974396979282532</c:v>
                </c:pt>
                <c:pt idx="34">
                  <c:v>0.00853114859945979</c:v>
                </c:pt>
                <c:pt idx="35">
                  <c:v>0.010526709874429191</c:v>
                </c:pt>
                <c:pt idx="36">
                  <c:v>0.011607128785570596</c:v>
                </c:pt>
                <c:pt idx="37">
                  <c:v>0.009692505408256738</c:v>
                </c:pt>
                <c:pt idx="38">
                  <c:v>0.013100140079209534</c:v>
                </c:pt>
                <c:pt idx="39">
                  <c:v>0.011963317202224624</c:v>
                </c:pt>
                <c:pt idx="40">
                  <c:v>0.013661182994980137</c:v>
                </c:pt>
                <c:pt idx="41">
                  <c:v>0.008019740339313648</c:v>
                </c:pt>
                <c:pt idx="42">
                  <c:v>0.0061222825978067726</c:v>
                </c:pt>
                <c:pt idx="43">
                  <c:v>0.010345638874516134</c:v>
                </c:pt>
                <c:pt idx="44">
                  <c:v>0.010278001544658522</c:v>
                </c:pt>
                <c:pt idx="45">
                  <c:v>0.008094233131774368</c:v>
                </c:pt>
                <c:pt idx="46">
                  <c:v>0.008454388638997515</c:v>
                </c:pt>
                <c:pt idx="47">
                  <c:v>0.008372446839350886</c:v>
                </c:pt>
                <c:pt idx="48">
                  <c:v>0.01507440176423792</c:v>
                </c:pt>
                <c:pt idx="49">
                  <c:v>0.010601576749610164</c:v>
                </c:pt>
                <c:pt idx="50">
                  <c:v>0.008405094058573287</c:v>
                </c:pt>
                <c:pt idx="51">
                  <c:v>0.012332282470868216</c:v>
                </c:pt>
                <c:pt idx="52">
                  <c:v>0.014708228036607108</c:v>
                </c:pt>
                <c:pt idx="53">
                  <c:v>0.014708228036607108</c:v>
                </c:pt>
                <c:pt idx="54">
                  <c:v>0.00743540428407381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7118644067796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9408712638176</c:v>
                </c:pt>
                <c:pt idx="1">
                  <c:v>0.4788274428328087</c:v>
                </c:pt>
                <c:pt idx="2">
                  <c:v>0.47019596372791017</c:v>
                </c:pt>
                <c:pt idx="3">
                  <c:v>0.48036488425569807</c:v>
                </c:pt>
                <c:pt idx="4">
                  <c:v>0.4765453900264486</c:v>
                </c:pt>
                <c:pt idx="5">
                  <c:v>0.5054785312530315</c:v>
                </c:pt>
                <c:pt idx="6">
                  <c:v>0.46875121629887545</c:v>
                </c:pt>
                <c:pt idx="7">
                  <c:v>0.4927012891436911</c:v>
                </c:pt>
                <c:pt idx="8">
                  <c:v>0.5215344931722888</c:v>
                </c:pt>
                <c:pt idx="9">
                  <c:v>0.5463318847749494</c:v>
                </c:pt>
                <c:pt idx="10">
                  <c:v>0.5269970156607334</c:v>
                </c:pt>
                <c:pt idx="11">
                  <c:v>0.5447842704060702</c:v>
                </c:pt>
                <c:pt idx="12">
                  <c:v>0.5556830411333261</c:v>
                </c:pt>
                <c:pt idx="13">
                  <c:v>0.5398091923763233</c:v>
                </c:pt>
                <c:pt idx="14">
                  <c:v>0.5350147104011307</c:v>
                </c:pt>
                <c:pt idx="15">
                  <c:v>0.5646019286068498</c:v>
                </c:pt>
                <c:pt idx="16">
                  <c:v>0.5525140755996075</c:v>
                </c:pt>
                <c:pt idx="17">
                  <c:v>0.5702049537439563</c:v>
                </c:pt>
                <c:pt idx="18">
                  <c:v>0.5491385867223475</c:v>
                </c:pt>
                <c:pt idx="19">
                  <c:v>0.5803637423740582</c:v>
                </c:pt>
                <c:pt idx="20">
                  <c:v>0.5805453789936642</c:v>
                </c:pt>
                <c:pt idx="21">
                  <c:v>0.47181778436429017</c:v>
                </c:pt>
                <c:pt idx="22">
                  <c:v>0.4599696774003713</c:v>
                </c:pt>
                <c:pt idx="23">
                  <c:v>0.4650717989320564</c:v>
                </c:pt>
                <c:pt idx="24">
                  <c:v>0.45665473300903225</c:v>
                </c:pt>
                <c:pt idx="25">
                  <c:v>0.4332443910953666</c:v>
                </c:pt>
                <c:pt idx="26">
                  <c:v>0.42143004093712666</c:v>
                </c:pt>
                <c:pt idx="27">
                  <c:v>0.4595886909988342</c:v>
                </c:pt>
                <c:pt idx="28">
                  <c:v>0.46269355859068345</c:v>
                </c:pt>
                <c:pt idx="29">
                  <c:v>0.43084024232523316</c:v>
                </c:pt>
                <c:pt idx="30">
                  <c:v>0.44534254417723607</c:v>
                </c:pt>
                <c:pt idx="31">
                  <c:v>0.4495490567255995</c:v>
                </c:pt>
                <c:pt idx="32">
                  <c:v>0.44231323722194843</c:v>
                </c:pt>
                <c:pt idx="33">
                  <c:v>0.4320096502750983</c:v>
                </c:pt>
                <c:pt idx="34">
                  <c:v>0.42795560586306675</c:v>
                </c:pt>
                <c:pt idx="35">
                  <c:v>0.47411317951204107</c:v>
                </c:pt>
                <c:pt idx="36">
                  <c:v>0.48834281459419204</c:v>
                </c:pt>
                <c:pt idx="37">
                  <c:v>0.44962351731537215</c:v>
                </c:pt>
                <c:pt idx="38">
                  <c:v>0.5002834868833859</c:v>
                </c:pt>
                <c:pt idx="39">
                  <c:v>0.4966822355918492</c:v>
                </c:pt>
                <c:pt idx="40">
                  <c:v>0.46020477069426335</c:v>
                </c:pt>
                <c:pt idx="41">
                  <c:v>0.4616253539223252</c:v>
                </c:pt>
                <c:pt idx="42">
                  <c:v>0.43419633637360444</c:v>
                </c:pt>
                <c:pt idx="43">
                  <c:v>0.46017025615155027</c:v>
                </c:pt>
                <c:pt idx="44">
                  <c:v>0.49007586069830844</c:v>
                </c:pt>
                <c:pt idx="45">
                  <c:v>0.5140327126355921</c:v>
                </c:pt>
                <c:pt idx="46">
                  <c:v>0.47679238023888204</c:v>
                </c:pt>
                <c:pt idx="47">
                  <c:v>0.5044930216470797</c:v>
                </c:pt>
                <c:pt idx="48">
                  <c:v>0.4707035026430869</c:v>
                </c:pt>
                <c:pt idx="49">
                  <c:v>0.457615641213302</c:v>
                </c:pt>
                <c:pt idx="50">
                  <c:v>0.48822097770313727</c:v>
                </c:pt>
                <c:pt idx="51">
                  <c:v>0.5129774097130041</c:v>
                </c:pt>
                <c:pt idx="52">
                  <c:v>0.5044715267455933</c:v>
                </c:pt>
                <c:pt idx="53">
                  <c:v>0.45209448890880005</c:v>
                </c:pt>
                <c:pt idx="54">
                  <c:v>0.460561279864036</c:v>
                </c:pt>
                <c:pt idx="55">
                  <c:v>0.44815513725400474</c:v>
                </c:pt>
                <c:pt idx="56">
                  <c:v>0.4611129415365188</c:v>
                </c:pt>
                <c:pt idx="57">
                  <c:v>0.43682593211312515</c:v>
                </c:pt>
                <c:pt idx="58">
                  <c:v>0.42597747164975686</c:v>
                </c:pt>
                <c:pt idx="59">
                  <c:v>0.4271823202624205</c:v>
                </c:pt>
                <c:pt idx="60">
                  <c:v>0.4188362380945408</c:v>
                </c:pt>
                <c:pt idx="61">
                  <c:v>0.46727704183009666</c:v>
                </c:pt>
                <c:pt idx="62">
                  <c:v>0.4964248443473253</c:v>
                </c:pt>
                <c:pt idx="63">
                  <c:v>0.4954565384448535</c:v>
                </c:pt>
                <c:pt idx="64">
                  <c:v>0.5059957082617413</c:v>
                </c:pt>
                <c:pt idx="65">
                  <c:v>0.504285445789006</c:v>
                </c:pt>
                <c:pt idx="66">
                  <c:v>0.5078092152687211</c:v>
                </c:pt>
                <c:pt idx="67">
                  <c:v>0.4974771260953116</c:v>
                </c:pt>
                <c:pt idx="68">
                  <c:v>0.4996981949003077</c:v>
                </c:pt>
                <c:pt idx="69">
                  <c:v>0.49032363841703674</c:v>
                </c:pt>
                <c:pt idx="70">
                  <c:v>0.4772122129266146</c:v>
                </c:pt>
                <c:pt idx="71">
                  <c:v>0.4107983503969841</c:v>
                </c:pt>
                <c:pt idx="72">
                  <c:v>0.500505727289528</c:v>
                </c:pt>
                <c:pt idx="73">
                  <c:v>0.5096113189420642</c:v>
                </c:pt>
                <c:pt idx="74">
                  <c:v>0.4884855821593172</c:v>
                </c:pt>
                <c:pt idx="75">
                  <c:v>0.44139564241434265</c:v>
                </c:pt>
                <c:pt idx="76">
                  <c:v>0.4581022582224203</c:v>
                </c:pt>
                <c:pt idx="77">
                  <c:v>0.43896041919154655</c:v>
                </c:pt>
                <c:pt idx="78">
                  <c:v>0.4880655945740288</c:v>
                </c:pt>
                <c:pt idx="79">
                  <c:v>0.3172734757400481</c:v>
                </c:pt>
                <c:pt idx="80">
                  <c:v>0.5046169980333853</c:v>
                </c:pt>
                <c:pt idx="81">
                  <c:v>0.5109043072486258</c:v>
                </c:pt>
                <c:pt idx="82">
                  <c:v>0.47218617929470974</c:v>
                </c:pt>
                <c:pt idx="83">
                  <c:v>0.36186819201914605</c:v>
                </c:pt>
                <c:pt idx="84">
                  <c:v>0.4899830602460276</c:v>
                </c:pt>
                <c:pt idx="85">
                  <c:v>0.4884057146267832</c:v>
                </c:pt>
                <c:pt idx="86">
                  <c:v>0.46688698319090866</c:v>
                </c:pt>
                <c:pt idx="87">
                  <c:v>0.4694050193153639</c:v>
                </c:pt>
                <c:pt idx="88">
                  <c:v>0.4649854900285239</c:v>
                </c:pt>
                <c:pt idx="89">
                  <c:v>0.4227241099786085</c:v>
                </c:pt>
                <c:pt idx="90">
                  <c:v>0.4499221049610165</c:v>
                </c:pt>
                <c:pt idx="91">
                  <c:v>0.44994957016879655</c:v>
                </c:pt>
                <c:pt idx="92">
                  <c:v>0.35823915691997604</c:v>
                </c:pt>
                <c:pt idx="93">
                  <c:v>0.39644840913354557</c:v>
                </c:pt>
                <c:pt idx="94">
                  <c:v>0.4358589137259822</c:v>
                </c:pt>
                <c:pt idx="95">
                  <c:v>0.45222283547278647</c:v>
                </c:pt>
                <c:pt idx="96">
                  <c:v>0.361348707553996</c:v>
                </c:pt>
                <c:pt idx="97">
                  <c:v>0.49053246506657683</c:v>
                </c:pt>
                <c:pt idx="98">
                  <c:v>0.4733434577085124</c:v>
                </c:pt>
                <c:pt idx="99">
                  <c:v>0.49260535846972</c:v>
                </c:pt>
                <c:pt idx="100">
                  <c:v>0.49501245899716295</c:v>
                </c:pt>
                <c:pt idx="101">
                  <c:v>0.45896076737645497</c:v>
                </c:pt>
                <c:pt idx="102">
                  <c:v>0.4980245148956587</c:v>
                </c:pt>
                <c:pt idx="103">
                  <c:v>0.5240487916208091</c:v>
                </c:pt>
                <c:pt idx="104">
                  <c:v>0.49210209157404444</c:v>
                </c:pt>
              </c:numCache>
            </c:numRef>
          </c:xVal>
          <c:yVal>
            <c:numRef>
              <c:f>Sheet1!$B$2:$B$106</c:f>
              <c:numCache>
                <c:formatCode>General</c:formatCode>
                <c:ptCount val="105"/>
                <c:pt idx="0">
                  <c:v>0.11083743842364532</c:v>
                </c:pt>
                <c:pt idx="1">
                  <c:v>0.17537313432835822</c:v>
                </c:pt>
                <c:pt idx="2">
                  <c:v>0.19122257053291536</c:v>
                </c:pt>
                <c:pt idx="3">
                  <c:v>0.1484375</c:v>
                </c:pt>
                <c:pt idx="4">
                  <c:v>0.18128654970760233</c:v>
                </c:pt>
                <c:pt idx="5">
                  <c:v>0.2059800664451827</c:v>
                </c:pt>
                <c:pt idx="6">
                  <c:v>0.23376623376623376</c:v>
                </c:pt>
                <c:pt idx="7">
                  <c:v>0.2140077821011673</c:v>
                </c:pt>
                <c:pt idx="8">
                  <c:v>0.16744186046511628</c:v>
                </c:pt>
                <c:pt idx="9">
                  <c:v>0.15846994535519127</c:v>
                </c:pt>
                <c:pt idx="10">
                  <c:v>0.20056497175141244</c:v>
                </c:pt>
                <c:pt idx="11">
                  <c:v>0.16905444126074498</c:v>
                </c:pt>
                <c:pt idx="12">
                  <c:v>0.2077922077922078</c:v>
                </c:pt>
                <c:pt idx="13">
                  <c:v>0.25906735751295334</c:v>
                </c:pt>
                <c:pt idx="14">
                  <c:v>0.19555555555555557</c:v>
                </c:pt>
                <c:pt idx="15">
                  <c:v>0.14508928571428573</c:v>
                </c:pt>
                <c:pt idx="16">
                  <c:v>0.15424164524421594</c:v>
                </c:pt>
                <c:pt idx="17">
                  <c:v>0.11396011396011396</c:v>
                </c:pt>
                <c:pt idx="18">
                  <c:v>0.10423452768729642</c:v>
                </c:pt>
                <c:pt idx="19">
                  <c:v>0.12017167381974249</c:v>
                </c:pt>
                <c:pt idx="20">
                  <c:v>0.16149068322981366</c:v>
                </c:pt>
                <c:pt idx="21">
                  <c:v>0.10919540229885058</c:v>
                </c:pt>
                <c:pt idx="22">
                  <c:v>0.14358974358974358</c:v>
                </c:pt>
                <c:pt idx="23">
                  <c:v>0.11734693877551021</c:v>
                </c:pt>
                <c:pt idx="24">
                  <c:v>0.12562814070351758</c:v>
                </c:pt>
                <c:pt idx="25">
                  <c:v>0.15723270440251572</c:v>
                </c:pt>
                <c:pt idx="26">
                  <c:v>0.13023255813953488</c:v>
                </c:pt>
                <c:pt idx="27">
                  <c:v>0.1091703056768559</c:v>
                </c:pt>
                <c:pt idx="28">
                  <c:v>0.11842105263157894</c:v>
                </c:pt>
                <c:pt idx="29">
                  <c:v>0.13286713286713286</c:v>
                </c:pt>
                <c:pt idx="30">
                  <c:v>0.13425925925925927</c:v>
                </c:pt>
                <c:pt idx="31">
                  <c:v>0.10743801652892562</c:v>
                </c:pt>
                <c:pt idx="32">
                  <c:v>0.12962962962962962</c:v>
                </c:pt>
                <c:pt idx="33">
                  <c:v>0.12203389830508475</c:v>
                </c:pt>
                <c:pt idx="34">
                  <c:v>0.12751677852348994</c:v>
                </c:pt>
                <c:pt idx="35">
                  <c:v>0.16135084427767354</c:v>
                </c:pt>
                <c:pt idx="36">
                  <c:v>0.1174934725848564</c:v>
                </c:pt>
                <c:pt idx="37">
                  <c:v>0.1056338028169014</c:v>
                </c:pt>
                <c:pt idx="38">
                  <c:v>0.11188811188811189</c:v>
                </c:pt>
                <c:pt idx="39">
                  <c:v>0.10894941634241245</c:v>
                </c:pt>
                <c:pt idx="40">
                  <c:v>0.11924119241192412</c:v>
                </c:pt>
                <c:pt idx="41">
                  <c:v>0.10437710437710437</c:v>
                </c:pt>
                <c:pt idx="42">
                  <c:v>0.11080332409972299</c:v>
                </c:pt>
                <c:pt idx="43">
                  <c:v>0.12926829268292683</c:v>
                </c:pt>
                <c:pt idx="44">
                  <c:v>0.09302325581395349</c:v>
                </c:pt>
                <c:pt idx="45">
                  <c:v>0.10224089635854341</c:v>
                </c:pt>
                <c:pt idx="46">
                  <c:v>0.14359637774902975</c:v>
                </c:pt>
                <c:pt idx="47">
                  <c:v>0.138763197586727</c:v>
                </c:pt>
                <c:pt idx="48">
                  <c:v>0.14842903575297942</c:v>
                </c:pt>
                <c:pt idx="49">
                  <c:v>0.18995492594977462</c:v>
                </c:pt>
                <c:pt idx="50">
                  <c:v>0.1690885072655218</c:v>
                </c:pt>
                <c:pt idx="51">
                  <c:v>0.13626373626373625</c:v>
                </c:pt>
                <c:pt idx="52">
                  <c:v>0.147008547008547</c:v>
                </c:pt>
                <c:pt idx="53">
                  <c:v>0.14383561643835616</c:v>
                </c:pt>
                <c:pt idx="54">
                  <c:v>0.1226158038147139</c:v>
                </c:pt>
                <c:pt idx="55">
                  <c:v>0.11702127659574468</c:v>
                </c:pt>
                <c:pt idx="56">
                  <c:v>0.125</c:v>
                </c:pt>
                <c:pt idx="57">
                  <c:v>0.1320754716981132</c:v>
                </c:pt>
                <c:pt idx="58">
                  <c:v>0.13225058004640372</c:v>
                </c:pt>
                <c:pt idx="59">
                  <c:v>0.12292358803986711</c:v>
                </c:pt>
                <c:pt idx="60">
                  <c:v>0.12909441233140656</c:v>
                </c:pt>
                <c:pt idx="61">
                  <c:v>0.1457286432160804</c:v>
                </c:pt>
                <c:pt idx="62">
                  <c:v>0.13846153846153847</c:v>
                </c:pt>
                <c:pt idx="63">
                  <c:v>0.15734989648033126</c:v>
                </c:pt>
                <c:pt idx="64">
                  <c:v>0.12187958883994127</c:v>
                </c:pt>
                <c:pt idx="65">
                  <c:v>0.10703363914373089</c:v>
                </c:pt>
                <c:pt idx="66">
                  <c:v>0.13564668769716087</c:v>
                </c:pt>
                <c:pt idx="67">
                  <c:v>0.11148086522462562</c:v>
                </c:pt>
                <c:pt idx="68">
                  <c:v>0.1016597510373444</c:v>
                </c:pt>
                <c:pt idx="69">
                  <c:v>0.08791208791208792</c:v>
                </c:pt>
                <c:pt idx="70">
                  <c:v>0.07103825136612021</c:v>
                </c:pt>
                <c:pt idx="71">
                  <c:v>0.09454545454545454</c:v>
                </c:pt>
                <c:pt idx="72">
                  <c:v>0.08873720136518772</c:v>
                </c:pt>
                <c:pt idx="73">
                  <c:v>0.06159420289855073</c:v>
                </c:pt>
                <c:pt idx="74">
                  <c:v>0.07796610169491526</c:v>
                </c:pt>
                <c:pt idx="75">
                  <c:v>0.0811965811965812</c:v>
                </c:pt>
                <c:pt idx="76">
                  <c:v>0.0966183574879227</c:v>
                </c:pt>
                <c:pt idx="77">
                  <c:v>0.09090909090909091</c:v>
                </c:pt>
                <c:pt idx="78">
                  <c:v>0.09042553191489362</c:v>
                </c:pt>
                <c:pt idx="79">
                  <c:v>0.10040160642570281</c:v>
                </c:pt>
                <c:pt idx="80">
                  <c:v>0.06584362139917696</c:v>
                </c:pt>
                <c:pt idx="81">
                  <c:v>0.057432432432432436</c:v>
                </c:pt>
                <c:pt idx="82">
                  <c:v>0.05063291139240506</c:v>
                </c:pt>
                <c:pt idx="83">
                  <c:v>0.058823529411764705</c:v>
                </c:pt>
                <c:pt idx="84">
                  <c:v>0.041884816753926704</c:v>
                </c:pt>
                <c:pt idx="85">
                  <c:v>0.05555555555555555</c:v>
                </c:pt>
                <c:pt idx="86">
                  <c:v>0.06976744186046512</c:v>
                </c:pt>
                <c:pt idx="87">
                  <c:v>0.08587257617728532</c:v>
                </c:pt>
                <c:pt idx="88">
                  <c:v>0.06938775510204082</c:v>
                </c:pt>
                <c:pt idx="89">
                  <c:v>0.055865921787709494</c:v>
                </c:pt>
                <c:pt idx="90">
                  <c:v>0.05263157894736842</c:v>
                </c:pt>
                <c:pt idx="91">
                  <c:v>0.049773755656108594</c:v>
                </c:pt>
                <c:pt idx="92">
                  <c:v>0.10652920962199312</c:v>
                </c:pt>
                <c:pt idx="93">
                  <c:v>0.06542056074766354</c:v>
                </c:pt>
                <c:pt idx="94">
                  <c:v>0.05128205128205128</c:v>
                </c:pt>
                <c:pt idx="95">
                  <c:v>0.0702247191011236</c:v>
                </c:pt>
                <c:pt idx="96">
                  <c:v>0.07079646017699115</c:v>
                </c:pt>
                <c:pt idx="97">
                  <c:v>0.0664451827242525</c:v>
                </c:pt>
                <c:pt idx="98">
                  <c:v>0.0811554332874828</c:v>
                </c:pt>
                <c:pt idx="99">
                  <c:v>0.09385863267670916</c:v>
                </c:pt>
                <c:pt idx="100">
                  <c:v>0.11174089068825911</c:v>
                </c:pt>
                <c:pt idx="101">
                  <c:v>0.10925644916540213</c:v>
                </c:pt>
                <c:pt idx="102">
                  <c:v>0.07017543859649122</c:v>
                </c:pt>
                <c:pt idx="103">
                  <c:v>0.08666666666666667</c:v>
                </c:pt>
                <c:pt idx="104">
                  <c:v>0.104972375690607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55687349917756</c:v>
                </c:pt>
                <c:pt idx="1">
                  <c:v>0.44356444805037626</c:v>
                </c:pt>
                <c:pt idx="2">
                  <c:v>0.44296522730719184</c:v>
                </c:pt>
                <c:pt idx="3">
                  <c:v>0.44024858809078377</c:v>
                </c:pt>
                <c:pt idx="4">
                  <c:v>0.4751019817164164</c:v>
                </c:pt>
                <c:pt idx="5">
                  <c:v>0.4629242007165446</c:v>
                </c:pt>
                <c:pt idx="6">
                  <c:v>0.4521017417316099</c:v>
                </c:pt>
                <c:pt idx="7">
                  <c:v>0.46435211852098357</c:v>
                </c:pt>
                <c:pt idx="8">
                  <c:v>0.5154230160799603</c:v>
                </c:pt>
                <c:pt idx="9">
                  <c:v>0.47325772171445113</c:v>
                </c:pt>
                <c:pt idx="10">
                  <c:v>0.49141111552404537</c:v>
                </c:pt>
                <c:pt idx="11">
                  <c:v>0.5233849242690257</c:v>
                </c:pt>
                <c:pt idx="12">
                  <c:v>0.5049178641051458</c:v>
                </c:pt>
                <c:pt idx="13">
                  <c:v>0.4543914185642209</c:v>
                </c:pt>
                <c:pt idx="14">
                  <c:v>0.4689589621892643</c:v>
                </c:pt>
                <c:pt idx="15">
                  <c:v>0.4581431676244611</c:v>
                </c:pt>
                <c:pt idx="16">
                  <c:v>0.4896157815965621</c:v>
                </c:pt>
                <c:pt idx="17">
                  <c:v>0.507881063556812</c:v>
                </c:pt>
                <c:pt idx="18">
                  <c:v>0.34331177315147166</c:v>
                </c:pt>
                <c:pt idx="19">
                  <c:v>0.396872261408332</c:v>
                </c:pt>
                <c:pt idx="20">
                  <c:v>0.44746281903654644</c:v>
                </c:pt>
                <c:pt idx="21">
                  <c:v>0.4569239239777944</c:v>
                </c:pt>
                <c:pt idx="22">
                  <c:v>0.4877041926898549</c:v>
                </c:pt>
                <c:pt idx="23">
                  <c:v>0.44873322467042126</c:v>
                </c:pt>
                <c:pt idx="24">
                  <c:v>0.4508847590847807</c:v>
                </c:pt>
                <c:pt idx="25">
                  <c:v>0.5105290014500592</c:v>
                </c:pt>
                <c:pt idx="26">
                  <c:v>0.5848655662906552</c:v>
                </c:pt>
                <c:pt idx="27">
                  <c:v>0.5408648995241474</c:v>
                </c:pt>
                <c:pt idx="28">
                  <c:v>0.520979250856417</c:v>
                </c:pt>
                <c:pt idx="29">
                  <c:v>0.4841538738578627</c:v>
                </c:pt>
                <c:pt idx="30">
                  <c:v>0.4983442354189699</c:v>
                </c:pt>
                <c:pt idx="31">
                  <c:v>0.5327108683360978</c:v>
                </c:pt>
                <c:pt idx="32">
                  <c:v>0.5398143947933093</c:v>
                </c:pt>
                <c:pt idx="33">
                  <c:v>0.5233473058965826</c:v>
                </c:pt>
                <c:pt idx="34">
                  <c:v>0.5177766839090124</c:v>
                </c:pt>
                <c:pt idx="35">
                  <c:v>0.5008116324128752</c:v>
                </c:pt>
                <c:pt idx="36">
                  <c:v>0.4956506199538612</c:v>
                </c:pt>
                <c:pt idx="37">
                  <c:v>0.4731234939825249</c:v>
                </c:pt>
                <c:pt idx="38">
                  <c:v>0.46068716657857817</c:v>
                </c:pt>
                <c:pt idx="39">
                  <c:v>0.4833023934304792</c:v>
                </c:pt>
                <c:pt idx="40">
                  <c:v>0.49026374463973305</c:v>
                </c:pt>
                <c:pt idx="41">
                  <c:v>0.4824892487251754</c:v>
                </c:pt>
                <c:pt idx="42">
                  <c:v>0.4571090828580847</c:v>
                </c:pt>
                <c:pt idx="43">
                  <c:v>0.5069136058586269</c:v>
                </c:pt>
                <c:pt idx="44">
                  <c:v>0.5359527666955354</c:v>
                </c:pt>
                <c:pt idx="45">
                  <c:v>0.5411360319257902</c:v>
                </c:pt>
                <c:pt idx="46">
                  <c:v>0.5409586705512212</c:v>
                </c:pt>
                <c:pt idx="47">
                  <c:v>0.5315972581882956</c:v>
                </c:pt>
                <c:pt idx="48">
                  <c:v>0.5754701791946251</c:v>
                </c:pt>
                <c:pt idx="49">
                  <c:v>0.6024914279893604</c:v>
                </c:pt>
                <c:pt idx="50">
                  <c:v>0.597798968744717</c:v>
                </c:pt>
                <c:pt idx="51">
                  <c:v>0.5897873016014917</c:v>
                </c:pt>
              </c:numCache>
            </c:numRef>
          </c:xVal>
          <c:yVal>
            <c:numRef>
              <c:f>Sheet1!$B$109:$B$160</c:f>
              <c:numCache>
                <c:formatCode>General</c:formatCode>
                <c:ptCount val="52"/>
                <c:pt idx="0">
                  <c:v>0.08558558558558559</c:v>
                </c:pt>
                <c:pt idx="1">
                  <c:v>0.08980582524271845</c:v>
                </c:pt>
                <c:pt idx="2">
                  <c:v>0.09699769053117784</c:v>
                </c:pt>
                <c:pt idx="3">
                  <c:v>0.10804020100502512</c:v>
                </c:pt>
                <c:pt idx="4">
                  <c:v>0.10687022900763359</c:v>
                </c:pt>
                <c:pt idx="5">
                  <c:v>0.08542713567839195</c:v>
                </c:pt>
                <c:pt idx="6">
                  <c:v>0.09598214285714286</c:v>
                </c:pt>
                <c:pt idx="7">
                  <c:v>0.09195402298850575</c:v>
                </c:pt>
                <c:pt idx="8">
                  <c:v>0.11392405063291139</c:v>
                </c:pt>
                <c:pt idx="9">
                  <c:v>0.12238805970149254</c:v>
                </c:pt>
                <c:pt idx="10">
                  <c:v>0.1239193083573487</c:v>
                </c:pt>
                <c:pt idx="11">
                  <c:v>0.12835249042145594</c:v>
                </c:pt>
                <c:pt idx="12">
                  <c:v>0.1479028697571744</c:v>
                </c:pt>
                <c:pt idx="13">
                  <c:v>0.12051282051282051</c:v>
                </c:pt>
                <c:pt idx="14">
                  <c:v>0.14080459770114942</c:v>
                </c:pt>
                <c:pt idx="15">
                  <c:v>0.13580246913580246</c:v>
                </c:pt>
                <c:pt idx="16">
                  <c:v>0.11805555555555555</c:v>
                </c:pt>
                <c:pt idx="17">
                  <c:v>0.08695652173913043</c:v>
                </c:pt>
                <c:pt idx="18">
                  <c:v>0.13574660633484162</c:v>
                </c:pt>
                <c:pt idx="19">
                  <c:v>0.13877551020408163</c:v>
                </c:pt>
                <c:pt idx="20">
                  <c:v>0.1267605633802817</c:v>
                </c:pt>
                <c:pt idx="21">
                  <c:v>0.072992700729927</c:v>
                </c:pt>
                <c:pt idx="22">
                  <c:v>0.07563025210084033</c:v>
                </c:pt>
                <c:pt idx="23">
                  <c:v>0.07692307692307693</c:v>
                </c:pt>
                <c:pt idx="24">
                  <c:v>0.07428571428571429</c:v>
                </c:pt>
                <c:pt idx="25">
                  <c:v>0.07692307692307693</c:v>
                </c:pt>
                <c:pt idx="26">
                  <c:v>0.044444444444444446</c:v>
                </c:pt>
                <c:pt idx="27">
                  <c:v>0.05714285714285714</c:v>
                </c:pt>
                <c:pt idx="28">
                  <c:v>0.09019607843137255</c:v>
                </c:pt>
                <c:pt idx="29">
                  <c:v>0.09230769230769231</c:v>
                </c:pt>
                <c:pt idx="30">
                  <c:v>0.07386363636363637</c:v>
                </c:pt>
                <c:pt idx="31">
                  <c:v>0.05945945945945946</c:v>
                </c:pt>
                <c:pt idx="32">
                  <c:v>0.07792207792207792</c:v>
                </c:pt>
                <c:pt idx="33">
                  <c:v>0.07763975155279502</c:v>
                </c:pt>
                <c:pt idx="34">
                  <c:v>0.11804008908685969</c:v>
                </c:pt>
                <c:pt idx="35">
                  <c:v>0.07954545454545454</c:v>
                </c:pt>
                <c:pt idx="36">
                  <c:v>0.08284023668639054</c:v>
                </c:pt>
                <c:pt idx="37">
                  <c:v>0.07329842931937172</c:v>
                </c:pt>
                <c:pt idx="38">
                  <c:v>0.09941520467836257</c:v>
                </c:pt>
                <c:pt idx="39">
                  <c:v>0.10638297872340426</c:v>
                </c:pt>
                <c:pt idx="40">
                  <c:v>0.08771929824561403</c:v>
                </c:pt>
                <c:pt idx="41">
                  <c:v>0.09205020920502092</c:v>
                </c:pt>
                <c:pt idx="42">
                  <c:v>0.08928571428571429</c:v>
                </c:pt>
                <c:pt idx="43">
                  <c:v>0.09253731343283582</c:v>
                </c:pt>
                <c:pt idx="44">
                  <c:v>0.08803611738148984</c:v>
                </c:pt>
                <c:pt idx="45">
                  <c:v>0.09142857142857143</c:v>
                </c:pt>
                <c:pt idx="46">
                  <c:v>0.075046904315197</c:v>
                </c:pt>
                <c:pt idx="47">
                  <c:v>0.09213051823416507</c:v>
                </c:pt>
                <c:pt idx="48">
                  <c:v>0.0704</c:v>
                </c:pt>
                <c:pt idx="49">
                  <c:v>0.08759124087591241</c:v>
                </c:pt>
                <c:pt idx="50">
                  <c:v>0.10114503816793893</c:v>
                </c:pt>
                <c:pt idx="51">
                  <c:v>0.1159420289855072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064425221074019</c:v>
                </c:pt>
              </c:numCache>
            </c:numRef>
          </c:xVal>
          <c:yVal>
            <c:numRef>
              <c:f>Sheet1!$B$163:$B$164</c:f>
              <c:numCache>
                <c:formatCode>General</c:formatCode>
                <c:ptCount val="2"/>
                <c:pt idx="0">
                  <c:v>0.18092812619669124</c:v>
                </c:pt>
                <c:pt idx="1">
                  <c:v>0.180928126196691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064425221074019</c:v>
                </c:pt>
                <c:pt idx="1">
                  <c:v>0.02064425221074019</c:v>
                </c:pt>
              </c:numCache>
            </c:numRef>
          </c:xVal>
          <c:yVal>
            <c:numRef>
              <c:f>Sheet1!$B$167:$B$168</c:f>
              <c:numCache>
                <c:formatCode>General</c:formatCode>
                <c:ptCount val="2"/>
                <c:pt idx="0">
                  <c:v>0.180928126196691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435692825752499</c:v>
                </c:pt>
              </c:numCache>
            </c:numRef>
          </c:xVal>
          <c:yVal>
            <c:numRef>
              <c:f>Sheet1!$B$171:$B$172</c:f>
              <c:numCache>
                <c:formatCode>General</c:formatCode>
                <c:ptCount val="2"/>
                <c:pt idx="0">
                  <c:v>0.12299769796392784</c:v>
                </c:pt>
                <c:pt idx="1">
                  <c:v>0.12299769796392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435692825752499</c:v>
                </c:pt>
                <c:pt idx="1">
                  <c:v>0.3435692825752499</c:v>
                </c:pt>
              </c:numCache>
            </c:numRef>
          </c:xVal>
          <c:yVal>
            <c:numRef>
              <c:f>Sheet1!$B$175:$B$176</c:f>
              <c:numCache>
                <c:formatCode>General</c:formatCode>
                <c:ptCount val="2"/>
                <c:pt idx="0">
                  <c:v>0.12299769796392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190647574583073</c:v>
                </c:pt>
              </c:numCache>
            </c:numRef>
          </c:xVal>
          <c:yVal>
            <c:numRef>
              <c:f>Sheet1!$B$179:$B$180</c:f>
              <c:numCache>
                <c:formatCode>General</c:formatCode>
                <c:ptCount val="2"/>
                <c:pt idx="0">
                  <c:v>0.09151507179087472</c:v>
                </c:pt>
                <c:pt idx="1">
                  <c:v>0.091515071790874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190647574583073</c:v>
                </c:pt>
                <c:pt idx="1">
                  <c:v>0.5190647574583073</c:v>
                </c:pt>
              </c:numCache>
            </c:numRef>
          </c:xVal>
          <c:yVal>
            <c:numRef>
              <c:f>Sheet1!$B$183:$B$184</c:f>
              <c:numCache>
                <c:formatCode>General</c:formatCode>
                <c:ptCount val="2"/>
                <c:pt idx="0">
                  <c:v>0.091515071790874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55687349917756</c:v>
                </c:pt>
                <c:pt idx="1">
                  <c:v>0.44356444805037626</c:v>
                </c:pt>
                <c:pt idx="2">
                  <c:v>0.44296522730719184</c:v>
                </c:pt>
                <c:pt idx="3">
                  <c:v>0.44024858809078377</c:v>
                </c:pt>
                <c:pt idx="4">
                  <c:v>0.4751019817164164</c:v>
                </c:pt>
                <c:pt idx="5">
                  <c:v>0.4629242007165446</c:v>
                </c:pt>
                <c:pt idx="6">
                  <c:v>0.4521017417316099</c:v>
                </c:pt>
                <c:pt idx="7">
                  <c:v>0.46435211852098357</c:v>
                </c:pt>
                <c:pt idx="8">
                  <c:v>0.5154230160799603</c:v>
                </c:pt>
                <c:pt idx="9">
                  <c:v>0.47325772171445113</c:v>
                </c:pt>
                <c:pt idx="10">
                  <c:v>0.49141111552404537</c:v>
                </c:pt>
                <c:pt idx="11">
                  <c:v>0.5233849242690257</c:v>
                </c:pt>
                <c:pt idx="12">
                  <c:v>0.5049178641051458</c:v>
                </c:pt>
                <c:pt idx="13">
                  <c:v>0.4543914185642209</c:v>
                </c:pt>
                <c:pt idx="14">
                  <c:v>0.4689589621892643</c:v>
                </c:pt>
                <c:pt idx="15">
                  <c:v>0.4581431676244611</c:v>
                </c:pt>
                <c:pt idx="16">
                  <c:v>0.4896157815965621</c:v>
                </c:pt>
                <c:pt idx="17">
                  <c:v>0.507881063556812</c:v>
                </c:pt>
                <c:pt idx="18">
                  <c:v>0.34331177315147166</c:v>
                </c:pt>
                <c:pt idx="19">
                  <c:v>0.396872261408332</c:v>
                </c:pt>
                <c:pt idx="20">
                  <c:v>0.44746281903654644</c:v>
                </c:pt>
                <c:pt idx="21">
                  <c:v>0.4569239239777944</c:v>
                </c:pt>
                <c:pt idx="22">
                  <c:v>0.4877041926898549</c:v>
                </c:pt>
                <c:pt idx="23">
                  <c:v>0.44873322467042126</c:v>
                </c:pt>
                <c:pt idx="24">
                  <c:v>0.4508847590847807</c:v>
                </c:pt>
                <c:pt idx="25">
                  <c:v>0.5105290014500592</c:v>
                </c:pt>
                <c:pt idx="26">
                  <c:v>0.5848655662906552</c:v>
                </c:pt>
                <c:pt idx="27">
                  <c:v>0.5408648995241474</c:v>
                </c:pt>
                <c:pt idx="28">
                  <c:v>0.520979250856417</c:v>
                </c:pt>
                <c:pt idx="29">
                  <c:v>0.4841538738578627</c:v>
                </c:pt>
                <c:pt idx="30">
                  <c:v>0.4983442354189699</c:v>
                </c:pt>
                <c:pt idx="31">
                  <c:v>0.5327108683360978</c:v>
                </c:pt>
                <c:pt idx="32">
                  <c:v>0.5398143947933093</c:v>
                </c:pt>
                <c:pt idx="33">
                  <c:v>0.5233473058965826</c:v>
                </c:pt>
                <c:pt idx="34">
                  <c:v>0.5177766839090124</c:v>
                </c:pt>
                <c:pt idx="35">
                  <c:v>0.5008116324128752</c:v>
                </c:pt>
                <c:pt idx="36">
                  <c:v>0.4956506199538612</c:v>
                </c:pt>
                <c:pt idx="37">
                  <c:v>0.4731234939825249</c:v>
                </c:pt>
                <c:pt idx="38">
                  <c:v>0.46068716657857817</c:v>
                </c:pt>
                <c:pt idx="39">
                  <c:v>0.4833023934304792</c:v>
                </c:pt>
                <c:pt idx="40">
                  <c:v>0.49026374463973305</c:v>
                </c:pt>
                <c:pt idx="41">
                  <c:v>0.4824892487251754</c:v>
                </c:pt>
                <c:pt idx="42">
                  <c:v>0.4571090828580847</c:v>
                </c:pt>
                <c:pt idx="43">
                  <c:v>0.5069136058586269</c:v>
                </c:pt>
                <c:pt idx="44">
                  <c:v>0.5359527666955354</c:v>
                </c:pt>
                <c:pt idx="45">
                  <c:v>0.5411360319257902</c:v>
                </c:pt>
                <c:pt idx="46">
                  <c:v>0.5409586705512212</c:v>
                </c:pt>
                <c:pt idx="47">
                  <c:v>0.5315972581882956</c:v>
                </c:pt>
                <c:pt idx="48">
                  <c:v>0.5754701791946251</c:v>
                </c:pt>
                <c:pt idx="49">
                  <c:v>0.6024914279893604</c:v>
                </c:pt>
                <c:pt idx="50">
                  <c:v>0.597798968744717</c:v>
                </c:pt>
                <c:pt idx="51">
                  <c:v>0.5897873016014917</c:v>
                </c:pt>
                <c:pt idx="52">
                  <c:v>0.3435692825752499</c:v>
                </c:pt>
                <c:pt idx="53">
                  <c:v>0.02064425221074019</c:v>
                </c:pt>
                <c:pt idx="54">
                  <c:v>0.5190647574583073</c:v>
                </c:pt>
              </c:numCache>
            </c:numRef>
          </c:xVal>
          <c:yVal>
            <c:numRef>
              <c:f>Sheet1!$B$187:$B$241</c:f>
              <c:numCache>
                <c:formatCode>General</c:formatCode>
                <c:ptCount val="55"/>
                <c:pt idx="0">
                  <c:v>0.10111187352141132</c:v>
                </c:pt>
                <c:pt idx="1">
                  <c:v>0.10505928436173237</c:v>
                </c:pt>
                <c:pt idx="2">
                  <c:v>0.10516678025395058</c:v>
                </c:pt>
                <c:pt idx="3">
                  <c:v>0.10565412579351063</c:v>
                </c:pt>
                <c:pt idx="4">
                  <c:v>0.099401677614381</c:v>
                </c:pt>
                <c:pt idx="5">
                  <c:v>0.1015862839530444</c:v>
                </c:pt>
                <c:pt idx="6">
                  <c:v>0.10352775526860362</c:v>
                </c:pt>
                <c:pt idx="7">
                  <c:v>0.10133012576735355</c:v>
                </c:pt>
                <c:pt idx="8">
                  <c:v>0.09216837400570296</c:v>
                </c:pt>
                <c:pt idx="9">
                  <c:v>0.09973252459631302</c:v>
                </c:pt>
                <c:pt idx="10">
                  <c:v>0.096475936291341</c:v>
                </c:pt>
                <c:pt idx="11">
                  <c:v>0.09074006493216391</c:v>
                </c:pt>
                <c:pt idx="12">
                  <c:v>0.09405292272546101</c:v>
                </c:pt>
                <c:pt idx="13">
                  <c:v>0.10311700371032996</c:v>
                </c:pt>
                <c:pt idx="14">
                  <c:v>0.10050369114194327</c:v>
                </c:pt>
                <c:pt idx="15">
                  <c:v>0.10244396690845599</c:v>
                </c:pt>
                <c:pt idx="16">
                  <c:v>0.09679800628734757</c:v>
                </c:pt>
                <c:pt idx="17">
                  <c:v>0.0935213460527567</c:v>
                </c:pt>
                <c:pt idx="18">
                  <c:v>0.12304389330275496</c:v>
                </c:pt>
                <c:pt idx="19">
                  <c:v>0.11343552687301901</c:v>
                </c:pt>
                <c:pt idx="20">
                  <c:v>0.10435994464073241</c:v>
                </c:pt>
                <c:pt idx="21">
                  <c:v>0.10266269045085762</c:v>
                </c:pt>
                <c:pt idx="22">
                  <c:v>0.09714093159061549</c:v>
                </c:pt>
                <c:pt idx="23">
                  <c:v>0.10413204300574112</c:v>
                </c:pt>
                <c:pt idx="24">
                  <c:v>0.10374607320389367</c:v>
                </c:pt>
                <c:pt idx="25">
                  <c:v>0.09304632503652754</c:v>
                </c:pt>
                <c:pt idx="26">
                  <c:v>0.07971087987234374</c:v>
                </c:pt>
                <c:pt idx="27">
                  <c:v>0.08760428307318481</c:v>
                </c:pt>
                <c:pt idx="28">
                  <c:v>0.09117162544273594</c:v>
                </c:pt>
                <c:pt idx="29">
                  <c:v>0.09777783325806441</c:v>
                </c:pt>
                <c:pt idx="30">
                  <c:v>0.0952321844395607</c:v>
                </c:pt>
                <c:pt idx="31">
                  <c:v>0.089067057631149</c:v>
                </c:pt>
                <c:pt idx="32">
                  <c:v>0.08779273606752007</c:v>
                </c:pt>
                <c:pt idx="33">
                  <c:v>0.09074681339765941</c:v>
                </c:pt>
                <c:pt idx="34">
                  <c:v>0.09174614292283906</c:v>
                </c:pt>
                <c:pt idx="35">
                  <c:v>0.09478955116236995</c:v>
                </c:pt>
                <c:pt idx="36">
                  <c:v>0.09571539968370578</c:v>
                </c:pt>
                <c:pt idx="37">
                  <c:v>0.09975660408616371</c:v>
                </c:pt>
                <c:pt idx="38">
                  <c:v>0.10198759179046235</c:v>
                </c:pt>
                <c:pt idx="39">
                  <c:v>0.0979305827235811</c:v>
                </c:pt>
                <c:pt idx="40">
                  <c:v>0.09668176637702681</c:v>
                </c:pt>
                <c:pt idx="41">
                  <c:v>0.09807645503623609</c:v>
                </c:pt>
                <c:pt idx="42">
                  <c:v>0.10262947427924586</c:v>
                </c:pt>
                <c:pt idx="43">
                  <c:v>0.09369490100664082</c:v>
                </c:pt>
                <c:pt idx="44">
                  <c:v>0.08848548437856675</c:v>
                </c:pt>
                <c:pt idx="45">
                  <c:v>0.08755564387009418</c:v>
                </c:pt>
                <c:pt idx="46">
                  <c:v>0.08758746122525286</c:v>
                </c:pt>
                <c:pt idx="47">
                  <c:v>0.0892668312834847</c:v>
                </c:pt>
                <c:pt idx="48">
                  <c:v>0.08139634475337584</c:v>
                </c:pt>
                <c:pt idx="49">
                  <c:v>0.07654892703448261</c:v>
                </c:pt>
                <c:pt idx="50">
                  <c:v>0.07739072047861463</c:v>
                </c:pt>
                <c:pt idx="51">
                  <c:v>0.07882795595070398</c:v>
                </c:pt>
                <c:pt idx="52">
                  <c:v>0.12299769796392784</c:v>
                </c:pt>
                <c:pt idx="53">
                  <c:v>0.18092812619669124</c:v>
                </c:pt>
                <c:pt idx="54">
                  <c:v>0.09151507179087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0880829015544"/>
          <c:min val="0.03350785340314136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2.3111</c:v>
                </c:pt>
                <c:pt idx="1">
                  <c:v>667.8723</c:v>
                </c:pt>
                <c:pt idx="2">
                  <c:v>658.7705</c:v>
                </c:pt>
                <c:pt idx="3">
                  <c:v>656.9474</c:v>
                </c:pt>
                <c:pt idx="4">
                  <c:v>650.5161</c:v>
                </c:pt>
                <c:pt idx="5">
                  <c:v>662.8065</c:v>
                </c:pt>
                <c:pt idx="6">
                  <c:v>622.6481</c:v>
                </c:pt>
                <c:pt idx="7">
                  <c:v>651.1455</c:v>
                </c:pt>
                <c:pt idx="8">
                  <c:v>655.6389</c:v>
                </c:pt>
                <c:pt idx="9">
                  <c:v>634.5517</c:v>
                </c:pt>
                <c:pt idx="10">
                  <c:v>607.5493</c:v>
                </c:pt>
                <c:pt idx="11">
                  <c:v>645.2712</c:v>
                </c:pt>
                <c:pt idx="12">
                  <c:v>665.2</c:v>
                </c:pt>
                <c:pt idx="13">
                  <c:v>653.16</c:v>
                </c:pt>
                <c:pt idx="14">
                  <c:v>641.0909</c:v>
                </c:pt>
                <c:pt idx="15">
                  <c:v>666.8462</c:v>
                </c:pt>
                <c:pt idx="16">
                  <c:v>663.6167</c:v>
                </c:pt>
                <c:pt idx="17">
                  <c:v>661.0</c:v>
                </c:pt>
                <c:pt idx="18">
                  <c:v>615.5625</c:v>
                </c:pt>
                <c:pt idx="19">
                  <c:v>663.3214</c:v>
                </c:pt>
                <c:pt idx="20">
                  <c:v>663.9038</c:v>
                </c:pt>
                <c:pt idx="21">
                  <c:v>652.4737</c:v>
                </c:pt>
                <c:pt idx="22">
                  <c:v>653.4286</c:v>
                </c:pt>
                <c:pt idx="23">
                  <c:v>664.5217</c:v>
                </c:pt>
                <c:pt idx="24">
                  <c:v>655.32</c:v>
                </c:pt>
                <c:pt idx="25">
                  <c:v>639.28</c:v>
                </c:pt>
                <c:pt idx="26">
                  <c:v>610.6429</c:v>
                </c:pt>
                <c:pt idx="27">
                  <c:v>638.84</c:v>
                </c:pt>
                <c:pt idx="28">
                  <c:v>672.0741</c:v>
                </c:pt>
                <c:pt idx="29">
                  <c:v>632.9474</c:v>
                </c:pt>
                <c:pt idx="30">
                  <c:v>655.069</c:v>
                </c:pt>
                <c:pt idx="31">
                  <c:v>564.6538</c:v>
                </c:pt>
                <c:pt idx="32">
                  <c:v>638.0</c:v>
                </c:pt>
                <c:pt idx="33">
                  <c:v>637.5833</c:v>
                </c:pt>
                <c:pt idx="34">
                  <c:v>606.6667</c:v>
                </c:pt>
                <c:pt idx="35">
                  <c:v>645.0581</c:v>
                </c:pt>
                <c:pt idx="36">
                  <c:v>655.8444</c:v>
                </c:pt>
                <c:pt idx="37">
                  <c:v>603.4667</c:v>
                </c:pt>
                <c:pt idx="38">
                  <c:v>663.2813</c:v>
                </c:pt>
                <c:pt idx="39">
                  <c:v>660.3214</c:v>
                </c:pt>
                <c:pt idx="40">
                  <c:v>636.4545</c:v>
                </c:pt>
                <c:pt idx="41">
                  <c:v>657.129</c:v>
                </c:pt>
                <c:pt idx="42">
                  <c:v>625.425</c:v>
                </c:pt>
                <c:pt idx="43">
                  <c:v>668.0755</c:v>
                </c:pt>
                <c:pt idx="44">
                  <c:v>653.45</c:v>
                </c:pt>
                <c:pt idx="45">
                  <c:v>653.5342</c:v>
                </c:pt>
                <c:pt idx="46">
                  <c:v>615.5495</c:v>
                </c:pt>
                <c:pt idx="47">
                  <c:v>624.8587</c:v>
                </c:pt>
                <c:pt idx="48">
                  <c:v>622.4818</c:v>
                </c:pt>
                <c:pt idx="49">
                  <c:v>611.4441</c:v>
                </c:pt>
                <c:pt idx="50">
                  <c:v>632.2344</c:v>
                </c:pt>
                <c:pt idx="51">
                  <c:v>656.8548</c:v>
                </c:pt>
                <c:pt idx="52">
                  <c:v>666.4535</c:v>
                </c:pt>
                <c:pt idx="53">
                  <c:v>656.746</c:v>
                </c:pt>
                <c:pt idx="54">
                  <c:v>681.3778</c:v>
                </c:pt>
                <c:pt idx="55">
                  <c:v>642.4545</c:v>
                </c:pt>
                <c:pt idx="56">
                  <c:v>668.9762</c:v>
                </c:pt>
                <c:pt idx="57">
                  <c:v>629.5306</c:v>
                </c:pt>
                <c:pt idx="58">
                  <c:v>622.7895</c:v>
                </c:pt>
                <c:pt idx="59">
                  <c:v>630.8784</c:v>
                </c:pt>
                <c:pt idx="60">
                  <c:v>640.7015</c:v>
                </c:pt>
                <c:pt idx="61">
                  <c:v>641.3276</c:v>
                </c:pt>
                <c:pt idx="62">
                  <c:v>608.7917</c:v>
                </c:pt>
                <c:pt idx="63">
                  <c:v>639.5789</c:v>
                </c:pt>
                <c:pt idx="64">
                  <c:v>609.5663</c:v>
                </c:pt>
                <c:pt idx="65">
                  <c:v>613.6286</c:v>
                </c:pt>
                <c:pt idx="66">
                  <c:v>621.407</c:v>
                </c:pt>
                <c:pt idx="67">
                  <c:v>610.7463</c:v>
                </c:pt>
                <c:pt idx="68">
                  <c:v>589.4286</c:v>
                </c:pt>
                <c:pt idx="69">
                  <c:v>573.0</c:v>
                </c:pt>
                <c:pt idx="70">
                  <c:v>564.3462</c:v>
                </c:pt>
                <c:pt idx="71">
                  <c:v>566.7692</c:v>
                </c:pt>
                <c:pt idx="72">
                  <c:v>712.2692</c:v>
                </c:pt>
                <c:pt idx="73">
                  <c:v>699.8824</c:v>
                </c:pt>
                <c:pt idx="74">
                  <c:v>689.1304</c:v>
                </c:pt>
                <c:pt idx="75">
                  <c:v>661.4737</c:v>
                </c:pt>
                <c:pt idx="76">
                  <c:v>660.15</c:v>
                </c:pt>
                <c:pt idx="77">
                  <c:v>597.3333</c:v>
                </c:pt>
                <c:pt idx="78">
                  <c:v>635.8235</c:v>
                </c:pt>
                <c:pt idx="79">
                  <c:v>424.36</c:v>
                </c:pt>
                <c:pt idx="80">
                  <c:v>675.375</c:v>
                </c:pt>
                <c:pt idx="81">
                  <c:v>699.9412</c:v>
                </c:pt>
                <c:pt idx="82">
                  <c:v>639.1667</c:v>
                </c:pt>
                <c:pt idx="83">
                  <c:v>488.75</c:v>
                </c:pt>
                <c:pt idx="84">
                  <c:v>669.875</c:v>
                </c:pt>
                <c:pt idx="85">
                  <c:v>667.7143</c:v>
                </c:pt>
                <c:pt idx="86">
                  <c:v>644.0</c:v>
                </c:pt>
                <c:pt idx="87">
                  <c:v>662.2581</c:v>
                </c:pt>
                <c:pt idx="88">
                  <c:v>691.8235</c:v>
                </c:pt>
                <c:pt idx="89">
                  <c:v>617.8</c:v>
                </c:pt>
                <c:pt idx="90">
                  <c:v>675.2727</c:v>
                </c:pt>
                <c:pt idx="91">
                  <c:v>668.6364</c:v>
                </c:pt>
                <c:pt idx="92">
                  <c:v>513.871</c:v>
                </c:pt>
                <c:pt idx="93">
                  <c:v>589.8095</c:v>
                </c:pt>
                <c:pt idx="94">
                  <c:v>644.1429</c:v>
                </c:pt>
                <c:pt idx="95">
                  <c:v>645.16</c:v>
                </c:pt>
                <c:pt idx="96">
                  <c:v>492.65</c:v>
                </c:pt>
                <c:pt idx="97">
                  <c:v>636.05</c:v>
                </c:pt>
                <c:pt idx="98">
                  <c:v>622.0</c:v>
                </c:pt>
                <c:pt idx="99">
                  <c:v>633.1235</c:v>
                </c:pt>
                <c:pt idx="100">
                  <c:v>671.7971</c:v>
                </c:pt>
                <c:pt idx="101">
                  <c:v>638.7083</c:v>
                </c:pt>
                <c:pt idx="102">
                  <c:v>676.8571</c:v>
                </c:pt>
                <c:pt idx="103">
                  <c:v>705.6154</c:v>
                </c:pt>
                <c:pt idx="104">
                  <c:v>720.9211</c:v>
                </c:pt>
              </c:numCache>
            </c:numRef>
          </c:xVal>
          <c:yVal>
            <c:numRef>
              <c:f>Sheet1!$B$2:$B$106</c:f>
              <c:numCache>
                <c:formatCode>General</c:formatCode>
                <c:ptCount val="105"/>
                <c:pt idx="0">
                  <c:v>0.11083743842364532</c:v>
                </c:pt>
                <c:pt idx="1">
                  <c:v>0.17537313432835822</c:v>
                </c:pt>
                <c:pt idx="2">
                  <c:v>0.19122257053291536</c:v>
                </c:pt>
                <c:pt idx="3">
                  <c:v>0.1484375</c:v>
                </c:pt>
                <c:pt idx="4">
                  <c:v>0.18128654970760233</c:v>
                </c:pt>
                <c:pt idx="5">
                  <c:v>0.2059800664451827</c:v>
                </c:pt>
                <c:pt idx="6">
                  <c:v>0.23376623376623376</c:v>
                </c:pt>
                <c:pt idx="7">
                  <c:v>0.2140077821011673</c:v>
                </c:pt>
                <c:pt idx="8">
                  <c:v>0.16744186046511628</c:v>
                </c:pt>
                <c:pt idx="9">
                  <c:v>0.15846994535519127</c:v>
                </c:pt>
                <c:pt idx="10">
                  <c:v>0.20056497175141244</c:v>
                </c:pt>
                <c:pt idx="11">
                  <c:v>0.16905444126074498</c:v>
                </c:pt>
                <c:pt idx="12">
                  <c:v>0.2077922077922078</c:v>
                </c:pt>
                <c:pt idx="13">
                  <c:v>0.25906735751295334</c:v>
                </c:pt>
                <c:pt idx="14">
                  <c:v>0.19555555555555557</c:v>
                </c:pt>
                <c:pt idx="15">
                  <c:v>0.14508928571428573</c:v>
                </c:pt>
                <c:pt idx="16">
                  <c:v>0.15424164524421594</c:v>
                </c:pt>
                <c:pt idx="17">
                  <c:v>0.11396011396011396</c:v>
                </c:pt>
                <c:pt idx="18">
                  <c:v>0.10423452768729642</c:v>
                </c:pt>
                <c:pt idx="19">
                  <c:v>0.12017167381974249</c:v>
                </c:pt>
                <c:pt idx="20">
                  <c:v>0.16149068322981366</c:v>
                </c:pt>
                <c:pt idx="21">
                  <c:v>0.10919540229885058</c:v>
                </c:pt>
                <c:pt idx="22">
                  <c:v>0.14358974358974358</c:v>
                </c:pt>
                <c:pt idx="23">
                  <c:v>0.11734693877551021</c:v>
                </c:pt>
                <c:pt idx="24">
                  <c:v>0.12562814070351758</c:v>
                </c:pt>
                <c:pt idx="25">
                  <c:v>0.15723270440251572</c:v>
                </c:pt>
                <c:pt idx="26">
                  <c:v>0.13023255813953488</c:v>
                </c:pt>
                <c:pt idx="27">
                  <c:v>0.1091703056768559</c:v>
                </c:pt>
                <c:pt idx="28">
                  <c:v>0.11842105263157894</c:v>
                </c:pt>
                <c:pt idx="29">
                  <c:v>0.13286713286713286</c:v>
                </c:pt>
                <c:pt idx="30">
                  <c:v>0.13425925925925927</c:v>
                </c:pt>
                <c:pt idx="31">
                  <c:v>0.10743801652892562</c:v>
                </c:pt>
                <c:pt idx="32">
                  <c:v>0.12962962962962962</c:v>
                </c:pt>
                <c:pt idx="33">
                  <c:v>0.12203389830508475</c:v>
                </c:pt>
                <c:pt idx="34">
                  <c:v>0.12751677852348994</c:v>
                </c:pt>
                <c:pt idx="35">
                  <c:v>0.16135084427767354</c:v>
                </c:pt>
                <c:pt idx="36">
                  <c:v>0.1174934725848564</c:v>
                </c:pt>
                <c:pt idx="37">
                  <c:v>0.1056338028169014</c:v>
                </c:pt>
                <c:pt idx="38">
                  <c:v>0.11188811188811189</c:v>
                </c:pt>
                <c:pt idx="39">
                  <c:v>0.10894941634241245</c:v>
                </c:pt>
                <c:pt idx="40">
                  <c:v>0.11924119241192412</c:v>
                </c:pt>
                <c:pt idx="41">
                  <c:v>0.10437710437710437</c:v>
                </c:pt>
                <c:pt idx="42">
                  <c:v>0.11080332409972299</c:v>
                </c:pt>
                <c:pt idx="43">
                  <c:v>0.12926829268292683</c:v>
                </c:pt>
                <c:pt idx="44">
                  <c:v>0.09302325581395349</c:v>
                </c:pt>
                <c:pt idx="45">
                  <c:v>0.10224089635854341</c:v>
                </c:pt>
                <c:pt idx="46">
                  <c:v>0.14359637774902975</c:v>
                </c:pt>
                <c:pt idx="47">
                  <c:v>0.138763197586727</c:v>
                </c:pt>
                <c:pt idx="48">
                  <c:v>0.14842903575297942</c:v>
                </c:pt>
                <c:pt idx="49">
                  <c:v>0.18995492594977462</c:v>
                </c:pt>
                <c:pt idx="50">
                  <c:v>0.1690885072655218</c:v>
                </c:pt>
                <c:pt idx="51">
                  <c:v>0.13626373626373625</c:v>
                </c:pt>
                <c:pt idx="52">
                  <c:v>0.147008547008547</c:v>
                </c:pt>
                <c:pt idx="53">
                  <c:v>0.14383561643835616</c:v>
                </c:pt>
                <c:pt idx="54">
                  <c:v>0.1226158038147139</c:v>
                </c:pt>
                <c:pt idx="55">
                  <c:v>0.11702127659574468</c:v>
                </c:pt>
                <c:pt idx="56">
                  <c:v>0.125</c:v>
                </c:pt>
                <c:pt idx="57">
                  <c:v>0.1320754716981132</c:v>
                </c:pt>
                <c:pt idx="58">
                  <c:v>0.13225058004640372</c:v>
                </c:pt>
                <c:pt idx="59">
                  <c:v>0.12292358803986711</c:v>
                </c:pt>
                <c:pt idx="60">
                  <c:v>0.12909441233140656</c:v>
                </c:pt>
                <c:pt idx="61">
                  <c:v>0.1457286432160804</c:v>
                </c:pt>
                <c:pt idx="62">
                  <c:v>0.13846153846153847</c:v>
                </c:pt>
                <c:pt idx="63">
                  <c:v>0.15734989648033126</c:v>
                </c:pt>
                <c:pt idx="64">
                  <c:v>0.12187958883994127</c:v>
                </c:pt>
                <c:pt idx="65">
                  <c:v>0.10703363914373089</c:v>
                </c:pt>
                <c:pt idx="66">
                  <c:v>0.13564668769716087</c:v>
                </c:pt>
                <c:pt idx="67">
                  <c:v>0.11148086522462562</c:v>
                </c:pt>
                <c:pt idx="68">
                  <c:v>0.1016597510373444</c:v>
                </c:pt>
                <c:pt idx="69">
                  <c:v>0.08791208791208792</c:v>
                </c:pt>
                <c:pt idx="70">
                  <c:v>0.07103825136612021</c:v>
                </c:pt>
                <c:pt idx="71">
                  <c:v>0.09454545454545454</c:v>
                </c:pt>
                <c:pt idx="72">
                  <c:v>0.08873720136518772</c:v>
                </c:pt>
                <c:pt idx="73">
                  <c:v>0.06159420289855073</c:v>
                </c:pt>
                <c:pt idx="74">
                  <c:v>0.07796610169491526</c:v>
                </c:pt>
                <c:pt idx="75">
                  <c:v>0.0811965811965812</c:v>
                </c:pt>
                <c:pt idx="76">
                  <c:v>0.0966183574879227</c:v>
                </c:pt>
                <c:pt idx="77">
                  <c:v>0.09090909090909091</c:v>
                </c:pt>
                <c:pt idx="78">
                  <c:v>0.09042553191489362</c:v>
                </c:pt>
                <c:pt idx="79">
                  <c:v>0.10040160642570281</c:v>
                </c:pt>
                <c:pt idx="80">
                  <c:v>0.06584362139917696</c:v>
                </c:pt>
                <c:pt idx="81">
                  <c:v>0.057432432432432436</c:v>
                </c:pt>
                <c:pt idx="82">
                  <c:v>0.05063291139240506</c:v>
                </c:pt>
                <c:pt idx="83">
                  <c:v>0.058823529411764705</c:v>
                </c:pt>
                <c:pt idx="84">
                  <c:v>0.041884816753926704</c:v>
                </c:pt>
                <c:pt idx="85">
                  <c:v>0.05555555555555555</c:v>
                </c:pt>
                <c:pt idx="86">
                  <c:v>0.06976744186046512</c:v>
                </c:pt>
                <c:pt idx="87">
                  <c:v>0.08587257617728532</c:v>
                </c:pt>
                <c:pt idx="88">
                  <c:v>0.06938775510204082</c:v>
                </c:pt>
                <c:pt idx="89">
                  <c:v>0.055865921787709494</c:v>
                </c:pt>
                <c:pt idx="90">
                  <c:v>0.05263157894736842</c:v>
                </c:pt>
                <c:pt idx="91">
                  <c:v>0.049773755656108594</c:v>
                </c:pt>
                <c:pt idx="92">
                  <c:v>0.10652920962199312</c:v>
                </c:pt>
                <c:pt idx="93">
                  <c:v>0.06542056074766354</c:v>
                </c:pt>
                <c:pt idx="94">
                  <c:v>0.05128205128205128</c:v>
                </c:pt>
                <c:pt idx="95">
                  <c:v>0.0702247191011236</c:v>
                </c:pt>
                <c:pt idx="96">
                  <c:v>0.07079646017699115</c:v>
                </c:pt>
                <c:pt idx="97">
                  <c:v>0.0664451827242525</c:v>
                </c:pt>
                <c:pt idx="98">
                  <c:v>0.0811554332874828</c:v>
                </c:pt>
                <c:pt idx="99">
                  <c:v>0.09385863267670916</c:v>
                </c:pt>
                <c:pt idx="100">
                  <c:v>0.11174089068825911</c:v>
                </c:pt>
                <c:pt idx="101">
                  <c:v>0.10925644916540213</c:v>
                </c:pt>
                <c:pt idx="102">
                  <c:v>0.07017543859649122</c:v>
                </c:pt>
                <c:pt idx="103">
                  <c:v>0.08666666666666667</c:v>
                </c:pt>
                <c:pt idx="104">
                  <c:v>0.104972375690607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3.7632</c:v>
                </c:pt>
                <c:pt idx="1">
                  <c:v>682.6216</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numCache>
            </c:numRef>
          </c:xVal>
          <c:yVal>
            <c:numRef>
              <c:f>Sheet1!$B$109:$B$160</c:f>
              <c:numCache>
                <c:formatCode>General</c:formatCode>
                <c:ptCount val="52"/>
                <c:pt idx="0">
                  <c:v>0.08558558558558559</c:v>
                </c:pt>
                <c:pt idx="1">
                  <c:v>0.08980582524271845</c:v>
                </c:pt>
                <c:pt idx="2">
                  <c:v>0.09699769053117784</c:v>
                </c:pt>
                <c:pt idx="3">
                  <c:v>0.10804020100502512</c:v>
                </c:pt>
                <c:pt idx="4">
                  <c:v>0.10687022900763359</c:v>
                </c:pt>
                <c:pt idx="5">
                  <c:v>0.08542713567839195</c:v>
                </c:pt>
                <c:pt idx="6">
                  <c:v>0.09598214285714286</c:v>
                </c:pt>
                <c:pt idx="7">
                  <c:v>0.09195402298850575</c:v>
                </c:pt>
                <c:pt idx="8">
                  <c:v>0.11392405063291139</c:v>
                </c:pt>
                <c:pt idx="9">
                  <c:v>0.12238805970149254</c:v>
                </c:pt>
                <c:pt idx="10">
                  <c:v>0.1239193083573487</c:v>
                </c:pt>
                <c:pt idx="11">
                  <c:v>0.12835249042145594</c:v>
                </c:pt>
                <c:pt idx="12">
                  <c:v>0.1479028697571744</c:v>
                </c:pt>
                <c:pt idx="13">
                  <c:v>0.12051282051282051</c:v>
                </c:pt>
                <c:pt idx="14">
                  <c:v>0.14080459770114942</c:v>
                </c:pt>
                <c:pt idx="15">
                  <c:v>0.13580246913580246</c:v>
                </c:pt>
                <c:pt idx="16">
                  <c:v>0.11805555555555555</c:v>
                </c:pt>
                <c:pt idx="17">
                  <c:v>0.08695652173913043</c:v>
                </c:pt>
                <c:pt idx="18">
                  <c:v>0.13574660633484162</c:v>
                </c:pt>
                <c:pt idx="19">
                  <c:v>0.13877551020408163</c:v>
                </c:pt>
                <c:pt idx="20">
                  <c:v>0.1267605633802817</c:v>
                </c:pt>
                <c:pt idx="21">
                  <c:v>0.072992700729927</c:v>
                </c:pt>
                <c:pt idx="22">
                  <c:v>0.07563025210084033</c:v>
                </c:pt>
                <c:pt idx="23">
                  <c:v>0.07692307692307693</c:v>
                </c:pt>
                <c:pt idx="24">
                  <c:v>0.07428571428571429</c:v>
                </c:pt>
                <c:pt idx="25">
                  <c:v>0.07692307692307693</c:v>
                </c:pt>
                <c:pt idx="26">
                  <c:v>0.044444444444444446</c:v>
                </c:pt>
                <c:pt idx="27">
                  <c:v>0.05714285714285714</c:v>
                </c:pt>
                <c:pt idx="28">
                  <c:v>0.09019607843137255</c:v>
                </c:pt>
                <c:pt idx="29">
                  <c:v>0.09230769230769231</c:v>
                </c:pt>
                <c:pt idx="30">
                  <c:v>0.07386363636363637</c:v>
                </c:pt>
                <c:pt idx="31">
                  <c:v>0.05945945945945946</c:v>
                </c:pt>
                <c:pt idx="32">
                  <c:v>0.07792207792207792</c:v>
                </c:pt>
                <c:pt idx="33">
                  <c:v>0.07763975155279502</c:v>
                </c:pt>
                <c:pt idx="34">
                  <c:v>0.11804008908685969</c:v>
                </c:pt>
                <c:pt idx="35">
                  <c:v>0.07954545454545454</c:v>
                </c:pt>
                <c:pt idx="36">
                  <c:v>0.08284023668639054</c:v>
                </c:pt>
                <c:pt idx="37">
                  <c:v>0.07329842931937172</c:v>
                </c:pt>
                <c:pt idx="38">
                  <c:v>0.09941520467836257</c:v>
                </c:pt>
                <c:pt idx="39">
                  <c:v>0.10638297872340426</c:v>
                </c:pt>
                <c:pt idx="40">
                  <c:v>0.08771929824561403</c:v>
                </c:pt>
                <c:pt idx="41">
                  <c:v>0.09205020920502092</c:v>
                </c:pt>
                <c:pt idx="42">
                  <c:v>0.08928571428571429</c:v>
                </c:pt>
                <c:pt idx="43">
                  <c:v>0.09253731343283582</c:v>
                </c:pt>
                <c:pt idx="44">
                  <c:v>0.08803611738148984</c:v>
                </c:pt>
                <c:pt idx="45">
                  <c:v>0.09142857142857143</c:v>
                </c:pt>
                <c:pt idx="46">
                  <c:v>0.075046904315197</c:v>
                </c:pt>
                <c:pt idx="47">
                  <c:v>0.09213051823416507</c:v>
                </c:pt>
                <c:pt idx="48">
                  <c:v>0.0704</c:v>
                </c:pt>
                <c:pt idx="49">
                  <c:v>0.08759124087591241</c:v>
                </c:pt>
                <c:pt idx="50">
                  <c:v>0.10114503816793893</c:v>
                </c:pt>
                <c:pt idx="51">
                  <c:v>0.1159420289855072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37.77376654146684</c:v>
                </c:pt>
              </c:numCache>
            </c:numRef>
          </c:xVal>
          <c:yVal>
            <c:numRef>
              <c:f>Sheet1!$B$163:$B$164</c:f>
              <c:numCache>
                <c:formatCode>General</c:formatCode>
                <c:ptCount val="2"/>
                <c:pt idx="0">
                  <c:v>0.18092812619669124</c:v>
                </c:pt>
                <c:pt idx="1">
                  <c:v>0.180928126196691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37.77376654146684</c:v>
                </c:pt>
                <c:pt idx="1">
                  <c:v>237.77376654146684</c:v>
                </c:pt>
              </c:numCache>
            </c:numRef>
          </c:xVal>
          <c:yVal>
            <c:numRef>
              <c:f>Sheet1!$B$167:$B$168</c:f>
              <c:numCache>
                <c:formatCode>General</c:formatCode>
                <c:ptCount val="2"/>
                <c:pt idx="0">
                  <c:v>0.180928126196691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55.771112532607</c:v>
                </c:pt>
              </c:numCache>
            </c:numRef>
          </c:xVal>
          <c:yVal>
            <c:numRef>
              <c:f>Sheet1!$B$171:$B$172</c:f>
              <c:numCache>
                <c:formatCode>General</c:formatCode>
                <c:ptCount val="2"/>
                <c:pt idx="0">
                  <c:v>0.12299769796392784</c:v>
                </c:pt>
                <c:pt idx="1">
                  <c:v>0.12299769796392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55.771112532607</c:v>
                </c:pt>
                <c:pt idx="1">
                  <c:v>555.771112532607</c:v>
                </c:pt>
              </c:numCache>
            </c:numRef>
          </c:xVal>
          <c:yVal>
            <c:numRef>
              <c:f>Sheet1!$B$175:$B$176</c:f>
              <c:numCache>
                <c:formatCode>General</c:formatCode>
                <c:ptCount val="2"/>
                <c:pt idx="0">
                  <c:v>0.12299769796392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28.5886088514071</c:v>
                </c:pt>
              </c:numCache>
            </c:numRef>
          </c:xVal>
          <c:yVal>
            <c:numRef>
              <c:f>Sheet1!$B$179:$B$180</c:f>
              <c:numCache>
                <c:formatCode>General</c:formatCode>
                <c:ptCount val="2"/>
                <c:pt idx="0">
                  <c:v>0.09151507179087472</c:v>
                </c:pt>
                <c:pt idx="1">
                  <c:v>0.091515071790874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28.5886088514071</c:v>
                </c:pt>
                <c:pt idx="1">
                  <c:v>728.5886088514071</c:v>
                </c:pt>
              </c:numCache>
            </c:numRef>
          </c:xVal>
          <c:yVal>
            <c:numRef>
              <c:f>Sheet1!$B$183:$B$184</c:f>
              <c:numCache>
                <c:formatCode>General</c:formatCode>
                <c:ptCount val="2"/>
                <c:pt idx="0">
                  <c:v>0.091515071790874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3.7632</c:v>
                </c:pt>
                <c:pt idx="1">
                  <c:v>682.6216</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pt idx="52">
                  <c:v>555.771112532607</c:v>
                </c:pt>
                <c:pt idx="53">
                  <c:v>237.77376654146684</c:v>
                </c:pt>
                <c:pt idx="54">
                  <c:v>728.5886088514071</c:v>
                </c:pt>
              </c:numCache>
            </c:numRef>
          </c:xVal>
          <c:yVal>
            <c:numRef>
              <c:f>Sheet1!$B$187:$B$241</c:f>
              <c:numCache>
                <c:formatCode>General</c:formatCode>
                <c:ptCount val="55"/>
                <c:pt idx="0">
                  <c:v>0.09785930979655699</c:v>
                </c:pt>
                <c:pt idx="1">
                  <c:v>0.09988900490984937</c:v>
                </c:pt>
                <c:pt idx="2">
                  <c:v>0.1017979377546523</c:v>
                </c:pt>
                <c:pt idx="3">
                  <c:v>0.0967146642065744</c:v>
                </c:pt>
                <c:pt idx="4">
                  <c:v>0.09345703415475015</c:v>
                </c:pt>
                <c:pt idx="5">
                  <c:v>0.09581762772102809</c:v>
                </c:pt>
                <c:pt idx="6">
                  <c:v>0.10824238733821966</c:v>
                </c:pt>
                <c:pt idx="7">
                  <c:v>0.10467041832987334</c:v>
                </c:pt>
                <c:pt idx="8">
                  <c:v>0.09273557569661381</c:v>
                </c:pt>
                <c:pt idx="9">
                  <c:v>0.10364569701405967</c:v>
                </c:pt>
                <c:pt idx="10">
                  <c:v>0.09711713830489033</c:v>
                </c:pt>
                <c:pt idx="11">
                  <c:v>0.1030040119717802</c:v>
                </c:pt>
                <c:pt idx="12">
                  <c:v>0.10392032232669773</c:v>
                </c:pt>
                <c:pt idx="13">
                  <c:v>0.10262243307967295</c:v>
                </c:pt>
                <c:pt idx="14">
                  <c:v>0.10074579945074442</c:v>
                </c:pt>
                <c:pt idx="15">
                  <c:v>0.10218418026732576</c:v>
                </c:pt>
                <c:pt idx="16">
                  <c:v>0.09366906493510135</c:v>
                </c:pt>
                <c:pt idx="17">
                  <c:v>0.09482688160972985</c:v>
                </c:pt>
                <c:pt idx="18">
                  <c:v>0.13712296894770143</c:v>
                </c:pt>
                <c:pt idx="19">
                  <c:v>0.11115228618157723</c:v>
                </c:pt>
                <c:pt idx="20">
                  <c:v>0.09604842228725108</c:v>
                </c:pt>
                <c:pt idx="21">
                  <c:v>0.11164307759436541</c:v>
                </c:pt>
                <c:pt idx="22">
                  <c:v>0.09949620418075471</c:v>
                </c:pt>
                <c:pt idx="23">
                  <c:v>0.10737194806371489</c:v>
                </c:pt>
                <c:pt idx="24">
                  <c:v>0.10794777768276474</c:v>
                </c:pt>
                <c:pt idx="25">
                  <c:v>0.1028749608464251</c:v>
                </c:pt>
                <c:pt idx="26">
                  <c:v>0.08196714828840171</c:v>
                </c:pt>
                <c:pt idx="27">
                  <c:v>0.09104541402126165</c:v>
                </c:pt>
                <c:pt idx="28">
                  <c:v>0.08869168836495811</c:v>
                </c:pt>
                <c:pt idx="29">
                  <c:v>0.09302907409873068</c:v>
                </c:pt>
                <c:pt idx="30">
                  <c:v>0.08685779244637448</c:v>
                </c:pt>
                <c:pt idx="31">
                  <c:v>0.08094035020405468</c:v>
                </c:pt>
                <c:pt idx="32">
                  <c:v>0.08151171659248455</c:v>
                </c:pt>
                <c:pt idx="33">
                  <c:v>0.08516610052052401</c:v>
                </c:pt>
                <c:pt idx="34">
                  <c:v>0.08412915541799193</c:v>
                </c:pt>
                <c:pt idx="35">
                  <c:v>0.08222740017671662</c:v>
                </c:pt>
                <c:pt idx="36">
                  <c:v>0.07958589634039695</c:v>
                </c:pt>
                <c:pt idx="37">
                  <c:v>0.08701593654846476</c:v>
                </c:pt>
                <c:pt idx="38">
                  <c:v>0.08740017516167617</c:v>
                </c:pt>
                <c:pt idx="39">
                  <c:v>0.09050740345024075</c:v>
                </c:pt>
                <c:pt idx="40">
                  <c:v>0.0932891802489029</c:v>
                </c:pt>
                <c:pt idx="41">
                  <c:v>0.089030474894917</c:v>
                </c:pt>
                <c:pt idx="42">
                  <c:v>0.09471012714016452</c:v>
                </c:pt>
                <c:pt idx="43">
                  <c:v>0.09275058672531125</c:v>
                </c:pt>
                <c:pt idx="44">
                  <c:v>0.0974051168748527</c:v>
                </c:pt>
                <c:pt idx="45">
                  <c:v>0.094872934862821</c:v>
                </c:pt>
                <c:pt idx="46">
                  <c:v>0.09529763402789768</c:v>
                </c:pt>
                <c:pt idx="47">
                  <c:v>0.09849552965848546</c:v>
                </c:pt>
                <c:pt idx="48">
                  <c:v>0.0989671747227773</c:v>
                </c:pt>
                <c:pt idx="49">
                  <c:v>0.09063250142847529</c:v>
                </c:pt>
                <c:pt idx="50">
                  <c:v>0.08658333108914695</c:v>
                </c:pt>
                <c:pt idx="51">
                  <c:v>0.09444344455630324</c:v>
                </c:pt>
                <c:pt idx="52">
                  <c:v>0.12299769796392786</c:v>
                </c:pt>
                <c:pt idx="53">
                  <c:v>0.18092812619669124</c:v>
                </c:pt>
                <c:pt idx="54">
                  <c:v>0.091515071790874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53.0"/>
          <c:min val="1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0880829015544"/>
          <c:min val="0.03350785340314136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04003539110655</c:v>
                </c:pt>
                <c:pt idx="1">
                  <c:v>0.3215835625896953</c:v>
                </c:pt>
                <c:pt idx="2">
                  <c:v>0.30544986275932984</c:v>
                </c:pt>
                <c:pt idx="3">
                  <c:v>0.31196200349966763</c:v>
                </c:pt>
                <c:pt idx="4">
                  <c:v>0.3211212536184484</c:v>
                </c:pt>
                <c:pt idx="5">
                  <c:v>0.3183071852243907</c:v>
                </c:pt>
                <c:pt idx="6">
                  <c:v>0.29746887209148226</c:v>
                </c:pt>
                <c:pt idx="7">
                  <c:v>0.2785351299326275</c:v>
                </c:pt>
                <c:pt idx="8">
                  <c:v>0.3177314756481706</c:v>
                </c:pt>
                <c:pt idx="9">
                  <c:v>0.30393766705630104</c:v>
                </c:pt>
                <c:pt idx="10">
                  <c:v>0.2961307743861573</c:v>
                </c:pt>
                <c:pt idx="11">
                  <c:v>0.31049523626215</c:v>
                </c:pt>
                <c:pt idx="12">
                  <c:v>0.31310509076776316</c:v>
                </c:pt>
                <c:pt idx="13">
                  <c:v>0.3019634140506189</c:v>
                </c:pt>
                <c:pt idx="14">
                  <c:v>0.3089356483355501</c:v>
                </c:pt>
                <c:pt idx="15">
                  <c:v>0.31351490362012224</c:v>
                </c:pt>
                <c:pt idx="16">
                  <c:v>0.33475606123500795</c:v>
                </c:pt>
                <c:pt idx="17">
                  <c:v>0.3262586377097729</c:v>
                </c:pt>
                <c:pt idx="18">
                  <c:v>0.30607596307552287</c:v>
                </c:pt>
                <c:pt idx="19">
                  <c:v>0.31265570416343286</c:v>
                </c:pt>
                <c:pt idx="20">
                  <c:v>0.3275517822657011</c:v>
                </c:pt>
                <c:pt idx="21">
                  <c:v>0.2686320621686995</c:v>
                </c:pt>
                <c:pt idx="22">
                  <c:v>0.2683852372893587</c:v>
                </c:pt>
                <c:pt idx="23">
                  <c:v>0.2913291100394564</c:v>
                </c:pt>
                <c:pt idx="24">
                  <c:v>0.3057696738559464</c:v>
                </c:pt>
                <c:pt idx="25">
                  <c:v>0.2739249640647023</c:v>
                </c:pt>
                <c:pt idx="26">
                  <c:v>0.2737647881890405</c:v>
                </c:pt>
                <c:pt idx="27">
                  <c:v>0.2974511088369622</c:v>
                </c:pt>
                <c:pt idx="28">
                  <c:v>0.30933143127751717</c:v>
                </c:pt>
                <c:pt idx="29">
                  <c:v>0.32296324265714194</c:v>
                </c:pt>
                <c:pt idx="30">
                  <c:v>0.30944486384372133</c:v>
                </c:pt>
                <c:pt idx="31">
                  <c:v>0.2695101944713099</c:v>
                </c:pt>
                <c:pt idx="32">
                  <c:v>0.2880577964942102</c:v>
                </c:pt>
                <c:pt idx="33">
                  <c:v>0.3170774500357443</c:v>
                </c:pt>
                <c:pt idx="34">
                  <c:v>0.31738089833402766</c:v>
                </c:pt>
                <c:pt idx="35">
                  <c:v>0.3045025018882175</c:v>
                </c:pt>
                <c:pt idx="36">
                  <c:v>0.2942105675632064</c:v>
                </c:pt>
                <c:pt idx="37">
                  <c:v>0.28320518862412497</c:v>
                </c:pt>
                <c:pt idx="38">
                  <c:v>0.3010188320203571</c:v>
                </c:pt>
                <c:pt idx="39">
                  <c:v>0.2958031626573489</c:v>
                </c:pt>
                <c:pt idx="40">
                  <c:v>0.29986077738515904</c:v>
                </c:pt>
                <c:pt idx="41">
                  <c:v>0.3213835855112334</c:v>
                </c:pt>
                <c:pt idx="42">
                  <c:v>0.3027226524685382</c:v>
                </c:pt>
                <c:pt idx="43">
                  <c:v>0.2868244025463866</c:v>
                </c:pt>
                <c:pt idx="44">
                  <c:v>0.3111666666666667</c:v>
                </c:pt>
                <c:pt idx="45">
                  <c:v>0.31913846207336755</c:v>
                </c:pt>
                <c:pt idx="46">
                  <c:v>0.2892936993515313</c:v>
                </c:pt>
                <c:pt idx="47">
                  <c:v>0.3001131706518621</c:v>
                </c:pt>
                <c:pt idx="48">
                  <c:v>0.2933269950859577</c:v>
                </c:pt>
                <c:pt idx="49">
                  <c:v>0.2949583417069283</c:v>
                </c:pt>
                <c:pt idx="50">
                  <c:v>0.2986588293380953</c:v>
                </c:pt>
                <c:pt idx="51">
                  <c:v>0.2958034051390833</c:v>
                </c:pt>
                <c:pt idx="52">
                  <c:v>0.31233175555347265</c:v>
                </c:pt>
                <c:pt idx="53">
                  <c:v>0.3092145751290528</c:v>
                </c:pt>
                <c:pt idx="54">
                  <c:v>0.3175875794693961</c:v>
                </c:pt>
                <c:pt idx="55">
                  <c:v>0.28512876505913815</c:v>
                </c:pt>
                <c:pt idx="56">
                  <c:v>0.2959037982085462</c:v>
                </c:pt>
                <c:pt idx="57">
                  <c:v>0.276907259447247</c:v>
                </c:pt>
                <c:pt idx="58">
                  <c:v>0.27404875580295257</c:v>
                </c:pt>
                <c:pt idx="59">
                  <c:v>0.2713017900338655</c:v>
                </c:pt>
                <c:pt idx="60">
                  <c:v>0.2830439822458902</c:v>
                </c:pt>
                <c:pt idx="61">
                  <c:v>0.28165463328941587</c:v>
                </c:pt>
                <c:pt idx="62">
                  <c:v>0.31630437770084</c:v>
                </c:pt>
                <c:pt idx="63">
                  <c:v>0.3086093808090841</c:v>
                </c:pt>
                <c:pt idx="64">
                  <c:v>0.27435373992591044</c:v>
                </c:pt>
                <c:pt idx="65">
                  <c:v>0.24836798551502529</c:v>
                </c:pt>
                <c:pt idx="66">
                  <c:v>0.26702375427559777</c:v>
                </c:pt>
                <c:pt idx="67">
                  <c:v>0.26747910442329254</c:v>
                </c:pt>
                <c:pt idx="68">
                  <c:v>0.2454974090534335</c:v>
                </c:pt>
                <c:pt idx="69">
                  <c:v>0.23539561252156768</c:v>
                </c:pt>
                <c:pt idx="70">
                  <c:v>0.24117965015531156</c:v>
                </c:pt>
                <c:pt idx="71">
                  <c:v>0.24654287262501995</c:v>
                </c:pt>
                <c:pt idx="72">
                  <c:v>0.3027518755445986</c:v>
                </c:pt>
                <c:pt idx="73">
                  <c:v>0.30152181659335364</c:v>
                </c:pt>
                <c:pt idx="74">
                  <c:v>0.29355656222474963</c:v>
                </c:pt>
                <c:pt idx="75">
                  <c:v>0.29079656676715043</c:v>
                </c:pt>
                <c:pt idx="76">
                  <c:v>0.2812440089466397</c:v>
                </c:pt>
                <c:pt idx="77">
                  <c:v>0.2606099372319768</c:v>
                </c:pt>
                <c:pt idx="78">
                  <c:v>0.2567192197542297</c:v>
                </c:pt>
                <c:pt idx="79">
                  <c:v>0.1791398870771991</c:v>
                </c:pt>
                <c:pt idx="80">
                  <c:v>0.2887349073887194</c:v>
                </c:pt>
                <c:pt idx="81">
                  <c:v>0.314904999352366</c:v>
                </c:pt>
                <c:pt idx="82">
                  <c:v>0.2658210438760657</c:v>
                </c:pt>
                <c:pt idx="83">
                  <c:v>0.2201195234375162</c:v>
                </c:pt>
                <c:pt idx="84">
                  <c:v>0.27675702858532925</c:v>
                </c:pt>
                <c:pt idx="85">
                  <c:v>0.30640670913989754</c:v>
                </c:pt>
                <c:pt idx="86">
                  <c:v>0.27042676324653375</c:v>
                </c:pt>
                <c:pt idx="87">
                  <c:v>0.2805102941889059</c:v>
                </c:pt>
                <c:pt idx="88">
                  <c:v>0.29237567366573686</c:v>
                </c:pt>
                <c:pt idx="89">
                  <c:v>0.25540438869736776</c:v>
                </c:pt>
                <c:pt idx="90">
                  <c:v>0.26873065298856047</c:v>
                </c:pt>
                <c:pt idx="91">
                  <c:v>0.28456648766397374</c:v>
                </c:pt>
                <c:pt idx="92">
                  <c:v>0.22470855221497782</c:v>
                </c:pt>
                <c:pt idx="93">
                  <c:v>0.24296436299955393</c:v>
                </c:pt>
                <c:pt idx="94">
                  <c:v>0.2744602300761791</c:v>
                </c:pt>
                <c:pt idx="95">
                  <c:v>0.25203300149404834</c:v>
                </c:pt>
                <c:pt idx="96">
                  <c:v>0.19551542811786882</c:v>
                </c:pt>
                <c:pt idx="97">
                  <c:v>0.2598243464052287</c:v>
                </c:pt>
                <c:pt idx="98">
                  <c:v>0.27036947074871825</c:v>
                </c:pt>
                <c:pt idx="99">
                  <c:v>0.2757757926277862</c:v>
                </c:pt>
                <c:pt idx="100">
                  <c:v>0.27909509319377684</c:v>
                </c:pt>
                <c:pt idx="101">
                  <c:v>0.28982494428758465</c:v>
                </c:pt>
                <c:pt idx="102">
                  <c:v>0.30060588204284083</c:v>
                </c:pt>
                <c:pt idx="103">
                  <c:v>0.2909234403601204</c:v>
                </c:pt>
                <c:pt idx="104">
                  <c:v>0.2923403751279433</c:v>
                </c:pt>
              </c:numCache>
            </c:numRef>
          </c:xVal>
          <c:yVal>
            <c:numRef>
              <c:f>Sheet1!$B$2:$B$106</c:f>
              <c:numCache>
                <c:formatCode>General</c:formatCode>
                <c:ptCount val="105"/>
                <c:pt idx="0">
                  <c:v>0.11083743842364532</c:v>
                </c:pt>
                <c:pt idx="1">
                  <c:v>0.17537313432835822</c:v>
                </c:pt>
                <c:pt idx="2">
                  <c:v>0.19122257053291536</c:v>
                </c:pt>
                <c:pt idx="3">
                  <c:v>0.1484375</c:v>
                </c:pt>
                <c:pt idx="4">
                  <c:v>0.18128654970760233</c:v>
                </c:pt>
                <c:pt idx="5">
                  <c:v>0.2059800664451827</c:v>
                </c:pt>
                <c:pt idx="6">
                  <c:v>0.23376623376623376</c:v>
                </c:pt>
                <c:pt idx="7">
                  <c:v>0.2140077821011673</c:v>
                </c:pt>
                <c:pt idx="8">
                  <c:v>0.16744186046511628</c:v>
                </c:pt>
                <c:pt idx="9">
                  <c:v>0.15846994535519127</c:v>
                </c:pt>
                <c:pt idx="10">
                  <c:v>0.20056497175141244</c:v>
                </c:pt>
                <c:pt idx="11">
                  <c:v>0.16905444126074498</c:v>
                </c:pt>
                <c:pt idx="12">
                  <c:v>0.2077922077922078</c:v>
                </c:pt>
                <c:pt idx="13">
                  <c:v>0.25906735751295334</c:v>
                </c:pt>
                <c:pt idx="14">
                  <c:v>0.19555555555555557</c:v>
                </c:pt>
                <c:pt idx="15">
                  <c:v>0.14508928571428573</c:v>
                </c:pt>
                <c:pt idx="16">
                  <c:v>0.15424164524421594</c:v>
                </c:pt>
                <c:pt idx="17">
                  <c:v>0.11396011396011396</c:v>
                </c:pt>
                <c:pt idx="18">
                  <c:v>0.10423452768729642</c:v>
                </c:pt>
                <c:pt idx="19">
                  <c:v>0.12017167381974249</c:v>
                </c:pt>
                <c:pt idx="20">
                  <c:v>0.16149068322981366</c:v>
                </c:pt>
                <c:pt idx="21">
                  <c:v>0.10919540229885058</c:v>
                </c:pt>
                <c:pt idx="22">
                  <c:v>0.14358974358974358</c:v>
                </c:pt>
                <c:pt idx="23">
                  <c:v>0.11734693877551021</c:v>
                </c:pt>
                <c:pt idx="24">
                  <c:v>0.12562814070351758</c:v>
                </c:pt>
                <c:pt idx="25">
                  <c:v>0.15723270440251572</c:v>
                </c:pt>
                <c:pt idx="26">
                  <c:v>0.13023255813953488</c:v>
                </c:pt>
                <c:pt idx="27">
                  <c:v>0.1091703056768559</c:v>
                </c:pt>
                <c:pt idx="28">
                  <c:v>0.11842105263157894</c:v>
                </c:pt>
                <c:pt idx="29">
                  <c:v>0.13286713286713286</c:v>
                </c:pt>
                <c:pt idx="30">
                  <c:v>0.13425925925925927</c:v>
                </c:pt>
                <c:pt idx="31">
                  <c:v>0.10743801652892562</c:v>
                </c:pt>
                <c:pt idx="32">
                  <c:v>0.12962962962962962</c:v>
                </c:pt>
                <c:pt idx="33">
                  <c:v>0.12203389830508475</c:v>
                </c:pt>
                <c:pt idx="34">
                  <c:v>0.12751677852348994</c:v>
                </c:pt>
                <c:pt idx="35">
                  <c:v>0.16135084427767354</c:v>
                </c:pt>
                <c:pt idx="36">
                  <c:v>0.1174934725848564</c:v>
                </c:pt>
                <c:pt idx="37">
                  <c:v>0.1056338028169014</c:v>
                </c:pt>
                <c:pt idx="38">
                  <c:v>0.11188811188811189</c:v>
                </c:pt>
                <c:pt idx="39">
                  <c:v>0.10894941634241245</c:v>
                </c:pt>
                <c:pt idx="40">
                  <c:v>0.11924119241192412</c:v>
                </c:pt>
                <c:pt idx="41">
                  <c:v>0.10437710437710437</c:v>
                </c:pt>
                <c:pt idx="42">
                  <c:v>0.11080332409972299</c:v>
                </c:pt>
                <c:pt idx="43">
                  <c:v>0.12926829268292683</c:v>
                </c:pt>
                <c:pt idx="44">
                  <c:v>0.09302325581395349</c:v>
                </c:pt>
                <c:pt idx="45">
                  <c:v>0.10224089635854341</c:v>
                </c:pt>
                <c:pt idx="46">
                  <c:v>0.14359637774902975</c:v>
                </c:pt>
                <c:pt idx="47">
                  <c:v>0.138763197586727</c:v>
                </c:pt>
                <c:pt idx="48">
                  <c:v>0.14842903575297942</c:v>
                </c:pt>
                <c:pt idx="49">
                  <c:v>0.18995492594977462</c:v>
                </c:pt>
                <c:pt idx="50">
                  <c:v>0.1690885072655218</c:v>
                </c:pt>
                <c:pt idx="51">
                  <c:v>0.13626373626373625</c:v>
                </c:pt>
                <c:pt idx="52">
                  <c:v>0.147008547008547</c:v>
                </c:pt>
                <c:pt idx="53">
                  <c:v>0.14383561643835616</c:v>
                </c:pt>
                <c:pt idx="54">
                  <c:v>0.1226158038147139</c:v>
                </c:pt>
                <c:pt idx="55">
                  <c:v>0.11702127659574468</c:v>
                </c:pt>
                <c:pt idx="56">
                  <c:v>0.125</c:v>
                </c:pt>
                <c:pt idx="57">
                  <c:v>0.1320754716981132</c:v>
                </c:pt>
                <c:pt idx="58">
                  <c:v>0.13225058004640372</c:v>
                </c:pt>
                <c:pt idx="59">
                  <c:v>0.12292358803986711</c:v>
                </c:pt>
                <c:pt idx="60">
                  <c:v>0.12909441233140656</c:v>
                </c:pt>
                <c:pt idx="61">
                  <c:v>0.1457286432160804</c:v>
                </c:pt>
                <c:pt idx="62">
                  <c:v>0.13846153846153847</c:v>
                </c:pt>
                <c:pt idx="63">
                  <c:v>0.15734989648033126</c:v>
                </c:pt>
                <c:pt idx="64">
                  <c:v>0.12187958883994127</c:v>
                </c:pt>
                <c:pt idx="65">
                  <c:v>0.10703363914373089</c:v>
                </c:pt>
                <c:pt idx="66">
                  <c:v>0.13564668769716087</c:v>
                </c:pt>
                <c:pt idx="67">
                  <c:v>0.11148086522462562</c:v>
                </c:pt>
                <c:pt idx="68">
                  <c:v>0.1016597510373444</c:v>
                </c:pt>
                <c:pt idx="69">
                  <c:v>0.08791208791208792</c:v>
                </c:pt>
                <c:pt idx="70">
                  <c:v>0.07103825136612021</c:v>
                </c:pt>
                <c:pt idx="71">
                  <c:v>0.09454545454545454</c:v>
                </c:pt>
                <c:pt idx="72">
                  <c:v>0.08873720136518772</c:v>
                </c:pt>
                <c:pt idx="73">
                  <c:v>0.06159420289855073</c:v>
                </c:pt>
                <c:pt idx="74">
                  <c:v>0.07796610169491526</c:v>
                </c:pt>
                <c:pt idx="75">
                  <c:v>0.0811965811965812</c:v>
                </c:pt>
                <c:pt idx="76">
                  <c:v>0.0966183574879227</c:v>
                </c:pt>
                <c:pt idx="77">
                  <c:v>0.09090909090909091</c:v>
                </c:pt>
                <c:pt idx="78">
                  <c:v>0.09042553191489362</c:v>
                </c:pt>
                <c:pt idx="79">
                  <c:v>0.10040160642570281</c:v>
                </c:pt>
                <c:pt idx="80">
                  <c:v>0.06584362139917696</c:v>
                </c:pt>
                <c:pt idx="81">
                  <c:v>0.057432432432432436</c:v>
                </c:pt>
                <c:pt idx="82">
                  <c:v>0.05063291139240506</c:v>
                </c:pt>
                <c:pt idx="83">
                  <c:v>0.058823529411764705</c:v>
                </c:pt>
                <c:pt idx="84">
                  <c:v>0.041884816753926704</c:v>
                </c:pt>
                <c:pt idx="85">
                  <c:v>0.05555555555555555</c:v>
                </c:pt>
                <c:pt idx="86">
                  <c:v>0.06976744186046512</c:v>
                </c:pt>
                <c:pt idx="87">
                  <c:v>0.08587257617728532</c:v>
                </c:pt>
                <c:pt idx="88">
                  <c:v>0.06938775510204082</c:v>
                </c:pt>
                <c:pt idx="89">
                  <c:v>0.055865921787709494</c:v>
                </c:pt>
                <c:pt idx="90">
                  <c:v>0.05263157894736842</c:v>
                </c:pt>
                <c:pt idx="91">
                  <c:v>0.049773755656108594</c:v>
                </c:pt>
                <c:pt idx="92">
                  <c:v>0.10652920962199312</c:v>
                </c:pt>
                <c:pt idx="93">
                  <c:v>0.06542056074766354</c:v>
                </c:pt>
                <c:pt idx="94">
                  <c:v>0.05128205128205128</c:v>
                </c:pt>
                <c:pt idx="95">
                  <c:v>0.0702247191011236</c:v>
                </c:pt>
                <c:pt idx="96">
                  <c:v>0.07079646017699115</c:v>
                </c:pt>
                <c:pt idx="97">
                  <c:v>0.0664451827242525</c:v>
                </c:pt>
                <c:pt idx="98">
                  <c:v>0.0811554332874828</c:v>
                </c:pt>
                <c:pt idx="99">
                  <c:v>0.09385863267670916</c:v>
                </c:pt>
                <c:pt idx="100">
                  <c:v>0.11174089068825911</c:v>
                </c:pt>
                <c:pt idx="101">
                  <c:v>0.10925644916540213</c:v>
                </c:pt>
                <c:pt idx="102">
                  <c:v>0.07017543859649122</c:v>
                </c:pt>
                <c:pt idx="103">
                  <c:v>0.08666666666666667</c:v>
                </c:pt>
                <c:pt idx="104">
                  <c:v>0.104972375690607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8813913547361153</c:v>
                </c:pt>
                <c:pt idx="1">
                  <c:v>0.3076419011956327</c:v>
                </c:pt>
                <c:pt idx="2">
                  <c:v>0.2906021267034333</c:v>
                </c:pt>
                <c:pt idx="3">
                  <c:v>0.29089959461263143</c:v>
                </c:pt>
                <c:pt idx="4">
                  <c:v>0.2743850945920122</c:v>
                </c:pt>
                <c:pt idx="5">
                  <c:v>0.30092256461429057</c:v>
                </c:pt>
                <c:pt idx="6">
                  <c:v>0.2729507243852122</c:v>
                </c:pt>
                <c:pt idx="7">
                  <c:v>0.2673353019040831</c:v>
                </c:pt>
                <c:pt idx="8">
                  <c:v>0.34660650021776673</c:v>
                </c:pt>
                <c:pt idx="9">
                  <c:v>0.29264750550493385</c:v>
                </c:pt>
                <c:pt idx="10">
                  <c:v>0.27845068212191737</c:v>
                </c:pt>
                <c:pt idx="11">
                  <c:v>0.2735960534429599</c:v>
                </c:pt>
                <c:pt idx="12">
                  <c:v>0.27425163539705777</c:v>
                </c:pt>
                <c:pt idx="13">
                  <c:v>0.27232425895811213</c:v>
                </c:pt>
                <c:pt idx="14">
                  <c:v>0.27887511111096486</c:v>
                </c:pt>
                <c:pt idx="15">
                  <c:v>0.2601787406222333</c:v>
                </c:pt>
                <c:pt idx="16">
                  <c:v>0.29229931978337464</c:v>
                </c:pt>
                <c:pt idx="17">
                  <c:v>0.3071858161533737</c:v>
                </c:pt>
                <c:pt idx="18">
                  <c:v>0.18257534717251253</c:v>
                </c:pt>
                <c:pt idx="19">
                  <c:v>0.2509103772191259</c:v>
                </c:pt>
                <c:pt idx="20">
                  <c:v>0.2883900245361779</c:v>
                </c:pt>
                <c:pt idx="21">
                  <c:v>0.2389177031910801</c:v>
                </c:pt>
                <c:pt idx="22">
                  <c:v>0.264077823110636</c:v>
                </c:pt>
                <c:pt idx="23">
                  <c:v>0.2734441248356308</c:v>
                </c:pt>
                <c:pt idx="24">
                  <c:v>0.27338434689541974</c:v>
                </c:pt>
                <c:pt idx="25">
                  <c:v>0.2908488267638749</c:v>
                </c:pt>
                <c:pt idx="26">
                  <c:v>0.3215403238944437</c:v>
                </c:pt>
                <c:pt idx="27">
                  <c:v>0.2786146186892696</c:v>
                </c:pt>
                <c:pt idx="28">
                  <c:v>0.3182342425428665</c:v>
                </c:pt>
                <c:pt idx="29">
                  <c:v>0.28561784756149666</c:v>
                </c:pt>
                <c:pt idx="30">
                  <c:v>0.2958626127893292</c:v>
                </c:pt>
                <c:pt idx="31">
                  <c:v>0.3178756961493036</c:v>
                </c:pt>
                <c:pt idx="32">
                  <c:v>0.32900123874110315</c:v>
                </c:pt>
                <c:pt idx="33">
                  <c:v>0.30938563786675316</c:v>
                </c:pt>
                <c:pt idx="34">
                  <c:v>0.3077831923376188</c:v>
                </c:pt>
                <c:pt idx="35">
                  <c:v>0.2920638077181555</c:v>
                </c:pt>
                <c:pt idx="36">
                  <c:v>0.30589444893871104</c:v>
                </c:pt>
                <c:pt idx="37">
                  <c:v>0.29152728910543424</c:v>
                </c:pt>
                <c:pt idx="38">
                  <c:v>0.3002454159380465</c:v>
                </c:pt>
                <c:pt idx="39">
                  <c:v>0.28705716743567683</c:v>
                </c:pt>
                <c:pt idx="40">
                  <c:v>0.28581368534054313</c:v>
                </c:pt>
                <c:pt idx="41">
                  <c:v>0.2816140345019519</c:v>
                </c:pt>
                <c:pt idx="42">
                  <c:v>0.2803359426398085</c:v>
                </c:pt>
                <c:pt idx="43">
                  <c:v>0.29262578315611215</c:v>
                </c:pt>
                <c:pt idx="44">
                  <c:v>0.26563150242772565</c:v>
                </c:pt>
                <c:pt idx="45">
                  <c:v>0.29001507950687866</c:v>
                </c:pt>
                <c:pt idx="46">
                  <c:v>0.3009962846259479</c:v>
                </c:pt>
                <c:pt idx="47">
                  <c:v>0.27099300189758085</c:v>
                </c:pt>
                <c:pt idx="48">
                  <c:v>0.25107836576043124</c:v>
                </c:pt>
                <c:pt idx="49">
                  <c:v>0.28064333818014847</c:v>
                </c:pt>
                <c:pt idx="50">
                  <c:v>0.3079928265742816</c:v>
                </c:pt>
                <c:pt idx="51">
                  <c:v>0.2860529485923298</c:v>
                </c:pt>
              </c:numCache>
            </c:numRef>
          </c:xVal>
          <c:yVal>
            <c:numRef>
              <c:f>Sheet1!$B$109:$B$160</c:f>
              <c:numCache>
                <c:formatCode>General</c:formatCode>
                <c:ptCount val="52"/>
                <c:pt idx="0">
                  <c:v>0.08558558558558559</c:v>
                </c:pt>
                <c:pt idx="1">
                  <c:v>0.08980582524271845</c:v>
                </c:pt>
                <c:pt idx="2">
                  <c:v>0.09699769053117784</c:v>
                </c:pt>
                <c:pt idx="3">
                  <c:v>0.10804020100502512</c:v>
                </c:pt>
                <c:pt idx="4">
                  <c:v>0.10687022900763359</c:v>
                </c:pt>
                <c:pt idx="5">
                  <c:v>0.08542713567839195</c:v>
                </c:pt>
                <c:pt idx="6">
                  <c:v>0.09598214285714286</c:v>
                </c:pt>
                <c:pt idx="7">
                  <c:v>0.09195402298850575</c:v>
                </c:pt>
                <c:pt idx="8">
                  <c:v>0.11392405063291139</c:v>
                </c:pt>
                <c:pt idx="9">
                  <c:v>0.12238805970149254</c:v>
                </c:pt>
                <c:pt idx="10">
                  <c:v>0.1239193083573487</c:v>
                </c:pt>
                <c:pt idx="11">
                  <c:v>0.12835249042145594</c:v>
                </c:pt>
                <c:pt idx="12">
                  <c:v>0.1479028697571744</c:v>
                </c:pt>
                <c:pt idx="13">
                  <c:v>0.12051282051282051</c:v>
                </c:pt>
                <c:pt idx="14">
                  <c:v>0.14080459770114942</c:v>
                </c:pt>
                <c:pt idx="15">
                  <c:v>0.13580246913580246</c:v>
                </c:pt>
                <c:pt idx="16">
                  <c:v>0.11805555555555555</c:v>
                </c:pt>
                <c:pt idx="17">
                  <c:v>0.08695652173913043</c:v>
                </c:pt>
                <c:pt idx="18">
                  <c:v>0.13574660633484162</c:v>
                </c:pt>
                <c:pt idx="19">
                  <c:v>0.13877551020408163</c:v>
                </c:pt>
                <c:pt idx="20">
                  <c:v>0.1267605633802817</c:v>
                </c:pt>
                <c:pt idx="21">
                  <c:v>0.072992700729927</c:v>
                </c:pt>
                <c:pt idx="22">
                  <c:v>0.07563025210084033</c:v>
                </c:pt>
                <c:pt idx="23">
                  <c:v>0.07692307692307693</c:v>
                </c:pt>
                <c:pt idx="24">
                  <c:v>0.07428571428571429</c:v>
                </c:pt>
                <c:pt idx="25">
                  <c:v>0.07692307692307693</c:v>
                </c:pt>
                <c:pt idx="26">
                  <c:v>0.044444444444444446</c:v>
                </c:pt>
                <c:pt idx="27">
                  <c:v>0.05714285714285714</c:v>
                </c:pt>
                <c:pt idx="28">
                  <c:v>0.09019607843137255</c:v>
                </c:pt>
                <c:pt idx="29">
                  <c:v>0.09230769230769231</c:v>
                </c:pt>
                <c:pt idx="30">
                  <c:v>0.07386363636363637</c:v>
                </c:pt>
                <c:pt idx="31">
                  <c:v>0.05945945945945946</c:v>
                </c:pt>
                <c:pt idx="32">
                  <c:v>0.07792207792207792</c:v>
                </c:pt>
                <c:pt idx="33">
                  <c:v>0.07763975155279502</c:v>
                </c:pt>
                <c:pt idx="34">
                  <c:v>0.11804008908685969</c:v>
                </c:pt>
                <c:pt idx="35">
                  <c:v>0.07954545454545454</c:v>
                </c:pt>
                <c:pt idx="36">
                  <c:v>0.08284023668639054</c:v>
                </c:pt>
                <c:pt idx="37">
                  <c:v>0.07329842931937172</c:v>
                </c:pt>
                <c:pt idx="38">
                  <c:v>0.09941520467836257</c:v>
                </c:pt>
                <c:pt idx="39">
                  <c:v>0.10638297872340426</c:v>
                </c:pt>
                <c:pt idx="40">
                  <c:v>0.08771929824561403</c:v>
                </c:pt>
                <c:pt idx="41">
                  <c:v>0.09205020920502092</c:v>
                </c:pt>
                <c:pt idx="42">
                  <c:v>0.08928571428571429</c:v>
                </c:pt>
                <c:pt idx="43">
                  <c:v>0.09253731343283582</c:v>
                </c:pt>
                <c:pt idx="44">
                  <c:v>0.08803611738148984</c:v>
                </c:pt>
                <c:pt idx="45">
                  <c:v>0.09142857142857143</c:v>
                </c:pt>
                <c:pt idx="46">
                  <c:v>0.075046904315197</c:v>
                </c:pt>
                <c:pt idx="47">
                  <c:v>0.09213051823416507</c:v>
                </c:pt>
                <c:pt idx="48">
                  <c:v>0.0704</c:v>
                </c:pt>
                <c:pt idx="49">
                  <c:v>0.08759124087591241</c:v>
                </c:pt>
                <c:pt idx="50">
                  <c:v>0.10114503816793893</c:v>
                </c:pt>
                <c:pt idx="51">
                  <c:v>0.1159420289855072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5798551745584866</c:v>
                </c:pt>
              </c:numCache>
            </c:numRef>
          </c:xVal>
          <c:yVal>
            <c:numRef>
              <c:f>Sheet1!$B$163:$B$164</c:f>
              <c:numCache>
                <c:formatCode>General</c:formatCode>
                <c:ptCount val="2"/>
                <c:pt idx="0">
                  <c:v>0.18092812619669124</c:v>
                </c:pt>
                <c:pt idx="1">
                  <c:v>0.180928126196691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5798551745584866</c:v>
                </c:pt>
                <c:pt idx="1">
                  <c:v>-0.015798551745584866</c:v>
                </c:pt>
              </c:numCache>
            </c:numRef>
          </c:xVal>
          <c:yVal>
            <c:numRef>
              <c:f>Sheet1!$B$167:$B$168</c:f>
              <c:numCache>
                <c:formatCode>General</c:formatCode>
                <c:ptCount val="2"/>
                <c:pt idx="0">
                  <c:v>0.180928126196691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00400314508337</c:v>
                </c:pt>
              </c:numCache>
            </c:numRef>
          </c:xVal>
          <c:yVal>
            <c:numRef>
              <c:f>Sheet1!$B$171:$B$172</c:f>
              <c:numCache>
                <c:formatCode>General</c:formatCode>
                <c:ptCount val="2"/>
                <c:pt idx="0">
                  <c:v>0.12299769796392784</c:v>
                </c:pt>
                <c:pt idx="1">
                  <c:v>0.12299769796392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00400314508337</c:v>
                </c:pt>
                <c:pt idx="1">
                  <c:v>0.1900400314508337</c:v>
                </c:pt>
              </c:numCache>
            </c:numRef>
          </c:xVal>
          <c:yVal>
            <c:numRef>
              <c:f>Sheet1!$B$175:$B$176</c:f>
              <c:numCache>
                <c:formatCode>General</c:formatCode>
                <c:ptCount val="2"/>
                <c:pt idx="0">
                  <c:v>0.12299769796392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190419963419074</c:v>
                </c:pt>
              </c:numCache>
            </c:numRef>
          </c:xVal>
          <c:yVal>
            <c:numRef>
              <c:f>Sheet1!$B$179:$B$180</c:f>
              <c:numCache>
                <c:formatCode>General</c:formatCode>
                <c:ptCount val="2"/>
                <c:pt idx="0">
                  <c:v>0.09151507179087472</c:v>
                </c:pt>
                <c:pt idx="1">
                  <c:v>0.091515071790874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190419963419074</c:v>
                </c:pt>
                <c:pt idx="1">
                  <c:v>0.30190419963419074</c:v>
                </c:pt>
              </c:numCache>
            </c:numRef>
          </c:xVal>
          <c:yVal>
            <c:numRef>
              <c:f>Sheet1!$B$183:$B$184</c:f>
              <c:numCache>
                <c:formatCode>General</c:formatCode>
                <c:ptCount val="2"/>
                <c:pt idx="0">
                  <c:v>0.091515071790874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8813913547361153</c:v>
                </c:pt>
                <c:pt idx="1">
                  <c:v>0.3076419011956327</c:v>
                </c:pt>
                <c:pt idx="2">
                  <c:v>0.2906021267034333</c:v>
                </c:pt>
                <c:pt idx="3">
                  <c:v>0.29089959461263143</c:v>
                </c:pt>
                <c:pt idx="4">
                  <c:v>0.2743850945920122</c:v>
                </c:pt>
                <c:pt idx="5">
                  <c:v>0.30092256461429057</c:v>
                </c:pt>
                <c:pt idx="6">
                  <c:v>0.2729507243852122</c:v>
                </c:pt>
                <c:pt idx="7">
                  <c:v>0.2673353019040831</c:v>
                </c:pt>
                <c:pt idx="8">
                  <c:v>0.34660650021776673</c:v>
                </c:pt>
                <c:pt idx="9">
                  <c:v>0.29264750550493385</c:v>
                </c:pt>
                <c:pt idx="10">
                  <c:v>0.27845068212191737</c:v>
                </c:pt>
                <c:pt idx="11">
                  <c:v>0.2735960534429599</c:v>
                </c:pt>
                <c:pt idx="12">
                  <c:v>0.27425163539705777</c:v>
                </c:pt>
                <c:pt idx="13">
                  <c:v>0.27232425895811213</c:v>
                </c:pt>
                <c:pt idx="14">
                  <c:v>0.27887511111096486</c:v>
                </c:pt>
                <c:pt idx="15">
                  <c:v>0.2601787406222333</c:v>
                </c:pt>
                <c:pt idx="16">
                  <c:v>0.29229931978337464</c:v>
                </c:pt>
                <c:pt idx="17">
                  <c:v>0.3071858161533737</c:v>
                </c:pt>
                <c:pt idx="18">
                  <c:v>0.18257534717251253</c:v>
                </c:pt>
                <c:pt idx="19">
                  <c:v>0.2509103772191259</c:v>
                </c:pt>
                <c:pt idx="20">
                  <c:v>0.2883900245361779</c:v>
                </c:pt>
                <c:pt idx="21">
                  <c:v>0.2389177031910801</c:v>
                </c:pt>
                <c:pt idx="22">
                  <c:v>0.264077823110636</c:v>
                </c:pt>
                <c:pt idx="23">
                  <c:v>0.2734441248356308</c:v>
                </c:pt>
                <c:pt idx="24">
                  <c:v>0.27338434689541974</c:v>
                </c:pt>
                <c:pt idx="25">
                  <c:v>0.2908488267638749</c:v>
                </c:pt>
                <c:pt idx="26">
                  <c:v>0.3215403238944437</c:v>
                </c:pt>
                <c:pt idx="27">
                  <c:v>0.2786146186892696</c:v>
                </c:pt>
                <c:pt idx="28">
                  <c:v>0.3182342425428665</c:v>
                </c:pt>
                <c:pt idx="29">
                  <c:v>0.28561784756149666</c:v>
                </c:pt>
                <c:pt idx="30">
                  <c:v>0.2958626127893292</c:v>
                </c:pt>
                <c:pt idx="31">
                  <c:v>0.3178756961493036</c:v>
                </c:pt>
                <c:pt idx="32">
                  <c:v>0.32900123874110315</c:v>
                </c:pt>
                <c:pt idx="33">
                  <c:v>0.30938563786675316</c:v>
                </c:pt>
                <c:pt idx="34">
                  <c:v>0.3077831923376188</c:v>
                </c:pt>
                <c:pt idx="35">
                  <c:v>0.2920638077181555</c:v>
                </c:pt>
                <c:pt idx="36">
                  <c:v>0.30589444893871104</c:v>
                </c:pt>
                <c:pt idx="37">
                  <c:v>0.29152728910543424</c:v>
                </c:pt>
                <c:pt idx="38">
                  <c:v>0.3002454159380465</c:v>
                </c:pt>
                <c:pt idx="39">
                  <c:v>0.28705716743567683</c:v>
                </c:pt>
                <c:pt idx="40">
                  <c:v>0.28581368534054313</c:v>
                </c:pt>
                <c:pt idx="41">
                  <c:v>0.2816140345019519</c:v>
                </c:pt>
                <c:pt idx="42">
                  <c:v>0.2803359426398085</c:v>
                </c:pt>
                <c:pt idx="43">
                  <c:v>0.29262578315611215</c:v>
                </c:pt>
                <c:pt idx="44">
                  <c:v>0.26563150242772565</c:v>
                </c:pt>
                <c:pt idx="45">
                  <c:v>0.29001507950687866</c:v>
                </c:pt>
                <c:pt idx="46">
                  <c:v>0.3009962846259479</c:v>
                </c:pt>
                <c:pt idx="47">
                  <c:v>0.27099300189758085</c:v>
                </c:pt>
                <c:pt idx="48">
                  <c:v>0.25107836576043124</c:v>
                </c:pt>
                <c:pt idx="49">
                  <c:v>0.28064333818014847</c:v>
                </c:pt>
                <c:pt idx="50">
                  <c:v>0.3079928265742816</c:v>
                </c:pt>
                <c:pt idx="51">
                  <c:v>0.2860529485923298</c:v>
                </c:pt>
                <c:pt idx="52">
                  <c:v>0.1900400314508337</c:v>
                </c:pt>
                <c:pt idx="53">
                  <c:v>-0.015798551745584866</c:v>
                </c:pt>
                <c:pt idx="54">
                  <c:v>0.30190419963419074</c:v>
                </c:pt>
              </c:numCache>
            </c:numRef>
          </c:xVal>
          <c:yVal>
            <c:numRef>
              <c:f>Sheet1!$B$187:$B$241</c:f>
              <c:numCache>
                <c:formatCode>General</c:formatCode>
                <c:ptCount val="55"/>
                <c:pt idx="0">
                  <c:v>0.0953890591118664</c:v>
                </c:pt>
                <c:pt idx="1">
                  <c:v>0.08990027487882567</c:v>
                </c:pt>
                <c:pt idx="2">
                  <c:v>0.09469588422472211</c:v>
                </c:pt>
                <c:pt idx="3">
                  <c:v>0.0946121659873647</c:v>
                </c:pt>
                <c:pt idx="4">
                  <c:v>0.09925994408313377</c:v>
                </c:pt>
                <c:pt idx="5">
                  <c:v>0.09179133941858585</c:v>
                </c:pt>
                <c:pt idx="6">
                  <c:v>0.09966362778049459</c:v>
                </c:pt>
                <c:pt idx="7">
                  <c:v>0.10124401093309954</c:v>
                </c:pt>
                <c:pt idx="8">
                  <c:v>0.07893422627793628</c:v>
                </c:pt>
                <c:pt idx="9">
                  <c:v>0.09412024059159395</c:v>
                </c:pt>
                <c:pt idx="10">
                  <c:v>0.09811574058655001</c:v>
                </c:pt>
                <c:pt idx="11">
                  <c:v>0.09948200882409758</c:v>
                </c:pt>
                <c:pt idx="12">
                  <c:v>0.09929750433153449</c:v>
                </c:pt>
                <c:pt idx="13">
                  <c:v>0.09983993782840381</c:v>
                </c:pt>
                <c:pt idx="14">
                  <c:v>0.09799629090560046</c:v>
                </c:pt>
                <c:pt idx="15">
                  <c:v>0.10325812633019187</c:v>
                </c:pt>
                <c:pt idx="16">
                  <c:v>0.09421823265722729</c:v>
                </c:pt>
                <c:pt idx="17">
                  <c:v>0.0900286337190311</c:v>
                </c:pt>
                <c:pt idx="18">
                  <c:v>0.12509853032562787</c:v>
                </c:pt>
                <c:pt idx="19">
                  <c:v>0.10586657928697564</c:v>
                </c:pt>
                <c:pt idx="20">
                  <c:v>0.09531844984800687</c:v>
                </c:pt>
                <c:pt idx="21">
                  <c:v>0.10924175186789885</c:v>
                </c:pt>
                <c:pt idx="22">
                  <c:v>0.10216078337941718</c:v>
                </c:pt>
                <c:pt idx="23">
                  <c:v>0.0995247670336942</c:v>
                </c:pt>
                <c:pt idx="24">
                  <c:v>0.09954159070990456</c:v>
                </c:pt>
                <c:pt idx="25">
                  <c:v>0.09462645389769352</c:v>
                </c:pt>
                <c:pt idx="26">
                  <c:v>0.08598875563787857</c:v>
                </c:pt>
                <c:pt idx="27">
                  <c:v>0.09806960290234013</c:v>
                </c:pt>
                <c:pt idx="28">
                  <c:v>0.08691920660336382</c:v>
                </c:pt>
                <c:pt idx="29">
                  <c:v>0.09609864079562454</c:v>
                </c:pt>
                <c:pt idx="30">
                  <c:v>0.09321539302168248</c:v>
                </c:pt>
                <c:pt idx="31">
                  <c:v>0.0870201145371334</c:v>
                </c:pt>
                <c:pt idx="32">
                  <c:v>0.0838889841306936</c:v>
                </c:pt>
                <c:pt idx="33">
                  <c:v>0.08940952425999349</c:v>
                </c:pt>
                <c:pt idx="34">
                  <c:v>0.08986051043703032</c:v>
                </c:pt>
                <c:pt idx="35">
                  <c:v>0.09428451427741853</c:v>
                </c:pt>
                <c:pt idx="36">
                  <c:v>0.09039207119799865</c:v>
                </c:pt>
                <c:pt idx="37">
                  <c:v>0.09443551003587715</c:v>
                </c:pt>
                <c:pt idx="38">
                  <c:v>0.0919819135674306</c:v>
                </c:pt>
                <c:pt idx="39">
                  <c:v>0.09569356408269546</c:v>
                </c:pt>
                <c:pt idx="40">
                  <c:v>0.09604352495568752</c:v>
                </c:pt>
                <c:pt idx="41">
                  <c:v>0.09722545872014374</c:v>
                </c:pt>
                <c:pt idx="42">
                  <c:v>0.09758516003437269</c:v>
                </c:pt>
                <c:pt idx="43">
                  <c:v>0.09412635404685545</c:v>
                </c:pt>
                <c:pt idx="44">
                  <c:v>0.10172352177968344</c:v>
                </c:pt>
                <c:pt idx="45">
                  <c:v>0.09486110055569931</c:v>
                </c:pt>
                <c:pt idx="46">
                  <c:v>0.091770591938797</c:v>
                </c:pt>
                <c:pt idx="47">
                  <c:v>0.10021460175392682</c:v>
                </c:pt>
                <c:pt idx="48">
                  <c:v>0.10581930123062248</c:v>
                </c:pt>
                <c:pt idx="49">
                  <c:v>0.0974986478022527</c:v>
                </c:pt>
                <c:pt idx="50">
                  <c:v>0.08980151177451748</c:v>
                </c:pt>
                <c:pt idx="51">
                  <c:v>0.09597618761581116</c:v>
                </c:pt>
                <c:pt idx="52">
                  <c:v>0.12299769796392784</c:v>
                </c:pt>
                <c:pt idx="53">
                  <c:v>0.18092812619669124</c:v>
                </c:pt>
                <c:pt idx="54">
                  <c:v>0.09151507179087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0880829015544"/>
          <c:min val="0.03350785340314136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2.3111</c:v>
                </c:pt>
                <c:pt idx="1">
                  <c:v>667.8723</c:v>
                </c:pt>
                <c:pt idx="2">
                  <c:v>658.7705</c:v>
                </c:pt>
                <c:pt idx="3">
                  <c:v>656.9474</c:v>
                </c:pt>
                <c:pt idx="4">
                  <c:v>650.5161</c:v>
                </c:pt>
                <c:pt idx="5">
                  <c:v>662.8065</c:v>
                </c:pt>
                <c:pt idx="6">
                  <c:v>622.6481</c:v>
                </c:pt>
                <c:pt idx="7">
                  <c:v>651.1455</c:v>
                </c:pt>
                <c:pt idx="8">
                  <c:v>655.6389</c:v>
                </c:pt>
                <c:pt idx="9">
                  <c:v>634.5517</c:v>
                </c:pt>
                <c:pt idx="10">
                  <c:v>607.5493</c:v>
                </c:pt>
                <c:pt idx="11">
                  <c:v>645.2712</c:v>
                </c:pt>
                <c:pt idx="12">
                  <c:v>665.2</c:v>
                </c:pt>
                <c:pt idx="13">
                  <c:v>653.16</c:v>
                </c:pt>
                <c:pt idx="14">
                  <c:v>641.0909</c:v>
                </c:pt>
                <c:pt idx="15">
                  <c:v>666.8462</c:v>
                </c:pt>
                <c:pt idx="16">
                  <c:v>663.6167</c:v>
                </c:pt>
                <c:pt idx="17">
                  <c:v>661.0</c:v>
                </c:pt>
                <c:pt idx="18">
                  <c:v>615.5625</c:v>
                </c:pt>
                <c:pt idx="19">
                  <c:v>663.3214</c:v>
                </c:pt>
                <c:pt idx="20">
                  <c:v>663.9038</c:v>
                </c:pt>
                <c:pt idx="21">
                  <c:v>652.4737</c:v>
                </c:pt>
                <c:pt idx="22">
                  <c:v>653.4286</c:v>
                </c:pt>
                <c:pt idx="23">
                  <c:v>664.5217</c:v>
                </c:pt>
                <c:pt idx="24">
                  <c:v>655.32</c:v>
                </c:pt>
                <c:pt idx="25">
                  <c:v>639.28</c:v>
                </c:pt>
                <c:pt idx="26">
                  <c:v>610.6429</c:v>
                </c:pt>
                <c:pt idx="27">
                  <c:v>638.84</c:v>
                </c:pt>
                <c:pt idx="28">
                  <c:v>672.0741</c:v>
                </c:pt>
                <c:pt idx="29">
                  <c:v>632.9474</c:v>
                </c:pt>
                <c:pt idx="30">
                  <c:v>655.069</c:v>
                </c:pt>
                <c:pt idx="31">
                  <c:v>564.6538</c:v>
                </c:pt>
                <c:pt idx="32">
                  <c:v>638.0</c:v>
                </c:pt>
                <c:pt idx="33">
                  <c:v>637.5833</c:v>
                </c:pt>
                <c:pt idx="34">
                  <c:v>606.6667</c:v>
                </c:pt>
                <c:pt idx="35">
                  <c:v>645.0581</c:v>
                </c:pt>
                <c:pt idx="36">
                  <c:v>655.8444</c:v>
                </c:pt>
                <c:pt idx="37">
                  <c:v>603.4667</c:v>
                </c:pt>
                <c:pt idx="38">
                  <c:v>663.2813</c:v>
                </c:pt>
                <c:pt idx="39">
                  <c:v>660.3214</c:v>
                </c:pt>
                <c:pt idx="40">
                  <c:v>636.4545</c:v>
                </c:pt>
                <c:pt idx="41">
                  <c:v>657.129</c:v>
                </c:pt>
                <c:pt idx="42">
                  <c:v>625.425</c:v>
                </c:pt>
                <c:pt idx="43">
                  <c:v>668.0755</c:v>
                </c:pt>
                <c:pt idx="44">
                  <c:v>653.45</c:v>
                </c:pt>
                <c:pt idx="45">
                  <c:v>653.5342</c:v>
                </c:pt>
                <c:pt idx="46">
                  <c:v>615.5495</c:v>
                </c:pt>
                <c:pt idx="47">
                  <c:v>624.8587</c:v>
                </c:pt>
                <c:pt idx="48">
                  <c:v>622.4818</c:v>
                </c:pt>
                <c:pt idx="49">
                  <c:v>611.4441</c:v>
                </c:pt>
                <c:pt idx="50">
                  <c:v>632.2344</c:v>
                </c:pt>
                <c:pt idx="51">
                  <c:v>656.8548</c:v>
                </c:pt>
                <c:pt idx="52">
                  <c:v>666.4535</c:v>
                </c:pt>
                <c:pt idx="53">
                  <c:v>656.746</c:v>
                </c:pt>
                <c:pt idx="54">
                  <c:v>681.3778</c:v>
                </c:pt>
                <c:pt idx="55">
                  <c:v>642.4545</c:v>
                </c:pt>
                <c:pt idx="56">
                  <c:v>668.9762</c:v>
                </c:pt>
                <c:pt idx="57">
                  <c:v>629.5306</c:v>
                </c:pt>
                <c:pt idx="58">
                  <c:v>622.7895</c:v>
                </c:pt>
                <c:pt idx="59">
                  <c:v>630.8784</c:v>
                </c:pt>
                <c:pt idx="60">
                  <c:v>640.7015</c:v>
                </c:pt>
                <c:pt idx="61">
                  <c:v>641.3276</c:v>
                </c:pt>
                <c:pt idx="62">
                  <c:v>608.7917</c:v>
                </c:pt>
                <c:pt idx="63">
                  <c:v>639.5789</c:v>
                </c:pt>
                <c:pt idx="64">
                  <c:v>609.5663</c:v>
                </c:pt>
                <c:pt idx="65">
                  <c:v>613.6286</c:v>
                </c:pt>
                <c:pt idx="66">
                  <c:v>621.407</c:v>
                </c:pt>
                <c:pt idx="67">
                  <c:v>610.7463</c:v>
                </c:pt>
                <c:pt idx="68">
                  <c:v>589.4286</c:v>
                </c:pt>
                <c:pt idx="69">
                  <c:v>573.0</c:v>
                </c:pt>
                <c:pt idx="70">
                  <c:v>564.3462</c:v>
                </c:pt>
                <c:pt idx="71">
                  <c:v>566.7692</c:v>
                </c:pt>
                <c:pt idx="72">
                  <c:v>712.2692</c:v>
                </c:pt>
                <c:pt idx="73">
                  <c:v>699.8824</c:v>
                </c:pt>
                <c:pt idx="74">
                  <c:v>689.1304</c:v>
                </c:pt>
                <c:pt idx="75">
                  <c:v>661.4737</c:v>
                </c:pt>
                <c:pt idx="76">
                  <c:v>660.15</c:v>
                </c:pt>
                <c:pt idx="77">
                  <c:v>597.3333</c:v>
                </c:pt>
                <c:pt idx="78">
                  <c:v>635.8235</c:v>
                </c:pt>
                <c:pt idx="79">
                  <c:v>424.36</c:v>
                </c:pt>
                <c:pt idx="80">
                  <c:v>675.375</c:v>
                </c:pt>
                <c:pt idx="81">
                  <c:v>699.9412</c:v>
                </c:pt>
                <c:pt idx="82">
                  <c:v>639.1667</c:v>
                </c:pt>
                <c:pt idx="83">
                  <c:v>488.75</c:v>
                </c:pt>
                <c:pt idx="84">
                  <c:v>669.875</c:v>
                </c:pt>
                <c:pt idx="85">
                  <c:v>667.7143</c:v>
                </c:pt>
                <c:pt idx="86">
                  <c:v>644.0</c:v>
                </c:pt>
                <c:pt idx="87">
                  <c:v>662.2581</c:v>
                </c:pt>
                <c:pt idx="88">
                  <c:v>691.8235</c:v>
                </c:pt>
                <c:pt idx="89">
                  <c:v>617.8</c:v>
                </c:pt>
                <c:pt idx="90">
                  <c:v>675.2727</c:v>
                </c:pt>
                <c:pt idx="91">
                  <c:v>668.6364</c:v>
                </c:pt>
                <c:pt idx="92">
                  <c:v>513.871</c:v>
                </c:pt>
                <c:pt idx="93">
                  <c:v>589.8095</c:v>
                </c:pt>
                <c:pt idx="94">
                  <c:v>644.1429</c:v>
                </c:pt>
                <c:pt idx="95">
                  <c:v>645.16</c:v>
                </c:pt>
                <c:pt idx="96">
                  <c:v>492.65</c:v>
                </c:pt>
                <c:pt idx="97">
                  <c:v>636.05</c:v>
                </c:pt>
                <c:pt idx="98">
                  <c:v>622.0</c:v>
                </c:pt>
                <c:pt idx="99">
                  <c:v>633.1235</c:v>
                </c:pt>
                <c:pt idx="100">
                  <c:v>671.7971</c:v>
                </c:pt>
                <c:pt idx="101">
                  <c:v>638.7083</c:v>
                </c:pt>
                <c:pt idx="102">
                  <c:v>676.8571</c:v>
                </c:pt>
                <c:pt idx="103">
                  <c:v>705.6154</c:v>
                </c:pt>
                <c:pt idx="104">
                  <c:v>720.9211</c:v>
                </c:pt>
              </c:numCache>
            </c:numRef>
          </c:xVal>
          <c:yVal>
            <c:numRef>
              <c:f>Sheet1!$B$2:$B$106</c:f>
              <c:numCache>
                <c:formatCode>General</c:formatCode>
                <c:ptCount val="105"/>
                <c:pt idx="0">
                  <c:v>0.11083743842364532</c:v>
                </c:pt>
                <c:pt idx="1">
                  <c:v>0.17537313432835822</c:v>
                </c:pt>
                <c:pt idx="2">
                  <c:v>0.19122257053291536</c:v>
                </c:pt>
                <c:pt idx="3">
                  <c:v>0.1484375</c:v>
                </c:pt>
                <c:pt idx="4">
                  <c:v>0.18128654970760233</c:v>
                </c:pt>
                <c:pt idx="5">
                  <c:v>0.2059800664451827</c:v>
                </c:pt>
                <c:pt idx="6">
                  <c:v>0.23376623376623376</c:v>
                </c:pt>
                <c:pt idx="7">
                  <c:v>0.2140077821011673</c:v>
                </c:pt>
                <c:pt idx="8">
                  <c:v>0.16744186046511628</c:v>
                </c:pt>
                <c:pt idx="9">
                  <c:v>0.15846994535519127</c:v>
                </c:pt>
                <c:pt idx="10">
                  <c:v>0.20056497175141244</c:v>
                </c:pt>
                <c:pt idx="11">
                  <c:v>0.16905444126074498</c:v>
                </c:pt>
                <c:pt idx="12">
                  <c:v>0.2077922077922078</c:v>
                </c:pt>
                <c:pt idx="13">
                  <c:v>0.25906735751295334</c:v>
                </c:pt>
                <c:pt idx="14">
                  <c:v>0.19555555555555557</c:v>
                </c:pt>
                <c:pt idx="15">
                  <c:v>0.14508928571428573</c:v>
                </c:pt>
                <c:pt idx="16">
                  <c:v>0.15424164524421594</c:v>
                </c:pt>
                <c:pt idx="17">
                  <c:v>0.11396011396011396</c:v>
                </c:pt>
                <c:pt idx="18">
                  <c:v>0.10423452768729642</c:v>
                </c:pt>
                <c:pt idx="19">
                  <c:v>0.12017167381974249</c:v>
                </c:pt>
                <c:pt idx="20">
                  <c:v>0.16149068322981366</c:v>
                </c:pt>
                <c:pt idx="21">
                  <c:v>0.10919540229885058</c:v>
                </c:pt>
                <c:pt idx="22">
                  <c:v>0.14358974358974358</c:v>
                </c:pt>
                <c:pt idx="23">
                  <c:v>0.11734693877551021</c:v>
                </c:pt>
                <c:pt idx="24">
                  <c:v>0.12562814070351758</c:v>
                </c:pt>
                <c:pt idx="25">
                  <c:v>0.15723270440251572</c:v>
                </c:pt>
                <c:pt idx="26">
                  <c:v>0.13023255813953488</c:v>
                </c:pt>
                <c:pt idx="27">
                  <c:v>0.1091703056768559</c:v>
                </c:pt>
                <c:pt idx="28">
                  <c:v>0.11842105263157894</c:v>
                </c:pt>
                <c:pt idx="29">
                  <c:v>0.13286713286713286</c:v>
                </c:pt>
                <c:pt idx="30">
                  <c:v>0.13425925925925927</c:v>
                </c:pt>
                <c:pt idx="31">
                  <c:v>0.10743801652892562</c:v>
                </c:pt>
                <c:pt idx="32">
                  <c:v>0.12962962962962962</c:v>
                </c:pt>
                <c:pt idx="33">
                  <c:v>0.12203389830508475</c:v>
                </c:pt>
                <c:pt idx="34">
                  <c:v>0.12751677852348994</c:v>
                </c:pt>
                <c:pt idx="35">
                  <c:v>0.16135084427767354</c:v>
                </c:pt>
                <c:pt idx="36">
                  <c:v>0.1174934725848564</c:v>
                </c:pt>
                <c:pt idx="37">
                  <c:v>0.1056338028169014</c:v>
                </c:pt>
                <c:pt idx="38">
                  <c:v>0.11188811188811189</c:v>
                </c:pt>
                <c:pt idx="39">
                  <c:v>0.10894941634241245</c:v>
                </c:pt>
                <c:pt idx="40">
                  <c:v>0.11924119241192412</c:v>
                </c:pt>
                <c:pt idx="41">
                  <c:v>0.10437710437710437</c:v>
                </c:pt>
                <c:pt idx="42">
                  <c:v>0.11080332409972299</c:v>
                </c:pt>
                <c:pt idx="43">
                  <c:v>0.12926829268292683</c:v>
                </c:pt>
                <c:pt idx="44">
                  <c:v>0.09302325581395349</c:v>
                </c:pt>
                <c:pt idx="45">
                  <c:v>0.10224089635854341</c:v>
                </c:pt>
                <c:pt idx="46">
                  <c:v>0.14359637774902975</c:v>
                </c:pt>
                <c:pt idx="47">
                  <c:v>0.138763197586727</c:v>
                </c:pt>
                <c:pt idx="48">
                  <c:v>0.14842903575297942</c:v>
                </c:pt>
                <c:pt idx="49">
                  <c:v>0.18995492594977462</c:v>
                </c:pt>
                <c:pt idx="50">
                  <c:v>0.1690885072655218</c:v>
                </c:pt>
                <c:pt idx="51">
                  <c:v>0.13626373626373625</c:v>
                </c:pt>
                <c:pt idx="52">
                  <c:v>0.147008547008547</c:v>
                </c:pt>
                <c:pt idx="53">
                  <c:v>0.14383561643835616</c:v>
                </c:pt>
                <c:pt idx="54">
                  <c:v>0.1226158038147139</c:v>
                </c:pt>
                <c:pt idx="55">
                  <c:v>0.11702127659574468</c:v>
                </c:pt>
                <c:pt idx="56">
                  <c:v>0.125</c:v>
                </c:pt>
                <c:pt idx="57">
                  <c:v>0.1320754716981132</c:v>
                </c:pt>
                <c:pt idx="58">
                  <c:v>0.13225058004640372</c:v>
                </c:pt>
                <c:pt idx="59">
                  <c:v>0.12292358803986711</c:v>
                </c:pt>
                <c:pt idx="60">
                  <c:v>0.12909441233140656</c:v>
                </c:pt>
                <c:pt idx="61">
                  <c:v>0.1457286432160804</c:v>
                </c:pt>
                <c:pt idx="62">
                  <c:v>0.13846153846153847</c:v>
                </c:pt>
                <c:pt idx="63">
                  <c:v>0.15734989648033126</c:v>
                </c:pt>
                <c:pt idx="64">
                  <c:v>0.12187958883994127</c:v>
                </c:pt>
                <c:pt idx="65">
                  <c:v>0.10703363914373089</c:v>
                </c:pt>
                <c:pt idx="66">
                  <c:v>0.13564668769716087</c:v>
                </c:pt>
                <c:pt idx="67">
                  <c:v>0.11148086522462562</c:v>
                </c:pt>
                <c:pt idx="68">
                  <c:v>0.1016597510373444</c:v>
                </c:pt>
                <c:pt idx="69">
                  <c:v>0.08791208791208792</c:v>
                </c:pt>
                <c:pt idx="70">
                  <c:v>0.07103825136612021</c:v>
                </c:pt>
                <c:pt idx="71">
                  <c:v>0.09454545454545454</c:v>
                </c:pt>
                <c:pt idx="72">
                  <c:v>0.08873720136518772</c:v>
                </c:pt>
                <c:pt idx="73">
                  <c:v>0.06159420289855073</c:v>
                </c:pt>
                <c:pt idx="74">
                  <c:v>0.07796610169491526</c:v>
                </c:pt>
                <c:pt idx="75">
                  <c:v>0.0811965811965812</c:v>
                </c:pt>
                <c:pt idx="76">
                  <c:v>0.0966183574879227</c:v>
                </c:pt>
                <c:pt idx="77">
                  <c:v>0.09090909090909091</c:v>
                </c:pt>
                <c:pt idx="78">
                  <c:v>0.09042553191489362</c:v>
                </c:pt>
                <c:pt idx="79">
                  <c:v>0.10040160642570281</c:v>
                </c:pt>
                <c:pt idx="80">
                  <c:v>0.06584362139917696</c:v>
                </c:pt>
                <c:pt idx="81">
                  <c:v>0.057432432432432436</c:v>
                </c:pt>
                <c:pt idx="82">
                  <c:v>0.05063291139240506</c:v>
                </c:pt>
                <c:pt idx="83">
                  <c:v>0.058823529411764705</c:v>
                </c:pt>
                <c:pt idx="84">
                  <c:v>0.041884816753926704</c:v>
                </c:pt>
                <c:pt idx="85">
                  <c:v>0.05555555555555555</c:v>
                </c:pt>
                <c:pt idx="86">
                  <c:v>0.06976744186046512</c:v>
                </c:pt>
                <c:pt idx="87">
                  <c:v>0.08587257617728532</c:v>
                </c:pt>
                <c:pt idx="88">
                  <c:v>0.06938775510204082</c:v>
                </c:pt>
                <c:pt idx="89">
                  <c:v>0.055865921787709494</c:v>
                </c:pt>
                <c:pt idx="90">
                  <c:v>0.05263157894736842</c:v>
                </c:pt>
                <c:pt idx="91">
                  <c:v>0.049773755656108594</c:v>
                </c:pt>
                <c:pt idx="92">
                  <c:v>0.10652920962199312</c:v>
                </c:pt>
                <c:pt idx="93">
                  <c:v>0.06542056074766354</c:v>
                </c:pt>
                <c:pt idx="94">
                  <c:v>0.05128205128205128</c:v>
                </c:pt>
                <c:pt idx="95">
                  <c:v>0.0702247191011236</c:v>
                </c:pt>
                <c:pt idx="96">
                  <c:v>0.07079646017699115</c:v>
                </c:pt>
                <c:pt idx="97">
                  <c:v>0.0664451827242525</c:v>
                </c:pt>
                <c:pt idx="98">
                  <c:v>0.0811554332874828</c:v>
                </c:pt>
                <c:pt idx="99">
                  <c:v>0.09385863267670916</c:v>
                </c:pt>
                <c:pt idx="100">
                  <c:v>0.11174089068825911</c:v>
                </c:pt>
                <c:pt idx="101">
                  <c:v>0.10925644916540213</c:v>
                </c:pt>
                <c:pt idx="102">
                  <c:v>0.07017543859649122</c:v>
                </c:pt>
                <c:pt idx="103">
                  <c:v>0.08666666666666667</c:v>
                </c:pt>
                <c:pt idx="104">
                  <c:v>0.104972375690607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3.7632</c:v>
                </c:pt>
                <c:pt idx="1">
                  <c:v>682.6216</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numCache>
            </c:numRef>
          </c:xVal>
          <c:yVal>
            <c:numRef>
              <c:f>Sheet1!$B$109:$B$160</c:f>
              <c:numCache>
                <c:formatCode>General</c:formatCode>
                <c:ptCount val="52"/>
                <c:pt idx="0">
                  <c:v>0.08558558558558559</c:v>
                </c:pt>
                <c:pt idx="1">
                  <c:v>0.08980582524271845</c:v>
                </c:pt>
                <c:pt idx="2">
                  <c:v>0.09699769053117784</c:v>
                </c:pt>
                <c:pt idx="3">
                  <c:v>0.10804020100502512</c:v>
                </c:pt>
                <c:pt idx="4">
                  <c:v>0.10687022900763359</c:v>
                </c:pt>
                <c:pt idx="5">
                  <c:v>0.08542713567839195</c:v>
                </c:pt>
                <c:pt idx="6">
                  <c:v>0.09598214285714286</c:v>
                </c:pt>
                <c:pt idx="7">
                  <c:v>0.09195402298850575</c:v>
                </c:pt>
                <c:pt idx="8">
                  <c:v>0.11392405063291139</c:v>
                </c:pt>
                <c:pt idx="9">
                  <c:v>0.12238805970149254</c:v>
                </c:pt>
                <c:pt idx="10">
                  <c:v>0.1239193083573487</c:v>
                </c:pt>
                <c:pt idx="11">
                  <c:v>0.12835249042145594</c:v>
                </c:pt>
                <c:pt idx="12">
                  <c:v>0.1479028697571744</c:v>
                </c:pt>
                <c:pt idx="13">
                  <c:v>0.12051282051282051</c:v>
                </c:pt>
                <c:pt idx="14">
                  <c:v>0.14080459770114942</c:v>
                </c:pt>
                <c:pt idx="15">
                  <c:v>0.13580246913580246</c:v>
                </c:pt>
                <c:pt idx="16">
                  <c:v>0.11805555555555555</c:v>
                </c:pt>
                <c:pt idx="17">
                  <c:v>0.08695652173913043</c:v>
                </c:pt>
                <c:pt idx="18">
                  <c:v>0.13574660633484162</c:v>
                </c:pt>
                <c:pt idx="19">
                  <c:v>0.13877551020408163</c:v>
                </c:pt>
                <c:pt idx="20">
                  <c:v>0.1267605633802817</c:v>
                </c:pt>
                <c:pt idx="21">
                  <c:v>0.072992700729927</c:v>
                </c:pt>
                <c:pt idx="22">
                  <c:v>0.07563025210084033</c:v>
                </c:pt>
                <c:pt idx="23">
                  <c:v>0.07692307692307693</c:v>
                </c:pt>
                <c:pt idx="24">
                  <c:v>0.07428571428571429</c:v>
                </c:pt>
                <c:pt idx="25">
                  <c:v>0.07692307692307693</c:v>
                </c:pt>
                <c:pt idx="26">
                  <c:v>0.044444444444444446</c:v>
                </c:pt>
                <c:pt idx="27">
                  <c:v>0.05714285714285714</c:v>
                </c:pt>
                <c:pt idx="28">
                  <c:v>0.09019607843137255</c:v>
                </c:pt>
                <c:pt idx="29">
                  <c:v>0.09230769230769231</c:v>
                </c:pt>
                <c:pt idx="30">
                  <c:v>0.07386363636363637</c:v>
                </c:pt>
                <c:pt idx="31">
                  <c:v>0.05945945945945946</c:v>
                </c:pt>
                <c:pt idx="32">
                  <c:v>0.07792207792207792</c:v>
                </c:pt>
                <c:pt idx="33">
                  <c:v>0.07763975155279502</c:v>
                </c:pt>
                <c:pt idx="34">
                  <c:v>0.11804008908685969</c:v>
                </c:pt>
                <c:pt idx="35">
                  <c:v>0.07954545454545454</c:v>
                </c:pt>
                <c:pt idx="36">
                  <c:v>0.08284023668639054</c:v>
                </c:pt>
                <c:pt idx="37">
                  <c:v>0.07329842931937172</c:v>
                </c:pt>
                <c:pt idx="38">
                  <c:v>0.09941520467836257</c:v>
                </c:pt>
                <c:pt idx="39">
                  <c:v>0.10638297872340426</c:v>
                </c:pt>
                <c:pt idx="40">
                  <c:v>0.08771929824561403</c:v>
                </c:pt>
                <c:pt idx="41">
                  <c:v>0.09205020920502092</c:v>
                </c:pt>
                <c:pt idx="42">
                  <c:v>0.08928571428571429</c:v>
                </c:pt>
                <c:pt idx="43">
                  <c:v>0.09253731343283582</c:v>
                </c:pt>
                <c:pt idx="44">
                  <c:v>0.08803611738148984</c:v>
                </c:pt>
                <c:pt idx="45">
                  <c:v>0.09142857142857143</c:v>
                </c:pt>
                <c:pt idx="46">
                  <c:v>0.075046904315197</c:v>
                </c:pt>
                <c:pt idx="47">
                  <c:v>0.09213051823416507</c:v>
                </c:pt>
                <c:pt idx="48">
                  <c:v>0.0704</c:v>
                </c:pt>
                <c:pt idx="49">
                  <c:v>0.08759124087591241</c:v>
                </c:pt>
                <c:pt idx="50">
                  <c:v>0.10114503816793893</c:v>
                </c:pt>
                <c:pt idx="51">
                  <c:v>0.1159420289855072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37.77376654146684</c:v>
                </c:pt>
              </c:numCache>
            </c:numRef>
          </c:xVal>
          <c:yVal>
            <c:numRef>
              <c:f>Sheet1!$B$163:$B$164</c:f>
              <c:numCache>
                <c:formatCode>General</c:formatCode>
                <c:ptCount val="2"/>
                <c:pt idx="0">
                  <c:v>0.18092812619669124</c:v>
                </c:pt>
                <c:pt idx="1">
                  <c:v>0.180928126196691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37.77376654146684</c:v>
                </c:pt>
                <c:pt idx="1">
                  <c:v>237.77376654146684</c:v>
                </c:pt>
              </c:numCache>
            </c:numRef>
          </c:xVal>
          <c:yVal>
            <c:numRef>
              <c:f>Sheet1!$B$167:$B$168</c:f>
              <c:numCache>
                <c:formatCode>General</c:formatCode>
                <c:ptCount val="2"/>
                <c:pt idx="0">
                  <c:v>0.180928126196691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55.771112532607</c:v>
                </c:pt>
              </c:numCache>
            </c:numRef>
          </c:xVal>
          <c:yVal>
            <c:numRef>
              <c:f>Sheet1!$B$171:$B$172</c:f>
              <c:numCache>
                <c:formatCode>General</c:formatCode>
                <c:ptCount val="2"/>
                <c:pt idx="0">
                  <c:v>0.12299769796392784</c:v>
                </c:pt>
                <c:pt idx="1">
                  <c:v>0.12299769796392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55.771112532607</c:v>
                </c:pt>
                <c:pt idx="1">
                  <c:v>555.771112532607</c:v>
                </c:pt>
              </c:numCache>
            </c:numRef>
          </c:xVal>
          <c:yVal>
            <c:numRef>
              <c:f>Sheet1!$B$175:$B$176</c:f>
              <c:numCache>
                <c:formatCode>General</c:formatCode>
                <c:ptCount val="2"/>
                <c:pt idx="0">
                  <c:v>0.12299769796392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28.5886088514071</c:v>
                </c:pt>
              </c:numCache>
            </c:numRef>
          </c:xVal>
          <c:yVal>
            <c:numRef>
              <c:f>Sheet1!$B$179:$B$180</c:f>
              <c:numCache>
                <c:formatCode>General</c:formatCode>
                <c:ptCount val="2"/>
                <c:pt idx="0">
                  <c:v>0.09151507179087472</c:v>
                </c:pt>
                <c:pt idx="1">
                  <c:v>0.091515071790874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28.5886088514071</c:v>
                </c:pt>
                <c:pt idx="1">
                  <c:v>728.5886088514071</c:v>
                </c:pt>
              </c:numCache>
            </c:numRef>
          </c:xVal>
          <c:yVal>
            <c:numRef>
              <c:f>Sheet1!$B$183:$B$184</c:f>
              <c:numCache>
                <c:formatCode>General</c:formatCode>
                <c:ptCount val="2"/>
                <c:pt idx="0">
                  <c:v>0.091515071790874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3.7632</c:v>
                </c:pt>
                <c:pt idx="1">
                  <c:v>682.6216</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pt idx="52">
                  <c:v>555.771112532607</c:v>
                </c:pt>
                <c:pt idx="53">
                  <c:v>237.77376654146684</c:v>
                </c:pt>
                <c:pt idx="54">
                  <c:v>728.5886088514071</c:v>
                </c:pt>
              </c:numCache>
            </c:numRef>
          </c:xVal>
          <c:yVal>
            <c:numRef>
              <c:f>Sheet1!$B$187:$B$241</c:f>
              <c:numCache>
                <c:formatCode>General</c:formatCode>
                <c:ptCount val="55"/>
                <c:pt idx="0">
                  <c:v>0.09785930979655699</c:v>
                </c:pt>
                <c:pt idx="1">
                  <c:v>0.09988900490984937</c:v>
                </c:pt>
                <c:pt idx="2">
                  <c:v>0.1017979377546523</c:v>
                </c:pt>
                <c:pt idx="3">
                  <c:v>0.0967146642065744</c:v>
                </c:pt>
                <c:pt idx="4">
                  <c:v>0.09345703415475015</c:v>
                </c:pt>
                <c:pt idx="5">
                  <c:v>0.09581762772102809</c:v>
                </c:pt>
                <c:pt idx="6">
                  <c:v>0.10824238733821966</c:v>
                </c:pt>
                <c:pt idx="7">
                  <c:v>0.10467041832987334</c:v>
                </c:pt>
                <c:pt idx="8">
                  <c:v>0.09273557569661381</c:v>
                </c:pt>
                <c:pt idx="9">
                  <c:v>0.10364569701405967</c:v>
                </c:pt>
                <c:pt idx="10">
                  <c:v>0.09711713830489033</c:v>
                </c:pt>
                <c:pt idx="11">
                  <c:v>0.1030040119717802</c:v>
                </c:pt>
                <c:pt idx="12">
                  <c:v>0.10392032232669773</c:v>
                </c:pt>
                <c:pt idx="13">
                  <c:v>0.10262243307967295</c:v>
                </c:pt>
                <c:pt idx="14">
                  <c:v>0.10074579945074442</c:v>
                </c:pt>
                <c:pt idx="15">
                  <c:v>0.10218418026732576</c:v>
                </c:pt>
                <c:pt idx="16">
                  <c:v>0.09366906493510135</c:v>
                </c:pt>
                <c:pt idx="17">
                  <c:v>0.09482688160972985</c:v>
                </c:pt>
                <c:pt idx="18">
                  <c:v>0.13712296894770143</c:v>
                </c:pt>
                <c:pt idx="19">
                  <c:v>0.11115228618157723</c:v>
                </c:pt>
                <c:pt idx="20">
                  <c:v>0.09604842228725108</c:v>
                </c:pt>
                <c:pt idx="21">
                  <c:v>0.11164307759436541</c:v>
                </c:pt>
                <c:pt idx="22">
                  <c:v>0.09949620418075471</c:v>
                </c:pt>
                <c:pt idx="23">
                  <c:v>0.10737194806371489</c:v>
                </c:pt>
                <c:pt idx="24">
                  <c:v>0.10794777768276474</c:v>
                </c:pt>
                <c:pt idx="25">
                  <c:v>0.1028749608464251</c:v>
                </c:pt>
                <c:pt idx="26">
                  <c:v>0.08196714828840171</c:v>
                </c:pt>
                <c:pt idx="27">
                  <c:v>0.09104541402126165</c:v>
                </c:pt>
                <c:pt idx="28">
                  <c:v>0.08869168836495811</c:v>
                </c:pt>
                <c:pt idx="29">
                  <c:v>0.09302907409873068</c:v>
                </c:pt>
                <c:pt idx="30">
                  <c:v>0.08685779244637448</c:v>
                </c:pt>
                <c:pt idx="31">
                  <c:v>0.08094035020405468</c:v>
                </c:pt>
                <c:pt idx="32">
                  <c:v>0.08151171659248455</c:v>
                </c:pt>
                <c:pt idx="33">
                  <c:v>0.08516610052052401</c:v>
                </c:pt>
                <c:pt idx="34">
                  <c:v>0.08412915541799193</c:v>
                </c:pt>
                <c:pt idx="35">
                  <c:v>0.08222740017671662</c:v>
                </c:pt>
                <c:pt idx="36">
                  <c:v>0.07958589634039695</c:v>
                </c:pt>
                <c:pt idx="37">
                  <c:v>0.08701593654846476</c:v>
                </c:pt>
                <c:pt idx="38">
                  <c:v>0.08740017516167617</c:v>
                </c:pt>
                <c:pt idx="39">
                  <c:v>0.09050740345024075</c:v>
                </c:pt>
                <c:pt idx="40">
                  <c:v>0.0932891802489029</c:v>
                </c:pt>
                <c:pt idx="41">
                  <c:v>0.089030474894917</c:v>
                </c:pt>
                <c:pt idx="42">
                  <c:v>0.09471012714016452</c:v>
                </c:pt>
                <c:pt idx="43">
                  <c:v>0.09275058672531125</c:v>
                </c:pt>
                <c:pt idx="44">
                  <c:v>0.0974051168748527</c:v>
                </c:pt>
                <c:pt idx="45">
                  <c:v>0.094872934862821</c:v>
                </c:pt>
                <c:pt idx="46">
                  <c:v>0.09529763402789768</c:v>
                </c:pt>
                <c:pt idx="47">
                  <c:v>0.09849552965848546</c:v>
                </c:pt>
                <c:pt idx="48">
                  <c:v>0.0989671747227773</c:v>
                </c:pt>
                <c:pt idx="49">
                  <c:v>0.09063250142847529</c:v>
                </c:pt>
                <c:pt idx="50">
                  <c:v>0.08658333108914695</c:v>
                </c:pt>
                <c:pt idx="51">
                  <c:v>0.09444344455630324</c:v>
                </c:pt>
                <c:pt idx="52">
                  <c:v>0.12299769796392786</c:v>
                </c:pt>
                <c:pt idx="53">
                  <c:v>0.18092812619669124</c:v>
                </c:pt>
                <c:pt idx="54">
                  <c:v>0.091515071790874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53.0"/>
          <c:min val="19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0880829015544"/>
          <c:min val="0.03350785340314136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40307014271162</c:v>
                </c:pt>
                <c:pt idx="1">
                  <c:v>0.2502341720318619</c:v>
                </c:pt>
                <c:pt idx="2">
                  <c:v>0.23130780286172878</c:v>
                </c:pt>
                <c:pt idx="3">
                  <c:v>0.23416423857020266</c:v>
                </c:pt>
                <c:pt idx="4">
                  <c:v>0.21031079513787754</c:v>
                </c:pt>
                <c:pt idx="5">
                  <c:v>0.2507396783638397</c:v>
                </c:pt>
                <c:pt idx="6">
                  <c:v>0.2455048040276667</c:v>
                </c:pt>
                <c:pt idx="7">
                  <c:v>0.24542906017156552</c:v>
                </c:pt>
                <c:pt idx="8">
                  <c:v>0.27972349493606213</c:v>
                </c:pt>
                <c:pt idx="9">
                  <c:v>0.2841450271146229</c:v>
                </c:pt>
                <c:pt idx="10">
                  <c:v>0.27094868679964423</c:v>
                </c:pt>
                <c:pt idx="11">
                  <c:v>0.2724053058429433</c:v>
                </c:pt>
                <c:pt idx="12">
                  <c:v>0.2934020658344063</c:v>
                </c:pt>
                <c:pt idx="13">
                  <c:v>0.2752631834279339</c:v>
                </c:pt>
                <c:pt idx="14">
                  <c:v>0.2818374156428137</c:v>
                </c:pt>
                <c:pt idx="15">
                  <c:v>0.2936348929620913</c:v>
                </c:pt>
                <c:pt idx="16">
                  <c:v>0.2652838398861829</c:v>
                </c:pt>
                <c:pt idx="17">
                  <c:v>0.28078927752444444</c:v>
                </c:pt>
                <c:pt idx="18">
                  <c:v>0.31820549917829377</c:v>
                </c:pt>
                <c:pt idx="19">
                  <c:v>0.31993494326215316</c:v>
                </c:pt>
                <c:pt idx="20">
                  <c:v>0.3226691048441989</c:v>
                </c:pt>
                <c:pt idx="21">
                  <c:v>0.24666478269402403</c:v>
                </c:pt>
                <c:pt idx="22">
                  <c:v>0.25403166823714024</c:v>
                </c:pt>
                <c:pt idx="23">
                  <c:v>0.24688886224757206</c:v>
                </c:pt>
                <c:pt idx="24">
                  <c:v>0.255677801835873</c:v>
                </c:pt>
                <c:pt idx="25">
                  <c:v>0.27294640613449334</c:v>
                </c:pt>
                <c:pt idx="26">
                  <c:v>0.247403877256668</c:v>
                </c:pt>
                <c:pt idx="27">
                  <c:v>0.2624869831524674</c:v>
                </c:pt>
                <c:pt idx="28">
                  <c:v>0.25493827887197557</c:v>
                </c:pt>
                <c:pt idx="29">
                  <c:v>0.24127322850724936</c:v>
                </c:pt>
                <c:pt idx="30">
                  <c:v>0.2547255554621152</c:v>
                </c:pt>
                <c:pt idx="31">
                  <c:v>0.29613153160368705</c:v>
                </c:pt>
                <c:pt idx="32">
                  <c:v>0.2753229354596352</c:v>
                </c:pt>
                <c:pt idx="33">
                  <c:v>0.2532544709867363</c:v>
                </c:pt>
                <c:pt idx="34">
                  <c:v>0.25518615150784507</c:v>
                </c:pt>
                <c:pt idx="35">
                  <c:v>0.2805539524541857</c:v>
                </c:pt>
                <c:pt idx="36">
                  <c:v>0.27651653015636635</c:v>
                </c:pt>
                <c:pt idx="37">
                  <c:v>0.26720838052095125</c:v>
                </c:pt>
                <c:pt idx="38">
                  <c:v>0.2965620511944803</c:v>
                </c:pt>
                <c:pt idx="39">
                  <c:v>0.2944481029768001</c:v>
                </c:pt>
                <c:pt idx="40">
                  <c:v>0.277790202628221</c:v>
                </c:pt>
                <c:pt idx="41">
                  <c:v>0.28894448692546565</c:v>
                </c:pt>
                <c:pt idx="42">
                  <c:v>0.26618399719304053</c:v>
                </c:pt>
                <c:pt idx="43">
                  <c:v>0.2729202431160145</c:v>
                </c:pt>
                <c:pt idx="44">
                  <c:v>0.27096023969430727</c:v>
                </c:pt>
                <c:pt idx="45">
                  <c:v>0.2759589846171077</c:v>
                </c:pt>
                <c:pt idx="46">
                  <c:v>0.26998817448593637</c:v>
                </c:pt>
                <c:pt idx="47">
                  <c:v>0.28211630442873875</c:v>
                </c:pt>
                <c:pt idx="48">
                  <c:v>0.2648900347756085</c:v>
                </c:pt>
                <c:pt idx="49">
                  <c:v>0.2694114689487821</c:v>
                </c:pt>
                <c:pt idx="50">
                  <c:v>0.2880760174764642</c:v>
                </c:pt>
                <c:pt idx="51">
                  <c:v>0.30546927464657453</c:v>
                </c:pt>
                <c:pt idx="52">
                  <c:v>0.3055341927635039</c:v>
                </c:pt>
                <c:pt idx="53">
                  <c:v>0.28072110043669807</c:v>
                </c:pt>
                <c:pt idx="54">
                  <c:v>0.26878830517457525</c:v>
                </c:pt>
                <c:pt idx="55">
                  <c:v>0.289955424065703</c:v>
                </c:pt>
                <c:pt idx="56">
                  <c:v>0.2696360455642665</c:v>
                </c:pt>
                <c:pt idx="57">
                  <c:v>0.24528328987837816</c:v>
                </c:pt>
                <c:pt idx="58">
                  <c:v>0.2439995362594813</c:v>
                </c:pt>
                <c:pt idx="59">
                  <c:v>0.24515667409064407</c:v>
                </c:pt>
                <c:pt idx="60">
                  <c:v>0.2537593193623088</c:v>
                </c:pt>
                <c:pt idx="61">
                  <c:v>0.28063817110988204</c:v>
                </c:pt>
                <c:pt idx="62">
                  <c:v>0.3138962852596505</c:v>
                </c:pt>
                <c:pt idx="63">
                  <c:v>0.3403416098065828</c:v>
                </c:pt>
                <c:pt idx="64">
                  <c:v>0.34856921720809236</c:v>
                </c:pt>
                <c:pt idx="65">
                  <c:v>0.3473351490379207</c:v>
                </c:pt>
                <c:pt idx="66">
                  <c:v>0.3227604407185182</c:v>
                </c:pt>
                <c:pt idx="67">
                  <c:v>0.3256617809487628</c:v>
                </c:pt>
                <c:pt idx="68">
                  <c:v>0.360946352278442</c:v>
                </c:pt>
                <c:pt idx="69">
                  <c:v>0.385219728740641</c:v>
                </c:pt>
                <c:pt idx="70">
                  <c:v>0.36162046410690574</c:v>
                </c:pt>
                <c:pt idx="71">
                  <c:v>0.3277833644299747</c:v>
                </c:pt>
                <c:pt idx="72">
                  <c:v>0.32192349232203804</c:v>
                </c:pt>
                <c:pt idx="73">
                  <c:v>0.3326407522660944</c:v>
                </c:pt>
                <c:pt idx="74">
                  <c:v>0.31039007868658675</c:v>
                </c:pt>
                <c:pt idx="75">
                  <c:v>0.2864053611784204</c:v>
                </c:pt>
                <c:pt idx="76">
                  <c:v>0.3051834012026477</c:v>
                </c:pt>
                <c:pt idx="77">
                  <c:v>0.3097055035939396</c:v>
                </c:pt>
                <c:pt idx="78">
                  <c:v>0.327059488913345</c:v>
                </c:pt>
                <c:pt idx="79">
                  <c:v>0.32497929752440563</c:v>
                </c:pt>
                <c:pt idx="80">
                  <c:v>0.32912646697568937</c:v>
                </c:pt>
                <c:pt idx="81">
                  <c:v>0.31922033832735586</c:v>
                </c:pt>
                <c:pt idx="82">
                  <c:v>0.3274316343398298</c:v>
                </c:pt>
                <c:pt idx="83">
                  <c:v>0.3158438888403107</c:v>
                </c:pt>
                <c:pt idx="84">
                  <c:v>0.3386111917946023</c:v>
                </c:pt>
                <c:pt idx="85">
                  <c:v>0.31643865135322863</c:v>
                </c:pt>
                <c:pt idx="86">
                  <c:v>0.3222645352647568</c:v>
                </c:pt>
                <c:pt idx="87">
                  <c:v>0.31396457359124574</c:v>
                </c:pt>
                <c:pt idx="88">
                  <c:v>0.2980459779617269</c:v>
                </c:pt>
                <c:pt idx="89">
                  <c:v>0.297449361544956</c:v>
                </c:pt>
                <c:pt idx="90">
                  <c:v>0.29724509679679556</c:v>
                </c:pt>
                <c:pt idx="91">
                  <c:v>0.3080364989772717</c:v>
                </c:pt>
                <c:pt idx="92">
                  <c:v>0.3008151777605073</c:v>
                </c:pt>
                <c:pt idx="93">
                  <c:v>0.3025819883173953</c:v>
                </c:pt>
                <c:pt idx="94">
                  <c:v>0.304648405523029</c:v>
                </c:pt>
                <c:pt idx="95">
                  <c:v>0.31020582741932834</c:v>
                </c:pt>
                <c:pt idx="96">
                  <c:v>0.3162680999835334</c:v>
                </c:pt>
                <c:pt idx="97">
                  <c:v>0.3305092915432527</c:v>
                </c:pt>
                <c:pt idx="98">
                  <c:v>0.3246218351054034</c:v>
                </c:pt>
                <c:pt idx="99">
                  <c:v>0.3230709859133012</c:v>
                </c:pt>
                <c:pt idx="100">
                  <c:v>0.31125726412550825</c:v>
                </c:pt>
                <c:pt idx="101">
                  <c:v>0.2965799423888486</c:v>
                </c:pt>
                <c:pt idx="102">
                  <c:v>0.3182959492051962</c:v>
                </c:pt>
                <c:pt idx="103">
                  <c:v>0.24949659067506125</c:v>
                </c:pt>
                <c:pt idx="104">
                  <c:v>0.24867042807601566</c:v>
                </c:pt>
              </c:numCache>
            </c:numRef>
          </c:xVal>
          <c:yVal>
            <c:numRef>
              <c:f>Sheet1!$B$2:$B$106</c:f>
              <c:numCache>
                <c:formatCode>General</c:formatCode>
                <c:ptCount val="105"/>
                <c:pt idx="0">
                  <c:v>0.10837438423645321</c:v>
                </c:pt>
                <c:pt idx="1">
                  <c:v>0.13059701492537312</c:v>
                </c:pt>
                <c:pt idx="2">
                  <c:v>0.12539184952978055</c:v>
                </c:pt>
                <c:pt idx="3">
                  <c:v>0.09635416666666667</c:v>
                </c:pt>
                <c:pt idx="4">
                  <c:v>0.09941520467836257</c:v>
                </c:pt>
                <c:pt idx="5">
                  <c:v>0.10631229235880399</c:v>
                </c:pt>
                <c:pt idx="6">
                  <c:v>0.12121212121212122</c:v>
                </c:pt>
                <c:pt idx="7">
                  <c:v>0.12062256809338522</c:v>
                </c:pt>
                <c:pt idx="8">
                  <c:v>0.09302325581395349</c:v>
                </c:pt>
                <c:pt idx="9">
                  <c:v>0.09836065573770492</c:v>
                </c:pt>
                <c:pt idx="10">
                  <c:v>0.12429378531073447</c:v>
                </c:pt>
                <c:pt idx="11">
                  <c:v>0.12320916905444126</c:v>
                </c:pt>
                <c:pt idx="12">
                  <c:v>0.11428571428571428</c:v>
                </c:pt>
                <c:pt idx="13">
                  <c:v>0.12176165803108809</c:v>
                </c:pt>
                <c:pt idx="14">
                  <c:v>0.13333333333333333</c:v>
                </c:pt>
                <c:pt idx="15">
                  <c:v>0.09375</c:v>
                </c:pt>
                <c:pt idx="16">
                  <c:v>0.08997429305912596</c:v>
                </c:pt>
                <c:pt idx="17">
                  <c:v>0.07977207977207977</c:v>
                </c:pt>
                <c:pt idx="18">
                  <c:v>0.0749185667752443</c:v>
                </c:pt>
                <c:pt idx="19">
                  <c:v>0.06437768240343347</c:v>
                </c:pt>
                <c:pt idx="20">
                  <c:v>0.07763975155279502</c:v>
                </c:pt>
                <c:pt idx="21">
                  <c:v>0.10344827586206896</c:v>
                </c:pt>
                <c:pt idx="22">
                  <c:v>0.12307692307692308</c:v>
                </c:pt>
                <c:pt idx="23">
                  <c:v>0.1326530612244898</c:v>
                </c:pt>
                <c:pt idx="24">
                  <c:v>0.11055276381909548</c:v>
                </c:pt>
                <c:pt idx="25">
                  <c:v>0.10062893081761007</c:v>
                </c:pt>
                <c:pt idx="26">
                  <c:v>0.13488372093023257</c:v>
                </c:pt>
                <c:pt idx="27">
                  <c:v>0.09606986899563319</c:v>
                </c:pt>
                <c:pt idx="28">
                  <c:v>0.10087719298245613</c:v>
                </c:pt>
                <c:pt idx="29">
                  <c:v>0.07692307692307693</c:v>
                </c:pt>
                <c:pt idx="30">
                  <c:v>0.08796296296296297</c:v>
                </c:pt>
                <c:pt idx="31">
                  <c:v>0.09090909090909091</c:v>
                </c:pt>
                <c:pt idx="32">
                  <c:v>0.10648148148148148</c:v>
                </c:pt>
                <c:pt idx="33">
                  <c:v>0.1016949152542373</c:v>
                </c:pt>
                <c:pt idx="34">
                  <c:v>0.10738255033557047</c:v>
                </c:pt>
                <c:pt idx="35">
                  <c:v>0.11632270168855535</c:v>
                </c:pt>
                <c:pt idx="36">
                  <c:v>0.1227154046997389</c:v>
                </c:pt>
                <c:pt idx="37">
                  <c:v>0.07746478873239436</c:v>
                </c:pt>
                <c:pt idx="38">
                  <c:v>0.0944055944055944</c:v>
                </c:pt>
                <c:pt idx="39">
                  <c:v>0.0933852140077821</c:v>
                </c:pt>
                <c:pt idx="40">
                  <c:v>0.07588075880758807</c:v>
                </c:pt>
                <c:pt idx="41">
                  <c:v>0.06397306397306397</c:v>
                </c:pt>
                <c:pt idx="42">
                  <c:v>0.0664819944598338</c:v>
                </c:pt>
                <c:pt idx="43">
                  <c:v>0.07560975609756097</c:v>
                </c:pt>
                <c:pt idx="44">
                  <c:v>0.13953488372093023</c:v>
                </c:pt>
                <c:pt idx="45">
                  <c:v>0.14985994397759103</c:v>
                </c:pt>
                <c:pt idx="46">
                  <c:v>0.1384217335058215</c:v>
                </c:pt>
                <c:pt idx="47">
                  <c:v>0.15233785822021115</c:v>
                </c:pt>
                <c:pt idx="48">
                  <c:v>0.17118093174431204</c:v>
                </c:pt>
                <c:pt idx="49">
                  <c:v>0.1783644558918223</c:v>
                </c:pt>
                <c:pt idx="50">
                  <c:v>0.12813738441215325</c:v>
                </c:pt>
                <c:pt idx="51">
                  <c:v>0.1054945054945055</c:v>
                </c:pt>
                <c:pt idx="52">
                  <c:v>0.12307692307692308</c:v>
                </c:pt>
                <c:pt idx="53">
                  <c:v>0.1232876712328767</c:v>
                </c:pt>
                <c:pt idx="54">
                  <c:v>0.11989100817438691</c:v>
                </c:pt>
                <c:pt idx="55">
                  <c:v>0.08776595744680851</c:v>
                </c:pt>
                <c:pt idx="56">
                  <c:v>0.1130952380952381</c:v>
                </c:pt>
                <c:pt idx="57">
                  <c:v>0.12668463611859837</c:v>
                </c:pt>
                <c:pt idx="58">
                  <c:v>0.1740139211136891</c:v>
                </c:pt>
                <c:pt idx="59">
                  <c:v>0.11794019933554817</c:v>
                </c:pt>
                <c:pt idx="60">
                  <c:v>0.11753371868978806</c:v>
                </c:pt>
                <c:pt idx="61">
                  <c:v>0.13316582914572864</c:v>
                </c:pt>
                <c:pt idx="62">
                  <c:v>0.14615384615384616</c:v>
                </c:pt>
                <c:pt idx="63">
                  <c:v>0.14492753623188406</c:v>
                </c:pt>
                <c:pt idx="64">
                  <c:v>0.14096916299559473</c:v>
                </c:pt>
                <c:pt idx="65">
                  <c:v>0.12996941896024464</c:v>
                </c:pt>
                <c:pt idx="66">
                  <c:v>0.12618296529968454</c:v>
                </c:pt>
                <c:pt idx="67">
                  <c:v>0.12312811980033278</c:v>
                </c:pt>
                <c:pt idx="68">
                  <c:v>0.13900414937759337</c:v>
                </c:pt>
                <c:pt idx="69">
                  <c:v>0.06318681318681318</c:v>
                </c:pt>
                <c:pt idx="70">
                  <c:v>0.10109289617486339</c:v>
                </c:pt>
                <c:pt idx="71">
                  <c:v>0.12363636363636364</c:v>
                </c:pt>
                <c:pt idx="72">
                  <c:v>0.10580204778156997</c:v>
                </c:pt>
                <c:pt idx="73">
                  <c:v>0.15579710144927536</c:v>
                </c:pt>
                <c:pt idx="74">
                  <c:v>0.1152542372881356</c:v>
                </c:pt>
                <c:pt idx="75">
                  <c:v>0.1452991452991453</c:v>
                </c:pt>
                <c:pt idx="76">
                  <c:v>0.13526570048309178</c:v>
                </c:pt>
                <c:pt idx="77">
                  <c:v>0.11688311688311688</c:v>
                </c:pt>
                <c:pt idx="78">
                  <c:v>0.14361702127659576</c:v>
                </c:pt>
                <c:pt idx="79">
                  <c:v>0.08433734939759036</c:v>
                </c:pt>
                <c:pt idx="80">
                  <c:v>0.0823045267489712</c:v>
                </c:pt>
                <c:pt idx="81">
                  <c:v>0.09121621621621621</c:v>
                </c:pt>
                <c:pt idx="82">
                  <c:v>0.0759493670886076</c:v>
                </c:pt>
                <c:pt idx="83">
                  <c:v>0.08333333333333333</c:v>
                </c:pt>
                <c:pt idx="84">
                  <c:v>0.07329842931937172</c:v>
                </c:pt>
                <c:pt idx="85">
                  <c:v>0.12301587301587301</c:v>
                </c:pt>
                <c:pt idx="86">
                  <c:v>0.09593023255813954</c:v>
                </c:pt>
                <c:pt idx="87">
                  <c:v>0.12465373961218837</c:v>
                </c:pt>
                <c:pt idx="88">
                  <c:v>0.11020408163265306</c:v>
                </c:pt>
                <c:pt idx="89">
                  <c:v>0.11731843575418995</c:v>
                </c:pt>
                <c:pt idx="90">
                  <c:v>0.11483253588516747</c:v>
                </c:pt>
                <c:pt idx="91">
                  <c:v>0.12669683257918551</c:v>
                </c:pt>
                <c:pt idx="92">
                  <c:v>0.11683848797250859</c:v>
                </c:pt>
                <c:pt idx="93">
                  <c:v>0.09657320872274143</c:v>
                </c:pt>
                <c:pt idx="94">
                  <c:v>0.09523809523809523</c:v>
                </c:pt>
                <c:pt idx="95">
                  <c:v>0.10674157303370786</c:v>
                </c:pt>
                <c:pt idx="96">
                  <c:v>0.09380530973451327</c:v>
                </c:pt>
                <c:pt idx="97">
                  <c:v>0.08970099667774087</c:v>
                </c:pt>
                <c:pt idx="98">
                  <c:v>0.1155433287482806</c:v>
                </c:pt>
                <c:pt idx="99">
                  <c:v>0.12166859791425261</c:v>
                </c:pt>
                <c:pt idx="100">
                  <c:v>0.1417004048582996</c:v>
                </c:pt>
                <c:pt idx="101">
                  <c:v>0.13050075872534142</c:v>
                </c:pt>
                <c:pt idx="102">
                  <c:v>0.11027568922305764</c:v>
                </c:pt>
                <c:pt idx="103">
                  <c:v>0.14666666666666667</c:v>
                </c:pt>
                <c:pt idx="104">
                  <c:v>0.129834254143646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660716805849217</c:v>
                </c:pt>
                <c:pt idx="1">
                  <c:v>0.2794002413470469</c:v>
                </c:pt>
                <c:pt idx="2">
                  <c:v>0.28559251500472826</c:v>
                </c:pt>
                <c:pt idx="3">
                  <c:v>0.28469922076144866</c:v>
                </c:pt>
                <c:pt idx="4">
                  <c:v>0.289629729041849</c:v>
                </c:pt>
                <c:pt idx="5">
                  <c:v>0.28571389171981215</c:v>
                </c:pt>
                <c:pt idx="6">
                  <c:v>0.29953316401369895</c:v>
                </c:pt>
                <c:pt idx="7">
                  <c:v>0.2735436693675671</c:v>
                </c:pt>
                <c:pt idx="8">
                  <c:v>0.3161819326282709</c:v>
                </c:pt>
                <c:pt idx="9">
                  <c:v>0.33163956634722963</c:v>
                </c:pt>
                <c:pt idx="10">
                  <c:v>0.2989536416565967</c:v>
                </c:pt>
                <c:pt idx="11">
                  <c:v>0.3385691821982764</c:v>
                </c:pt>
                <c:pt idx="12">
                  <c:v>0.34903697959520036</c:v>
                </c:pt>
                <c:pt idx="13">
                  <c:v>0.319209330059929</c:v>
                </c:pt>
                <c:pt idx="14">
                  <c:v>0.29884167720740756</c:v>
                </c:pt>
                <c:pt idx="15">
                  <c:v>0.34446508298093403</c:v>
                </c:pt>
                <c:pt idx="16">
                  <c:v>0.34454370521055266</c:v>
                </c:pt>
                <c:pt idx="17">
                  <c:v>0.32970281188352113</c:v>
                </c:pt>
                <c:pt idx="18">
                  <c:v>0.30229066762383344</c:v>
                </c:pt>
                <c:pt idx="19">
                  <c:v>0.2677896741141443</c:v>
                </c:pt>
                <c:pt idx="20">
                  <c:v>0.22981339366111872</c:v>
                </c:pt>
                <c:pt idx="21">
                  <c:v>0.33077270633208883</c:v>
                </c:pt>
                <c:pt idx="22">
                  <c:v>0.3185511724616535</c:v>
                </c:pt>
                <c:pt idx="23">
                  <c:v>0.3150274819989602</c:v>
                </c:pt>
                <c:pt idx="24">
                  <c:v>0.33392656997884024</c:v>
                </c:pt>
                <c:pt idx="25">
                  <c:v>0.22462996213049186</c:v>
                </c:pt>
                <c:pt idx="26">
                  <c:v>0.31716039005815405</c:v>
                </c:pt>
                <c:pt idx="27">
                  <c:v>0.354382803026851</c:v>
                </c:pt>
                <c:pt idx="28">
                  <c:v>0.3108106168478293</c:v>
                </c:pt>
                <c:pt idx="29">
                  <c:v>0.28077777284101413</c:v>
                </c:pt>
                <c:pt idx="30">
                  <c:v>0.3090180589816159</c:v>
                </c:pt>
                <c:pt idx="31">
                  <c:v>0.2869827023254469</c:v>
                </c:pt>
                <c:pt idx="32">
                  <c:v>0.2925234569507149</c:v>
                </c:pt>
                <c:pt idx="33">
                  <c:v>0.30271882298132474</c:v>
                </c:pt>
                <c:pt idx="34">
                  <c:v>0.3193801560926194</c:v>
                </c:pt>
                <c:pt idx="35">
                  <c:v>0.31355896380353276</c:v>
                </c:pt>
                <c:pt idx="36">
                  <c:v>0.2875133053684185</c:v>
                </c:pt>
                <c:pt idx="37">
                  <c:v>0.26630581391441593</c:v>
                </c:pt>
                <c:pt idx="38">
                  <c:v>0.2699172785538386</c:v>
                </c:pt>
                <c:pt idx="39">
                  <c:v>0.3202920512648669</c:v>
                </c:pt>
                <c:pt idx="40">
                  <c:v>0.3137251478532061</c:v>
                </c:pt>
                <c:pt idx="41">
                  <c:v>0.3064411700694494</c:v>
                </c:pt>
                <c:pt idx="42">
                  <c:v>0.26049213364801144</c:v>
                </c:pt>
                <c:pt idx="43">
                  <c:v>0.30356252836790953</c:v>
                </c:pt>
                <c:pt idx="44">
                  <c:v>0.34188237813508315</c:v>
                </c:pt>
                <c:pt idx="45">
                  <c:v>0.3031737729621683</c:v>
                </c:pt>
                <c:pt idx="46">
                  <c:v>0.2833947068169467</c:v>
                </c:pt>
                <c:pt idx="47">
                  <c:v>0.31018337146111485</c:v>
                </c:pt>
                <c:pt idx="48">
                  <c:v>0.3343168552203564</c:v>
                </c:pt>
                <c:pt idx="49">
                  <c:v>0.34167451167879975</c:v>
                </c:pt>
                <c:pt idx="50">
                  <c:v>0.337923317762743</c:v>
                </c:pt>
                <c:pt idx="51">
                  <c:v>0.3651414940423954</c:v>
                </c:pt>
              </c:numCache>
            </c:numRef>
          </c:xVal>
          <c:yVal>
            <c:numRef>
              <c:f>Sheet1!$B$109:$B$160</c:f>
              <c:numCache>
                <c:formatCode>General</c:formatCode>
                <c:ptCount val="52"/>
                <c:pt idx="0">
                  <c:v>0.14414414414414414</c:v>
                </c:pt>
                <c:pt idx="1">
                  <c:v>0.13349514563106796</c:v>
                </c:pt>
                <c:pt idx="2">
                  <c:v>0.13856812933025403</c:v>
                </c:pt>
                <c:pt idx="3">
                  <c:v>0.15326633165829145</c:v>
                </c:pt>
                <c:pt idx="4">
                  <c:v>0.14249363867684478</c:v>
                </c:pt>
                <c:pt idx="5">
                  <c:v>0.1457286432160804</c:v>
                </c:pt>
                <c:pt idx="6">
                  <c:v>0.14955357142857142</c:v>
                </c:pt>
                <c:pt idx="7">
                  <c:v>0.19540229885057472</c:v>
                </c:pt>
                <c:pt idx="8">
                  <c:v>0.1550632911392405</c:v>
                </c:pt>
                <c:pt idx="9">
                  <c:v>0.12238805970149254</c:v>
                </c:pt>
                <c:pt idx="10">
                  <c:v>0.16714697406340057</c:v>
                </c:pt>
                <c:pt idx="11">
                  <c:v>0.12260536398467432</c:v>
                </c:pt>
                <c:pt idx="12">
                  <c:v>0.12141280353200883</c:v>
                </c:pt>
                <c:pt idx="13">
                  <c:v>0.13846153846153847</c:v>
                </c:pt>
                <c:pt idx="14">
                  <c:v>0.1867816091954023</c:v>
                </c:pt>
                <c:pt idx="15">
                  <c:v>0.10802469135802469</c:v>
                </c:pt>
                <c:pt idx="16">
                  <c:v>0.125</c:v>
                </c:pt>
                <c:pt idx="17">
                  <c:v>0.11067193675889328</c:v>
                </c:pt>
                <c:pt idx="18">
                  <c:v>0.1493212669683258</c:v>
                </c:pt>
                <c:pt idx="19">
                  <c:v>0.17142857142857143</c:v>
                </c:pt>
                <c:pt idx="20">
                  <c:v>0.16901408450704225</c:v>
                </c:pt>
                <c:pt idx="21">
                  <c:v>0.145985401459854</c:v>
                </c:pt>
                <c:pt idx="22">
                  <c:v>0.09243697478991597</c:v>
                </c:pt>
                <c:pt idx="23">
                  <c:v>0.1258741258741259</c:v>
                </c:pt>
                <c:pt idx="24">
                  <c:v>0.10857142857142857</c:v>
                </c:pt>
                <c:pt idx="25">
                  <c:v>0.17159763313609466</c:v>
                </c:pt>
                <c:pt idx="26">
                  <c:v>0.1388888888888889</c:v>
                </c:pt>
                <c:pt idx="27">
                  <c:v>0.13333333333333333</c:v>
                </c:pt>
                <c:pt idx="28">
                  <c:v>0.13725490196078433</c:v>
                </c:pt>
                <c:pt idx="29">
                  <c:v>0.14358974358974358</c:v>
                </c:pt>
                <c:pt idx="30">
                  <c:v>0.1590909090909091</c:v>
                </c:pt>
                <c:pt idx="31">
                  <c:v>0.14594594594594595</c:v>
                </c:pt>
                <c:pt idx="32">
                  <c:v>0.14285714285714285</c:v>
                </c:pt>
                <c:pt idx="33">
                  <c:v>0.13043478260869565</c:v>
                </c:pt>
                <c:pt idx="34">
                  <c:v>0.13140311804008908</c:v>
                </c:pt>
                <c:pt idx="35">
                  <c:v>0.125</c:v>
                </c:pt>
                <c:pt idx="36">
                  <c:v>0.1242603550295858</c:v>
                </c:pt>
                <c:pt idx="37">
                  <c:v>0.15706806282722513</c:v>
                </c:pt>
                <c:pt idx="38">
                  <c:v>0.15204678362573099</c:v>
                </c:pt>
                <c:pt idx="39">
                  <c:v>0.16595744680851063</c:v>
                </c:pt>
                <c:pt idx="40">
                  <c:v>0.11403508771929824</c:v>
                </c:pt>
                <c:pt idx="41">
                  <c:v>0.11297071129707113</c:v>
                </c:pt>
                <c:pt idx="42">
                  <c:v>0.17410714285714285</c:v>
                </c:pt>
                <c:pt idx="43">
                  <c:v>0.11940298507462686</c:v>
                </c:pt>
                <c:pt idx="44">
                  <c:v>0.09706546275395034</c:v>
                </c:pt>
                <c:pt idx="45">
                  <c:v>0.13</c:v>
                </c:pt>
                <c:pt idx="46">
                  <c:v>0.15947467166979362</c:v>
                </c:pt>
                <c:pt idx="47">
                  <c:v>0.15738963531669867</c:v>
                </c:pt>
                <c:pt idx="48">
                  <c:v>0.1392</c:v>
                </c:pt>
                <c:pt idx="49">
                  <c:v>0.15036496350364964</c:v>
                </c:pt>
                <c:pt idx="50">
                  <c:v>0.16793893129770993</c:v>
                </c:pt>
                <c:pt idx="51">
                  <c:v>0.157809983896940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23278011612853</c:v>
                </c:pt>
              </c:numCache>
            </c:numRef>
          </c:xVal>
          <c:yVal>
            <c:numRef>
              <c:f>Sheet1!$B$163:$B$164</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23278011612853</c:v>
                </c:pt>
                <c:pt idx="1">
                  <c:v>0.2723278011612853</c:v>
                </c:pt>
              </c:numCache>
            </c:numRef>
          </c:xVal>
          <c:yVal>
            <c:numRef>
              <c:f>Sheet1!$B$167:$B$168</c:f>
              <c:numCache>
                <c:formatCode>General</c:formatCode>
                <c:ptCount val="2"/>
                <c:pt idx="0">
                  <c:v>0.1538284696745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23278011612853</c:v>
                </c:pt>
              </c:numCache>
            </c:numRef>
          </c:xVal>
          <c:yVal>
            <c:numRef>
              <c:f>Sheet1!$B$171:$B$172</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23278011612853</c:v>
                </c:pt>
                <c:pt idx="1">
                  <c:v>0.2723278011612853</c:v>
                </c:pt>
              </c:numCache>
            </c:numRef>
          </c:xVal>
          <c:yVal>
            <c:numRef>
              <c:f>Sheet1!$B$175:$B$176</c:f>
              <c:numCache>
                <c:formatCode>General</c:formatCode>
                <c:ptCount val="2"/>
                <c:pt idx="0">
                  <c:v>0.1538284696745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44796687693953</c:v>
                </c:pt>
              </c:numCache>
            </c:numRef>
          </c:xVal>
          <c:yVal>
            <c:numRef>
              <c:f>Sheet1!$B$179:$B$180</c:f>
              <c:numCache>
                <c:formatCode>General</c:formatCode>
                <c:ptCount val="2"/>
                <c:pt idx="0">
                  <c:v>0.14197823247656866</c:v>
                </c:pt>
                <c:pt idx="1">
                  <c:v>0.141978232476568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44796687693953</c:v>
                </c:pt>
                <c:pt idx="1">
                  <c:v>0.3044796687693953</c:v>
                </c:pt>
              </c:numCache>
            </c:numRef>
          </c:xVal>
          <c:yVal>
            <c:numRef>
              <c:f>Sheet1!$B$183:$B$184</c:f>
              <c:numCache>
                <c:formatCode>General</c:formatCode>
                <c:ptCount val="2"/>
                <c:pt idx="0">
                  <c:v>0.141978232476568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660716805849217</c:v>
                </c:pt>
                <c:pt idx="1">
                  <c:v>0.2794002413470469</c:v>
                </c:pt>
                <c:pt idx="2">
                  <c:v>0.28559251500472826</c:v>
                </c:pt>
                <c:pt idx="3">
                  <c:v>0.28469922076144866</c:v>
                </c:pt>
                <c:pt idx="4">
                  <c:v>0.289629729041849</c:v>
                </c:pt>
                <c:pt idx="5">
                  <c:v>0.28571389171981215</c:v>
                </c:pt>
                <c:pt idx="6">
                  <c:v>0.29953316401369895</c:v>
                </c:pt>
                <c:pt idx="7">
                  <c:v>0.2735436693675671</c:v>
                </c:pt>
                <c:pt idx="8">
                  <c:v>0.3161819326282709</c:v>
                </c:pt>
                <c:pt idx="9">
                  <c:v>0.33163956634722963</c:v>
                </c:pt>
                <c:pt idx="10">
                  <c:v>0.2989536416565967</c:v>
                </c:pt>
                <c:pt idx="11">
                  <c:v>0.3385691821982764</c:v>
                </c:pt>
                <c:pt idx="12">
                  <c:v>0.34903697959520036</c:v>
                </c:pt>
                <c:pt idx="13">
                  <c:v>0.319209330059929</c:v>
                </c:pt>
                <c:pt idx="14">
                  <c:v>0.29884167720740756</c:v>
                </c:pt>
                <c:pt idx="15">
                  <c:v>0.34446508298093403</c:v>
                </c:pt>
                <c:pt idx="16">
                  <c:v>0.34454370521055266</c:v>
                </c:pt>
                <c:pt idx="17">
                  <c:v>0.32970281188352113</c:v>
                </c:pt>
                <c:pt idx="18">
                  <c:v>0.30229066762383344</c:v>
                </c:pt>
                <c:pt idx="19">
                  <c:v>0.2677896741141443</c:v>
                </c:pt>
                <c:pt idx="20">
                  <c:v>0.22981339366111872</c:v>
                </c:pt>
                <c:pt idx="21">
                  <c:v>0.33077270633208883</c:v>
                </c:pt>
                <c:pt idx="22">
                  <c:v>0.3185511724616535</c:v>
                </c:pt>
                <c:pt idx="23">
                  <c:v>0.3150274819989602</c:v>
                </c:pt>
                <c:pt idx="24">
                  <c:v>0.33392656997884024</c:v>
                </c:pt>
                <c:pt idx="25">
                  <c:v>0.22462996213049186</c:v>
                </c:pt>
                <c:pt idx="26">
                  <c:v>0.31716039005815405</c:v>
                </c:pt>
                <c:pt idx="27">
                  <c:v>0.354382803026851</c:v>
                </c:pt>
                <c:pt idx="28">
                  <c:v>0.3108106168478293</c:v>
                </c:pt>
                <c:pt idx="29">
                  <c:v>0.28077777284101413</c:v>
                </c:pt>
                <c:pt idx="30">
                  <c:v>0.3090180589816159</c:v>
                </c:pt>
                <c:pt idx="31">
                  <c:v>0.2869827023254469</c:v>
                </c:pt>
                <c:pt idx="32">
                  <c:v>0.2925234569507149</c:v>
                </c:pt>
                <c:pt idx="33">
                  <c:v>0.30271882298132474</c:v>
                </c:pt>
                <c:pt idx="34">
                  <c:v>0.3193801560926194</c:v>
                </c:pt>
                <c:pt idx="35">
                  <c:v>0.31355896380353276</c:v>
                </c:pt>
                <c:pt idx="36">
                  <c:v>0.2875133053684185</c:v>
                </c:pt>
                <c:pt idx="37">
                  <c:v>0.26630581391441593</c:v>
                </c:pt>
                <c:pt idx="38">
                  <c:v>0.2699172785538386</c:v>
                </c:pt>
                <c:pt idx="39">
                  <c:v>0.3202920512648669</c:v>
                </c:pt>
                <c:pt idx="40">
                  <c:v>0.3137251478532061</c:v>
                </c:pt>
                <c:pt idx="41">
                  <c:v>0.3064411700694494</c:v>
                </c:pt>
                <c:pt idx="42">
                  <c:v>0.26049213364801144</c:v>
                </c:pt>
                <c:pt idx="43">
                  <c:v>0.30356252836790953</c:v>
                </c:pt>
                <c:pt idx="44">
                  <c:v>0.34188237813508315</c:v>
                </c:pt>
                <c:pt idx="45">
                  <c:v>0.3031737729621683</c:v>
                </c:pt>
                <c:pt idx="46">
                  <c:v>0.2833947068169467</c:v>
                </c:pt>
                <c:pt idx="47">
                  <c:v>0.31018337146111485</c:v>
                </c:pt>
                <c:pt idx="48">
                  <c:v>0.3343168552203564</c:v>
                </c:pt>
                <c:pt idx="49">
                  <c:v>0.34167451167879975</c:v>
                </c:pt>
                <c:pt idx="50">
                  <c:v>0.337923317762743</c:v>
                </c:pt>
                <c:pt idx="51">
                  <c:v>0.3651414940423954</c:v>
                </c:pt>
                <c:pt idx="52">
                  <c:v>0.2723278011612853</c:v>
                </c:pt>
                <c:pt idx="53">
                  <c:v>0.2723278011612853</c:v>
                </c:pt>
                <c:pt idx="54">
                  <c:v>0.3044796687693953</c:v>
                </c:pt>
              </c:numCache>
            </c:numRef>
          </c:xVal>
          <c:yVal>
            <c:numRef>
              <c:f>Sheet1!$B$187:$B$241</c:f>
              <c:numCache>
                <c:formatCode>General</c:formatCode>
                <c:ptCount val="55"/>
                <c:pt idx="0">
                  <c:v>0.1561342925795728</c:v>
                </c:pt>
                <c:pt idx="1">
                  <c:v>0.15122177525820316</c:v>
                </c:pt>
                <c:pt idx="2">
                  <c:v>0.1489394844583996</c:v>
                </c:pt>
                <c:pt idx="3">
                  <c:v>0.14926872656649437</c:v>
                </c:pt>
                <c:pt idx="4">
                  <c:v>0.14745148554828547</c:v>
                </c:pt>
                <c:pt idx="5">
                  <c:v>0.14889474855435852</c:v>
                </c:pt>
                <c:pt idx="6">
                  <c:v>0.14380136932729648</c:v>
                </c:pt>
                <c:pt idx="7">
                  <c:v>0.15338033624663316</c:v>
                </c:pt>
                <c:pt idx="8">
                  <c:v>0.1376651205860994</c:v>
                </c:pt>
                <c:pt idx="9">
                  <c:v>0.1319678892985658</c:v>
                </c:pt>
                <c:pt idx="10">
                  <c:v>0.1440149643033929</c:v>
                </c:pt>
                <c:pt idx="11">
                  <c:v>0.12941383575098103</c:v>
                </c:pt>
                <c:pt idx="12">
                  <c:v>0.12555571206105479</c:v>
                </c:pt>
                <c:pt idx="13">
                  <c:v>0.13654931051574642</c:v>
                </c:pt>
                <c:pt idx="14">
                  <c:v>0.14405623112175653</c:v>
                </c:pt>
                <c:pt idx="15">
                  <c:v>0.12724077931699707</c:v>
                </c:pt>
                <c:pt idx="16">
                  <c:v>0.12721180146471886</c:v>
                </c:pt>
                <c:pt idx="17">
                  <c:v>0.13268172029802705</c:v>
                </c:pt>
                <c:pt idx="18">
                  <c:v>0.14278503421878136</c:v>
                </c:pt>
                <c:pt idx="19">
                  <c:v>0.1555010904566332</c:v>
                </c:pt>
                <c:pt idx="20">
                  <c:v>0.1694980357274843</c:v>
                </c:pt>
                <c:pt idx="21">
                  <c:v>0.13228738852399477</c:v>
                </c:pt>
                <c:pt idx="22">
                  <c:v>0.13679188813979923</c:v>
                </c:pt>
                <c:pt idx="23">
                  <c:v>0.13809061729308597</c:v>
                </c:pt>
                <c:pt idx="24">
                  <c:v>0.13112496670888546</c:v>
                </c:pt>
                <c:pt idx="25">
                  <c:v>0.1714084968517413</c:v>
                </c:pt>
                <c:pt idx="26">
                  <c:v>0.13730448982045945</c:v>
                </c:pt>
                <c:pt idx="27">
                  <c:v>0.12358539803588317</c:v>
                </c:pt>
                <c:pt idx="28">
                  <c:v>0.13964483034478142</c:v>
                </c:pt>
                <c:pt idx="29">
                  <c:v>0.15071405747489408</c:v>
                </c:pt>
                <c:pt idx="30">
                  <c:v>0.14030551469956593</c:v>
                </c:pt>
                <c:pt idx="31">
                  <c:v>0.14842710210783217</c:v>
                </c:pt>
                <c:pt idx="32">
                  <c:v>0.14638494215103964</c:v>
                </c:pt>
                <c:pt idx="33">
                  <c:v>0.1426272286876778</c:v>
                </c:pt>
                <c:pt idx="34">
                  <c:v>0.13648634904079732</c:v>
                </c:pt>
                <c:pt idx="35">
                  <c:v>0.1386318701110409</c:v>
                </c:pt>
                <c:pt idx="36">
                  <c:v>0.1482315373588777</c:v>
                </c:pt>
                <c:pt idx="37">
                  <c:v>0.15604799788825707</c:v>
                </c:pt>
                <c:pt idx="38">
                  <c:v>0.15471691774289792</c:v>
                </c:pt>
                <c:pt idx="39">
                  <c:v>0.136150251174802</c:v>
                </c:pt>
                <c:pt idx="40">
                  <c:v>0.1385706195351441</c:v>
                </c:pt>
                <c:pt idx="41">
                  <c:v>0.1412552805176605</c:v>
                </c:pt>
                <c:pt idx="42">
                  <c:v>0.1581907502468443</c:v>
                </c:pt>
                <c:pt idx="43">
                  <c:v>0.14231626358051422</c:v>
                </c:pt>
                <c:pt idx="44">
                  <c:v>0.12819268871799416</c:v>
                </c:pt>
                <c:pt idx="45">
                  <c:v>0.14245954744278289</c:v>
                </c:pt>
                <c:pt idx="46">
                  <c:v>0.1497495322185603</c:v>
                </c:pt>
                <c:pt idx="47">
                  <c:v>0.13987601463256588</c:v>
                </c:pt>
                <c:pt idx="48">
                  <c:v>0.130981118993934</c:v>
                </c:pt>
                <c:pt idx="49">
                  <c:v>0.12826930220877147</c:v>
                </c:pt>
                <c:pt idx="50">
                  <c:v>0.12965188247511278</c:v>
                </c:pt>
                <c:pt idx="51">
                  <c:v>0.11962005947364979</c:v>
                </c:pt>
                <c:pt idx="52">
                  <c:v>0.15382846967457497</c:v>
                </c:pt>
                <c:pt idx="53">
                  <c:v>0.15382846967457497</c:v>
                </c:pt>
                <c:pt idx="54">
                  <c:v>0.141978232476568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448275862068965"/>
          <c:min val="0.050549450549450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47.0682</c:v>
                </c:pt>
                <c:pt idx="1">
                  <c:v>349.0286</c:v>
                </c:pt>
                <c:pt idx="2">
                  <c:v>324.075</c:v>
                </c:pt>
                <c:pt idx="3">
                  <c:v>320.2432</c:v>
                </c:pt>
                <c:pt idx="4">
                  <c:v>287.0882</c:v>
                </c:pt>
                <c:pt idx="5">
                  <c:v>328.7813</c:v>
                </c:pt>
                <c:pt idx="6">
                  <c:v>326.1071</c:v>
                </c:pt>
                <c:pt idx="7">
                  <c:v>324.3548</c:v>
                </c:pt>
                <c:pt idx="8">
                  <c:v>351.65</c:v>
                </c:pt>
                <c:pt idx="9">
                  <c:v>330.0278</c:v>
                </c:pt>
                <c:pt idx="10">
                  <c:v>312.3636</c:v>
                </c:pt>
                <c:pt idx="11">
                  <c:v>322.6512</c:v>
                </c:pt>
                <c:pt idx="12">
                  <c:v>351.2273</c:v>
                </c:pt>
                <c:pt idx="13">
                  <c:v>333.0638</c:v>
                </c:pt>
                <c:pt idx="14">
                  <c:v>337.7167</c:v>
                </c:pt>
                <c:pt idx="15">
                  <c:v>346.8095</c:v>
                </c:pt>
                <c:pt idx="16">
                  <c:v>318.6286</c:v>
                </c:pt>
                <c:pt idx="17">
                  <c:v>325.5</c:v>
                </c:pt>
                <c:pt idx="18">
                  <c:v>356.6957</c:v>
                </c:pt>
                <c:pt idx="19">
                  <c:v>365.6667</c:v>
                </c:pt>
                <c:pt idx="20">
                  <c:v>369.0</c:v>
                </c:pt>
                <c:pt idx="21">
                  <c:v>341.1111</c:v>
                </c:pt>
                <c:pt idx="22">
                  <c:v>360.875</c:v>
                </c:pt>
                <c:pt idx="23">
                  <c:v>352.7692</c:v>
                </c:pt>
                <c:pt idx="24">
                  <c:v>366.9091</c:v>
                </c:pt>
                <c:pt idx="25">
                  <c:v>402.75</c:v>
                </c:pt>
                <c:pt idx="26">
                  <c:v>358.4828</c:v>
                </c:pt>
                <c:pt idx="27">
                  <c:v>364.8636</c:v>
                </c:pt>
                <c:pt idx="28">
                  <c:v>370.3043</c:v>
                </c:pt>
                <c:pt idx="29">
                  <c:v>354.4545</c:v>
                </c:pt>
                <c:pt idx="30">
                  <c:v>374.6842</c:v>
                </c:pt>
                <c:pt idx="31">
                  <c:v>371.9545</c:v>
                </c:pt>
                <c:pt idx="32">
                  <c:v>397.1304</c:v>
                </c:pt>
                <c:pt idx="33">
                  <c:v>373.7667</c:v>
                </c:pt>
                <c:pt idx="34">
                  <c:v>361.75</c:v>
                </c:pt>
                <c:pt idx="35">
                  <c:v>381.7097</c:v>
                </c:pt>
                <c:pt idx="36">
                  <c:v>371.3617</c:v>
                </c:pt>
                <c:pt idx="37">
                  <c:v>358.6364</c:v>
                </c:pt>
                <c:pt idx="38">
                  <c:v>393.1852</c:v>
                </c:pt>
                <c:pt idx="39">
                  <c:v>391.4583</c:v>
                </c:pt>
                <c:pt idx="40">
                  <c:v>384.1786</c:v>
                </c:pt>
                <c:pt idx="41">
                  <c:v>411.3158</c:v>
                </c:pt>
                <c:pt idx="42">
                  <c:v>383.4167</c:v>
                </c:pt>
                <c:pt idx="43">
                  <c:v>396.2258</c:v>
                </c:pt>
                <c:pt idx="44">
                  <c:v>361.2889</c:v>
                </c:pt>
                <c:pt idx="45">
                  <c:v>350.8505</c:v>
                </c:pt>
                <c:pt idx="46">
                  <c:v>348.5607</c:v>
                </c:pt>
                <c:pt idx="47">
                  <c:v>349.4257</c:v>
                </c:pt>
                <c:pt idx="48">
                  <c:v>350.3038</c:v>
                </c:pt>
                <c:pt idx="49">
                  <c:v>359.9747</c:v>
                </c:pt>
                <c:pt idx="50">
                  <c:v>373.0515</c:v>
                </c:pt>
                <c:pt idx="51">
                  <c:v>391.1458</c:v>
                </c:pt>
                <c:pt idx="52">
                  <c:v>403.6389</c:v>
                </c:pt>
                <c:pt idx="53">
                  <c:v>407.7963</c:v>
                </c:pt>
                <c:pt idx="54">
                  <c:v>397.6591</c:v>
                </c:pt>
                <c:pt idx="55">
                  <c:v>415.6667</c:v>
                </c:pt>
                <c:pt idx="56">
                  <c:v>391.1842</c:v>
                </c:pt>
                <c:pt idx="57">
                  <c:v>353.4894</c:v>
                </c:pt>
                <c:pt idx="58">
                  <c:v>356.7333</c:v>
                </c:pt>
                <c:pt idx="59">
                  <c:v>362.0563</c:v>
                </c:pt>
                <c:pt idx="60">
                  <c:v>388.1803</c:v>
                </c:pt>
                <c:pt idx="61">
                  <c:v>385.1698</c:v>
                </c:pt>
                <c:pt idx="62">
                  <c:v>384.9474</c:v>
                </c:pt>
                <c:pt idx="63">
                  <c:v>439.3429</c:v>
                </c:pt>
                <c:pt idx="64">
                  <c:v>419.9167</c:v>
                </c:pt>
                <c:pt idx="65">
                  <c:v>422.6471</c:v>
                </c:pt>
                <c:pt idx="66">
                  <c:v>394.9625</c:v>
                </c:pt>
                <c:pt idx="67">
                  <c:v>399.8108</c:v>
                </c:pt>
                <c:pt idx="68">
                  <c:v>425.7612</c:v>
                </c:pt>
                <c:pt idx="69">
                  <c:v>450.1739</c:v>
                </c:pt>
                <c:pt idx="70">
                  <c:v>427.6486</c:v>
                </c:pt>
                <c:pt idx="71">
                  <c:v>452.2353</c:v>
                </c:pt>
                <c:pt idx="72">
                  <c:v>458.129</c:v>
                </c:pt>
                <c:pt idx="73">
                  <c:v>456.8372</c:v>
                </c:pt>
                <c:pt idx="74">
                  <c:v>437.8824</c:v>
                </c:pt>
                <c:pt idx="75">
                  <c:v>429.2059</c:v>
                </c:pt>
                <c:pt idx="76">
                  <c:v>439.7857</c:v>
                </c:pt>
                <c:pt idx="77">
                  <c:v>421.4444</c:v>
                </c:pt>
                <c:pt idx="78">
                  <c:v>426.0741</c:v>
                </c:pt>
                <c:pt idx="79">
                  <c:v>434.6667</c:v>
                </c:pt>
                <c:pt idx="80">
                  <c:v>440.5</c:v>
                </c:pt>
                <c:pt idx="81">
                  <c:v>437.3333</c:v>
                </c:pt>
                <c:pt idx="82">
                  <c:v>443.2222</c:v>
                </c:pt>
                <c:pt idx="83">
                  <c:v>426.5882</c:v>
                </c:pt>
                <c:pt idx="84">
                  <c:v>462.9286</c:v>
                </c:pt>
                <c:pt idx="85">
                  <c:v>432.6129</c:v>
                </c:pt>
                <c:pt idx="86">
                  <c:v>444.5152</c:v>
                </c:pt>
                <c:pt idx="87">
                  <c:v>442.9556</c:v>
                </c:pt>
                <c:pt idx="88">
                  <c:v>443.4444</c:v>
                </c:pt>
                <c:pt idx="89">
                  <c:v>434.7143</c:v>
                </c:pt>
                <c:pt idx="90">
                  <c:v>446.125</c:v>
                </c:pt>
                <c:pt idx="91">
                  <c:v>457.75</c:v>
                </c:pt>
                <c:pt idx="92">
                  <c:v>431.5</c:v>
                </c:pt>
                <c:pt idx="93">
                  <c:v>450.1613</c:v>
                </c:pt>
                <c:pt idx="94">
                  <c:v>450.2308</c:v>
                </c:pt>
                <c:pt idx="95">
                  <c:v>442.5526</c:v>
                </c:pt>
                <c:pt idx="96">
                  <c:v>431.1887</c:v>
                </c:pt>
                <c:pt idx="97">
                  <c:v>428.5556</c:v>
                </c:pt>
                <c:pt idx="98">
                  <c:v>426.5714</c:v>
                </c:pt>
                <c:pt idx="99">
                  <c:v>415.2286</c:v>
                </c:pt>
                <c:pt idx="100">
                  <c:v>422.4171</c:v>
                </c:pt>
                <c:pt idx="101">
                  <c:v>412.7326</c:v>
                </c:pt>
                <c:pt idx="102">
                  <c:v>432.5909</c:v>
                </c:pt>
                <c:pt idx="103">
                  <c:v>335.9394</c:v>
                </c:pt>
                <c:pt idx="104">
                  <c:v>364.2979</c:v>
                </c:pt>
              </c:numCache>
            </c:numRef>
          </c:xVal>
          <c:yVal>
            <c:numRef>
              <c:f>Sheet1!$B$2:$B$106</c:f>
              <c:numCache>
                <c:formatCode>General</c:formatCode>
                <c:ptCount val="105"/>
                <c:pt idx="0">
                  <c:v>0.10837438423645321</c:v>
                </c:pt>
                <c:pt idx="1">
                  <c:v>0.13059701492537312</c:v>
                </c:pt>
                <c:pt idx="2">
                  <c:v>0.12539184952978055</c:v>
                </c:pt>
                <c:pt idx="3">
                  <c:v>0.09635416666666667</c:v>
                </c:pt>
                <c:pt idx="4">
                  <c:v>0.09941520467836257</c:v>
                </c:pt>
                <c:pt idx="5">
                  <c:v>0.10631229235880399</c:v>
                </c:pt>
                <c:pt idx="6">
                  <c:v>0.12121212121212122</c:v>
                </c:pt>
                <c:pt idx="7">
                  <c:v>0.12062256809338522</c:v>
                </c:pt>
                <c:pt idx="8">
                  <c:v>0.09302325581395349</c:v>
                </c:pt>
                <c:pt idx="9">
                  <c:v>0.09836065573770492</c:v>
                </c:pt>
                <c:pt idx="10">
                  <c:v>0.12429378531073447</c:v>
                </c:pt>
                <c:pt idx="11">
                  <c:v>0.12320916905444126</c:v>
                </c:pt>
                <c:pt idx="12">
                  <c:v>0.11428571428571428</c:v>
                </c:pt>
                <c:pt idx="13">
                  <c:v>0.12176165803108809</c:v>
                </c:pt>
                <c:pt idx="14">
                  <c:v>0.13333333333333333</c:v>
                </c:pt>
                <c:pt idx="15">
                  <c:v>0.09375</c:v>
                </c:pt>
                <c:pt idx="16">
                  <c:v>0.08997429305912596</c:v>
                </c:pt>
                <c:pt idx="17">
                  <c:v>0.07977207977207977</c:v>
                </c:pt>
                <c:pt idx="18">
                  <c:v>0.0749185667752443</c:v>
                </c:pt>
                <c:pt idx="19">
                  <c:v>0.06437768240343347</c:v>
                </c:pt>
                <c:pt idx="20">
                  <c:v>0.07763975155279502</c:v>
                </c:pt>
                <c:pt idx="21">
                  <c:v>0.10344827586206896</c:v>
                </c:pt>
                <c:pt idx="22">
                  <c:v>0.12307692307692308</c:v>
                </c:pt>
                <c:pt idx="23">
                  <c:v>0.1326530612244898</c:v>
                </c:pt>
                <c:pt idx="24">
                  <c:v>0.11055276381909548</c:v>
                </c:pt>
                <c:pt idx="25">
                  <c:v>0.10062893081761007</c:v>
                </c:pt>
                <c:pt idx="26">
                  <c:v>0.13488372093023257</c:v>
                </c:pt>
                <c:pt idx="27">
                  <c:v>0.09606986899563319</c:v>
                </c:pt>
                <c:pt idx="28">
                  <c:v>0.10087719298245613</c:v>
                </c:pt>
                <c:pt idx="29">
                  <c:v>0.07692307692307693</c:v>
                </c:pt>
                <c:pt idx="30">
                  <c:v>0.08796296296296297</c:v>
                </c:pt>
                <c:pt idx="31">
                  <c:v>0.09090909090909091</c:v>
                </c:pt>
                <c:pt idx="32">
                  <c:v>0.10648148148148148</c:v>
                </c:pt>
                <c:pt idx="33">
                  <c:v>0.1016949152542373</c:v>
                </c:pt>
                <c:pt idx="34">
                  <c:v>0.10738255033557047</c:v>
                </c:pt>
                <c:pt idx="35">
                  <c:v>0.11632270168855535</c:v>
                </c:pt>
                <c:pt idx="36">
                  <c:v>0.1227154046997389</c:v>
                </c:pt>
                <c:pt idx="37">
                  <c:v>0.07746478873239436</c:v>
                </c:pt>
                <c:pt idx="38">
                  <c:v>0.0944055944055944</c:v>
                </c:pt>
                <c:pt idx="39">
                  <c:v>0.0933852140077821</c:v>
                </c:pt>
                <c:pt idx="40">
                  <c:v>0.07588075880758807</c:v>
                </c:pt>
                <c:pt idx="41">
                  <c:v>0.06397306397306397</c:v>
                </c:pt>
                <c:pt idx="42">
                  <c:v>0.0664819944598338</c:v>
                </c:pt>
                <c:pt idx="43">
                  <c:v>0.07560975609756097</c:v>
                </c:pt>
                <c:pt idx="44">
                  <c:v>0.13953488372093023</c:v>
                </c:pt>
                <c:pt idx="45">
                  <c:v>0.14985994397759103</c:v>
                </c:pt>
                <c:pt idx="46">
                  <c:v>0.1384217335058215</c:v>
                </c:pt>
                <c:pt idx="47">
                  <c:v>0.15233785822021115</c:v>
                </c:pt>
                <c:pt idx="48">
                  <c:v>0.17118093174431204</c:v>
                </c:pt>
                <c:pt idx="49">
                  <c:v>0.1783644558918223</c:v>
                </c:pt>
                <c:pt idx="50">
                  <c:v>0.12813738441215325</c:v>
                </c:pt>
                <c:pt idx="51">
                  <c:v>0.1054945054945055</c:v>
                </c:pt>
                <c:pt idx="52">
                  <c:v>0.12307692307692308</c:v>
                </c:pt>
                <c:pt idx="53">
                  <c:v>0.1232876712328767</c:v>
                </c:pt>
                <c:pt idx="54">
                  <c:v>0.11989100817438691</c:v>
                </c:pt>
                <c:pt idx="55">
                  <c:v>0.08776595744680851</c:v>
                </c:pt>
                <c:pt idx="56">
                  <c:v>0.1130952380952381</c:v>
                </c:pt>
                <c:pt idx="57">
                  <c:v>0.12668463611859837</c:v>
                </c:pt>
                <c:pt idx="58">
                  <c:v>0.1740139211136891</c:v>
                </c:pt>
                <c:pt idx="59">
                  <c:v>0.11794019933554817</c:v>
                </c:pt>
                <c:pt idx="60">
                  <c:v>0.11753371868978806</c:v>
                </c:pt>
                <c:pt idx="61">
                  <c:v>0.13316582914572864</c:v>
                </c:pt>
                <c:pt idx="62">
                  <c:v>0.14615384615384616</c:v>
                </c:pt>
                <c:pt idx="63">
                  <c:v>0.14492753623188406</c:v>
                </c:pt>
                <c:pt idx="64">
                  <c:v>0.14096916299559473</c:v>
                </c:pt>
                <c:pt idx="65">
                  <c:v>0.12996941896024464</c:v>
                </c:pt>
                <c:pt idx="66">
                  <c:v>0.12618296529968454</c:v>
                </c:pt>
                <c:pt idx="67">
                  <c:v>0.12312811980033278</c:v>
                </c:pt>
                <c:pt idx="68">
                  <c:v>0.13900414937759337</c:v>
                </c:pt>
                <c:pt idx="69">
                  <c:v>0.06318681318681318</c:v>
                </c:pt>
                <c:pt idx="70">
                  <c:v>0.10109289617486339</c:v>
                </c:pt>
                <c:pt idx="71">
                  <c:v>0.12363636363636364</c:v>
                </c:pt>
                <c:pt idx="72">
                  <c:v>0.10580204778156997</c:v>
                </c:pt>
                <c:pt idx="73">
                  <c:v>0.15579710144927536</c:v>
                </c:pt>
                <c:pt idx="74">
                  <c:v>0.1152542372881356</c:v>
                </c:pt>
                <c:pt idx="75">
                  <c:v>0.1452991452991453</c:v>
                </c:pt>
                <c:pt idx="76">
                  <c:v>0.13526570048309178</c:v>
                </c:pt>
                <c:pt idx="77">
                  <c:v>0.11688311688311688</c:v>
                </c:pt>
                <c:pt idx="78">
                  <c:v>0.14361702127659576</c:v>
                </c:pt>
                <c:pt idx="79">
                  <c:v>0.08433734939759036</c:v>
                </c:pt>
                <c:pt idx="80">
                  <c:v>0.0823045267489712</c:v>
                </c:pt>
                <c:pt idx="81">
                  <c:v>0.09121621621621621</c:v>
                </c:pt>
                <c:pt idx="82">
                  <c:v>0.0759493670886076</c:v>
                </c:pt>
                <c:pt idx="83">
                  <c:v>0.08333333333333333</c:v>
                </c:pt>
                <c:pt idx="84">
                  <c:v>0.07329842931937172</c:v>
                </c:pt>
                <c:pt idx="85">
                  <c:v>0.12301587301587301</c:v>
                </c:pt>
                <c:pt idx="86">
                  <c:v>0.09593023255813954</c:v>
                </c:pt>
                <c:pt idx="87">
                  <c:v>0.12465373961218837</c:v>
                </c:pt>
                <c:pt idx="88">
                  <c:v>0.11020408163265306</c:v>
                </c:pt>
                <c:pt idx="89">
                  <c:v>0.11731843575418995</c:v>
                </c:pt>
                <c:pt idx="90">
                  <c:v>0.11483253588516747</c:v>
                </c:pt>
                <c:pt idx="91">
                  <c:v>0.12669683257918551</c:v>
                </c:pt>
                <c:pt idx="92">
                  <c:v>0.11683848797250859</c:v>
                </c:pt>
                <c:pt idx="93">
                  <c:v>0.09657320872274143</c:v>
                </c:pt>
                <c:pt idx="94">
                  <c:v>0.09523809523809523</c:v>
                </c:pt>
                <c:pt idx="95">
                  <c:v>0.10674157303370786</c:v>
                </c:pt>
                <c:pt idx="96">
                  <c:v>0.09380530973451327</c:v>
                </c:pt>
                <c:pt idx="97">
                  <c:v>0.08970099667774087</c:v>
                </c:pt>
                <c:pt idx="98">
                  <c:v>0.1155433287482806</c:v>
                </c:pt>
                <c:pt idx="99">
                  <c:v>0.12166859791425261</c:v>
                </c:pt>
                <c:pt idx="100">
                  <c:v>0.1417004048582996</c:v>
                </c:pt>
                <c:pt idx="101">
                  <c:v>0.13050075872534142</c:v>
                </c:pt>
                <c:pt idx="102">
                  <c:v>0.11027568922305764</c:v>
                </c:pt>
                <c:pt idx="103">
                  <c:v>0.14666666666666667</c:v>
                </c:pt>
                <c:pt idx="104">
                  <c:v>0.12983425414364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24.5758</c:v>
                </c:pt>
                <c:pt idx="33">
                  <c:v>441.5952</c:v>
                </c:pt>
                <c:pt idx="34">
                  <c:v>474.4237</c:v>
                </c:pt>
                <c:pt idx="35">
                  <c:v>488.0909</c:v>
                </c:pt>
                <c:pt idx="36">
                  <c:v>460.619</c:v>
                </c:pt>
                <c:pt idx="37">
                  <c:v>424.0</c:v>
                </c:pt>
                <c:pt idx="38">
                  <c:v>440.1154</c:v>
                </c:pt>
                <c:pt idx="39">
                  <c:v>486.5128</c:v>
                </c:pt>
                <c:pt idx="40">
                  <c:v>460.0</c:v>
                </c:pt>
                <c:pt idx="41">
                  <c:v>471.4074</c:v>
                </c:pt>
                <c:pt idx="42">
                  <c:v>405.2051</c:v>
                </c:pt>
                <c:pt idx="43">
                  <c:v>432.25</c:v>
                </c:pt>
                <c:pt idx="44">
                  <c:v>444.1395</c:v>
                </c:pt>
                <c:pt idx="45">
                  <c:v>397.8681</c:v>
                </c:pt>
                <c:pt idx="46">
                  <c:v>370.8118</c:v>
                </c:pt>
                <c:pt idx="47">
                  <c:v>402.7683</c:v>
                </c:pt>
                <c:pt idx="48">
                  <c:v>399.5057</c:v>
                </c:pt>
                <c:pt idx="49">
                  <c:v>415.932</c:v>
                </c:pt>
                <c:pt idx="50">
                  <c:v>427.1591</c:v>
                </c:pt>
                <c:pt idx="51">
                  <c:v>441.1224</c:v>
                </c:pt>
              </c:numCache>
            </c:numRef>
          </c:xVal>
          <c:yVal>
            <c:numRef>
              <c:f>Sheet1!$B$109:$B$160</c:f>
              <c:numCache>
                <c:formatCode>General</c:formatCode>
                <c:ptCount val="52"/>
                <c:pt idx="0">
                  <c:v>0.14414414414414414</c:v>
                </c:pt>
                <c:pt idx="1">
                  <c:v>0.13349514563106796</c:v>
                </c:pt>
                <c:pt idx="2">
                  <c:v>0.13856812933025403</c:v>
                </c:pt>
                <c:pt idx="3">
                  <c:v>0.15326633165829145</c:v>
                </c:pt>
                <c:pt idx="4">
                  <c:v>0.14249363867684478</c:v>
                </c:pt>
                <c:pt idx="5">
                  <c:v>0.1457286432160804</c:v>
                </c:pt>
                <c:pt idx="6">
                  <c:v>0.14955357142857142</c:v>
                </c:pt>
                <c:pt idx="7">
                  <c:v>0.19540229885057472</c:v>
                </c:pt>
                <c:pt idx="8">
                  <c:v>0.1550632911392405</c:v>
                </c:pt>
                <c:pt idx="9">
                  <c:v>0.12238805970149254</c:v>
                </c:pt>
                <c:pt idx="10">
                  <c:v>0.16714697406340057</c:v>
                </c:pt>
                <c:pt idx="11">
                  <c:v>0.12260536398467432</c:v>
                </c:pt>
                <c:pt idx="12">
                  <c:v>0.12141280353200883</c:v>
                </c:pt>
                <c:pt idx="13">
                  <c:v>0.13846153846153847</c:v>
                </c:pt>
                <c:pt idx="14">
                  <c:v>0.1867816091954023</c:v>
                </c:pt>
                <c:pt idx="15">
                  <c:v>0.10802469135802469</c:v>
                </c:pt>
                <c:pt idx="16">
                  <c:v>0.125</c:v>
                </c:pt>
                <c:pt idx="17">
                  <c:v>0.11067193675889328</c:v>
                </c:pt>
                <c:pt idx="18">
                  <c:v>0.1493212669683258</c:v>
                </c:pt>
                <c:pt idx="19">
                  <c:v>0.17142857142857143</c:v>
                </c:pt>
                <c:pt idx="20">
                  <c:v>0.16901408450704225</c:v>
                </c:pt>
                <c:pt idx="21">
                  <c:v>0.145985401459854</c:v>
                </c:pt>
                <c:pt idx="22">
                  <c:v>0.09243697478991597</c:v>
                </c:pt>
                <c:pt idx="23">
                  <c:v>0.1258741258741259</c:v>
                </c:pt>
                <c:pt idx="24">
                  <c:v>0.10857142857142857</c:v>
                </c:pt>
                <c:pt idx="25">
                  <c:v>0.17159763313609466</c:v>
                </c:pt>
                <c:pt idx="26">
                  <c:v>0.1388888888888889</c:v>
                </c:pt>
                <c:pt idx="27">
                  <c:v>0.13333333333333333</c:v>
                </c:pt>
                <c:pt idx="28">
                  <c:v>0.13725490196078433</c:v>
                </c:pt>
                <c:pt idx="29">
                  <c:v>0.14358974358974358</c:v>
                </c:pt>
                <c:pt idx="30">
                  <c:v>0.1590909090909091</c:v>
                </c:pt>
                <c:pt idx="31">
                  <c:v>0.14594594594594595</c:v>
                </c:pt>
                <c:pt idx="32">
                  <c:v>0.14285714285714285</c:v>
                </c:pt>
                <c:pt idx="33">
                  <c:v>0.13043478260869565</c:v>
                </c:pt>
                <c:pt idx="34">
                  <c:v>0.13140311804008908</c:v>
                </c:pt>
                <c:pt idx="35">
                  <c:v>0.125</c:v>
                </c:pt>
                <c:pt idx="36">
                  <c:v>0.1242603550295858</c:v>
                </c:pt>
                <c:pt idx="37">
                  <c:v>0.15706806282722513</c:v>
                </c:pt>
                <c:pt idx="38">
                  <c:v>0.15204678362573099</c:v>
                </c:pt>
                <c:pt idx="39">
                  <c:v>0.16595744680851063</c:v>
                </c:pt>
                <c:pt idx="40">
                  <c:v>0.11403508771929824</c:v>
                </c:pt>
                <c:pt idx="41">
                  <c:v>0.11297071129707113</c:v>
                </c:pt>
                <c:pt idx="42">
                  <c:v>0.17410714285714285</c:v>
                </c:pt>
                <c:pt idx="43">
                  <c:v>0.11940298507462686</c:v>
                </c:pt>
                <c:pt idx="44">
                  <c:v>0.09706546275395034</c:v>
                </c:pt>
                <c:pt idx="45">
                  <c:v>0.13</c:v>
                </c:pt>
                <c:pt idx="46">
                  <c:v>0.15947467166979362</c:v>
                </c:pt>
                <c:pt idx="47">
                  <c:v>0.15738963531669867</c:v>
                </c:pt>
                <c:pt idx="48">
                  <c:v>0.1392</c:v>
                </c:pt>
                <c:pt idx="49">
                  <c:v>0.15036496350364964</c:v>
                </c:pt>
                <c:pt idx="50">
                  <c:v>0.16793893129770993</c:v>
                </c:pt>
                <c:pt idx="51">
                  <c:v>0.157809983896940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7.93129803117273</c:v>
                </c:pt>
              </c:numCache>
            </c:numRef>
          </c:xVal>
          <c:yVal>
            <c:numRef>
              <c:f>Sheet1!$B$163:$B$164</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7.93129803117273</c:v>
                </c:pt>
                <c:pt idx="1">
                  <c:v>397.93129803117273</c:v>
                </c:pt>
              </c:numCache>
            </c:numRef>
          </c:xVal>
          <c:yVal>
            <c:numRef>
              <c:f>Sheet1!$B$167:$B$168</c:f>
              <c:numCache>
                <c:formatCode>General</c:formatCode>
                <c:ptCount val="2"/>
                <c:pt idx="0">
                  <c:v>0.1538284696745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97.93129803117273</c:v>
                </c:pt>
              </c:numCache>
            </c:numRef>
          </c:xVal>
          <c:yVal>
            <c:numRef>
              <c:f>Sheet1!$B$171:$B$172</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97.93129803117273</c:v>
                </c:pt>
                <c:pt idx="1">
                  <c:v>397.93129803117273</c:v>
                </c:pt>
              </c:numCache>
            </c:numRef>
          </c:xVal>
          <c:yVal>
            <c:numRef>
              <c:f>Sheet1!$B$175:$B$176</c:f>
              <c:numCache>
                <c:formatCode>General</c:formatCode>
                <c:ptCount val="2"/>
                <c:pt idx="0">
                  <c:v>0.1538284696745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4.46728468996423</c:v>
                </c:pt>
              </c:numCache>
            </c:numRef>
          </c:xVal>
          <c:yVal>
            <c:numRef>
              <c:f>Sheet1!$B$179:$B$180</c:f>
              <c:numCache>
                <c:formatCode>General</c:formatCode>
                <c:ptCount val="2"/>
                <c:pt idx="0">
                  <c:v>0.14197823247656866</c:v>
                </c:pt>
                <c:pt idx="1">
                  <c:v>0.141978232476568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4.46728468996423</c:v>
                </c:pt>
                <c:pt idx="1">
                  <c:v>434.46728468996423</c:v>
                </c:pt>
              </c:numCache>
            </c:numRef>
          </c:xVal>
          <c:yVal>
            <c:numRef>
              <c:f>Sheet1!$B$183:$B$184</c:f>
              <c:numCache>
                <c:formatCode>General</c:formatCode>
                <c:ptCount val="2"/>
                <c:pt idx="0">
                  <c:v>0.141978232476568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24.5758</c:v>
                </c:pt>
                <c:pt idx="33">
                  <c:v>441.5952</c:v>
                </c:pt>
                <c:pt idx="34">
                  <c:v>474.4237</c:v>
                </c:pt>
                <c:pt idx="35">
                  <c:v>488.0909</c:v>
                </c:pt>
                <c:pt idx="36">
                  <c:v>460.619</c:v>
                </c:pt>
                <c:pt idx="37">
                  <c:v>424.0</c:v>
                </c:pt>
                <c:pt idx="38">
                  <c:v>440.1154</c:v>
                </c:pt>
                <c:pt idx="39">
                  <c:v>486.5128</c:v>
                </c:pt>
                <c:pt idx="40">
                  <c:v>460.0</c:v>
                </c:pt>
                <c:pt idx="41">
                  <c:v>471.4074</c:v>
                </c:pt>
                <c:pt idx="42">
                  <c:v>405.2051</c:v>
                </c:pt>
                <c:pt idx="43">
                  <c:v>432.25</c:v>
                </c:pt>
                <c:pt idx="44">
                  <c:v>444.1395</c:v>
                </c:pt>
                <c:pt idx="45">
                  <c:v>397.8681</c:v>
                </c:pt>
                <c:pt idx="46">
                  <c:v>370.8118</c:v>
                </c:pt>
                <c:pt idx="47">
                  <c:v>402.7683</c:v>
                </c:pt>
                <c:pt idx="48">
                  <c:v>399.5057</c:v>
                </c:pt>
                <c:pt idx="49">
                  <c:v>415.932</c:v>
                </c:pt>
                <c:pt idx="50">
                  <c:v>427.1591</c:v>
                </c:pt>
                <c:pt idx="51">
                  <c:v>441.1224</c:v>
                </c:pt>
                <c:pt idx="52">
                  <c:v>397.93129803117273</c:v>
                </c:pt>
                <c:pt idx="53">
                  <c:v>397.93129803117273</c:v>
                </c:pt>
                <c:pt idx="54">
                  <c:v>434.46728468996423</c:v>
                </c:pt>
              </c:numCache>
            </c:numRef>
          </c:xVal>
          <c:yVal>
            <c:numRef>
              <c:f>Sheet1!$B$187:$B$241</c:f>
              <c:numCache>
                <c:formatCode>General</c:formatCode>
                <c:ptCount val="55"/>
                <c:pt idx="0">
                  <c:v>0.1542977627316054</c:v>
                </c:pt>
                <c:pt idx="1">
                  <c:v>0.14343307364509947</c:v>
                </c:pt>
                <c:pt idx="2">
                  <c:v>0.14234061734159026</c:v>
                </c:pt>
                <c:pt idx="3">
                  <c:v>0.13606296681347724</c:v>
                </c:pt>
                <c:pt idx="4">
                  <c:v>0.14094246658227158</c:v>
                </c:pt>
                <c:pt idx="5">
                  <c:v>0.1417719121332971</c:v>
                </c:pt>
                <c:pt idx="6">
                  <c:v>0.146060651284785</c:v>
                </c:pt>
                <c:pt idx="7">
                  <c:v>0.1574836665635778</c:v>
                </c:pt>
                <c:pt idx="8">
                  <c:v>0.13926366074325858</c:v>
                </c:pt>
                <c:pt idx="9">
                  <c:v>0.1324311220719107</c:v>
                </c:pt>
                <c:pt idx="10">
                  <c:v>0.14519987407919058</c:v>
                </c:pt>
                <c:pt idx="11">
                  <c:v>0.143259938684345</c:v>
                </c:pt>
                <c:pt idx="12">
                  <c:v>0.13480551658989348</c:v>
                </c:pt>
                <c:pt idx="13">
                  <c:v>0.13077774482211305</c:v>
                </c:pt>
                <c:pt idx="14">
                  <c:v>0.14277848207935448</c:v>
                </c:pt>
                <c:pt idx="15">
                  <c:v>0.1194998411608578</c:v>
                </c:pt>
                <c:pt idx="16">
                  <c:v>0.11929955858636196</c:v>
                </c:pt>
                <c:pt idx="17">
                  <c:v>0.13331457094059382</c:v>
                </c:pt>
                <c:pt idx="18">
                  <c:v>0.14631678593916456</c:v>
                </c:pt>
                <c:pt idx="19">
                  <c:v>0.14703355429767206</c:v>
                </c:pt>
                <c:pt idx="20">
                  <c:v>0.1656717695941936</c:v>
                </c:pt>
                <c:pt idx="21">
                  <c:v>0.1377673634138307</c:v>
                </c:pt>
                <c:pt idx="22">
                  <c:v>0.1378248696493904</c:v>
                </c:pt>
                <c:pt idx="23">
                  <c:v>0.13681414809693052</c:v>
                </c:pt>
                <c:pt idx="24">
                  <c:v>0.1295486422859964</c:v>
                </c:pt>
                <c:pt idx="25">
                  <c:v>0.18781760578445675</c:v>
                </c:pt>
                <c:pt idx="26">
                  <c:v>0.14552892132101414</c:v>
                </c:pt>
                <c:pt idx="27">
                  <c:v>0.12751114414069195</c:v>
                </c:pt>
                <c:pt idx="28">
                  <c:v>0.13891414737924768</c:v>
                </c:pt>
                <c:pt idx="29">
                  <c:v>0.1474119667343754</c:v>
                </c:pt>
                <c:pt idx="30">
                  <c:v>0.13121791240405364</c:v>
                </c:pt>
                <c:pt idx="31">
                  <c:v>0.14544530537331368</c:v>
                </c:pt>
                <c:pt idx="32">
                  <c:v>0.1451864786616575</c:v>
                </c:pt>
                <c:pt idx="33">
                  <c:v>0.13966633412987656</c:v>
                </c:pt>
                <c:pt idx="34">
                  <c:v>0.12901859891232656</c:v>
                </c:pt>
                <c:pt idx="35">
                  <c:v>0.12458572117605171</c:v>
                </c:pt>
                <c:pt idx="36">
                  <c:v>0.1334960739830033</c:v>
                </c:pt>
                <c:pt idx="37">
                  <c:v>0.14537323608092018</c:v>
                </c:pt>
                <c:pt idx="38">
                  <c:v>0.14014629875131618</c:v>
                </c:pt>
                <c:pt idx="39">
                  <c:v>0.12509756883728554</c:v>
                </c:pt>
                <c:pt idx="40">
                  <c:v>0.13369684307387447</c:v>
                </c:pt>
                <c:pt idx="41">
                  <c:v>0.1299969184741919</c:v>
                </c:pt>
                <c:pt idx="42">
                  <c:v>0.1514692538289236</c:v>
                </c:pt>
                <c:pt idx="43">
                  <c:v>0.14269739601680553</c:v>
                </c:pt>
                <c:pt idx="44">
                  <c:v>0.1388411050541036</c:v>
                </c:pt>
                <c:pt idx="45">
                  <c:v>0.15384896759260955</c:v>
                </c:pt>
                <c:pt idx="46">
                  <c:v>0.16262452292917987</c:v>
                </c:pt>
                <c:pt idx="47">
                  <c:v>0.15225961589780052</c:v>
                </c:pt>
                <c:pt idx="48">
                  <c:v>0.15331782144848907</c:v>
                </c:pt>
                <c:pt idx="49">
                  <c:v>0.1479900454914992</c:v>
                </c:pt>
                <c:pt idx="50">
                  <c:v>0.1443486001601269</c:v>
                </c:pt>
                <c:pt idx="51">
                  <c:v>0.13981968409136908</c:v>
                </c:pt>
                <c:pt idx="52">
                  <c:v>0.153828469674575</c:v>
                </c:pt>
                <c:pt idx="53">
                  <c:v>0.153828469674575</c:v>
                </c:pt>
                <c:pt idx="54">
                  <c:v>0.141978232476568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05.0"/>
          <c:min val="2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448275862068965"/>
          <c:min val="0.050549450549450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313835765590588</c:v>
                </c:pt>
                <c:pt idx="1">
                  <c:v>0.16805886489631883</c:v>
                </c:pt>
                <c:pt idx="2">
                  <c:v>0.15026274593918493</c:v>
                </c:pt>
                <c:pt idx="3">
                  <c:v>0.15207261689314056</c:v>
                </c:pt>
                <c:pt idx="4">
                  <c:v>0.1417184335377154</c:v>
                </c:pt>
                <c:pt idx="5">
                  <c:v>0.15789442342133936</c:v>
                </c:pt>
                <c:pt idx="6">
                  <c:v>0.15579700832303867</c:v>
                </c:pt>
                <c:pt idx="7">
                  <c:v>0.1387465725590846</c:v>
                </c:pt>
                <c:pt idx="8">
                  <c:v>0.17041434456021323</c:v>
                </c:pt>
                <c:pt idx="9">
                  <c:v>0.15807676442396026</c:v>
                </c:pt>
                <c:pt idx="10">
                  <c:v>0.15225180040212027</c:v>
                </c:pt>
                <c:pt idx="11">
                  <c:v>0.15525512462708116</c:v>
                </c:pt>
                <c:pt idx="12">
                  <c:v>0.16532028810375282</c:v>
                </c:pt>
                <c:pt idx="13">
                  <c:v>0.15397924267357543</c:v>
                </c:pt>
                <c:pt idx="14">
                  <c:v>0.16274248732627847</c:v>
                </c:pt>
                <c:pt idx="15">
                  <c:v>0.16305101081335216</c:v>
                </c:pt>
                <c:pt idx="16">
                  <c:v>0.16072961264058733</c:v>
                </c:pt>
                <c:pt idx="17">
                  <c:v>0.1606614017769003</c:v>
                </c:pt>
                <c:pt idx="18">
                  <c:v>0.17735969930331652</c:v>
                </c:pt>
                <c:pt idx="19">
                  <c:v>0.17235653723461772</c:v>
                </c:pt>
                <c:pt idx="20">
                  <c:v>0.1820543995320462</c:v>
                </c:pt>
                <c:pt idx="21">
                  <c:v>0.14043995677010962</c:v>
                </c:pt>
                <c:pt idx="22">
                  <c:v>0.14822357409332454</c:v>
                </c:pt>
                <c:pt idx="23">
                  <c:v>0.15465550197281894</c:v>
                </c:pt>
                <c:pt idx="24">
                  <c:v>0.17119830898153393</c:v>
                </c:pt>
                <c:pt idx="25">
                  <c:v>0.17257426992406905</c:v>
                </c:pt>
                <c:pt idx="26">
                  <c:v>0.1607158092093008</c:v>
                </c:pt>
                <c:pt idx="27">
                  <c:v>0.1698846070913622</c:v>
                </c:pt>
                <c:pt idx="28">
                  <c:v>0.1704376929972738</c:v>
                </c:pt>
                <c:pt idx="29">
                  <c:v>0.18086143444844852</c:v>
                </c:pt>
                <c:pt idx="30">
                  <c:v>0.17699524974223121</c:v>
                </c:pt>
                <c:pt idx="31">
                  <c:v>0.17753449924445533</c:v>
                </c:pt>
                <c:pt idx="32">
                  <c:v>0.17930487138693466</c:v>
                </c:pt>
                <c:pt idx="33">
                  <c:v>0.18587844465856465</c:v>
                </c:pt>
                <c:pt idx="34">
                  <c:v>0.1892514291164069</c:v>
                </c:pt>
                <c:pt idx="35">
                  <c:v>0.18018773602719032</c:v>
                </c:pt>
                <c:pt idx="36">
                  <c:v>0.16659216199488353</c:v>
                </c:pt>
                <c:pt idx="37">
                  <c:v>0.16830703220157325</c:v>
                </c:pt>
                <c:pt idx="38">
                  <c:v>0.17844035354485424</c:v>
                </c:pt>
                <c:pt idx="39">
                  <c:v>0.17536097298750167</c:v>
                </c:pt>
                <c:pt idx="40">
                  <c:v>0.18100287396937575</c:v>
                </c:pt>
                <c:pt idx="41">
                  <c:v>0.2011631606296806</c:v>
                </c:pt>
                <c:pt idx="42">
                  <c:v>0.18558407550822845</c:v>
                </c:pt>
                <c:pt idx="43">
                  <c:v>0.17011135471733965</c:v>
                </c:pt>
                <c:pt idx="44">
                  <c:v>0.17204233333333335</c:v>
                </c:pt>
                <c:pt idx="45">
                  <c:v>0.171329807969762</c:v>
                </c:pt>
                <c:pt idx="46">
                  <c:v>0.16381528106441368</c:v>
                </c:pt>
                <c:pt idx="47">
                  <c:v>0.16782554957504212</c:v>
                </c:pt>
                <c:pt idx="48">
                  <c:v>0.16507078764582728</c:v>
                </c:pt>
                <c:pt idx="49">
                  <c:v>0.1736504458354394</c:v>
                </c:pt>
                <c:pt idx="50">
                  <c:v>0.1762243944221011</c:v>
                </c:pt>
                <c:pt idx="51">
                  <c:v>0.1761458689893883</c:v>
                </c:pt>
                <c:pt idx="52">
                  <c:v>0.18916435467241538</c:v>
                </c:pt>
                <c:pt idx="53">
                  <c:v>0.19200202154820853</c:v>
                </c:pt>
                <c:pt idx="54">
                  <c:v>0.18534738147174526</c:v>
                </c:pt>
                <c:pt idx="55">
                  <c:v>0.18447770674375735</c:v>
                </c:pt>
                <c:pt idx="56">
                  <c:v>0.1730299083572354</c:v>
                </c:pt>
                <c:pt idx="57">
                  <c:v>0.15548693105252018</c:v>
                </c:pt>
                <c:pt idx="58">
                  <c:v>0.15697489604189124</c:v>
                </c:pt>
                <c:pt idx="59">
                  <c:v>0.155698027199914</c:v>
                </c:pt>
                <c:pt idx="60">
                  <c:v>0.17148718699956894</c:v>
                </c:pt>
                <c:pt idx="61">
                  <c:v>0.16915669740887132</c:v>
                </c:pt>
                <c:pt idx="62">
                  <c:v>0.2000036265352441</c:v>
                </c:pt>
                <c:pt idx="63">
                  <c:v>0.21199157810219718</c:v>
                </c:pt>
                <c:pt idx="64">
                  <c:v>0.1889962045184364</c:v>
                </c:pt>
                <c:pt idx="65">
                  <c:v>0.1710676601624622</c:v>
                </c:pt>
                <c:pt idx="66">
                  <c:v>0.16971866996682652</c:v>
                </c:pt>
                <c:pt idx="67">
                  <c:v>0.17509894816024282</c:v>
                </c:pt>
                <c:pt idx="68">
                  <c:v>0.1773298266753271</c:v>
                </c:pt>
                <c:pt idx="69">
                  <c:v>0.18493710459288473</c:v>
                </c:pt>
                <c:pt idx="70">
                  <c:v>0.18276040440674318</c:v>
                </c:pt>
                <c:pt idx="71">
                  <c:v>0.19672097560071664</c:v>
                </c:pt>
                <c:pt idx="72">
                  <c:v>0.19472892270418465</c:v>
                </c:pt>
                <c:pt idx="73">
                  <c:v>0.19681361101725264</c:v>
                </c:pt>
                <c:pt idx="74">
                  <c:v>0.18652964954487963</c:v>
                </c:pt>
                <c:pt idx="75">
                  <c:v>0.18868717253037404</c:v>
                </c:pt>
                <c:pt idx="76">
                  <c:v>0.18736210459047822</c:v>
                </c:pt>
                <c:pt idx="77">
                  <c:v>0.18387154814701961</c:v>
                </c:pt>
                <c:pt idx="78">
                  <c:v>0.17203109119037852</c:v>
                </c:pt>
                <c:pt idx="79">
                  <c:v>0.18349077093557067</c:v>
                </c:pt>
                <c:pt idx="80">
                  <c:v>0.18832163865220192</c:v>
                </c:pt>
                <c:pt idx="81">
                  <c:v>0.1967571598203793</c:v>
                </c:pt>
                <c:pt idx="82">
                  <c:v>0.18433029735911832</c:v>
                </c:pt>
                <c:pt idx="83">
                  <c:v>0.1921235627377347</c:v>
                </c:pt>
                <c:pt idx="84">
                  <c:v>0.1912576880510042</c:v>
                </c:pt>
                <c:pt idx="85">
                  <c:v>0.19852127627110516</c:v>
                </c:pt>
                <c:pt idx="86">
                  <c:v>0.18665963781038136</c:v>
                </c:pt>
                <c:pt idx="87">
                  <c:v>0.187621118818514</c:v>
                </c:pt>
                <c:pt idx="88">
                  <c:v>0.18740669431335952</c:v>
                </c:pt>
                <c:pt idx="89">
                  <c:v>0.17971502112253826</c:v>
                </c:pt>
                <c:pt idx="90">
                  <c:v>0.17753932976191922</c:v>
                </c:pt>
                <c:pt idx="91">
                  <c:v>0.19481486459334849</c:v>
                </c:pt>
                <c:pt idx="92">
                  <c:v>0.18868887382390315</c:v>
                </c:pt>
                <c:pt idx="93">
                  <c:v>0.1854381007792365</c:v>
                </c:pt>
                <c:pt idx="94">
                  <c:v>0.19183701156277924</c:v>
                </c:pt>
                <c:pt idx="95">
                  <c:v>0.17288402891840005</c:v>
                </c:pt>
                <c:pt idx="96">
                  <c:v>0.17112360353209644</c:v>
                </c:pt>
                <c:pt idx="97">
                  <c:v>0.17506356209150328</c:v>
                </c:pt>
                <c:pt idx="98">
                  <c:v>0.18542103481437264</c:v>
                </c:pt>
                <c:pt idx="99">
                  <c:v>0.18086518078499053</c:v>
                </c:pt>
                <c:pt idx="100">
                  <c:v>0.1754912902886079</c:v>
                </c:pt>
                <c:pt idx="101">
                  <c:v>0.18728455979148848</c:v>
                </c:pt>
                <c:pt idx="102">
                  <c:v>0.1921223387598451</c:v>
                </c:pt>
                <c:pt idx="103">
                  <c:v>0.13850696285896624</c:v>
                </c:pt>
                <c:pt idx="104">
                  <c:v>0.14772626955199672</c:v>
                </c:pt>
              </c:numCache>
            </c:numRef>
          </c:xVal>
          <c:yVal>
            <c:numRef>
              <c:f>Sheet1!$B$2:$B$106</c:f>
              <c:numCache>
                <c:formatCode>General</c:formatCode>
                <c:ptCount val="105"/>
                <c:pt idx="0">
                  <c:v>0.10837438423645321</c:v>
                </c:pt>
                <c:pt idx="1">
                  <c:v>0.13059701492537312</c:v>
                </c:pt>
                <c:pt idx="2">
                  <c:v>0.12539184952978055</c:v>
                </c:pt>
                <c:pt idx="3">
                  <c:v>0.09635416666666667</c:v>
                </c:pt>
                <c:pt idx="4">
                  <c:v>0.09941520467836257</c:v>
                </c:pt>
                <c:pt idx="5">
                  <c:v>0.10631229235880399</c:v>
                </c:pt>
                <c:pt idx="6">
                  <c:v>0.12121212121212122</c:v>
                </c:pt>
                <c:pt idx="7">
                  <c:v>0.12062256809338522</c:v>
                </c:pt>
                <c:pt idx="8">
                  <c:v>0.09302325581395349</c:v>
                </c:pt>
                <c:pt idx="9">
                  <c:v>0.09836065573770492</c:v>
                </c:pt>
                <c:pt idx="10">
                  <c:v>0.12429378531073447</c:v>
                </c:pt>
                <c:pt idx="11">
                  <c:v>0.12320916905444126</c:v>
                </c:pt>
                <c:pt idx="12">
                  <c:v>0.11428571428571428</c:v>
                </c:pt>
                <c:pt idx="13">
                  <c:v>0.12176165803108809</c:v>
                </c:pt>
                <c:pt idx="14">
                  <c:v>0.13333333333333333</c:v>
                </c:pt>
                <c:pt idx="15">
                  <c:v>0.09375</c:v>
                </c:pt>
                <c:pt idx="16">
                  <c:v>0.08997429305912596</c:v>
                </c:pt>
                <c:pt idx="17">
                  <c:v>0.07977207977207977</c:v>
                </c:pt>
                <c:pt idx="18">
                  <c:v>0.0749185667752443</c:v>
                </c:pt>
                <c:pt idx="19">
                  <c:v>0.06437768240343347</c:v>
                </c:pt>
                <c:pt idx="20">
                  <c:v>0.07763975155279502</c:v>
                </c:pt>
                <c:pt idx="21">
                  <c:v>0.10344827586206896</c:v>
                </c:pt>
                <c:pt idx="22">
                  <c:v>0.12307692307692308</c:v>
                </c:pt>
                <c:pt idx="23">
                  <c:v>0.1326530612244898</c:v>
                </c:pt>
                <c:pt idx="24">
                  <c:v>0.11055276381909548</c:v>
                </c:pt>
                <c:pt idx="25">
                  <c:v>0.10062893081761007</c:v>
                </c:pt>
                <c:pt idx="26">
                  <c:v>0.13488372093023257</c:v>
                </c:pt>
                <c:pt idx="27">
                  <c:v>0.09606986899563319</c:v>
                </c:pt>
                <c:pt idx="28">
                  <c:v>0.10087719298245613</c:v>
                </c:pt>
                <c:pt idx="29">
                  <c:v>0.07692307692307693</c:v>
                </c:pt>
                <c:pt idx="30">
                  <c:v>0.08796296296296297</c:v>
                </c:pt>
                <c:pt idx="31">
                  <c:v>0.09090909090909091</c:v>
                </c:pt>
                <c:pt idx="32">
                  <c:v>0.10648148148148148</c:v>
                </c:pt>
                <c:pt idx="33">
                  <c:v>0.1016949152542373</c:v>
                </c:pt>
                <c:pt idx="34">
                  <c:v>0.10738255033557047</c:v>
                </c:pt>
                <c:pt idx="35">
                  <c:v>0.11632270168855535</c:v>
                </c:pt>
                <c:pt idx="36">
                  <c:v>0.1227154046997389</c:v>
                </c:pt>
                <c:pt idx="37">
                  <c:v>0.07746478873239436</c:v>
                </c:pt>
                <c:pt idx="38">
                  <c:v>0.0944055944055944</c:v>
                </c:pt>
                <c:pt idx="39">
                  <c:v>0.0933852140077821</c:v>
                </c:pt>
                <c:pt idx="40">
                  <c:v>0.07588075880758807</c:v>
                </c:pt>
                <c:pt idx="41">
                  <c:v>0.06397306397306397</c:v>
                </c:pt>
                <c:pt idx="42">
                  <c:v>0.0664819944598338</c:v>
                </c:pt>
                <c:pt idx="43">
                  <c:v>0.07560975609756097</c:v>
                </c:pt>
                <c:pt idx="44">
                  <c:v>0.13953488372093023</c:v>
                </c:pt>
                <c:pt idx="45">
                  <c:v>0.14985994397759103</c:v>
                </c:pt>
                <c:pt idx="46">
                  <c:v>0.1384217335058215</c:v>
                </c:pt>
                <c:pt idx="47">
                  <c:v>0.15233785822021115</c:v>
                </c:pt>
                <c:pt idx="48">
                  <c:v>0.17118093174431204</c:v>
                </c:pt>
                <c:pt idx="49">
                  <c:v>0.1783644558918223</c:v>
                </c:pt>
                <c:pt idx="50">
                  <c:v>0.12813738441215325</c:v>
                </c:pt>
                <c:pt idx="51">
                  <c:v>0.1054945054945055</c:v>
                </c:pt>
                <c:pt idx="52">
                  <c:v>0.12307692307692308</c:v>
                </c:pt>
                <c:pt idx="53">
                  <c:v>0.1232876712328767</c:v>
                </c:pt>
                <c:pt idx="54">
                  <c:v>0.11989100817438691</c:v>
                </c:pt>
                <c:pt idx="55">
                  <c:v>0.08776595744680851</c:v>
                </c:pt>
                <c:pt idx="56">
                  <c:v>0.1130952380952381</c:v>
                </c:pt>
                <c:pt idx="57">
                  <c:v>0.12668463611859837</c:v>
                </c:pt>
                <c:pt idx="58">
                  <c:v>0.1740139211136891</c:v>
                </c:pt>
                <c:pt idx="59">
                  <c:v>0.11794019933554817</c:v>
                </c:pt>
                <c:pt idx="60">
                  <c:v>0.11753371868978806</c:v>
                </c:pt>
                <c:pt idx="61">
                  <c:v>0.13316582914572864</c:v>
                </c:pt>
                <c:pt idx="62">
                  <c:v>0.14615384615384616</c:v>
                </c:pt>
                <c:pt idx="63">
                  <c:v>0.14492753623188406</c:v>
                </c:pt>
                <c:pt idx="64">
                  <c:v>0.14096916299559473</c:v>
                </c:pt>
                <c:pt idx="65">
                  <c:v>0.12996941896024464</c:v>
                </c:pt>
                <c:pt idx="66">
                  <c:v>0.12618296529968454</c:v>
                </c:pt>
                <c:pt idx="67">
                  <c:v>0.12312811980033278</c:v>
                </c:pt>
                <c:pt idx="68">
                  <c:v>0.13900414937759337</c:v>
                </c:pt>
                <c:pt idx="69">
                  <c:v>0.06318681318681318</c:v>
                </c:pt>
                <c:pt idx="70">
                  <c:v>0.10109289617486339</c:v>
                </c:pt>
                <c:pt idx="71">
                  <c:v>0.12363636363636364</c:v>
                </c:pt>
                <c:pt idx="72">
                  <c:v>0.10580204778156997</c:v>
                </c:pt>
                <c:pt idx="73">
                  <c:v>0.15579710144927536</c:v>
                </c:pt>
                <c:pt idx="74">
                  <c:v>0.1152542372881356</c:v>
                </c:pt>
                <c:pt idx="75">
                  <c:v>0.1452991452991453</c:v>
                </c:pt>
                <c:pt idx="76">
                  <c:v>0.13526570048309178</c:v>
                </c:pt>
                <c:pt idx="77">
                  <c:v>0.11688311688311688</c:v>
                </c:pt>
                <c:pt idx="78">
                  <c:v>0.14361702127659576</c:v>
                </c:pt>
                <c:pt idx="79">
                  <c:v>0.08433734939759036</c:v>
                </c:pt>
                <c:pt idx="80">
                  <c:v>0.0823045267489712</c:v>
                </c:pt>
                <c:pt idx="81">
                  <c:v>0.09121621621621621</c:v>
                </c:pt>
                <c:pt idx="82">
                  <c:v>0.0759493670886076</c:v>
                </c:pt>
                <c:pt idx="83">
                  <c:v>0.08333333333333333</c:v>
                </c:pt>
                <c:pt idx="84">
                  <c:v>0.07329842931937172</c:v>
                </c:pt>
                <c:pt idx="85">
                  <c:v>0.12301587301587301</c:v>
                </c:pt>
                <c:pt idx="86">
                  <c:v>0.09593023255813954</c:v>
                </c:pt>
                <c:pt idx="87">
                  <c:v>0.12465373961218837</c:v>
                </c:pt>
                <c:pt idx="88">
                  <c:v>0.11020408163265306</c:v>
                </c:pt>
                <c:pt idx="89">
                  <c:v>0.11731843575418995</c:v>
                </c:pt>
                <c:pt idx="90">
                  <c:v>0.11483253588516747</c:v>
                </c:pt>
                <c:pt idx="91">
                  <c:v>0.12669683257918551</c:v>
                </c:pt>
                <c:pt idx="92">
                  <c:v>0.11683848797250859</c:v>
                </c:pt>
                <c:pt idx="93">
                  <c:v>0.09657320872274143</c:v>
                </c:pt>
                <c:pt idx="94">
                  <c:v>0.09523809523809523</c:v>
                </c:pt>
                <c:pt idx="95">
                  <c:v>0.10674157303370786</c:v>
                </c:pt>
                <c:pt idx="96">
                  <c:v>0.09380530973451327</c:v>
                </c:pt>
                <c:pt idx="97">
                  <c:v>0.08970099667774087</c:v>
                </c:pt>
                <c:pt idx="98">
                  <c:v>0.1155433287482806</c:v>
                </c:pt>
                <c:pt idx="99">
                  <c:v>0.12166859791425261</c:v>
                </c:pt>
                <c:pt idx="100">
                  <c:v>0.1417004048582996</c:v>
                </c:pt>
                <c:pt idx="101">
                  <c:v>0.13050075872534142</c:v>
                </c:pt>
                <c:pt idx="102">
                  <c:v>0.11027568922305764</c:v>
                </c:pt>
                <c:pt idx="103">
                  <c:v>0.14666666666666667</c:v>
                </c:pt>
                <c:pt idx="104">
                  <c:v>0.129834254143646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6467098895527119</c:v>
                </c:pt>
                <c:pt idx="1">
                  <c:v>0.19378293688849038</c:v>
                </c:pt>
                <c:pt idx="2">
                  <c:v>0.18735960999801207</c:v>
                </c:pt>
                <c:pt idx="3">
                  <c:v>0.1881184634008624</c:v>
                </c:pt>
                <c:pt idx="4">
                  <c:v>0.16726952035161477</c:v>
                </c:pt>
                <c:pt idx="5">
                  <c:v>0.18572750551639675</c:v>
                </c:pt>
                <c:pt idx="6">
                  <c:v>0.1808393698767681</c:v>
                </c:pt>
                <c:pt idx="7">
                  <c:v>0.15748367783321454</c:v>
                </c:pt>
                <c:pt idx="8">
                  <c:v>0.21262285478414353</c:v>
                </c:pt>
                <c:pt idx="9">
                  <c:v>0.2050753476703203</c:v>
                </c:pt>
                <c:pt idx="10">
                  <c:v>0.16939756308389278</c:v>
                </c:pt>
                <c:pt idx="11">
                  <c:v>0.1769848304213772</c:v>
                </c:pt>
                <c:pt idx="12">
                  <c:v>0.18958323575594327</c:v>
                </c:pt>
                <c:pt idx="13">
                  <c:v>0.19130740746768668</c:v>
                </c:pt>
                <c:pt idx="14">
                  <c:v>0.17771172459684942</c:v>
                </c:pt>
                <c:pt idx="15">
                  <c:v>0.19562114599027666</c:v>
                </c:pt>
                <c:pt idx="16">
                  <c:v>0.20569167591021795</c:v>
                </c:pt>
                <c:pt idx="17">
                  <c:v>0.19941682142510603</c:v>
                </c:pt>
                <c:pt idx="18">
                  <c:v>0.16076006680983057</c:v>
                </c:pt>
                <c:pt idx="19">
                  <c:v>0.16930185019465338</c:v>
                </c:pt>
                <c:pt idx="20">
                  <c:v>0.14811485427856133</c:v>
                </c:pt>
                <c:pt idx="21">
                  <c:v>0.1729553895694043</c:v>
                </c:pt>
                <c:pt idx="22">
                  <c:v>0.17248631739057044</c:v>
                </c:pt>
                <c:pt idx="23">
                  <c:v>0.19196798761145145</c:v>
                </c:pt>
                <c:pt idx="24">
                  <c:v>0.20246924608850533</c:v>
                </c:pt>
                <c:pt idx="25">
                  <c:v>0.12797188946387061</c:v>
                </c:pt>
                <c:pt idx="26">
                  <c:v>0.17436460688319436</c:v>
                </c:pt>
                <c:pt idx="27">
                  <c:v>0.18255248144634398</c:v>
                </c:pt>
                <c:pt idx="28">
                  <c:v>0.1898551258313165</c:v>
                </c:pt>
                <c:pt idx="29">
                  <c:v>0.16563978406894853</c:v>
                </c:pt>
                <c:pt idx="30">
                  <c:v>0.18346131816398586</c:v>
                </c:pt>
                <c:pt idx="31">
                  <c:v>0.17124641471920238</c:v>
                </c:pt>
                <c:pt idx="32">
                  <c:v>0.17828457452392452</c:v>
                </c:pt>
                <c:pt idx="33">
                  <c:v>0.17895736748257415</c:v>
                </c:pt>
                <c:pt idx="34">
                  <c:v>0.1898498852233898</c:v>
                </c:pt>
                <c:pt idx="35">
                  <c:v>0.18286161699439132</c:v>
                </c:pt>
                <c:pt idx="36">
                  <c:v>0.17744096459801995</c:v>
                </c:pt>
                <c:pt idx="37">
                  <c:v>0.16409122140604038</c:v>
                </c:pt>
                <c:pt idx="38">
                  <c:v>0.1759142243317512</c:v>
                </c:pt>
                <c:pt idx="39">
                  <c:v>0.1902372722296082</c:v>
                </c:pt>
                <c:pt idx="40">
                  <c:v>0.1828953123136257</c:v>
                </c:pt>
                <c:pt idx="41">
                  <c:v>0.17886022220965928</c:v>
                </c:pt>
                <c:pt idx="42">
                  <c:v>0.15975466376620193</c:v>
                </c:pt>
                <c:pt idx="43">
                  <c:v>0.175237400562657</c:v>
                </c:pt>
                <c:pt idx="44">
                  <c:v>0.16944539780531834</c:v>
                </c:pt>
                <c:pt idx="45">
                  <c:v>0.16248218688583171</c:v>
                </c:pt>
                <c:pt idx="46">
                  <c:v>0.1576844193062693</c:v>
                </c:pt>
                <c:pt idx="47">
                  <c:v>0.15812256680448517</c:v>
                </c:pt>
                <c:pt idx="48">
                  <c:v>0.14586286603481016</c:v>
                </c:pt>
                <c:pt idx="49">
                  <c:v>0.1591535930205862</c:v>
                </c:pt>
                <c:pt idx="50">
                  <c:v>0.17410193600978197</c:v>
                </c:pt>
                <c:pt idx="51">
                  <c:v>0.17709740569289265</c:v>
                </c:pt>
              </c:numCache>
            </c:numRef>
          </c:xVal>
          <c:yVal>
            <c:numRef>
              <c:f>Sheet1!$B$109:$B$160</c:f>
              <c:numCache>
                <c:formatCode>General</c:formatCode>
                <c:ptCount val="52"/>
                <c:pt idx="0">
                  <c:v>0.14414414414414414</c:v>
                </c:pt>
                <c:pt idx="1">
                  <c:v>0.13349514563106796</c:v>
                </c:pt>
                <c:pt idx="2">
                  <c:v>0.13856812933025403</c:v>
                </c:pt>
                <c:pt idx="3">
                  <c:v>0.15326633165829145</c:v>
                </c:pt>
                <c:pt idx="4">
                  <c:v>0.14249363867684478</c:v>
                </c:pt>
                <c:pt idx="5">
                  <c:v>0.1457286432160804</c:v>
                </c:pt>
                <c:pt idx="6">
                  <c:v>0.14955357142857142</c:v>
                </c:pt>
                <c:pt idx="7">
                  <c:v>0.19540229885057472</c:v>
                </c:pt>
                <c:pt idx="8">
                  <c:v>0.1550632911392405</c:v>
                </c:pt>
                <c:pt idx="9">
                  <c:v>0.12238805970149254</c:v>
                </c:pt>
                <c:pt idx="10">
                  <c:v>0.16714697406340057</c:v>
                </c:pt>
                <c:pt idx="11">
                  <c:v>0.12260536398467432</c:v>
                </c:pt>
                <c:pt idx="12">
                  <c:v>0.12141280353200883</c:v>
                </c:pt>
                <c:pt idx="13">
                  <c:v>0.13846153846153847</c:v>
                </c:pt>
                <c:pt idx="14">
                  <c:v>0.1867816091954023</c:v>
                </c:pt>
                <c:pt idx="15">
                  <c:v>0.10802469135802469</c:v>
                </c:pt>
                <c:pt idx="16">
                  <c:v>0.125</c:v>
                </c:pt>
                <c:pt idx="17">
                  <c:v>0.11067193675889328</c:v>
                </c:pt>
                <c:pt idx="18">
                  <c:v>0.1493212669683258</c:v>
                </c:pt>
                <c:pt idx="19">
                  <c:v>0.17142857142857143</c:v>
                </c:pt>
                <c:pt idx="20">
                  <c:v>0.16901408450704225</c:v>
                </c:pt>
                <c:pt idx="21">
                  <c:v>0.145985401459854</c:v>
                </c:pt>
                <c:pt idx="22">
                  <c:v>0.09243697478991597</c:v>
                </c:pt>
                <c:pt idx="23">
                  <c:v>0.1258741258741259</c:v>
                </c:pt>
                <c:pt idx="24">
                  <c:v>0.10857142857142857</c:v>
                </c:pt>
                <c:pt idx="25">
                  <c:v>0.17159763313609466</c:v>
                </c:pt>
                <c:pt idx="26">
                  <c:v>0.1388888888888889</c:v>
                </c:pt>
                <c:pt idx="27">
                  <c:v>0.13333333333333333</c:v>
                </c:pt>
                <c:pt idx="28">
                  <c:v>0.13725490196078433</c:v>
                </c:pt>
                <c:pt idx="29">
                  <c:v>0.14358974358974358</c:v>
                </c:pt>
                <c:pt idx="30">
                  <c:v>0.1590909090909091</c:v>
                </c:pt>
                <c:pt idx="31">
                  <c:v>0.14594594594594595</c:v>
                </c:pt>
                <c:pt idx="32">
                  <c:v>0.14285714285714285</c:v>
                </c:pt>
                <c:pt idx="33">
                  <c:v>0.13043478260869565</c:v>
                </c:pt>
                <c:pt idx="34">
                  <c:v>0.13140311804008908</c:v>
                </c:pt>
                <c:pt idx="35">
                  <c:v>0.125</c:v>
                </c:pt>
                <c:pt idx="36">
                  <c:v>0.1242603550295858</c:v>
                </c:pt>
                <c:pt idx="37">
                  <c:v>0.15706806282722513</c:v>
                </c:pt>
                <c:pt idx="38">
                  <c:v>0.15204678362573099</c:v>
                </c:pt>
                <c:pt idx="39">
                  <c:v>0.16595744680851063</c:v>
                </c:pt>
                <c:pt idx="40">
                  <c:v>0.11403508771929824</c:v>
                </c:pt>
                <c:pt idx="41">
                  <c:v>0.11297071129707113</c:v>
                </c:pt>
                <c:pt idx="42">
                  <c:v>0.17410714285714285</c:v>
                </c:pt>
                <c:pt idx="43">
                  <c:v>0.11940298507462686</c:v>
                </c:pt>
                <c:pt idx="44">
                  <c:v>0.09706546275395034</c:v>
                </c:pt>
                <c:pt idx="45">
                  <c:v>0.13</c:v>
                </c:pt>
                <c:pt idx="46">
                  <c:v>0.15947467166979362</c:v>
                </c:pt>
                <c:pt idx="47">
                  <c:v>0.15738963531669867</c:v>
                </c:pt>
                <c:pt idx="48">
                  <c:v>0.1392</c:v>
                </c:pt>
                <c:pt idx="49">
                  <c:v>0.15036496350364964</c:v>
                </c:pt>
                <c:pt idx="50">
                  <c:v>0.16793893129770993</c:v>
                </c:pt>
                <c:pt idx="51">
                  <c:v>0.157809983896940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5650764191940966</c:v>
                </c:pt>
              </c:numCache>
            </c:numRef>
          </c:xVal>
          <c:yVal>
            <c:numRef>
              <c:f>Sheet1!$B$163:$B$164</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5650764191940966</c:v>
                </c:pt>
                <c:pt idx="1">
                  <c:v>0.15650764191940966</c:v>
                </c:pt>
              </c:numCache>
            </c:numRef>
          </c:xVal>
          <c:yVal>
            <c:numRef>
              <c:f>Sheet1!$B$167:$B$168</c:f>
              <c:numCache>
                <c:formatCode>General</c:formatCode>
                <c:ptCount val="2"/>
                <c:pt idx="0">
                  <c:v>0.1538284696745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5650764191940966</c:v>
                </c:pt>
              </c:numCache>
            </c:numRef>
          </c:xVal>
          <c:yVal>
            <c:numRef>
              <c:f>Sheet1!$B$171:$B$172</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5650764191940966</c:v>
                </c:pt>
                <c:pt idx="1">
                  <c:v>0.15650764191940966</c:v>
                </c:pt>
              </c:numCache>
            </c:numRef>
          </c:xVal>
          <c:yVal>
            <c:numRef>
              <c:f>Sheet1!$B$175:$B$176</c:f>
              <c:numCache>
                <c:formatCode>General</c:formatCode>
                <c:ptCount val="2"/>
                <c:pt idx="0">
                  <c:v>0.1538284696745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623629910612912</c:v>
                </c:pt>
              </c:numCache>
            </c:numRef>
          </c:xVal>
          <c:yVal>
            <c:numRef>
              <c:f>Sheet1!$B$179:$B$180</c:f>
              <c:numCache>
                <c:formatCode>General</c:formatCode>
                <c:ptCount val="2"/>
                <c:pt idx="0">
                  <c:v>0.14197823247656866</c:v>
                </c:pt>
                <c:pt idx="1">
                  <c:v>0.141978232476568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623629910612912</c:v>
                </c:pt>
                <c:pt idx="1">
                  <c:v>0.17623629910612912</c:v>
                </c:pt>
              </c:numCache>
            </c:numRef>
          </c:xVal>
          <c:yVal>
            <c:numRef>
              <c:f>Sheet1!$B$183:$B$184</c:f>
              <c:numCache>
                <c:formatCode>General</c:formatCode>
                <c:ptCount val="2"/>
                <c:pt idx="0">
                  <c:v>0.141978232476568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6467098895527119</c:v>
                </c:pt>
                <c:pt idx="1">
                  <c:v>0.19378293688849038</c:v>
                </c:pt>
                <c:pt idx="2">
                  <c:v>0.18735960999801207</c:v>
                </c:pt>
                <c:pt idx="3">
                  <c:v>0.1881184634008624</c:v>
                </c:pt>
                <c:pt idx="4">
                  <c:v>0.16726952035161477</c:v>
                </c:pt>
                <c:pt idx="5">
                  <c:v>0.18572750551639675</c:v>
                </c:pt>
                <c:pt idx="6">
                  <c:v>0.1808393698767681</c:v>
                </c:pt>
                <c:pt idx="7">
                  <c:v>0.15748367783321454</c:v>
                </c:pt>
                <c:pt idx="8">
                  <c:v>0.21262285478414353</c:v>
                </c:pt>
                <c:pt idx="9">
                  <c:v>0.2050753476703203</c:v>
                </c:pt>
                <c:pt idx="10">
                  <c:v>0.16939756308389278</c:v>
                </c:pt>
                <c:pt idx="11">
                  <c:v>0.1769848304213772</c:v>
                </c:pt>
                <c:pt idx="12">
                  <c:v>0.18958323575594327</c:v>
                </c:pt>
                <c:pt idx="13">
                  <c:v>0.19130740746768668</c:v>
                </c:pt>
                <c:pt idx="14">
                  <c:v>0.17771172459684942</c:v>
                </c:pt>
                <c:pt idx="15">
                  <c:v>0.19562114599027666</c:v>
                </c:pt>
                <c:pt idx="16">
                  <c:v>0.20569167591021795</c:v>
                </c:pt>
                <c:pt idx="17">
                  <c:v>0.19941682142510603</c:v>
                </c:pt>
                <c:pt idx="18">
                  <c:v>0.16076006680983057</c:v>
                </c:pt>
                <c:pt idx="19">
                  <c:v>0.16930185019465338</c:v>
                </c:pt>
                <c:pt idx="20">
                  <c:v>0.14811485427856133</c:v>
                </c:pt>
                <c:pt idx="21">
                  <c:v>0.1729553895694043</c:v>
                </c:pt>
                <c:pt idx="22">
                  <c:v>0.17248631739057044</c:v>
                </c:pt>
                <c:pt idx="23">
                  <c:v>0.19196798761145145</c:v>
                </c:pt>
                <c:pt idx="24">
                  <c:v>0.20246924608850533</c:v>
                </c:pt>
                <c:pt idx="25">
                  <c:v>0.12797188946387061</c:v>
                </c:pt>
                <c:pt idx="26">
                  <c:v>0.17436460688319436</c:v>
                </c:pt>
                <c:pt idx="27">
                  <c:v>0.18255248144634398</c:v>
                </c:pt>
                <c:pt idx="28">
                  <c:v>0.1898551258313165</c:v>
                </c:pt>
                <c:pt idx="29">
                  <c:v>0.16563978406894853</c:v>
                </c:pt>
                <c:pt idx="30">
                  <c:v>0.18346131816398586</c:v>
                </c:pt>
                <c:pt idx="31">
                  <c:v>0.17124641471920238</c:v>
                </c:pt>
                <c:pt idx="32">
                  <c:v>0.17828457452392452</c:v>
                </c:pt>
                <c:pt idx="33">
                  <c:v>0.17895736748257415</c:v>
                </c:pt>
                <c:pt idx="34">
                  <c:v>0.1898498852233898</c:v>
                </c:pt>
                <c:pt idx="35">
                  <c:v>0.18286161699439132</c:v>
                </c:pt>
                <c:pt idx="36">
                  <c:v>0.17744096459801995</c:v>
                </c:pt>
                <c:pt idx="37">
                  <c:v>0.16409122140604038</c:v>
                </c:pt>
                <c:pt idx="38">
                  <c:v>0.1759142243317512</c:v>
                </c:pt>
                <c:pt idx="39">
                  <c:v>0.1902372722296082</c:v>
                </c:pt>
                <c:pt idx="40">
                  <c:v>0.1828953123136257</c:v>
                </c:pt>
                <c:pt idx="41">
                  <c:v>0.17886022220965928</c:v>
                </c:pt>
                <c:pt idx="42">
                  <c:v>0.15975466376620193</c:v>
                </c:pt>
                <c:pt idx="43">
                  <c:v>0.175237400562657</c:v>
                </c:pt>
                <c:pt idx="44">
                  <c:v>0.16944539780531834</c:v>
                </c:pt>
                <c:pt idx="45">
                  <c:v>0.16248218688583171</c:v>
                </c:pt>
                <c:pt idx="46">
                  <c:v>0.1576844193062693</c:v>
                </c:pt>
                <c:pt idx="47">
                  <c:v>0.15812256680448517</c:v>
                </c:pt>
                <c:pt idx="48">
                  <c:v>0.14586286603481016</c:v>
                </c:pt>
                <c:pt idx="49">
                  <c:v>0.1591535930205862</c:v>
                </c:pt>
                <c:pt idx="50">
                  <c:v>0.17410193600978197</c:v>
                </c:pt>
                <c:pt idx="51">
                  <c:v>0.17709740569289265</c:v>
                </c:pt>
                <c:pt idx="52">
                  <c:v>0.15650764191940966</c:v>
                </c:pt>
                <c:pt idx="53">
                  <c:v>0.15650764191940966</c:v>
                </c:pt>
                <c:pt idx="54">
                  <c:v>0.17623629910612912</c:v>
                </c:pt>
              </c:numCache>
            </c:numRef>
          </c:xVal>
          <c:yVal>
            <c:numRef>
              <c:f>Sheet1!$B$187:$B$241</c:f>
              <c:numCache>
                <c:formatCode>General</c:formatCode>
                <c:ptCount val="55"/>
                <c:pt idx="0">
                  <c:v>0.14892506455231858</c:v>
                </c:pt>
                <c:pt idx="1">
                  <c:v>0.13143864948414619</c:v>
                </c:pt>
                <c:pt idx="2">
                  <c:v>0.13529689216797874</c:v>
                </c:pt>
                <c:pt idx="3">
                  <c:v>0.13484107843787124</c:v>
                </c:pt>
                <c:pt idx="4">
                  <c:v>0.14736422778975033</c:v>
                </c:pt>
                <c:pt idx="5">
                  <c:v>0.1362772338636158</c:v>
                </c:pt>
                <c:pt idx="6">
                  <c:v>0.13921334686093734</c:v>
                </c:pt>
                <c:pt idx="7">
                  <c:v>0.1532422028555567</c:v>
                </c:pt>
                <c:pt idx="8">
                  <c:v>0.12012224341851988</c:v>
                </c:pt>
                <c:pt idx="9">
                  <c:v>0.12465573744733056</c:v>
                </c:pt>
                <c:pt idx="10">
                  <c:v>0.1460859952721331</c:v>
                </c:pt>
                <c:pt idx="11">
                  <c:v>0.14152861882309625</c:v>
                </c:pt>
                <c:pt idx="12">
                  <c:v>0.13396124664371978</c:v>
                </c:pt>
                <c:pt idx="13">
                  <c:v>0.13292560374309673</c:v>
                </c:pt>
                <c:pt idx="14">
                  <c:v>0.14109200175809938</c:v>
                </c:pt>
                <c:pt idx="15">
                  <c:v>0.1303345087578141</c:v>
                </c:pt>
                <c:pt idx="16">
                  <c:v>0.12428553304033557</c:v>
                </c:pt>
                <c:pt idx="17">
                  <c:v>0.12805459412380382</c:v>
                </c:pt>
                <c:pt idx="18">
                  <c:v>0.15127420340387737</c:v>
                </c:pt>
                <c:pt idx="19">
                  <c:v>0.14614348628278112</c:v>
                </c:pt>
                <c:pt idx="20">
                  <c:v>0.15886969084615576</c:v>
                </c:pt>
                <c:pt idx="21">
                  <c:v>0.14394894725291757</c:v>
                </c:pt>
                <c:pt idx="22">
                  <c:v>0.14423070067027172</c:v>
                </c:pt>
                <c:pt idx="23">
                  <c:v>0.1325288189382406</c:v>
                </c:pt>
                <c:pt idx="24">
                  <c:v>0.12622112132593513</c:v>
                </c:pt>
                <c:pt idx="25">
                  <c:v>0.1709687865254027</c:v>
                </c:pt>
                <c:pt idx="26">
                  <c:v>0.14310248521174068</c:v>
                </c:pt>
                <c:pt idx="27">
                  <c:v>0.13818434735762655</c:v>
                </c:pt>
                <c:pt idx="28">
                  <c:v>0.13379793284823624</c:v>
                </c:pt>
                <c:pt idx="29">
                  <c:v>0.1483431470003691</c:v>
                </c:pt>
                <c:pt idx="30">
                  <c:v>0.1376384444826167</c:v>
                </c:pt>
                <c:pt idx="31">
                  <c:v>0.14497546198976202</c:v>
                </c:pt>
                <c:pt idx="32">
                  <c:v>0.14074791308290713</c:v>
                </c:pt>
                <c:pt idx="33">
                  <c:v>0.14034379251506057</c:v>
                </c:pt>
                <c:pt idx="34">
                  <c:v>0.13380108067763008</c:v>
                </c:pt>
                <c:pt idx="35">
                  <c:v>0.13799866165504548</c:v>
                </c:pt>
                <c:pt idx="36">
                  <c:v>0.14125463676054756</c:v>
                </c:pt>
                <c:pt idx="37">
                  <c:v>0.1492733083741392</c:v>
                </c:pt>
                <c:pt idx="38">
                  <c:v>0.14217169026924814</c:v>
                </c:pt>
                <c:pt idx="39">
                  <c:v>0.13356839236703366</c:v>
                </c:pt>
                <c:pt idx="40">
                  <c:v>0.13797842218706696</c:v>
                </c:pt>
                <c:pt idx="41">
                  <c:v>0.14040214390288241</c:v>
                </c:pt>
                <c:pt idx="42">
                  <c:v>0.15187810991580242</c:v>
                </c:pt>
                <c:pt idx="43">
                  <c:v>0.14257823198818548</c:v>
                </c:pt>
                <c:pt idx="44">
                  <c:v>0.14605726281508705</c:v>
                </c:pt>
                <c:pt idx="45">
                  <c:v>0.1502397928410642</c:v>
                </c:pt>
                <c:pt idx="46">
                  <c:v>0.1531216252587815</c:v>
                </c:pt>
                <c:pt idx="47">
                  <c:v>0.15285844709452884</c:v>
                </c:pt>
                <c:pt idx="48">
                  <c:v>0.16022237261273525</c:v>
                </c:pt>
                <c:pt idx="49">
                  <c:v>0.15223914973928943</c:v>
                </c:pt>
                <c:pt idx="50">
                  <c:v>0.1432602613911068</c:v>
                </c:pt>
                <c:pt idx="51">
                  <c:v>0.14146099923513028</c:v>
                </c:pt>
                <c:pt idx="52">
                  <c:v>0.153828469674575</c:v>
                </c:pt>
                <c:pt idx="53">
                  <c:v>0.153828469674575</c:v>
                </c:pt>
                <c:pt idx="54">
                  <c:v>0.141978232476568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448275862068965"/>
          <c:min val="0.050549450549450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47.0682</c:v>
                </c:pt>
                <c:pt idx="1">
                  <c:v>349.0286</c:v>
                </c:pt>
                <c:pt idx="2">
                  <c:v>324.075</c:v>
                </c:pt>
                <c:pt idx="3">
                  <c:v>320.2432</c:v>
                </c:pt>
                <c:pt idx="4">
                  <c:v>287.0882</c:v>
                </c:pt>
                <c:pt idx="5">
                  <c:v>328.7813</c:v>
                </c:pt>
                <c:pt idx="6">
                  <c:v>326.1071</c:v>
                </c:pt>
                <c:pt idx="7">
                  <c:v>324.3548</c:v>
                </c:pt>
                <c:pt idx="8">
                  <c:v>351.65</c:v>
                </c:pt>
                <c:pt idx="9">
                  <c:v>330.0278</c:v>
                </c:pt>
                <c:pt idx="10">
                  <c:v>312.3636</c:v>
                </c:pt>
                <c:pt idx="11">
                  <c:v>322.6512</c:v>
                </c:pt>
                <c:pt idx="12">
                  <c:v>351.2273</c:v>
                </c:pt>
                <c:pt idx="13">
                  <c:v>333.0638</c:v>
                </c:pt>
                <c:pt idx="14">
                  <c:v>337.7167</c:v>
                </c:pt>
                <c:pt idx="15">
                  <c:v>346.8095</c:v>
                </c:pt>
                <c:pt idx="16">
                  <c:v>318.6286</c:v>
                </c:pt>
                <c:pt idx="17">
                  <c:v>325.5</c:v>
                </c:pt>
                <c:pt idx="18">
                  <c:v>356.6957</c:v>
                </c:pt>
                <c:pt idx="19">
                  <c:v>365.6667</c:v>
                </c:pt>
                <c:pt idx="20">
                  <c:v>369.0</c:v>
                </c:pt>
                <c:pt idx="21">
                  <c:v>341.1111</c:v>
                </c:pt>
                <c:pt idx="22">
                  <c:v>360.875</c:v>
                </c:pt>
                <c:pt idx="23">
                  <c:v>352.7692</c:v>
                </c:pt>
                <c:pt idx="24">
                  <c:v>366.9091</c:v>
                </c:pt>
                <c:pt idx="25">
                  <c:v>402.75</c:v>
                </c:pt>
                <c:pt idx="26">
                  <c:v>358.4828</c:v>
                </c:pt>
                <c:pt idx="27">
                  <c:v>364.8636</c:v>
                </c:pt>
                <c:pt idx="28">
                  <c:v>370.3043</c:v>
                </c:pt>
                <c:pt idx="29">
                  <c:v>354.4545</c:v>
                </c:pt>
                <c:pt idx="30">
                  <c:v>374.6842</c:v>
                </c:pt>
                <c:pt idx="31">
                  <c:v>371.9545</c:v>
                </c:pt>
                <c:pt idx="32">
                  <c:v>397.1304</c:v>
                </c:pt>
                <c:pt idx="33">
                  <c:v>373.7667</c:v>
                </c:pt>
                <c:pt idx="34">
                  <c:v>361.75</c:v>
                </c:pt>
                <c:pt idx="35">
                  <c:v>381.7097</c:v>
                </c:pt>
                <c:pt idx="36">
                  <c:v>371.3617</c:v>
                </c:pt>
                <c:pt idx="37">
                  <c:v>358.6364</c:v>
                </c:pt>
                <c:pt idx="38">
                  <c:v>393.1852</c:v>
                </c:pt>
                <c:pt idx="39">
                  <c:v>391.4583</c:v>
                </c:pt>
                <c:pt idx="40">
                  <c:v>384.1786</c:v>
                </c:pt>
                <c:pt idx="41">
                  <c:v>411.3158</c:v>
                </c:pt>
                <c:pt idx="42">
                  <c:v>383.4167</c:v>
                </c:pt>
                <c:pt idx="43">
                  <c:v>396.2258</c:v>
                </c:pt>
                <c:pt idx="44">
                  <c:v>361.2889</c:v>
                </c:pt>
                <c:pt idx="45">
                  <c:v>350.8505</c:v>
                </c:pt>
                <c:pt idx="46">
                  <c:v>348.5607</c:v>
                </c:pt>
                <c:pt idx="47">
                  <c:v>349.4257</c:v>
                </c:pt>
                <c:pt idx="48">
                  <c:v>350.3038</c:v>
                </c:pt>
                <c:pt idx="49">
                  <c:v>359.9747</c:v>
                </c:pt>
                <c:pt idx="50">
                  <c:v>373.0515</c:v>
                </c:pt>
                <c:pt idx="51">
                  <c:v>391.1458</c:v>
                </c:pt>
                <c:pt idx="52">
                  <c:v>403.6389</c:v>
                </c:pt>
                <c:pt idx="53">
                  <c:v>407.7963</c:v>
                </c:pt>
                <c:pt idx="54">
                  <c:v>397.6591</c:v>
                </c:pt>
                <c:pt idx="55">
                  <c:v>415.6667</c:v>
                </c:pt>
                <c:pt idx="56">
                  <c:v>391.1842</c:v>
                </c:pt>
                <c:pt idx="57">
                  <c:v>353.4894</c:v>
                </c:pt>
                <c:pt idx="58">
                  <c:v>356.7333</c:v>
                </c:pt>
                <c:pt idx="59">
                  <c:v>362.0563</c:v>
                </c:pt>
                <c:pt idx="60">
                  <c:v>388.1803</c:v>
                </c:pt>
                <c:pt idx="61">
                  <c:v>385.1698</c:v>
                </c:pt>
                <c:pt idx="62">
                  <c:v>384.9474</c:v>
                </c:pt>
                <c:pt idx="63">
                  <c:v>439.3429</c:v>
                </c:pt>
                <c:pt idx="64">
                  <c:v>419.9167</c:v>
                </c:pt>
                <c:pt idx="65">
                  <c:v>422.6471</c:v>
                </c:pt>
                <c:pt idx="66">
                  <c:v>394.9625</c:v>
                </c:pt>
                <c:pt idx="67">
                  <c:v>399.8108</c:v>
                </c:pt>
                <c:pt idx="68">
                  <c:v>425.7612</c:v>
                </c:pt>
                <c:pt idx="69">
                  <c:v>450.1739</c:v>
                </c:pt>
                <c:pt idx="70">
                  <c:v>427.6486</c:v>
                </c:pt>
                <c:pt idx="71">
                  <c:v>452.2353</c:v>
                </c:pt>
                <c:pt idx="72">
                  <c:v>458.129</c:v>
                </c:pt>
                <c:pt idx="73">
                  <c:v>456.8372</c:v>
                </c:pt>
                <c:pt idx="74">
                  <c:v>437.8824</c:v>
                </c:pt>
                <c:pt idx="75">
                  <c:v>429.2059</c:v>
                </c:pt>
                <c:pt idx="76">
                  <c:v>439.7857</c:v>
                </c:pt>
                <c:pt idx="77">
                  <c:v>421.4444</c:v>
                </c:pt>
                <c:pt idx="78">
                  <c:v>426.0741</c:v>
                </c:pt>
                <c:pt idx="79">
                  <c:v>434.6667</c:v>
                </c:pt>
                <c:pt idx="80">
                  <c:v>440.5</c:v>
                </c:pt>
                <c:pt idx="81">
                  <c:v>437.3333</c:v>
                </c:pt>
                <c:pt idx="82">
                  <c:v>443.2222</c:v>
                </c:pt>
                <c:pt idx="83">
                  <c:v>426.5882</c:v>
                </c:pt>
                <c:pt idx="84">
                  <c:v>462.9286</c:v>
                </c:pt>
                <c:pt idx="85">
                  <c:v>432.6129</c:v>
                </c:pt>
                <c:pt idx="86">
                  <c:v>444.5152</c:v>
                </c:pt>
                <c:pt idx="87">
                  <c:v>442.9556</c:v>
                </c:pt>
                <c:pt idx="88">
                  <c:v>443.4444</c:v>
                </c:pt>
                <c:pt idx="89">
                  <c:v>434.7143</c:v>
                </c:pt>
                <c:pt idx="90">
                  <c:v>446.125</c:v>
                </c:pt>
                <c:pt idx="91">
                  <c:v>457.75</c:v>
                </c:pt>
                <c:pt idx="92">
                  <c:v>431.5</c:v>
                </c:pt>
                <c:pt idx="93">
                  <c:v>450.1613</c:v>
                </c:pt>
                <c:pt idx="94">
                  <c:v>450.2308</c:v>
                </c:pt>
                <c:pt idx="95">
                  <c:v>442.5526</c:v>
                </c:pt>
                <c:pt idx="96">
                  <c:v>431.1887</c:v>
                </c:pt>
                <c:pt idx="97">
                  <c:v>428.5556</c:v>
                </c:pt>
                <c:pt idx="98">
                  <c:v>426.5714</c:v>
                </c:pt>
                <c:pt idx="99">
                  <c:v>415.2286</c:v>
                </c:pt>
                <c:pt idx="100">
                  <c:v>422.4171</c:v>
                </c:pt>
                <c:pt idx="101">
                  <c:v>412.7326</c:v>
                </c:pt>
                <c:pt idx="102">
                  <c:v>432.5909</c:v>
                </c:pt>
                <c:pt idx="103">
                  <c:v>335.9394</c:v>
                </c:pt>
                <c:pt idx="104">
                  <c:v>364.2979</c:v>
                </c:pt>
              </c:numCache>
            </c:numRef>
          </c:xVal>
          <c:yVal>
            <c:numRef>
              <c:f>Sheet1!$B$2:$B$106</c:f>
              <c:numCache>
                <c:formatCode>General</c:formatCode>
                <c:ptCount val="105"/>
                <c:pt idx="0">
                  <c:v>0.10837438423645321</c:v>
                </c:pt>
                <c:pt idx="1">
                  <c:v>0.13059701492537312</c:v>
                </c:pt>
                <c:pt idx="2">
                  <c:v>0.12539184952978055</c:v>
                </c:pt>
                <c:pt idx="3">
                  <c:v>0.09635416666666667</c:v>
                </c:pt>
                <c:pt idx="4">
                  <c:v>0.09941520467836257</c:v>
                </c:pt>
                <c:pt idx="5">
                  <c:v>0.10631229235880399</c:v>
                </c:pt>
                <c:pt idx="6">
                  <c:v>0.12121212121212122</c:v>
                </c:pt>
                <c:pt idx="7">
                  <c:v>0.12062256809338522</c:v>
                </c:pt>
                <c:pt idx="8">
                  <c:v>0.09302325581395349</c:v>
                </c:pt>
                <c:pt idx="9">
                  <c:v>0.09836065573770492</c:v>
                </c:pt>
                <c:pt idx="10">
                  <c:v>0.12429378531073447</c:v>
                </c:pt>
                <c:pt idx="11">
                  <c:v>0.12320916905444126</c:v>
                </c:pt>
                <c:pt idx="12">
                  <c:v>0.11428571428571428</c:v>
                </c:pt>
                <c:pt idx="13">
                  <c:v>0.12176165803108809</c:v>
                </c:pt>
                <c:pt idx="14">
                  <c:v>0.13333333333333333</c:v>
                </c:pt>
                <c:pt idx="15">
                  <c:v>0.09375</c:v>
                </c:pt>
                <c:pt idx="16">
                  <c:v>0.08997429305912596</c:v>
                </c:pt>
                <c:pt idx="17">
                  <c:v>0.07977207977207977</c:v>
                </c:pt>
                <c:pt idx="18">
                  <c:v>0.0749185667752443</c:v>
                </c:pt>
                <c:pt idx="19">
                  <c:v>0.06437768240343347</c:v>
                </c:pt>
                <c:pt idx="20">
                  <c:v>0.07763975155279502</c:v>
                </c:pt>
                <c:pt idx="21">
                  <c:v>0.10344827586206896</c:v>
                </c:pt>
                <c:pt idx="22">
                  <c:v>0.12307692307692308</c:v>
                </c:pt>
                <c:pt idx="23">
                  <c:v>0.1326530612244898</c:v>
                </c:pt>
                <c:pt idx="24">
                  <c:v>0.11055276381909548</c:v>
                </c:pt>
                <c:pt idx="25">
                  <c:v>0.10062893081761007</c:v>
                </c:pt>
                <c:pt idx="26">
                  <c:v>0.13488372093023257</c:v>
                </c:pt>
                <c:pt idx="27">
                  <c:v>0.09606986899563319</c:v>
                </c:pt>
                <c:pt idx="28">
                  <c:v>0.10087719298245613</c:v>
                </c:pt>
                <c:pt idx="29">
                  <c:v>0.07692307692307693</c:v>
                </c:pt>
                <c:pt idx="30">
                  <c:v>0.08796296296296297</c:v>
                </c:pt>
                <c:pt idx="31">
                  <c:v>0.09090909090909091</c:v>
                </c:pt>
                <c:pt idx="32">
                  <c:v>0.10648148148148148</c:v>
                </c:pt>
                <c:pt idx="33">
                  <c:v>0.1016949152542373</c:v>
                </c:pt>
                <c:pt idx="34">
                  <c:v>0.10738255033557047</c:v>
                </c:pt>
                <c:pt idx="35">
                  <c:v>0.11632270168855535</c:v>
                </c:pt>
                <c:pt idx="36">
                  <c:v>0.1227154046997389</c:v>
                </c:pt>
                <c:pt idx="37">
                  <c:v>0.07746478873239436</c:v>
                </c:pt>
                <c:pt idx="38">
                  <c:v>0.0944055944055944</c:v>
                </c:pt>
                <c:pt idx="39">
                  <c:v>0.0933852140077821</c:v>
                </c:pt>
                <c:pt idx="40">
                  <c:v>0.07588075880758807</c:v>
                </c:pt>
                <c:pt idx="41">
                  <c:v>0.06397306397306397</c:v>
                </c:pt>
                <c:pt idx="42">
                  <c:v>0.0664819944598338</c:v>
                </c:pt>
                <c:pt idx="43">
                  <c:v>0.07560975609756097</c:v>
                </c:pt>
                <c:pt idx="44">
                  <c:v>0.13953488372093023</c:v>
                </c:pt>
                <c:pt idx="45">
                  <c:v>0.14985994397759103</c:v>
                </c:pt>
                <c:pt idx="46">
                  <c:v>0.1384217335058215</c:v>
                </c:pt>
                <c:pt idx="47">
                  <c:v>0.15233785822021115</c:v>
                </c:pt>
                <c:pt idx="48">
                  <c:v>0.17118093174431204</c:v>
                </c:pt>
                <c:pt idx="49">
                  <c:v>0.1783644558918223</c:v>
                </c:pt>
                <c:pt idx="50">
                  <c:v>0.12813738441215325</c:v>
                </c:pt>
                <c:pt idx="51">
                  <c:v>0.1054945054945055</c:v>
                </c:pt>
                <c:pt idx="52">
                  <c:v>0.12307692307692308</c:v>
                </c:pt>
                <c:pt idx="53">
                  <c:v>0.1232876712328767</c:v>
                </c:pt>
                <c:pt idx="54">
                  <c:v>0.11989100817438691</c:v>
                </c:pt>
                <c:pt idx="55">
                  <c:v>0.08776595744680851</c:v>
                </c:pt>
                <c:pt idx="56">
                  <c:v>0.1130952380952381</c:v>
                </c:pt>
                <c:pt idx="57">
                  <c:v>0.12668463611859837</c:v>
                </c:pt>
                <c:pt idx="58">
                  <c:v>0.1740139211136891</c:v>
                </c:pt>
                <c:pt idx="59">
                  <c:v>0.11794019933554817</c:v>
                </c:pt>
                <c:pt idx="60">
                  <c:v>0.11753371868978806</c:v>
                </c:pt>
                <c:pt idx="61">
                  <c:v>0.13316582914572864</c:v>
                </c:pt>
                <c:pt idx="62">
                  <c:v>0.14615384615384616</c:v>
                </c:pt>
                <c:pt idx="63">
                  <c:v>0.14492753623188406</c:v>
                </c:pt>
                <c:pt idx="64">
                  <c:v>0.14096916299559473</c:v>
                </c:pt>
                <c:pt idx="65">
                  <c:v>0.12996941896024464</c:v>
                </c:pt>
                <c:pt idx="66">
                  <c:v>0.12618296529968454</c:v>
                </c:pt>
                <c:pt idx="67">
                  <c:v>0.12312811980033278</c:v>
                </c:pt>
                <c:pt idx="68">
                  <c:v>0.13900414937759337</c:v>
                </c:pt>
                <c:pt idx="69">
                  <c:v>0.06318681318681318</c:v>
                </c:pt>
                <c:pt idx="70">
                  <c:v>0.10109289617486339</c:v>
                </c:pt>
                <c:pt idx="71">
                  <c:v>0.12363636363636364</c:v>
                </c:pt>
                <c:pt idx="72">
                  <c:v>0.10580204778156997</c:v>
                </c:pt>
                <c:pt idx="73">
                  <c:v>0.15579710144927536</c:v>
                </c:pt>
                <c:pt idx="74">
                  <c:v>0.1152542372881356</c:v>
                </c:pt>
                <c:pt idx="75">
                  <c:v>0.1452991452991453</c:v>
                </c:pt>
                <c:pt idx="76">
                  <c:v>0.13526570048309178</c:v>
                </c:pt>
                <c:pt idx="77">
                  <c:v>0.11688311688311688</c:v>
                </c:pt>
                <c:pt idx="78">
                  <c:v>0.14361702127659576</c:v>
                </c:pt>
                <c:pt idx="79">
                  <c:v>0.08433734939759036</c:v>
                </c:pt>
                <c:pt idx="80">
                  <c:v>0.0823045267489712</c:v>
                </c:pt>
                <c:pt idx="81">
                  <c:v>0.09121621621621621</c:v>
                </c:pt>
                <c:pt idx="82">
                  <c:v>0.0759493670886076</c:v>
                </c:pt>
                <c:pt idx="83">
                  <c:v>0.08333333333333333</c:v>
                </c:pt>
                <c:pt idx="84">
                  <c:v>0.07329842931937172</c:v>
                </c:pt>
                <c:pt idx="85">
                  <c:v>0.12301587301587301</c:v>
                </c:pt>
                <c:pt idx="86">
                  <c:v>0.09593023255813954</c:v>
                </c:pt>
                <c:pt idx="87">
                  <c:v>0.12465373961218837</c:v>
                </c:pt>
                <c:pt idx="88">
                  <c:v>0.11020408163265306</c:v>
                </c:pt>
                <c:pt idx="89">
                  <c:v>0.11731843575418995</c:v>
                </c:pt>
                <c:pt idx="90">
                  <c:v>0.11483253588516747</c:v>
                </c:pt>
                <c:pt idx="91">
                  <c:v>0.12669683257918551</c:v>
                </c:pt>
                <c:pt idx="92">
                  <c:v>0.11683848797250859</c:v>
                </c:pt>
                <c:pt idx="93">
                  <c:v>0.09657320872274143</c:v>
                </c:pt>
                <c:pt idx="94">
                  <c:v>0.09523809523809523</c:v>
                </c:pt>
                <c:pt idx="95">
                  <c:v>0.10674157303370786</c:v>
                </c:pt>
                <c:pt idx="96">
                  <c:v>0.09380530973451327</c:v>
                </c:pt>
                <c:pt idx="97">
                  <c:v>0.08970099667774087</c:v>
                </c:pt>
                <c:pt idx="98">
                  <c:v>0.1155433287482806</c:v>
                </c:pt>
                <c:pt idx="99">
                  <c:v>0.12166859791425261</c:v>
                </c:pt>
                <c:pt idx="100">
                  <c:v>0.1417004048582996</c:v>
                </c:pt>
                <c:pt idx="101">
                  <c:v>0.13050075872534142</c:v>
                </c:pt>
                <c:pt idx="102">
                  <c:v>0.11027568922305764</c:v>
                </c:pt>
                <c:pt idx="103">
                  <c:v>0.14666666666666667</c:v>
                </c:pt>
                <c:pt idx="104">
                  <c:v>0.12983425414364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24.5758</c:v>
                </c:pt>
                <c:pt idx="33">
                  <c:v>441.5952</c:v>
                </c:pt>
                <c:pt idx="34">
                  <c:v>474.4237</c:v>
                </c:pt>
                <c:pt idx="35">
                  <c:v>488.0909</c:v>
                </c:pt>
                <c:pt idx="36">
                  <c:v>460.619</c:v>
                </c:pt>
                <c:pt idx="37">
                  <c:v>424.0</c:v>
                </c:pt>
                <c:pt idx="38">
                  <c:v>440.1154</c:v>
                </c:pt>
                <c:pt idx="39">
                  <c:v>486.5128</c:v>
                </c:pt>
                <c:pt idx="40">
                  <c:v>460.0</c:v>
                </c:pt>
                <c:pt idx="41">
                  <c:v>471.4074</c:v>
                </c:pt>
                <c:pt idx="42">
                  <c:v>405.2051</c:v>
                </c:pt>
                <c:pt idx="43">
                  <c:v>432.25</c:v>
                </c:pt>
                <c:pt idx="44">
                  <c:v>444.1395</c:v>
                </c:pt>
                <c:pt idx="45">
                  <c:v>397.8681</c:v>
                </c:pt>
                <c:pt idx="46">
                  <c:v>370.8118</c:v>
                </c:pt>
                <c:pt idx="47">
                  <c:v>402.7683</c:v>
                </c:pt>
                <c:pt idx="48">
                  <c:v>399.5057</c:v>
                </c:pt>
                <c:pt idx="49">
                  <c:v>415.932</c:v>
                </c:pt>
                <c:pt idx="50">
                  <c:v>427.1591</c:v>
                </c:pt>
                <c:pt idx="51">
                  <c:v>441.1224</c:v>
                </c:pt>
              </c:numCache>
            </c:numRef>
          </c:xVal>
          <c:yVal>
            <c:numRef>
              <c:f>Sheet1!$B$109:$B$160</c:f>
              <c:numCache>
                <c:formatCode>General</c:formatCode>
                <c:ptCount val="52"/>
                <c:pt idx="0">
                  <c:v>0.14414414414414414</c:v>
                </c:pt>
                <c:pt idx="1">
                  <c:v>0.13349514563106796</c:v>
                </c:pt>
                <c:pt idx="2">
                  <c:v>0.13856812933025403</c:v>
                </c:pt>
                <c:pt idx="3">
                  <c:v>0.15326633165829145</c:v>
                </c:pt>
                <c:pt idx="4">
                  <c:v>0.14249363867684478</c:v>
                </c:pt>
                <c:pt idx="5">
                  <c:v>0.1457286432160804</c:v>
                </c:pt>
                <c:pt idx="6">
                  <c:v>0.14955357142857142</c:v>
                </c:pt>
                <c:pt idx="7">
                  <c:v>0.19540229885057472</c:v>
                </c:pt>
                <c:pt idx="8">
                  <c:v>0.1550632911392405</c:v>
                </c:pt>
                <c:pt idx="9">
                  <c:v>0.12238805970149254</c:v>
                </c:pt>
                <c:pt idx="10">
                  <c:v>0.16714697406340057</c:v>
                </c:pt>
                <c:pt idx="11">
                  <c:v>0.12260536398467432</c:v>
                </c:pt>
                <c:pt idx="12">
                  <c:v>0.12141280353200883</c:v>
                </c:pt>
                <c:pt idx="13">
                  <c:v>0.13846153846153847</c:v>
                </c:pt>
                <c:pt idx="14">
                  <c:v>0.1867816091954023</c:v>
                </c:pt>
                <c:pt idx="15">
                  <c:v>0.10802469135802469</c:v>
                </c:pt>
                <c:pt idx="16">
                  <c:v>0.125</c:v>
                </c:pt>
                <c:pt idx="17">
                  <c:v>0.11067193675889328</c:v>
                </c:pt>
                <c:pt idx="18">
                  <c:v>0.1493212669683258</c:v>
                </c:pt>
                <c:pt idx="19">
                  <c:v>0.17142857142857143</c:v>
                </c:pt>
                <c:pt idx="20">
                  <c:v>0.16901408450704225</c:v>
                </c:pt>
                <c:pt idx="21">
                  <c:v>0.145985401459854</c:v>
                </c:pt>
                <c:pt idx="22">
                  <c:v>0.09243697478991597</c:v>
                </c:pt>
                <c:pt idx="23">
                  <c:v>0.1258741258741259</c:v>
                </c:pt>
                <c:pt idx="24">
                  <c:v>0.10857142857142857</c:v>
                </c:pt>
                <c:pt idx="25">
                  <c:v>0.17159763313609466</c:v>
                </c:pt>
                <c:pt idx="26">
                  <c:v>0.1388888888888889</c:v>
                </c:pt>
                <c:pt idx="27">
                  <c:v>0.13333333333333333</c:v>
                </c:pt>
                <c:pt idx="28">
                  <c:v>0.13725490196078433</c:v>
                </c:pt>
                <c:pt idx="29">
                  <c:v>0.14358974358974358</c:v>
                </c:pt>
                <c:pt idx="30">
                  <c:v>0.1590909090909091</c:v>
                </c:pt>
                <c:pt idx="31">
                  <c:v>0.14594594594594595</c:v>
                </c:pt>
                <c:pt idx="32">
                  <c:v>0.14285714285714285</c:v>
                </c:pt>
                <c:pt idx="33">
                  <c:v>0.13043478260869565</c:v>
                </c:pt>
                <c:pt idx="34">
                  <c:v>0.13140311804008908</c:v>
                </c:pt>
                <c:pt idx="35">
                  <c:v>0.125</c:v>
                </c:pt>
                <c:pt idx="36">
                  <c:v>0.1242603550295858</c:v>
                </c:pt>
                <c:pt idx="37">
                  <c:v>0.15706806282722513</c:v>
                </c:pt>
                <c:pt idx="38">
                  <c:v>0.15204678362573099</c:v>
                </c:pt>
                <c:pt idx="39">
                  <c:v>0.16595744680851063</c:v>
                </c:pt>
                <c:pt idx="40">
                  <c:v>0.11403508771929824</c:v>
                </c:pt>
                <c:pt idx="41">
                  <c:v>0.11297071129707113</c:v>
                </c:pt>
                <c:pt idx="42">
                  <c:v>0.17410714285714285</c:v>
                </c:pt>
                <c:pt idx="43">
                  <c:v>0.11940298507462686</c:v>
                </c:pt>
                <c:pt idx="44">
                  <c:v>0.09706546275395034</c:v>
                </c:pt>
                <c:pt idx="45">
                  <c:v>0.13</c:v>
                </c:pt>
                <c:pt idx="46">
                  <c:v>0.15947467166979362</c:v>
                </c:pt>
                <c:pt idx="47">
                  <c:v>0.15738963531669867</c:v>
                </c:pt>
                <c:pt idx="48">
                  <c:v>0.1392</c:v>
                </c:pt>
                <c:pt idx="49">
                  <c:v>0.15036496350364964</c:v>
                </c:pt>
                <c:pt idx="50">
                  <c:v>0.16793893129770993</c:v>
                </c:pt>
                <c:pt idx="51">
                  <c:v>0.157809983896940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7.93129803117273</c:v>
                </c:pt>
              </c:numCache>
            </c:numRef>
          </c:xVal>
          <c:yVal>
            <c:numRef>
              <c:f>Sheet1!$B$163:$B$164</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7.93129803117273</c:v>
                </c:pt>
                <c:pt idx="1">
                  <c:v>397.93129803117273</c:v>
                </c:pt>
              </c:numCache>
            </c:numRef>
          </c:xVal>
          <c:yVal>
            <c:numRef>
              <c:f>Sheet1!$B$167:$B$168</c:f>
              <c:numCache>
                <c:formatCode>General</c:formatCode>
                <c:ptCount val="2"/>
                <c:pt idx="0">
                  <c:v>0.1538284696745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97.93129803117273</c:v>
                </c:pt>
              </c:numCache>
            </c:numRef>
          </c:xVal>
          <c:yVal>
            <c:numRef>
              <c:f>Sheet1!$B$171:$B$172</c:f>
              <c:numCache>
                <c:formatCode>General</c:formatCode>
                <c:ptCount val="2"/>
                <c:pt idx="0">
                  <c:v>0.153828469674575</c:v>
                </c:pt>
                <c:pt idx="1">
                  <c:v>0.1538284696745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97.93129803117273</c:v>
                </c:pt>
                <c:pt idx="1">
                  <c:v>397.93129803117273</c:v>
                </c:pt>
              </c:numCache>
            </c:numRef>
          </c:xVal>
          <c:yVal>
            <c:numRef>
              <c:f>Sheet1!$B$175:$B$176</c:f>
              <c:numCache>
                <c:formatCode>General</c:formatCode>
                <c:ptCount val="2"/>
                <c:pt idx="0">
                  <c:v>0.1538284696745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4.46728468996423</c:v>
                </c:pt>
              </c:numCache>
            </c:numRef>
          </c:xVal>
          <c:yVal>
            <c:numRef>
              <c:f>Sheet1!$B$179:$B$180</c:f>
              <c:numCache>
                <c:formatCode>General</c:formatCode>
                <c:ptCount val="2"/>
                <c:pt idx="0">
                  <c:v>0.14197823247656866</c:v>
                </c:pt>
                <c:pt idx="1">
                  <c:v>0.141978232476568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4.46728468996423</c:v>
                </c:pt>
                <c:pt idx="1">
                  <c:v>434.46728468996423</c:v>
                </c:pt>
              </c:numCache>
            </c:numRef>
          </c:xVal>
          <c:yVal>
            <c:numRef>
              <c:f>Sheet1!$B$183:$B$184</c:f>
              <c:numCache>
                <c:formatCode>General</c:formatCode>
                <c:ptCount val="2"/>
                <c:pt idx="0">
                  <c:v>0.141978232476568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24.5758</c:v>
                </c:pt>
                <c:pt idx="33">
                  <c:v>441.5952</c:v>
                </c:pt>
                <c:pt idx="34">
                  <c:v>474.4237</c:v>
                </c:pt>
                <c:pt idx="35">
                  <c:v>488.0909</c:v>
                </c:pt>
                <c:pt idx="36">
                  <c:v>460.619</c:v>
                </c:pt>
                <c:pt idx="37">
                  <c:v>424.0</c:v>
                </c:pt>
                <c:pt idx="38">
                  <c:v>440.1154</c:v>
                </c:pt>
                <c:pt idx="39">
                  <c:v>486.5128</c:v>
                </c:pt>
                <c:pt idx="40">
                  <c:v>460.0</c:v>
                </c:pt>
                <c:pt idx="41">
                  <c:v>471.4074</c:v>
                </c:pt>
                <c:pt idx="42">
                  <c:v>405.2051</c:v>
                </c:pt>
                <c:pt idx="43">
                  <c:v>432.25</c:v>
                </c:pt>
                <c:pt idx="44">
                  <c:v>444.1395</c:v>
                </c:pt>
                <c:pt idx="45">
                  <c:v>397.8681</c:v>
                </c:pt>
                <c:pt idx="46">
                  <c:v>370.8118</c:v>
                </c:pt>
                <c:pt idx="47">
                  <c:v>402.7683</c:v>
                </c:pt>
                <c:pt idx="48">
                  <c:v>399.5057</c:v>
                </c:pt>
                <c:pt idx="49">
                  <c:v>415.932</c:v>
                </c:pt>
                <c:pt idx="50">
                  <c:v>427.1591</c:v>
                </c:pt>
                <c:pt idx="51">
                  <c:v>441.1224</c:v>
                </c:pt>
                <c:pt idx="52">
                  <c:v>397.93129803117273</c:v>
                </c:pt>
                <c:pt idx="53">
                  <c:v>397.93129803117273</c:v>
                </c:pt>
                <c:pt idx="54">
                  <c:v>434.46728468996423</c:v>
                </c:pt>
              </c:numCache>
            </c:numRef>
          </c:xVal>
          <c:yVal>
            <c:numRef>
              <c:f>Sheet1!$B$187:$B$241</c:f>
              <c:numCache>
                <c:formatCode>General</c:formatCode>
                <c:ptCount val="55"/>
                <c:pt idx="0">
                  <c:v>0.1542977627316054</c:v>
                </c:pt>
                <c:pt idx="1">
                  <c:v>0.14343307364509947</c:v>
                </c:pt>
                <c:pt idx="2">
                  <c:v>0.14234061734159026</c:v>
                </c:pt>
                <c:pt idx="3">
                  <c:v>0.13606296681347724</c:v>
                </c:pt>
                <c:pt idx="4">
                  <c:v>0.14094246658227158</c:v>
                </c:pt>
                <c:pt idx="5">
                  <c:v>0.1417719121332971</c:v>
                </c:pt>
                <c:pt idx="6">
                  <c:v>0.146060651284785</c:v>
                </c:pt>
                <c:pt idx="7">
                  <c:v>0.1574836665635778</c:v>
                </c:pt>
                <c:pt idx="8">
                  <c:v>0.13926366074325858</c:v>
                </c:pt>
                <c:pt idx="9">
                  <c:v>0.1324311220719107</c:v>
                </c:pt>
                <c:pt idx="10">
                  <c:v>0.14519987407919058</c:v>
                </c:pt>
                <c:pt idx="11">
                  <c:v>0.143259938684345</c:v>
                </c:pt>
                <c:pt idx="12">
                  <c:v>0.13480551658989348</c:v>
                </c:pt>
                <c:pt idx="13">
                  <c:v>0.13077774482211305</c:v>
                </c:pt>
                <c:pt idx="14">
                  <c:v>0.14277848207935448</c:v>
                </c:pt>
                <c:pt idx="15">
                  <c:v>0.1194998411608578</c:v>
                </c:pt>
                <c:pt idx="16">
                  <c:v>0.11929955858636196</c:v>
                </c:pt>
                <c:pt idx="17">
                  <c:v>0.13331457094059382</c:v>
                </c:pt>
                <c:pt idx="18">
                  <c:v>0.14631678593916456</c:v>
                </c:pt>
                <c:pt idx="19">
                  <c:v>0.14703355429767206</c:v>
                </c:pt>
                <c:pt idx="20">
                  <c:v>0.1656717695941936</c:v>
                </c:pt>
                <c:pt idx="21">
                  <c:v>0.1377673634138307</c:v>
                </c:pt>
                <c:pt idx="22">
                  <c:v>0.1378248696493904</c:v>
                </c:pt>
                <c:pt idx="23">
                  <c:v>0.13681414809693052</c:v>
                </c:pt>
                <c:pt idx="24">
                  <c:v>0.1295486422859964</c:v>
                </c:pt>
                <c:pt idx="25">
                  <c:v>0.18781760578445675</c:v>
                </c:pt>
                <c:pt idx="26">
                  <c:v>0.14552892132101414</c:v>
                </c:pt>
                <c:pt idx="27">
                  <c:v>0.12751114414069195</c:v>
                </c:pt>
                <c:pt idx="28">
                  <c:v>0.13891414737924768</c:v>
                </c:pt>
                <c:pt idx="29">
                  <c:v>0.1474119667343754</c:v>
                </c:pt>
                <c:pt idx="30">
                  <c:v>0.13121791240405364</c:v>
                </c:pt>
                <c:pt idx="31">
                  <c:v>0.14544530537331368</c:v>
                </c:pt>
                <c:pt idx="32">
                  <c:v>0.1451864786616575</c:v>
                </c:pt>
                <c:pt idx="33">
                  <c:v>0.13966633412987656</c:v>
                </c:pt>
                <c:pt idx="34">
                  <c:v>0.12901859891232656</c:v>
                </c:pt>
                <c:pt idx="35">
                  <c:v>0.12458572117605171</c:v>
                </c:pt>
                <c:pt idx="36">
                  <c:v>0.1334960739830033</c:v>
                </c:pt>
                <c:pt idx="37">
                  <c:v>0.14537323608092018</c:v>
                </c:pt>
                <c:pt idx="38">
                  <c:v>0.14014629875131618</c:v>
                </c:pt>
                <c:pt idx="39">
                  <c:v>0.12509756883728554</c:v>
                </c:pt>
                <c:pt idx="40">
                  <c:v>0.13369684307387447</c:v>
                </c:pt>
                <c:pt idx="41">
                  <c:v>0.1299969184741919</c:v>
                </c:pt>
                <c:pt idx="42">
                  <c:v>0.1514692538289236</c:v>
                </c:pt>
                <c:pt idx="43">
                  <c:v>0.14269739601680553</c:v>
                </c:pt>
                <c:pt idx="44">
                  <c:v>0.1388411050541036</c:v>
                </c:pt>
                <c:pt idx="45">
                  <c:v>0.15384896759260955</c:v>
                </c:pt>
                <c:pt idx="46">
                  <c:v>0.16262452292917987</c:v>
                </c:pt>
                <c:pt idx="47">
                  <c:v>0.15225961589780052</c:v>
                </c:pt>
                <c:pt idx="48">
                  <c:v>0.15331782144848907</c:v>
                </c:pt>
                <c:pt idx="49">
                  <c:v>0.1479900454914992</c:v>
                </c:pt>
                <c:pt idx="50">
                  <c:v>0.1443486001601269</c:v>
                </c:pt>
                <c:pt idx="51">
                  <c:v>0.13981968409136908</c:v>
                </c:pt>
                <c:pt idx="52">
                  <c:v>0.153828469674575</c:v>
                </c:pt>
                <c:pt idx="53">
                  <c:v>0.153828469674575</c:v>
                </c:pt>
                <c:pt idx="54">
                  <c:v>0.141978232476568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05.0"/>
          <c:min val="2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448275862068965"/>
          <c:min val="0.050549450549450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3063315526753656</c:v>
                </c:pt>
                <c:pt idx="5">
                  <c:v>0.29912007231271565</c:v>
                </c:pt>
                <c:pt idx="6">
                  <c:v>0.2326151383271655</c:v>
                </c:pt>
                <c:pt idx="7">
                  <c:v>0.33720958193399087</c:v>
                </c:pt>
                <c:pt idx="8">
                  <c:v>0.0</c:v>
                </c:pt>
                <c:pt idx="9">
                  <c:v>0.3886030004375785</c:v>
                </c:pt>
                <c:pt idx="10">
                  <c:v>0.37153068548869483</c:v>
                </c:pt>
                <c:pt idx="11">
                  <c:v>0.3661962181419567</c:v>
                </c:pt>
                <c:pt idx="12">
                  <c:v>0.25143014680543113</c:v>
                </c:pt>
                <c:pt idx="13">
                  <c:v>0.3445484442195801</c:v>
                </c:pt>
                <c:pt idx="14">
                  <c:v>0.40540013831436367</c:v>
                </c:pt>
                <c:pt idx="15">
                  <c:v>0.3933782568685168</c:v>
                </c:pt>
                <c:pt idx="16">
                  <c:v>0.19890925310878987</c:v>
                </c:pt>
              </c:numCache>
            </c:numRef>
          </c:xVal>
          <c:yVal>
            <c:numRef>
              <c:f>Sheet1!$B$4:$B$20</c:f>
              <c:numCache>
                <c:formatCode>General</c:formatCode>
                <c:ptCount val="17"/>
                <c:pt idx="0">
                  <c:v>0.0</c:v>
                </c:pt>
                <c:pt idx="1">
                  <c:v>0.0</c:v>
                </c:pt>
                <c:pt idx="2">
                  <c:v>0.0</c:v>
                </c:pt>
                <c:pt idx="3">
                  <c:v>0.0</c:v>
                </c:pt>
                <c:pt idx="4">
                  <c:v>0.07142857142857142</c:v>
                </c:pt>
                <c:pt idx="5">
                  <c:v>0.05555555555555555</c:v>
                </c:pt>
                <c:pt idx="6">
                  <c:v>0.05263157894736842</c:v>
                </c:pt>
                <c:pt idx="7">
                  <c:v>0.0625</c:v>
                </c:pt>
                <c:pt idx="8">
                  <c:v>0.0</c:v>
                </c:pt>
                <c:pt idx="9">
                  <c:v>0.03333333333333333</c:v>
                </c:pt>
                <c:pt idx="10">
                  <c:v>0.02857142857142857</c:v>
                </c:pt>
                <c:pt idx="11">
                  <c:v>0.03125</c:v>
                </c:pt>
                <c:pt idx="12">
                  <c:v>0.03225806451612903</c:v>
                </c:pt>
                <c:pt idx="13">
                  <c:v>0.047619047619047616</c:v>
                </c:pt>
                <c:pt idx="14">
                  <c:v>0.06060606060606061</c:v>
                </c:pt>
                <c:pt idx="15">
                  <c:v>0.05714285714285714</c:v>
                </c:pt>
                <c:pt idx="16">
                  <c:v>0.037037037037037035</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3598466492173656</c:v>
                </c:pt>
              </c:numCache>
            </c:numRef>
          </c:xVal>
          <c:yVal>
            <c:numRef>
              <c:f>Sheet1!$B$23:$B$24</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3598466492173656</c:v>
                </c:pt>
                <c:pt idx="1">
                  <c:v>0.3598466492173656</c:v>
                </c:pt>
              </c:numCache>
            </c:numRef>
          </c:xVal>
          <c:yVal>
            <c:numRef>
              <c:f>Sheet1!$B$27:$B$28</c:f>
              <c:numCache>
                <c:formatCode>General</c:formatCode>
                <c:ptCount val="2"/>
                <c:pt idx="0">
                  <c:v>0.0506012506012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3598466492173656</c:v>
                </c:pt>
              </c:numCache>
            </c:numRef>
          </c:xVal>
          <c:yVal>
            <c:numRef>
              <c:f>Sheet1!$B$31:$B$32</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3598466492173656</c:v>
                </c:pt>
                <c:pt idx="1">
                  <c:v>0.3598466492173656</c:v>
                </c:pt>
              </c:numCache>
            </c:numRef>
          </c:xVal>
          <c:yVal>
            <c:numRef>
              <c:f>Sheet1!$B$35:$B$36</c:f>
              <c:numCache>
                <c:formatCode>General</c:formatCode>
                <c:ptCount val="2"/>
                <c:pt idx="0">
                  <c:v>0.05060125060125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3080979907450195</c:v>
                </c:pt>
              </c:numCache>
            </c:numRef>
          </c:xVal>
          <c:yVal>
            <c:numRef>
              <c:f>Sheet1!$B$39:$B$40</c:f>
              <c:numCache>
                <c:formatCode>General</c:formatCode>
                <c:ptCount val="2"/>
                <c:pt idx="0">
                  <c:v>0.04384104113518376</c:v>
                </c:pt>
                <c:pt idx="1">
                  <c:v>0.04384104113518376</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3080979907450195</c:v>
                </c:pt>
                <c:pt idx="1">
                  <c:v>0.3080979907450195</c:v>
                </c:pt>
              </c:numCache>
            </c:numRef>
          </c:xVal>
          <c:yVal>
            <c:numRef>
              <c:f>Sheet1!$B$43:$B$44</c:f>
              <c:numCache>
                <c:formatCode>General</c:formatCode>
                <c:ptCount val="2"/>
                <c:pt idx="0">
                  <c:v>0.043841041135183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0</c:v>
                </c:pt>
                <c:pt idx="2">
                  <c:v>0.0</c:v>
                </c:pt>
                <c:pt idx="3">
                  <c:v>0.0</c:v>
                </c:pt>
                <c:pt idx="4">
                  <c:v>0.3063315526753656</c:v>
                </c:pt>
                <c:pt idx="5">
                  <c:v>0.29912007231271565</c:v>
                </c:pt>
                <c:pt idx="6">
                  <c:v>0.2326151383271655</c:v>
                </c:pt>
                <c:pt idx="7">
                  <c:v>0.33720958193399087</c:v>
                </c:pt>
                <c:pt idx="8">
                  <c:v>0.0</c:v>
                </c:pt>
                <c:pt idx="9">
                  <c:v>0.3886030004375785</c:v>
                </c:pt>
                <c:pt idx="10">
                  <c:v>0.37153068548869483</c:v>
                </c:pt>
                <c:pt idx="11">
                  <c:v>0.3661962181419567</c:v>
                </c:pt>
                <c:pt idx="12">
                  <c:v>0.25143014680543113</c:v>
                </c:pt>
                <c:pt idx="13">
                  <c:v>0.3445484442195801</c:v>
                </c:pt>
                <c:pt idx="14">
                  <c:v>0.40540013831436367</c:v>
                </c:pt>
                <c:pt idx="15">
                  <c:v>0.3933782568685168</c:v>
                </c:pt>
                <c:pt idx="16">
                  <c:v>0.19890925310878987</c:v>
                </c:pt>
                <c:pt idx="17">
                  <c:v>0.3598466492173656</c:v>
                </c:pt>
                <c:pt idx="18">
                  <c:v>0.3598466492173656</c:v>
                </c:pt>
                <c:pt idx="19">
                  <c:v>0.3080979907450195</c:v>
                </c:pt>
              </c:numCache>
            </c:numRef>
          </c:xVal>
          <c:yVal>
            <c:numRef>
              <c:f>Sheet1!$B$47:$B$66</c:f>
              <c:numCache>
                <c:formatCode>General</c:formatCode>
                <c:ptCount val="20"/>
                <c:pt idx="0">
                  <c:v>0.003592520400608932</c:v>
                </c:pt>
                <c:pt idx="1">
                  <c:v>0.003592520400608932</c:v>
                </c:pt>
                <c:pt idx="2">
                  <c:v>0.003592520400608932</c:v>
                </c:pt>
                <c:pt idx="3">
                  <c:v>0.003592520400608932</c:v>
                </c:pt>
                <c:pt idx="4">
                  <c:v>0.04361028169692554</c:v>
                </c:pt>
                <c:pt idx="5">
                  <c:v>0.04266820668955132</c:v>
                </c:pt>
                <c:pt idx="6">
                  <c:v>0.0339803044802695</c:v>
                </c:pt>
                <c:pt idx="7">
                  <c:v>0.0476440470514264</c:v>
                </c:pt>
                <c:pt idx="8">
                  <c:v>0.003592520400608932</c:v>
                </c:pt>
                <c:pt idx="9">
                  <c:v>0.054357849583083345</c:v>
                </c:pt>
                <c:pt idx="10">
                  <c:v>0.052127599977930913</c:v>
                </c:pt>
                <c:pt idx="11">
                  <c:v>0.051430729417061886</c:v>
                </c:pt>
                <c:pt idx="12">
                  <c:v>0.036438211644894254</c:v>
                </c:pt>
                <c:pt idx="13">
                  <c:v>0.048602762654067835</c:v>
                </c:pt>
                <c:pt idx="14">
                  <c:v>0.05655215130663727</c:v>
                </c:pt>
                <c:pt idx="15">
                  <c:v>0.05498166737238075</c:v>
                </c:pt>
                <c:pt idx="16">
                  <c:v>0.029577120880115108</c:v>
                </c:pt>
                <c:pt idx="17">
                  <c:v>0.05060125060125059</c:v>
                </c:pt>
                <c:pt idx="18">
                  <c:v>0.05060125060125059</c:v>
                </c:pt>
                <c:pt idx="19">
                  <c:v>0.043841041135183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5714285714285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3498.0</c:v>
                </c:pt>
                <c:pt idx="5">
                  <c:v>3243.0</c:v>
                </c:pt>
                <c:pt idx="6">
                  <c:v>3480.0</c:v>
                </c:pt>
                <c:pt idx="7">
                  <c:v>4688.0</c:v>
                </c:pt>
                <c:pt idx="8">
                  <c:v>0.0</c:v>
                </c:pt>
                <c:pt idx="9">
                  <c:v>4103.0</c:v>
                </c:pt>
                <c:pt idx="10">
                  <c:v>4969.0</c:v>
                </c:pt>
                <c:pt idx="11">
                  <c:v>5345.0</c:v>
                </c:pt>
                <c:pt idx="12">
                  <c:v>3648.0</c:v>
                </c:pt>
                <c:pt idx="13">
                  <c:v>3745.5</c:v>
                </c:pt>
                <c:pt idx="14">
                  <c:v>4161.5</c:v>
                </c:pt>
                <c:pt idx="15">
                  <c:v>4709.0</c:v>
                </c:pt>
                <c:pt idx="16">
                  <c:v>3708.0</c:v>
                </c:pt>
              </c:numCache>
            </c:numRef>
          </c:xVal>
          <c:yVal>
            <c:numRef>
              <c:f>Sheet1!$B$4:$B$20</c:f>
              <c:numCache>
                <c:formatCode>General</c:formatCode>
                <c:ptCount val="17"/>
                <c:pt idx="0">
                  <c:v>0.0</c:v>
                </c:pt>
                <c:pt idx="1">
                  <c:v>0.0</c:v>
                </c:pt>
                <c:pt idx="2">
                  <c:v>0.0</c:v>
                </c:pt>
                <c:pt idx="3">
                  <c:v>0.0</c:v>
                </c:pt>
                <c:pt idx="4">
                  <c:v>0.07142857142857142</c:v>
                </c:pt>
                <c:pt idx="5">
                  <c:v>0.05555555555555555</c:v>
                </c:pt>
                <c:pt idx="6">
                  <c:v>0.05263157894736842</c:v>
                </c:pt>
                <c:pt idx="7">
                  <c:v>0.0625</c:v>
                </c:pt>
                <c:pt idx="8">
                  <c:v>0.0</c:v>
                </c:pt>
                <c:pt idx="9">
                  <c:v>0.03333333333333333</c:v>
                </c:pt>
                <c:pt idx="10">
                  <c:v>0.02857142857142857</c:v>
                </c:pt>
                <c:pt idx="11">
                  <c:v>0.03125</c:v>
                </c:pt>
                <c:pt idx="12">
                  <c:v>0.03225806451612903</c:v>
                </c:pt>
                <c:pt idx="13">
                  <c:v>0.047619047619047616</c:v>
                </c:pt>
                <c:pt idx="14">
                  <c:v>0.06060606060606061</c:v>
                </c:pt>
                <c:pt idx="15">
                  <c:v>0.05714285714285714</c:v>
                </c:pt>
                <c:pt idx="16">
                  <c:v>0.037037037037037035</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585.730750857215</c:v>
                </c:pt>
              </c:numCache>
            </c:numRef>
          </c:xVal>
          <c:yVal>
            <c:numRef>
              <c:f>Sheet1!$B$23:$B$24</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585.730750857215</c:v>
                </c:pt>
                <c:pt idx="1">
                  <c:v>4585.730750857215</c:v>
                </c:pt>
              </c:numCache>
            </c:numRef>
          </c:xVal>
          <c:yVal>
            <c:numRef>
              <c:f>Sheet1!$B$27:$B$28</c:f>
              <c:numCache>
                <c:formatCode>General</c:formatCode>
                <c:ptCount val="2"/>
                <c:pt idx="0">
                  <c:v>0.0506012506012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585.730750857215</c:v>
                </c:pt>
              </c:numCache>
            </c:numRef>
          </c:xVal>
          <c:yVal>
            <c:numRef>
              <c:f>Sheet1!$B$31:$B$32</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585.730750857215</c:v>
                </c:pt>
                <c:pt idx="1">
                  <c:v>4585.730750857215</c:v>
                </c:pt>
              </c:numCache>
            </c:numRef>
          </c:xVal>
          <c:yVal>
            <c:numRef>
              <c:f>Sheet1!$B$35:$B$36</c:f>
              <c:numCache>
                <c:formatCode>General</c:formatCode>
                <c:ptCount val="2"/>
                <c:pt idx="0">
                  <c:v>0.05060125060125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3918.311207865934</c:v>
                </c:pt>
              </c:numCache>
            </c:numRef>
          </c:xVal>
          <c:yVal>
            <c:numRef>
              <c:f>Sheet1!$B$39:$B$40</c:f>
              <c:numCache>
                <c:formatCode>General</c:formatCode>
                <c:ptCount val="2"/>
                <c:pt idx="0">
                  <c:v>0.04384104113518376</c:v>
                </c:pt>
                <c:pt idx="1">
                  <c:v>0.04384104113518376</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3918.311207865934</c:v>
                </c:pt>
                <c:pt idx="1">
                  <c:v>3918.311207865934</c:v>
                </c:pt>
              </c:numCache>
            </c:numRef>
          </c:xVal>
          <c:yVal>
            <c:numRef>
              <c:f>Sheet1!$B$43:$B$44</c:f>
              <c:numCache>
                <c:formatCode>General</c:formatCode>
                <c:ptCount val="2"/>
                <c:pt idx="0">
                  <c:v>0.043841041135183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3498.0</c:v>
                </c:pt>
                <c:pt idx="5">
                  <c:v>3243.0</c:v>
                </c:pt>
                <c:pt idx="6">
                  <c:v>3480.0</c:v>
                </c:pt>
                <c:pt idx="7">
                  <c:v>4688.0</c:v>
                </c:pt>
                <c:pt idx="8">
                  <c:v>0.0</c:v>
                </c:pt>
                <c:pt idx="9">
                  <c:v>4103.0</c:v>
                </c:pt>
                <c:pt idx="10">
                  <c:v>4969.0</c:v>
                </c:pt>
                <c:pt idx="11">
                  <c:v>5345.0</c:v>
                </c:pt>
                <c:pt idx="12">
                  <c:v>3648.0</c:v>
                </c:pt>
                <c:pt idx="13">
                  <c:v>3745.5</c:v>
                </c:pt>
                <c:pt idx="14">
                  <c:v>4161.5</c:v>
                </c:pt>
                <c:pt idx="15">
                  <c:v>4709.0</c:v>
                </c:pt>
                <c:pt idx="16">
                  <c:v>3708.0</c:v>
                </c:pt>
                <c:pt idx="17">
                  <c:v>4585.730750857215</c:v>
                </c:pt>
                <c:pt idx="18">
                  <c:v>4585.730750857215</c:v>
                </c:pt>
                <c:pt idx="19">
                  <c:v>3918.311207865934</c:v>
                </c:pt>
              </c:numCache>
            </c:numRef>
          </c:xVal>
          <c:yVal>
            <c:numRef>
              <c:f>Sheet1!$B$47:$B$66</c:f>
              <c:numCache>
                <c:formatCode>General</c:formatCode>
                <c:ptCount val="20"/>
                <c:pt idx="0">
                  <c:v>0.00415295468854951</c:v>
                </c:pt>
                <c:pt idx="1">
                  <c:v>0.00415295468854951</c:v>
                </c:pt>
                <c:pt idx="2">
                  <c:v>0.00415295468854951</c:v>
                </c:pt>
                <c:pt idx="3">
                  <c:v>0.00415295468854951</c:v>
                </c:pt>
                <c:pt idx="4">
                  <c:v>0.03958376123388726</c:v>
                </c:pt>
                <c:pt idx="5">
                  <c:v>0.03700089797800929</c:v>
                </c:pt>
                <c:pt idx="6">
                  <c:v>0.039401441474648816</c:v>
                </c:pt>
                <c:pt idx="7">
                  <c:v>0.0516371230946511</c:v>
                </c:pt>
                <c:pt idx="8">
                  <c:v>0.00415295468854951</c:v>
                </c:pt>
                <c:pt idx="9">
                  <c:v>0.04571173091940165</c:v>
                </c:pt>
                <c:pt idx="10">
                  <c:v>0.05448333711387349</c:v>
                </c:pt>
                <c:pt idx="11">
                  <c:v>0.05829179430685433</c:v>
                </c:pt>
                <c:pt idx="12">
                  <c:v>0.0411030925608743</c:v>
                </c:pt>
                <c:pt idx="13">
                  <c:v>0.042090657923415875</c:v>
                </c:pt>
                <c:pt idx="14">
                  <c:v>0.0463042701369266</c:v>
                </c:pt>
                <c:pt idx="15">
                  <c:v>0.05184982948042929</c:v>
                </c:pt>
                <c:pt idx="16">
                  <c:v>0.04171082509166911</c:v>
                </c:pt>
                <c:pt idx="17">
                  <c:v>0.05060125060125059</c:v>
                </c:pt>
                <c:pt idx="18">
                  <c:v>0.05060125060125059</c:v>
                </c:pt>
                <c:pt idx="19">
                  <c:v>0.043841041135183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41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5714285714285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115581873397162</c:v>
                </c:pt>
                <c:pt idx="1">
                  <c:v>0.207300688122593</c:v>
                </c:pt>
                <c:pt idx="2">
                  <c:v>0.1980371017493784</c:v>
                </c:pt>
                <c:pt idx="3">
                  <c:v>0.19999278898197925</c:v>
                </c:pt>
                <c:pt idx="4">
                  <c:v>0.18902199556191945</c:v>
                </c:pt>
                <c:pt idx="5">
                  <c:v>0.19077629782257513</c:v>
                </c:pt>
                <c:pt idx="6">
                  <c:v>0.19608881196950173</c:v>
                </c:pt>
                <c:pt idx="7">
                  <c:v>0.18395372134034113</c:v>
                </c:pt>
                <c:pt idx="8">
                  <c:v>0.16912327527011467</c:v>
                </c:pt>
                <c:pt idx="9">
                  <c:v>0.1779881667475602</c:v>
                </c:pt>
                <c:pt idx="10">
                  <c:v>0.1839801094590035</c:v>
                </c:pt>
                <c:pt idx="11">
                  <c:v>0.20011440469968905</c:v>
                </c:pt>
                <c:pt idx="12">
                  <c:v>0.20670660690227968</c:v>
                </c:pt>
                <c:pt idx="13">
                  <c:v>0.19935162960312303</c:v>
                </c:pt>
                <c:pt idx="14">
                  <c:v>0.19691920295500667</c:v>
                </c:pt>
                <c:pt idx="15">
                  <c:v>0.2147221706820805</c:v>
                </c:pt>
                <c:pt idx="16">
                  <c:v>0.20094985972417692</c:v>
                </c:pt>
                <c:pt idx="17">
                  <c:v>0.19720676444720556</c:v>
                </c:pt>
                <c:pt idx="18">
                  <c:v>0.1969488923812037</c:v>
                </c:pt>
                <c:pt idx="19">
                  <c:v>0.19723217999526496</c:v>
                </c:pt>
                <c:pt idx="20">
                  <c:v>0.202268668281674</c:v>
                </c:pt>
                <c:pt idx="21">
                  <c:v>0.18327158334084465</c:v>
                </c:pt>
                <c:pt idx="22">
                  <c:v>0.16932703406592303</c:v>
                </c:pt>
                <c:pt idx="23">
                  <c:v>0.1595017908166785</c:v>
                </c:pt>
                <c:pt idx="24">
                  <c:v>0.1796548527678451</c:v>
                </c:pt>
                <c:pt idx="25">
                  <c:v>0.17433061181180676</c:v>
                </c:pt>
                <c:pt idx="26">
                  <c:v>0.1652659985568813</c:v>
                </c:pt>
                <c:pt idx="27">
                  <c:v>0.16992691176114025</c:v>
                </c:pt>
                <c:pt idx="28">
                  <c:v>0.16024844333364247</c:v>
                </c:pt>
                <c:pt idx="29">
                  <c:v>0.17574147966017237</c:v>
                </c:pt>
                <c:pt idx="30">
                  <c:v>0.1700388763908986</c:v>
                </c:pt>
                <c:pt idx="31">
                  <c:v>0.1608304504278741</c:v>
                </c:pt>
                <c:pt idx="32">
                  <c:v>0.15511663713887963</c:v>
                </c:pt>
                <c:pt idx="33">
                  <c:v>0.1662151772938804</c:v>
                </c:pt>
                <c:pt idx="34">
                  <c:v>0.18182632765902706</c:v>
                </c:pt>
                <c:pt idx="35">
                  <c:v>0.1796299137235288</c:v>
                </c:pt>
                <c:pt idx="36">
                  <c:v>0.15702378726007094</c:v>
                </c:pt>
                <c:pt idx="37">
                  <c:v>0.16043683798888317</c:v>
                </c:pt>
                <c:pt idx="38">
                  <c:v>0.17658203890236354</c:v>
                </c:pt>
                <c:pt idx="39">
                  <c:v>0.1875459141587108</c:v>
                </c:pt>
                <c:pt idx="40">
                  <c:v>0.2062796909767593</c:v>
                </c:pt>
                <c:pt idx="41">
                  <c:v>0.20551442450335572</c:v>
                </c:pt>
                <c:pt idx="42">
                  <c:v>0.18901957748296208</c:v>
                </c:pt>
                <c:pt idx="43">
                  <c:v>0.20136840532231218</c:v>
                </c:pt>
                <c:pt idx="44">
                  <c:v>0.2155970297012368</c:v>
                </c:pt>
                <c:pt idx="45">
                  <c:v>0.22482930227675801</c:v>
                </c:pt>
                <c:pt idx="46">
                  <c:v>0.2308709149134772</c:v>
                </c:pt>
                <c:pt idx="47">
                  <c:v>0.20206432358464987</c:v>
                </c:pt>
                <c:pt idx="48">
                  <c:v>0.25618808161131706</c:v>
                </c:pt>
                <c:pt idx="49">
                  <c:v>0.25836775644294463</c:v>
                </c:pt>
                <c:pt idx="50">
                  <c:v>0.20904779403242854</c:v>
                </c:pt>
                <c:pt idx="51">
                  <c:v>0.1940374186870127</c:v>
                </c:pt>
                <c:pt idx="52">
                  <c:v>0.21722734266724097</c:v>
                </c:pt>
                <c:pt idx="53">
                  <c:v>0.22627361264396448</c:v>
                </c:pt>
                <c:pt idx="54">
                  <c:v>0.22022647196897566</c:v>
                </c:pt>
                <c:pt idx="55">
                  <c:v>0.19669355309697917</c:v>
                </c:pt>
                <c:pt idx="56">
                  <c:v>0.2063614741024211</c:v>
                </c:pt>
                <c:pt idx="57">
                  <c:v>0.20295270132294477</c:v>
                </c:pt>
                <c:pt idx="58">
                  <c:v>0.21189288307275622</c:v>
                </c:pt>
                <c:pt idx="59">
                  <c:v>0.23585046028057327</c:v>
                </c:pt>
                <c:pt idx="60">
                  <c:v>0.22610692833378943</c:v>
                </c:pt>
                <c:pt idx="61">
                  <c:v>0.2237204126706858</c:v>
                </c:pt>
                <c:pt idx="62">
                  <c:v>0.2497772248466278</c:v>
                </c:pt>
                <c:pt idx="63">
                  <c:v>0.24395672173020783</c:v>
                </c:pt>
                <c:pt idx="64">
                  <c:v>0.2485757460553211</c:v>
                </c:pt>
                <c:pt idx="65">
                  <c:v>0.21586965756784252</c:v>
                </c:pt>
                <c:pt idx="66">
                  <c:v>0.21560128929535344</c:v>
                </c:pt>
                <c:pt idx="67">
                  <c:v>0.24803669193004793</c:v>
                </c:pt>
                <c:pt idx="68">
                  <c:v>0.2196373758299972</c:v>
                </c:pt>
                <c:pt idx="69">
                  <c:v>0.19223105270901147</c:v>
                </c:pt>
                <c:pt idx="70">
                  <c:v>0.17865546788349443</c:v>
                </c:pt>
                <c:pt idx="71">
                  <c:v>0.19948873937041972</c:v>
                </c:pt>
                <c:pt idx="72">
                  <c:v>0.2274448715201371</c:v>
                </c:pt>
                <c:pt idx="73">
                  <c:v>0.20835810776379657</c:v>
                </c:pt>
                <c:pt idx="74">
                  <c:v>0.21410012623404862</c:v>
                </c:pt>
                <c:pt idx="75">
                  <c:v>0.1992840509155767</c:v>
                </c:pt>
                <c:pt idx="76">
                  <c:v>0.1758675900760442</c:v>
                </c:pt>
                <c:pt idx="77">
                  <c:v>0.18839424801422405</c:v>
                </c:pt>
                <c:pt idx="78">
                  <c:v>0.1892765790734745</c:v>
                </c:pt>
                <c:pt idx="79">
                  <c:v>0.18111746091830402</c:v>
                </c:pt>
                <c:pt idx="80">
                  <c:v>0.1749949961545724</c:v>
                </c:pt>
                <c:pt idx="81">
                  <c:v>0.19779782099496276</c:v>
                </c:pt>
                <c:pt idx="82">
                  <c:v>0.19914165285279314</c:v>
                </c:pt>
                <c:pt idx="83">
                  <c:v>0.17419974957545242</c:v>
                </c:pt>
                <c:pt idx="84">
                  <c:v>0.16370497147249646</c:v>
                </c:pt>
                <c:pt idx="85">
                  <c:v>0.17698142766540423</c:v>
                </c:pt>
                <c:pt idx="86">
                  <c:v>0.1896707420619344</c:v>
                </c:pt>
                <c:pt idx="87">
                  <c:v>0.19777638412660115</c:v>
                </c:pt>
                <c:pt idx="88">
                  <c:v>0.16577270845230324</c:v>
                </c:pt>
                <c:pt idx="89">
                  <c:v>0.15861306456447696</c:v>
                </c:pt>
                <c:pt idx="90">
                  <c:v>0.17628194379568343</c:v>
                </c:pt>
                <c:pt idx="91">
                  <c:v>0.18943998678520377</c:v>
                </c:pt>
                <c:pt idx="92">
                  <c:v>0.19271168948826808</c:v>
                </c:pt>
                <c:pt idx="93">
                  <c:v>0.1781129545881908</c:v>
                </c:pt>
                <c:pt idx="94">
                  <c:v>0.17979772450933743</c:v>
                </c:pt>
                <c:pt idx="95">
                  <c:v>0.17091147145314547</c:v>
                </c:pt>
                <c:pt idx="96">
                  <c:v>0.1879527619605963</c:v>
                </c:pt>
                <c:pt idx="97">
                  <c:v>0.19500924456843213</c:v>
                </c:pt>
                <c:pt idx="98">
                  <c:v>0.19975071423872237</c:v>
                </c:pt>
                <c:pt idx="99">
                  <c:v>0.2131470569645983</c:v>
                </c:pt>
                <c:pt idx="100">
                  <c:v>0.22272472058398754</c:v>
                </c:pt>
                <c:pt idx="101">
                  <c:v>0.2137070334461175</c:v>
                </c:pt>
                <c:pt idx="102">
                  <c:v>0.1982974899813351</c:v>
                </c:pt>
                <c:pt idx="103">
                  <c:v>0.19373973465048708</c:v>
                </c:pt>
                <c:pt idx="104">
                  <c:v>0.2025713598058627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08781644918978</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08781644918978</c:v>
                </c:pt>
                <c:pt idx="1">
                  <c:v>1.808781644918978</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01002442693246</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01002442693246</c:v>
                </c:pt>
                <c:pt idx="1">
                  <c:v>0.4201002442693246</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35075003727544</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35075003727544</c:v>
                </c:pt>
                <c:pt idx="1">
                  <c:v>0.0935075003727544</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pt idx="52">
                  <c:v>0.4201002442693246</c:v>
                </c:pt>
                <c:pt idx="53">
                  <c:v>1.808781644918978</c:v>
                </c:pt>
                <c:pt idx="54">
                  <c:v>0.0935075003727544</c:v>
                </c:pt>
              </c:numCache>
            </c:numRef>
          </c:xVal>
          <c:yVal>
            <c:numRef>
              <c:f>Sheet1!$B$187:$B$241</c:f>
              <c:numCache>
                <c:formatCode>General</c:formatCode>
                <c:ptCount val="55"/>
                <c:pt idx="0">
                  <c:v>0.2090944443939289</c:v>
                </c:pt>
                <c:pt idx="1">
                  <c:v>0.2093889066057436</c:v>
                </c:pt>
                <c:pt idx="2">
                  <c:v>0.20922028344017302</c:v>
                </c:pt>
                <c:pt idx="3">
                  <c:v>0.20902042805911794</c:v>
                </c:pt>
                <c:pt idx="4">
                  <c:v>0.20867855214363795</c:v>
                </c:pt>
                <c:pt idx="5">
                  <c:v>0.2091237665418279</c:v>
                </c:pt>
                <c:pt idx="6">
                  <c:v>0.20874698896445673</c:v>
                </c:pt>
                <c:pt idx="7">
                  <c:v>0.20826401268874464</c:v>
                </c:pt>
                <c:pt idx="8">
                  <c:v>0.20940169711504894</c:v>
                </c:pt>
                <c:pt idx="9">
                  <c:v>0.209003216345201</c:v>
                </c:pt>
                <c:pt idx="10">
                  <c:v>0.2088838856300178</c:v>
                </c:pt>
                <c:pt idx="11">
                  <c:v>0.20837247961256541</c:v>
                </c:pt>
                <c:pt idx="12">
                  <c:v>0.20842961561165935</c:v>
                </c:pt>
                <c:pt idx="13">
                  <c:v>0.2086658188389816</c:v>
                </c:pt>
                <c:pt idx="14">
                  <c:v>0.20853635777219215</c:v>
                </c:pt>
                <c:pt idx="15">
                  <c:v>0.20842434172972724</c:v>
                </c:pt>
                <c:pt idx="16">
                  <c:v>0.2080998432963298</c:v>
                </c:pt>
                <c:pt idx="17">
                  <c:v>0.2077163976274262</c:v>
                </c:pt>
                <c:pt idx="18">
                  <c:v>0.2074732674137435</c:v>
                </c:pt>
                <c:pt idx="19">
                  <c:v>0.20819121919500222</c:v>
                </c:pt>
                <c:pt idx="20">
                  <c:v>0.20773343123623134</c:v>
                </c:pt>
                <c:pt idx="21">
                  <c:v>0.20730290977431776</c:v>
                </c:pt>
                <c:pt idx="22">
                  <c:v>0.2073547216904939</c:v>
                </c:pt>
                <c:pt idx="23">
                  <c:v>0.2079206629455333</c:v>
                </c:pt>
                <c:pt idx="24">
                  <c:v>0.2076208637300367</c:v>
                </c:pt>
                <c:pt idx="25">
                  <c:v>0.20748054671816982</c:v>
                </c:pt>
                <c:pt idx="26">
                  <c:v>0.20751680338946132</c:v>
                </c:pt>
                <c:pt idx="27">
                  <c:v>0.20757616183105465</c:v>
                </c:pt>
                <c:pt idx="28">
                  <c:v>0.20802517097398232</c:v>
                </c:pt>
                <c:pt idx="29">
                  <c:v>0.20755479452218278</c:v>
                </c:pt>
                <c:pt idx="30">
                  <c:v>0.20750414480068294</c:v>
                </c:pt>
                <c:pt idx="31">
                  <c:v>0.20739740804348822</c:v>
                </c:pt>
                <c:pt idx="32">
                  <c:v>0.20778165083869712</c:v>
                </c:pt>
                <c:pt idx="33">
                  <c:v>0.20798622726204208</c:v>
                </c:pt>
                <c:pt idx="34">
                  <c:v>0.20850742181934603</c:v>
                </c:pt>
                <c:pt idx="35">
                  <c:v>0.20756008205701526</c:v>
                </c:pt>
                <c:pt idx="36">
                  <c:v>0.2069992690156182</c:v>
                </c:pt>
                <c:pt idx="37">
                  <c:v>0.20707292066488653</c:v>
                </c:pt>
                <c:pt idx="38">
                  <c:v>0.2072265252682856</c:v>
                </c:pt>
                <c:pt idx="39">
                  <c:v>0.20741397618189306</c:v>
                </c:pt>
                <c:pt idx="40">
                  <c:v>0.20776415225724354</c:v>
                </c:pt>
                <c:pt idx="41">
                  <c:v>0.20787781301688701</c:v>
                </c:pt>
                <c:pt idx="42">
                  <c:v>0.20775768525313232</c:v>
                </c:pt>
                <c:pt idx="43">
                  <c:v>0.20827465472223128</c:v>
                </c:pt>
                <c:pt idx="44">
                  <c:v>0.20815568501342976</c:v>
                </c:pt>
                <c:pt idx="45">
                  <c:v>0.20819501941170213</c:v>
                </c:pt>
                <c:pt idx="46">
                  <c:v>0.2078904476614543</c:v>
                </c:pt>
                <c:pt idx="47">
                  <c:v>0.20757362589749653</c:v>
                </c:pt>
                <c:pt idx="48">
                  <c:v>0.2077037375537196</c:v>
                </c:pt>
                <c:pt idx="49">
                  <c:v>0.20859070869688692</c:v>
                </c:pt>
                <c:pt idx="50">
                  <c:v>0.20895270872631197</c:v>
                </c:pt>
                <c:pt idx="51">
                  <c:v>0.20798467999088363</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4379479795924755</c:v>
                </c:pt>
                <c:pt idx="5">
                  <c:v>0.4600543777748936</c:v>
                </c:pt>
                <c:pt idx="6">
                  <c:v>0.49213943718792547</c:v>
                </c:pt>
                <c:pt idx="7">
                  <c:v>0.7155223211446415</c:v>
                </c:pt>
                <c:pt idx="8">
                  <c:v>0.0</c:v>
                </c:pt>
                <c:pt idx="9">
                  <c:v>0.7206644389125003</c:v>
                </c:pt>
                <c:pt idx="10">
                  <c:v>0.9153293460538262</c:v>
                </c:pt>
                <c:pt idx="11">
                  <c:v>1.0058454771061949</c:v>
                </c:pt>
                <c:pt idx="12">
                  <c:v>0.6874281008245972</c:v>
                </c:pt>
                <c:pt idx="13">
                  <c:v>0.8484465590231006</c:v>
                </c:pt>
                <c:pt idx="14">
                  <c:v>0.7992279475311607</c:v>
                </c:pt>
                <c:pt idx="15">
                  <c:v>0.8734361523551615</c:v>
                </c:pt>
                <c:pt idx="16">
                  <c:v>0.6916835112183025</c:v>
                </c:pt>
              </c:numCache>
            </c:numRef>
          </c:xVal>
          <c:yVal>
            <c:numRef>
              <c:f>Sheet1!$B$4:$B$20</c:f>
              <c:numCache>
                <c:formatCode>General</c:formatCode>
                <c:ptCount val="17"/>
                <c:pt idx="0">
                  <c:v>0.0</c:v>
                </c:pt>
                <c:pt idx="1">
                  <c:v>0.0</c:v>
                </c:pt>
                <c:pt idx="2">
                  <c:v>0.0</c:v>
                </c:pt>
                <c:pt idx="3">
                  <c:v>0.0</c:v>
                </c:pt>
                <c:pt idx="4">
                  <c:v>0.07142857142857142</c:v>
                </c:pt>
                <c:pt idx="5">
                  <c:v>0.05555555555555555</c:v>
                </c:pt>
                <c:pt idx="6">
                  <c:v>0.05263157894736842</c:v>
                </c:pt>
                <c:pt idx="7">
                  <c:v>0.0625</c:v>
                </c:pt>
                <c:pt idx="8">
                  <c:v>0.0</c:v>
                </c:pt>
                <c:pt idx="9">
                  <c:v>0.03333333333333333</c:v>
                </c:pt>
                <c:pt idx="10">
                  <c:v>0.02857142857142857</c:v>
                </c:pt>
                <c:pt idx="11">
                  <c:v>0.03125</c:v>
                </c:pt>
                <c:pt idx="12">
                  <c:v>0.03225806451612903</c:v>
                </c:pt>
                <c:pt idx="13">
                  <c:v>0.047619047619047616</c:v>
                </c:pt>
                <c:pt idx="14">
                  <c:v>0.06060606060606061</c:v>
                </c:pt>
                <c:pt idx="15">
                  <c:v>0.05714285714285714</c:v>
                </c:pt>
                <c:pt idx="16">
                  <c:v>0.037037037037037035</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8641204208014216</c:v>
                </c:pt>
              </c:numCache>
            </c:numRef>
          </c:xVal>
          <c:yVal>
            <c:numRef>
              <c:f>Sheet1!$B$23:$B$24</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8641204208014216</c:v>
                </c:pt>
                <c:pt idx="1">
                  <c:v>0.8641204208014216</c:v>
                </c:pt>
              </c:numCache>
            </c:numRef>
          </c:xVal>
          <c:yVal>
            <c:numRef>
              <c:f>Sheet1!$B$27:$B$28</c:f>
              <c:numCache>
                <c:formatCode>General</c:formatCode>
                <c:ptCount val="2"/>
                <c:pt idx="0">
                  <c:v>0.0506012506012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8641204208014216</c:v>
                </c:pt>
              </c:numCache>
            </c:numRef>
          </c:xVal>
          <c:yVal>
            <c:numRef>
              <c:f>Sheet1!$B$31:$B$32</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8641204208014216</c:v>
                </c:pt>
                <c:pt idx="1">
                  <c:v>0.8641204208014216</c:v>
                </c:pt>
              </c:numCache>
            </c:numRef>
          </c:xVal>
          <c:yVal>
            <c:numRef>
              <c:f>Sheet1!$B$35:$B$36</c:f>
              <c:numCache>
                <c:formatCode>General</c:formatCode>
                <c:ptCount val="2"/>
                <c:pt idx="0">
                  <c:v>0.05060125060125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723407068319269</c:v>
                </c:pt>
              </c:numCache>
            </c:numRef>
          </c:xVal>
          <c:yVal>
            <c:numRef>
              <c:f>Sheet1!$B$39:$B$40</c:f>
              <c:numCache>
                <c:formatCode>General</c:formatCode>
                <c:ptCount val="2"/>
                <c:pt idx="0">
                  <c:v>0.04384104113518376</c:v>
                </c:pt>
                <c:pt idx="1">
                  <c:v>0.04384104113518376</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723407068319269</c:v>
                </c:pt>
                <c:pt idx="1">
                  <c:v>0.723407068319269</c:v>
                </c:pt>
              </c:numCache>
            </c:numRef>
          </c:xVal>
          <c:yVal>
            <c:numRef>
              <c:f>Sheet1!$B$43:$B$44</c:f>
              <c:numCache>
                <c:formatCode>General</c:formatCode>
                <c:ptCount val="2"/>
                <c:pt idx="0">
                  <c:v>0.043841041135183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0</c:v>
                </c:pt>
                <c:pt idx="2">
                  <c:v>0.0</c:v>
                </c:pt>
                <c:pt idx="3">
                  <c:v>0.0</c:v>
                </c:pt>
                <c:pt idx="4">
                  <c:v>0.4379479795924755</c:v>
                </c:pt>
                <c:pt idx="5">
                  <c:v>0.4600543777748936</c:v>
                </c:pt>
                <c:pt idx="6">
                  <c:v>0.49213943718792547</c:v>
                </c:pt>
                <c:pt idx="7">
                  <c:v>0.7155223211446415</c:v>
                </c:pt>
                <c:pt idx="8">
                  <c:v>0.0</c:v>
                </c:pt>
                <c:pt idx="9">
                  <c:v>0.7206644389125003</c:v>
                </c:pt>
                <c:pt idx="10">
                  <c:v>0.9153293460538262</c:v>
                </c:pt>
                <c:pt idx="11">
                  <c:v>1.0058454771061949</c:v>
                </c:pt>
                <c:pt idx="12">
                  <c:v>0.6874281008245972</c:v>
                </c:pt>
                <c:pt idx="13">
                  <c:v>0.8484465590231006</c:v>
                </c:pt>
                <c:pt idx="14">
                  <c:v>0.7992279475311607</c:v>
                </c:pt>
                <c:pt idx="15">
                  <c:v>0.8734361523551615</c:v>
                </c:pt>
                <c:pt idx="16">
                  <c:v>0.6916835112183025</c:v>
                </c:pt>
                <c:pt idx="17">
                  <c:v>0.8641204208014216</c:v>
                </c:pt>
                <c:pt idx="18">
                  <c:v>0.8641204208014216</c:v>
                </c:pt>
                <c:pt idx="19">
                  <c:v>0.723407068319269</c:v>
                </c:pt>
              </c:numCache>
            </c:numRef>
          </c:xVal>
          <c:yVal>
            <c:numRef>
              <c:f>Sheet1!$B$47:$B$66</c:f>
              <c:numCache>
                <c:formatCode>General</c:formatCode>
                <c:ptCount val="20"/>
                <c:pt idx="0">
                  <c:v>0.009086817567865519</c:v>
                </c:pt>
                <c:pt idx="1">
                  <c:v>0.009086817567865519</c:v>
                </c:pt>
                <c:pt idx="2">
                  <c:v>0.009086817567865519</c:v>
                </c:pt>
                <c:pt idx="3">
                  <c:v>0.009086817567865519</c:v>
                </c:pt>
                <c:pt idx="4">
                  <c:v>0.03012689674344633</c:v>
                </c:pt>
                <c:pt idx="5">
                  <c:v>0.031188941528943005</c:v>
                </c:pt>
                <c:pt idx="6">
                  <c:v>0.03273038531190458</c:v>
                </c:pt>
                <c:pt idx="7">
                  <c:v>0.04346223882859937</c:v>
                </c:pt>
                <c:pt idx="8">
                  <c:v>0.009086817567865519</c:v>
                </c:pt>
                <c:pt idx="9">
                  <c:v>0.04370927859132778</c:v>
                </c:pt>
                <c:pt idx="10">
                  <c:v>0.053061451109104485</c:v>
                </c:pt>
                <c:pt idx="11">
                  <c:v>0.057410064763587496</c:v>
                </c:pt>
                <c:pt idx="12">
                  <c:v>0.04211252459893222</c:v>
                </c:pt>
                <c:pt idx="13">
                  <c:v>0.049848240407871336</c:v>
                </c:pt>
                <c:pt idx="14">
                  <c:v>0.047483659382366455</c:v>
                </c:pt>
                <c:pt idx="15">
                  <c:v>0.0510488008551678</c:v>
                </c:pt>
                <c:pt idx="16">
                  <c:v>0.0423169647968102</c:v>
                </c:pt>
                <c:pt idx="17">
                  <c:v>0.05060125060125059</c:v>
                </c:pt>
                <c:pt idx="18">
                  <c:v>0.05060125060125059</c:v>
                </c:pt>
                <c:pt idx="19">
                  <c:v>0.043841041135183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5714285714285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3498.0</c:v>
                </c:pt>
                <c:pt idx="5">
                  <c:v>3243.0</c:v>
                </c:pt>
                <c:pt idx="6">
                  <c:v>3480.0</c:v>
                </c:pt>
                <c:pt idx="7">
                  <c:v>4688.0</c:v>
                </c:pt>
                <c:pt idx="8">
                  <c:v>0.0</c:v>
                </c:pt>
                <c:pt idx="9">
                  <c:v>4103.0</c:v>
                </c:pt>
                <c:pt idx="10">
                  <c:v>4969.0</c:v>
                </c:pt>
                <c:pt idx="11">
                  <c:v>5345.0</c:v>
                </c:pt>
                <c:pt idx="12">
                  <c:v>3648.0</c:v>
                </c:pt>
                <c:pt idx="13">
                  <c:v>3745.5</c:v>
                </c:pt>
                <c:pt idx="14">
                  <c:v>4161.5</c:v>
                </c:pt>
                <c:pt idx="15">
                  <c:v>4709.0</c:v>
                </c:pt>
                <c:pt idx="16">
                  <c:v>3708.0</c:v>
                </c:pt>
              </c:numCache>
            </c:numRef>
          </c:xVal>
          <c:yVal>
            <c:numRef>
              <c:f>Sheet1!$B$4:$B$20</c:f>
              <c:numCache>
                <c:formatCode>General</c:formatCode>
                <c:ptCount val="17"/>
                <c:pt idx="0">
                  <c:v>0.0</c:v>
                </c:pt>
                <c:pt idx="1">
                  <c:v>0.0</c:v>
                </c:pt>
                <c:pt idx="2">
                  <c:v>0.0</c:v>
                </c:pt>
                <c:pt idx="3">
                  <c:v>0.0</c:v>
                </c:pt>
                <c:pt idx="4">
                  <c:v>0.07142857142857142</c:v>
                </c:pt>
                <c:pt idx="5">
                  <c:v>0.05555555555555555</c:v>
                </c:pt>
                <c:pt idx="6">
                  <c:v>0.05263157894736842</c:v>
                </c:pt>
                <c:pt idx="7">
                  <c:v>0.0625</c:v>
                </c:pt>
                <c:pt idx="8">
                  <c:v>0.0</c:v>
                </c:pt>
                <c:pt idx="9">
                  <c:v>0.03333333333333333</c:v>
                </c:pt>
                <c:pt idx="10">
                  <c:v>0.02857142857142857</c:v>
                </c:pt>
                <c:pt idx="11">
                  <c:v>0.03125</c:v>
                </c:pt>
                <c:pt idx="12">
                  <c:v>0.03225806451612903</c:v>
                </c:pt>
                <c:pt idx="13">
                  <c:v>0.047619047619047616</c:v>
                </c:pt>
                <c:pt idx="14">
                  <c:v>0.06060606060606061</c:v>
                </c:pt>
                <c:pt idx="15">
                  <c:v>0.05714285714285714</c:v>
                </c:pt>
                <c:pt idx="16">
                  <c:v>0.037037037037037035</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4585.730750857215</c:v>
                </c:pt>
              </c:numCache>
            </c:numRef>
          </c:xVal>
          <c:yVal>
            <c:numRef>
              <c:f>Sheet1!$B$23:$B$24</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4585.730750857215</c:v>
                </c:pt>
                <c:pt idx="1">
                  <c:v>4585.730750857215</c:v>
                </c:pt>
              </c:numCache>
            </c:numRef>
          </c:xVal>
          <c:yVal>
            <c:numRef>
              <c:f>Sheet1!$B$27:$B$28</c:f>
              <c:numCache>
                <c:formatCode>General</c:formatCode>
                <c:ptCount val="2"/>
                <c:pt idx="0">
                  <c:v>0.0506012506012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4585.730750857215</c:v>
                </c:pt>
              </c:numCache>
            </c:numRef>
          </c:xVal>
          <c:yVal>
            <c:numRef>
              <c:f>Sheet1!$B$31:$B$32</c:f>
              <c:numCache>
                <c:formatCode>General</c:formatCode>
                <c:ptCount val="2"/>
                <c:pt idx="0">
                  <c:v>0.0506012506012506</c:v>
                </c:pt>
                <c:pt idx="1">
                  <c:v>0.050601250601250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4585.730750857215</c:v>
                </c:pt>
                <c:pt idx="1">
                  <c:v>4585.730750857215</c:v>
                </c:pt>
              </c:numCache>
            </c:numRef>
          </c:xVal>
          <c:yVal>
            <c:numRef>
              <c:f>Sheet1!$B$35:$B$36</c:f>
              <c:numCache>
                <c:formatCode>General</c:formatCode>
                <c:ptCount val="2"/>
                <c:pt idx="0">
                  <c:v>0.05060125060125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3918.311207865934</c:v>
                </c:pt>
              </c:numCache>
            </c:numRef>
          </c:xVal>
          <c:yVal>
            <c:numRef>
              <c:f>Sheet1!$B$39:$B$40</c:f>
              <c:numCache>
                <c:formatCode>General</c:formatCode>
                <c:ptCount val="2"/>
                <c:pt idx="0">
                  <c:v>0.04384104113518376</c:v>
                </c:pt>
                <c:pt idx="1">
                  <c:v>0.04384104113518376</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3918.311207865934</c:v>
                </c:pt>
                <c:pt idx="1">
                  <c:v>3918.311207865934</c:v>
                </c:pt>
              </c:numCache>
            </c:numRef>
          </c:xVal>
          <c:yVal>
            <c:numRef>
              <c:f>Sheet1!$B$43:$B$44</c:f>
              <c:numCache>
                <c:formatCode>General</c:formatCode>
                <c:ptCount val="2"/>
                <c:pt idx="0">
                  <c:v>0.043841041135183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3498.0</c:v>
                </c:pt>
                <c:pt idx="5">
                  <c:v>3243.0</c:v>
                </c:pt>
                <c:pt idx="6">
                  <c:v>3480.0</c:v>
                </c:pt>
                <c:pt idx="7">
                  <c:v>4688.0</c:v>
                </c:pt>
                <c:pt idx="8">
                  <c:v>0.0</c:v>
                </c:pt>
                <c:pt idx="9">
                  <c:v>4103.0</c:v>
                </c:pt>
                <c:pt idx="10">
                  <c:v>4969.0</c:v>
                </c:pt>
                <c:pt idx="11">
                  <c:v>5345.0</c:v>
                </c:pt>
                <c:pt idx="12">
                  <c:v>3648.0</c:v>
                </c:pt>
                <c:pt idx="13">
                  <c:v>3745.5</c:v>
                </c:pt>
                <c:pt idx="14">
                  <c:v>4161.5</c:v>
                </c:pt>
                <c:pt idx="15">
                  <c:v>4709.0</c:v>
                </c:pt>
                <c:pt idx="16">
                  <c:v>3708.0</c:v>
                </c:pt>
                <c:pt idx="17">
                  <c:v>4585.730750857215</c:v>
                </c:pt>
                <c:pt idx="18">
                  <c:v>4585.730750857215</c:v>
                </c:pt>
                <c:pt idx="19">
                  <c:v>3918.311207865934</c:v>
                </c:pt>
              </c:numCache>
            </c:numRef>
          </c:xVal>
          <c:yVal>
            <c:numRef>
              <c:f>Sheet1!$B$47:$B$66</c:f>
              <c:numCache>
                <c:formatCode>General</c:formatCode>
                <c:ptCount val="20"/>
                <c:pt idx="0">
                  <c:v>0.00415295468854951</c:v>
                </c:pt>
                <c:pt idx="1">
                  <c:v>0.00415295468854951</c:v>
                </c:pt>
                <c:pt idx="2">
                  <c:v>0.00415295468854951</c:v>
                </c:pt>
                <c:pt idx="3">
                  <c:v>0.00415295468854951</c:v>
                </c:pt>
                <c:pt idx="4">
                  <c:v>0.03958376123388726</c:v>
                </c:pt>
                <c:pt idx="5">
                  <c:v>0.03700089797800929</c:v>
                </c:pt>
                <c:pt idx="6">
                  <c:v>0.039401441474648816</c:v>
                </c:pt>
                <c:pt idx="7">
                  <c:v>0.0516371230946511</c:v>
                </c:pt>
                <c:pt idx="8">
                  <c:v>0.00415295468854951</c:v>
                </c:pt>
                <c:pt idx="9">
                  <c:v>0.04571173091940165</c:v>
                </c:pt>
                <c:pt idx="10">
                  <c:v>0.05448333711387349</c:v>
                </c:pt>
                <c:pt idx="11">
                  <c:v>0.05829179430685433</c:v>
                </c:pt>
                <c:pt idx="12">
                  <c:v>0.0411030925608743</c:v>
                </c:pt>
                <c:pt idx="13">
                  <c:v>0.042090657923415875</c:v>
                </c:pt>
                <c:pt idx="14">
                  <c:v>0.0463042701369266</c:v>
                </c:pt>
                <c:pt idx="15">
                  <c:v>0.05184982948042929</c:v>
                </c:pt>
                <c:pt idx="16">
                  <c:v>0.04171082509166911</c:v>
                </c:pt>
                <c:pt idx="17">
                  <c:v>0.05060125060125059</c:v>
                </c:pt>
                <c:pt idx="18">
                  <c:v>0.05060125060125059</c:v>
                </c:pt>
                <c:pt idx="19">
                  <c:v>0.043841041135183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41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5714285714285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477011438148256</c:v>
                </c:pt>
                <c:pt idx="1">
                  <c:v>1.1844649562509268</c:v>
                </c:pt>
                <c:pt idx="2">
                  <c:v>1.3726881290322581</c:v>
                </c:pt>
                <c:pt idx="3">
                  <c:v>1.362714457843699</c:v>
                </c:pt>
                <c:pt idx="4">
                  <c:v>1.4779874643874644</c:v>
                </c:pt>
                <c:pt idx="5">
                  <c:v>1.0835992053952568</c:v>
                </c:pt>
                <c:pt idx="6">
                  <c:v>1.1435967920743961</c:v>
                </c:pt>
                <c:pt idx="7">
                  <c:v>1.080578337012919</c:v>
                </c:pt>
                <c:pt idx="8">
                  <c:v>1.0668371606049125</c:v>
                </c:pt>
                <c:pt idx="9">
                  <c:v>1.0192250074451534</c:v>
                </c:pt>
                <c:pt idx="10">
                  <c:v>1.0946135135135135</c:v>
                </c:pt>
                <c:pt idx="11">
                  <c:v>1.1895066115283697</c:v>
                </c:pt>
                <c:pt idx="12">
                  <c:v>1.1411111111111112</c:v>
                </c:pt>
                <c:pt idx="13">
                  <c:v>1.230731111404521</c:v>
                </c:pt>
                <c:pt idx="14">
                  <c:v>1.105092323218731</c:v>
                </c:pt>
                <c:pt idx="15">
                  <c:v>1.121021349951836</c:v>
                </c:pt>
                <c:pt idx="16">
                  <c:v>1.397273189150352</c:v>
                </c:pt>
                <c:pt idx="17">
                  <c:v>0.9468143984692658</c:v>
                </c:pt>
                <c:pt idx="18">
                  <c:v>1.4703356128974285</c:v>
                </c:pt>
                <c:pt idx="19">
                  <c:v>1.4763965368103873</c:v>
                </c:pt>
                <c:pt idx="20">
                  <c:v>1.6611020053998016</c:v>
                </c:pt>
                <c:pt idx="21">
                  <c:v>1.4259138487550307</c:v>
                </c:pt>
                <c:pt idx="22">
                  <c:v>1.41554726873895</c:v>
                </c:pt>
                <c:pt idx="23">
                  <c:v>1.4092636413711865</c:v>
                </c:pt>
                <c:pt idx="24">
                  <c:v>1.5291829844699525</c:v>
                </c:pt>
                <c:pt idx="25">
                  <c:v>1.3252864432106521</c:v>
                </c:pt>
                <c:pt idx="26">
                  <c:v>1.490518283950331</c:v>
                </c:pt>
                <c:pt idx="27">
                  <c:v>1.1298281165323074</c:v>
                </c:pt>
                <c:pt idx="28">
                  <c:v>1.0239514468908137</c:v>
                </c:pt>
                <c:pt idx="29">
                  <c:v>0.9465130225432262</c:v>
                </c:pt>
                <c:pt idx="30">
                  <c:v>0.8594626467197708</c:v>
                </c:pt>
                <c:pt idx="31">
                  <c:v>0.9887509200114144</c:v>
                </c:pt>
                <c:pt idx="32">
                  <c:v>1.2127003994407668</c:v>
                </c:pt>
                <c:pt idx="33">
                  <c:v>1.016082476612612</c:v>
                </c:pt>
                <c:pt idx="34">
                  <c:v>0.8851170996381035</c:v>
                </c:pt>
                <c:pt idx="35">
                  <c:v>0.7759255214258628</c:v>
                </c:pt>
                <c:pt idx="36">
                  <c:v>1.2470500155047437</c:v>
                </c:pt>
                <c:pt idx="37">
                  <c:v>0.7817235274089207</c:v>
                </c:pt>
                <c:pt idx="38">
                  <c:v>1.2460202343262288</c:v>
                </c:pt>
                <c:pt idx="39">
                  <c:v>1.2690069449915642</c:v>
                </c:pt>
                <c:pt idx="40">
                  <c:v>1.2179532811726002</c:v>
                </c:pt>
                <c:pt idx="41">
                  <c:v>1.3573486819380374</c:v>
                </c:pt>
                <c:pt idx="42">
                  <c:v>1.00025150659852</c:v>
                </c:pt>
                <c:pt idx="43">
                  <c:v>1.1603154746195126</c:v>
                </c:pt>
                <c:pt idx="44">
                  <c:v>1.2883271798707268</c:v>
                </c:pt>
                <c:pt idx="45">
                  <c:v>1.4724641422803841</c:v>
                </c:pt>
                <c:pt idx="46">
                  <c:v>1.5303716055264414</c:v>
                </c:pt>
                <c:pt idx="47">
                  <c:v>1.1215400866801502</c:v>
                </c:pt>
                <c:pt idx="48">
                  <c:v>1.2034575595163903</c:v>
                </c:pt>
                <c:pt idx="49">
                  <c:v>1.1844747850367938</c:v>
                </c:pt>
                <c:pt idx="50">
                  <c:v>1.0350565163855283</c:v>
                </c:pt>
                <c:pt idx="51">
                  <c:v>0.9362744883915668</c:v>
                </c:pt>
                <c:pt idx="52">
                  <c:v>1.042670729315485</c:v>
                </c:pt>
                <c:pt idx="53">
                  <c:v>1.2369186739804434</c:v>
                </c:pt>
                <c:pt idx="54">
                  <c:v>1.1837746818717647</c:v>
                </c:pt>
                <c:pt idx="55">
                  <c:v>1.1556201950769909</c:v>
                </c:pt>
                <c:pt idx="56">
                  <c:v>1.0383341476414</c:v>
                </c:pt>
                <c:pt idx="57">
                  <c:v>0.760486418697449</c:v>
                </c:pt>
                <c:pt idx="58">
                  <c:v>0.778608392986143</c:v>
                </c:pt>
                <c:pt idx="59">
                  <c:v>1.0549419012764296</c:v>
                </c:pt>
                <c:pt idx="60">
                  <c:v>1.1655314402288033</c:v>
                </c:pt>
                <c:pt idx="61">
                  <c:v>0.8117758841957585</c:v>
                </c:pt>
                <c:pt idx="62">
                  <c:v>0.9606618173525814</c:v>
                </c:pt>
                <c:pt idx="63">
                  <c:v>0.746548999575129</c:v>
                </c:pt>
                <c:pt idx="64">
                  <c:v>1.1233593052908522</c:v>
                </c:pt>
                <c:pt idx="65">
                  <c:v>0.8779004545454546</c:v>
                </c:pt>
                <c:pt idx="66">
                  <c:v>0.9683156197685764</c:v>
                </c:pt>
                <c:pt idx="67">
                  <c:v>1.0760223909120448</c:v>
                </c:pt>
                <c:pt idx="68">
                  <c:v>1.1746458758399825</c:v>
                </c:pt>
                <c:pt idx="69">
                  <c:v>1.3049410302369202</c:v>
                </c:pt>
                <c:pt idx="70">
                  <c:v>0.94525661805969</c:v>
                </c:pt>
                <c:pt idx="71">
                  <c:v>1.2049575925925926</c:v>
                </c:pt>
                <c:pt idx="72">
                  <c:v>1.4240260866168972</c:v>
                </c:pt>
                <c:pt idx="73">
                  <c:v>1.5723014110571363</c:v>
                </c:pt>
                <c:pt idx="74">
                  <c:v>1.1179219213645208</c:v>
                </c:pt>
                <c:pt idx="75">
                  <c:v>1.1869699886120684</c:v>
                </c:pt>
                <c:pt idx="76">
                  <c:v>1.1423473474846604</c:v>
                </c:pt>
                <c:pt idx="77">
                  <c:v>1.2602567126965862</c:v>
                </c:pt>
                <c:pt idx="78">
                  <c:v>1.8053124119380044</c:v>
                </c:pt>
                <c:pt idx="79">
                  <c:v>0.6146660139606563</c:v>
                </c:pt>
                <c:pt idx="80">
                  <c:v>0.8747134373543372</c:v>
                </c:pt>
                <c:pt idx="81">
                  <c:v>1.3235947484960782</c:v>
                </c:pt>
                <c:pt idx="82">
                  <c:v>0.6514816600177306</c:v>
                </c:pt>
                <c:pt idx="83">
                  <c:v>1.2519521419373092</c:v>
                </c:pt>
                <c:pt idx="84">
                  <c:v>0.843955088421755</c:v>
                </c:pt>
                <c:pt idx="85">
                  <c:v>0.9448619658119658</c:v>
                </c:pt>
                <c:pt idx="86">
                  <c:v>1.062573058637084</c:v>
                </c:pt>
                <c:pt idx="87">
                  <c:v>1.0633079151469107</c:v>
                </c:pt>
                <c:pt idx="88">
                  <c:v>0.5940280709052673</c:v>
                </c:pt>
                <c:pt idx="89">
                  <c:v>0.8918463816896668</c:v>
                </c:pt>
                <c:pt idx="90">
                  <c:v>1.1348841552281463</c:v>
                </c:pt>
                <c:pt idx="91">
                  <c:v>1.145322766798419</c:v>
                </c:pt>
                <c:pt idx="92">
                  <c:v>1.260537606840587</c:v>
                </c:pt>
                <c:pt idx="93">
                  <c:v>1.4528317226196676</c:v>
                </c:pt>
                <c:pt idx="94">
                  <c:v>1.3756363854179203</c:v>
                </c:pt>
                <c:pt idx="95">
                  <c:v>1.2423356171387667</c:v>
                </c:pt>
                <c:pt idx="96">
                  <c:v>1.6303045055588063</c:v>
                </c:pt>
                <c:pt idx="97">
                  <c:v>1.2948018152671674</c:v>
                </c:pt>
                <c:pt idx="98">
                  <c:v>1.2462848737060557</c:v>
                </c:pt>
                <c:pt idx="99">
                  <c:v>1.0274695618866863</c:v>
                </c:pt>
                <c:pt idx="100">
                  <c:v>0.9296837580573621</c:v>
                </c:pt>
                <c:pt idx="101">
                  <c:v>0.9866570813711968</c:v>
                </c:pt>
                <c:pt idx="102">
                  <c:v>0.9719902085588</c:v>
                </c:pt>
                <c:pt idx="103">
                  <c:v>0.8986322448450135</c:v>
                </c:pt>
                <c:pt idx="104">
                  <c:v>1.0771278270493403</c:v>
                </c:pt>
              </c:numCache>
            </c:numRef>
          </c:xVal>
          <c:yVal>
            <c:numRef>
              <c:f>Sheet1!$B$2:$B$106</c:f>
              <c:numCache>
                <c:formatCode>General</c:formatCode>
                <c:ptCount val="105"/>
                <c:pt idx="0">
                  <c:v>0.28438228438228436</c:v>
                </c:pt>
                <c:pt idx="1">
                  <c:v>0.34104046242774566</c:v>
                </c:pt>
                <c:pt idx="2">
                  <c:v>0.294478527607362</c:v>
                </c:pt>
                <c:pt idx="3">
                  <c:v>0.3069908814589666</c:v>
                </c:pt>
                <c:pt idx="4">
                  <c:v>0.3142857142857143</c:v>
                </c:pt>
                <c:pt idx="5">
                  <c:v>0.30612244897959184</c:v>
                </c:pt>
                <c:pt idx="6">
                  <c:v>0.3394495412844037</c:v>
                </c:pt>
                <c:pt idx="7">
                  <c:v>0.3168724279835391</c:v>
                </c:pt>
                <c:pt idx="8">
                  <c:v>0.35454545454545455</c:v>
                </c:pt>
                <c:pt idx="9">
                  <c:v>0.3292307692307692</c:v>
                </c:pt>
                <c:pt idx="10">
                  <c:v>0.3224932249322493</c:v>
                </c:pt>
                <c:pt idx="11">
                  <c:v>0.32808398950131235</c:v>
                </c:pt>
                <c:pt idx="12">
                  <c:v>0.2847826086956522</c:v>
                </c:pt>
                <c:pt idx="13">
                  <c:v>0.35353535353535354</c:v>
                </c:pt>
                <c:pt idx="14">
                  <c:v>0.3403361344537815</c:v>
                </c:pt>
                <c:pt idx="15">
                  <c:v>0.2994350282485876</c:v>
                </c:pt>
                <c:pt idx="16">
                  <c:v>0.25163398692810457</c:v>
                </c:pt>
                <c:pt idx="17">
                  <c:v>0.24778761061946902</c:v>
                </c:pt>
                <c:pt idx="18">
                  <c:v>0.26666666666666666</c:v>
                </c:pt>
                <c:pt idx="19">
                  <c:v>0.28104575163398693</c:v>
                </c:pt>
                <c:pt idx="20">
                  <c:v>0.2987012987012987</c:v>
                </c:pt>
                <c:pt idx="21">
                  <c:v>0.34234234234234234</c:v>
                </c:pt>
                <c:pt idx="22">
                  <c:v>0.40425531914893614</c:v>
                </c:pt>
                <c:pt idx="23">
                  <c:v>0.34210526315789475</c:v>
                </c:pt>
                <c:pt idx="24">
                  <c:v>0.3184713375796178</c:v>
                </c:pt>
                <c:pt idx="25">
                  <c:v>0.3464566929133858</c:v>
                </c:pt>
                <c:pt idx="26">
                  <c:v>0.33714285714285713</c:v>
                </c:pt>
                <c:pt idx="27">
                  <c:v>0.33689839572192515</c:v>
                </c:pt>
                <c:pt idx="28">
                  <c:v>0.3064516129032258</c:v>
                </c:pt>
                <c:pt idx="29">
                  <c:v>0.3559870550161812</c:v>
                </c:pt>
                <c:pt idx="30">
                  <c:v>0.3423913043478261</c:v>
                </c:pt>
                <c:pt idx="31">
                  <c:v>0.33146067415730335</c:v>
                </c:pt>
                <c:pt idx="32">
                  <c:v>0.33157894736842103</c:v>
                </c:pt>
                <c:pt idx="33">
                  <c:v>0.36879432624113473</c:v>
                </c:pt>
                <c:pt idx="34">
                  <c:v>0.3320825515947467</c:v>
                </c:pt>
                <c:pt idx="35">
                  <c:v>0.31645569620253167</c:v>
                </c:pt>
                <c:pt idx="36">
                  <c:v>0.33055555555555555</c:v>
                </c:pt>
                <c:pt idx="37">
                  <c:v>0.32217573221757323</c:v>
                </c:pt>
                <c:pt idx="38">
                  <c:v>0.2764976958525346</c:v>
                </c:pt>
                <c:pt idx="39">
                  <c:v>0.21367521367521367</c:v>
                </c:pt>
                <c:pt idx="40">
                  <c:v>0.31746031746031744</c:v>
                </c:pt>
                <c:pt idx="41">
                  <c:v>0.32160804020100503</c:v>
                </c:pt>
                <c:pt idx="42">
                  <c:v>0.3162393162393162</c:v>
                </c:pt>
                <c:pt idx="43">
                  <c:v>0.3</c:v>
                </c:pt>
                <c:pt idx="44">
                  <c:v>0.28162291169451076</c:v>
                </c:pt>
                <c:pt idx="45">
                  <c:v>0.29398148148148145</c:v>
                </c:pt>
                <c:pt idx="46">
                  <c:v>0.29359430604982206</c:v>
                </c:pt>
                <c:pt idx="47">
                  <c:v>0.28863636363636364</c:v>
                </c:pt>
                <c:pt idx="48">
                  <c:v>0.27320954907161804</c:v>
                </c:pt>
                <c:pt idx="49">
                  <c:v>0.27527216174183516</c:v>
                </c:pt>
                <c:pt idx="50">
                  <c:v>0.26996197718631176</c:v>
                </c:pt>
                <c:pt idx="51">
                  <c:v>0.2764505119453925</c:v>
                </c:pt>
                <c:pt idx="52">
                  <c:v>0.2505399568034557</c:v>
                </c:pt>
                <c:pt idx="53">
                  <c:v>0.2484472049689441</c:v>
                </c:pt>
                <c:pt idx="54">
                  <c:v>0.2644628099173554</c:v>
                </c:pt>
                <c:pt idx="55">
                  <c:v>0.242152466367713</c:v>
                </c:pt>
                <c:pt idx="56">
                  <c:v>0.2511013215859031</c:v>
                </c:pt>
                <c:pt idx="57">
                  <c:v>0.24793388429752067</c:v>
                </c:pt>
                <c:pt idx="58">
                  <c:v>0.2911392405063291</c:v>
                </c:pt>
                <c:pt idx="59">
                  <c:v>0.21568627450980393</c:v>
                </c:pt>
                <c:pt idx="60">
                  <c:v>0.2717842323651452</c:v>
                </c:pt>
                <c:pt idx="61">
                  <c:v>0.28291316526610644</c:v>
                </c:pt>
                <c:pt idx="62">
                  <c:v>0.2813852813852814</c:v>
                </c:pt>
                <c:pt idx="63">
                  <c:v>0.2532588454376164</c:v>
                </c:pt>
                <c:pt idx="64">
                  <c:v>0.2660098522167488</c:v>
                </c:pt>
                <c:pt idx="65">
                  <c:v>0.26217228464419473</c:v>
                </c:pt>
                <c:pt idx="66">
                  <c:v>0.27628865979381445</c:v>
                </c:pt>
                <c:pt idx="67">
                  <c:v>0.26036866359447003</c:v>
                </c:pt>
                <c:pt idx="68">
                  <c:v>0.2361963190184049</c:v>
                </c:pt>
                <c:pt idx="69">
                  <c:v>0.22672064777327935</c:v>
                </c:pt>
                <c:pt idx="70">
                  <c:v>0.2761904761904762</c:v>
                </c:pt>
                <c:pt idx="71">
                  <c:v>0.2857142857142857</c:v>
                </c:pt>
                <c:pt idx="72">
                  <c:v>0.2647058823529412</c:v>
                </c:pt>
                <c:pt idx="73">
                  <c:v>0.2914285714285714</c:v>
                </c:pt>
                <c:pt idx="74">
                  <c:v>0.30319148936170215</c:v>
                </c:pt>
                <c:pt idx="75">
                  <c:v>0.3657142857142857</c:v>
                </c:pt>
                <c:pt idx="76">
                  <c:v>0.26153846153846155</c:v>
                </c:pt>
                <c:pt idx="77">
                  <c:v>0.32167832167832167</c:v>
                </c:pt>
                <c:pt idx="78">
                  <c:v>0.2647058823529412</c:v>
                </c:pt>
                <c:pt idx="79">
                  <c:v>0.3230769230769231</c:v>
                </c:pt>
                <c:pt idx="80">
                  <c:v>0.3023255813953488</c:v>
                </c:pt>
                <c:pt idx="81">
                  <c:v>0.26380368098159507</c:v>
                </c:pt>
                <c:pt idx="82">
                  <c:v>0.2809917355371901</c:v>
                </c:pt>
                <c:pt idx="83">
                  <c:v>0.29591836734693877</c:v>
                </c:pt>
                <c:pt idx="84">
                  <c:v>0.3</c:v>
                </c:pt>
                <c:pt idx="85">
                  <c:v>0.26126126126126126</c:v>
                </c:pt>
                <c:pt idx="86">
                  <c:v>0.3370165745856354</c:v>
                </c:pt>
                <c:pt idx="87">
                  <c:v>0.36681222707423583</c:v>
                </c:pt>
                <c:pt idx="88">
                  <c:v>0.35537190082644626</c:v>
                </c:pt>
                <c:pt idx="89">
                  <c:v>0.38144329896907214</c:v>
                </c:pt>
                <c:pt idx="90">
                  <c:v>0.3018867924528302</c:v>
                </c:pt>
                <c:pt idx="91">
                  <c:v>0.2912621359223301</c:v>
                </c:pt>
                <c:pt idx="92">
                  <c:v>0.30538922155688625</c:v>
                </c:pt>
                <c:pt idx="93">
                  <c:v>0.225</c:v>
                </c:pt>
                <c:pt idx="94">
                  <c:v>0.2230769230769231</c:v>
                </c:pt>
                <c:pt idx="95">
                  <c:v>0.2617801047120419</c:v>
                </c:pt>
                <c:pt idx="96">
                  <c:v>0.2420749279538905</c:v>
                </c:pt>
                <c:pt idx="97">
                  <c:v>0.24739583333333334</c:v>
                </c:pt>
                <c:pt idx="98">
                  <c:v>0.2401656314699793</c:v>
                </c:pt>
                <c:pt idx="99">
                  <c:v>0.25844594594594594</c:v>
                </c:pt>
                <c:pt idx="100">
                  <c:v>0.2620380739081747</c:v>
                </c:pt>
                <c:pt idx="101">
                  <c:v>0.2694063926940639</c:v>
                </c:pt>
                <c:pt idx="102">
                  <c:v>0.2421875</c:v>
                </c:pt>
                <c:pt idx="103">
                  <c:v>0.26158940397350994</c:v>
                </c:pt>
                <c:pt idx="104">
                  <c:v>0.23849372384937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520938263206797</c:v>
                </c:pt>
                <c:pt idx="1">
                  <c:v>0.8933428991905813</c:v>
                </c:pt>
                <c:pt idx="2">
                  <c:v>1.002240570779266</c:v>
                </c:pt>
                <c:pt idx="3">
                  <c:v>0.8986148336611688</c:v>
                </c:pt>
                <c:pt idx="4">
                  <c:v>1.2357395183604445</c:v>
                </c:pt>
                <c:pt idx="5">
                  <c:v>0.9122086178322838</c:v>
                </c:pt>
                <c:pt idx="6">
                  <c:v>0.858773131562693</c:v>
                </c:pt>
                <c:pt idx="7">
                  <c:v>0.9301142259414226</c:v>
                </c:pt>
                <c:pt idx="8">
                  <c:v>1.2415560546014972</c:v>
                </c:pt>
                <c:pt idx="9">
                  <c:v>0.9582570659254755</c:v>
                </c:pt>
                <c:pt idx="10">
                  <c:v>0.9135184233798858</c:v>
                </c:pt>
                <c:pt idx="11">
                  <c:v>1.1616804925462891</c:v>
                </c:pt>
                <c:pt idx="12">
                  <c:v>0.7427608459214501</c:v>
                </c:pt>
                <c:pt idx="13">
                  <c:v>0.7886683993626138</c:v>
                </c:pt>
                <c:pt idx="14">
                  <c:v>1.1029877274623734</c:v>
                </c:pt>
                <c:pt idx="15">
                  <c:v>1.0553418686639287</c:v>
                </c:pt>
                <c:pt idx="16">
                  <c:v>0.7228713332461075</c:v>
                </c:pt>
                <c:pt idx="17">
                  <c:v>0.6752519156082712</c:v>
                </c:pt>
                <c:pt idx="18">
                  <c:v>0.6511471160077771</c:v>
                </c:pt>
                <c:pt idx="19">
                  <c:v>0.8019790812407633</c:v>
                </c:pt>
                <c:pt idx="20">
                  <c:v>1.2763028467074873</c:v>
                </c:pt>
                <c:pt idx="21">
                  <c:v>0.5112144620811288</c:v>
                </c:pt>
                <c:pt idx="22">
                  <c:v>1.3207273727387099</c:v>
                </c:pt>
                <c:pt idx="23">
                  <c:v>1.1496728485936056</c:v>
                </c:pt>
                <c:pt idx="24">
                  <c:v>1.0513072988552408</c:v>
                </c:pt>
                <c:pt idx="25">
                  <c:v>0.8403613857373571</c:v>
                </c:pt>
                <c:pt idx="26">
                  <c:v>0.7331105434510393</c:v>
                </c:pt>
                <c:pt idx="27">
                  <c:v>1.0892625534514355</c:v>
                </c:pt>
                <c:pt idx="28">
                  <c:v>1.2037907956637348</c:v>
                </c:pt>
                <c:pt idx="29">
                  <c:v>0.9919841093975387</c:v>
                </c:pt>
                <c:pt idx="30">
                  <c:v>1.256073882113821</c:v>
                </c:pt>
                <c:pt idx="31">
                  <c:v>0.9117581399642982</c:v>
                </c:pt>
                <c:pt idx="32">
                  <c:v>1.1915438565365153</c:v>
                </c:pt>
                <c:pt idx="33">
                  <c:v>1.3991373266334954</c:v>
                </c:pt>
                <c:pt idx="34">
                  <c:v>1.1284307076298872</c:v>
                </c:pt>
                <c:pt idx="35">
                  <c:v>0.8177211800723629</c:v>
                </c:pt>
                <c:pt idx="36">
                  <c:v>1.6780782585326526</c:v>
                </c:pt>
                <c:pt idx="37">
                  <c:v>1.0649442855734148</c:v>
                </c:pt>
                <c:pt idx="38">
                  <c:v>0.8661410037373197</c:v>
                </c:pt>
                <c:pt idx="39">
                  <c:v>1.024479216215521</c:v>
                </c:pt>
                <c:pt idx="40">
                  <c:v>1.3030456567352078</c:v>
                </c:pt>
                <c:pt idx="41">
                  <c:v>1.3236854074542008</c:v>
                </c:pt>
                <c:pt idx="42">
                  <c:v>1.1049334050981525</c:v>
                </c:pt>
                <c:pt idx="43">
                  <c:v>1.3392547987445624</c:v>
                </c:pt>
                <c:pt idx="44">
                  <c:v>1.2021521721345005</c:v>
                </c:pt>
                <c:pt idx="45">
                  <c:v>1.0272714542662864</c:v>
                </c:pt>
                <c:pt idx="46">
                  <c:v>1.0135260640168835</c:v>
                </c:pt>
                <c:pt idx="47">
                  <c:v>0.9862424849699399</c:v>
                </c:pt>
                <c:pt idx="48">
                  <c:v>0.8870785827958791</c:v>
                </c:pt>
                <c:pt idx="49">
                  <c:v>1.3281724010944427</c:v>
                </c:pt>
                <c:pt idx="50">
                  <c:v>1.0123737789325082</c:v>
                </c:pt>
                <c:pt idx="51">
                  <c:v>0.9412749253731343</c:v>
                </c:pt>
              </c:numCache>
            </c:numRef>
          </c:xVal>
          <c:yVal>
            <c:numRef>
              <c:f>Sheet1!$B$109:$B$160</c:f>
              <c:numCache>
                <c:formatCode>General</c:formatCode>
                <c:ptCount val="52"/>
                <c:pt idx="0">
                  <c:v>0.2857142857142857</c:v>
                </c:pt>
                <c:pt idx="1">
                  <c:v>0.29464285714285715</c:v>
                </c:pt>
                <c:pt idx="2">
                  <c:v>0.2638888888888889</c:v>
                </c:pt>
                <c:pt idx="3">
                  <c:v>0.2867383512544803</c:v>
                </c:pt>
                <c:pt idx="4">
                  <c:v>0.30638297872340425</c:v>
                </c:pt>
                <c:pt idx="5">
                  <c:v>0.30864197530864196</c:v>
                </c:pt>
                <c:pt idx="6">
                  <c:v>0.2918149466192171</c:v>
                </c:pt>
                <c:pt idx="7">
                  <c:v>0.296</c:v>
                </c:pt>
                <c:pt idx="8">
                  <c:v>0.3065326633165829</c:v>
                </c:pt>
                <c:pt idx="9">
                  <c:v>0.27884615384615385</c:v>
                </c:pt>
                <c:pt idx="10">
                  <c:v>0.250996015936255</c:v>
                </c:pt>
                <c:pt idx="11">
                  <c:v>0.2457002457002457</c:v>
                </c:pt>
                <c:pt idx="12">
                  <c:v>0.2593516209476309</c:v>
                </c:pt>
                <c:pt idx="13">
                  <c:v>0.2740112994350282</c:v>
                </c:pt>
                <c:pt idx="14">
                  <c:v>0.2375886524822695</c:v>
                </c:pt>
                <c:pt idx="15">
                  <c:v>0.23983739837398374</c:v>
                </c:pt>
                <c:pt idx="16">
                  <c:v>0.25</c:v>
                </c:pt>
                <c:pt idx="17">
                  <c:v>0.2247191011235955</c:v>
                </c:pt>
                <c:pt idx="18">
                  <c:v>0.2777777777777778</c:v>
                </c:pt>
                <c:pt idx="19">
                  <c:v>0.27</c:v>
                </c:pt>
                <c:pt idx="20">
                  <c:v>0.23577235772357724</c:v>
                </c:pt>
                <c:pt idx="21">
                  <c:v>0.38372093023255816</c:v>
                </c:pt>
                <c:pt idx="22">
                  <c:v>0.19444444444444445</c:v>
                </c:pt>
                <c:pt idx="23">
                  <c:v>0.1592920353982301</c:v>
                </c:pt>
                <c:pt idx="24">
                  <c:v>0.19626168224299065</c:v>
                </c:pt>
                <c:pt idx="25">
                  <c:v>0.2196969696969697</c:v>
                </c:pt>
                <c:pt idx="26">
                  <c:v>0.24786324786324787</c:v>
                </c:pt>
                <c:pt idx="27">
                  <c:v>0.2550335570469799</c:v>
                </c:pt>
                <c:pt idx="28">
                  <c:v>0.1978021978021978</c:v>
                </c:pt>
                <c:pt idx="29">
                  <c:v>0.20279720279720279</c:v>
                </c:pt>
                <c:pt idx="30">
                  <c:v>0.27388535031847133</c:v>
                </c:pt>
                <c:pt idx="31">
                  <c:v>0.3466666666666667</c:v>
                </c:pt>
                <c:pt idx="32">
                  <c:v>0.2119205298013245</c:v>
                </c:pt>
                <c:pt idx="33">
                  <c:v>0.23170731707317074</c:v>
                </c:pt>
                <c:pt idx="34">
                  <c:v>0.23555555555555555</c:v>
                </c:pt>
                <c:pt idx="35">
                  <c:v>0.266025641025641</c:v>
                </c:pt>
                <c:pt idx="36">
                  <c:v>0.23846153846153847</c:v>
                </c:pt>
                <c:pt idx="37">
                  <c:v>0.25477707006369427</c:v>
                </c:pt>
                <c:pt idx="38">
                  <c:v>0.2392638036809816</c:v>
                </c:pt>
                <c:pt idx="39">
                  <c:v>0.27522935779816515</c:v>
                </c:pt>
                <c:pt idx="40">
                  <c:v>0.25333333333333335</c:v>
                </c:pt>
                <c:pt idx="41">
                  <c:v>0.2682926829268293</c:v>
                </c:pt>
                <c:pt idx="42">
                  <c:v>0.2972972972972973</c:v>
                </c:pt>
                <c:pt idx="43">
                  <c:v>0.24472573839662448</c:v>
                </c:pt>
                <c:pt idx="44">
                  <c:v>0.2379182156133829</c:v>
                </c:pt>
                <c:pt idx="45">
                  <c:v>0.22897196261682243</c:v>
                </c:pt>
                <c:pt idx="46">
                  <c:v>0.22996515679442509</c:v>
                </c:pt>
                <c:pt idx="47">
                  <c:v>0.27575757575757576</c:v>
                </c:pt>
                <c:pt idx="48">
                  <c:v>0.24585635359116023</c:v>
                </c:pt>
                <c:pt idx="49">
                  <c:v>0.2517814726840855</c:v>
                </c:pt>
                <c:pt idx="50">
                  <c:v>0.25034387895460797</c:v>
                </c:pt>
                <c:pt idx="51">
                  <c:v>0.277922077922077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168920798295514</c:v>
                </c:pt>
              </c:numCache>
            </c:numRef>
          </c:xVal>
          <c:yVal>
            <c:numRef>
              <c:f>Sheet1!$B$163:$B$164</c:f>
              <c:numCache>
                <c:formatCode>General</c:formatCode>
                <c:ptCount val="2"/>
                <c:pt idx="0">
                  <c:v>0.34262125671488125</c:v>
                </c:pt>
                <c:pt idx="1">
                  <c:v>0.34262125671488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168920798295514</c:v>
                </c:pt>
                <c:pt idx="1">
                  <c:v>-0.4168920798295514</c:v>
                </c:pt>
              </c:numCache>
            </c:numRef>
          </c:xVal>
          <c:yVal>
            <c:numRef>
              <c:f>Sheet1!$B$167:$B$168</c:f>
              <c:numCache>
                <c:formatCode>General</c:formatCode>
                <c:ptCount val="2"/>
                <c:pt idx="0">
                  <c:v>0.34262125671488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1914545044666424</c:v>
                </c:pt>
              </c:numCache>
            </c:numRef>
          </c:xVal>
          <c:yVal>
            <c:numRef>
              <c:f>Sheet1!$B$171:$B$172</c:f>
              <c:numCache>
                <c:formatCode>General</c:formatCode>
                <c:ptCount val="2"/>
                <c:pt idx="0">
                  <c:v>0.2933729941075953</c:v>
                </c:pt>
                <c:pt idx="1">
                  <c:v>0.29337299410759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1914545044666424</c:v>
                </c:pt>
                <c:pt idx="1">
                  <c:v>0.41914545044666424</c:v>
                </c:pt>
              </c:numCache>
            </c:numRef>
          </c:xVal>
          <c:yVal>
            <c:numRef>
              <c:f>Sheet1!$B$175:$B$176</c:f>
              <c:numCache>
                <c:formatCode>General</c:formatCode>
                <c:ptCount val="2"/>
                <c:pt idx="0">
                  <c:v>0.29337299410759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413201122590814</c:v>
                </c:pt>
              </c:numCache>
            </c:numRef>
          </c:xVal>
          <c:yVal>
            <c:numRef>
              <c:f>Sheet1!$B$179:$B$180</c:f>
              <c:numCache>
                <c:formatCode>General</c:formatCode>
                <c:ptCount val="2"/>
                <c:pt idx="0">
                  <c:v>0.25672270028356825</c:v>
                </c:pt>
                <c:pt idx="1">
                  <c:v>0.256722700283568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413201122590814</c:v>
                </c:pt>
                <c:pt idx="1">
                  <c:v>1.0413201122590814</c:v>
                </c:pt>
              </c:numCache>
            </c:numRef>
          </c:xVal>
          <c:yVal>
            <c:numRef>
              <c:f>Sheet1!$B$183:$B$184</c:f>
              <c:numCache>
                <c:formatCode>General</c:formatCode>
                <c:ptCount val="2"/>
                <c:pt idx="0">
                  <c:v>0.256722700283568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520938263206797</c:v>
                </c:pt>
                <c:pt idx="1">
                  <c:v>0.8933428991905813</c:v>
                </c:pt>
                <c:pt idx="2">
                  <c:v>1.002240570779266</c:v>
                </c:pt>
                <c:pt idx="3">
                  <c:v>0.8986148336611688</c:v>
                </c:pt>
                <c:pt idx="4">
                  <c:v>1.2357395183604445</c:v>
                </c:pt>
                <c:pt idx="5">
                  <c:v>0.9122086178322838</c:v>
                </c:pt>
                <c:pt idx="6">
                  <c:v>0.858773131562693</c:v>
                </c:pt>
                <c:pt idx="7">
                  <c:v>0.9301142259414226</c:v>
                </c:pt>
                <c:pt idx="8">
                  <c:v>1.2415560546014972</c:v>
                </c:pt>
                <c:pt idx="9">
                  <c:v>0.9582570659254755</c:v>
                </c:pt>
                <c:pt idx="10">
                  <c:v>0.9135184233798858</c:v>
                </c:pt>
                <c:pt idx="11">
                  <c:v>1.1616804925462891</c:v>
                </c:pt>
                <c:pt idx="12">
                  <c:v>0.7427608459214501</c:v>
                </c:pt>
                <c:pt idx="13">
                  <c:v>0.7886683993626138</c:v>
                </c:pt>
                <c:pt idx="14">
                  <c:v>1.1029877274623734</c:v>
                </c:pt>
                <c:pt idx="15">
                  <c:v>1.0553418686639287</c:v>
                </c:pt>
                <c:pt idx="16">
                  <c:v>0.7228713332461075</c:v>
                </c:pt>
                <c:pt idx="17">
                  <c:v>0.6752519156082712</c:v>
                </c:pt>
                <c:pt idx="18">
                  <c:v>0.6511471160077771</c:v>
                </c:pt>
                <c:pt idx="19">
                  <c:v>0.8019790812407633</c:v>
                </c:pt>
                <c:pt idx="20">
                  <c:v>1.2763028467074873</c:v>
                </c:pt>
                <c:pt idx="21">
                  <c:v>0.5112144620811288</c:v>
                </c:pt>
                <c:pt idx="22">
                  <c:v>1.3207273727387099</c:v>
                </c:pt>
                <c:pt idx="23">
                  <c:v>1.1496728485936056</c:v>
                </c:pt>
                <c:pt idx="24">
                  <c:v>1.0513072988552408</c:v>
                </c:pt>
                <c:pt idx="25">
                  <c:v>0.8403613857373571</c:v>
                </c:pt>
                <c:pt idx="26">
                  <c:v>0.7331105434510393</c:v>
                </c:pt>
                <c:pt idx="27">
                  <c:v>1.0892625534514355</c:v>
                </c:pt>
                <c:pt idx="28">
                  <c:v>1.2037907956637348</c:v>
                </c:pt>
                <c:pt idx="29">
                  <c:v>0.9919841093975387</c:v>
                </c:pt>
                <c:pt idx="30">
                  <c:v>1.256073882113821</c:v>
                </c:pt>
                <c:pt idx="31">
                  <c:v>0.9117581399642982</c:v>
                </c:pt>
                <c:pt idx="32">
                  <c:v>1.1915438565365153</c:v>
                </c:pt>
                <c:pt idx="33">
                  <c:v>1.3991373266334954</c:v>
                </c:pt>
                <c:pt idx="34">
                  <c:v>1.1284307076298872</c:v>
                </c:pt>
                <c:pt idx="35">
                  <c:v>0.8177211800723629</c:v>
                </c:pt>
                <c:pt idx="36">
                  <c:v>1.6780782585326526</c:v>
                </c:pt>
                <c:pt idx="37">
                  <c:v>1.0649442855734148</c:v>
                </c:pt>
                <c:pt idx="38">
                  <c:v>0.8661410037373197</c:v>
                </c:pt>
                <c:pt idx="39">
                  <c:v>1.024479216215521</c:v>
                </c:pt>
                <c:pt idx="40">
                  <c:v>1.3030456567352078</c:v>
                </c:pt>
                <c:pt idx="41">
                  <c:v>1.3236854074542008</c:v>
                </c:pt>
                <c:pt idx="42">
                  <c:v>1.1049334050981525</c:v>
                </c:pt>
                <c:pt idx="43">
                  <c:v>1.3392547987445624</c:v>
                </c:pt>
                <c:pt idx="44">
                  <c:v>1.2021521721345005</c:v>
                </c:pt>
                <c:pt idx="45">
                  <c:v>1.0272714542662864</c:v>
                </c:pt>
                <c:pt idx="46">
                  <c:v>1.0135260640168835</c:v>
                </c:pt>
                <c:pt idx="47">
                  <c:v>0.9862424849699399</c:v>
                </c:pt>
                <c:pt idx="48">
                  <c:v>0.8870785827958791</c:v>
                </c:pt>
                <c:pt idx="49">
                  <c:v>1.3281724010944427</c:v>
                </c:pt>
                <c:pt idx="50">
                  <c:v>1.0123737789325082</c:v>
                </c:pt>
                <c:pt idx="51">
                  <c:v>0.9412749253731343</c:v>
                </c:pt>
                <c:pt idx="52">
                  <c:v>0.41914545044666424</c:v>
                </c:pt>
                <c:pt idx="53">
                  <c:v>-0.4168920798295514</c:v>
                </c:pt>
                <c:pt idx="54">
                  <c:v>1.0413201122590814</c:v>
                </c:pt>
              </c:numCache>
            </c:numRef>
          </c:xVal>
          <c:yVal>
            <c:numRef>
              <c:f>Sheet1!$B$187:$B$241</c:f>
              <c:numCache>
                <c:formatCode>General</c:formatCode>
                <c:ptCount val="55"/>
                <c:pt idx="0">
                  <c:v>0.25019737963404237</c:v>
                </c:pt>
                <c:pt idx="1">
                  <c:v>0.2654395585407377</c:v>
                </c:pt>
                <c:pt idx="2">
                  <c:v>0.2590247494759465</c:v>
                </c:pt>
                <c:pt idx="3">
                  <c:v>0.26512900595924044</c:v>
                </c:pt>
                <c:pt idx="4">
                  <c:v>0.24527008288196772</c:v>
                </c:pt>
                <c:pt idx="5">
                  <c:v>0.26432824017009615</c:v>
                </c:pt>
                <c:pt idx="6">
                  <c:v>0.2674759515646832</c:v>
                </c:pt>
                <c:pt idx="7">
                  <c:v>0.26327347880069846</c:v>
                </c:pt>
                <c:pt idx="8">
                  <c:v>0.24492744957438223</c:v>
                </c:pt>
                <c:pt idx="9">
                  <c:v>0.2616156752645444</c:v>
                </c:pt>
                <c:pt idx="10">
                  <c:v>0.2642510837683357</c:v>
                </c:pt>
                <c:pt idx="11">
                  <c:v>0.249632660182212</c:v>
                </c:pt>
                <c:pt idx="12">
                  <c:v>0.27430985949587827</c:v>
                </c:pt>
                <c:pt idx="13">
                  <c:v>0.27160559423785635</c:v>
                </c:pt>
                <c:pt idx="14">
                  <c:v>0.2530900608410621</c:v>
                </c:pt>
                <c:pt idx="15">
                  <c:v>0.25589672403652924</c:v>
                </c:pt>
                <c:pt idx="16">
                  <c:v>0.2754814862565126</c:v>
                </c:pt>
                <c:pt idx="17">
                  <c:v>0.27828659188886307</c:v>
                </c:pt>
                <c:pt idx="18">
                  <c:v>0.2797065275470493</c:v>
                </c:pt>
                <c:pt idx="19">
                  <c:v>0.27082150508769515</c:v>
                </c:pt>
                <c:pt idx="20">
                  <c:v>0.2428806286118936</c:v>
                </c:pt>
                <c:pt idx="21">
                  <c:v>0.2879495068851146</c:v>
                </c:pt>
                <c:pt idx="22">
                  <c:v>0.24026372369439902</c:v>
                </c:pt>
                <c:pt idx="23">
                  <c:v>0.2503399915893094</c:v>
                </c:pt>
                <c:pt idx="24">
                  <c:v>0.2561343874741743</c:v>
                </c:pt>
                <c:pt idx="25">
                  <c:v>0.26856052786733453</c:v>
                </c:pt>
                <c:pt idx="26">
                  <c:v>0.27487832755274355</c:v>
                </c:pt>
                <c:pt idx="27">
                  <c:v>0.2538985663800396</c:v>
                </c:pt>
                <c:pt idx="28">
                  <c:v>0.24715207863975996</c:v>
                </c:pt>
                <c:pt idx="29">
                  <c:v>0.25962892439065627</c:v>
                </c:pt>
                <c:pt idx="30">
                  <c:v>0.244072251385399</c:v>
                </c:pt>
                <c:pt idx="31">
                  <c:v>0.26435477636199894</c:v>
                </c:pt>
                <c:pt idx="32">
                  <c:v>0.2478735061504047</c:v>
                </c:pt>
                <c:pt idx="33">
                  <c:v>0.23564484731553625</c:v>
                </c:pt>
                <c:pt idx="34">
                  <c:v>0.251591297300641</c:v>
                </c:pt>
                <c:pt idx="35">
                  <c:v>0.2698941890412584</c:v>
                </c:pt>
                <c:pt idx="36">
                  <c:v>0.21921334063239475</c:v>
                </c:pt>
                <c:pt idx="37">
                  <c:v>0.2553310767629352</c:v>
                </c:pt>
                <c:pt idx="38">
                  <c:v>0.26704193408272514</c:v>
                </c:pt>
                <c:pt idx="39">
                  <c:v>0.2577147429142636</c:v>
                </c:pt>
                <c:pt idx="40">
                  <c:v>0.2413052963051408</c:v>
                </c:pt>
                <c:pt idx="41">
                  <c:v>0.24008947545171327</c:v>
                </c:pt>
                <c:pt idx="42">
                  <c:v>0.25297544727446264</c:v>
                </c:pt>
                <c:pt idx="43">
                  <c:v>0.23917233304705354</c:v>
                </c:pt>
                <c:pt idx="44">
                  <c:v>0.2472486046436291</c:v>
                </c:pt>
                <c:pt idx="45">
                  <c:v>0.25755026121600694</c:v>
                </c:pt>
                <c:pt idx="46">
                  <c:v>0.2583599576281029</c:v>
                </c:pt>
                <c:pt idx="47">
                  <c:v>0.2599671448859842</c:v>
                </c:pt>
                <c:pt idx="48">
                  <c:v>0.26580856912661355</c:v>
                </c:pt>
                <c:pt idx="49">
                  <c:v>0.23982516119175554</c:v>
                </c:pt>
                <c:pt idx="50">
                  <c:v>0.2584278350096542</c:v>
                </c:pt>
                <c:pt idx="51">
                  <c:v>0.26261603815169754</c:v>
                </c:pt>
                <c:pt idx="52">
                  <c:v>0.2933729941075953</c:v>
                </c:pt>
                <c:pt idx="53">
                  <c:v>0.34262125671488125</c:v>
                </c:pt>
                <c:pt idx="54">
                  <c:v>0.256722700283568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51063829787233"/>
          <c:min val="0.127433628318584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7.3443</c:v>
                </c:pt>
                <c:pt idx="1">
                  <c:v>998.3559</c:v>
                </c:pt>
                <c:pt idx="2">
                  <c:v>1063.8333</c:v>
                </c:pt>
                <c:pt idx="3">
                  <c:v>1074.7624</c:v>
                </c:pt>
                <c:pt idx="4">
                  <c:v>1102.3939</c:v>
                </c:pt>
                <c:pt idx="5">
                  <c:v>1041.7</c:v>
                </c:pt>
                <c:pt idx="6">
                  <c:v>995.8649</c:v>
                </c:pt>
                <c:pt idx="7">
                  <c:v>1047.6623</c:v>
                </c:pt>
                <c:pt idx="8">
                  <c:v>1017.5256</c:v>
                </c:pt>
                <c:pt idx="9">
                  <c:v>1015.4393</c:v>
                </c:pt>
                <c:pt idx="10">
                  <c:v>972.0168</c:v>
                </c:pt>
                <c:pt idx="11">
                  <c:v>1039.912</c:v>
                </c:pt>
                <c:pt idx="12">
                  <c:v>1027.0</c:v>
                </c:pt>
                <c:pt idx="13">
                  <c:v>1019.7486</c:v>
                </c:pt>
                <c:pt idx="14">
                  <c:v>1026.5617</c:v>
                </c:pt>
                <c:pt idx="15">
                  <c:v>1069.6038</c:v>
                </c:pt>
                <c:pt idx="16">
                  <c:v>1156.7273</c:v>
                </c:pt>
                <c:pt idx="17">
                  <c:v>1187.5893</c:v>
                </c:pt>
                <c:pt idx="18">
                  <c:v>1201.0682</c:v>
                </c:pt>
                <c:pt idx="19">
                  <c:v>1033.6512</c:v>
                </c:pt>
                <c:pt idx="20">
                  <c:v>1232.2754</c:v>
                </c:pt>
                <c:pt idx="21">
                  <c:v>1242.7632</c:v>
                </c:pt>
                <c:pt idx="22">
                  <c:v>999.1404</c:v>
                </c:pt>
                <c:pt idx="23">
                  <c:v>1067.6346</c:v>
                </c:pt>
                <c:pt idx="24">
                  <c:v>1132.36</c:v>
                </c:pt>
                <c:pt idx="25">
                  <c:v>1086.5455</c:v>
                </c:pt>
                <c:pt idx="26">
                  <c:v>1112.0508</c:v>
                </c:pt>
                <c:pt idx="27">
                  <c:v>1159.3651</c:v>
                </c:pt>
                <c:pt idx="28">
                  <c:v>1109.2807</c:v>
                </c:pt>
                <c:pt idx="29">
                  <c:v>1081.1545</c:v>
                </c:pt>
                <c:pt idx="30">
                  <c:v>1099.1746</c:v>
                </c:pt>
                <c:pt idx="31">
                  <c:v>1007.9492</c:v>
                </c:pt>
                <c:pt idx="32">
                  <c:v>1055.8889</c:v>
                </c:pt>
                <c:pt idx="33">
                  <c:v>913.2404</c:v>
                </c:pt>
                <c:pt idx="34">
                  <c:v>990.5141</c:v>
                </c:pt>
                <c:pt idx="35">
                  <c:v>1023.0578</c:v>
                </c:pt>
                <c:pt idx="36">
                  <c:v>1091.8403</c:v>
                </c:pt>
                <c:pt idx="37">
                  <c:v>1147.961</c:v>
                </c:pt>
                <c:pt idx="38">
                  <c:v>1268.0333</c:v>
                </c:pt>
                <c:pt idx="39">
                  <c:v>1259.58</c:v>
                </c:pt>
                <c:pt idx="40">
                  <c:v>1240.43</c:v>
                </c:pt>
                <c:pt idx="41">
                  <c:v>1271.2188</c:v>
                </c:pt>
                <c:pt idx="42">
                  <c:v>1311.2297</c:v>
                </c:pt>
                <c:pt idx="43">
                  <c:v>1318.9306</c:v>
                </c:pt>
                <c:pt idx="44">
                  <c:v>1269.178</c:v>
                </c:pt>
                <c:pt idx="45">
                  <c:v>1252.4646</c:v>
                </c:pt>
                <c:pt idx="46">
                  <c:v>1210.3758</c:v>
                </c:pt>
                <c:pt idx="47">
                  <c:v>1213.0157</c:v>
                </c:pt>
                <c:pt idx="48">
                  <c:v>1206.9175</c:v>
                </c:pt>
                <c:pt idx="49">
                  <c:v>1155.6667</c:v>
                </c:pt>
                <c:pt idx="50">
                  <c:v>1177.5986</c:v>
                </c:pt>
                <c:pt idx="51">
                  <c:v>1221.7531</c:v>
                </c:pt>
                <c:pt idx="52">
                  <c:v>1226.9828</c:v>
                </c:pt>
                <c:pt idx="53">
                  <c:v>1296.6</c:v>
                </c:pt>
                <c:pt idx="54">
                  <c:v>1350.1406</c:v>
                </c:pt>
                <c:pt idx="55">
                  <c:v>1372.6667</c:v>
                </c:pt>
                <c:pt idx="56">
                  <c:v>1366.0702</c:v>
                </c:pt>
                <c:pt idx="57">
                  <c:v>1334.0833</c:v>
                </c:pt>
                <c:pt idx="58">
                  <c:v>1185.587</c:v>
                </c:pt>
                <c:pt idx="59">
                  <c:v>1309.7455</c:v>
                </c:pt>
                <c:pt idx="60">
                  <c:v>1339.6489</c:v>
                </c:pt>
                <c:pt idx="61">
                  <c:v>1238.1386</c:v>
                </c:pt>
                <c:pt idx="62">
                  <c:v>1211.5692</c:v>
                </c:pt>
                <c:pt idx="63">
                  <c:v>1222.7794</c:v>
                </c:pt>
                <c:pt idx="64">
                  <c:v>1209.3765</c:v>
                </c:pt>
                <c:pt idx="65">
                  <c:v>1158.8286</c:v>
                </c:pt>
                <c:pt idx="66">
                  <c:v>1211.6269</c:v>
                </c:pt>
                <c:pt idx="67">
                  <c:v>1194.5044</c:v>
                </c:pt>
                <c:pt idx="68">
                  <c:v>1177.974</c:v>
                </c:pt>
                <c:pt idx="69">
                  <c:v>1222.0179</c:v>
                </c:pt>
                <c:pt idx="70">
                  <c:v>1194.5862</c:v>
                </c:pt>
                <c:pt idx="71">
                  <c:v>1301.3542</c:v>
                </c:pt>
                <c:pt idx="72">
                  <c:v>1534.9815</c:v>
                </c:pt>
                <c:pt idx="73">
                  <c:v>1359.4118</c:v>
                </c:pt>
                <c:pt idx="74">
                  <c:v>1339.4737</c:v>
                </c:pt>
                <c:pt idx="75">
                  <c:v>1181.7656</c:v>
                </c:pt>
                <c:pt idx="76">
                  <c:v>1257.4706</c:v>
                </c:pt>
                <c:pt idx="77">
                  <c:v>1314.1957</c:v>
                </c:pt>
                <c:pt idx="78">
                  <c:v>1409.4074</c:v>
                </c:pt>
                <c:pt idx="79">
                  <c:v>847.5476</c:v>
                </c:pt>
                <c:pt idx="80">
                  <c:v>1193.6923</c:v>
                </c:pt>
                <c:pt idx="81">
                  <c:v>1324.6977</c:v>
                </c:pt>
                <c:pt idx="82">
                  <c:v>1175.7941</c:v>
                </c:pt>
                <c:pt idx="83">
                  <c:v>1237.2069</c:v>
                </c:pt>
                <c:pt idx="84">
                  <c:v>1264.6667</c:v>
                </c:pt>
                <c:pt idx="85">
                  <c:v>1326.5862</c:v>
                </c:pt>
                <c:pt idx="86">
                  <c:v>1340.9672</c:v>
                </c:pt>
                <c:pt idx="87">
                  <c:v>1334.3333</c:v>
                </c:pt>
                <c:pt idx="88">
                  <c:v>1361.1163</c:v>
                </c:pt>
                <c:pt idx="89">
                  <c:v>1324.8378</c:v>
                </c:pt>
                <c:pt idx="90">
                  <c:v>1424.4688</c:v>
                </c:pt>
                <c:pt idx="91">
                  <c:v>1448.8333</c:v>
                </c:pt>
                <c:pt idx="92">
                  <c:v>1373.7059</c:v>
                </c:pt>
                <c:pt idx="93">
                  <c:v>1540.4167</c:v>
                </c:pt>
                <c:pt idx="94">
                  <c:v>1547.8966</c:v>
                </c:pt>
                <c:pt idx="95">
                  <c:v>1518.6</c:v>
                </c:pt>
                <c:pt idx="96">
                  <c:v>1393.0952</c:v>
                </c:pt>
                <c:pt idx="97">
                  <c:v>1318.6632</c:v>
                </c:pt>
                <c:pt idx="98">
                  <c:v>1322.8621</c:v>
                </c:pt>
                <c:pt idx="99">
                  <c:v>1270.6863</c:v>
                </c:pt>
                <c:pt idx="100">
                  <c:v>1296.4017</c:v>
                </c:pt>
                <c:pt idx="101">
                  <c:v>1306.1695</c:v>
                </c:pt>
                <c:pt idx="102">
                  <c:v>1340.0968</c:v>
                </c:pt>
                <c:pt idx="103">
                  <c:v>1277.4557</c:v>
                </c:pt>
                <c:pt idx="104">
                  <c:v>1426.5789</c:v>
                </c:pt>
              </c:numCache>
            </c:numRef>
          </c:xVal>
          <c:yVal>
            <c:numRef>
              <c:f>Sheet1!$B$2:$B$106</c:f>
              <c:numCache>
                <c:formatCode>General</c:formatCode>
                <c:ptCount val="105"/>
                <c:pt idx="0">
                  <c:v>0.28438228438228436</c:v>
                </c:pt>
                <c:pt idx="1">
                  <c:v>0.34104046242774566</c:v>
                </c:pt>
                <c:pt idx="2">
                  <c:v>0.294478527607362</c:v>
                </c:pt>
                <c:pt idx="3">
                  <c:v>0.3069908814589666</c:v>
                </c:pt>
                <c:pt idx="4">
                  <c:v>0.3142857142857143</c:v>
                </c:pt>
                <c:pt idx="5">
                  <c:v>0.30612244897959184</c:v>
                </c:pt>
                <c:pt idx="6">
                  <c:v>0.3394495412844037</c:v>
                </c:pt>
                <c:pt idx="7">
                  <c:v>0.3168724279835391</c:v>
                </c:pt>
                <c:pt idx="8">
                  <c:v>0.35454545454545455</c:v>
                </c:pt>
                <c:pt idx="9">
                  <c:v>0.3292307692307692</c:v>
                </c:pt>
                <c:pt idx="10">
                  <c:v>0.3224932249322493</c:v>
                </c:pt>
                <c:pt idx="11">
                  <c:v>0.32808398950131235</c:v>
                </c:pt>
                <c:pt idx="12">
                  <c:v>0.2847826086956522</c:v>
                </c:pt>
                <c:pt idx="13">
                  <c:v>0.35353535353535354</c:v>
                </c:pt>
                <c:pt idx="14">
                  <c:v>0.3403361344537815</c:v>
                </c:pt>
                <c:pt idx="15">
                  <c:v>0.2994350282485876</c:v>
                </c:pt>
                <c:pt idx="16">
                  <c:v>0.25163398692810457</c:v>
                </c:pt>
                <c:pt idx="17">
                  <c:v>0.24778761061946902</c:v>
                </c:pt>
                <c:pt idx="18">
                  <c:v>0.26666666666666666</c:v>
                </c:pt>
                <c:pt idx="19">
                  <c:v>0.28104575163398693</c:v>
                </c:pt>
                <c:pt idx="20">
                  <c:v>0.2987012987012987</c:v>
                </c:pt>
                <c:pt idx="21">
                  <c:v>0.34234234234234234</c:v>
                </c:pt>
                <c:pt idx="22">
                  <c:v>0.40425531914893614</c:v>
                </c:pt>
                <c:pt idx="23">
                  <c:v>0.34210526315789475</c:v>
                </c:pt>
                <c:pt idx="24">
                  <c:v>0.3184713375796178</c:v>
                </c:pt>
                <c:pt idx="25">
                  <c:v>0.3464566929133858</c:v>
                </c:pt>
                <c:pt idx="26">
                  <c:v>0.33714285714285713</c:v>
                </c:pt>
                <c:pt idx="27">
                  <c:v>0.33689839572192515</c:v>
                </c:pt>
                <c:pt idx="28">
                  <c:v>0.3064516129032258</c:v>
                </c:pt>
                <c:pt idx="29">
                  <c:v>0.3559870550161812</c:v>
                </c:pt>
                <c:pt idx="30">
                  <c:v>0.3423913043478261</c:v>
                </c:pt>
                <c:pt idx="31">
                  <c:v>0.33146067415730335</c:v>
                </c:pt>
                <c:pt idx="32">
                  <c:v>0.33157894736842103</c:v>
                </c:pt>
                <c:pt idx="33">
                  <c:v>0.36879432624113473</c:v>
                </c:pt>
                <c:pt idx="34">
                  <c:v>0.3320825515947467</c:v>
                </c:pt>
                <c:pt idx="35">
                  <c:v>0.31645569620253167</c:v>
                </c:pt>
                <c:pt idx="36">
                  <c:v>0.33055555555555555</c:v>
                </c:pt>
                <c:pt idx="37">
                  <c:v>0.32217573221757323</c:v>
                </c:pt>
                <c:pt idx="38">
                  <c:v>0.2764976958525346</c:v>
                </c:pt>
                <c:pt idx="39">
                  <c:v>0.21367521367521367</c:v>
                </c:pt>
                <c:pt idx="40">
                  <c:v>0.31746031746031744</c:v>
                </c:pt>
                <c:pt idx="41">
                  <c:v>0.32160804020100503</c:v>
                </c:pt>
                <c:pt idx="42">
                  <c:v>0.3162393162393162</c:v>
                </c:pt>
                <c:pt idx="43">
                  <c:v>0.3</c:v>
                </c:pt>
                <c:pt idx="44">
                  <c:v>0.28162291169451076</c:v>
                </c:pt>
                <c:pt idx="45">
                  <c:v>0.29398148148148145</c:v>
                </c:pt>
                <c:pt idx="46">
                  <c:v>0.29359430604982206</c:v>
                </c:pt>
                <c:pt idx="47">
                  <c:v>0.28863636363636364</c:v>
                </c:pt>
                <c:pt idx="48">
                  <c:v>0.27320954907161804</c:v>
                </c:pt>
                <c:pt idx="49">
                  <c:v>0.27527216174183516</c:v>
                </c:pt>
                <c:pt idx="50">
                  <c:v>0.26996197718631176</c:v>
                </c:pt>
                <c:pt idx="51">
                  <c:v>0.2764505119453925</c:v>
                </c:pt>
                <c:pt idx="52">
                  <c:v>0.2505399568034557</c:v>
                </c:pt>
                <c:pt idx="53">
                  <c:v>0.2484472049689441</c:v>
                </c:pt>
                <c:pt idx="54">
                  <c:v>0.2644628099173554</c:v>
                </c:pt>
                <c:pt idx="55">
                  <c:v>0.242152466367713</c:v>
                </c:pt>
                <c:pt idx="56">
                  <c:v>0.2511013215859031</c:v>
                </c:pt>
                <c:pt idx="57">
                  <c:v>0.24793388429752067</c:v>
                </c:pt>
                <c:pt idx="58">
                  <c:v>0.2911392405063291</c:v>
                </c:pt>
                <c:pt idx="59">
                  <c:v>0.21568627450980393</c:v>
                </c:pt>
                <c:pt idx="60">
                  <c:v>0.2717842323651452</c:v>
                </c:pt>
                <c:pt idx="61">
                  <c:v>0.28291316526610644</c:v>
                </c:pt>
                <c:pt idx="62">
                  <c:v>0.2813852813852814</c:v>
                </c:pt>
                <c:pt idx="63">
                  <c:v>0.2532588454376164</c:v>
                </c:pt>
                <c:pt idx="64">
                  <c:v>0.2660098522167488</c:v>
                </c:pt>
                <c:pt idx="65">
                  <c:v>0.26217228464419473</c:v>
                </c:pt>
                <c:pt idx="66">
                  <c:v>0.27628865979381445</c:v>
                </c:pt>
                <c:pt idx="67">
                  <c:v>0.26036866359447003</c:v>
                </c:pt>
                <c:pt idx="68">
                  <c:v>0.2361963190184049</c:v>
                </c:pt>
                <c:pt idx="69">
                  <c:v>0.22672064777327935</c:v>
                </c:pt>
                <c:pt idx="70">
                  <c:v>0.2761904761904762</c:v>
                </c:pt>
                <c:pt idx="71">
                  <c:v>0.2857142857142857</c:v>
                </c:pt>
                <c:pt idx="72">
                  <c:v>0.2647058823529412</c:v>
                </c:pt>
                <c:pt idx="73">
                  <c:v>0.2914285714285714</c:v>
                </c:pt>
                <c:pt idx="74">
                  <c:v>0.30319148936170215</c:v>
                </c:pt>
                <c:pt idx="75">
                  <c:v>0.3657142857142857</c:v>
                </c:pt>
                <c:pt idx="76">
                  <c:v>0.26153846153846155</c:v>
                </c:pt>
                <c:pt idx="77">
                  <c:v>0.32167832167832167</c:v>
                </c:pt>
                <c:pt idx="78">
                  <c:v>0.2647058823529412</c:v>
                </c:pt>
                <c:pt idx="79">
                  <c:v>0.3230769230769231</c:v>
                </c:pt>
                <c:pt idx="80">
                  <c:v>0.3023255813953488</c:v>
                </c:pt>
                <c:pt idx="81">
                  <c:v>0.26380368098159507</c:v>
                </c:pt>
                <c:pt idx="82">
                  <c:v>0.2809917355371901</c:v>
                </c:pt>
                <c:pt idx="83">
                  <c:v>0.29591836734693877</c:v>
                </c:pt>
                <c:pt idx="84">
                  <c:v>0.3</c:v>
                </c:pt>
                <c:pt idx="85">
                  <c:v>0.26126126126126126</c:v>
                </c:pt>
                <c:pt idx="86">
                  <c:v>0.3370165745856354</c:v>
                </c:pt>
                <c:pt idx="87">
                  <c:v>0.36681222707423583</c:v>
                </c:pt>
                <c:pt idx="88">
                  <c:v>0.35537190082644626</c:v>
                </c:pt>
                <c:pt idx="89">
                  <c:v>0.38144329896907214</c:v>
                </c:pt>
                <c:pt idx="90">
                  <c:v>0.3018867924528302</c:v>
                </c:pt>
                <c:pt idx="91">
                  <c:v>0.2912621359223301</c:v>
                </c:pt>
                <c:pt idx="92">
                  <c:v>0.30538922155688625</c:v>
                </c:pt>
                <c:pt idx="93">
                  <c:v>0.225</c:v>
                </c:pt>
                <c:pt idx="94">
                  <c:v>0.2230769230769231</c:v>
                </c:pt>
                <c:pt idx="95">
                  <c:v>0.2617801047120419</c:v>
                </c:pt>
                <c:pt idx="96">
                  <c:v>0.2420749279538905</c:v>
                </c:pt>
                <c:pt idx="97">
                  <c:v>0.24739583333333334</c:v>
                </c:pt>
                <c:pt idx="98">
                  <c:v>0.2401656314699793</c:v>
                </c:pt>
                <c:pt idx="99">
                  <c:v>0.25844594594594594</c:v>
                </c:pt>
                <c:pt idx="100">
                  <c:v>0.2620380739081747</c:v>
                </c:pt>
                <c:pt idx="101">
                  <c:v>0.2694063926940639</c:v>
                </c:pt>
                <c:pt idx="102">
                  <c:v>0.2421875</c:v>
                </c:pt>
                <c:pt idx="103">
                  <c:v>0.26158940397350994</c:v>
                </c:pt>
                <c:pt idx="104">
                  <c:v>0.23849372384937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7.5571</c:v>
                </c:pt>
                <c:pt idx="1">
                  <c:v>1456.8636</c:v>
                </c:pt>
                <c:pt idx="2">
                  <c:v>1428.2763</c:v>
                </c:pt>
                <c:pt idx="3">
                  <c:v>1423.475</c:v>
                </c:pt>
                <c:pt idx="4">
                  <c:v>1277.0278</c:v>
                </c:pt>
                <c:pt idx="5">
                  <c:v>1376.0667</c:v>
                </c:pt>
                <c:pt idx="6">
                  <c:v>1390.3537</c:v>
                </c:pt>
                <c:pt idx="7">
                  <c:v>1333.7838</c:v>
                </c:pt>
                <c:pt idx="8">
                  <c:v>1409.7869</c:v>
                </c:pt>
                <c:pt idx="9">
                  <c:v>1379.0517</c:v>
                </c:pt>
                <c:pt idx="10">
                  <c:v>1360.6349</c:v>
                </c:pt>
                <c:pt idx="11">
                  <c:v>1295.79</c:v>
                </c:pt>
                <c:pt idx="12">
                  <c:v>1229.2692</c:v>
                </c:pt>
                <c:pt idx="13">
                  <c:v>1284.5155</c:v>
                </c:pt>
                <c:pt idx="14">
                  <c:v>1376.2836</c:v>
                </c:pt>
                <c:pt idx="15">
                  <c:v>1378.7288</c:v>
                </c:pt>
                <c:pt idx="16">
                  <c:v>1381.2264</c:v>
                </c:pt>
                <c:pt idx="17">
                  <c:v>1286.625</c:v>
                </c:pt>
                <c:pt idx="18">
                  <c:v>1004.72</c:v>
                </c:pt>
                <c:pt idx="19">
                  <c:v>1326.7407</c:v>
                </c:pt>
                <c:pt idx="20">
                  <c:v>1485.1379</c:v>
                </c:pt>
                <c:pt idx="21">
                  <c:v>869.5758</c:v>
                </c:pt>
                <c:pt idx="22">
                  <c:v>1499.2143</c:v>
                </c:pt>
                <c:pt idx="23">
                  <c:v>1503.3889</c:v>
                </c:pt>
                <c:pt idx="24">
                  <c:v>1618.619</c:v>
                </c:pt>
                <c:pt idx="25">
                  <c:v>1407.9655</c:v>
                </c:pt>
                <c:pt idx="26">
                  <c:v>1463.6552</c:v>
                </c:pt>
                <c:pt idx="27">
                  <c:v>1337.3421</c:v>
                </c:pt>
                <c:pt idx="28">
                  <c:v>1471.3333</c:v>
                </c:pt>
                <c:pt idx="29">
                  <c:v>1464.3103</c:v>
                </c:pt>
                <c:pt idx="30">
                  <c:v>1235.9767</c:v>
                </c:pt>
                <c:pt idx="31">
                  <c:v>975.7115</c:v>
                </c:pt>
                <c:pt idx="32">
                  <c:v>1527.2188</c:v>
                </c:pt>
                <c:pt idx="33">
                  <c:v>1519.2632</c:v>
                </c:pt>
                <c:pt idx="34">
                  <c:v>1508.0849</c:v>
                </c:pt>
                <c:pt idx="35">
                  <c:v>1469.0361</c:v>
                </c:pt>
                <c:pt idx="36">
                  <c:v>1561.0323</c:v>
                </c:pt>
                <c:pt idx="37">
                  <c:v>1349.95</c:v>
                </c:pt>
                <c:pt idx="38">
                  <c:v>1622.2821</c:v>
                </c:pt>
                <c:pt idx="39">
                  <c:v>1597.0167</c:v>
                </c:pt>
                <c:pt idx="40">
                  <c:v>1552.5789</c:v>
                </c:pt>
                <c:pt idx="41">
                  <c:v>1571.5455</c:v>
                </c:pt>
                <c:pt idx="42">
                  <c:v>1659.1364</c:v>
                </c:pt>
                <c:pt idx="43">
                  <c:v>1520.1379</c:v>
                </c:pt>
                <c:pt idx="44">
                  <c:v>1469.3906</c:v>
                </c:pt>
                <c:pt idx="45">
                  <c:v>1463.5408</c:v>
                </c:pt>
                <c:pt idx="46">
                  <c:v>1440.7273</c:v>
                </c:pt>
                <c:pt idx="47">
                  <c:v>1377.978</c:v>
                </c:pt>
                <c:pt idx="48">
                  <c:v>1323.8539</c:v>
                </c:pt>
                <c:pt idx="49">
                  <c:v>1384.5755</c:v>
                </c:pt>
                <c:pt idx="50">
                  <c:v>1326.8846</c:v>
                </c:pt>
                <c:pt idx="51">
                  <c:v>1261.3084</c:v>
                </c:pt>
              </c:numCache>
            </c:numRef>
          </c:xVal>
          <c:yVal>
            <c:numRef>
              <c:f>Sheet1!$B$109:$B$160</c:f>
              <c:numCache>
                <c:formatCode>General</c:formatCode>
                <c:ptCount val="52"/>
                <c:pt idx="0">
                  <c:v>0.2857142857142857</c:v>
                </c:pt>
                <c:pt idx="1">
                  <c:v>0.29464285714285715</c:v>
                </c:pt>
                <c:pt idx="2">
                  <c:v>0.2638888888888889</c:v>
                </c:pt>
                <c:pt idx="3">
                  <c:v>0.2867383512544803</c:v>
                </c:pt>
                <c:pt idx="4">
                  <c:v>0.30638297872340425</c:v>
                </c:pt>
                <c:pt idx="5">
                  <c:v>0.30864197530864196</c:v>
                </c:pt>
                <c:pt idx="6">
                  <c:v>0.2918149466192171</c:v>
                </c:pt>
                <c:pt idx="7">
                  <c:v>0.296</c:v>
                </c:pt>
                <c:pt idx="8">
                  <c:v>0.3065326633165829</c:v>
                </c:pt>
                <c:pt idx="9">
                  <c:v>0.27884615384615385</c:v>
                </c:pt>
                <c:pt idx="10">
                  <c:v>0.250996015936255</c:v>
                </c:pt>
                <c:pt idx="11">
                  <c:v>0.2457002457002457</c:v>
                </c:pt>
                <c:pt idx="12">
                  <c:v>0.2593516209476309</c:v>
                </c:pt>
                <c:pt idx="13">
                  <c:v>0.2740112994350282</c:v>
                </c:pt>
                <c:pt idx="14">
                  <c:v>0.2375886524822695</c:v>
                </c:pt>
                <c:pt idx="15">
                  <c:v>0.23983739837398374</c:v>
                </c:pt>
                <c:pt idx="16">
                  <c:v>0.25</c:v>
                </c:pt>
                <c:pt idx="17">
                  <c:v>0.2247191011235955</c:v>
                </c:pt>
                <c:pt idx="18">
                  <c:v>0.2777777777777778</c:v>
                </c:pt>
                <c:pt idx="19">
                  <c:v>0.27</c:v>
                </c:pt>
                <c:pt idx="20">
                  <c:v>0.23577235772357724</c:v>
                </c:pt>
                <c:pt idx="21">
                  <c:v>0.38372093023255816</c:v>
                </c:pt>
                <c:pt idx="22">
                  <c:v>0.19444444444444445</c:v>
                </c:pt>
                <c:pt idx="23">
                  <c:v>0.1592920353982301</c:v>
                </c:pt>
                <c:pt idx="24">
                  <c:v>0.19626168224299065</c:v>
                </c:pt>
                <c:pt idx="25">
                  <c:v>0.2196969696969697</c:v>
                </c:pt>
                <c:pt idx="26">
                  <c:v>0.24786324786324787</c:v>
                </c:pt>
                <c:pt idx="27">
                  <c:v>0.2550335570469799</c:v>
                </c:pt>
                <c:pt idx="28">
                  <c:v>0.1978021978021978</c:v>
                </c:pt>
                <c:pt idx="29">
                  <c:v>0.20279720279720279</c:v>
                </c:pt>
                <c:pt idx="30">
                  <c:v>0.27388535031847133</c:v>
                </c:pt>
                <c:pt idx="31">
                  <c:v>0.3466666666666667</c:v>
                </c:pt>
                <c:pt idx="32">
                  <c:v>0.2119205298013245</c:v>
                </c:pt>
                <c:pt idx="33">
                  <c:v>0.23170731707317074</c:v>
                </c:pt>
                <c:pt idx="34">
                  <c:v>0.23555555555555555</c:v>
                </c:pt>
                <c:pt idx="35">
                  <c:v>0.266025641025641</c:v>
                </c:pt>
                <c:pt idx="36">
                  <c:v>0.23846153846153847</c:v>
                </c:pt>
                <c:pt idx="37">
                  <c:v>0.25477707006369427</c:v>
                </c:pt>
                <c:pt idx="38">
                  <c:v>0.2392638036809816</c:v>
                </c:pt>
                <c:pt idx="39">
                  <c:v>0.27522935779816515</c:v>
                </c:pt>
                <c:pt idx="40">
                  <c:v>0.25333333333333335</c:v>
                </c:pt>
                <c:pt idx="41">
                  <c:v>0.2682926829268293</c:v>
                </c:pt>
                <c:pt idx="42">
                  <c:v>0.2972972972972973</c:v>
                </c:pt>
                <c:pt idx="43">
                  <c:v>0.24472573839662448</c:v>
                </c:pt>
                <c:pt idx="44">
                  <c:v>0.2379182156133829</c:v>
                </c:pt>
                <c:pt idx="45">
                  <c:v>0.22897196261682243</c:v>
                </c:pt>
                <c:pt idx="46">
                  <c:v>0.22996515679442509</c:v>
                </c:pt>
                <c:pt idx="47">
                  <c:v>0.27575757575757576</c:v>
                </c:pt>
                <c:pt idx="48">
                  <c:v>0.24585635359116023</c:v>
                </c:pt>
                <c:pt idx="49">
                  <c:v>0.2517814726840855</c:v>
                </c:pt>
                <c:pt idx="50">
                  <c:v>0.25034387895460797</c:v>
                </c:pt>
                <c:pt idx="51">
                  <c:v>0.277922077922077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2.3128271656268</c:v>
                </c:pt>
              </c:numCache>
            </c:numRef>
          </c:xVal>
          <c:yVal>
            <c:numRef>
              <c:f>Sheet1!$B$163:$B$164</c:f>
              <c:numCache>
                <c:formatCode>General</c:formatCode>
                <c:ptCount val="2"/>
                <c:pt idx="0">
                  <c:v>0.34262125671488125</c:v>
                </c:pt>
                <c:pt idx="1">
                  <c:v>0.34262125671488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2.3128271656268</c:v>
                </c:pt>
                <c:pt idx="1">
                  <c:v>802.3128271656268</c:v>
                </c:pt>
              </c:numCache>
            </c:numRef>
          </c:xVal>
          <c:yVal>
            <c:numRef>
              <c:f>Sheet1!$B$167:$B$168</c:f>
              <c:numCache>
                <c:formatCode>General</c:formatCode>
                <c:ptCount val="2"/>
                <c:pt idx="0">
                  <c:v>0.34262125671488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5.750813661207</c:v>
                </c:pt>
              </c:numCache>
            </c:numRef>
          </c:xVal>
          <c:yVal>
            <c:numRef>
              <c:f>Sheet1!$B$171:$B$172</c:f>
              <c:numCache>
                <c:formatCode>General</c:formatCode>
                <c:ptCount val="2"/>
                <c:pt idx="0">
                  <c:v>0.2933729941075953</c:v>
                </c:pt>
                <c:pt idx="1">
                  <c:v>0.29337299410759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5.750813661207</c:v>
                </c:pt>
                <c:pt idx="1">
                  <c:v>1145.750813661207</c:v>
                </c:pt>
              </c:numCache>
            </c:numRef>
          </c:xVal>
          <c:yVal>
            <c:numRef>
              <c:f>Sheet1!$B$175:$B$176</c:f>
              <c:numCache>
                <c:formatCode>General</c:formatCode>
                <c:ptCount val="2"/>
                <c:pt idx="0">
                  <c:v>0.29337299410759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1.3355277000956</c:v>
                </c:pt>
              </c:numCache>
            </c:numRef>
          </c:xVal>
          <c:yVal>
            <c:numRef>
              <c:f>Sheet1!$B$179:$B$180</c:f>
              <c:numCache>
                <c:formatCode>General</c:formatCode>
                <c:ptCount val="2"/>
                <c:pt idx="0">
                  <c:v>0.25672270028356825</c:v>
                </c:pt>
                <c:pt idx="1">
                  <c:v>0.256722700283568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1.3355277000956</c:v>
                </c:pt>
                <c:pt idx="1">
                  <c:v>1401.3355277000956</c:v>
                </c:pt>
              </c:numCache>
            </c:numRef>
          </c:xVal>
          <c:yVal>
            <c:numRef>
              <c:f>Sheet1!$B$183:$B$184</c:f>
              <c:numCache>
                <c:formatCode>General</c:formatCode>
                <c:ptCount val="2"/>
                <c:pt idx="0">
                  <c:v>0.256722700283568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7.5571</c:v>
                </c:pt>
                <c:pt idx="1">
                  <c:v>1456.8636</c:v>
                </c:pt>
                <c:pt idx="2">
                  <c:v>1428.2763</c:v>
                </c:pt>
                <c:pt idx="3">
                  <c:v>1423.475</c:v>
                </c:pt>
                <c:pt idx="4">
                  <c:v>1277.0278</c:v>
                </c:pt>
                <c:pt idx="5">
                  <c:v>1376.0667</c:v>
                </c:pt>
                <c:pt idx="6">
                  <c:v>1390.3537</c:v>
                </c:pt>
                <c:pt idx="7">
                  <c:v>1333.7838</c:v>
                </c:pt>
                <c:pt idx="8">
                  <c:v>1409.7869</c:v>
                </c:pt>
                <c:pt idx="9">
                  <c:v>1379.0517</c:v>
                </c:pt>
                <c:pt idx="10">
                  <c:v>1360.6349</c:v>
                </c:pt>
                <c:pt idx="11">
                  <c:v>1295.79</c:v>
                </c:pt>
                <c:pt idx="12">
                  <c:v>1229.2692</c:v>
                </c:pt>
                <c:pt idx="13">
                  <c:v>1284.5155</c:v>
                </c:pt>
                <c:pt idx="14">
                  <c:v>1376.2836</c:v>
                </c:pt>
                <c:pt idx="15">
                  <c:v>1378.7288</c:v>
                </c:pt>
                <c:pt idx="16">
                  <c:v>1381.2264</c:v>
                </c:pt>
                <c:pt idx="17">
                  <c:v>1286.625</c:v>
                </c:pt>
                <c:pt idx="18">
                  <c:v>1004.72</c:v>
                </c:pt>
                <c:pt idx="19">
                  <c:v>1326.7407</c:v>
                </c:pt>
                <c:pt idx="20">
                  <c:v>1485.1379</c:v>
                </c:pt>
                <c:pt idx="21">
                  <c:v>869.5758</c:v>
                </c:pt>
                <c:pt idx="22">
                  <c:v>1499.2143</c:v>
                </c:pt>
                <c:pt idx="23">
                  <c:v>1503.3889</c:v>
                </c:pt>
                <c:pt idx="24">
                  <c:v>1618.619</c:v>
                </c:pt>
                <c:pt idx="25">
                  <c:v>1407.9655</c:v>
                </c:pt>
                <c:pt idx="26">
                  <c:v>1463.6552</c:v>
                </c:pt>
                <c:pt idx="27">
                  <c:v>1337.3421</c:v>
                </c:pt>
                <c:pt idx="28">
                  <c:v>1471.3333</c:v>
                </c:pt>
                <c:pt idx="29">
                  <c:v>1464.3103</c:v>
                </c:pt>
                <c:pt idx="30">
                  <c:v>1235.9767</c:v>
                </c:pt>
                <c:pt idx="31">
                  <c:v>975.7115</c:v>
                </c:pt>
                <c:pt idx="32">
                  <c:v>1527.2188</c:v>
                </c:pt>
                <c:pt idx="33">
                  <c:v>1519.2632</c:v>
                </c:pt>
                <c:pt idx="34">
                  <c:v>1508.0849</c:v>
                </c:pt>
                <c:pt idx="35">
                  <c:v>1469.0361</c:v>
                </c:pt>
                <c:pt idx="36">
                  <c:v>1561.0323</c:v>
                </c:pt>
                <c:pt idx="37">
                  <c:v>1349.95</c:v>
                </c:pt>
                <c:pt idx="38">
                  <c:v>1622.2821</c:v>
                </c:pt>
                <c:pt idx="39">
                  <c:v>1597.0167</c:v>
                </c:pt>
                <c:pt idx="40">
                  <c:v>1552.5789</c:v>
                </c:pt>
                <c:pt idx="41">
                  <c:v>1571.5455</c:v>
                </c:pt>
                <c:pt idx="42">
                  <c:v>1659.1364</c:v>
                </c:pt>
                <c:pt idx="43">
                  <c:v>1520.1379</c:v>
                </c:pt>
                <c:pt idx="44">
                  <c:v>1469.3906</c:v>
                </c:pt>
                <c:pt idx="45">
                  <c:v>1463.5408</c:v>
                </c:pt>
                <c:pt idx="46">
                  <c:v>1440.7273</c:v>
                </c:pt>
                <c:pt idx="47">
                  <c:v>1377.978</c:v>
                </c:pt>
                <c:pt idx="48">
                  <c:v>1323.8539</c:v>
                </c:pt>
                <c:pt idx="49">
                  <c:v>1384.5755</c:v>
                </c:pt>
                <c:pt idx="50">
                  <c:v>1326.8846</c:v>
                </c:pt>
                <c:pt idx="51">
                  <c:v>1261.3084</c:v>
                </c:pt>
                <c:pt idx="52">
                  <c:v>1145.750813661207</c:v>
                </c:pt>
                <c:pt idx="53">
                  <c:v>802.3128271656268</c:v>
                </c:pt>
                <c:pt idx="54">
                  <c:v>1401.3355277000956</c:v>
                </c:pt>
              </c:numCache>
            </c:numRef>
          </c:xVal>
          <c:yVal>
            <c:numRef>
              <c:f>Sheet1!$B$187:$B$241</c:f>
              <c:numCache>
                <c:formatCode>General</c:formatCode>
                <c:ptCount val="55"/>
                <c:pt idx="0">
                  <c:v>0.25152860535284505</c:v>
                </c:pt>
                <c:pt idx="1">
                  <c:v>0.24876009511398187</c:v>
                </c:pt>
                <c:pt idx="2">
                  <c:v>0.25285945194983783</c:v>
                </c:pt>
                <c:pt idx="3">
                  <c:v>0.25354794795946434</c:v>
                </c:pt>
                <c:pt idx="4">
                  <c:v>0.2745481589067019</c:v>
                </c:pt>
                <c:pt idx="5">
                  <c:v>0.2603461953868642</c:v>
                </c:pt>
                <c:pt idx="6">
                  <c:v>0.25829747056451746</c:v>
                </c:pt>
                <c:pt idx="7">
                  <c:v>0.2664094715673645</c:v>
                </c:pt>
                <c:pt idx="8">
                  <c:v>0.2555107918203704</c:v>
                </c:pt>
                <c:pt idx="9">
                  <c:v>0.2599181528590624</c:v>
                </c:pt>
                <c:pt idx="10">
                  <c:v>0.2625590820470092</c:v>
                </c:pt>
                <c:pt idx="11">
                  <c:v>0.2718577001076654</c:v>
                </c:pt>
                <c:pt idx="12">
                  <c:v>0.2813966385945672</c:v>
                </c:pt>
                <c:pt idx="13">
                  <c:v>0.27347443896183693</c:v>
                </c:pt>
                <c:pt idx="14">
                  <c:v>0.2603150923971556</c:v>
                </c:pt>
                <c:pt idx="15">
                  <c:v>0.2599644560189375</c:v>
                </c:pt>
                <c:pt idx="16">
                  <c:v>0.2596063055943352</c:v>
                </c:pt>
                <c:pt idx="17">
                  <c:v>0.2731719412357404</c:v>
                </c:pt>
                <c:pt idx="18">
                  <c:v>0.31359650699787867</c:v>
                </c:pt>
                <c:pt idx="19">
                  <c:v>0.2674194368362292</c:v>
                </c:pt>
                <c:pt idx="20">
                  <c:v>0.2447056217994666</c:v>
                </c:pt>
                <c:pt idx="21">
                  <c:v>0.3329758922527396</c:v>
                </c:pt>
                <c:pt idx="22">
                  <c:v>0.2426870965604883</c:v>
                </c:pt>
                <c:pt idx="23">
                  <c:v>0.2420884679720255</c:v>
                </c:pt>
                <c:pt idx="24">
                  <c:v>0.22556472147860476</c:v>
                </c:pt>
                <c:pt idx="25">
                  <c:v>0.25577197663113693</c:v>
                </c:pt>
                <c:pt idx="26">
                  <c:v>0.24778619439980462</c:v>
                </c:pt>
                <c:pt idx="27">
                  <c:v>0.26589921906261493</c:v>
                </c:pt>
                <c:pt idx="28">
                  <c:v>0.2466851715077726</c:v>
                </c:pt>
                <c:pt idx="29">
                  <c:v>0.24769225448021898</c:v>
                </c:pt>
                <c:pt idx="30">
                  <c:v>0.2804347976380409</c:v>
                </c:pt>
                <c:pt idx="31">
                  <c:v>0.3177562630004717</c:v>
                </c:pt>
                <c:pt idx="32">
                  <c:v>0.23867131198098174</c:v>
                </c:pt>
                <c:pt idx="33">
                  <c:v>0.23981212777132696</c:v>
                </c:pt>
                <c:pt idx="34">
                  <c:v>0.24141507175408325</c:v>
                </c:pt>
                <c:pt idx="35">
                  <c:v>0.24701458500689036</c:v>
                </c:pt>
                <c:pt idx="36">
                  <c:v>0.23382252939678472</c:v>
                </c:pt>
                <c:pt idx="37">
                  <c:v>0.2640912735395754</c:v>
                </c:pt>
                <c:pt idx="38">
                  <c:v>0.22503944088108685</c:v>
                </c:pt>
                <c:pt idx="39">
                  <c:v>0.2286624444596212</c:v>
                </c:pt>
                <c:pt idx="40">
                  <c:v>0.2350347286277798</c:v>
                </c:pt>
                <c:pt idx="41">
                  <c:v>0.23231495931193163</c:v>
                </c:pt>
                <c:pt idx="42">
                  <c:v>0.21975461417007577</c:v>
                </c:pt>
                <c:pt idx="43">
                  <c:v>0.23968669768788703</c:v>
                </c:pt>
                <c:pt idx="44">
                  <c:v>0.24696375047553165</c:v>
                </c:pt>
                <c:pt idx="45">
                  <c:v>0.24780259911175787</c:v>
                </c:pt>
                <c:pt idx="46">
                  <c:v>0.2510740055466013</c:v>
                </c:pt>
                <c:pt idx="47">
                  <c:v>0.26007211911102246</c:v>
                </c:pt>
                <c:pt idx="48">
                  <c:v>0.26783339769695225</c:v>
                </c:pt>
                <c:pt idx="49">
                  <c:v>0.2591260519159897</c:v>
                </c:pt>
                <c:pt idx="50">
                  <c:v>0.267398801888239</c:v>
                </c:pt>
                <c:pt idx="51">
                  <c:v>0.2768022867832609</c:v>
                </c:pt>
                <c:pt idx="52">
                  <c:v>0.2933729941075953</c:v>
                </c:pt>
                <c:pt idx="53">
                  <c:v>0.34262125671488125</c:v>
                </c:pt>
                <c:pt idx="54">
                  <c:v>0.256722700283568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91.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51063829787233"/>
          <c:min val="0.127433628318584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9967607921673342</c:v>
                </c:pt>
                <c:pt idx="1">
                  <c:v>0.15562835541699144</c:v>
                </c:pt>
                <c:pt idx="2">
                  <c:v>0.15102687393526407</c:v>
                </c:pt>
                <c:pt idx="3">
                  <c:v>0.2830184068466096</c:v>
                </c:pt>
                <c:pt idx="4">
                  <c:v>0.20784198717948718</c:v>
                </c:pt>
                <c:pt idx="5">
                  <c:v>0.33603225806451614</c:v>
                </c:pt>
                <c:pt idx="6">
                  <c:v>0.254696905370844</c:v>
                </c:pt>
                <c:pt idx="7">
                  <c:v>0.21420206501737885</c:v>
                </c:pt>
                <c:pt idx="8">
                  <c:v>0.15632594868643418</c:v>
                </c:pt>
                <c:pt idx="9">
                  <c:v>0.17037572147651006</c:v>
                </c:pt>
                <c:pt idx="10">
                  <c:v>0.13895879914224446</c:v>
                </c:pt>
                <c:pt idx="11">
                  <c:v>0.28014870689655175</c:v>
                </c:pt>
                <c:pt idx="12">
                  <c:v>0.25214829364105085</c:v>
                </c:pt>
                <c:pt idx="13">
                  <c:v>0.27877217058501913</c:v>
                </c:pt>
                <c:pt idx="14">
                  <c:v>0.24069441969519342</c:v>
                </c:pt>
                <c:pt idx="15">
                  <c:v>0.198885050204537</c:v>
                </c:pt>
                <c:pt idx="16">
                  <c:v>0.19742742788871823</c:v>
                </c:pt>
                <c:pt idx="17">
                  <c:v>0.23521277480689248</c:v>
                </c:pt>
                <c:pt idx="18">
                  <c:v>0.2690564964157706</c:v>
                </c:pt>
                <c:pt idx="19">
                  <c:v>0.295244558697515</c:v>
                </c:pt>
                <c:pt idx="20">
                  <c:v>0.23307648950255344</c:v>
                </c:pt>
                <c:pt idx="21">
                  <c:v>0.22477178513293544</c:v>
                </c:pt>
                <c:pt idx="22">
                  <c:v>0.24458761321909425</c:v>
                </c:pt>
                <c:pt idx="23">
                  <c:v>0.17841487299465242</c:v>
                </c:pt>
                <c:pt idx="24">
                  <c:v>0.24805257393209199</c:v>
                </c:pt>
                <c:pt idx="25">
                  <c:v>0.16375968349660888</c:v>
                </c:pt>
                <c:pt idx="26">
                  <c:v>0.19523363764044943</c:v>
                </c:pt>
                <c:pt idx="27">
                  <c:v>0.17798051888240712</c:v>
                </c:pt>
                <c:pt idx="28">
                  <c:v>0.17477244367417677</c:v>
                </c:pt>
                <c:pt idx="29">
                  <c:v>0.3130151997683845</c:v>
                </c:pt>
                <c:pt idx="30">
                  <c:v>0.22422982456140353</c:v>
                </c:pt>
                <c:pt idx="31">
                  <c:v>0.0</c:v>
                </c:pt>
                <c:pt idx="32">
                  <c:v>0.31009953010279</c:v>
                </c:pt>
                <c:pt idx="33">
                  <c:v>0.18546718115353372</c:v>
                </c:pt>
                <c:pt idx="34">
                  <c:v>0.15503429331663796</c:v>
                </c:pt>
                <c:pt idx="35">
                  <c:v>0.25802214375788146</c:v>
                </c:pt>
                <c:pt idx="36">
                  <c:v>0.16051753895912968</c:v>
                </c:pt>
                <c:pt idx="37">
                  <c:v>0.21082846648301193</c:v>
                </c:pt>
                <c:pt idx="38">
                  <c:v>0.1961078410145376</c:v>
                </c:pt>
                <c:pt idx="39">
                  <c:v>0.19558695652173913</c:v>
                </c:pt>
                <c:pt idx="40">
                  <c:v>0.23205125806753346</c:v>
                </c:pt>
                <c:pt idx="41">
                  <c:v>0.3262881930184805</c:v>
                </c:pt>
                <c:pt idx="42">
                  <c:v>0.2181746589018303</c:v>
                </c:pt>
                <c:pt idx="43">
                  <c:v>0.33659068521117774</c:v>
                </c:pt>
                <c:pt idx="44">
                  <c:v>0.2928647004625437</c:v>
                </c:pt>
                <c:pt idx="45">
                  <c:v>0.24771847310126582</c:v>
                </c:pt>
                <c:pt idx="46">
                  <c:v>0.24341393665158373</c:v>
                </c:pt>
                <c:pt idx="47">
                  <c:v>0.25547929654591406</c:v>
                </c:pt>
                <c:pt idx="48">
                  <c:v>0.22082471868996434</c:v>
                </c:pt>
                <c:pt idx="49">
                  <c:v>0.21218520150555403</c:v>
                </c:pt>
                <c:pt idx="50">
                  <c:v>0.20291179460670286</c:v>
                </c:pt>
                <c:pt idx="51">
                  <c:v>0.18755804421246544</c:v>
                </c:pt>
                <c:pt idx="52">
                  <c:v>0.21420789106145252</c:v>
                </c:pt>
                <c:pt idx="53">
                  <c:v>0.28022476766803545</c:v>
                </c:pt>
                <c:pt idx="54">
                  <c:v>0.25100215653467184</c:v>
                </c:pt>
                <c:pt idx="55">
                  <c:v>0.3319629262394196</c:v>
                </c:pt>
                <c:pt idx="56">
                  <c:v>0.2280013686055245</c:v>
                </c:pt>
                <c:pt idx="57">
                  <c:v>0.2690769060104881</c:v>
                </c:pt>
                <c:pt idx="58">
                  <c:v>0.21479971011867016</c:v>
                </c:pt>
                <c:pt idx="59">
                  <c:v>0.21913091852099714</c:v>
                </c:pt>
                <c:pt idx="60">
                  <c:v>0.23492995402425879</c:v>
                </c:pt>
                <c:pt idx="61">
                  <c:v>0.23895370066583035</c:v>
                </c:pt>
                <c:pt idx="62">
                  <c:v>0.24464613478256803</c:v>
                </c:pt>
                <c:pt idx="63">
                  <c:v>0.2133809266207137</c:v>
                </c:pt>
                <c:pt idx="64">
                  <c:v>0.22880301930501976</c:v>
                </c:pt>
                <c:pt idx="65">
                  <c:v>0.1897541509742918</c:v>
                </c:pt>
                <c:pt idx="66">
                  <c:v>0.25746427964300894</c:v>
                </c:pt>
                <c:pt idx="67">
                  <c:v>0.23914002002002002</c:v>
                </c:pt>
                <c:pt idx="68">
                  <c:v>0.17072086956521737</c:v>
                </c:pt>
                <c:pt idx="69">
                  <c:v>0.24923881297165001</c:v>
                </c:pt>
                <c:pt idx="70">
                  <c:v>0.24663697739238152</c:v>
                </c:pt>
                <c:pt idx="71">
                  <c:v>0.2822894143167028</c:v>
                </c:pt>
                <c:pt idx="72">
                  <c:v>0.22016372633390707</c:v>
                </c:pt>
                <c:pt idx="73">
                  <c:v>0.3198992352041417</c:v>
                </c:pt>
                <c:pt idx="74">
                  <c:v>0.25438680087361126</c:v>
                </c:pt>
                <c:pt idx="75">
                  <c:v>0.1950430103977554</c:v>
                </c:pt>
                <c:pt idx="76">
                  <c:v>0.26150995112821046</c:v>
                </c:pt>
                <c:pt idx="77">
                  <c:v>0.35045218666666667</c:v>
                </c:pt>
                <c:pt idx="78">
                  <c:v>0.26314551904406275</c:v>
                </c:pt>
                <c:pt idx="79">
                  <c:v>0.1418727150987613</c:v>
                </c:pt>
                <c:pt idx="80">
                  <c:v>0.26165986409469527</c:v>
                </c:pt>
                <c:pt idx="81">
                  <c:v>0.20968701226751088</c:v>
                </c:pt>
                <c:pt idx="82">
                  <c:v>0.18412059191982463</c:v>
                </c:pt>
                <c:pt idx="83">
                  <c:v>0.1850444062219563</c:v>
                </c:pt>
                <c:pt idx="84">
                  <c:v>0.25979184470008215</c:v>
                </c:pt>
                <c:pt idx="85">
                  <c:v>0.0</c:v>
                </c:pt>
                <c:pt idx="86">
                  <c:v>0.2048842169595111</c:v>
                </c:pt>
                <c:pt idx="87">
                  <c:v>0.3028789694699807</c:v>
                </c:pt>
                <c:pt idx="88">
                  <c:v>0.2096928516407333</c:v>
                </c:pt>
                <c:pt idx="89">
                  <c:v>0.39653929961089496</c:v>
                </c:pt>
                <c:pt idx="90">
                  <c:v>0.30024635916705095</c:v>
                </c:pt>
                <c:pt idx="91">
                  <c:v>0.24644213301581902</c:v>
                </c:pt>
                <c:pt idx="92">
                  <c:v>0.2989892044836217</c:v>
                </c:pt>
                <c:pt idx="93">
                  <c:v>0.34307721603563474</c:v>
                </c:pt>
                <c:pt idx="94">
                  <c:v>0.2230077222302262</c:v>
                </c:pt>
                <c:pt idx="95">
                  <c:v>0.256238926853961</c:v>
                </c:pt>
                <c:pt idx="96">
                  <c:v>0.24599950556242273</c:v>
                </c:pt>
                <c:pt idx="97">
                  <c:v>0.20439637293652638</c:v>
                </c:pt>
                <c:pt idx="98">
                  <c:v>0.1993913784007838</c:v>
                </c:pt>
                <c:pt idx="99">
                  <c:v>0.23391528372221457</c:v>
                </c:pt>
                <c:pt idx="100">
                  <c:v>0.23680299930588533</c:v>
                </c:pt>
                <c:pt idx="101">
                  <c:v>0.27253028011058367</c:v>
                </c:pt>
                <c:pt idx="102">
                  <c:v>0.2985733702084914</c:v>
                </c:pt>
                <c:pt idx="103">
                  <c:v>0.2050929615482556</c:v>
                </c:pt>
                <c:pt idx="104">
                  <c:v>0.22159875098845985</c:v>
                </c:pt>
              </c:numCache>
            </c:numRef>
          </c:xVal>
          <c:yVal>
            <c:numRef>
              <c:f>Sheet1!$B$2:$B$106</c:f>
              <c:numCache>
                <c:formatCode>General</c:formatCode>
                <c:ptCount val="105"/>
                <c:pt idx="0">
                  <c:v>0.28438228438228436</c:v>
                </c:pt>
                <c:pt idx="1">
                  <c:v>0.34104046242774566</c:v>
                </c:pt>
                <c:pt idx="2">
                  <c:v>0.294478527607362</c:v>
                </c:pt>
                <c:pt idx="3">
                  <c:v>0.3069908814589666</c:v>
                </c:pt>
                <c:pt idx="4">
                  <c:v>0.3142857142857143</c:v>
                </c:pt>
                <c:pt idx="5">
                  <c:v>0.30612244897959184</c:v>
                </c:pt>
                <c:pt idx="6">
                  <c:v>0.3394495412844037</c:v>
                </c:pt>
                <c:pt idx="7">
                  <c:v>0.3168724279835391</c:v>
                </c:pt>
                <c:pt idx="8">
                  <c:v>0.35454545454545455</c:v>
                </c:pt>
                <c:pt idx="9">
                  <c:v>0.3292307692307692</c:v>
                </c:pt>
                <c:pt idx="10">
                  <c:v>0.3224932249322493</c:v>
                </c:pt>
                <c:pt idx="11">
                  <c:v>0.32808398950131235</c:v>
                </c:pt>
                <c:pt idx="12">
                  <c:v>0.2847826086956522</c:v>
                </c:pt>
                <c:pt idx="13">
                  <c:v>0.35353535353535354</c:v>
                </c:pt>
                <c:pt idx="14">
                  <c:v>0.3403361344537815</c:v>
                </c:pt>
                <c:pt idx="15">
                  <c:v>0.2994350282485876</c:v>
                </c:pt>
                <c:pt idx="16">
                  <c:v>0.25163398692810457</c:v>
                </c:pt>
                <c:pt idx="17">
                  <c:v>0.24778761061946902</c:v>
                </c:pt>
                <c:pt idx="18">
                  <c:v>0.26666666666666666</c:v>
                </c:pt>
                <c:pt idx="19">
                  <c:v>0.28104575163398693</c:v>
                </c:pt>
                <c:pt idx="20">
                  <c:v>0.2987012987012987</c:v>
                </c:pt>
                <c:pt idx="21">
                  <c:v>0.34234234234234234</c:v>
                </c:pt>
                <c:pt idx="22">
                  <c:v>0.40425531914893614</c:v>
                </c:pt>
                <c:pt idx="23">
                  <c:v>0.34210526315789475</c:v>
                </c:pt>
                <c:pt idx="24">
                  <c:v>0.3184713375796178</c:v>
                </c:pt>
                <c:pt idx="25">
                  <c:v>0.3464566929133858</c:v>
                </c:pt>
                <c:pt idx="26">
                  <c:v>0.33714285714285713</c:v>
                </c:pt>
                <c:pt idx="27">
                  <c:v>0.33689839572192515</c:v>
                </c:pt>
                <c:pt idx="28">
                  <c:v>0.3064516129032258</c:v>
                </c:pt>
                <c:pt idx="29">
                  <c:v>0.3559870550161812</c:v>
                </c:pt>
                <c:pt idx="30">
                  <c:v>0.3423913043478261</c:v>
                </c:pt>
                <c:pt idx="31">
                  <c:v>0.33146067415730335</c:v>
                </c:pt>
                <c:pt idx="32">
                  <c:v>0.33157894736842103</c:v>
                </c:pt>
                <c:pt idx="33">
                  <c:v>0.36879432624113473</c:v>
                </c:pt>
                <c:pt idx="34">
                  <c:v>0.3320825515947467</c:v>
                </c:pt>
                <c:pt idx="35">
                  <c:v>0.31645569620253167</c:v>
                </c:pt>
                <c:pt idx="36">
                  <c:v>0.33055555555555555</c:v>
                </c:pt>
                <c:pt idx="37">
                  <c:v>0.32217573221757323</c:v>
                </c:pt>
                <c:pt idx="38">
                  <c:v>0.2764976958525346</c:v>
                </c:pt>
                <c:pt idx="39">
                  <c:v>0.21367521367521367</c:v>
                </c:pt>
                <c:pt idx="40">
                  <c:v>0.31746031746031744</c:v>
                </c:pt>
                <c:pt idx="41">
                  <c:v>0.32160804020100503</c:v>
                </c:pt>
                <c:pt idx="42">
                  <c:v>0.3162393162393162</c:v>
                </c:pt>
                <c:pt idx="43">
                  <c:v>0.3</c:v>
                </c:pt>
                <c:pt idx="44">
                  <c:v>0.28162291169451076</c:v>
                </c:pt>
                <c:pt idx="45">
                  <c:v>0.29398148148148145</c:v>
                </c:pt>
                <c:pt idx="46">
                  <c:v>0.29359430604982206</c:v>
                </c:pt>
                <c:pt idx="47">
                  <c:v>0.28863636363636364</c:v>
                </c:pt>
                <c:pt idx="48">
                  <c:v>0.27320954907161804</c:v>
                </c:pt>
                <c:pt idx="49">
                  <c:v>0.27527216174183516</c:v>
                </c:pt>
                <c:pt idx="50">
                  <c:v>0.26996197718631176</c:v>
                </c:pt>
                <c:pt idx="51">
                  <c:v>0.2764505119453925</c:v>
                </c:pt>
                <c:pt idx="52">
                  <c:v>0.2505399568034557</c:v>
                </c:pt>
                <c:pt idx="53">
                  <c:v>0.2484472049689441</c:v>
                </c:pt>
                <c:pt idx="54">
                  <c:v>0.2644628099173554</c:v>
                </c:pt>
                <c:pt idx="55">
                  <c:v>0.242152466367713</c:v>
                </c:pt>
                <c:pt idx="56">
                  <c:v>0.2511013215859031</c:v>
                </c:pt>
                <c:pt idx="57">
                  <c:v>0.24793388429752067</c:v>
                </c:pt>
                <c:pt idx="58">
                  <c:v>0.2911392405063291</c:v>
                </c:pt>
                <c:pt idx="59">
                  <c:v>0.21568627450980393</c:v>
                </c:pt>
                <c:pt idx="60">
                  <c:v>0.2717842323651452</c:v>
                </c:pt>
                <c:pt idx="61">
                  <c:v>0.28291316526610644</c:v>
                </c:pt>
                <c:pt idx="62">
                  <c:v>0.2813852813852814</c:v>
                </c:pt>
                <c:pt idx="63">
                  <c:v>0.2532588454376164</c:v>
                </c:pt>
                <c:pt idx="64">
                  <c:v>0.2660098522167488</c:v>
                </c:pt>
                <c:pt idx="65">
                  <c:v>0.26217228464419473</c:v>
                </c:pt>
                <c:pt idx="66">
                  <c:v>0.27628865979381445</c:v>
                </c:pt>
                <c:pt idx="67">
                  <c:v>0.26036866359447003</c:v>
                </c:pt>
                <c:pt idx="68">
                  <c:v>0.2361963190184049</c:v>
                </c:pt>
                <c:pt idx="69">
                  <c:v>0.22672064777327935</c:v>
                </c:pt>
                <c:pt idx="70">
                  <c:v>0.2761904761904762</c:v>
                </c:pt>
                <c:pt idx="71">
                  <c:v>0.2857142857142857</c:v>
                </c:pt>
                <c:pt idx="72">
                  <c:v>0.2647058823529412</c:v>
                </c:pt>
                <c:pt idx="73">
                  <c:v>0.2914285714285714</c:v>
                </c:pt>
                <c:pt idx="74">
                  <c:v>0.30319148936170215</c:v>
                </c:pt>
                <c:pt idx="75">
                  <c:v>0.3657142857142857</c:v>
                </c:pt>
                <c:pt idx="76">
                  <c:v>0.26153846153846155</c:v>
                </c:pt>
                <c:pt idx="77">
                  <c:v>0.32167832167832167</c:v>
                </c:pt>
                <c:pt idx="78">
                  <c:v>0.2647058823529412</c:v>
                </c:pt>
                <c:pt idx="79">
                  <c:v>0.3230769230769231</c:v>
                </c:pt>
                <c:pt idx="80">
                  <c:v>0.3023255813953488</c:v>
                </c:pt>
                <c:pt idx="81">
                  <c:v>0.26380368098159507</c:v>
                </c:pt>
                <c:pt idx="82">
                  <c:v>0.2809917355371901</c:v>
                </c:pt>
                <c:pt idx="83">
                  <c:v>0.29591836734693877</c:v>
                </c:pt>
                <c:pt idx="84">
                  <c:v>0.3</c:v>
                </c:pt>
                <c:pt idx="85">
                  <c:v>0.26126126126126126</c:v>
                </c:pt>
                <c:pt idx="86">
                  <c:v>0.3370165745856354</c:v>
                </c:pt>
                <c:pt idx="87">
                  <c:v>0.36681222707423583</c:v>
                </c:pt>
                <c:pt idx="88">
                  <c:v>0.35537190082644626</c:v>
                </c:pt>
                <c:pt idx="89">
                  <c:v>0.38144329896907214</c:v>
                </c:pt>
                <c:pt idx="90">
                  <c:v>0.3018867924528302</c:v>
                </c:pt>
                <c:pt idx="91">
                  <c:v>0.2912621359223301</c:v>
                </c:pt>
                <c:pt idx="92">
                  <c:v>0.30538922155688625</c:v>
                </c:pt>
                <c:pt idx="93">
                  <c:v>0.225</c:v>
                </c:pt>
                <c:pt idx="94">
                  <c:v>0.2230769230769231</c:v>
                </c:pt>
                <c:pt idx="95">
                  <c:v>0.2617801047120419</c:v>
                </c:pt>
                <c:pt idx="96">
                  <c:v>0.2420749279538905</c:v>
                </c:pt>
                <c:pt idx="97">
                  <c:v>0.24739583333333334</c:v>
                </c:pt>
                <c:pt idx="98">
                  <c:v>0.2401656314699793</c:v>
                </c:pt>
                <c:pt idx="99">
                  <c:v>0.25844594594594594</c:v>
                </c:pt>
                <c:pt idx="100">
                  <c:v>0.2620380739081747</c:v>
                </c:pt>
                <c:pt idx="101">
                  <c:v>0.2694063926940639</c:v>
                </c:pt>
                <c:pt idx="102">
                  <c:v>0.2421875</c:v>
                </c:pt>
                <c:pt idx="103">
                  <c:v>0.26158940397350994</c:v>
                </c:pt>
                <c:pt idx="104">
                  <c:v>0.23849372384937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956719662690251</c:v>
                </c:pt>
                <c:pt idx="1">
                  <c:v>0.2763660438205444</c:v>
                </c:pt>
                <c:pt idx="2">
                  <c:v>0.31225979449059904</c:v>
                </c:pt>
                <c:pt idx="3">
                  <c:v>0.21839137772322798</c:v>
                </c:pt>
                <c:pt idx="4">
                  <c:v>0.19124817387803603</c:v>
                </c:pt>
                <c:pt idx="5">
                  <c:v>0.25640994250677057</c:v>
                </c:pt>
                <c:pt idx="6">
                  <c:v>0.2521040253853128</c:v>
                </c:pt>
                <c:pt idx="7">
                  <c:v>0.21044237929946355</c:v>
                </c:pt>
                <c:pt idx="8">
                  <c:v>0.25959738976431757</c:v>
                </c:pt>
                <c:pt idx="9">
                  <c:v>0.2767883272682701</c:v>
                </c:pt>
                <c:pt idx="10">
                  <c:v>0.1922343741169822</c:v>
                </c:pt>
                <c:pt idx="11">
                  <c:v>0.208947835201161</c:v>
                </c:pt>
                <c:pt idx="12">
                  <c:v>0.20842136317395726</c:v>
                </c:pt>
                <c:pt idx="13">
                  <c:v>0.287782121653411</c:v>
                </c:pt>
                <c:pt idx="14">
                  <c:v>0.2936384894388735</c:v>
                </c:pt>
                <c:pt idx="15">
                  <c:v>0.24848676218797874</c:v>
                </c:pt>
                <c:pt idx="16">
                  <c:v>0.18756469310157523</c:v>
                </c:pt>
                <c:pt idx="17">
                  <c:v>0.20422619047619048</c:v>
                </c:pt>
                <c:pt idx="18">
                  <c:v>0.22894383046599065</c:v>
                </c:pt>
                <c:pt idx="19">
                  <c:v>0.20068684011495994</c:v>
                </c:pt>
                <c:pt idx="20">
                  <c:v>0.3232425508760474</c:v>
                </c:pt>
                <c:pt idx="21">
                  <c:v>0.11781273540170709</c:v>
                </c:pt>
                <c:pt idx="22">
                  <c:v>0.2003761427425822</c:v>
                </c:pt>
                <c:pt idx="23">
                  <c:v>0.34917870166066656</c:v>
                </c:pt>
                <c:pt idx="24">
                  <c:v>0.30781002186935436</c:v>
                </c:pt>
                <c:pt idx="25">
                  <c:v>0.20524278425655976</c:v>
                </c:pt>
                <c:pt idx="26">
                  <c:v>0.19172847786219543</c:v>
                </c:pt>
                <c:pt idx="27">
                  <c:v>0.24193609574904365</c:v>
                </c:pt>
                <c:pt idx="28">
                  <c:v>0.2141678748180495</c:v>
                </c:pt>
                <c:pt idx="29">
                  <c:v>0.3455599528023599</c:v>
                </c:pt>
                <c:pt idx="30">
                  <c:v>0.27402210397960314</c:v>
                </c:pt>
                <c:pt idx="31">
                  <c:v>0.1345994619947579</c:v>
                </c:pt>
                <c:pt idx="32">
                  <c:v>0.25222440957886044</c:v>
                </c:pt>
                <c:pt idx="33">
                  <c:v>0.28012597031437264</c:v>
                </c:pt>
                <c:pt idx="34">
                  <c:v>0.20305438265786993</c:v>
                </c:pt>
                <c:pt idx="35">
                  <c:v>0.22363161820672858</c:v>
                </c:pt>
                <c:pt idx="36">
                  <c:v>0.21753515886287628</c:v>
                </c:pt>
                <c:pt idx="37">
                  <c:v>0.24747021081576537</c:v>
                </c:pt>
                <c:pt idx="38">
                  <c:v>0.21005853942768352</c:v>
                </c:pt>
                <c:pt idx="39">
                  <c:v>0.3351204910292729</c:v>
                </c:pt>
                <c:pt idx="40">
                  <c:v>0.23424545866022933</c:v>
                </c:pt>
                <c:pt idx="41">
                  <c:v>0.20163529638183217</c:v>
                </c:pt>
                <c:pt idx="42">
                  <c:v>0.279904917756221</c:v>
                </c:pt>
                <c:pt idx="43">
                  <c:v>0.2735044800287873</c:v>
                </c:pt>
                <c:pt idx="44">
                  <c:v>0.2510062521352921</c:v>
                </c:pt>
                <c:pt idx="45">
                  <c:v>0.24999273614981912</c:v>
                </c:pt>
                <c:pt idx="46">
                  <c:v>0.2770807021150029</c:v>
                </c:pt>
                <c:pt idx="47">
                  <c:v>0.24606750000000002</c:v>
                </c:pt>
                <c:pt idx="48">
                  <c:v>0.23190246857466737</c:v>
                </c:pt>
                <c:pt idx="49">
                  <c:v>0.23141826842721042</c:v>
                </c:pt>
                <c:pt idx="50">
                  <c:v>0.26778700302724523</c:v>
                </c:pt>
                <c:pt idx="51">
                  <c:v>0.2221004402183483</c:v>
                </c:pt>
              </c:numCache>
            </c:numRef>
          </c:xVal>
          <c:yVal>
            <c:numRef>
              <c:f>Sheet1!$B$109:$B$160</c:f>
              <c:numCache>
                <c:formatCode>General</c:formatCode>
                <c:ptCount val="52"/>
                <c:pt idx="0">
                  <c:v>0.2857142857142857</c:v>
                </c:pt>
                <c:pt idx="1">
                  <c:v>0.29464285714285715</c:v>
                </c:pt>
                <c:pt idx="2">
                  <c:v>0.2638888888888889</c:v>
                </c:pt>
                <c:pt idx="3">
                  <c:v>0.2867383512544803</c:v>
                </c:pt>
                <c:pt idx="4">
                  <c:v>0.30638297872340425</c:v>
                </c:pt>
                <c:pt idx="5">
                  <c:v>0.30864197530864196</c:v>
                </c:pt>
                <c:pt idx="6">
                  <c:v>0.2918149466192171</c:v>
                </c:pt>
                <c:pt idx="7">
                  <c:v>0.296</c:v>
                </c:pt>
                <c:pt idx="8">
                  <c:v>0.3065326633165829</c:v>
                </c:pt>
                <c:pt idx="9">
                  <c:v>0.27884615384615385</c:v>
                </c:pt>
                <c:pt idx="10">
                  <c:v>0.250996015936255</c:v>
                </c:pt>
                <c:pt idx="11">
                  <c:v>0.2457002457002457</c:v>
                </c:pt>
                <c:pt idx="12">
                  <c:v>0.2593516209476309</c:v>
                </c:pt>
                <c:pt idx="13">
                  <c:v>0.2740112994350282</c:v>
                </c:pt>
                <c:pt idx="14">
                  <c:v>0.2375886524822695</c:v>
                </c:pt>
                <c:pt idx="15">
                  <c:v>0.23983739837398374</c:v>
                </c:pt>
                <c:pt idx="16">
                  <c:v>0.25</c:v>
                </c:pt>
                <c:pt idx="17">
                  <c:v>0.2247191011235955</c:v>
                </c:pt>
                <c:pt idx="18">
                  <c:v>0.2777777777777778</c:v>
                </c:pt>
                <c:pt idx="19">
                  <c:v>0.27</c:v>
                </c:pt>
                <c:pt idx="20">
                  <c:v>0.23577235772357724</c:v>
                </c:pt>
                <c:pt idx="21">
                  <c:v>0.38372093023255816</c:v>
                </c:pt>
                <c:pt idx="22">
                  <c:v>0.19444444444444445</c:v>
                </c:pt>
                <c:pt idx="23">
                  <c:v>0.1592920353982301</c:v>
                </c:pt>
                <c:pt idx="24">
                  <c:v>0.19626168224299065</c:v>
                </c:pt>
                <c:pt idx="25">
                  <c:v>0.2196969696969697</c:v>
                </c:pt>
                <c:pt idx="26">
                  <c:v>0.24786324786324787</c:v>
                </c:pt>
                <c:pt idx="27">
                  <c:v>0.2550335570469799</c:v>
                </c:pt>
                <c:pt idx="28">
                  <c:v>0.1978021978021978</c:v>
                </c:pt>
                <c:pt idx="29">
                  <c:v>0.20279720279720279</c:v>
                </c:pt>
                <c:pt idx="30">
                  <c:v>0.27388535031847133</c:v>
                </c:pt>
                <c:pt idx="31">
                  <c:v>0.3466666666666667</c:v>
                </c:pt>
                <c:pt idx="32">
                  <c:v>0.2119205298013245</c:v>
                </c:pt>
                <c:pt idx="33">
                  <c:v>0.23170731707317074</c:v>
                </c:pt>
                <c:pt idx="34">
                  <c:v>0.23555555555555555</c:v>
                </c:pt>
                <c:pt idx="35">
                  <c:v>0.266025641025641</c:v>
                </c:pt>
                <c:pt idx="36">
                  <c:v>0.23846153846153847</c:v>
                </c:pt>
                <c:pt idx="37">
                  <c:v>0.25477707006369427</c:v>
                </c:pt>
                <c:pt idx="38">
                  <c:v>0.2392638036809816</c:v>
                </c:pt>
                <c:pt idx="39">
                  <c:v>0.27522935779816515</c:v>
                </c:pt>
                <c:pt idx="40">
                  <c:v>0.25333333333333335</c:v>
                </c:pt>
                <c:pt idx="41">
                  <c:v>0.2682926829268293</c:v>
                </c:pt>
                <c:pt idx="42">
                  <c:v>0.2972972972972973</c:v>
                </c:pt>
                <c:pt idx="43">
                  <c:v>0.24472573839662448</c:v>
                </c:pt>
                <c:pt idx="44">
                  <c:v>0.2379182156133829</c:v>
                </c:pt>
                <c:pt idx="45">
                  <c:v>0.22897196261682243</c:v>
                </c:pt>
                <c:pt idx="46">
                  <c:v>0.22996515679442509</c:v>
                </c:pt>
                <c:pt idx="47">
                  <c:v>0.27575757575757576</c:v>
                </c:pt>
                <c:pt idx="48">
                  <c:v>0.24585635359116023</c:v>
                </c:pt>
                <c:pt idx="49">
                  <c:v>0.2517814726840855</c:v>
                </c:pt>
                <c:pt idx="50">
                  <c:v>0.25034387895460797</c:v>
                </c:pt>
                <c:pt idx="51">
                  <c:v>0.277922077922077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0934784935826225</c:v>
                </c:pt>
              </c:numCache>
            </c:numRef>
          </c:xVal>
          <c:yVal>
            <c:numRef>
              <c:f>Sheet1!$B$163:$B$164</c:f>
              <c:numCache>
                <c:formatCode>General</c:formatCode>
                <c:ptCount val="2"/>
                <c:pt idx="0">
                  <c:v>0.34262125671488125</c:v>
                </c:pt>
                <c:pt idx="1">
                  <c:v>0.34262125671488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0934784935826225</c:v>
                </c:pt>
                <c:pt idx="1">
                  <c:v>-0.030934784935826225</c:v>
                </c:pt>
              </c:numCache>
            </c:numRef>
          </c:xVal>
          <c:yVal>
            <c:numRef>
              <c:f>Sheet1!$B$167:$B$168</c:f>
              <c:numCache>
                <c:formatCode>General</c:formatCode>
                <c:ptCount val="2"/>
                <c:pt idx="0">
                  <c:v>0.34262125671488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272840574934492</c:v>
                </c:pt>
              </c:numCache>
            </c:numRef>
          </c:xVal>
          <c:yVal>
            <c:numRef>
              <c:f>Sheet1!$B$171:$B$172</c:f>
              <c:numCache>
                <c:formatCode>General</c:formatCode>
                <c:ptCount val="2"/>
                <c:pt idx="0">
                  <c:v>0.2933729941075953</c:v>
                </c:pt>
                <c:pt idx="1">
                  <c:v>0.29337299410759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272840574934492</c:v>
                </c:pt>
                <c:pt idx="1">
                  <c:v>0.1272840574934492</c:v>
                </c:pt>
              </c:numCache>
            </c:numRef>
          </c:xVal>
          <c:yVal>
            <c:numRef>
              <c:f>Sheet1!$B$175:$B$176</c:f>
              <c:numCache>
                <c:formatCode>General</c:formatCode>
                <c:ptCount val="2"/>
                <c:pt idx="0">
                  <c:v>0.29337299410759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450296744255783</c:v>
                </c:pt>
              </c:numCache>
            </c:numRef>
          </c:xVal>
          <c:yVal>
            <c:numRef>
              <c:f>Sheet1!$B$179:$B$180</c:f>
              <c:numCache>
                <c:formatCode>General</c:formatCode>
                <c:ptCount val="2"/>
                <c:pt idx="0">
                  <c:v>0.25672270028356825</c:v>
                </c:pt>
                <c:pt idx="1">
                  <c:v>0.256722700283568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450296744255783</c:v>
                </c:pt>
                <c:pt idx="1">
                  <c:v>0.2450296744255783</c:v>
                </c:pt>
              </c:numCache>
            </c:numRef>
          </c:xVal>
          <c:yVal>
            <c:numRef>
              <c:f>Sheet1!$B$183:$B$184</c:f>
              <c:numCache>
                <c:formatCode>General</c:formatCode>
                <c:ptCount val="2"/>
                <c:pt idx="0">
                  <c:v>0.256722700283568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956719662690251</c:v>
                </c:pt>
                <c:pt idx="1">
                  <c:v>0.2763660438205444</c:v>
                </c:pt>
                <c:pt idx="2">
                  <c:v>0.31225979449059904</c:v>
                </c:pt>
                <c:pt idx="3">
                  <c:v>0.21839137772322798</c:v>
                </c:pt>
                <c:pt idx="4">
                  <c:v>0.19124817387803603</c:v>
                </c:pt>
                <c:pt idx="5">
                  <c:v>0.25640994250677057</c:v>
                </c:pt>
                <c:pt idx="6">
                  <c:v>0.2521040253853128</c:v>
                </c:pt>
                <c:pt idx="7">
                  <c:v>0.21044237929946355</c:v>
                </c:pt>
                <c:pt idx="8">
                  <c:v>0.25959738976431757</c:v>
                </c:pt>
                <c:pt idx="9">
                  <c:v>0.2767883272682701</c:v>
                </c:pt>
                <c:pt idx="10">
                  <c:v>0.1922343741169822</c:v>
                </c:pt>
                <c:pt idx="11">
                  <c:v>0.208947835201161</c:v>
                </c:pt>
                <c:pt idx="12">
                  <c:v>0.20842136317395726</c:v>
                </c:pt>
                <c:pt idx="13">
                  <c:v>0.287782121653411</c:v>
                </c:pt>
                <c:pt idx="14">
                  <c:v>0.2936384894388735</c:v>
                </c:pt>
                <c:pt idx="15">
                  <c:v>0.24848676218797874</c:v>
                </c:pt>
                <c:pt idx="16">
                  <c:v>0.18756469310157523</c:v>
                </c:pt>
                <c:pt idx="17">
                  <c:v>0.20422619047619048</c:v>
                </c:pt>
                <c:pt idx="18">
                  <c:v>0.22894383046599065</c:v>
                </c:pt>
                <c:pt idx="19">
                  <c:v>0.20068684011495994</c:v>
                </c:pt>
                <c:pt idx="20">
                  <c:v>0.3232425508760474</c:v>
                </c:pt>
                <c:pt idx="21">
                  <c:v>0.11781273540170709</c:v>
                </c:pt>
                <c:pt idx="22">
                  <c:v>0.2003761427425822</c:v>
                </c:pt>
                <c:pt idx="23">
                  <c:v>0.34917870166066656</c:v>
                </c:pt>
                <c:pt idx="24">
                  <c:v>0.30781002186935436</c:v>
                </c:pt>
                <c:pt idx="25">
                  <c:v>0.20524278425655976</c:v>
                </c:pt>
                <c:pt idx="26">
                  <c:v>0.19172847786219543</c:v>
                </c:pt>
                <c:pt idx="27">
                  <c:v>0.24193609574904365</c:v>
                </c:pt>
                <c:pt idx="28">
                  <c:v>0.2141678748180495</c:v>
                </c:pt>
                <c:pt idx="29">
                  <c:v>0.3455599528023599</c:v>
                </c:pt>
                <c:pt idx="30">
                  <c:v>0.27402210397960314</c:v>
                </c:pt>
                <c:pt idx="31">
                  <c:v>0.1345994619947579</c:v>
                </c:pt>
                <c:pt idx="32">
                  <c:v>0.25222440957886044</c:v>
                </c:pt>
                <c:pt idx="33">
                  <c:v>0.28012597031437264</c:v>
                </c:pt>
                <c:pt idx="34">
                  <c:v>0.20305438265786993</c:v>
                </c:pt>
                <c:pt idx="35">
                  <c:v>0.22363161820672858</c:v>
                </c:pt>
                <c:pt idx="36">
                  <c:v>0.21753515886287628</c:v>
                </c:pt>
                <c:pt idx="37">
                  <c:v>0.24747021081576537</c:v>
                </c:pt>
                <c:pt idx="38">
                  <c:v>0.21005853942768352</c:v>
                </c:pt>
                <c:pt idx="39">
                  <c:v>0.3351204910292729</c:v>
                </c:pt>
                <c:pt idx="40">
                  <c:v>0.23424545866022933</c:v>
                </c:pt>
                <c:pt idx="41">
                  <c:v>0.20163529638183217</c:v>
                </c:pt>
                <c:pt idx="42">
                  <c:v>0.279904917756221</c:v>
                </c:pt>
                <c:pt idx="43">
                  <c:v>0.2735044800287873</c:v>
                </c:pt>
                <c:pt idx="44">
                  <c:v>0.2510062521352921</c:v>
                </c:pt>
                <c:pt idx="45">
                  <c:v>0.24999273614981912</c:v>
                </c:pt>
                <c:pt idx="46">
                  <c:v>0.2770807021150029</c:v>
                </c:pt>
                <c:pt idx="47">
                  <c:v>0.24606750000000002</c:v>
                </c:pt>
                <c:pt idx="48">
                  <c:v>0.23190246857466737</c:v>
                </c:pt>
                <c:pt idx="49">
                  <c:v>0.23141826842721042</c:v>
                </c:pt>
                <c:pt idx="50">
                  <c:v>0.26778700302724523</c:v>
                </c:pt>
                <c:pt idx="51">
                  <c:v>0.2221004402183483</c:v>
                </c:pt>
                <c:pt idx="52">
                  <c:v>0.1272840574934492</c:v>
                </c:pt>
                <c:pt idx="53">
                  <c:v>-0.030934784935826225</c:v>
                </c:pt>
                <c:pt idx="54">
                  <c:v>0.2450296744255783</c:v>
                </c:pt>
              </c:numCache>
            </c:numRef>
          </c:xVal>
          <c:yVal>
            <c:numRef>
              <c:f>Sheet1!$B$187:$B$241</c:f>
              <c:numCache>
                <c:formatCode>General</c:formatCode>
                <c:ptCount val="55"/>
                <c:pt idx="0">
                  <c:v>0.24095943941370232</c:v>
                </c:pt>
                <c:pt idx="1">
                  <c:v>0.2469687308736855</c:v>
                </c:pt>
                <c:pt idx="2">
                  <c:v>0.2357962002710206</c:v>
                </c:pt>
                <c:pt idx="3">
                  <c:v>0.2650143159423958</c:v>
                </c:pt>
                <c:pt idx="4">
                  <c:v>0.27346309239940114</c:v>
                </c:pt>
                <c:pt idx="5">
                  <c:v>0.2531804013866818</c:v>
                </c:pt>
                <c:pt idx="6">
                  <c:v>0.2545206901532208</c:v>
                </c:pt>
                <c:pt idx="7">
                  <c:v>0.26748857473374954</c:v>
                </c:pt>
                <c:pt idx="8">
                  <c:v>0.25218825508364767</c:v>
                </c:pt>
                <c:pt idx="9">
                  <c:v>0.2468372880833769</c:v>
                </c:pt>
                <c:pt idx="10">
                  <c:v>0.27315612107028975</c:v>
                </c:pt>
                <c:pt idx="11">
                  <c:v>0.2679537765965699</c:v>
                </c:pt>
                <c:pt idx="12">
                  <c:v>0.2681176498259086</c:v>
                </c:pt>
                <c:pt idx="13">
                  <c:v>0.24341528559228964</c:v>
                </c:pt>
                <c:pt idx="14">
                  <c:v>0.24159239310872066</c:v>
                </c:pt>
                <c:pt idx="15">
                  <c:v>0.25564662386077913</c:v>
                </c:pt>
                <c:pt idx="16">
                  <c:v>0.27460963743665945</c:v>
                </c:pt>
                <c:pt idx="17">
                  <c:v>0.26942346753718965</c:v>
                </c:pt>
                <c:pt idx="18">
                  <c:v>0.26172968842365474</c:v>
                </c:pt>
                <c:pt idx="19">
                  <c:v>0.2705251495705858</c:v>
                </c:pt>
                <c:pt idx="20">
                  <c:v>0.23237763354206617</c:v>
                </c:pt>
                <c:pt idx="21">
                  <c:v>0.296321101617741</c:v>
                </c:pt>
                <c:pt idx="22">
                  <c:v>0.2706218593274727</c:v>
                </c:pt>
                <c:pt idx="23">
                  <c:v>0.22430457255102743</c:v>
                </c:pt>
                <c:pt idx="24">
                  <c:v>0.23718126646938903</c:v>
                </c:pt>
                <c:pt idx="25">
                  <c:v>0.26910703570965344</c:v>
                </c:pt>
                <c:pt idx="26">
                  <c:v>0.27331358974611397</c:v>
                </c:pt>
                <c:pt idx="27">
                  <c:v>0.257685628419807</c:v>
                </c:pt>
                <c:pt idx="28">
                  <c:v>0.2663289519048593</c:v>
                </c:pt>
                <c:pt idx="29">
                  <c:v>0.225430968695427</c:v>
                </c:pt>
                <c:pt idx="30">
                  <c:v>0.24769832137662423</c:v>
                </c:pt>
                <c:pt idx="31">
                  <c:v>0.29109595202823607</c:v>
                </c:pt>
                <c:pt idx="32">
                  <c:v>0.25448321855826683</c:v>
                </c:pt>
                <c:pt idx="33">
                  <c:v>0.24579839082752497</c:v>
                </c:pt>
                <c:pt idx="34">
                  <c:v>0.2697882123316519</c:v>
                </c:pt>
                <c:pt idx="35">
                  <c:v>0.26338320339287674</c:v>
                </c:pt>
                <c:pt idx="36">
                  <c:v>0.2652808283920919</c:v>
                </c:pt>
                <c:pt idx="37">
                  <c:v>0.25596304248806706</c:v>
                </c:pt>
                <c:pt idx="38">
                  <c:v>0.2676080513176654</c:v>
                </c:pt>
                <c:pt idx="39">
                  <c:v>0.22868042588387488</c:v>
                </c:pt>
                <c:pt idx="40">
                  <c:v>0.2600794679218029</c:v>
                </c:pt>
                <c:pt idx="41">
                  <c:v>0.2702299266844538</c:v>
                </c:pt>
                <c:pt idx="42">
                  <c:v>0.2458671971357163</c:v>
                </c:pt>
                <c:pt idx="43">
                  <c:v>0.24785944049410857</c:v>
                </c:pt>
                <c:pt idx="44">
                  <c:v>0.2548623904492803</c:v>
                </c:pt>
                <c:pt idx="45">
                  <c:v>0.255177864261646</c:v>
                </c:pt>
                <c:pt idx="46">
                  <c:v>0.2467462815192371</c:v>
                </c:pt>
                <c:pt idx="47">
                  <c:v>0.25639965970480455</c:v>
                </c:pt>
                <c:pt idx="48">
                  <c:v>0.260808762797485</c:v>
                </c:pt>
                <c:pt idx="49">
                  <c:v>0.26095947819680354</c:v>
                </c:pt>
                <c:pt idx="50">
                  <c:v>0.24963910089674946</c:v>
                </c:pt>
                <c:pt idx="51">
                  <c:v>0.2638598081670771</c:v>
                </c:pt>
                <c:pt idx="52">
                  <c:v>0.2933729941075953</c:v>
                </c:pt>
                <c:pt idx="53">
                  <c:v>0.34262125671488125</c:v>
                </c:pt>
                <c:pt idx="54">
                  <c:v>0.256722700283568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51063829787233"/>
          <c:min val="0.127433628318584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7.3443</c:v>
                </c:pt>
                <c:pt idx="1">
                  <c:v>998.3559</c:v>
                </c:pt>
                <c:pt idx="2">
                  <c:v>1063.8333</c:v>
                </c:pt>
                <c:pt idx="3">
                  <c:v>1074.7624</c:v>
                </c:pt>
                <c:pt idx="4">
                  <c:v>1102.3939</c:v>
                </c:pt>
                <c:pt idx="5">
                  <c:v>1041.7</c:v>
                </c:pt>
                <c:pt idx="6">
                  <c:v>995.8649</c:v>
                </c:pt>
                <c:pt idx="7">
                  <c:v>1047.6623</c:v>
                </c:pt>
                <c:pt idx="8">
                  <c:v>1017.5256</c:v>
                </c:pt>
                <c:pt idx="9">
                  <c:v>1015.4393</c:v>
                </c:pt>
                <c:pt idx="10">
                  <c:v>972.0168</c:v>
                </c:pt>
                <c:pt idx="11">
                  <c:v>1039.912</c:v>
                </c:pt>
                <c:pt idx="12">
                  <c:v>1027.0</c:v>
                </c:pt>
                <c:pt idx="13">
                  <c:v>1019.7486</c:v>
                </c:pt>
                <c:pt idx="14">
                  <c:v>1026.5617</c:v>
                </c:pt>
                <c:pt idx="15">
                  <c:v>1069.6038</c:v>
                </c:pt>
                <c:pt idx="16">
                  <c:v>1156.7273</c:v>
                </c:pt>
                <c:pt idx="17">
                  <c:v>1187.5893</c:v>
                </c:pt>
                <c:pt idx="18">
                  <c:v>1201.0682</c:v>
                </c:pt>
                <c:pt idx="19">
                  <c:v>1033.6512</c:v>
                </c:pt>
                <c:pt idx="20">
                  <c:v>1232.2754</c:v>
                </c:pt>
                <c:pt idx="21">
                  <c:v>1242.7632</c:v>
                </c:pt>
                <c:pt idx="22">
                  <c:v>999.1404</c:v>
                </c:pt>
                <c:pt idx="23">
                  <c:v>1067.6346</c:v>
                </c:pt>
                <c:pt idx="24">
                  <c:v>1132.36</c:v>
                </c:pt>
                <c:pt idx="25">
                  <c:v>1086.5455</c:v>
                </c:pt>
                <c:pt idx="26">
                  <c:v>1112.0508</c:v>
                </c:pt>
                <c:pt idx="27">
                  <c:v>1159.3651</c:v>
                </c:pt>
                <c:pt idx="28">
                  <c:v>1109.2807</c:v>
                </c:pt>
                <c:pt idx="29">
                  <c:v>1081.1545</c:v>
                </c:pt>
                <c:pt idx="30">
                  <c:v>1099.1746</c:v>
                </c:pt>
                <c:pt idx="31">
                  <c:v>1007.9492</c:v>
                </c:pt>
                <c:pt idx="32">
                  <c:v>1055.8889</c:v>
                </c:pt>
                <c:pt idx="33">
                  <c:v>913.2404</c:v>
                </c:pt>
                <c:pt idx="34">
                  <c:v>990.5141</c:v>
                </c:pt>
                <c:pt idx="35">
                  <c:v>1023.0578</c:v>
                </c:pt>
                <c:pt idx="36">
                  <c:v>1091.8403</c:v>
                </c:pt>
                <c:pt idx="37">
                  <c:v>1147.961</c:v>
                </c:pt>
                <c:pt idx="38">
                  <c:v>1268.0333</c:v>
                </c:pt>
                <c:pt idx="39">
                  <c:v>1259.58</c:v>
                </c:pt>
                <c:pt idx="40">
                  <c:v>1240.43</c:v>
                </c:pt>
                <c:pt idx="41">
                  <c:v>1271.2188</c:v>
                </c:pt>
                <c:pt idx="42">
                  <c:v>1311.2297</c:v>
                </c:pt>
                <c:pt idx="43">
                  <c:v>1318.9306</c:v>
                </c:pt>
                <c:pt idx="44">
                  <c:v>1269.178</c:v>
                </c:pt>
                <c:pt idx="45">
                  <c:v>1252.4646</c:v>
                </c:pt>
                <c:pt idx="46">
                  <c:v>1210.3758</c:v>
                </c:pt>
                <c:pt idx="47">
                  <c:v>1213.0157</c:v>
                </c:pt>
                <c:pt idx="48">
                  <c:v>1206.9175</c:v>
                </c:pt>
                <c:pt idx="49">
                  <c:v>1155.6667</c:v>
                </c:pt>
                <c:pt idx="50">
                  <c:v>1177.5986</c:v>
                </c:pt>
                <c:pt idx="51">
                  <c:v>1221.7531</c:v>
                </c:pt>
                <c:pt idx="52">
                  <c:v>1226.9828</c:v>
                </c:pt>
                <c:pt idx="53">
                  <c:v>1296.6</c:v>
                </c:pt>
                <c:pt idx="54">
                  <c:v>1350.1406</c:v>
                </c:pt>
                <c:pt idx="55">
                  <c:v>1372.6667</c:v>
                </c:pt>
                <c:pt idx="56">
                  <c:v>1366.0702</c:v>
                </c:pt>
                <c:pt idx="57">
                  <c:v>1334.0833</c:v>
                </c:pt>
                <c:pt idx="58">
                  <c:v>1185.587</c:v>
                </c:pt>
                <c:pt idx="59">
                  <c:v>1309.7455</c:v>
                </c:pt>
                <c:pt idx="60">
                  <c:v>1339.6489</c:v>
                </c:pt>
                <c:pt idx="61">
                  <c:v>1238.1386</c:v>
                </c:pt>
                <c:pt idx="62">
                  <c:v>1211.5692</c:v>
                </c:pt>
                <c:pt idx="63">
                  <c:v>1222.7794</c:v>
                </c:pt>
                <c:pt idx="64">
                  <c:v>1209.3765</c:v>
                </c:pt>
                <c:pt idx="65">
                  <c:v>1158.8286</c:v>
                </c:pt>
                <c:pt idx="66">
                  <c:v>1211.6269</c:v>
                </c:pt>
                <c:pt idx="67">
                  <c:v>1194.5044</c:v>
                </c:pt>
                <c:pt idx="68">
                  <c:v>1177.974</c:v>
                </c:pt>
                <c:pt idx="69">
                  <c:v>1222.0179</c:v>
                </c:pt>
                <c:pt idx="70">
                  <c:v>1194.5862</c:v>
                </c:pt>
                <c:pt idx="71">
                  <c:v>1301.3542</c:v>
                </c:pt>
                <c:pt idx="72">
                  <c:v>1534.9815</c:v>
                </c:pt>
                <c:pt idx="73">
                  <c:v>1359.4118</c:v>
                </c:pt>
                <c:pt idx="74">
                  <c:v>1339.4737</c:v>
                </c:pt>
                <c:pt idx="75">
                  <c:v>1181.7656</c:v>
                </c:pt>
                <c:pt idx="76">
                  <c:v>1257.4706</c:v>
                </c:pt>
                <c:pt idx="77">
                  <c:v>1314.1957</c:v>
                </c:pt>
                <c:pt idx="78">
                  <c:v>1409.4074</c:v>
                </c:pt>
                <c:pt idx="79">
                  <c:v>847.5476</c:v>
                </c:pt>
                <c:pt idx="80">
                  <c:v>1193.6923</c:v>
                </c:pt>
                <c:pt idx="81">
                  <c:v>1324.6977</c:v>
                </c:pt>
                <c:pt idx="82">
                  <c:v>1175.7941</c:v>
                </c:pt>
                <c:pt idx="83">
                  <c:v>1237.2069</c:v>
                </c:pt>
                <c:pt idx="84">
                  <c:v>1264.6667</c:v>
                </c:pt>
                <c:pt idx="85">
                  <c:v>1326.5862</c:v>
                </c:pt>
                <c:pt idx="86">
                  <c:v>1340.9672</c:v>
                </c:pt>
                <c:pt idx="87">
                  <c:v>1334.3333</c:v>
                </c:pt>
                <c:pt idx="88">
                  <c:v>1361.1163</c:v>
                </c:pt>
                <c:pt idx="89">
                  <c:v>1324.8378</c:v>
                </c:pt>
                <c:pt idx="90">
                  <c:v>1424.4688</c:v>
                </c:pt>
                <c:pt idx="91">
                  <c:v>1448.8333</c:v>
                </c:pt>
                <c:pt idx="92">
                  <c:v>1373.7059</c:v>
                </c:pt>
                <c:pt idx="93">
                  <c:v>1540.4167</c:v>
                </c:pt>
                <c:pt idx="94">
                  <c:v>1547.8966</c:v>
                </c:pt>
                <c:pt idx="95">
                  <c:v>1518.6</c:v>
                </c:pt>
                <c:pt idx="96">
                  <c:v>1393.0952</c:v>
                </c:pt>
                <c:pt idx="97">
                  <c:v>1318.6632</c:v>
                </c:pt>
                <c:pt idx="98">
                  <c:v>1322.8621</c:v>
                </c:pt>
                <c:pt idx="99">
                  <c:v>1270.6863</c:v>
                </c:pt>
                <c:pt idx="100">
                  <c:v>1296.4017</c:v>
                </c:pt>
                <c:pt idx="101">
                  <c:v>1306.1695</c:v>
                </c:pt>
                <c:pt idx="102">
                  <c:v>1340.0968</c:v>
                </c:pt>
                <c:pt idx="103">
                  <c:v>1277.4557</c:v>
                </c:pt>
                <c:pt idx="104">
                  <c:v>1426.5789</c:v>
                </c:pt>
              </c:numCache>
            </c:numRef>
          </c:xVal>
          <c:yVal>
            <c:numRef>
              <c:f>Sheet1!$B$2:$B$106</c:f>
              <c:numCache>
                <c:formatCode>General</c:formatCode>
                <c:ptCount val="105"/>
                <c:pt idx="0">
                  <c:v>0.28438228438228436</c:v>
                </c:pt>
                <c:pt idx="1">
                  <c:v>0.34104046242774566</c:v>
                </c:pt>
                <c:pt idx="2">
                  <c:v>0.294478527607362</c:v>
                </c:pt>
                <c:pt idx="3">
                  <c:v>0.3069908814589666</c:v>
                </c:pt>
                <c:pt idx="4">
                  <c:v>0.3142857142857143</c:v>
                </c:pt>
                <c:pt idx="5">
                  <c:v>0.30612244897959184</c:v>
                </c:pt>
                <c:pt idx="6">
                  <c:v>0.3394495412844037</c:v>
                </c:pt>
                <c:pt idx="7">
                  <c:v>0.3168724279835391</c:v>
                </c:pt>
                <c:pt idx="8">
                  <c:v>0.35454545454545455</c:v>
                </c:pt>
                <c:pt idx="9">
                  <c:v>0.3292307692307692</c:v>
                </c:pt>
                <c:pt idx="10">
                  <c:v>0.3224932249322493</c:v>
                </c:pt>
                <c:pt idx="11">
                  <c:v>0.32808398950131235</c:v>
                </c:pt>
                <c:pt idx="12">
                  <c:v>0.2847826086956522</c:v>
                </c:pt>
                <c:pt idx="13">
                  <c:v>0.35353535353535354</c:v>
                </c:pt>
                <c:pt idx="14">
                  <c:v>0.3403361344537815</c:v>
                </c:pt>
                <c:pt idx="15">
                  <c:v>0.2994350282485876</c:v>
                </c:pt>
                <c:pt idx="16">
                  <c:v>0.25163398692810457</c:v>
                </c:pt>
                <c:pt idx="17">
                  <c:v>0.24778761061946902</c:v>
                </c:pt>
                <c:pt idx="18">
                  <c:v>0.26666666666666666</c:v>
                </c:pt>
                <c:pt idx="19">
                  <c:v>0.28104575163398693</c:v>
                </c:pt>
                <c:pt idx="20">
                  <c:v>0.2987012987012987</c:v>
                </c:pt>
                <c:pt idx="21">
                  <c:v>0.34234234234234234</c:v>
                </c:pt>
                <c:pt idx="22">
                  <c:v>0.40425531914893614</c:v>
                </c:pt>
                <c:pt idx="23">
                  <c:v>0.34210526315789475</c:v>
                </c:pt>
                <c:pt idx="24">
                  <c:v>0.3184713375796178</c:v>
                </c:pt>
                <c:pt idx="25">
                  <c:v>0.3464566929133858</c:v>
                </c:pt>
                <c:pt idx="26">
                  <c:v>0.33714285714285713</c:v>
                </c:pt>
                <c:pt idx="27">
                  <c:v>0.33689839572192515</c:v>
                </c:pt>
                <c:pt idx="28">
                  <c:v>0.3064516129032258</c:v>
                </c:pt>
                <c:pt idx="29">
                  <c:v>0.3559870550161812</c:v>
                </c:pt>
                <c:pt idx="30">
                  <c:v>0.3423913043478261</c:v>
                </c:pt>
                <c:pt idx="31">
                  <c:v>0.33146067415730335</c:v>
                </c:pt>
                <c:pt idx="32">
                  <c:v>0.33157894736842103</c:v>
                </c:pt>
                <c:pt idx="33">
                  <c:v>0.36879432624113473</c:v>
                </c:pt>
                <c:pt idx="34">
                  <c:v>0.3320825515947467</c:v>
                </c:pt>
                <c:pt idx="35">
                  <c:v>0.31645569620253167</c:v>
                </c:pt>
                <c:pt idx="36">
                  <c:v>0.33055555555555555</c:v>
                </c:pt>
                <c:pt idx="37">
                  <c:v>0.32217573221757323</c:v>
                </c:pt>
                <c:pt idx="38">
                  <c:v>0.2764976958525346</c:v>
                </c:pt>
                <c:pt idx="39">
                  <c:v>0.21367521367521367</c:v>
                </c:pt>
                <c:pt idx="40">
                  <c:v>0.31746031746031744</c:v>
                </c:pt>
                <c:pt idx="41">
                  <c:v>0.32160804020100503</c:v>
                </c:pt>
                <c:pt idx="42">
                  <c:v>0.3162393162393162</c:v>
                </c:pt>
                <c:pt idx="43">
                  <c:v>0.3</c:v>
                </c:pt>
                <c:pt idx="44">
                  <c:v>0.28162291169451076</c:v>
                </c:pt>
                <c:pt idx="45">
                  <c:v>0.29398148148148145</c:v>
                </c:pt>
                <c:pt idx="46">
                  <c:v>0.29359430604982206</c:v>
                </c:pt>
                <c:pt idx="47">
                  <c:v>0.28863636363636364</c:v>
                </c:pt>
                <c:pt idx="48">
                  <c:v>0.27320954907161804</c:v>
                </c:pt>
                <c:pt idx="49">
                  <c:v>0.27527216174183516</c:v>
                </c:pt>
                <c:pt idx="50">
                  <c:v>0.26996197718631176</c:v>
                </c:pt>
                <c:pt idx="51">
                  <c:v>0.2764505119453925</c:v>
                </c:pt>
                <c:pt idx="52">
                  <c:v>0.2505399568034557</c:v>
                </c:pt>
                <c:pt idx="53">
                  <c:v>0.2484472049689441</c:v>
                </c:pt>
                <c:pt idx="54">
                  <c:v>0.2644628099173554</c:v>
                </c:pt>
                <c:pt idx="55">
                  <c:v>0.242152466367713</c:v>
                </c:pt>
                <c:pt idx="56">
                  <c:v>0.2511013215859031</c:v>
                </c:pt>
                <c:pt idx="57">
                  <c:v>0.24793388429752067</c:v>
                </c:pt>
                <c:pt idx="58">
                  <c:v>0.2911392405063291</c:v>
                </c:pt>
                <c:pt idx="59">
                  <c:v>0.21568627450980393</c:v>
                </c:pt>
                <c:pt idx="60">
                  <c:v>0.2717842323651452</c:v>
                </c:pt>
                <c:pt idx="61">
                  <c:v>0.28291316526610644</c:v>
                </c:pt>
                <c:pt idx="62">
                  <c:v>0.2813852813852814</c:v>
                </c:pt>
                <c:pt idx="63">
                  <c:v>0.2532588454376164</c:v>
                </c:pt>
                <c:pt idx="64">
                  <c:v>0.2660098522167488</c:v>
                </c:pt>
                <c:pt idx="65">
                  <c:v>0.26217228464419473</c:v>
                </c:pt>
                <c:pt idx="66">
                  <c:v>0.27628865979381445</c:v>
                </c:pt>
                <c:pt idx="67">
                  <c:v>0.26036866359447003</c:v>
                </c:pt>
                <c:pt idx="68">
                  <c:v>0.2361963190184049</c:v>
                </c:pt>
                <c:pt idx="69">
                  <c:v>0.22672064777327935</c:v>
                </c:pt>
                <c:pt idx="70">
                  <c:v>0.2761904761904762</c:v>
                </c:pt>
                <c:pt idx="71">
                  <c:v>0.2857142857142857</c:v>
                </c:pt>
                <c:pt idx="72">
                  <c:v>0.2647058823529412</c:v>
                </c:pt>
                <c:pt idx="73">
                  <c:v>0.2914285714285714</c:v>
                </c:pt>
                <c:pt idx="74">
                  <c:v>0.30319148936170215</c:v>
                </c:pt>
                <c:pt idx="75">
                  <c:v>0.3657142857142857</c:v>
                </c:pt>
                <c:pt idx="76">
                  <c:v>0.26153846153846155</c:v>
                </c:pt>
                <c:pt idx="77">
                  <c:v>0.32167832167832167</c:v>
                </c:pt>
                <c:pt idx="78">
                  <c:v>0.2647058823529412</c:v>
                </c:pt>
                <c:pt idx="79">
                  <c:v>0.3230769230769231</c:v>
                </c:pt>
                <c:pt idx="80">
                  <c:v>0.3023255813953488</c:v>
                </c:pt>
                <c:pt idx="81">
                  <c:v>0.26380368098159507</c:v>
                </c:pt>
                <c:pt idx="82">
                  <c:v>0.2809917355371901</c:v>
                </c:pt>
                <c:pt idx="83">
                  <c:v>0.29591836734693877</c:v>
                </c:pt>
                <c:pt idx="84">
                  <c:v>0.3</c:v>
                </c:pt>
                <c:pt idx="85">
                  <c:v>0.26126126126126126</c:v>
                </c:pt>
                <c:pt idx="86">
                  <c:v>0.3370165745856354</c:v>
                </c:pt>
                <c:pt idx="87">
                  <c:v>0.36681222707423583</c:v>
                </c:pt>
                <c:pt idx="88">
                  <c:v>0.35537190082644626</c:v>
                </c:pt>
                <c:pt idx="89">
                  <c:v>0.38144329896907214</c:v>
                </c:pt>
                <c:pt idx="90">
                  <c:v>0.3018867924528302</c:v>
                </c:pt>
                <c:pt idx="91">
                  <c:v>0.2912621359223301</c:v>
                </c:pt>
                <c:pt idx="92">
                  <c:v>0.30538922155688625</c:v>
                </c:pt>
                <c:pt idx="93">
                  <c:v>0.225</c:v>
                </c:pt>
                <c:pt idx="94">
                  <c:v>0.2230769230769231</c:v>
                </c:pt>
                <c:pt idx="95">
                  <c:v>0.2617801047120419</c:v>
                </c:pt>
                <c:pt idx="96">
                  <c:v>0.2420749279538905</c:v>
                </c:pt>
                <c:pt idx="97">
                  <c:v>0.24739583333333334</c:v>
                </c:pt>
                <c:pt idx="98">
                  <c:v>0.2401656314699793</c:v>
                </c:pt>
                <c:pt idx="99">
                  <c:v>0.25844594594594594</c:v>
                </c:pt>
                <c:pt idx="100">
                  <c:v>0.2620380739081747</c:v>
                </c:pt>
                <c:pt idx="101">
                  <c:v>0.2694063926940639</c:v>
                </c:pt>
                <c:pt idx="102">
                  <c:v>0.2421875</c:v>
                </c:pt>
                <c:pt idx="103">
                  <c:v>0.26158940397350994</c:v>
                </c:pt>
                <c:pt idx="104">
                  <c:v>0.23849372384937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7.5571</c:v>
                </c:pt>
                <c:pt idx="1">
                  <c:v>1456.8636</c:v>
                </c:pt>
                <c:pt idx="2">
                  <c:v>1428.2763</c:v>
                </c:pt>
                <c:pt idx="3">
                  <c:v>1423.475</c:v>
                </c:pt>
                <c:pt idx="4">
                  <c:v>1277.0278</c:v>
                </c:pt>
                <c:pt idx="5">
                  <c:v>1376.0667</c:v>
                </c:pt>
                <c:pt idx="6">
                  <c:v>1390.3537</c:v>
                </c:pt>
                <c:pt idx="7">
                  <c:v>1333.7838</c:v>
                </c:pt>
                <c:pt idx="8">
                  <c:v>1409.7869</c:v>
                </c:pt>
                <c:pt idx="9">
                  <c:v>1379.0517</c:v>
                </c:pt>
                <c:pt idx="10">
                  <c:v>1360.6349</c:v>
                </c:pt>
                <c:pt idx="11">
                  <c:v>1295.79</c:v>
                </c:pt>
                <c:pt idx="12">
                  <c:v>1229.2692</c:v>
                </c:pt>
                <c:pt idx="13">
                  <c:v>1284.5155</c:v>
                </c:pt>
                <c:pt idx="14">
                  <c:v>1376.2836</c:v>
                </c:pt>
                <c:pt idx="15">
                  <c:v>1378.7288</c:v>
                </c:pt>
                <c:pt idx="16">
                  <c:v>1381.2264</c:v>
                </c:pt>
                <c:pt idx="17">
                  <c:v>1286.625</c:v>
                </c:pt>
                <c:pt idx="18">
                  <c:v>1004.72</c:v>
                </c:pt>
                <c:pt idx="19">
                  <c:v>1326.7407</c:v>
                </c:pt>
                <c:pt idx="20">
                  <c:v>1485.1379</c:v>
                </c:pt>
                <c:pt idx="21">
                  <c:v>869.5758</c:v>
                </c:pt>
                <c:pt idx="22">
                  <c:v>1499.2143</c:v>
                </c:pt>
                <c:pt idx="23">
                  <c:v>1503.3889</c:v>
                </c:pt>
                <c:pt idx="24">
                  <c:v>1618.619</c:v>
                </c:pt>
                <c:pt idx="25">
                  <c:v>1407.9655</c:v>
                </c:pt>
                <c:pt idx="26">
                  <c:v>1463.6552</c:v>
                </c:pt>
                <c:pt idx="27">
                  <c:v>1337.3421</c:v>
                </c:pt>
                <c:pt idx="28">
                  <c:v>1471.3333</c:v>
                </c:pt>
                <c:pt idx="29">
                  <c:v>1464.3103</c:v>
                </c:pt>
                <c:pt idx="30">
                  <c:v>1235.9767</c:v>
                </c:pt>
                <c:pt idx="31">
                  <c:v>975.7115</c:v>
                </c:pt>
                <c:pt idx="32">
                  <c:v>1527.2188</c:v>
                </c:pt>
                <c:pt idx="33">
                  <c:v>1519.2632</c:v>
                </c:pt>
                <c:pt idx="34">
                  <c:v>1508.0849</c:v>
                </c:pt>
                <c:pt idx="35">
                  <c:v>1469.0361</c:v>
                </c:pt>
                <c:pt idx="36">
                  <c:v>1561.0323</c:v>
                </c:pt>
                <c:pt idx="37">
                  <c:v>1349.95</c:v>
                </c:pt>
                <c:pt idx="38">
                  <c:v>1622.2821</c:v>
                </c:pt>
                <c:pt idx="39">
                  <c:v>1597.0167</c:v>
                </c:pt>
                <c:pt idx="40">
                  <c:v>1552.5789</c:v>
                </c:pt>
                <c:pt idx="41">
                  <c:v>1571.5455</c:v>
                </c:pt>
                <c:pt idx="42">
                  <c:v>1659.1364</c:v>
                </c:pt>
                <c:pt idx="43">
                  <c:v>1520.1379</c:v>
                </c:pt>
                <c:pt idx="44">
                  <c:v>1469.3906</c:v>
                </c:pt>
                <c:pt idx="45">
                  <c:v>1463.5408</c:v>
                </c:pt>
                <c:pt idx="46">
                  <c:v>1440.7273</c:v>
                </c:pt>
                <c:pt idx="47">
                  <c:v>1377.978</c:v>
                </c:pt>
                <c:pt idx="48">
                  <c:v>1323.8539</c:v>
                </c:pt>
                <c:pt idx="49">
                  <c:v>1384.5755</c:v>
                </c:pt>
                <c:pt idx="50">
                  <c:v>1326.8846</c:v>
                </c:pt>
                <c:pt idx="51">
                  <c:v>1261.3084</c:v>
                </c:pt>
              </c:numCache>
            </c:numRef>
          </c:xVal>
          <c:yVal>
            <c:numRef>
              <c:f>Sheet1!$B$109:$B$160</c:f>
              <c:numCache>
                <c:formatCode>General</c:formatCode>
                <c:ptCount val="52"/>
                <c:pt idx="0">
                  <c:v>0.2857142857142857</c:v>
                </c:pt>
                <c:pt idx="1">
                  <c:v>0.29464285714285715</c:v>
                </c:pt>
                <c:pt idx="2">
                  <c:v>0.2638888888888889</c:v>
                </c:pt>
                <c:pt idx="3">
                  <c:v>0.2867383512544803</c:v>
                </c:pt>
                <c:pt idx="4">
                  <c:v>0.30638297872340425</c:v>
                </c:pt>
                <c:pt idx="5">
                  <c:v>0.30864197530864196</c:v>
                </c:pt>
                <c:pt idx="6">
                  <c:v>0.2918149466192171</c:v>
                </c:pt>
                <c:pt idx="7">
                  <c:v>0.296</c:v>
                </c:pt>
                <c:pt idx="8">
                  <c:v>0.3065326633165829</c:v>
                </c:pt>
                <c:pt idx="9">
                  <c:v>0.27884615384615385</c:v>
                </c:pt>
                <c:pt idx="10">
                  <c:v>0.250996015936255</c:v>
                </c:pt>
                <c:pt idx="11">
                  <c:v>0.2457002457002457</c:v>
                </c:pt>
                <c:pt idx="12">
                  <c:v>0.2593516209476309</c:v>
                </c:pt>
                <c:pt idx="13">
                  <c:v>0.2740112994350282</c:v>
                </c:pt>
                <c:pt idx="14">
                  <c:v>0.2375886524822695</c:v>
                </c:pt>
                <c:pt idx="15">
                  <c:v>0.23983739837398374</c:v>
                </c:pt>
                <c:pt idx="16">
                  <c:v>0.25</c:v>
                </c:pt>
                <c:pt idx="17">
                  <c:v>0.2247191011235955</c:v>
                </c:pt>
                <c:pt idx="18">
                  <c:v>0.2777777777777778</c:v>
                </c:pt>
                <c:pt idx="19">
                  <c:v>0.27</c:v>
                </c:pt>
                <c:pt idx="20">
                  <c:v>0.23577235772357724</c:v>
                </c:pt>
                <c:pt idx="21">
                  <c:v>0.38372093023255816</c:v>
                </c:pt>
                <c:pt idx="22">
                  <c:v>0.19444444444444445</c:v>
                </c:pt>
                <c:pt idx="23">
                  <c:v>0.1592920353982301</c:v>
                </c:pt>
                <c:pt idx="24">
                  <c:v>0.19626168224299065</c:v>
                </c:pt>
                <c:pt idx="25">
                  <c:v>0.2196969696969697</c:v>
                </c:pt>
                <c:pt idx="26">
                  <c:v>0.24786324786324787</c:v>
                </c:pt>
                <c:pt idx="27">
                  <c:v>0.2550335570469799</c:v>
                </c:pt>
                <c:pt idx="28">
                  <c:v>0.1978021978021978</c:v>
                </c:pt>
                <c:pt idx="29">
                  <c:v>0.20279720279720279</c:v>
                </c:pt>
                <c:pt idx="30">
                  <c:v>0.27388535031847133</c:v>
                </c:pt>
                <c:pt idx="31">
                  <c:v>0.3466666666666667</c:v>
                </c:pt>
                <c:pt idx="32">
                  <c:v>0.2119205298013245</c:v>
                </c:pt>
                <c:pt idx="33">
                  <c:v>0.23170731707317074</c:v>
                </c:pt>
                <c:pt idx="34">
                  <c:v>0.23555555555555555</c:v>
                </c:pt>
                <c:pt idx="35">
                  <c:v>0.266025641025641</c:v>
                </c:pt>
                <c:pt idx="36">
                  <c:v>0.23846153846153847</c:v>
                </c:pt>
                <c:pt idx="37">
                  <c:v>0.25477707006369427</c:v>
                </c:pt>
                <c:pt idx="38">
                  <c:v>0.2392638036809816</c:v>
                </c:pt>
                <c:pt idx="39">
                  <c:v>0.27522935779816515</c:v>
                </c:pt>
                <c:pt idx="40">
                  <c:v>0.25333333333333335</c:v>
                </c:pt>
                <c:pt idx="41">
                  <c:v>0.2682926829268293</c:v>
                </c:pt>
                <c:pt idx="42">
                  <c:v>0.2972972972972973</c:v>
                </c:pt>
                <c:pt idx="43">
                  <c:v>0.24472573839662448</c:v>
                </c:pt>
                <c:pt idx="44">
                  <c:v>0.2379182156133829</c:v>
                </c:pt>
                <c:pt idx="45">
                  <c:v>0.22897196261682243</c:v>
                </c:pt>
                <c:pt idx="46">
                  <c:v>0.22996515679442509</c:v>
                </c:pt>
                <c:pt idx="47">
                  <c:v>0.27575757575757576</c:v>
                </c:pt>
                <c:pt idx="48">
                  <c:v>0.24585635359116023</c:v>
                </c:pt>
                <c:pt idx="49">
                  <c:v>0.2517814726840855</c:v>
                </c:pt>
                <c:pt idx="50">
                  <c:v>0.25034387895460797</c:v>
                </c:pt>
                <c:pt idx="51">
                  <c:v>0.277922077922077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2.3128271656268</c:v>
                </c:pt>
              </c:numCache>
            </c:numRef>
          </c:xVal>
          <c:yVal>
            <c:numRef>
              <c:f>Sheet1!$B$163:$B$164</c:f>
              <c:numCache>
                <c:formatCode>General</c:formatCode>
                <c:ptCount val="2"/>
                <c:pt idx="0">
                  <c:v>0.34262125671488125</c:v>
                </c:pt>
                <c:pt idx="1">
                  <c:v>0.34262125671488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2.3128271656268</c:v>
                </c:pt>
                <c:pt idx="1">
                  <c:v>802.3128271656268</c:v>
                </c:pt>
              </c:numCache>
            </c:numRef>
          </c:xVal>
          <c:yVal>
            <c:numRef>
              <c:f>Sheet1!$B$167:$B$168</c:f>
              <c:numCache>
                <c:formatCode>General</c:formatCode>
                <c:ptCount val="2"/>
                <c:pt idx="0">
                  <c:v>0.34262125671488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5.750813661207</c:v>
                </c:pt>
              </c:numCache>
            </c:numRef>
          </c:xVal>
          <c:yVal>
            <c:numRef>
              <c:f>Sheet1!$B$171:$B$172</c:f>
              <c:numCache>
                <c:formatCode>General</c:formatCode>
                <c:ptCount val="2"/>
                <c:pt idx="0">
                  <c:v>0.2933729941075953</c:v>
                </c:pt>
                <c:pt idx="1">
                  <c:v>0.29337299410759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5.750813661207</c:v>
                </c:pt>
                <c:pt idx="1">
                  <c:v>1145.750813661207</c:v>
                </c:pt>
              </c:numCache>
            </c:numRef>
          </c:xVal>
          <c:yVal>
            <c:numRef>
              <c:f>Sheet1!$B$175:$B$176</c:f>
              <c:numCache>
                <c:formatCode>General</c:formatCode>
                <c:ptCount val="2"/>
                <c:pt idx="0">
                  <c:v>0.29337299410759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1.3355277000956</c:v>
                </c:pt>
              </c:numCache>
            </c:numRef>
          </c:xVal>
          <c:yVal>
            <c:numRef>
              <c:f>Sheet1!$B$179:$B$180</c:f>
              <c:numCache>
                <c:formatCode>General</c:formatCode>
                <c:ptCount val="2"/>
                <c:pt idx="0">
                  <c:v>0.25672270028356825</c:v>
                </c:pt>
                <c:pt idx="1">
                  <c:v>0.256722700283568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1.3355277000956</c:v>
                </c:pt>
                <c:pt idx="1">
                  <c:v>1401.3355277000956</c:v>
                </c:pt>
              </c:numCache>
            </c:numRef>
          </c:xVal>
          <c:yVal>
            <c:numRef>
              <c:f>Sheet1!$B$183:$B$184</c:f>
              <c:numCache>
                <c:formatCode>General</c:formatCode>
                <c:ptCount val="2"/>
                <c:pt idx="0">
                  <c:v>0.256722700283568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7.5571</c:v>
                </c:pt>
                <c:pt idx="1">
                  <c:v>1456.8636</c:v>
                </c:pt>
                <c:pt idx="2">
                  <c:v>1428.2763</c:v>
                </c:pt>
                <c:pt idx="3">
                  <c:v>1423.475</c:v>
                </c:pt>
                <c:pt idx="4">
                  <c:v>1277.0278</c:v>
                </c:pt>
                <c:pt idx="5">
                  <c:v>1376.0667</c:v>
                </c:pt>
                <c:pt idx="6">
                  <c:v>1390.3537</c:v>
                </c:pt>
                <c:pt idx="7">
                  <c:v>1333.7838</c:v>
                </c:pt>
                <c:pt idx="8">
                  <c:v>1409.7869</c:v>
                </c:pt>
                <c:pt idx="9">
                  <c:v>1379.0517</c:v>
                </c:pt>
                <c:pt idx="10">
                  <c:v>1360.6349</c:v>
                </c:pt>
                <c:pt idx="11">
                  <c:v>1295.79</c:v>
                </c:pt>
                <c:pt idx="12">
                  <c:v>1229.2692</c:v>
                </c:pt>
                <c:pt idx="13">
                  <c:v>1284.5155</c:v>
                </c:pt>
                <c:pt idx="14">
                  <c:v>1376.2836</c:v>
                </c:pt>
                <c:pt idx="15">
                  <c:v>1378.7288</c:v>
                </c:pt>
                <c:pt idx="16">
                  <c:v>1381.2264</c:v>
                </c:pt>
                <c:pt idx="17">
                  <c:v>1286.625</c:v>
                </c:pt>
                <c:pt idx="18">
                  <c:v>1004.72</c:v>
                </c:pt>
                <c:pt idx="19">
                  <c:v>1326.7407</c:v>
                </c:pt>
                <c:pt idx="20">
                  <c:v>1485.1379</c:v>
                </c:pt>
                <c:pt idx="21">
                  <c:v>869.5758</c:v>
                </c:pt>
                <c:pt idx="22">
                  <c:v>1499.2143</c:v>
                </c:pt>
                <c:pt idx="23">
                  <c:v>1503.3889</c:v>
                </c:pt>
                <c:pt idx="24">
                  <c:v>1618.619</c:v>
                </c:pt>
                <c:pt idx="25">
                  <c:v>1407.9655</c:v>
                </c:pt>
                <c:pt idx="26">
                  <c:v>1463.6552</c:v>
                </c:pt>
                <c:pt idx="27">
                  <c:v>1337.3421</c:v>
                </c:pt>
                <c:pt idx="28">
                  <c:v>1471.3333</c:v>
                </c:pt>
                <c:pt idx="29">
                  <c:v>1464.3103</c:v>
                </c:pt>
                <c:pt idx="30">
                  <c:v>1235.9767</c:v>
                </c:pt>
                <c:pt idx="31">
                  <c:v>975.7115</c:v>
                </c:pt>
                <c:pt idx="32">
                  <c:v>1527.2188</c:v>
                </c:pt>
                <c:pt idx="33">
                  <c:v>1519.2632</c:v>
                </c:pt>
                <c:pt idx="34">
                  <c:v>1508.0849</c:v>
                </c:pt>
                <c:pt idx="35">
                  <c:v>1469.0361</c:v>
                </c:pt>
                <c:pt idx="36">
                  <c:v>1561.0323</c:v>
                </c:pt>
                <c:pt idx="37">
                  <c:v>1349.95</c:v>
                </c:pt>
                <c:pt idx="38">
                  <c:v>1622.2821</c:v>
                </c:pt>
                <c:pt idx="39">
                  <c:v>1597.0167</c:v>
                </c:pt>
                <c:pt idx="40">
                  <c:v>1552.5789</c:v>
                </c:pt>
                <c:pt idx="41">
                  <c:v>1571.5455</c:v>
                </c:pt>
                <c:pt idx="42">
                  <c:v>1659.1364</c:v>
                </c:pt>
                <c:pt idx="43">
                  <c:v>1520.1379</c:v>
                </c:pt>
                <c:pt idx="44">
                  <c:v>1469.3906</c:v>
                </c:pt>
                <c:pt idx="45">
                  <c:v>1463.5408</c:v>
                </c:pt>
                <c:pt idx="46">
                  <c:v>1440.7273</c:v>
                </c:pt>
                <c:pt idx="47">
                  <c:v>1377.978</c:v>
                </c:pt>
                <c:pt idx="48">
                  <c:v>1323.8539</c:v>
                </c:pt>
                <c:pt idx="49">
                  <c:v>1384.5755</c:v>
                </c:pt>
                <c:pt idx="50">
                  <c:v>1326.8846</c:v>
                </c:pt>
                <c:pt idx="51">
                  <c:v>1261.3084</c:v>
                </c:pt>
                <c:pt idx="52">
                  <c:v>1145.750813661207</c:v>
                </c:pt>
                <c:pt idx="53">
                  <c:v>802.3128271656268</c:v>
                </c:pt>
                <c:pt idx="54">
                  <c:v>1401.3355277000956</c:v>
                </c:pt>
              </c:numCache>
            </c:numRef>
          </c:xVal>
          <c:yVal>
            <c:numRef>
              <c:f>Sheet1!$B$187:$B$241</c:f>
              <c:numCache>
                <c:formatCode>General</c:formatCode>
                <c:ptCount val="55"/>
                <c:pt idx="0">
                  <c:v>0.25152860535284505</c:v>
                </c:pt>
                <c:pt idx="1">
                  <c:v>0.24876009511398187</c:v>
                </c:pt>
                <c:pt idx="2">
                  <c:v>0.25285945194983783</c:v>
                </c:pt>
                <c:pt idx="3">
                  <c:v>0.25354794795946434</c:v>
                </c:pt>
                <c:pt idx="4">
                  <c:v>0.2745481589067019</c:v>
                </c:pt>
                <c:pt idx="5">
                  <c:v>0.2603461953868642</c:v>
                </c:pt>
                <c:pt idx="6">
                  <c:v>0.25829747056451746</c:v>
                </c:pt>
                <c:pt idx="7">
                  <c:v>0.2664094715673645</c:v>
                </c:pt>
                <c:pt idx="8">
                  <c:v>0.2555107918203704</c:v>
                </c:pt>
                <c:pt idx="9">
                  <c:v>0.2599181528590624</c:v>
                </c:pt>
                <c:pt idx="10">
                  <c:v>0.2625590820470092</c:v>
                </c:pt>
                <c:pt idx="11">
                  <c:v>0.2718577001076654</c:v>
                </c:pt>
                <c:pt idx="12">
                  <c:v>0.2813966385945672</c:v>
                </c:pt>
                <c:pt idx="13">
                  <c:v>0.27347443896183693</c:v>
                </c:pt>
                <c:pt idx="14">
                  <c:v>0.2603150923971556</c:v>
                </c:pt>
                <c:pt idx="15">
                  <c:v>0.2599644560189375</c:v>
                </c:pt>
                <c:pt idx="16">
                  <c:v>0.2596063055943352</c:v>
                </c:pt>
                <c:pt idx="17">
                  <c:v>0.2731719412357404</c:v>
                </c:pt>
                <c:pt idx="18">
                  <c:v>0.31359650699787867</c:v>
                </c:pt>
                <c:pt idx="19">
                  <c:v>0.2674194368362292</c:v>
                </c:pt>
                <c:pt idx="20">
                  <c:v>0.2447056217994666</c:v>
                </c:pt>
                <c:pt idx="21">
                  <c:v>0.3329758922527396</c:v>
                </c:pt>
                <c:pt idx="22">
                  <c:v>0.2426870965604883</c:v>
                </c:pt>
                <c:pt idx="23">
                  <c:v>0.2420884679720255</c:v>
                </c:pt>
                <c:pt idx="24">
                  <c:v>0.22556472147860476</c:v>
                </c:pt>
                <c:pt idx="25">
                  <c:v>0.25577197663113693</c:v>
                </c:pt>
                <c:pt idx="26">
                  <c:v>0.24778619439980462</c:v>
                </c:pt>
                <c:pt idx="27">
                  <c:v>0.26589921906261493</c:v>
                </c:pt>
                <c:pt idx="28">
                  <c:v>0.2466851715077726</c:v>
                </c:pt>
                <c:pt idx="29">
                  <c:v>0.24769225448021898</c:v>
                </c:pt>
                <c:pt idx="30">
                  <c:v>0.2804347976380409</c:v>
                </c:pt>
                <c:pt idx="31">
                  <c:v>0.3177562630004717</c:v>
                </c:pt>
                <c:pt idx="32">
                  <c:v>0.23867131198098174</c:v>
                </c:pt>
                <c:pt idx="33">
                  <c:v>0.23981212777132696</c:v>
                </c:pt>
                <c:pt idx="34">
                  <c:v>0.24141507175408325</c:v>
                </c:pt>
                <c:pt idx="35">
                  <c:v>0.24701458500689036</c:v>
                </c:pt>
                <c:pt idx="36">
                  <c:v>0.23382252939678472</c:v>
                </c:pt>
                <c:pt idx="37">
                  <c:v>0.2640912735395754</c:v>
                </c:pt>
                <c:pt idx="38">
                  <c:v>0.22503944088108685</c:v>
                </c:pt>
                <c:pt idx="39">
                  <c:v>0.2286624444596212</c:v>
                </c:pt>
                <c:pt idx="40">
                  <c:v>0.2350347286277798</c:v>
                </c:pt>
                <c:pt idx="41">
                  <c:v>0.23231495931193163</c:v>
                </c:pt>
                <c:pt idx="42">
                  <c:v>0.21975461417007577</c:v>
                </c:pt>
                <c:pt idx="43">
                  <c:v>0.23968669768788703</c:v>
                </c:pt>
                <c:pt idx="44">
                  <c:v>0.24696375047553165</c:v>
                </c:pt>
                <c:pt idx="45">
                  <c:v>0.24780259911175787</c:v>
                </c:pt>
                <c:pt idx="46">
                  <c:v>0.2510740055466013</c:v>
                </c:pt>
                <c:pt idx="47">
                  <c:v>0.26007211911102246</c:v>
                </c:pt>
                <c:pt idx="48">
                  <c:v>0.26783339769695225</c:v>
                </c:pt>
                <c:pt idx="49">
                  <c:v>0.2591260519159897</c:v>
                </c:pt>
                <c:pt idx="50">
                  <c:v>0.267398801888239</c:v>
                </c:pt>
                <c:pt idx="51">
                  <c:v>0.2768022867832609</c:v>
                </c:pt>
                <c:pt idx="52">
                  <c:v>0.2933729941075953</c:v>
                </c:pt>
                <c:pt idx="53">
                  <c:v>0.34262125671488125</c:v>
                </c:pt>
                <c:pt idx="54">
                  <c:v>0.256722700283568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91.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51063829787233"/>
          <c:min val="0.127433628318584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01128230804393</c:v>
                </c:pt>
                <c:pt idx="1">
                  <c:v>0.7767530267994316</c:v>
                </c:pt>
                <c:pt idx="2">
                  <c:v>0.7659990671802934</c:v>
                </c:pt>
                <c:pt idx="3">
                  <c:v>0.780283490384755</c:v>
                </c:pt>
                <c:pt idx="4">
                  <c:v>0.8038343987974904</c:v>
                </c:pt>
                <c:pt idx="5">
                  <c:v>0.7983099963217425</c:v>
                </c:pt>
                <c:pt idx="6">
                  <c:v>0.7200000350724879</c:v>
                </c:pt>
                <c:pt idx="7">
                  <c:v>0.7109182627630803</c:v>
                </c:pt>
                <c:pt idx="8">
                  <c:v>0.7957583926218438</c:v>
                </c:pt>
                <c:pt idx="9">
                  <c:v>0.8655005296139062</c:v>
                </c:pt>
                <c:pt idx="10">
                  <c:v>0.8860687259082373</c:v>
                </c:pt>
                <c:pt idx="11">
                  <c:v>0.9773404901746838</c:v>
                </c:pt>
                <c:pt idx="12">
                  <c:v>0.9512211262843661</c:v>
                </c:pt>
                <c:pt idx="13">
                  <c:v>0.9524998074632764</c:v>
                </c:pt>
                <c:pt idx="14">
                  <c:v>0.9648486680312403</c:v>
                </c:pt>
                <c:pt idx="15">
                  <c:v>0.9771431193673465</c:v>
                </c:pt>
                <c:pt idx="16">
                  <c:v>0.984540979788814</c:v>
                </c:pt>
                <c:pt idx="17">
                  <c:v>1.0010323327090467</c:v>
                </c:pt>
                <c:pt idx="18">
                  <c:v>1.0343812846946867</c:v>
                </c:pt>
                <c:pt idx="19">
                  <c:v>0.9689467443148225</c:v>
                </c:pt>
                <c:pt idx="20">
                  <c:v>1.0293541328856048</c:v>
                </c:pt>
                <c:pt idx="21">
                  <c:v>0.891685400281168</c:v>
                </c:pt>
                <c:pt idx="22">
                  <c:v>0.7897107768665571</c:v>
                </c:pt>
                <c:pt idx="23">
                  <c:v>0.7882542617978118</c:v>
                </c:pt>
                <c:pt idx="24">
                  <c:v>0.7976482235167467</c:v>
                </c:pt>
                <c:pt idx="25">
                  <c:v>0.7429586405493498</c:v>
                </c:pt>
                <c:pt idx="26">
                  <c:v>0.7467373649411385</c:v>
                </c:pt>
                <c:pt idx="27">
                  <c:v>0.7475539068673185</c:v>
                </c:pt>
                <c:pt idx="28">
                  <c:v>0.7242223396399371</c:v>
                </c:pt>
                <c:pt idx="29">
                  <c:v>0.6926711186762137</c:v>
                </c:pt>
                <c:pt idx="30">
                  <c:v>0.709211079892525</c:v>
                </c:pt>
                <c:pt idx="31">
                  <c:v>0.7160266001817693</c:v>
                </c:pt>
                <c:pt idx="32">
                  <c:v>0.7220845250663852</c:v>
                </c:pt>
                <c:pt idx="33">
                  <c:v>0.7141452755365496</c:v>
                </c:pt>
                <c:pt idx="34">
                  <c:v>0.8607776838479835</c:v>
                </c:pt>
                <c:pt idx="35">
                  <c:v>1.0501698532000152</c:v>
                </c:pt>
                <c:pt idx="36">
                  <c:v>0.9516937885844358</c:v>
                </c:pt>
                <c:pt idx="37">
                  <c:v>0.9100945522499212</c:v>
                </c:pt>
                <c:pt idx="38">
                  <c:v>1.0313572853833404</c:v>
                </c:pt>
                <c:pt idx="39">
                  <c:v>0.9357747059200447</c:v>
                </c:pt>
                <c:pt idx="40">
                  <c:v>0.9954073581194871</c:v>
                </c:pt>
                <c:pt idx="41">
                  <c:v>0.9282386235782039</c:v>
                </c:pt>
                <c:pt idx="42">
                  <c:v>0.9585796704284685</c:v>
                </c:pt>
                <c:pt idx="43">
                  <c:v>0.9442472262554032</c:v>
                </c:pt>
                <c:pt idx="44">
                  <c:v>0.9774029470613778</c:v>
                </c:pt>
                <c:pt idx="45">
                  <c:v>1.0190269123964202</c:v>
                </c:pt>
                <c:pt idx="46">
                  <c:v>1.064590678517347</c:v>
                </c:pt>
                <c:pt idx="47">
                  <c:v>1.1055770508400329</c:v>
                </c:pt>
                <c:pt idx="48">
                  <c:v>1.0716921363280325</c:v>
                </c:pt>
                <c:pt idx="49">
                  <c:v>0.9266543415890813</c:v>
                </c:pt>
                <c:pt idx="50">
                  <c:v>0.9139899683358994</c:v>
                </c:pt>
                <c:pt idx="51">
                  <c:v>0.8915628061392157</c:v>
                </c:pt>
                <c:pt idx="52">
                  <c:v>0.8969852773660836</c:v>
                </c:pt>
                <c:pt idx="53">
                  <c:v>0.786997077942319</c:v>
                </c:pt>
                <c:pt idx="54">
                  <c:v>0.780141525984537</c:v>
                </c:pt>
                <c:pt idx="55">
                  <c:v>0.8013753743094372</c:v>
                </c:pt>
                <c:pt idx="56">
                  <c:v>0.7779216206434174</c:v>
                </c:pt>
                <c:pt idx="57">
                  <c:v>0.782983926677436</c:v>
                </c:pt>
                <c:pt idx="58">
                  <c:v>0.7432895294390488</c:v>
                </c:pt>
                <c:pt idx="59">
                  <c:v>0.699129939871412</c:v>
                </c:pt>
                <c:pt idx="60">
                  <c:v>0.719872804780619</c:v>
                </c:pt>
                <c:pt idx="61">
                  <c:v>0.9765725807938365</c:v>
                </c:pt>
                <c:pt idx="62">
                  <c:v>0.9636755387572805</c:v>
                </c:pt>
                <c:pt idx="63">
                  <c:v>0.9643487997153678</c:v>
                </c:pt>
                <c:pt idx="64">
                  <c:v>0.9887057562638265</c:v>
                </c:pt>
                <c:pt idx="65">
                  <c:v>0.9848269116546395</c:v>
                </c:pt>
                <c:pt idx="66">
                  <c:v>0.9446610613401909</c:v>
                </c:pt>
                <c:pt idx="67">
                  <c:v>0.9684790323279222</c:v>
                </c:pt>
                <c:pt idx="68">
                  <c:v>0.9730049396463384</c:v>
                </c:pt>
                <c:pt idx="69">
                  <c:v>0.9337312009335551</c:v>
                </c:pt>
                <c:pt idx="70">
                  <c:v>0.9221565090351295</c:v>
                </c:pt>
                <c:pt idx="71">
                  <c:v>0.8242983340877676</c:v>
                </c:pt>
                <c:pt idx="72">
                  <c:v>0.6817244558150741</c:v>
                </c:pt>
                <c:pt idx="73">
                  <c:v>0.6328520822838763</c:v>
                </c:pt>
                <c:pt idx="74">
                  <c:v>0.8545138736251418</c:v>
                </c:pt>
                <c:pt idx="75">
                  <c:v>0.7149551502825776</c:v>
                </c:pt>
                <c:pt idx="76">
                  <c:v>0.9187053136454096</c:v>
                </c:pt>
                <c:pt idx="77">
                  <c:v>0.9645085864999512</c:v>
                </c:pt>
                <c:pt idx="78">
                  <c:v>0.8019485977270141</c:v>
                </c:pt>
                <c:pt idx="79">
                  <c:v>0.9700053111663789</c:v>
                </c:pt>
                <c:pt idx="80">
                  <c:v>0.9851912984566044</c:v>
                </c:pt>
                <c:pt idx="81">
                  <c:v>1.0246288802023453</c:v>
                </c:pt>
                <c:pt idx="82">
                  <c:v>0.9035256457733459</c:v>
                </c:pt>
                <c:pt idx="83">
                  <c:v>0.9636977464514385</c:v>
                </c:pt>
                <c:pt idx="84">
                  <c:v>1.0478318513762255</c:v>
                </c:pt>
                <c:pt idx="85">
                  <c:v>1.065393908385059</c:v>
                </c:pt>
                <c:pt idx="86">
                  <c:v>1.0613586925918965</c:v>
                </c:pt>
                <c:pt idx="87">
                  <c:v>0.9691543688258842</c:v>
                </c:pt>
                <c:pt idx="88">
                  <c:v>0.8794003622317321</c:v>
                </c:pt>
                <c:pt idx="89">
                  <c:v>0.8639471632481708</c:v>
                </c:pt>
                <c:pt idx="90">
                  <c:v>0.7928430243121881</c:v>
                </c:pt>
                <c:pt idx="91">
                  <c:v>0.918056310689286</c:v>
                </c:pt>
                <c:pt idx="92">
                  <c:v>0.8457454498167123</c:v>
                </c:pt>
                <c:pt idx="93">
                  <c:v>0.8038890537938042</c:v>
                </c:pt>
                <c:pt idx="94">
                  <c:v>0.8687331231915323</c:v>
                </c:pt>
                <c:pt idx="95">
                  <c:v>0.8146632581586261</c:v>
                </c:pt>
                <c:pt idx="96">
                  <c:v>0.7429121892452423</c:v>
                </c:pt>
                <c:pt idx="97">
                  <c:v>0.986690507934737</c:v>
                </c:pt>
                <c:pt idx="98">
                  <c:v>0.964826440543449</c:v>
                </c:pt>
                <c:pt idx="99">
                  <c:v>0.962585743320833</c:v>
                </c:pt>
                <c:pt idx="100">
                  <c:v>0.9854978807956158</c:v>
                </c:pt>
                <c:pt idx="101">
                  <c:v>0.8752075096186466</c:v>
                </c:pt>
                <c:pt idx="102">
                  <c:v>0.920973606227606</c:v>
                </c:pt>
                <c:pt idx="103">
                  <c:v>0.8933918719104461</c:v>
                </c:pt>
                <c:pt idx="104">
                  <c:v>0.7670254178551067</c:v>
                </c:pt>
              </c:numCache>
            </c:numRef>
          </c:xVal>
          <c:yVal>
            <c:numRef>
              <c:f>Sheet1!$B$2:$B$106</c:f>
              <c:numCache>
                <c:formatCode>General</c:formatCode>
                <c:ptCount val="105"/>
                <c:pt idx="0">
                  <c:v>0.24242424242424243</c:v>
                </c:pt>
                <c:pt idx="1">
                  <c:v>0.2774566473988439</c:v>
                </c:pt>
                <c:pt idx="2">
                  <c:v>0.27300613496932513</c:v>
                </c:pt>
                <c:pt idx="3">
                  <c:v>0.2765957446808511</c:v>
                </c:pt>
                <c:pt idx="4">
                  <c:v>0.23492063492063492</c:v>
                </c:pt>
                <c:pt idx="5">
                  <c:v>0.24829931972789115</c:v>
                </c:pt>
                <c:pt idx="6">
                  <c:v>0.2996941896024465</c:v>
                </c:pt>
                <c:pt idx="7">
                  <c:v>0.31275720164609055</c:v>
                </c:pt>
                <c:pt idx="8">
                  <c:v>0.2590909090909091</c:v>
                </c:pt>
                <c:pt idx="9">
                  <c:v>0.2676923076923077</c:v>
                </c:pt>
                <c:pt idx="10">
                  <c:v>0.26558265582655827</c:v>
                </c:pt>
                <c:pt idx="11">
                  <c:v>0.2073490813648294</c:v>
                </c:pt>
                <c:pt idx="12">
                  <c:v>0.2565217391304348</c:v>
                </c:pt>
                <c:pt idx="13">
                  <c:v>0.21414141414141413</c:v>
                </c:pt>
                <c:pt idx="14">
                  <c:v>0.1953781512605042</c:v>
                </c:pt>
                <c:pt idx="15">
                  <c:v>0.21468926553672316</c:v>
                </c:pt>
                <c:pt idx="16">
                  <c:v>0.19934640522875818</c:v>
                </c:pt>
                <c:pt idx="17">
                  <c:v>0.18584070796460178</c:v>
                </c:pt>
                <c:pt idx="18">
                  <c:v>0.18787878787878787</c:v>
                </c:pt>
                <c:pt idx="19">
                  <c:v>0.19607843137254902</c:v>
                </c:pt>
                <c:pt idx="20">
                  <c:v>0.1645021645021645</c:v>
                </c:pt>
                <c:pt idx="21">
                  <c:v>0.21621621621621623</c:v>
                </c:pt>
                <c:pt idx="22">
                  <c:v>0.19858156028368795</c:v>
                </c:pt>
                <c:pt idx="23">
                  <c:v>0.24342105263157895</c:v>
                </c:pt>
                <c:pt idx="24">
                  <c:v>0.267515923566879</c:v>
                </c:pt>
                <c:pt idx="25">
                  <c:v>0.2677165354330709</c:v>
                </c:pt>
                <c:pt idx="26">
                  <c:v>0.30857142857142855</c:v>
                </c:pt>
                <c:pt idx="27">
                  <c:v>0.27807486631016043</c:v>
                </c:pt>
                <c:pt idx="28">
                  <c:v>0.2849462365591398</c:v>
                </c:pt>
                <c:pt idx="29">
                  <c:v>0.313915857605178</c:v>
                </c:pt>
                <c:pt idx="30">
                  <c:v>0.2826086956521739</c:v>
                </c:pt>
                <c:pt idx="31">
                  <c:v>0.29775280898876405</c:v>
                </c:pt>
                <c:pt idx="32">
                  <c:v>0.26842105263157895</c:v>
                </c:pt>
                <c:pt idx="33">
                  <c:v>0.31560283687943264</c:v>
                </c:pt>
                <c:pt idx="34">
                  <c:v>0.2682926829268293</c:v>
                </c:pt>
                <c:pt idx="35">
                  <c:v>0.20815752461322082</c:v>
                </c:pt>
                <c:pt idx="36">
                  <c:v>0.24166666666666667</c:v>
                </c:pt>
                <c:pt idx="37">
                  <c:v>0.2384937238493724</c:v>
                </c:pt>
                <c:pt idx="38">
                  <c:v>0.22580645161290322</c:v>
                </c:pt>
                <c:pt idx="39">
                  <c:v>0.25213675213675213</c:v>
                </c:pt>
                <c:pt idx="40">
                  <c:v>0.24126984126984127</c:v>
                </c:pt>
                <c:pt idx="41">
                  <c:v>0.21608040201005024</c:v>
                </c:pt>
                <c:pt idx="42">
                  <c:v>0.2692307692307692</c:v>
                </c:pt>
                <c:pt idx="43">
                  <c:v>0.2625</c:v>
                </c:pt>
                <c:pt idx="44">
                  <c:v>0.26730310262529833</c:v>
                </c:pt>
                <c:pt idx="45">
                  <c:v>0.27546296296296297</c:v>
                </c:pt>
                <c:pt idx="46">
                  <c:v>0.25622775800711745</c:v>
                </c:pt>
                <c:pt idx="47">
                  <c:v>0.2545454545454545</c:v>
                </c:pt>
                <c:pt idx="48">
                  <c:v>0.27586206896551724</c:v>
                </c:pt>
                <c:pt idx="49">
                  <c:v>0.33981337480559876</c:v>
                </c:pt>
                <c:pt idx="50">
                  <c:v>0.33079847908745247</c:v>
                </c:pt>
                <c:pt idx="51">
                  <c:v>0.2901023890784983</c:v>
                </c:pt>
                <c:pt idx="52">
                  <c:v>0.3542116630669546</c:v>
                </c:pt>
                <c:pt idx="53">
                  <c:v>0.3695652173913043</c:v>
                </c:pt>
                <c:pt idx="54">
                  <c:v>0.34710743801652894</c:v>
                </c:pt>
                <c:pt idx="55">
                  <c:v>0.32286995515695066</c:v>
                </c:pt>
                <c:pt idx="56">
                  <c:v>0.3436123348017621</c:v>
                </c:pt>
                <c:pt idx="57">
                  <c:v>0.34710743801652894</c:v>
                </c:pt>
                <c:pt idx="58">
                  <c:v>0.36075949367088606</c:v>
                </c:pt>
                <c:pt idx="59">
                  <c:v>0.4235294117647059</c:v>
                </c:pt>
                <c:pt idx="60">
                  <c:v>0.36929460580912865</c:v>
                </c:pt>
                <c:pt idx="61">
                  <c:v>0.2969187675070028</c:v>
                </c:pt>
                <c:pt idx="62">
                  <c:v>0.2813852813852814</c:v>
                </c:pt>
                <c:pt idx="63">
                  <c:v>0.2886405959031657</c:v>
                </c:pt>
                <c:pt idx="64">
                  <c:v>0.27586206896551724</c:v>
                </c:pt>
                <c:pt idx="65">
                  <c:v>0.22659176029962547</c:v>
                </c:pt>
                <c:pt idx="66">
                  <c:v>0.2948453608247423</c:v>
                </c:pt>
                <c:pt idx="67">
                  <c:v>0.2903225806451613</c:v>
                </c:pt>
                <c:pt idx="68">
                  <c:v>0.2791411042944785</c:v>
                </c:pt>
                <c:pt idx="69">
                  <c:v>0.242914979757085</c:v>
                </c:pt>
                <c:pt idx="70">
                  <c:v>0.19047619047619047</c:v>
                </c:pt>
                <c:pt idx="71">
                  <c:v>0.2857142857142857</c:v>
                </c:pt>
                <c:pt idx="72">
                  <c:v>0.30392156862745096</c:v>
                </c:pt>
                <c:pt idx="73">
                  <c:v>0.3028571428571429</c:v>
                </c:pt>
                <c:pt idx="74">
                  <c:v>0.25</c:v>
                </c:pt>
                <c:pt idx="75">
                  <c:v>0.25142857142857145</c:v>
                </c:pt>
                <c:pt idx="76">
                  <c:v>0.3153846153846154</c:v>
                </c:pt>
                <c:pt idx="77">
                  <c:v>0.3006993006993007</c:v>
                </c:pt>
                <c:pt idx="78">
                  <c:v>0.2549019607843137</c:v>
                </c:pt>
                <c:pt idx="79">
                  <c:v>0.23846153846153847</c:v>
                </c:pt>
                <c:pt idx="80">
                  <c:v>0.23255813953488372</c:v>
                </c:pt>
                <c:pt idx="81">
                  <c:v>0.22085889570552147</c:v>
                </c:pt>
                <c:pt idx="82">
                  <c:v>0.2727272727272727</c:v>
                </c:pt>
                <c:pt idx="83">
                  <c:v>0.1836734693877551</c:v>
                </c:pt>
                <c:pt idx="84">
                  <c:v>0.2111111111111111</c:v>
                </c:pt>
                <c:pt idx="85">
                  <c:v>0.26126126126126126</c:v>
                </c:pt>
                <c:pt idx="86">
                  <c:v>0.19889502762430938</c:v>
                </c:pt>
                <c:pt idx="87">
                  <c:v>0.24890829694323144</c:v>
                </c:pt>
                <c:pt idx="88">
                  <c:v>0.2727272727272727</c:v>
                </c:pt>
                <c:pt idx="89">
                  <c:v>0.2268041237113402</c:v>
                </c:pt>
                <c:pt idx="90">
                  <c:v>0.24528301886792453</c:v>
                </c:pt>
                <c:pt idx="91">
                  <c:v>0.22330097087378642</c:v>
                </c:pt>
                <c:pt idx="92">
                  <c:v>0.25748502994011974</c:v>
                </c:pt>
                <c:pt idx="93">
                  <c:v>0.28125</c:v>
                </c:pt>
                <c:pt idx="94">
                  <c:v>0.27692307692307694</c:v>
                </c:pt>
                <c:pt idx="95">
                  <c:v>0.3036649214659686</c:v>
                </c:pt>
                <c:pt idx="96">
                  <c:v>0.31412103746397696</c:v>
                </c:pt>
                <c:pt idx="97">
                  <c:v>0.234375</c:v>
                </c:pt>
                <c:pt idx="98">
                  <c:v>0.2815734989648033</c:v>
                </c:pt>
                <c:pt idx="99">
                  <c:v>0.28547297297297297</c:v>
                </c:pt>
                <c:pt idx="100">
                  <c:v>0.284434490481523</c:v>
                </c:pt>
                <c:pt idx="101">
                  <c:v>0.3127853881278539</c:v>
                </c:pt>
                <c:pt idx="102">
                  <c:v>0.2890625</c:v>
                </c:pt>
                <c:pt idx="103">
                  <c:v>0.271523178807947</c:v>
                </c:pt>
                <c:pt idx="104">
                  <c:v>0.33054393305439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04176447844017</c:v>
                </c:pt>
                <c:pt idx="1">
                  <c:v>0.7666718228133935</c:v>
                </c:pt>
                <c:pt idx="2">
                  <c:v>0.6914083151811383</c:v>
                </c:pt>
                <c:pt idx="3">
                  <c:v>0.6785022326651058</c:v>
                </c:pt>
                <c:pt idx="4">
                  <c:v>0.7461278057947274</c:v>
                </c:pt>
                <c:pt idx="5">
                  <c:v>0.7406921966150177</c:v>
                </c:pt>
                <c:pt idx="6">
                  <c:v>0.7762107368117903</c:v>
                </c:pt>
                <c:pt idx="7">
                  <c:v>0.8974353150327712</c:v>
                </c:pt>
                <c:pt idx="8">
                  <c:v>0.9136145747159016</c:v>
                </c:pt>
                <c:pt idx="9">
                  <c:v>0.832567893466097</c:v>
                </c:pt>
                <c:pt idx="10">
                  <c:v>0.8953878815450272</c:v>
                </c:pt>
                <c:pt idx="11">
                  <c:v>0.7739263071704293</c:v>
                </c:pt>
                <c:pt idx="12">
                  <c:v>0.7327097484600624</c:v>
                </c:pt>
                <c:pt idx="13">
                  <c:v>0.6620937593388658</c:v>
                </c:pt>
                <c:pt idx="14">
                  <c:v>0.7088534867516498</c:v>
                </c:pt>
                <c:pt idx="15">
                  <c:v>0.7928095525562677</c:v>
                </c:pt>
                <c:pt idx="16">
                  <c:v>0.7381435714651025</c:v>
                </c:pt>
                <c:pt idx="17">
                  <c:v>0.7909992536417504</c:v>
                </c:pt>
                <c:pt idx="18">
                  <c:v>0.8722921865469538</c:v>
                </c:pt>
                <c:pt idx="19">
                  <c:v>0.6984404347509598</c:v>
                </c:pt>
                <c:pt idx="20">
                  <c:v>0.6952547070320485</c:v>
                </c:pt>
                <c:pt idx="21">
                  <c:v>0.66204745826299</c:v>
                </c:pt>
                <c:pt idx="22">
                  <c:v>0.6260900643316655</c:v>
                </c:pt>
                <c:pt idx="23">
                  <c:v>0.7411843014128728</c:v>
                </c:pt>
                <c:pt idx="24">
                  <c:v>0.6179653896103896</c:v>
                </c:pt>
                <c:pt idx="25">
                  <c:v>0.6972181994871611</c:v>
                </c:pt>
                <c:pt idx="26">
                  <c:v>0.7990527208735674</c:v>
                </c:pt>
                <c:pt idx="27">
                  <c:v>0.8922666564370042</c:v>
                </c:pt>
                <c:pt idx="28">
                  <c:v>0.8835142616694805</c:v>
                </c:pt>
                <c:pt idx="29">
                  <c:v>0.7565944661128063</c:v>
                </c:pt>
                <c:pt idx="30">
                  <c:v>0.9743930359068594</c:v>
                </c:pt>
                <c:pt idx="31">
                  <c:v>0.8853113003886327</c:v>
                </c:pt>
                <c:pt idx="32">
                  <c:v>0.8283029032605812</c:v>
                </c:pt>
                <c:pt idx="33">
                  <c:v>0.8997863886149874</c:v>
                </c:pt>
                <c:pt idx="34">
                  <c:v>1.044945478270643</c:v>
                </c:pt>
                <c:pt idx="35">
                  <c:v>1.0176210191681272</c:v>
                </c:pt>
                <c:pt idx="36">
                  <c:v>0.8860740816622121</c:v>
                </c:pt>
                <c:pt idx="37">
                  <c:v>0.5357472165308022</c:v>
                </c:pt>
                <c:pt idx="38">
                  <c:v>0.5163447335954378</c:v>
                </c:pt>
                <c:pt idx="39">
                  <c:v>0.7722027761417786</c:v>
                </c:pt>
                <c:pt idx="40">
                  <c:v>0.9023373679404763</c:v>
                </c:pt>
                <c:pt idx="41">
                  <c:v>0.9619302299996139</c:v>
                </c:pt>
                <c:pt idx="42">
                  <c:v>0.9173419894639686</c:v>
                </c:pt>
                <c:pt idx="43">
                  <c:v>1.0672183013759449</c:v>
                </c:pt>
                <c:pt idx="44">
                  <c:v>1.0200518595703751</c:v>
                </c:pt>
                <c:pt idx="45">
                  <c:v>1.056247219527907</c:v>
                </c:pt>
                <c:pt idx="46">
                  <c:v>0.9136918369246466</c:v>
                </c:pt>
                <c:pt idx="47">
                  <c:v>0.9188467085551869</c:v>
                </c:pt>
                <c:pt idx="48">
                  <c:v>0.9886687567442212</c:v>
                </c:pt>
                <c:pt idx="49">
                  <c:v>1.1694833200257904</c:v>
                </c:pt>
                <c:pt idx="50">
                  <c:v>0.9341786549168773</c:v>
                </c:pt>
                <c:pt idx="51">
                  <c:v>1.0085266704022573</c:v>
                </c:pt>
              </c:numCache>
            </c:numRef>
          </c:xVal>
          <c:yVal>
            <c:numRef>
              <c:f>Sheet1!$B$109:$B$160</c:f>
              <c:numCache>
                <c:formatCode>General</c:formatCode>
                <c:ptCount val="52"/>
                <c:pt idx="0">
                  <c:v>0.2857142857142857</c:v>
                </c:pt>
                <c:pt idx="1">
                  <c:v>0.30357142857142855</c:v>
                </c:pt>
                <c:pt idx="2">
                  <c:v>0.3298611111111111</c:v>
                </c:pt>
                <c:pt idx="3">
                  <c:v>0.34408602150537637</c:v>
                </c:pt>
                <c:pt idx="4">
                  <c:v>0.31063829787234043</c:v>
                </c:pt>
                <c:pt idx="5">
                  <c:v>0.3292181069958848</c:v>
                </c:pt>
                <c:pt idx="6">
                  <c:v>0.34519572953736655</c:v>
                </c:pt>
                <c:pt idx="7">
                  <c:v>0.316</c:v>
                </c:pt>
                <c:pt idx="8">
                  <c:v>0.27638190954773867</c:v>
                </c:pt>
                <c:pt idx="9">
                  <c:v>0.2980769230769231</c:v>
                </c:pt>
                <c:pt idx="10">
                  <c:v>0.29880478087649404</c:v>
                </c:pt>
                <c:pt idx="11">
                  <c:v>0.3316953316953317</c:v>
                </c:pt>
                <c:pt idx="12">
                  <c:v>0.34663341645885287</c:v>
                </c:pt>
                <c:pt idx="13">
                  <c:v>0.3446327683615819</c:v>
                </c:pt>
                <c:pt idx="14">
                  <c:v>0.3829787234042553</c:v>
                </c:pt>
                <c:pt idx="15">
                  <c:v>0.35365853658536583</c:v>
                </c:pt>
                <c:pt idx="16">
                  <c:v>0.33490566037735847</c:v>
                </c:pt>
                <c:pt idx="17">
                  <c:v>0.33146067415730335</c:v>
                </c:pt>
                <c:pt idx="18">
                  <c:v>0.25555555555555554</c:v>
                </c:pt>
                <c:pt idx="19">
                  <c:v>0.355</c:v>
                </c:pt>
                <c:pt idx="20">
                  <c:v>0.3008130081300813</c:v>
                </c:pt>
                <c:pt idx="21">
                  <c:v>0.23255813953488372</c:v>
                </c:pt>
                <c:pt idx="22">
                  <c:v>0.3472222222222222</c:v>
                </c:pt>
                <c:pt idx="23">
                  <c:v>0.34513274336283184</c:v>
                </c:pt>
                <c:pt idx="24">
                  <c:v>0.3644859813084112</c:v>
                </c:pt>
                <c:pt idx="25">
                  <c:v>0.3560606060606061</c:v>
                </c:pt>
                <c:pt idx="26">
                  <c:v>0.28205128205128205</c:v>
                </c:pt>
                <c:pt idx="27">
                  <c:v>0.26174496644295303</c:v>
                </c:pt>
                <c:pt idx="28">
                  <c:v>0.27472527472527475</c:v>
                </c:pt>
                <c:pt idx="29">
                  <c:v>0.3006993006993007</c:v>
                </c:pt>
                <c:pt idx="30">
                  <c:v>0.267515923566879</c:v>
                </c:pt>
                <c:pt idx="31">
                  <c:v>0.24</c:v>
                </c:pt>
                <c:pt idx="32">
                  <c:v>0.3443708609271523</c:v>
                </c:pt>
                <c:pt idx="33">
                  <c:v>0.2886178861788618</c:v>
                </c:pt>
                <c:pt idx="34">
                  <c:v>0.3022222222222222</c:v>
                </c:pt>
                <c:pt idx="35">
                  <c:v>0.33974358974358976</c:v>
                </c:pt>
                <c:pt idx="36">
                  <c:v>0.26153846153846155</c:v>
                </c:pt>
                <c:pt idx="37">
                  <c:v>0.39490445859872614</c:v>
                </c:pt>
                <c:pt idx="38">
                  <c:v>0.4171779141104294</c:v>
                </c:pt>
                <c:pt idx="39">
                  <c:v>0.3348623853211009</c:v>
                </c:pt>
                <c:pt idx="40">
                  <c:v>0.26</c:v>
                </c:pt>
                <c:pt idx="41">
                  <c:v>0.2621951219512195</c:v>
                </c:pt>
                <c:pt idx="42">
                  <c:v>0.25675675675675674</c:v>
                </c:pt>
                <c:pt idx="43">
                  <c:v>0.24050632911392406</c:v>
                </c:pt>
                <c:pt idx="44">
                  <c:v>0.22304832713754646</c:v>
                </c:pt>
                <c:pt idx="45">
                  <c:v>0.2336448598130841</c:v>
                </c:pt>
                <c:pt idx="46">
                  <c:v>0.2787456445993031</c:v>
                </c:pt>
                <c:pt idx="47">
                  <c:v>0.2878787878787879</c:v>
                </c:pt>
                <c:pt idx="48">
                  <c:v>0.2265193370165746</c:v>
                </c:pt>
                <c:pt idx="49">
                  <c:v>0.23040380047505937</c:v>
                </c:pt>
                <c:pt idx="50">
                  <c:v>0.2998624484181568</c:v>
                </c:pt>
                <c:pt idx="51">
                  <c:v>0.25454545454545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662121420448589</c:v>
                </c:pt>
              </c:numCache>
            </c:numRef>
          </c:xVal>
          <c:yVal>
            <c:numRef>
              <c:f>Sheet1!$B$163:$B$164</c:f>
              <c:numCache>
                <c:formatCode>General</c:formatCode>
                <c:ptCount val="2"/>
                <c:pt idx="0">
                  <c:v>0.3442026053562936</c:v>
                </c:pt>
                <c:pt idx="1">
                  <c:v>0.34420260535629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662121420448589</c:v>
                </c:pt>
                <c:pt idx="1">
                  <c:v>0.6662121420448589</c:v>
                </c:pt>
              </c:numCache>
            </c:numRef>
          </c:xVal>
          <c:yVal>
            <c:numRef>
              <c:f>Sheet1!$B$167:$B$168</c:f>
              <c:numCache>
                <c:formatCode>General</c:formatCode>
                <c:ptCount val="2"/>
                <c:pt idx="0">
                  <c:v>0.3442026053562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606142523916346</c:v>
                </c:pt>
              </c:numCache>
            </c:numRef>
          </c:xVal>
          <c:yVal>
            <c:numRef>
              <c:f>Sheet1!$B$171:$B$172</c:f>
              <c:numCache>
                <c:formatCode>General</c:formatCode>
                <c:ptCount val="2"/>
                <c:pt idx="0">
                  <c:v>0.32052103986261443</c:v>
                </c:pt>
                <c:pt idx="1">
                  <c:v>0.3205210398626144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606142523916346</c:v>
                </c:pt>
                <c:pt idx="1">
                  <c:v>0.7606142523916346</c:v>
                </c:pt>
              </c:numCache>
            </c:numRef>
          </c:xVal>
          <c:yVal>
            <c:numRef>
              <c:f>Sheet1!$B$175:$B$176</c:f>
              <c:numCache>
                <c:formatCode>General</c:formatCode>
                <c:ptCount val="2"/>
                <c:pt idx="0">
                  <c:v>0.320521039862614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991196777645929</c:v>
                </c:pt>
              </c:numCache>
            </c:numRef>
          </c:xVal>
          <c:yVal>
            <c:numRef>
              <c:f>Sheet1!$B$179:$B$180</c:f>
              <c:numCache>
                <c:formatCode>General</c:formatCode>
                <c:ptCount val="2"/>
                <c:pt idx="0">
                  <c:v>0.26068994254053607</c:v>
                </c:pt>
                <c:pt idx="1">
                  <c:v>0.260689942540536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991196777645929</c:v>
                </c:pt>
                <c:pt idx="1">
                  <c:v>0.9991196777645929</c:v>
                </c:pt>
              </c:numCache>
            </c:numRef>
          </c:xVal>
          <c:yVal>
            <c:numRef>
              <c:f>Sheet1!$B$183:$B$184</c:f>
              <c:numCache>
                <c:formatCode>General</c:formatCode>
                <c:ptCount val="2"/>
                <c:pt idx="0">
                  <c:v>0.260689942540536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04176447844017</c:v>
                </c:pt>
                <c:pt idx="1">
                  <c:v>0.7666718228133935</c:v>
                </c:pt>
                <c:pt idx="2">
                  <c:v>0.6914083151811383</c:v>
                </c:pt>
                <c:pt idx="3">
                  <c:v>0.6785022326651058</c:v>
                </c:pt>
                <c:pt idx="4">
                  <c:v>0.7461278057947274</c:v>
                </c:pt>
                <c:pt idx="5">
                  <c:v>0.7406921966150177</c:v>
                </c:pt>
                <c:pt idx="6">
                  <c:v>0.7762107368117903</c:v>
                </c:pt>
                <c:pt idx="7">
                  <c:v>0.8974353150327712</c:v>
                </c:pt>
                <c:pt idx="8">
                  <c:v>0.9136145747159016</c:v>
                </c:pt>
                <c:pt idx="9">
                  <c:v>0.832567893466097</c:v>
                </c:pt>
                <c:pt idx="10">
                  <c:v>0.8953878815450272</c:v>
                </c:pt>
                <c:pt idx="11">
                  <c:v>0.7739263071704293</c:v>
                </c:pt>
                <c:pt idx="12">
                  <c:v>0.7327097484600624</c:v>
                </c:pt>
                <c:pt idx="13">
                  <c:v>0.6620937593388658</c:v>
                </c:pt>
                <c:pt idx="14">
                  <c:v>0.7088534867516498</c:v>
                </c:pt>
                <c:pt idx="15">
                  <c:v>0.7928095525562677</c:v>
                </c:pt>
                <c:pt idx="16">
                  <c:v>0.7381435714651025</c:v>
                </c:pt>
                <c:pt idx="17">
                  <c:v>0.7909992536417504</c:v>
                </c:pt>
                <c:pt idx="18">
                  <c:v>0.8722921865469538</c:v>
                </c:pt>
                <c:pt idx="19">
                  <c:v>0.6984404347509598</c:v>
                </c:pt>
                <c:pt idx="20">
                  <c:v>0.6952547070320485</c:v>
                </c:pt>
                <c:pt idx="21">
                  <c:v>0.66204745826299</c:v>
                </c:pt>
                <c:pt idx="22">
                  <c:v>0.6260900643316655</c:v>
                </c:pt>
                <c:pt idx="23">
                  <c:v>0.7411843014128728</c:v>
                </c:pt>
                <c:pt idx="24">
                  <c:v>0.6179653896103896</c:v>
                </c:pt>
                <c:pt idx="25">
                  <c:v>0.6972181994871611</c:v>
                </c:pt>
                <c:pt idx="26">
                  <c:v>0.7990527208735674</c:v>
                </c:pt>
                <c:pt idx="27">
                  <c:v>0.8922666564370042</c:v>
                </c:pt>
                <c:pt idx="28">
                  <c:v>0.8835142616694805</c:v>
                </c:pt>
                <c:pt idx="29">
                  <c:v>0.7565944661128063</c:v>
                </c:pt>
                <c:pt idx="30">
                  <c:v>0.9743930359068594</c:v>
                </c:pt>
                <c:pt idx="31">
                  <c:v>0.8853113003886327</c:v>
                </c:pt>
                <c:pt idx="32">
                  <c:v>0.8283029032605812</c:v>
                </c:pt>
                <c:pt idx="33">
                  <c:v>0.8997863886149874</c:v>
                </c:pt>
                <c:pt idx="34">
                  <c:v>1.044945478270643</c:v>
                </c:pt>
                <c:pt idx="35">
                  <c:v>1.0176210191681272</c:v>
                </c:pt>
                <c:pt idx="36">
                  <c:v>0.8860740816622121</c:v>
                </c:pt>
                <c:pt idx="37">
                  <c:v>0.5357472165308022</c:v>
                </c:pt>
                <c:pt idx="38">
                  <c:v>0.5163447335954378</c:v>
                </c:pt>
                <c:pt idx="39">
                  <c:v>0.7722027761417786</c:v>
                </c:pt>
                <c:pt idx="40">
                  <c:v>0.9023373679404763</c:v>
                </c:pt>
                <c:pt idx="41">
                  <c:v>0.9619302299996139</c:v>
                </c:pt>
                <c:pt idx="42">
                  <c:v>0.9173419894639686</c:v>
                </c:pt>
                <c:pt idx="43">
                  <c:v>1.0672183013759449</c:v>
                </c:pt>
                <c:pt idx="44">
                  <c:v>1.0200518595703751</c:v>
                </c:pt>
                <c:pt idx="45">
                  <c:v>1.056247219527907</c:v>
                </c:pt>
                <c:pt idx="46">
                  <c:v>0.9136918369246466</c:v>
                </c:pt>
                <c:pt idx="47">
                  <c:v>0.9188467085551869</c:v>
                </c:pt>
                <c:pt idx="48">
                  <c:v>0.9886687567442212</c:v>
                </c:pt>
                <c:pt idx="49">
                  <c:v>1.1694833200257904</c:v>
                </c:pt>
                <c:pt idx="50">
                  <c:v>0.9341786549168773</c:v>
                </c:pt>
                <c:pt idx="51">
                  <c:v>1.0085266704022573</c:v>
                </c:pt>
                <c:pt idx="52">
                  <c:v>0.7606142523916346</c:v>
                </c:pt>
                <c:pt idx="53">
                  <c:v>0.6662121420448589</c:v>
                </c:pt>
                <c:pt idx="54">
                  <c:v>0.9991196777645929</c:v>
                </c:pt>
              </c:numCache>
            </c:numRef>
          </c:xVal>
          <c:yVal>
            <c:numRef>
              <c:f>Sheet1!$B$187:$B$241</c:f>
              <c:numCache>
                <c:formatCode>General</c:formatCode>
                <c:ptCount val="55"/>
                <c:pt idx="0">
                  <c:v>0.31806177620678366</c:v>
                </c:pt>
                <c:pt idx="1">
                  <c:v>0.31900144723752905</c:v>
                </c:pt>
                <c:pt idx="2">
                  <c:v>0.33788193284034007</c:v>
                </c:pt>
                <c:pt idx="3">
                  <c:v>0.3411195324792414</c:v>
                </c:pt>
                <c:pt idx="4">
                  <c:v>0.32415508715875163</c:v>
                </c:pt>
                <c:pt idx="5">
                  <c:v>0.32551865556113674</c:v>
                </c:pt>
                <c:pt idx="6">
                  <c:v>0.31660853021732893</c:v>
                </c:pt>
                <c:pt idx="7">
                  <c:v>0.28619832245779614</c:v>
                </c:pt>
                <c:pt idx="8">
                  <c:v>0.282139618723125</c:v>
                </c:pt>
                <c:pt idx="9">
                  <c:v>0.3024708621986385</c:v>
                </c:pt>
                <c:pt idx="10">
                  <c:v>0.28671193841464127</c:v>
                </c:pt>
                <c:pt idx="11">
                  <c:v>0.3171815986579482</c:v>
                </c:pt>
                <c:pt idx="12">
                  <c:v>0.32752111999850014</c:v>
                </c:pt>
                <c:pt idx="13">
                  <c:v>0.3452357363892943</c:v>
                </c:pt>
                <c:pt idx="14">
                  <c:v>0.3335056644330136</c:v>
                </c:pt>
                <c:pt idx="15">
                  <c:v>0.3124445773064629</c:v>
                </c:pt>
                <c:pt idx="16">
                  <c:v>0.32615799967309406</c:v>
                </c:pt>
                <c:pt idx="17">
                  <c:v>0.3128987060558076</c:v>
                </c:pt>
                <c:pt idx="18">
                  <c:v>0.29250568827584444</c:v>
                </c:pt>
                <c:pt idx="19">
                  <c:v>0.3361178663428817</c:v>
                </c:pt>
                <c:pt idx="20">
                  <c:v>0.33691703300709397</c:v>
                </c:pt>
                <c:pt idx="21">
                  <c:v>0.3452473514046446</c:v>
                </c:pt>
                <c:pt idx="22">
                  <c:v>0.3542675669087122</c:v>
                </c:pt>
                <c:pt idx="23">
                  <c:v>0.32539520692256974</c:v>
                </c:pt>
                <c:pt idx="24">
                  <c:v>0.35630571007966416</c:v>
                </c:pt>
                <c:pt idx="25">
                  <c:v>0.33642447436617706</c:v>
                </c:pt>
                <c:pt idx="26">
                  <c:v>0.31087842588409437</c:v>
                </c:pt>
                <c:pt idx="27">
                  <c:v>0.2874949240549479</c:v>
                </c:pt>
                <c:pt idx="28">
                  <c:v>0.2896905360931985</c:v>
                </c:pt>
                <c:pt idx="29">
                  <c:v>0.3215294371503761</c:v>
                </c:pt>
                <c:pt idx="30">
                  <c:v>0.26689282917560864</c:v>
                </c:pt>
                <c:pt idx="31">
                  <c:v>0.28923973377568724</c:v>
                </c:pt>
                <c:pt idx="32">
                  <c:v>0.30354077095926685</c:v>
                </c:pt>
                <c:pt idx="33">
                  <c:v>0.28560853582259077</c:v>
                </c:pt>
                <c:pt idx="34">
                  <c:v>0.24919415402481493</c:v>
                </c:pt>
                <c:pt idx="35">
                  <c:v>0.25604872502368975</c:v>
                </c:pt>
                <c:pt idx="36">
                  <c:v>0.2890483836605122</c:v>
                </c:pt>
                <c:pt idx="37">
                  <c:v>0.37693083216011986</c:v>
                </c:pt>
                <c:pt idx="38">
                  <c:v>0.38179810862974506</c:v>
                </c:pt>
                <c:pt idx="39">
                  <c:v>0.31761396095139105</c:v>
                </c:pt>
                <c:pt idx="40">
                  <c:v>0.28496860114583755</c:v>
                </c:pt>
                <c:pt idx="41">
                  <c:v>0.2700192291389494</c:v>
                </c:pt>
                <c:pt idx="42">
                  <c:v>0.28120456529948645</c:v>
                </c:pt>
                <c:pt idx="43">
                  <c:v>0.24360682851736826</c:v>
                </c:pt>
                <c:pt idx="44">
                  <c:v>0.2554389282089887</c:v>
                </c:pt>
                <c:pt idx="45">
                  <c:v>0.24635901692042866</c:v>
                </c:pt>
                <c:pt idx="46">
                  <c:v>0.28212023684649257</c:v>
                </c:pt>
                <c:pt idx="47">
                  <c:v>0.28082709382583637</c:v>
                </c:pt>
                <c:pt idx="48">
                  <c:v>0.26331164421334885</c:v>
                </c:pt>
                <c:pt idx="49">
                  <c:v>0.21795278616627634</c:v>
                </c:pt>
                <c:pt idx="50">
                  <c:v>0.27698094578342297</c:v>
                </c:pt>
                <c:pt idx="51">
                  <c:v>0.25833011910619674</c:v>
                </c:pt>
                <c:pt idx="52">
                  <c:v>0.32052103986261443</c:v>
                </c:pt>
                <c:pt idx="53">
                  <c:v>0.3442026053562936</c:v>
                </c:pt>
                <c:pt idx="54">
                  <c:v>0.260689942540536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8235294117647"/>
          <c:min val="0.1316017316017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7375907006417242</c:v>
                </c:pt>
                <c:pt idx="2">
                  <c:v>0.0</c:v>
                </c:pt>
                <c:pt idx="3">
                  <c:v>2.136910717314774</c:v>
                </c:pt>
                <c:pt idx="4">
                  <c:v>2.3444880396632213</c:v>
                </c:pt>
                <c:pt idx="5">
                  <c:v>1.6568914321370294</c:v>
                </c:pt>
                <c:pt idx="6">
                  <c:v>1.1401767025629574</c:v>
                </c:pt>
                <c:pt idx="7">
                  <c:v>1.3349451656667775</c:v>
                </c:pt>
                <c:pt idx="8">
                  <c:v>1.596941769519809</c:v>
                </c:pt>
                <c:pt idx="9">
                  <c:v>1.3402375720048998</c:v>
                </c:pt>
                <c:pt idx="10">
                  <c:v>1.3897607927837583</c:v>
                </c:pt>
                <c:pt idx="11">
                  <c:v>1.7415167326220522</c:v>
                </c:pt>
                <c:pt idx="12">
                  <c:v>1.417933557693053</c:v>
                </c:pt>
                <c:pt idx="13">
                  <c:v>1.4997744062231595</c:v>
                </c:pt>
                <c:pt idx="14">
                  <c:v>1.431880303413633</c:v>
                </c:pt>
                <c:pt idx="15">
                  <c:v>1.3636290443098926</c:v>
                </c:pt>
                <c:pt idx="16">
                  <c:v>1.3028225255512942</c:v>
                </c:pt>
                <c:pt idx="17">
                  <c:v>1.062546007878196</c:v>
                </c:pt>
                <c:pt idx="18">
                  <c:v>0.7974344502698619</c:v>
                </c:pt>
                <c:pt idx="19">
                  <c:v>0.9782311469609213</c:v>
                </c:pt>
                <c:pt idx="20">
                  <c:v>0.9045436055322474</c:v>
                </c:pt>
                <c:pt idx="21">
                  <c:v>0.8510238940128777</c:v>
                </c:pt>
                <c:pt idx="22">
                  <c:v>0.4043297611531814</c:v>
                </c:pt>
                <c:pt idx="23">
                  <c:v>0.5538653353542885</c:v>
                </c:pt>
                <c:pt idx="24">
                  <c:v>2.065018661478989</c:v>
                </c:pt>
                <c:pt idx="25">
                  <c:v>2.242112459099827</c:v>
                </c:pt>
                <c:pt idx="26">
                  <c:v>2.2400334929152903</c:v>
                </c:pt>
                <c:pt idx="27">
                  <c:v>1.657739929924945</c:v>
                </c:pt>
                <c:pt idx="28">
                  <c:v>2.3119775269346436</c:v>
                </c:pt>
                <c:pt idx="29">
                  <c:v>2.2626500779235195</c:v>
                </c:pt>
                <c:pt idx="30">
                  <c:v>1.967353225843718</c:v>
                </c:pt>
                <c:pt idx="31">
                  <c:v>2.0920337242073272</c:v>
                </c:pt>
                <c:pt idx="32">
                  <c:v>2.2571814743274703</c:v>
                </c:pt>
                <c:pt idx="33">
                  <c:v>2.0871217602548384</c:v>
                </c:pt>
                <c:pt idx="34">
                  <c:v>1.8974765566068441</c:v>
                </c:pt>
                <c:pt idx="35">
                  <c:v>2.7280466432207437</c:v>
                </c:pt>
                <c:pt idx="36">
                  <c:v>2.8316295431797074</c:v>
                </c:pt>
                <c:pt idx="37">
                  <c:v>2.3633907918877797</c:v>
                </c:pt>
                <c:pt idx="38">
                  <c:v>2.134112215518364</c:v>
                </c:pt>
                <c:pt idx="39">
                  <c:v>2.3456344488263583</c:v>
                </c:pt>
                <c:pt idx="40">
                  <c:v>2.106838924003668</c:v>
                </c:pt>
                <c:pt idx="41">
                  <c:v>2.5328282486614984</c:v>
                </c:pt>
                <c:pt idx="42">
                  <c:v>2.5356834971108184</c:v>
                </c:pt>
                <c:pt idx="43">
                  <c:v>2.7879460493193062</c:v>
                </c:pt>
                <c:pt idx="44">
                  <c:v>2.858287101029639</c:v>
                </c:pt>
                <c:pt idx="45">
                  <c:v>2.283896098478675</c:v>
                </c:pt>
                <c:pt idx="46">
                  <c:v>2.4432940324934376</c:v>
                </c:pt>
                <c:pt idx="47">
                  <c:v>2.404689610097927</c:v>
                </c:pt>
                <c:pt idx="48">
                  <c:v>2.5542715139834593</c:v>
                </c:pt>
                <c:pt idx="49">
                  <c:v>2.8495526641976356</c:v>
                </c:pt>
                <c:pt idx="50">
                  <c:v>2.440261843910239</c:v>
                </c:pt>
                <c:pt idx="51">
                  <c:v>2.519727276838578</c:v>
                </c:pt>
                <c:pt idx="52">
                  <c:v>2.7638241398060273</c:v>
                </c:pt>
                <c:pt idx="53">
                  <c:v>2.7627448145736895</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60992129676145</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60992129676145</c:v>
                </c:pt>
                <c:pt idx="1">
                  <c:v>2.060992129676145</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60992129676145</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60992129676145</c:v>
                </c:pt>
                <c:pt idx="1">
                  <c:v>2.060992129676145</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552647153909906</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552647153909906</c:v>
                </c:pt>
                <c:pt idx="1">
                  <c:v>2.5552647153909906</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pt idx="52">
                  <c:v>2.060992129676145</c:v>
                </c:pt>
                <c:pt idx="53">
                  <c:v>2.060992129676145</c:v>
                </c:pt>
                <c:pt idx="54">
                  <c:v>2.5552647153909906</c:v>
                </c:pt>
              </c:numCache>
            </c:numRef>
          </c:xVal>
          <c:yVal>
            <c:numRef>
              <c:f>Sheet1!$B$136:$B$190</c:f>
              <c:numCache>
                <c:formatCode>General</c:formatCode>
                <c:ptCount val="55"/>
                <c:pt idx="0">
                  <c:v>0.002276478799818146</c:v>
                </c:pt>
                <c:pt idx="1">
                  <c:v>0.0036729285283687244</c:v>
                </c:pt>
                <c:pt idx="2">
                  <c:v>0.0026844408738454636</c:v>
                </c:pt>
                <c:pt idx="3">
                  <c:v>0.003906433701511128</c:v>
                </c:pt>
                <c:pt idx="4">
                  <c:v>0.0027243712979949123</c:v>
                </c:pt>
                <c:pt idx="5">
                  <c:v>0.0020673091986957272</c:v>
                </c:pt>
                <c:pt idx="6">
                  <c:v>0.0019986964038350517</c:v>
                </c:pt>
                <c:pt idx="7">
                  <c:v>0.002716976066668564</c:v>
                </c:pt>
                <c:pt idx="8">
                  <c:v>0.0030074470541960087</c:v>
                </c:pt>
                <c:pt idx="9">
                  <c:v>0.0029242891417076396</c:v>
                </c:pt>
                <c:pt idx="10">
                  <c:v>0.0025840573094515745</c:v>
                </c:pt>
                <c:pt idx="11">
                  <c:v>0.0024339912123001383</c:v>
                </c:pt>
                <c:pt idx="12">
                  <c:v>0.002873267989000081</c:v>
                </c:pt>
                <c:pt idx="13">
                  <c:v>0.004003272737573035</c:v>
                </c:pt>
                <c:pt idx="14">
                  <c:v>0.004032844183139282</c:v>
                </c:pt>
                <c:pt idx="15">
                  <c:v>0.003784796334547982</c:v>
                </c:pt>
                <c:pt idx="16">
                  <c:v>0.0036079876971657357</c:v>
                </c:pt>
                <c:pt idx="17">
                  <c:v>0.004814286000424296</c:v>
                </c:pt>
                <c:pt idx="18">
                  <c:v>0.00295557730164116</c:v>
                </c:pt>
                <c:pt idx="19">
                  <c:v>0.003037254035853469</c:v>
                </c:pt>
                <c:pt idx="20">
                  <c:v>0.003656151657757337</c:v>
                </c:pt>
                <c:pt idx="21">
                  <c:v>0.004037674985659444</c:v>
                </c:pt>
                <c:pt idx="22">
                  <c:v>0.0037771969971635896</c:v>
                </c:pt>
                <c:pt idx="23">
                  <c:v>0.00498120953734178</c:v>
                </c:pt>
                <c:pt idx="24">
                  <c:v>0.0037534013295370816</c:v>
                </c:pt>
                <c:pt idx="25">
                  <c:v>0.003782321994404856</c:v>
                </c:pt>
                <c:pt idx="26">
                  <c:v>0.003607449622820124</c:v>
                </c:pt>
                <c:pt idx="27">
                  <c:v>0.003869070820379017</c:v>
                </c:pt>
                <c:pt idx="28">
                  <c:v>0.003698255167273099</c:v>
                </c:pt>
                <c:pt idx="29">
                  <c:v>0.004256907794457603</c:v>
                </c:pt>
                <c:pt idx="30">
                  <c:v>0.00432412402965996</c:v>
                </c:pt>
                <c:pt idx="31">
                  <c:v>0.0040293422359349955</c:v>
                </c:pt>
                <c:pt idx="32">
                  <c:v>0.0033982612490327576</c:v>
                </c:pt>
                <c:pt idx="33">
                  <c:v>0.0026468123350116453</c:v>
                </c:pt>
                <c:pt idx="34">
                  <c:v>0.002359831055013059</c:v>
                </c:pt>
                <c:pt idx="35">
                  <c:v>0.003744723538355514</c:v>
                </c:pt>
                <c:pt idx="36">
                  <c:v>0.003877453592820594</c:v>
                </c:pt>
                <c:pt idx="37">
                  <c:v>0.003936129696304723</c:v>
                </c:pt>
                <c:pt idx="38">
                  <c:v>0.004624176480417849</c:v>
                </c:pt>
                <c:pt idx="39">
                  <c:v>0.004748934154428603</c:v>
                </c:pt>
                <c:pt idx="40">
                  <c:v>0.0046535814133611434</c:v>
                </c:pt>
                <c:pt idx="41">
                  <c:v>0.004369639364112183</c:v>
                </c:pt>
                <c:pt idx="42">
                  <c:v>0.004719318517831431</c:v>
                </c:pt>
                <c:pt idx="43">
                  <c:v>0.00417259968253062</c:v>
                </c:pt>
                <c:pt idx="44">
                  <c:v>0.002593130390804897</c:v>
                </c:pt>
                <c:pt idx="45">
                  <c:v>0.0021824795510184255</c:v>
                </c:pt>
                <c:pt idx="46">
                  <c:v>0.0025568834689790572</c:v>
                </c:pt>
                <c:pt idx="47">
                  <c:v>0.0024266984053171233</c:v>
                </c:pt>
                <c:pt idx="48">
                  <c:v>0.0027842234494241218</c:v>
                </c:pt>
                <c:pt idx="49">
                  <c:v>0.002327862446101874</c:v>
                </c:pt>
                <c:pt idx="50">
                  <c:v>0.0016849778885847334</c:v>
                </c:pt>
                <c:pt idx="51">
                  <c:v>0.0015635381525403785</c:v>
                </c:pt>
                <c:pt idx="52">
                  <c:v>0.0040280900419055205</c:v>
                </c:pt>
                <c:pt idx="53">
                  <c:v>0.0040280900419055205</c:v>
                </c:pt>
                <c:pt idx="54">
                  <c:v>0.0027993428081171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4.5865</c:v>
                </c:pt>
                <c:pt idx="1">
                  <c:v>1036.9583</c:v>
                </c:pt>
                <c:pt idx="2">
                  <c:v>1108.573</c:v>
                </c:pt>
                <c:pt idx="3">
                  <c:v>1133.5165</c:v>
                </c:pt>
                <c:pt idx="4">
                  <c:v>1137.3514</c:v>
                </c:pt>
                <c:pt idx="5">
                  <c:v>1112.5205</c:v>
                </c:pt>
                <c:pt idx="6">
                  <c:v>985.3878</c:v>
                </c:pt>
                <c:pt idx="7">
                  <c:v>1024.3553</c:v>
                </c:pt>
                <c:pt idx="8">
                  <c:v>1082.0877</c:v>
                </c:pt>
                <c:pt idx="9">
                  <c:v>1055.7816</c:v>
                </c:pt>
                <c:pt idx="10">
                  <c:v>1054.6122</c:v>
                </c:pt>
                <c:pt idx="11">
                  <c:v>1159.5063</c:v>
                </c:pt>
                <c:pt idx="12">
                  <c:v>1121.1525</c:v>
                </c:pt>
                <c:pt idx="13">
                  <c:v>1119.283</c:v>
                </c:pt>
                <c:pt idx="14">
                  <c:v>1144.086</c:v>
                </c:pt>
                <c:pt idx="15">
                  <c:v>1143.4605</c:v>
                </c:pt>
                <c:pt idx="16">
                  <c:v>1167.6721</c:v>
                </c:pt>
                <c:pt idx="17">
                  <c:v>1235.8571</c:v>
                </c:pt>
                <c:pt idx="18">
                  <c:v>1304.3548</c:v>
                </c:pt>
                <c:pt idx="19">
                  <c:v>1209.8333</c:v>
                </c:pt>
                <c:pt idx="20">
                  <c:v>1332.1053</c:v>
                </c:pt>
                <c:pt idx="21">
                  <c:v>1346.75</c:v>
                </c:pt>
                <c:pt idx="22">
                  <c:v>1189.6429</c:v>
                </c:pt>
                <c:pt idx="23">
                  <c:v>1230.8919</c:v>
                </c:pt>
                <c:pt idx="24">
                  <c:v>1206.4762</c:v>
                </c:pt>
                <c:pt idx="25">
                  <c:v>1173.9118</c:v>
                </c:pt>
                <c:pt idx="26">
                  <c:v>1157.6296</c:v>
                </c:pt>
                <c:pt idx="27">
                  <c:v>1172.6538</c:v>
                </c:pt>
                <c:pt idx="28">
                  <c:v>1161.0755</c:v>
                </c:pt>
                <c:pt idx="29">
                  <c:v>1106.0206</c:v>
                </c:pt>
                <c:pt idx="30">
                  <c:v>1118.1346</c:v>
                </c:pt>
                <c:pt idx="31">
                  <c:v>1150.6415</c:v>
                </c:pt>
                <c:pt idx="32">
                  <c:v>1128.5098</c:v>
                </c:pt>
                <c:pt idx="33">
                  <c:v>1130.8539</c:v>
                </c:pt>
                <c:pt idx="34">
                  <c:v>1098.5664</c:v>
                </c:pt>
                <c:pt idx="35">
                  <c:v>1206.7297</c:v>
                </c:pt>
                <c:pt idx="36">
                  <c:v>1256.092</c:v>
                </c:pt>
                <c:pt idx="37">
                  <c:v>1091.2982</c:v>
                </c:pt>
                <c:pt idx="38">
                  <c:v>1258.4898</c:v>
                </c:pt>
                <c:pt idx="39">
                  <c:v>1153.7288</c:v>
                </c:pt>
                <c:pt idx="40">
                  <c:v>1352.3684</c:v>
                </c:pt>
                <c:pt idx="41">
                  <c:v>1412.8372</c:v>
                </c:pt>
                <c:pt idx="42">
                  <c:v>1447.3651</c:v>
                </c:pt>
                <c:pt idx="43">
                  <c:v>1484.254</c:v>
                </c:pt>
                <c:pt idx="44">
                  <c:v>1300.6518</c:v>
                </c:pt>
                <c:pt idx="45">
                  <c:v>1284.916</c:v>
                </c:pt>
                <c:pt idx="46">
                  <c:v>1307.8472</c:v>
                </c:pt>
                <c:pt idx="47">
                  <c:v>1275.0357</c:v>
                </c:pt>
                <c:pt idx="48">
                  <c:v>1269.8269</c:v>
                </c:pt>
                <c:pt idx="49">
                  <c:v>1154.9336</c:v>
                </c:pt>
                <c:pt idx="50">
                  <c:v>1128.1667</c:v>
                </c:pt>
                <c:pt idx="51">
                  <c:v>1144.0706</c:v>
                </c:pt>
                <c:pt idx="52">
                  <c:v>1173.689</c:v>
                </c:pt>
                <c:pt idx="53">
                  <c:v>1174.0084</c:v>
                </c:pt>
                <c:pt idx="54">
                  <c:v>1207.5476</c:v>
                </c:pt>
                <c:pt idx="55">
                  <c:v>1216.4306</c:v>
                </c:pt>
                <c:pt idx="56">
                  <c:v>1202.7692</c:v>
                </c:pt>
                <c:pt idx="57">
                  <c:v>1185.5833</c:v>
                </c:pt>
                <c:pt idx="58">
                  <c:v>1143.8684</c:v>
                </c:pt>
                <c:pt idx="59">
                  <c:v>1090.3102</c:v>
                </c:pt>
                <c:pt idx="60">
                  <c:v>1160.6461</c:v>
                </c:pt>
                <c:pt idx="61">
                  <c:v>1218.3491</c:v>
                </c:pt>
                <c:pt idx="62">
                  <c:v>1139.5231</c:v>
                </c:pt>
                <c:pt idx="63">
                  <c:v>1121.0387</c:v>
                </c:pt>
                <c:pt idx="64">
                  <c:v>1146.494</c:v>
                </c:pt>
                <c:pt idx="65">
                  <c:v>1132.1322</c:v>
                </c:pt>
                <c:pt idx="66">
                  <c:v>1096.6643</c:v>
                </c:pt>
                <c:pt idx="67">
                  <c:v>1115.7937</c:v>
                </c:pt>
                <c:pt idx="68">
                  <c:v>1106.0549</c:v>
                </c:pt>
                <c:pt idx="69">
                  <c:v>1024.8333</c:v>
                </c:pt>
                <c:pt idx="70">
                  <c:v>1051.325</c:v>
                </c:pt>
                <c:pt idx="71">
                  <c:v>1127.75</c:v>
                </c:pt>
                <c:pt idx="72">
                  <c:v>999.8871</c:v>
                </c:pt>
                <c:pt idx="73">
                  <c:v>936.0755</c:v>
                </c:pt>
                <c:pt idx="74">
                  <c:v>1172.1489</c:v>
                </c:pt>
                <c:pt idx="75">
                  <c:v>1134.2273</c:v>
                </c:pt>
                <c:pt idx="76">
                  <c:v>1301.2927</c:v>
                </c:pt>
                <c:pt idx="77">
                  <c:v>1234.2093</c:v>
                </c:pt>
                <c:pt idx="78">
                  <c:v>1201.7308</c:v>
                </c:pt>
                <c:pt idx="79">
                  <c:v>1357.1613</c:v>
                </c:pt>
                <c:pt idx="80">
                  <c:v>1316.4667</c:v>
                </c:pt>
                <c:pt idx="81">
                  <c:v>1336.8333</c:v>
                </c:pt>
                <c:pt idx="82">
                  <c:v>1189.4242</c:v>
                </c:pt>
                <c:pt idx="83">
                  <c:v>1281.3889</c:v>
                </c:pt>
                <c:pt idx="84">
                  <c:v>1336.6842</c:v>
                </c:pt>
                <c:pt idx="85">
                  <c:v>1407.0</c:v>
                </c:pt>
                <c:pt idx="86">
                  <c:v>1449.4722</c:v>
                </c:pt>
                <c:pt idx="87">
                  <c:v>1370.3333</c:v>
                </c:pt>
                <c:pt idx="88">
                  <c:v>1371.6667</c:v>
                </c:pt>
                <c:pt idx="89">
                  <c:v>1440.5455</c:v>
                </c:pt>
                <c:pt idx="90">
                  <c:v>1329.5769</c:v>
                </c:pt>
                <c:pt idx="91">
                  <c:v>1455.6957</c:v>
                </c:pt>
                <c:pt idx="92">
                  <c:v>1356.6744</c:v>
                </c:pt>
                <c:pt idx="93">
                  <c:v>1295.0889</c:v>
                </c:pt>
                <c:pt idx="94">
                  <c:v>1351.25</c:v>
                </c:pt>
                <c:pt idx="95">
                  <c:v>1199.569</c:v>
                </c:pt>
                <c:pt idx="96">
                  <c:v>983.211</c:v>
                </c:pt>
                <c:pt idx="97">
                  <c:v>1234.5667</c:v>
                </c:pt>
                <c:pt idx="98">
                  <c:v>1191.8529</c:v>
                </c:pt>
                <c:pt idx="99">
                  <c:v>1186.2899</c:v>
                </c:pt>
                <c:pt idx="100">
                  <c:v>1242.7283</c:v>
                </c:pt>
                <c:pt idx="101">
                  <c:v>1191.3869</c:v>
                </c:pt>
                <c:pt idx="102">
                  <c:v>1227.5811</c:v>
                </c:pt>
                <c:pt idx="103">
                  <c:v>1129.3171</c:v>
                </c:pt>
                <c:pt idx="104">
                  <c:v>1217.7722</c:v>
                </c:pt>
              </c:numCache>
            </c:numRef>
          </c:xVal>
          <c:yVal>
            <c:numRef>
              <c:f>Sheet1!$B$2:$B$106</c:f>
              <c:numCache>
                <c:formatCode>General</c:formatCode>
                <c:ptCount val="105"/>
                <c:pt idx="0">
                  <c:v>0.24242424242424243</c:v>
                </c:pt>
                <c:pt idx="1">
                  <c:v>0.2774566473988439</c:v>
                </c:pt>
                <c:pt idx="2">
                  <c:v>0.27300613496932513</c:v>
                </c:pt>
                <c:pt idx="3">
                  <c:v>0.2765957446808511</c:v>
                </c:pt>
                <c:pt idx="4">
                  <c:v>0.23492063492063492</c:v>
                </c:pt>
                <c:pt idx="5">
                  <c:v>0.24829931972789115</c:v>
                </c:pt>
                <c:pt idx="6">
                  <c:v>0.2996941896024465</c:v>
                </c:pt>
                <c:pt idx="7">
                  <c:v>0.31275720164609055</c:v>
                </c:pt>
                <c:pt idx="8">
                  <c:v>0.2590909090909091</c:v>
                </c:pt>
                <c:pt idx="9">
                  <c:v>0.2676923076923077</c:v>
                </c:pt>
                <c:pt idx="10">
                  <c:v>0.26558265582655827</c:v>
                </c:pt>
                <c:pt idx="11">
                  <c:v>0.2073490813648294</c:v>
                </c:pt>
                <c:pt idx="12">
                  <c:v>0.2565217391304348</c:v>
                </c:pt>
                <c:pt idx="13">
                  <c:v>0.21414141414141413</c:v>
                </c:pt>
                <c:pt idx="14">
                  <c:v>0.1953781512605042</c:v>
                </c:pt>
                <c:pt idx="15">
                  <c:v>0.21468926553672316</c:v>
                </c:pt>
                <c:pt idx="16">
                  <c:v>0.19934640522875818</c:v>
                </c:pt>
                <c:pt idx="17">
                  <c:v>0.18584070796460178</c:v>
                </c:pt>
                <c:pt idx="18">
                  <c:v>0.18787878787878787</c:v>
                </c:pt>
                <c:pt idx="19">
                  <c:v>0.19607843137254902</c:v>
                </c:pt>
                <c:pt idx="20">
                  <c:v>0.1645021645021645</c:v>
                </c:pt>
                <c:pt idx="21">
                  <c:v>0.21621621621621623</c:v>
                </c:pt>
                <c:pt idx="22">
                  <c:v>0.19858156028368795</c:v>
                </c:pt>
                <c:pt idx="23">
                  <c:v>0.24342105263157895</c:v>
                </c:pt>
                <c:pt idx="24">
                  <c:v>0.267515923566879</c:v>
                </c:pt>
                <c:pt idx="25">
                  <c:v>0.2677165354330709</c:v>
                </c:pt>
                <c:pt idx="26">
                  <c:v>0.30857142857142855</c:v>
                </c:pt>
                <c:pt idx="27">
                  <c:v>0.27807486631016043</c:v>
                </c:pt>
                <c:pt idx="28">
                  <c:v>0.2849462365591398</c:v>
                </c:pt>
                <c:pt idx="29">
                  <c:v>0.313915857605178</c:v>
                </c:pt>
                <c:pt idx="30">
                  <c:v>0.2826086956521739</c:v>
                </c:pt>
                <c:pt idx="31">
                  <c:v>0.29775280898876405</c:v>
                </c:pt>
                <c:pt idx="32">
                  <c:v>0.26842105263157895</c:v>
                </c:pt>
                <c:pt idx="33">
                  <c:v>0.31560283687943264</c:v>
                </c:pt>
                <c:pt idx="34">
                  <c:v>0.2682926829268293</c:v>
                </c:pt>
                <c:pt idx="35">
                  <c:v>0.20815752461322082</c:v>
                </c:pt>
                <c:pt idx="36">
                  <c:v>0.24166666666666667</c:v>
                </c:pt>
                <c:pt idx="37">
                  <c:v>0.2384937238493724</c:v>
                </c:pt>
                <c:pt idx="38">
                  <c:v>0.22580645161290322</c:v>
                </c:pt>
                <c:pt idx="39">
                  <c:v>0.25213675213675213</c:v>
                </c:pt>
                <c:pt idx="40">
                  <c:v>0.24126984126984127</c:v>
                </c:pt>
                <c:pt idx="41">
                  <c:v>0.21608040201005024</c:v>
                </c:pt>
                <c:pt idx="42">
                  <c:v>0.2692307692307692</c:v>
                </c:pt>
                <c:pt idx="43">
                  <c:v>0.2625</c:v>
                </c:pt>
                <c:pt idx="44">
                  <c:v>0.26730310262529833</c:v>
                </c:pt>
                <c:pt idx="45">
                  <c:v>0.27546296296296297</c:v>
                </c:pt>
                <c:pt idx="46">
                  <c:v>0.25622775800711745</c:v>
                </c:pt>
                <c:pt idx="47">
                  <c:v>0.2545454545454545</c:v>
                </c:pt>
                <c:pt idx="48">
                  <c:v>0.27586206896551724</c:v>
                </c:pt>
                <c:pt idx="49">
                  <c:v>0.33981337480559876</c:v>
                </c:pt>
                <c:pt idx="50">
                  <c:v>0.33079847908745247</c:v>
                </c:pt>
                <c:pt idx="51">
                  <c:v>0.2901023890784983</c:v>
                </c:pt>
                <c:pt idx="52">
                  <c:v>0.3542116630669546</c:v>
                </c:pt>
                <c:pt idx="53">
                  <c:v>0.3695652173913043</c:v>
                </c:pt>
                <c:pt idx="54">
                  <c:v>0.34710743801652894</c:v>
                </c:pt>
                <c:pt idx="55">
                  <c:v>0.32286995515695066</c:v>
                </c:pt>
                <c:pt idx="56">
                  <c:v>0.3436123348017621</c:v>
                </c:pt>
                <c:pt idx="57">
                  <c:v>0.34710743801652894</c:v>
                </c:pt>
                <c:pt idx="58">
                  <c:v>0.36075949367088606</c:v>
                </c:pt>
                <c:pt idx="59">
                  <c:v>0.4235294117647059</c:v>
                </c:pt>
                <c:pt idx="60">
                  <c:v>0.36929460580912865</c:v>
                </c:pt>
                <c:pt idx="61">
                  <c:v>0.2969187675070028</c:v>
                </c:pt>
                <c:pt idx="62">
                  <c:v>0.2813852813852814</c:v>
                </c:pt>
                <c:pt idx="63">
                  <c:v>0.2886405959031657</c:v>
                </c:pt>
                <c:pt idx="64">
                  <c:v>0.27586206896551724</c:v>
                </c:pt>
                <c:pt idx="65">
                  <c:v>0.22659176029962547</c:v>
                </c:pt>
                <c:pt idx="66">
                  <c:v>0.2948453608247423</c:v>
                </c:pt>
                <c:pt idx="67">
                  <c:v>0.2903225806451613</c:v>
                </c:pt>
                <c:pt idx="68">
                  <c:v>0.2791411042944785</c:v>
                </c:pt>
                <c:pt idx="69">
                  <c:v>0.242914979757085</c:v>
                </c:pt>
                <c:pt idx="70">
                  <c:v>0.19047619047619047</c:v>
                </c:pt>
                <c:pt idx="71">
                  <c:v>0.2857142857142857</c:v>
                </c:pt>
                <c:pt idx="72">
                  <c:v>0.30392156862745096</c:v>
                </c:pt>
                <c:pt idx="73">
                  <c:v>0.3028571428571429</c:v>
                </c:pt>
                <c:pt idx="74">
                  <c:v>0.25</c:v>
                </c:pt>
                <c:pt idx="75">
                  <c:v>0.25142857142857145</c:v>
                </c:pt>
                <c:pt idx="76">
                  <c:v>0.3153846153846154</c:v>
                </c:pt>
                <c:pt idx="77">
                  <c:v>0.3006993006993007</c:v>
                </c:pt>
                <c:pt idx="78">
                  <c:v>0.2549019607843137</c:v>
                </c:pt>
                <c:pt idx="79">
                  <c:v>0.23846153846153847</c:v>
                </c:pt>
                <c:pt idx="80">
                  <c:v>0.23255813953488372</c:v>
                </c:pt>
                <c:pt idx="81">
                  <c:v>0.22085889570552147</c:v>
                </c:pt>
                <c:pt idx="82">
                  <c:v>0.2727272727272727</c:v>
                </c:pt>
                <c:pt idx="83">
                  <c:v>0.1836734693877551</c:v>
                </c:pt>
                <c:pt idx="84">
                  <c:v>0.2111111111111111</c:v>
                </c:pt>
                <c:pt idx="85">
                  <c:v>0.26126126126126126</c:v>
                </c:pt>
                <c:pt idx="86">
                  <c:v>0.19889502762430938</c:v>
                </c:pt>
                <c:pt idx="87">
                  <c:v>0.24890829694323144</c:v>
                </c:pt>
                <c:pt idx="88">
                  <c:v>0.2727272727272727</c:v>
                </c:pt>
                <c:pt idx="89">
                  <c:v>0.2268041237113402</c:v>
                </c:pt>
                <c:pt idx="90">
                  <c:v>0.24528301886792453</c:v>
                </c:pt>
                <c:pt idx="91">
                  <c:v>0.22330097087378642</c:v>
                </c:pt>
                <c:pt idx="92">
                  <c:v>0.25748502994011974</c:v>
                </c:pt>
                <c:pt idx="93">
                  <c:v>0.28125</c:v>
                </c:pt>
                <c:pt idx="94">
                  <c:v>0.27692307692307694</c:v>
                </c:pt>
                <c:pt idx="95">
                  <c:v>0.3036649214659686</c:v>
                </c:pt>
                <c:pt idx="96">
                  <c:v>0.31412103746397696</c:v>
                </c:pt>
                <c:pt idx="97">
                  <c:v>0.234375</c:v>
                </c:pt>
                <c:pt idx="98">
                  <c:v>0.2815734989648033</c:v>
                </c:pt>
                <c:pt idx="99">
                  <c:v>0.28547297297297297</c:v>
                </c:pt>
                <c:pt idx="100">
                  <c:v>0.284434490481523</c:v>
                </c:pt>
                <c:pt idx="101">
                  <c:v>0.3127853881278539</c:v>
                </c:pt>
                <c:pt idx="102">
                  <c:v>0.2890625</c:v>
                </c:pt>
                <c:pt idx="103">
                  <c:v>0.271523178807947</c:v>
                </c:pt>
                <c:pt idx="104">
                  <c:v>0.33054393305439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7.2286</c:v>
                </c:pt>
                <c:pt idx="1">
                  <c:v>1322.8529</c:v>
                </c:pt>
                <c:pt idx="2">
                  <c:v>1171.2526</c:v>
                </c:pt>
                <c:pt idx="3">
                  <c:v>1197.1146</c:v>
                </c:pt>
                <c:pt idx="4">
                  <c:v>1292.1507</c:v>
                </c:pt>
                <c:pt idx="5">
                  <c:v>1270.6625</c:v>
                </c:pt>
                <c:pt idx="6">
                  <c:v>1165.9588</c:v>
                </c:pt>
                <c:pt idx="7">
                  <c:v>1232.7342</c:v>
                </c:pt>
                <c:pt idx="8">
                  <c:v>1272.5636</c:v>
                </c:pt>
                <c:pt idx="9">
                  <c:v>1203.7742</c:v>
                </c:pt>
                <c:pt idx="10">
                  <c:v>1239.96</c:v>
                </c:pt>
                <c:pt idx="11">
                  <c:v>992.4444</c:v>
                </c:pt>
                <c:pt idx="12">
                  <c:v>966.0504</c:v>
                </c:pt>
                <c:pt idx="13">
                  <c:v>921.6557</c:v>
                </c:pt>
                <c:pt idx="14">
                  <c:v>991.5741</c:v>
                </c:pt>
                <c:pt idx="15">
                  <c:v>1109.8621</c:v>
                </c:pt>
                <c:pt idx="16">
                  <c:v>1013.1831</c:v>
                </c:pt>
                <c:pt idx="17">
                  <c:v>1017.9492</c:v>
                </c:pt>
                <c:pt idx="18">
                  <c:v>1074.1522</c:v>
                </c:pt>
                <c:pt idx="19">
                  <c:v>1118.7746</c:v>
                </c:pt>
                <c:pt idx="20">
                  <c:v>1192.1351</c:v>
                </c:pt>
                <c:pt idx="21">
                  <c:v>1129.4</c:v>
                </c:pt>
                <c:pt idx="22">
                  <c:v>1051.08</c:v>
                </c:pt>
                <c:pt idx="23">
                  <c:v>855.7436</c:v>
                </c:pt>
                <c:pt idx="24">
                  <c:v>951.6667</c:v>
                </c:pt>
                <c:pt idx="25">
                  <c:v>902.1277</c:v>
                </c:pt>
                <c:pt idx="26">
                  <c:v>1106.7879</c:v>
                </c:pt>
                <c:pt idx="27">
                  <c:v>1237.4103</c:v>
                </c:pt>
                <c:pt idx="28">
                  <c:v>1201.86</c:v>
                </c:pt>
                <c:pt idx="29">
                  <c:v>1105.7442</c:v>
                </c:pt>
                <c:pt idx="30">
                  <c:v>1367.3333</c:v>
                </c:pt>
                <c:pt idx="31">
                  <c:v>1183.6111</c:v>
                </c:pt>
                <c:pt idx="32">
                  <c:v>1187.8846</c:v>
                </c:pt>
                <c:pt idx="33">
                  <c:v>1273.2394</c:v>
                </c:pt>
                <c:pt idx="34">
                  <c:v>1458.7279</c:v>
                </c:pt>
                <c:pt idx="35">
                  <c:v>1435.0283</c:v>
                </c:pt>
                <c:pt idx="36">
                  <c:v>1406.4412</c:v>
                </c:pt>
                <c:pt idx="37">
                  <c:v>913.0323</c:v>
                </c:pt>
                <c:pt idx="38">
                  <c:v>836.5</c:v>
                </c:pt>
                <c:pt idx="39">
                  <c:v>1153.7945</c:v>
                </c:pt>
                <c:pt idx="40">
                  <c:v>1375.2051</c:v>
                </c:pt>
                <c:pt idx="41">
                  <c:v>1482.0233</c:v>
                </c:pt>
                <c:pt idx="42">
                  <c:v>1455.6579</c:v>
                </c:pt>
                <c:pt idx="43">
                  <c:v>1448.0702</c:v>
                </c:pt>
                <c:pt idx="44">
                  <c:v>1272.6167</c:v>
                </c:pt>
                <c:pt idx="45">
                  <c:v>1319.61</c:v>
                </c:pt>
                <c:pt idx="46">
                  <c:v>1139.7</c:v>
                </c:pt>
                <c:pt idx="47">
                  <c:v>1131.8</c:v>
                </c:pt>
                <c:pt idx="48">
                  <c:v>1142.5244</c:v>
                </c:pt>
                <c:pt idx="49">
                  <c:v>1330.0825</c:v>
                </c:pt>
                <c:pt idx="50">
                  <c:v>1095.9954</c:v>
                </c:pt>
                <c:pt idx="51">
                  <c:v>1128.8673</c:v>
                </c:pt>
              </c:numCache>
            </c:numRef>
          </c:xVal>
          <c:yVal>
            <c:numRef>
              <c:f>Sheet1!$B$109:$B$160</c:f>
              <c:numCache>
                <c:formatCode>General</c:formatCode>
                <c:ptCount val="52"/>
                <c:pt idx="0">
                  <c:v>0.2857142857142857</c:v>
                </c:pt>
                <c:pt idx="1">
                  <c:v>0.30357142857142855</c:v>
                </c:pt>
                <c:pt idx="2">
                  <c:v>0.3298611111111111</c:v>
                </c:pt>
                <c:pt idx="3">
                  <c:v>0.34408602150537637</c:v>
                </c:pt>
                <c:pt idx="4">
                  <c:v>0.31063829787234043</c:v>
                </c:pt>
                <c:pt idx="5">
                  <c:v>0.3292181069958848</c:v>
                </c:pt>
                <c:pt idx="6">
                  <c:v>0.34519572953736655</c:v>
                </c:pt>
                <c:pt idx="7">
                  <c:v>0.316</c:v>
                </c:pt>
                <c:pt idx="8">
                  <c:v>0.27638190954773867</c:v>
                </c:pt>
                <c:pt idx="9">
                  <c:v>0.2980769230769231</c:v>
                </c:pt>
                <c:pt idx="10">
                  <c:v>0.29880478087649404</c:v>
                </c:pt>
                <c:pt idx="11">
                  <c:v>0.3316953316953317</c:v>
                </c:pt>
                <c:pt idx="12">
                  <c:v>0.34663341645885287</c:v>
                </c:pt>
                <c:pt idx="13">
                  <c:v>0.3446327683615819</c:v>
                </c:pt>
                <c:pt idx="14">
                  <c:v>0.3829787234042553</c:v>
                </c:pt>
                <c:pt idx="15">
                  <c:v>0.35365853658536583</c:v>
                </c:pt>
                <c:pt idx="16">
                  <c:v>0.33490566037735847</c:v>
                </c:pt>
                <c:pt idx="17">
                  <c:v>0.33146067415730335</c:v>
                </c:pt>
                <c:pt idx="18">
                  <c:v>0.25555555555555554</c:v>
                </c:pt>
                <c:pt idx="19">
                  <c:v>0.355</c:v>
                </c:pt>
                <c:pt idx="20">
                  <c:v>0.3008130081300813</c:v>
                </c:pt>
                <c:pt idx="21">
                  <c:v>0.23255813953488372</c:v>
                </c:pt>
                <c:pt idx="22">
                  <c:v>0.3472222222222222</c:v>
                </c:pt>
                <c:pt idx="23">
                  <c:v>0.34513274336283184</c:v>
                </c:pt>
                <c:pt idx="24">
                  <c:v>0.3644859813084112</c:v>
                </c:pt>
                <c:pt idx="25">
                  <c:v>0.3560606060606061</c:v>
                </c:pt>
                <c:pt idx="26">
                  <c:v>0.28205128205128205</c:v>
                </c:pt>
                <c:pt idx="27">
                  <c:v>0.26174496644295303</c:v>
                </c:pt>
                <c:pt idx="28">
                  <c:v>0.27472527472527475</c:v>
                </c:pt>
                <c:pt idx="29">
                  <c:v>0.3006993006993007</c:v>
                </c:pt>
                <c:pt idx="30">
                  <c:v>0.267515923566879</c:v>
                </c:pt>
                <c:pt idx="31">
                  <c:v>0.24</c:v>
                </c:pt>
                <c:pt idx="32">
                  <c:v>0.3443708609271523</c:v>
                </c:pt>
                <c:pt idx="33">
                  <c:v>0.2886178861788618</c:v>
                </c:pt>
                <c:pt idx="34">
                  <c:v>0.3022222222222222</c:v>
                </c:pt>
                <c:pt idx="35">
                  <c:v>0.33974358974358976</c:v>
                </c:pt>
                <c:pt idx="36">
                  <c:v>0.26153846153846155</c:v>
                </c:pt>
                <c:pt idx="37">
                  <c:v>0.39490445859872614</c:v>
                </c:pt>
                <c:pt idx="38">
                  <c:v>0.4171779141104294</c:v>
                </c:pt>
                <c:pt idx="39">
                  <c:v>0.3348623853211009</c:v>
                </c:pt>
                <c:pt idx="40">
                  <c:v>0.26</c:v>
                </c:pt>
                <c:pt idx="41">
                  <c:v>0.2621951219512195</c:v>
                </c:pt>
                <c:pt idx="42">
                  <c:v>0.25675675675675674</c:v>
                </c:pt>
                <c:pt idx="43">
                  <c:v>0.24050632911392406</c:v>
                </c:pt>
                <c:pt idx="44">
                  <c:v>0.22304832713754646</c:v>
                </c:pt>
                <c:pt idx="45">
                  <c:v>0.2336448598130841</c:v>
                </c:pt>
                <c:pt idx="46">
                  <c:v>0.2787456445993031</c:v>
                </c:pt>
                <c:pt idx="47">
                  <c:v>0.2878787878787879</c:v>
                </c:pt>
                <c:pt idx="48">
                  <c:v>0.2265193370165746</c:v>
                </c:pt>
                <c:pt idx="49">
                  <c:v>0.23040380047505937</c:v>
                </c:pt>
                <c:pt idx="50">
                  <c:v>0.2998624484181568</c:v>
                </c:pt>
                <c:pt idx="51">
                  <c:v>0.25454545454545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6.5469260523979</c:v>
                </c:pt>
              </c:numCache>
            </c:numRef>
          </c:xVal>
          <c:yVal>
            <c:numRef>
              <c:f>Sheet1!$B$163:$B$164</c:f>
              <c:numCache>
                <c:formatCode>General</c:formatCode>
                <c:ptCount val="2"/>
                <c:pt idx="0">
                  <c:v>0.3442026053562936</c:v>
                </c:pt>
                <c:pt idx="1">
                  <c:v>0.34420260535629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6.5469260523979</c:v>
                </c:pt>
                <c:pt idx="1">
                  <c:v>946.5469260523979</c:v>
                </c:pt>
              </c:numCache>
            </c:numRef>
          </c:xVal>
          <c:yVal>
            <c:numRef>
              <c:f>Sheet1!$B$167:$B$168</c:f>
              <c:numCache>
                <c:formatCode>General</c:formatCode>
                <c:ptCount val="2"/>
                <c:pt idx="0">
                  <c:v>0.3442026053562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0.4548215072095</c:v>
                </c:pt>
              </c:numCache>
            </c:numRef>
          </c:xVal>
          <c:yVal>
            <c:numRef>
              <c:f>Sheet1!$B$171:$B$172</c:f>
              <c:numCache>
                <c:formatCode>General</c:formatCode>
                <c:ptCount val="2"/>
                <c:pt idx="0">
                  <c:v>0.32052103986261443</c:v>
                </c:pt>
                <c:pt idx="1">
                  <c:v>0.3205210398626144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0.4548215072095</c:v>
                </c:pt>
                <c:pt idx="1">
                  <c:v>1080.4548215072095</c:v>
                </c:pt>
              </c:numCache>
            </c:numRef>
          </c:xVal>
          <c:yVal>
            <c:numRef>
              <c:f>Sheet1!$B$175:$B$176</c:f>
              <c:numCache>
                <c:formatCode>General</c:formatCode>
                <c:ptCount val="2"/>
                <c:pt idx="0">
                  <c:v>0.320521039862614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18.770982543521</c:v>
                </c:pt>
              </c:numCache>
            </c:numRef>
          </c:xVal>
          <c:yVal>
            <c:numRef>
              <c:f>Sheet1!$B$179:$B$180</c:f>
              <c:numCache>
                <c:formatCode>General</c:formatCode>
                <c:ptCount val="2"/>
                <c:pt idx="0">
                  <c:v>0.26068994254053607</c:v>
                </c:pt>
                <c:pt idx="1">
                  <c:v>0.260689942540536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18.770982543521</c:v>
                </c:pt>
                <c:pt idx="1">
                  <c:v>1418.770982543521</c:v>
                </c:pt>
              </c:numCache>
            </c:numRef>
          </c:xVal>
          <c:yVal>
            <c:numRef>
              <c:f>Sheet1!$B$183:$B$184</c:f>
              <c:numCache>
                <c:formatCode>General</c:formatCode>
                <c:ptCount val="2"/>
                <c:pt idx="0">
                  <c:v>0.260689942540536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7.2286</c:v>
                </c:pt>
                <c:pt idx="1">
                  <c:v>1322.8529</c:v>
                </c:pt>
                <c:pt idx="2">
                  <c:v>1171.2526</c:v>
                </c:pt>
                <c:pt idx="3">
                  <c:v>1197.1146</c:v>
                </c:pt>
                <c:pt idx="4">
                  <c:v>1292.1507</c:v>
                </c:pt>
                <c:pt idx="5">
                  <c:v>1270.6625</c:v>
                </c:pt>
                <c:pt idx="6">
                  <c:v>1165.9588</c:v>
                </c:pt>
                <c:pt idx="7">
                  <c:v>1232.7342</c:v>
                </c:pt>
                <c:pt idx="8">
                  <c:v>1272.5636</c:v>
                </c:pt>
                <c:pt idx="9">
                  <c:v>1203.7742</c:v>
                </c:pt>
                <c:pt idx="10">
                  <c:v>1239.96</c:v>
                </c:pt>
                <c:pt idx="11">
                  <c:v>992.4444</c:v>
                </c:pt>
                <c:pt idx="12">
                  <c:v>966.0504</c:v>
                </c:pt>
                <c:pt idx="13">
                  <c:v>921.6557</c:v>
                </c:pt>
                <c:pt idx="14">
                  <c:v>991.5741</c:v>
                </c:pt>
                <c:pt idx="15">
                  <c:v>1109.8621</c:v>
                </c:pt>
                <c:pt idx="16">
                  <c:v>1013.1831</c:v>
                </c:pt>
                <c:pt idx="17">
                  <c:v>1017.9492</c:v>
                </c:pt>
                <c:pt idx="18">
                  <c:v>1074.1522</c:v>
                </c:pt>
                <c:pt idx="19">
                  <c:v>1118.7746</c:v>
                </c:pt>
                <c:pt idx="20">
                  <c:v>1192.1351</c:v>
                </c:pt>
                <c:pt idx="21">
                  <c:v>1129.4</c:v>
                </c:pt>
                <c:pt idx="22">
                  <c:v>1051.08</c:v>
                </c:pt>
                <c:pt idx="23">
                  <c:v>855.7436</c:v>
                </c:pt>
                <c:pt idx="24">
                  <c:v>951.6667</c:v>
                </c:pt>
                <c:pt idx="25">
                  <c:v>902.1277</c:v>
                </c:pt>
                <c:pt idx="26">
                  <c:v>1106.7879</c:v>
                </c:pt>
                <c:pt idx="27">
                  <c:v>1237.4103</c:v>
                </c:pt>
                <c:pt idx="28">
                  <c:v>1201.86</c:v>
                </c:pt>
                <c:pt idx="29">
                  <c:v>1105.7442</c:v>
                </c:pt>
                <c:pt idx="30">
                  <c:v>1367.3333</c:v>
                </c:pt>
                <c:pt idx="31">
                  <c:v>1183.6111</c:v>
                </c:pt>
                <c:pt idx="32">
                  <c:v>1187.8846</c:v>
                </c:pt>
                <c:pt idx="33">
                  <c:v>1273.2394</c:v>
                </c:pt>
                <c:pt idx="34">
                  <c:v>1458.7279</c:v>
                </c:pt>
                <c:pt idx="35">
                  <c:v>1435.0283</c:v>
                </c:pt>
                <c:pt idx="36">
                  <c:v>1406.4412</c:v>
                </c:pt>
                <c:pt idx="37">
                  <c:v>913.0323</c:v>
                </c:pt>
                <c:pt idx="38">
                  <c:v>836.5</c:v>
                </c:pt>
                <c:pt idx="39">
                  <c:v>1153.7945</c:v>
                </c:pt>
                <c:pt idx="40">
                  <c:v>1375.2051</c:v>
                </c:pt>
                <c:pt idx="41">
                  <c:v>1482.0233</c:v>
                </c:pt>
                <c:pt idx="42">
                  <c:v>1455.6579</c:v>
                </c:pt>
                <c:pt idx="43">
                  <c:v>1448.0702</c:v>
                </c:pt>
                <c:pt idx="44">
                  <c:v>1272.6167</c:v>
                </c:pt>
                <c:pt idx="45">
                  <c:v>1319.61</c:v>
                </c:pt>
                <c:pt idx="46">
                  <c:v>1139.7</c:v>
                </c:pt>
                <c:pt idx="47">
                  <c:v>1131.8</c:v>
                </c:pt>
                <c:pt idx="48">
                  <c:v>1142.5244</c:v>
                </c:pt>
                <c:pt idx="49">
                  <c:v>1330.0825</c:v>
                </c:pt>
                <c:pt idx="50">
                  <c:v>1095.9954</c:v>
                </c:pt>
                <c:pt idx="51">
                  <c:v>1128.8673</c:v>
                </c:pt>
                <c:pt idx="52">
                  <c:v>1080.4548215072095</c:v>
                </c:pt>
                <c:pt idx="53">
                  <c:v>946.5469260523979</c:v>
                </c:pt>
                <c:pt idx="54">
                  <c:v>1418.770982543521</c:v>
                </c:pt>
              </c:numCache>
            </c:numRef>
          </c:xVal>
          <c:yVal>
            <c:numRef>
              <c:f>Sheet1!$B$187:$B$241</c:f>
              <c:numCache>
                <c:formatCode>General</c:formatCode>
                <c:ptCount val="55"/>
                <c:pt idx="0">
                  <c:v>0.27687918157150415</c:v>
                </c:pt>
                <c:pt idx="1">
                  <c:v>0.27765302261932834</c:v>
                </c:pt>
                <c:pt idx="2">
                  <c:v>0.30446348380324667</c:v>
                </c:pt>
                <c:pt idx="3">
                  <c:v>0.29988979795210724</c:v>
                </c:pt>
                <c:pt idx="4">
                  <c:v>0.2830826961843602</c:v>
                </c:pt>
                <c:pt idx="5">
                  <c:v>0.2868828770020253</c:v>
                </c:pt>
                <c:pt idx="6">
                  <c:v>0.3053996905219367</c:v>
                </c:pt>
                <c:pt idx="7">
                  <c:v>0.2935904838795975</c:v>
                </c:pt>
                <c:pt idx="8">
                  <c:v>0.28654666811749974</c:v>
                </c:pt>
                <c:pt idx="9">
                  <c:v>0.29871204997073497</c:v>
                </c:pt>
                <c:pt idx="10">
                  <c:v>0.2923126036219545</c:v>
                </c:pt>
                <c:pt idx="11">
                  <c:v>0.33608565279279545</c:v>
                </c:pt>
                <c:pt idx="12">
                  <c:v>0.34075342266190745</c:v>
                </c:pt>
                <c:pt idx="13">
                  <c:v>0.34860461016695654</c:v>
                </c:pt>
                <c:pt idx="14">
                  <c:v>0.3362395650500164</c:v>
                </c:pt>
                <c:pt idx="15">
                  <c:v>0.31532037272306634</c:v>
                </c:pt>
                <c:pt idx="16">
                  <c:v>0.3324180207936838</c:v>
                </c:pt>
                <c:pt idx="17">
                  <c:v>0.3315751376394376</c:v>
                </c:pt>
                <c:pt idx="18">
                  <c:v>0.3216356563196793</c:v>
                </c:pt>
                <c:pt idx="19">
                  <c:v>0.3137442001475393</c:v>
                </c:pt>
                <c:pt idx="20">
                  <c:v>0.30077042082333716</c:v>
                </c:pt>
                <c:pt idx="21">
                  <c:v>0.3118651017930927</c:v>
                </c:pt>
                <c:pt idx="22">
                  <c:v>0.3257159669953679</c:v>
                </c:pt>
                <c:pt idx="23">
                  <c:v>0.3602611424996798</c:v>
                </c:pt>
                <c:pt idx="24">
                  <c:v>0.3432971750854259</c:v>
                </c:pt>
                <c:pt idx="25">
                  <c:v>0.3520581302853175</c:v>
                </c:pt>
                <c:pt idx="26">
                  <c:v>0.3158640439412077</c:v>
                </c:pt>
                <c:pt idx="27">
                  <c:v>0.2927635171945572</c:v>
                </c:pt>
                <c:pt idx="28">
                  <c:v>0.2990505755857784</c:v>
                </c:pt>
                <c:pt idx="29">
                  <c:v>0.3160486219290986</c:v>
                </c:pt>
                <c:pt idx="30">
                  <c:v>0.2697866790986021</c:v>
                </c:pt>
                <c:pt idx="31">
                  <c:v>0.30227788730679217</c:v>
                </c:pt>
                <c:pt idx="32">
                  <c:v>0.30152212029399944</c:v>
                </c:pt>
                <c:pt idx="33">
                  <c:v>0.28642715311872935</c:v>
                </c:pt>
                <c:pt idx="34">
                  <c:v>0.25362357535989094</c:v>
                </c:pt>
                <c:pt idx="35">
                  <c:v>0.2578148415109104</c:v>
                </c:pt>
                <c:pt idx="36">
                  <c:v>0.2628704603646381</c:v>
                </c:pt>
                <c:pt idx="37">
                  <c:v>0.3501296555064012</c:v>
                </c:pt>
                <c:pt idx="38">
                  <c:v>0.3636643665753502</c:v>
                </c:pt>
                <c:pt idx="39">
                  <c:v>0.3075509428148381</c:v>
                </c:pt>
                <c:pt idx="40">
                  <c:v>0.26839455396199247</c:v>
                </c:pt>
                <c:pt idx="41">
                  <c:v>0.2495037918405717</c:v>
                </c:pt>
                <c:pt idx="42">
                  <c:v>0.2541665038094694</c:v>
                </c:pt>
                <c:pt idx="43">
                  <c:v>0.25550838595828584</c:v>
                </c:pt>
                <c:pt idx="44">
                  <c:v>0.28653727740066826</c:v>
                </c:pt>
                <c:pt idx="45">
                  <c:v>0.27822652837474793</c:v>
                </c:pt>
                <c:pt idx="46">
                  <c:v>0.31004355031730835</c:v>
                </c:pt>
                <c:pt idx="47">
                  <c:v>0.31144066261426917</c:v>
                </c:pt>
                <c:pt idx="48">
                  <c:v>0.3095440561436961</c:v>
                </c:pt>
                <c:pt idx="49">
                  <c:v>0.27637447033298557</c:v>
                </c:pt>
                <c:pt idx="50">
                  <c:v>0.31777269387347984</c:v>
                </c:pt>
                <c:pt idx="51">
                  <c:v>0.3119593096058258</c:v>
                </c:pt>
                <c:pt idx="52">
                  <c:v>0.3205210398626144</c:v>
                </c:pt>
                <c:pt idx="53">
                  <c:v>0.3442026053562936</c:v>
                </c:pt>
                <c:pt idx="54">
                  <c:v>0.260689942540536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6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8235294117647"/>
          <c:min val="0.1316017316017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0573798397863818</c:v>
                </c:pt>
                <c:pt idx="1">
                  <c:v>0.16164587685113016</c:v>
                </c:pt>
                <c:pt idx="2">
                  <c:v>0.1573783361726292</c:v>
                </c:pt>
                <c:pt idx="3">
                  <c:v>0.29849019091507567</c:v>
                </c:pt>
                <c:pt idx="4">
                  <c:v>0.2144327677224736</c:v>
                </c:pt>
                <c:pt idx="5">
                  <c:v>0.35887758064516134</c:v>
                </c:pt>
                <c:pt idx="6">
                  <c:v>0.2520173401534527</c:v>
                </c:pt>
                <c:pt idx="7">
                  <c:v>0.20943678184420364</c:v>
                </c:pt>
                <c:pt idx="8">
                  <c:v>0.16624484559840222</c:v>
                </c:pt>
                <c:pt idx="9">
                  <c:v>0.17714456375838927</c:v>
                </c:pt>
                <c:pt idx="10">
                  <c:v>0.15076657612580416</c:v>
                </c:pt>
                <c:pt idx="11">
                  <c:v>0.3123669989224138</c:v>
                </c:pt>
                <c:pt idx="12">
                  <c:v>0.2752645470169408</c:v>
                </c:pt>
                <c:pt idx="13">
                  <c:v>0.3059822307271733</c:v>
                </c:pt>
                <c:pt idx="14">
                  <c:v>0.2682499413833529</c:v>
                </c:pt>
                <c:pt idx="15">
                  <c:v>0.21261816660468574</c:v>
                </c:pt>
                <c:pt idx="16">
                  <c:v>0.19929545997610515</c:v>
                </c:pt>
                <c:pt idx="17">
                  <c:v>0.24477264804911864</c:v>
                </c:pt>
                <c:pt idx="18">
                  <c:v>0.29219417562724015</c:v>
                </c:pt>
                <c:pt idx="19">
                  <c:v>0.34556792345044274</c:v>
                </c:pt>
                <c:pt idx="20">
                  <c:v>0.25195863438623034</c:v>
                </c:pt>
                <c:pt idx="21">
                  <c:v>0.24357930909748599</c:v>
                </c:pt>
                <c:pt idx="22">
                  <c:v>0.2912222521419829</c:v>
                </c:pt>
                <c:pt idx="23">
                  <c:v>0.20569717580213906</c:v>
                </c:pt>
                <c:pt idx="24">
                  <c:v>0.2642883242059146</c:v>
                </c:pt>
                <c:pt idx="25">
                  <c:v>0.17692717407686512</c:v>
                </c:pt>
                <c:pt idx="26">
                  <c:v>0.20323553370786518</c:v>
                </c:pt>
                <c:pt idx="27">
                  <c:v>0.18002054037457785</c:v>
                </c:pt>
                <c:pt idx="28">
                  <c:v>0.18293296045375768</c:v>
                </c:pt>
                <c:pt idx="29">
                  <c:v>0.3202144180660104</c:v>
                </c:pt>
                <c:pt idx="30">
                  <c:v>0.22809763361893107</c:v>
                </c:pt>
                <c:pt idx="31">
                  <c:v>0.0</c:v>
                </c:pt>
                <c:pt idx="32">
                  <c:v>0.3314272540381792</c:v>
                </c:pt>
                <c:pt idx="33">
                  <c:v>0.2296616368805849</c:v>
                </c:pt>
                <c:pt idx="34">
                  <c:v>0.1719465331037721</c:v>
                </c:pt>
                <c:pt idx="35">
                  <c:v>0.30434544766708704</c:v>
                </c:pt>
                <c:pt idx="36">
                  <c:v>0.18466509850044105</c:v>
                </c:pt>
                <c:pt idx="37">
                  <c:v>0.20042207529843892</c:v>
                </c:pt>
                <c:pt idx="38">
                  <c:v>0.19463188988555521</c:v>
                </c:pt>
                <c:pt idx="39">
                  <c:v>0.1791504347826087</c:v>
                </c:pt>
                <c:pt idx="40">
                  <c:v>0.25299193714339163</c:v>
                </c:pt>
                <c:pt idx="41">
                  <c:v>0.36263788501026695</c:v>
                </c:pt>
                <c:pt idx="42">
                  <c:v>0.24082613976705491</c:v>
                </c:pt>
                <c:pt idx="43">
                  <c:v>0.37878116626260044</c:v>
                </c:pt>
                <c:pt idx="44">
                  <c:v>0.3001273263585315</c:v>
                </c:pt>
                <c:pt idx="45">
                  <c:v>0.2541368670886076</c:v>
                </c:pt>
                <c:pt idx="46">
                  <c:v>0.26301602815485164</c:v>
                </c:pt>
                <c:pt idx="47">
                  <c:v>0.26854163858466723</c:v>
                </c:pt>
                <c:pt idx="48">
                  <c:v>0.23233499222395024</c:v>
                </c:pt>
                <c:pt idx="49">
                  <c:v>0.21205060130358946</c:v>
                </c:pt>
                <c:pt idx="50">
                  <c:v>0.19439419315930043</c:v>
                </c:pt>
                <c:pt idx="51">
                  <c:v>0.175632575990175</c:v>
                </c:pt>
                <c:pt idx="52">
                  <c:v>0.2049038058659218</c:v>
                </c:pt>
                <c:pt idx="53">
                  <c:v>0.2537299330019451</c:v>
                </c:pt>
                <c:pt idx="54">
                  <c:v>0.22449295408068415</c:v>
                </c:pt>
                <c:pt idx="55">
                  <c:v>0.2941791051995163</c:v>
                </c:pt>
                <c:pt idx="56">
                  <c:v>0.20074592339147124</c:v>
                </c:pt>
                <c:pt idx="57">
                  <c:v>0.2391253126260589</c:v>
                </c:pt>
                <c:pt idx="58">
                  <c:v>0.20724130808950086</c:v>
                </c:pt>
                <c:pt idx="59">
                  <c:v>0.18241763426468127</c:v>
                </c:pt>
                <c:pt idx="60">
                  <c:v>0.2035388040190495</c:v>
                </c:pt>
                <c:pt idx="61">
                  <c:v>0.23513443983402488</c:v>
                </c:pt>
                <c:pt idx="62">
                  <c:v>0.23009822460859006</c:v>
                </c:pt>
                <c:pt idx="63">
                  <c:v>0.1956266817904197</c:v>
                </c:pt>
                <c:pt idx="64">
                  <c:v>0.21690622301251042</c:v>
                </c:pt>
                <c:pt idx="65">
                  <c:v>0.1853827083674472</c:v>
                </c:pt>
                <c:pt idx="66">
                  <c:v>0.2330353378665533</c:v>
                </c:pt>
                <c:pt idx="67">
                  <c:v>0.2233821221221221</c:v>
                </c:pt>
                <c:pt idx="68">
                  <c:v>0.16029781159420292</c:v>
                </c:pt>
                <c:pt idx="69">
                  <c:v>0.209021680603712</c:v>
                </c:pt>
                <c:pt idx="70">
                  <c:v>0.2170589449778053</c:v>
                </c:pt>
                <c:pt idx="71">
                  <c:v>0.24463123644251628</c:v>
                </c:pt>
                <c:pt idx="72">
                  <c:v>0.14341467297762478</c:v>
                </c:pt>
                <c:pt idx="73">
                  <c:v>0.22027897399694082</c:v>
                </c:pt>
                <c:pt idx="74">
                  <c:v>0.22260922989269774</c:v>
                </c:pt>
                <c:pt idx="75">
                  <c:v>0.18719711173460968</c:v>
                </c:pt>
                <c:pt idx="76">
                  <c:v>0.2706234168659665</c:v>
                </c:pt>
                <c:pt idx="77">
                  <c:v>0.32912248</c:v>
                </c:pt>
                <c:pt idx="78">
                  <c:v>0.22437094846900674</c:v>
                </c:pt>
                <c:pt idx="79">
                  <c:v>0.2271779879477737</c:v>
                </c:pt>
                <c:pt idx="80">
                  <c:v>0.28857227093380095</c:v>
                </c:pt>
                <c:pt idx="81">
                  <c:v>0.2116079620102889</c:v>
                </c:pt>
                <c:pt idx="82">
                  <c:v>0.18625496398371436</c:v>
                </c:pt>
                <c:pt idx="83">
                  <c:v>0.19165254262638348</c:v>
                </c:pt>
                <c:pt idx="84">
                  <c:v>0.27458590797041904</c:v>
                </c:pt>
                <c:pt idx="85">
                  <c:v>0.0</c:v>
                </c:pt>
                <c:pt idx="86">
                  <c:v>0.22146252100840336</c:v>
                </c:pt>
                <c:pt idx="87">
                  <c:v>0.31105057314720236</c:v>
                </c:pt>
                <c:pt idx="88">
                  <c:v>0.2113182406408874</c:v>
                </c:pt>
                <c:pt idx="89">
                  <c:v>0.4311719545046393</c:v>
                </c:pt>
                <c:pt idx="90">
                  <c:v>0.28024525595619515</c:v>
                </c:pt>
                <c:pt idx="91">
                  <c:v>0.24760940636162612</c:v>
                </c:pt>
                <c:pt idx="92">
                  <c:v>0.29528227228207643</c:v>
                </c:pt>
                <c:pt idx="93">
                  <c:v>0.2884385077951002</c:v>
                </c:pt>
                <c:pt idx="94">
                  <c:v>0.19467655957354849</c:v>
                </c:pt>
                <c:pt idx="95">
                  <c:v>0.2024076605078883</c:v>
                </c:pt>
                <c:pt idx="96">
                  <c:v>0.17362016598975807</c:v>
                </c:pt>
                <c:pt idx="97">
                  <c:v>0.19136118732077811</c:v>
                </c:pt>
                <c:pt idx="98">
                  <c:v>0.17964472077775268</c:v>
                </c:pt>
                <c:pt idx="99">
                  <c:v>0.2183791062635188</c:v>
                </c:pt>
                <c:pt idx="100">
                  <c:v>0.22699892229569282</c:v>
                </c:pt>
                <c:pt idx="101">
                  <c:v>0.2485810651504877</c:v>
                </c:pt>
                <c:pt idx="102">
                  <c:v>0.27350488877463713</c:v>
                </c:pt>
                <c:pt idx="103">
                  <c:v>0.18130960515193403</c:v>
                </c:pt>
                <c:pt idx="104">
                  <c:v>0.18916359866844304</c:v>
                </c:pt>
              </c:numCache>
            </c:numRef>
          </c:xVal>
          <c:yVal>
            <c:numRef>
              <c:f>Sheet1!$B$2:$B$106</c:f>
              <c:numCache>
                <c:formatCode>General</c:formatCode>
                <c:ptCount val="105"/>
                <c:pt idx="0">
                  <c:v>0.24242424242424243</c:v>
                </c:pt>
                <c:pt idx="1">
                  <c:v>0.2774566473988439</c:v>
                </c:pt>
                <c:pt idx="2">
                  <c:v>0.27300613496932513</c:v>
                </c:pt>
                <c:pt idx="3">
                  <c:v>0.2765957446808511</c:v>
                </c:pt>
                <c:pt idx="4">
                  <c:v>0.23492063492063492</c:v>
                </c:pt>
                <c:pt idx="5">
                  <c:v>0.24829931972789115</c:v>
                </c:pt>
                <c:pt idx="6">
                  <c:v>0.2996941896024465</c:v>
                </c:pt>
                <c:pt idx="7">
                  <c:v>0.31275720164609055</c:v>
                </c:pt>
                <c:pt idx="8">
                  <c:v>0.2590909090909091</c:v>
                </c:pt>
                <c:pt idx="9">
                  <c:v>0.2676923076923077</c:v>
                </c:pt>
                <c:pt idx="10">
                  <c:v>0.26558265582655827</c:v>
                </c:pt>
                <c:pt idx="11">
                  <c:v>0.2073490813648294</c:v>
                </c:pt>
                <c:pt idx="12">
                  <c:v>0.2565217391304348</c:v>
                </c:pt>
                <c:pt idx="13">
                  <c:v>0.21414141414141413</c:v>
                </c:pt>
                <c:pt idx="14">
                  <c:v>0.1953781512605042</c:v>
                </c:pt>
                <c:pt idx="15">
                  <c:v>0.21468926553672316</c:v>
                </c:pt>
                <c:pt idx="16">
                  <c:v>0.19934640522875818</c:v>
                </c:pt>
                <c:pt idx="17">
                  <c:v>0.18584070796460178</c:v>
                </c:pt>
                <c:pt idx="18">
                  <c:v>0.18787878787878787</c:v>
                </c:pt>
                <c:pt idx="19">
                  <c:v>0.19607843137254902</c:v>
                </c:pt>
                <c:pt idx="20">
                  <c:v>0.1645021645021645</c:v>
                </c:pt>
                <c:pt idx="21">
                  <c:v>0.21621621621621623</c:v>
                </c:pt>
                <c:pt idx="22">
                  <c:v>0.19858156028368795</c:v>
                </c:pt>
                <c:pt idx="23">
                  <c:v>0.24342105263157895</c:v>
                </c:pt>
                <c:pt idx="24">
                  <c:v>0.267515923566879</c:v>
                </c:pt>
                <c:pt idx="25">
                  <c:v>0.2677165354330709</c:v>
                </c:pt>
                <c:pt idx="26">
                  <c:v>0.30857142857142855</c:v>
                </c:pt>
                <c:pt idx="27">
                  <c:v>0.27807486631016043</c:v>
                </c:pt>
                <c:pt idx="28">
                  <c:v>0.2849462365591398</c:v>
                </c:pt>
                <c:pt idx="29">
                  <c:v>0.313915857605178</c:v>
                </c:pt>
                <c:pt idx="30">
                  <c:v>0.2826086956521739</c:v>
                </c:pt>
                <c:pt idx="31">
                  <c:v>0.29775280898876405</c:v>
                </c:pt>
                <c:pt idx="32">
                  <c:v>0.26842105263157895</c:v>
                </c:pt>
                <c:pt idx="33">
                  <c:v>0.31560283687943264</c:v>
                </c:pt>
                <c:pt idx="34">
                  <c:v>0.2682926829268293</c:v>
                </c:pt>
                <c:pt idx="35">
                  <c:v>0.20815752461322082</c:v>
                </c:pt>
                <c:pt idx="36">
                  <c:v>0.24166666666666667</c:v>
                </c:pt>
                <c:pt idx="37">
                  <c:v>0.2384937238493724</c:v>
                </c:pt>
                <c:pt idx="38">
                  <c:v>0.22580645161290322</c:v>
                </c:pt>
                <c:pt idx="39">
                  <c:v>0.25213675213675213</c:v>
                </c:pt>
                <c:pt idx="40">
                  <c:v>0.24126984126984127</c:v>
                </c:pt>
                <c:pt idx="41">
                  <c:v>0.21608040201005024</c:v>
                </c:pt>
                <c:pt idx="42">
                  <c:v>0.2692307692307692</c:v>
                </c:pt>
                <c:pt idx="43">
                  <c:v>0.2625</c:v>
                </c:pt>
                <c:pt idx="44">
                  <c:v>0.26730310262529833</c:v>
                </c:pt>
                <c:pt idx="45">
                  <c:v>0.27546296296296297</c:v>
                </c:pt>
                <c:pt idx="46">
                  <c:v>0.25622775800711745</c:v>
                </c:pt>
                <c:pt idx="47">
                  <c:v>0.2545454545454545</c:v>
                </c:pt>
                <c:pt idx="48">
                  <c:v>0.27586206896551724</c:v>
                </c:pt>
                <c:pt idx="49">
                  <c:v>0.33981337480559876</c:v>
                </c:pt>
                <c:pt idx="50">
                  <c:v>0.33079847908745247</c:v>
                </c:pt>
                <c:pt idx="51">
                  <c:v>0.2901023890784983</c:v>
                </c:pt>
                <c:pt idx="52">
                  <c:v>0.3542116630669546</c:v>
                </c:pt>
                <c:pt idx="53">
                  <c:v>0.3695652173913043</c:v>
                </c:pt>
                <c:pt idx="54">
                  <c:v>0.34710743801652894</c:v>
                </c:pt>
                <c:pt idx="55">
                  <c:v>0.32286995515695066</c:v>
                </c:pt>
                <c:pt idx="56">
                  <c:v>0.3436123348017621</c:v>
                </c:pt>
                <c:pt idx="57">
                  <c:v>0.34710743801652894</c:v>
                </c:pt>
                <c:pt idx="58">
                  <c:v>0.36075949367088606</c:v>
                </c:pt>
                <c:pt idx="59">
                  <c:v>0.4235294117647059</c:v>
                </c:pt>
                <c:pt idx="60">
                  <c:v>0.36929460580912865</c:v>
                </c:pt>
                <c:pt idx="61">
                  <c:v>0.2969187675070028</c:v>
                </c:pt>
                <c:pt idx="62">
                  <c:v>0.2813852813852814</c:v>
                </c:pt>
                <c:pt idx="63">
                  <c:v>0.2886405959031657</c:v>
                </c:pt>
                <c:pt idx="64">
                  <c:v>0.27586206896551724</c:v>
                </c:pt>
                <c:pt idx="65">
                  <c:v>0.22659176029962547</c:v>
                </c:pt>
                <c:pt idx="66">
                  <c:v>0.2948453608247423</c:v>
                </c:pt>
                <c:pt idx="67">
                  <c:v>0.2903225806451613</c:v>
                </c:pt>
                <c:pt idx="68">
                  <c:v>0.2791411042944785</c:v>
                </c:pt>
                <c:pt idx="69">
                  <c:v>0.242914979757085</c:v>
                </c:pt>
                <c:pt idx="70">
                  <c:v>0.19047619047619047</c:v>
                </c:pt>
                <c:pt idx="71">
                  <c:v>0.2857142857142857</c:v>
                </c:pt>
                <c:pt idx="72">
                  <c:v>0.30392156862745096</c:v>
                </c:pt>
                <c:pt idx="73">
                  <c:v>0.3028571428571429</c:v>
                </c:pt>
                <c:pt idx="74">
                  <c:v>0.25</c:v>
                </c:pt>
                <c:pt idx="75">
                  <c:v>0.25142857142857145</c:v>
                </c:pt>
                <c:pt idx="76">
                  <c:v>0.3153846153846154</c:v>
                </c:pt>
                <c:pt idx="77">
                  <c:v>0.3006993006993007</c:v>
                </c:pt>
                <c:pt idx="78">
                  <c:v>0.2549019607843137</c:v>
                </c:pt>
                <c:pt idx="79">
                  <c:v>0.23846153846153847</c:v>
                </c:pt>
                <c:pt idx="80">
                  <c:v>0.23255813953488372</c:v>
                </c:pt>
                <c:pt idx="81">
                  <c:v>0.22085889570552147</c:v>
                </c:pt>
                <c:pt idx="82">
                  <c:v>0.2727272727272727</c:v>
                </c:pt>
                <c:pt idx="83">
                  <c:v>0.1836734693877551</c:v>
                </c:pt>
                <c:pt idx="84">
                  <c:v>0.2111111111111111</c:v>
                </c:pt>
                <c:pt idx="85">
                  <c:v>0.26126126126126126</c:v>
                </c:pt>
                <c:pt idx="86">
                  <c:v>0.19889502762430938</c:v>
                </c:pt>
                <c:pt idx="87">
                  <c:v>0.24890829694323144</c:v>
                </c:pt>
                <c:pt idx="88">
                  <c:v>0.2727272727272727</c:v>
                </c:pt>
                <c:pt idx="89">
                  <c:v>0.2268041237113402</c:v>
                </c:pt>
                <c:pt idx="90">
                  <c:v>0.24528301886792453</c:v>
                </c:pt>
                <c:pt idx="91">
                  <c:v>0.22330097087378642</c:v>
                </c:pt>
                <c:pt idx="92">
                  <c:v>0.25748502994011974</c:v>
                </c:pt>
                <c:pt idx="93">
                  <c:v>0.28125</c:v>
                </c:pt>
                <c:pt idx="94">
                  <c:v>0.27692307692307694</c:v>
                </c:pt>
                <c:pt idx="95">
                  <c:v>0.3036649214659686</c:v>
                </c:pt>
                <c:pt idx="96">
                  <c:v>0.31412103746397696</c:v>
                </c:pt>
                <c:pt idx="97">
                  <c:v>0.234375</c:v>
                </c:pt>
                <c:pt idx="98">
                  <c:v>0.2815734989648033</c:v>
                </c:pt>
                <c:pt idx="99">
                  <c:v>0.28547297297297297</c:v>
                </c:pt>
                <c:pt idx="100">
                  <c:v>0.284434490481523</c:v>
                </c:pt>
                <c:pt idx="101">
                  <c:v>0.3127853881278539</c:v>
                </c:pt>
                <c:pt idx="102">
                  <c:v>0.2890625</c:v>
                </c:pt>
                <c:pt idx="103">
                  <c:v>0.271523178807947</c:v>
                </c:pt>
                <c:pt idx="104">
                  <c:v>0.33054393305439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729799670917318</c:v>
                </c:pt>
                <c:pt idx="1">
                  <c:v>0.25094430427771985</c:v>
                </c:pt>
                <c:pt idx="2">
                  <c:v>0.2560674682990818</c:v>
                </c:pt>
                <c:pt idx="3">
                  <c:v>0.18366287204664009</c:v>
                </c:pt>
                <c:pt idx="4">
                  <c:v>0.1935129851912589</c:v>
                </c:pt>
                <c:pt idx="5">
                  <c:v>0.23676940846727074</c:v>
                </c:pt>
                <c:pt idx="6">
                  <c:v>0.21141592021758843</c:v>
                </c:pt>
                <c:pt idx="7">
                  <c:v>0.1944989271063427</c:v>
                </c:pt>
                <c:pt idx="8">
                  <c:v>0.23432916625135547</c:v>
                </c:pt>
                <c:pt idx="9">
                  <c:v>0.24160852506595654</c:v>
                </c:pt>
                <c:pt idx="10">
                  <c:v>0.1751850805312235</c:v>
                </c:pt>
                <c:pt idx="11">
                  <c:v>0.1600329597677981</c:v>
                </c:pt>
                <c:pt idx="12">
                  <c:v>0.16379287894201425</c:v>
                </c:pt>
                <c:pt idx="13">
                  <c:v>0.2064872185504649</c:v>
                </c:pt>
                <c:pt idx="14">
                  <c:v>0.2115583742265842</c:v>
                </c:pt>
                <c:pt idx="15">
                  <c:v>0.20002921510318106</c:v>
                </c:pt>
                <c:pt idx="16">
                  <c:v>0.1375859722976643</c:v>
                </c:pt>
                <c:pt idx="17">
                  <c:v>0.1615792380952381</c:v>
                </c:pt>
                <c:pt idx="18">
                  <c:v>0.2447652272986214</c:v>
                </c:pt>
                <c:pt idx="19">
                  <c:v>0.16922925427318106</c:v>
                </c:pt>
                <c:pt idx="20">
                  <c:v>0.2594700402655349</c:v>
                </c:pt>
                <c:pt idx="21">
                  <c:v>0.15301449668066658</c:v>
                </c:pt>
                <c:pt idx="22">
                  <c:v>0.14048115477145148</c:v>
                </c:pt>
                <c:pt idx="23">
                  <c:v>0.19875591685054</c:v>
                </c:pt>
                <c:pt idx="24">
                  <c:v>0.18097683750118854</c:v>
                </c:pt>
                <c:pt idx="25">
                  <c:v>0.13150549562682215</c:v>
                </c:pt>
                <c:pt idx="26">
                  <c:v>0.14498138590516113</c:v>
                </c:pt>
                <c:pt idx="27">
                  <c:v>0.2238576178987058</c:v>
                </c:pt>
                <c:pt idx="28">
                  <c:v>0.174943231441048</c:v>
                </c:pt>
                <c:pt idx="29">
                  <c:v>0.26094258407079646</c:v>
                </c:pt>
                <c:pt idx="30">
                  <c:v>0.3031445072608358</c:v>
                </c:pt>
                <c:pt idx="31">
                  <c:v>0.16327922472065112</c:v>
                </c:pt>
                <c:pt idx="32">
                  <c:v>0.19618242774566474</c:v>
                </c:pt>
                <c:pt idx="33">
                  <c:v>0.23476341845671614</c:v>
                </c:pt>
                <c:pt idx="34">
                  <c:v>0.1964087653157399</c:v>
                </c:pt>
                <c:pt idx="35">
                  <c:v>0.2184546049627036</c:v>
                </c:pt>
                <c:pt idx="36">
                  <c:v>0.19599236343366777</c:v>
                </c:pt>
                <c:pt idx="37">
                  <c:v>0.16737530705774517</c:v>
                </c:pt>
                <c:pt idx="38">
                  <c:v>0.10831283180111356</c:v>
                </c:pt>
                <c:pt idx="39">
                  <c:v>0.24211404889308571</c:v>
                </c:pt>
                <c:pt idx="40">
                  <c:v>0.2074841732045866</c:v>
                </c:pt>
                <c:pt idx="41">
                  <c:v>0.19014925583782397</c:v>
                </c:pt>
                <c:pt idx="42">
                  <c:v>0.24557703922395613</c:v>
                </c:pt>
                <c:pt idx="43">
                  <c:v>0.2605379992803167</c:v>
                </c:pt>
                <c:pt idx="44">
                  <c:v>0.2173926716774855</c:v>
                </c:pt>
                <c:pt idx="45">
                  <c:v>0.2254073918203461</c:v>
                </c:pt>
                <c:pt idx="46">
                  <c:v>0.2191871259748245</c:v>
                </c:pt>
                <c:pt idx="47">
                  <c:v>0.20210714285714285</c:v>
                </c:pt>
                <c:pt idx="48">
                  <c:v>0.20013857176142374</c:v>
                </c:pt>
                <c:pt idx="49">
                  <c:v>0.22231029583820824</c:v>
                </c:pt>
                <c:pt idx="50">
                  <c:v>0.22118978809283552</c:v>
                </c:pt>
                <c:pt idx="51">
                  <c:v>0.19877923930269412</c:v>
                </c:pt>
              </c:numCache>
            </c:numRef>
          </c:xVal>
          <c:yVal>
            <c:numRef>
              <c:f>Sheet1!$B$109:$B$160</c:f>
              <c:numCache>
                <c:formatCode>General</c:formatCode>
                <c:ptCount val="52"/>
                <c:pt idx="0">
                  <c:v>0.2857142857142857</c:v>
                </c:pt>
                <c:pt idx="1">
                  <c:v>0.30357142857142855</c:v>
                </c:pt>
                <c:pt idx="2">
                  <c:v>0.3298611111111111</c:v>
                </c:pt>
                <c:pt idx="3">
                  <c:v>0.34408602150537637</c:v>
                </c:pt>
                <c:pt idx="4">
                  <c:v>0.31063829787234043</c:v>
                </c:pt>
                <c:pt idx="5">
                  <c:v>0.3292181069958848</c:v>
                </c:pt>
                <c:pt idx="6">
                  <c:v>0.34519572953736655</c:v>
                </c:pt>
                <c:pt idx="7">
                  <c:v>0.316</c:v>
                </c:pt>
                <c:pt idx="8">
                  <c:v>0.27638190954773867</c:v>
                </c:pt>
                <c:pt idx="9">
                  <c:v>0.2980769230769231</c:v>
                </c:pt>
                <c:pt idx="10">
                  <c:v>0.29880478087649404</c:v>
                </c:pt>
                <c:pt idx="11">
                  <c:v>0.3316953316953317</c:v>
                </c:pt>
                <c:pt idx="12">
                  <c:v>0.34663341645885287</c:v>
                </c:pt>
                <c:pt idx="13">
                  <c:v>0.3446327683615819</c:v>
                </c:pt>
                <c:pt idx="14">
                  <c:v>0.3829787234042553</c:v>
                </c:pt>
                <c:pt idx="15">
                  <c:v>0.35365853658536583</c:v>
                </c:pt>
                <c:pt idx="16">
                  <c:v>0.33490566037735847</c:v>
                </c:pt>
                <c:pt idx="17">
                  <c:v>0.33146067415730335</c:v>
                </c:pt>
                <c:pt idx="18">
                  <c:v>0.25555555555555554</c:v>
                </c:pt>
                <c:pt idx="19">
                  <c:v>0.355</c:v>
                </c:pt>
                <c:pt idx="20">
                  <c:v>0.3008130081300813</c:v>
                </c:pt>
                <c:pt idx="21">
                  <c:v>0.23255813953488372</c:v>
                </c:pt>
                <c:pt idx="22">
                  <c:v>0.3472222222222222</c:v>
                </c:pt>
                <c:pt idx="23">
                  <c:v>0.34513274336283184</c:v>
                </c:pt>
                <c:pt idx="24">
                  <c:v>0.3644859813084112</c:v>
                </c:pt>
                <c:pt idx="25">
                  <c:v>0.3560606060606061</c:v>
                </c:pt>
                <c:pt idx="26">
                  <c:v>0.28205128205128205</c:v>
                </c:pt>
                <c:pt idx="27">
                  <c:v>0.26174496644295303</c:v>
                </c:pt>
                <c:pt idx="28">
                  <c:v>0.27472527472527475</c:v>
                </c:pt>
                <c:pt idx="29">
                  <c:v>0.3006993006993007</c:v>
                </c:pt>
                <c:pt idx="30">
                  <c:v>0.267515923566879</c:v>
                </c:pt>
                <c:pt idx="31">
                  <c:v>0.24</c:v>
                </c:pt>
                <c:pt idx="32">
                  <c:v>0.3443708609271523</c:v>
                </c:pt>
                <c:pt idx="33">
                  <c:v>0.2886178861788618</c:v>
                </c:pt>
                <c:pt idx="34">
                  <c:v>0.3022222222222222</c:v>
                </c:pt>
                <c:pt idx="35">
                  <c:v>0.33974358974358976</c:v>
                </c:pt>
                <c:pt idx="36">
                  <c:v>0.26153846153846155</c:v>
                </c:pt>
                <c:pt idx="37">
                  <c:v>0.39490445859872614</c:v>
                </c:pt>
                <c:pt idx="38">
                  <c:v>0.4171779141104294</c:v>
                </c:pt>
                <c:pt idx="39">
                  <c:v>0.3348623853211009</c:v>
                </c:pt>
                <c:pt idx="40">
                  <c:v>0.26</c:v>
                </c:pt>
                <c:pt idx="41">
                  <c:v>0.2621951219512195</c:v>
                </c:pt>
                <c:pt idx="42">
                  <c:v>0.25675675675675674</c:v>
                </c:pt>
                <c:pt idx="43">
                  <c:v>0.24050632911392406</c:v>
                </c:pt>
                <c:pt idx="44">
                  <c:v>0.22304832713754646</c:v>
                </c:pt>
                <c:pt idx="45">
                  <c:v>0.2336448598130841</c:v>
                </c:pt>
                <c:pt idx="46">
                  <c:v>0.2787456445993031</c:v>
                </c:pt>
                <c:pt idx="47">
                  <c:v>0.2878787878787879</c:v>
                </c:pt>
                <c:pt idx="48">
                  <c:v>0.2265193370165746</c:v>
                </c:pt>
                <c:pt idx="49">
                  <c:v>0.23040380047505937</c:v>
                </c:pt>
                <c:pt idx="50">
                  <c:v>0.2998624484181568</c:v>
                </c:pt>
                <c:pt idx="51">
                  <c:v>0.25454545454545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1247065917984327</c:v>
                </c:pt>
              </c:numCache>
            </c:numRef>
          </c:xVal>
          <c:yVal>
            <c:numRef>
              <c:f>Sheet1!$B$163:$B$164</c:f>
              <c:numCache>
                <c:formatCode>General</c:formatCode>
                <c:ptCount val="2"/>
                <c:pt idx="0">
                  <c:v>0.3442026053562936</c:v>
                </c:pt>
                <c:pt idx="1">
                  <c:v>0.34420260535629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1247065917984327</c:v>
                </c:pt>
                <c:pt idx="1">
                  <c:v>0.11247065917984327</c:v>
                </c:pt>
              </c:numCache>
            </c:numRef>
          </c:xVal>
          <c:yVal>
            <c:numRef>
              <c:f>Sheet1!$B$167:$B$168</c:f>
              <c:numCache>
                <c:formatCode>General</c:formatCode>
                <c:ptCount val="2"/>
                <c:pt idx="0">
                  <c:v>0.3442026053562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582672324426173</c:v>
                </c:pt>
              </c:numCache>
            </c:numRef>
          </c:xVal>
          <c:yVal>
            <c:numRef>
              <c:f>Sheet1!$B$171:$B$172</c:f>
              <c:numCache>
                <c:formatCode>General</c:formatCode>
                <c:ptCount val="2"/>
                <c:pt idx="0">
                  <c:v>0.32052103986261443</c:v>
                </c:pt>
                <c:pt idx="1">
                  <c:v>0.3205210398626144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582672324426173</c:v>
                </c:pt>
                <c:pt idx="1">
                  <c:v>0.16582672324426173</c:v>
                </c:pt>
              </c:numCache>
            </c:numRef>
          </c:xVal>
          <c:yVal>
            <c:numRef>
              <c:f>Sheet1!$B$175:$B$176</c:f>
              <c:numCache>
                <c:formatCode>General</c:formatCode>
                <c:ptCount val="2"/>
                <c:pt idx="0">
                  <c:v>0.320521039862614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06299676756038</c:v>
                </c:pt>
              </c:numCache>
            </c:numRef>
          </c:xVal>
          <c:yVal>
            <c:numRef>
              <c:f>Sheet1!$B$179:$B$180</c:f>
              <c:numCache>
                <c:formatCode>General</c:formatCode>
                <c:ptCount val="2"/>
                <c:pt idx="0">
                  <c:v>0.26068994254053607</c:v>
                </c:pt>
                <c:pt idx="1">
                  <c:v>0.260689942540536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06299676756038</c:v>
                </c:pt>
                <c:pt idx="1">
                  <c:v>0.3006299676756038</c:v>
                </c:pt>
              </c:numCache>
            </c:numRef>
          </c:xVal>
          <c:yVal>
            <c:numRef>
              <c:f>Sheet1!$B$183:$B$184</c:f>
              <c:numCache>
                <c:formatCode>General</c:formatCode>
                <c:ptCount val="2"/>
                <c:pt idx="0">
                  <c:v>0.260689942540536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729799670917318</c:v>
                </c:pt>
                <c:pt idx="1">
                  <c:v>0.25094430427771985</c:v>
                </c:pt>
                <c:pt idx="2">
                  <c:v>0.2560674682990818</c:v>
                </c:pt>
                <c:pt idx="3">
                  <c:v>0.18366287204664009</c:v>
                </c:pt>
                <c:pt idx="4">
                  <c:v>0.1935129851912589</c:v>
                </c:pt>
                <c:pt idx="5">
                  <c:v>0.23676940846727074</c:v>
                </c:pt>
                <c:pt idx="6">
                  <c:v>0.21141592021758843</c:v>
                </c:pt>
                <c:pt idx="7">
                  <c:v>0.1944989271063427</c:v>
                </c:pt>
                <c:pt idx="8">
                  <c:v>0.23432916625135547</c:v>
                </c:pt>
                <c:pt idx="9">
                  <c:v>0.24160852506595654</c:v>
                </c:pt>
                <c:pt idx="10">
                  <c:v>0.1751850805312235</c:v>
                </c:pt>
                <c:pt idx="11">
                  <c:v>0.1600329597677981</c:v>
                </c:pt>
                <c:pt idx="12">
                  <c:v>0.16379287894201425</c:v>
                </c:pt>
                <c:pt idx="13">
                  <c:v>0.2064872185504649</c:v>
                </c:pt>
                <c:pt idx="14">
                  <c:v>0.2115583742265842</c:v>
                </c:pt>
                <c:pt idx="15">
                  <c:v>0.20002921510318106</c:v>
                </c:pt>
                <c:pt idx="16">
                  <c:v>0.1375859722976643</c:v>
                </c:pt>
                <c:pt idx="17">
                  <c:v>0.1615792380952381</c:v>
                </c:pt>
                <c:pt idx="18">
                  <c:v>0.2447652272986214</c:v>
                </c:pt>
                <c:pt idx="19">
                  <c:v>0.16922925427318106</c:v>
                </c:pt>
                <c:pt idx="20">
                  <c:v>0.2594700402655349</c:v>
                </c:pt>
                <c:pt idx="21">
                  <c:v>0.15301449668066658</c:v>
                </c:pt>
                <c:pt idx="22">
                  <c:v>0.14048115477145148</c:v>
                </c:pt>
                <c:pt idx="23">
                  <c:v>0.19875591685054</c:v>
                </c:pt>
                <c:pt idx="24">
                  <c:v>0.18097683750118854</c:v>
                </c:pt>
                <c:pt idx="25">
                  <c:v>0.13150549562682215</c:v>
                </c:pt>
                <c:pt idx="26">
                  <c:v>0.14498138590516113</c:v>
                </c:pt>
                <c:pt idx="27">
                  <c:v>0.2238576178987058</c:v>
                </c:pt>
                <c:pt idx="28">
                  <c:v>0.174943231441048</c:v>
                </c:pt>
                <c:pt idx="29">
                  <c:v>0.26094258407079646</c:v>
                </c:pt>
                <c:pt idx="30">
                  <c:v>0.3031445072608358</c:v>
                </c:pt>
                <c:pt idx="31">
                  <c:v>0.16327922472065112</c:v>
                </c:pt>
                <c:pt idx="32">
                  <c:v>0.19618242774566474</c:v>
                </c:pt>
                <c:pt idx="33">
                  <c:v>0.23476341845671614</c:v>
                </c:pt>
                <c:pt idx="34">
                  <c:v>0.1964087653157399</c:v>
                </c:pt>
                <c:pt idx="35">
                  <c:v>0.2184546049627036</c:v>
                </c:pt>
                <c:pt idx="36">
                  <c:v>0.19599236343366777</c:v>
                </c:pt>
                <c:pt idx="37">
                  <c:v>0.16737530705774517</c:v>
                </c:pt>
                <c:pt idx="38">
                  <c:v>0.10831283180111356</c:v>
                </c:pt>
                <c:pt idx="39">
                  <c:v>0.24211404889308571</c:v>
                </c:pt>
                <c:pt idx="40">
                  <c:v>0.2074841732045866</c:v>
                </c:pt>
                <c:pt idx="41">
                  <c:v>0.19014925583782397</c:v>
                </c:pt>
                <c:pt idx="42">
                  <c:v>0.24557703922395613</c:v>
                </c:pt>
                <c:pt idx="43">
                  <c:v>0.2605379992803167</c:v>
                </c:pt>
                <c:pt idx="44">
                  <c:v>0.2173926716774855</c:v>
                </c:pt>
                <c:pt idx="45">
                  <c:v>0.2254073918203461</c:v>
                </c:pt>
                <c:pt idx="46">
                  <c:v>0.2191871259748245</c:v>
                </c:pt>
                <c:pt idx="47">
                  <c:v>0.20210714285714285</c:v>
                </c:pt>
                <c:pt idx="48">
                  <c:v>0.20013857176142374</c:v>
                </c:pt>
                <c:pt idx="49">
                  <c:v>0.22231029583820824</c:v>
                </c:pt>
                <c:pt idx="50">
                  <c:v>0.22118978809283552</c:v>
                </c:pt>
                <c:pt idx="51">
                  <c:v>0.19877923930269412</c:v>
                </c:pt>
                <c:pt idx="52">
                  <c:v>0.16582672324426173</c:v>
                </c:pt>
                <c:pt idx="53">
                  <c:v>0.11247065917984327</c:v>
                </c:pt>
                <c:pt idx="54">
                  <c:v>0.3006299676756038</c:v>
                </c:pt>
              </c:numCache>
            </c:numRef>
          </c:xVal>
          <c:yVal>
            <c:numRef>
              <c:f>Sheet1!$B$187:$B$241</c:f>
              <c:numCache>
                <c:formatCode>General</c:formatCode>
                <c:ptCount val="55"/>
                <c:pt idx="0">
                  <c:v>0.2729621239918642</c:v>
                </c:pt>
                <c:pt idx="1">
                  <c:v>0.28274243671314403</c:v>
                </c:pt>
                <c:pt idx="2">
                  <c:v>0.2804685706318629</c:v>
                </c:pt>
                <c:pt idx="3">
                  <c:v>0.3126046402288527</c:v>
                </c:pt>
                <c:pt idx="4">
                  <c:v>0.3082327641610676</c:v>
                </c:pt>
                <c:pt idx="5">
                  <c:v>0.2890338251314492</c:v>
                </c:pt>
                <c:pt idx="6">
                  <c:v>0.30028672211712604</c:v>
                </c:pt>
                <c:pt idx="7">
                  <c:v>0.3077951635163343</c:v>
                </c:pt>
                <c:pt idx="8">
                  <c:v>0.29011690269479545</c:v>
                </c:pt>
                <c:pt idx="9">
                  <c:v>0.28688603071158775</c:v>
                </c:pt>
                <c:pt idx="10">
                  <c:v>0.3163674248070349</c:v>
                </c:pt>
                <c:pt idx="11">
                  <c:v>0.32309254493197465</c:v>
                </c:pt>
                <c:pt idx="12">
                  <c:v>0.32142374169964405</c:v>
                </c:pt>
                <c:pt idx="13">
                  <c:v>0.3024742779905854</c:v>
                </c:pt>
                <c:pt idx="14">
                  <c:v>0.30022349530302306</c:v>
                </c:pt>
                <c:pt idx="15">
                  <c:v>0.30534059945332703</c:v>
                </c:pt>
                <c:pt idx="16">
                  <c:v>0.33305542006586714</c:v>
                </c:pt>
                <c:pt idx="17">
                  <c:v>0.3224062444687599</c:v>
                </c:pt>
                <c:pt idx="18">
                  <c:v>0.2854849593998688</c:v>
                </c:pt>
                <c:pt idx="19">
                  <c:v>0.31901085985180355</c:v>
                </c:pt>
                <c:pt idx="20">
                  <c:v>0.2789583724513294</c:v>
                </c:pt>
                <c:pt idx="21">
                  <c:v>0.3262076209065107</c:v>
                </c:pt>
                <c:pt idx="22">
                  <c:v>0.3317704217330372</c:v>
                </c:pt>
                <c:pt idx="23">
                  <c:v>0.3059057403888822</c:v>
                </c:pt>
                <c:pt idx="24">
                  <c:v>0.3137968103058958</c:v>
                </c:pt>
                <c:pt idx="25">
                  <c:v>0.33575417997325996</c:v>
                </c:pt>
                <c:pt idx="26">
                  <c:v>0.3297730383015875</c:v>
                </c:pt>
                <c:pt idx="27">
                  <c:v>0.29476459668200755</c:v>
                </c:pt>
                <c:pt idx="28">
                  <c:v>0.3164747671526334</c:v>
                </c:pt>
                <c:pt idx="29">
                  <c:v>0.27830479833228433</c:v>
                </c:pt>
                <c:pt idx="30">
                  <c:v>0.25957388881884047</c:v>
                </c:pt>
                <c:pt idx="31">
                  <c:v>0.321651722085709</c:v>
                </c:pt>
                <c:pt idx="32">
                  <c:v>0.3070479582764459</c:v>
                </c:pt>
                <c:pt idx="33">
                  <c:v>0.2899241641144233</c:v>
                </c:pt>
                <c:pt idx="34">
                  <c:v>0.3069475005668415</c:v>
                </c:pt>
                <c:pt idx="35">
                  <c:v>0.29716267095811333</c:v>
                </c:pt>
                <c:pt idx="36">
                  <c:v>0.3071323164563733</c:v>
                </c:pt>
                <c:pt idx="37">
                  <c:v>0.3198337161320412</c:v>
                </c:pt>
                <c:pt idx="38">
                  <c:v>0.34604801624083564</c:v>
                </c:pt>
                <c:pt idx="39">
                  <c:v>0.2866616589212263</c:v>
                </c:pt>
                <c:pt idx="40">
                  <c:v>0.30203178944968956</c:v>
                </c:pt>
                <c:pt idx="41">
                  <c:v>0.3097257224289452</c:v>
                </c:pt>
                <c:pt idx="42">
                  <c:v>0.2851246446424842</c:v>
                </c:pt>
                <c:pt idx="43">
                  <c:v>0.27848436932166476</c:v>
                </c:pt>
                <c:pt idx="44">
                  <c:v>0.29763399962683684</c:v>
                </c:pt>
                <c:pt idx="45">
                  <c:v>0.2940767447336065</c:v>
                </c:pt>
                <c:pt idx="46">
                  <c:v>0.29683754869453904</c:v>
                </c:pt>
                <c:pt idx="47">
                  <c:v>0.30441833160881043</c:v>
                </c:pt>
                <c:pt idx="48">
                  <c:v>0.3052920625735973</c:v>
                </c:pt>
                <c:pt idx="49">
                  <c:v>0.2954513603958986</c:v>
                </c:pt>
                <c:pt idx="50">
                  <c:v>0.2959486867640164</c:v>
                </c:pt>
                <c:pt idx="51">
                  <c:v>0.30589538894733853</c:v>
                </c:pt>
                <c:pt idx="52">
                  <c:v>0.32052103986261443</c:v>
                </c:pt>
                <c:pt idx="53">
                  <c:v>0.3442026053562936</c:v>
                </c:pt>
                <c:pt idx="54">
                  <c:v>0.260689942540536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8235294117647"/>
          <c:min val="0.1316017316017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4.5865</c:v>
                </c:pt>
                <c:pt idx="1">
                  <c:v>1036.9583</c:v>
                </c:pt>
                <c:pt idx="2">
                  <c:v>1108.573</c:v>
                </c:pt>
                <c:pt idx="3">
                  <c:v>1133.5165</c:v>
                </c:pt>
                <c:pt idx="4">
                  <c:v>1137.3514</c:v>
                </c:pt>
                <c:pt idx="5">
                  <c:v>1112.5205</c:v>
                </c:pt>
                <c:pt idx="6">
                  <c:v>985.3878</c:v>
                </c:pt>
                <c:pt idx="7">
                  <c:v>1024.3553</c:v>
                </c:pt>
                <c:pt idx="8">
                  <c:v>1082.0877</c:v>
                </c:pt>
                <c:pt idx="9">
                  <c:v>1055.7816</c:v>
                </c:pt>
                <c:pt idx="10">
                  <c:v>1054.6122</c:v>
                </c:pt>
                <c:pt idx="11">
                  <c:v>1159.5063</c:v>
                </c:pt>
                <c:pt idx="12">
                  <c:v>1121.1525</c:v>
                </c:pt>
                <c:pt idx="13">
                  <c:v>1119.283</c:v>
                </c:pt>
                <c:pt idx="14">
                  <c:v>1144.086</c:v>
                </c:pt>
                <c:pt idx="15">
                  <c:v>1143.4605</c:v>
                </c:pt>
                <c:pt idx="16">
                  <c:v>1167.6721</c:v>
                </c:pt>
                <c:pt idx="17">
                  <c:v>1235.8571</c:v>
                </c:pt>
                <c:pt idx="18">
                  <c:v>1304.3548</c:v>
                </c:pt>
                <c:pt idx="19">
                  <c:v>1209.8333</c:v>
                </c:pt>
                <c:pt idx="20">
                  <c:v>1332.1053</c:v>
                </c:pt>
                <c:pt idx="21">
                  <c:v>1346.75</c:v>
                </c:pt>
                <c:pt idx="22">
                  <c:v>1189.6429</c:v>
                </c:pt>
                <c:pt idx="23">
                  <c:v>1230.8919</c:v>
                </c:pt>
                <c:pt idx="24">
                  <c:v>1206.4762</c:v>
                </c:pt>
                <c:pt idx="25">
                  <c:v>1173.9118</c:v>
                </c:pt>
                <c:pt idx="26">
                  <c:v>1157.6296</c:v>
                </c:pt>
                <c:pt idx="27">
                  <c:v>1172.6538</c:v>
                </c:pt>
                <c:pt idx="28">
                  <c:v>1161.0755</c:v>
                </c:pt>
                <c:pt idx="29">
                  <c:v>1106.0206</c:v>
                </c:pt>
                <c:pt idx="30">
                  <c:v>1118.1346</c:v>
                </c:pt>
                <c:pt idx="31">
                  <c:v>1150.6415</c:v>
                </c:pt>
                <c:pt idx="32">
                  <c:v>1128.5098</c:v>
                </c:pt>
                <c:pt idx="33">
                  <c:v>1130.8539</c:v>
                </c:pt>
                <c:pt idx="34">
                  <c:v>1098.5664</c:v>
                </c:pt>
                <c:pt idx="35">
                  <c:v>1206.7297</c:v>
                </c:pt>
                <c:pt idx="36">
                  <c:v>1256.092</c:v>
                </c:pt>
                <c:pt idx="37">
                  <c:v>1091.2982</c:v>
                </c:pt>
                <c:pt idx="38">
                  <c:v>1258.4898</c:v>
                </c:pt>
                <c:pt idx="39">
                  <c:v>1153.7288</c:v>
                </c:pt>
                <c:pt idx="40">
                  <c:v>1352.3684</c:v>
                </c:pt>
                <c:pt idx="41">
                  <c:v>1412.8372</c:v>
                </c:pt>
                <c:pt idx="42">
                  <c:v>1447.3651</c:v>
                </c:pt>
                <c:pt idx="43">
                  <c:v>1484.254</c:v>
                </c:pt>
                <c:pt idx="44">
                  <c:v>1300.6518</c:v>
                </c:pt>
                <c:pt idx="45">
                  <c:v>1284.916</c:v>
                </c:pt>
                <c:pt idx="46">
                  <c:v>1307.8472</c:v>
                </c:pt>
                <c:pt idx="47">
                  <c:v>1275.0357</c:v>
                </c:pt>
                <c:pt idx="48">
                  <c:v>1269.8269</c:v>
                </c:pt>
                <c:pt idx="49">
                  <c:v>1154.9336</c:v>
                </c:pt>
                <c:pt idx="50">
                  <c:v>1128.1667</c:v>
                </c:pt>
                <c:pt idx="51">
                  <c:v>1144.0706</c:v>
                </c:pt>
                <c:pt idx="52">
                  <c:v>1173.689</c:v>
                </c:pt>
                <c:pt idx="53">
                  <c:v>1174.0084</c:v>
                </c:pt>
                <c:pt idx="54">
                  <c:v>1207.5476</c:v>
                </c:pt>
                <c:pt idx="55">
                  <c:v>1216.4306</c:v>
                </c:pt>
                <c:pt idx="56">
                  <c:v>1202.7692</c:v>
                </c:pt>
                <c:pt idx="57">
                  <c:v>1185.5833</c:v>
                </c:pt>
                <c:pt idx="58">
                  <c:v>1143.8684</c:v>
                </c:pt>
                <c:pt idx="59">
                  <c:v>1090.3102</c:v>
                </c:pt>
                <c:pt idx="60">
                  <c:v>1160.6461</c:v>
                </c:pt>
                <c:pt idx="61">
                  <c:v>1218.3491</c:v>
                </c:pt>
                <c:pt idx="62">
                  <c:v>1139.5231</c:v>
                </c:pt>
                <c:pt idx="63">
                  <c:v>1121.0387</c:v>
                </c:pt>
                <c:pt idx="64">
                  <c:v>1146.494</c:v>
                </c:pt>
                <c:pt idx="65">
                  <c:v>1132.1322</c:v>
                </c:pt>
                <c:pt idx="66">
                  <c:v>1096.6643</c:v>
                </c:pt>
                <c:pt idx="67">
                  <c:v>1115.7937</c:v>
                </c:pt>
                <c:pt idx="68">
                  <c:v>1106.0549</c:v>
                </c:pt>
                <c:pt idx="69">
                  <c:v>1024.8333</c:v>
                </c:pt>
                <c:pt idx="70">
                  <c:v>1051.325</c:v>
                </c:pt>
                <c:pt idx="71">
                  <c:v>1127.75</c:v>
                </c:pt>
                <c:pt idx="72">
                  <c:v>999.8871</c:v>
                </c:pt>
                <c:pt idx="73">
                  <c:v>936.0755</c:v>
                </c:pt>
                <c:pt idx="74">
                  <c:v>1172.1489</c:v>
                </c:pt>
                <c:pt idx="75">
                  <c:v>1134.2273</c:v>
                </c:pt>
                <c:pt idx="76">
                  <c:v>1301.2927</c:v>
                </c:pt>
                <c:pt idx="77">
                  <c:v>1234.2093</c:v>
                </c:pt>
                <c:pt idx="78">
                  <c:v>1201.7308</c:v>
                </c:pt>
                <c:pt idx="79">
                  <c:v>1357.1613</c:v>
                </c:pt>
                <c:pt idx="80">
                  <c:v>1316.4667</c:v>
                </c:pt>
                <c:pt idx="81">
                  <c:v>1336.8333</c:v>
                </c:pt>
                <c:pt idx="82">
                  <c:v>1189.4242</c:v>
                </c:pt>
                <c:pt idx="83">
                  <c:v>1281.3889</c:v>
                </c:pt>
                <c:pt idx="84">
                  <c:v>1336.6842</c:v>
                </c:pt>
                <c:pt idx="85">
                  <c:v>1407.0</c:v>
                </c:pt>
                <c:pt idx="86">
                  <c:v>1449.4722</c:v>
                </c:pt>
                <c:pt idx="87">
                  <c:v>1370.3333</c:v>
                </c:pt>
                <c:pt idx="88">
                  <c:v>1371.6667</c:v>
                </c:pt>
                <c:pt idx="89">
                  <c:v>1440.5455</c:v>
                </c:pt>
                <c:pt idx="90">
                  <c:v>1329.5769</c:v>
                </c:pt>
                <c:pt idx="91">
                  <c:v>1455.6957</c:v>
                </c:pt>
                <c:pt idx="92">
                  <c:v>1356.6744</c:v>
                </c:pt>
                <c:pt idx="93">
                  <c:v>1295.0889</c:v>
                </c:pt>
                <c:pt idx="94">
                  <c:v>1351.25</c:v>
                </c:pt>
                <c:pt idx="95">
                  <c:v>1199.569</c:v>
                </c:pt>
                <c:pt idx="96">
                  <c:v>983.211</c:v>
                </c:pt>
                <c:pt idx="97">
                  <c:v>1234.5667</c:v>
                </c:pt>
                <c:pt idx="98">
                  <c:v>1191.8529</c:v>
                </c:pt>
                <c:pt idx="99">
                  <c:v>1186.2899</c:v>
                </c:pt>
                <c:pt idx="100">
                  <c:v>1242.7283</c:v>
                </c:pt>
                <c:pt idx="101">
                  <c:v>1191.3869</c:v>
                </c:pt>
                <c:pt idx="102">
                  <c:v>1227.5811</c:v>
                </c:pt>
                <c:pt idx="103">
                  <c:v>1129.3171</c:v>
                </c:pt>
                <c:pt idx="104">
                  <c:v>1217.7722</c:v>
                </c:pt>
              </c:numCache>
            </c:numRef>
          </c:xVal>
          <c:yVal>
            <c:numRef>
              <c:f>Sheet1!$B$2:$B$106</c:f>
              <c:numCache>
                <c:formatCode>General</c:formatCode>
                <c:ptCount val="105"/>
                <c:pt idx="0">
                  <c:v>0.24242424242424243</c:v>
                </c:pt>
                <c:pt idx="1">
                  <c:v>0.2774566473988439</c:v>
                </c:pt>
                <c:pt idx="2">
                  <c:v>0.27300613496932513</c:v>
                </c:pt>
                <c:pt idx="3">
                  <c:v>0.2765957446808511</c:v>
                </c:pt>
                <c:pt idx="4">
                  <c:v>0.23492063492063492</c:v>
                </c:pt>
                <c:pt idx="5">
                  <c:v>0.24829931972789115</c:v>
                </c:pt>
                <c:pt idx="6">
                  <c:v>0.2996941896024465</c:v>
                </c:pt>
                <c:pt idx="7">
                  <c:v>0.31275720164609055</c:v>
                </c:pt>
                <c:pt idx="8">
                  <c:v>0.2590909090909091</c:v>
                </c:pt>
                <c:pt idx="9">
                  <c:v>0.2676923076923077</c:v>
                </c:pt>
                <c:pt idx="10">
                  <c:v>0.26558265582655827</c:v>
                </c:pt>
                <c:pt idx="11">
                  <c:v>0.2073490813648294</c:v>
                </c:pt>
                <c:pt idx="12">
                  <c:v>0.2565217391304348</c:v>
                </c:pt>
                <c:pt idx="13">
                  <c:v>0.21414141414141413</c:v>
                </c:pt>
                <c:pt idx="14">
                  <c:v>0.1953781512605042</c:v>
                </c:pt>
                <c:pt idx="15">
                  <c:v>0.21468926553672316</c:v>
                </c:pt>
                <c:pt idx="16">
                  <c:v>0.19934640522875818</c:v>
                </c:pt>
                <c:pt idx="17">
                  <c:v>0.18584070796460178</c:v>
                </c:pt>
                <c:pt idx="18">
                  <c:v>0.18787878787878787</c:v>
                </c:pt>
                <c:pt idx="19">
                  <c:v>0.19607843137254902</c:v>
                </c:pt>
                <c:pt idx="20">
                  <c:v>0.1645021645021645</c:v>
                </c:pt>
                <c:pt idx="21">
                  <c:v>0.21621621621621623</c:v>
                </c:pt>
                <c:pt idx="22">
                  <c:v>0.19858156028368795</c:v>
                </c:pt>
                <c:pt idx="23">
                  <c:v>0.24342105263157895</c:v>
                </c:pt>
                <c:pt idx="24">
                  <c:v>0.267515923566879</c:v>
                </c:pt>
                <c:pt idx="25">
                  <c:v>0.2677165354330709</c:v>
                </c:pt>
                <c:pt idx="26">
                  <c:v>0.30857142857142855</c:v>
                </c:pt>
                <c:pt idx="27">
                  <c:v>0.27807486631016043</c:v>
                </c:pt>
                <c:pt idx="28">
                  <c:v>0.2849462365591398</c:v>
                </c:pt>
                <c:pt idx="29">
                  <c:v>0.313915857605178</c:v>
                </c:pt>
                <c:pt idx="30">
                  <c:v>0.2826086956521739</c:v>
                </c:pt>
                <c:pt idx="31">
                  <c:v>0.29775280898876405</c:v>
                </c:pt>
                <c:pt idx="32">
                  <c:v>0.26842105263157895</c:v>
                </c:pt>
                <c:pt idx="33">
                  <c:v>0.31560283687943264</c:v>
                </c:pt>
                <c:pt idx="34">
                  <c:v>0.2682926829268293</c:v>
                </c:pt>
                <c:pt idx="35">
                  <c:v>0.20815752461322082</c:v>
                </c:pt>
                <c:pt idx="36">
                  <c:v>0.24166666666666667</c:v>
                </c:pt>
                <c:pt idx="37">
                  <c:v>0.2384937238493724</c:v>
                </c:pt>
                <c:pt idx="38">
                  <c:v>0.22580645161290322</c:v>
                </c:pt>
                <c:pt idx="39">
                  <c:v>0.25213675213675213</c:v>
                </c:pt>
                <c:pt idx="40">
                  <c:v>0.24126984126984127</c:v>
                </c:pt>
                <c:pt idx="41">
                  <c:v>0.21608040201005024</c:v>
                </c:pt>
                <c:pt idx="42">
                  <c:v>0.2692307692307692</c:v>
                </c:pt>
                <c:pt idx="43">
                  <c:v>0.2625</c:v>
                </c:pt>
                <c:pt idx="44">
                  <c:v>0.26730310262529833</c:v>
                </c:pt>
                <c:pt idx="45">
                  <c:v>0.27546296296296297</c:v>
                </c:pt>
                <c:pt idx="46">
                  <c:v>0.25622775800711745</c:v>
                </c:pt>
                <c:pt idx="47">
                  <c:v>0.2545454545454545</c:v>
                </c:pt>
                <c:pt idx="48">
                  <c:v>0.27586206896551724</c:v>
                </c:pt>
                <c:pt idx="49">
                  <c:v>0.33981337480559876</c:v>
                </c:pt>
                <c:pt idx="50">
                  <c:v>0.33079847908745247</c:v>
                </c:pt>
                <c:pt idx="51">
                  <c:v>0.2901023890784983</c:v>
                </c:pt>
                <c:pt idx="52">
                  <c:v>0.3542116630669546</c:v>
                </c:pt>
                <c:pt idx="53">
                  <c:v>0.3695652173913043</c:v>
                </c:pt>
                <c:pt idx="54">
                  <c:v>0.34710743801652894</c:v>
                </c:pt>
                <c:pt idx="55">
                  <c:v>0.32286995515695066</c:v>
                </c:pt>
                <c:pt idx="56">
                  <c:v>0.3436123348017621</c:v>
                </c:pt>
                <c:pt idx="57">
                  <c:v>0.34710743801652894</c:v>
                </c:pt>
                <c:pt idx="58">
                  <c:v>0.36075949367088606</c:v>
                </c:pt>
                <c:pt idx="59">
                  <c:v>0.4235294117647059</c:v>
                </c:pt>
                <c:pt idx="60">
                  <c:v>0.36929460580912865</c:v>
                </c:pt>
                <c:pt idx="61">
                  <c:v>0.2969187675070028</c:v>
                </c:pt>
                <c:pt idx="62">
                  <c:v>0.2813852813852814</c:v>
                </c:pt>
                <c:pt idx="63">
                  <c:v>0.2886405959031657</c:v>
                </c:pt>
                <c:pt idx="64">
                  <c:v>0.27586206896551724</c:v>
                </c:pt>
                <c:pt idx="65">
                  <c:v>0.22659176029962547</c:v>
                </c:pt>
                <c:pt idx="66">
                  <c:v>0.2948453608247423</c:v>
                </c:pt>
                <c:pt idx="67">
                  <c:v>0.2903225806451613</c:v>
                </c:pt>
                <c:pt idx="68">
                  <c:v>0.2791411042944785</c:v>
                </c:pt>
                <c:pt idx="69">
                  <c:v>0.242914979757085</c:v>
                </c:pt>
                <c:pt idx="70">
                  <c:v>0.19047619047619047</c:v>
                </c:pt>
                <c:pt idx="71">
                  <c:v>0.2857142857142857</c:v>
                </c:pt>
                <c:pt idx="72">
                  <c:v>0.30392156862745096</c:v>
                </c:pt>
                <c:pt idx="73">
                  <c:v>0.3028571428571429</c:v>
                </c:pt>
                <c:pt idx="74">
                  <c:v>0.25</c:v>
                </c:pt>
                <c:pt idx="75">
                  <c:v>0.25142857142857145</c:v>
                </c:pt>
                <c:pt idx="76">
                  <c:v>0.3153846153846154</c:v>
                </c:pt>
                <c:pt idx="77">
                  <c:v>0.3006993006993007</c:v>
                </c:pt>
                <c:pt idx="78">
                  <c:v>0.2549019607843137</c:v>
                </c:pt>
                <c:pt idx="79">
                  <c:v>0.23846153846153847</c:v>
                </c:pt>
                <c:pt idx="80">
                  <c:v>0.23255813953488372</c:v>
                </c:pt>
                <c:pt idx="81">
                  <c:v>0.22085889570552147</c:v>
                </c:pt>
                <c:pt idx="82">
                  <c:v>0.2727272727272727</c:v>
                </c:pt>
                <c:pt idx="83">
                  <c:v>0.1836734693877551</c:v>
                </c:pt>
                <c:pt idx="84">
                  <c:v>0.2111111111111111</c:v>
                </c:pt>
                <c:pt idx="85">
                  <c:v>0.26126126126126126</c:v>
                </c:pt>
                <c:pt idx="86">
                  <c:v>0.19889502762430938</c:v>
                </c:pt>
                <c:pt idx="87">
                  <c:v>0.24890829694323144</c:v>
                </c:pt>
                <c:pt idx="88">
                  <c:v>0.2727272727272727</c:v>
                </c:pt>
                <c:pt idx="89">
                  <c:v>0.2268041237113402</c:v>
                </c:pt>
                <c:pt idx="90">
                  <c:v>0.24528301886792453</c:v>
                </c:pt>
                <c:pt idx="91">
                  <c:v>0.22330097087378642</c:v>
                </c:pt>
                <c:pt idx="92">
                  <c:v>0.25748502994011974</c:v>
                </c:pt>
                <c:pt idx="93">
                  <c:v>0.28125</c:v>
                </c:pt>
                <c:pt idx="94">
                  <c:v>0.27692307692307694</c:v>
                </c:pt>
                <c:pt idx="95">
                  <c:v>0.3036649214659686</c:v>
                </c:pt>
                <c:pt idx="96">
                  <c:v>0.31412103746397696</c:v>
                </c:pt>
                <c:pt idx="97">
                  <c:v>0.234375</c:v>
                </c:pt>
                <c:pt idx="98">
                  <c:v>0.2815734989648033</c:v>
                </c:pt>
                <c:pt idx="99">
                  <c:v>0.28547297297297297</c:v>
                </c:pt>
                <c:pt idx="100">
                  <c:v>0.284434490481523</c:v>
                </c:pt>
                <c:pt idx="101">
                  <c:v>0.3127853881278539</c:v>
                </c:pt>
                <c:pt idx="102">
                  <c:v>0.2890625</c:v>
                </c:pt>
                <c:pt idx="103">
                  <c:v>0.271523178807947</c:v>
                </c:pt>
                <c:pt idx="104">
                  <c:v>0.33054393305439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7.2286</c:v>
                </c:pt>
                <c:pt idx="1">
                  <c:v>1322.8529</c:v>
                </c:pt>
                <c:pt idx="2">
                  <c:v>1171.2526</c:v>
                </c:pt>
                <c:pt idx="3">
                  <c:v>1197.1146</c:v>
                </c:pt>
                <c:pt idx="4">
                  <c:v>1292.1507</c:v>
                </c:pt>
                <c:pt idx="5">
                  <c:v>1270.6625</c:v>
                </c:pt>
                <c:pt idx="6">
                  <c:v>1165.9588</c:v>
                </c:pt>
                <c:pt idx="7">
                  <c:v>1232.7342</c:v>
                </c:pt>
                <c:pt idx="8">
                  <c:v>1272.5636</c:v>
                </c:pt>
                <c:pt idx="9">
                  <c:v>1203.7742</c:v>
                </c:pt>
                <c:pt idx="10">
                  <c:v>1239.96</c:v>
                </c:pt>
                <c:pt idx="11">
                  <c:v>992.4444</c:v>
                </c:pt>
                <c:pt idx="12">
                  <c:v>966.0504</c:v>
                </c:pt>
                <c:pt idx="13">
                  <c:v>921.6557</c:v>
                </c:pt>
                <c:pt idx="14">
                  <c:v>991.5741</c:v>
                </c:pt>
                <c:pt idx="15">
                  <c:v>1109.8621</c:v>
                </c:pt>
                <c:pt idx="16">
                  <c:v>1013.1831</c:v>
                </c:pt>
                <c:pt idx="17">
                  <c:v>1017.9492</c:v>
                </c:pt>
                <c:pt idx="18">
                  <c:v>1074.1522</c:v>
                </c:pt>
                <c:pt idx="19">
                  <c:v>1118.7746</c:v>
                </c:pt>
                <c:pt idx="20">
                  <c:v>1192.1351</c:v>
                </c:pt>
                <c:pt idx="21">
                  <c:v>1129.4</c:v>
                </c:pt>
                <c:pt idx="22">
                  <c:v>1051.08</c:v>
                </c:pt>
                <c:pt idx="23">
                  <c:v>855.7436</c:v>
                </c:pt>
                <c:pt idx="24">
                  <c:v>951.6667</c:v>
                </c:pt>
                <c:pt idx="25">
                  <c:v>902.1277</c:v>
                </c:pt>
                <c:pt idx="26">
                  <c:v>1106.7879</c:v>
                </c:pt>
                <c:pt idx="27">
                  <c:v>1237.4103</c:v>
                </c:pt>
                <c:pt idx="28">
                  <c:v>1201.86</c:v>
                </c:pt>
                <c:pt idx="29">
                  <c:v>1105.7442</c:v>
                </c:pt>
                <c:pt idx="30">
                  <c:v>1367.3333</c:v>
                </c:pt>
                <c:pt idx="31">
                  <c:v>1183.6111</c:v>
                </c:pt>
                <c:pt idx="32">
                  <c:v>1187.8846</c:v>
                </c:pt>
                <c:pt idx="33">
                  <c:v>1273.2394</c:v>
                </c:pt>
                <c:pt idx="34">
                  <c:v>1458.7279</c:v>
                </c:pt>
                <c:pt idx="35">
                  <c:v>1435.0283</c:v>
                </c:pt>
                <c:pt idx="36">
                  <c:v>1406.4412</c:v>
                </c:pt>
                <c:pt idx="37">
                  <c:v>913.0323</c:v>
                </c:pt>
                <c:pt idx="38">
                  <c:v>836.5</c:v>
                </c:pt>
                <c:pt idx="39">
                  <c:v>1153.7945</c:v>
                </c:pt>
                <c:pt idx="40">
                  <c:v>1375.2051</c:v>
                </c:pt>
                <c:pt idx="41">
                  <c:v>1482.0233</c:v>
                </c:pt>
                <c:pt idx="42">
                  <c:v>1455.6579</c:v>
                </c:pt>
                <c:pt idx="43">
                  <c:v>1448.0702</c:v>
                </c:pt>
                <c:pt idx="44">
                  <c:v>1272.6167</c:v>
                </c:pt>
                <c:pt idx="45">
                  <c:v>1319.61</c:v>
                </c:pt>
                <c:pt idx="46">
                  <c:v>1139.7</c:v>
                </c:pt>
                <c:pt idx="47">
                  <c:v>1131.8</c:v>
                </c:pt>
                <c:pt idx="48">
                  <c:v>1142.5244</c:v>
                </c:pt>
                <c:pt idx="49">
                  <c:v>1330.0825</c:v>
                </c:pt>
                <c:pt idx="50">
                  <c:v>1095.9954</c:v>
                </c:pt>
                <c:pt idx="51">
                  <c:v>1128.8673</c:v>
                </c:pt>
              </c:numCache>
            </c:numRef>
          </c:xVal>
          <c:yVal>
            <c:numRef>
              <c:f>Sheet1!$B$109:$B$160</c:f>
              <c:numCache>
                <c:formatCode>General</c:formatCode>
                <c:ptCount val="52"/>
                <c:pt idx="0">
                  <c:v>0.2857142857142857</c:v>
                </c:pt>
                <c:pt idx="1">
                  <c:v>0.30357142857142855</c:v>
                </c:pt>
                <c:pt idx="2">
                  <c:v>0.3298611111111111</c:v>
                </c:pt>
                <c:pt idx="3">
                  <c:v>0.34408602150537637</c:v>
                </c:pt>
                <c:pt idx="4">
                  <c:v>0.31063829787234043</c:v>
                </c:pt>
                <c:pt idx="5">
                  <c:v>0.3292181069958848</c:v>
                </c:pt>
                <c:pt idx="6">
                  <c:v>0.34519572953736655</c:v>
                </c:pt>
                <c:pt idx="7">
                  <c:v>0.316</c:v>
                </c:pt>
                <c:pt idx="8">
                  <c:v>0.27638190954773867</c:v>
                </c:pt>
                <c:pt idx="9">
                  <c:v>0.2980769230769231</c:v>
                </c:pt>
                <c:pt idx="10">
                  <c:v>0.29880478087649404</c:v>
                </c:pt>
                <c:pt idx="11">
                  <c:v>0.3316953316953317</c:v>
                </c:pt>
                <c:pt idx="12">
                  <c:v>0.34663341645885287</c:v>
                </c:pt>
                <c:pt idx="13">
                  <c:v>0.3446327683615819</c:v>
                </c:pt>
                <c:pt idx="14">
                  <c:v>0.3829787234042553</c:v>
                </c:pt>
                <c:pt idx="15">
                  <c:v>0.35365853658536583</c:v>
                </c:pt>
                <c:pt idx="16">
                  <c:v>0.33490566037735847</c:v>
                </c:pt>
                <c:pt idx="17">
                  <c:v>0.33146067415730335</c:v>
                </c:pt>
                <c:pt idx="18">
                  <c:v>0.25555555555555554</c:v>
                </c:pt>
                <c:pt idx="19">
                  <c:v>0.355</c:v>
                </c:pt>
                <c:pt idx="20">
                  <c:v>0.3008130081300813</c:v>
                </c:pt>
                <c:pt idx="21">
                  <c:v>0.23255813953488372</c:v>
                </c:pt>
                <c:pt idx="22">
                  <c:v>0.3472222222222222</c:v>
                </c:pt>
                <c:pt idx="23">
                  <c:v>0.34513274336283184</c:v>
                </c:pt>
                <c:pt idx="24">
                  <c:v>0.3644859813084112</c:v>
                </c:pt>
                <c:pt idx="25">
                  <c:v>0.3560606060606061</c:v>
                </c:pt>
                <c:pt idx="26">
                  <c:v>0.28205128205128205</c:v>
                </c:pt>
                <c:pt idx="27">
                  <c:v>0.26174496644295303</c:v>
                </c:pt>
                <c:pt idx="28">
                  <c:v>0.27472527472527475</c:v>
                </c:pt>
                <c:pt idx="29">
                  <c:v>0.3006993006993007</c:v>
                </c:pt>
                <c:pt idx="30">
                  <c:v>0.267515923566879</c:v>
                </c:pt>
                <c:pt idx="31">
                  <c:v>0.24</c:v>
                </c:pt>
                <c:pt idx="32">
                  <c:v>0.3443708609271523</c:v>
                </c:pt>
                <c:pt idx="33">
                  <c:v>0.2886178861788618</c:v>
                </c:pt>
                <c:pt idx="34">
                  <c:v>0.3022222222222222</c:v>
                </c:pt>
                <c:pt idx="35">
                  <c:v>0.33974358974358976</c:v>
                </c:pt>
                <c:pt idx="36">
                  <c:v>0.26153846153846155</c:v>
                </c:pt>
                <c:pt idx="37">
                  <c:v>0.39490445859872614</c:v>
                </c:pt>
                <c:pt idx="38">
                  <c:v>0.4171779141104294</c:v>
                </c:pt>
                <c:pt idx="39">
                  <c:v>0.3348623853211009</c:v>
                </c:pt>
                <c:pt idx="40">
                  <c:v>0.26</c:v>
                </c:pt>
                <c:pt idx="41">
                  <c:v>0.2621951219512195</c:v>
                </c:pt>
                <c:pt idx="42">
                  <c:v>0.25675675675675674</c:v>
                </c:pt>
                <c:pt idx="43">
                  <c:v>0.24050632911392406</c:v>
                </c:pt>
                <c:pt idx="44">
                  <c:v>0.22304832713754646</c:v>
                </c:pt>
                <c:pt idx="45">
                  <c:v>0.2336448598130841</c:v>
                </c:pt>
                <c:pt idx="46">
                  <c:v>0.2787456445993031</c:v>
                </c:pt>
                <c:pt idx="47">
                  <c:v>0.2878787878787879</c:v>
                </c:pt>
                <c:pt idx="48">
                  <c:v>0.2265193370165746</c:v>
                </c:pt>
                <c:pt idx="49">
                  <c:v>0.23040380047505937</c:v>
                </c:pt>
                <c:pt idx="50">
                  <c:v>0.2998624484181568</c:v>
                </c:pt>
                <c:pt idx="51">
                  <c:v>0.25454545454545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6.5469260523979</c:v>
                </c:pt>
              </c:numCache>
            </c:numRef>
          </c:xVal>
          <c:yVal>
            <c:numRef>
              <c:f>Sheet1!$B$163:$B$164</c:f>
              <c:numCache>
                <c:formatCode>General</c:formatCode>
                <c:ptCount val="2"/>
                <c:pt idx="0">
                  <c:v>0.3442026053562936</c:v>
                </c:pt>
                <c:pt idx="1">
                  <c:v>0.34420260535629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6.5469260523979</c:v>
                </c:pt>
                <c:pt idx="1">
                  <c:v>946.5469260523979</c:v>
                </c:pt>
              </c:numCache>
            </c:numRef>
          </c:xVal>
          <c:yVal>
            <c:numRef>
              <c:f>Sheet1!$B$167:$B$168</c:f>
              <c:numCache>
                <c:formatCode>General</c:formatCode>
                <c:ptCount val="2"/>
                <c:pt idx="0">
                  <c:v>0.3442026053562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0.4548215072095</c:v>
                </c:pt>
              </c:numCache>
            </c:numRef>
          </c:xVal>
          <c:yVal>
            <c:numRef>
              <c:f>Sheet1!$B$171:$B$172</c:f>
              <c:numCache>
                <c:formatCode>General</c:formatCode>
                <c:ptCount val="2"/>
                <c:pt idx="0">
                  <c:v>0.32052103986261443</c:v>
                </c:pt>
                <c:pt idx="1">
                  <c:v>0.3205210398626144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0.4548215072095</c:v>
                </c:pt>
                <c:pt idx="1">
                  <c:v>1080.4548215072095</c:v>
                </c:pt>
              </c:numCache>
            </c:numRef>
          </c:xVal>
          <c:yVal>
            <c:numRef>
              <c:f>Sheet1!$B$175:$B$176</c:f>
              <c:numCache>
                <c:formatCode>General</c:formatCode>
                <c:ptCount val="2"/>
                <c:pt idx="0">
                  <c:v>0.320521039862614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18.770982543521</c:v>
                </c:pt>
              </c:numCache>
            </c:numRef>
          </c:xVal>
          <c:yVal>
            <c:numRef>
              <c:f>Sheet1!$B$179:$B$180</c:f>
              <c:numCache>
                <c:formatCode>General</c:formatCode>
                <c:ptCount val="2"/>
                <c:pt idx="0">
                  <c:v>0.26068994254053607</c:v>
                </c:pt>
                <c:pt idx="1">
                  <c:v>0.260689942540536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18.770982543521</c:v>
                </c:pt>
                <c:pt idx="1">
                  <c:v>1418.770982543521</c:v>
                </c:pt>
              </c:numCache>
            </c:numRef>
          </c:xVal>
          <c:yVal>
            <c:numRef>
              <c:f>Sheet1!$B$183:$B$184</c:f>
              <c:numCache>
                <c:formatCode>General</c:formatCode>
                <c:ptCount val="2"/>
                <c:pt idx="0">
                  <c:v>0.260689942540536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7.2286</c:v>
                </c:pt>
                <c:pt idx="1">
                  <c:v>1322.8529</c:v>
                </c:pt>
                <c:pt idx="2">
                  <c:v>1171.2526</c:v>
                </c:pt>
                <c:pt idx="3">
                  <c:v>1197.1146</c:v>
                </c:pt>
                <c:pt idx="4">
                  <c:v>1292.1507</c:v>
                </c:pt>
                <c:pt idx="5">
                  <c:v>1270.6625</c:v>
                </c:pt>
                <c:pt idx="6">
                  <c:v>1165.9588</c:v>
                </c:pt>
                <c:pt idx="7">
                  <c:v>1232.7342</c:v>
                </c:pt>
                <c:pt idx="8">
                  <c:v>1272.5636</c:v>
                </c:pt>
                <c:pt idx="9">
                  <c:v>1203.7742</c:v>
                </c:pt>
                <c:pt idx="10">
                  <c:v>1239.96</c:v>
                </c:pt>
                <c:pt idx="11">
                  <c:v>992.4444</c:v>
                </c:pt>
                <c:pt idx="12">
                  <c:v>966.0504</c:v>
                </c:pt>
                <c:pt idx="13">
                  <c:v>921.6557</c:v>
                </c:pt>
                <c:pt idx="14">
                  <c:v>991.5741</c:v>
                </c:pt>
                <c:pt idx="15">
                  <c:v>1109.8621</c:v>
                </c:pt>
                <c:pt idx="16">
                  <c:v>1013.1831</c:v>
                </c:pt>
                <c:pt idx="17">
                  <c:v>1017.9492</c:v>
                </c:pt>
                <c:pt idx="18">
                  <c:v>1074.1522</c:v>
                </c:pt>
                <c:pt idx="19">
                  <c:v>1118.7746</c:v>
                </c:pt>
                <c:pt idx="20">
                  <c:v>1192.1351</c:v>
                </c:pt>
                <c:pt idx="21">
                  <c:v>1129.4</c:v>
                </c:pt>
                <c:pt idx="22">
                  <c:v>1051.08</c:v>
                </c:pt>
                <c:pt idx="23">
                  <c:v>855.7436</c:v>
                </c:pt>
                <c:pt idx="24">
                  <c:v>951.6667</c:v>
                </c:pt>
                <c:pt idx="25">
                  <c:v>902.1277</c:v>
                </c:pt>
                <c:pt idx="26">
                  <c:v>1106.7879</c:v>
                </c:pt>
                <c:pt idx="27">
                  <c:v>1237.4103</c:v>
                </c:pt>
                <c:pt idx="28">
                  <c:v>1201.86</c:v>
                </c:pt>
                <c:pt idx="29">
                  <c:v>1105.7442</c:v>
                </c:pt>
                <c:pt idx="30">
                  <c:v>1367.3333</c:v>
                </c:pt>
                <c:pt idx="31">
                  <c:v>1183.6111</c:v>
                </c:pt>
                <c:pt idx="32">
                  <c:v>1187.8846</c:v>
                </c:pt>
                <c:pt idx="33">
                  <c:v>1273.2394</c:v>
                </c:pt>
                <c:pt idx="34">
                  <c:v>1458.7279</c:v>
                </c:pt>
                <c:pt idx="35">
                  <c:v>1435.0283</c:v>
                </c:pt>
                <c:pt idx="36">
                  <c:v>1406.4412</c:v>
                </c:pt>
                <c:pt idx="37">
                  <c:v>913.0323</c:v>
                </c:pt>
                <c:pt idx="38">
                  <c:v>836.5</c:v>
                </c:pt>
                <c:pt idx="39">
                  <c:v>1153.7945</c:v>
                </c:pt>
                <c:pt idx="40">
                  <c:v>1375.2051</c:v>
                </c:pt>
                <c:pt idx="41">
                  <c:v>1482.0233</c:v>
                </c:pt>
                <c:pt idx="42">
                  <c:v>1455.6579</c:v>
                </c:pt>
                <c:pt idx="43">
                  <c:v>1448.0702</c:v>
                </c:pt>
                <c:pt idx="44">
                  <c:v>1272.6167</c:v>
                </c:pt>
                <c:pt idx="45">
                  <c:v>1319.61</c:v>
                </c:pt>
                <c:pt idx="46">
                  <c:v>1139.7</c:v>
                </c:pt>
                <c:pt idx="47">
                  <c:v>1131.8</c:v>
                </c:pt>
                <c:pt idx="48">
                  <c:v>1142.5244</c:v>
                </c:pt>
                <c:pt idx="49">
                  <c:v>1330.0825</c:v>
                </c:pt>
                <c:pt idx="50">
                  <c:v>1095.9954</c:v>
                </c:pt>
                <c:pt idx="51">
                  <c:v>1128.8673</c:v>
                </c:pt>
                <c:pt idx="52">
                  <c:v>1080.4548215072095</c:v>
                </c:pt>
                <c:pt idx="53">
                  <c:v>946.5469260523979</c:v>
                </c:pt>
                <c:pt idx="54">
                  <c:v>1418.770982543521</c:v>
                </c:pt>
              </c:numCache>
            </c:numRef>
          </c:xVal>
          <c:yVal>
            <c:numRef>
              <c:f>Sheet1!$B$187:$B$241</c:f>
              <c:numCache>
                <c:formatCode>General</c:formatCode>
                <c:ptCount val="55"/>
                <c:pt idx="0">
                  <c:v>0.27687918157150415</c:v>
                </c:pt>
                <c:pt idx="1">
                  <c:v>0.27765302261932834</c:v>
                </c:pt>
                <c:pt idx="2">
                  <c:v>0.30446348380324667</c:v>
                </c:pt>
                <c:pt idx="3">
                  <c:v>0.29988979795210724</c:v>
                </c:pt>
                <c:pt idx="4">
                  <c:v>0.2830826961843602</c:v>
                </c:pt>
                <c:pt idx="5">
                  <c:v>0.2868828770020253</c:v>
                </c:pt>
                <c:pt idx="6">
                  <c:v>0.3053996905219367</c:v>
                </c:pt>
                <c:pt idx="7">
                  <c:v>0.2935904838795975</c:v>
                </c:pt>
                <c:pt idx="8">
                  <c:v>0.28654666811749974</c:v>
                </c:pt>
                <c:pt idx="9">
                  <c:v>0.29871204997073497</c:v>
                </c:pt>
                <c:pt idx="10">
                  <c:v>0.2923126036219545</c:v>
                </c:pt>
                <c:pt idx="11">
                  <c:v>0.33608565279279545</c:v>
                </c:pt>
                <c:pt idx="12">
                  <c:v>0.34075342266190745</c:v>
                </c:pt>
                <c:pt idx="13">
                  <c:v>0.34860461016695654</c:v>
                </c:pt>
                <c:pt idx="14">
                  <c:v>0.3362395650500164</c:v>
                </c:pt>
                <c:pt idx="15">
                  <c:v>0.31532037272306634</c:v>
                </c:pt>
                <c:pt idx="16">
                  <c:v>0.3324180207936838</c:v>
                </c:pt>
                <c:pt idx="17">
                  <c:v>0.3315751376394376</c:v>
                </c:pt>
                <c:pt idx="18">
                  <c:v>0.3216356563196793</c:v>
                </c:pt>
                <c:pt idx="19">
                  <c:v>0.3137442001475393</c:v>
                </c:pt>
                <c:pt idx="20">
                  <c:v>0.30077042082333716</c:v>
                </c:pt>
                <c:pt idx="21">
                  <c:v>0.3118651017930927</c:v>
                </c:pt>
                <c:pt idx="22">
                  <c:v>0.3257159669953679</c:v>
                </c:pt>
                <c:pt idx="23">
                  <c:v>0.3602611424996798</c:v>
                </c:pt>
                <c:pt idx="24">
                  <c:v>0.3432971750854259</c:v>
                </c:pt>
                <c:pt idx="25">
                  <c:v>0.3520581302853175</c:v>
                </c:pt>
                <c:pt idx="26">
                  <c:v>0.3158640439412077</c:v>
                </c:pt>
                <c:pt idx="27">
                  <c:v>0.2927635171945572</c:v>
                </c:pt>
                <c:pt idx="28">
                  <c:v>0.2990505755857784</c:v>
                </c:pt>
                <c:pt idx="29">
                  <c:v>0.3160486219290986</c:v>
                </c:pt>
                <c:pt idx="30">
                  <c:v>0.2697866790986021</c:v>
                </c:pt>
                <c:pt idx="31">
                  <c:v>0.30227788730679217</c:v>
                </c:pt>
                <c:pt idx="32">
                  <c:v>0.30152212029399944</c:v>
                </c:pt>
                <c:pt idx="33">
                  <c:v>0.28642715311872935</c:v>
                </c:pt>
                <c:pt idx="34">
                  <c:v>0.25362357535989094</c:v>
                </c:pt>
                <c:pt idx="35">
                  <c:v>0.2578148415109104</c:v>
                </c:pt>
                <c:pt idx="36">
                  <c:v>0.2628704603646381</c:v>
                </c:pt>
                <c:pt idx="37">
                  <c:v>0.3501296555064012</c:v>
                </c:pt>
                <c:pt idx="38">
                  <c:v>0.3636643665753502</c:v>
                </c:pt>
                <c:pt idx="39">
                  <c:v>0.3075509428148381</c:v>
                </c:pt>
                <c:pt idx="40">
                  <c:v>0.26839455396199247</c:v>
                </c:pt>
                <c:pt idx="41">
                  <c:v>0.2495037918405717</c:v>
                </c:pt>
                <c:pt idx="42">
                  <c:v>0.2541665038094694</c:v>
                </c:pt>
                <c:pt idx="43">
                  <c:v>0.25550838595828584</c:v>
                </c:pt>
                <c:pt idx="44">
                  <c:v>0.28653727740066826</c:v>
                </c:pt>
                <c:pt idx="45">
                  <c:v>0.27822652837474793</c:v>
                </c:pt>
                <c:pt idx="46">
                  <c:v>0.31004355031730835</c:v>
                </c:pt>
                <c:pt idx="47">
                  <c:v>0.31144066261426917</c:v>
                </c:pt>
                <c:pt idx="48">
                  <c:v>0.3095440561436961</c:v>
                </c:pt>
                <c:pt idx="49">
                  <c:v>0.27637447033298557</c:v>
                </c:pt>
                <c:pt idx="50">
                  <c:v>0.31777269387347984</c:v>
                </c:pt>
                <c:pt idx="51">
                  <c:v>0.3119593096058258</c:v>
                </c:pt>
                <c:pt idx="52">
                  <c:v>0.3205210398626144</c:v>
                </c:pt>
                <c:pt idx="53">
                  <c:v>0.3442026053562936</c:v>
                </c:pt>
                <c:pt idx="54">
                  <c:v>0.260689942540536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6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8235294117647"/>
          <c:min val="0.1316017316017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5988777433128064</c:v>
                </c:pt>
                <c:pt idx="1">
                  <c:v>0.4672431354847531</c:v>
                </c:pt>
                <c:pt idx="2">
                  <c:v>0.5043770182028997</c:v>
                </c:pt>
                <c:pt idx="3">
                  <c:v>0.4817651417753038</c:v>
                </c:pt>
                <c:pt idx="4">
                  <c:v>0.4385295660482904</c:v>
                </c:pt>
                <c:pt idx="5">
                  <c:v>0.47903590998682277</c:v>
                </c:pt>
                <c:pt idx="6">
                  <c:v>0.4334440311624573</c:v>
                </c:pt>
                <c:pt idx="7">
                  <c:v>0.4337565804171138</c:v>
                </c:pt>
                <c:pt idx="8">
                  <c:v>0.4236679814162604</c:v>
                </c:pt>
                <c:pt idx="9">
                  <c:v>0.43619923399427674</c:v>
                </c:pt>
                <c:pt idx="10">
                  <c:v>0.4608634555675347</c:v>
                </c:pt>
                <c:pt idx="11">
                  <c:v>0.5098424551495895</c:v>
                </c:pt>
                <c:pt idx="12">
                  <c:v>0.5354100792817624</c:v>
                </c:pt>
                <c:pt idx="13">
                  <c:v>0.538913599587261</c:v>
                </c:pt>
                <c:pt idx="14">
                  <c:v>0.5280537704300161</c:v>
                </c:pt>
                <c:pt idx="15">
                  <c:v>0.5179893479162376</c:v>
                </c:pt>
                <c:pt idx="16">
                  <c:v>0.4933337139749864</c:v>
                </c:pt>
                <c:pt idx="17">
                  <c:v>0.4872504267986886</c:v>
                </c:pt>
                <c:pt idx="18">
                  <c:v>0.4830795119995406</c:v>
                </c:pt>
                <c:pt idx="19">
                  <c:v>0.5143997234657564</c:v>
                </c:pt>
                <c:pt idx="20">
                  <c:v>0.5062341846572032</c:v>
                </c:pt>
                <c:pt idx="21">
                  <c:v>0.47547553422823424</c:v>
                </c:pt>
                <c:pt idx="22">
                  <c:v>0.4028603966556856</c:v>
                </c:pt>
                <c:pt idx="23">
                  <c:v>0.40932114999322533</c:v>
                </c:pt>
                <c:pt idx="24">
                  <c:v>0.448194482192665</c:v>
                </c:pt>
                <c:pt idx="25">
                  <c:v>0.40134201774045275</c:v>
                </c:pt>
                <c:pt idx="26">
                  <c:v>0.3838550558511709</c:v>
                </c:pt>
                <c:pt idx="27">
                  <c:v>0.4375344165071403</c:v>
                </c:pt>
                <c:pt idx="28">
                  <c:v>0.43771128697577766</c:v>
                </c:pt>
                <c:pt idx="29">
                  <c:v>0.3990588824337488</c:v>
                </c:pt>
                <c:pt idx="30">
                  <c:v>0.3791624763680803</c:v>
                </c:pt>
                <c:pt idx="31">
                  <c:v>0.3799021093367646</c:v>
                </c:pt>
                <c:pt idx="32">
                  <c:v>0.3632747958754961</c:v>
                </c:pt>
                <c:pt idx="33">
                  <c:v>0.3749949046988694</c:v>
                </c:pt>
                <c:pt idx="34">
                  <c:v>0.37731022046521256</c:v>
                </c:pt>
                <c:pt idx="35">
                  <c:v>0.416791627149345</c:v>
                </c:pt>
                <c:pt idx="36">
                  <c:v>0.441434998707322</c:v>
                </c:pt>
                <c:pt idx="37">
                  <c:v>0.4376053970934731</c:v>
                </c:pt>
                <c:pt idx="38">
                  <c:v>0.44396081854988223</c:v>
                </c:pt>
                <c:pt idx="39">
                  <c:v>0.4313923994085282</c:v>
                </c:pt>
                <c:pt idx="40">
                  <c:v>0.4476561012561722</c:v>
                </c:pt>
                <c:pt idx="41">
                  <c:v>0.4520549625807784</c:v>
                </c:pt>
                <c:pt idx="42">
                  <c:v>0.46762612081001903</c:v>
                </c:pt>
                <c:pt idx="43">
                  <c:v>0.4752220720351058</c:v>
                </c:pt>
                <c:pt idx="44">
                  <c:v>0.4678550340077885</c:v>
                </c:pt>
                <c:pt idx="45">
                  <c:v>0.4883916030763293</c:v>
                </c:pt>
                <c:pt idx="46">
                  <c:v>0.5169114356155097</c:v>
                </c:pt>
                <c:pt idx="47">
                  <c:v>0.49385817212142297</c:v>
                </c:pt>
                <c:pt idx="48">
                  <c:v>0.5475100276170963</c:v>
                </c:pt>
                <c:pt idx="49">
                  <c:v>0.5522367332305402</c:v>
                </c:pt>
                <c:pt idx="50">
                  <c:v>0.486761804336215</c:v>
                </c:pt>
                <c:pt idx="51">
                  <c:v>0.4876541524061922</c:v>
                </c:pt>
                <c:pt idx="52">
                  <c:v>0.5152801781185561</c:v>
                </c:pt>
                <c:pt idx="53">
                  <c:v>0.4615334835110224</c:v>
                </c:pt>
                <c:pt idx="54">
                  <c:v>0.4768969700596412</c:v>
                </c:pt>
                <c:pt idx="55">
                  <c:v>0.46381330987707226</c:v>
                </c:pt>
                <c:pt idx="56">
                  <c:v>0.47901576387430894</c:v>
                </c:pt>
                <c:pt idx="57">
                  <c:v>0.47292909663239213</c:v>
                </c:pt>
                <c:pt idx="58">
                  <c:v>0.4134890078397951</c:v>
                </c:pt>
                <c:pt idx="59">
                  <c:v>0.4302835923404078</c:v>
                </c:pt>
                <c:pt idx="60">
                  <c:v>0.4425668200529634</c:v>
                </c:pt>
                <c:pt idx="61">
                  <c:v>0.45935958837012064</c:v>
                </c:pt>
                <c:pt idx="62">
                  <c:v>0.4400809261928851</c:v>
                </c:pt>
                <c:pt idx="63">
                  <c:v>0.45235718488105364</c:v>
                </c:pt>
                <c:pt idx="64">
                  <c:v>0.43733847089113315</c:v>
                </c:pt>
                <c:pt idx="65">
                  <c:v>0.48080194568649287</c:v>
                </c:pt>
                <c:pt idx="66">
                  <c:v>0.5082000869688874</c:v>
                </c:pt>
                <c:pt idx="67">
                  <c:v>0.4921236571505089</c:v>
                </c:pt>
                <c:pt idx="68">
                  <c:v>0.49057767172470335</c:v>
                </c:pt>
                <c:pt idx="69">
                  <c:v>0.4836643984293713</c:v>
                </c:pt>
                <c:pt idx="70">
                  <c:v>0.4828948168120714</c:v>
                </c:pt>
                <c:pt idx="71">
                  <c:v>0.46863238567675874</c:v>
                </c:pt>
                <c:pt idx="72">
                  <c:v>0.4785981458027416</c:v>
                </c:pt>
                <c:pt idx="73">
                  <c:v>0.4784046557172788</c:v>
                </c:pt>
                <c:pt idx="74">
                  <c:v>0.49289176935050333</c:v>
                </c:pt>
                <c:pt idx="75">
                  <c:v>0.4597793299555441</c:v>
                </c:pt>
                <c:pt idx="76">
                  <c:v>0.45481609916065774</c:v>
                </c:pt>
                <c:pt idx="77">
                  <c:v>0.469271803820251</c:v>
                </c:pt>
                <c:pt idx="78">
                  <c:v>0.4805607327064112</c:v>
                </c:pt>
                <c:pt idx="79">
                  <c:v>0.509351337709291</c:v>
                </c:pt>
                <c:pt idx="80">
                  <c:v>0.5151516699807408</c:v>
                </c:pt>
                <c:pt idx="81">
                  <c:v>0.5186101115093515</c:v>
                </c:pt>
                <c:pt idx="82">
                  <c:v>0.49599187553271623</c:v>
                </c:pt>
                <c:pt idx="83">
                  <c:v>0.47100940415776354</c:v>
                </c:pt>
                <c:pt idx="84">
                  <c:v>0.48607650796582635</c:v>
                </c:pt>
                <c:pt idx="85">
                  <c:v>0.4645081505519172</c:v>
                </c:pt>
                <c:pt idx="86">
                  <c:v>0.4702925828650642</c:v>
                </c:pt>
                <c:pt idx="87">
                  <c:v>0.4932381125519126</c:v>
                </c:pt>
                <c:pt idx="88">
                  <c:v>0.4508117248714519</c:v>
                </c:pt>
                <c:pt idx="89">
                  <c:v>0.4124925844479602</c:v>
                </c:pt>
                <c:pt idx="90">
                  <c:v>0.43493297782647267</c:v>
                </c:pt>
                <c:pt idx="91">
                  <c:v>0.477692053078651</c:v>
                </c:pt>
                <c:pt idx="92">
                  <c:v>0.4661944308992506</c:v>
                </c:pt>
                <c:pt idx="93">
                  <c:v>0.4661561417406886</c:v>
                </c:pt>
                <c:pt idx="94">
                  <c:v>0.4493681005049372</c:v>
                </c:pt>
                <c:pt idx="95">
                  <c:v>0.48212961714024044</c:v>
                </c:pt>
                <c:pt idx="96">
                  <c:v>0.47829092476531376</c:v>
                </c:pt>
                <c:pt idx="97">
                  <c:v>0.5193834088158457</c:v>
                </c:pt>
                <c:pt idx="98">
                  <c:v>0.5505518688774106</c:v>
                </c:pt>
                <c:pt idx="99">
                  <c:v>0.5421758877560309</c:v>
                </c:pt>
                <c:pt idx="100">
                  <c:v>0.5684646767071819</c:v>
                </c:pt>
                <c:pt idx="101">
                  <c:v>0.5075347601269585</c:v>
                </c:pt>
                <c:pt idx="102">
                  <c:v>0.4742798790720737</c:v>
                </c:pt>
                <c:pt idx="103">
                  <c:v>0.5026209784414291</c:v>
                </c:pt>
                <c:pt idx="104">
                  <c:v>0.5013004520276555</c:v>
                </c:pt>
              </c:numCache>
            </c:numRef>
          </c:xVal>
          <c:yVal>
            <c:numRef>
              <c:f>Sheet1!$B$2:$B$106</c:f>
              <c:numCache>
                <c:formatCode>General</c:formatCode>
                <c:ptCount val="105"/>
                <c:pt idx="0">
                  <c:v>0.11593027969193352</c:v>
                </c:pt>
                <c:pt idx="1">
                  <c:v>0.10555050045495905</c:v>
                </c:pt>
                <c:pt idx="2">
                  <c:v>0.10715835140997831</c:v>
                </c:pt>
                <c:pt idx="3">
                  <c:v>0.1043360433604336</c:v>
                </c:pt>
                <c:pt idx="4">
                  <c:v>0.11374133949191687</c:v>
                </c:pt>
                <c:pt idx="5">
                  <c:v>0.12990196078431374</c:v>
                </c:pt>
                <c:pt idx="6">
                  <c:v>0.14043583535108958</c:v>
                </c:pt>
                <c:pt idx="7">
                  <c:v>0.14245014245014245</c:v>
                </c:pt>
                <c:pt idx="8">
                  <c:v>0.14137033824804857</c:v>
                </c:pt>
                <c:pt idx="9">
                  <c:v>0.12042875157629256</c:v>
                </c:pt>
                <c:pt idx="10">
                  <c:v>0.1338862559241706</c:v>
                </c:pt>
                <c:pt idx="11">
                  <c:v>0.11978221415607986</c:v>
                </c:pt>
                <c:pt idx="12">
                  <c:v>0.11818703384968446</c:v>
                </c:pt>
                <c:pt idx="13">
                  <c:v>0.11334450027917364</c:v>
                </c:pt>
                <c:pt idx="14">
                  <c:v>0.09451046972269384</c:v>
                </c:pt>
                <c:pt idx="15">
                  <c:v>0.08025078369905957</c:v>
                </c:pt>
                <c:pt idx="16">
                  <c:v>0.08352668213457076</c:v>
                </c:pt>
                <c:pt idx="17">
                  <c:v>0.0739385065885798</c:v>
                </c:pt>
                <c:pt idx="18">
                  <c:v>0.05899490167516387</c:v>
                </c:pt>
                <c:pt idx="19">
                  <c:v>0.051194539249146756</c:v>
                </c:pt>
                <c:pt idx="20">
                  <c:v>0.048730267673301304</c:v>
                </c:pt>
                <c:pt idx="21">
                  <c:v>0.04573438874230431</c:v>
                </c:pt>
                <c:pt idx="22">
                  <c:v>0.06419753086419754</c:v>
                </c:pt>
                <c:pt idx="23">
                  <c:v>0.06050420168067227</c:v>
                </c:pt>
                <c:pt idx="24">
                  <c:v>0.06886657101865136</c:v>
                </c:pt>
                <c:pt idx="25">
                  <c:v>0.08275261324041812</c:v>
                </c:pt>
                <c:pt idx="26">
                  <c:v>0.09642857142857143</c:v>
                </c:pt>
                <c:pt idx="27">
                  <c:v>0.09592529711375213</c:v>
                </c:pt>
                <c:pt idx="28">
                  <c:v>0.13178294573643412</c:v>
                </c:pt>
                <c:pt idx="29">
                  <c:v>0.14275092936802974</c:v>
                </c:pt>
                <c:pt idx="30">
                  <c:v>0.12609970674486803</c:v>
                </c:pt>
                <c:pt idx="31">
                  <c:v>0.14606741573033707</c:v>
                </c:pt>
                <c:pt idx="32">
                  <c:v>0.15021459227467812</c:v>
                </c:pt>
                <c:pt idx="33">
                  <c:v>0.14554317548746518</c:v>
                </c:pt>
                <c:pt idx="34">
                  <c:v>0.13864491844416563</c:v>
                </c:pt>
                <c:pt idx="35">
                  <c:v>0.12540192926045016</c:v>
                </c:pt>
                <c:pt idx="36">
                  <c:v>0.13372093023255813</c:v>
                </c:pt>
                <c:pt idx="37">
                  <c:v>0.12380952380952381</c:v>
                </c:pt>
                <c:pt idx="38">
                  <c:v>0.13157894736842105</c:v>
                </c:pt>
                <c:pt idx="39">
                  <c:v>0.13291139240506328</c:v>
                </c:pt>
                <c:pt idx="40">
                  <c:v>0.1254429482636428</c:v>
                </c:pt>
                <c:pt idx="41">
                  <c:v>0.11643835616438356</c:v>
                </c:pt>
                <c:pt idx="42">
                  <c:v>0.11788617886178862</c:v>
                </c:pt>
                <c:pt idx="43">
                  <c:v>0.10142118863049096</c:v>
                </c:pt>
                <c:pt idx="44">
                  <c:v>0.11932367149758454</c:v>
                </c:pt>
                <c:pt idx="45">
                  <c:v>0.14792176039119803</c:v>
                </c:pt>
                <c:pt idx="46">
                  <c:v>0.13205574912891985</c:v>
                </c:pt>
                <c:pt idx="47">
                  <c:v>0.13542033063665143</c:v>
                </c:pt>
                <c:pt idx="48">
                  <c:v>0.13924410343847685</c:v>
                </c:pt>
                <c:pt idx="49">
                  <c:v>0.13941076003415884</c:v>
                </c:pt>
                <c:pt idx="50">
                  <c:v>0.1264236902050114</c:v>
                </c:pt>
                <c:pt idx="51">
                  <c:v>0.12278368794326242</c:v>
                </c:pt>
                <c:pt idx="52">
                  <c:v>0.11369095276220977</c:v>
                </c:pt>
                <c:pt idx="53">
                  <c:v>0.10239429444727458</c:v>
                </c:pt>
                <c:pt idx="54">
                  <c:v>0.1189663578742077</c:v>
                </c:pt>
                <c:pt idx="55">
                  <c:v>0.10200845665961945</c:v>
                </c:pt>
                <c:pt idx="56">
                  <c:v>0.10362694300518134</c:v>
                </c:pt>
                <c:pt idx="57">
                  <c:v>0.10660124888492417</c:v>
                </c:pt>
                <c:pt idx="58">
                  <c:v>0.12084993359893759</c:v>
                </c:pt>
                <c:pt idx="59">
                  <c:v>0.1141785957736878</c:v>
                </c:pt>
                <c:pt idx="60">
                  <c:v>0.12073696589572716</c:v>
                </c:pt>
                <c:pt idx="61">
                  <c:v>0.1224373576309795</c:v>
                </c:pt>
                <c:pt idx="62">
                  <c:v>0.15255905511811024</c:v>
                </c:pt>
                <c:pt idx="63">
                  <c:v>0.1418403660396543</c:v>
                </c:pt>
                <c:pt idx="64">
                  <c:v>0.14375</c:v>
                </c:pt>
                <c:pt idx="65">
                  <c:v>0.14365256124721604</c:v>
                </c:pt>
                <c:pt idx="66">
                  <c:v>0.1461111111111111</c:v>
                </c:pt>
                <c:pt idx="67">
                  <c:v>0.13532401524777637</c:v>
                </c:pt>
                <c:pt idx="68">
                  <c:v>0.13691275167785236</c:v>
                </c:pt>
                <c:pt idx="69">
                  <c:v>0.12801330008312553</c:v>
                </c:pt>
                <c:pt idx="70">
                  <c:v>0.12261806130903065</c:v>
                </c:pt>
                <c:pt idx="71">
                  <c:v>0.1251109139307897</c:v>
                </c:pt>
                <c:pt idx="72">
                  <c:v>0.11760063141278611</c:v>
                </c:pt>
                <c:pt idx="73">
                  <c:v>0.1055694098088113</c:v>
                </c:pt>
                <c:pt idx="74">
                  <c:v>0.11710323574730354</c:v>
                </c:pt>
                <c:pt idx="75">
                  <c:v>0.12985865724381626</c:v>
                </c:pt>
                <c:pt idx="76">
                  <c:v>0.13378248315688163</c:v>
                </c:pt>
                <c:pt idx="77">
                  <c:v>0.13437195715676728</c:v>
                </c:pt>
                <c:pt idx="78">
                  <c:v>0.14901960784313725</c:v>
                </c:pt>
                <c:pt idx="79">
                  <c:v>0.1423611111111111</c:v>
                </c:pt>
                <c:pt idx="80">
                  <c:v>0.12398190045248869</c:v>
                </c:pt>
                <c:pt idx="81">
                  <c:v>0.13524590163934427</c:v>
                </c:pt>
                <c:pt idx="82">
                  <c:v>0.1347248576850095</c:v>
                </c:pt>
                <c:pt idx="83">
                  <c:v>0.13304252998909488</c:v>
                </c:pt>
                <c:pt idx="84">
                  <c:v>0.13093858632676708</c:v>
                </c:pt>
                <c:pt idx="85">
                  <c:v>0.15428571428571428</c:v>
                </c:pt>
                <c:pt idx="86">
                  <c:v>0.15678919729932483</c:v>
                </c:pt>
                <c:pt idx="87">
                  <c:v>0.17568517217146873</c:v>
                </c:pt>
                <c:pt idx="88">
                  <c:v>0.15423387096774194</c:v>
                </c:pt>
                <c:pt idx="89">
                  <c:v>0.17139737991266377</c:v>
                </c:pt>
                <c:pt idx="90">
                  <c:v>0.1571279916753382</c:v>
                </c:pt>
                <c:pt idx="91">
                  <c:v>0.1488095238095238</c:v>
                </c:pt>
                <c:pt idx="92">
                  <c:v>0.15339966832504145</c:v>
                </c:pt>
                <c:pt idx="93">
                  <c:v>0.16459884201819686</c:v>
                </c:pt>
                <c:pt idx="94">
                  <c:v>0.17633928571428573</c:v>
                </c:pt>
                <c:pt idx="95">
                  <c:v>0.15340501792114694</c:v>
                </c:pt>
                <c:pt idx="96">
                  <c:v>0.16061660865241173</c:v>
                </c:pt>
                <c:pt idx="97">
                  <c:v>0.16419981498612396</c:v>
                </c:pt>
                <c:pt idx="98">
                  <c:v>0.1484520701230884</c:v>
                </c:pt>
                <c:pt idx="99">
                  <c:v>0.13754093480202442</c:v>
                </c:pt>
                <c:pt idx="100">
                  <c:v>0.1366299507850949</c:v>
                </c:pt>
                <c:pt idx="101">
                  <c:v>0.14580152671755725</c:v>
                </c:pt>
                <c:pt idx="102">
                  <c:v>0.1480916030534351</c:v>
                </c:pt>
                <c:pt idx="103">
                  <c:v>0.13771657041314972</c:v>
                </c:pt>
                <c:pt idx="104">
                  <c:v>0.13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8536017787964386</c:v>
                </c:pt>
                <c:pt idx="1">
                  <c:v>0.45935677783779977</c:v>
                </c:pt>
                <c:pt idx="2">
                  <c:v>0.4928925171606006</c:v>
                </c:pt>
                <c:pt idx="3">
                  <c:v>0.47901847411538573</c:v>
                </c:pt>
                <c:pt idx="4">
                  <c:v>0.5035797090812113</c:v>
                </c:pt>
                <c:pt idx="5">
                  <c:v>0.5125231279278858</c:v>
                </c:pt>
                <c:pt idx="6">
                  <c:v>0.5500589984560891</c:v>
                </c:pt>
                <c:pt idx="7">
                  <c:v>0.49757418811758825</c:v>
                </c:pt>
                <c:pt idx="8">
                  <c:v>0.5385079726401139</c:v>
                </c:pt>
                <c:pt idx="9">
                  <c:v>0.5371830076287005</c:v>
                </c:pt>
                <c:pt idx="10">
                  <c:v>0.5081192566760172</c:v>
                </c:pt>
                <c:pt idx="11">
                  <c:v>0.5314096636046401</c:v>
                </c:pt>
                <c:pt idx="12">
                  <c:v>0.5292347557663827</c:v>
                </c:pt>
                <c:pt idx="13">
                  <c:v>0.49750158395123334</c:v>
                </c:pt>
                <c:pt idx="14">
                  <c:v>0.5132417482892965</c:v>
                </c:pt>
                <c:pt idx="15">
                  <c:v>0.4925419311445726</c:v>
                </c:pt>
                <c:pt idx="16">
                  <c:v>0.46655096628473647</c:v>
                </c:pt>
                <c:pt idx="17">
                  <c:v>0.46760014387032167</c:v>
                </c:pt>
                <c:pt idx="18">
                  <c:v>0.5300620050340721</c:v>
                </c:pt>
                <c:pt idx="19">
                  <c:v>0.5576490107669639</c:v>
                </c:pt>
                <c:pt idx="20">
                  <c:v>0.5087008818080353</c:v>
                </c:pt>
                <c:pt idx="21">
                  <c:v>0.5025894886974768</c:v>
                </c:pt>
                <c:pt idx="22">
                  <c:v>0.5187762177742283</c:v>
                </c:pt>
                <c:pt idx="23">
                  <c:v>0.5418998045379874</c:v>
                </c:pt>
                <c:pt idx="24">
                  <c:v>0.53474363260114</c:v>
                </c:pt>
                <c:pt idx="25">
                  <c:v>0.5245263600155375</c:v>
                </c:pt>
                <c:pt idx="26">
                  <c:v>0.5024037114073421</c:v>
                </c:pt>
                <c:pt idx="27">
                  <c:v>0.5262905686857766</c:v>
                </c:pt>
                <c:pt idx="28">
                  <c:v>0.5441548670642368</c:v>
                </c:pt>
                <c:pt idx="29">
                  <c:v>0.46811573053118444</c:v>
                </c:pt>
                <c:pt idx="30">
                  <c:v>0.4961739067712147</c:v>
                </c:pt>
                <c:pt idx="31">
                  <c:v>0.5055926369075012</c:v>
                </c:pt>
                <c:pt idx="32">
                  <c:v>0.5125382342083803</c:v>
                </c:pt>
                <c:pt idx="33">
                  <c:v>0.5179839529702549</c:v>
                </c:pt>
                <c:pt idx="34">
                  <c:v>0.5442621201291292</c:v>
                </c:pt>
                <c:pt idx="35">
                  <c:v>0.5358122949308153</c:v>
                </c:pt>
                <c:pt idx="36">
                  <c:v>0.47249516354000376</c:v>
                </c:pt>
                <c:pt idx="37">
                  <c:v>0.4531398727478005</c:v>
                </c:pt>
                <c:pt idx="38">
                  <c:v>0.4700638265083584</c:v>
                </c:pt>
                <c:pt idx="39">
                  <c:v>0.49847841716503055</c:v>
                </c:pt>
                <c:pt idx="40">
                  <c:v>0.4998087152430658</c:v>
                </c:pt>
                <c:pt idx="41">
                  <c:v>0.5506345012369905</c:v>
                </c:pt>
                <c:pt idx="42">
                  <c:v>0.5357311031113581</c:v>
                </c:pt>
                <c:pt idx="43">
                  <c:v>0.6105492202999449</c:v>
                </c:pt>
                <c:pt idx="44">
                  <c:v>0.6167312476839781</c:v>
                </c:pt>
                <c:pt idx="45">
                  <c:v>0.6385251299653493</c:v>
                </c:pt>
                <c:pt idx="46">
                  <c:v>0.5832918012860743</c:v>
                </c:pt>
                <c:pt idx="47">
                  <c:v>0.6051814543499769</c:v>
                </c:pt>
                <c:pt idx="48">
                  <c:v>0.6409394575030692</c:v>
                </c:pt>
                <c:pt idx="49">
                  <c:v>0.6859009648430332</c:v>
                </c:pt>
                <c:pt idx="50">
                  <c:v>0.705529141462167</c:v>
                </c:pt>
                <c:pt idx="51">
                  <c:v>0.6528652377290415</c:v>
                </c:pt>
              </c:numCache>
            </c:numRef>
          </c:xVal>
          <c:yVal>
            <c:numRef>
              <c:f>Sheet1!$B$109:$B$160</c:f>
              <c:numCache>
                <c:formatCode>General</c:formatCode>
                <c:ptCount val="52"/>
                <c:pt idx="0">
                  <c:v>0.1337642963699652</c:v>
                </c:pt>
                <c:pt idx="1">
                  <c:v>0.13351648351648351</c:v>
                </c:pt>
                <c:pt idx="2">
                  <c:v>0.14339268978444236</c:v>
                </c:pt>
                <c:pt idx="3">
                  <c:v>0.1560665362035225</c:v>
                </c:pt>
                <c:pt idx="4">
                  <c:v>0.12616339193381593</c:v>
                </c:pt>
                <c:pt idx="5">
                  <c:v>0.13093980992608237</c:v>
                </c:pt>
                <c:pt idx="6">
                  <c:v>0.14591356439880188</c:v>
                </c:pt>
                <c:pt idx="7">
                  <c:v>0.17237308146399055</c:v>
                </c:pt>
                <c:pt idx="8">
                  <c:v>0.1401799100449775</c:v>
                </c:pt>
                <c:pt idx="9">
                  <c:v>0.15161957270847692</c:v>
                </c:pt>
                <c:pt idx="10">
                  <c:v>0.16494133885438234</c:v>
                </c:pt>
                <c:pt idx="11">
                  <c:v>0.16766192007349565</c:v>
                </c:pt>
                <c:pt idx="12">
                  <c:v>0.15966386554621848</c:v>
                </c:pt>
                <c:pt idx="13">
                  <c:v>0.1448321263989467</c:v>
                </c:pt>
                <c:pt idx="14">
                  <c:v>0.15170068027210884</c:v>
                </c:pt>
                <c:pt idx="15">
                  <c:v>0.16380655226209048</c:v>
                </c:pt>
                <c:pt idx="16">
                  <c:v>0.1476147614761476</c:v>
                </c:pt>
                <c:pt idx="17">
                  <c:v>0.1613780598368087</c:v>
                </c:pt>
                <c:pt idx="18">
                  <c:v>0.14163498098859315</c:v>
                </c:pt>
                <c:pt idx="19">
                  <c:v>0.12376681614349776</c:v>
                </c:pt>
                <c:pt idx="20">
                  <c:v>0.11224489795918367</c:v>
                </c:pt>
                <c:pt idx="21">
                  <c:v>0.12092534174553102</c:v>
                </c:pt>
                <c:pt idx="22">
                  <c:v>0.11350293542074363</c:v>
                </c:pt>
                <c:pt idx="23">
                  <c:v>0.10640495867768596</c:v>
                </c:pt>
                <c:pt idx="24">
                  <c:v>0.12698412698412698</c:v>
                </c:pt>
                <c:pt idx="25">
                  <c:v>0.1485053037608486</c:v>
                </c:pt>
                <c:pt idx="26">
                  <c:v>0.13503971756398941</c:v>
                </c:pt>
                <c:pt idx="27">
                  <c:v>0.1377887788778878</c:v>
                </c:pt>
                <c:pt idx="28">
                  <c:v>0.12057272042200452</c:v>
                </c:pt>
                <c:pt idx="29">
                  <c:v>0.1337579617834395</c:v>
                </c:pt>
                <c:pt idx="30">
                  <c:v>0.14147286821705427</c:v>
                </c:pt>
                <c:pt idx="31">
                  <c:v>0.13559322033898305</c:v>
                </c:pt>
                <c:pt idx="32">
                  <c:v>0.1357142857142857</c:v>
                </c:pt>
                <c:pt idx="33">
                  <c:v>0.16398243045387995</c:v>
                </c:pt>
                <c:pt idx="34">
                  <c:v>0.16798059429957551</c:v>
                </c:pt>
                <c:pt idx="35">
                  <c:v>0.16750418760469013</c:v>
                </c:pt>
                <c:pt idx="36">
                  <c:v>0.16216216216216217</c:v>
                </c:pt>
                <c:pt idx="37">
                  <c:v>0.15466351829988192</c:v>
                </c:pt>
                <c:pt idx="38">
                  <c:v>0.1688622754491018</c:v>
                </c:pt>
                <c:pt idx="39">
                  <c:v>0.14971209213051823</c:v>
                </c:pt>
                <c:pt idx="40">
                  <c:v>0.15399422521655437</c:v>
                </c:pt>
                <c:pt idx="41">
                  <c:v>0.1528776978417266</c:v>
                </c:pt>
                <c:pt idx="42">
                  <c:v>0.1513353115727003</c:v>
                </c:pt>
                <c:pt idx="43">
                  <c:v>0.1320109439124487</c:v>
                </c:pt>
                <c:pt idx="44">
                  <c:v>0.13765432098765432</c:v>
                </c:pt>
                <c:pt idx="45">
                  <c:v>0.15045592705167174</c:v>
                </c:pt>
                <c:pt idx="46">
                  <c:v>0.18463180362860193</c:v>
                </c:pt>
                <c:pt idx="47">
                  <c:v>0.17290192113245703</c:v>
                </c:pt>
                <c:pt idx="48">
                  <c:v>0.17404129793510326</c:v>
                </c:pt>
                <c:pt idx="49">
                  <c:v>0.16652506372132542</c:v>
                </c:pt>
                <c:pt idx="50">
                  <c:v>0.16513497989661113</c:v>
                </c:pt>
                <c:pt idx="51">
                  <c:v>0.16150547879942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023845182191542</c:v>
                </c:pt>
              </c:numCache>
            </c:numRef>
          </c:xVal>
          <c:yVal>
            <c:numRef>
              <c:f>Sheet1!$B$163:$B$164</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023845182191542</c:v>
                </c:pt>
                <c:pt idx="1">
                  <c:v>0.8023845182191542</c:v>
                </c:pt>
              </c:numCache>
            </c:numRef>
          </c:xVal>
          <c:yVal>
            <c:numRef>
              <c:f>Sheet1!$B$167:$B$168</c:f>
              <c:numCache>
                <c:formatCode>General</c:formatCode>
                <c:ptCount val="2"/>
                <c:pt idx="0">
                  <c:v>0.166801705088117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023845182191542</c:v>
                </c:pt>
              </c:numCache>
            </c:numRef>
          </c:xVal>
          <c:yVal>
            <c:numRef>
              <c:f>Sheet1!$B$171:$B$172</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023845182191542</c:v>
                </c:pt>
                <c:pt idx="1">
                  <c:v>0.8023845182191542</c:v>
                </c:pt>
              </c:numCache>
            </c:numRef>
          </c:xVal>
          <c:yVal>
            <c:numRef>
              <c:f>Sheet1!$B$175:$B$176</c:f>
              <c:numCache>
                <c:formatCode>General</c:formatCode>
                <c:ptCount val="2"/>
                <c:pt idx="0">
                  <c:v>0.16680170508811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780142115034754</c:v>
                </c:pt>
              </c:numCache>
            </c:numRef>
          </c:xVal>
          <c:yVal>
            <c:numRef>
              <c:f>Sheet1!$B$179:$B$180</c:f>
              <c:numCache>
                <c:formatCode>General</c:formatCode>
                <c:ptCount val="2"/>
                <c:pt idx="0">
                  <c:v>0.1579062356789847</c:v>
                </c:pt>
                <c:pt idx="1">
                  <c:v>0.15790623567898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780142115034754</c:v>
                </c:pt>
                <c:pt idx="1">
                  <c:v>0.6780142115034754</c:v>
                </c:pt>
              </c:numCache>
            </c:numRef>
          </c:xVal>
          <c:yVal>
            <c:numRef>
              <c:f>Sheet1!$B$183:$B$184</c:f>
              <c:numCache>
                <c:formatCode>General</c:formatCode>
                <c:ptCount val="2"/>
                <c:pt idx="0">
                  <c:v>0.15790623567898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8536017787964386</c:v>
                </c:pt>
                <c:pt idx="1">
                  <c:v>0.45935677783779977</c:v>
                </c:pt>
                <c:pt idx="2">
                  <c:v>0.4928925171606006</c:v>
                </c:pt>
                <c:pt idx="3">
                  <c:v>0.47901847411538573</c:v>
                </c:pt>
                <c:pt idx="4">
                  <c:v>0.5035797090812113</c:v>
                </c:pt>
                <c:pt idx="5">
                  <c:v>0.5125231279278858</c:v>
                </c:pt>
                <c:pt idx="6">
                  <c:v>0.5500589984560891</c:v>
                </c:pt>
                <c:pt idx="7">
                  <c:v>0.49757418811758825</c:v>
                </c:pt>
                <c:pt idx="8">
                  <c:v>0.5385079726401139</c:v>
                </c:pt>
                <c:pt idx="9">
                  <c:v>0.5371830076287005</c:v>
                </c:pt>
                <c:pt idx="10">
                  <c:v>0.5081192566760172</c:v>
                </c:pt>
                <c:pt idx="11">
                  <c:v>0.5314096636046401</c:v>
                </c:pt>
                <c:pt idx="12">
                  <c:v>0.5292347557663827</c:v>
                </c:pt>
                <c:pt idx="13">
                  <c:v>0.49750158395123334</c:v>
                </c:pt>
                <c:pt idx="14">
                  <c:v>0.5132417482892965</c:v>
                </c:pt>
                <c:pt idx="15">
                  <c:v>0.4925419311445726</c:v>
                </c:pt>
                <c:pt idx="16">
                  <c:v>0.46655096628473647</c:v>
                </c:pt>
                <c:pt idx="17">
                  <c:v>0.46760014387032167</c:v>
                </c:pt>
                <c:pt idx="18">
                  <c:v>0.5300620050340721</c:v>
                </c:pt>
                <c:pt idx="19">
                  <c:v>0.5576490107669639</c:v>
                </c:pt>
                <c:pt idx="20">
                  <c:v>0.5087008818080353</c:v>
                </c:pt>
                <c:pt idx="21">
                  <c:v>0.5025894886974768</c:v>
                </c:pt>
                <c:pt idx="22">
                  <c:v>0.5187762177742283</c:v>
                </c:pt>
                <c:pt idx="23">
                  <c:v>0.5418998045379874</c:v>
                </c:pt>
                <c:pt idx="24">
                  <c:v>0.53474363260114</c:v>
                </c:pt>
                <c:pt idx="25">
                  <c:v>0.5245263600155375</c:v>
                </c:pt>
                <c:pt idx="26">
                  <c:v>0.5024037114073421</c:v>
                </c:pt>
                <c:pt idx="27">
                  <c:v>0.5262905686857766</c:v>
                </c:pt>
                <c:pt idx="28">
                  <c:v>0.5441548670642368</c:v>
                </c:pt>
                <c:pt idx="29">
                  <c:v>0.46811573053118444</c:v>
                </c:pt>
                <c:pt idx="30">
                  <c:v>0.4961739067712147</c:v>
                </c:pt>
                <c:pt idx="31">
                  <c:v>0.5055926369075012</c:v>
                </c:pt>
                <c:pt idx="32">
                  <c:v>0.5125382342083803</c:v>
                </c:pt>
                <c:pt idx="33">
                  <c:v>0.5179839529702549</c:v>
                </c:pt>
                <c:pt idx="34">
                  <c:v>0.5442621201291292</c:v>
                </c:pt>
                <c:pt idx="35">
                  <c:v>0.5358122949308153</c:v>
                </c:pt>
                <c:pt idx="36">
                  <c:v>0.47249516354000376</c:v>
                </c:pt>
                <c:pt idx="37">
                  <c:v>0.4531398727478005</c:v>
                </c:pt>
                <c:pt idx="38">
                  <c:v>0.4700638265083584</c:v>
                </c:pt>
                <c:pt idx="39">
                  <c:v>0.49847841716503055</c:v>
                </c:pt>
                <c:pt idx="40">
                  <c:v>0.4998087152430658</c:v>
                </c:pt>
                <c:pt idx="41">
                  <c:v>0.5506345012369905</c:v>
                </c:pt>
                <c:pt idx="42">
                  <c:v>0.5357311031113581</c:v>
                </c:pt>
                <c:pt idx="43">
                  <c:v>0.6105492202999449</c:v>
                </c:pt>
                <c:pt idx="44">
                  <c:v>0.6167312476839781</c:v>
                </c:pt>
                <c:pt idx="45">
                  <c:v>0.6385251299653493</c:v>
                </c:pt>
                <c:pt idx="46">
                  <c:v>0.5832918012860743</c:v>
                </c:pt>
                <c:pt idx="47">
                  <c:v>0.6051814543499769</c:v>
                </c:pt>
                <c:pt idx="48">
                  <c:v>0.6409394575030692</c:v>
                </c:pt>
                <c:pt idx="49">
                  <c:v>0.6859009648430332</c:v>
                </c:pt>
                <c:pt idx="50">
                  <c:v>0.705529141462167</c:v>
                </c:pt>
                <c:pt idx="51">
                  <c:v>0.6528652377290415</c:v>
                </c:pt>
                <c:pt idx="52">
                  <c:v>0.8023845182191542</c:v>
                </c:pt>
                <c:pt idx="53">
                  <c:v>0.8023845182191542</c:v>
                </c:pt>
                <c:pt idx="54">
                  <c:v>0.6780142115034754</c:v>
                </c:pt>
              </c:numCache>
            </c:numRef>
          </c:xVal>
          <c:yVal>
            <c:numRef>
              <c:f>Sheet1!$B$187:$B$241</c:f>
              <c:numCache>
                <c:formatCode>General</c:formatCode>
                <c:ptCount val="55"/>
                <c:pt idx="0">
                  <c:v>0.14412683681841487</c:v>
                </c:pt>
                <c:pt idx="1">
                  <c:v>0.14226696804656683</c:v>
                </c:pt>
                <c:pt idx="2">
                  <c:v>0.14466558031292223</c:v>
                </c:pt>
                <c:pt idx="3">
                  <c:v>0.14367325241128062</c:v>
                </c:pt>
                <c:pt idx="4">
                  <c:v>0.14542997168020133</c:v>
                </c:pt>
                <c:pt idx="5">
                  <c:v>0.1460696413156998</c:v>
                </c:pt>
                <c:pt idx="6">
                  <c:v>0.1487543592105596</c:v>
                </c:pt>
                <c:pt idx="7">
                  <c:v>0.14500043243222038</c:v>
                </c:pt>
                <c:pt idx="8">
                  <c:v>0.14792818293501978</c:v>
                </c:pt>
                <c:pt idx="9">
                  <c:v>0.1478334160566672</c:v>
                </c:pt>
                <c:pt idx="10">
                  <c:v>0.14575465855946756</c:v>
                </c:pt>
                <c:pt idx="11">
                  <c:v>0.1474204830462837</c:v>
                </c:pt>
                <c:pt idx="12">
                  <c:v>0.14726492480530312</c:v>
                </c:pt>
                <c:pt idx="13">
                  <c:v>0.14499523948739423</c:v>
                </c:pt>
                <c:pt idx="14">
                  <c:v>0.14612103996229414</c:v>
                </c:pt>
                <c:pt idx="15">
                  <c:v>0.14464050497731198</c:v>
                </c:pt>
                <c:pt idx="16">
                  <c:v>0.14278152562018093</c:v>
                </c:pt>
                <c:pt idx="17">
                  <c:v>0.14285656706185443</c:v>
                </c:pt>
                <c:pt idx="18">
                  <c:v>0.1473240930324209</c:v>
                </c:pt>
                <c:pt idx="19">
                  <c:v>0.1492972277143792</c:v>
                </c:pt>
                <c:pt idx="20">
                  <c:v>0.1457962587509126</c:v>
                </c:pt>
                <c:pt idx="21">
                  <c:v>0.14535914709703177</c:v>
                </c:pt>
                <c:pt idx="22">
                  <c:v>0.14651688769556004</c:v>
                </c:pt>
                <c:pt idx="23">
                  <c:v>0.1481707805267217</c:v>
                </c:pt>
                <c:pt idx="24">
                  <c:v>0.14765894204829577</c:v>
                </c:pt>
                <c:pt idx="25">
                  <c:v>0.14692816122021782</c:v>
                </c:pt>
                <c:pt idx="26">
                  <c:v>0.14534585955079227</c:v>
                </c:pt>
                <c:pt idx="27">
                  <c:v>0.14705434458883582</c:v>
                </c:pt>
                <c:pt idx="28">
                  <c:v>0.14833207175649882</c:v>
                </c:pt>
                <c:pt idx="29">
                  <c:v>0.14289344391365755</c:v>
                </c:pt>
                <c:pt idx="30">
                  <c:v>0.14490027862372878</c:v>
                </c:pt>
                <c:pt idx="31">
                  <c:v>0.1455739444529186</c:v>
                </c:pt>
                <c:pt idx="32">
                  <c:v>0.146070721778228</c:v>
                </c:pt>
                <c:pt idx="33">
                  <c:v>0.14646022169936057</c:v>
                </c:pt>
                <c:pt idx="34">
                  <c:v>0.14833974293125896</c:v>
                </c:pt>
                <c:pt idx="35">
                  <c:v>0.14773537711799495</c:v>
                </c:pt>
                <c:pt idx="36">
                  <c:v>0.1432066787475022</c:v>
                </c:pt>
                <c:pt idx="37">
                  <c:v>0.14182230974742802</c:v>
                </c:pt>
                <c:pt idx="38">
                  <c:v>0.14303277964924127</c:v>
                </c:pt>
                <c:pt idx="39">
                  <c:v>0.14506510656580407</c:v>
                </c:pt>
                <c:pt idx="40">
                  <c:v>0.14516025488673925</c:v>
                </c:pt>
                <c:pt idx="41">
                  <c:v>0.14879552150658965</c:v>
                </c:pt>
                <c:pt idx="42">
                  <c:v>0.1477295699493441</c:v>
                </c:pt>
                <c:pt idx="43">
                  <c:v>0.15308086553006048</c:v>
                </c:pt>
                <c:pt idx="44">
                  <c:v>0.15352302923402883</c:v>
                </c:pt>
                <c:pt idx="45">
                  <c:v>0.1550818162006266</c:v>
                </c:pt>
                <c:pt idx="46">
                  <c:v>0.15113130422871152</c:v>
                </c:pt>
                <c:pt idx="47">
                  <c:v>0.15269694111060494</c:v>
                </c:pt>
                <c:pt idx="48">
                  <c:v>0.15525449871080577</c:v>
                </c:pt>
                <c:pt idx="49">
                  <c:v>0.158470328306253</c:v>
                </c:pt>
                <c:pt idx="50">
                  <c:v>0.1598742152088696</c:v>
                </c:pt>
                <c:pt idx="51">
                  <c:v>0.15610747894364135</c:v>
                </c:pt>
                <c:pt idx="52">
                  <c:v>0.16680170508811704</c:v>
                </c:pt>
                <c:pt idx="53">
                  <c:v>0.16680170508811704</c:v>
                </c:pt>
                <c:pt idx="54">
                  <c:v>0.15790623567898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155816435432232"/>
          <c:min val="0.0365875109938434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1.6608</c:v>
                </c:pt>
                <c:pt idx="1">
                  <c:v>833.1724</c:v>
                </c:pt>
                <c:pt idx="2">
                  <c:v>876.9636</c:v>
                </c:pt>
                <c:pt idx="3">
                  <c:v>909.6753</c:v>
                </c:pt>
                <c:pt idx="4">
                  <c:v>906.6294</c:v>
                </c:pt>
                <c:pt idx="5">
                  <c:v>901.9245</c:v>
                </c:pt>
                <c:pt idx="6">
                  <c:v>839.9138</c:v>
                </c:pt>
                <c:pt idx="7">
                  <c:v>861.295</c:v>
                </c:pt>
                <c:pt idx="8">
                  <c:v>875.0061</c:v>
                </c:pt>
                <c:pt idx="9">
                  <c:v>851.8691</c:v>
                </c:pt>
                <c:pt idx="10">
                  <c:v>818.6018</c:v>
                </c:pt>
                <c:pt idx="11">
                  <c:v>864.6667</c:v>
                </c:pt>
                <c:pt idx="12">
                  <c:v>869.2184</c:v>
                </c:pt>
                <c:pt idx="13">
                  <c:v>871.5813</c:v>
                </c:pt>
                <c:pt idx="14">
                  <c:v>897.7844</c:v>
                </c:pt>
                <c:pt idx="15">
                  <c:v>912.0859</c:v>
                </c:pt>
                <c:pt idx="16">
                  <c:v>907.2407</c:v>
                </c:pt>
                <c:pt idx="17">
                  <c:v>903.9505</c:v>
                </c:pt>
                <c:pt idx="18">
                  <c:v>927.8642</c:v>
                </c:pt>
                <c:pt idx="19">
                  <c:v>934.25</c:v>
                </c:pt>
                <c:pt idx="20">
                  <c:v>948.0282</c:v>
                </c:pt>
                <c:pt idx="21">
                  <c:v>980.2115</c:v>
                </c:pt>
                <c:pt idx="22">
                  <c:v>902.9103</c:v>
                </c:pt>
                <c:pt idx="23">
                  <c:v>902.0694</c:v>
                </c:pt>
                <c:pt idx="24">
                  <c:v>960.25</c:v>
                </c:pt>
                <c:pt idx="25">
                  <c:v>913.9053</c:v>
                </c:pt>
                <c:pt idx="26">
                  <c:v>889.4907</c:v>
                </c:pt>
                <c:pt idx="27">
                  <c:v>972.0619</c:v>
                </c:pt>
                <c:pt idx="28">
                  <c:v>957.915</c:v>
                </c:pt>
                <c:pt idx="29">
                  <c:v>909.5625</c:v>
                </c:pt>
                <c:pt idx="30">
                  <c:v>889.2868</c:v>
                </c:pt>
                <c:pt idx="31">
                  <c:v>937.6987</c:v>
                </c:pt>
                <c:pt idx="32">
                  <c:v>907.6286</c:v>
                </c:pt>
                <c:pt idx="33">
                  <c:v>868.4354</c:v>
                </c:pt>
                <c:pt idx="34">
                  <c:v>863.9457</c:v>
                </c:pt>
                <c:pt idx="35">
                  <c:v>928.4051</c:v>
                </c:pt>
                <c:pt idx="36">
                  <c:v>1042.5652</c:v>
                </c:pt>
                <c:pt idx="37">
                  <c:v>1056.2867</c:v>
                </c:pt>
                <c:pt idx="38">
                  <c:v>1099.5</c:v>
                </c:pt>
                <c:pt idx="39">
                  <c:v>1097.0068</c:v>
                </c:pt>
                <c:pt idx="40">
                  <c:v>1087.9153</c:v>
                </c:pt>
                <c:pt idx="41">
                  <c:v>1109.098</c:v>
                </c:pt>
                <c:pt idx="42">
                  <c:v>1129.8621</c:v>
                </c:pt>
                <c:pt idx="43">
                  <c:v>1142.5223</c:v>
                </c:pt>
                <c:pt idx="44">
                  <c:v>1110.1377</c:v>
                </c:pt>
                <c:pt idx="45">
                  <c:v>1066.6309</c:v>
                </c:pt>
                <c:pt idx="46">
                  <c:v>1065.5541</c:v>
                </c:pt>
                <c:pt idx="47">
                  <c:v>1026.8831</c:v>
                </c:pt>
                <c:pt idx="48">
                  <c:v>1026.1837</c:v>
                </c:pt>
                <c:pt idx="49">
                  <c:v>981.8086</c:v>
                </c:pt>
                <c:pt idx="50">
                  <c:v>973.967</c:v>
                </c:pt>
                <c:pt idx="51">
                  <c:v>982.0866</c:v>
                </c:pt>
                <c:pt idx="52">
                  <c:v>1005.25</c:v>
                </c:pt>
                <c:pt idx="53">
                  <c:v>1036.2587</c:v>
                </c:pt>
                <c:pt idx="54">
                  <c:v>1058.3402</c:v>
                </c:pt>
                <c:pt idx="55">
                  <c:v>1076.4715</c:v>
                </c:pt>
                <c:pt idx="56">
                  <c:v>1095.145</c:v>
                </c:pt>
                <c:pt idx="57">
                  <c:v>1094.5314</c:v>
                </c:pt>
                <c:pt idx="58">
                  <c:v>995.5641</c:v>
                </c:pt>
                <c:pt idx="59">
                  <c:v>1007.9104</c:v>
                </c:pt>
                <c:pt idx="60">
                  <c:v>1023.6883</c:v>
                </c:pt>
                <c:pt idx="61">
                  <c:v>1041.693</c:v>
                </c:pt>
                <c:pt idx="62">
                  <c:v>963.2097</c:v>
                </c:pt>
                <c:pt idx="63">
                  <c:v>1015.0717</c:v>
                </c:pt>
                <c:pt idx="64">
                  <c:v>996.221</c:v>
                </c:pt>
                <c:pt idx="65">
                  <c:v>1013.3953</c:v>
                </c:pt>
                <c:pt idx="66">
                  <c:v>1000.2852</c:v>
                </c:pt>
                <c:pt idx="67">
                  <c:v>998.1784</c:v>
                </c:pt>
                <c:pt idx="68">
                  <c:v>1012.8186</c:v>
                </c:pt>
                <c:pt idx="69">
                  <c:v>1020.7208</c:v>
                </c:pt>
                <c:pt idx="70">
                  <c:v>1048.7838</c:v>
                </c:pt>
                <c:pt idx="71">
                  <c:v>1127.9078</c:v>
                </c:pt>
                <c:pt idx="72">
                  <c:v>1213.7651</c:v>
                </c:pt>
                <c:pt idx="73">
                  <c:v>1208.8425</c:v>
                </c:pt>
                <c:pt idx="74">
                  <c:v>1206.7829</c:v>
                </c:pt>
                <c:pt idx="75">
                  <c:v>1172.0068</c:v>
                </c:pt>
                <c:pt idx="76">
                  <c:v>1135.9209</c:v>
                </c:pt>
                <c:pt idx="77">
                  <c:v>1132.0942</c:v>
                </c:pt>
                <c:pt idx="78">
                  <c:v>1167.4605</c:v>
                </c:pt>
                <c:pt idx="79">
                  <c:v>1209.7134</c:v>
                </c:pt>
                <c:pt idx="80">
                  <c:v>1199.8175</c:v>
                </c:pt>
                <c:pt idx="81">
                  <c:v>1159.4545</c:v>
                </c:pt>
                <c:pt idx="82">
                  <c:v>1176.9789</c:v>
                </c:pt>
                <c:pt idx="83">
                  <c:v>1112.418</c:v>
                </c:pt>
                <c:pt idx="84">
                  <c:v>1156.3363</c:v>
                </c:pt>
                <c:pt idx="85">
                  <c:v>1105.0556</c:v>
                </c:pt>
                <c:pt idx="86">
                  <c:v>1091.2536</c:v>
                </c:pt>
                <c:pt idx="87">
                  <c:v>1081.192</c:v>
                </c:pt>
                <c:pt idx="88">
                  <c:v>1166.8235</c:v>
                </c:pt>
                <c:pt idx="89">
                  <c:v>1131.2803</c:v>
                </c:pt>
                <c:pt idx="90">
                  <c:v>1211.8675</c:v>
                </c:pt>
                <c:pt idx="91">
                  <c:v>1233.06</c:v>
                </c:pt>
                <c:pt idx="92">
                  <c:v>1193.8162</c:v>
                </c:pt>
                <c:pt idx="93">
                  <c:v>1177.3467</c:v>
                </c:pt>
                <c:pt idx="94">
                  <c:v>1188.3481</c:v>
                </c:pt>
                <c:pt idx="95">
                  <c:v>1122.3505</c:v>
                </c:pt>
                <c:pt idx="96">
                  <c:v>1055.0124</c:v>
                </c:pt>
                <c:pt idx="97">
                  <c:v>1065.0056</c:v>
                </c:pt>
                <c:pt idx="98">
                  <c:v>1072.4196</c:v>
                </c:pt>
                <c:pt idx="99">
                  <c:v>1027.5087</c:v>
                </c:pt>
                <c:pt idx="100">
                  <c:v>1056.4974</c:v>
                </c:pt>
                <c:pt idx="101">
                  <c:v>1045.144</c:v>
                </c:pt>
                <c:pt idx="102">
                  <c:v>1027.6907</c:v>
                </c:pt>
                <c:pt idx="103">
                  <c:v>1037.0742</c:v>
                </c:pt>
                <c:pt idx="104">
                  <c:v>1049.2619</c:v>
                </c:pt>
              </c:numCache>
            </c:numRef>
          </c:xVal>
          <c:yVal>
            <c:numRef>
              <c:f>Sheet1!$B$2:$B$106</c:f>
              <c:numCache>
                <c:formatCode>General</c:formatCode>
                <c:ptCount val="105"/>
                <c:pt idx="0">
                  <c:v>0.11593027969193352</c:v>
                </c:pt>
                <c:pt idx="1">
                  <c:v>0.10555050045495905</c:v>
                </c:pt>
                <c:pt idx="2">
                  <c:v>0.10715835140997831</c:v>
                </c:pt>
                <c:pt idx="3">
                  <c:v>0.1043360433604336</c:v>
                </c:pt>
                <c:pt idx="4">
                  <c:v>0.11374133949191687</c:v>
                </c:pt>
                <c:pt idx="5">
                  <c:v>0.12990196078431374</c:v>
                </c:pt>
                <c:pt idx="6">
                  <c:v>0.14043583535108958</c:v>
                </c:pt>
                <c:pt idx="7">
                  <c:v>0.14245014245014245</c:v>
                </c:pt>
                <c:pt idx="8">
                  <c:v>0.14137033824804857</c:v>
                </c:pt>
                <c:pt idx="9">
                  <c:v>0.12042875157629256</c:v>
                </c:pt>
                <c:pt idx="10">
                  <c:v>0.1338862559241706</c:v>
                </c:pt>
                <c:pt idx="11">
                  <c:v>0.11978221415607986</c:v>
                </c:pt>
                <c:pt idx="12">
                  <c:v>0.11818703384968446</c:v>
                </c:pt>
                <c:pt idx="13">
                  <c:v>0.11334450027917364</c:v>
                </c:pt>
                <c:pt idx="14">
                  <c:v>0.09451046972269384</c:v>
                </c:pt>
                <c:pt idx="15">
                  <c:v>0.08025078369905957</c:v>
                </c:pt>
                <c:pt idx="16">
                  <c:v>0.08352668213457076</c:v>
                </c:pt>
                <c:pt idx="17">
                  <c:v>0.0739385065885798</c:v>
                </c:pt>
                <c:pt idx="18">
                  <c:v>0.05899490167516387</c:v>
                </c:pt>
                <c:pt idx="19">
                  <c:v>0.051194539249146756</c:v>
                </c:pt>
                <c:pt idx="20">
                  <c:v>0.048730267673301304</c:v>
                </c:pt>
                <c:pt idx="21">
                  <c:v>0.04573438874230431</c:v>
                </c:pt>
                <c:pt idx="22">
                  <c:v>0.06419753086419754</c:v>
                </c:pt>
                <c:pt idx="23">
                  <c:v>0.06050420168067227</c:v>
                </c:pt>
                <c:pt idx="24">
                  <c:v>0.06886657101865136</c:v>
                </c:pt>
                <c:pt idx="25">
                  <c:v>0.08275261324041812</c:v>
                </c:pt>
                <c:pt idx="26">
                  <c:v>0.09642857142857143</c:v>
                </c:pt>
                <c:pt idx="27">
                  <c:v>0.09592529711375213</c:v>
                </c:pt>
                <c:pt idx="28">
                  <c:v>0.13178294573643412</c:v>
                </c:pt>
                <c:pt idx="29">
                  <c:v>0.14275092936802974</c:v>
                </c:pt>
                <c:pt idx="30">
                  <c:v>0.12609970674486803</c:v>
                </c:pt>
                <c:pt idx="31">
                  <c:v>0.14606741573033707</c:v>
                </c:pt>
                <c:pt idx="32">
                  <c:v>0.15021459227467812</c:v>
                </c:pt>
                <c:pt idx="33">
                  <c:v>0.14554317548746518</c:v>
                </c:pt>
                <c:pt idx="34">
                  <c:v>0.13864491844416563</c:v>
                </c:pt>
                <c:pt idx="35">
                  <c:v>0.12540192926045016</c:v>
                </c:pt>
                <c:pt idx="36">
                  <c:v>0.13372093023255813</c:v>
                </c:pt>
                <c:pt idx="37">
                  <c:v>0.12380952380952381</c:v>
                </c:pt>
                <c:pt idx="38">
                  <c:v>0.13157894736842105</c:v>
                </c:pt>
                <c:pt idx="39">
                  <c:v>0.13291139240506328</c:v>
                </c:pt>
                <c:pt idx="40">
                  <c:v>0.1254429482636428</c:v>
                </c:pt>
                <c:pt idx="41">
                  <c:v>0.11643835616438356</c:v>
                </c:pt>
                <c:pt idx="42">
                  <c:v>0.11788617886178862</c:v>
                </c:pt>
                <c:pt idx="43">
                  <c:v>0.10142118863049096</c:v>
                </c:pt>
                <c:pt idx="44">
                  <c:v>0.11932367149758454</c:v>
                </c:pt>
                <c:pt idx="45">
                  <c:v>0.14792176039119803</c:v>
                </c:pt>
                <c:pt idx="46">
                  <c:v>0.13205574912891985</c:v>
                </c:pt>
                <c:pt idx="47">
                  <c:v>0.13542033063665143</c:v>
                </c:pt>
                <c:pt idx="48">
                  <c:v>0.13924410343847685</c:v>
                </c:pt>
                <c:pt idx="49">
                  <c:v>0.13941076003415884</c:v>
                </c:pt>
                <c:pt idx="50">
                  <c:v>0.1264236902050114</c:v>
                </c:pt>
                <c:pt idx="51">
                  <c:v>0.12278368794326242</c:v>
                </c:pt>
                <c:pt idx="52">
                  <c:v>0.11369095276220977</c:v>
                </c:pt>
                <c:pt idx="53">
                  <c:v>0.10239429444727458</c:v>
                </c:pt>
                <c:pt idx="54">
                  <c:v>0.1189663578742077</c:v>
                </c:pt>
                <c:pt idx="55">
                  <c:v>0.10200845665961945</c:v>
                </c:pt>
                <c:pt idx="56">
                  <c:v>0.10362694300518134</c:v>
                </c:pt>
                <c:pt idx="57">
                  <c:v>0.10660124888492417</c:v>
                </c:pt>
                <c:pt idx="58">
                  <c:v>0.12084993359893759</c:v>
                </c:pt>
                <c:pt idx="59">
                  <c:v>0.1141785957736878</c:v>
                </c:pt>
                <c:pt idx="60">
                  <c:v>0.12073696589572716</c:v>
                </c:pt>
                <c:pt idx="61">
                  <c:v>0.1224373576309795</c:v>
                </c:pt>
                <c:pt idx="62">
                  <c:v>0.15255905511811024</c:v>
                </c:pt>
                <c:pt idx="63">
                  <c:v>0.1418403660396543</c:v>
                </c:pt>
                <c:pt idx="64">
                  <c:v>0.14375</c:v>
                </c:pt>
                <c:pt idx="65">
                  <c:v>0.14365256124721604</c:v>
                </c:pt>
                <c:pt idx="66">
                  <c:v>0.1461111111111111</c:v>
                </c:pt>
                <c:pt idx="67">
                  <c:v>0.13532401524777637</c:v>
                </c:pt>
                <c:pt idx="68">
                  <c:v>0.13691275167785236</c:v>
                </c:pt>
                <c:pt idx="69">
                  <c:v>0.12801330008312553</c:v>
                </c:pt>
                <c:pt idx="70">
                  <c:v>0.12261806130903065</c:v>
                </c:pt>
                <c:pt idx="71">
                  <c:v>0.1251109139307897</c:v>
                </c:pt>
                <c:pt idx="72">
                  <c:v>0.11760063141278611</c:v>
                </c:pt>
                <c:pt idx="73">
                  <c:v>0.1055694098088113</c:v>
                </c:pt>
                <c:pt idx="74">
                  <c:v>0.11710323574730354</c:v>
                </c:pt>
                <c:pt idx="75">
                  <c:v>0.12985865724381626</c:v>
                </c:pt>
                <c:pt idx="76">
                  <c:v>0.13378248315688163</c:v>
                </c:pt>
                <c:pt idx="77">
                  <c:v>0.13437195715676728</c:v>
                </c:pt>
                <c:pt idx="78">
                  <c:v>0.14901960784313725</c:v>
                </c:pt>
                <c:pt idx="79">
                  <c:v>0.1423611111111111</c:v>
                </c:pt>
                <c:pt idx="80">
                  <c:v>0.12398190045248869</c:v>
                </c:pt>
                <c:pt idx="81">
                  <c:v>0.13524590163934427</c:v>
                </c:pt>
                <c:pt idx="82">
                  <c:v>0.1347248576850095</c:v>
                </c:pt>
                <c:pt idx="83">
                  <c:v>0.13304252998909488</c:v>
                </c:pt>
                <c:pt idx="84">
                  <c:v>0.13093858632676708</c:v>
                </c:pt>
                <c:pt idx="85">
                  <c:v>0.15428571428571428</c:v>
                </c:pt>
                <c:pt idx="86">
                  <c:v>0.15678919729932483</c:v>
                </c:pt>
                <c:pt idx="87">
                  <c:v>0.17568517217146873</c:v>
                </c:pt>
                <c:pt idx="88">
                  <c:v>0.15423387096774194</c:v>
                </c:pt>
                <c:pt idx="89">
                  <c:v>0.17139737991266377</c:v>
                </c:pt>
                <c:pt idx="90">
                  <c:v>0.1571279916753382</c:v>
                </c:pt>
                <c:pt idx="91">
                  <c:v>0.1488095238095238</c:v>
                </c:pt>
                <c:pt idx="92">
                  <c:v>0.15339966832504145</c:v>
                </c:pt>
                <c:pt idx="93">
                  <c:v>0.16459884201819686</c:v>
                </c:pt>
                <c:pt idx="94">
                  <c:v>0.17633928571428573</c:v>
                </c:pt>
                <c:pt idx="95">
                  <c:v>0.15340501792114694</c:v>
                </c:pt>
                <c:pt idx="96">
                  <c:v>0.16061660865241173</c:v>
                </c:pt>
                <c:pt idx="97">
                  <c:v>0.16419981498612396</c:v>
                </c:pt>
                <c:pt idx="98">
                  <c:v>0.1484520701230884</c:v>
                </c:pt>
                <c:pt idx="99">
                  <c:v>0.13754093480202442</c:v>
                </c:pt>
                <c:pt idx="100">
                  <c:v>0.1366299507850949</c:v>
                </c:pt>
                <c:pt idx="101">
                  <c:v>0.14580152671755725</c:v>
                </c:pt>
                <c:pt idx="102">
                  <c:v>0.1480916030534351</c:v>
                </c:pt>
                <c:pt idx="103">
                  <c:v>0.13771657041314972</c:v>
                </c:pt>
                <c:pt idx="104">
                  <c:v>0.13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4.052</c:v>
                </c:pt>
                <c:pt idx="1">
                  <c:v>1099.9259</c:v>
                </c:pt>
                <c:pt idx="2">
                  <c:v>1138.9052</c:v>
                </c:pt>
                <c:pt idx="3">
                  <c:v>1122.3856</c:v>
                </c:pt>
                <c:pt idx="4">
                  <c:v>1194.5164</c:v>
                </c:pt>
                <c:pt idx="5">
                  <c:v>1193.3629</c:v>
                </c:pt>
                <c:pt idx="6">
                  <c:v>1103.3167</c:v>
                </c:pt>
                <c:pt idx="7">
                  <c:v>1097.5582</c:v>
                </c:pt>
                <c:pt idx="8">
                  <c:v>1200.492</c:v>
                </c:pt>
                <c:pt idx="9">
                  <c:v>1148.0</c:v>
                </c:pt>
                <c:pt idx="10">
                  <c:v>1112.5983</c:v>
                </c:pt>
                <c:pt idx="11">
                  <c:v>977.7425</c:v>
                </c:pt>
                <c:pt idx="12">
                  <c:v>1039.2105</c:v>
                </c:pt>
                <c:pt idx="13">
                  <c:v>1094.6</c:v>
                </c:pt>
                <c:pt idx="14">
                  <c:v>1111.574</c:v>
                </c:pt>
                <c:pt idx="15">
                  <c:v>1118.3762</c:v>
                </c:pt>
                <c:pt idx="16">
                  <c:v>1137.9451</c:v>
                </c:pt>
                <c:pt idx="17">
                  <c:v>1091.1404</c:v>
                </c:pt>
                <c:pt idx="18">
                  <c:v>1208.7852</c:v>
                </c:pt>
                <c:pt idx="19">
                  <c:v>1317.4638</c:v>
                </c:pt>
                <c:pt idx="20">
                  <c:v>1300.1983</c:v>
                </c:pt>
                <c:pt idx="21">
                  <c:v>1248.7739</c:v>
                </c:pt>
                <c:pt idx="22">
                  <c:v>1259.0345</c:v>
                </c:pt>
                <c:pt idx="23">
                  <c:v>1261.9709</c:v>
                </c:pt>
                <c:pt idx="24">
                  <c:v>1256.2014</c:v>
                </c:pt>
                <c:pt idx="25">
                  <c:v>1157.9221</c:v>
                </c:pt>
                <c:pt idx="26">
                  <c:v>1162.4706</c:v>
                </c:pt>
                <c:pt idx="27">
                  <c:v>1182.9581</c:v>
                </c:pt>
                <c:pt idx="28">
                  <c:v>1248.9313</c:v>
                </c:pt>
                <c:pt idx="29">
                  <c:v>1214.7687</c:v>
                </c:pt>
                <c:pt idx="30">
                  <c:v>1213.4178</c:v>
                </c:pt>
                <c:pt idx="31">
                  <c:v>1235.9844</c:v>
                </c:pt>
                <c:pt idx="32">
                  <c:v>1228.7566</c:v>
                </c:pt>
                <c:pt idx="33">
                  <c:v>1221.6161</c:v>
                </c:pt>
                <c:pt idx="34">
                  <c:v>1226.0036</c:v>
                </c:pt>
                <c:pt idx="35">
                  <c:v>1276.73</c:v>
                </c:pt>
                <c:pt idx="36">
                  <c:v>1289.9083</c:v>
                </c:pt>
                <c:pt idx="37">
                  <c:v>1256.3206</c:v>
                </c:pt>
                <c:pt idx="38">
                  <c:v>1272.8652</c:v>
                </c:pt>
                <c:pt idx="39">
                  <c:v>1246.1282</c:v>
                </c:pt>
                <c:pt idx="40">
                  <c:v>1285.2875</c:v>
                </c:pt>
                <c:pt idx="41">
                  <c:v>1348.5529</c:v>
                </c:pt>
                <c:pt idx="42">
                  <c:v>1335.098</c:v>
                </c:pt>
                <c:pt idx="43">
                  <c:v>1329.2228</c:v>
                </c:pt>
                <c:pt idx="44">
                  <c:v>1252.2242</c:v>
                </c:pt>
                <c:pt idx="45">
                  <c:v>1194.8148</c:v>
                </c:pt>
                <c:pt idx="46">
                  <c:v>1175.5145</c:v>
                </c:pt>
                <c:pt idx="47">
                  <c:v>1161.2485</c:v>
                </c:pt>
                <c:pt idx="48">
                  <c:v>1175.2994</c:v>
                </c:pt>
                <c:pt idx="49">
                  <c:v>1197.2092</c:v>
                </c:pt>
                <c:pt idx="50">
                  <c:v>1164.1252</c:v>
                </c:pt>
                <c:pt idx="51">
                  <c:v>1129.1239</c:v>
                </c:pt>
              </c:numCache>
            </c:numRef>
          </c:xVal>
          <c:yVal>
            <c:numRef>
              <c:f>Sheet1!$B$109:$B$160</c:f>
              <c:numCache>
                <c:formatCode>General</c:formatCode>
                <c:ptCount val="52"/>
                <c:pt idx="0">
                  <c:v>0.1337642963699652</c:v>
                </c:pt>
                <c:pt idx="1">
                  <c:v>0.13351648351648351</c:v>
                </c:pt>
                <c:pt idx="2">
                  <c:v>0.14339268978444236</c:v>
                </c:pt>
                <c:pt idx="3">
                  <c:v>0.1560665362035225</c:v>
                </c:pt>
                <c:pt idx="4">
                  <c:v>0.12616339193381593</c:v>
                </c:pt>
                <c:pt idx="5">
                  <c:v>0.13093980992608237</c:v>
                </c:pt>
                <c:pt idx="6">
                  <c:v>0.14591356439880188</c:v>
                </c:pt>
                <c:pt idx="7">
                  <c:v>0.17237308146399055</c:v>
                </c:pt>
                <c:pt idx="8">
                  <c:v>0.1401799100449775</c:v>
                </c:pt>
                <c:pt idx="9">
                  <c:v>0.15161957270847692</c:v>
                </c:pt>
                <c:pt idx="10">
                  <c:v>0.16494133885438234</c:v>
                </c:pt>
                <c:pt idx="11">
                  <c:v>0.16766192007349565</c:v>
                </c:pt>
                <c:pt idx="12">
                  <c:v>0.15966386554621848</c:v>
                </c:pt>
                <c:pt idx="13">
                  <c:v>0.1448321263989467</c:v>
                </c:pt>
                <c:pt idx="14">
                  <c:v>0.15170068027210884</c:v>
                </c:pt>
                <c:pt idx="15">
                  <c:v>0.16380655226209048</c:v>
                </c:pt>
                <c:pt idx="16">
                  <c:v>0.1476147614761476</c:v>
                </c:pt>
                <c:pt idx="17">
                  <c:v>0.1613780598368087</c:v>
                </c:pt>
                <c:pt idx="18">
                  <c:v>0.14163498098859315</c:v>
                </c:pt>
                <c:pt idx="19">
                  <c:v>0.12376681614349776</c:v>
                </c:pt>
                <c:pt idx="20">
                  <c:v>0.11224489795918367</c:v>
                </c:pt>
                <c:pt idx="21">
                  <c:v>0.12092534174553102</c:v>
                </c:pt>
                <c:pt idx="22">
                  <c:v>0.11350293542074363</c:v>
                </c:pt>
                <c:pt idx="23">
                  <c:v>0.10640495867768596</c:v>
                </c:pt>
                <c:pt idx="24">
                  <c:v>0.12698412698412698</c:v>
                </c:pt>
                <c:pt idx="25">
                  <c:v>0.1485053037608486</c:v>
                </c:pt>
                <c:pt idx="26">
                  <c:v>0.13503971756398941</c:v>
                </c:pt>
                <c:pt idx="27">
                  <c:v>0.1377887788778878</c:v>
                </c:pt>
                <c:pt idx="28">
                  <c:v>0.12057272042200452</c:v>
                </c:pt>
                <c:pt idx="29">
                  <c:v>0.1337579617834395</c:v>
                </c:pt>
                <c:pt idx="30">
                  <c:v>0.14147286821705427</c:v>
                </c:pt>
                <c:pt idx="31">
                  <c:v>0.13559322033898305</c:v>
                </c:pt>
                <c:pt idx="32">
                  <c:v>0.1357142857142857</c:v>
                </c:pt>
                <c:pt idx="33">
                  <c:v>0.16398243045387995</c:v>
                </c:pt>
                <c:pt idx="34">
                  <c:v>0.16798059429957551</c:v>
                </c:pt>
                <c:pt idx="35">
                  <c:v>0.16750418760469013</c:v>
                </c:pt>
                <c:pt idx="36">
                  <c:v>0.16216216216216217</c:v>
                </c:pt>
                <c:pt idx="37">
                  <c:v>0.15466351829988192</c:v>
                </c:pt>
                <c:pt idx="38">
                  <c:v>0.1688622754491018</c:v>
                </c:pt>
                <c:pt idx="39">
                  <c:v>0.14971209213051823</c:v>
                </c:pt>
                <c:pt idx="40">
                  <c:v>0.15399422521655437</c:v>
                </c:pt>
                <c:pt idx="41">
                  <c:v>0.1528776978417266</c:v>
                </c:pt>
                <c:pt idx="42">
                  <c:v>0.1513353115727003</c:v>
                </c:pt>
                <c:pt idx="43">
                  <c:v>0.1320109439124487</c:v>
                </c:pt>
                <c:pt idx="44">
                  <c:v>0.13765432098765432</c:v>
                </c:pt>
                <c:pt idx="45">
                  <c:v>0.15045592705167174</c:v>
                </c:pt>
                <c:pt idx="46">
                  <c:v>0.18463180362860193</c:v>
                </c:pt>
                <c:pt idx="47">
                  <c:v>0.17290192113245703</c:v>
                </c:pt>
                <c:pt idx="48">
                  <c:v>0.17404129793510326</c:v>
                </c:pt>
                <c:pt idx="49">
                  <c:v>0.16652506372132542</c:v>
                </c:pt>
                <c:pt idx="50">
                  <c:v>0.16513497989661113</c:v>
                </c:pt>
                <c:pt idx="51">
                  <c:v>0.16150547879942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8.2562988959995</c:v>
                </c:pt>
              </c:numCache>
            </c:numRef>
          </c:xVal>
          <c:yVal>
            <c:numRef>
              <c:f>Sheet1!$B$163:$B$164</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8.2562988959995</c:v>
                </c:pt>
                <c:pt idx="1">
                  <c:v>948.2562988959995</c:v>
                </c:pt>
              </c:numCache>
            </c:numRef>
          </c:xVal>
          <c:yVal>
            <c:numRef>
              <c:f>Sheet1!$B$167:$B$168</c:f>
              <c:numCache>
                <c:formatCode>General</c:formatCode>
                <c:ptCount val="2"/>
                <c:pt idx="0">
                  <c:v>0.166801705088117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48.2562988959995</c:v>
                </c:pt>
              </c:numCache>
            </c:numRef>
          </c:xVal>
          <c:yVal>
            <c:numRef>
              <c:f>Sheet1!$B$171:$B$172</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48.2562988959995</c:v>
                </c:pt>
                <c:pt idx="1">
                  <c:v>948.2562988959995</c:v>
                </c:pt>
              </c:numCache>
            </c:numRef>
          </c:xVal>
          <c:yVal>
            <c:numRef>
              <c:f>Sheet1!$B$175:$B$176</c:f>
              <c:numCache>
                <c:formatCode>General</c:formatCode>
                <c:ptCount val="2"/>
                <c:pt idx="0">
                  <c:v>0.16680170508811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61.503725795386</c:v>
                </c:pt>
              </c:numCache>
            </c:numRef>
          </c:xVal>
          <c:yVal>
            <c:numRef>
              <c:f>Sheet1!$B$179:$B$180</c:f>
              <c:numCache>
                <c:formatCode>General</c:formatCode>
                <c:ptCount val="2"/>
                <c:pt idx="0">
                  <c:v>0.1579062356789847</c:v>
                </c:pt>
                <c:pt idx="1">
                  <c:v>0.15790623567898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61.503725795386</c:v>
                </c:pt>
                <c:pt idx="1">
                  <c:v>1061.503725795386</c:v>
                </c:pt>
              </c:numCache>
            </c:numRef>
          </c:xVal>
          <c:yVal>
            <c:numRef>
              <c:f>Sheet1!$B$183:$B$184</c:f>
              <c:numCache>
                <c:formatCode>General</c:formatCode>
                <c:ptCount val="2"/>
                <c:pt idx="0">
                  <c:v>0.15790623567898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4.052</c:v>
                </c:pt>
                <c:pt idx="1">
                  <c:v>1099.9259</c:v>
                </c:pt>
                <c:pt idx="2">
                  <c:v>1138.9052</c:v>
                </c:pt>
                <c:pt idx="3">
                  <c:v>1122.3856</c:v>
                </c:pt>
                <c:pt idx="4">
                  <c:v>1194.5164</c:v>
                </c:pt>
                <c:pt idx="5">
                  <c:v>1193.3629</c:v>
                </c:pt>
                <c:pt idx="6">
                  <c:v>1103.3167</c:v>
                </c:pt>
                <c:pt idx="7">
                  <c:v>1097.5582</c:v>
                </c:pt>
                <c:pt idx="8">
                  <c:v>1200.492</c:v>
                </c:pt>
                <c:pt idx="9">
                  <c:v>1148.0</c:v>
                </c:pt>
                <c:pt idx="10">
                  <c:v>1112.5983</c:v>
                </c:pt>
                <c:pt idx="11">
                  <c:v>977.7425</c:v>
                </c:pt>
                <c:pt idx="12">
                  <c:v>1039.2105</c:v>
                </c:pt>
                <c:pt idx="13">
                  <c:v>1094.6</c:v>
                </c:pt>
                <c:pt idx="14">
                  <c:v>1111.574</c:v>
                </c:pt>
                <c:pt idx="15">
                  <c:v>1118.3762</c:v>
                </c:pt>
                <c:pt idx="16">
                  <c:v>1137.9451</c:v>
                </c:pt>
                <c:pt idx="17">
                  <c:v>1091.1404</c:v>
                </c:pt>
                <c:pt idx="18">
                  <c:v>1208.7852</c:v>
                </c:pt>
                <c:pt idx="19">
                  <c:v>1317.4638</c:v>
                </c:pt>
                <c:pt idx="20">
                  <c:v>1300.1983</c:v>
                </c:pt>
                <c:pt idx="21">
                  <c:v>1248.7739</c:v>
                </c:pt>
                <c:pt idx="22">
                  <c:v>1259.0345</c:v>
                </c:pt>
                <c:pt idx="23">
                  <c:v>1261.9709</c:v>
                </c:pt>
                <c:pt idx="24">
                  <c:v>1256.2014</c:v>
                </c:pt>
                <c:pt idx="25">
                  <c:v>1157.9221</c:v>
                </c:pt>
                <c:pt idx="26">
                  <c:v>1162.4706</c:v>
                </c:pt>
                <c:pt idx="27">
                  <c:v>1182.9581</c:v>
                </c:pt>
                <c:pt idx="28">
                  <c:v>1248.9313</c:v>
                </c:pt>
                <c:pt idx="29">
                  <c:v>1214.7687</c:v>
                </c:pt>
                <c:pt idx="30">
                  <c:v>1213.4178</c:v>
                </c:pt>
                <c:pt idx="31">
                  <c:v>1235.9844</c:v>
                </c:pt>
                <c:pt idx="32">
                  <c:v>1228.7566</c:v>
                </c:pt>
                <c:pt idx="33">
                  <c:v>1221.6161</c:v>
                </c:pt>
                <c:pt idx="34">
                  <c:v>1226.0036</c:v>
                </c:pt>
                <c:pt idx="35">
                  <c:v>1276.73</c:v>
                </c:pt>
                <c:pt idx="36">
                  <c:v>1289.9083</c:v>
                </c:pt>
                <c:pt idx="37">
                  <c:v>1256.3206</c:v>
                </c:pt>
                <c:pt idx="38">
                  <c:v>1272.8652</c:v>
                </c:pt>
                <c:pt idx="39">
                  <c:v>1246.1282</c:v>
                </c:pt>
                <c:pt idx="40">
                  <c:v>1285.2875</c:v>
                </c:pt>
                <c:pt idx="41">
                  <c:v>1348.5529</c:v>
                </c:pt>
                <c:pt idx="42">
                  <c:v>1335.098</c:v>
                </c:pt>
                <c:pt idx="43">
                  <c:v>1329.2228</c:v>
                </c:pt>
                <c:pt idx="44">
                  <c:v>1252.2242</c:v>
                </c:pt>
                <c:pt idx="45">
                  <c:v>1194.8148</c:v>
                </c:pt>
                <c:pt idx="46">
                  <c:v>1175.5145</c:v>
                </c:pt>
                <c:pt idx="47">
                  <c:v>1161.2485</c:v>
                </c:pt>
                <c:pt idx="48">
                  <c:v>1175.2994</c:v>
                </c:pt>
                <c:pt idx="49">
                  <c:v>1197.2092</c:v>
                </c:pt>
                <c:pt idx="50">
                  <c:v>1164.1252</c:v>
                </c:pt>
                <c:pt idx="51">
                  <c:v>1129.1239</c:v>
                </c:pt>
                <c:pt idx="52">
                  <c:v>948.2562988959995</c:v>
                </c:pt>
                <c:pt idx="53">
                  <c:v>948.2562988959995</c:v>
                </c:pt>
                <c:pt idx="54">
                  <c:v>1061.503725795386</c:v>
                </c:pt>
              </c:numCache>
            </c:numRef>
          </c:xVal>
          <c:yVal>
            <c:numRef>
              <c:f>Sheet1!$B$187:$B$241</c:f>
              <c:numCache>
                <c:formatCode>General</c:formatCode>
                <c:ptCount val="55"/>
                <c:pt idx="0">
                  <c:v>0.15456411231281958</c:v>
                </c:pt>
                <c:pt idx="1">
                  <c:v>0.15488821324238533</c:v>
                </c:pt>
                <c:pt idx="2">
                  <c:v>0.15182642914509675</c:v>
                </c:pt>
                <c:pt idx="3">
                  <c:v>0.1531240268077938</c:v>
                </c:pt>
                <c:pt idx="4">
                  <c:v>0.14745822633511468</c:v>
                </c:pt>
                <c:pt idx="5">
                  <c:v>0.1475488325788446</c:v>
                </c:pt>
                <c:pt idx="6">
                  <c:v>0.15462186937481748</c:v>
                </c:pt>
                <c:pt idx="7">
                  <c:v>0.15507419365268388</c:v>
                </c:pt>
                <c:pt idx="8">
                  <c:v>0.1469888490745749</c:v>
                </c:pt>
                <c:pt idx="9">
                  <c:v>0.1511120419188505</c:v>
                </c:pt>
                <c:pt idx="10">
                  <c:v>0.1538928091998684</c:v>
                </c:pt>
                <c:pt idx="11">
                  <c:v>0.16448559418746767</c:v>
                </c:pt>
                <c:pt idx="12">
                  <c:v>0.15965734573528578</c:v>
                </c:pt>
                <c:pt idx="13">
                  <c:v>0.15530655723326636</c:v>
                </c:pt>
                <c:pt idx="14">
                  <c:v>0.1539732669159088</c:v>
                </c:pt>
                <c:pt idx="15">
                  <c:v>0.1534389610718691</c:v>
                </c:pt>
                <c:pt idx="16">
                  <c:v>0.15190184401688273</c:v>
                </c:pt>
                <c:pt idx="17">
                  <c:v>0.15557830527037783</c:v>
                </c:pt>
                <c:pt idx="18">
                  <c:v>0.14633742670743044</c:v>
                </c:pt>
                <c:pt idx="19">
                  <c:v>0.13780083397242532</c:v>
                </c:pt>
                <c:pt idx="20">
                  <c:v>0.13915702131626512</c:v>
                </c:pt>
                <c:pt idx="21">
                  <c:v>0.14319635527384278</c:v>
                </c:pt>
                <c:pt idx="22">
                  <c:v>0.14239039565146272</c:v>
                </c:pt>
                <c:pt idx="23">
                  <c:v>0.1421597444385554</c:v>
                </c:pt>
                <c:pt idx="24">
                  <c:v>0.14261293275515696</c:v>
                </c:pt>
                <c:pt idx="25">
                  <c:v>0.15033267112482118</c:v>
                </c:pt>
                <c:pt idx="26">
                  <c:v>0.14997539110782454</c:v>
                </c:pt>
                <c:pt idx="27">
                  <c:v>0.14836611896355312</c:v>
                </c:pt>
                <c:pt idx="28">
                  <c:v>0.14318399166503215</c:v>
                </c:pt>
                <c:pt idx="29">
                  <c:v>0.1458674289099809</c:v>
                </c:pt>
                <c:pt idx="30">
                  <c:v>0.1459735407215585</c:v>
                </c:pt>
                <c:pt idx="31">
                  <c:v>0.14420095740144057</c:v>
                </c:pt>
                <c:pt idx="32">
                  <c:v>0.14476869368963413</c:v>
                </c:pt>
                <c:pt idx="33">
                  <c:v>0.14532957265222934</c:v>
                </c:pt>
                <c:pt idx="34">
                  <c:v>0.1449849390203567</c:v>
                </c:pt>
                <c:pt idx="35">
                  <c:v>0.14100043224797498</c:v>
                </c:pt>
                <c:pt idx="36">
                  <c:v>0.1399652902785374</c:v>
                </c:pt>
                <c:pt idx="37">
                  <c:v>0.14260356971722665</c:v>
                </c:pt>
                <c:pt idx="38">
                  <c:v>0.14130400833013143</c:v>
                </c:pt>
                <c:pt idx="39">
                  <c:v>0.14340417229944857</c:v>
                </c:pt>
                <c:pt idx="40">
                  <c:v>0.14032824938649346</c:v>
                </c:pt>
                <c:pt idx="41">
                  <c:v>0.13535881700498326</c:v>
                </c:pt>
                <c:pt idx="42">
                  <c:v>0.1364156856211618</c:v>
                </c:pt>
                <c:pt idx="43">
                  <c:v>0.13687717656451864</c:v>
                </c:pt>
                <c:pt idx="44">
                  <c:v>0.1429253377422074</c:v>
                </c:pt>
                <c:pt idx="45">
                  <c:v>0.14743478732069853</c:v>
                </c:pt>
                <c:pt idx="46">
                  <c:v>0.14895080612075134</c:v>
                </c:pt>
                <c:pt idx="47">
                  <c:v>0.15007138581130297</c:v>
                </c:pt>
                <c:pt idx="48">
                  <c:v>0.14896770200547288</c:v>
                </c:pt>
                <c:pt idx="49">
                  <c:v>0.14724670965274278</c:v>
                </c:pt>
                <c:pt idx="50">
                  <c:v>0.14984542397225842</c:v>
                </c:pt>
                <c:pt idx="51">
                  <c:v>0.15259474024331576</c:v>
                </c:pt>
                <c:pt idx="52">
                  <c:v>0.16680170508811704</c:v>
                </c:pt>
                <c:pt idx="53">
                  <c:v>0.16680170508811704</c:v>
                </c:pt>
                <c:pt idx="54">
                  <c:v>0.15790623567898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8.0"/>
          <c:min val="5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155816435432232"/>
          <c:min val="0.0365875109938434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1524255955169994</c:v>
                </c:pt>
                <c:pt idx="1">
                  <c:v>0.38411937416711633</c:v>
                </c:pt>
                <c:pt idx="2">
                  <c:v>0.39483809480415627</c:v>
                </c:pt>
                <c:pt idx="3">
                  <c:v>0.39225534882308993</c:v>
                </c:pt>
                <c:pt idx="4">
                  <c:v>0.4434097899417908</c:v>
                </c:pt>
                <c:pt idx="5">
                  <c:v>0.4285403951425679</c:v>
                </c:pt>
                <c:pt idx="6">
                  <c:v>0.3551865840716722</c:v>
                </c:pt>
                <c:pt idx="7">
                  <c:v>0.3868160052484764</c:v>
                </c:pt>
                <c:pt idx="8">
                  <c:v>0.3618023635908125</c:v>
                </c:pt>
                <c:pt idx="9">
                  <c:v>0.38935191966965815</c:v>
                </c:pt>
                <c:pt idx="10">
                  <c:v>0.40572206622602686</c:v>
                </c:pt>
                <c:pt idx="11">
                  <c:v>0.37917741599517624</c:v>
                </c:pt>
                <c:pt idx="12">
                  <c:v>0.3431420455617616</c:v>
                </c:pt>
                <c:pt idx="13">
                  <c:v>0.33779785643360594</c:v>
                </c:pt>
                <c:pt idx="14">
                  <c:v>0.2926482884390085</c:v>
                </c:pt>
                <c:pt idx="15">
                  <c:v>0.27052286997614494</c:v>
                </c:pt>
                <c:pt idx="16">
                  <c:v>0.34496499933458813</c:v>
                </c:pt>
                <c:pt idx="17">
                  <c:v>0.36609603856725165</c:v>
                </c:pt>
                <c:pt idx="18">
                  <c:v>0.369250200560459</c:v>
                </c:pt>
                <c:pt idx="19">
                  <c:v>0.37054451700211344</c:v>
                </c:pt>
                <c:pt idx="20">
                  <c:v>0.3989982747625779</c:v>
                </c:pt>
                <c:pt idx="21">
                  <c:v>0.3712600871000337</c:v>
                </c:pt>
                <c:pt idx="22">
                  <c:v>0.288933727666252</c:v>
                </c:pt>
                <c:pt idx="23">
                  <c:v>0.27735167362093494</c:v>
                </c:pt>
                <c:pt idx="24">
                  <c:v>0.32422476432295183</c:v>
                </c:pt>
                <c:pt idx="25">
                  <c:v>0.2890926229488232</c:v>
                </c:pt>
                <c:pt idx="26">
                  <c:v>0.2833434636184303</c:v>
                </c:pt>
                <c:pt idx="27">
                  <c:v>0.3142722638829177</c:v>
                </c:pt>
                <c:pt idx="28">
                  <c:v>0.2903878312943146</c:v>
                </c:pt>
                <c:pt idx="29">
                  <c:v>0.2924659610859539</c:v>
                </c:pt>
                <c:pt idx="30">
                  <c:v>0.27680540468629505</c:v>
                </c:pt>
                <c:pt idx="31">
                  <c:v>0.26603268316901907</c:v>
                </c:pt>
                <c:pt idx="32">
                  <c:v>0.29426481487983747</c:v>
                </c:pt>
                <c:pt idx="33">
                  <c:v>0.2890281223150169</c:v>
                </c:pt>
                <c:pt idx="34">
                  <c:v>0.33127001261205796</c:v>
                </c:pt>
                <c:pt idx="35">
                  <c:v>0.36783086370839935</c:v>
                </c:pt>
                <c:pt idx="36">
                  <c:v>0.3724929531777593</c:v>
                </c:pt>
                <c:pt idx="37">
                  <c:v>0.39750498599758544</c:v>
                </c:pt>
                <c:pt idx="38">
                  <c:v>0.35667992400041304</c:v>
                </c:pt>
                <c:pt idx="39">
                  <c:v>0.3682491816996666</c:v>
                </c:pt>
                <c:pt idx="40">
                  <c:v>0.34007207776178383</c:v>
                </c:pt>
                <c:pt idx="41">
                  <c:v>0.3734474259758928</c:v>
                </c:pt>
                <c:pt idx="42">
                  <c:v>0.383838631938144</c:v>
                </c:pt>
                <c:pt idx="43">
                  <c:v>0.4058025182209766</c:v>
                </c:pt>
                <c:pt idx="44">
                  <c:v>0.39265983428980716</c:v>
                </c:pt>
                <c:pt idx="45">
                  <c:v>0.4170734181230316</c:v>
                </c:pt>
                <c:pt idx="46">
                  <c:v>0.42145958500738495</c:v>
                </c:pt>
                <c:pt idx="47">
                  <c:v>0.44309464742004556</c:v>
                </c:pt>
                <c:pt idx="48">
                  <c:v>0.43311622450363363</c:v>
                </c:pt>
                <c:pt idx="49">
                  <c:v>0.3816042848756365</c:v>
                </c:pt>
                <c:pt idx="50">
                  <c:v>0.3003609881631557</c:v>
                </c:pt>
                <c:pt idx="51">
                  <c:v>0.2569769836697154</c:v>
                </c:pt>
                <c:pt idx="52">
                  <c:v>0.25462396744946975</c:v>
                </c:pt>
                <c:pt idx="53">
                  <c:v>0.23542513139281496</c:v>
                </c:pt>
                <c:pt idx="54">
                  <c:v>0.2176267652946139</c:v>
                </c:pt>
                <c:pt idx="55">
                  <c:v>0.24597794841281986</c:v>
                </c:pt>
                <c:pt idx="56">
                  <c:v>0.3321096938930233</c:v>
                </c:pt>
                <c:pt idx="57">
                  <c:v>0.44996651555844613</c:v>
                </c:pt>
                <c:pt idx="58">
                  <c:v>0.38724718237954003</c:v>
                </c:pt>
                <c:pt idx="59">
                  <c:v>0.3051865555067119</c:v>
                </c:pt>
                <c:pt idx="60">
                  <c:v>0.29199610614164084</c:v>
                </c:pt>
                <c:pt idx="61">
                  <c:v>0.2803721565027062</c:v>
                </c:pt>
                <c:pt idx="62">
                  <c:v>0.3238722260271819</c:v>
                </c:pt>
                <c:pt idx="63">
                  <c:v>0.35496154149712617</c:v>
                </c:pt>
                <c:pt idx="64">
                  <c:v>0.34990777795718087</c:v>
                </c:pt>
                <c:pt idx="65">
                  <c:v>0.32224909799089124</c:v>
                </c:pt>
                <c:pt idx="66">
                  <c:v>0.34130310450184875</c:v>
                </c:pt>
                <c:pt idx="67">
                  <c:v>0.3325694044586588</c:v>
                </c:pt>
                <c:pt idx="68">
                  <c:v>0.3226548681475089</c:v>
                </c:pt>
                <c:pt idx="69">
                  <c:v>0.330675382038586</c:v>
                </c:pt>
                <c:pt idx="70">
                  <c:v>0.31500202285602036</c:v>
                </c:pt>
                <c:pt idx="71">
                  <c:v>0.31674076984633</c:v>
                </c:pt>
                <c:pt idx="72">
                  <c:v>0.3885933588452305</c:v>
                </c:pt>
                <c:pt idx="73">
                  <c:v>0.3288131009679136</c:v>
                </c:pt>
                <c:pt idx="74">
                  <c:v>0.3504276988854191</c:v>
                </c:pt>
                <c:pt idx="75">
                  <c:v>0.3156091460845547</c:v>
                </c:pt>
                <c:pt idx="76">
                  <c:v>0.33458497248922076</c:v>
                </c:pt>
                <c:pt idx="77">
                  <c:v>0.3267149622020511</c:v>
                </c:pt>
                <c:pt idx="78">
                  <c:v>0.37671502291601944</c:v>
                </c:pt>
                <c:pt idx="79">
                  <c:v>0.3838663189008135</c:v>
                </c:pt>
                <c:pt idx="80">
                  <c:v>0.36008471441073847</c:v>
                </c:pt>
                <c:pt idx="81">
                  <c:v>0.37554906975160834</c:v>
                </c:pt>
                <c:pt idx="82">
                  <c:v>0.3795057237873003</c:v>
                </c:pt>
                <c:pt idx="83">
                  <c:v>0.32257159050912537</c:v>
                </c:pt>
                <c:pt idx="84">
                  <c:v>0.3412440666327843</c:v>
                </c:pt>
                <c:pt idx="85">
                  <c:v>0.2972270807962154</c:v>
                </c:pt>
                <c:pt idx="86">
                  <c:v>0.27098874471052203</c:v>
                </c:pt>
                <c:pt idx="87">
                  <c:v>0.2813393088801382</c:v>
                </c:pt>
                <c:pt idx="88">
                  <c:v>0.25600179715434324</c:v>
                </c:pt>
                <c:pt idx="89">
                  <c:v>0.2700137095266854</c:v>
                </c:pt>
                <c:pt idx="90">
                  <c:v>0.2886158350196303</c:v>
                </c:pt>
                <c:pt idx="91">
                  <c:v>0.3087077486531183</c:v>
                </c:pt>
                <c:pt idx="92">
                  <c:v>0.2820892887202583</c:v>
                </c:pt>
                <c:pt idx="93">
                  <c:v>0.27586351602866765</c:v>
                </c:pt>
                <c:pt idx="94">
                  <c:v>0.27579388255304477</c:v>
                </c:pt>
                <c:pt idx="95">
                  <c:v>0.34395078982233407</c:v>
                </c:pt>
                <c:pt idx="96">
                  <c:v>0.3199048653531699</c:v>
                </c:pt>
                <c:pt idx="97">
                  <c:v>0.3150331117286714</c:v>
                </c:pt>
                <c:pt idx="98">
                  <c:v>0.34623675549158134</c:v>
                </c:pt>
                <c:pt idx="99">
                  <c:v>0.3924958859903648</c:v>
                </c:pt>
                <c:pt idx="100">
                  <c:v>0.387500483689087</c:v>
                </c:pt>
                <c:pt idx="101">
                  <c:v>0.3626772483967016</c:v>
                </c:pt>
                <c:pt idx="102">
                  <c:v>0.32716666709113507</c:v>
                </c:pt>
                <c:pt idx="103">
                  <c:v>0.32124211255258067</c:v>
                </c:pt>
                <c:pt idx="104">
                  <c:v>0.3002179971387697</c:v>
                </c:pt>
              </c:numCache>
            </c:numRef>
          </c:xVal>
          <c:yVal>
            <c:numRef>
              <c:f>Sheet1!$B$2:$B$106</c:f>
              <c:numCache>
                <c:formatCode>General</c:formatCode>
                <c:ptCount val="105"/>
                <c:pt idx="0">
                  <c:v>0.11593027969193352</c:v>
                </c:pt>
                <c:pt idx="1">
                  <c:v>0.10555050045495905</c:v>
                </c:pt>
                <c:pt idx="2">
                  <c:v>0.10715835140997831</c:v>
                </c:pt>
                <c:pt idx="3">
                  <c:v>0.1043360433604336</c:v>
                </c:pt>
                <c:pt idx="4">
                  <c:v>0.11374133949191687</c:v>
                </c:pt>
                <c:pt idx="5">
                  <c:v>0.12990196078431374</c:v>
                </c:pt>
                <c:pt idx="6">
                  <c:v>0.14043583535108958</c:v>
                </c:pt>
                <c:pt idx="7">
                  <c:v>0.14245014245014245</c:v>
                </c:pt>
                <c:pt idx="8">
                  <c:v>0.14137033824804857</c:v>
                </c:pt>
                <c:pt idx="9">
                  <c:v>0.12042875157629256</c:v>
                </c:pt>
                <c:pt idx="10">
                  <c:v>0.1338862559241706</c:v>
                </c:pt>
                <c:pt idx="11">
                  <c:v>0.11978221415607986</c:v>
                </c:pt>
                <c:pt idx="12">
                  <c:v>0.11818703384968446</c:v>
                </c:pt>
                <c:pt idx="13">
                  <c:v>0.11334450027917364</c:v>
                </c:pt>
                <c:pt idx="14">
                  <c:v>0.09451046972269384</c:v>
                </c:pt>
                <c:pt idx="15">
                  <c:v>0.08025078369905957</c:v>
                </c:pt>
                <c:pt idx="16">
                  <c:v>0.08352668213457076</c:v>
                </c:pt>
                <c:pt idx="17">
                  <c:v>0.0739385065885798</c:v>
                </c:pt>
                <c:pt idx="18">
                  <c:v>0.05899490167516387</c:v>
                </c:pt>
                <c:pt idx="19">
                  <c:v>0.051194539249146756</c:v>
                </c:pt>
                <c:pt idx="20">
                  <c:v>0.048730267673301304</c:v>
                </c:pt>
                <c:pt idx="21">
                  <c:v>0.04573438874230431</c:v>
                </c:pt>
                <c:pt idx="22">
                  <c:v>0.06419753086419754</c:v>
                </c:pt>
                <c:pt idx="23">
                  <c:v>0.06050420168067227</c:v>
                </c:pt>
                <c:pt idx="24">
                  <c:v>0.06886657101865136</c:v>
                </c:pt>
                <c:pt idx="25">
                  <c:v>0.08275261324041812</c:v>
                </c:pt>
                <c:pt idx="26">
                  <c:v>0.09642857142857143</c:v>
                </c:pt>
                <c:pt idx="27">
                  <c:v>0.09592529711375213</c:v>
                </c:pt>
                <c:pt idx="28">
                  <c:v>0.13178294573643412</c:v>
                </c:pt>
                <c:pt idx="29">
                  <c:v>0.14275092936802974</c:v>
                </c:pt>
                <c:pt idx="30">
                  <c:v>0.12609970674486803</c:v>
                </c:pt>
                <c:pt idx="31">
                  <c:v>0.14606741573033707</c:v>
                </c:pt>
                <c:pt idx="32">
                  <c:v>0.15021459227467812</c:v>
                </c:pt>
                <c:pt idx="33">
                  <c:v>0.14554317548746518</c:v>
                </c:pt>
                <c:pt idx="34">
                  <c:v>0.13864491844416563</c:v>
                </c:pt>
                <c:pt idx="35">
                  <c:v>0.12540192926045016</c:v>
                </c:pt>
                <c:pt idx="36">
                  <c:v>0.13372093023255813</c:v>
                </c:pt>
                <c:pt idx="37">
                  <c:v>0.12380952380952381</c:v>
                </c:pt>
                <c:pt idx="38">
                  <c:v>0.13157894736842105</c:v>
                </c:pt>
                <c:pt idx="39">
                  <c:v>0.13291139240506328</c:v>
                </c:pt>
                <c:pt idx="40">
                  <c:v>0.1254429482636428</c:v>
                </c:pt>
                <c:pt idx="41">
                  <c:v>0.11643835616438356</c:v>
                </c:pt>
                <c:pt idx="42">
                  <c:v>0.11788617886178862</c:v>
                </c:pt>
                <c:pt idx="43">
                  <c:v>0.10142118863049096</c:v>
                </c:pt>
                <c:pt idx="44">
                  <c:v>0.11932367149758454</c:v>
                </c:pt>
                <c:pt idx="45">
                  <c:v>0.14792176039119803</c:v>
                </c:pt>
                <c:pt idx="46">
                  <c:v>0.13205574912891985</c:v>
                </c:pt>
                <c:pt idx="47">
                  <c:v>0.13542033063665143</c:v>
                </c:pt>
                <c:pt idx="48">
                  <c:v>0.13924410343847685</c:v>
                </c:pt>
                <c:pt idx="49">
                  <c:v>0.13941076003415884</c:v>
                </c:pt>
                <c:pt idx="50">
                  <c:v>0.1264236902050114</c:v>
                </c:pt>
                <c:pt idx="51">
                  <c:v>0.12278368794326242</c:v>
                </c:pt>
                <c:pt idx="52">
                  <c:v>0.11369095276220977</c:v>
                </c:pt>
                <c:pt idx="53">
                  <c:v>0.10239429444727458</c:v>
                </c:pt>
                <c:pt idx="54">
                  <c:v>0.1189663578742077</c:v>
                </c:pt>
                <c:pt idx="55">
                  <c:v>0.10200845665961945</c:v>
                </c:pt>
                <c:pt idx="56">
                  <c:v>0.10362694300518134</c:v>
                </c:pt>
                <c:pt idx="57">
                  <c:v>0.10660124888492417</c:v>
                </c:pt>
                <c:pt idx="58">
                  <c:v>0.12084993359893759</c:v>
                </c:pt>
                <c:pt idx="59">
                  <c:v>0.1141785957736878</c:v>
                </c:pt>
                <c:pt idx="60">
                  <c:v>0.12073696589572716</c:v>
                </c:pt>
                <c:pt idx="61">
                  <c:v>0.1224373576309795</c:v>
                </c:pt>
                <c:pt idx="62">
                  <c:v>0.15255905511811024</c:v>
                </c:pt>
                <c:pt idx="63">
                  <c:v>0.1418403660396543</c:v>
                </c:pt>
                <c:pt idx="64">
                  <c:v>0.14375</c:v>
                </c:pt>
                <c:pt idx="65">
                  <c:v>0.14365256124721604</c:v>
                </c:pt>
                <c:pt idx="66">
                  <c:v>0.1461111111111111</c:v>
                </c:pt>
                <c:pt idx="67">
                  <c:v>0.13532401524777637</c:v>
                </c:pt>
                <c:pt idx="68">
                  <c:v>0.13691275167785236</c:v>
                </c:pt>
                <c:pt idx="69">
                  <c:v>0.12801330008312553</c:v>
                </c:pt>
                <c:pt idx="70">
                  <c:v>0.12261806130903065</c:v>
                </c:pt>
                <c:pt idx="71">
                  <c:v>0.1251109139307897</c:v>
                </c:pt>
                <c:pt idx="72">
                  <c:v>0.11760063141278611</c:v>
                </c:pt>
                <c:pt idx="73">
                  <c:v>0.1055694098088113</c:v>
                </c:pt>
                <c:pt idx="74">
                  <c:v>0.11710323574730354</c:v>
                </c:pt>
                <c:pt idx="75">
                  <c:v>0.12985865724381626</c:v>
                </c:pt>
                <c:pt idx="76">
                  <c:v>0.13378248315688163</c:v>
                </c:pt>
                <c:pt idx="77">
                  <c:v>0.13437195715676728</c:v>
                </c:pt>
                <c:pt idx="78">
                  <c:v>0.14901960784313725</c:v>
                </c:pt>
                <c:pt idx="79">
                  <c:v>0.1423611111111111</c:v>
                </c:pt>
                <c:pt idx="80">
                  <c:v>0.12398190045248869</c:v>
                </c:pt>
                <c:pt idx="81">
                  <c:v>0.13524590163934427</c:v>
                </c:pt>
                <c:pt idx="82">
                  <c:v>0.1347248576850095</c:v>
                </c:pt>
                <c:pt idx="83">
                  <c:v>0.13304252998909488</c:v>
                </c:pt>
                <c:pt idx="84">
                  <c:v>0.13093858632676708</c:v>
                </c:pt>
                <c:pt idx="85">
                  <c:v>0.15428571428571428</c:v>
                </c:pt>
                <c:pt idx="86">
                  <c:v>0.15678919729932483</c:v>
                </c:pt>
                <c:pt idx="87">
                  <c:v>0.17568517217146873</c:v>
                </c:pt>
                <c:pt idx="88">
                  <c:v>0.15423387096774194</c:v>
                </c:pt>
                <c:pt idx="89">
                  <c:v>0.17139737991266377</c:v>
                </c:pt>
                <c:pt idx="90">
                  <c:v>0.1571279916753382</c:v>
                </c:pt>
                <c:pt idx="91">
                  <c:v>0.1488095238095238</c:v>
                </c:pt>
                <c:pt idx="92">
                  <c:v>0.15339966832504145</c:v>
                </c:pt>
                <c:pt idx="93">
                  <c:v>0.16459884201819686</c:v>
                </c:pt>
                <c:pt idx="94">
                  <c:v>0.17633928571428573</c:v>
                </c:pt>
                <c:pt idx="95">
                  <c:v>0.15340501792114694</c:v>
                </c:pt>
                <c:pt idx="96">
                  <c:v>0.16061660865241173</c:v>
                </c:pt>
                <c:pt idx="97">
                  <c:v>0.16419981498612396</c:v>
                </c:pt>
                <c:pt idx="98">
                  <c:v>0.1484520701230884</c:v>
                </c:pt>
                <c:pt idx="99">
                  <c:v>0.13754093480202442</c:v>
                </c:pt>
                <c:pt idx="100">
                  <c:v>0.1366299507850949</c:v>
                </c:pt>
                <c:pt idx="101">
                  <c:v>0.14580152671755725</c:v>
                </c:pt>
                <c:pt idx="102">
                  <c:v>0.1480916030534351</c:v>
                </c:pt>
                <c:pt idx="103">
                  <c:v>0.13771657041314972</c:v>
                </c:pt>
                <c:pt idx="104">
                  <c:v>0.13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8908969784689115</c:v>
                </c:pt>
                <c:pt idx="1">
                  <c:v>0.32277829060595553</c:v>
                </c:pt>
                <c:pt idx="2">
                  <c:v>0.3328557230610943</c:v>
                </c:pt>
                <c:pt idx="3">
                  <c:v>0.3655142042224792</c:v>
                </c:pt>
                <c:pt idx="4">
                  <c:v>0.345003036822626</c:v>
                </c:pt>
                <c:pt idx="5">
                  <c:v>0.31205282543409485</c:v>
                </c:pt>
                <c:pt idx="6">
                  <c:v>0.35778179681245986</c:v>
                </c:pt>
                <c:pt idx="7">
                  <c:v>0.3725107167092692</c:v>
                </c:pt>
                <c:pt idx="8">
                  <c:v>0.35478184391445344</c:v>
                </c:pt>
                <c:pt idx="9">
                  <c:v>0.352619814714874</c:v>
                </c:pt>
                <c:pt idx="10">
                  <c:v>0.3536391578251445</c:v>
                </c:pt>
                <c:pt idx="11">
                  <c:v>0.3501762319502063</c:v>
                </c:pt>
                <c:pt idx="12">
                  <c:v>0.38119730987169276</c:v>
                </c:pt>
                <c:pt idx="13">
                  <c:v>0.3919731097709127</c:v>
                </c:pt>
                <c:pt idx="14">
                  <c:v>0.39685052683710914</c:v>
                </c:pt>
                <c:pt idx="15">
                  <c:v>0.3533588940515927</c:v>
                </c:pt>
                <c:pt idx="16">
                  <c:v>0.32496735248461944</c:v>
                </c:pt>
                <c:pt idx="17">
                  <c:v>0.3083747711014673</c:v>
                </c:pt>
                <c:pt idx="18">
                  <c:v>0.32664157573955105</c:v>
                </c:pt>
                <c:pt idx="19">
                  <c:v>0.345140131005433</c:v>
                </c:pt>
                <c:pt idx="20">
                  <c:v>0.3483090620374558</c:v>
                </c:pt>
                <c:pt idx="21">
                  <c:v>0.3381356293388503</c:v>
                </c:pt>
                <c:pt idx="22">
                  <c:v>0.3444335563746229</c:v>
                </c:pt>
                <c:pt idx="23">
                  <c:v>0.372240841248304</c:v>
                </c:pt>
                <c:pt idx="24">
                  <c:v>0.36230835561970437</c:v>
                </c:pt>
                <c:pt idx="25">
                  <c:v>0.32519764036669596</c:v>
                </c:pt>
                <c:pt idx="26">
                  <c:v>0.30666910179083723</c:v>
                </c:pt>
                <c:pt idx="27">
                  <c:v>0.333474696281321</c:v>
                </c:pt>
                <c:pt idx="28">
                  <c:v>0.389991042827525</c:v>
                </c:pt>
                <c:pt idx="29">
                  <c:v>0.3705711066426674</c:v>
                </c:pt>
                <c:pt idx="30">
                  <c:v>0.3818927578786335</c:v>
                </c:pt>
                <c:pt idx="31">
                  <c:v>0.3175880802858411</c:v>
                </c:pt>
                <c:pt idx="32">
                  <c:v>0.2974396220175741</c:v>
                </c:pt>
                <c:pt idx="33">
                  <c:v>0.28493270699344303</c:v>
                </c:pt>
                <c:pt idx="34">
                  <c:v>0.2997519694208902</c:v>
                </c:pt>
                <c:pt idx="35">
                  <c:v>0.2876256905095935</c:v>
                </c:pt>
                <c:pt idx="36">
                  <c:v>0.2887894467132944</c:v>
                </c:pt>
                <c:pt idx="37">
                  <c:v>0.26098313182932403</c:v>
                </c:pt>
                <c:pt idx="38">
                  <c:v>0.3315253866469414</c:v>
                </c:pt>
                <c:pt idx="39">
                  <c:v>0.29864927591472185</c:v>
                </c:pt>
                <c:pt idx="40">
                  <c:v>0.32678271646616225</c:v>
                </c:pt>
                <c:pt idx="41">
                  <c:v>0.3362631170510305</c:v>
                </c:pt>
                <c:pt idx="42">
                  <c:v>0.33294651196671554</c:v>
                </c:pt>
                <c:pt idx="43">
                  <c:v>0.35062715206187095</c:v>
                </c:pt>
                <c:pt idx="44">
                  <c:v>0.3581025484414991</c:v>
                </c:pt>
                <c:pt idx="45">
                  <c:v>0.37914830725293036</c:v>
                </c:pt>
                <c:pt idx="46">
                  <c:v>0.35576959307633393</c:v>
                </c:pt>
                <c:pt idx="47">
                  <c:v>0.39908144306524085</c:v>
                </c:pt>
                <c:pt idx="48">
                  <c:v>0.3882614108957116</c:v>
                </c:pt>
                <c:pt idx="49">
                  <c:v>0.4543795540791581</c:v>
                </c:pt>
                <c:pt idx="50">
                  <c:v>0.4389574795117704</c:v>
                </c:pt>
                <c:pt idx="51">
                  <c:v>0.3788666667203532</c:v>
                </c:pt>
              </c:numCache>
            </c:numRef>
          </c:xVal>
          <c:yVal>
            <c:numRef>
              <c:f>Sheet1!$B$109:$B$160</c:f>
              <c:numCache>
                <c:formatCode>General</c:formatCode>
                <c:ptCount val="52"/>
                <c:pt idx="0">
                  <c:v>0.1337642963699652</c:v>
                </c:pt>
                <c:pt idx="1">
                  <c:v>0.13351648351648351</c:v>
                </c:pt>
                <c:pt idx="2">
                  <c:v>0.14339268978444236</c:v>
                </c:pt>
                <c:pt idx="3">
                  <c:v>0.1560665362035225</c:v>
                </c:pt>
                <c:pt idx="4">
                  <c:v>0.12616339193381593</c:v>
                </c:pt>
                <c:pt idx="5">
                  <c:v>0.13093980992608237</c:v>
                </c:pt>
                <c:pt idx="6">
                  <c:v>0.14591356439880188</c:v>
                </c:pt>
                <c:pt idx="7">
                  <c:v>0.17237308146399055</c:v>
                </c:pt>
                <c:pt idx="8">
                  <c:v>0.1401799100449775</c:v>
                </c:pt>
                <c:pt idx="9">
                  <c:v>0.15161957270847692</c:v>
                </c:pt>
                <c:pt idx="10">
                  <c:v>0.16494133885438234</c:v>
                </c:pt>
                <c:pt idx="11">
                  <c:v>0.16766192007349565</c:v>
                </c:pt>
                <c:pt idx="12">
                  <c:v>0.15966386554621848</c:v>
                </c:pt>
                <c:pt idx="13">
                  <c:v>0.1448321263989467</c:v>
                </c:pt>
                <c:pt idx="14">
                  <c:v>0.15170068027210884</c:v>
                </c:pt>
                <c:pt idx="15">
                  <c:v>0.16380655226209048</c:v>
                </c:pt>
                <c:pt idx="16">
                  <c:v>0.1476147614761476</c:v>
                </c:pt>
                <c:pt idx="17">
                  <c:v>0.1613780598368087</c:v>
                </c:pt>
                <c:pt idx="18">
                  <c:v>0.14163498098859315</c:v>
                </c:pt>
                <c:pt idx="19">
                  <c:v>0.12376681614349776</c:v>
                </c:pt>
                <c:pt idx="20">
                  <c:v>0.11224489795918367</c:v>
                </c:pt>
                <c:pt idx="21">
                  <c:v>0.12092534174553102</c:v>
                </c:pt>
                <c:pt idx="22">
                  <c:v>0.11350293542074363</c:v>
                </c:pt>
                <c:pt idx="23">
                  <c:v>0.10640495867768596</c:v>
                </c:pt>
                <c:pt idx="24">
                  <c:v>0.12698412698412698</c:v>
                </c:pt>
                <c:pt idx="25">
                  <c:v>0.1485053037608486</c:v>
                </c:pt>
                <c:pt idx="26">
                  <c:v>0.13503971756398941</c:v>
                </c:pt>
                <c:pt idx="27">
                  <c:v>0.1377887788778878</c:v>
                </c:pt>
                <c:pt idx="28">
                  <c:v>0.12057272042200452</c:v>
                </c:pt>
                <c:pt idx="29">
                  <c:v>0.1337579617834395</c:v>
                </c:pt>
                <c:pt idx="30">
                  <c:v>0.14147286821705427</c:v>
                </c:pt>
                <c:pt idx="31">
                  <c:v>0.13559322033898305</c:v>
                </c:pt>
                <c:pt idx="32">
                  <c:v>0.1357142857142857</c:v>
                </c:pt>
                <c:pt idx="33">
                  <c:v>0.16398243045387995</c:v>
                </c:pt>
                <c:pt idx="34">
                  <c:v>0.16798059429957551</c:v>
                </c:pt>
                <c:pt idx="35">
                  <c:v>0.16750418760469013</c:v>
                </c:pt>
                <c:pt idx="36">
                  <c:v>0.16216216216216217</c:v>
                </c:pt>
                <c:pt idx="37">
                  <c:v>0.15466351829988192</c:v>
                </c:pt>
                <c:pt idx="38">
                  <c:v>0.1688622754491018</c:v>
                </c:pt>
                <c:pt idx="39">
                  <c:v>0.14971209213051823</c:v>
                </c:pt>
                <c:pt idx="40">
                  <c:v>0.15399422521655437</c:v>
                </c:pt>
                <c:pt idx="41">
                  <c:v>0.1528776978417266</c:v>
                </c:pt>
                <c:pt idx="42">
                  <c:v>0.1513353115727003</c:v>
                </c:pt>
                <c:pt idx="43">
                  <c:v>0.1320109439124487</c:v>
                </c:pt>
                <c:pt idx="44">
                  <c:v>0.13765432098765432</c:v>
                </c:pt>
                <c:pt idx="45">
                  <c:v>0.15045592705167174</c:v>
                </c:pt>
                <c:pt idx="46">
                  <c:v>0.18463180362860193</c:v>
                </c:pt>
                <c:pt idx="47">
                  <c:v>0.17290192113245703</c:v>
                </c:pt>
                <c:pt idx="48">
                  <c:v>0.17404129793510326</c:v>
                </c:pt>
                <c:pt idx="49">
                  <c:v>0.16652506372132542</c:v>
                </c:pt>
                <c:pt idx="50">
                  <c:v>0.16513497989661113</c:v>
                </c:pt>
                <c:pt idx="51">
                  <c:v>0.16150547879942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002206208809044</c:v>
                </c:pt>
              </c:numCache>
            </c:numRef>
          </c:xVal>
          <c:yVal>
            <c:numRef>
              <c:f>Sheet1!$B$163:$B$164</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002206208809044</c:v>
                </c:pt>
                <c:pt idx="1">
                  <c:v>0.8002206208809044</c:v>
                </c:pt>
              </c:numCache>
            </c:numRef>
          </c:xVal>
          <c:yVal>
            <c:numRef>
              <c:f>Sheet1!$B$167:$B$168</c:f>
              <c:numCache>
                <c:formatCode>General</c:formatCode>
                <c:ptCount val="2"/>
                <c:pt idx="0">
                  <c:v>0.166801705088117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002206208809044</c:v>
                </c:pt>
              </c:numCache>
            </c:numRef>
          </c:xVal>
          <c:yVal>
            <c:numRef>
              <c:f>Sheet1!$B$171:$B$172</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002206208809044</c:v>
                </c:pt>
                <c:pt idx="1">
                  <c:v>0.8002206208809044</c:v>
                </c:pt>
              </c:numCache>
            </c:numRef>
          </c:xVal>
          <c:yVal>
            <c:numRef>
              <c:f>Sheet1!$B$175:$B$176</c:f>
              <c:numCache>
                <c:formatCode>General</c:formatCode>
                <c:ptCount val="2"/>
                <c:pt idx="0">
                  <c:v>0.16680170508811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913002254591848</c:v>
                </c:pt>
              </c:numCache>
            </c:numRef>
          </c:xVal>
          <c:yVal>
            <c:numRef>
              <c:f>Sheet1!$B$179:$B$180</c:f>
              <c:numCache>
                <c:formatCode>General</c:formatCode>
                <c:ptCount val="2"/>
                <c:pt idx="0">
                  <c:v>0.1579062356789847</c:v>
                </c:pt>
                <c:pt idx="1">
                  <c:v>0.15790623567898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913002254591848</c:v>
                </c:pt>
                <c:pt idx="1">
                  <c:v>0.5913002254591848</c:v>
                </c:pt>
              </c:numCache>
            </c:numRef>
          </c:xVal>
          <c:yVal>
            <c:numRef>
              <c:f>Sheet1!$B$183:$B$184</c:f>
              <c:numCache>
                <c:formatCode>General</c:formatCode>
                <c:ptCount val="2"/>
                <c:pt idx="0">
                  <c:v>0.15790623567898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8908969784689115</c:v>
                </c:pt>
                <c:pt idx="1">
                  <c:v>0.32277829060595553</c:v>
                </c:pt>
                <c:pt idx="2">
                  <c:v>0.3328557230610943</c:v>
                </c:pt>
                <c:pt idx="3">
                  <c:v>0.3655142042224792</c:v>
                </c:pt>
                <c:pt idx="4">
                  <c:v>0.345003036822626</c:v>
                </c:pt>
                <c:pt idx="5">
                  <c:v>0.31205282543409485</c:v>
                </c:pt>
                <c:pt idx="6">
                  <c:v>0.35778179681245986</c:v>
                </c:pt>
                <c:pt idx="7">
                  <c:v>0.3725107167092692</c:v>
                </c:pt>
                <c:pt idx="8">
                  <c:v>0.35478184391445344</c:v>
                </c:pt>
                <c:pt idx="9">
                  <c:v>0.352619814714874</c:v>
                </c:pt>
                <c:pt idx="10">
                  <c:v>0.3536391578251445</c:v>
                </c:pt>
                <c:pt idx="11">
                  <c:v>0.3501762319502063</c:v>
                </c:pt>
                <c:pt idx="12">
                  <c:v>0.38119730987169276</c:v>
                </c:pt>
                <c:pt idx="13">
                  <c:v>0.3919731097709127</c:v>
                </c:pt>
                <c:pt idx="14">
                  <c:v>0.39685052683710914</c:v>
                </c:pt>
                <c:pt idx="15">
                  <c:v>0.3533588940515927</c:v>
                </c:pt>
                <c:pt idx="16">
                  <c:v>0.32496735248461944</c:v>
                </c:pt>
                <c:pt idx="17">
                  <c:v>0.3083747711014673</c:v>
                </c:pt>
                <c:pt idx="18">
                  <c:v>0.32664157573955105</c:v>
                </c:pt>
                <c:pt idx="19">
                  <c:v>0.345140131005433</c:v>
                </c:pt>
                <c:pt idx="20">
                  <c:v>0.3483090620374558</c:v>
                </c:pt>
                <c:pt idx="21">
                  <c:v>0.3381356293388503</c:v>
                </c:pt>
                <c:pt idx="22">
                  <c:v>0.3444335563746229</c:v>
                </c:pt>
                <c:pt idx="23">
                  <c:v>0.372240841248304</c:v>
                </c:pt>
                <c:pt idx="24">
                  <c:v>0.36230835561970437</c:v>
                </c:pt>
                <c:pt idx="25">
                  <c:v>0.32519764036669596</c:v>
                </c:pt>
                <c:pt idx="26">
                  <c:v>0.30666910179083723</c:v>
                </c:pt>
                <c:pt idx="27">
                  <c:v>0.333474696281321</c:v>
                </c:pt>
                <c:pt idx="28">
                  <c:v>0.389991042827525</c:v>
                </c:pt>
                <c:pt idx="29">
                  <c:v>0.3705711066426674</c:v>
                </c:pt>
                <c:pt idx="30">
                  <c:v>0.3818927578786335</c:v>
                </c:pt>
                <c:pt idx="31">
                  <c:v>0.3175880802858411</c:v>
                </c:pt>
                <c:pt idx="32">
                  <c:v>0.2974396220175741</c:v>
                </c:pt>
                <c:pt idx="33">
                  <c:v>0.28493270699344303</c:v>
                </c:pt>
                <c:pt idx="34">
                  <c:v>0.2997519694208902</c:v>
                </c:pt>
                <c:pt idx="35">
                  <c:v>0.2876256905095935</c:v>
                </c:pt>
                <c:pt idx="36">
                  <c:v>0.2887894467132944</c:v>
                </c:pt>
                <c:pt idx="37">
                  <c:v>0.26098313182932403</c:v>
                </c:pt>
                <c:pt idx="38">
                  <c:v>0.3315253866469414</c:v>
                </c:pt>
                <c:pt idx="39">
                  <c:v>0.29864927591472185</c:v>
                </c:pt>
                <c:pt idx="40">
                  <c:v>0.32678271646616225</c:v>
                </c:pt>
                <c:pt idx="41">
                  <c:v>0.3362631170510305</c:v>
                </c:pt>
                <c:pt idx="42">
                  <c:v>0.33294651196671554</c:v>
                </c:pt>
                <c:pt idx="43">
                  <c:v>0.35062715206187095</c:v>
                </c:pt>
                <c:pt idx="44">
                  <c:v>0.3581025484414991</c:v>
                </c:pt>
                <c:pt idx="45">
                  <c:v>0.37914830725293036</c:v>
                </c:pt>
                <c:pt idx="46">
                  <c:v>0.35576959307633393</c:v>
                </c:pt>
                <c:pt idx="47">
                  <c:v>0.39908144306524085</c:v>
                </c:pt>
                <c:pt idx="48">
                  <c:v>0.3882614108957116</c:v>
                </c:pt>
                <c:pt idx="49">
                  <c:v>0.4543795540791581</c:v>
                </c:pt>
                <c:pt idx="50">
                  <c:v>0.4389574795117704</c:v>
                </c:pt>
                <c:pt idx="51">
                  <c:v>0.3788666667203532</c:v>
                </c:pt>
                <c:pt idx="52">
                  <c:v>0.8002206208809044</c:v>
                </c:pt>
                <c:pt idx="53">
                  <c:v>0.8002206208809044</c:v>
                </c:pt>
                <c:pt idx="54">
                  <c:v>0.5913002254591848</c:v>
                </c:pt>
              </c:numCache>
            </c:numRef>
          </c:xVal>
          <c:yVal>
            <c:numRef>
              <c:f>Sheet1!$B$187:$B$241</c:f>
              <c:numCache>
                <c:formatCode>General</c:formatCode>
                <c:ptCount val="55"/>
                <c:pt idx="0">
                  <c:v>0.145038633652546</c:v>
                </c:pt>
                <c:pt idx="1">
                  <c:v>0.1464730357161648</c:v>
                </c:pt>
                <c:pt idx="2">
                  <c:v>0.14690211537565104</c:v>
                </c:pt>
                <c:pt idx="3">
                  <c:v>0.14829265706754</c:v>
                </c:pt>
                <c:pt idx="4">
                  <c:v>0.14741932700427504</c:v>
                </c:pt>
                <c:pt idx="5">
                  <c:v>0.1460163639434429</c:v>
                </c:pt>
                <c:pt idx="6">
                  <c:v>0.14796342452212033</c:v>
                </c:pt>
                <c:pt idx="7">
                  <c:v>0.14859055647880245</c:v>
                </c:pt>
                <c:pt idx="8">
                  <c:v>0.1478356917118354</c:v>
                </c:pt>
                <c:pt idx="9">
                  <c:v>0.14774363624464326</c:v>
                </c:pt>
                <c:pt idx="10">
                  <c:v>0.14778703811278793</c:v>
                </c:pt>
                <c:pt idx="11">
                  <c:v>0.1476395927131924</c:v>
                </c:pt>
                <c:pt idx="12">
                  <c:v>0.14896041660466494</c:v>
                </c:pt>
                <c:pt idx="13">
                  <c:v>0.14941923154309616</c:v>
                </c:pt>
                <c:pt idx="14">
                  <c:v>0.1496269035332834</c:v>
                </c:pt>
                <c:pt idx="15">
                  <c:v>0.14777510496562396</c:v>
                </c:pt>
                <c:pt idx="16">
                  <c:v>0.14656624218811812</c:v>
                </c:pt>
                <c:pt idx="17">
                  <c:v>0.1458597587458748</c:v>
                </c:pt>
                <c:pt idx="18">
                  <c:v>0.1466375277211473</c:v>
                </c:pt>
                <c:pt idx="19">
                  <c:v>0.14742516423767138</c:v>
                </c:pt>
                <c:pt idx="20">
                  <c:v>0.1475600918448976</c:v>
                </c:pt>
                <c:pt idx="21">
                  <c:v>0.14712692466093916</c:v>
                </c:pt>
                <c:pt idx="22">
                  <c:v>0.14739507951089803</c:v>
                </c:pt>
                <c:pt idx="23">
                  <c:v>0.14857906564803677</c:v>
                </c:pt>
                <c:pt idx="24">
                  <c:v>0.1481561575739471</c:v>
                </c:pt>
                <c:pt idx="25">
                  <c:v>0.14657604744818462</c:v>
                </c:pt>
                <c:pt idx="26">
                  <c:v>0.1457871342941348</c:v>
                </c:pt>
                <c:pt idx="27">
                  <c:v>0.14692847018574262</c:v>
                </c:pt>
                <c:pt idx="28">
                  <c:v>0.1493348385577863</c:v>
                </c:pt>
                <c:pt idx="29">
                  <c:v>0.1485079712339379</c:v>
                </c:pt>
                <c:pt idx="30">
                  <c:v>0.14899002757902144</c:v>
                </c:pt>
                <c:pt idx="31">
                  <c:v>0.14625204552975268</c:v>
                </c:pt>
                <c:pt idx="32">
                  <c:v>0.1453941589945259</c:v>
                </c:pt>
                <c:pt idx="33">
                  <c:v>0.14486163616555459</c:v>
                </c:pt>
                <c:pt idx="34">
                  <c:v>0.14549261475107356</c:v>
                </c:pt>
                <c:pt idx="35">
                  <c:v>0.144976298750023</c:v>
                </c:pt>
                <c:pt idx="36">
                  <c:v>0.14502584947813077</c:v>
                </c:pt>
                <c:pt idx="37">
                  <c:v>0.1438419046414777</c:v>
                </c:pt>
                <c:pt idx="38">
                  <c:v>0.14684547195004358</c:v>
                </c:pt>
                <c:pt idx="39">
                  <c:v>0.14544566396710645</c:v>
                </c:pt>
                <c:pt idx="40">
                  <c:v>0.1466435372493861</c:v>
                </c:pt>
                <c:pt idx="41">
                  <c:v>0.14704719632354585</c:v>
                </c:pt>
                <c:pt idx="42">
                  <c:v>0.1469059810103633</c:v>
                </c:pt>
                <c:pt idx="43">
                  <c:v>0.14765879211232805</c:v>
                </c:pt>
                <c:pt idx="44">
                  <c:v>0.1479770815722053</c:v>
                </c:pt>
                <c:pt idx="45">
                  <c:v>0.1488731736139668</c:v>
                </c:pt>
                <c:pt idx="46">
                  <c:v>0.147877748364254</c:v>
                </c:pt>
                <c:pt idx="47">
                  <c:v>0.14972189209111003</c:v>
                </c:pt>
                <c:pt idx="48">
                  <c:v>0.14926119381904526</c:v>
                </c:pt>
                <c:pt idx="49">
                  <c:v>0.1520763900993785</c:v>
                </c:pt>
                <c:pt idx="50">
                  <c:v>0.15141974481463916</c:v>
                </c:pt>
                <c:pt idx="51">
                  <c:v>0.14886118184678265</c:v>
                </c:pt>
                <c:pt idx="52">
                  <c:v>0.16680170508811704</c:v>
                </c:pt>
                <c:pt idx="53">
                  <c:v>0.16680170508811704</c:v>
                </c:pt>
                <c:pt idx="54">
                  <c:v>0.15790623567898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155816435432232"/>
          <c:min val="0.0365875109938434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192592705404563</c:v>
                </c:pt>
                <c:pt idx="1">
                  <c:v>0.4088443209344178</c:v>
                </c:pt>
                <c:pt idx="2">
                  <c:v>0.42932553837257814</c:v>
                </c:pt>
                <c:pt idx="3">
                  <c:v>0.42467925038963367</c:v>
                </c:pt>
                <c:pt idx="4">
                  <c:v>0.46164429111437055</c:v>
                </c:pt>
                <c:pt idx="5">
                  <c:v>0.452406435675069</c:v>
                </c:pt>
                <c:pt idx="6">
                  <c:v>0.43429247476018973</c:v>
                </c:pt>
                <c:pt idx="7">
                  <c:v>0.4039086178495583</c:v>
                </c:pt>
                <c:pt idx="8">
                  <c:v>0.4006864051728855</c:v>
                </c:pt>
                <c:pt idx="9">
                  <c:v>0.43448214489887543</c:v>
                </c:pt>
                <c:pt idx="10">
                  <c:v>0.4543367713326158</c:v>
                </c:pt>
                <c:pt idx="11">
                  <c:v>0.4508727687039438</c:v>
                </c:pt>
                <c:pt idx="12">
                  <c:v>0.4285882578438243</c:v>
                </c:pt>
                <c:pt idx="13">
                  <c:v>0.39428751598907463</c:v>
                </c:pt>
                <c:pt idx="14">
                  <c:v>0.3267456816203839</c:v>
                </c:pt>
                <c:pt idx="15">
                  <c:v>0.3370968109808267</c:v>
                </c:pt>
                <c:pt idx="16">
                  <c:v>0.3692676982380635</c:v>
                </c:pt>
                <c:pt idx="17">
                  <c:v>0.3898426206570492</c:v>
                </c:pt>
                <c:pt idx="18">
                  <c:v>0.37571125689039686</c:v>
                </c:pt>
                <c:pt idx="19">
                  <c:v>0.4079021340623022</c:v>
                </c:pt>
                <c:pt idx="20">
                  <c:v>0.45912886867718583</c:v>
                </c:pt>
                <c:pt idx="21">
                  <c:v>0.43996746194002073</c:v>
                </c:pt>
                <c:pt idx="22">
                  <c:v>0.38071794068664006</c:v>
                </c:pt>
                <c:pt idx="23">
                  <c:v>0.36155282269851563</c:v>
                </c:pt>
                <c:pt idx="24">
                  <c:v>0.36100750833458295</c:v>
                </c:pt>
                <c:pt idx="25">
                  <c:v>0.3449491481132289</c:v>
                </c:pt>
                <c:pt idx="26">
                  <c:v>0.3294078631564212</c:v>
                </c:pt>
                <c:pt idx="27">
                  <c:v>0.3245570936672252</c:v>
                </c:pt>
                <c:pt idx="28">
                  <c:v>0.33845232770084194</c:v>
                </c:pt>
                <c:pt idx="29">
                  <c:v>0.3195591079790074</c:v>
                </c:pt>
                <c:pt idx="30">
                  <c:v>0.30556067925409197</c:v>
                </c:pt>
                <c:pt idx="31">
                  <c:v>0.3162733393836614</c:v>
                </c:pt>
                <c:pt idx="32">
                  <c:v>0.3173836983031245</c:v>
                </c:pt>
                <c:pt idx="33">
                  <c:v>0.31979257570519587</c:v>
                </c:pt>
                <c:pt idx="34">
                  <c:v>0.33436659093225246</c:v>
                </c:pt>
                <c:pt idx="35">
                  <c:v>0.36536655777254784</c:v>
                </c:pt>
                <c:pt idx="36">
                  <c:v>0.3507714329683107</c:v>
                </c:pt>
                <c:pt idx="37">
                  <c:v>0.4016604601071382</c:v>
                </c:pt>
                <c:pt idx="38">
                  <c:v>0.3928212713584698</c:v>
                </c:pt>
                <c:pt idx="39">
                  <c:v>0.394296979863145</c:v>
                </c:pt>
                <c:pt idx="40">
                  <c:v>0.39554886583926196</c:v>
                </c:pt>
                <c:pt idx="41">
                  <c:v>0.42783745768246756</c:v>
                </c:pt>
                <c:pt idx="42">
                  <c:v>0.4307298058287825</c:v>
                </c:pt>
                <c:pt idx="43">
                  <c:v>0.45838725404925995</c:v>
                </c:pt>
                <c:pt idx="44">
                  <c:v>0.44427579669395156</c:v>
                </c:pt>
                <c:pt idx="45">
                  <c:v>0.4664533095181981</c:v>
                </c:pt>
                <c:pt idx="46">
                  <c:v>0.48322484837745844</c:v>
                </c:pt>
                <c:pt idx="47">
                  <c:v>0.49738595807857094</c:v>
                </c:pt>
                <c:pt idx="48">
                  <c:v>0.4899337478200242</c:v>
                </c:pt>
                <c:pt idx="49">
                  <c:v>0.4153734114442367</c:v>
                </c:pt>
                <c:pt idx="50">
                  <c:v>0.3132516742197897</c:v>
                </c:pt>
                <c:pt idx="51">
                  <c:v>0.292456911655795</c:v>
                </c:pt>
                <c:pt idx="52">
                  <c:v>0.27654095681932456</c:v>
                </c:pt>
                <c:pt idx="53">
                  <c:v>0.26039735278007625</c:v>
                </c:pt>
                <c:pt idx="54">
                  <c:v>0.2355281826317116</c:v>
                </c:pt>
                <c:pt idx="55">
                  <c:v>0.2763951392562714</c:v>
                </c:pt>
                <c:pt idx="56">
                  <c:v>0.36325458148533546</c:v>
                </c:pt>
                <c:pt idx="57">
                  <c:v>0.49478194251066915</c:v>
                </c:pt>
                <c:pt idx="58">
                  <c:v>0.4476241413946136</c:v>
                </c:pt>
                <c:pt idx="59">
                  <c:v>0.3927081847221304</c:v>
                </c:pt>
                <c:pt idx="60">
                  <c:v>0.3510802753935526</c:v>
                </c:pt>
                <c:pt idx="61">
                  <c:v>0.3352297674561704</c:v>
                </c:pt>
                <c:pt idx="62">
                  <c:v>0.4087400446263626</c:v>
                </c:pt>
                <c:pt idx="63">
                  <c:v>0.4023733378341875</c:v>
                </c:pt>
                <c:pt idx="64">
                  <c:v>0.40643401935117013</c:v>
                </c:pt>
                <c:pt idx="65">
                  <c:v>0.37852075743227603</c:v>
                </c:pt>
                <c:pt idx="66">
                  <c:v>0.38774973278584923</c:v>
                </c:pt>
                <c:pt idx="67">
                  <c:v>0.432653277665174</c:v>
                </c:pt>
                <c:pt idx="68">
                  <c:v>0.4026859712060015</c:v>
                </c:pt>
                <c:pt idx="69">
                  <c:v>0.40885491704333643</c:v>
                </c:pt>
                <c:pt idx="70">
                  <c:v>0.3971184829207931</c:v>
                </c:pt>
                <c:pt idx="71">
                  <c:v>0.39853741538891824</c:v>
                </c:pt>
                <c:pt idx="72">
                  <c:v>0.435651365378528</c:v>
                </c:pt>
                <c:pt idx="73">
                  <c:v>0.40760385059185855</c:v>
                </c:pt>
                <c:pt idx="74">
                  <c:v>0.3971395439043543</c:v>
                </c:pt>
                <c:pt idx="75">
                  <c:v>0.36699968152961027</c:v>
                </c:pt>
                <c:pt idx="76">
                  <c:v>0.37088293208109596</c:v>
                </c:pt>
                <c:pt idx="77">
                  <c:v>0.379164629265245</c:v>
                </c:pt>
                <c:pt idx="78">
                  <c:v>0.4141303603736078</c:v>
                </c:pt>
                <c:pt idx="79">
                  <c:v>0.39769235909051137</c:v>
                </c:pt>
                <c:pt idx="80">
                  <c:v>0.3962124661315841</c:v>
                </c:pt>
                <c:pt idx="81">
                  <c:v>0.41331412523620864</c:v>
                </c:pt>
                <c:pt idx="82">
                  <c:v>0.4400725075632439</c:v>
                </c:pt>
                <c:pt idx="83">
                  <c:v>0.3779789763354863</c:v>
                </c:pt>
                <c:pt idx="84">
                  <c:v>0.36070441285529853</c:v>
                </c:pt>
                <c:pt idx="85">
                  <c:v>0.3351825240433251</c:v>
                </c:pt>
                <c:pt idx="86">
                  <c:v>0.3259531933504949</c:v>
                </c:pt>
                <c:pt idx="87">
                  <c:v>0.31763330664531625</c:v>
                </c:pt>
                <c:pt idx="88">
                  <c:v>0.30085796487387506</c:v>
                </c:pt>
                <c:pt idx="89">
                  <c:v>0.3007178152572722</c:v>
                </c:pt>
                <c:pt idx="90">
                  <c:v>0.3051954741249894</c:v>
                </c:pt>
                <c:pt idx="91">
                  <c:v>0.3194260930718204</c:v>
                </c:pt>
                <c:pt idx="92">
                  <c:v>0.31355434004670735</c:v>
                </c:pt>
                <c:pt idx="93">
                  <c:v>0.33030374700659854</c:v>
                </c:pt>
                <c:pt idx="94">
                  <c:v>0.3163956013976475</c:v>
                </c:pt>
                <c:pt idx="95">
                  <c:v>0.4034683593109573</c:v>
                </c:pt>
                <c:pt idx="96">
                  <c:v>0.38425998741489853</c:v>
                </c:pt>
                <c:pt idx="97">
                  <c:v>0.3667160108434601</c:v>
                </c:pt>
                <c:pt idx="98">
                  <c:v>0.4012274831711564</c:v>
                </c:pt>
                <c:pt idx="99">
                  <c:v>0.44519220283067684</c:v>
                </c:pt>
                <c:pt idx="100">
                  <c:v>0.4260513009270765</c:v>
                </c:pt>
                <c:pt idx="101">
                  <c:v>0.39238559832543607</c:v>
                </c:pt>
                <c:pt idx="102">
                  <c:v>0.3838035039608466</c:v>
                </c:pt>
                <c:pt idx="103">
                  <c:v>0.36353195348897654</c:v>
                </c:pt>
                <c:pt idx="104">
                  <c:v>0.3534863570011435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687013338341347</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687013338341347</c:v>
                </c:pt>
                <c:pt idx="1">
                  <c:v>1.0687013338341347</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8309606372687</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8309606372687</c:v>
                </c:pt>
                <c:pt idx="1">
                  <c:v>0.4728309606372687</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3269302828072045</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3269302828072045</c:v>
                </c:pt>
                <c:pt idx="1">
                  <c:v>0.33269302828072045</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pt idx="52">
                  <c:v>0.4728309606372687</c:v>
                </c:pt>
                <c:pt idx="53">
                  <c:v>1.0687013338341347</c:v>
                </c:pt>
                <c:pt idx="54">
                  <c:v>0.33269302828072045</c:v>
                </c:pt>
              </c:numCache>
            </c:numRef>
          </c:xVal>
          <c:yVal>
            <c:numRef>
              <c:f>Sheet1!$B$187:$B$241</c:f>
              <c:numCache>
                <c:formatCode>General</c:formatCode>
                <c:ptCount val="55"/>
                <c:pt idx="0">
                  <c:v>0.2074010931731998</c:v>
                </c:pt>
                <c:pt idx="1">
                  <c:v>0.20899555493511457</c:v>
                </c:pt>
                <c:pt idx="2">
                  <c:v>0.2086760978390737</c:v>
                </c:pt>
                <c:pt idx="3">
                  <c:v>0.2093327298816307</c:v>
                </c:pt>
                <c:pt idx="4">
                  <c:v>0.20848064116806472</c:v>
                </c:pt>
                <c:pt idx="5">
                  <c:v>0.20636930024640215</c:v>
                </c:pt>
                <c:pt idx="6">
                  <c:v>0.20865815451824116</c:v>
                </c:pt>
                <c:pt idx="7">
                  <c:v>0.21003373661920027</c:v>
                </c:pt>
                <c:pt idx="8">
                  <c:v>0.20879411998307168</c:v>
                </c:pt>
                <c:pt idx="9">
                  <c:v>0.20816986966143242</c:v>
                </c:pt>
                <c:pt idx="10">
                  <c:v>0.21012682227566018</c:v>
                </c:pt>
                <c:pt idx="11">
                  <c:v>0.2093618644820967</c:v>
                </c:pt>
                <c:pt idx="12">
                  <c:v>0.21163520408792075</c:v>
                </c:pt>
                <c:pt idx="13">
                  <c:v>0.21380857202901943</c:v>
                </c:pt>
                <c:pt idx="14">
                  <c:v>0.21359274224116914</c:v>
                </c:pt>
                <c:pt idx="15">
                  <c:v>0.21088038529903008</c:v>
                </c:pt>
                <c:pt idx="16">
                  <c:v>0.21028248615224165</c:v>
                </c:pt>
                <c:pt idx="17">
                  <c:v>0.20742509053067937</c:v>
                </c:pt>
                <c:pt idx="18">
                  <c:v>0.20633454650099844</c:v>
                </c:pt>
                <c:pt idx="19">
                  <c:v>0.20819332923778794</c:v>
                </c:pt>
                <c:pt idx="20">
                  <c:v>0.20776425982960814</c:v>
                </c:pt>
                <c:pt idx="21">
                  <c:v>0.20544313932924274</c:v>
                </c:pt>
                <c:pt idx="22">
                  <c:v>0.20626945285175938</c:v>
                </c:pt>
                <c:pt idx="23">
                  <c:v>0.206568977710179</c:v>
                </c:pt>
                <c:pt idx="24">
                  <c:v>0.20706293614391655</c:v>
                </c:pt>
                <c:pt idx="25">
                  <c:v>0.2062076146699941</c:v>
                </c:pt>
                <c:pt idx="26">
                  <c:v>0.20561023813867357</c:v>
                </c:pt>
                <c:pt idx="27">
                  <c:v>0.2062205638721674</c:v>
                </c:pt>
                <c:pt idx="28">
                  <c:v>0.20974944532237463</c:v>
                </c:pt>
                <c:pt idx="29">
                  <c:v>0.2098410101281451</c:v>
                </c:pt>
                <c:pt idx="30">
                  <c:v>0.20917052452685186</c:v>
                </c:pt>
                <c:pt idx="31">
                  <c:v>0.20446903090037383</c:v>
                </c:pt>
                <c:pt idx="32">
                  <c:v>0.20407804320557138</c:v>
                </c:pt>
                <c:pt idx="33">
                  <c:v>0.20314030850011178</c:v>
                </c:pt>
                <c:pt idx="34">
                  <c:v>0.2042918810130379</c:v>
                </c:pt>
                <c:pt idx="35">
                  <c:v>0.20487297643972402</c:v>
                </c:pt>
                <c:pt idx="36">
                  <c:v>0.20529596117470034</c:v>
                </c:pt>
                <c:pt idx="37">
                  <c:v>0.20472547038841651</c:v>
                </c:pt>
                <c:pt idx="38">
                  <c:v>0.20579711037924903</c:v>
                </c:pt>
                <c:pt idx="39">
                  <c:v>0.20606264488761894</c:v>
                </c:pt>
                <c:pt idx="40">
                  <c:v>0.20609053557744308</c:v>
                </c:pt>
                <c:pt idx="41">
                  <c:v>0.20676791901629354</c:v>
                </c:pt>
                <c:pt idx="42">
                  <c:v>0.20574845990442742</c:v>
                </c:pt>
                <c:pt idx="43">
                  <c:v>0.20821304561058393</c:v>
                </c:pt>
                <c:pt idx="44">
                  <c:v>0.20983509033351955</c:v>
                </c:pt>
                <c:pt idx="45">
                  <c:v>0.21056832424644048</c:v>
                </c:pt>
                <c:pt idx="46">
                  <c:v>0.20847477609787557</c:v>
                </c:pt>
                <c:pt idx="47">
                  <c:v>0.21020540112351604</c:v>
                </c:pt>
                <c:pt idx="48">
                  <c:v>0.21085757821943</c:v>
                </c:pt>
                <c:pt idx="49">
                  <c:v>0.21283797246341166</c:v>
                </c:pt>
                <c:pt idx="50">
                  <c:v>0.21329525445979863</c:v>
                </c:pt>
                <c:pt idx="51">
                  <c:v>0.20890384666383002</c:v>
                </c:pt>
                <c:pt idx="52">
                  <c:v>0.21420927704017853</c:v>
                </c:pt>
                <c:pt idx="53">
                  <c:v>0.2505318564708487</c:v>
                </c:pt>
                <c:pt idx="54">
                  <c:v>0.2056668634411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1.6608</c:v>
                </c:pt>
                <c:pt idx="1">
                  <c:v>833.1724</c:v>
                </c:pt>
                <c:pt idx="2">
                  <c:v>876.9636</c:v>
                </c:pt>
                <c:pt idx="3">
                  <c:v>909.6753</c:v>
                </c:pt>
                <c:pt idx="4">
                  <c:v>906.6294</c:v>
                </c:pt>
                <c:pt idx="5">
                  <c:v>901.9245</c:v>
                </c:pt>
                <c:pt idx="6">
                  <c:v>839.9138</c:v>
                </c:pt>
                <c:pt idx="7">
                  <c:v>861.295</c:v>
                </c:pt>
                <c:pt idx="8">
                  <c:v>875.0061</c:v>
                </c:pt>
                <c:pt idx="9">
                  <c:v>851.8691</c:v>
                </c:pt>
                <c:pt idx="10">
                  <c:v>818.6018</c:v>
                </c:pt>
                <c:pt idx="11">
                  <c:v>864.6667</c:v>
                </c:pt>
                <c:pt idx="12">
                  <c:v>869.2184</c:v>
                </c:pt>
                <c:pt idx="13">
                  <c:v>871.5813</c:v>
                </c:pt>
                <c:pt idx="14">
                  <c:v>897.7844</c:v>
                </c:pt>
                <c:pt idx="15">
                  <c:v>912.0859</c:v>
                </c:pt>
                <c:pt idx="16">
                  <c:v>907.2407</c:v>
                </c:pt>
                <c:pt idx="17">
                  <c:v>903.9505</c:v>
                </c:pt>
                <c:pt idx="18">
                  <c:v>927.8642</c:v>
                </c:pt>
                <c:pt idx="19">
                  <c:v>934.25</c:v>
                </c:pt>
                <c:pt idx="20">
                  <c:v>948.0282</c:v>
                </c:pt>
                <c:pt idx="21">
                  <c:v>980.2115</c:v>
                </c:pt>
                <c:pt idx="22">
                  <c:v>902.9103</c:v>
                </c:pt>
                <c:pt idx="23">
                  <c:v>902.0694</c:v>
                </c:pt>
                <c:pt idx="24">
                  <c:v>960.25</c:v>
                </c:pt>
                <c:pt idx="25">
                  <c:v>913.9053</c:v>
                </c:pt>
                <c:pt idx="26">
                  <c:v>889.4907</c:v>
                </c:pt>
                <c:pt idx="27">
                  <c:v>972.0619</c:v>
                </c:pt>
                <c:pt idx="28">
                  <c:v>957.915</c:v>
                </c:pt>
                <c:pt idx="29">
                  <c:v>909.5625</c:v>
                </c:pt>
                <c:pt idx="30">
                  <c:v>889.2868</c:v>
                </c:pt>
                <c:pt idx="31">
                  <c:v>937.6987</c:v>
                </c:pt>
                <c:pt idx="32">
                  <c:v>907.6286</c:v>
                </c:pt>
                <c:pt idx="33">
                  <c:v>868.4354</c:v>
                </c:pt>
                <c:pt idx="34">
                  <c:v>863.9457</c:v>
                </c:pt>
                <c:pt idx="35">
                  <c:v>928.4051</c:v>
                </c:pt>
                <c:pt idx="36">
                  <c:v>1042.5652</c:v>
                </c:pt>
                <c:pt idx="37">
                  <c:v>1056.2867</c:v>
                </c:pt>
                <c:pt idx="38">
                  <c:v>1099.5</c:v>
                </c:pt>
                <c:pt idx="39">
                  <c:v>1097.0068</c:v>
                </c:pt>
                <c:pt idx="40">
                  <c:v>1087.9153</c:v>
                </c:pt>
                <c:pt idx="41">
                  <c:v>1109.098</c:v>
                </c:pt>
                <c:pt idx="42">
                  <c:v>1129.8621</c:v>
                </c:pt>
                <c:pt idx="43">
                  <c:v>1142.5223</c:v>
                </c:pt>
                <c:pt idx="44">
                  <c:v>1110.1377</c:v>
                </c:pt>
                <c:pt idx="45">
                  <c:v>1066.6309</c:v>
                </c:pt>
                <c:pt idx="46">
                  <c:v>1065.5541</c:v>
                </c:pt>
                <c:pt idx="47">
                  <c:v>1026.8831</c:v>
                </c:pt>
                <c:pt idx="48">
                  <c:v>1026.1837</c:v>
                </c:pt>
                <c:pt idx="49">
                  <c:v>981.8086</c:v>
                </c:pt>
                <c:pt idx="50">
                  <c:v>973.967</c:v>
                </c:pt>
                <c:pt idx="51">
                  <c:v>982.0866</c:v>
                </c:pt>
                <c:pt idx="52">
                  <c:v>1005.25</c:v>
                </c:pt>
                <c:pt idx="53">
                  <c:v>1036.2587</c:v>
                </c:pt>
                <c:pt idx="54">
                  <c:v>1058.3402</c:v>
                </c:pt>
                <c:pt idx="55">
                  <c:v>1076.4715</c:v>
                </c:pt>
                <c:pt idx="56">
                  <c:v>1095.145</c:v>
                </c:pt>
                <c:pt idx="57">
                  <c:v>1094.5314</c:v>
                </c:pt>
                <c:pt idx="58">
                  <c:v>995.5641</c:v>
                </c:pt>
                <c:pt idx="59">
                  <c:v>1007.9104</c:v>
                </c:pt>
                <c:pt idx="60">
                  <c:v>1023.6883</c:v>
                </c:pt>
                <c:pt idx="61">
                  <c:v>1041.693</c:v>
                </c:pt>
                <c:pt idx="62">
                  <c:v>963.2097</c:v>
                </c:pt>
                <c:pt idx="63">
                  <c:v>1015.0717</c:v>
                </c:pt>
                <c:pt idx="64">
                  <c:v>996.221</c:v>
                </c:pt>
                <c:pt idx="65">
                  <c:v>1013.3953</c:v>
                </c:pt>
                <c:pt idx="66">
                  <c:v>1000.2852</c:v>
                </c:pt>
                <c:pt idx="67">
                  <c:v>998.1784</c:v>
                </c:pt>
                <c:pt idx="68">
                  <c:v>1012.8186</c:v>
                </c:pt>
                <c:pt idx="69">
                  <c:v>1020.7208</c:v>
                </c:pt>
                <c:pt idx="70">
                  <c:v>1048.7838</c:v>
                </c:pt>
                <c:pt idx="71">
                  <c:v>1127.9078</c:v>
                </c:pt>
                <c:pt idx="72">
                  <c:v>1213.7651</c:v>
                </c:pt>
                <c:pt idx="73">
                  <c:v>1208.8425</c:v>
                </c:pt>
                <c:pt idx="74">
                  <c:v>1206.7829</c:v>
                </c:pt>
                <c:pt idx="75">
                  <c:v>1172.0068</c:v>
                </c:pt>
                <c:pt idx="76">
                  <c:v>1135.9209</c:v>
                </c:pt>
                <c:pt idx="77">
                  <c:v>1132.0942</c:v>
                </c:pt>
                <c:pt idx="78">
                  <c:v>1167.4605</c:v>
                </c:pt>
                <c:pt idx="79">
                  <c:v>1209.7134</c:v>
                </c:pt>
                <c:pt idx="80">
                  <c:v>1199.8175</c:v>
                </c:pt>
                <c:pt idx="81">
                  <c:v>1159.4545</c:v>
                </c:pt>
                <c:pt idx="82">
                  <c:v>1176.9789</c:v>
                </c:pt>
                <c:pt idx="83">
                  <c:v>1112.418</c:v>
                </c:pt>
                <c:pt idx="84">
                  <c:v>1156.3363</c:v>
                </c:pt>
                <c:pt idx="85">
                  <c:v>1105.0556</c:v>
                </c:pt>
                <c:pt idx="86">
                  <c:v>1091.2536</c:v>
                </c:pt>
                <c:pt idx="87">
                  <c:v>1081.192</c:v>
                </c:pt>
                <c:pt idx="88">
                  <c:v>1166.8235</c:v>
                </c:pt>
                <c:pt idx="89">
                  <c:v>1131.2803</c:v>
                </c:pt>
                <c:pt idx="90">
                  <c:v>1211.8675</c:v>
                </c:pt>
                <c:pt idx="91">
                  <c:v>1233.06</c:v>
                </c:pt>
                <c:pt idx="92">
                  <c:v>1193.8162</c:v>
                </c:pt>
                <c:pt idx="93">
                  <c:v>1177.3467</c:v>
                </c:pt>
                <c:pt idx="94">
                  <c:v>1188.3481</c:v>
                </c:pt>
                <c:pt idx="95">
                  <c:v>1122.3505</c:v>
                </c:pt>
                <c:pt idx="96">
                  <c:v>1055.0124</c:v>
                </c:pt>
                <c:pt idx="97">
                  <c:v>1065.0056</c:v>
                </c:pt>
                <c:pt idx="98">
                  <c:v>1072.4196</c:v>
                </c:pt>
                <c:pt idx="99">
                  <c:v>1027.5087</c:v>
                </c:pt>
                <c:pt idx="100">
                  <c:v>1056.4974</c:v>
                </c:pt>
                <c:pt idx="101">
                  <c:v>1045.144</c:v>
                </c:pt>
                <c:pt idx="102">
                  <c:v>1027.6907</c:v>
                </c:pt>
                <c:pt idx="103">
                  <c:v>1037.0742</c:v>
                </c:pt>
                <c:pt idx="104">
                  <c:v>1049.2619</c:v>
                </c:pt>
              </c:numCache>
            </c:numRef>
          </c:xVal>
          <c:yVal>
            <c:numRef>
              <c:f>Sheet1!$B$2:$B$106</c:f>
              <c:numCache>
                <c:formatCode>General</c:formatCode>
                <c:ptCount val="105"/>
                <c:pt idx="0">
                  <c:v>0.11593027969193352</c:v>
                </c:pt>
                <c:pt idx="1">
                  <c:v>0.10555050045495905</c:v>
                </c:pt>
                <c:pt idx="2">
                  <c:v>0.10715835140997831</c:v>
                </c:pt>
                <c:pt idx="3">
                  <c:v>0.1043360433604336</c:v>
                </c:pt>
                <c:pt idx="4">
                  <c:v>0.11374133949191687</c:v>
                </c:pt>
                <c:pt idx="5">
                  <c:v>0.12990196078431374</c:v>
                </c:pt>
                <c:pt idx="6">
                  <c:v>0.14043583535108958</c:v>
                </c:pt>
                <c:pt idx="7">
                  <c:v>0.14245014245014245</c:v>
                </c:pt>
                <c:pt idx="8">
                  <c:v>0.14137033824804857</c:v>
                </c:pt>
                <c:pt idx="9">
                  <c:v>0.12042875157629256</c:v>
                </c:pt>
                <c:pt idx="10">
                  <c:v>0.1338862559241706</c:v>
                </c:pt>
                <c:pt idx="11">
                  <c:v>0.11978221415607986</c:v>
                </c:pt>
                <c:pt idx="12">
                  <c:v>0.11818703384968446</c:v>
                </c:pt>
                <c:pt idx="13">
                  <c:v>0.11334450027917364</c:v>
                </c:pt>
                <c:pt idx="14">
                  <c:v>0.09451046972269384</c:v>
                </c:pt>
                <c:pt idx="15">
                  <c:v>0.08025078369905957</c:v>
                </c:pt>
                <c:pt idx="16">
                  <c:v>0.08352668213457076</c:v>
                </c:pt>
                <c:pt idx="17">
                  <c:v>0.0739385065885798</c:v>
                </c:pt>
                <c:pt idx="18">
                  <c:v>0.05899490167516387</c:v>
                </c:pt>
                <c:pt idx="19">
                  <c:v>0.051194539249146756</c:v>
                </c:pt>
                <c:pt idx="20">
                  <c:v>0.048730267673301304</c:v>
                </c:pt>
                <c:pt idx="21">
                  <c:v>0.04573438874230431</c:v>
                </c:pt>
                <c:pt idx="22">
                  <c:v>0.06419753086419754</c:v>
                </c:pt>
                <c:pt idx="23">
                  <c:v>0.06050420168067227</c:v>
                </c:pt>
                <c:pt idx="24">
                  <c:v>0.06886657101865136</c:v>
                </c:pt>
                <c:pt idx="25">
                  <c:v>0.08275261324041812</c:v>
                </c:pt>
                <c:pt idx="26">
                  <c:v>0.09642857142857143</c:v>
                </c:pt>
                <c:pt idx="27">
                  <c:v>0.09592529711375213</c:v>
                </c:pt>
                <c:pt idx="28">
                  <c:v>0.13178294573643412</c:v>
                </c:pt>
                <c:pt idx="29">
                  <c:v>0.14275092936802974</c:v>
                </c:pt>
                <c:pt idx="30">
                  <c:v>0.12609970674486803</c:v>
                </c:pt>
                <c:pt idx="31">
                  <c:v>0.14606741573033707</c:v>
                </c:pt>
                <c:pt idx="32">
                  <c:v>0.15021459227467812</c:v>
                </c:pt>
                <c:pt idx="33">
                  <c:v>0.14554317548746518</c:v>
                </c:pt>
                <c:pt idx="34">
                  <c:v>0.13864491844416563</c:v>
                </c:pt>
                <c:pt idx="35">
                  <c:v>0.12540192926045016</c:v>
                </c:pt>
                <c:pt idx="36">
                  <c:v>0.13372093023255813</c:v>
                </c:pt>
                <c:pt idx="37">
                  <c:v>0.12380952380952381</c:v>
                </c:pt>
                <c:pt idx="38">
                  <c:v>0.13157894736842105</c:v>
                </c:pt>
                <c:pt idx="39">
                  <c:v>0.13291139240506328</c:v>
                </c:pt>
                <c:pt idx="40">
                  <c:v>0.1254429482636428</c:v>
                </c:pt>
                <c:pt idx="41">
                  <c:v>0.11643835616438356</c:v>
                </c:pt>
                <c:pt idx="42">
                  <c:v>0.11788617886178862</c:v>
                </c:pt>
                <c:pt idx="43">
                  <c:v>0.10142118863049096</c:v>
                </c:pt>
                <c:pt idx="44">
                  <c:v>0.11932367149758454</c:v>
                </c:pt>
                <c:pt idx="45">
                  <c:v>0.14792176039119803</c:v>
                </c:pt>
                <c:pt idx="46">
                  <c:v>0.13205574912891985</c:v>
                </c:pt>
                <c:pt idx="47">
                  <c:v>0.13542033063665143</c:v>
                </c:pt>
                <c:pt idx="48">
                  <c:v>0.13924410343847685</c:v>
                </c:pt>
                <c:pt idx="49">
                  <c:v>0.13941076003415884</c:v>
                </c:pt>
                <c:pt idx="50">
                  <c:v>0.1264236902050114</c:v>
                </c:pt>
                <c:pt idx="51">
                  <c:v>0.12278368794326242</c:v>
                </c:pt>
                <c:pt idx="52">
                  <c:v>0.11369095276220977</c:v>
                </c:pt>
                <c:pt idx="53">
                  <c:v>0.10239429444727458</c:v>
                </c:pt>
                <c:pt idx="54">
                  <c:v>0.1189663578742077</c:v>
                </c:pt>
                <c:pt idx="55">
                  <c:v>0.10200845665961945</c:v>
                </c:pt>
                <c:pt idx="56">
                  <c:v>0.10362694300518134</c:v>
                </c:pt>
                <c:pt idx="57">
                  <c:v>0.10660124888492417</c:v>
                </c:pt>
                <c:pt idx="58">
                  <c:v>0.12084993359893759</c:v>
                </c:pt>
                <c:pt idx="59">
                  <c:v>0.1141785957736878</c:v>
                </c:pt>
                <c:pt idx="60">
                  <c:v>0.12073696589572716</c:v>
                </c:pt>
                <c:pt idx="61">
                  <c:v>0.1224373576309795</c:v>
                </c:pt>
                <c:pt idx="62">
                  <c:v>0.15255905511811024</c:v>
                </c:pt>
                <c:pt idx="63">
                  <c:v>0.1418403660396543</c:v>
                </c:pt>
                <c:pt idx="64">
                  <c:v>0.14375</c:v>
                </c:pt>
                <c:pt idx="65">
                  <c:v>0.14365256124721604</c:v>
                </c:pt>
                <c:pt idx="66">
                  <c:v>0.1461111111111111</c:v>
                </c:pt>
                <c:pt idx="67">
                  <c:v>0.13532401524777637</c:v>
                </c:pt>
                <c:pt idx="68">
                  <c:v>0.13691275167785236</c:v>
                </c:pt>
                <c:pt idx="69">
                  <c:v>0.12801330008312553</c:v>
                </c:pt>
                <c:pt idx="70">
                  <c:v>0.12261806130903065</c:v>
                </c:pt>
                <c:pt idx="71">
                  <c:v>0.1251109139307897</c:v>
                </c:pt>
                <c:pt idx="72">
                  <c:v>0.11760063141278611</c:v>
                </c:pt>
                <c:pt idx="73">
                  <c:v>0.1055694098088113</c:v>
                </c:pt>
                <c:pt idx="74">
                  <c:v>0.11710323574730354</c:v>
                </c:pt>
                <c:pt idx="75">
                  <c:v>0.12985865724381626</c:v>
                </c:pt>
                <c:pt idx="76">
                  <c:v>0.13378248315688163</c:v>
                </c:pt>
                <c:pt idx="77">
                  <c:v>0.13437195715676728</c:v>
                </c:pt>
                <c:pt idx="78">
                  <c:v>0.14901960784313725</c:v>
                </c:pt>
                <c:pt idx="79">
                  <c:v>0.1423611111111111</c:v>
                </c:pt>
                <c:pt idx="80">
                  <c:v>0.12398190045248869</c:v>
                </c:pt>
                <c:pt idx="81">
                  <c:v>0.13524590163934427</c:v>
                </c:pt>
                <c:pt idx="82">
                  <c:v>0.1347248576850095</c:v>
                </c:pt>
                <c:pt idx="83">
                  <c:v>0.13304252998909488</c:v>
                </c:pt>
                <c:pt idx="84">
                  <c:v>0.13093858632676708</c:v>
                </c:pt>
                <c:pt idx="85">
                  <c:v>0.15428571428571428</c:v>
                </c:pt>
                <c:pt idx="86">
                  <c:v>0.15678919729932483</c:v>
                </c:pt>
                <c:pt idx="87">
                  <c:v>0.17568517217146873</c:v>
                </c:pt>
                <c:pt idx="88">
                  <c:v>0.15423387096774194</c:v>
                </c:pt>
                <c:pt idx="89">
                  <c:v>0.17139737991266377</c:v>
                </c:pt>
                <c:pt idx="90">
                  <c:v>0.1571279916753382</c:v>
                </c:pt>
                <c:pt idx="91">
                  <c:v>0.1488095238095238</c:v>
                </c:pt>
                <c:pt idx="92">
                  <c:v>0.15339966832504145</c:v>
                </c:pt>
                <c:pt idx="93">
                  <c:v>0.16459884201819686</c:v>
                </c:pt>
                <c:pt idx="94">
                  <c:v>0.17633928571428573</c:v>
                </c:pt>
                <c:pt idx="95">
                  <c:v>0.15340501792114694</c:v>
                </c:pt>
                <c:pt idx="96">
                  <c:v>0.16061660865241173</c:v>
                </c:pt>
                <c:pt idx="97">
                  <c:v>0.16419981498612396</c:v>
                </c:pt>
                <c:pt idx="98">
                  <c:v>0.1484520701230884</c:v>
                </c:pt>
                <c:pt idx="99">
                  <c:v>0.13754093480202442</c:v>
                </c:pt>
                <c:pt idx="100">
                  <c:v>0.1366299507850949</c:v>
                </c:pt>
                <c:pt idx="101">
                  <c:v>0.14580152671755725</c:v>
                </c:pt>
                <c:pt idx="102">
                  <c:v>0.1480916030534351</c:v>
                </c:pt>
                <c:pt idx="103">
                  <c:v>0.13771657041314972</c:v>
                </c:pt>
                <c:pt idx="104">
                  <c:v>0.13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4.052</c:v>
                </c:pt>
                <c:pt idx="1">
                  <c:v>1099.9259</c:v>
                </c:pt>
                <c:pt idx="2">
                  <c:v>1138.9052</c:v>
                </c:pt>
                <c:pt idx="3">
                  <c:v>1122.3856</c:v>
                </c:pt>
                <c:pt idx="4">
                  <c:v>1194.5164</c:v>
                </c:pt>
                <c:pt idx="5">
                  <c:v>1193.3629</c:v>
                </c:pt>
                <c:pt idx="6">
                  <c:v>1103.3167</c:v>
                </c:pt>
                <c:pt idx="7">
                  <c:v>1097.5582</c:v>
                </c:pt>
                <c:pt idx="8">
                  <c:v>1200.492</c:v>
                </c:pt>
                <c:pt idx="9">
                  <c:v>1148.0</c:v>
                </c:pt>
                <c:pt idx="10">
                  <c:v>1112.5983</c:v>
                </c:pt>
                <c:pt idx="11">
                  <c:v>977.7425</c:v>
                </c:pt>
                <c:pt idx="12">
                  <c:v>1039.2105</c:v>
                </c:pt>
                <c:pt idx="13">
                  <c:v>1094.6</c:v>
                </c:pt>
                <c:pt idx="14">
                  <c:v>1111.574</c:v>
                </c:pt>
                <c:pt idx="15">
                  <c:v>1118.3762</c:v>
                </c:pt>
                <c:pt idx="16">
                  <c:v>1137.9451</c:v>
                </c:pt>
                <c:pt idx="17">
                  <c:v>1091.1404</c:v>
                </c:pt>
                <c:pt idx="18">
                  <c:v>1208.7852</c:v>
                </c:pt>
                <c:pt idx="19">
                  <c:v>1317.4638</c:v>
                </c:pt>
                <c:pt idx="20">
                  <c:v>1300.1983</c:v>
                </c:pt>
                <c:pt idx="21">
                  <c:v>1248.7739</c:v>
                </c:pt>
                <c:pt idx="22">
                  <c:v>1259.0345</c:v>
                </c:pt>
                <c:pt idx="23">
                  <c:v>1261.9709</c:v>
                </c:pt>
                <c:pt idx="24">
                  <c:v>1256.2014</c:v>
                </c:pt>
                <c:pt idx="25">
                  <c:v>1157.9221</c:v>
                </c:pt>
                <c:pt idx="26">
                  <c:v>1162.4706</c:v>
                </c:pt>
                <c:pt idx="27">
                  <c:v>1182.9581</c:v>
                </c:pt>
                <c:pt idx="28">
                  <c:v>1248.9313</c:v>
                </c:pt>
                <c:pt idx="29">
                  <c:v>1214.7687</c:v>
                </c:pt>
                <c:pt idx="30">
                  <c:v>1213.4178</c:v>
                </c:pt>
                <c:pt idx="31">
                  <c:v>1235.9844</c:v>
                </c:pt>
                <c:pt idx="32">
                  <c:v>1228.7566</c:v>
                </c:pt>
                <c:pt idx="33">
                  <c:v>1221.6161</c:v>
                </c:pt>
                <c:pt idx="34">
                  <c:v>1226.0036</c:v>
                </c:pt>
                <c:pt idx="35">
                  <c:v>1276.73</c:v>
                </c:pt>
                <c:pt idx="36">
                  <c:v>1289.9083</c:v>
                </c:pt>
                <c:pt idx="37">
                  <c:v>1256.3206</c:v>
                </c:pt>
                <c:pt idx="38">
                  <c:v>1272.8652</c:v>
                </c:pt>
                <c:pt idx="39">
                  <c:v>1246.1282</c:v>
                </c:pt>
                <c:pt idx="40">
                  <c:v>1285.2875</c:v>
                </c:pt>
                <c:pt idx="41">
                  <c:v>1348.5529</c:v>
                </c:pt>
                <c:pt idx="42">
                  <c:v>1335.098</c:v>
                </c:pt>
                <c:pt idx="43">
                  <c:v>1329.2228</c:v>
                </c:pt>
                <c:pt idx="44">
                  <c:v>1252.2242</c:v>
                </c:pt>
                <c:pt idx="45">
                  <c:v>1194.8148</c:v>
                </c:pt>
                <c:pt idx="46">
                  <c:v>1175.5145</c:v>
                </c:pt>
                <c:pt idx="47">
                  <c:v>1161.2485</c:v>
                </c:pt>
                <c:pt idx="48">
                  <c:v>1175.2994</c:v>
                </c:pt>
                <c:pt idx="49">
                  <c:v>1197.2092</c:v>
                </c:pt>
                <c:pt idx="50">
                  <c:v>1164.1252</c:v>
                </c:pt>
                <c:pt idx="51">
                  <c:v>1129.1239</c:v>
                </c:pt>
              </c:numCache>
            </c:numRef>
          </c:xVal>
          <c:yVal>
            <c:numRef>
              <c:f>Sheet1!$B$109:$B$160</c:f>
              <c:numCache>
                <c:formatCode>General</c:formatCode>
                <c:ptCount val="52"/>
                <c:pt idx="0">
                  <c:v>0.1337642963699652</c:v>
                </c:pt>
                <c:pt idx="1">
                  <c:v>0.13351648351648351</c:v>
                </c:pt>
                <c:pt idx="2">
                  <c:v>0.14339268978444236</c:v>
                </c:pt>
                <c:pt idx="3">
                  <c:v>0.1560665362035225</c:v>
                </c:pt>
                <c:pt idx="4">
                  <c:v>0.12616339193381593</c:v>
                </c:pt>
                <c:pt idx="5">
                  <c:v>0.13093980992608237</c:v>
                </c:pt>
                <c:pt idx="6">
                  <c:v>0.14591356439880188</c:v>
                </c:pt>
                <c:pt idx="7">
                  <c:v>0.17237308146399055</c:v>
                </c:pt>
                <c:pt idx="8">
                  <c:v>0.1401799100449775</c:v>
                </c:pt>
                <c:pt idx="9">
                  <c:v>0.15161957270847692</c:v>
                </c:pt>
                <c:pt idx="10">
                  <c:v>0.16494133885438234</c:v>
                </c:pt>
                <c:pt idx="11">
                  <c:v>0.16766192007349565</c:v>
                </c:pt>
                <c:pt idx="12">
                  <c:v>0.15966386554621848</c:v>
                </c:pt>
                <c:pt idx="13">
                  <c:v>0.1448321263989467</c:v>
                </c:pt>
                <c:pt idx="14">
                  <c:v>0.15170068027210884</c:v>
                </c:pt>
                <c:pt idx="15">
                  <c:v>0.16380655226209048</c:v>
                </c:pt>
                <c:pt idx="16">
                  <c:v>0.1476147614761476</c:v>
                </c:pt>
                <c:pt idx="17">
                  <c:v>0.1613780598368087</c:v>
                </c:pt>
                <c:pt idx="18">
                  <c:v>0.14163498098859315</c:v>
                </c:pt>
                <c:pt idx="19">
                  <c:v>0.12376681614349776</c:v>
                </c:pt>
                <c:pt idx="20">
                  <c:v>0.11224489795918367</c:v>
                </c:pt>
                <c:pt idx="21">
                  <c:v>0.12092534174553102</c:v>
                </c:pt>
                <c:pt idx="22">
                  <c:v>0.11350293542074363</c:v>
                </c:pt>
                <c:pt idx="23">
                  <c:v>0.10640495867768596</c:v>
                </c:pt>
                <c:pt idx="24">
                  <c:v>0.12698412698412698</c:v>
                </c:pt>
                <c:pt idx="25">
                  <c:v>0.1485053037608486</c:v>
                </c:pt>
                <c:pt idx="26">
                  <c:v>0.13503971756398941</c:v>
                </c:pt>
                <c:pt idx="27">
                  <c:v>0.1377887788778878</c:v>
                </c:pt>
                <c:pt idx="28">
                  <c:v>0.12057272042200452</c:v>
                </c:pt>
                <c:pt idx="29">
                  <c:v>0.1337579617834395</c:v>
                </c:pt>
                <c:pt idx="30">
                  <c:v>0.14147286821705427</c:v>
                </c:pt>
                <c:pt idx="31">
                  <c:v>0.13559322033898305</c:v>
                </c:pt>
                <c:pt idx="32">
                  <c:v>0.1357142857142857</c:v>
                </c:pt>
                <c:pt idx="33">
                  <c:v>0.16398243045387995</c:v>
                </c:pt>
                <c:pt idx="34">
                  <c:v>0.16798059429957551</c:v>
                </c:pt>
                <c:pt idx="35">
                  <c:v>0.16750418760469013</c:v>
                </c:pt>
                <c:pt idx="36">
                  <c:v>0.16216216216216217</c:v>
                </c:pt>
                <c:pt idx="37">
                  <c:v>0.15466351829988192</c:v>
                </c:pt>
                <c:pt idx="38">
                  <c:v>0.1688622754491018</c:v>
                </c:pt>
                <c:pt idx="39">
                  <c:v>0.14971209213051823</c:v>
                </c:pt>
                <c:pt idx="40">
                  <c:v>0.15399422521655437</c:v>
                </c:pt>
                <c:pt idx="41">
                  <c:v>0.1528776978417266</c:v>
                </c:pt>
                <c:pt idx="42">
                  <c:v>0.1513353115727003</c:v>
                </c:pt>
                <c:pt idx="43">
                  <c:v>0.1320109439124487</c:v>
                </c:pt>
                <c:pt idx="44">
                  <c:v>0.13765432098765432</c:v>
                </c:pt>
                <c:pt idx="45">
                  <c:v>0.15045592705167174</c:v>
                </c:pt>
                <c:pt idx="46">
                  <c:v>0.18463180362860193</c:v>
                </c:pt>
                <c:pt idx="47">
                  <c:v>0.17290192113245703</c:v>
                </c:pt>
                <c:pt idx="48">
                  <c:v>0.17404129793510326</c:v>
                </c:pt>
                <c:pt idx="49">
                  <c:v>0.16652506372132542</c:v>
                </c:pt>
                <c:pt idx="50">
                  <c:v>0.16513497989661113</c:v>
                </c:pt>
                <c:pt idx="51">
                  <c:v>0.16150547879942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8.2562988959995</c:v>
                </c:pt>
              </c:numCache>
            </c:numRef>
          </c:xVal>
          <c:yVal>
            <c:numRef>
              <c:f>Sheet1!$B$163:$B$164</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8.2562988959995</c:v>
                </c:pt>
                <c:pt idx="1">
                  <c:v>948.2562988959995</c:v>
                </c:pt>
              </c:numCache>
            </c:numRef>
          </c:xVal>
          <c:yVal>
            <c:numRef>
              <c:f>Sheet1!$B$167:$B$168</c:f>
              <c:numCache>
                <c:formatCode>General</c:formatCode>
                <c:ptCount val="2"/>
                <c:pt idx="0">
                  <c:v>0.166801705088117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48.2562988959995</c:v>
                </c:pt>
              </c:numCache>
            </c:numRef>
          </c:xVal>
          <c:yVal>
            <c:numRef>
              <c:f>Sheet1!$B$171:$B$172</c:f>
              <c:numCache>
                <c:formatCode>General</c:formatCode>
                <c:ptCount val="2"/>
                <c:pt idx="0">
                  <c:v>0.16680170508811704</c:v>
                </c:pt>
                <c:pt idx="1">
                  <c:v>0.166801705088117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48.2562988959995</c:v>
                </c:pt>
                <c:pt idx="1">
                  <c:v>948.2562988959995</c:v>
                </c:pt>
              </c:numCache>
            </c:numRef>
          </c:xVal>
          <c:yVal>
            <c:numRef>
              <c:f>Sheet1!$B$175:$B$176</c:f>
              <c:numCache>
                <c:formatCode>General</c:formatCode>
                <c:ptCount val="2"/>
                <c:pt idx="0">
                  <c:v>0.16680170508811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61.503725795386</c:v>
                </c:pt>
              </c:numCache>
            </c:numRef>
          </c:xVal>
          <c:yVal>
            <c:numRef>
              <c:f>Sheet1!$B$179:$B$180</c:f>
              <c:numCache>
                <c:formatCode>General</c:formatCode>
                <c:ptCount val="2"/>
                <c:pt idx="0">
                  <c:v>0.1579062356789847</c:v>
                </c:pt>
                <c:pt idx="1">
                  <c:v>0.15790623567898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61.503725795386</c:v>
                </c:pt>
                <c:pt idx="1">
                  <c:v>1061.503725795386</c:v>
                </c:pt>
              </c:numCache>
            </c:numRef>
          </c:xVal>
          <c:yVal>
            <c:numRef>
              <c:f>Sheet1!$B$183:$B$184</c:f>
              <c:numCache>
                <c:formatCode>General</c:formatCode>
                <c:ptCount val="2"/>
                <c:pt idx="0">
                  <c:v>0.15790623567898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4.052</c:v>
                </c:pt>
                <c:pt idx="1">
                  <c:v>1099.9259</c:v>
                </c:pt>
                <c:pt idx="2">
                  <c:v>1138.9052</c:v>
                </c:pt>
                <c:pt idx="3">
                  <c:v>1122.3856</c:v>
                </c:pt>
                <c:pt idx="4">
                  <c:v>1194.5164</c:v>
                </c:pt>
                <c:pt idx="5">
                  <c:v>1193.3629</c:v>
                </c:pt>
                <c:pt idx="6">
                  <c:v>1103.3167</c:v>
                </c:pt>
                <c:pt idx="7">
                  <c:v>1097.5582</c:v>
                </c:pt>
                <c:pt idx="8">
                  <c:v>1200.492</c:v>
                </c:pt>
                <c:pt idx="9">
                  <c:v>1148.0</c:v>
                </c:pt>
                <c:pt idx="10">
                  <c:v>1112.5983</c:v>
                </c:pt>
                <c:pt idx="11">
                  <c:v>977.7425</c:v>
                </c:pt>
                <c:pt idx="12">
                  <c:v>1039.2105</c:v>
                </c:pt>
                <c:pt idx="13">
                  <c:v>1094.6</c:v>
                </c:pt>
                <c:pt idx="14">
                  <c:v>1111.574</c:v>
                </c:pt>
                <c:pt idx="15">
                  <c:v>1118.3762</c:v>
                </c:pt>
                <c:pt idx="16">
                  <c:v>1137.9451</c:v>
                </c:pt>
                <c:pt idx="17">
                  <c:v>1091.1404</c:v>
                </c:pt>
                <c:pt idx="18">
                  <c:v>1208.7852</c:v>
                </c:pt>
                <c:pt idx="19">
                  <c:v>1317.4638</c:v>
                </c:pt>
                <c:pt idx="20">
                  <c:v>1300.1983</c:v>
                </c:pt>
                <c:pt idx="21">
                  <c:v>1248.7739</c:v>
                </c:pt>
                <c:pt idx="22">
                  <c:v>1259.0345</c:v>
                </c:pt>
                <c:pt idx="23">
                  <c:v>1261.9709</c:v>
                </c:pt>
                <c:pt idx="24">
                  <c:v>1256.2014</c:v>
                </c:pt>
                <c:pt idx="25">
                  <c:v>1157.9221</c:v>
                </c:pt>
                <c:pt idx="26">
                  <c:v>1162.4706</c:v>
                </c:pt>
                <c:pt idx="27">
                  <c:v>1182.9581</c:v>
                </c:pt>
                <c:pt idx="28">
                  <c:v>1248.9313</c:v>
                </c:pt>
                <c:pt idx="29">
                  <c:v>1214.7687</c:v>
                </c:pt>
                <c:pt idx="30">
                  <c:v>1213.4178</c:v>
                </c:pt>
                <c:pt idx="31">
                  <c:v>1235.9844</c:v>
                </c:pt>
                <c:pt idx="32">
                  <c:v>1228.7566</c:v>
                </c:pt>
                <c:pt idx="33">
                  <c:v>1221.6161</c:v>
                </c:pt>
                <c:pt idx="34">
                  <c:v>1226.0036</c:v>
                </c:pt>
                <c:pt idx="35">
                  <c:v>1276.73</c:v>
                </c:pt>
                <c:pt idx="36">
                  <c:v>1289.9083</c:v>
                </c:pt>
                <c:pt idx="37">
                  <c:v>1256.3206</c:v>
                </c:pt>
                <c:pt idx="38">
                  <c:v>1272.8652</c:v>
                </c:pt>
                <c:pt idx="39">
                  <c:v>1246.1282</c:v>
                </c:pt>
                <c:pt idx="40">
                  <c:v>1285.2875</c:v>
                </c:pt>
                <c:pt idx="41">
                  <c:v>1348.5529</c:v>
                </c:pt>
                <c:pt idx="42">
                  <c:v>1335.098</c:v>
                </c:pt>
                <c:pt idx="43">
                  <c:v>1329.2228</c:v>
                </c:pt>
                <c:pt idx="44">
                  <c:v>1252.2242</c:v>
                </c:pt>
                <c:pt idx="45">
                  <c:v>1194.8148</c:v>
                </c:pt>
                <c:pt idx="46">
                  <c:v>1175.5145</c:v>
                </c:pt>
                <c:pt idx="47">
                  <c:v>1161.2485</c:v>
                </c:pt>
                <c:pt idx="48">
                  <c:v>1175.2994</c:v>
                </c:pt>
                <c:pt idx="49">
                  <c:v>1197.2092</c:v>
                </c:pt>
                <c:pt idx="50">
                  <c:v>1164.1252</c:v>
                </c:pt>
                <c:pt idx="51">
                  <c:v>1129.1239</c:v>
                </c:pt>
                <c:pt idx="52">
                  <c:v>948.2562988959995</c:v>
                </c:pt>
                <c:pt idx="53">
                  <c:v>948.2562988959995</c:v>
                </c:pt>
                <c:pt idx="54">
                  <c:v>1061.503725795386</c:v>
                </c:pt>
              </c:numCache>
            </c:numRef>
          </c:xVal>
          <c:yVal>
            <c:numRef>
              <c:f>Sheet1!$B$187:$B$241</c:f>
              <c:numCache>
                <c:formatCode>General</c:formatCode>
                <c:ptCount val="55"/>
                <c:pt idx="0">
                  <c:v>0.15456411231281958</c:v>
                </c:pt>
                <c:pt idx="1">
                  <c:v>0.15488821324238533</c:v>
                </c:pt>
                <c:pt idx="2">
                  <c:v>0.15182642914509675</c:v>
                </c:pt>
                <c:pt idx="3">
                  <c:v>0.1531240268077938</c:v>
                </c:pt>
                <c:pt idx="4">
                  <c:v>0.14745822633511468</c:v>
                </c:pt>
                <c:pt idx="5">
                  <c:v>0.1475488325788446</c:v>
                </c:pt>
                <c:pt idx="6">
                  <c:v>0.15462186937481748</c:v>
                </c:pt>
                <c:pt idx="7">
                  <c:v>0.15507419365268388</c:v>
                </c:pt>
                <c:pt idx="8">
                  <c:v>0.1469888490745749</c:v>
                </c:pt>
                <c:pt idx="9">
                  <c:v>0.1511120419188505</c:v>
                </c:pt>
                <c:pt idx="10">
                  <c:v>0.1538928091998684</c:v>
                </c:pt>
                <c:pt idx="11">
                  <c:v>0.16448559418746767</c:v>
                </c:pt>
                <c:pt idx="12">
                  <c:v>0.15965734573528578</c:v>
                </c:pt>
                <c:pt idx="13">
                  <c:v>0.15530655723326636</c:v>
                </c:pt>
                <c:pt idx="14">
                  <c:v>0.1539732669159088</c:v>
                </c:pt>
                <c:pt idx="15">
                  <c:v>0.1534389610718691</c:v>
                </c:pt>
                <c:pt idx="16">
                  <c:v>0.15190184401688273</c:v>
                </c:pt>
                <c:pt idx="17">
                  <c:v>0.15557830527037783</c:v>
                </c:pt>
                <c:pt idx="18">
                  <c:v>0.14633742670743044</c:v>
                </c:pt>
                <c:pt idx="19">
                  <c:v>0.13780083397242532</c:v>
                </c:pt>
                <c:pt idx="20">
                  <c:v>0.13915702131626512</c:v>
                </c:pt>
                <c:pt idx="21">
                  <c:v>0.14319635527384278</c:v>
                </c:pt>
                <c:pt idx="22">
                  <c:v>0.14239039565146272</c:v>
                </c:pt>
                <c:pt idx="23">
                  <c:v>0.1421597444385554</c:v>
                </c:pt>
                <c:pt idx="24">
                  <c:v>0.14261293275515696</c:v>
                </c:pt>
                <c:pt idx="25">
                  <c:v>0.15033267112482118</c:v>
                </c:pt>
                <c:pt idx="26">
                  <c:v>0.14997539110782454</c:v>
                </c:pt>
                <c:pt idx="27">
                  <c:v>0.14836611896355312</c:v>
                </c:pt>
                <c:pt idx="28">
                  <c:v>0.14318399166503215</c:v>
                </c:pt>
                <c:pt idx="29">
                  <c:v>0.1458674289099809</c:v>
                </c:pt>
                <c:pt idx="30">
                  <c:v>0.1459735407215585</c:v>
                </c:pt>
                <c:pt idx="31">
                  <c:v>0.14420095740144057</c:v>
                </c:pt>
                <c:pt idx="32">
                  <c:v>0.14476869368963413</c:v>
                </c:pt>
                <c:pt idx="33">
                  <c:v>0.14532957265222934</c:v>
                </c:pt>
                <c:pt idx="34">
                  <c:v>0.1449849390203567</c:v>
                </c:pt>
                <c:pt idx="35">
                  <c:v>0.14100043224797498</c:v>
                </c:pt>
                <c:pt idx="36">
                  <c:v>0.1399652902785374</c:v>
                </c:pt>
                <c:pt idx="37">
                  <c:v>0.14260356971722665</c:v>
                </c:pt>
                <c:pt idx="38">
                  <c:v>0.14130400833013143</c:v>
                </c:pt>
                <c:pt idx="39">
                  <c:v>0.14340417229944857</c:v>
                </c:pt>
                <c:pt idx="40">
                  <c:v>0.14032824938649346</c:v>
                </c:pt>
                <c:pt idx="41">
                  <c:v>0.13535881700498326</c:v>
                </c:pt>
                <c:pt idx="42">
                  <c:v>0.1364156856211618</c:v>
                </c:pt>
                <c:pt idx="43">
                  <c:v>0.13687717656451864</c:v>
                </c:pt>
                <c:pt idx="44">
                  <c:v>0.1429253377422074</c:v>
                </c:pt>
                <c:pt idx="45">
                  <c:v>0.14743478732069853</c:v>
                </c:pt>
                <c:pt idx="46">
                  <c:v>0.14895080612075134</c:v>
                </c:pt>
                <c:pt idx="47">
                  <c:v>0.15007138581130297</c:v>
                </c:pt>
                <c:pt idx="48">
                  <c:v>0.14896770200547288</c:v>
                </c:pt>
                <c:pt idx="49">
                  <c:v>0.14724670965274278</c:v>
                </c:pt>
                <c:pt idx="50">
                  <c:v>0.14984542397225842</c:v>
                </c:pt>
                <c:pt idx="51">
                  <c:v>0.15259474024331576</c:v>
                </c:pt>
                <c:pt idx="52">
                  <c:v>0.16680170508811704</c:v>
                </c:pt>
                <c:pt idx="53">
                  <c:v>0.16680170508811704</c:v>
                </c:pt>
                <c:pt idx="54">
                  <c:v>0.15790623567898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8.0"/>
          <c:min val="58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155816435432232"/>
          <c:min val="0.0365875109938434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183479567903186</c:v>
                </c:pt>
                <c:pt idx="1">
                  <c:v>2.2075443202523544</c:v>
                </c:pt>
                <c:pt idx="2">
                  <c:v>2.334509322364401</c:v>
                </c:pt>
                <c:pt idx="3">
                  <c:v>2.391554966754543</c:v>
                </c:pt>
                <c:pt idx="4">
                  <c:v>2.4368545034848497</c:v>
                </c:pt>
                <c:pt idx="5">
                  <c:v>1.9607269154530778</c:v>
                </c:pt>
                <c:pt idx="6">
                  <c:v>1.7177479279227468</c:v>
                </c:pt>
                <c:pt idx="7">
                  <c:v>1.7163869932323075</c:v>
                </c:pt>
                <c:pt idx="8">
                  <c:v>1.808793073605649</c:v>
                </c:pt>
                <c:pt idx="9">
                  <c:v>1.883934316811747</c:v>
                </c:pt>
                <c:pt idx="10">
                  <c:v>1.747906710615177</c:v>
                </c:pt>
                <c:pt idx="11">
                  <c:v>1.776925695882961</c:v>
                </c:pt>
                <c:pt idx="12">
                  <c:v>1.7495965973386176</c:v>
                </c:pt>
                <c:pt idx="13">
                  <c:v>1.7055127926809113</c:v>
                </c:pt>
                <c:pt idx="14">
                  <c:v>1.7371448456437781</c:v>
                </c:pt>
                <c:pt idx="15">
                  <c:v>1.797171187145663</c:v>
                </c:pt>
                <c:pt idx="16">
                  <c:v>1.764144086085211</c:v>
                </c:pt>
                <c:pt idx="17">
                  <c:v>2.1356472556984833</c:v>
                </c:pt>
                <c:pt idx="18">
                  <c:v>2.5315548336408336</c:v>
                </c:pt>
                <c:pt idx="19">
                  <c:v>2.410000164983788</c:v>
                </c:pt>
                <c:pt idx="20">
                  <c:v>2.446210090165189</c:v>
                </c:pt>
                <c:pt idx="21">
                  <c:v>2.265601114454876</c:v>
                </c:pt>
                <c:pt idx="22">
                  <c:v>2.2952066630709913</c:v>
                </c:pt>
                <c:pt idx="23">
                  <c:v>2.271107633901088</c:v>
                </c:pt>
                <c:pt idx="24">
                  <c:v>2.3237835413748003</c:v>
                </c:pt>
                <c:pt idx="25">
                  <c:v>2.2694462610902617</c:v>
                </c:pt>
                <c:pt idx="26">
                  <c:v>1.7829702644081336</c:v>
                </c:pt>
                <c:pt idx="27">
                  <c:v>1.7576950478497273</c:v>
                </c:pt>
                <c:pt idx="28">
                  <c:v>1.6841309474104207</c:v>
                </c:pt>
                <c:pt idx="29">
                  <c:v>1.3851563999848986</c:v>
                </c:pt>
                <c:pt idx="30">
                  <c:v>1.4361852316501404</c:v>
                </c:pt>
                <c:pt idx="31">
                  <c:v>1.5771649019702036</c:v>
                </c:pt>
                <c:pt idx="32">
                  <c:v>1.5211113945665782</c:v>
                </c:pt>
                <c:pt idx="33">
                  <c:v>1.4411326715449848</c:v>
                </c:pt>
                <c:pt idx="34">
                  <c:v>1.6490194023752869</c:v>
                </c:pt>
                <c:pt idx="35">
                  <c:v>1.7961709548140834</c:v>
                </c:pt>
                <c:pt idx="36">
                  <c:v>1.8004456151151569</c:v>
                </c:pt>
                <c:pt idx="37">
                  <c:v>1.8784439130402835</c:v>
                </c:pt>
                <c:pt idx="38">
                  <c:v>1.9311897437386594</c:v>
                </c:pt>
                <c:pt idx="39">
                  <c:v>1.9420010778283012</c:v>
                </c:pt>
                <c:pt idx="40">
                  <c:v>1.9937969868690548</c:v>
                </c:pt>
                <c:pt idx="41">
                  <c:v>2.1381788793704497</c:v>
                </c:pt>
                <c:pt idx="42">
                  <c:v>2.1599139102240774</c:v>
                </c:pt>
                <c:pt idx="43">
                  <c:v>2.1495896778712598</c:v>
                </c:pt>
                <c:pt idx="44">
                  <c:v>2.026496015706041</c:v>
                </c:pt>
                <c:pt idx="45">
                  <c:v>1.9877874302060867</c:v>
                </c:pt>
                <c:pt idx="46">
                  <c:v>2.037395669132569</c:v>
                </c:pt>
                <c:pt idx="47">
                  <c:v>2.0153834996034776</c:v>
                </c:pt>
                <c:pt idx="48">
                  <c:v>2.022314426192123</c:v>
                </c:pt>
                <c:pt idx="49">
                  <c:v>1.9916082901305185</c:v>
                </c:pt>
                <c:pt idx="50">
                  <c:v>1.8892240252966093</c:v>
                </c:pt>
                <c:pt idx="51">
                  <c:v>1.894232637177904</c:v>
                </c:pt>
                <c:pt idx="52">
                  <c:v>1.9222925194335676</c:v>
                </c:pt>
                <c:pt idx="53">
                  <c:v>2.1401285086480453</c:v>
                </c:pt>
                <c:pt idx="54">
                  <c:v>2.1795753229051593</c:v>
                </c:pt>
                <c:pt idx="55">
                  <c:v>2.2052162673741598</c:v>
                </c:pt>
                <c:pt idx="56">
                  <c:v>2.2630276455540774</c:v>
                </c:pt>
                <c:pt idx="57">
                  <c:v>2.276983377894189</c:v>
                </c:pt>
                <c:pt idx="58">
                  <c:v>2.1496456857910533</c:v>
                </c:pt>
                <c:pt idx="59">
                  <c:v>2.2592859958022964</c:v>
                </c:pt>
                <c:pt idx="60">
                  <c:v>2.332410010664377</c:v>
                </c:pt>
                <c:pt idx="61">
                  <c:v>2.28443566659366</c:v>
                </c:pt>
                <c:pt idx="62">
                  <c:v>2.166832495661883</c:v>
                </c:pt>
                <c:pt idx="63">
                  <c:v>2.236656394897762</c:v>
                </c:pt>
                <c:pt idx="64">
                  <c:v>2.1280885876854825</c:v>
                </c:pt>
                <c:pt idx="65">
                  <c:v>2.1636582559187656</c:v>
                </c:pt>
                <c:pt idx="66">
                  <c:v>2.069349162348591</c:v>
                </c:pt>
                <c:pt idx="67">
                  <c:v>2.1678261441221567</c:v>
                </c:pt>
                <c:pt idx="68">
                  <c:v>1.9594750300573378</c:v>
                </c:pt>
                <c:pt idx="69">
                  <c:v>2.0852071991495795</c:v>
                </c:pt>
                <c:pt idx="70">
                  <c:v>2.161779374045256</c:v>
                </c:pt>
                <c:pt idx="71">
                  <c:v>2.2363607021998875</c:v>
                </c:pt>
                <c:pt idx="72">
                  <c:v>2.128430183848274</c:v>
                </c:pt>
                <c:pt idx="73">
                  <c:v>2.400378456928261</c:v>
                </c:pt>
                <c:pt idx="74">
                  <c:v>2.2573790271496397</c:v>
                </c:pt>
                <c:pt idx="75">
                  <c:v>2.2807775661330543</c:v>
                </c:pt>
                <c:pt idx="76">
                  <c:v>2.4333103640950595</c:v>
                </c:pt>
                <c:pt idx="77">
                  <c:v>2.4116151233841028</c:v>
                </c:pt>
                <c:pt idx="78">
                  <c:v>2.50725738797697</c:v>
                </c:pt>
                <c:pt idx="79">
                  <c:v>2.5817276751264733</c:v>
                </c:pt>
                <c:pt idx="80">
                  <c:v>2.401673505054454</c:v>
                </c:pt>
                <c:pt idx="81">
                  <c:v>2.422003000393498</c:v>
                </c:pt>
                <c:pt idx="82">
                  <c:v>2.501507632702251</c:v>
                </c:pt>
                <c:pt idx="83">
                  <c:v>2.4266158726766704</c:v>
                </c:pt>
                <c:pt idx="84">
                  <c:v>2.3930063410264433</c:v>
                </c:pt>
                <c:pt idx="85">
                  <c:v>2.3077021310898127</c:v>
                </c:pt>
                <c:pt idx="86">
                  <c:v>2.2872629372604587</c:v>
                </c:pt>
                <c:pt idx="87">
                  <c:v>2.330145472306503</c:v>
                </c:pt>
                <c:pt idx="88">
                  <c:v>2.3258446798945385</c:v>
                </c:pt>
                <c:pt idx="89">
                  <c:v>2.2003237530090862</c:v>
                </c:pt>
                <c:pt idx="90">
                  <c:v>2.38176264163361</c:v>
                </c:pt>
                <c:pt idx="91">
                  <c:v>2.4006925226768003</c:v>
                </c:pt>
                <c:pt idx="92">
                  <c:v>2.1987196267685936</c:v>
                </c:pt>
                <c:pt idx="93">
                  <c:v>2.133931156343499</c:v>
                </c:pt>
                <c:pt idx="94">
                  <c:v>1.9667094068008777</c:v>
                </c:pt>
                <c:pt idx="95">
                  <c:v>1.994223135175339</c:v>
                </c:pt>
                <c:pt idx="96">
                  <c:v>1.9112355742522023</c:v>
                </c:pt>
                <c:pt idx="97">
                  <c:v>1.92025373890288</c:v>
                </c:pt>
                <c:pt idx="98">
                  <c:v>1.9650405559443656</c:v>
                </c:pt>
                <c:pt idx="99">
                  <c:v>2.138787457850205</c:v>
                </c:pt>
                <c:pt idx="100">
                  <c:v>1.9201457992917572</c:v>
                </c:pt>
                <c:pt idx="101">
                  <c:v>1.7827339049294797</c:v>
                </c:pt>
                <c:pt idx="102">
                  <c:v>1.630008421929482</c:v>
                </c:pt>
                <c:pt idx="103">
                  <c:v>1.6899914786173167</c:v>
                </c:pt>
                <c:pt idx="104">
                  <c:v>1.7285910731867409</c:v>
                </c:pt>
              </c:numCache>
            </c:numRef>
          </c:xVal>
          <c:yVal>
            <c:numRef>
              <c:f>Sheet1!$B$2:$B$106</c:f>
              <c:numCache>
                <c:formatCode>General</c:formatCode>
                <c:ptCount val="105"/>
                <c:pt idx="0">
                  <c:v>0.24442642886096475</c:v>
                </c:pt>
                <c:pt idx="1">
                  <c:v>0.2111010009099181</c:v>
                </c:pt>
                <c:pt idx="2">
                  <c:v>0.1735357917570499</c:v>
                </c:pt>
                <c:pt idx="3">
                  <c:v>0.17524841915085818</c:v>
                </c:pt>
                <c:pt idx="4">
                  <c:v>0.17494226327944573</c:v>
                </c:pt>
                <c:pt idx="5">
                  <c:v>0.15625</c:v>
                </c:pt>
                <c:pt idx="6">
                  <c:v>0.17009685230024213</c:v>
                </c:pt>
                <c:pt idx="7">
                  <c:v>0.16880341880341881</c:v>
                </c:pt>
                <c:pt idx="8">
                  <c:v>0.17606244579358196</c:v>
                </c:pt>
                <c:pt idx="9">
                  <c:v>0.21437578814627994</c:v>
                </c:pt>
                <c:pt idx="10">
                  <c:v>0.22393364928909953</c:v>
                </c:pt>
                <c:pt idx="11">
                  <c:v>0.21294615849969753</c:v>
                </c:pt>
                <c:pt idx="12">
                  <c:v>0.22719449225473323</c:v>
                </c:pt>
                <c:pt idx="13">
                  <c:v>0.22780569514237856</c:v>
                </c:pt>
                <c:pt idx="14">
                  <c:v>0.23259762308998302</c:v>
                </c:pt>
                <c:pt idx="15">
                  <c:v>0.2426332288401254</c:v>
                </c:pt>
                <c:pt idx="16">
                  <c:v>0.2529002320185615</c:v>
                </c:pt>
                <c:pt idx="17">
                  <c:v>0.1910688140556369</c:v>
                </c:pt>
                <c:pt idx="18">
                  <c:v>0.19446467589220684</c:v>
                </c:pt>
                <c:pt idx="19">
                  <c:v>0.19112627986348124</c:v>
                </c:pt>
                <c:pt idx="20">
                  <c:v>0.20452985586822237</c:v>
                </c:pt>
                <c:pt idx="21">
                  <c:v>0.23218997361477572</c:v>
                </c:pt>
                <c:pt idx="22">
                  <c:v>0.23786008230452674</c:v>
                </c:pt>
                <c:pt idx="23">
                  <c:v>0.23025210084033612</c:v>
                </c:pt>
                <c:pt idx="24">
                  <c:v>0.22309899569583932</c:v>
                </c:pt>
                <c:pt idx="25">
                  <c:v>0.22560975609756098</c:v>
                </c:pt>
                <c:pt idx="26">
                  <c:v>0.21875</c:v>
                </c:pt>
                <c:pt idx="27">
                  <c:v>0.19100169779286927</c:v>
                </c:pt>
                <c:pt idx="28">
                  <c:v>0.18949181739879414</c:v>
                </c:pt>
                <c:pt idx="29">
                  <c:v>0.20297397769516728</c:v>
                </c:pt>
                <c:pt idx="30">
                  <c:v>0.20332355816226785</c:v>
                </c:pt>
                <c:pt idx="31">
                  <c:v>0.20973782771535582</c:v>
                </c:pt>
                <c:pt idx="32">
                  <c:v>0.21888412017167383</c:v>
                </c:pt>
                <c:pt idx="33">
                  <c:v>0.2298050139275766</c:v>
                </c:pt>
                <c:pt idx="34">
                  <c:v>0.2314930991217064</c:v>
                </c:pt>
                <c:pt idx="35">
                  <c:v>0.22443729903536977</c:v>
                </c:pt>
                <c:pt idx="36">
                  <c:v>0.1760797342192691</c:v>
                </c:pt>
                <c:pt idx="37">
                  <c:v>0.1523809523809524</c:v>
                </c:pt>
                <c:pt idx="38">
                  <c:v>0.15225563909774437</c:v>
                </c:pt>
                <c:pt idx="39">
                  <c:v>0.15641952983725135</c:v>
                </c:pt>
                <c:pt idx="40">
                  <c:v>0.13749114103472715</c:v>
                </c:pt>
                <c:pt idx="41">
                  <c:v>0.1126331811263318</c:v>
                </c:pt>
                <c:pt idx="42">
                  <c:v>0.11653116531165311</c:v>
                </c:pt>
                <c:pt idx="43">
                  <c:v>0.11692506459948321</c:v>
                </c:pt>
                <c:pt idx="44">
                  <c:v>0.14347826086956522</c:v>
                </c:pt>
                <c:pt idx="45">
                  <c:v>0.17074164629176855</c:v>
                </c:pt>
                <c:pt idx="46">
                  <c:v>0.1686411149825784</c:v>
                </c:pt>
                <c:pt idx="47">
                  <c:v>0.164966584593739</c:v>
                </c:pt>
                <c:pt idx="48">
                  <c:v>0.16822961068485365</c:v>
                </c:pt>
                <c:pt idx="49">
                  <c:v>0.19107600341588385</c:v>
                </c:pt>
                <c:pt idx="50">
                  <c:v>0.17084282460136674</c:v>
                </c:pt>
                <c:pt idx="51">
                  <c:v>0.1449468085106383</c:v>
                </c:pt>
                <c:pt idx="52">
                  <c:v>0.14491593274619696</c:v>
                </c:pt>
                <c:pt idx="53">
                  <c:v>0.13958227203260315</c:v>
                </c:pt>
                <c:pt idx="54">
                  <c:v>0.13359336908824965</c:v>
                </c:pt>
                <c:pt idx="55">
                  <c:v>0.12420718816067654</c:v>
                </c:pt>
                <c:pt idx="56">
                  <c:v>0.12590673575129532</c:v>
                </c:pt>
                <c:pt idx="57">
                  <c:v>0.11909009812667261</c:v>
                </c:pt>
                <c:pt idx="58">
                  <c:v>0.14254094732182382</c:v>
                </c:pt>
                <c:pt idx="59">
                  <c:v>0.14621676891615543</c:v>
                </c:pt>
                <c:pt idx="60">
                  <c:v>0.1524892199137593</c:v>
                </c:pt>
                <c:pt idx="61">
                  <c:v>0.14236902050113895</c:v>
                </c:pt>
                <c:pt idx="62">
                  <c:v>0.15206692913385828</c:v>
                </c:pt>
                <c:pt idx="63">
                  <c:v>0.19369598373157093</c:v>
                </c:pt>
                <c:pt idx="64">
                  <c:v>0.20416666666666666</c:v>
                </c:pt>
                <c:pt idx="65">
                  <c:v>0.17817371937639198</c:v>
                </c:pt>
                <c:pt idx="66">
                  <c:v>0.16944444444444445</c:v>
                </c:pt>
                <c:pt idx="67">
                  <c:v>0.17344345616264295</c:v>
                </c:pt>
                <c:pt idx="68">
                  <c:v>0.17583892617449665</c:v>
                </c:pt>
                <c:pt idx="69">
                  <c:v>0.14214463840399003</c:v>
                </c:pt>
                <c:pt idx="70">
                  <c:v>0.12096106048053024</c:v>
                </c:pt>
                <c:pt idx="71">
                  <c:v>0.13842058562555457</c:v>
                </c:pt>
                <c:pt idx="72">
                  <c:v>0.16179952644041043</c:v>
                </c:pt>
                <c:pt idx="73">
                  <c:v>0.14630091438071488</c:v>
                </c:pt>
                <c:pt idx="74">
                  <c:v>0.15639445300462249</c:v>
                </c:pt>
                <c:pt idx="75">
                  <c:v>0.15547703180212014</c:v>
                </c:pt>
                <c:pt idx="76">
                  <c:v>0.15399422521655437</c:v>
                </c:pt>
                <c:pt idx="77">
                  <c:v>0.1665043816942551</c:v>
                </c:pt>
                <c:pt idx="78">
                  <c:v>0.14019607843137255</c:v>
                </c:pt>
                <c:pt idx="79">
                  <c:v>0.12586805555555555</c:v>
                </c:pt>
                <c:pt idx="80">
                  <c:v>0.14027149321266968</c:v>
                </c:pt>
                <c:pt idx="81">
                  <c:v>0.14275956284153005</c:v>
                </c:pt>
                <c:pt idx="82">
                  <c:v>0.12903225806451613</c:v>
                </c:pt>
                <c:pt idx="83">
                  <c:v>0.1297709923664122</c:v>
                </c:pt>
                <c:pt idx="84">
                  <c:v>0.1425260718424102</c:v>
                </c:pt>
                <c:pt idx="85">
                  <c:v>0.1580952380952381</c:v>
                </c:pt>
                <c:pt idx="86">
                  <c:v>0.15753938484621155</c:v>
                </c:pt>
                <c:pt idx="87">
                  <c:v>0.1820098383696416</c:v>
                </c:pt>
                <c:pt idx="88">
                  <c:v>0.16733870967741934</c:v>
                </c:pt>
                <c:pt idx="89">
                  <c:v>0.14410480349344978</c:v>
                </c:pt>
                <c:pt idx="90">
                  <c:v>0.12695109261186263</c:v>
                </c:pt>
                <c:pt idx="91">
                  <c:v>0.12996031746031747</c:v>
                </c:pt>
                <c:pt idx="92">
                  <c:v>0.14593698175787728</c:v>
                </c:pt>
                <c:pt idx="93">
                  <c:v>0.14226633581472292</c:v>
                </c:pt>
                <c:pt idx="94">
                  <c:v>0.14732142857142858</c:v>
                </c:pt>
                <c:pt idx="95">
                  <c:v>0.14408602150537633</c:v>
                </c:pt>
                <c:pt idx="96">
                  <c:v>0.13823968175037296</c:v>
                </c:pt>
                <c:pt idx="97">
                  <c:v>0.1595744680851064</c:v>
                </c:pt>
                <c:pt idx="98">
                  <c:v>0.18314061917195076</c:v>
                </c:pt>
                <c:pt idx="99">
                  <c:v>0.18844894313783864</c:v>
                </c:pt>
                <c:pt idx="100">
                  <c:v>0.20529646121396766</c:v>
                </c:pt>
                <c:pt idx="101">
                  <c:v>0.1916030534351145</c:v>
                </c:pt>
                <c:pt idx="102">
                  <c:v>0.15623409669211197</c:v>
                </c:pt>
                <c:pt idx="103">
                  <c:v>0.15859617947578855</c:v>
                </c:pt>
                <c:pt idx="104">
                  <c:v>0.157333333333333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704263066480762</c:v>
                </c:pt>
                <c:pt idx="1">
                  <c:v>1.6747086837857006</c:v>
                </c:pt>
                <c:pt idx="2">
                  <c:v>1.6806075702798093</c:v>
                </c:pt>
                <c:pt idx="3">
                  <c:v>1.6804244988485884</c:v>
                </c:pt>
                <c:pt idx="4">
                  <c:v>1.6406549701759114</c:v>
                </c:pt>
                <c:pt idx="5">
                  <c:v>1.631348461274696</c:v>
                </c:pt>
                <c:pt idx="6">
                  <c:v>1.562472687038361</c:v>
                </c:pt>
                <c:pt idx="7">
                  <c:v>1.6276854044336904</c:v>
                </c:pt>
                <c:pt idx="8">
                  <c:v>1.692518786114876</c:v>
                </c:pt>
                <c:pt idx="9">
                  <c:v>1.6068699871656023</c:v>
                </c:pt>
                <c:pt idx="10">
                  <c:v>1.648814318040084</c:v>
                </c:pt>
                <c:pt idx="11">
                  <c:v>1.6632164004729422</c:v>
                </c:pt>
                <c:pt idx="12">
                  <c:v>1.6068177387306426</c:v>
                </c:pt>
                <c:pt idx="13">
                  <c:v>1.5657246610349742</c:v>
                </c:pt>
                <c:pt idx="14">
                  <c:v>1.5814188160664548</c:v>
                </c:pt>
                <c:pt idx="15">
                  <c:v>1.677606436957724</c:v>
                </c:pt>
                <c:pt idx="16">
                  <c:v>1.6908043598743765</c:v>
                </c:pt>
                <c:pt idx="17">
                  <c:v>1.6726371003659077</c:v>
                </c:pt>
                <c:pt idx="18">
                  <c:v>1.6326171360731374</c:v>
                </c:pt>
                <c:pt idx="19">
                  <c:v>1.9043567611431182</c:v>
                </c:pt>
                <c:pt idx="20">
                  <c:v>1.8079864018564475</c:v>
                </c:pt>
                <c:pt idx="21">
                  <c:v>1.7885684565057727</c:v>
                </c:pt>
                <c:pt idx="22">
                  <c:v>1.7900850882742314</c:v>
                </c:pt>
                <c:pt idx="23">
                  <c:v>1.7338043264068168</c:v>
                </c:pt>
                <c:pt idx="24">
                  <c:v>1.7006423121679695</c:v>
                </c:pt>
                <c:pt idx="25">
                  <c:v>1.6159887701487086</c:v>
                </c:pt>
                <c:pt idx="26">
                  <c:v>1.657511569399514</c:v>
                </c:pt>
                <c:pt idx="27">
                  <c:v>1.711157589716918</c:v>
                </c:pt>
                <c:pt idx="28">
                  <c:v>1.6028605229231245</c:v>
                </c:pt>
                <c:pt idx="29">
                  <c:v>1.603732240837886</c:v>
                </c:pt>
                <c:pt idx="30">
                  <c:v>1.5939588474570663</c:v>
                </c:pt>
                <c:pt idx="31">
                  <c:v>1.6048500200483191</c:v>
                </c:pt>
                <c:pt idx="32">
                  <c:v>1.5667312844720664</c:v>
                </c:pt>
                <c:pt idx="33">
                  <c:v>1.573541934793636</c:v>
                </c:pt>
                <c:pt idx="34">
                  <c:v>1.5783338894739576</c:v>
                </c:pt>
                <c:pt idx="35">
                  <c:v>1.498733914973</c:v>
                </c:pt>
                <c:pt idx="36">
                  <c:v>1.5837663719226627</c:v>
                </c:pt>
                <c:pt idx="37">
                  <c:v>1.7058071041492364</c:v>
                </c:pt>
                <c:pt idx="38">
                  <c:v>1.7108282355494433</c:v>
                </c:pt>
                <c:pt idx="39">
                  <c:v>1.6630576053667785</c:v>
                </c:pt>
                <c:pt idx="40">
                  <c:v>1.6910261928289825</c:v>
                </c:pt>
                <c:pt idx="41">
                  <c:v>1.835918164713839</c:v>
                </c:pt>
                <c:pt idx="42">
                  <c:v>1.8787263444911086</c:v>
                </c:pt>
                <c:pt idx="43">
                  <c:v>1.8724846418266499</c:v>
                </c:pt>
                <c:pt idx="44">
                  <c:v>1.7422278118500956</c:v>
                </c:pt>
                <c:pt idx="45">
                  <c:v>1.6897690253706286</c:v>
                </c:pt>
                <c:pt idx="46">
                  <c:v>1.6934807191302592</c:v>
                </c:pt>
                <c:pt idx="47">
                  <c:v>1.6924627899171485</c:v>
                </c:pt>
                <c:pt idx="48">
                  <c:v>1.6642464320585892</c:v>
                </c:pt>
                <c:pt idx="49">
                  <c:v>1.7552386876805048</c:v>
                </c:pt>
                <c:pt idx="50">
                  <c:v>1.601591796862497</c:v>
                </c:pt>
                <c:pt idx="51">
                  <c:v>1.6171536806580888</c:v>
                </c:pt>
              </c:numCache>
            </c:numRef>
          </c:xVal>
          <c:yVal>
            <c:numRef>
              <c:f>Sheet1!$B$109:$B$160</c:f>
              <c:numCache>
                <c:formatCode>General</c:formatCode>
                <c:ptCount val="52"/>
                <c:pt idx="0">
                  <c:v>0.15614122327200397</c:v>
                </c:pt>
                <c:pt idx="1">
                  <c:v>0.1478021978021978</c:v>
                </c:pt>
                <c:pt idx="2">
                  <c:v>0.16213683223992503</c:v>
                </c:pt>
                <c:pt idx="3">
                  <c:v>0.1634050880626223</c:v>
                </c:pt>
                <c:pt idx="4">
                  <c:v>0.1468459152016546</c:v>
                </c:pt>
                <c:pt idx="5">
                  <c:v>0.14783526927138332</c:v>
                </c:pt>
                <c:pt idx="6">
                  <c:v>0.16174582798459564</c:v>
                </c:pt>
                <c:pt idx="7">
                  <c:v>0.14817001180637543</c:v>
                </c:pt>
                <c:pt idx="8">
                  <c:v>0.1446776611694153</c:v>
                </c:pt>
                <c:pt idx="9">
                  <c:v>0.16747070985527224</c:v>
                </c:pt>
                <c:pt idx="10">
                  <c:v>0.17805383022774326</c:v>
                </c:pt>
                <c:pt idx="11">
                  <c:v>0.2140560404225999</c:v>
                </c:pt>
                <c:pt idx="12">
                  <c:v>0.21068427370948378</c:v>
                </c:pt>
                <c:pt idx="13">
                  <c:v>0.20013166556945358</c:v>
                </c:pt>
                <c:pt idx="14">
                  <c:v>0.19523809523809524</c:v>
                </c:pt>
                <c:pt idx="15">
                  <c:v>0.17862714508580343</c:v>
                </c:pt>
                <c:pt idx="16">
                  <c:v>0.1557155715571557</c:v>
                </c:pt>
                <c:pt idx="17">
                  <c:v>0.1441523118766999</c:v>
                </c:pt>
                <c:pt idx="18">
                  <c:v>0.1359315589353612</c:v>
                </c:pt>
                <c:pt idx="19">
                  <c:v>0.13632286995515694</c:v>
                </c:pt>
                <c:pt idx="20">
                  <c:v>0.12523191094619665</c:v>
                </c:pt>
                <c:pt idx="21">
                  <c:v>0.13249211356466878</c:v>
                </c:pt>
                <c:pt idx="22">
                  <c:v>0.12035225048923678</c:v>
                </c:pt>
                <c:pt idx="23">
                  <c:v>0.13326446280991736</c:v>
                </c:pt>
                <c:pt idx="24">
                  <c:v>0.12610229276895943</c:v>
                </c:pt>
                <c:pt idx="25">
                  <c:v>0.14561234329797493</c:v>
                </c:pt>
                <c:pt idx="26">
                  <c:v>0.1235657546337158</c:v>
                </c:pt>
                <c:pt idx="27">
                  <c:v>0.12293729372937294</c:v>
                </c:pt>
                <c:pt idx="28">
                  <c:v>0.1492087415222306</c:v>
                </c:pt>
                <c:pt idx="29">
                  <c:v>0.15195632393084624</c:v>
                </c:pt>
                <c:pt idx="30">
                  <c:v>0.14244186046511628</c:v>
                </c:pt>
                <c:pt idx="31">
                  <c:v>0.1472457627118644</c:v>
                </c:pt>
                <c:pt idx="32">
                  <c:v>0.14375</c:v>
                </c:pt>
                <c:pt idx="33">
                  <c:v>0.1720351390922401</c:v>
                </c:pt>
                <c:pt idx="34">
                  <c:v>0.20800485142510614</c:v>
                </c:pt>
                <c:pt idx="35">
                  <c:v>0.19932998324958123</c:v>
                </c:pt>
                <c:pt idx="36">
                  <c:v>0.14324324324324325</c:v>
                </c:pt>
                <c:pt idx="37">
                  <c:v>0.12160566706021252</c:v>
                </c:pt>
                <c:pt idx="38">
                  <c:v>0.12215568862275449</c:v>
                </c:pt>
                <c:pt idx="39">
                  <c:v>0.13915547024952016</c:v>
                </c:pt>
                <c:pt idx="40">
                  <c:v>0.11742059672762271</c:v>
                </c:pt>
                <c:pt idx="41">
                  <c:v>0.12859712230215828</c:v>
                </c:pt>
                <c:pt idx="42">
                  <c:v>0.12166172106824925</c:v>
                </c:pt>
                <c:pt idx="43">
                  <c:v>0.11627906976744186</c:v>
                </c:pt>
                <c:pt idx="44">
                  <c:v>0.1191358024691358</c:v>
                </c:pt>
                <c:pt idx="45">
                  <c:v>0.1529888551165147</c:v>
                </c:pt>
                <c:pt idx="46">
                  <c:v>0.144076840981857</c:v>
                </c:pt>
                <c:pt idx="47">
                  <c:v>0.15217391304347827</c:v>
                </c:pt>
                <c:pt idx="48">
                  <c:v>0.14995083579154375</c:v>
                </c:pt>
                <c:pt idx="49">
                  <c:v>0.16397621070518267</c:v>
                </c:pt>
                <c:pt idx="50">
                  <c:v>0.19299253302699598</c:v>
                </c:pt>
                <c:pt idx="51">
                  <c:v>0.1915197713196760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066932290631301</c:v>
                </c:pt>
              </c:numCache>
            </c:numRef>
          </c:xVal>
          <c:yVal>
            <c:numRef>
              <c:f>Sheet1!$B$163:$B$164</c:f>
              <c:numCache>
                <c:formatCode>General</c:formatCode>
                <c:ptCount val="2"/>
                <c:pt idx="0">
                  <c:v>0.21905895896732167</c:v>
                </c:pt>
                <c:pt idx="1">
                  <c:v>0.219058958967321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066932290631301</c:v>
                </c:pt>
                <c:pt idx="1">
                  <c:v>1.3066932290631301</c:v>
                </c:pt>
              </c:numCache>
            </c:numRef>
          </c:xVal>
          <c:yVal>
            <c:numRef>
              <c:f>Sheet1!$B$167:$B$168</c:f>
              <c:numCache>
                <c:formatCode>General</c:formatCode>
                <c:ptCount val="2"/>
                <c:pt idx="0">
                  <c:v>0.219058958967321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495639570697826</c:v>
                </c:pt>
              </c:numCache>
            </c:numRef>
          </c:xVal>
          <c:yVal>
            <c:numRef>
              <c:f>Sheet1!$B$171:$B$172</c:f>
              <c:numCache>
                <c:formatCode>General</c:formatCode>
                <c:ptCount val="2"/>
                <c:pt idx="0">
                  <c:v>0.17460983771084962</c:v>
                </c:pt>
                <c:pt idx="1">
                  <c:v>0.174609837710849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495639570697826</c:v>
                </c:pt>
                <c:pt idx="1">
                  <c:v>1.5495639570697826</c:v>
                </c:pt>
              </c:numCache>
            </c:numRef>
          </c:xVal>
          <c:yVal>
            <c:numRef>
              <c:f>Sheet1!$B$175:$B$176</c:f>
              <c:numCache>
                <c:formatCode>General</c:formatCode>
                <c:ptCount val="2"/>
                <c:pt idx="0">
                  <c:v>0.174609837710849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092810016160753</c:v>
                </c:pt>
              </c:numCache>
            </c:numRef>
          </c:xVal>
          <c:yVal>
            <c:numRef>
              <c:f>Sheet1!$B$179:$B$180</c:f>
              <c:numCache>
                <c:formatCode>General</c:formatCode>
                <c:ptCount val="2"/>
                <c:pt idx="0">
                  <c:v>0.1453791340437982</c:v>
                </c:pt>
                <c:pt idx="1">
                  <c:v>0.14537913404379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092810016160753</c:v>
                </c:pt>
                <c:pt idx="1">
                  <c:v>1.7092810016160753</c:v>
                </c:pt>
              </c:numCache>
            </c:numRef>
          </c:xVal>
          <c:yVal>
            <c:numRef>
              <c:f>Sheet1!$B$183:$B$184</c:f>
              <c:numCache>
                <c:formatCode>General</c:formatCode>
                <c:ptCount val="2"/>
                <c:pt idx="0">
                  <c:v>0.14537913404379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704263066480762</c:v>
                </c:pt>
                <c:pt idx="1">
                  <c:v>1.6747086837857006</c:v>
                </c:pt>
                <c:pt idx="2">
                  <c:v>1.6806075702798093</c:v>
                </c:pt>
                <c:pt idx="3">
                  <c:v>1.6804244988485884</c:v>
                </c:pt>
                <c:pt idx="4">
                  <c:v>1.6406549701759114</c:v>
                </c:pt>
                <c:pt idx="5">
                  <c:v>1.631348461274696</c:v>
                </c:pt>
                <c:pt idx="6">
                  <c:v>1.562472687038361</c:v>
                </c:pt>
                <c:pt idx="7">
                  <c:v>1.6276854044336904</c:v>
                </c:pt>
                <c:pt idx="8">
                  <c:v>1.692518786114876</c:v>
                </c:pt>
                <c:pt idx="9">
                  <c:v>1.6068699871656023</c:v>
                </c:pt>
                <c:pt idx="10">
                  <c:v>1.648814318040084</c:v>
                </c:pt>
                <c:pt idx="11">
                  <c:v>1.6632164004729422</c:v>
                </c:pt>
                <c:pt idx="12">
                  <c:v>1.6068177387306426</c:v>
                </c:pt>
                <c:pt idx="13">
                  <c:v>1.5657246610349742</c:v>
                </c:pt>
                <c:pt idx="14">
                  <c:v>1.5814188160664548</c:v>
                </c:pt>
                <c:pt idx="15">
                  <c:v>1.677606436957724</c:v>
                </c:pt>
                <c:pt idx="16">
                  <c:v>1.6908043598743765</c:v>
                </c:pt>
                <c:pt idx="17">
                  <c:v>1.6726371003659077</c:v>
                </c:pt>
                <c:pt idx="18">
                  <c:v>1.6326171360731374</c:v>
                </c:pt>
                <c:pt idx="19">
                  <c:v>1.9043567611431182</c:v>
                </c:pt>
                <c:pt idx="20">
                  <c:v>1.8079864018564475</c:v>
                </c:pt>
                <c:pt idx="21">
                  <c:v>1.7885684565057727</c:v>
                </c:pt>
                <c:pt idx="22">
                  <c:v>1.7900850882742314</c:v>
                </c:pt>
                <c:pt idx="23">
                  <c:v>1.7338043264068168</c:v>
                </c:pt>
                <c:pt idx="24">
                  <c:v>1.7006423121679695</c:v>
                </c:pt>
                <c:pt idx="25">
                  <c:v>1.6159887701487086</c:v>
                </c:pt>
                <c:pt idx="26">
                  <c:v>1.657511569399514</c:v>
                </c:pt>
                <c:pt idx="27">
                  <c:v>1.711157589716918</c:v>
                </c:pt>
                <c:pt idx="28">
                  <c:v>1.6028605229231245</c:v>
                </c:pt>
                <c:pt idx="29">
                  <c:v>1.603732240837886</c:v>
                </c:pt>
                <c:pt idx="30">
                  <c:v>1.5939588474570663</c:v>
                </c:pt>
                <c:pt idx="31">
                  <c:v>1.6048500200483191</c:v>
                </c:pt>
                <c:pt idx="32">
                  <c:v>1.5667312844720664</c:v>
                </c:pt>
                <c:pt idx="33">
                  <c:v>1.573541934793636</c:v>
                </c:pt>
                <c:pt idx="34">
                  <c:v>1.5783338894739576</c:v>
                </c:pt>
                <c:pt idx="35">
                  <c:v>1.498733914973</c:v>
                </c:pt>
                <c:pt idx="36">
                  <c:v>1.5837663719226627</c:v>
                </c:pt>
                <c:pt idx="37">
                  <c:v>1.7058071041492364</c:v>
                </c:pt>
                <c:pt idx="38">
                  <c:v>1.7108282355494433</c:v>
                </c:pt>
                <c:pt idx="39">
                  <c:v>1.6630576053667785</c:v>
                </c:pt>
                <c:pt idx="40">
                  <c:v>1.6910261928289825</c:v>
                </c:pt>
                <c:pt idx="41">
                  <c:v>1.835918164713839</c:v>
                </c:pt>
                <c:pt idx="42">
                  <c:v>1.8787263444911086</c:v>
                </c:pt>
                <c:pt idx="43">
                  <c:v>1.8724846418266499</c:v>
                </c:pt>
                <c:pt idx="44">
                  <c:v>1.7422278118500956</c:v>
                </c:pt>
                <c:pt idx="45">
                  <c:v>1.6897690253706286</c:v>
                </c:pt>
                <c:pt idx="46">
                  <c:v>1.6934807191302592</c:v>
                </c:pt>
                <c:pt idx="47">
                  <c:v>1.6924627899171485</c:v>
                </c:pt>
                <c:pt idx="48">
                  <c:v>1.6642464320585892</c:v>
                </c:pt>
                <c:pt idx="49">
                  <c:v>1.7552386876805048</c:v>
                </c:pt>
                <c:pt idx="50">
                  <c:v>1.601591796862497</c:v>
                </c:pt>
                <c:pt idx="51">
                  <c:v>1.6171536806580888</c:v>
                </c:pt>
                <c:pt idx="52">
                  <c:v>1.5495639570697826</c:v>
                </c:pt>
                <c:pt idx="53">
                  <c:v>1.3066932290631301</c:v>
                </c:pt>
                <c:pt idx="54">
                  <c:v>1.7092810016160753</c:v>
                </c:pt>
              </c:numCache>
            </c:numRef>
          </c:xVal>
          <c:yVal>
            <c:numRef>
              <c:f>Sheet1!$B$187:$B$241</c:f>
              <c:numCache>
                <c:formatCode>General</c:formatCode>
                <c:ptCount val="55"/>
                <c:pt idx="0">
                  <c:v>0.1524901476360518</c:v>
                </c:pt>
                <c:pt idx="1">
                  <c:v>0.1517064060043678</c:v>
                </c:pt>
                <c:pt idx="2">
                  <c:v>0.15062681801446554</c:v>
                </c:pt>
                <c:pt idx="3">
                  <c:v>0.15066032293418857</c:v>
                </c:pt>
                <c:pt idx="4">
                  <c:v>0.1579387653253035</c:v>
                </c:pt>
                <c:pt idx="5">
                  <c:v>0.15964200122375738</c:v>
                </c:pt>
                <c:pt idx="6">
                  <c:v>0.17224733932189323</c:v>
                </c:pt>
                <c:pt idx="7">
                  <c:v>0.16031239760718136</c:v>
                </c:pt>
                <c:pt idx="8">
                  <c:v>0.14844688022900138</c:v>
                </c:pt>
                <c:pt idx="9">
                  <c:v>0.16412194276623387</c:v>
                </c:pt>
                <c:pt idx="10">
                  <c:v>0.15644547774155476</c:v>
                </c:pt>
                <c:pt idx="11">
                  <c:v>0.15380967262144873</c:v>
                </c:pt>
                <c:pt idx="12">
                  <c:v>0.164131505042594</c:v>
                </c:pt>
                <c:pt idx="13">
                  <c:v>0.1716521774936864</c:v>
                </c:pt>
                <c:pt idx="14">
                  <c:v>0.1687799029889011</c:v>
                </c:pt>
                <c:pt idx="15">
                  <c:v>0.15117607209722417</c:v>
                </c:pt>
                <c:pt idx="16">
                  <c:v>0.148760646900163</c:v>
                </c:pt>
                <c:pt idx="17">
                  <c:v>0.15208553799518043</c:v>
                </c:pt>
                <c:pt idx="18">
                  <c:v>0.1594098140004811</c:v>
                </c:pt>
                <c:pt idx="19">
                  <c:v>0.10967723550467745</c:v>
                </c:pt>
                <c:pt idx="20">
                  <c:v>0.12731451036534186</c:v>
                </c:pt>
                <c:pt idx="21">
                  <c:v>0.13086829642481318</c:v>
                </c:pt>
                <c:pt idx="22">
                  <c:v>0.13059072921887227</c:v>
                </c:pt>
                <c:pt idx="23">
                  <c:v>0.1408909841288951</c:v>
                </c:pt>
                <c:pt idx="24">
                  <c:v>0.14696014859391454</c:v>
                </c:pt>
                <c:pt idx="25">
                  <c:v>0.16245306363100748</c:v>
                </c:pt>
                <c:pt idx="26">
                  <c:v>0.15485374545069291</c:v>
                </c:pt>
                <c:pt idx="27">
                  <c:v>0.14503568922964788</c:v>
                </c:pt>
                <c:pt idx="28">
                  <c:v>0.16485573709274692</c:v>
                </c:pt>
                <c:pt idx="29">
                  <c:v>0.16469619915413786</c:v>
                </c:pt>
                <c:pt idx="30">
                  <c:v>0.16648488217508783</c:v>
                </c:pt>
                <c:pt idx="31">
                  <c:v>0.16449162817075796</c:v>
                </c:pt>
                <c:pt idx="32">
                  <c:v>0.17146794974593704</c:v>
                </c:pt>
                <c:pt idx="33">
                  <c:v>0.1702214947924583</c:v>
                </c:pt>
                <c:pt idx="34">
                  <c:v>0.1693444925436105</c:v>
                </c:pt>
                <c:pt idx="35">
                  <c:v>0.18391252611292658</c:v>
                </c:pt>
                <c:pt idx="36">
                  <c:v>0.1683502637492721</c:v>
                </c:pt>
                <c:pt idx="37">
                  <c:v>0.14601491131923772</c:v>
                </c:pt>
                <c:pt idx="38">
                  <c:v>0.1450959661656399</c:v>
                </c:pt>
                <c:pt idx="39">
                  <c:v>0.15383873459605035</c:v>
                </c:pt>
                <c:pt idx="40">
                  <c:v>0.1487200480186967</c:v>
                </c:pt>
                <c:pt idx="41">
                  <c:v>0.12220256326350254</c:v>
                </c:pt>
                <c:pt idx="42">
                  <c:v>0.11436800045181372</c:v>
                </c:pt>
                <c:pt idx="43">
                  <c:v>0.11551032913364556</c:v>
                </c:pt>
                <c:pt idx="44">
                  <c:v>0.13934935525931735</c:v>
                </c:pt>
                <c:pt idx="45">
                  <c:v>0.14895012921973194</c:v>
                </c:pt>
                <c:pt idx="46">
                  <c:v>0.14827083152361686</c:v>
                </c:pt>
                <c:pt idx="47">
                  <c:v>0.14845712840424719</c:v>
                </c:pt>
                <c:pt idx="48">
                  <c:v>0.15362116081838295</c:v>
                </c:pt>
                <c:pt idx="49">
                  <c:v>0.1369681625886925</c:v>
                </c:pt>
                <c:pt idx="50">
                  <c:v>0.16508793369780067</c:v>
                </c:pt>
                <c:pt idx="51">
                  <c:v>0.16223986688675857</c:v>
                </c:pt>
                <c:pt idx="52">
                  <c:v>0.17460983771084965</c:v>
                </c:pt>
                <c:pt idx="53">
                  <c:v>0.21905895896732167</c:v>
                </c:pt>
                <c:pt idx="54">
                  <c:v>0.14537913404379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48027842227376"/>
          <c:min val="0.090106544901065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3.728</c:v>
                </c:pt>
                <c:pt idx="1">
                  <c:v>837.5496</c:v>
                </c:pt>
                <c:pt idx="2">
                  <c:v>893.7125</c:v>
                </c:pt>
                <c:pt idx="3">
                  <c:v>915.4253</c:v>
                </c:pt>
                <c:pt idx="4">
                  <c:v>926.7789</c:v>
                </c:pt>
                <c:pt idx="5">
                  <c:v>912.4078</c:v>
                </c:pt>
                <c:pt idx="6">
                  <c:v>866.1993</c:v>
                </c:pt>
                <c:pt idx="7">
                  <c:v>872.2574</c:v>
                </c:pt>
                <c:pt idx="8">
                  <c:v>896.6256</c:v>
                </c:pt>
                <c:pt idx="9">
                  <c:v>841.1324</c:v>
                </c:pt>
                <c:pt idx="10">
                  <c:v>828.4709</c:v>
                </c:pt>
                <c:pt idx="11">
                  <c:v>879.9432</c:v>
                </c:pt>
                <c:pt idx="12">
                  <c:v>862.4318</c:v>
                </c:pt>
                <c:pt idx="13">
                  <c:v>849.2647</c:v>
                </c:pt>
                <c:pt idx="14">
                  <c:v>854.1265</c:v>
                </c:pt>
                <c:pt idx="15">
                  <c:v>870.6279</c:v>
                </c:pt>
                <c:pt idx="16">
                  <c:v>875.4281</c:v>
                </c:pt>
                <c:pt idx="17">
                  <c:v>883.6437</c:v>
                </c:pt>
                <c:pt idx="18">
                  <c:v>917.6704</c:v>
                </c:pt>
                <c:pt idx="19">
                  <c:v>920.2723</c:v>
                </c:pt>
                <c:pt idx="20">
                  <c:v>936.7013</c:v>
                </c:pt>
                <c:pt idx="21">
                  <c:v>930.5909</c:v>
                </c:pt>
                <c:pt idx="22">
                  <c:v>892.8028</c:v>
                </c:pt>
                <c:pt idx="23">
                  <c:v>885.3686</c:v>
                </c:pt>
                <c:pt idx="24">
                  <c:v>869.4952</c:v>
                </c:pt>
                <c:pt idx="25">
                  <c:v>838.3861</c:v>
                </c:pt>
                <c:pt idx="26">
                  <c:v>826.8776</c:v>
                </c:pt>
                <c:pt idx="27">
                  <c:v>871.3956</c:v>
                </c:pt>
                <c:pt idx="28">
                  <c:v>854.3182</c:v>
                </c:pt>
                <c:pt idx="29">
                  <c:v>689.7619</c:v>
                </c:pt>
                <c:pt idx="30">
                  <c:v>714.3413</c:v>
                </c:pt>
                <c:pt idx="31">
                  <c:v>807.6652</c:v>
                </c:pt>
                <c:pt idx="32">
                  <c:v>797.7922</c:v>
                </c:pt>
                <c:pt idx="33">
                  <c:v>752.2273</c:v>
                </c:pt>
                <c:pt idx="34">
                  <c:v>840.336</c:v>
                </c:pt>
                <c:pt idx="35">
                  <c:v>904.9799</c:v>
                </c:pt>
                <c:pt idx="36">
                  <c:v>908.3538</c:v>
                </c:pt>
                <c:pt idx="37">
                  <c:v>945.8523</c:v>
                </c:pt>
                <c:pt idx="38">
                  <c:v>970.963</c:v>
                </c:pt>
                <c:pt idx="39">
                  <c:v>977.6416</c:v>
                </c:pt>
                <c:pt idx="40">
                  <c:v>1001.6856</c:v>
                </c:pt>
                <c:pt idx="41">
                  <c:v>1073.3581</c:v>
                </c:pt>
                <c:pt idx="42">
                  <c:v>1084.25</c:v>
                </c:pt>
                <c:pt idx="43">
                  <c:v>1080.2376</c:v>
                </c:pt>
                <c:pt idx="44">
                  <c:v>1022.303</c:v>
                </c:pt>
                <c:pt idx="45">
                  <c:v>1001.1718</c:v>
                </c:pt>
                <c:pt idx="46">
                  <c:v>1002.8471</c:v>
                </c:pt>
                <c:pt idx="47">
                  <c:v>978.1557</c:v>
                </c:pt>
                <c:pt idx="48">
                  <c:v>1003.8514</c:v>
                </c:pt>
                <c:pt idx="49">
                  <c:v>977.1844</c:v>
                </c:pt>
                <c:pt idx="50">
                  <c:v>932.64</c:v>
                </c:pt>
                <c:pt idx="51">
                  <c:v>934.1162</c:v>
                </c:pt>
                <c:pt idx="52">
                  <c:v>954.3177</c:v>
                </c:pt>
                <c:pt idx="53">
                  <c:v>1066.062</c:v>
                </c:pt>
                <c:pt idx="54">
                  <c:v>1034.438</c:v>
                </c:pt>
                <c:pt idx="55">
                  <c:v>1046.5447</c:v>
                </c:pt>
                <c:pt idx="56">
                  <c:v>1064.5144</c:v>
                </c:pt>
                <c:pt idx="57">
                  <c:v>1075.7041</c:v>
                </c:pt>
                <c:pt idx="58">
                  <c:v>1010.4689</c:v>
                </c:pt>
                <c:pt idx="59">
                  <c:v>1007.7622</c:v>
                </c:pt>
                <c:pt idx="60">
                  <c:v>1044.1234</c:v>
                </c:pt>
                <c:pt idx="61">
                  <c:v>1070.148</c:v>
                </c:pt>
                <c:pt idx="62">
                  <c:v>991.1068</c:v>
                </c:pt>
                <c:pt idx="63">
                  <c:v>1022.8346</c:v>
                </c:pt>
                <c:pt idx="64">
                  <c:v>1018.2806</c:v>
                </c:pt>
                <c:pt idx="65">
                  <c:v>1034.3219</c:v>
                </c:pt>
                <c:pt idx="66">
                  <c:v>991.8852</c:v>
                </c:pt>
                <c:pt idx="67">
                  <c:v>1025.5385</c:v>
                </c:pt>
                <c:pt idx="68">
                  <c:v>931.4198</c:v>
                </c:pt>
                <c:pt idx="69">
                  <c:v>1009.0351</c:v>
                </c:pt>
                <c:pt idx="70">
                  <c:v>1034.9041</c:v>
                </c:pt>
                <c:pt idx="71">
                  <c:v>1089.2244</c:v>
                </c:pt>
                <c:pt idx="72">
                  <c:v>1046.4195</c:v>
                </c:pt>
                <c:pt idx="73">
                  <c:v>1169.8182</c:v>
                </c:pt>
                <c:pt idx="74">
                  <c:v>1122.5517</c:v>
                </c:pt>
                <c:pt idx="75">
                  <c:v>1112.608</c:v>
                </c:pt>
                <c:pt idx="76">
                  <c:v>1155.7813</c:v>
                </c:pt>
                <c:pt idx="77">
                  <c:v>1087.4971</c:v>
                </c:pt>
                <c:pt idx="78">
                  <c:v>1134.2168</c:v>
                </c:pt>
                <c:pt idx="79">
                  <c:v>1168.9655</c:v>
                </c:pt>
                <c:pt idx="80">
                  <c:v>1108.1677</c:v>
                </c:pt>
                <c:pt idx="81">
                  <c:v>1125.7608</c:v>
                </c:pt>
                <c:pt idx="82">
                  <c:v>1153.6618</c:v>
                </c:pt>
                <c:pt idx="83">
                  <c:v>1108.2857</c:v>
                </c:pt>
                <c:pt idx="84">
                  <c:v>1106.7561</c:v>
                </c:pt>
                <c:pt idx="85">
                  <c:v>1087.8554</c:v>
                </c:pt>
                <c:pt idx="86">
                  <c:v>1102.9143</c:v>
                </c:pt>
                <c:pt idx="87">
                  <c:v>1113.9575</c:v>
                </c:pt>
                <c:pt idx="88">
                  <c:v>1108.1687</c:v>
                </c:pt>
                <c:pt idx="89">
                  <c:v>1080.2045</c:v>
                </c:pt>
                <c:pt idx="90">
                  <c:v>1163.8607</c:v>
                </c:pt>
                <c:pt idx="91">
                  <c:v>1154.3053</c:v>
                </c:pt>
                <c:pt idx="92">
                  <c:v>1095.2614</c:v>
                </c:pt>
                <c:pt idx="93">
                  <c:v>1169.75</c:v>
                </c:pt>
                <c:pt idx="94">
                  <c:v>1124.1591</c:v>
                </c:pt>
                <c:pt idx="95">
                  <c:v>1136.8408</c:v>
                </c:pt>
                <c:pt idx="96">
                  <c:v>1094.018</c:v>
                </c:pt>
                <c:pt idx="97">
                  <c:v>1091.887</c:v>
                </c:pt>
                <c:pt idx="98">
                  <c:v>1080.7108</c:v>
                </c:pt>
                <c:pt idx="99">
                  <c:v>997.7251</c:v>
                </c:pt>
                <c:pt idx="100">
                  <c:v>1043.6267</c:v>
                </c:pt>
                <c:pt idx="101">
                  <c:v>1020.6813</c:v>
                </c:pt>
                <c:pt idx="102">
                  <c:v>976.0391</c:v>
                </c:pt>
                <c:pt idx="103">
                  <c:v>982.2969</c:v>
                </c:pt>
                <c:pt idx="104">
                  <c:v>1053.4034</c:v>
                </c:pt>
              </c:numCache>
            </c:numRef>
          </c:xVal>
          <c:yVal>
            <c:numRef>
              <c:f>Sheet1!$B$2:$B$106</c:f>
              <c:numCache>
                <c:formatCode>General</c:formatCode>
                <c:ptCount val="105"/>
                <c:pt idx="0">
                  <c:v>0.24442642886096475</c:v>
                </c:pt>
                <c:pt idx="1">
                  <c:v>0.2111010009099181</c:v>
                </c:pt>
                <c:pt idx="2">
                  <c:v>0.1735357917570499</c:v>
                </c:pt>
                <c:pt idx="3">
                  <c:v>0.17524841915085818</c:v>
                </c:pt>
                <c:pt idx="4">
                  <c:v>0.17494226327944573</c:v>
                </c:pt>
                <c:pt idx="5">
                  <c:v>0.15625</c:v>
                </c:pt>
                <c:pt idx="6">
                  <c:v>0.17009685230024213</c:v>
                </c:pt>
                <c:pt idx="7">
                  <c:v>0.16880341880341881</c:v>
                </c:pt>
                <c:pt idx="8">
                  <c:v>0.17606244579358196</c:v>
                </c:pt>
                <c:pt idx="9">
                  <c:v>0.21437578814627994</c:v>
                </c:pt>
                <c:pt idx="10">
                  <c:v>0.22393364928909953</c:v>
                </c:pt>
                <c:pt idx="11">
                  <c:v>0.21294615849969753</c:v>
                </c:pt>
                <c:pt idx="12">
                  <c:v>0.22719449225473323</c:v>
                </c:pt>
                <c:pt idx="13">
                  <c:v>0.22780569514237856</c:v>
                </c:pt>
                <c:pt idx="14">
                  <c:v>0.23259762308998302</c:v>
                </c:pt>
                <c:pt idx="15">
                  <c:v>0.2426332288401254</c:v>
                </c:pt>
                <c:pt idx="16">
                  <c:v>0.2529002320185615</c:v>
                </c:pt>
                <c:pt idx="17">
                  <c:v>0.1910688140556369</c:v>
                </c:pt>
                <c:pt idx="18">
                  <c:v>0.19446467589220684</c:v>
                </c:pt>
                <c:pt idx="19">
                  <c:v>0.19112627986348124</c:v>
                </c:pt>
                <c:pt idx="20">
                  <c:v>0.20452985586822237</c:v>
                </c:pt>
                <c:pt idx="21">
                  <c:v>0.23218997361477572</c:v>
                </c:pt>
                <c:pt idx="22">
                  <c:v>0.23786008230452674</c:v>
                </c:pt>
                <c:pt idx="23">
                  <c:v>0.23025210084033612</c:v>
                </c:pt>
                <c:pt idx="24">
                  <c:v>0.22309899569583932</c:v>
                </c:pt>
                <c:pt idx="25">
                  <c:v>0.22560975609756098</c:v>
                </c:pt>
                <c:pt idx="26">
                  <c:v>0.21875</c:v>
                </c:pt>
                <c:pt idx="27">
                  <c:v>0.19100169779286927</c:v>
                </c:pt>
                <c:pt idx="28">
                  <c:v>0.18949181739879414</c:v>
                </c:pt>
                <c:pt idx="29">
                  <c:v>0.20297397769516728</c:v>
                </c:pt>
                <c:pt idx="30">
                  <c:v>0.20332355816226785</c:v>
                </c:pt>
                <c:pt idx="31">
                  <c:v>0.20973782771535582</c:v>
                </c:pt>
                <c:pt idx="32">
                  <c:v>0.21888412017167383</c:v>
                </c:pt>
                <c:pt idx="33">
                  <c:v>0.2298050139275766</c:v>
                </c:pt>
                <c:pt idx="34">
                  <c:v>0.2314930991217064</c:v>
                </c:pt>
                <c:pt idx="35">
                  <c:v>0.22443729903536977</c:v>
                </c:pt>
                <c:pt idx="36">
                  <c:v>0.1760797342192691</c:v>
                </c:pt>
                <c:pt idx="37">
                  <c:v>0.1523809523809524</c:v>
                </c:pt>
                <c:pt idx="38">
                  <c:v>0.15225563909774437</c:v>
                </c:pt>
                <c:pt idx="39">
                  <c:v>0.15641952983725135</c:v>
                </c:pt>
                <c:pt idx="40">
                  <c:v>0.13749114103472715</c:v>
                </c:pt>
                <c:pt idx="41">
                  <c:v>0.1126331811263318</c:v>
                </c:pt>
                <c:pt idx="42">
                  <c:v>0.11653116531165311</c:v>
                </c:pt>
                <c:pt idx="43">
                  <c:v>0.11692506459948321</c:v>
                </c:pt>
                <c:pt idx="44">
                  <c:v>0.14347826086956522</c:v>
                </c:pt>
                <c:pt idx="45">
                  <c:v>0.17074164629176855</c:v>
                </c:pt>
                <c:pt idx="46">
                  <c:v>0.1686411149825784</c:v>
                </c:pt>
                <c:pt idx="47">
                  <c:v>0.164966584593739</c:v>
                </c:pt>
                <c:pt idx="48">
                  <c:v>0.16822961068485365</c:v>
                </c:pt>
                <c:pt idx="49">
                  <c:v>0.19107600341588385</c:v>
                </c:pt>
                <c:pt idx="50">
                  <c:v>0.17084282460136674</c:v>
                </c:pt>
                <c:pt idx="51">
                  <c:v>0.1449468085106383</c:v>
                </c:pt>
                <c:pt idx="52">
                  <c:v>0.14491593274619696</c:v>
                </c:pt>
                <c:pt idx="53">
                  <c:v>0.13958227203260315</c:v>
                </c:pt>
                <c:pt idx="54">
                  <c:v>0.13359336908824965</c:v>
                </c:pt>
                <c:pt idx="55">
                  <c:v>0.12420718816067654</c:v>
                </c:pt>
                <c:pt idx="56">
                  <c:v>0.12590673575129532</c:v>
                </c:pt>
                <c:pt idx="57">
                  <c:v>0.11909009812667261</c:v>
                </c:pt>
                <c:pt idx="58">
                  <c:v>0.14254094732182382</c:v>
                </c:pt>
                <c:pt idx="59">
                  <c:v>0.14621676891615543</c:v>
                </c:pt>
                <c:pt idx="60">
                  <c:v>0.1524892199137593</c:v>
                </c:pt>
                <c:pt idx="61">
                  <c:v>0.14236902050113895</c:v>
                </c:pt>
                <c:pt idx="62">
                  <c:v>0.15206692913385828</c:v>
                </c:pt>
                <c:pt idx="63">
                  <c:v>0.19369598373157093</c:v>
                </c:pt>
                <c:pt idx="64">
                  <c:v>0.20416666666666666</c:v>
                </c:pt>
                <c:pt idx="65">
                  <c:v>0.17817371937639198</c:v>
                </c:pt>
                <c:pt idx="66">
                  <c:v>0.16944444444444445</c:v>
                </c:pt>
                <c:pt idx="67">
                  <c:v>0.17344345616264295</c:v>
                </c:pt>
                <c:pt idx="68">
                  <c:v>0.17583892617449665</c:v>
                </c:pt>
                <c:pt idx="69">
                  <c:v>0.14214463840399003</c:v>
                </c:pt>
                <c:pt idx="70">
                  <c:v>0.12096106048053024</c:v>
                </c:pt>
                <c:pt idx="71">
                  <c:v>0.13842058562555457</c:v>
                </c:pt>
                <c:pt idx="72">
                  <c:v>0.16179952644041043</c:v>
                </c:pt>
                <c:pt idx="73">
                  <c:v>0.14630091438071488</c:v>
                </c:pt>
                <c:pt idx="74">
                  <c:v>0.15639445300462249</c:v>
                </c:pt>
                <c:pt idx="75">
                  <c:v>0.15547703180212014</c:v>
                </c:pt>
                <c:pt idx="76">
                  <c:v>0.15399422521655437</c:v>
                </c:pt>
                <c:pt idx="77">
                  <c:v>0.1665043816942551</c:v>
                </c:pt>
                <c:pt idx="78">
                  <c:v>0.14019607843137255</c:v>
                </c:pt>
                <c:pt idx="79">
                  <c:v>0.12586805555555555</c:v>
                </c:pt>
                <c:pt idx="80">
                  <c:v>0.14027149321266968</c:v>
                </c:pt>
                <c:pt idx="81">
                  <c:v>0.14275956284153005</c:v>
                </c:pt>
                <c:pt idx="82">
                  <c:v>0.12903225806451613</c:v>
                </c:pt>
                <c:pt idx="83">
                  <c:v>0.1297709923664122</c:v>
                </c:pt>
                <c:pt idx="84">
                  <c:v>0.1425260718424102</c:v>
                </c:pt>
                <c:pt idx="85">
                  <c:v>0.1580952380952381</c:v>
                </c:pt>
                <c:pt idx="86">
                  <c:v>0.15753938484621155</c:v>
                </c:pt>
                <c:pt idx="87">
                  <c:v>0.1820098383696416</c:v>
                </c:pt>
                <c:pt idx="88">
                  <c:v>0.16733870967741934</c:v>
                </c:pt>
                <c:pt idx="89">
                  <c:v>0.14410480349344978</c:v>
                </c:pt>
                <c:pt idx="90">
                  <c:v>0.12695109261186263</c:v>
                </c:pt>
                <c:pt idx="91">
                  <c:v>0.12996031746031747</c:v>
                </c:pt>
                <c:pt idx="92">
                  <c:v>0.14593698175787728</c:v>
                </c:pt>
                <c:pt idx="93">
                  <c:v>0.14226633581472292</c:v>
                </c:pt>
                <c:pt idx="94">
                  <c:v>0.14732142857142858</c:v>
                </c:pt>
                <c:pt idx="95">
                  <c:v>0.14408602150537633</c:v>
                </c:pt>
                <c:pt idx="96">
                  <c:v>0.13823968175037296</c:v>
                </c:pt>
                <c:pt idx="97">
                  <c:v>0.1595744680851064</c:v>
                </c:pt>
                <c:pt idx="98">
                  <c:v>0.18314061917195076</c:v>
                </c:pt>
                <c:pt idx="99">
                  <c:v>0.18844894313783864</c:v>
                </c:pt>
                <c:pt idx="100">
                  <c:v>0.20529646121396766</c:v>
                </c:pt>
                <c:pt idx="101">
                  <c:v>0.1916030534351145</c:v>
                </c:pt>
                <c:pt idx="102">
                  <c:v>0.15623409669211197</c:v>
                </c:pt>
                <c:pt idx="103">
                  <c:v>0.15859617947578855</c:v>
                </c:pt>
                <c:pt idx="104">
                  <c:v>0.157333333333333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1.0</c:v>
                </c:pt>
                <c:pt idx="1">
                  <c:v>1072.461</c:v>
                </c:pt>
                <c:pt idx="2">
                  <c:v>1072.6098</c:v>
                </c:pt>
                <c:pt idx="3">
                  <c:v>1076.488</c:v>
                </c:pt>
                <c:pt idx="4">
                  <c:v>1103.412</c:v>
                </c:pt>
                <c:pt idx="5">
                  <c:v>1086.1536</c:v>
                </c:pt>
                <c:pt idx="6">
                  <c:v>976.082</c:v>
                </c:pt>
                <c:pt idx="7">
                  <c:v>1082.7251</c:v>
                </c:pt>
                <c:pt idx="8">
                  <c:v>1134.2176</c:v>
                </c:pt>
                <c:pt idx="9">
                  <c:v>1042.2922</c:v>
                </c:pt>
                <c:pt idx="10">
                  <c:v>1106.469</c:v>
                </c:pt>
                <c:pt idx="11">
                  <c:v>906.0536</c:v>
                </c:pt>
                <c:pt idx="12">
                  <c:v>979.1311</c:v>
                </c:pt>
                <c:pt idx="13">
                  <c:v>1040.148</c:v>
                </c:pt>
                <c:pt idx="14">
                  <c:v>1032.1394</c:v>
                </c:pt>
                <c:pt idx="15">
                  <c:v>1091.3974</c:v>
                </c:pt>
                <c:pt idx="16">
                  <c:v>1144.0405</c:v>
                </c:pt>
                <c:pt idx="17">
                  <c:v>1105.2704</c:v>
                </c:pt>
                <c:pt idx="18">
                  <c:v>1052.8392</c:v>
                </c:pt>
                <c:pt idx="19">
                  <c:v>1234.875</c:v>
                </c:pt>
                <c:pt idx="20">
                  <c:v>1189.7111</c:v>
                </c:pt>
                <c:pt idx="21">
                  <c:v>1164.0397</c:v>
                </c:pt>
                <c:pt idx="22">
                  <c:v>1175.7073</c:v>
                </c:pt>
                <c:pt idx="23">
                  <c:v>1171.0775</c:v>
                </c:pt>
                <c:pt idx="24">
                  <c:v>1134.958</c:v>
                </c:pt>
                <c:pt idx="25">
                  <c:v>1079.8344</c:v>
                </c:pt>
                <c:pt idx="26">
                  <c:v>1133.9214</c:v>
                </c:pt>
                <c:pt idx="27">
                  <c:v>1151.5235</c:v>
                </c:pt>
                <c:pt idx="28">
                  <c:v>1083.7727</c:v>
                </c:pt>
                <c:pt idx="29">
                  <c:v>1080.3353</c:v>
                </c:pt>
                <c:pt idx="30">
                  <c:v>1098.102</c:v>
                </c:pt>
                <c:pt idx="31">
                  <c:v>1074.259</c:v>
                </c:pt>
                <c:pt idx="32">
                  <c:v>1076.6087</c:v>
                </c:pt>
                <c:pt idx="33">
                  <c:v>1091.3234</c:v>
                </c:pt>
                <c:pt idx="34">
                  <c:v>1091.2157</c:v>
                </c:pt>
                <c:pt idx="35">
                  <c:v>1095.2689</c:v>
                </c:pt>
                <c:pt idx="36">
                  <c:v>1106.1604</c:v>
                </c:pt>
                <c:pt idx="37">
                  <c:v>1210.2524</c:v>
                </c:pt>
                <c:pt idx="38">
                  <c:v>1201.3725</c:v>
                </c:pt>
                <c:pt idx="39">
                  <c:v>1140.3586</c:v>
                </c:pt>
                <c:pt idx="40">
                  <c:v>1189.6721</c:v>
                </c:pt>
                <c:pt idx="41">
                  <c:v>1275.8392</c:v>
                </c:pt>
                <c:pt idx="42">
                  <c:v>1278.8943</c:v>
                </c:pt>
                <c:pt idx="43">
                  <c:v>1261.7</c:v>
                </c:pt>
                <c:pt idx="44">
                  <c:v>1149.7876</c:v>
                </c:pt>
                <c:pt idx="45">
                  <c:v>1104.4768</c:v>
                </c:pt>
                <c:pt idx="46">
                  <c:v>1111.8148</c:v>
                </c:pt>
                <c:pt idx="47">
                  <c:v>1078.1296</c:v>
                </c:pt>
                <c:pt idx="48">
                  <c:v>1081.3115</c:v>
                </c:pt>
                <c:pt idx="49">
                  <c:v>1119.9067</c:v>
                </c:pt>
                <c:pt idx="50">
                  <c:v>1000.7604</c:v>
                </c:pt>
                <c:pt idx="51">
                  <c:v>958.3657</c:v>
                </c:pt>
              </c:numCache>
            </c:numRef>
          </c:xVal>
          <c:yVal>
            <c:numRef>
              <c:f>Sheet1!$B$109:$B$160</c:f>
              <c:numCache>
                <c:formatCode>General</c:formatCode>
                <c:ptCount val="52"/>
                <c:pt idx="0">
                  <c:v>0.15614122327200397</c:v>
                </c:pt>
                <c:pt idx="1">
                  <c:v>0.1478021978021978</c:v>
                </c:pt>
                <c:pt idx="2">
                  <c:v>0.16213683223992503</c:v>
                </c:pt>
                <c:pt idx="3">
                  <c:v>0.1634050880626223</c:v>
                </c:pt>
                <c:pt idx="4">
                  <c:v>0.1468459152016546</c:v>
                </c:pt>
                <c:pt idx="5">
                  <c:v>0.14783526927138332</c:v>
                </c:pt>
                <c:pt idx="6">
                  <c:v>0.16174582798459564</c:v>
                </c:pt>
                <c:pt idx="7">
                  <c:v>0.14817001180637543</c:v>
                </c:pt>
                <c:pt idx="8">
                  <c:v>0.1446776611694153</c:v>
                </c:pt>
                <c:pt idx="9">
                  <c:v>0.16747070985527224</c:v>
                </c:pt>
                <c:pt idx="10">
                  <c:v>0.17805383022774326</c:v>
                </c:pt>
                <c:pt idx="11">
                  <c:v>0.2140560404225999</c:v>
                </c:pt>
                <c:pt idx="12">
                  <c:v>0.21068427370948378</c:v>
                </c:pt>
                <c:pt idx="13">
                  <c:v>0.20013166556945358</c:v>
                </c:pt>
                <c:pt idx="14">
                  <c:v>0.19523809523809524</c:v>
                </c:pt>
                <c:pt idx="15">
                  <c:v>0.17862714508580343</c:v>
                </c:pt>
                <c:pt idx="16">
                  <c:v>0.1557155715571557</c:v>
                </c:pt>
                <c:pt idx="17">
                  <c:v>0.1441523118766999</c:v>
                </c:pt>
                <c:pt idx="18">
                  <c:v>0.1359315589353612</c:v>
                </c:pt>
                <c:pt idx="19">
                  <c:v>0.13632286995515694</c:v>
                </c:pt>
                <c:pt idx="20">
                  <c:v>0.12523191094619665</c:v>
                </c:pt>
                <c:pt idx="21">
                  <c:v>0.13249211356466878</c:v>
                </c:pt>
                <c:pt idx="22">
                  <c:v>0.12035225048923678</c:v>
                </c:pt>
                <c:pt idx="23">
                  <c:v>0.13326446280991736</c:v>
                </c:pt>
                <c:pt idx="24">
                  <c:v>0.12610229276895943</c:v>
                </c:pt>
                <c:pt idx="25">
                  <c:v>0.14561234329797493</c:v>
                </c:pt>
                <c:pt idx="26">
                  <c:v>0.1235657546337158</c:v>
                </c:pt>
                <c:pt idx="27">
                  <c:v>0.12293729372937294</c:v>
                </c:pt>
                <c:pt idx="28">
                  <c:v>0.1492087415222306</c:v>
                </c:pt>
                <c:pt idx="29">
                  <c:v>0.15195632393084624</c:v>
                </c:pt>
                <c:pt idx="30">
                  <c:v>0.14244186046511628</c:v>
                </c:pt>
                <c:pt idx="31">
                  <c:v>0.1472457627118644</c:v>
                </c:pt>
                <c:pt idx="32">
                  <c:v>0.14375</c:v>
                </c:pt>
                <c:pt idx="33">
                  <c:v>0.1720351390922401</c:v>
                </c:pt>
                <c:pt idx="34">
                  <c:v>0.20800485142510614</c:v>
                </c:pt>
                <c:pt idx="35">
                  <c:v>0.19932998324958123</c:v>
                </c:pt>
                <c:pt idx="36">
                  <c:v>0.14324324324324325</c:v>
                </c:pt>
                <c:pt idx="37">
                  <c:v>0.12160566706021252</c:v>
                </c:pt>
                <c:pt idx="38">
                  <c:v>0.12215568862275449</c:v>
                </c:pt>
                <c:pt idx="39">
                  <c:v>0.13915547024952016</c:v>
                </c:pt>
                <c:pt idx="40">
                  <c:v>0.11742059672762271</c:v>
                </c:pt>
                <c:pt idx="41">
                  <c:v>0.12859712230215828</c:v>
                </c:pt>
                <c:pt idx="42">
                  <c:v>0.12166172106824925</c:v>
                </c:pt>
                <c:pt idx="43">
                  <c:v>0.11627906976744186</c:v>
                </c:pt>
                <c:pt idx="44">
                  <c:v>0.1191358024691358</c:v>
                </c:pt>
                <c:pt idx="45">
                  <c:v>0.1529888551165147</c:v>
                </c:pt>
                <c:pt idx="46">
                  <c:v>0.144076840981857</c:v>
                </c:pt>
                <c:pt idx="47">
                  <c:v>0.15217391304347827</c:v>
                </c:pt>
                <c:pt idx="48">
                  <c:v>0.14995083579154375</c:v>
                </c:pt>
                <c:pt idx="49">
                  <c:v>0.16397621070518267</c:v>
                </c:pt>
                <c:pt idx="50">
                  <c:v>0.19299253302699598</c:v>
                </c:pt>
                <c:pt idx="51">
                  <c:v>0.1915197713196760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4.6753627209467</c:v>
                </c:pt>
              </c:numCache>
            </c:numRef>
          </c:xVal>
          <c:yVal>
            <c:numRef>
              <c:f>Sheet1!$B$163:$B$164</c:f>
              <c:numCache>
                <c:formatCode>General</c:formatCode>
                <c:ptCount val="2"/>
                <c:pt idx="0">
                  <c:v>0.21905895896732167</c:v>
                </c:pt>
                <c:pt idx="1">
                  <c:v>0.219058958967321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4.6753627209467</c:v>
                </c:pt>
                <c:pt idx="1">
                  <c:v>854.6753627209467</c:v>
                </c:pt>
              </c:numCache>
            </c:numRef>
          </c:xVal>
          <c:yVal>
            <c:numRef>
              <c:f>Sheet1!$B$167:$B$168</c:f>
              <c:numCache>
                <c:formatCode>General</c:formatCode>
                <c:ptCount val="2"/>
                <c:pt idx="0">
                  <c:v>0.219058958967321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2.4362099849683</c:v>
                </c:pt>
              </c:numCache>
            </c:numRef>
          </c:xVal>
          <c:yVal>
            <c:numRef>
              <c:f>Sheet1!$B$171:$B$172</c:f>
              <c:numCache>
                <c:formatCode>General</c:formatCode>
                <c:ptCount val="2"/>
                <c:pt idx="0">
                  <c:v>0.17460983771084962</c:v>
                </c:pt>
                <c:pt idx="1">
                  <c:v>0.174609837710849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2.4362099849683</c:v>
                </c:pt>
                <c:pt idx="1">
                  <c:v>1022.4362099849683</c:v>
                </c:pt>
              </c:numCache>
            </c:numRef>
          </c:xVal>
          <c:yVal>
            <c:numRef>
              <c:f>Sheet1!$B$175:$B$176</c:f>
              <c:numCache>
                <c:formatCode>General</c:formatCode>
                <c:ptCount val="2"/>
                <c:pt idx="0">
                  <c:v>0.174609837710849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2.7593721688343</c:v>
                </c:pt>
              </c:numCache>
            </c:numRef>
          </c:xVal>
          <c:yVal>
            <c:numRef>
              <c:f>Sheet1!$B$179:$B$180</c:f>
              <c:numCache>
                <c:formatCode>General</c:formatCode>
                <c:ptCount val="2"/>
                <c:pt idx="0">
                  <c:v>0.1453791340437982</c:v>
                </c:pt>
                <c:pt idx="1">
                  <c:v>0.14537913404379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2.7593721688343</c:v>
                </c:pt>
                <c:pt idx="1">
                  <c:v>1132.7593721688343</c:v>
                </c:pt>
              </c:numCache>
            </c:numRef>
          </c:xVal>
          <c:yVal>
            <c:numRef>
              <c:f>Sheet1!$B$183:$B$184</c:f>
              <c:numCache>
                <c:formatCode>General</c:formatCode>
                <c:ptCount val="2"/>
                <c:pt idx="0">
                  <c:v>0.14537913404379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1.0</c:v>
                </c:pt>
                <c:pt idx="1">
                  <c:v>1072.461</c:v>
                </c:pt>
                <c:pt idx="2">
                  <c:v>1072.6098</c:v>
                </c:pt>
                <c:pt idx="3">
                  <c:v>1076.488</c:v>
                </c:pt>
                <c:pt idx="4">
                  <c:v>1103.412</c:v>
                </c:pt>
                <c:pt idx="5">
                  <c:v>1086.1536</c:v>
                </c:pt>
                <c:pt idx="6">
                  <c:v>976.082</c:v>
                </c:pt>
                <c:pt idx="7">
                  <c:v>1082.7251</c:v>
                </c:pt>
                <c:pt idx="8">
                  <c:v>1134.2176</c:v>
                </c:pt>
                <c:pt idx="9">
                  <c:v>1042.2922</c:v>
                </c:pt>
                <c:pt idx="10">
                  <c:v>1106.469</c:v>
                </c:pt>
                <c:pt idx="11">
                  <c:v>906.0536</c:v>
                </c:pt>
                <c:pt idx="12">
                  <c:v>979.1311</c:v>
                </c:pt>
                <c:pt idx="13">
                  <c:v>1040.148</c:v>
                </c:pt>
                <c:pt idx="14">
                  <c:v>1032.1394</c:v>
                </c:pt>
                <c:pt idx="15">
                  <c:v>1091.3974</c:v>
                </c:pt>
                <c:pt idx="16">
                  <c:v>1144.0405</c:v>
                </c:pt>
                <c:pt idx="17">
                  <c:v>1105.2704</c:v>
                </c:pt>
                <c:pt idx="18">
                  <c:v>1052.8392</c:v>
                </c:pt>
                <c:pt idx="19">
                  <c:v>1234.875</c:v>
                </c:pt>
                <c:pt idx="20">
                  <c:v>1189.7111</c:v>
                </c:pt>
                <c:pt idx="21">
                  <c:v>1164.0397</c:v>
                </c:pt>
                <c:pt idx="22">
                  <c:v>1175.7073</c:v>
                </c:pt>
                <c:pt idx="23">
                  <c:v>1171.0775</c:v>
                </c:pt>
                <c:pt idx="24">
                  <c:v>1134.958</c:v>
                </c:pt>
                <c:pt idx="25">
                  <c:v>1079.8344</c:v>
                </c:pt>
                <c:pt idx="26">
                  <c:v>1133.9214</c:v>
                </c:pt>
                <c:pt idx="27">
                  <c:v>1151.5235</c:v>
                </c:pt>
                <c:pt idx="28">
                  <c:v>1083.7727</c:v>
                </c:pt>
                <c:pt idx="29">
                  <c:v>1080.3353</c:v>
                </c:pt>
                <c:pt idx="30">
                  <c:v>1098.102</c:v>
                </c:pt>
                <c:pt idx="31">
                  <c:v>1074.259</c:v>
                </c:pt>
                <c:pt idx="32">
                  <c:v>1076.6087</c:v>
                </c:pt>
                <c:pt idx="33">
                  <c:v>1091.3234</c:v>
                </c:pt>
                <c:pt idx="34">
                  <c:v>1091.2157</c:v>
                </c:pt>
                <c:pt idx="35">
                  <c:v>1095.2689</c:v>
                </c:pt>
                <c:pt idx="36">
                  <c:v>1106.1604</c:v>
                </c:pt>
                <c:pt idx="37">
                  <c:v>1210.2524</c:v>
                </c:pt>
                <c:pt idx="38">
                  <c:v>1201.3725</c:v>
                </c:pt>
                <c:pt idx="39">
                  <c:v>1140.3586</c:v>
                </c:pt>
                <c:pt idx="40">
                  <c:v>1189.6721</c:v>
                </c:pt>
                <c:pt idx="41">
                  <c:v>1275.8392</c:v>
                </c:pt>
                <c:pt idx="42">
                  <c:v>1278.8943</c:v>
                </c:pt>
                <c:pt idx="43">
                  <c:v>1261.7</c:v>
                </c:pt>
                <c:pt idx="44">
                  <c:v>1149.7876</c:v>
                </c:pt>
                <c:pt idx="45">
                  <c:v>1104.4768</c:v>
                </c:pt>
                <c:pt idx="46">
                  <c:v>1111.8148</c:v>
                </c:pt>
                <c:pt idx="47">
                  <c:v>1078.1296</c:v>
                </c:pt>
                <c:pt idx="48">
                  <c:v>1081.3115</c:v>
                </c:pt>
                <c:pt idx="49">
                  <c:v>1119.9067</c:v>
                </c:pt>
                <c:pt idx="50">
                  <c:v>1000.7604</c:v>
                </c:pt>
                <c:pt idx="51">
                  <c:v>958.3657</c:v>
                </c:pt>
                <c:pt idx="52">
                  <c:v>1022.4362099849683</c:v>
                </c:pt>
                <c:pt idx="53">
                  <c:v>854.6753627209467</c:v>
                </c:pt>
                <c:pt idx="54">
                  <c:v>1132.7593721688343</c:v>
                </c:pt>
              </c:numCache>
            </c:numRef>
          </c:xVal>
          <c:yVal>
            <c:numRef>
              <c:f>Sheet1!$B$187:$B$241</c:f>
              <c:numCache>
                <c:formatCode>General</c:formatCode>
                <c:ptCount val="55"/>
                <c:pt idx="0">
                  <c:v>0.1643921581602118</c:v>
                </c:pt>
                <c:pt idx="1">
                  <c:v>0.16135550576468183</c:v>
                </c:pt>
                <c:pt idx="2">
                  <c:v>0.16131608041990786</c:v>
                </c:pt>
                <c:pt idx="3">
                  <c:v>0.16028853087620798</c:v>
                </c:pt>
                <c:pt idx="4">
                  <c:v>0.15315487507852465</c:v>
                </c:pt>
                <c:pt idx="5">
                  <c:v>0.1577275791796514</c:v>
                </c:pt>
                <c:pt idx="6">
                  <c:v>0.1868916301193439</c:v>
                </c:pt>
                <c:pt idx="7">
                  <c:v>0.15863597833662502</c:v>
                </c:pt>
                <c:pt idx="8">
                  <c:v>0.1449927688892098</c:v>
                </c:pt>
                <c:pt idx="9">
                  <c:v>0.1693488884355015</c:v>
                </c:pt>
                <c:pt idx="10">
                  <c:v>0.15234490680584906</c:v>
                </c:pt>
                <c:pt idx="11">
                  <c:v>0.20544602403044498</c:v>
                </c:pt>
                <c:pt idx="12">
                  <c:v>0.18608375499333302</c:v>
                </c:pt>
                <c:pt idx="13">
                  <c:v>0.16991700553405276</c:v>
                </c:pt>
                <c:pt idx="14">
                  <c:v>0.17203892634155998</c:v>
                </c:pt>
                <c:pt idx="15">
                  <c:v>0.15633820671375143</c:v>
                </c:pt>
                <c:pt idx="16">
                  <c:v>0.1423901397280501</c:v>
                </c:pt>
                <c:pt idx="17">
                  <c:v>0.152662482197288</c:v>
                </c:pt>
                <c:pt idx="18">
                  <c:v>0.1665544051604248</c:v>
                </c:pt>
                <c:pt idx="19">
                  <c:v>0.1183230598901856</c:v>
                </c:pt>
                <c:pt idx="20">
                  <c:v>0.13028947339044517</c:v>
                </c:pt>
                <c:pt idx="21">
                  <c:v>0.1370912462118925</c:v>
                </c:pt>
                <c:pt idx="22">
                  <c:v>0.13399985405675024</c:v>
                </c:pt>
                <c:pt idx="23">
                  <c:v>0.13522654398440265</c:v>
                </c:pt>
                <c:pt idx="24">
                  <c:v>0.14479659600432626</c:v>
                </c:pt>
                <c:pt idx="25">
                  <c:v>0.1594018845472313</c:v>
                </c:pt>
                <c:pt idx="26">
                  <c:v>0.14507124864137422</c:v>
                </c:pt>
                <c:pt idx="27">
                  <c:v>0.1404074794125671</c:v>
                </c:pt>
                <c:pt idx="28">
                  <c:v>0.1583584111915629</c:v>
                </c:pt>
                <c:pt idx="29">
                  <c:v>0.15926916845047528</c:v>
                </c:pt>
                <c:pt idx="30">
                  <c:v>0.1545617875835647</c:v>
                </c:pt>
                <c:pt idx="31">
                  <c:v>0.16087911618199596</c:v>
                </c:pt>
                <c:pt idx="32">
                  <c:v>0.1602565507746339</c:v>
                </c:pt>
                <c:pt idx="33">
                  <c:v>0.15635781340402882</c:v>
                </c:pt>
                <c:pt idx="34">
                  <c:v>0.1563863490870407</c:v>
                </c:pt>
                <c:pt idx="35">
                  <c:v>0.1553124323703875</c:v>
                </c:pt>
                <c:pt idx="36">
                  <c:v>0.15242667200341126</c:v>
                </c:pt>
                <c:pt idx="37">
                  <c:v>0.1248469476202419</c:v>
                </c:pt>
                <c:pt idx="38">
                  <c:v>0.12719972395800183</c:v>
                </c:pt>
                <c:pt idx="39">
                  <c:v>0.1433656785514601</c:v>
                </c:pt>
                <c:pt idx="40">
                  <c:v>0.1302998066461319</c:v>
                </c:pt>
                <c:pt idx="41">
                  <c:v>0.10746937905422294</c:v>
                </c:pt>
                <c:pt idx="42">
                  <c:v>0.10665991419656795</c:v>
                </c:pt>
                <c:pt idx="43">
                  <c:v>0.11121563466463014</c:v>
                </c:pt>
                <c:pt idx="44">
                  <c:v>0.14086741527273638</c:v>
                </c:pt>
                <c:pt idx="45">
                  <c:v>0.15287275070274942</c:v>
                </c:pt>
                <c:pt idx="46">
                  <c:v>0.1509285089019991</c:v>
                </c:pt>
                <c:pt idx="47">
                  <c:v>0.15985358029837865</c:v>
                </c:pt>
                <c:pt idx="48">
                  <c:v>0.1590105191119781</c:v>
                </c:pt>
                <c:pt idx="49">
                  <c:v>0.14878451732016607</c:v>
                </c:pt>
                <c:pt idx="50">
                  <c:v>0.18035295788499728</c:v>
                </c:pt>
                <c:pt idx="51">
                  <c:v>0.1915856572404439</c:v>
                </c:pt>
                <c:pt idx="52">
                  <c:v>0.17460983771084965</c:v>
                </c:pt>
                <c:pt idx="53">
                  <c:v>0.21905895896732167</c:v>
                </c:pt>
                <c:pt idx="54">
                  <c:v>0.14537913404379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5.0"/>
          <c:min val="5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48027842227376"/>
          <c:min val="0.090106544901065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72539316150923</c:v>
                </c:pt>
                <c:pt idx="1">
                  <c:v>0.7657623857757779</c:v>
                </c:pt>
                <c:pt idx="2">
                  <c:v>0.7688892110575176</c:v>
                </c:pt>
                <c:pt idx="3">
                  <c:v>0.764837232709557</c:v>
                </c:pt>
                <c:pt idx="4">
                  <c:v>0.7618805213900786</c:v>
                </c:pt>
                <c:pt idx="5">
                  <c:v>0.7991318240265435</c:v>
                </c:pt>
                <c:pt idx="6">
                  <c:v>0.8036563699720715</c:v>
                </c:pt>
                <c:pt idx="7">
                  <c:v>0.7791579391588505</c:v>
                </c:pt>
                <c:pt idx="8">
                  <c:v>0.7982355205748994</c:v>
                </c:pt>
                <c:pt idx="9">
                  <c:v>0.7683764034141839</c:v>
                </c:pt>
                <c:pt idx="10">
                  <c:v>0.7772691184189254</c:v>
                </c:pt>
                <c:pt idx="11">
                  <c:v>0.8362677017580653</c:v>
                </c:pt>
                <c:pt idx="12">
                  <c:v>0.8411583823245953</c:v>
                </c:pt>
                <c:pt idx="13">
                  <c:v>0.8422021714980091</c:v>
                </c:pt>
                <c:pt idx="14">
                  <c:v>0.8044170594482314</c:v>
                </c:pt>
                <c:pt idx="15">
                  <c:v>0.7928054587335576</c:v>
                </c:pt>
                <c:pt idx="16">
                  <c:v>0.8270376186629895</c:v>
                </c:pt>
                <c:pt idx="17">
                  <c:v>0.8848082980109309</c:v>
                </c:pt>
                <c:pt idx="18">
                  <c:v>0.8680606446966593</c:v>
                </c:pt>
                <c:pt idx="19">
                  <c:v>0.9367562682886121</c:v>
                </c:pt>
                <c:pt idx="20">
                  <c:v>0.9855660480973334</c:v>
                </c:pt>
                <c:pt idx="21">
                  <c:v>0.8297971004895097</c:v>
                </c:pt>
                <c:pt idx="22">
                  <c:v>0.7747146395775015</c:v>
                </c:pt>
                <c:pt idx="23">
                  <c:v>0.7974980347921431</c:v>
                </c:pt>
                <c:pt idx="24">
                  <c:v>0.7730619774567148</c:v>
                </c:pt>
                <c:pt idx="25">
                  <c:v>0.739858885174853</c:v>
                </c:pt>
                <c:pt idx="26">
                  <c:v>0.7352714357051426</c:v>
                </c:pt>
                <c:pt idx="27">
                  <c:v>0.7848865739162693</c:v>
                </c:pt>
                <c:pt idx="28">
                  <c:v>0.794126570322341</c:v>
                </c:pt>
                <c:pt idx="29">
                  <c:v>0.7543437153675829</c:v>
                </c:pt>
                <c:pt idx="30">
                  <c:v>0.743198065839336</c:v>
                </c:pt>
                <c:pt idx="31">
                  <c:v>0.9170315266179739</c:v>
                </c:pt>
                <c:pt idx="32">
                  <c:v>0.7173232252150925</c:v>
                </c:pt>
                <c:pt idx="33">
                  <c:v>0.7040745551735159</c:v>
                </c:pt>
                <c:pt idx="34">
                  <c:v>0.7438998731275421</c:v>
                </c:pt>
                <c:pt idx="35">
                  <c:v>0.781834691936128</c:v>
                </c:pt>
                <c:pt idx="36">
                  <c:v>0.8908270067222023</c:v>
                </c:pt>
                <c:pt idx="37">
                  <c:v>0.9165016372505513</c:v>
                </c:pt>
                <c:pt idx="38">
                  <c:v>0.9602325205280997</c:v>
                </c:pt>
                <c:pt idx="39">
                  <c:v>0.9857704281097983</c:v>
                </c:pt>
                <c:pt idx="40">
                  <c:v>0.9137123812828762</c:v>
                </c:pt>
                <c:pt idx="41">
                  <c:v>0.9167552470596774</c:v>
                </c:pt>
                <c:pt idx="42">
                  <c:v>0.9380147486554589</c:v>
                </c:pt>
                <c:pt idx="43">
                  <c:v>0.9305311892989753</c:v>
                </c:pt>
                <c:pt idx="44">
                  <c:v>0.9236797006617772</c:v>
                </c:pt>
                <c:pt idx="45">
                  <c:v>0.9113995196632311</c:v>
                </c:pt>
                <c:pt idx="46">
                  <c:v>0.9281295654539209</c:v>
                </c:pt>
                <c:pt idx="47">
                  <c:v>0.9654270049678588</c:v>
                </c:pt>
                <c:pt idx="48">
                  <c:v>0.9166967444178993</c:v>
                </c:pt>
                <c:pt idx="49">
                  <c:v>0.888386495948108</c:v>
                </c:pt>
                <c:pt idx="50">
                  <c:v>0.8925393544932353</c:v>
                </c:pt>
                <c:pt idx="51">
                  <c:v>0.8956709474341225</c:v>
                </c:pt>
                <c:pt idx="52">
                  <c:v>0.873531901703002</c:v>
                </c:pt>
                <c:pt idx="53">
                  <c:v>0.860783526391188</c:v>
                </c:pt>
                <c:pt idx="54">
                  <c:v>0.8375699074913866</c:v>
                </c:pt>
                <c:pt idx="55">
                  <c:v>0.9004315822857222</c:v>
                </c:pt>
                <c:pt idx="56">
                  <c:v>0.8853897914356517</c:v>
                </c:pt>
                <c:pt idx="57">
                  <c:v>0.8805621693878696</c:v>
                </c:pt>
                <c:pt idx="58">
                  <c:v>0.877782024819311</c:v>
                </c:pt>
                <c:pt idx="59">
                  <c:v>0.8500990165160002</c:v>
                </c:pt>
                <c:pt idx="60">
                  <c:v>0.8534457627422748</c:v>
                </c:pt>
                <c:pt idx="61">
                  <c:v>0.9436775679229927</c:v>
                </c:pt>
                <c:pt idx="62">
                  <c:v>0.9815221854983182</c:v>
                </c:pt>
                <c:pt idx="63">
                  <c:v>1.0060093440759756</c:v>
                </c:pt>
                <c:pt idx="64">
                  <c:v>1.0285843981985545</c:v>
                </c:pt>
                <c:pt idx="65">
                  <c:v>1.0017604996967502</c:v>
                </c:pt>
                <c:pt idx="66">
                  <c:v>1.0169719129897623</c:v>
                </c:pt>
                <c:pt idx="67">
                  <c:v>1.0601859118310488</c:v>
                </c:pt>
                <c:pt idx="68">
                  <c:v>1.0771328229240937</c:v>
                </c:pt>
                <c:pt idx="69">
                  <c:v>1.1087099875824593</c:v>
                </c:pt>
                <c:pt idx="70">
                  <c:v>1.107194026314838</c:v>
                </c:pt>
                <c:pt idx="71">
                  <c:v>1.0116481137149989</c:v>
                </c:pt>
                <c:pt idx="72">
                  <c:v>1.0342739897558924</c:v>
                </c:pt>
                <c:pt idx="73">
                  <c:v>1.036967449851747</c:v>
                </c:pt>
                <c:pt idx="74">
                  <c:v>0.9769029695821458</c:v>
                </c:pt>
                <c:pt idx="75">
                  <c:v>0.9577958652819976</c:v>
                </c:pt>
                <c:pt idx="76">
                  <c:v>0.9274481320982242</c:v>
                </c:pt>
                <c:pt idx="77">
                  <c:v>0.9840392383796958</c:v>
                </c:pt>
                <c:pt idx="78">
                  <c:v>0.9927962871974376</c:v>
                </c:pt>
                <c:pt idx="79">
                  <c:v>0.9891228227776077</c:v>
                </c:pt>
                <c:pt idx="80">
                  <c:v>0.9879403316831307</c:v>
                </c:pt>
                <c:pt idx="81">
                  <c:v>0.9860197981772164</c:v>
                </c:pt>
                <c:pt idx="82">
                  <c:v>0.9647542169912892</c:v>
                </c:pt>
                <c:pt idx="83">
                  <c:v>0.9569871633818168</c:v>
                </c:pt>
                <c:pt idx="84">
                  <c:v>0.9465404574783279</c:v>
                </c:pt>
                <c:pt idx="85">
                  <c:v>0.9110945853192086</c:v>
                </c:pt>
                <c:pt idx="86">
                  <c:v>0.9605245819410517</c:v>
                </c:pt>
                <c:pt idx="87">
                  <c:v>1.00570980466646</c:v>
                </c:pt>
                <c:pt idx="88">
                  <c:v>0.9332350813414523</c:v>
                </c:pt>
                <c:pt idx="89">
                  <c:v>0.9282842534503342</c:v>
                </c:pt>
                <c:pt idx="90">
                  <c:v>0.9841386529291379</c:v>
                </c:pt>
                <c:pt idx="91">
                  <c:v>1.0155300819857778</c:v>
                </c:pt>
                <c:pt idx="92">
                  <c:v>0.9922439481450351</c:v>
                </c:pt>
                <c:pt idx="93">
                  <c:v>0.980673737100022</c:v>
                </c:pt>
                <c:pt idx="94">
                  <c:v>0.9976004279140589</c:v>
                </c:pt>
                <c:pt idx="95">
                  <c:v>0.9739118813164545</c:v>
                </c:pt>
                <c:pt idx="96">
                  <c:v>0.9340867807540527</c:v>
                </c:pt>
                <c:pt idx="97">
                  <c:v>0.9749770180694917</c:v>
                </c:pt>
                <c:pt idx="98">
                  <c:v>0.9623478357419336</c:v>
                </c:pt>
                <c:pt idx="99">
                  <c:v>0.9307127526914527</c:v>
                </c:pt>
                <c:pt idx="100">
                  <c:v>0.8967535894365094</c:v>
                </c:pt>
                <c:pt idx="101">
                  <c:v>0.8661184259623181</c:v>
                </c:pt>
                <c:pt idx="102">
                  <c:v>0.8501909394372914</c:v>
                </c:pt>
                <c:pt idx="103">
                  <c:v>0.8635190916863685</c:v>
                </c:pt>
                <c:pt idx="104">
                  <c:v>0.8832475391808288</c:v>
                </c:pt>
              </c:numCache>
            </c:numRef>
          </c:xVal>
          <c:yVal>
            <c:numRef>
              <c:f>Sheet1!$B$2:$B$106</c:f>
              <c:numCache>
                <c:formatCode>General</c:formatCode>
                <c:ptCount val="105"/>
                <c:pt idx="0">
                  <c:v>0.6040100250626567</c:v>
                </c:pt>
                <c:pt idx="1">
                  <c:v>0.6455424274973147</c:v>
                </c:pt>
                <c:pt idx="2">
                  <c:v>0.6700111482720178</c:v>
                </c:pt>
                <c:pt idx="3">
                  <c:v>0.7048346055979644</c:v>
                </c:pt>
                <c:pt idx="4">
                  <c:v>0.672566371681416</c:v>
                </c:pt>
                <c:pt idx="5">
                  <c:v>0.6147443519619501</c:v>
                </c:pt>
                <c:pt idx="6">
                  <c:v>0.6166281755196305</c:v>
                </c:pt>
                <c:pt idx="7">
                  <c:v>0.6553133514986376</c:v>
                </c:pt>
                <c:pt idx="8">
                  <c:v>0.6269592476489029</c:v>
                </c:pt>
                <c:pt idx="9">
                  <c:v>0.6135629709364908</c:v>
                </c:pt>
                <c:pt idx="10">
                  <c:v>0.5854189336235038</c:v>
                </c:pt>
                <c:pt idx="11">
                  <c:v>0.5184713375796178</c:v>
                </c:pt>
                <c:pt idx="12">
                  <c:v>0.49271844660194175</c:v>
                </c:pt>
                <c:pt idx="13">
                  <c:v>0.473928157589803</c:v>
                </c:pt>
                <c:pt idx="14">
                  <c:v>0.45785876993166286</c:v>
                </c:pt>
                <c:pt idx="15">
                  <c:v>0.47381864623243936</c:v>
                </c:pt>
                <c:pt idx="16">
                  <c:v>0.4368340943683409</c:v>
                </c:pt>
                <c:pt idx="17">
                  <c:v>0.40871021775544386</c:v>
                </c:pt>
                <c:pt idx="18">
                  <c:v>0.4240400667779633</c:v>
                </c:pt>
                <c:pt idx="19">
                  <c:v>0.40471512770137524</c:v>
                </c:pt>
                <c:pt idx="20">
                  <c:v>0.38449111470113084</c:v>
                </c:pt>
                <c:pt idx="21">
                  <c:v>0.4934210526315789</c:v>
                </c:pt>
                <c:pt idx="22">
                  <c:v>0.5834862385321101</c:v>
                </c:pt>
                <c:pt idx="23">
                  <c:v>0.5908221797323135</c:v>
                </c:pt>
                <c:pt idx="24">
                  <c:v>0.5806451612903226</c:v>
                </c:pt>
                <c:pt idx="25">
                  <c:v>0.599250936329588</c:v>
                </c:pt>
                <c:pt idx="26">
                  <c:v>0.5836012861736335</c:v>
                </c:pt>
                <c:pt idx="27">
                  <c:v>0.5502318392581144</c:v>
                </c:pt>
                <c:pt idx="28">
                  <c:v>0.5253940455341506</c:v>
                </c:pt>
                <c:pt idx="29">
                  <c:v>0.5511111111111111</c:v>
                </c:pt>
                <c:pt idx="30">
                  <c:v>0.5659655831739961</c:v>
                </c:pt>
                <c:pt idx="31">
                  <c:v>0.5397631133671743</c:v>
                </c:pt>
                <c:pt idx="32">
                  <c:v>0.5899814471243042</c:v>
                </c:pt>
                <c:pt idx="33">
                  <c:v>0.5977917981072555</c:v>
                </c:pt>
                <c:pt idx="34">
                  <c:v>0.5886889460154242</c:v>
                </c:pt>
                <c:pt idx="35">
                  <c:v>0.5731414868105515</c:v>
                </c:pt>
                <c:pt idx="36">
                  <c:v>0.5252854812398042</c:v>
                </c:pt>
                <c:pt idx="37">
                  <c:v>0.539047619047619</c:v>
                </c:pt>
                <c:pt idx="38">
                  <c:v>0.5019685039370079</c:v>
                </c:pt>
                <c:pt idx="39">
                  <c:v>0.5039525691699605</c:v>
                </c:pt>
                <c:pt idx="40">
                  <c:v>0.5074404761904762</c:v>
                </c:pt>
                <c:pt idx="41">
                  <c:v>0.4975206611570248</c:v>
                </c:pt>
                <c:pt idx="42">
                  <c:v>0.46865203761755486</c:v>
                </c:pt>
                <c:pt idx="43">
                  <c:v>0.4903047091412742</c:v>
                </c:pt>
                <c:pt idx="44">
                  <c:v>0.4678030303030303</c:v>
                </c:pt>
                <c:pt idx="45">
                  <c:v>0.48764044943820223</c:v>
                </c:pt>
                <c:pt idx="46">
                  <c:v>0.49106002554278416</c:v>
                </c:pt>
                <c:pt idx="47">
                  <c:v>0.4773030707610147</c:v>
                </c:pt>
                <c:pt idx="48">
                  <c:v>0.49363057324840764</c:v>
                </c:pt>
                <c:pt idx="49">
                  <c:v>0.5235294117647059</c:v>
                </c:pt>
                <c:pt idx="50">
                  <c:v>0.48148148148148145</c:v>
                </c:pt>
                <c:pt idx="51">
                  <c:v>0.463768115942029</c:v>
                </c:pt>
                <c:pt idx="52">
                  <c:v>0.4958553127354936</c:v>
                </c:pt>
                <c:pt idx="53">
                  <c:v>0.4791666666666667</c:v>
                </c:pt>
                <c:pt idx="54">
                  <c:v>0.5129434324065196</c:v>
                </c:pt>
                <c:pt idx="55">
                  <c:v>0.5031512605042017</c:v>
                </c:pt>
                <c:pt idx="56">
                  <c:v>0.488558352402746</c:v>
                </c:pt>
                <c:pt idx="57">
                  <c:v>0.49670122525918947</c:v>
                </c:pt>
                <c:pt idx="58">
                  <c:v>0.4899738448125545</c:v>
                </c:pt>
                <c:pt idx="59">
                  <c:v>0.5460659045057162</c:v>
                </c:pt>
                <c:pt idx="60">
                  <c:v>0.5516962843295639</c:v>
                </c:pt>
                <c:pt idx="61">
                  <c:v>0.5281933256616801</c:v>
                </c:pt>
                <c:pt idx="62">
                  <c:v>0.5386221294363257</c:v>
                </c:pt>
                <c:pt idx="63">
                  <c:v>0.5757261410788381</c:v>
                </c:pt>
                <c:pt idx="64">
                  <c:v>0.5108910891089109</c:v>
                </c:pt>
                <c:pt idx="65">
                  <c:v>0.48058252427184467</c:v>
                </c:pt>
                <c:pt idx="66">
                  <c:v>0.44834307992202727</c:v>
                </c:pt>
                <c:pt idx="67">
                  <c:v>0.4311111111111111</c:v>
                </c:pt>
                <c:pt idx="68">
                  <c:v>0.4453551912568306</c:v>
                </c:pt>
                <c:pt idx="69">
                  <c:v>0.41118421052631576</c:v>
                </c:pt>
                <c:pt idx="70">
                  <c:v>0.4152823920265781</c:v>
                </c:pt>
                <c:pt idx="71">
                  <c:v>0.4583333333333333</c:v>
                </c:pt>
                <c:pt idx="72">
                  <c:v>0.42787682333873583</c:v>
                </c:pt>
                <c:pt idx="73">
                  <c:v>0.4489795918367347</c:v>
                </c:pt>
                <c:pt idx="74">
                  <c:v>0.4452773613193403</c:v>
                </c:pt>
                <c:pt idx="75">
                  <c:v>0.44153577661431065</c:v>
                </c:pt>
                <c:pt idx="76">
                  <c:v>0.4684512428298279</c:v>
                </c:pt>
                <c:pt idx="77">
                  <c:v>0.44047619047619047</c:v>
                </c:pt>
                <c:pt idx="78">
                  <c:v>0.43373493975903615</c:v>
                </c:pt>
                <c:pt idx="79">
                  <c:v>0.43010752688172044</c:v>
                </c:pt>
                <c:pt idx="80">
                  <c:v>0.4047186932849365</c:v>
                </c:pt>
                <c:pt idx="81">
                  <c:v>0.41294964028776976</c:v>
                </c:pt>
                <c:pt idx="82">
                  <c:v>0.4296875</c:v>
                </c:pt>
                <c:pt idx="83">
                  <c:v>0.4410377358490566</c:v>
                </c:pt>
                <c:pt idx="84">
                  <c:v>0.45185185185185184</c:v>
                </c:pt>
                <c:pt idx="85">
                  <c:v>0.46502835538752363</c:v>
                </c:pt>
                <c:pt idx="86">
                  <c:v>0.4251412429378531</c:v>
                </c:pt>
                <c:pt idx="87">
                  <c:v>0.405</c:v>
                </c:pt>
                <c:pt idx="88">
                  <c:v>0.4293785310734463</c:v>
                </c:pt>
                <c:pt idx="89">
                  <c:v>0.4489795918367347</c:v>
                </c:pt>
                <c:pt idx="90">
                  <c:v>0.3760504201680672</c:v>
                </c:pt>
                <c:pt idx="91">
                  <c:v>0.37298387096774194</c:v>
                </c:pt>
                <c:pt idx="92">
                  <c:v>0.41756548536209553</c:v>
                </c:pt>
                <c:pt idx="93">
                  <c:v>0.3978978978978979</c:v>
                </c:pt>
                <c:pt idx="94">
                  <c:v>0.40124740124740127</c:v>
                </c:pt>
                <c:pt idx="95">
                  <c:v>0.3742690058479532</c:v>
                </c:pt>
                <c:pt idx="96">
                  <c:v>0.42924976258309594</c:v>
                </c:pt>
                <c:pt idx="97">
                  <c:v>0.45409429280397023</c:v>
                </c:pt>
                <c:pt idx="98">
                  <c:v>0.4604651162790698</c:v>
                </c:pt>
                <c:pt idx="99">
                  <c:v>0.465259907359753</c:v>
                </c:pt>
                <c:pt idx="100">
                  <c:v>0.46024590163934426</c:v>
                </c:pt>
                <c:pt idx="101">
                  <c:v>0.4581314878892734</c:v>
                </c:pt>
                <c:pt idx="102">
                  <c:v>0.46124031007751937</c:v>
                </c:pt>
                <c:pt idx="103">
                  <c:v>0.43333333333333335</c:v>
                </c:pt>
                <c:pt idx="104">
                  <c:v>0.42180094786729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652316262757873</c:v>
                </c:pt>
                <c:pt idx="1">
                  <c:v>0.8323433532113056</c:v>
                </c:pt>
                <c:pt idx="2">
                  <c:v>0.8666372304456283</c:v>
                </c:pt>
                <c:pt idx="3">
                  <c:v>0.841724165100687</c:v>
                </c:pt>
                <c:pt idx="4">
                  <c:v>0.8428638540225647</c:v>
                </c:pt>
                <c:pt idx="5">
                  <c:v>0.8452850233826801</c:v>
                </c:pt>
                <c:pt idx="6">
                  <c:v>0.8414392018298359</c:v>
                </c:pt>
                <c:pt idx="7">
                  <c:v>0.8640857196195013</c:v>
                </c:pt>
                <c:pt idx="8">
                  <c:v>0.9051022727247982</c:v>
                </c:pt>
                <c:pt idx="9">
                  <c:v>0.8792274017432886</c:v>
                </c:pt>
                <c:pt idx="10">
                  <c:v>0.909460142312981</c:v>
                </c:pt>
                <c:pt idx="11">
                  <c:v>0.8034909359060609</c:v>
                </c:pt>
                <c:pt idx="12">
                  <c:v>0.838769503600752</c:v>
                </c:pt>
                <c:pt idx="13">
                  <c:v>0.8868659999219496</c:v>
                </c:pt>
                <c:pt idx="14">
                  <c:v>0.8528898356769098</c:v>
                </c:pt>
                <c:pt idx="15">
                  <c:v>0.8754563188363709</c:v>
                </c:pt>
                <c:pt idx="16">
                  <c:v>0.896349164911622</c:v>
                </c:pt>
                <c:pt idx="17">
                  <c:v>0.9000806761233444</c:v>
                </c:pt>
                <c:pt idx="18">
                  <c:v>0.9433408079807971</c:v>
                </c:pt>
                <c:pt idx="19">
                  <c:v>0.9238968519525534</c:v>
                </c:pt>
                <c:pt idx="20">
                  <c:v>0.8983968530876846</c:v>
                </c:pt>
                <c:pt idx="21">
                  <c:v>0.858127569418876</c:v>
                </c:pt>
                <c:pt idx="22">
                  <c:v>0.9509272252889457</c:v>
                </c:pt>
                <c:pt idx="23">
                  <c:v>0.8918679678763991</c:v>
                </c:pt>
                <c:pt idx="24">
                  <c:v>0.8829585394439813</c:v>
                </c:pt>
                <c:pt idx="25">
                  <c:v>0.9516819466828103</c:v>
                </c:pt>
                <c:pt idx="26">
                  <c:v>0.9495725816291999</c:v>
                </c:pt>
                <c:pt idx="27">
                  <c:v>0.9297090697104129</c:v>
                </c:pt>
                <c:pt idx="28">
                  <c:v>0.9495463657374219</c:v>
                </c:pt>
                <c:pt idx="29">
                  <c:v>0.9098598222421216</c:v>
                </c:pt>
                <c:pt idx="30">
                  <c:v>0.880572687117999</c:v>
                </c:pt>
                <c:pt idx="31">
                  <c:v>0.9074288635956639</c:v>
                </c:pt>
                <c:pt idx="32">
                  <c:v>0.9151372249747459</c:v>
                </c:pt>
                <c:pt idx="33">
                  <c:v>0.9148947191104675</c:v>
                </c:pt>
                <c:pt idx="34">
                  <c:v>0.9242453101754519</c:v>
                </c:pt>
                <c:pt idx="35">
                  <c:v>0.9389386508311818</c:v>
                </c:pt>
                <c:pt idx="36">
                  <c:v>0.8860795907033756</c:v>
                </c:pt>
                <c:pt idx="37">
                  <c:v>0.8957351995749882</c:v>
                </c:pt>
                <c:pt idx="38">
                  <c:v>0.9117822835161222</c:v>
                </c:pt>
                <c:pt idx="39">
                  <c:v>0.917976477533443</c:v>
                </c:pt>
                <c:pt idx="40">
                  <c:v>0.965846556058147</c:v>
                </c:pt>
                <c:pt idx="41">
                  <c:v>0.9850361152493785</c:v>
                </c:pt>
                <c:pt idx="42">
                  <c:v>0.9418210102382292</c:v>
                </c:pt>
                <c:pt idx="43">
                  <c:v>0.9977044259283772</c:v>
                </c:pt>
                <c:pt idx="44">
                  <c:v>1.0033854397166233</c:v>
                </c:pt>
                <c:pt idx="45">
                  <c:v>0.947202582243979</c:v>
                </c:pt>
                <c:pt idx="46">
                  <c:v>0.9161689234820037</c:v>
                </c:pt>
                <c:pt idx="47">
                  <c:v>0.9389262028694905</c:v>
                </c:pt>
                <c:pt idx="48">
                  <c:v>1.018001886765828</c:v>
                </c:pt>
                <c:pt idx="49">
                  <c:v>1.0068757573433804</c:v>
                </c:pt>
                <c:pt idx="50">
                  <c:v>0.9479156995939397</c:v>
                </c:pt>
                <c:pt idx="51">
                  <c:v>0.9471237567620008</c:v>
                </c:pt>
              </c:numCache>
            </c:numRef>
          </c:xVal>
          <c:yVal>
            <c:numRef>
              <c:f>Sheet1!$B$109:$B$160</c:f>
              <c:numCache>
                <c:formatCode>General</c:formatCode>
                <c:ptCount val="52"/>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5532435740514077</c:v>
                </c:pt>
                <c:pt idx="14">
                  <c:v>0.4485387547649301</c:v>
                </c:pt>
                <c:pt idx="15">
                  <c:v>0.47238372093023256</c:v>
                </c:pt>
                <c:pt idx="16">
                  <c:v>0.44805194805194803</c:v>
                </c:pt>
                <c:pt idx="17">
                  <c:v>0.46394984326018807</c:v>
                </c:pt>
                <c:pt idx="18">
                  <c:v>0.4486486486486487</c:v>
                </c:pt>
                <c:pt idx="19">
                  <c:v>0.468013468013468</c:v>
                </c:pt>
                <c:pt idx="20">
                  <c:v>0.46938775510204084</c:v>
                </c:pt>
                <c:pt idx="21">
                  <c:v>0.46830265848670755</c:v>
                </c:pt>
                <c:pt idx="22">
                  <c:v>0.4375</c:v>
                </c:pt>
                <c:pt idx="23">
                  <c:v>0.4628099173553719</c:v>
                </c:pt>
                <c:pt idx="24">
                  <c:v>0.458259325044405</c:v>
                </c:pt>
                <c:pt idx="25">
                  <c:v>0.4368421052631579</c:v>
                </c:pt>
                <c:pt idx="26">
                  <c:v>0.427797833935018</c:v>
                </c:pt>
                <c:pt idx="27">
                  <c:v>0.4316309719934102</c:v>
                </c:pt>
                <c:pt idx="28">
                  <c:v>0.4411764705882353</c:v>
                </c:pt>
                <c:pt idx="29">
                  <c:v>0.4359464627151052</c:v>
                </c:pt>
                <c:pt idx="30">
                  <c:v>0.4346938775510204</c:v>
                </c:pt>
                <c:pt idx="31">
                  <c:v>0.43612334801762115</c:v>
                </c:pt>
                <c:pt idx="32">
                  <c:v>0.42447418738049714</c:v>
                </c:pt>
                <c:pt idx="33">
                  <c:v>0.4477401129943503</c:v>
                </c:pt>
                <c:pt idx="34">
                  <c:v>0.4734982332155477</c:v>
                </c:pt>
                <c:pt idx="35">
                  <c:v>0.4192</c:v>
                </c:pt>
                <c:pt idx="36">
                  <c:v>0.46883468834688347</c:v>
                </c:pt>
                <c:pt idx="37">
                  <c:v>0.4539170506912442</c:v>
                </c:pt>
                <c:pt idx="38">
                  <c:v>0.46116504854368934</c:v>
                </c:pt>
                <c:pt idx="39">
                  <c:v>0.43410852713178294</c:v>
                </c:pt>
                <c:pt idx="40">
                  <c:v>0.4376237623762376</c:v>
                </c:pt>
                <c:pt idx="41">
                  <c:v>0.43447037701974867</c:v>
                </c:pt>
                <c:pt idx="42">
                  <c:v>0.4720616570327553</c:v>
                </c:pt>
                <c:pt idx="43">
                  <c:v>0.44592592592592595</c:v>
                </c:pt>
                <c:pt idx="44">
                  <c:v>0.4624664879356568</c:v>
                </c:pt>
                <c:pt idx="45">
                  <c:v>0.48867924528301887</c:v>
                </c:pt>
                <c:pt idx="46">
                  <c:v>0.48361469712015887</c:v>
                </c:pt>
                <c:pt idx="47">
                  <c:v>0.49550359712230213</c:v>
                </c:pt>
                <c:pt idx="48">
                  <c:v>0.44813278008298757</c:v>
                </c:pt>
                <c:pt idx="49">
                  <c:v>0.4652974504249292</c:v>
                </c:pt>
                <c:pt idx="50">
                  <c:v>0.4698972099853157</c:v>
                </c:pt>
                <c:pt idx="51">
                  <c:v>0.4736842105263157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0.649490973488124</c:v>
                </c:pt>
              </c:numCache>
            </c:numRef>
          </c:xVal>
          <c:yVal>
            <c:numRef>
              <c:f>Sheet1!$B$163:$B$164</c:f>
              <c:numCache>
                <c:formatCode>General</c:formatCode>
                <c:ptCount val="2"/>
                <c:pt idx="0">
                  <c:v>0.6456233005267211</c:v>
                </c:pt>
                <c:pt idx="1">
                  <c:v>0.645623300526721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0.649490973488124</c:v>
                </c:pt>
                <c:pt idx="1">
                  <c:v>-20.649490973488124</c:v>
                </c:pt>
              </c:numCache>
            </c:numRef>
          </c:xVal>
          <c:yVal>
            <c:numRef>
              <c:f>Sheet1!$B$167:$B$168</c:f>
              <c:numCache>
                <c:formatCode>General</c:formatCode>
                <c:ptCount val="2"/>
                <c:pt idx="0">
                  <c:v>0.64562330052672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364280288085481</c:v>
                </c:pt>
              </c:numCache>
            </c:numRef>
          </c:xVal>
          <c:yVal>
            <c:numRef>
              <c:f>Sheet1!$B$171:$B$172</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364280288085481</c:v>
                </c:pt>
                <c:pt idx="1">
                  <c:v>-0.4364280288085481</c:v>
                </c:pt>
              </c:numCache>
            </c:numRef>
          </c:xVal>
          <c:yVal>
            <c:numRef>
              <c:f>Sheet1!$B$175:$B$176</c:f>
              <c:numCache>
                <c:formatCode>General</c:formatCode>
                <c:ptCount val="2"/>
                <c:pt idx="0">
                  <c:v>0.464252912754887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3220745986082014</c:v>
                </c:pt>
              </c:numCache>
            </c:numRef>
          </c:xVal>
          <c:yVal>
            <c:numRef>
              <c:f>Sheet1!$B$179:$B$180</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3220745986082014</c:v>
                </c:pt>
                <c:pt idx="1">
                  <c:v>-0.23220745986082014</c:v>
                </c:pt>
              </c:numCache>
            </c:numRef>
          </c:xVal>
          <c:yVal>
            <c:numRef>
              <c:f>Sheet1!$B$183:$B$184</c:f>
              <c:numCache>
                <c:formatCode>General</c:formatCode>
                <c:ptCount val="2"/>
                <c:pt idx="0">
                  <c:v>0.4624204559974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652316262757873</c:v>
                </c:pt>
                <c:pt idx="1">
                  <c:v>0.8323433532113056</c:v>
                </c:pt>
                <c:pt idx="2">
                  <c:v>0.8666372304456283</c:v>
                </c:pt>
                <c:pt idx="3">
                  <c:v>0.841724165100687</c:v>
                </c:pt>
                <c:pt idx="4">
                  <c:v>0.8428638540225647</c:v>
                </c:pt>
                <c:pt idx="5">
                  <c:v>0.8452850233826801</c:v>
                </c:pt>
                <c:pt idx="6">
                  <c:v>0.8414392018298359</c:v>
                </c:pt>
                <c:pt idx="7">
                  <c:v>0.8640857196195013</c:v>
                </c:pt>
                <c:pt idx="8">
                  <c:v>0.9051022727247982</c:v>
                </c:pt>
                <c:pt idx="9">
                  <c:v>0.8792274017432886</c:v>
                </c:pt>
                <c:pt idx="10">
                  <c:v>0.909460142312981</c:v>
                </c:pt>
                <c:pt idx="11">
                  <c:v>0.8034909359060609</c:v>
                </c:pt>
                <c:pt idx="12">
                  <c:v>0.838769503600752</c:v>
                </c:pt>
                <c:pt idx="13">
                  <c:v>0.8868659999219496</c:v>
                </c:pt>
                <c:pt idx="14">
                  <c:v>0.8528898356769098</c:v>
                </c:pt>
                <c:pt idx="15">
                  <c:v>0.8754563188363709</c:v>
                </c:pt>
                <c:pt idx="16">
                  <c:v>0.896349164911622</c:v>
                </c:pt>
                <c:pt idx="17">
                  <c:v>0.9000806761233444</c:v>
                </c:pt>
                <c:pt idx="18">
                  <c:v>0.9433408079807971</c:v>
                </c:pt>
                <c:pt idx="19">
                  <c:v>0.9238968519525534</c:v>
                </c:pt>
                <c:pt idx="20">
                  <c:v>0.8983968530876846</c:v>
                </c:pt>
                <c:pt idx="21">
                  <c:v>0.858127569418876</c:v>
                </c:pt>
                <c:pt idx="22">
                  <c:v>0.9509272252889457</c:v>
                </c:pt>
                <c:pt idx="23">
                  <c:v>0.8918679678763991</c:v>
                </c:pt>
                <c:pt idx="24">
                  <c:v>0.8829585394439813</c:v>
                </c:pt>
                <c:pt idx="25">
                  <c:v>0.9516819466828103</c:v>
                </c:pt>
                <c:pt idx="26">
                  <c:v>0.9495725816291999</c:v>
                </c:pt>
                <c:pt idx="27">
                  <c:v>0.9297090697104129</c:v>
                </c:pt>
                <c:pt idx="28">
                  <c:v>0.9495463657374219</c:v>
                </c:pt>
                <c:pt idx="29">
                  <c:v>0.9098598222421216</c:v>
                </c:pt>
                <c:pt idx="30">
                  <c:v>0.880572687117999</c:v>
                </c:pt>
                <c:pt idx="31">
                  <c:v>0.9074288635956639</c:v>
                </c:pt>
                <c:pt idx="32">
                  <c:v>0.9151372249747459</c:v>
                </c:pt>
                <c:pt idx="33">
                  <c:v>0.9148947191104675</c:v>
                </c:pt>
                <c:pt idx="34">
                  <c:v>0.9242453101754519</c:v>
                </c:pt>
                <c:pt idx="35">
                  <c:v>0.9389386508311818</c:v>
                </c:pt>
                <c:pt idx="36">
                  <c:v>0.8860795907033756</c:v>
                </c:pt>
                <c:pt idx="37">
                  <c:v>0.8957351995749882</c:v>
                </c:pt>
                <c:pt idx="38">
                  <c:v>0.9117822835161222</c:v>
                </c:pt>
                <c:pt idx="39">
                  <c:v>0.917976477533443</c:v>
                </c:pt>
                <c:pt idx="40">
                  <c:v>0.965846556058147</c:v>
                </c:pt>
                <c:pt idx="41">
                  <c:v>0.9850361152493785</c:v>
                </c:pt>
                <c:pt idx="42">
                  <c:v>0.9418210102382292</c:v>
                </c:pt>
                <c:pt idx="43">
                  <c:v>0.9977044259283772</c:v>
                </c:pt>
                <c:pt idx="44">
                  <c:v>1.0033854397166233</c:v>
                </c:pt>
                <c:pt idx="45">
                  <c:v>0.947202582243979</c:v>
                </c:pt>
                <c:pt idx="46">
                  <c:v>0.9161689234820037</c:v>
                </c:pt>
                <c:pt idx="47">
                  <c:v>0.9389262028694905</c:v>
                </c:pt>
                <c:pt idx="48">
                  <c:v>1.018001886765828</c:v>
                </c:pt>
                <c:pt idx="49">
                  <c:v>1.0068757573433804</c:v>
                </c:pt>
                <c:pt idx="50">
                  <c:v>0.9479156995939397</c:v>
                </c:pt>
                <c:pt idx="51">
                  <c:v>0.9471237567620008</c:v>
                </c:pt>
                <c:pt idx="52">
                  <c:v>-0.4364280288085481</c:v>
                </c:pt>
                <c:pt idx="53">
                  <c:v>-20.649490973488124</c:v>
                </c:pt>
                <c:pt idx="54">
                  <c:v>-0.23220745986082014</c:v>
                </c:pt>
              </c:numCache>
            </c:numRef>
          </c:xVal>
          <c:yVal>
            <c:numRef>
              <c:f>Sheet1!$B$187:$B$241</c:f>
              <c:numCache>
                <c:formatCode>General</c:formatCode>
                <c:ptCount val="55"/>
                <c:pt idx="0">
                  <c:v>0.4525732125018515</c:v>
                </c:pt>
                <c:pt idx="1">
                  <c:v>0.45286831665579275</c:v>
                </c:pt>
                <c:pt idx="2">
                  <c:v>0.4525606001148008</c:v>
                </c:pt>
                <c:pt idx="3">
                  <c:v>0.45278414329252525</c:v>
                </c:pt>
                <c:pt idx="4">
                  <c:v>0.45277391694423424</c:v>
                </c:pt>
                <c:pt idx="5">
                  <c:v>0.4527521919623793</c:v>
                </c:pt>
                <c:pt idx="6">
                  <c:v>0.45278670024785045</c:v>
                </c:pt>
                <c:pt idx="7">
                  <c:v>0.4525834946414347</c:v>
                </c:pt>
                <c:pt idx="8">
                  <c:v>0.45221545600413704</c:v>
                </c:pt>
                <c:pt idx="9">
                  <c:v>0.452447629395983</c:v>
                </c:pt>
                <c:pt idx="10">
                  <c:v>0.45217635314776977</c:v>
                </c:pt>
                <c:pt idx="11">
                  <c:v>0.45312720736073586</c:v>
                </c:pt>
                <c:pt idx="12">
                  <c:v>0.4528106552617129</c:v>
                </c:pt>
                <c:pt idx="13">
                  <c:v>0.4523790887934287</c:v>
                </c:pt>
                <c:pt idx="14">
                  <c:v>0.4526839545181824</c:v>
                </c:pt>
                <c:pt idx="15">
                  <c:v>0.45248146705685705</c:v>
                </c:pt>
                <c:pt idx="16">
                  <c:v>0.45229399702301326</c:v>
                </c:pt>
                <c:pt idx="17">
                  <c:v>0.45226051443616844</c:v>
                </c:pt>
                <c:pt idx="18">
                  <c:v>0.45187234432501205</c:v>
                </c:pt>
                <c:pt idx="19">
                  <c:v>0.4520468135706832</c:v>
                </c:pt>
                <c:pt idx="20">
                  <c:v>0.45227562326147375</c:v>
                </c:pt>
                <c:pt idx="21">
                  <c:v>0.45263695670283766</c:v>
                </c:pt>
                <c:pt idx="22">
                  <c:v>0.4518042719377275</c:v>
                </c:pt>
                <c:pt idx="23">
                  <c:v>0.45233420648786204</c:v>
                </c:pt>
                <c:pt idx="24">
                  <c:v>0.4524141501606263</c:v>
                </c:pt>
                <c:pt idx="25">
                  <c:v>0.4517974998759059</c:v>
                </c:pt>
                <c:pt idx="26">
                  <c:v>0.4518164270597163</c:v>
                </c:pt>
                <c:pt idx="27">
                  <c:v>0.45199466095079366</c:v>
                </c:pt>
                <c:pt idx="28">
                  <c:v>0.4518166622930637</c:v>
                </c:pt>
                <c:pt idx="29">
                  <c:v>0.45217276684796304</c:v>
                </c:pt>
                <c:pt idx="30">
                  <c:v>0.4524355582452256</c:v>
                </c:pt>
                <c:pt idx="31">
                  <c:v>0.45219457966839366</c:v>
                </c:pt>
                <c:pt idx="32">
                  <c:v>0.4521254130855637</c:v>
                </c:pt>
                <c:pt idx="33">
                  <c:v>0.4521275890735751</c:v>
                </c:pt>
                <c:pt idx="34">
                  <c:v>0.4520436868796328</c:v>
                </c:pt>
                <c:pt idx="35">
                  <c:v>0.45191184457054356</c:v>
                </c:pt>
                <c:pt idx="36">
                  <c:v>0.4523861451878658</c:v>
                </c:pt>
                <c:pt idx="37">
                  <c:v>0.45229950609066366</c:v>
                </c:pt>
                <c:pt idx="38">
                  <c:v>0.45215551673858095</c:v>
                </c:pt>
                <c:pt idx="39">
                  <c:v>0.4520999366726637</c:v>
                </c:pt>
                <c:pt idx="40">
                  <c:v>0.4516704018352936</c:v>
                </c:pt>
                <c:pt idx="41">
                  <c:v>0.45149821527449335</c:v>
                </c:pt>
                <c:pt idx="42">
                  <c:v>0.45188598136293445</c:v>
                </c:pt>
                <c:pt idx="43">
                  <c:v>0.4513845434165195</c:v>
                </c:pt>
                <c:pt idx="44">
                  <c:v>0.45133356808059283</c:v>
                </c:pt>
                <c:pt idx="45">
                  <c:v>0.45183769289699655</c:v>
                </c:pt>
                <c:pt idx="46">
                  <c:v>0.4521161557276444</c:v>
                </c:pt>
                <c:pt idx="47">
                  <c:v>0.4519119562652256</c:v>
                </c:pt>
                <c:pt idx="48">
                  <c:v>0.4512024157324101</c:v>
                </c:pt>
                <c:pt idx="49">
                  <c:v>0.45130224970676974</c:v>
                </c:pt>
                <c:pt idx="50">
                  <c:v>0.45183129414532575</c:v>
                </c:pt>
                <c:pt idx="51">
                  <c:v>0.4518384001924852</c:v>
                </c:pt>
                <c:pt idx="52">
                  <c:v>0.46425291275488706</c:v>
                </c:pt>
                <c:pt idx="53">
                  <c:v>0.6456233005267211</c:v>
                </c:pt>
                <c:pt idx="54">
                  <c:v>0.462420455997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9.1701</c:v>
                </c:pt>
                <c:pt idx="1">
                  <c:v>880.1048</c:v>
                </c:pt>
                <c:pt idx="2">
                  <c:v>935.5491</c:v>
                </c:pt>
                <c:pt idx="3">
                  <c:v>955.6372</c:v>
                </c:pt>
                <c:pt idx="4">
                  <c:v>953.8271</c:v>
                </c:pt>
                <c:pt idx="5">
                  <c:v>938.0716</c:v>
                </c:pt>
                <c:pt idx="6">
                  <c:v>899.6348</c:v>
                </c:pt>
                <c:pt idx="7">
                  <c:v>913.183</c:v>
                </c:pt>
                <c:pt idx="8">
                  <c:v>933.0575</c:v>
                </c:pt>
                <c:pt idx="9">
                  <c:v>846.4018</c:v>
                </c:pt>
                <c:pt idx="10">
                  <c:v>842.3253</c:v>
                </c:pt>
                <c:pt idx="11">
                  <c:v>935.8477</c:v>
                </c:pt>
                <c:pt idx="12">
                  <c:v>949.5911</c:v>
                </c:pt>
                <c:pt idx="13">
                  <c:v>932.3301</c:v>
                </c:pt>
                <c:pt idx="14">
                  <c:v>904.4826</c:v>
                </c:pt>
                <c:pt idx="15">
                  <c:v>891.7035</c:v>
                </c:pt>
                <c:pt idx="16">
                  <c:v>941.6934</c:v>
                </c:pt>
                <c:pt idx="17">
                  <c:v>986.9918</c:v>
                </c:pt>
                <c:pt idx="18">
                  <c:v>966.9252</c:v>
                </c:pt>
                <c:pt idx="19">
                  <c:v>1053.5146</c:v>
                </c:pt>
                <c:pt idx="20">
                  <c:v>1099.2437</c:v>
                </c:pt>
                <c:pt idx="21">
                  <c:v>1062.56</c:v>
                </c:pt>
                <c:pt idx="22">
                  <c:v>1033.9151</c:v>
                </c:pt>
                <c:pt idx="23">
                  <c:v>1051.4498</c:v>
                </c:pt>
                <c:pt idx="24">
                  <c:v>1037.5833</c:v>
                </c:pt>
                <c:pt idx="25">
                  <c:v>993.1313</c:v>
                </c:pt>
                <c:pt idx="26">
                  <c:v>992.7107</c:v>
                </c:pt>
                <c:pt idx="27">
                  <c:v>1022.3876</c:v>
                </c:pt>
                <c:pt idx="28">
                  <c:v>1028.4167</c:v>
                </c:pt>
                <c:pt idx="29">
                  <c:v>999.6317</c:v>
                </c:pt>
                <c:pt idx="30">
                  <c:v>984.9054</c:v>
                </c:pt>
                <c:pt idx="31">
                  <c:v>985.1191</c:v>
                </c:pt>
                <c:pt idx="32">
                  <c:v>962.2673</c:v>
                </c:pt>
                <c:pt idx="33">
                  <c:v>927.4063</c:v>
                </c:pt>
                <c:pt idx="34">
                  <c:v>932.3341</c:v>
                </c:pt>
                <c:pt idx="35">
                  <c:v>965.523</c:v>
                </c:pt>
                <c:pt idx="36">
                  <c:v>1090.6273</c:v>
                </c:pt>
                <c:pt idx="37">
                  <c:v>1100.8092</c:v>
                </c:pt>
                <c:pt idx="38">
                  <c:v>1164.302</c:v>
                </c:pt>
                <c:pt idx="39">
                  <c:v>1176.3373</c:v>
                </c:pt>
                <c:pt idx="40">
                  <c:v>1140.0997</c:v>
                </c:pt>
                <c:pt idx="41">
                  <c:v>1177.3322</c:v>
                </c:pt>
                <c:pt idx="42">
                  <c:v>1219.6957</c:v>
                </c:pt>
                <c:pt idx="43">
                  <c:v>1201.3729</c:v>
                </c:pt>
                <c:pt idx="44">
                  <c:v>1132.2935</c:v>
                </c:pt>
                <c:pt idx="45">
                  <c:v>1086.765</c:v>
                </c:pt>
                <c:pt idx="46">
                  <c:v>1103.8231</c:v>
                </c:pt>
                <c:pt idx="47">
                  <c:v>1093.4238</c:v>
                </c:pt>
                <c:pt idx="48">
                  <c:v>1088.3032</c:v>
                </c:pt>
                <c:pt idx="49">
                  <c:v>1042.7528</c:v>
                </c:pt>
                <c:pt idx="50">
                  <c:v>1041.4076</c:v>
                </c:pt>
                <c:pt idx="51">
                  <c:v>1048.9816</c:v>
                </c:pt>
                <c:pt idx="52">
                  <c:v>1042.6717</c:v>
                </c:pt>
                <c:pt idx="53">
                  <c:v>1133.5901</c:v>
                </c:pt>
                <c:pt idx="54">
                  <c:v>1125.7159</c:v>
                </c:pt>
                <c:pt idx="55">
                  <c:v>1160.0939</c:v>
                </c:pt>
                <c:pt idx="56">
                  <c:v>1181.1616</c:v>
                </c:pt>
                <c:pt idx="57">
                  <c:v>1130.9089</c:v>
                </c:pt>
                <c:pt idx="58">
                  <c:v>1112.4021</c:v>
                </c:pt>
                <c:pt idx="59">
                  <c:v>1086.6145</c:v>
                </c:pt>
                <c:pt idx="60">
                  <c:v>1113.0556</c:v>
                </c:pt>
                <c:pt idx="61">
                  <c:v>1156.0305</c:v>
                </c:pt>
                <c:pt idx="62">
                  <c:v>1081.0504</c:v>
                </c:pt>
                <c:pt idx="63">
                  <c:v>1119.973</c:v>
                </c:pt>
                <c:pt idx="64">
                  <c:v>1162.1899</c:v>
                </c:pt>
                <c:pt idx="65">
                  <c:v>1141.0</c:v>
                </c:pt>
                <c:pt idx="66">
                  <c:v>1159.9783</c:v>
                </c:pt>
                <c:pt idx="67">
                  <c:v>1186.1237</c:v>
                </c:pt>
                <c:pt idx="68">
                  <c:v>1234.0798</c:v>
                </c:pt>
                <c:pt idx="69">
                  <c:v>1259.644</c:v>
                </c:pt>
                <c:pt idx="70">
                  <c:v>1283.36</c:v>
                </c:pt>
                <c:pt idx="71">
                  <c:v>1309.3715</c:v>
                </c:pt>
                <c:pt idx="72">
                  <c:v>1350.6402</c:v>
                </c:pt>
                <c:pt idx="73">
                  <c:v>1349.0455</c:v>
                </c:pt>
                <c:pt idx="74">
                  <c:v>1316.1886</c:v>
                </c:pt>
                <c:pt idx="75">
                  <c:v>1273.1423</c:v>
                </c:pt>
                <c:pt idx="76">
                  <c:v>1261.4082</c:v>
                </c:pt>
                <c:pt idx="77">
                  <c:v>1300.1892</c:v>
                </c:pt>
                <c:pt idx="78">
                  <c:v>1319.4491</c:v>
                </c:pt>
                <c:pt idx="79">
                  <c:v>1325.6958</c:v>
                </c:pt>
                <c:pt idx="80">
                  <c:v>1262.6323</c:v>
                </c:pt>
                <c:pt idx="81">
                  <c:v>1278.4077</c:v>
                </c:pt>
                <c:pt idx="82">
                  <c:v>1269.1909</c:v>
                </c:pt>
                <c:pt idx="83">
                  <c:v>1237.9251</c:v>
                </c:pt>
                <c:pt idx="84">
                  <c:v>1220.8033</c:v>
                </c:pt>
                <c:pt idx="85">
                  <c:v>1177.0</c:v>
                </c:pt>
                <c:pt idx="86">
                  <c:v>1205.6445</c:v>
                </c:pt>
                <c:pt idx="87">
                  <c:v>1236.8364</c:v>
                </c:pt>
                <c:pt idx="88">
                  <c:v>1283.5482</c:v>
                </c:pt>
                <c:pt idx="89">
                  <c:v>1275.9242</c:v>
                </c:pt>
                <c:pt idx="90">
                  <c:v>1363.0838</c:v>
                </c:pt>
                <c:pt idx="91">
                  <c:v>1376.5297</c:v>
                </c:pt>
                <c:pt idx="92">
                  <c:v>1299.2731</c:v>
                </c:pt>
                <c:pt idx="93">
                  <c:v>1328.5396</c:v>
                </c:pt>
                <c:pt idx="94">
                  <c:v>1346.7513</c:v>
                </c:pt>
                <c:pt idx="95">
                  <c:v>1305.1211</c:v>
                </c:pt>
                <c:pt idx="96">
                  <c:v>1205.5664</c:v>
                </c:pt>
                <c:pt idx="97">
                  <c:v>1188.286</c:v>
                </c:pt>
                <c:pt idx="98">
                  <c:v>1171.8167</c:v>
                </c:pt>
                <c:pt idx="99">
                  <c:v>1101.2533</c:v>
                </c:pt>
                <c:pt idx="100">
                  <c:v>1119.1318</c:v>
                </c:pt>
                <c:pt idx="101">
                  <c:v>1114.1692</c:v>
                </c:pt>
                <c:pt idx="102">
                  <c:v>1114.2815</c:v>
                </c:pt>
                <c:pt idx="103">
                  <c:v>1107.7216</c:v>
                </c:pt>
                <c:pt idx="104">
                  <c:v>1178.2584</c:v>
                </c:pt>
              </c:numCache>
            </c:numRef>
          </c:xVal>
          <c:yVal>
            <c:numRef>
              <c:f>Sheet1!$B$2:$B$106</c:f>
              <c:numCache>
                <c:formatCode>General</c:formatCode>
                <c:ptCount val="105"/>
                <c:pt idx="0">
                  <c:v>0.6040100250626567</c:v>
                </c:pt>
                <c:pt idx="1">
                  <c:v>0.6455424274973147</c:v>
                </c:pt>
                <c:pt idx="2">
                  <c:v>0.6700111482720178</c:v>
                </c:pt>
                <c:pt idx="3">
                  <c:v>0.7048346055979644</c:v>
                </c:pt>
                <c:pt idx="4">
                  <c:v>0.672566371681416</c:v>
                </c:pt>
                <c:pt idx="5">
                  <c:v>0.6147443519619501</c:v>
                </c:pt>
                <c:pt idx="6">
                  <c:v>0.6166281755196305</c:v>
                </c:pt>
                <c:pt idx="7">
                  <c:v>0.6553133514986376</c:v>
                </c:pt>
                <c:pt idx="8">
                  <c:v>0.6269592476489029</c:v>
                </c:pt>
                <c:pt idx="9">
                  <c:v>0.6135629709364908</c:v>
                </c:pt>
                <c:pt idx="10">
                  <c:v>0.5854189336235038</c:v>
                </c:pt>
                <c:pt idx="11">
                  <c:v>0.5184713375796178</c:v>
                </c:pt>
                <c:pt idx="12">
                  <c:v>0.49271844660194175</c:v>
                </c:pt>
                <c:pt idx="13">
                  <c:v>0.473928157589803</c:v>
                </c:pt>
                <c:pt idx="14">
                  <c:v>0.45785876993166286</c:v>
                </c:pt>
                <c:pt idx="15">
                  <c:v>0.47381864623243936</c:v>
                </c:pt>
                <c:pt idx="16">
                  <c:v>0.4368340943683409</c:v>
                </c:pt>
                <c:pt idx="17">
                  <c:v>0.40871021775544386</c:v>
                </c:pt>
                <c:pt idx="18">
                  <c:v>0.4240400667779633</c:v>
                </c:pt>
                <c:pt idx="19">
                  <c:v>0.40471512770137524</c:v>
                </c:pt>
                <c:pt idx="20">
                  <c:v>0.38449111470113084</c:v>
                </c:pt>
                <c:pt idx="21">
                  <c:v>0.4934210526315789</c:v>
                </c:pt>
                <c:pt idx="22">
                  <c:v>0.5834862385321101</c:v>
                </c:pt>
                <c:pt idx="23">
                  <c:v>0.5908221797323135</c:v>
                </c:pt>
                <c:pt idx="24">
                  <c:v>0.5806451612903226</c:v>
                </c:pt>
                <c:pt idx="25">
                  <c:v>0.599250936329588</c:v>
                </c:pt>
                <c:pt idx="26">
                  <c:v>0.5836012861736335</c:v>
                </c:pt>
                <c:pt idx="27">
                  <c:v>0.5502318392581144</c:v>
                </c:pt>
                <c:pt idx="28">
                  <c:v>0.5253940455341506</c:v>
                </c:pt>
                <c:pt idx="29">
                  <c:v>0.5511111111111111</c:v>
                </c:pt>
                <c:pt idx="30">
                  <c:v>0.5659655831739961</c:v>
                </c:pt>
                <c:pt idx="31">
                  <c:v>0.5397631133671743</c:v>
                </c:pt>
                <c:pt idx="32">
                  <c:v>0.5899814471243042</c:v>
                </c:pt>
                <c:pt idx="33">
                  <c:v>0.5977917981072555</c:v>
                </c:pt>
                <c:pt idx="34">
                  <c:v>0.5886889460154242</c:v>
                </c:pt>
                <c:pt idx="35">
                  <c:v>0.5731414868105515</c:v>
                </c:pt>
                <c:pt idx="36">
                  <c:v>0.5252854812398042</c:v>
                </c:pt>
                <c:pt idx="37">
                  <c:v>0.539047619047619</c:v>
                </c:pt>
                <c:pt idx="38">
                  <c:v>0.5019685039370079</c:v>
                </c:pt>
                <c:pt idx="39">
                  <c:v>0.5039525691699605</c:v>
                </c:pt>
                <c:pt idx="40">
                  <c:v>0.5074404761904762</c:v>
                </c:pt>
                <c:pt idx="41">
                  <c:v>0.4975206611570248</c:v>
                </c:pt>
                <c:pt idx="42">
                  <c:v>0.46865203761755486</c:v>
                </c:pt>
                <c:pt idx="43">
                  <c:v>0.4903047091412742</c:v>
                </c:pt>
                <c:pt idx="44">
                  <c:v>0.4678030303030303</c:v>
                </c:pt>
                <c:pt idx="45">
                  <c:v>0.48764044943820223</c:v>
                </c:pt>
                <c:pt idx="46">
                  <c:v>0.49106002554278416</c:v>
                </c:pt>
                <c:pt idx="47">
                  <c:v>0.4773030707610147</c:v>
                </c:pt>
                <c:pt idx="48">
                  <c:v>0.49363057324840764</c:v>
                </c:pt>
                <c:pt idx="49">
                  <c:v>0.5235294117647059</c:v>
                </c:pt>
                <c:pt idx="50">
                  <c:v>0.48148148148148145</c:v>
                </c:pt>
                <c:pt idx="51">
                  <c:v>0.463768115942029</c:v>
                </c:pt>
                <c:pt idx="52">
                  <c:v>0.4958553127354936</c:v>
                </c:pt>
                <c:pt idx="53">
                  <c:v>0.4791666666666667</c:v>
                </c:pt>
                <c:pt idx="54">
                  <c:v>0.5129434324065196</c:v>
                </c:pt>
                <c:pt idx="55">
                  <c:v>0.5031512605042017</c:v>
                </c:pt>
                <c:pt idx="56">
                  <c:v>0.488558352402746</c:v>
                </c:pt>
                <c:pt idx="57">
                  <c:v>0.49670122525918947</c:v>
                </c:pt>
                <c:pt idx="58">
                  <c:v>0.4899738448125545</c:v>
                </c:pt>
                <c:pt idx="59">
                  <c:v>0.5460659045057162</c:v>
                </c:pt>
                <c:pt idx="60">
                  <c:v>0.5516962843295639</c:v>
                </c:pt>
                <c:pt idx="61">
                  <c:v>0.5281933256616801</c:v>
                </c:pt>
                <c:pt idx="62">
                  <c:v>0.5386221294363257</c:v>
                </c:pt>
                <c:pt idx="63">
                  <c:v>0.5757261410788381</c:v>
                </c:pt>
                <c:pt idx="64">
                  <c:v>0.5108910891089109</c:v>
                </c:pt>
                <c:pt idx="65">
                  <c:v>0.48058252427184467</c:v>
                </c:pt>
                <c:pt idx="66">
                  <c:v>0.44834307992202727</c:v>
                </c:pt>
                <c:pt idx="67">
                  <c:v>0.4311111111111111</c:v>
                </c:pt>
                <c:pt idx="68">
                  <c:v>0.4453551912568306</c:v>
                </c:pt>
                <c:pt idx="69">
                  <c:v>0.41118421052631576</c:v>
                </c:pt>
                <c:pt idx="70">
                  <c:v>0.4152823920265781</c:v>
                </c:pt>
                <c:pt idx="71">
                  <c:v>0.4583333333333333</c:v>
                </c:pt>
                <c:pt idx="72">
                  <c:v>0.42787682333873583</c:v>
                </c:pt>
                <c:pt idx="73">
                  <c:v>0.4489795918367347</c:v>
                </c:pt>
                <c:pt idx="74">
                  <c:v>0.4452773613193403</c:v>
                </c:pt>
                <c:pt idx="75">
                  <c:v>0.44153577661431065</c:v>
                </c:pt>
                <c:pt idx="76">
                  <c:v>0.4684512428298279</c:v>
                </c:pt>
                <c:pt idx="77">
                  <c:v>0.44047619047619047</c:v>
                </c:pt>
                <c:pt idx="78">
                  <c:v>0.43373493975903615</c:v>
                </c:pt>
                <c:pt idx="79">
                  <c:v>0.43010752688172044</c:v>
                </c:pt>
                <c:pt idx="80">
                  <c:v>0.4047186932849365</c:v>
                </c:pt>
                <c:pt idx="81">
                  <c:v>0.41294964028776976</c:v>
                </c:pt>
                <c:pt idx="82">
                  <c:v>0.4296875</c:v>
                </c:pt>
                <c:pt idx="83">
                  <c:v>0.4410377358490566</c:v>
                </c:pt>
                <c:pt idx="84">
                  <c:v>0.45185185185185184</c:v>
                </c:pt>
                <c:pt idx="85">
                  <c:v>0.46502835538752363</c:v>
                </c:pt>
                <c:pt idx="86">
                  <c:v>0.4251412429378531</c:v>
                </c:pt>
                <c:pt idx="87">
                  <c:v>0.405</c:v>
                </c:pt>
                <c:pt idx="88">
                  <c:v>0.4293785310734463</c:v>
                </c:pt>
                <c:pt idx="89">
                  <c:v>0.4489795918367347</c:v>
                </c:pt>
                <c:pt idx="90">
                  <c:v>0.3760504201680672</c:v>
                </c:pt>
                <c:pt idx="91">
                  <c:v>0.37298387096774194</c:v>
                </c:pt>
                <c:pt idx="92">
                  <c:v>0.41756548536209553</c:v>
                </c:pt>
                <c:pt idx="93">
                  <c:v>0.3978978978978979</c:v>
                </c:pt>
                <c:pt idx="94">
                  <c:v>0.40124740124740127</c:v>
                </c:pt>
                <c:pt idx="95">
                  <c:v>0.3742690058479532</c:v>
                </c:pt>
                <c:pt idx="96">
                  <c:v>0.42924976258309594</c:v>
                </c:pt>
                <c:pt idx="97">
                  <c:v>0.45409429280397023</c:v>
                </c:pt>
                <c:pt idx="98">
                  <c:v>0.4604651162790698</c:v>
                </c:pt>
                <c:pt idx="99">
                  <c:v>0.465259907359753</c:v>
                </c:pt>
                <c:pt idx="100">
                  <c:v>0.46024590163934426</c:v>
                </c:pt>
                <c:pt idx="101">
                  <c:v>0.4581314878892734</c:v>
                </c:pt>
                <c:pt idx="102">
                  <c:v>0.46124031007751937</c:v>
                </c:pt>
                <c:pt idx="103">
                  <c:v>0.43333333333333335</c:v>
                </c:pt>
                <c:pt idx="104">
                  <c:v>0.42180094786729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numCache>
            </c:numRef>
          </c:xVal>
          <c:yVal>
            <c:numRef>
              <c:f>Sheet1!$B$109:$B$160</c:f>
              <c:numCache>
                <c:formatCode>General</c:formatCode>
                <c:ptCount val="52"/>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5532435740514077</c:v>
                </c:pt>
                <c:pt idx="14">
                  <c:v>0.4485387547649301</c:v>
                </c:pt>
                <c:pt idx="15">
                  <c:v>0.47238372093023256</c:v>
                </c:pt>
                <c:pt idx="16">
                  <c:v>0.44805194805194803</c:v>
                </c:pt>
                <c:pt idx="17">
                  <c:v>0.46394984326018807</c:v>
                </c:pt>
                <c:pt idx="18">
                  <c:v>0.4486486486486487</c:v>
                </c:pt>
                <c:pt idx="19">
                  <c:v>0.468013468013468</c:v>
                </c:pt>
                <c:pt idx="20">
                  <c:v>0.46938775510204084</c:v>
                </c:pt>
                <c:pt idx="21">
                  <c:v>0.46830265848670755</c:v>
                </c:pt>
                <c:pt idx="22">
                  <c:v>0.4375</c:v>
                </c:pt>
                <c:pt idx="23">
                  <c:v>0.4628099173553719</c:v>
                </c:pt>
                <c:pt idx="24">
                  <c:v>0.458259325044405</c:v>
                </c:pt>
                <c:pt idx="25">
                  <c:v>0.4368421052631579</c:v>
                </c:pt>
                <c:pt idx="26">
                  <c:v>0.427797833935018</c:v>
                </c:pt>
                <c:pt idx="27">
                  <c:v>0.4316309719934102</c:v>
                </c:pt>
                <c:pt idx="28">
                  <c:v>0.4411764705882353</c:v>
                </c:pt>
                <c:pt idx="29">
                  <c:v>0.4359464627151052</c:v>
                </c:pt>
                <c:pt idx="30">
                  <c:v>0.4346938775510204</c:v>
                </c:pt>
                <c:pt idx="31">
                  <c:v>0.43612334801762115</c:v>
                </c:pt>
                <c:pt idx="32">
                  <c:v>0.42447418738049714</c:v>
                </c:pt>
                <c:pt idx="33">
                  <c:v>0.4477401129943503</c:v>
                </c:pt>
                <c:pt idx="34">
                  <c:v>0.4734982332155477</c:v>
                </c:pt>
                <c:pt idx="35">
                  <c:v>0.4192</c:v>
                </c:pt>
                <c:pt idx="36">
                  <c:v>0.46883468834688347</c:v>
                </c:pt>
                <c:pt idx="37">
                  <c:v>0.4539170506912442</c:v>
                </c:pt>
                <c:pt idx="38">
                  <c:v>0.46116504854368934</c:v>
                </c:pt>
                <c:pt idx="39">
                  <c:v>0.43410852713178294</c:v>
                </c:pt>
                <c:pt idx="40">
                  <c:v>0.4376237623762376</c:v>
                </c:pt>
                <c:pt idx="41">
                  <c:v>0.43447037701974867</c:v>
                </c:pt>
                <c:pt idx="42">
                  <c:v>0.4720616570327553</c:v>
                </c:pt>
                <c:pt idx="43">
                  <c:v>0.44592592592592595</c:v>
                </c:pt>
                <c:pt idx="44">
                  <c:v>0.4624664879356568</c:v>
                </c:pt>
                <c:pt idx="45">
                  <c:v>0.48867924528301887</c:v>
                </c:pt>
                <c:pt idx="46">
                  <c:v>0.48361469712015887</c:v>
                </c:pt>
                <c:pt idx="47">
                  <c:v>0.49550359712230213</c:v>
                </c:pt>
                <c:pt idx="48">
                  <c:v>0.44813278008298757</c:v>
                </c:pt>
                <c:pt idx="49">
                  <c:v>0.4652974504249292</c:v>
                </c:pt>
                <c:pt idx="50">
                  <c:v>0.4698972099853157</c:v>
                </c:pt>
                <c:pt idx="51">
                  <c:v>0.4736842105263157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7.0676287041448</c:v>
                </c:pt>
              </c:numCache>
            </c:numRef>
          </c:xVal>
          <c:yVal>
            <c:numRef>
              <c:f>Sheet1!$B$163:$B$164</c:f>
              <c:numCache>
                <c:formatCode>General</c:formatCode>
                <c:ptCount val="2"/>
                <c:pt idx="0">
                  <c:v>0.6456233005267211</c:v>
                </c:pt>
                <c:pt idx="1">
                  <c:v>0.645623300526721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7.0676287041448</c:v>
                </c:pt>
                <c:pt idx="1">
                  <c:v>-517.0676287041448</c:v>
                </c:pt>
              </c:numCache>
            </c:numRef>
          </c:xVal>
          <c:yVal>
            <c:numRef>
              <c:f>Sheet1!$B$167:$B$168</c:f>
              <c:numCache>
                <c:formatCode>General</c:formatCode>
                <c:ptCount val="2"/>
                <c:pt idx="0">
                  <c:v>0.64562330052672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1.7252617697307</c:v>
                </c:pt>
              </c:numCache>
            </c:numRef>
          </c:xVal>
          <c:yVal>
            <c:numRef>
              <c:f>Sheet1!$B$171:$B$172</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1.7252617697307</c:v>
                </c:pt>
                <c:pt idx="1">
                  <c:v>1131.7252617697307</c:v>
                </c:pt>
              </c:numCache>
            </c:numRef>
          </c:xVal>
          <c:yVal>
            <c:numRef>
              <c:f>Sheet1!$B$175:$B$176</c:f>
              <c:numCache>
                <c:formatCode>General</c:formatCode>
                <c:ptCount val="2"/>
                <c:pt idx="0">
                  <c:v>0.464252912754887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8.3836684194846</c:v>
                </c:pt>
              </c:numCache>
            </c:numRef>
          </c:xVal>
          <c:yVal>
            <c:numRef>
              <c:f>Sheet1!$B$179:$B$180</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8.3836684194846</c:v>
                </c:pt>
                <c:pt idx="1">
                  <c:v>1148.3836684194846</c:v>
                </c:pt>
              </c:numCache>
            </c:numRef>
          </c:xVal>
          <c:yVal>
            <c:numRef>
              <c:f>Sheet1!$B$183:$B$184</c:f>
              <c:numCache>
                <c:formatCode>General</c:formatCode>
                <c:ptCount val="2"/>
                <c:pt idx="0">
                  <c:v>0.4624204559974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pt idx="52">
                  <c:v>1131.7252617697307</c:v>
                </c:pt>
                <c:pt idx="53">
                  <c:v>-517.0676287041448</c:v>
                </c:pt>
                <c:pt idx="54">
                  <c:v>1148.3836684194846</c:v>
                </c:pt>
              </c:numCache>
            </c:numRef>
          </c:xVal>
          <c:yVal>
            <c:numRef>
              <c:f>Sheet1!$B$187:$B$241</c:f>
              <c:numCache>
                <c:formatCode>General</c:formatCode>
                <c:ptCount val="55"/>
                <c:pt idx="0">
                  <c:v>0.4561992277948862</c:v>
                </c:pt>
                <c:pt idx="1">
                  <c:v>0.45322194876082555</c:v>
                </c:pt>
                <c:pt idx="2">
                  <c:v>0.4516446861949256</c:v>
                </c:pt>
                <c:pt idx="3">
                  <c:v>0.45101897325930806</c:v>
                </c:pt>
                <c:pt idx="4">
                  <c:v>0.44948682248182914</c:v>
                </c:pt>
                <c:pt idx="5">
                  <c:v>0.4535055337170546</c:v>
                </c:pt>
                <c:pt idx="6">
                  <c:v>0.4668218824475745</c:v>
                </c:pt>
                <c:pt idx="7">
                  <c:v>0.4611496333133811</c:v>
                </c:pt>
                <c:pt idx="8">
                  <c:v>0.451581446089675</c:v>
                </c:pt>
                <c:pt idx="9">
                  <c:v>0.4606128459319201</c:v>
                </c:pt>
                <c:pt idx="10">
                  <c:v>0.4549885466357485</c:v>
                </c:pt>
                <c:pt idx="11">
                  <c:v>0.48322157406583854</c:v>
                </c:pt>
                <c:pt idx="12">
                  <c:v>0.47080837411969695</c:v>
                </c:pt>
                <c:pt idx="13">
                  <c:v>0.45700278083862456</c:v>
                </c:pt>
                <c:pt idx="14">
                  <c:v>0.4619241788501538</c:v>
                </c:pt>
                <c:pt idx="15">
                  <c:v>0.45862240514488284</c:v>
                </c:pt>
                <c:pt idx="16">
                  <c:v>0.45428505134072467</c:v>
                </c:pt>
                <c:pt idx="17">
                  <c:v>0.45461758715247036</c:v>
                </c:pt>
                <c:pt idx="18">
                  <c:v>0.4513233045781223</c:v>
                </c:pt>
                <c:pt idx="19">
                  <c:v>0.4446316676280351</c:v>
                </c:pt>
                <c:pt idx="20">
                  <c:v>0.4474171803105852</c:v>
                </c:pt>
                <c:pt idx="21">
                  <c:v>0.4526575948975837</c:v>
                </c:pt>
                <c:pt idx="22">
                  <c:v>0.445224258984785</c:v>
                </c:pt>
                <c:pt idx="23">
                  <c:v>0.44648095394810833</c:v>
                </c:pt>
                <c:pt idx="24">
                  <c:v>0.4486105141665431</c:v>
                </c:pt>
                <c:pt idx="25">
                  <c:v>0.45280855053584323</c:v>
                </c:pt>
                <c:pt idx="26">
                  <c:v>0.44972378862329876</c:v>
                </c:pt>
                <c:pt idx="27">
                  <c:v>0.4507860771889713</c:v>
                </c:pt>
                <c:pt idx="28">
                  <c:v>0.4463143780368525</c:v>
                </c:pt>
                <c:pt idx="29">
                  <c:v>0.4466190063608575</c:v>
                </c:pt>
                <c:pt idx="30">
                  <c:v>0.4487335953176388</c:v>
                </c:pt>
                <c:pt idx="31">
                  <c:v>0.44677460408024694</c:v>
                </c:pt>
                <c:pt idx="32">
                  <c:v>0.44696725044713753</c:v>
                </c:pt>
                <c:pt idx="33">
                  <c:v>0.44691109446569655</c:v>
                </c:pt>
                <c:pt idx="34">
                  <c:v>0.44467928746028934</c:v>
                </c:pt>
                <c:pt idx="35">
                  <c:v>0.4415790922780167</c:v>
                </c:pt>
                <c:pt idx="36">
                  <c:v>0.4438939507349185</c:v>
                </c:pt>
                <c:pt idx="37">
                  <c:v>0.4423920504861297</c:v>
                </c:pt>
                <c:pt idx="38">
                  <c:v>0.44122824114617326</c:v>
                </c:pt>
                <c:pt idx="39">
                  <c:v>0.4475244981861853</c:v>
                </c:pt>
                <c:pt idx="40">
                  <c:v>0.44117754126008873</c:v>
                </c:pt>
                <c:pt idx="41">
                  <c:v>0.4396204420465847</c:v>
                </c:pt>
                <c:pt idx="42">
                  <c:v>0.43951177114733775</c:v>
                </c:pt>
                <c:pt idx="43">
                  <c:v>0.4390066643195594</c:v>
                </c:pt>
                <c:pt idx="44">
                  <c:v>0.44870667784720075</c:v>
                </c:pt>
                <c:pt idx="45">
                  <c:v>0.4573968407256297</c:v>
                </c:pt>
                <c:pt idx="46">
                  <c:v>0.4583478623466841</c:v>
                </c:pt>
                <c:pt idx="47">
                  <c:v>0.4599931061006948</c:v>
                </c:pt>
                <c:pt idx="48">
                  <c:v>0.45859915073846436</c:v>
                </c:pt>
                <c:pt idx="49">
                  <c:v>0.4575989692582406</c:v>
                </c:pt>
                <c:pt idx="50">
                  <c:v>0.4609298494722075</c:v>
                </c:pt>
                <c:pt idx="51">
                  <c:v>0.4682506204177024</c:v>
                </c:pt>
                <c:pt idx="52">
                  <c:v>0.46425291275488706</c:v>
                </c:pt>
                <c:pt idx="53">
                  <c:v>0.6456233005267211</c:v>
                </c:pt>
                <c:pt idx="54">
                  <c:v>0.462420455997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0</c:v>
                </c:pt>
                <c:pt idx="1">
                  <c:v>0.0</c:v>
                </c:pt>
                <c:pt idx="2">
                  <c:v>1.8179682170542635</c:v>
                </c:pt>
                <c:pt idx="3">
                  <c:v>1.3114209912536443</c:v>
                </c:pt>
                <c:pt idx="4">
                  <c:v>1.4441482047521457</c:v>
                </c:pt>
                <c:pt idx="5">
                  <c:v>0.5973479513444302</c:v>
                </c:pt>
                <c:pt idx="6">
                  <c:v>0.9220063180827887</c:v>
                </c:pt>
                <c:pt idx="7">
                  <c:v>0.49989632047477744</c:v>
                </c:pt>
                <c:pt idx="8">
                  <c:v>0.526052670039348</c:v>
                </c:pt>
                <c:pt idx="9">
                  <c:v>1.1489305505142167</c:v>
                </c:pt>
                <c:pt idx="10">
                  <c:v>1.2076814766839379</c:v>
                </c:pt>
                <c:pt idx="11">
                  <c:v>0.5739102791878173</c:v>
                </c:pt>
                <c:pt idx="12">
                  <c:v>0.45893129181677816</c:v>
                </c:pt>
                <c:pt idx="13">
                  <c:v>0.5217137950138504</c:v>
                </c:pt>
                <c:pt idx="14">
                  <c:v>0.6297268105003575</c:v>
                </c:pt>
                <c:pt idx="15">
                  <c:v>0.7428362421808901</c:v>
                </c:pt>
                <c:pt idx="16">
                  <c:v>0.9499680793507664</c:v>
                </c:pt>
                <c:pt idx="17">
                  <c:v>0.7444928547240095</c:v>
                </c:pt>
                <c:pt idx="18">
                  <c:v>0.6237511006750807</c:v>
                </c:pt>
                <c:pt idx="19">
                  <c:v>1.3285981752762783</c:v>
                </c:pt>
                <c:pt idx="20">
                  <c:v>0.33337025998731773</c:v>
                </c:pt>
                <c:pt idx="21">
                  <c:v>0.8614224159402242</c:v>
                </c:pt>
                <c:pt idx="22">
                  <c:v>0.48659054385105344</c:v>
                </c:pt>
                <c:pt idx="23">
                  <c:v>1.120757211402766</c:v>
                </c:pt>
                <c:pt idx="24">
                  <c:v>1.0337589484327603</c:v>
                </c:pt>
                <c:pt idx="25">
                  <c:v>0.9502579810579811</c:v>
                </c:pt>
                <c:pt idx="26">
                  <c:v>1.022248958200179</c:v>
                </c:pt>
                <c:pt idx="27">
                  <c:v>0.8958571948335455</c:v>
                </c:pt>
                <c:pt idx="28">
                  <c:v>1.067532618118769</c:v>
                </c:pt>
                <c:pt idx="29">
                  <c:v>0.8745234739328529</c:v>
                </c:pt>
                <c:pt idx="30">
                  <c:v>0.9331608228462459</c:v>
                </c:pt>
                <c:pt idx="31">
                  <c:v>0.9826455522765599</c:v>
                </c:pt>
                <c:pt idx="32">
                  <c:v>1.0075022959131235</c:v>
                </c:pt>
                <c:pt idx="33">
                  <c:v>1.0006902626447989</c:v>
                </c:pt>
                <c:pt idx="34">
                  <c:v>1.0693400202792112</c:v>
                </c:pt>
                <c:pt idx="35">
                  <c:v>1.0690075654902582</c:v>
                </c:pt>
                <c:pt idx="36">
                  <c:v>1.320737937098131</c:v>
                </c:pt>
                <c:pt idx="37">
                  <c:v>1.0680090866510539</c:v>
                </c:pt>
                <c:pt idx="38">
                  <c:v>1.0699372486652279</c:v>
                </c:pt>
                <c:pt idx="39">
                  <c:v>1.217747304313099</c:v>
                </c:pt>
                <c:pt idx="40">
                  <c:v>1.0069416337011707</c:v>
                </c:pt>
                <c:pt idx="41">
                  <c:v>1.288344190015645</c:v>
                </c:pt>
                <c:pt idx="42">
                  <c:v>1.153866735354456</c:v>
                </c:pt>
                <c:pt idx="43">
                  <c:v>1.2016517303401024</c:v>
                </c:pt>
                <c:pt idx="44">
                  <c:v>1.1324948731227344</c:v>
                </c:pt>
                <c:pt idx="45">
                  <c:v>1.1608241816789566</c:v>
                </c:pt>
                <c:pt idx="46">
                  <c:v>1.1093569257889817</c:v>
                </c:pt>
                <c:pt idx="47">
                  <c:v>0.9770447754192565</c:v>
                </c:pt>
                <c:pt idx="48">
                  <c:v>1.106643596593588</c:v>
                </c:pt>
                <c:pt idx="49">
                  <c:v>1.024906684957624</c:v>
                </c:pt>
                <c:pt idx="50">
                  <c:v>1.1085371601799334</c:v>
                </c:pt>
                <c:pt idx="51">
                  <c:v>1.1616439201487112</c:v>
                </c:pt>
                <c:pt idx="52">
                  <c:v>1.1348649443941623</c:v>
                </c:pt>
                <c:pt idx="53">
                  <c:v>1.1872675985324928</c:v>
                </c:pt>
                <c:pt idx="54">
                  <c:v>1.1352064510617845</c:v>
                </c:pt>
                <c:pt idx="55">
                  <c:v>1.231640274029479</c:v>
                </c:pt>
                <c:pt idx="56">
                  <c:v>1.1913761351006456</c:v>
                </c:pt>
                <c:pt idx="57">
                  <c:v>1.1669695953029986</c:v>
                </c:pt>
                <c:pt idx="58">
                  <c:v>1.29219561268688</c:v>
                </c:pt>
                <c:pt idx="59">
                  <c:v>1.1241125669821834</c:v>
                </c:pt>
                <c:pt idx="60">
                  <c:v>1.195594342140379</c:v>
                </c:pt>
                <c:pt idx="61">
                  <c:v>1.3052672968512709</c:v>
                </c:pt>
                <c:pt idx="62">
                  <c:v>1.2034454611912044</c:v>
                </c:pt>
                <c:pt idx="63">
                  <c:v>1.3438117469879518</c:v>
                </c:pt>
                <c:pt idx="64">
                  <c:v>1.2311850736973222</c:v>
                </c:pt>
                <c:pt idx="65">
                  <c:v>1.3919936888335034</c:v>
                </c:pt>
                <c:pt idx="66">
                  <c:v>1.3624318537468163</c:v>
                </c:pt>
                <c:pt idx="67">
                  <c:v>1.5231468810833122</c:v>
                </c:pt>
                <c:pt idx="68">
                  <c:v>1.1553763539061686</c:v>
                </c:pt>
                <c:pt idx="69">
                  <c:v>1.5131104327125053</c:v>
                </c:pt>
                <c:pt idx="70">
                  <c:v>1.4518007641229405</c:v>
                </c:pt>
                <c:pt idx="71">
                  <c:v>1.4028538229003746</c:v>
                </c:pt>
                <c:pt idx="72">
                  <c:v>1.07332493822327</c:v>
                </c:pt>
                <c:pt idx="73">
                  <c:v>1.4297627656559933</c:v>
                </c:pt>
                <c:pt idx="74">
                  <c:v>1.5083401392111369</c:v>
                </c:pt>
                <c:pt idx="75">
                  <c:v>1.3331616002719169</c:v>
                </c:pt>
                <c:pt idx="76">
                  <c:v>1.5751620971335214</c:v>
                </c:pt>
                <c:pt idx="77">
                  <c:v>1.2546028418124007</c:v>
                </c:pt>
                <c:pt idx="78">
                  <c:v>1.5091579506551764</c:v>
                </c:pt>
                <c:pt idx="79">
                  <c:v>1.5241612879711566</c:v>
                </c:pt>
                <c:pt idx="80">
                  <c:v>1.1386360375275937</c:v>
                </c:pt>
                <c:pt idx="81">
                  <c:v>1.0998227927927928</c:v>
                </c:pt>
                <c:pt idx="82">
                  <c:v>1.2168518997156887</c:v>
                </c:pt>
                <c:pt idx="83">
                  <c:v>1.2640727221791073</c:v>
                </c:pt>
                <c:pt idx="84">
                  <c:v>1.24663130684098</c:v>
                </c:pt>
                <c:pt idx="85">
                  <c:v>1.0862797901150982</c:v>
                </c:pt>
                <c:pt idx="86">
                  <c:v>1.4458064589235127</c:v>
                </c:pt>
                <c:pt idx="87">
                  <c:v>1.2736720239207626</c:v>
                </c:pt>
                <c:pt idx="88">
                  <c:v>1.5454222526796753</c:v>
                </c:pt>
                <c:pt idx="89">
                  <c:v>1.3670391442345067</c:v>
                </c:pt>
                <c:pt idx="90">
                  <c:v>1.4112756340459436</c:v>
                </c:pt>
                <c:pt idx="91">
                  <c:v>1.2889628422065031</c:v>
                </c:pt>
                <c:pt idx="92">
                  <c:v>1.0155003890445067</c:v>
                </c:pt>
                <c:pt idx="93">
                  <c:v>1.4183134117647058</c:v>
                </c:pt>
                <c:pt idx="94">
                  <c:v>1.5291288122506757</c:v>
                </c:pt>
                <c:pt idx="95">
                  <c:v>1.4150822089700539</c:v>
                </c:pt>
                <c:pt idx="96">
                  <c:v>1.3854733133792227</c:v>
                </c:pt>
                <c:pt idx="97">
                  <c:v>1.2673242009918393</c:v>
                </c:pt>
                <c:pt idx="98">
                  <c:v>1.226076513823234</c:v>
                </c:pt>
                <c:pt idx="99">
                  <c:v>1.3427775192921279</c:v>
                </c:pt>
                <c:pt idx="100">
                  <c:v>1.2320566959702177</c:v>
                </c:pt>
                <c:pt idx="101">
                  <c:v>1.3525431935449395</c:v>
                </c:pt>
              </c:numCache>
            </c:numRef>
          </c:xVal>
          <c:yVal>
            <c:numRef>
              <c:f>Sheet1!$B$2:$B$103</c:f>
              <c:numCache>
                <c:formatCode>General</c:formatCode>
                <c:ptCount val="102"/>
                <c:pt idx="0">
                  <c:v>0.6040100250626567</c:v>
                </c:pt>
                <c:pt idx="1">
                  <c:v>0.7048346055979644</c:v>
                </c:pt>
                <c:pt idx="2">
                  <c:v>0.6147443519619501</c:v>
                </c:pt>
                <c:pt idx="3">
                  <c:v>0.6166281755196305</c:v>
                </c:pt>
                <c:pt idx="4">
                  <c:v>0.6553133514986376</c:v>
                </c:pt>
                <c:pt idx="5">
                  <c:v>0.6269592476489029</c:v>
                </c:pt>
                <c:pt idx="6">
                  <c:v>0.6135629709364908</c:v>
                </c:pt>
                <c:pt idx="7">
                  <c:v>0.5854189336235038</c:v>
                </c:pt>
                <c:pt idx="8">
                  <c:v>0.5184713375796178</c:v>
                </c:pt>
                <c:pt idx="9">
                  <c:v>0.49271844660194175</c:v>
                </c:pt>
                <c:pt idx="10">
                  <c:v>0.473928157589803</c:v>
                </c:pt>
                <c:pt idx="11">
                  <c:v>0.45785876993166286</c:v>
                </c:pt>
                <c:pt idx="12">
                  <c:v>0.47381864623243936</c:v>
                </c:pt>
                <c:pt idx="13">
                  <c:v>0.4368340943683409</c:v>
                </c:pt>
                <c:pt idx="14">
                  <c:v>0.40871021775544386</c:v>
                </c:pt>
                <c:pt idx="15">
                  <c:v>0.4240400667779633</c:v>
                </c:pt>
                <c:pt idx="16">
                  <c:v>0.40471512770137524</c:v>
                </c:pt>
                <c:pt idx="17">
                  <c:v>0.38449111470113084</c:v>
                </c:pt>
                <c:pt idx="18">
                  <c:v>0.4934210526315789</c:v>
                </c:pt>
                <c:pt idx="19">
                  <c:v>0.5834862385321101</c:v>
                </c:pt>
                <c:pt idx="20">
                  <c:v>0.5908221797323135</c:v>
                </c:pt>
                <c:pt idx="21">
                  <c:v>0.5806451612903226</c:v>
                </c:pt>
                <c:pt idx="22">
                  <c:v>0.599250936329588</c:v>
                </c:pt>
                <c:pt idx="23">
                  <c:v>0.5836012861736335</c:v>
                </c:pt>
                <c:pt idx="24">
                  <c:v>0.5502318392581144</c:v>
                </c:pt>
                <c:pt idx="25">
                  <c:v>0.5253940455341506</c:v>
                </c:pt>
                <c:pt idx="26">
                  <c:v>0.5511111111111111</c:v>
                </c:pt>
                <c:pt idx="27">
                  <c:v>0.5659655831739961</c:v>
                </c:pt>
                <c:pt idx="28">
                  <c:v>0.5397631133671743</c:v>
                </c:pt>
                <c:pt idx="29">
                  <c:v>0.5899814471243042</c:v>
                </c:pt>
                <c:pt idx="30">
                  <c:v>0.5977917981072555</c:v>
                </c:pt>
                <c:pt idx="31">
                  <c:v>0.5886889460154242</c:v>
                </c:pt>
                <c:pt idx="32">
                  <c:v>0.5731414868105515</c:v>
                </c:pt>
                <c:pt idx="33">
                  <c:v>0.5252854812398042</c:v>
                </c:pt>
                <c:pt idx="34">
                  <c:v>0.539047619047619</c:v>
                </c:pt>
                <c:pt idx="35">
                  <c:v>0.5019685039370079</c:v>
                </c:pt>
                <c:pt idx="36">
                  <c:v>0.5039525691699605</c:v>
                </c:pt>
                <c:pt idx="37">
                  <c:v>0.5074404761904762</c:v>
                </c:pt>
                <c:pt idx="38">
                  <c:v>0.4975206611570248</c:v>
                </c:pt>
                <c:pt idx="39">
                  <c:v>0.46865203761755486</c:v>
                </c:pt>
                <c:pt idx="40">
                  <c:v>0.4903047091412742</c:v>
                </c:pt>
                <c:pt idx="41">
                  <c:v>0.4678030303030303</c:v>
                </c:pt>
                <c:pt idx="42">
                  <c:v>0.48764044943820223</c:v>
                </c:pt>
                <c:pt idx="43">
                  <c:v>0.49106002554278416</c:v>
                </c:pt>
                <c:pt idx="44">
                  <c:v>0.4773030707610147</c:v>
                </c:pt>
                <c:pt idx="45">
                  <c:v>0.49363057324840764</c:v>
                </c:pt>
                <c:pt idx="46">
                  <c:v>0.5235294117647059</c:v>
                </c:pt>
                <c:pt idx="47">
                  <c:v>0.48148148148148145</c:v>
                </c:pt>
                <c:pt idx="48">
                  <c:v>0.463768115942029</c:v>
                </c:pt>
                <c:pt idx="49">
                  <c:v>0.4958553127354936</c:v>
                </c:pt>
                <c:pt idx="50">
                  <c:v>0.4791666666666667</c:v>
                </c:pt>
                <c:pt idx="51">
                  <c:v>0.5129434324065196</c:v>
                </c:pt>
                <c:pt idx="52">
                  <c:v>0.5031512605042017</c:v>
                </c:pt>
                <c:pt idx="53">
                  <c:v>0.488558352402746</c:v>
                </c:pt>
                <c:pt idx="54">
                  <c:v>0.49670122525918947</c:v>
                </c:pt>
                <c:pt idx="55">
                  <c:v>0.4899738448125545</c:v>
                </c:pt>
                <c:pt idx="56">
                  <c:v>0.5460659045057162</c:v>
                </c:pt>
                <c:pt idx="57">
                  <c:v>0.5516962843295639</c:v>
                </c:pt>
                <c:pt idx="58">
                  <c:v>0.5281933256616801</c:v>
                </c:pt>
                <c:pt idx="59">
                  <c:v>0.5386221294363257</c:v>
                </c:pt>
                <c:pt idx="60">
                  <c:v>0.5757261410788381</c:v>
                </c:pt>
                <c:pt idx="61">
                  <c:v>0.5108910891089109</c:v>
                </c:pt>
                <c:pt idx="62">
                  <c:v>0.48058252427184467</c:v>
                </c:pt>
                <c:pt idx="63">
                  <c:v>0.44834307992202727</c:v>
                </c:pt>
                <c:pt idx="64">
                  <c:v>0.4311111111111111</c:v>
                </c:pt>
                <c:pt idx="65">
                  <c:v>0.4453551912568306</c:v>
                </c:pt>
                <c:pt idx="66">
                  <c:v>0.41118421052631576</c:v>
                </c:pt>
                <c:pt idx="67">
                  <c:v>0.4152823920265781</c:v>
                </c:pt>
                <c:pt idx="68">
                  <c:v>0.4583333333333333</c:v>
                </c:pt>
                <c:pt idx="69">
                  <c:v>0.42787682333873583</c:v>
                </c:pt>
                <c:pt idx="70">
                  <c:v>0.4489795918367347</c:v>
                </c:pt>
                <c:pt idx="71">
                  <c:v>0.4452773613193403</c:v>
                </c:pt>
                <c:pt idx="72">
                  <c:v>0.44153577661431065</c:v>
                </c:pt>
                <c:pt idx="73">
                  <c:v>0.4684512428298279</c:v>
                </c:pt>
                <c:pt idx="74">
                  <c:v>0.44047619047619047</c:v>
                </c:pt>
                <c:pt idx="75">
                  <c:v>0.43373493975903615</c:v>
                </c:pt>
                <c:pt idx="76">
                  <c:v>0.43010752688172044</c:v>
                </c:pt>
                <c:pt idx="77">
                  <c:v>0.4047186932849365</c:v>
                </c:pt>
                <c:pt idx="78">
                  <c:v>0.41294964028776976</c:v>
                </c:pt>
                <c:pt idx="79">
                  <c:v>0.4296875</c:v>
                </c:pt>
                <c:pt idx="80">
                  <c:v>0.4410377358490566</c:v>
                </c:pt>
                <c:pt idx="81">
                  <c:v>0.45185185185185184</c:v>
                </c:pt>
                <c:pt idx="82">
                  <c:v>0.46502835538752363</c:v>
                </c:pt>
                <c:pt idx="83">
                  <c:v>0.4251412429378531</c:v>
                </c:pt>
                <c:pt idx="84">
                  <c:v>0.405</c:v>
                </c:pt>
                <c:pt idx="85">
                  <c:v>0.4293785310734463</c:v>
                </c:pt>
                <c:pt idx="86">
                  <c:v>0.4489795918367347</c:v>
                </c:pt>
                <c:pt idx="87">
                  <c:v>0.3760504201680672</c:v>
                </c:pt>
                <c:pt idx="88">
                  <c:v>0.37298387096774194</c:v>
                </c:pt>
                <c:pt idx="89">
                  <c:v>0.41756548536209553</c:v>
                </c:pt>
                <c:pt idx="90">
                  <c:v>0.3978978978978979</c:v>
                </c:pt>
                <c:pt idx="91">
                  <c:v>0.40124740124740127</c:v>
                </c:pt>
                <c:pt idx="92">
                  <c:v>0.3742690058479532</c:v>
                </c:pt>
                <c:pt idx="93">
                  <c:v>0.42924976258309594</c:v>
                </c:pt>
                <c:pt idx="94">
                  <c:v>0.45409429280397023</c:v>
                </c:pt>
                <c:pt idx="95">
                  <c:v>0.4604651162790698</c:v>
                </c:pt>
                <c:pt idx="96">
                  <c:v>0.465259907359753</c:v>
                </c:pt>
                <c:pt idx="97">
                  <c:v>0.46024590163934426</c:v>
                </c:pt>
                <c:pt idx="98">
                  <c:v>0.4581314878892734</c:v>
                </c:pt>
                <c:pt idx="99">
                  <c:v>0.46124031007751937</c:v>
                </c:pt>
                <c:pt idx="100">
                  <c:v>0.43333333333333335</c:v>
                </c:pt>
                <c:pt idx="101">
                  <c:v>0.4218009478672986</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1.2788572489917214</c:v>
                </c:pt>
                <c:pt idx="1">
                  <c:v>1.3235721003306553</c:v>
                </c:pt>
                <c:pt idx="2">
                  <c:v>1.58494556462176</c:v>
                </c:pt>
                <c:pt idx="3">
                  <c:v>1.2191155793573516</c:v>
                </c:pt>
                <c:pt idx="4">
                  <c:v>1.6078468702388578</c:v>
                </c:pt>
                <c:pt idx="5">
                  <c:v>1.3666139997158784</c:v>
                </c:pt>
                <c:pt idx="6">
                  <c:v>1.1816326226012792</c:v>
                </c:pt>
                <c:pt idx="7">
                  <c:v>1.3731700765572454</c:v>
                </c:pt>
                <c:pt idx="8">
                  <c:v>1.2876067740603057</c:v>
                </c:pt>
                <c:pt idx="9">
                  <c:v>1.092698123827392</c:v>
                </c:pt>
                <c:pt idx="10">
                  <c:v>1.2128266375841164</c:v>
                </c:pt>
                <c:pt idx="11">
                  <c:v>1.1139542088765095</c:v>
                </c:pt>
                <c:pt idx="12">
                  <c:v>1.0008225904317387</c:v>
                </c:pt>
                <c:pt idx="13">
                  <c:v>0.9293593137775655</c:v>
                </c:pt>
                <c:pt idx="14">
                  <c:v>0.9959603355784359</c:v>
                </c:pt>
                <c:pt idx="15">
                  <c:v>0.9067229802238236</c:v>
                </c:pt>
                <c:pt idx="16">
                  <c:v>1.2979951562804133</c:v>
                </c:pt>
                <c:pt idx="17">
                  <c:v>1.165918531267929</c:v>
                </c:pt>
                <c:pt idx="18">
                  <c:v>1.0618487887802806</c:v>
                </c:pt>
                <c:pt idx="19">
                  <c:v>1.2818954011741683</c:v>
                </c:pt>
                <c:pt idx="20">
                  <c:v>1.2662869110979695</c:v>
                </c:pt>
                <c:pt idx="21">
                  <c:v>1.1583664794007489</c:v>
                </c:pt>
                <c:pt idx="22">
                  <c:v>0.8979421885753613</c:v>
                </c:pt>
                <c:pt idx="23">
                  <c:v>1.0253322416842559</c:v>
                </c:pt>
                <c:pt idx="24">
                  <c:v>1.007056442687747</c:v>
                </c:pt>
                <c:pt idx="25">
                  <c:v>1.3150412843563197</c:v>
                </c:pt>
                <c:pt idx="26">
                  <c:v>0.8164120801033592</c:v>
                </c:pt>
                <c:pt idx="27">
                  <c:v>1.0921471144309756</c:v>
                </c:pt>
                <c:pt idx="28">
                  <c:v>1.076011110138812</c:v>
                </c:pt>
                <c:pt idx="29">
                  <c:v>1.0208839285714286</c:v>
                </c:pt>
                <c:pt idx="30">
                  <c:v>1.0228282706525231</c:v>
                </c:pt>
                <c:pt idx="31">
                  <c:v>1.244567213114754</c:v>
                </c:pt>
                <c:pt idx="32">
                  <c:v>1.1967176415970289</c:v>
                </c:pt>
                <c:pt idx="33">
                  <c:v>1.0079151065077192</c:v>
                </c:pt>
                <c:pt idx="34">
                  <c:v>0.9845618703954292</c:v>
                </c:pt>
                <c:pt idx="35">
                  <c:v>1.3842186239006724</c:v>
                </c:pt>
                <c:pt idx="36">
                  <c:v>1.202121142961475</c:v>
                </c:pt>
                <c:pt idx="37">
                  <c:v>1.3982731476615868</c:v>
                </c:pt>
                <c:pt idx="38">
                  <c:v>1.1791555982810653</c:v>
                </c:pt>
                <c:pt idx="39">
                  <c:v>1.1994759413248621</c:v>
                </c:pt>
                <c:pt idx="40">
                  <c:v>1.2988221700756086</c:v>
                </c:pt>
                <c:pt idx="41">
                  <c:v>1.277561927199906</c:v>
                </c:pt>
                <c:pt idx="42">
                  <c:v>1.0378672446600903</c:v>
                </c:pt>
                <c:pt idx="43">
                  <c:v>1.1922335012042917</c:v>
                </c:pt>
                <c:pt idx="44">
                  <c:v>1.1106719595184087</c:v>
                </c:pt>
                <c:pt idx="45">
                  <c:v>1.2276366794020703</c:v>
                </c:pt>
                <c:pt idx="46">
                  <c:v>1.072766153846154</c:v>
                </c:pt>
                <c:pt idx="47">
                  <c:v>1.0644853714557516</c:v>
                </c:pt>
                <c:pt idx="48">
                  <c:v>0.9659126033268701</c:v>
                </c:pt>
                <c:pt idx="49">
                  <c:v>0.915398187960688</c:v>
                </c:pt>
                <c:pt idx="50">
                  <c:v>0.9982254295532647</c:v>
                </c:pt>
                <c:pt idx="51">
                  <c:v>0.9572238263100444</c:v>
                </c:pt>
              </c:numCache>
            </c:numRef>
          </c:xVal>
          <c:yVal>
            <c:numRef>
              <c:f>Sheet1!$B$106:$B$157</c:f>
              <c:numCache>
                <c:formatCode>General</c:formatCode>
                <c:ptCount val="52"/>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5532435740514077</c:v>
                </c:pt>
                <c:pt idx="14">
                  <c:v>0.4485387547649301</c:v>
                </c:pt>
                <c:pt idx="15">
                  <c:v>0.47238372093023256</c:v>
                </c:pt>
                <c:pt idx="16">
                  <c:v>0.44805194805194803</c:v>
                </c:pt>
                <c:pt idx="17">
                  <c:v>0.46394984326018807</c:v>
                </c:pt>
                <c:pt idx="18">
                  <c:v>0.4486486486486487</c:v>
                </c:pt>
                <c:pt idx="19">
                  <c:v>0.468013468013468</c:v>
                </c:pt>
                <c:pt idx="20">
                  <c:v>0.46938775510204084</c:v>
                </c:pt>
                <c:pt idx="21">
                  <c:v>0.46830265848670755</c:v>
                </c:pt>
                <c:pt idx="22">
                  <c:v>0.4375</c:v>
                </c:pt>
                <c:pt idx="23">
                  <c:v>0.4628099173553719</c:v>
                </c:pt>
                <c:pt idx="24">
                  <c:v>0.458259325044405</c:v>
                </c:pt>
                <c:pt idx="25">
                  <c:v>0.4368421052631579</c:v>
                </c:pt>
                <c:pt idx="26">
                  <c:v>0.427797833935018</c:v>
                </c:pt>
                <c:pt idx="27">
                  <c:v>0.4316309719934102</c:v>
                </c:pt>
                <c:pt idx="28">
                  <c:v>0.4411764705882353</c:v>
                </c:pt>
                <c:pt idx="29">
                  <c:v>0.4359464627151052</c:v>
                </c:pt>
                <c:pt idx="30">
                  <c:v>0.4346938775510204</c:v>
                </c:pt>
                <c:pt idx="31">
                  <c:v>0.43612334801762115</c:v>
                </c:pt>
                <c:pt idx="32">
                  <c:v>0.42447418738049714</c:v>
                </c:pt>
                <c:pt idx="33">
                  <c:v>0.4477401129943503</c:v>
                </c:pt>
                <c:pt idx="34">
                  <c:v>0.4734982332155477</c:v>
                </c:pt>
                <c:pt idx="35">
                  <c:v>0.4192</c:v>
                </c:pt>
                <c:pt idx="36">
                  <c:v>0.46883468834688347</c:v>
                </c:pt>
                <c:pt idx="37">
                  <c:v>0.4539170506912442</c:v>
                </c:pt>
                <c:pt idx="38">
                  <c:v>0.46116504854368934</c:v>
                </c:pt>
                <c:pt idx="39">
                  <c:v>0.43410852713178294</c:v>
                </c:pt>
                <c:pt idx="40">
                  <c:v>0.4376237623762376</c:v>
                </c:pt>
                <c:pt idx="41">
                  <c:v>0.43447037701974867</c:v>
                </c:pt>
                <c:pt idx="42">
                  <c:v>0.4720616570327553</c:v>
                </c:pt>
                <c:pt idx="43">
                  <c:v>0.44592592592592595</c:v>
                </c:pt>
                <c:pt idx="44">
                  <c:v>0.4624664879356568</c:v>
                </c:pt>
                <c:pt idx="45">
                  <c:v>0.48867924528301887</c:v>
                </c:pt>
                <c:pt idx="46">
                  <c:v>0.48361469712015887</c:v>
                </c:pt>
                <c:pt idx="47">
                  <c:v>0.49550359712230213</c:v>
                </c:pt>
                <c:pt idx="48">
                  <c:v>0.44813278008298757</c:v>
                </c:pt>
                <c:pt idx="49">
                  <c:v>0.4652974504249292</c:v>
                </c:pt>
                <c:pt idx="50">
                  <c:v>0.4698972099853157</c:v>
                </c:pt>
                <c:pt idx="51">
                  <c:v>0.47368421052631576</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2.7061523184940786</c:v>
                </c:pt>
              </c:numCache>
            </c:numRef>
          </c:xVal>
          <c:yVal>
            <c:numRef>
              <c:f>Sheet1!$B$160:$B$161</c:f>
              <c:numCache>
                <c:formatCode>General</c:formatCode>
                <c:ptCount val="2"/>
                <c:pt idx="0">
                  <c:v>0.637081626214957</c:v>
                </c:pt>
                <c:pt idx="1">
                  <c:v>0.637081626214957</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2.7061523184940786</c:v>
                </c:pt>
                <c:pt idx="1">
                  <c:v>-2.7061523184940786</c:v>
                </c:pt>
              </c:numCache>
            </c:numRef>
          </c:xVal>
          <c:yVal>
            <c:numRef>
              <c:f>Sheet1!$B$164:$B$165</c:f>
              <c:numCache>
                <c:formatCode>General</c:formatCode>
                <c:ptCount val="2"/>
                <c:pt idx="0">
                  <c:v>0.6370816262149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8998849877510473</c:v>
                </c:pt>
              </c:numCache>
            </c:numRef>
          </c:xVal>
          <c:yVal>
            <c:numRef>
              <c:f>Sheet1!$B$168:$B$169</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8998849877510473</c:v>
                </c:pt>
                <c:pt idx="1">
                  <c:v>0.8998849877510473</c:v>
                </c:pt>
              </c:numCache>
            </c:numRef>
          </c:xVal>
          <c:yVal>
            <c:numRef>
              <c:f>Sheet1!$B$172:$B$173</c:f>
              <c:numCache>
                <c:formatCode>General</c:formatCode>
                <c:ptCount val="2"/>
                <c:pt idx="0">
                  <c:v>0.464252912754887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9381188396210745</c:v>
                </c:pt>
              </c:numCache>
            </c:numRef>
          </c:xVal>
          <c:yVal>
            <c:numRef>
              <c:f>Sheet1!$B$176:$B$177</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9381188396210745</c:v>
                </c:pt>
                <c:pt idx="1">
                  <c:v>0.9381188396210745</c:v>
                </c:pt>
              </c:numCache>
            </c:numRef>
          </c:xVal>
          <c:yVal>
            <c:numRef>
              <c:f>Sheet1!$B$180:$B$181</c:f>
              <c:numCache>
                <c:formatCode>General</c:formatCode>
                <c:ptCount val="2"/>
                <c:pt idx="0">
                  <c:v>0.4624204559974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1.2788572489917214</c:v>
                </c:pt>
                <c:pt idx="1">
                  <c:v>1.3235721003306553</c:v>
                </c:pt>
                <c:pt idx="2">
                  <c:v>1.58494556462176</c:v>
                </c:pt>
                <c:pt idx="3">
                  <c:v>1.2191155793573516</c:v>
                </c:pt>
                <c:pt idx="4">
                  <c:v>1.6078468702388578</c:v>
                </c:pt>
                <c:pt idx="5">
                  <c:v>1.3666139997158784</c:v>
                </c:pt>
                <c:pt idx="6">
                  <c:v>1.1816326226012792</c:v>
                </c:pt>
                <c:pt idx="7">
                  <c:v>1.3731700765572454</c:v>
                </c:pt>
                <c:pt idx="8">
                  <c:v>1.2876067740603057</c:v>
                </c:pt>
                <c:pt idx="9">
                  <c:v>1.092698123827392</c:v>
                </c:pt>
                <c:pt idx="10">
                  <c:v>1.2128266375841164</c:v>
                </c:pt>
                <c:pt idx="11">
                  <c:v>1.1139542088765095</c:v>
                </c:pt>
                <c:pt idx="12">
                  <c:v>1.0008225904317387</c:v>
                </c:pt>
                <c:pt idx="13">
                  <c:v>0.9293593137775655</c:v>
                </c:pt>
                <c:pt idx="14">
                  <c:v>0.9959603355784359</c:v>
                </c:pt>
                <c:pt idx="15">
                  <c:v>0.9067229802238236</c:v>
                </c:pt>
                <c:pt idx="16">
                  <c:v>1.2979951562804133</c:v>
                </c:pt>
                <c:pt idx="17">
                  <c:v>1.165918531267929</c:v>
                </c:pt>
                <c:pt idx="18">
                  <c:v>1.0618487887802806</c:v>
                </c:pt>
                <c:pt idx="19">
                  <c:v>1.2818954011741683</c:v>
                </c:pt>
                <c:pt idx="20">
                  <c:v>1.2662869110979695</c:v>
                </c:pt>
                <c:pt idx="21">
                  <c:v>1.1583664794007489</c:v>
                </c:pt>
                <c:pt idx="22">
                  <c:v>0.8979421885753613</c:v>
                </c:pt>
                <c:pt idx="23">
                  <c:v>1.0253322416842559</c:v>
                </c:pt>
                <c:pt idx="24">
                  <c:v>1.007056442687747</c:v>
                </c:pt>
                <c:pt idx="25">
                  <c:v>1.3150412843563197</c:v>
                </c:pt>
                <c:pt idx="26">
                  <c:v>0.8164120801033592</c:v>
                </c:pt>
                <c:pt idx="27">
                  <c:v>1.0921471144309756</c:v>
                </c:pt>
                <c:pt idx="28">
                  <c:v>1.076011110138812</c:v>
                </c:pt>
                <c:pt idx="29">
                  <c:v>1.0208839285714286</c:v>
                </c:pt>
                <c:pt idx="30">
                  <c:v>1.0228282706525231</c:v>
                </c:pt>
                <c:pt idx="31">
                  <c:v>1.244567213114754</c:v>
                </c:pt>
                <c:pt idx="32">
                  <c:v>1.1967176415970289</c:v>
                </c:pt>
                <c:pt idx="33">
                  <c:v>1.0079151065077192</c:v>
                </c:pt>
                <c:pt idx="34">
                  <c:v>0.9845618703954292</c:v>
                </c:pt>
                <c:pt idx="35">
                  <c:v>1.3842186239006724</c:v>
                </c:pt>
                <c:pt idx="36">
                  <c:v>1.202121142961475</c:v>
                </c:pt>
                <c:pt idx="37">
                  <c:v>1.3982731476615868</c:v>
                </c:pt>
                <c:pt idx="38">
                  <c:v>1.1791555982810653</c:v>
                </c:pt>
                <c:pt idx="39">
                  <c:v>1.1994759413248621</c:v>
                </c:pt>
                <c:pt idx="40">
                  <c:v>1.2988221700756086</c:v>
                </c:pt>
                <c:pt idx="41">
                  <c:v>1.277561927199906</c:v>
                </c:pt>
                <c:pt idx="42">
                  <c:v>1.0378672446600903</c:v>
                </c:pt>
                <c:pt idx="43">
                  <c:v>1.1922335012042917</c:v>
                </c:pt>
                <c:pt idx="44">
                  <c:v>1.1106719595184087</c:v>
                </c:pt>
                <c:pt idx="45">
                  <c:v>1.2276366794020703</c:v>
                </c:pt>
                <c:pt idx="46">
                  <c:v>1.072766153846154</c:v>
                </c:pt>
                <c:pt idx="47">
                  <c:v>1.0644853714557516</c:v>
                </c:pt>
                <c:pt idx="48">
                  <c:v>0.9659126033268701</c:v>
                </c:pt>
                <c:pt idx="49">
                  <c:v>0.915398187960688</c:v>
                </c:pt>
                <c:pt idx="50">
                  <c:v>0.9982254295532647</c:v>
                </c:pt>
                <c:pt idx="51">
                  <c:v>0.9572238263100444</c:v>
                </c:pt>
                <c:pt idx="52">
                  <c:v>0.8998849877510473</c:v>
                </c:pt>
                <c:pt idx="53">
                  <c:v>-2.7061523184940786</c:v>
                </c:pt>
                <c:pt idx="54">
                  <c:v>0.9381188396210745</c:v>
                </c:pt>
              </c:numCache>
            </c:numRef>
          </c:xVal>
          <c:yVal>
            <c:numRef>
              <c:f>Sheet1!$B$184:$B$238</c:f>
              <c:numCache>
                <c:formatCode>General</c:formatCode>
                <c:ptCount val="55"/>
                <c:pt idx="0">
                  <c:v>0.44608968182162756</c:v>
                </c:pt>
                <c:pt idx="1">
                  <c:v>0.4439466063143158</c:v>
                </c:pt>
                <c:pt idx="2">
                  <c:v>0.43141960347721253</c:v>
                </c:pt>
                <c:pt idx="3">
                  <c:v>0.44895295666489754</c:v>
                </c:pt>
                <c:pt idx="4">
                  <c:v>0.4303219988629995</c:v>
                </c:pt>
                <c:pt idx="5">
                  <c:v>0.44188371137899646</c:v>
                </c:pt>
                <c:pt idx="6">
                  <c:v>0.4507494248216779</c:v>
                </c:pt>
                <c:pt idx="7">
                  <c:v>0.4415694943508264</c:v>
                </c:pt>
                <c:pt idx="8">
                  <c:v>0.4456703380842871</c:v>
                </c:pt>
                <c:pt idx="9">
                  <c:v>0.45501184190169197</c:v>
                </c:pt>
                <c:pt idx="10">
                  <c:v>0.44925437055038653</c:v>
                </c:pt>
                <c:pt idx="11">
                  <c:v>0.4539930887607096</c:v>
                </c:pt>
                <c:pt idx="12">
                  <c:v>0.459415215712531</c:v>
                </c:pt>
                <c:pt idx="13">
                  <c:v>0.4628402790479524</c:v>
                </c:pt>
                <c:pt idx="14">
                  <c:v>0.45964825191805114</c:v>
                </c:pt>
                <c:pt idx="15">
                  <c:v>0.46392518418711187</c:v>
                </c:pt>
                <c:pt idx="16">
                  <c:v>0.4451724478569943</c:v>
                </c:pt>
                <c:pt idx="17">
                  <c:v>0.4515025635048616</c:v>
                </c:pt>
                <c:pt idx="18">
                  <c:v>0.4564903764909091</c:v>
                </c:pt>
                <c:pt idx="19">
                  <c:v>0.445944070479205</c:v>
                </c:pt>
                <c:pt idx="20">
                  <c:v>0.44669214794758055</c:v>
                </c:pt>
                <c:pt idx="21">
                  <c:v>0.4518645152256406</c:v>
                </c:pt>
                <c:pt idx="22">
                  <c:v>0.46434602645658496</c:v>
                </c:pt>
                <c:pt idx="23">
                  <c:v>0.45824052695210377</c:v>
                </c:pt>
                <c:pt idx="24">
                  <c:v>0.45911644213538577</c:v>
                </c:pt>
                <c:pt idx="25">
                  <c:v>0.4443554678496792</c:v>
                </c:pt>
                <c:pt idx="26">
                  <c:v>0.4682535688802512</c:v>
                </c:pt>
                <c:pt idx="27">
                  <c:v>0.45503825045961843</c:v>
                </c:pt>
                <c:pt idx="28">
                  <c:v>0.4558116104183108</c:v>
                </c:pt>
                <c:pt idx="29">
                  <c:v>0.458453723923479</c:v>
                </c:pt>
                <c:pt idx="30">
                  <c:v>0.4583605362740279</c:v>
                </c:pt>
                <c:pt idx="31">
                  <c:v>0.44773312094380535</c:v>
                </c:pt>
                <c:pt idx="32">
                  <c:v>0.45002643606583753</c:v>
                </c:pt>
                <c:pt idx="33">
                  <c:v>0.4590752884393207</c:v>
                </c:pt>
                <c:pt idx="34">
                  <c:v>0.4601945529975177</c:v>
                </c:pt>
                <c:pt idx="35">
                  <c:v>0.4410399639935946</c:v>
                </c:pt>
                <c:pt idx="36">
                  <c:v>0.44976745921405076</c:v>
                </c:pt>
                <c:pt idx="37">
                  <c:v>0.44036636440113164</c:v>
                </c:pt>
                <c:pt idx="38">
                  <c:v>0.45086814265239206</c:v>
                </c:pt>
                <c:pt idx="39">
                  <c:v>0.4498942373799079</c:v>
                </c:pt>
                <c:pt idx="40">
                  <c:v>0.4451328110706555</c:v>
                </c:pt>
                <c:pt idx="41">
                  <c:v>0.44615176348628716</c:v>
                </c:pt>
                <c:pt idx="42">
                  <c:v>0.45763975434396137</c:v>
                </c:pt>
                <c:pt idx="43">
                  <c:v>0.45024135015275196</c:v>
                </c:pt>
                <c:pt idx="44">
                  <c:v>0.4541503990949186</c:v>
                </c:pt>
                <c:pt idx="45">
                  <c:v>0.4485445607907221</c:v>
                </c:pt>
                <c:pt idx="46">
                  <c:v>0.45596713338539796</c:v>
                </c:pt>
                <c:pt idx="47">
                  <c:v>0.45636401141117366</c:v>
                </c:pt>
                <c:pt idx="48">
                  <c:v>0.46108836760915534</c:v>
                </c:pt>
                <c:pt idx="49">
                  <c:v>0.46350940230111626</c:v>
                </c:pt>
                <c:pt idx="50">
                  <c:v>0.4595396914001503</c:v>
                </c:pt>
                <c:pt idx="51">
                  <c:v>0.4615047998381727</c:v>
                </c:pt>
                <c:pt idx="52">
                  <c:v>0.46425291275488706</c:v>
                </c:pt>
                <c:pt idx="53">
                  <c:v>0.637081626214957</c:v>
                </c:pt>
                <c:pt idx="54">
                  <c:v>0.462420455997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269572235674</c:v>
                </c:pt>
                <c:pt idx="1">
                  <c:v>0.19117082533589252</c:v>
                </c:pt>
                <c:pt idx="2">
                  <c:v>0.20759455710912023</c:v>
                </c:pt>
                <c:pt idx="3">
                  <c:v>0.22384832219948256</c:v>
                </c:pt>
                <c:pt idx="4">
                  <c:v>0.20623766285037504</c:v>
                </c:pt>
                <c:pt idx="5">
                  <c:v>0.21165817770232032</c:v>
                </c:pt>
                <c:pt idx="6">
                  <c:v>0.22437741143458437</c:v>
                </c:pt>
                <c:pt idx="7">
                  <c:v>0.22235600077056444</c:v>
                </c:pt>
                <c:pt idx="8">
                  <c:v>0.20519213050783155</c:v>
                </c:pt>
                <c:pt idx="9">
                  <c:v>0.21376594896331738</c:v>
                </c:pt>
                <c:pt idx="10">
                  <c:v>0.2140528441438373</c:v>
                </c:pt>
                <c:pt idx="11">
                  <c:v>0.21761800219538968</c:v>
                </c:pt>
                <c:pt idx="12">
                  <c:v>0.21529019671598115</c:v>
                </c:pt>
                <c:pt idx="13">
                  <c:v>0.21372609095286033</c:v>
                </c:pt>
                <c:pt idx="14">
                  <c:v>0.2179689366786141</c:v>
                </c:pt>
                <c:pt idx="15">
                  <c:v>0.2113149057091191</c:v>
                </c:pt>
                <c:pt idx="16">
                  <c:v>0.20783334348541146</c:v>
                </c:pt>
                <c:pt idx="17">
                  <c:v>0.22062226793520184</c:v>
                </c:pt>
                <c:pt idx="18">
                  <c:v>0.21652570915350647</c:v>
                </c:pt>
                <c:pt idx="19">
                  <c:v>0.20409511228533686</c:v>
                </c:pt>
                <c:pt idx="20">
                  <c:v>0.197868358961842</c:v>
                </c:pt>
                <c:pt idx="21">
                  <c:v>0.21445853092035227</c:v>
                </c:pt>
                <c:pt idx="22">
                  <c:v>0.20678544351781653</c:v>
                </c:pt>
                <c:pt idx="23">
                  <c:v>0.20759594352754027</c:v>
                </c:pt>
                <c:pt idx="24">
                  <c:v>0.20683994528043775</c:v>
                </c:pt>
                <c:pt idx="25">
                  <c:v>0.21157742402315485</c:v>
                </c:pt>
                <c:pt idx="26">
                  <c:v>0.20486941124391322</c:v>
                </c:pt>
                <c:pt idx="27">
                  <c:v>0.20829995193078032</c:v>
                </c:pt>
                <c:pt idx="28">
                  <c:v>0.19753175519630484</c:v>
                </c:pt>
                <c:pt idx="29">
                  <c:v>0.20345640219952868</c:v>
                </c:pt>
                <c:pt idx="30">
                  <c:v>0.20475976650202066</c:v>
                </c:pt>
                <c:pt idx="31">
                  <c:v>0.19873817034700317</c:v>
                </c:pt>
                <c:pt idx="32">
                  <c:v>0.1936018564561578</c:v>
                </c:pt>
                <c:pt idx="33">
                  <c:v>0.2043894859510553</c:v>
                </c:pt>
                <c:pt idx="34">
                  <c:v>0.2185812797348586</c:v>
                </c:pt>
                <c:pt idx="35">
                  <c:v>0.20918572001604493</c:v>
                </c:pt>
                <c:pt idx="36">
                  <c:v>0.20588853838065194</c:v>
                </c:pt>
                <c:pt idx="37">
                  <c:v>0.20963901323935613</c:v>
                </c:pt>
                <c:pt idx="38">
                  <c:v>0.20858050847457626</c:v>
                </c:pt>
                <c:pt idx="39">
                  <c:v>0.20504240915103883</c:v>
                </c:pt>
                <c:pt idx="40">
                  <c:v>0.19477986949673742</c:v>
                </c:pt>
                <c:pt idx="41">
                  <c:v>0.19627629334849347</c:v>
                </c:pt>
                <c:pt idx="42">
                  <c:v>0.20118151654932426</c:v>
                </c:pt>
                <c:pt idx="43">
                  <c:v>0.18615330271988698</c:v>
                </c:pt>
                <c:pt idx="44">
                  <c:v>0.1858633684413953</c:v>
                </c:pt>
                <c:pt idx="45">
                  <c:v>0.20327135963667328</c:v>
                </c:pt>
                <c:pt idx="46">
                  <c:v>0.22151978229014024</c:v>
                </c:pt>
                <c:pt idx="47">
                  <c:v>0.2227442149402081</c:v>
                </c:pt>
                <c:pt idx="48">
                  <c:v>0.21366227575767335</c:v>
                </c:pt>
                <c:pt idx="49">
                  <c:v>0.21703130666022</c:v>
                </c:pt>
                <c:pt idx="50">
                  <c:v>0.21331436121557068</c:v>
                </c:pt>
                <c:pt idx="51">
                  <c:v>0.212829164527250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7.664936381792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7.6649363817924</c:v>
                </c:pt>
                <c:pt idx="1">
                  <c:v>757.664936381792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5195380372122</c:v>
                </c:pt>
              </c:numCache>
            </c:numRef>
          </c:xVal>
          <c:yVal>
            <c:numRef>
              <c:f>Sheet1!$B$171:$B$172</c:f>
              <c:numCache>
                <c:formatCode>General</c:formatCode>
                <c:ptCount val="2"/>
                <c:pt idx="0">
                  <c:v>0.21420927704017853</c:v>
                </c:pt>
                <c:pt idx="1">
                  <c:v>0.21420927704017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5195380372122</c:v>
                </c:pt>
                <c:pt idx="1">
                  <c:v>1158.5195380372122</c:v>
                </c:pt>
              </c:numCache>
            </c:numRef>
          </c:xVal>
          <c:yVal>
            <c:numRef>
              <c:f>Sheet1!$B$175:$B$176</c:f>
              <c:numCache>
                <c:formatCode>General</c:formatCode>
                <c:ptCount val="2"/>
                <c:pt idx="0">
                  <c:v>0.21420927704017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2.7932888032012</c:v>
                </c:pt>
              </c:numCache>
            </c:numRef>
          </c:xVal>
          <c:yVal>
            <c:numRef>
              <c:f>Sheet1!$B$179:$B$180</c:f>
              <c:numCache>
                <c:formatCode>General</c:formatCode>
                <c:ptCount val="2"/>
                <c:pt idx="0">
                  <c:v>0.205666863441124</c:v>
                </c:pt>
                <c:pt idx="1">
                  <c:v>0.2056668634411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2.7932888032012</c:v>
                </c:pt>
                <c:pt idx="1">
                  <c:v>1252.7932888032012</c:v>
                </c:pt>
              </c:numCache>
            </c:numRef>
          </c:xVal>
          <c:yVal>
            <c:numRef>
              <c:f>Sheet1!$B$183:$B$184</c:f>
              <c:numCache>
                <c:formatCode>General</c:formatCode>
                <c:ptCount val="2"/>
                <c:pt idx="0">
                  <c:v>0.2056668634411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58.5195380372122</c:v>
                </c:pt>
                <c:pt idx="53">
                  <c:v>757.6649363817924</c:v>
                </c:pt>
                <c:pt idx="54">
                  <c:v>1252.7932888032012</c:v>
                </c:pt>
              </c:numCache>
            </c:numRef>
          </c:xVal>
          <c:yVal>
            <c:numRef>
              <c:f>Sheet1!$B$187:$B$241</c:f>
              <c:numCache>
                <c:formatCode>General</c:formatCode>
                <c:ptCount val="55"/>
                <c:pt idx="0">
                  <c:v>0.20925500458059665</c:v>
                </c:pt>
                <c:pt idx="1">
                  <c:v>0.20833431455659024</c:v>
                </c:pt>
                <c:pt idx="2">
                  <c:v>0.208286706563183</c:v>
                </c:pt>
                <c:pt idx="3">
                  <c:v>0.21030588715299958</c:v>
                </c:pt>
                <c:pt idx="4">
                  <c:v>0.20706449320674045</c:v>
                </c:pt>
                <c:pt idx="5">
                  <c:v>0.2081408651749284</c:v>
                </c:pt>
                <c:pt idx="6">
                  <c:v>0.21697342559321103</c:v>
                </c:pt>
                <c:pt idx="7">
                  <c:v>0.21364451775271381</c:v>
                </c:pt>
                <c:pt idx="8">
                  <c:v>0.20788446704370434</c:v>
                </c:pt>
                <c:pt idx="9">
                  <c:v>0.21200997966616025</c:v>
                </c:pt>
                <c:pt idx="10">
                  <c:v>0.20970632908300013</c:v>
                </c:pt>
                <c:pt idx="11">
                  <c:v>0.22299673382648025</c:v>
                </c:pt>
                <c:pt idx="12">
                  <c:v>0.21891288499421968</c:v>
                </c:pt>
                <c:pt idx="13">
                  <c:v>0.21248634956136497</c:v>
                </c:pt>
                <c:pt idx="14">
                  <c:v>0.21459093276592522</c:v>
                </c:pt>
                <c:pt idx="15">
                  <c:v>0.21209473892964167</c:v>
                </c:pt>
                <c:pt idx="16">
                  <c:v>0.2091883316427416</c:v>
                </c:pt>
                <c:pt idx="17">
                  <c:v>0.21483039535476672</c:v>
                </c:pt>
                <c:pt idx="18">
                  <c:v>0.21331467790345282</c:v>
                </c:pt>
                <c:pt idx="19">
                  <c:v>0.20168211687253373</c:v>
                </c:pt>
                <c:pt idx="20">
                  <c:v>0.2021333054556565</c:v>
                </c:pt>
                <c:pt idx="21">
                  <c:v>0.21101702589121688</c:v>
                </c:pt>
                <c:pt idx="22">
                  <c:v>0.20792993657376097</c:v>
                </c:pt>
                <c:pt idx="23">
                  <c:v>0.20598215891276983</c:v>
                </c:pt>
                <c:pt idx="24">
                  <c:v>0.2051503238532384</c:v>
                </c:pt>
                <c:pt idx="25">
                  <c:v>0.20884920397596207</c:v>
                </c:pt>
                <c:pt idx="26">
                  <c:v>0.2092121900071575</c:v>
                </c:pt>
                <c:pt idx="27">
                  <c:v>0.20905402527078076</c:v>
                </c:pt>
                <c:pt idx="28">
                  <c:v>0.20630136081299005</c:v>
                </c:pt>
                <c:pt idx="29">
                  <c:v>0.20558558269665614</c:v>
                </c:pt>
                <c:pt idx="30">
                  <c:v>0.2066178080824535</c:v>
                </c:pt>
                <c:pt idx="31">
                  <c:v>0.207860717414713</c:v>
                </c:pt>
                <c:pt idx="32">
                  <c:v>0.20590364287491797</c:v>
                </c:pt>
                <c:pt idx="33">
                  <c:v>0.20618554852449786</c:v>
                </c:pt>
                <c:pt idx="34">
                  <c:v>0.20479417003122247</c:v>
                </c:pt>
                <c:pt idx="35">
                  <c:v>0.20150429820815924</c:v>
                </c:pt>
                <c:pt idx="36">
                  <c:v>0.1980124503338879</c:v>
                </c:pt>
                <c:pt idx="37">
                  <c:v>0.19994219603696495</c:v>
                </c:pt>
                <c:pt idx="38">
                  <c:v>0.19746890913013201</c:v>
                </c:pt>
                <c:pt idx="39">
                  <c:v>0.20281241255004157</c:v>
                </c:pt>
                <c:pt idx="40">
                  <c:v>0.20043780304103978</c:v>
                </c:pt>
                <c:pt idx="41">
                  <c:v>0.19695372974962785</c:v>
                </c:pt>
                <c:pt idx="42">
                  <c:v>0.19838711636194323</c:v>
                </c:pt>
                <c:pt idx="43">
                  <c:v>0.19678492706421036</c:v>
                </c:pt>
                <c:pt idx="44">
                  <c:v>0.20441604259215046</c:v>
                </c:pt>
                <c:pt idx="45">
                  <c:v>0.2090216221142478</c:v>
                </c:pt>
                <c:pt idx="46">
                  <c:v>0.21024808521353539</c:v>
                </c:pt>
                <c:pt idx="47">
                  <c:v>0.21293163924770275</c:v>
                </c:pt>
                <c:pt idx="48">
                  <c:v>0.21312344853671006</c:v>
                </c:pt>
                <c:pt idx="49">
                  <c:v>0.21114103864298156</c:v>
                </c:pt>
                <c:pt idx="50">
                  <c:v>0.2150182720459174</c:v>
                </c:pt>
                <c:pt idx="51">
                  <c:v>0.21850799051812353</c:v>
                </c:pt>
                <c:pt idx="52">
                  <c:v>0.21420927704017853</c:v>
                </c:pt>
                <c:pt idx="53">
                  <c:v>0.2505318564708487</c:v>
                </c:pt>
                <c:pt idx="54">
                  <c:v>0.2056668634411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779.1701</c:v>
                </c:pt>
                <c:pt idx="1">
                  <c:v>955.6372</c:v>
                </c:pt>
                <c:pt idx="2">
                  <c:v>938.0716</c:v>
                </c:pt>
                <c:pt idx="3">
                  <c:v>899.6348</c:v>
                </c:pt>
                <c:pt idx="4">
                  <c:v>913.183</c:v>
                </c:pt>
                <c:pt idx="5">
                  <c:v>933.0575</c:v>
                </c:pt>
                <c:pt idx="6">
                  <c:v>846.4018</c:v>
                </c:pt>
                <c:pt idx="7">
                  <c:v>842.3253</c:v>
                </c:pt>
                <c:pt idx="8">
                  <c:v>935.8477</c:v>
                </c:pt>
                <c:pt idx="9">
                  <c:v>949.5911</c:v>
                </c:pt>
                <c:pt idx="10">
                  <c:v>932.3301</c:v>
                </c:pt>
                <c:pt idx="11">
                  <c:v>904.4826</c:v>
                </c:pt>
                <c:pt idx="12">
                  <c:v>891.7035</c:v>
                </c:pt>
                <c:pt idx="13">
                  <c:v>941.6934</c:v>
                </c:pt>
                <c:pt idx="14">
                  <c:v>986.9918</c:v>
                </c:pt>
                <c:pt idx="15">
                  <c:v>966.9252</c:v>
                </c:pt>
                <c:pt idx="16">
                  <c:v>1053.5146</c:v>
                </c:pt>
                <c:pt idx="17">
                  <c:v>1099.2437</c:v>
                </c:pt>
                <c:pt idx="18">
                  <c:v>1062.56</c:v>
                </c:pt>
                <c:pt idx="19">
                  <c:v>1033.9151</c:v>
                </c:pt>
                <c:pt idx="20">
                  <c:v>1051.4498</c:v>
                </c:pt>
                <c:pt idx="21">
                  <c:v>1037.5833</c:v>
                </c:pt>
                <c:pt idx="22">
                  <c:v>993.1313</c:v>
                </c:pt>
                <c:pt idx="23">
                  <c:v>992.7107</c:v>
                </c:pt>
                <c:pt idx="24">
                  <c:v>1022.3876</c:v>
                </c:pt>
                <c:pt idx="25">
                  <c:v>1028.4167</c:v>
                </c:pt>
                <c:pt idx="26">
                  <c:v>999.6317</c:v>
                </c:pt>
                <c:pt idx="27">
                  <c:v>984.9054</c:v>
                </c:pt>
                <c:pt idx="28">
                  <c:v>985.1191</c:v>
                </c:pt>
                <c:pt idx="29">
                  <c:v>962.2673</c:v>
                </c:pt>
                <c:pt idx="30">
                  <c:v>927.4063</c:v>
                </c:pt>
                <c:pt idx="31">
                  <c:v>932.3341</c:v>
                </c:pt>
                <c:pt idx="32">
                  <c:v>965.523</c:v>
                </c:pt>
                <c:pt idx="33">
                  <c:v>1090.6273</c:v>
                </c:pt>
                <c:pt idx="34">
                  <c:v>1100.8092</c:v>
                </c:pt>
                <c:pt idx="35">
                  <c:v>1164.302</c:v>
                </c:pt>
                <c:pt idx="36">
                  <c:v>1176.3373</c:v>
                </c:pt>
                <c:pt idx="37">
                  <c:v>1140.0997</c:v>
                </c:pt>
                <c:pt idx="38">
                  <c:v>1177.3322</c:v>
                </c:pt>
                <c:pt idx="39">
                  <c:v>1219.6957</c:v>
                </c:pt>
                <c:pt idx="40">
                  <c:v>1201.3729</c:v>
                </c:pt>
                <c:pt idx="41">
                  <c:v>1132.2935</c:v>
                </c:pt>
                <c:pt idx="42">
                  <c:v>1086.765</c:v>
                </c:pt>
                <c:pt idx="43">
                  <c:v>1103.8231</c:v>
                </c:pt>
                <c:pt idx="44">
                  <c:v>1093.4238</c:v>
                </c:pt>
                <c:pt idx="45">
                  <c:v>1088.3032</c:v>
                </c:pt>
                <c:pt idx="46">
                  <c:v>1042.7528</c:v>
                </c:pt>
                <c:pt idx="47">
                  <c:v>1041.4076</c:v>
                </c:pt>
                <c:pt idx="48">
                  <c:v>1048.9816</c:v>
                </c:pt>
                <c:pt idx="49">
                  <c:v>1042.6717</c:v>
                </c:pt>
                <c:pt idx="50">
                  <c:v>1133.5901</c:v>
                </c:pt>
                <c:pt idx="51">
                  <c:v>1125.7159</c:v>
                </c:pt>
                <c:pt idx="52">
                  <c:v>1160.0939</c:v>
                </c:pt>
                <c:pt idx="53">
                  <c:v>1181.1616</c:v>
                </c:pt>
                <c:pt idx="54">
                  <c:v>1130.9089</c:v>
                </c:pt>
                <c:pt idx="55">
                  <c:v>1112.4021</c:v>
                </c:pt>
                <c:pt idx="56">
                  <c:v>1086.6145</c:v>
                </c:pt>
                <c:pt idx="57">
                  <c:v>1113.0556</c:v>
                </c:pt>
                <c:pt idx="58">
                  <c:v>1156.0305</c:v>
                </c:pt>
                <c:pt idx="59">
                  <c:v>1081.0504</c:v>
                </c:pt>
                <c:pt idx="60">
                  <c:v>1119.973</c:v>
                </c:pt>
                <c:pt idx="61">
                  <c:v>1162.1899</c:v>
                </c:pt>
                <c:pt idx="62">
                  <c:v>1141.0</c:v>
                </c:pt>
                <c:pt idx="63">
                  <c:v>1159.9783</c:v>
                </c:pt>
                <c:pt idx="64">
                  <c:v>1186.1237</c:v>
                </c:pt>
                <c:pt idx="65">
                  <c:v>1234.0798</c:v>
                </c:pt>
                <c:pt idx="66">
                  <c:v>1259.644</c:v>
                </c:pt>
                <c:pt idx="67">
                  <c:v>1283.36</c:v>
                </c:pt>
                <c:pt idx="68">
                  <c:v>1309.3715</c:v>
                </c:pt>
                <c:pt idx="69">
                  <c:v>1350.6402</c:v>
                </c:pt>
                <c:pt idx="70">
                  <c:v>1349.0455</c:v>
                </c:pt>
                <c:pt idx="71">
                  <c:v>1316.1886</c:v>
                </c:pt>
                <c:pt idx="72">
                  <c:v>1273.1423</c:v>
                </c:pt>
                <c:pt idx="73">
                  <c:v>1261.4082</c:v>
                </c:pt>
                <c:pt idx="74">
                  <c:v>1300.1892</c:v>
                </c:pt>
                <c:pt idx="75">
                  <c:v>1319.4491</c:v>
                </c:pt>
                <c:pt idx="76">
                  <c:v>1325.6958</c:v>
                </c:pt>
                <c:pt idx="77">
                  <c:v>1262.6323</c:v>
                </c:pt>
                <c:pt idx="78">
                  <c:v>1278.4077</c:v>
                </c:pt>
                <c:pt idx="79">
                  <c:v>1269.1909</c:v>
                </c:pt>
                <c:pt idx="80">
                  <c:v>1237.9251</c:v>
                </c:pt>
                <c:pt idx="81">
                  <c:v>1220.8033</c:v>
                </c:pt>
                <c:pt idx="82">
                  <c:v>1177.0</c:v>
                </c:pt>
                <c:pt idx="83">
                  <c:v>1205.6445</c:v>
                </c:pt>
                <c:pt idx="84">
                  <c:v>1236.8364</c:v>
                </c:pt>
                <c:pt idx="85">
                  <c:v>1283.5482</c:v>
                </c:pt>
                <c:pt idx="86">
                  <c:v>1275.9242</c:v>
                </c:pt>
                <c:pt idx="87">
                  <c:v>1363.0838</c:v>
                </c:pt>
                <c:pt idx="88">
                  <c:v>1376.5297</c:v>
                </c:pt>
                <c:pt idx="89">
                  <c:v>1299.2731</c:v>
                </c:pt>
                <c:pt idx="90">
                  <c:v>1328.5396</c:v>
                </c:pt>
                <c:pt idx="91">
                  <c:v>1346.7513</c:v>
                </c:pt>
                <c:pt idx="92">
                  <c:v>1305.1211</c:v>
                </c:pt>
                <c:pt idx="93">
                  <c:v>1205.5664</c:v>
                </c:pt>
                <c:pt idx="94">
                  <c:v>1188.286</c:v>
                </c:pt>
                <c:pt idx="95">
                  <c:v>1171.8167</c:v>
                </c:pt>
                <c:pt idx="96">
                  <c:v>1101.2533</c:v>
                </c:pt>
                <c:pt idx="97">
                  <c:v>1119.1318</c:v>
                </c:pt>
                <c:pt idx="98">
                  <c:v>1114.1692</c:v>
                </c:pt>
                <c:pt idx="99">
                  <c:v>1114.2815</c:v>
                </c:pt>
                <c:pt idx="100">
                  <c:v>1107.7216</c:v>
                </c:pt>
                <c:pt idx="101">
                  <c:v>1178.2584</c:v>
                </c:pt>
              </c:numCache>
            </c:numRef>
          </c:xVal>
          <c:yVal>
            <c:numRef>
              <c:f>Sheet1!$B$2:$B$103</c:f>
              <c:numCache>
                <c:formatCode>General</c:formatCode>
                <c:ptCount val="102"/>
                <c:pt idx="0">
                  <c:v>0.6040100250626567</c:v>
                </c:pt>
                <c:pt idx="1">
                  <c:v>0.7048346055979644</c:v>
                </c:pt>
                <c:pt idx="2">
                  <c:v>0.6147443519619501</c:v>
                </c:pt>
                <c:pt idx="3">
                  <c:v>0.6166281755196305</c:v>
                </c:pt>
                <c:pt idx="4">
                  <c:v>0.6553133514986376</c:v>
                </c:pt>
                <c:pt idx="5">
                  <c:v>0.6269592476489029</c:v>
                </c:pt>
                <c:pt idx="6">
                  <c:v>0.6135629709364908</c:v>
                </c:pt>
                <c:pt idx="7">
                  <c:v>0.5854189336235038</c:v>
                </c:pt>
                <c:pt idx="8">
                  <c:v>0.5184713375796178</c:v>
                </c:pt>
                <c:pt idx="9">
                  <c:v>0.49271844660194175</c:v>
                </c:pt>
                <c:pt idx="10">
                  <c:v>0.473928157589803</c:v>
                </c:pt>
                <c:pt idx="11">
                  <c:v>0.45785876993166286</c:v>
                </c:pt>
                <c:pt idx="12">
                  <c:v>0.47381864623243936</c:v>
                </c:pt>
                <c:pt idx="13">
                  <c:v>0.4368340943683409</c:v>
                </c:pt>
                <c:pt idx="14">
                  <c:v>0.40871021775544386</c:v>
                </c:pt>
                <c:pt idx="15">
                  <c:v>0.4240400667779633</c:v>
                </c:pt>
                <c:pt idx="16">
                  <c:v>0.40471512770137524</c:v>
                </c:pt>
                <c:pt idx="17">
                  <c:v>0.38449111470113084</c:v>
                </c:pt>
                <c:pt idx="18">
                  <c:v>0.4934210526315789</c:v>
                </c:pt>
                <c:pt idx="19">
                  <c:v>0.5834862385321101</c:v>
                </c:pt>
                <c:pt idx="20">
                  <c:v>0.5908221797323135</c:v>
                </c:pt>
                <c:pt idx="21">
                  <c:v>0.5806451612903226</c:v>
                </c:pt>
                <c:pt idx="22">
                  <c:v>0.599250936329588</c:v>
                </c:pt>
                <c:pt idx="23">
                  <c:v>0.5836012861736335</c:v>
                </c:pt>
                <c:pt idx="24">
                  <c:v>0.5502318392581144</c:v>
                </c:pt>
                <c:pt idx="25">
                  <c:v>0.5253940455341506</c:v>
                </c:pt>
                <c:pt idx="26">
                  <c:v>0.5511111111111111</c:v>
                </c:pt>
                <c:pt idx="27">
                  <c:v>0.5659655831739961</c:v>
                </c:pt>
                <c:pt idx="28">
                  <c:v>0.5397631133671743</c:v>
                </c:pt>
                <c:pt idx="29">
                  <c:v>0.5899814471243042</c:v>
                </c:pt>
                <c:pt idx="30">
                  <c:v>0.5977917981072555</c:v>
                </c:pt>
                <c:pt idx="31">
                  <c:v>0.5886889460154242</c:v>
                </c:pt>
                <c:pt idx="32">
                  <c:v>0.5731414868105515</c:v>
                </c:pt>
                <c:pt idx="33">
                  <c:v>0.5252854812398042</c:v>
                </c:pt>
                <c:pt idx="34">
                  <c:v>0.539047619047619</c:v>
                </c:pt>
                <c:pt idx="35">
                  <c:v>0.5019685039370079</c:v>
                </c:pt>
                <c:pt idx="36">
                  <c:v>0.5039525691699605</c:v>
                </c:pt>
                <c:pt idx="37">
                  <c:v>0.5074404761904762</c:v>
                </c:pt>
                <c:pt idx="38">
                  <c:v>0.4975206611570248</c:v>
                </c:pt>
                <c:pt idx="39">
                  <c:v>0.46865203761755486</c:v>
                </c:pt>
                <c:pt idx="40">
                  <c:v>0.4903047091412742</c:v>
                </c:pt>
                <c:pt idx="41">
                  <c:v>0.4678030303030303</c:v>
                </c:pt>
                <c:pt idx="42">
                  <c:v>0.48764044943820223</c:v>
                </c:pt>
                <c:pt idx="43">
                  <c:v>0.49106002554278416</c:v>
                </c:pt>
                <c:pt idx="44">
                  <c:v>0.4773030707610147</c:v>
                </c:pt>
                <c:pt idx="45">
                  <c:v>0.49363057324840764</c:v>
                </c:pt>
                <c:pt idx="46">
                  <c:v>0.5235294117647059</c:v>
                </c:pt>
                <c:pt idx="47">
                  <c:v>0.48148148148148145</c:v>
                </c:pt>
                <c:pt idx="48">
                  <c:v>0.463768115942029</c:v>
                </c:pt>
                <c:pt idx="49">
                  <c:v>0.4958553127354936</c:v>
                </c:pt>
                <c:pt idx="50">
                  <c:v>0.4791666666666667</c:v>
                </c:pt>
                <c:pt idx="51">
                  <c:v>0.5129434324065196</c:v>
                </c:pt>
                <c:pt idx="52">
                  <c:v>0.5031512605042017</c:v>
                </c:pt>
                <c:pt idx="53">
                  <c:v>0.488558352402746</c:v>
                </c:pt>
                <c:pt idx="54">
                  <c:v>0.49670122525918947</c:v>
                </c:pt>
                <c:pt idx="55">
                  <c:v>0.4899738448125545</c:v>
                </c:pt>
                <c:pt idx="56">
                  <c:v>0.5460659045057162</c:v>
                </c:pt>
                <c:pt idx="57">
                  <c:v>0.5516962843295639</c:v>
                </c:pt>
                <c:pt idx="58">
                  <c:v>0.5281933256616801</c:v>
                </c:pt>
                <c:pt idx="59">
                  <c:v>0.5386221294363257</c:v>
                </c:pt>
                <c:pt idx="60">
                  <c:v>0.5757261410788381</c:v>
                </c:pt>
                <c:pt idx="61">
                  <c:v>0.5108910891089109</c:v>
                </c:pt>
                <c:pt idx="62">
                  <c:v>0.48058252427184467</c:v>
                </c:pt>
                <c:pt idx="63">
                  <c:v>0.44834307992202727</c:v>
                </c:pt>
                <c:pt idx="64">
                  <c:v>0.4311111111111111</c:v>
                </c:pt>
                <c:pt idx="65">
                  <c:v>0.4453551912568306</c:v>
                </c:pt>
                <c:pt idx="66">
                  <c:v>0.41118421052631576</c:v>
                </c:pt>
                <c:pt idx="67">
                  <c:v>0.4152823920265781</c:v>
                </c:pt>
                <c:pt idx="68">
                  <c:v>0.4583333333333333</c:v>
                </c:pt>
                <c:pt idx="69">
                  <c:v>0.42787682333873583</c:v>
                </c:pt>
                <c:pt idx="70">
                  <c:v>0.4489795918367347</c:v>
                </c:pt>
                <c:pt idx="71">
                  <c:v>0.4452773613193403</c:v>
                </c:pt>
                <c:pt idx="72">
                  <c:v>0.44153577661431065</c:v>
                </c:pt>
                <c:pt idx="73">
                  <c:v>0.4684512428298279</c:v>
                </c:pt>
                <c:pt idx="74">
                  <c:v>0.44047619047619047</c:v>
                </c:pt>
                <c:pt idx="75">
                  <c:v>0.43373493975903615</c:v>
                </c:pt>
                <c:pt idx="76">
                  <c:v>0.43010752688172044</c:v>
                </c:pt>
                <c:pt idx="77">
                  <c:v>0.4047186932849365</c:v>
                </c:pt>
                <c:pt idx="78">
                  <c:v>0.41294964028776976</c:v>
                </c:pt>
                <c:pt idx="79">
                  <c:v>0.4296875</c:v>
                </c:pt>
                <c:pt idx="80">
                  <c:v>0.4410377358490566</c:v>
                </c:pt>
                <c:pt idx="81">
                  <c:v>0.45185185185185184</c:v>
                </c:pt>
                <c:pt idx="82">
                  <c:v>0.46502835538752363</c:v>
                </c:pt>
                <c:pt idx="83">
                  <c:v>0.4251412429378531</c:v>
                </c:pt>
                <c:pt idx="84">
                  <c:v>0.405</c:v>
                </c:pt>
                <c:pt idx="85">
                  <c:v>0.4293785310734463</c:v>
                </c:pt>
                <c:pt idx="86">
                  <c:v>0.4489795918367347</c:v>
                </c:pt>
                <c:pt idx="87">
                  <c:v>0.3760504201680672</c:v>
                </c:pt>
                <c:pt idx="88">
                  <c:v>0.37298387096774194</c:v>
                </c:pt>
                <c:pt idx="89">
                  <c:v>0.41756548536209553</c:v>
                </c:pt>
                <c:pt idx="90">
                  <c:v>0.3978978978978979</c:v>
                </c:pt>
                <c:pt idx="91">
                  <c:v>0.40124740124740127</c:v>
                </c:pt>
                <c:pt idx="92">
                  <c:v>0.3742690058479532</c:v>
                </c:pt>
                <c:pt idx="93">
                  <c:v>0.42924976258309594</c:v>
                </c:pt>
                <c:pt idx="94">
                  <c:v>0.45409429280397023</c:v>
                </c:pt>
                <c:pt idx="95">
                  <c:v>0.4604651162790698</c:v>
                </c:pt>
                <c:pt idx="96">
                  <c:v>0.465259907359753</c:v>
                </c:pt>
                <c:pt idx="97">
                  <c:v>0.46024590163934426</c:v>
                </c:pt>
                <c:pt idx="98">
                  <c:v>0.4581314878892734</c:v>
                </c:pt>
                <c:pt idx="99">
                  <c:v>0.46124031007751937</c:v>
                </c:pt>
                <c:pt idx="100">
                  <c:v>0.43333333333333335</c:v>
                </c:pt>
                <c:pt idx="101">
                  <c:v>0.4218009478672986</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numCache>
            </c:numRef>
          </c:xVal>
          <c:yVal>
            <c:numRef>
              <c:f>Sheet1!$B$106:$B$157</c:f>
              <c:numCache>
                <c:formatCode>General</c:formatCode>
                <c:ptCount val="52"/>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5532435740514077</c:v>
                </c:pt>
                <c:pt idx="14">
                  <c:v>0.4485387547649301</c:v>
                </c:pt>
                <c:pt idx="15">
                  <c:v>0.47238372093023256</c:v>
                </c:pt>
                <c:pt idx="16">
                  <c:v>0.44805194805194803</c:v>
                </c:pt>
                <c:pt idx="17">
                  <c:v>0.46394984326018807</c:v>
                </c:pt>
                <c:pt idx="18">
                  <c:v>0.4486486486486487</c:v>
                </c:pt>
                <c:pt idx="19">
                  <c:v>0.468013468013468</c:v>
                </c:pt>
                <c:pt idx="20">
                  <c:v>0.46938775510204084</c:v>
                </c:pt>
                <c:pt idx="21">
                  <c:v>0.46830265848670755</c:v>
                </c:pt>
                <c:pt idx="22">
                  <c:v>0.4375</c:v>
                </c:pt>
                <c:pt idx="23">
                  <c:v>0.4628099173553719</c:v>
                </c:pt>
                <c:pt idx="24">
                  <c:v>0.458259325044405</c:v>
                </c:pt>
                <c:pt idx="25">
                  <c:v>0.4368421052631579</c:v>
                </c:pt>
                <c:pt idx="26">
                  <c:v>0.427797833935018</c:v>
                </c:pt>
                <c:pt idx="27">
                  <c:v>0.4316309719934102</c:v>
                </c:pt>
                <c:pt idx="28">
                  <c:v>0.4411764705882353</c:v>
                </c:pt>
                <c:pt idx="29">
                  <c:v>0.4359464627151052</c:v>
                </c:pt>
                <c:pt idx="30">
                  <c:v>0.4346938775510204</c:v>
                </c:pt>
                <c:pt idx="31">
                  <c:v>0.43612334801762115</c:v>
                </c:pt>
                <c:pt idx="32">
                  <c:v>0.42447418738049714</c:v>
                </c:pt>
                <c:pt idx="33">
                  <c:v>0.4477401129943503</c:v>
                </c:pt>
                <c:pt idx="34">
                  <c:v>0.4734982332155477</c:v>
                </c:pt>
                <c:pt idx="35">
                  <c:v>0.4192</c:v>
                </c:pt>
                <c:pt idx="36">
                  <c:v>0.46883468834688347</c:v>
                </c:pt>
                <c:pt idx="37">
                  <c:v>0.4539170506912442</c:v>
                </c:pt>
                <c:pt idx="38">
                  <c:v>0.46116504854368934</c:v>
                </c:pt>
                <c:pt idx="39">
                  <c:v>0.43410852713178294</c:v>
                </c:pt>
                <c:pt idx="40">
                  <c:v>0.4376237623762376</c:v>
                </c:pt>
                <c:pt idx="41">
                  <c:v>0.43447037701974867</c:v>
                </c:pt>
                <c:pt idx="42">
                  <c:v>0.4720616570327553</c:v>
                </c:pt>
                <c:pt idx="43">
                  <c:v>0.44592592592592595</c:v>
                </c:pt>
                <c:pt idx="44">
                  <c:v>0.4624664879356568</c:v>
                </c:pt>
                <c:pt idx="45">
                  <c:v>0.48867924528301887</c:v>
                </c:pt>
                <c:pt idx="46">
                  <c:v>0.48361469712015887</c:v>
                </c:pt>
                <c:pt idx="47">
                  <c:v>0.49550359712230213</c:v>
                </c:pt>
                <c:pt idx="48">
                  <c:v>0.44813278008298757</c:v>
                </c:pt>
                <c:pt idx="49">
                  <c:v>0.4652974504249292</c:v>
                </c:pt>
                <c:pt idx="50">
                  <c:v>0.4698972099853157</c:v>
                </c:pt>
                <c:pt idx="51">
                  <c:v>0.47368421052631576</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439.4174011725306</c:v>
                </c:pt>
              </c:numCache>
            </c:numRef>
          </c:xVal>
          <c:yVal>
            <c:numRef>
              <c:f>Sheet1!$B$160:$B$161</c:f>
              <c:numCache>
                <c:formatCode>General</c:formatCode>
                <c:ptCount val="2"/>
                <c:pt idx="0">
                  <c:v>0.637081626214957</c:v>
                </c:pt>
                <c:pt idx="1">
                  <c:v>0.637081626214957</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439.4174011725306</c:v>
                </c:pt>
                <c:pt idx="1">
                  <c:v>-439.4174011725306</c:v>
                </c:pt>
              </c:numCache>
            </c:numRef>
          </c:xVal>
          <c:yVal>
            <c:numRef>
              <c:f>Sheet1!$B$164:$B$165</c:f>
              <c:numCache>
                <c:formatCode>General</c:formatCode>
                <c:ptCount val="2"/>
                <c:pt idx="0">
                  <c:v>0.6370816262149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1131.7252617697307</c:v>
                </c:pt>
              </c:numCache>
            </c:numRef>
          </c:xVal>
          <c:yVal>
            <c:numRef>
              <c:f>Sheet1!$B$168:$B$169</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1131.7252617697307</c:v>
                </c:pt>
                <c:pt idx="1">
                  <c:v>1131.7252617697307</c:v>
                </c:pt>
              </c:numCache>
            </c:numRef>
          </c:xVal>
          <c:yVal>
            <c:numRef>
              <c:f>Sheet1!$B$172:$B$173</c:f>
              <c:numCache>
                <c:formatCode>General</c:formatCode>
                <c:ptCount val="2"/>
                <c:pt idx="0">
                  <c:v>0.464252912754887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1148.3836684194846</c:v>
                </c:pt>
              </c:numCache>
            </c:numRef>
          </c:xVal>
          <c:yVal>
            <c:numRef>
              <c:f>Sheet1!$B$176:$B$177</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1148.3836684194846</c:v>
                </c:pt>
                <c:pt idx="1">
                  <c:v>1148.3836684194846</c:v>
                </c:pt>
              </c:numCache>
            </c:numRef>
          </c:xVal>
          <c:yVal>
            <c:numRef>
              <c:f>Sheet1!$B$180:$B$181</c:f>
              <c:numCache>
                <c:formatCode>General</c:formatCode>
                <c:ptCount val="2"/>
                <c:pt idx="0">
                  <c:v>0.4624204559974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pt idx="52">
                  <c:v>1131.7252617697307</c:v>
                </c:pt>
                <c:pt idx="53">
                  <c:v>-439.4174011725306</c:v>
                </c:pt>
                <c:pt idx="54">
                  <c:v>1148.3836684194846</c:v>
                </c:pt>
              </c:numCache>
            </c:numRef>
          </c:xVal>
          <c:yVal>
            <c:numRef>
              <c:f>Sheet1!$B$184:$B$238</c:f>
              <c:numCache>
                <c:formatCode>General</c:formatCode>
                <c:ptCount val="55"/>
                <c:pt idx="0">
                  <c:v>0.4561992277948862</c:v>
                </c:pt>
                <c:pt idx="1">
                  <c:v>0.45322194876082555</c:v>
                </c:pt>
                <c:pt idx="2">
                  <c:v>0.4516446861949256</c:v>
                </c:pt>
                <c:pt idx="3">
                  <c:v>0.45101897325930806</c:v>
                </c:pt>
                <c:pt idx="4">
                  <c:v>0.44948682248182914</c:v>
                </c:pt>
                <c:pt idx="5">
                  <c:v>0.4535055337170546</c:v>
                </c:pt>
                <c:pt idx="6">
                  <c:v>0.4668218824475745</c:v>
                </c:pt>
                <c:pt idx="7">
                  <c:v>0.4611496333133811</c:v>
                </c:pt>
                <c:pt idx="8">
                  <c:v>0.451581446089675</c:v>
                </c:pt>
                <c:pt idx="9">
                  <c:v>0.4606128459319201</c:v>
                </c:pt>
                <c:pt idx="10">
                  <c:v>0.4549885466357485</c:v>
                </c:pt>
                <c:pt idx="11">
                  <c:v>0.48322157406583854</c:v>
                </c:pt>
                <c:pt idx="12">
                  <c:v>0.47080837411969695</c:v>
                </c:pt>
                <c:pt idx="13">
                  <c:v>0.45700278083862456</c:v>
                </c:pt>
                <c:pt idx="14">
                  <c:v>0.4619241788501538</c:v>
                </c:pt>
                <c:pt idx="15">
                  <c:v>0.45862240514488284</c:v>
                </c:pt>
                <c:pt idx="16">
                  <c:v>0.45428505134072467</c:v>
                </c:pt>
                <c:pt idx="17">
                  <c:v>0.45461758715247036</c:v>
                </c:pt>
                <c:pt idx="18">
                  <c:v>0.4513233045781223</c:v>
                </c:pt>
                <c:pt idx="19">
                  <c:v>0.4446316676280351</c:v>
                </c:pt>
                <c:pt idx="20">
                  <c:v>0.4474171803105852</c:v>
                </c:pt>
                <c:pt idx="21">
                  <c:v>0.4526575948975837</c:v>
                </c:pt>
                <c:pt idx="22">
                  <c:v>0.445224258984785</c:v>
                </c:pt>
                <c:pt idx="23">
                  <c:v>0.44648095394810833</c:v>
                </c:pt>
                <c:pt idx="24">
                  <c:v>0.4486105141665431</c:v>
                </c:pt>
                <c:pt idx="25">
                  <c:v>0.45280855053584323</c:v>
                </c:pt>
                <c:pt idx="26">
                  <c:v>0.44972378862329876</c:v>
                </c:pt>
                <c:pt idx="27">
                  <c:v>0.4507860771889713</c:v>
                </c:pt>
                <c:pt idx="28">
                  <c:v>0.4463143780368525</c:v>
                </c:pt>
                <c:pt idx="29">
                  <c:v>0.4466190063608575</c:v>
                </c:pt>
                <c:pt idx="30">
                  <c:v>0.4487335953176388</c:v>
                </c:pt>
                <c:pt idx="31">
                  <c:v>0.44677460408024694</c:v>
                </c:pt>
                <c:pt idx="32">
                  <c:v>0.44696725044713753</c:v>
                </c:pt>
                <c:pt idx="33">
                  <c:v>0.44691109446569655</c:v>
                </c:pt>
                <c:pt idx="34">
                  <c:v>0.44467928746028934</c:v>
                </c:pt>
                <c:pt idx="35">
                  <c:v>0.4415790922780167</c:v>
                </c:pt>
                <c:pt idx="36">
                  <c:v>0.4438939507349185</c:v>
                </c:pt>
                <c:pt idx="37">
                  <c:v>0.4423920504861297</c:v>
                </c:pt>
                <c:pt idx="38">
                  <c:v>0.44122824114617326</c:v>
                </c:pt>
                <c:pt idx="39">
                  <c:v>0.4475244981861853</c:v>
                </c:pt>
                <c:pt idx="40">
                  <c:v>0.44117754126008873</c:v>
                </c:pt>
                <c:pt idx="41">
                  <c:v>0.4396204420465847</c:v>
                </c:pt>
                <c:pt idx="42">
                  <c:v>0.43951177114733775</c:v>
                </c:pt>
                <c:pt idx="43">
                  <c:v>0.4390066643195594</c:v>
                </c:pt>
                <c:pt idx="44">
                  <c:v>0.44870667784720075</c:v>
                </c:pt>
                <c:pt idx="45">
                  <c:v>0.4573968407256297</c:v>
                </c:pt>
                <c:pt idx="46">
                  <c:v>0.4583478623466841</c:v>
                </c:pt>
                <c:pt idx="47">
                  <c:v>0.4599931061006948</c:v>
                </c:pt>
                <c:pt idx="48">
                  <c:v>0.45859915073846436</c:v>
                </c:pt>
                <c:pt idx="49">
                  <c:v>0.4575989692582406</c:v>
                </c:pt>
                <c:pt idx="50">
                  <c:v>0.4609298494722075</c:v>
                </c:pt>
                <c:pt idx="51">
                  <c:v>0.4682506204177024</c:v>
                </c:pt>
                <c:pt idx="52">
                  <c:v>0.46425291275488706</c:v>
                </c:pt>
                <c:pt idx="53">
                  <c:v>0.637081626214957</c:v>
                </c:pt>
                <c:pt idx="54">
                  <c:v>0.462420455997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0</c:f>
              <c:numCache>
                <c:formatCode>General</c:formatCode>
                <c:ptCount val="119"/>
                <c:pt idx="0">
                  <c:v>0.25736419488026424</c:v>
                </c:pt>
                <c:pt idx="1">
                  <c:v>0.2834932517313577</c:v>
                </c:pt>
                <c:pt idx="2">
                  <c:v>0.22290900643316652</c:v>
                </c:pt>
                <c:pt idx="3">
                  <c:v>0.2632609366391185</c:v>
                </c:pt>
                <c:pt idx="4">
                  <c:v>0.0</c:v>
                </c:pt>
                <c:pt idx="5">
                  <c:v>0.20313373754872238</c:v>
                </c:pt>
                <c:pt idx="6">
                  <c:v>0.3627267155874527</c:v>
                </c:pt>
                <c:pt idx="7">
                  <c:v>0.29105434262948204</c:v>
                </c:pt>
                <c:pt idx="8">
                  <c:v>0.1946302670004172</c:v>
                </c:pt>
                <c:pt idx="9">
                  <c:v>0.0</c:v>
                </c:pt>
                <c:pt idx="10">
                  <c:v>0.29853811802232855</c:v>
                </c:pt>
                <c:pt idx="11">
                  <c:v>0.40724442993907745</c:v>
                </c:pt>
                <c:pt idx="12">
                  <c:v>0.3366150655795817</c:v>
                </c:pt>
                <c:pt idx="13">
                  <c:v>0.23137612607023203</c:v>
                </c:pt>
                <c:pt idx="14">
                  <c:v>0.22499567164179105</c:v>
                </c:pt>
                <c:pt idx="15">
                  <c:v>0.21001024493641074</c:v>
                </c:pt>
                <c:pt idx="16">
                  <c:v>0.2468396854521625</c:v>
                </c:pt>
                <c:pt idx="17">
                  <c:v>0.3556727207207207</c:v>
                </c:pt>
                <c:pt idx="18">
                  <c:v>0.0</c:v>
                </c:pt>
                <c:pt idx="19">
                  <c:v>0.2866706394557823</c:v>
                </c:pt>
                <c:pt idx="20">
                  <c:v>0.362786699669967</c:v>
                </c:pt>
                <c:pt idx="21">
                  <c:v>0.3010084985835694</c:v>
                </c:pt>
                <c:pt idx="22">
                  <c:v>0.0</c:v>
                </c:pt>
                <c:pt idx="23">
                  <c:v>0.0</c:v>
                </c:pt>
                <c:pt idx="24">
                  <c:v>0.2111484126984127</c:v>
                </c:pt>
                <c:pt idx="25">
                  <c:v>0.0</c:v>
                </c:pt>
                <c:pt idx="26">
                  <c:v>0.0</c:v>
                </c:pt>
                <c:pt idx="27">
                  <c:v>0.17670024196335984</c:v>
                </c:pt>
                <c:pt idx="28">
                  <c:v>0.2554437903626428</c:v>
                </c:pt>
                <c:pt idx="29">
                  <c:v>0.15592445796287632</c:v>
                </c:pt>
                <c:pt idx="30">
                  <c:v>0.20429483509645302</c:v>
                </c:pt>
                <c:pt idx="31">
                  <c:v>0.16914819711538462</c:v>
                </c:pt>
                <c:pt idx="32">
                  <c:v>0.0</c:v>
                </c:pt>
                <c:pt idx="33">
                  <c:v>0.2110379565365798</c:v>
                </c:pt>
                <c:pt idx="34">
                  <c:v>0.18616894968051118</c:v>
                </c:pt>
                <c:pt idx="35">
                  <c:v>0.2692479085331846</c:v>
                </c:pt>
                <c:pt idx="36">
                  <c:v>0.18177121666666668</c:v>
                </c:pt>
                <c:pt idx="37">
                  <c:v>0.24726172506738542</c:v>
                </c:pt>
                <c:pt idx="38">
                  <c:v>0.0</c:v>
                </c:pt>
                <c:pt idx="39">
                  <c:v>0.27561792408622304</c:v>
                </c:pt>
                <c:pt idx="40">
                  <c:v>0.46052229082372026</c:v>
                </c:pt>
                <c:pt idx="41">
                  <c:v>0.40979192481726423</c:v>
                </c:pt>
                <c:pt idx="42">
                  <c:v>0.35528566851150595</c:v>
                </c:pt>
                <c:pt idx="43">
                  <c:v>0.2877884537070308</c:v>
                </c:pt>
                <c:pt idx="44">
                  <c:v>0.37932780569514235</c:v>
                </c:pt>
                <c:pt idx="45">
                  <c:v>0.2464599160902597</c:v>
                </c:pt>
                <c:pt idx="46">
                  <c:v>0.3438165706276281</c:v>
                </c:pt>
                <c:pt idx="47">
                  <c:v>0.1563821224256293</c:v>
                </c:pt>
                <c:pt idx="48">
                  <c:v>0.1330606675632718</c:v>
                </c:pt>
                <c:pt idx="49">
                  <c:v>0.2627463777696424</c:v>
                </c:pt>
                <c:pt idx="50">
                  <c:v>0.2551531544775205</c:v>
                </c:pt>
                <c:pt idx="51">
                  <c:v>0.20833795431976168</c:v>
                </c:pt>
                <c:pt idx="52">
                  <c:v>0.3920801127109566</c:v>
                </c:pt>
                <c:pt idx="53">
                  <c:v>0.3915231797320191</c:v>
                </c:pt>
                <c:pt idx="54">
                  <c:v>0.0</c:v>
                </c:pt>
                <c:pt idx="55">
                  <c:v>0.0</c:v>
                </c:pt>
                <c:pt idx="56">
                  <c:v>0.21266863521786097</c:v>
                </c:pt>
                <c:pt idx="57">
                  <c:v>0.21946611682515038</c:v>
                </c:pt>
                <c:pt idx="58">
                  <c:v>0.26722448832516577</c:v>
                </c:pt>
                <c:pt idx="59">
                  <c:v>0.28874747555272107</c:v>
                </c:pt>
                <c:pt idx="60">
                  <c:v>0.21997146245059288</c:v>
                </c:pt>
                <c:pt idx="61">
                  <c:v>0.0</c:v>
                </c:pt>
                <c:pt idx="62">
                  <c:v>0.24772007332722276</c:v>
                </c:pt>
                <c:pt idx="63">
                  <c:v>0.2843292713886773</c:v>
                </c:pt>
                <c:pt idx="64">
                  <c:v>0.33291031223145234</c:v>
                </c:pt>
                <c:pt idx="65">
                  <c:v>0.35603401201341756</c:v>
                </c:pt>
                <c:pt idx="66">
                  <c:v>0.21516941198293452</c:v>
                </c:pt>
                <c:pt idx="67">
                  <c:v>0.4158919004207574</c:v>
                </c:pt>
                <c:pt idx="68">
                  <c:v>0.0</c:v>
                </c:pt>
                <c:pt idx="69">
                  <c:v>0.3167322102087</c:v>
                </c:pt>
                <c:pt idx="70">
                  <c:v>0.21630878139221302</c:v>
                </c:pt>
                <c:pt idx="71">
                  <c:v>0.341100596204406</c:v>
                </c:pt>
                <c:pt idx="72">
                  <c:v>0.2892782608695652</c:v>
                </c:pt>
                <c:pt idx="73">
                  <c:v>0.35816952077525555</c:v>
                </c:pt>
                <c:pt idx="74">
                  <c:v>0.37275236476918716</c:v>
                </c:pt>
                <c:pt idx="75">
                  <c:v>0.19880423173016865</c:v>
                </c:pt>
                <c:pt idx="76">
                  <c:v>0.0</c:v>
                </c:pt>
                <c:pt idx="77">
                  <c:v>0.2598819108534879</c:v>
                </c:pt>
                <c:pt idx="78">
                  <c:v>0.0</c:v>
                </c:pt>
                <c:pt idx="79">
                  <c:v>0.0</c:v>
                </c:pt>
                <c:pt idx="80">
                  <c:v>0.0</c:v>
                </c:pt>
                <c:pt idx="81">
                  <c:v>0.31195893118594437</c:v>
                </c:pt>
                <c:pt idx="82">
                  <c:v>0.2407874976285335</c:v>
                </c:pt>
                <c:pt idx="83">
                  <c:v>0.0</c:v>
                </c:pt>
                <c:pt idx="84">
                  <c:v>0.38341812185929647</c:v>
                </c:pt>
                <c:pt idx="85">
                  <c:v>0.41053365887687476</c:v>
                </c:pt>
                <c:pt idx="86">
                  <c:v>0.0</c:v>
                </c:pt>
                <c:pt idx="87">
                  <c:v>0.23621779984721158</c:v>
                </c:pt>
                <c:pt idx="88">
                  <c:v>0.20002309490416081</c:v>
                </c:pt>
                <c:pt idx="89">
                  <c:v>0.19175296062518785</c:v>
                </c:pt>
                <c:pt idx="90">
                  <c:v>0.35067759197324416</c:v>
                </c:pt>
                <c:pt idx="91">
                  <c:v>0.36953817449664433</c:v>
                </c:pt>
                <c:pt idx="92">
                  <c:v>0.4252939770867431</c:v>
                </c:pt>
                <c:pt idx="93">
                  <c:v>0.0</c:v>
                </c:pt>
                <c:pt idx="94">
                  <c:v>0.0</c:v>
                </c:pt>
                <c:pt idx="95">
                  <c:v>0.20416027095681624</c:v>
                </c:pt>
                <c:pt idx="96">
                  <c:v>0.21823434343434345</c:v>
                </c:pt>
                <c:pt idx="97">
                  <c:v>0.26553743485157494</c:v>
                </c:pt>
                <c:pt idx="98">
                  <c:v>0.3253974128375595</c:v>
                </c:pt>
                <c:pt idx="99">
                  <c:v>0.25182983798379843</c:v>
                </c:pt>
                <c:pt idx="100">
                  <c:v>0.19814497599146363</c:v>
                </c:pt>
                <c:pt idx="101">
                  <c:v>0.16502984300947868</c:v>
                </c:pt>
                <c:pt idx="102">
                  <c:v>0.23881030505551365</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numCache>
            </c:numRef>
          </c:xVal>
          <c:yVal>
            <c:numRef>
              <c:f>Sheet1!$B$2:$B$120</c:f>
              <c:numCache>
                <c:formatCode>General</c:formatCode>
                <c:ptCount val="119"/>
                <c:pt idx="0">
                  <c:v>0.6040100250626567</c:v>
                </c:pt>
                <c:pt idx="1">
                  <c:v>0.6455424274973147</c:v>
                </c:pt>
                <c:pt idx="2">
                  <c:v>0.6700111482720178</c:v>
                </c:pt>
                <c:pt idx="3">
                  <c:v>0.7048346055979644</c:v>
                </c:pt>
                <c:pt idx="4">
                  <c:v>0.672566371681416</c:v>
                </c:pt>
                <c:pt idx="5">
                  <c:v>0.6147443519619501</c:v>
                </c:pt>
                <c:pt idx="6">
                  <c:v>0.6166281755196305</c:v>
                </c:pt>
                <c:pt idx="7">
                  <c:v>0.6553133514986376</c:v>
                </c:pt>
                <c:pt idx="8">
                  <c:v>0.6269592476489029</c:v>
                </c:pt>
                <c:pt idx="9">
                  <c:v>0.6135629709364908</c:v>
                </c:pt>
                <c:pt idx="10">
                  <c:v>0.5854189336235038</c:v>
                </c:pt>
                <c:pt idx="11">
                  <c:v>0.5184713375796178</c:v>
                </c:pt>
                <c:pt idx="12">
                  <c:v>0.49271844660194175</c:v>
                </c:pt>
                <c:pt idx="13">
                  <c:v>0.473928157589803</c:v>
                </c:pt>
                <c:pt idx="14">
                  <c:v>0.45785876993166286</c:v>
                </c:pt>
                <c:pt idx="15">
                  <c:v>0.47381864623243936</c:v>
                </c:pt>
                <c:pt idx="16">
                  <c:v>0.4368340943683409</c:v>
                </c:pt>
                <c:pt idx="17">
                  <c:v>0.40871021775544386</c:v>
                </c:pt>
                <c:pt idx="18">
                  <c:v>0.4240400667779633</c:v>
                </c:pt>
                <c:pt idx="19">
                  <c:v>0.40471512770137524</c:v>
                </c:pt>
                <c:pt idx="20">
                  <c:v>0.38449111470113084</c:v>
                </c:pt>
                <c:pt idx="21">
                  <c:v>0.4934210526315789</c:v>
                </c:pt>
                <c:pt idx="22">
                  <c:v>0.5834862385321101</c:v>
                </c:pt>
                <c:pt idx="23">
                  <c:v>0.5908221797323135</c:v>
                </c:pt>
                <c:pt idx="24">
                  <c:v>0.5806451612903226</c:v>
                </c:pt>
                <c:pt idx="25">
                  <c:v>0.599250936329588</c:v>
                </c:pt>
                <c:pt idx="26">
                  <c:v>0.5836012861736335</c:v>
                </c:pt>
                <c:pt idx="27">
                  <c:v>0.5502318392581144</c:v>
                </c:pt>
                <c:pt idx="28">
                  <c:v>0.5253940455341506</c:v>
                </c:pt>
                <c:pt idx="29">
                  <c:v>0.5511111111111111</c:v>
                </c:pt>
                <c:pt idx="30">
                  <c:v>0.5659655831739961</c:v>
                </c:pt>
                <c:pt idx="31">
                  <c:v>0.5397631133671743</c:v>
                </c:pt>
                <c:pt idx="32">
                  <c:v>0.5899814471243042</c:v>
                </c:pt>
                <c:pt idx="33">
                  <c:v>0.5977917981072555</c:v>
                </c:pt>
                <c:pt idx="34">
                  <c:v>0.5886889460154242</c:v>
                </c:pt>
                <c:pt idx="35">
                  <c:v>0.5731414868105515</c:v>
                </c:pt>
                <c:pt idx="36">
                  <c:v>0.5252854812398042</c:v>
                </c:pt>
                <c:pt idx="37">
                  <c:v>0.539047619047619</c:v>
                </c:pt>
                <c:pt idx="38">
                  <c:v>0.5019685039370079</c:v>
                </c:pt>
                <c:pt idx="39">
                  <c:v>0.5039525691699605</c:v>
                </c:pt>
                <c:pt idx="40">
                  <c:v>0.5074404761904762</c:v>
                </c:pt>
                <c:pt idx="41">
                  <c:v>0.4975206611570248</c:v>
                </c:pt>
                <c:pt idx="42">
                  <c:v>0.46865203761755486</c:v>
                </c:pt>
                <c:pt idx="43">
                  <c:v>0.4903047091412742</c:v>
                </c:pt>
                <c:pt idx="44">
                  <c:v>0.4678030303030303</c:v>
                </c:pt>
                <c:pt idx="45">
                  <c:v>0.48764044943820223</c:v>
                </c:pt>
                <c:pt idx="46">
                  <c:v>0.49106002554278416</c:v>
                </c:pt>
                <c:pt idx="47">
                  <c:v>0.4773030707610147</c:v>
                </c:pt>
                <c:pt idx="48">
                  <c:v>0.49363057324840764</c:v>
                </c:pt>
                <c:pt idx="49">
                  <c:v>0.5235294117647059</c:v>
                </c:pt>
                <c:pt idx="50">
                  <c:v>0.48148148148148145</c:v>
                </c:pt>
                <c:pt idx="51">
                  <c:v>0.463768115942029</c:v>
                </c:pt>
                <c:pt idx="52">
                  <c:v>0.4958553127354936</c:v>
                </c:pt>
                <c:pt idx="53">
                  <c:v>0.4791666666666667</c:v>
                </c:pt>
                <c:pt idx="54">
                  <c:v>0.5129434324065196</c:v>
                </c:pt>
                <c:pt idx="55">
                  <c:v>0.5031512605042017</c:v>
                </c:pt>
                <c:pt idx="56">
                  <c:v>0.488558352402746</c:v>
                </c:pt>
                <c:pt idx="57">
                  <c:v>0.49670122525918947</c:v>
                </c:pt>
                <c:pt idx="58">
                  <c:v>0.4899738448125545</c:v>
                </c:pt>
                <c:pt idx="59">
                  <c:v>0.5460659045057162</c:v>
                </c:pt>
                <c:pt idx="60">
                  <c:v>0.5516962843295639</c:v>
                </c:pt>
                <c:pt idx="61">
                  <c:v>0.5281933256616801</c:v>
                </c:pt>
                <c:pt idx="62">
                  <c:v>0.5386221294363257</c:v>
                </c:pt>
                <c:pt idx="63">
                  <c:v>0.5757261410788381</c:v>
                </c:pt>
                <c:pt idx="64">
                  <c:v>0.5108910891089109</c:v>
                </c:pt>
                <c:pt idx="65">
                  <c:v>0.48058252427184467</c:v>
                </c:pt>
                <c:pt idx="66">
                  <c:v>0.44834307992202727</c:v>
                </c:pt>
                <c:pt idx="67">
                  <c:v>0.4311111111111111</c:v>
                </c:pt>
                <c:pt idx="68">
                  <c:v>0.4453551912568306</c:v>
                </c:pt>
                <c:pt idx="69">
                  <c:v>0.41118421052631576</c:v>
                </c:pt>
                <c:pt idx="70">
                  <c:v>0.4152823920265781</c:v>
                </c:pt>
                <c:pt idx="71">
                  <c:v>0.4583333333333333</c:v>
                </c:pt>
                <c:pt idx="72">
                  <c:v>0.42787682333873583</c:v>
                </c:pt>
                <c:pt idx="73">
                  <c:v>0.4489795918367347</c:v>
                </c:pt>
                <c:pt idx="74">
                  <c:v>0.4452773613193403</c:v>
                </c:pt>
                <c:pt idx="75">
                  <c:v>0.44153577661431065</c:v>
                </c:pt>
                <c:pt idx="76">
                  <c:v>0.4684512428298279</c:v>
                </c:pt>
                <c:pt idx="77">
                  <c:v>0.44047619047619047</c:v>
                </c:pt>
                <c:pt idx="78">
                  <c:v>0.43373493975903615</c:v>
                </c:pt>
                <c:pt idx="79">
                  <c:v>0.43010752688172044</c:v>
                </c:pt>
                <c:pt idx="80">
                  <c:v>0.4047186932849365</c:v>
                </c:pt>
                <c:pt idx="81">
                  <c:v>0.41294964028776976</c:v>
                </c:pt>
                <c:pt idx="82">
                  <c:v>0.4296875</c:v>
                </c:pt>
                <c:pt idx="83">
                  <c:v>0.4410377358490566</c:v>
                </c:pt>
                <c:pt idx="84">
                  <c:v>0.45185185185185184</c:v>
                </c:pt>
                <c:pt idx="85">
                  <c:v>0.46502835538752363</c:v>
                </c:pt>
                <c:pt idx="86">
                  <c:v>0.4251412429378531</c:v>
                </c:pt>
                <c:pt idx="87">
                  <c:v>0.405</c:v>
                </c:pt>
                <c:pt idx="88">
                  <c:v>0.4293785310734463</c:v>
                </c:pt>
                <c:pt idx="89">
                  <c:v>0.4489795918367347</c:v>
                </c:pt>
                <c:pt idx="90">
                  <c:v>0.3760504201680672</c:v>
                </c:pt>
                <c:pt idx="91">
                  <c:v>0.37298387096774194</c:v>
                </c:pt>
                <c:pt idx="92">
                  <c:v>0.41756548536209553</c:v>
                </c:pt>
                <c:pt idx="93">
                  <c:v>0.3978978978978979</c:v>
                </c:pt>
                <c:pt idx="94">
                  <c:v>0.40124740124740127</c:v>
                </c:pt>
                <c:pt idx="95">
                  <c:v>0.42924976258309594</c:v>
                </c:pt>
                <c:pt idx="96">
                  <c:v>0.45409429280397023</c:v>
                </c:pt>
                <c:pt idx="97">
                  <c:v>0.4604651162790698</c:v>
                </c:pt>
                <c:pt idx="98">
                  <c:v>0.465259907359753</c:v>
                </c:pt>
                <c:pt idx="99">
                  <c:v>0.46024590163934426</c:v>
                </c:pt>
                <c:pt idx="100">
                  <c:v>0.4581314878892734</c:v>
                </c:pt>
                <c:pt idx="101">
                  <c:v>0.46124031007751937</c:v>
                </c:pt>
                <c:pt idx="102">
                  <c:v>0.43333333333333335</c:v>
                </c:pt>
                <c:pt idx="103">
                  <c:v>0.4218009478672986</c:v>
                </c:pt>
                <c:pt idx="104">
                  <c:v>0.45532435740514077</c:v>
                </c:pt>
                <c:pt idx="105">
                  <c:v>0.4485387547649301</c:v>
                </c:pt>
                <c:pt idx="106">
                  <c:v>0.47238372093023256</c:v>
                </c:pt>
                <c:pt idx="107">
                  <c:v>0.4628099173553719</c:v>
                </c:pt>
                <c:pt idx="108">
                  <c:v>0.458259325044405</c:v>
                </c:pt>
                <c:pt idx="109">
                  <c:v>0.4368421052631579</c:v>
                </c:pt>
                <c:pt idx="110">
                  <c:v>0.427797833935018</c:v>
                </c:pt>
                <c:pt idx="111">
                  <c:v>0.4316309719934102</c:v>
                </c:pt>
                <c:pt idx="112">
                  <c:v>0.4346938775510204</c:v>
                </c:pt>
                <c:pt idx="113">
                  <c:v>0.4192</c:v>
                </c:pt>
                <c:pt idx="114">
                  <c:v>0.46883468834688347</c:v>
                </c:pt>
                <c:pt idx="115">
                  <c:v>0.46116504854368934</c:v>
                </c:pt>
                <c:pt idx="116">
                  <c:v>0.4376237623762376</c:v>
                </c:pt>
                <c:pt idx="117">
                  <c:v>0.43447037701974867</c:v>
                </c:pt>
                <c:pt idx="118">
                  <c:v>0.4720616570327553</c:v>
                </c:pt>
              </c:numCache>
            </c:numRef>
          </c:yVal>
          <c:smooth val="0"/>
          <c:extLst>
            <c:ext xmlns:c16="http://schemas.microsoft.com/office/drawing/2014/chart" uri="{C3380CC4-5D6E-409C-BE32-E72D297353CC}">
              <c16:uniqueId val="{00000000-096C-4121-9522-6AB7243CCAAE}"/>
            </c:ext>
          </c:extLst>
        </c:ser>
        <c:ser>
          <c:idx val="1"/>
          <c:order val="1"/>
          <c:tx>
            <c:strRef>
              <c:f>Sheet1!$B$12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3:$A$159</c:f>
              <c:numCache>
                <c:formatCode>General</c:formatCode>
                <c:ptCount val="37"/>
                <c:pt idx="0">
                  <c:v>0.22442527472527474</c:v>
                </c:pt>
                <c:pt idx="1">
                  <c:v>0.26678323949761806</c:v>
                </c:pt>
                <c:pt idx="2">
                  <c:v>0.3323139581389148</c:v>
                </c:pt>
                <c:pt idx="3">
                  <c:v>0.27997131037567086</c:v>
                </c:pt>
                <c:pt idx="4">
                  <c:v>0.25390294825511434</c:v>
                </c:pt>
                <c:pt idx="5">
                  <c:v>0.3981305051813471</c:v>
                </c:pt>
                <c:pt idx="6">
                  <c:v>0.2944924427022191</c:v>
                </c:pt>
                <c:pt idx="7">
                  <c:v>0.3280131212442559</c:v>
                </c:pt>
                <c:pt idx="8">
                  <c:v>0.2901159609120521</c:v>
                </c:pt>
                <c:pt idx="9">
                  <c:v>0.3215059895114546</c:v>
                </c:pt>
                <c:pt idx="10">
                  <c:v>0.2511245972738538</c:v>
                </c:pt>
                <c:pt idx="11">
                  <c:v>0.17075220719117123</c:v>
                </c:pt>
                <c:pt idx="12">
                  <c:v>0.13465601607636274</c:v>
                </c:pt>
                <c:pt idx="13">
                  <c:v>0.4135117050067659</c:v>
                </c:pt>
                <c:pt idx="14">
                  <c:v>0.2910760563380282</c:v>
                </c:pt>
                <c:pt idx="15">
                  <c:v>0.4284908592008232</c:v>
                </c:pt>
                <c:pt idx="16">
                  <c:v>0.406294650333385</c:v>
                </c:pt>
                <c:pt idx="17">
                  <c:v>0.5421752772235858</c:v>
                </c:pt>
                <c:pt idx="18">
                  <c:v>0.3151937324840764</c:v>
                </c:pt>
                <c:pt idx="19">
                  <c:v>0.28474683544303797</c:v>
                </c:pt>
                <c:pt idx="20">
                  <c:v>0.3453720992264604</c:v>
                </c:pt>
                <c:pt idx="21">
                  <c:v>0.3232501125844383</c:v>
                </c:pt>
                <c:pt idx="22">
                  <c:v>0.5250676159479252</c:v>
                </c:pt>
                <c:pt idx="23">
                  <c:v>0.30269255519023014</c:v>
                </c:pt>
                <c:pt idx="24">
                  <c:v>0.3237196585488325</c:v>
                </c:pt>
                <c:pt idx="25">
                  <c:v>0.33516678182981446</c:v>
                </c:pt>
                <c:pt idx="26">
                  <c:v>0.300940262384076</c:v>
                </c:pt>
                <c:pt idx="27">
                  <c:v>0.4538798302987449</c:v>
                </c:pt>
                <c:pt idx="28">
                  <c:v>0.5050018920422927</c:v>
                </c:pt>
                <c:pt idx="29">
                  <c:v>0.44580900686370645</c:v>
                </c:pt>
                <c:pt idx="30">
                  <c:v>0.3284875103163687</c:v>
                </c:pt>
                <c:pt idx="31">
                  <c:v>0.4292618504435995</c:v>
                </c:pt>
                <c:pt idx="32">
                  <c:v>0.3504866297349903</c:v>
                </c:pt>
                <c:pt idx="33">
                  <c:v>0.4077622608995347</c:v>
                </c:pt>
                <c:pt idx="34">
                  <c:v>0.2912813584168092</c:v>
                </c:pt>
                <c:pt idx="35">
                  <c:v>0.3743646878775675</c:v>
                </c:pt>
                <c:pt idx="36">
                  <c:v>0.41644269948603096</c:v>
                </c:pt>
              </c:numCache>
            </c:numRef>
          </c:xVal>
          <c:yVal>
            <c:numRef>
              <c:f>Sheet1!$B$123:$B$159</c:f>
              <c:numCache>
                <c:formatCode>General</c:formatCode>
                <c:ptCount val="37"/>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4805194805194803</c:v>
                </c:pt>
                <c:pt idx="14">
                  <c:v>0.46394984326018807</c:v>
                </c:pt>
                <c:pt idx="15">
                  <c:v>0.4486486486486487</c:v>
                </c:pt>
                <c:pt idx="16">
                  <c:v>0.468013468013468</c:v>
                </c:pt>
                <c:pt idx="17">
                  <c:v>0.46938775510204084</c:v>
                </c:pt>
                <c:pt idx="18">
                  <c:v>0.46830265848670755</c:v>
                </c:pt>
                <c:pt idx="19">
                  <c:v>0.4375</c:v>
                </c:pt>
                <c:pt idx="20">
                  <c:v>0.4411764705882353</c:v>
                </c:pt>
                <c:pt idx="21">
                  <c:v>0.4359464627151052</c:v>
                </c:pt>
                <c:pt idx="22">
                  <c:v>0.43612334801762115</c:v>
                </c:pt>
                <c:pt idx="23">
                  <c:v>0.42447418738049714</c:v>
                </c:pt>
                <c:pt idx="24">
                  <c:v>0.4477401129943503</c:v>
                </c:pt>
                <c:pt idx="25">
                  <c:v>0.4734982332155477</c:v>
                </c:pt>
                <c:pt idx="26">
                  <c:v>0.4539170506912442</c:v>
                </c:pt>
                <c:pt idx="27">
                  <c:v>0.43410852713178294</c:v>
                </c:pt>
                <c:pt idx="28">
                  <c:v>0.44592592592592595</c:v>
                </c:pt>
                <c:pt idx="29">
                  <c:v>0.4624664879356568</c:v>
                </c:pt>
                <c:pt idx="30">
                  <c:v>0.48867924528301887</c:v>
                </c:pt>
                <c:pt idx="31">
                  <c:v>0.48361469712015887</c:v>
                </c:pt>
                <c:pt idx="32">
                  <c:v>0.49550359712230213</c:v>
                </c:pt>
                <c:pt idx="33">
                  <c:v>0.44813278008298757</c:v>
                </c:pt>
                <c:pt idx="34">
                  <c:v>0.4652974504249292</c:v>
                </c:pt>
                <c:pt idx="35">
                  <c:v>0.4698972099853157</c:v>
                </c:pt>
                <c:pt idx="36">
                  <c:v>0.4736842105263157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72.25894721774588</c:v>
                </c:pt>
              </c:numCache>
            </c:numRef>
          </c:xVal>
          <c:yVal>
            <c:numRef>
              <c:f>Sheet1!$B$162:$B$163</c:f>
              <c:numCache>
                <c:formatCode>General</c:formatCode>
                <c:ptCount val="2"/>
                <c:pt idx="0">
                  <c:v>0.6456233005267211</c:v>
                </c:pt>
                <c:pt idx="1">
                  <c:v>0.6456233005267211</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72.25894721774588</c:v>
                </c:pt>
                <c:pt idx="1">
                  <c:v>-172.25894721774588</c:v>
                </c:pt>
              </c:numCache>
            </c:numRef>
          </c:xVal>
          <c:yVal>
            <c:numRef>
              <c:f>Sheet1!$B$166:$B$167</c:f>
              <c:numCache>
                <c:formatCode>General</c:formatCode>
                <c:ptCount val="2"/>
                <c:pt idx="0">
                  <c:v>0.645623300526721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9.041965610511633</c:v>
                </c:pt>
              </c:numCache>
            </c:numRef>
          </c:xVal>
          <c:yVal>
            <c:numRef>
              <c:f>Sheet1!$B$170:$B$171</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9.041965610511633</c:v>
                </c:pt>
                <c:pt idx="1">
                  <c:v>-9.041965610511633</c:v>
                </c:pt>
              </c:numCache>
            </c:numRef>
          </c:xVal>
          <c:yVal>
            <c:numRef>
              <c:f>Sheet1!$B$174:$B$175</c:f>
              <c:numCache>
                <c:formatCode>General</c:formatCode>
                <c:ptCount val="2"/>
                <c:pt idx="0">
                  <c:v>0.464252912754887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7.3929198950262505</c:v>
                </c:pt>
              </c:numCache>
            </c:numRef>
          </c:xVal>
          <c:yVal>
            <c:numRef>
              <c:f>Sheet1!$B$178:$B$179</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7.3929198950262505</c:v>
                </c:pt>
                <c:pt idx="1">
                  <c:v>-7.3929198950262505</c:v>
                </c:pt>
              </c:numCache>
            </c:numRef>
          </c:xVal>
          <c:yVal>
            <c:numRef>
              <c:f>Sheet1!$B$182:$B$183</c:f>
              <c:numCache>
                <c:formatCode>General</c:formatCode>
                <c:ptCount val="2"/>
                <c:pt idx="0">
                  <c:v>0.4624204559974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25</c:f>
              <c:numCache>
                <c:formatCode>General</c:formatCode>
                <c:ptCount val="40"/>
                <c:pt idx="0">
                  <c:v>0.22442527472527474</c:v>
                </c:pt>
                <c:pt idx="1">
                  <c:v>0.26678323949761806</c:v>
                </c:pt>
                <c:pt idx="2">
                  <c:v>0.3323139581389148</c:v>
                </c:pt>
                <c:pt idx="3">
                  <c:v>0.27997131037567086</c:v>
                </c:pt>
                <c:pt idx="4">
                  <c:v>0.25390294825511434</c:v>
                </c:pt>
                <c:pt idx="5">
                  <c:v>0.3981305051813471</c:v>
                </c:pt>
                <c:pt idx="6">
                  <c:v>0.2944924427022191</c:v>
                </c:pt>
                <c:pt idx="7">
                  <c:v>0.3280131212442559</c:v>
                </c:pt>
                <c:pt idx="8">
                  <c:v>0.2901159609120521</c:v>
                </c:pt>
                <c:pt idx="9">
                  <c:v>0.3215059895114546</c:v>
                </c:pt>
                <c:pt idx="10">
                  <c:v>0.2511245972738538</c:v>
                </c:pt>
                <c:pt idx="11">
                  <c:v>0.17075220719117123</c:v>
                </c:pt>
                <c:pt idx="12">
                  <c:v>0.13465601607636274</c:v>
                </c:pt>
                <c:pt idx="13">
                  <c:v>0.4135117050067659</c:v>
                </c:pt>
                <c:pt idx="14">
                  <c:v>0.2910760563380282</c:v>
                </c:pt>
                <c:pt idx="15">
                  <c:v>0.4284908592008232</c:v>
                </c:pt>
                <c:pt idx="16">
                  <c:v>0.406294650333385</c:v>
                </c:pt>
                <c:pt idx="17">
                  <c:v>0.5421752772235858</c:v>
                </c:pt>
                <c:pt idx="18">
                  <c:v>0.3151937324840764</c:v>
                </c:pt>
                <c:pt idx="19">
                  <c:v>0.28474683544303797</c:v>
                </c:pt>
                <c:pt idx="20">
                  <c:v>0.3453720992264604</c:v>
                </c:pt>
                <c:pt idx="21">
                  <c:v>0.3232501125844383</c:v>
                </c:pt>
                <c:pt idx="22">
                  <c:v>0.5250676159479252</c:v>
                </c:pt>
                <c:pt idx="23">
                  <c:v>0.30269255519023014</c:v>
                </c:pt>
                <c:pt idx="24">
                  <c:v>0.3237196585488325</c:v>
                </c:pt>
                <c:pt idx="25">
                  <c:v>0.33516678182981446</c:v>
                </c:pt>
                <c:pt idx="26">
                  <c:v>0.300940262384076</c:v>
                </c:pt>
                <c:pt idx="27">
                  <c:v>0.4538798302987449</c:v>
                </c:pt>
                <c:pt idx="28">
                  <c:v>0.5050018920422927</c:v>
                </c:pt>
                <c:pt idx="29">
                  <c:v>0.44580900686370645</c:v>
                </c:pt>
                <c:pt idx="30">
                  <c:v>0.3284875103163687</c:v>
                </c:pt>
                <c:pt idx="31">
                  <c:v>0.4292618504435995</c:v>
                </c:pt>
                <c:pt idx="32">
                  <c:v>0.3504866297349903</c:v>
                </c:pt>
                <c:pt idx="33">
                  <c:v>0.4077622608995347</c:v>
                </c:pt>
                <c:pt idx="34">
                  <c:v>0.2912813584168092</c:v>
                </c:pt>
                <c:pt idx="35">
                  <c:v>0.3743646878775675</c:v>
                </c:pt>
                <c:pt idx="36">
                  <c:v>0.41644269948603096</c:v>
                </c:pt>
                <c:pt idx="37">
                  <c:v>-9.041965610511633</c:v>
                </c:pt>
                <c:pt idx="38">
                  <c:v>-172.25894721774588</c:v>
                </c:pt>
                <c:pt idx="39">
                  <c:v>-7.3929198950262505</c:v>
                </c:pt>
              </c:numCache>
            </c:numRef>
          </c:xVal>
          <c:yVal>
            <c:numRef>
              <c:f>Sheet1!$B$186:$B$225</c:f>
              <c:numCache>
                <c:formatCode>General</c:formatCode>
                <c:ptCount val="40"/>
                <c:pt idx="0">
                  <c:v>0.45395589040126255</c:v>
                </c:pt>
                <c:pt idx="1">
                  <c:v>0.45390882127634474</c:v>
                </c:pt>
                <c:pt idx="2">
                  <c:v>0.4538360020651701</c:v>
                </c:pt>
                <c:pt idx="3">
                  <c:v>0.4538941663948149</c:v>
                </c:pt>
                <c:pt idx="4">
                  <c:v>0.4539231341462083</c:v>
                </c:pt>
                <c:pt idx="5">
                  <c:v>0.4537628652350355</c:v>
                </c:pt>
                <c:pt idx="6">
                  <c:v>0.4538780301853652</c:v>
                </c:pt>
                <c:pt idx="7">
                  <c:v>0.4538407812520393</c:v>
                </c:pt>
                <c:pt idx="8">
                  <c:v>0.45388289343054683</c:v>
                </c:pt>
                <c:pt idx="9">
                  <c:v>0.45384801212344766</c:v>
                </c:pt>
                <c:pt idx="10">
                  <c:v>0.45392622151242396</c:v>
                </c:pt>
                <c:pt idx="11">
                  <c:v>0.45401553312333537</c:v>
                </c:pt>
                <c:pt idx="12">
                  <c:v>0.45405564402426685</c:v>
                </c:pt>
                <c:pt idx="13">
                  <c:v>0.453745773299201</c:v>
                </c:pt>
                <c:pt idx="14">
                  <c:v>0.45388182655087544</c:v>
                </c:pt>
                <c:pt idx="15">
                  <c:v>0.4537291281255315</c:v>
                </c:pt>
                <c:pt idx="16">
                  <c:v>0.4537537930529778</c:v>
                </c:pt>
                <c:pt idx="17">
                  <c:v>0.4536027994385446</c:v>
                </c:pt>
                <c:pt idx="18">
                  <c:v>0.4538550264456922</c:v>
                </c:pt>
                <c:pt idx="19">
                  <c:v>0.45388885972375187</c:v>
                </c:pt>
                <c:pt idx="20">
                  <c:v>0.4538214915645512</c:v>
                </c:pt>
                <c:pt idx="21">
                  <c:v>0.4538460740145882</c:v>
                </c:pt>
                <c:pt idx="22">
                  <c:v>0.45362180985724543</c:v>
                </c:pt>
                <c:pt idx="23">
                  <c:v>0.4538689180355933</c:v>
                </c:pt>
                <c:pt idx="24">
                  <c:v>0.45384555224453216</c:v>
                </c:pt>
                <c:pt idx="25">
                  <c:v>0.4538328319432014</c:v>
                </c:pt>
                <c:pt idx="26">
                  <c:v>0.45387086522284437</c:v>
                </c:pt>
                <c:pt idx="27">
                  <c:v>0.45370091532875134</c:v>
                </c:pt>
                <c:pt idx="28">
                  <c:v>0.45364410734179544</c:v>
                </c:pt>
                <c:pt idx="29">
                  <c:v>0.45370988380961425</c:v>
                </c:pt>
                <c:pt idx="30">
                  <c:v>0.45384025410021284</c:v>
                </c:pt>
                <c:pt idx="31">
                  <c:v>0.45372827138268956</c:v>
                </c:pt>
                <c:pt idx="32">
                  <c:v>0.4538158081830031</c:v>
                </c:pt>
                <c:pt idx="33">
                  <c:v>0.4537521622110467</c:v>
                </c:pt>
                <c:pt idx="34">
                  <c:v>0.45388159841457937</c:v>
                </c:pt>
                <c:pt idx="35">
                  <c:v>0.4537892743467447</c:v>
                </c:pt>
                <c:pt idx="36">
                  <c:v>0.45374251631209084</c:v>
                </c:pt>
                <c:pt idx="37">
                  <c:v>0.46425291275488706</c:v>
                </c:pt>
                <c:pt idx="38">
                  <c:v>0.6456233005267211</c:v>
                </c:pt>
                <c:pt idx="39">
                  <c:v>0.462420455997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779.1701</c:v>
                </c:pt>
                <c:pt idx="1">
                  <c:v>880.1048</c:v>
                </c:pt>
                <c:pt idx="2">
                  <c:v>935.5491</c:v>
                </c:pt>
                <c:pt idx="3">
                  <c:v>955.6372</c:v>
                </c:pt>
                <c:pt idx="4">
                  <c:v>953.8271</c:v>
                </c:pt>
                <c:pt idx="5">
                  <c:v>938.0716</c:v>
                </c:pt>
                <c:pt idx="6">
                  <c:v>899.6348</c:v>
                </c:pt>
                <c:pt idx="7">
                  <c:v>913.183</c:v>
                </c:pt>
                <c:pt idx="8">
                  <c:v>933.0575</c:v>
                </c:pt>
                <c:pt idx="9">
                  <c:v>846.4018</c:v>
                </c:pt>
                <c:pt idx="10">
                  <c:v>842.3253</c:v>
                </c:pt>
                <c:pt idx="11">
                  <c:v>935.8477</c:v>
                </c:pt>
                <c:pt idx="12">
                  <c:v>949.5911</c:v>
                </c:pt>
                <c:pt idx="13">
                  <c:v>932.3301</c:v>
                </c:pt>
                <c:pt idx="14">
                  <c:v>904.4826</c:v>
                </c:pt>
                <c:pt idx="15">
                  <c:v>891.7035</c:v>
                </c:pt>
                <c:pt idx="16">
                  <c:v>941.6934</c:v>
                </c:pt>
                <c:pt idx="17">
                  <c:v>986.9918</c:v>
                </c:pt>
                <c:pt idx="18">
                  <c:v>966.9252</c:v>
                </c:pt>
                <c:pt idx="19">
                  <c:v>1053.5146</c:v>
                </c:pt>
                <c:pt idx="20">
                  <c:v>1099.2437</c:v>
                </c:pt>
                <c:pt idx="21">
                  <c:v>1062.56</c:v>
                </c:pt>
                <c:pt idx="22">
                  <c:v>1033.9151</c:v>
                </c:pt>
                <c:pt idx="23">
                  <c:v>1051.4498</c:v>
                </c:pt>
                <c:pt idx="24">
                  <c:v>1037.5833</c:v>
                </c:pt>
                <c:pt idx="25">
                  <c:v>993.1313</c:v>
                </c:pt>
                <c:pt idx="26">
                  <c:v>992.7107</c:v>
                </c:pt>
                <c:pt idx="27">
                  <c:v>1022.3876</c:v>
                </c:pt>
                <c:pt idx="28">
                  <c:v>1028.4167</c:v>
                </c:pt>
                <c:pt idx="29">
                  <c:v>999.6317</c:v>
                </c:pt>
                <c:pt idx="30">
                  <c:v>984.9054</c:v>
                </c:pt>
                <c:pt idx="31">
                  <c:v>985.1191</c:v>
                </c:pt>
                <c:pt idx="32">
                  <c:v>962.2673</c:v>
                </c:pt>
                <c:pt idx="33">
                  <c:v>927.4063</c:v>
                </c:pt>
                <c:pt idx="34">
                  <c:v>932.3341</c:v>
                </c:pt>
                <c:pt idx="35">
                  <c:v>965.523</c:v>
                </c:pt>
                <c:pt idx="36">
                  <c:v>1090.6273</c:v>
                </c:pt>
                <c:pt idx="37">
                  <c:v>1100.8092</c:v>
                </c:pt>
                <c:pt idx="38">
                  <c:v>1164.302</c:v>
                </c:pt>
                <c:pt idx="39">
                  <c:v>1176.3373</c:v>
                </c:pt>
                <c:pt idx="40">
                  <c:v>1140.0997</c:v>
                </c:pt>
                <c:pt idx="41">
                  <c:v>1177.3322</c:v>
                </c:pt>
                <c:pt idx="42">
                  <c:v>1219.6957</c:v>
                </c:pt>
                <c:pt idx="43">
                  <c:v>1201.3729</c:v>
                </c:pt>
                <c:pt idx="44">
                  <c:v>1132.2935</c:v>
                </c:pt>
                <c:pt idx="45">
                  <c:v>1086.765</c:v>
                </c:pt>
                <c:pt idx="46">
                  <c:v>1103.8231</c:v>
                </c:pt>
                <c:pt idx="47">
                  <c:v>1093.4238</c:v>
                </c:pt>
                <c:pt idx="48">
                  <c:v>1088.3032</c:v>
                </c:pt>
                <c:pt idx="49">
                  <c:v>1042.7528</c:v>
                </c:pt>
                <c:pt idx="50">
                  <c:v>1041.4076</c:v>
                </c:pt>
                <c:pt idx="51">
                  <c:v>1048.9816</c:v>
                </c:pt>
                <c:pt idx="52">
                  <c:v>1042.6717</c:v>
                </c:pt>
                <c:pt idx="53">
                  <c:v>1133.5901</c:v>
                </c:pt>
                <c:pt idx="54">
                  <c:v>1125.7159</c:v>
                </c:pt>
                <c:pt idx="55">
                  <c:v>1160.0939</c:v>
                </c:pt>
                <c:pt idx="56">
                  <c:v>1181.1616</c:v>
                </c:pt>
                <c:pt idx="57">
                  <c:v>1130.9089</c:v>
                </c:pt>
                <c:pt idx="58">
                  <c:v>1112.4021</c:v>
                </c:pt>
                <c:pt idx="59">
                  <c:v>1086.6145</c:v>
                </c:pt>
                <c:pt idx="60">
                  <c:v>1113.0556</c:v>
                </c:pt>
                <c:pt idx="61">
                  <c:v>1156.0305</c:v>
                </c:pt>
                <c:pt idx="62">
                  <c:v>1081.0504</c:v>
                </c:pt>
                <c:pt idx="63">
                  <c:v>1119.973</c:v>
                </c:pt>
                <c:pt idx="64">
                  <c:v>1162.1899</c:v>
                </c:pt>
                <c:pt idx="65">
                  <c:v>1141.0</c:v>
                </c:pt>
                <c:pt idx="66">
                  <c:v>1159.9783</c:v>
                </c:pt>
                <c:pt idx="67">
                  <c:v>1186.1237</c:v>
                </c:pt>
                <c:pt idx="68">
                  <c:v>1234.0798</c:v>
                </c:pt>
                <c:pt idx="69">
                  <c:v>1259.644</c:v>
                </c:pt>
                <c:pt idx="70">
                  <c:v>1283.36</c:v>
                </c:pt>
                <c:pt idx="71">
                  <c:v>1309.3715</c:v>
                </c:pt>
                <c:pt idx="72">
                  <c:v>1350.6402</c:v>
                </c:pt>
                <c:pt idx="73">
                  <c:v>1349.0455</c:v>
                </c:pt>
                <c:pt idx="74">
                  <c:v>1316.1886</c:v>
                </c:pt>
                <c:pt idx="75">
                  <c:v>1273.1423</c:v>
                </c:pt>
                <c:pt idx="76">
                  <c:v>1261.4082</c:v>
                </c:pt>
                <c:pt idx="77">
                  <c:v>1300.1892</c:v>
                </c:pt>
                <c:pt idx="78">
                  <c:v>1319.4491</c:v>
                </c:pt>
                <c:pt idx="79">
                  <c:v>1325.6958</c:v>
                </c:pt>
                <c:pt idx="80">
                  <c:v>1262.6323</c:v>
                </c:pt>
                <c:pt idx="81">
                  <c:v>1278.4077</c:v>
                </c:pt>
                <c:pt idx="82">
                  <c:v>1269.1909</c:v>
                </c:pt>
                <c:pt idx="83">
                  <c:v>1237.9251</c:v>
                </c:pt>
                <c:pt idx="84">
                  <c:v>1220.8033</c:v>
                </c:pt>
                <c:pt idx="85">
                  <c:v>1177.0</c:v>
                </c:pt>
                <c:pt idx="86">
                  <c:v>1205.6445</c:v>
                </c:pt>
                <c:pt idx="87">
                  <c:v>1236.8364</c:v>
                </c:pt>
                <c:pt idx="88">
                  <c:v>1283.5482</c:v>
                </c:pt>
                <c:pt idx="89">
                  <c:v>1275.9242</c:v>
                </c:pt>
                <c:pt idx="90">
                  <c:v>1363.0838</c:v>
                </c:pt>
                <c:pt idx="91">
                  <c:v>1376.5297</c:v>
                </c:pt>
                <c:pt idx="92">
                  <c:v>1299.2731</c:v>
                </c:pt>
                <c:pt idx="93">
                  <c:v>1328.5396</c:v>
                </c:pt>
                <c:pt idx="94">
                  <c:v>1346.7513</c:v>
                </c:pt>
                <c:pt idx="95">
                  <c:v>1205.5664</c:v>
                </c:pt>
                <c:pt idx="96">
                  <c:v>1188.286</c:v>
                </c:pt>
                <c:pt idx="97">
                  <c:v>1171.8167</c:v>
                </c:pt>
                <c:pt idx="98">
                  <c:v>1101.2533</c:v>
                </c:pt>
                <c:pt idx="99">
                  <c:v>1119.1318</c:v>
                </c:pt>
                <c:pt idx="100">
                  <c:v>1114.1692</c:v>
                </c:pt>
                <c:pt idx="101">
                  <c:v>1114.2815</c:v>
                </c:pt>
                <c:pt idx="102">
                  <c:v>1107.7216</c:v>
                </c:pt>
                <c:pt idx="103">
                  <c:v>1178.2584</c:v>
                </c:pt>
              </c:numCache>
            </c:numRef>
          </c:xVal>
          <c:yVal>
            <c:numRef>
              <c:f>Sheet1!$B$2:$B$105</c:f>
              <c:numCache>
                <c:formatCode>General</c:formatCode>
                <c:ptCount val="104"/>
                <c:pt idx="0">
                  <c:v>0.6040100250626567</c:v>
                </c:pt>
                <c:pt idx="1">
                  <c:v>0.6455424274973147</c:v>
                </c:pt>
                <c:pt idx="2">
                  <c:v>0.6700111482720178</c:v>
                </c:pt>
                <c:pt idx="3">
                  <c:v>0.7048346055979644</c:v>
                </c:pt>
                <c:pt idx="4">
                  <c:v>0.672566371681416</c:v>
                </c:pt>
                <c:pt idx="5">
                  <c:v>0.6147443519619501</c:v>
                </c:pt>
                <c:pt idx="6">
                  <c:v>0.6166281755196305</c:v>
                </c:pt>
                <c:pt idx="7">
                  <c:v>0.6553133514986376</c:v>
                </c:pt>
                <c:pt idx="8">
                  <c:v>0.6269592476489029</c:v>
                </c:pt>
                <c:pt idx="9">
                  <c:v>0.6135629709364908</c:v>
                </c:pt>
                <c:pt idx="10">
                  <c:v>0.5854189336235038</c:v>
                </c:pt>
                <c:pt idx="11">
                  <c:v>0.5184713375796178</c:v>
                </c:pt>
                <c:pt idx="12">
                  <c:v>0.49271844660194175</c:v>
                </c:pt>
                <c:pt idx="13">
                  <c:v>0.473928157589803</c:v>
                </c:pt>
                <c:pt idx="14">
                  <c:v>0.45785876993166286</c:v>
                </c:pt>
                <c:pt idx="15">
                  <c:v>0.47381864623243936</c:v>
                </c:pt>
                <c:pt idx="16">
                  <c:v>0.4368340943683409</c:v>
                </c:pt>
                <c:pt idx="17">
                  <c:v>0.40871021775544386</c:v>
                </c:pt>
                <c:pt idx="18">
                  <c:v>0.4240400667779633</c:v>
                </c:pt>
                <c:pt idx="19">
                  <c:v>0.40471512770137524</c:v>
                </c:pt>
                <c:pt idx="20">
                  <c:v>0.38449111470113084</c:v>
                </c:pt>
                <c:pt idx="21">
                  <c:v>0.4934210526315789</c:v>
                </c:pt>
                <c:pt idx="22">
                  <c:v>0.5834862385321101</c:v>
                </c:pt>
                <c:pt idx="23">
                  <c:v>0.5908221797323135</c:v>
                </c:pt>
                <c:pt idx="24">
                  <c:v>0.5806451612903226</c:v>
                </c:pt>
                <c:pt idx="25">
                  <c:v>0.599250936329588</c:v>
                </c:pt>
                <c:pt idx="26">
                  <c:v>0.5836012861736335</c:v>
                </c:pt>
                <c:pt idx="27">
                  <c:v>0.5502318392581144</c:v>
                </c:pt>
                <c:pt idx="28">
                  <c:v>0.5253940455341506</c:v>
                </c:pt>
                <c:pt idx="29">
                  <c:v>0.5511111111111111</c:v>
                </c:pt>
                <c:pt idx="30">
                  <c:v>0.5659655831739961</c:v>
                </c:pt>
                <c:pt idx="31">
                  <c:v>0.5397631133671743</c:v>
                </c:pt>
                <c:pt idx="32">
                  <c:v>0.5899814471243042</c:v>
                </c:pt>
                <c:pt idx="33">
                  <c:v>0.5977917981072555</c:v>
                </c:pt>
                <c:pt idx="34">
                  <c:v>0.5886889460154242</c:v>
                </c:pt>
                <c:pt idx="35">
                  <c:v>0.5731414868105515</c:v>
                </c:pt>
                <c:pt idx="36">
                  <c:v>0.5252854812398042</c:v>
                </c:pt>
                <c:pt idx="37">
                  <c:v>0.539047619047619</c:v>
                </c:pt>
                <c:pt idx="38">
                  <c:v>0.5019685039370079</c:v>
                </c:pt>
                <c:pt idx="39">
                  <c:v>0.5039525691699605</c:v>
                </c:pt>
                <c:pt idx="40">
                  <c:v>0.5074404761904762</c:v>
                </c:pt>
                <c:pt idx="41">
                  <c:v>0.4975206611570248</c:v>
                </c:pt>
                <c:pt idx="42">
                  <c:v>0.46865203761755486</c:v>
                </c:pt>
                <c:pt idx="43">
                  <c:v>0.4903047091412742</c:v>
                </c:pt>
                <c:pt idx="44">
                  <c:v>0.4678030303030303</c:v>
                </c:pt>
                <c:pt idx="45">
                  <c:v>0.48764044943820223</c:v>
                </c:pt>
                <c:pt idx="46">
                  <c:v>0.49106002554278416</c:v>
                </c:pt>
                <c:pt idx="47">
                  <c:v>0.4773030707610147</c:v>
                </c:pt>
                <c:pt idx="48">
                  <c:v>0.49363057324840764</c:v>
                </c:pt>
                <c:pt idx="49">
                  <c:v>0.5235294117647059</c:v>
                </c:pt>
                <c:pt idx="50">
                  <c:v>0.48148148148148145</c:v>
                </c:pt>
                <c:pt idx="51">
                  <c:v>0.463768115942029</c:v>
                </c:pt>
                <c:pt idx="52">
                  <c:v>0.4958553127354936</c:v>
                </c:pt>
                <c:pt idx="53">
                  <c:v>0.4791666666666667</c:v>
                </c:pt>
                <c:pt idx="54">
                  <c:v>0.5129434324065196</c:v>
                </c:pt>
                <c:pt idx="55">
                  <c:v>0.5031512605042017</c:v>
                </c:pt>
                <c:pt idx="56">
                  <c:v>0.488558352402746</c:v>
                </c:pt>
                <c:pt idx="57">
                  <c:v>0.49670122525918947</c:v>
                </c:pt>
                <c:pt idx="58">
                  <c:v>0.4899738448125545</c:v>
                </c:pt>
                <c:pt idx="59">
                  <c:v>0.5460659045057162</c:v>
                </c:pt>
                <c:pt idx="60">
                  <c:v>0.5516962843295639</c:v>
                </c:pt>
                <c:pt idx="61">
                  <c:v>0.5281933256616801</c:v>
                </c:pt>
                <c:pt idx="62">
                  <c:v>0.5386221294363257</c:v>
                </c:pt>
                <c:pt idx="63">
                  <c:v>0.5757261410788381</c:v>
                </c:pt>
                <c:pt idx="64">
                  <c:v>0.5108910891089109</c:v>
                </c:pt>
                <c:pt idx="65">
                  <c:v>0.48058252427184467</c:v>
                </c:pt>
                <c:pt idx="66">
                  <c:v>0.44834307992202727</c:v>
                </c:pt>
                <c:pt idx="67">
                  <c:v>0.4311111111111111</c:v>
                </c:pt>
                <c:pt idx="68">
                  <c:v>0.4453551912568306</c:v>
                </c:pt>
                <c:pt idx="69">
                  <c:v>0.41118421052631576</c:v>
                </c:pt>
                <c:pt idx="70">
                  <c:v>0.4152823920265781</c:v>
                </c:pt>
                <c:pt idx="71">
                  <c:v>0.4583333333333333</c:v>
                </c:pt>
                <c:pt idx="72">
                  <c:v>0.42787682333873583</c:v>
                </c:pt>
                <c:pt idx="73">
                  <c:v>0.4489795918367347</c:v>
                </c:pt>
                <c:pt idx="74">
                  <c:v>0.4452773613193403</c:v>
                </c:pt>
                <c:pt idx="75">
                  <c:v>0.44153577661431065</c:v>
                </c:pt>
                <c:pt idx="76">
                  <c:v>0.4684512428298279</c:v>
                </c:pt>
                <c:pt idx="77">
                  <c:v>0.44047619047619047</c:v>
                </c:pt>
                <c:pt idx="78">
                  <c:v>0.43373493975903615</c:v>
                </c:pt>
                <c:pt idx="79">
                  <c:v>0.43010752688172044</c:v>
                </c:pt>
                <c:pt idx="80">
                  <c:v>0.4047186932849365</c:v>
                </c:pt>
                <c:pt idx="81">
                  <c:v>0.41294964028776976</c:v>
                </c:pt>
                <c:pt idx="82">
                  <c:v>0.4296875</c:v>
                </c:pt>
                <c:pt idx="83">
                  <c:v>0.4410377358490566</c:v>
                </c:pt>
                <c:pt idx="84">
                  <c:v>0.45185185185185184</c:v>
                </c:pt>
                <c:pt idx="85">
                  <c:v>0.46502835538752363</c:v>
                </c:pt>
                <c:pt idx="86">
                  <c:v>0.4251412429378531</c:v>
                </c:pt>
                <c:pt idx="87">
                  <c:v>0.405</c:v>
                </c:pt>
                <c:pt idx="88">
                  <c:v>0.4293785310734463</c:v>
                </c:pt>
                <c:pt idx="89">
                  <c:v>0.4489795918367347</c:v>
                </c:pt>
                <c:pt idx="90">
                  <c:v>0.3760504201680672</c:v>
                </c:pt>
                <c:pt idx="91">
                  <c:v>0.37298387096774194</c:v>
                </c:pt>
                <c:pt idx="92">
                  <c:v>0.41756548536209553</c:v>
                </c:pt>
                <c:pt idx="93">
                  <c:v>0.3978978978978979</c:v>
                </c:pt>
                <c:pt idx="94">
                  <c:v>0.40124740124740127</c:v>
                </c:pt>
                <c:pt idx="95">
                  <c:v>0.42924976258309594</c:v>
                </c:pt>
                <c:pt idx="96">
                  <c:v>0.45409429280397023</c:v>
                </c:pt>
                <c:pt idx="97">
                  <c:v>0.4604651162790698</c:v>
                </c:pt>
                <c:pt idx="98">
                  <c:v>0.465259907359753</c:v>
                </c:pt>
                <c:pt idx="99">
                  <c:v>0.46024590163934426</c:v>
                </c:pt>
                <c:pt idx="100">
                  <c:v>0.4581314878892734</c:v>
                </c:pt>
                <c:pt idx="101">
                  <c:v>0.46124031007751937</c:v>
                </c:pt>
                <c:pt idx="102">
                  <c:v>0.43333333333333335</c:v>
                </c:pt>
                <c:pt idx="103">
                  <c:v>0.421800947867298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numCache>
            </c:numRef>
          </c:xVal>
          <c:yVal>
            <c:numRef>
              <c:f>Sheet1!$B$108:$B$159</c:f>
              <c:numCache>
                <c:formatCode>General</c:formatCode>
                <c:ptCount val="52"/>
                <c:pt idx="0">
                  <c:v>0.42060491493383745</c:v>
                </c:pt>
                <c:pt idx="1">
                  <c:v>0.4184839044652129</c:v>
                </c:pt>
                <c:pt idx="2">
                  <c:v>0.43811219946571683</c:v>
                </c:pt>
                <c:pt idx="3">
                  <c:v>0.4675324675324675</c:v>
                </c:pt>
                <c:pt idx="4">
                  <c:v>0.41359223300970877</c:v>
                </c:pt>
                <c:pt idx="5">
                  <c:v>0.425</c:v>
                </c:pt>
                <c:pt idx="6">
                  <c:v>0.4768480909829407</c:v>
                </c:pt>
                <c:pt idx="7">
                  <c:v>0.4337221633085896</c:v>
                </c:pt>
                <c:pt idx="8">
                  <c:v>0.44011976047904194</c:v>
                </c:pt>
                <c:pt idx="9">
                  <c:v>0.4659949622166247</c:v>
                </c:pt>
                <c:pt idx="10">
                  <c:v>0.4375</c:v>
                </c:pt>
                <c:pt idx="11">
                  <c:v>0.4915514592933948</c:v>
                </c:pt>
                <c:pt idx="12">
                  <c:v>0.4783950617283951</c:v>
                </c:pt>
                <c:pt idx="13">
                  <c:v>0.45532435740514077</c:v>
                </c:pt>
                <c:pt idx="14">
                  <c:v>0.4485387547649301</c:v>
                </c:pt>
                <c:pt idx="15">
                  <c:v>0.47238372093023256</c:v>
                </c:pt>
                <c:pt idx="16">
                  <c:v>0.44805194805194803</c:v>
                </c:pt>
                <c:pt idx="17">
                  <c:v>0.46394984326018807</c:v>
                </c:pt>
                <c:pt idx="18">
                  <c:v>0.4486486486486487</c:v>
                </c:pt>
                <c:pt idx="19">
                  <c:v>0.468013468013468</c:v>
                </c:pt>
                <c:pt idx="20">
                  <c:v>0.46938775510204084</c:v>
                </c:pt>
                <c:pt idx="21">
                  <c:v>0.46830265848670755</c:v>
                </c:pt>
                <c:pt idx="22">
                  <c:v>0.4375</c:v>
                </c:pt>
                <c:pt idx="23">
                  <c:v>0.4628099173553719</c:v>
                </c:pt>
                <c:pt idx="24">
                  <c:v>0.458259325044405</c:v>
                </c:pt>
                <c:pt idx="25">
                  <c:v>0.4368421052631579</c:v>
                </c:pt>
                <c:pt idx="26">
                  <c:v>0.427797833935018</c:v>
                </c:pt>
                <c:pt idx="27">
                  <c:v>0.4316309719934102</c:v>
                </c:pt>
                <c:pt idx="28">
                  <c:v>0.4411764705882353</c:v>
                </c:pt>
                <c:pt idx="29">
                  <c:v>0.4359464627151052</c:v>
                </c:pt>
                <c:pt idx="30">
                  <c:v>0.4346938775510204</c:v>
                </c:pt>
                <c:pt idx="31">
                  <c:v>0.43612334801762115</c:v>
                </c:pt>
                <c:pt idx="32">
                  <c:v>0.42447418738049714</c:v>
                </c:pt>
                <c:pt idx="33">
                  <c:v>0.4477401129943503</c:v>
                </c:pt>
                <c:pt idx="34">
                  <c:v>0.4734982332155477</c:v>
                </c:pt>
                <c:pt idx="35">
                  <c:v>0.4192</c:v>
                </c:pt>
                <c:pt idx="36">
                  <c:v>0.46883468834688347</c:v>
                </c:pt>
                <c:pt idx="37">
                  <c:v>0.4539170506912442</c:v>
                </c:pt>
                <c:pt idx="38">
                  <c:v>0.46116504854368934</c:v>
                </c:pt>
                <c:pt idx="39">
                  <c:v>0.43410852713178294</c:v>
                </c:pt>
                <c:pt idx="40">
                  <c:v>0.4376237623762376</c:v>
                </c:pt>
                <c:pt idx="41">
                  <c:v>0.43447037701974867</c:v>
                </c:pt>
                <c:pt idx="42">
                  <c:v>0.4720616570327553</c:v>
                </c:pt>
                <c:pt idx="43">
                  <c:v>0.44592592592592595</c:v>
                </c:pt>
                <c:pt idx="44">
                  <c:v>0.4624664879356568</c:v>
                </c:pt>
                <c:pt idx="45">
                  <c:v>0.48867924528301887</c:v>
                </c:pt>
                <c:pt idx="46">
                  <c:v>0.48361469712015887</c:v>
                </c:pt>
                <c:pt idx="47">
                  <c:v>0.49550359712230213</c:v>
                </c:pt>
                <c:pt idx="48">
                  <c:v>0.44813278008298757</c:v>
                </c:pt>
                <c:pt idx="49">
                  <c:v>0.4652974504249292</c:v>
                </c:pt>
                <c:pt idx="50">
                  <c:v>0.4698972099853157</c:v>
                </c:pt>
                <c:pt idx="51">
                  <c:v>0.4736842105263157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517.0676287041448</c:v>
                </c:pt>
              </c:numCache>
            </c:numRef>
          </c:xVal>
          <c:yVal>
            <c:numRef>
              <c:f>Sheet1!$B$162:$B$163</c:f>
              <c:numCache>
                <c:formatCode>General</c:formatCode>
                <c:ptCount val="2"/>
                <c:pt idx="0">
                  <c:v>0.6456233005267211</c:v>
                </c:pt>
                <c:pt idx="1">
                  <c:v>0.6456233005267211</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517.0676287041448</c:v>
                </c:pt>
                <c:pt idx="1">
                  <c:v>-517.0676287041448</c:v>
                </c:pt>
              </c:numCache>
            </c:numRef>
          </c:xVal>
          <c:yVal>
            <c:numRef>
              <c:f>Sheet1!$B$166:$B$167</c:f>
              <c:numCache>
                <c:formatCode>General</c:formatCode>
                <c:ptCount val="2"/>
                <c:pt idx="0">
                  <c:v>0.645623300526721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131.7252617697307</c:v>
                </c:pt>
              </c:numCache>
            </c:numRef>
          </c:xVal>
          <c:yVal>
            <c:numRef>
              <c:f>Sheet1!$B$170:$B$171</c:f>
              <c:numCache>
                <c:formatCode>General</c:formatCode>
                <c:ptCount val="2"/>
                <c:pt idx="0">
                  <c:v>0.46425291275488706</c:v>
                </c:pt>
                <c:pt idx="1">
                  <c:v>0.46425291275488706</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131.7252617697307</c:v>
                </c:pt>
                <c:pt idx="1">
                  <c:v>1131.7252617697307</c:v>
                </c:pt>
              </c:numCache>
            </c:numRef>
          </c:xVal>
          <c:yVal>
            <c:numRef>
              <c:f>Sheet1!$B$174:$B$175</c:f>
              <c:numCache>
                <c:formatCode>General</c:formatCode>
                <c:ptCount val="2"/>
                <c:pt idx="0">
                  <c:v>0.464252912754887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148.3836684194846</c:v>
                </c:pt>
              </c:numCache>
            </c:numRef>
          </c:xVal>
          <c:yVal>
            <c:numRef>
              <c:f>Sheet1!$B$178:$B$179</c:f>
              <c:numCache>
                <c:formatCode>General</c:formatCode>
                <c:ptCount val="2"/>
                <c:pt idx="0">
                  <c:v>0.462420455997472</c:v>
                </c:pt>
                <c:pt idx="1">
                  <c:v>0.462420455997472</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148.3836684194846</c:v>
                </c:pt>
                <c:pt idx="1">
                  <c:v>1148.3836684194846</c:v>
                </c:pt>
              </c:numCache>
            </c:numRef>
          </c:xVal>
          <c:yVal>
            <c:numRef>
              <c:f>Sheet1!$B$182:$B$183</c:f>
              <c:numCache>
                <c:formatCode>General</c:formatCode>
                <c:ptCount val="2"/>
                <c:pt idx="0">
                  <c:v>0.4624204559974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204.9393</c:v>
                </c:pt>
                <c:pt idx="1">
                  <c:v>1232.005</c:v>
                </c:pt>
                <c:pt idx="2">
                  <c:v>1246.3435</c:v>
                </c:pt>
                <c:pt idx="3">
                  <c:v>1252.0317</c:v>
                </c:pt>
                <c:pt idx="4">
                  <c:v>1265.9601</c:v>
                </c:pt>
                <c:pt idx="5">
                  <c:v>1229.427</c:v>
                </c:pt>
                <c:pt idx="6">
                  <c:v>1108.3714</c:v>
                </c:pt>
                <c:pt idx="7">
                  <c:v>1159.9364</c:v>
                </c:pt>
                <c:pt idx="8">
                  <c:v>1246.9184</c:v>
                </c:pt>
                <c:pt idx="9">
                  <c:v>1164.8162</c:v>
                </c:pt>
                <c:pt idx="10">
                  <c:v>1215.9453</c:v>
                </c:pt>
                <c:pt idx="11">
                  <c:v>959.2859</c:v>
                </c:pt>
                <c:pt idx="12">
                  <c:v>1072.1312</c:v>
                </c:pt>
                <c:pt idx="13">
                  <c:v>1197.6344</c:v>
                </c:pt>
                <c:pt idx="14">
                  <c:v>1152.8952</c:v>
                </c:pt>
                <c:pt idx="15">
                  <c:v>1182.9108</c:v>
                </c:pt>
                <c:pt idx="16">
                  <c:v>1222.3406</c:v>
                </c:pt>
                <c:pt idx="17">
                  <c:v>1219.3176</c:v>
                </c:pt>
                <c:pt idx="18">
                  <c:v>1249.2651</c:v>
                </c:pt>
                <c:pt idx="19">
                  <c:v>1310.0971</c:v>
                </c:pt>
                <c:pt idx="20">
                  <c:v>1284.7747</c:v>
                </c:pt>
                <c:pt idx="21">
                  <c:v>1237.1354</c:v>
                </c:pt>
                <c:pt idx="22">
                  <c:v>1304.71</c:v>
                </c:pt>
                <c:pt idx="23">
                  <c:v>1293.2857</c:v>
                </c:pt>
                <c:pt idx="24">
                  <c:v>1273.9264</c:v>
                </c:pt>
                <c:pt idx="25">
                  <c:v>1235.7631</c:v>
                </c:pt>
                <c:pt idx="26">
                  <c:v>1263.8059</c:v>
                </c:pt>
                <c:pt idx="27">
                  <c:v>1254.1489</c:v>
                </c:pt>
                <c:pt idx="28">
                  <c:v>1294.8</c:v>
                </c:pt>
                <c:pt idx="29">
                  <c:v>1292.0307</c:v>
                </c:pt>
                <c:pt idx="30">
                  <c:v>1272.8075</c:v>
                </c:pt>
                <c:pt idx="31">
                  <c:v>1290.6162</c:v>
                </c:pt>
                <c:pt idx="32">
                  <c:v>1288.8649</c:v>
                </c:pt>
                <c:pt idx="33">
                  <c:v>1289.3754</c:v>
                </c:pt>
                <c:pt idx="34">
                  <c:v>1309.6642</c:v>
                </c:pt>
                <c:pt idx="35">
                  <c:v>1337.8473</c:v>
                </c:pt>
                <c:pt idx="36">
                  <c:v>1316.8035</c:v>
                </c:pt>
                <c:pt idx="37">
                  <c:v>1330.4569</c:v>
                </c:pt>
                <c:pt idx="38">
                  <c:v>1341.0368</c:v>
                </c:pt>
                <c:pt idx="39">
                  <c:v>1283.7991</c:v>
                </c:pt>
                <c:pt idx="40">
                  <c:v>1341.4977</c:v>
                </c:pt>
                <c:pt idx="41">
                  <c:v>1355.6529</c:v>
                </c:pt>
                <c:pt idx="42">
                  <c:v>1356.6408</c:v>
                </c:pt>
                <c:pt idx="43">
                  <c:v>1361.2326</c:v>
                </c:pt>
                <c:pt idx="44">
                  <c:v>1273.0522</c:v>
                </c:pt>
                <c:pt idx="45">
                  <c:v>1194.0521</c:v>
                </c:pt>
                <c:pt idx="46">
                  <c:v>1185.4066</c:v>
                </c:pt>
                <c:pt idx="47">
                  <c:v>1170.4501</c:v>
                </c:pt>
                <c:pt idx="48">
                  <c:v>1183.1222</c:v>
                </c:pt>
                <c:pt idx="49">
                  <c:v>1192.2146</c:v>
                </c:pt>
                <c:pt idx="50">
                  <c:v>1161.9344</c:v>
                </c:pt>
                <c:pt idx="51">
                  <c:v>1095.3831</c:v>
                </c:pt>
                <c:pt idx="52">
                  <c:v>1131.7252617697307</c:v>
                </c:pt>
                <c:pt idx="53">
                  <c:v>-517.0676287041448</c:v>
                </c:pt>
                <c:pt idx="54">
                  <c:v>1148.3836684194846</c:v>
                </c:pt>
              </c:numCache>
            </c:numRef>
          </c:xVal>
          <c:yVal>
            <c:numRef>
              <c:f>Sheet1!$B$186:$B$240</c:f>
              <c:numCache>
                <c:formatCode>General</c:formatCode>
                <c:ptCount val="55"/>
                <c:pt idx="0">
                  <c:v>0.4561992277948862</c:v>
                </c:pt>
                <c:pt idx="1">
                  <c:v>0.45322194876082555</c:v>
                </c:pt>
                <c:pt idx="2">
                  <c:v>0.4516446861949256</c:v>
                </c:pt>
                <c:pt idx="3">
                  <c:v>0.45101897325930806</c:v>
                </c:pt>
                <c:pt idx="4">
                  <c:v>0.44948682248182914</c:v>
                </c:pt>
                <c:pt idx="5">
                  <c:v>0.4535055337170546</c:v>
                </c:pt>
                <c:pt idx="6">
                  <c:v>0.4668218824475745</c:v>
                </c:pt>
                <c:pt idx="7">
                  <c:v>0.4611496333133811</c:v>
                </c:pt>
                <c:pt idx="8">
                  <c:v>0.451581446089675</c:v>
                </c:pt>
                <c:pt idx="9">
                  <c:v>0.4606128459319201</c:v>
                </c:pt>
                <c:pt idx="10">
                  <c:v>0.4549885466357485</c:v>
                </c:pt>
                <c:pt idx="11">
                  <c:v>0.48322157406583854</c:v>
                </c:pt>
                <c:pt idx="12">
                  <c:v>0.47080837411969695</c:v>
                </c:pt>
                <c:pt idx="13">
                  <c:v>0.45700278083862456</c:v>
                </c:pt>
                <c:pt idx="14">
                  <c:v>0.4619241788501538</c:v>
                </c:pt>
                <c:pt idx="15">
                  <c:v>0.45862240514488284</c:v>
                </c:pt>
                <c:pt idx="16">
                  <c:v>0.45428505134072467</c:v>
                </c:pt>
                <c:pt idx="17">
                  <c:v>0.45461758715247036</c:v>
                </c:pt>
                <c:pt idx="18">
                  <c:v>0.4513233045781223</c:v>
                </c:pt>
                <c:pt idx="19">
                  <c:v>0.4446316676280351</c:v>
                </c:pt>
                <c:pt idx="20">
                  <c:v>0.4474171803105852</c:v>
                </c:pt>
                <c:pt idx="21">
                  <c:v>0.4526575948975837</c:v>
                </c:pt>
                <c:pt idx="22">
                  <c:v>0.445224258984785</c:v>
                </c:pt>
                <c:pt idx="23">
                  <c:v>0.44648095394810833</c:v>
                </c:pt>
                <c:pt idx="24">
                  <c:v>0.4486105141665431</c:v>
                </c:pt>
                <c:pt idx="25">
                  <c:v>0.45280855053584323</c:v>
                </c:pt>
                <c:pt idx="26">
                  <c:v>0.44972378862329876</c:v>
                </c:pt>
                <c:pt idx="27">
                  <c:v>0.4507860771889713</c:v>
                </c:pt>
                <c:pt idx="28">
                  <c:v>0.4463143780368525</c:v>
                </c:pt>
                <c:pt idx="29">
                  <c:v>0.4466190063608575</c:v>
                </c:pt>
                <c:pt idx="30">
                  <c:v>0.4487335953176388</c:v>
                </c:pt>
                <c:pt idx="31">
                  <c:v>0.44677460408024694</c:v>
                </c:pt>
                <c:pt idx="32">
                  <c:v>0.44696725044713753</c:v>
                </c:pt>
                <c:pt idx="33">
                  <c:v>0.44691109446569655</c:v>
                </c:pt>
                <c:pt idx="34">
                  <c:v>0.44467928746028934</c:v>
                </c:pt>
                <c:pt idx="35">
                  <c:v>0.4415790922780167</c:v>
                </c:pt>
                <c:pt idx="36">
                  <c:v>0.4438939507349185</c:v>
                </c:pt>
                <c:pt idx="37">
                  <c:v>0.4423920504861297</c:v>
                </c:pt>
                <c:pt idx="38">
                  <c:v>0.44122824114617326</c:v>
                </c:pt>
                <c:pt idx="39">
                  <c:v>0.4475244981861853</c:v>
                </c:pt>
                <c:pt idx="40">
                  <c:v>0.44117754126008873</c:v>
                </c:pt>
                <c:pt idx="41">
                  <c:v>0.4396204420465847</c:v>
                </c:pt>
                <c:pt idx="42">
                  <c:v>0.43951177114733775</c:v>
                </c:pt>
                <c:pt idx="43">
                  <c:v>0.4390066643195594</c:v>
                </c:pt>
                <c:pt idx="44">
                  <c:v>0.44870667784720075</c:v>
                </c:pt>
                <c:pt idx="45">
                  <c:v>0.4573968407256297</c:v>
                </c:pt>
                <c:pt idx="46">
                  <c:v>0.4583478623466841</c:v>
                </c:pt>
                <c:pt idx="47">
                  <c:v>0.4599931061006948</c:v>
                </c:pt>
                <c:pt idx="48">
                  <c:v>0.45859915073846436</c:v>
                </c:pt>
                <c:pt idx="49">
                  <c:v>0.4575989692582406</c:v>
                </c:pt>
                <c:pt idx="50">
                  <c:v>0.4609298494722075</c:v>
                </c:pt>
                <c:pt idx="51">
                  <c:v>0.4682506204177024</c:v>
                </c:pt>
                <c:pt idx="52">
                  <c:v>0.46425291275488706</c:v>
                </c:pt>
                <c:pt idx="53">
                  <c:v>0.6456233005267211</c:v>
                </c:pt>
                <c:pt idx="54">
                  <c:v>0.4624204559974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458015267175573"/>
          <c:min val="0.29838709677419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0</c:v>
                </c:pt>
                <c:pt idx="1">
                  <c:v>0.0</c:v>
                </c:pt>
                <c:pt idx="2">
                  <c:v>1.7931967054263565</c:v>
                </c:pt>
                <c:pt idx="3">
                  <c:v>1.3045421282798833</c:v>
                </c:pt>
                <c:pt idx="4">
                  <c:v>1.489418634128552</c:v>
                </c:pt>
                <c:pt idx="5">
                  <c:v>0.5786512804097311</c:v>
                </c:pt>
                <c:pt idx="6">
                  <c:v>0.9761282135076252</c:v>
                </c:pt>
                <c:pt idx="7">
                  <c:v>0.5378973887240356</c:v>
                </c:pt>
                <c:pt idx="8">
                  <c:v>0.5181454749859472</c:v>
                </c:pt>
                <c:pt idx="9">
                  <c:v>1.1036174228675137</c:v>
                </c:pt>
                <c:pt idx="10">
                  <c:v>1.167978756476684</c:v>
                </c:pt>
                <c:pt idx="11">
                  <c:v>0.5686499365482234</c:v>
                </c:pt>
                <c:pt idx="12">
                  <c:v>0.471490684508492</c:v>
                </c:pt>
                <c:pt idx="13">
                  <c:v>0.4948967867036011</c:v>
                </c:pt>
                <c:pt idx="14">
                  <c:v>0.5838467159473993</c:v>
                </c:pt>
                <c:pt idx="15">
                  <c:v>0.7715708637241776</c:v>
                </c:pt>
                <c:pt idx="16">
                  <c:v>0.926907123534716</c:v>
                </c:pt>
                <c:pt idx="17">
                  <c:v>0.6741698611581443</c:v>
                </c:pt>
                <c:pt idx="18">
                  <c:v>0.5898314059289698</c:v>
                </c:pt>
                <c:pt idx="19">
                  <c:v>1.322618735543562</c:v>
                </c:pt>
                <c:pt idx="20">
                  <c:v>0.31443538363982243</c:v>
                </c:pt>
                <c:pt idx="21">
                  <c:v>0.8527361560813616</c:v>
                </c:pt>
                <c:pt idx="22">
                  <c:v>0.49416952474277315</c:v>
                </c:pt>
                <c:pt idx="23">
                  <c:v>1.132248264182896</c:v>
                </c:pt>
                <c:pt idx="24">
                  <c:v>0.9697786653185035</c:v>
                </c:pt>
                <c:pt idx="25">
                  <c:v>0.8307593439593439</c:v>
                </c:pt>
                <c:pt idx="26">
                  <c:v>0.9291991307682474</c:v>
                </c:pt>
                <c:pt idx="27">
                  <c:v>0.8190725850463888</c:v>
                </c:pt>
                <c:pt idx="28">
                  <c:v>1.1260485478977027</c:v>
                </c:pt>
                <c:pt idx="29">
                  <c:v>0.8915480427612251</c:v>
                </c:pt>
                <c:pt idx="30">
                  <c:v>1.0204290800076834</c:v>
                </c:pt>
                <c:pt idx="31">
                  <c:v>1.1105525927487352</c:v>
                </c:pt>
                <c:pt idx="32">
                  <c:v>1.086984976938608</c:v>
                </c:pt>
                <c:pt idx="33">
                  <c:v>1.0120426654432848</c:v>
                </c:pt>
                <c:pt idx="34">
                  <c:v>1.15193350952169</c:v>
                </c:pt>
                <c:pt idx="35">
                  <c:v>1.1699238915297525</c:v>
                </c:pt>
                <c:pt idx="36">
                  <c:v>1.2763191887605094</c:v>
                </c:pt>
                <c:pt idx="37">
                  <c:v>1.0850250117096019</c:v>
                </c:pt>
                <c:pt idx="38">
                  <c:v>1.0500965579915937</c:v>
                </c:pt>
                <c:pt idx="39">
                  <c:v>1.1983279752396165</c:v>
                </c:pt>
                <c:pt idx="40">
                  <c:v>0.9727217766894375</c:v>
                </c:pt>
                <c:pt idx="41">
                  <c:v>1.1937988906272223</c:v>
                </c:pt>
                <c:pt idx="42">
                  <c:v>1.0609378686244104</c:v>
                </c:pt>
                <c:pt idx="43">
                  <c:v>1.0751457508380795</c:v>
                </c:pt>
                <c:pt idx="44">
                  <c:v>1.0187239772138788</c:v>
                </c:pt>
                <c:pt idx="45">
                  <c:v>1.0538636622780608</c:v>
                </c:pt>
                <c:pt idx="46">
                  <c:v>1.023873424603029</c:v>
                </c:pt>
                <c:pt idx="47">
                  <c:v>0.8952483171103554</c:v>
                </c:pt>
                <c:pt idx="48">
                  <c:v>1.028385853407557</c:v>
                </c:pt>
                <c:pt idx="49">
                  <c:v>0.9752803727156085</c:v>
                </c:pt>
                <c:pt idx="50">
                  <c:v>1.0592870134950125</c:v>
                </c:pt>
                <c:pt idx="51">
                  <c:v>1.1577894054039775</c:v>
                </c:pt>
                <c:pt idx="52">
                  <c:v>1.103203210077411</c:v>
                </c:pt>
                <c:pt idx="53">
                  <c:v>1.1312812664250975</c:v>
                </c:pt>
                <c:pt idx="54">
                  <c:v>1.1270188552804352</c:v>
                </c:pt>
                <c:pt idx="55">
                  <c:v>1.1790914953982425</c:v>
                </c:pt>
                <c:pt idx="56">
                  <c:v>1.194861187235539</c:v>
                </c:pt>
                <c:pt idx="57">
                  <c:v>1.1392226881945902</c:v>
                </c:pt>
                <c:pt idx="58">
                  <c:v>1.1857932653346375</c:v>
                </c:pt>
                <c:pt idx="59">
                  <c:v>1.0864593591942038</c:v>
                </c:pt>
                <c:pt idx="60">
                  <c:v>1.102031598612223</c:v>
                </c:pt>
                <c:pt idx="61">
                  <c:v>1.152378646261402</c:v>
                </c:pt>
                <c:pt idx="62">
                  <c:v>1.043609762611154</c:v>
                </c:pt>
                <c:pt idx="63">
                  <c:v>1.1584800741427246</c:v>
                </c:pt>
                <c:pt idx="64">
                  <c:v>1.104247041727216</c:v>
                </c:pt>
                <c:pt idx="65">
                  <c:v>1.268490436471215</c:v>
                </c:pt>
                <c:pt idx="66">
                  <c:v>1.1998042086381824</c:v>
                </c:pt>
                <c:pt idx="67">
                  <c:v>1.286739379000996</c:v>
                </c:pt>
                <c:pt idx="68">
                  <c:v>1.0356317917008924</c:v>
                </c:pt>
                <c:pt idx="69">
                  <c:v>1.3516874387340707</c:v>
                </c:pt>
                <c:pt idx="70">
                  <c:v>1.2363938356186497</c:v>
                </c:pt>
                <c:pt idx="71">
                  <c:v>1.1708829742037652</c:v>
                </c:pt>
                <c:pt idx="72">
                  <c:v>0.921789997982577</c:v>
                </c:pt>
                <c:pt idx="73">
                  <c:v>1.2683706432417114</c:v>
                </c:pt>
                <c:pt idx="74">
                  <c:v>1.2983129930394433</c:v>
                </c:pt>
                <c:pt idx="75">
                  <c:v>1.1473007917537414</c:v>
                </c:pt>
                <c:pt idx="76">
                  <c:v>1.38588540026734</c:v>
                </c:pt>
                <c:pt idx="77">
                  <c:v>1.1764253775834659</c:v>
                </c:pt>
                <c:pt idx="78">
                  <c:v>1.424170818085232</c:v>
                </c:pt>
                <c:pt idx="79">
                  <c:v>1.422174087799381</c:v>
                </c:pt>
                <c:pt idx="80">
                  <c:v>1.1485543598233996</c:v>
                </c:pt>
                <c:pt idx="81">
                  <c:v>1.0854354054054054</c:v>
                </c:pt>
                <c:pt idx="82">
                  <c:v>1.2257532178857586</c:v>
                </c:pt>
                <c:pt idx="83">
                  <c:v>1.1895233879421392</c:v>
                </c:pt>
                <c:pt idx="84">
                  <c:v>1.148916048282964</c:v>
                </c:pt>
                <c:pt idx="85">
                  <c:v>0.9336265233581584</c:v>
                </c:pt>
                <c:pt idx="86">
                  <c:v>1.3048013597733712</c:v>
                </c:pt>
                <c:pt idx="87">
                  <c:v>1.069067744346851</c:v>
                </c:pt>
                <c:pt idx="88">
                  <c:v>1.3287213419611652</c:v>
                </c:pt>
                <c:pt idx="89">
                  <c:v>1.2385094472115004</c:v>
                </c:pt>
                <c:pt idx="90">
                  <c:v>1.2670070906918074</c:v>
                </c:pt>
                <c:pt idx="91">
                  <c:v>1.0948516859100872</c:v>
                </c:pt>
                <c:pt idx="92">
                  <c:v>0.8854652972300031</c:v>
                </c:pt>
                <c:pt idx="93">
                  <c:v>1.3498631764705884</c:v>
                </c:pt>
                <c:pt idx="94">
                  <c:v>1.4512586539698882</c:v>
                </c:pt>
                <c:pt idx="95">
                  <c:v>1.2825191050885838</c:v>
                </c:pt>
                <c:pt idx="96">
                  <c:v>1.3293510242281286</c:v>
                </c:pt>
                <c:pt idx="97">
                  <c:v>1.2214107949037145</c:v>
                </c:pt>
                <c:pt idx="98">
                  <c:v>1.2131734129699856</c:v>
                </c:pt>
                <c:pt idx="99">
                  <c:v>1.3748716760342106</c:v>
                </c:pt>
                <c:pt idx="100">
                  <c:v>0.8945858520561999</c:v>
                </c:pt>
                <c:pt idx="101">
                  <c:v>1.0885832852451647</c:v>
                </c:pt>
              </c:numCache>
            </c:numRef>
          </c:xVal>
          <c:yVal>
            <c:numRef>
              <c:f>Sheet1!$B$2:$B$103</c:f>
              <c:numCache>
                <c:formatCode>General</c:formatCode>
                <c:ptCount val="102"/>
                <c:pt idx="0">
                  <c:v>0.1286549707602339</c:v>
                </c:pt>
                <c:pt idx="1">
                  <c:v>0.10814249363867684</c:v>
                </c:pt>
                <c:pt idx="2">
                  <c:v>0.13555291319857313</c:v>
                </c:pt>
                <c:pt idx="3">
                  <c:v>0.1235565819861432</c:v>
                </c:pt>
                <c:pt idx="4">
                  <c:v>0.12125340599455041</c:v>
                </c:pt>
                <c:pt idx="5">
                  <c:v>0.11755485893416928</c:v>
                </c:pt>
                <c:pt idx="6">
                  <c:v>0.07534983853606028</c:v>
                </c:pt>
                <c:pt idx="7">
                  <c:v>0.07616974972796518</c:v>
                </c:pt>
                <c:pt idx="8">
                  <c:v>0.0929936305732484</c:v>
                </c:pt>
                <c:pt idx="9">
                  <c:v>0.11286407766990292</c:v>
                </c:pt>
                <c:pt idx="10">
                  <c:v>0.11935110081112399</c:v>
                </c:pt>
                <c:pt idx="11">
                  <c:v>0.11845102505694761</c:v>
                </c:pt>
                <c:pt idx="12">
                  <c:v>0.12005108556832694</c:v>
                </c:pt>
                <c:pt idx="13">
                  <c:v>0.1476407914764079</c:v>
                </c:pt>
                <c:pt idx="14">
                  <c:v>0.1423785594639866</c:v>
                </c:pt>
                <c:pt idx="15">
                  <c:v>0.10684474123539232</c:v>
                </c:pt>
                <c:pt idx="16">
                  <c:v>0.09823182711198428</c:v>
                </c:pt>
                <c:pt idx="17">
                  <c:v>0.13731825525040386</c:v>
                </c:pt>
                <c:pt idx="18">
                  <c:v>0.11842105263157894</c:v>
                </c:pt>
                <c:pt idx="19">
                  <c:v>0.07706422018348624</c:v>
                </c:pt>
                <c:pt idx="20">
                  <c:v>0.09177820267686425</c:v>
                </c:pt>
                <c:pt idx="21">
                  <c:v>0.0935483870967742</c:v>
                </c:pt>
                <c:pt idx="22">
                  <c:v>0.08426966292134831</c:v>
                </c:pt>
                <c:pt idx="23">
                  <c:v>0.08681672025723473</c:v>
                </c:pt>
                <c:pt idx="24">
                  <c:v>0.0973724884080371</c:v>
                </c:pt>
                <c:pt idx="25">
                  <c:v>0.09807355516637478</c:v>
                </c:pt>
                <c:pt idx="26">
                  <c:v>0.09481481481481481</c:v>
                </c:pt>
                <c:pt idx="27">
                  <c:v>0.08221797323135756</c:v>
                </c:pt>
                <c:pt idx="28">
                  <c:v>0.05752961082910321</c:v>
                </c:pt>
                <c:pt idx="29">
                  <c:v>0.06679035250463822</c:v>
                </c:pt>
                <c:pt idx="30">
                  <c:v>0.0694006309148265</c:v>
                </c:pt>
                <c:pt idx="31">
                  <c:v>0.06683804627249357</c:v>
                </c:pt>
                <c:pt idx="32">
                  <c:v>0.05875299760191847</c:v>
                </c:pt>
                <c:pt idx="33">
                  <c:v>0.0734094616639478</c:v>
                </c:pt>
                <c:pt idx="34">
                  <c:v>0.05714285714285714</c:v>
                </c:pt>
                <c:pt idx="35">
                  <c:v>0.05511811023622047</c:v>
                </c:pt>
                <c:pt idx="36">
                  <c:v>0.07905138339920949</c:v>
                </c:pt>
                <c:pt idx="37">
                  <c:v>0.07886904761904762</c:v>
                </c:pt>
                <c:pt idx="38">
                  <c:v>0.0859504132231405</c:v>
                </c:pt>
                <c:pt idx="39">
                  <c:v>0.08307210031347963</c:v>
                </c:pt>
                <c:pt idx="40">
                  <c:v>0.07617728531855955</c:v>
                </c:pt>
                <c:pt idx="41">
                  <c:v>0.09943181818181818</c:v>
                </c:pt>
                <c:pt idx="42">
                  <c:v>0.11535580524344569</c:v>
                </c:pt>
                <c:pt idx="43">
                  <c:v>0.11813537675606642</c:v>
                </c:pt>
                <c:pt idx="44">
                  <c:v>0.11548731642189586</c:v>
                </c:pt>
                <c:pt idx="45">
                  <c:v>0.12791932059447983</c:v>
                </c:pt>
                <c:pt idx="46">
                  <c:v>0.1400735294117647</c:v>
                </c:pt>
                <c:pt idx="47">
                  <c:v>0.11955815464587394</c:v>
                </c:pt>
                <c:pt idx="48">
                  <c:v>0.11594202898550725</c:v>
                </c:pt>
                <c:pt idx="49">
                  <c:v>0.10173323285606632</c:v>
                </c:pt>
                <c:pt idx="50">
                  <c:v>0.11805555555555555</c:v>
                </c:pt>
                <c:pt idx="51">
                  <c:v>0.0987535953978907</c:v>
                </c:pt>
                <c:pt idx="52">
                  <c:v>0.09663865546218488</c:v>
                </c:pt>
                <c:pt idx="53">
                  <c:v>0.10869565217391304</c:v>
                </c:pt>
                <c:pt idx="54">
                  <c:v>0.10273327049952875</c:v>
                </c:pt>
                <c:pt idx="55">
                  <c:v>0.1028770706190061</c:v>
                </c:pt>
                <c:pt idx="56">
                  <c:v>0.09751176866173504</c:v>
                </c:pt>
                <c:pt idx="57">
                  <c:v>0.12035541195476575</c:v>
                </c:pt>
                <c:pt idx="58">
                  <c:v>0.13693901035673187</c:v>
                </c:pt>
                <c:pt idx="59">
                  <c:v>0.11064718162839249</c:v>
                </c:pt>
                <c:pt idx="60">
                  <c:v>0.13278008298755187</c:v>
                </c:pt>
                <c:pt idx="61">
                  <c:v>0.1316831683168317</c:v>
                </c:pt>
                <c:pt idx="62">
                  <c:v>0.12718446601941746</c:v>
                </c:pt>
                <c:pt idx="63">
                  <c:v>0.10428849902534112</c:v>
                </c:pt>
                <c:pt idx="64">
                  <c:v>0.10555555555555556</c:v>
                </c:pt>
                <c:pt idx="65">
                  <c:v>0.0860655737704918</c:v>
                </c:pt>
                <c:pt idx="66">
                  <c:v>0.09210526315789473</c:v>
                </c:pt>
                <c:pt idx="67">
                  <c:v>0.08803986710963455</c:v>
                </c:pt>
                <c:pt idx="68">
                  <c:v>0.07608695652173914</c:v>
                </c:pt>
                <c:pt idx="69">
                  <c:v>0.09724473257698542</c:v>
                </c:pt>
                <c:pt idx="70">
                  <c:v>0.08843537414965986</c:v>
                </c:pt>
                <c:pt idx="71">
                  <c:v>0.09295352323838081</c:v>
                </c:pt>
                <c:pt idx="72">
                  <c:v>0.1012216404886562</c:v>
                </c:pt>
                <c:pt idx="73">
                  <c:v>0.09560229445506692</c:v>
                </c:pt>
                <c:pt idx="74">
                  <c:v>0.09523809523809523</c:v>
                </c:pt>
                <c:pt idx="75">
                  <c:v>0.09236947791164658</c:v>
                </c:pt>
                <c:pt idx="76">
                  <c:v>0.08602150537634409</c:v>
                </c:pt>
                <c:pt idx="77">
                  <c:v>0.07985480943738657</c:v>
                </c:pt>
                <c:pt idx="78">
                  <c:v>0.07625899280575539</c:v>
                </c:pt>
                <c:pt idx="79">
                  <c:v>0.06640625</c:v>
                </c:pt>
                <c:pt idx="80">
                  <c:v>0.05660377358490566</c:v>
                </c:pt>
                <c:pt idx="81">
                  <c:v>0.07407407407407407</c:v>
                </c:pt>
                <c:pt idx="82">
                  <c:v>0.07750472589792061</c:v>
                </c:pt>
                <c:pt idx="83">
                  <c:v>0.08615819209039548</c:v>
                </c:pt>
                <c:pt idx="84">
                  <c:v>0.07875</c:v>
                </c:pt>
                <c:pt idx="85">
                  <c:v>0.09792843691148775</c:v>
                </c:pt>
                <c:pt idx="86">
                  <c:v>0.08843537414965986</c:v>
                </c:pt>
                <c:pt idx="87">
                  <c:v>0.09033613445378151</c:v>
                </c:pt>
                <c:pt idx="88">
                  <c:v>0.0907258064516129</c:v>
                </c:pt>
                <c:pt idx="89">
                  <c:v>0.09399075500770417</c:v>
                </c:pt>
                <c:pt idx="90">
                  <c:v>0.08858858858858859</c:v>
                </c:pt>
                <c:pt idx="91">
                  <c:v>0.0997920997920998</c:v>
                </c:pt>
                <c:pt idx="92">
                  <c:v>0.09502923976608187</c:v>
                </c:pt>
                <c:pt idx="93">
                  <c:v>0.08167141500474834</c:v>
                </c:pt>
                <c:pt idx="94">
                  <c:v>0.09842845326716294</c:v>
                </c:pt>
                <c:pt idx="95">
                  <c:v>0.10963455149501661</c:v>
                </c:pt>
                <c:pt idx="96">
                  <c:v>0.11425630468347915</c:v>
                </c:pt>
                <c:pt idx="97">
                  <c:v>0.1151639344262295</c:v>
                </c:pt>
                <c:pt idx="98">
                  <c:v>0.11695501730103806</c:v>
                </c:pt>
                <c:pt idx="99">
                  <c:v>0.10174418604651163</c:v>
                </c:pt>
                <c:pt idx="100">
                  <c:v>0.13174603174603175</c:v>
                </c:pt>
                <c:pt idx="101">
                  <c:v>0.13080568720379146</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1.1290398004669921</c:v>
                </c:pt>
                <c:pt idx="1">
                  <c:v>1.0474047456313165</c:v>
                </c:pt>
                <c:pt idx="2">
                  <c:v>1.2427669592030963</c:v>
                </c:pt>
                <c:pt idx="3">
                  <c:v>0.9432516066212269</c:v>
                </c:pt>
                <c:pt idx="4">
                  <c:v>1.219197204442776</c:v>
                </c:pt>
                <c:pt idx="5">
                  <c:v>1.0570602726453995</c:v>
                </c:pt>
                <c:pt idx="6">
                  <c:v>1.0018</c:v>
                </c:pt>
                <c:pt idx="7">
                  <c:v>1.2422059150650107</c:v>
                </c:pt>
                <c:pt idx="8">
                  <c:v>1.289574039653036</c:v>
                </c:pt>
                <c:pt idx="9">
                  <c:v>1.1012421200750468</c:v>
                </c:pt>
                <c:pt idx="10">
                  <c:v>1.2057480394912523</c:v>
                </c:pt>
                <c:pt idx="11">
                  <c:v>1.184770014369094</c:v>
                </c:pt>
                <c:pt idx="12">
                  <c:v>1.073006114352392</c:v>
                </c:pt>
                <c:pt idx="13">
                  <c:v>0.9437419310982428</c:v>
                </c:pt>
                <c:pt idx="14">
                  <c:v>1.0229232512137048</c:v>
                </c:pt>
                <c:pt idx="15">
                  <c:v>0.9358916909397518</c:v>
                </c:pt>
                <c:pt idx="16">
                  <c:v>1.3044633600657864</c:v>
                </c:pt>
                <c:pt idx="17">
                  <c:v>1.1531181870338498</c:v>
                </c:pt>
                <c:pt idx="18">
                  <c:v>1.132393455163621</c:v>
                </c:pt>
                <c:pt idx="19">
                  <c:v>1.27735469667319</c:v>
                </c:pt>
                <c:pt idx="20">
                  <c:v>1.2933216045732308</c:v>
                </c:pt>
                <c:pt idx="21">
                  <c:v>1.1755830524344568</c:v>
                </c:pt>
                <c:pt idx="22">
                  <c:v>0.8073101858224363</c:v>
                </c:pt>
                <c:pt idx="23">
                  <c:v>0.8799770845659907</c:v>
                </c:pt>
                <c:pt idx="24">
                  <c:v>0.9054109090909092</c:v>
                </c:pt>
                <c:pt idx="25">
                  <c:v>1.1284249904465644</c:v>
                </c:pt>
                <c:pt idx="26">
                  <c:v>0.7330822351421189</c:v>
                </c:pt>
                <c:pt idx="27">
                  <c:v>0.983947778924464</c:v>
                </c:pt>
                <c:pt idx="28">
                  <c:v>0.9670399713861487</c:v>
                </c:pt>
                <c:pt idx="29">
                  <c:v>0.9065037926675095</c:v>
                </c:pt>
                <c:pt idx="30">
                  <c:v>0.9354736419157826</c:v>
                </c:pt>
                <c:pt idx="31">
                  <c:v>1.05870781099325</c:v>
                </c:pt>
                <c:pt idx="32">
                  <c:v>1.034669173630455</c:v>
                </c:pt>
                <c:pt idx="33">
                  <c:v>0.8549187414500684</c:v>
                </c:pt>
                <c:pt idx="34">
                  <c:v>0.8614691775672831</c:v>
                </c:pt>
                <c:pt idx="35">
                  <c:v>1.164325400931195</c:v>
                </c:pt>
                <c:pt idx="36">
                  <c:v>1.0868955632645607</c:v>
                </c:pt>
                <c:pt idx="37">
                  <c:v>1.375779400945875</c:v>
                </c:pt>
                <c:pt idx="38">
                  <c:v>1.1213754819919042</c:v>
                </c:pt>
                <c:pt idx="39">
                  <c:v>1.1640972624497805</c:v>
                </c:pt>
                <c:pt idx="40">
                  <c:v>1.303181243562154</c:v>
                </c:pt>
                <c:pt idx="41">
                  <c:v>1.2739760160207327</c:v>
                </c:pt>
                <c:pt idx="42">
                  <c:v>1.0242185456540367</c:v>
                </c:pt>
                <c:pt idx="43">
                  <c:v>1.1381044887234508</c:v>
                </c:pt>
                <c:pt idx="44">
                  <c:v>1.071843221078346</c:v>
                </c:pt>
                <c:pt idx="45">
                  <c:v>1.1829539906167</c:v>
                </c:pt>
                <c:pt idx="46">
                  <c:v>1.0457622624434388</c:v>
                </c:pt>
                <c:pt idx="47">
                  <c:v>1.0367831981486897</c:v>
                </c:pt>
                <c:pt idx="48">
                  <c:v>0.9335720787835493</c:v>
                </c:pt>
                <c:pt idx="49">
                  <c:v>0.8700901412776413</c:v>
                </c:pt>
                <c:pt idx="50">
                  <c:v>0.8683774054982818</c:v>
                </c:pt>
                <c:pt idx="51">
                  <c:v>0.8753025014652637</c:v>
                </c:pt>
              </c:numCache>
            </c:numRef>
          </c:xVal>
          <c:yVal>
            <c:numRef>
              <c:f>Sheet1!$B$106:$B$157</c:f>
              <c:numCache>
                <c:formatCode>General</c:formatCode>
                <c:ptCount val="52"/>
                <c:pt idx="0">
                  <c:v>0.12098298676748583</c:v>
                </c:pt>
                <c:pt idx="1">
                  <c:v>0.16510903426791276</c:v>
                </c:pt>
                <c:pt idx="2">
                  <c:v>0.14692787177203917</c:v>
                </c:pt>
                <c:pt idx="3">
                  <c:v>0.12894248608534323</c:v>
                </c:pt>
                <c:pt idx="4">
                  <c:v>0.16019417475728157</c:v>
                </c:pt>
                <c:pt idx="5">
                  <c:v>0.14166666666666666</c:v>
                </c:pt>
                <c:pt idx="6">
                  <c:v>0.11210398050365557</c:v>
                </c:pt>
                <c:pt idx="7">
                  <c:v>0.11664899257688228</c:v>
                </c:pt>
                <c:pt idx="8">
                  <c:v>0.10179640718562874</c:v>
                </c:pt>
                <c:pt idx="9">
                  <c:v>0.09949622166246852</c:v>
                </c:pt>
                <c:pt idx="10">
                  <c:v>0.08776595744680851</c:v>
                </c:pt>
                <c:pt idx="11">
                  <c:v>0.07987711213517665</c:v>
                </c:pt>
                <c:pt idx="12">
                  <c:v>0.08539094650205761</c:v>
                </c:pt>
                <c:pt idx="13">
                  <c:v>0.09424724602203183</c:v>
                </c:pt>
                <c:pt idx="14">
                  <c:v>0.09529860228716645</c:v>
                </c:pt>
                <c:pt idx="15">
                  <c:v>0.08139534883720931</c:v>
                </c:pt>
                <c:pt idx="16">
                  <c:v>0.07142857142857142</c:v>
                </c:pt>
                <c:pt idx="17">
                  <c:v>0.09090909090909091</c:v>
                </c:pt>
                <c:pt idx="18">
                  <c:v>0.08288288288288288</c:v>
                </c:pt>
                <c:pt idx="19">
                  <c:v>0.07744107744107744</c:v>
                </c:pt>
                <c:pt idx="20">
                  <c:v>0.09090909090909091</c:v>
                </c:pt>
                <c:pt idx="21">
                  <c:v>0.08997955010224949</c:v>
                </c:pt>
                <c:pt idx="22">
                  <c:v>0.08712121212121213</c:v>
                </c:pt>
                <c:pt idx="23">
                  <c:v>0.1115702479338843</c:v>
                </c:pt>
                <c:pt idx="24">
                  <c:v>0.10301953818827708</c:v>
                </c:pt>
                <c:pt idx="25">
                  <c:v>0.11929824561403508</c:v>
                </c:pt>
                <c:pt idx="26">
                  <c:v>0.09566787003610108</c:v>
                </c:pt>
                <c:pt idx="27">
                  <c:v>0.09884678747940692</c:v>
                </c:pt>
                <c:pt idx="28">
                  <c:v>0.10835913312693499</c:v>
                </c:pt>
                <c:pt idx="29">
                  <c:v>0.11281070745697896</c:v>
                </c:pt>
                <c:pt idx="30">
                  <c:v>0.11836734693877551</c:v>
                </c:pt>
                <c:pt idx="31">
                  <c:v>0.11013215859030837</c:v>
                </c:pt>
                <c:pt idx="32">
                  <c:v>0.11854684512428298</c:v>
                </c:pt>
                <c:pt idx="33">
                  <c:v>0.11864406779661017</c:v>
                </c:pt>
                <c:pt idx="34">
                  <c:v>0.11189634864546526</c:v>
                </c:pt>
                <c:pt idx="35">
                  <c:v>0.1248</c:v>
                </c:pt>
                <c:pt idx="36">
                  <c:v>0.1111111111111111</c:v>
                </c:pt>
                <c:pt idx="37">
                  <c:v>0.08525345622119816</c:v>
                </c:pt>
                <c:pt idx="38">
                  <c:v>0.08980582524271845</c:v>
                </c:pt>
                <c:pt idx="39">
                  <c:v>0.11627906976744186</c:v>
                </c:pt>
                <c:pt idx="40">
                  <c:v>0.0891089108910891</c:v>
                </c:pt>
                <c:pt idx="41">
                  <c:v>0.08258527827648116</c:v>
                </c:pt>
                <c:pt idx="42">
                  <c:v>0.09633911368015415</c:v>
                </c:pt>
                <c:pt idx="43">
                  <c:v>0.0962962962962963</c:v>
                </c:pt>
                <c:pt idx="44">
                  <c:v>0.10053619302949061</c:v>
                </c:pt>
                <c:pt idx="45">
                  <c:v>0.09245283018867924</c:v>
                </c:pt>
                <c:pt idx="46">
                  <c:v>0.10327706057596822</c:v>
                </c:pt>
                <c:pt idx="47">
                  <c:v>0.09262589928057553</c:v>
                </c:pt>
                <c:pt idx="48">
                  <c:v>0.0912863070539419</c:v>
                </c:pt>
                <c:pt idx="49">
                  <c:v>0.07932011331444759</c:v>
                </c:pt>
                <c:pt idx="50">
                  <c:v>0.10083210964268233</c:v>
                </c:pt>
                <c:pt idx="51">
                  <c:v>0.0997643362136685</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1.1160258393613864</c:v>
                </c:pt>
              </c:numCache>
            </c:numRef>
          </c:xVal>
          <c:yVal>
            <c:numRef>
              <c:f>Sheet1!$B$160:$B$161</c:f>
              <c:numCache>
                <c:formatCode>General</c:formatCode>
                <c:ptCount val="2"/>
                <c:pt idx="0">
                  <c:v>0.12889411714463606</c:v>
                </c:pt>
                <c:pt idx="1">
                  <c:v>0.12889411714463606</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1.1160258393613864</c:v>
                </c:pt>
                <c:pt idx="1">
                  <c:v>-1.1160258393613864</c:v>
                </c:pt>
              </c:numCache>
            </c:numRef>
          </c:xVal>
          <c:yVal>
            <c:numRef>
              <c:f>Sheet1!$B$164:$B$165</c:f>
              <c:numCache>
                <c:formatCode>General</c:formatCode>
                <c:ptCount val="2"/>
                <c:pt idx="0">
                  <c:v>0.128894117144636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1.4454763072423404</c:v>
                </c:pt>
              </c:numCache>
            </c:numRef>
          </c:xVal>
          <c:yVal>
            <c:numRef>
              <c:f>Sheet1!$B$168:$B$169</c:f>
              <c:numCache>
                <c:formatCode>General</c:formatCode>
                <c:ptCount val="2"/>
                <c:pt idx="0">
                  <c:v>0.13270806673143287</c:v>
                </c:pt>
                <c:pt idx="1">
                  <c:v>0.13270806673143287</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1.4454763072423404</c:v>
                </c:pt>
                <c:pt idx="1">
                  <c:v>-1.4454763072423404</c:v>
                </c:pt>
              </c:numCache>
            </c:numRef>
          </c:xVal>
          <c:yVal>
            <c:numRef>
              <c:f>Sheet1!$B$172:$B$173</c:f>
              <c:numCache>
                <c:formatCode>General</c:formatCode>
                <c:ptCount val="2"/>
                <c:pt idx="0">
                  <c:v>0.132708066731432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1.7738634950870282</c:v>
                </c:pt>
              </c:numCache>
            </c:numRef>
          </c:xVal>
          <c:yVal>
            <c:numRef>
              <c:f>Sheet1!$B$176:$B$177</c:f>
              <c:numCache>
                <c:formatCode>General</c:formatCode>
                <c:ptCount val="2"/>
                <c:pt idx="0">
                  <c:v>0.09543873217007048</c:v>
                </c:pt>
                <c:pt idx="1">
                  <c:v>0.09543873217007048</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1.7738634950870282</c:v>
                </c:pt>
                <c:pt idx="1">
                  <c:v>1.7738634950870282</c:v>
                </c:pt>
              </c:numCache>
            </c:numRef>
          </c:xVal>
          <c:yVal>
            <c:numRef>
              <c:f>Sheet1!$B$180:$B$181</c:f>
              <c:numCache>
                <c:formatCode>General</c:formatCode>
                <c:ptCount val="2"/>
                <c:pt idx="0">
                  <c:v>0.095438732170070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1.1290398004669921</c:v>
                </c:pt>
                <c:pt idx="1">
                  <c:v>1.0474047456313165</c:v>
                </c:pt>
                <c:pt idx="2">
                  <c:v>1.2427669592030963</c:v>
                </c:pt>
                <c:pt idx="3">
                  <c:v>0.9432516066212269</c:v>
                </c:pt>
                <c:pt idx="4">
                  <c:v>1.219197204442776</c:v>
                </c:pt>
                <c:pt idx="5">
                  <c:v>1.0570602726453995</c:v>
                </c:pt>
                <c:pt idx="6">
                  <c:v>1.0018</c:v>
                </c:pt>
                <c:pt idx="7">
                  <c:v>1.2422059150650107</c:v>
                </c:pt>
                <c:pt idx="8">
                  <c:v>1.289574039653036</c:v>
                </c:pt>
                <c:pt idx="9">
                  <c:v>1.1012421200750468</c:v>
                </c:pt>
                <c:pt idx="10">
                  <c:v>1.2057480394912523</c:v>
                </c:pt>
                <c:pt idx="11">
                  <c:v>1.184770014369094</c:v>
                </c:pt>
                <c:pt idx="12">
                  <c:v>1.073006114352392</c:v>
                </c:pt>
                <c:pt idx="13">
                  <c:v>0.9437419310982428</c:v>
                </c:pt>
                <c:pt idx="14">
                  <c:v>1.0229232512137048</c:v>
                </c:pt>
                <c:pt idx="15">
                  <c:v>0.9358916909397518</c:v>
                </c:pt>
                <c:pt idx="16">
                  <c:v>1.3044633600657864</c:v>
                </c:pt>
                <c:pt idx="17">
                  <c:v>1.1531181870338498</c:v>
                </c:pt>
                <c:pt idx="18">
                  <c:v>1.132393455163621</c:v>
                </c:pt>
                <c:pt idx="19">
                  <c:v>1.27735469667319</c:v>
                </c:pt>
                <c:pt idx="20">
                  <c:v>1.2933216045732308</c:v>
                </c:pt>
                <c:pt idx="21">
                  <c:v>1.1755830524344568</c:v>
                </c:pt>
                <c:pt idx="22">
                  <c:v>0.8073101858224363</c:v>
                </c:pt>
                <c:pt idx="23">
                  <c:v>0.8799770845659907</c:v>
                </c:pt>
                <c:pt idx="24">
                  <c:v>0.9054109090909092</c:v>
                </c:pt>
                <c:pt idx="25">
                  <c:v>1.1284249904465644</c:v>
                </c:pt>
                <c:pt idx="26">
                  <c:v>0.7330822351421189</c:v>
                </c:pt>
                <c:pt idx="27">
                  <c:v>0.983947778924464</c:v>
                </c:pt>
                <c:pt idx="28">
                  <c:v>0.9670399713861487</c:v>
                </c:pt>
                <c:pt idx="29">
                  <c:v>0.9065037926675095</c:v>
                </c:pt>
                <c:pt idx="30">
                  <c:v>0.9354736419157826</c:v>
                </c:pt>
                <c:pt idx="31">
                  <c:v>1.05870781099325</c:v>
                </c:pt>
                <c:pt idx="32">
                  <c:v>1.034669173630455</c:v>
                </c:pt>
                <c:pt idx="33">
                  <c:v>0.8549187414500684</c:v>
                </c:pt>
                <c:pt idx="34">
                  <c:v>0.8614691775672831</c:v>
                </c:pt>
                <c:pt idx="35">
                  <c:v>1.164325400931195</c:v>
                </c:pt>
                <c:pt idx="36">
                  <c:v>1.0868955632645607</c:v>
                </c:pt>
                <c:pt idx="37">
                  <c:v>1.375779400945875</c:v>
                </c:pt>
                <c:pt idx="38">
                  <c:v>1.1213754819919042</c:v>
                </c:pt>
                <c:pt idx="39">
                  <c:v>1.1640972624497805</c:v>
                </c:pt>
                <c:pt idx="40">
                  <c:v>1.303181243562154</c:v>
                </c:pt>
                <c:pt idx="41">
                  <c:v>1.2739760160207327</c:v>
                </c:pt>
                <c:pt idx="42">
                  <c:v>1.0242185456540367</c:v>
                </c:pt>
                <c:pt idx="43">
                  <c:v>1.1381044887234508</c:v>
                </c:pt>
                <c:pt idx="44">
                  <c:v>1.071843221078346</c:v>
                </c:pt>
                <c:pt idx="45">
                  <c:v>1.1829539906167</c:v>
                </c:pt>
                <c:pt idx="46">
                  <c:v>1.0457622624434388</c:v>
                </c:pt>
                <c:pt idx="47">
                  <c:v>1.0367831981486897</c:v>
                </c:pt>
                <c:pt idx="48">
                  <c:v>0.9335720787835493</c:v>
                </c:pt>
                <c:pt idx="49">
                  <c:v>0.8700901412776413</c:v>
                </c:pt>
                <c:pt idx="50">
                  <c:v>0.8683774054982818</c:v>
                </c:pt>
                <c:pt idx="51">
                  <c:v>0.8753025014652637</c:v>
                </c:pt>
                <c:pt idx="52">
                  <c:v>-1.4454763072423404</c:v>
                </c:pt>
                <c:pt idx="53">
                  <c:v>-1.1160258393613864</c:v>
                </c:pt>
                <c:pt idx="54">
                  <c:v>1.7738634950870282</c:v>
                </c:pt>
              </c:numCache>
            </c:numRef>
          </c:xVal>
          <c:yVal>
            <c:numRef>
              <c:f>Sheet1!$B$184:$B$238</c:f>
              <c:numCache>
                <c:formatCode>General</c:formatCode>
                <c:ptCount val="55"/>
                <c:pt idx="0">
                  <c:v>0.10290366333095612</c:v>
                </c:pt>
                <c:pt idx="1">
                  <c:v>0.10384872795830752</c:v>
                </c:pt>
                <c:pt idx="2">
                  <c:v>0.1015870780097725</c:v>
                </c:pt>
                <c:pt idx="3">
                  <c:v>0.10505447771500437</c:v>
                </c:pt>
                <c:pt idx="4">
                  <c:v>0.10185993801512391</c:v>
                </c:pt>
                <c:pt idx="5">
                  <c:v>0.10373694880831107</c:v>
                </c:pt>
                <c:pt idx="6">
                  <c:v>0.10437668046623774</c:v>
                </c:pt>
                <c:pt idx="7">
                  <c:v>0.1015935730500509</c:v>
                </c:pt>
                <c:pt idx="8">
                  <c:v>0.10104520643105092</c:v>
                </c:pt>
                <c:pt idx="9">
                  <c:v>0.10322546876752657</c:v>
                </c:pt>
                <c:pt idx="10">
                  <c:v>0.10201563497752181</c:v>
                </c:pt>
                <c:pt idx="11">
                  <c:v>0.1022584913035762</c:v>
                </c:pt>
                <c:pt idx="12">
                  <c:v>0.10355234856542574</c:v>
                </c:pt>
                <c:pt idx="13">
                  <c:v>0.10504880137510253</c:v>
                </c:pt>
                <c:pt idx="14">
                  <c:v>0.10413214290113273</c:v>
                </c:pt>
                <c:pt idx="15">
                  <c:v>0.10513968125881104</c:v>
                </c:pt>
                <c:pt idx="16">
                  <c:v>0.10087283721937199</c:v>
                </c:pt>
                <c:pt idx="17">
                  <c:v>0.10262491504722145</c:v>
                </c:pt>
                <c:pt idx="18">
                  <c:v>0.10286483907301307</c:v>
                </c:pt>
                <c:pt idx="19">
                  <c:v>0.10118666611210304</c:v>
                </c:pt>
                <c:pt idx="20">
                  <c:v>0.10100182199219793</c:v>
                </c:pt>
                <c:pt idx="21">
                  <c:v>0.10236484601571212</c:v>
                </c:pt>
                <c:pt idx="22">
                  <c:v>0.10662823090776496</c:v>
                </c:pt>
                <c:pt idx="23">
                  <c:v>0.10578698794271647</c:v>
                </c:pt>
                <c:pt idx="24">
                  <c:v>0.10549254815891101</c:v>
                </c:pt>
                <c:pt idx="25">
                  <c:v>0.10291078080278261</c:v>
                </c:pt>
                <c:pt idx="26">
                  <c:v>0.10748754570445321</c:v>
                </c:pt>
                <c:pt idx="27">
                  <c:v>0.10458335029321474</c:v>
                </c:pt>
                <c:pt idx="28">
                  <c:v>0.10477908692697693</c:v>
                </c:pt>
                <c:pt idx="29">
                  <c:v>0.10547989617243121</c:v>
                </c:pt>
                <c:pt idx="30">
                  <c:v>0.10514452088739765</c:v>
                </c:pt>
                <c:pt idx="31">
                  <c:v>0.1037178757493428</c:v>
                </c:pt>
                <c:pt idx="32">
                  <c:v>0.10399616386842395</c:v>
                </c:pt>
                <c:pt idx="33">
                  <c:v>0.10607708089048948</c:v>
                </c:pt>
                <c:pt idx="34">
                  <c:v>0.10600124844962733</c:v>
                </c:pt>
                <c:pt idx="35">
                  <c:v>0.10249517248201019</c:v>
                </c:pt>
                <c:pt idx="36">
                  <c:v>0.10339155456722585</c:v>
                </c:pt>
                <c:pt idx="37">
                  <c:v>0.10004723273200825</c:v>
                </c:pt>
                <c:pt idx="38">
                  <c:v>0.10299239085491187</c:v>
                </c:pt>
                <c:pt idx="39">
                  <c:v>0.102497813573014</c:v>
                </c:pt>
                <c:pt idx="40">
                  <c:v>0.10088767989888223</c:v>
                </c:pt>
                <c:pt idx="41">
                  <c:v>0.10122578008805591</c:v>
                </c:pt>
                <c:pt idx="42">
                  <c:v>0.1041171476645885</c:v>
                </c:pt>
                <c:pt idx="43">
                  <c:v>0.10279872414464221</c:v>
                </c:pt>
                <c:pt idx="44">
                  <c:v>0.10356581103324544</c:v>
                </c:pt>
                <c:pt idx="45">
                  <c:v>0.10227951486770893</c:v>
                </c:pt>
                <c:pt idx="46">
                  <c:v>0.10386774249519988</c:v>
                </c:pt>
                <c:pt idx="47">
                  <c:v>0.10397169043850393</c:v>
                </c:pt>
                <c:pt idx="48">
                  <c:v>0.10516653471536122</c:v>
                </c:pt>
                <c:pt idx="49">
                  <c:v>0.10590144612974478</c:v>
                </c:pt>
                <c:pt idx="50">
                  <c:v>0.1059212739598887</c:v>
                </c:pt>
                <c:pt idx="51">
                  <c:v>0.10584110419393973</c:v>
                </c:pt>
                <c:pt idx="52">
                  <c:v>0.13270806673143287</c:v>
                </c:pt>
                <c:pt idx="53">
                  <c:v>0.12889411714463606</c:v>
                </c:pt>
                <c:pt idx="54">
                  <c:v>0.095438732170070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13084112149532"/>
          <c:min val="0.0440944881889763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747.013</c:v>
                </c:pt>
                <c:pt idx="1">
                  <c:v>993.0235</c:v>
                </c:pt>
                <c:pt idx="2">
                  <c:v>925.2895</c:v>
                </c:pt>
                <c:pt idx="3">
                  <c:v>894.9159</c:v>
                </c:pt>
                <c:pt idx="4">
                  <c:v>941.809</c:v>
                </c:pt>
                <c:pt idx="5">
                  <c:v>903.8533</c:v>
                </c:pt>
                <c:pt idx="6">
                  <c:v>896.0857</c:v>
                </c:pt>
                <c:pt idx="7">
                  <c:v>906.3571</c:v>
                </c:pt>
                <c:pt idx="8">
                  <c:v>921.7808</c:v>
                </c:pt>
                <c:pt idx="9">
                  <c:v>912.1398</c:v>
                </c:pt>
                <c:pt idx="10">
                  <c:v>901.6796</c:v>
                </c:pt>
                <c:pt idx="11">
                  <c:v>896.1923</c:v>
                </c:pt>
                <c:pt idx="12">
                  <c:v>916.1064</c:v>
                </c:pt>
                <c:pt idx="13">
                  <c:v>893.2887</c:v>
                </c:pt>
                <c:pt idx="14">
                  <c:v>915.0824</c:v>
                </c:pt>
                <c:pt idx="15">
                  <c:v>1004.3281</c:v>
                </c:pt>
                <c:pt idx="16">
                  <c:v>1027.94</c:v>
                </c:pt>
                <c:pt idx="17">
                  <c:v>995.4118</c:v>
                </c:pt>
                <c:pt idx="18">
                  <c:v>1004.7778</c:v>
                </c:pt>
                <c:pt idx="19">
                  <c:v>1029.2619</c:v>
                </c:pt>
                <c:pt idx="20">
                  <c:v>991.7292</c:v>
                </c:pt>
                <c:pt idx="21">
                  <c:v>1027.1207</c:v>
                </c:pt>
                <c:pt idx="22">
                  <c:v>1008.6</c:v>
                </c:pt>
                <c:pt idx="23">
                  <c:v>1002.8889</c:v>
                </c:pt>
                <c:pt idx="24">
                  <c:v>959.1111</c:v>
                </c:pt>
                <c:pt idx="25">
                  <c:v>899.0893</c:v>
                </c:pt>
                <c:pt idx="26">
                  <c:v>908.6406</c:v>
                </c:pt>
                <c:pt idx="27">
                  <c:v>900.4884</c:v>
                </c:pt>
                <c:pt idx="28">
                  <c:v>1039.1176</c:v>
                </c:pt>
                <c:pt idx="29">
                  <c:v>981.0</c:v>
                </c:pt>
                <c:pt idx="30">
                  <c:v>1014.1364</c:v>
                </c:pt>
                <c:pt idx="31">
                  <c:v>1053.6923</c:v>
                </c:pt>
                <c:pt idx="32">
                  <c:v>1041.6939</c:v>
                </c:pt>
                <c:pt idx="33">
                  <c:v>1103.0</c:v>
                </c:pt>
                <c:pt idx="34">
                  <c:v>1185.8333</c:v>
                </c:pt>
                <c:pt idx="35">
                  <c:v>1274.2143</c:v>
                </c:pt>
                <c:pt idx="36">
                  <c:v>1136.775</c:v>
                </c:pt>
                <c:pt idx="37">
                  <c:v>1158.2642</c:v>
                </c:pt>
                <c:pt idx="38">
                  <c:v>1155.5</c:v>
                </c:pt>
                <c:pt idx="39">
                  <c:v>1200.2453</c:v>
                </c:pt>
                <c:pt idx="40">
                  <c:v>1160.5455</c:v>
                </c:pt>
                <c:pt idx="41">
                  <c:v>1049.2</c:v>
                </c:pt>
                <c:pt idx="42">
                  <c:v>999.2403</c:v>
                </c:pt>
                <c:pt idx="43">
                  <c:v>987.6162</c:v>
                </c:pt>
                <c:pt idx="44">
                  <c:v>983.578</c:v>
                </c:pt>
                <c:pt idx="45">
                  <c:v>988.0249</c:v>
                </c:pt>
                <c:pt idx="46">
                  <c:v>962.4016</c:v>
                </c:pt>
                <c:pt idx="47">
                  <c:v>954.2228</c:v>
                </c:pt>
                <c:pt idx="48">
                  <c:v>974.8015</c:v>
                </c:pt>
                <c:pt idx="49">
                  <c:v>992.1852</c:v>
                </c:pt>
                <c:pt idx="50">
                  <c:v>1083.2269</c:v>
                </c:pt>
                <c:pt idx="51">
                  <c:v>1121.9806</c:v>
                </c:pt>
                <c:pt idx="52">
                  <c:v>1127.7283</c:v>
                </c:pt>
                <c:pt idx="53">
                  <c:v>1125.4632</c:v>
                </c:pt>
                <c:pt idx="54">
                  <c:v>1122.7523</c:v>
                </c:pt>
                <c:pt idx="55">
                  <c:v>1064.9407</c:v>
                </c:pt>
                <c:pt idx="56">
                  <c:v>1089.7931</c:v>
                </c:pt>
                <c:pt idx="57">
                  <c:v>1086.5906</c:v>
                </c:pt>
                <c:pt idx="58">
                  <c:v>1060.8403</c:v>
                </c:pt>
                <c:pt idx="59">
                  <c:v>1044.8396</c:v>
                </c:pt>
                <c:pt idx="60">
                  <c:v>1032.3281</c:v>
                </c:pt>
                <c:pt idx="61">
                  <c:v>1026.0602</c:v>
                </c:pt>
                <c:pt idx="62">
                  <c:v>989.458</c:v>
                </c:pt>
                <c:pt idx="63">
                  <c:v>1000.0</c:v>
                </c:pt>
                <c:pt idx="64">
                  <c:v>1063.8316</c:v>
                </c:pt>
                <c:pt idx="65">
                  <c:v>1124.5873</c:v>
                </c:pt>
                <c:pt idx="66">
                  <c:v>1109.2857</c:v>
                </c:pt>
                <c:pt idx="67">
                  <c:v>1084.1698</c:v>
                </c:pt>
                <c:pt idx="68">
                  <c:v>1173.6667</c:v>
                </c:pt>
                <c:pt idx="69">
                  <c:v>1206.55</c:v>
                </c:pt>
                <c:pt idx="70">
                  <c:v>1148.8846</c:v>
                </c:pt>
                <c:pt idx="71">
                  <c:v>1098.5484</c:v>
                </c:pt>
                <c:pt idx="72">
                  <c:v>1093.3966</c:v>
                </c:pt>
                <c:pt idx="73">
                  <c:v>1119.02</c:v>
                </c:pt>
                <c:pt idx="74">
                  <c:v>1119.1458</c:v>
                </c:pt>
                <c:pt idx="75">
                  <c:v>1135.5</c:v>
                </c:pt>
                <c:pt idx="76">
                  <c:v>1166.3958</c:v>
                </c:pt>
                <c:pt idx="77">
                  <c:v>1183.9545</c:v>
                </c:pt>
                <c:pt idx="78">
                  <c:v>1206.4151</c:v>
                </c:pt>
                <c:pt idx="79">
                  <c:v>1184.2647</c:v>
                </c:pt>
                <c:pt idx="80">
                  <c:v>1248.7083</c:v>
                </c:pt>
                <c:pt idx="81">
                  <c:v>1204.8333</c:v>
                </c:pt>
                <c:pt idx="82">
                  <c:v>1185.6098</c:v>
                </c:pt>
                <c:pt idx="83">
                  <c:v>1134.541</c:v>
                </c:pt>
                <c:pt idx="84">
                  <c:v>1139.8889</c:v>
                </c:pt>
                <c:pt idx="85">
                  <c:v>1103.1731</c:v>
                </c:pt>
                <c:pt idx="86">
                  <c:v>1151.4872</c:v>
                </c:pt>
                <c:pt idx="87">
                  <c:v>1144.1163</c:v>
                </c:pt>
                <c:pt idx="88">
                  <c:v>1183.5111</c:v>
                </c:pt>
                <c:pt idx="89">
                  <c:v>1177.1148</c:v>
                </c:pt>
                <c:pt idx="90">
                  <c:v>1192.7288</c:v>
                </c:pt>
                <c:pt idx="91">
                  <c:v>1143.9375</c:v>
                </c:pt>
                <c:pt idx="92">
                  <c:v>1138.0</c:v>
                </c:pt>
                <c:pt idx="93">
                  <c:v>1147.3837</c:v>
                </c:pt>
                <c:pt idx="94">
                  <c:v>1127.7731</c:v>
                </c:pt>
                <c:pt idx="95">
                  <c:v>1062.0424</c:v>
                </c:pt>
                <c:pt idx="96">
                  <c:v>1056.6441</c:v>
                </c:pt>
                <c:pt idx="97">
                  <c:v>1078.5872</c:v>
                </c:pt>
                <c:pt idx="98">
                  <c:v>1102.4438</c:v>
                </c:pt>
                <c:pt idx="99">
                  <c:v>1140.9143</c:v>
                </c:pt>
                <c:pt idx="100">
                  <c:v>804.3072</c:v>
                </c:pt>
                <c:pt idx="101">
                  <c:v>948.3116</c:v>
                </c:pt>
              </c:numCache>
            </c:numRef>
          </c:xVal>
          <c:yVal>
            <c:numRef>
              <c:f>Sheet1!$B$2:$B$103</c:f>
              <c:numCache>
                <c:formatCode>General</c:formatCode>
                <c:ptCount val="102"/>
                <c:pt idx="0">
                  <c:v>0.1286549707602339</c:v>
                </c:pt>
                <c:pt idx="1">
                  <c:v>0.10814249363867684</c:v>
                </c:pt>
                <c:pt idx="2">
                  <c:v>0.13555291319857313</c:v>
                </c:pt>
                <c:pt idx="3">
                  <c:v>0.1235565819861432</c:v>
                </c:pt>
                <c:pt idx="4">
                  <c:v>0.12125340599455041</c:v>
                </c:pt>
                <c:pt idx="5">
                  <c:v>0.11755485893416928</c:v>
                </c:pt>
                <c:pt idx="6">
                  <c:v>0.07534983853606028</c:v>
                </c:pt>
                <c:pt idx="7">
                  <c:v>0.07616974972796518</c:v>
                </c:pt>
                <c:pt idx="8">
                  <c:v>0.0929936305732484</c:v>
                </c:pt>
                <c:pt idx="9">
                  <c:v>0.11286407766990292</c:v>
                </c:pt>
                <c:pt idx="10">
                  <c:v>0.11935110081112399</c:v>
                </c:pt>
                <c:pt idx="11">
                  <c:v>0.11845102505694761</c:v>
                </c:pt>
                <c:pt idx="12">
                  <c:v>0.12005108556832694</c:v>
                </c:pt>
                <c:pt idx="13">
                  <c:v>0.1476407914764079</c:v>
                </c:pt>
                <c:pt idx="14">
                  <c:v>0.1423785594639866</c:v>
                </c:pt>
                <c:pt idx="15">
                  <c:v>0.10684474123539232</c:v>
                </c:pt>
                <c:pt idx="16">
                  <c:v>0.09823182711198428</c:v>
                </c:pt>
                <c:pt idx="17">
                  <c:v>0.13731825525040386</c:v>
                </c:pt>
                <c:pt idx="18">
                  <c:v>0.11842105263157894</c:v>
                </c:pt>
                <c:pt idx="19">
                  <c:v>0.07706422018348624</c:v>
                </c:pt>
                <c:pt idx="20">
                  <c:v>0.09177820267686425</c:v>
                </c:pt>
                <c:pt idx="21">
                  <c:v>0.0935483870967742</c:v>
                </c:pt>
                <c:pt idx="22">
                  <c:v>0.08426966292134831</c:v>
                </c:pt>
                <c:pt idx="23">
                  <c:v>0.08681672025723473</c:v>
                </c:pt>
                <c:pt idx="24">
                  <c:v>0.0973724884080371</c:v>
                </c:pt>
                <c:pt idx="25">
                  <c:v>0.09807355516637478</c:v>
                </c:pt>
                <c:pt idx="26">
                  <c:v>0.09481481481481481</c:v>
                </c:pt>
                <c:pt idx="27">
                  <c:v>0.08221797323135756</c:v>
                </c:pt>
                <c:pt idx="28">
                  <c:v>0.05752961082910321</c:v>
                </c:pt>
                <c:pt idx="29">
                  <c:v>0.06679035250463822</c:v>
                </c:pt>
                <c:pt idx="30">
                  <c:v>0.0694006309148265</c:v>
                </c:pt>
                <c:pt idx="31">
                  <c:v>0.06683804627249357</c:v>
                </c:pt>
                <c:pt idx="32">
                  <c:v>0.05875299760191847</c:v>
                </c:pt>
                <c:pt idx="33">
                  <c:v>0.0734094616639478</c:v>
                </c:pt>
                <c:pt idx="34">
                  <c:v>0.05714285714285714</c:v>
                </c:pt>
                <c:pt idx="35">
                  <c:v>0.05511811023622047</c:v>
                </c:pt>
                <c:pt idx="36">
                  <c:v>0.07905138339920949</c:v>
                </c:pt>
                <c:pt idx="37">
                  <c:v>0.07886904761904762</c:v>
                </c:pt>
                <c:pt idx="38">
                  <c:v>0.0859504132231405</c:v>
                </c:pt>
                <c:pt idx="39">
                  <c:v>0.08307210031347963</c:v>
                </c:pt>
                <c:pt idx="40">
                  <c:v>0.07617728531855955</c:v>
                </c:pt>
                <c:pt idx="41">
                  <c:v>0.09943181818181818</c:v>
                </c:pt>
                <c:pt idx="42">
                  <c:v>0.11535580524344569</c:v>
                </c:pt>
                <c:pt idx="43">
                  <c:v>0.11813537675606642</c:v>
                </c:pt>
                <c:pt idx="44">
                  <c:v>0.11548731642189586</c:v>
                </c:pt>
                <c:pt idx="45">
                  <c:v>0.12791932059447983</c:v>
                </c:pt>
                <c:pt idx="46">
                  <c:v>0.1400735294117647</c:v>
                </c:pt>
                <c:pt idx="47">
                  <c:v>0.11955815464587394</c:v>
                </c:pt>
                <c:pt idx="48">
                  <c:v>0.11594202898550725</c:v>
                </c:pt>
                <c:pt idx="49">
                  <c:v>0.10173323285606632</c:v>
                </c:pt>
                <c:pt idx="50">
                  <c:v>0.11805555555555555</c:v>
                </c:pt>
                <c:pt idx="51">
                  <c:v>0.0987535953978907</c:v>
                </c:pt>
                <c:pt idx="52">
                  <c:v>0.09663865546218488</c:v>
                </c:pt>
                <c:pt idx="53">
                  <c:v>0.10869565217391304</c:v>
                </c:pt>
                <c:pt idx="54">
                  <c:v>0.10273327049952875</c:v>
                </c:pt>
                <c:pt idx="55">
                  <c:v>0.1028770706190061</c:v>
                </c:pt>
                <c:pt idx="56">
                  <c:v>0.09751176866173504</c:v>
                </c:pt>
                <c:pt idx="57">
                  <c:v>0.12035541195476575</c:v>
                </c:pt>
                <c:pt idx="58">
                  <c:v>0.13693901035673187</c:v>
                </c:pt>
                <c:pt idx="59">
                  <c:v>0.11064718162839249</c:v>
                </c:pt>
                <c:pt idx="60">
                  <c:v>0.13278008298755187</c:v>
                </c:pt>
                <c:pt idx="61">
                  <c:v>0.1316831683168317</c:v>
                </c:pt>
                <c:pt idx="62">
                  <c:v>0.12718446601941746</c:v>
                </c:pt>
                <c:pt idx="63">
                  <c:v>0.10428849902534112</c:v>
                </c:pt>
                <c:pt idx="64">
                  <c:v>0.10555555555555556</c:v>
                </c:pt>
                <c:pt idx="65">
                  <c:v>0.0860655737704918</c:v>
                </c:pt>
                <c:pt idx="66">
                  <c:v>0.09210526315789473</c:v>
                </c:pt>
                <c:pt idx="67">
                  <c:v>0.08803986710963455</c:v>
                </c:pt>
                <c:pt idx="68">
                  <c:v>0.07608695652173914</c:v>
                </c:pt>
                <c:pt idx="69">
                  <c:v>0.09724473257698542</c:v>
                </c:pt>
                <c:pt idx="70">
                  <c:v>0.08843537414965986</c:v>
                </c:pt>
                <c:pt idx="71">
                  <c:v>0.09295352323838081</c:v>
                </c:pt>
                <c:pt idx="72">
                  <c:v>0.1012216404886562</c:v>
                </c:pt>
                <c:pt idx="73">
                  <c:v>0.09560229445506692</c:v>
                </c:pt>
                <c:pt idx="74">
                  <c:v>0.09523809523809523</c:v>
                </c:pt>
                <c:pt idx="75">
                  <c:v>0.09236947791164658</c:v>
                </c:pt>
                <c:pt idx="76">
                  <c:v>0.08602150537634409</c:v>
                </c:pt>
                <c:pt idx="77">
                  <c:v>0.07985480943738657</c:v>
                </c:pt>
                <c:pt idx="78">
                  <c:v>0.07625899280575539</c:v>
                </c:pt>
                <c:pt idx="79">
                  <c:v>0.06640625</c:v>
                </c:pt>
                <c:pt idx="80">
                  <c:v>0.05660377358490566</c:v>
                </c:pt>
                <c:pt idx="81">
                  <c:v>0.07407407407407407</c:v>
                </c:pt>
                <c:pt idx="82">
                  <c:v>0.07750472589792061</c:v>
                </c:pt>
                <c:pt idx="83">
                  <c:v>0.08615819209039548</c:v>
                </c:pt>
                <c:pt idx="84">
                  <c:v>0.07875</c:v>
                </c:pt>
                <c:pt idx="85">
                  <c:v>0.09792843691148775</c:v>
                </c:pt>
                <c:pt idx="86">
                  <c:v>0.08843537414965986</c:v>
                </c:pt>
                <c:pt idx="87">
                  <c:v>0.09033613445378151</c:v>
                </c:pt>
                <c:pt idx="88">
                  <c:v>0.0907258064516129</c:v>
                </c:pt>
                <c:pt idx="89">
                  <c:v>0.09399075500770417</c:v>
                </c:pt>
                <c:pt idx="90">
                  <c:v>0.08858858858858859</c:v>
                </c:pt>
                <c:pt idx="91">
                  <c:v>0.0997920997920998</c:v>
                </c:pt>
                <c:pt idx="92">
                  <c:v>0.09502923976608187</c:v>
                </c:pt>
                <c:pt idx="93">
                  <c:v>0.08167141500474834</c:v>
                </c:pt>
                <c:pt idx="94">
                  <c:v>0.09842845326716294</c:v>
                </c:pt>
                <c:pt idx="95">
                  <c:v>0.10963455149501661</c:v>
                </c:pt>
                <c:pt idx="96">
                  <c:v>0.11425630468347915</c:v>
                </c:pt>
                <c:pt idx="97">
                  <c:v>0.1151639344262295</c:v>
                </c:pt>
                <c:pt idx="98">
                  <c:v>0.11695501730103806</c:v>
                </c:pt>
                <c:pt idx="99">
                  <c:v>0.10174418604651163</c:v>
                </c:pt>
                <c:pt idx="100">
                  <c:v>0.13174603174603175</c:v>
                </c:pt>
                <c:pt idx="101">
                  <c:v>0.13080568720379146</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1063.7813</c:v>
                </c:pt>
                <c:pt idx="1">
                  <c:v>974.9434</c:v>
                </c:pt>
                <c:pt idx="2">
                  <c:v>977.2667</c:v>
                </c:pt>
                <c:pt idx="3">
                  <c:v>968.7194</c:v>
                </c:pt>
                <c:pt idx="4">
                  <c:v>959.9515</c:v>
                </c:pt>
                <c:pt idx="5">
                  <c:v>950.9477</c:v>
                </c:pt>
                <c:pt idx="6">
                  <c:v>939.6884</c:v>
                </c:pt>
                <c:pt idx="7">
                  <c:v>1049.3091</c:v>
                </c:pt>
                <c:pt idx="8">
                  <c:v>1248.8235</c:v>
                </c:pt>
                <c:pt idx="9">
                  <c:v>1173.9241</c:v>
                </c:pt>
                <c:pt idx="10">
                  <c:v>1208.8485</c:v>
                </c:pt>
                <c:pt idx="11">
                  <c:v>1020.2692</c:v>
                </c:pt>
                <c:pt idx="12">
                  <c:v>1149.4578</c:v>
                </c:pt>
                <c:pt idx="13">
                  <c:v>1216.1688</c:v>
                </c:pt>
                <c:pt idx="14">
                  <c:v>1184.1067</c:v>
                </c:pt>
                <c:pt idx="15">
                  <c:v>1220.9643</c:v>
                </c:pt>
                <c:pt idx="16">
                  <c:v>1228.4318</c:v>
                </c:pt>
                <c:pt idx="17">
                  <c:v>1205.931</c:v>
                </c:pt>
                <c:pt idx="18">
                  <c:v>1332.2609</c:v>
                </c:pt>
                <c:pt idx="19">
                  <c:v>1305.4565</c:v>
                </c:pt>
                <c:pt idx="20">
                  <c:v>1312.2041</c:v>
                </c:pt>
                <c:pt idx="21">
                  <c:v>1255.5227</c:v>
                </c:pt>
                <c:pt idx="22">
                  <c:v>1173.0217</c:v>
                </c:pt>
                <c:pt idx="23">
                  <c:v>1109.9444</c:v>
                </c:pt>
                <c:pt idx="24">
                  <c:v>1145.3448</c:v>
                </c:pt>
                <c:pt idx="25">
                  <c:v>1060.3971</c:v>
                </c:pt>
                <c:pt idx="26">
                  <c:v>1134.8113</c:v>
                </c:pt>
                <c:pt idx="27">
                  <c:v>1129.9</c:v>
                </c:pt>
                <c:pt idx="28">
                  <c:v>1163.6714</c:v>
                </c:pt>
                <c:pt idx="29">
                  <c:v>1147.2712</c:v>
                </c:pt>
                <c:pt idx="30">
                  <c:v>1164.1034</c:v>
                </c:pt>
                <c:pt idx="31">
                  <c:v>1097.88</c:v>
                </c:pt>
                <c:pt idx="32">
                  <c:v>1114.3387</c:v>
                </c:pt>
                <c:pt idx="33">
                  <c:v>1093.6548</c:v>
                </c:pt>
                <c:pt idx="34">
                  <c:v>1145.9263</c:v>
                </c:pt>
                <c:pt idx="35">
                  <c:v>1125.3205</c:v>
                </c:pt>
                <c:pt idx="36">
                  <c:v>1190.5854</c:v>
                </c:pt>
                <c:pt idx="37">
                  <c:v>1309.0541</c:v>
                </c:pt>
                <c:pt idx="38">
                  <c:v>1275.3243</c:v>
                </c:pt>
                <c:pt idx="39">
                  <c:v>1245.9333</c:v>
                </c:pt>
                <c:pt idx="40">
                  <c:v>1346.0</c:v>
                </c:pt>
                <c:pt idx="41">
                  <c:v>1351.8478</c:v>
                </c:pt>
                <c:pt idx="42">
                  <c:v>1338.8</c:v>
                </c:pt>
                <c:pt idx="43">
                  <c:v>1299.4308</c:v>
                </c:pt>
                <c:pt idx="44">
                  <c:v>1228.5467</c:v>
                </c:pt>
                <c:pt idx="45">
                  <c:v>1150.5918</c:v>
                </c:pt>
                <c:pt idx="46">
                  <c:v>1155.5673</c:v>
                </c:pt>
                <c:pt idx="47">
                  <c:v>1139.9903</c:v>
                </c:pt>
                <c:pt idx="48">
                  <c:v>1143.5091</c:v>
                </c:pt>
                <c:pt idx="49">
                  <c:v>1133.2054</c:v>
                </c:pt>
                <c:pt idx="50">
                  <c:v>1010.7913</c:v>
                </c:pt>
                <c:pt idx="51">
                  <c:v>1001.6378</c:v>
                </c:pt>
              </c:numCache>
            </c:numRef>
          </c:xVal>
          <c:yVal>
            <c:numRef>
              <c:f>Sheet1!$B$106:$B$157</c:f>
              <c:numCache>
                <c:formatCode>General</c:formatCode>
                <c:ptCount val="52"/>
                <c:pt idx="0">
                  <c:v>0.12098298676748583</c:v>
                </c:pt>
                <c:pt idx="1">
                  <c:v>0.16510903426791276</c:v>
                </c:pt>
                <c:pt idx="2">
                  <c:v>0.14692787177203917</c:v>
                </c:pt>
                <c:pt idx="3">
                  <c:v>0.12894248608534323</c:v>
                </c:pt>
                <c:pt idx="4">
                  <c:v>0.16019417475728157</c:v>
                </c:pt>
                <c:pt idx="5">
                  <c:v>0.14166666666666666</c:v>
                </c:pt>
                <c:pt idx="6">
                  <c:v>0.11210398050365557</c:v>
                </c:pt>
                <c:pt idx="7">
                  <c:v>0.11664899257688228</c:v>
                </c:pt>
                <c:pt idx="8">
                  <c:v>0.10179640718562874</c:v>
                </c:pt>
                <c:pt idx="9">
                  <c:v>0.09949622166246852</c:v>
                </c:pt>
                <c:pt idx="10">
                  <c:v>0.08776595744680851</c:v>
                </c:pt>
                <c:pt idx="11">
                  <c:v>0.07987711213517665</c:v>
                </c:pt>
                <c:pt idx="12">
                  <c:v>0.08539094650205761</c:v>
                </c:pt>
                <c:pt idx="13">
                  <c:v>0.09424724602203183</c:v>
                </c:pt>
                <c:pt idx="14">
                  <c:v>0.09529860228716645</c:v>
                </c:pt>
                <c:pt idx="15">
                  <c:v>0.08139534883720931</c:v>
                </c:pt>
                <c:pt idx="16">
                  <c:v>0.07142857142857142</c:v>
                </c:pt>
                <c:pt idx="17">
                  <c:v>0.09090909090909091</c:v>
                </c:pt>
                <c:pt idx="18">
                  <c:v>0.08288288288288288</c:v>
                </c:pt>
                <c:pt idx="19">
                  <c:v>0.07744107744107744</c:v>
                </c:pt>
                <c:pt idx="20">
                  <c:v>0.09090909090909091</c:v>
                </c:pt>
                <c:pt idx="21">
                  <c:v>0.08997955010224949</c:v>
                </c:pt>
                <c:pt idx="22">
                  <c:v>0.08712121212121213</c:v>
                </c:pt>
                <c:pt idx="23">
                  <c:v>0.1115702479338843</c:v>
                </c:pt>
                <c:pt idx="24">
                  <c:v>0.10301953818827708</c:v>
                </c:pt>
                <c:pt idx="25">
                  <c:v>0.11929824561403508</c:v>
                </c:pt>
                <c:pt idx="26">
                  <c:v>0.09566787003610108</c:v>
                </c:pt>
                <c:pt idx="27">
                  <c:v>0.09884678747940692</c:v>
                </c:pt>
                <c:pt idx="28">
                  <c:v>0.10835913312693499</c:v>
                </c:pt>
                <c:pt idx="29">
                  <c:v>0.11281070745697896</c:v>
                </c:pt>
                <c:pt idx="30">
                  <c:v>0.11836734693877551</c:v>
                </c:pt>
                <c:pt idx="31">
                  <c:v>0.11013215859030837</c:v>
                </c:pt>
                <c:pt idx="32">
                  <c:v>0.11854684512428298</c:v>
                </c:pt>
                <c:pt idx="33">
                  <c:v>0.11864406779661017</c:v>
                </c:pt>
                <c:pt idx="34">
                  <c:v>0.11189634864546526</c:v>
                </c:pt>
                <c:pt idx="35">
                  <c:v>0.1248</c:v>
                </c:pt>
                <c:pt idx="36">
                  <c:v>0.1111111111111111</c:v>
                </c:pt>
                <c:pt idx="37">
                  <c:v>0.08525345622119816</c:v>
                </c:pt>
                <c:pt idx="38">
                  <c:v>0.08980582524271845</c:v>
                </c:pt>
                <c:pt idx="39">
                  <c:v>0.11627906976744186</c:v>
                </c:pt>
                <c:pt idx="40">
                  <c:v>0.0891089108910891</c:v>
                </c:pt>
                <c:pt idx="41">
                  <c:v>0.08258527827648116</c:v>
                </c:pt>
                <c:pt idx="42">
                  <c:v>0.09633911368015415</c:v>
                </c:pt>
                <c:pt idx="43">
                  <c:v>0.0962962962962963</c:v>
                </c:pt>
                <c:pt idx="44">
                  <c:v>0.10053619302949061</c:v>
                </c:pt>
                <c:pt idx="45">
                  <c:v>0.09245283018867924</c:v>
                </c:pt>
                <c:pt idx="46">
                  <c:v>0.10327706057596822</c:v>
                </c:pt>
                <c:pt idx="47">
                  <c:v>0.09262589928057553</c:v>
                </c:pt>
                <c:pt idx="48">
                  <c:v>0.0912863070539419</c:v>
                </c:pt>
                <c:pt idx="49">
                  <c:v>0.07932011331444759</c:v>
                </c:pt>
                <c:pt idx="50">
                  <c:v>0.10083210964268233</c:v>
                </c:pt>
                <c:pt idx="51">
                  <c:v>0.0997643362136685</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945.9920630148204</c:v>
                </c:pt>
              </c:numCache>
            </c:numRef>
          </c:xVal>
          <c:yVal>
            <c:numRef>
              <c:f>Sheet1!$B$160:$B$161</c:f>
              <c:numCache>
                <c:formatCode>General</c:formatCode>
                <c:ptCount val="2"/>
                <c:pt idx="0">
                  <c:v>0.12889411714463606</c:v>
                </c:pt>
                <c:pt idx="1">
                  <c:v>0.12889411714463606</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945.9920630148204</c:v>
                </c:pt>
                <c:pt idx="1">
                  <c:v>945.9920630148204</c:v>
                </c:pt>
              </c:numCache>
            </c:numRef>
          </c:xVal>
          <c:yVal>
            <c:numRef>
              <c:f>Sheet1!$B$164:$B$165</c:f>
              <c:numCache>
                <c:formatCode>General</c:formatCode>
                <c:ptCount val="2"/>
                <c:pt idx="0">
                  <c:v>0.128894117144636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914.4346370261777</c:v>
                </c:pt>
              </c:numCache>
            </c:numRef>
          </c:xVal>
          <c:yVal>
            <c:numRef>
              <c:f>Sheet1!$B$168:$B$169</c:f>
              <c:numCache>
                <c:formatCode>General</c:formatCode>
                <c:ptCount val="2"/>
                <c:pt idx="0">
                  <c:v>0.13270806673143287</c:v>
                </c:pt>
                <c:pt idx="1">
                  <c:v>0.13270806673143287</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914.4346370261777</c:v>
                </c:pt>
                <c:pt idx="1">
                  <c:v>914.4346370261777</c:v>
                </c:pt>
              </c:numCache>
            </c:numRef>
          </c:xVal>
          <c:yVal>
            <c:numRef>
              <c:f>Sheet1!$B$172:$B$173</c:f>
              <c:numCache>
                <c:formatCode>General</c:formatCode>
                <c:ptCount val="2"/>
                <c:pt idx="0">
                  <c:v>0.132708066731432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1222.8089981183318</c:v>
                </c:pt>
              </c:numCache>
            </c:numRef>
          </c:xVal>
          <c:yVal>
            <c:numRef>
              <c:f>Sheet1!$B$176:$B$177</c:f>
              <c:numCache>
                <c:formatCode>General</c:formatCode>
                <c:ptCount val="2"/>
                <c:pt idx="0">
                  <c:v>0.09543873217007048</c:v>
                </c:pt>
                <c:pt idx="1">
                  <c:v>0.09543873217007048</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1222.8089981183318</c:v>
                </c:pt>
                <c:pt idx="1">
                  <c:v>1222.8089981183318</c:v>
                </c:pt>
              </c:numCache>
            </c:numRef>
          </c:xVal>
          <c:yVal>
            <c:numRef>
              <c:f>Sheet1!$B$180:$B$181</c:f>
              <c:numCache>
                <c:formatCode>General</c:formatCode>
                <c:ptCount val="2"/>
                <c:pt idx="0">
                  <c:v>0.095438732170070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1063.7813</c:v>
                </c:pt>
                <c:pt idx="1">
                  <c:v>974.9434</c:v>
                </c:pt>
                <c:pt idx="2">
                  <c:v>977.2667</c:v>
                </c:pt>
                <c:pt idx="3">
                  <c:v>968.7194</c:v>
                </c:pt>
                <c:pt idx="4">
                  <c:v>959.9515</c:v>
                </c:pt>
                <c:pt idx="5">
                  <c:v>950.9477</c:v>
                </c:pt>
                <c:pt idx="6">
                  <c:v>939.6884</c:v>
                </c:pt>
                <c:pt idx="7">
                  <c:v>1049.3091</c:v>
                </c:pt>
                <c:pt idx="8">
                  <c:v>1248.8235</c:v>
                </c:pt>
                <c:pt idx="9">
                  <c:v>1173.9241</c:v>
                </c:pt>
                <c:pt idx="10">
                  <c:v>1208.8485</c:v>
                </c:pt>
                <c:pt idx="11">
                  <c:v>1020.2692</c:v>
                </c:pt>
                <c:pt idx="12">
                  <c:v>1149.4578</c:v>
                </c:pt>
                <c:pt idx="13">
                  <c:v>1216.1688</c:v>
                </c:pt>
                <c:pt idx="14">
                  <c:v>1184.1067</c:v>
                </c:pt>
                <c:pt idx="15">
                  <c:v>1220.9643</c:v>
                </c:pt>
                <c:pt idx="16">
                  <c:v>1228.4318</c:v>
                </c:pt>
                <c:pt idx="17">
                  <c:v>1205.931</c:v>
                </c:pt>
                <c:pt idx="18">
                  <c:v>1332.2609</c:v>
                </c:pt>
                <c:pt idx="19">
                  <c:v>1305.4565</c:v>
                </c:pt>
                <c:pt idx="20">
                  <c:v>1312.2041</c:v>
                </c:pt>
                <c:pt idx="21">
                  <c:v>1255.5227</c:v>
                </c:pt>
                <c:pt idx="22">
                  <c:v>1173.0217</c:v>
                </c:pt>
                <c:pt idx="23">
                  <c:v>1109.9444</c:v>
                </c:pt>
                <c:pt idx="24">
                  <c:v>1145.3448</c:v>
                </c:pt>
                <c:pt idx="25">
                  <c:v>1060.3971</c:v>
                </c:pt>
                <c:pt idx="26">
                  <c:v>1134.8113</c:v>
                </c:pt>
                <c:pt idx="27">
                  <c:v>1129.9</c:v>
                </c:pt>
                <c:pt idx="28">
                  <c:v>1163.6714</c:v>
                </c:pt>
                <c:pt idx="29">
                  <c:v>1147.2712</c:v>
                </c:pt>
                <c:pt idx="30">
                  <c:v>1164.1034</c:v>
                </c:pt>
                <c:pt idx="31">
                  <c:v>1097.88</c:v>
                </c:pt>
                <c:pt idx="32">
                  <c:v>1114.3387</c:v>
                </c:pt>
                <c:pt idx="33">
                  <c:v>1093.6548</c:v>
                </c:pt>
                <c:pt idx="34">
                  <c:v>1145.9263</c:v>
                </c:pt>
                <c:pt idx="35">
                  <c:v>1125.3205</c:v>
                </c:pt>
                <c:pt idx="36">
                  <c:v>1190.5854</c:v>
                </c:pt>
                <c:pt idx="37">
                  <c:v>1309.0541</c:v>
                </c:pt>
                <c:pt idx="38">
                  <c:v>1275.3243</c:v>
                </c:pt>
                <c:pt idx="39">
                  <c:v>1245.9333</c:v>
                </c:pt>
                <c:pt idx="40">
                  <c:v>1346.0</c:v>
                </c:pt>
                <c:pt idx="41">
                  <c:v>1351.8478</c:v>
                </c:pt>
                <c:pt idx="42">
                  <c:v>1338.8</c:v>
                </c:pt>
                <c:pt idx="43">
                  <c:v>1299.4308</c:v>
                </c:pt>
                <c:pt idx="44">
                  <c:v>1228.5467</c:v>
                </c:pt>
                <c:pt idx="45">
                  <c:v>1150.5918</c:v>
                </c:pt>
                <c:pt idx="46">
                  <c:v>1155.5673</c:v>
                </c:pt>
                <c:pt idx="47">
                  <c:v>1139.9903</c:v>
                </c:pt>
                <c:pt idx="48">
                  <c:v>1143.5091</c:v>
                </c:pt>
                <c:pt idx="49">
                  <c:v>1133.2054</c:v>
                </c:pt>
                <c:pt idx="50">
                  <c:v>1010.7913</c:v>
                </c:pt>
                <c:pt idx="51">
                  <c:v>1001.6378</c:v>
                </c:pt>
                <c:pt idx="52">
                  <c:v>914.4346370261777</c:v>
                </c:pt>
                <c:pt idx="53">
                  <c:v>945.9920630148204</c:v>
                </c:pt>
                <c:pt idx="54">
                  <c:v>1222.8089981183318</c:v>
                </c:pt>
              </c:numCache>
            </c:numRef>
          </c:xVal>
          <c:yVal>
            <c:numRef>
              <c:f>Sheet1!$B$184:$B$238</c:f>
              <c:numCache>
                <c:formatCode>General</c:formatCode>
                <c:ptCount val="55"/>
                <c:pt idx="0">
                  <c:v>0.114658411992688</c:v>
                </c:pt>
                <c:pt idx="1">
                  <c:v>0.12539513279237674</c:v>
                </c:pt>
                <c:pt idx="2">
                  <c:v>0.12511434471168242</c:v>
                </c:pt>
                <c:pt idx="3">
                  <c:v>0.12614734947306444</c:v>
                </c:pt>
                <c:pt idx="4">
                  <c:v>0.12720701538479345</c:v>
                </c:pt>
                <c:pt idx="5">
                  <c:v>0.12829519156563784</c:v>
                </c:pt>
                <c:pt idx="6">
                  <c:v>0.12965596169302646</c:v>
                </c:pt>
                <c:pt idx="7">
                  <c:v>0.11640748497569703</c:v>
                </c:pt>
                <c:pt idx="8">
                  <c:v>0.0922946861779157</c:v>
                </c:pt>
                <c:pt idx="9">
                  <c:v>0.10134683560810492</c:v>
                </c:pt>
                <c:pt idx="10">
                  <c:v>0.09712596217574496</c:v>
                </c:pt>
                <c:pt idx="11">
                  <c:v>0.11991717282683806</c:v>
                </c:pt>
                <c:pt idx="12">
                  <c:v>0.1043037698906738</c:v>
                </c:pt>
                <c:pt idx="13">
                  <c:v>0.0962412494881425</c:v>
                </c:pt>
                <c:pt idx="14">
                  <c:v>0.10011619268188862</c:v>
                </c:pt>
                <c:pt idx="15">
                  <c:v>0.09566167765455671</c:v>
                </c:pt>
                <c:pt idx="16">
                  <c:v>0.09475917475239812</c:v>
                </c:pt>
                <c:pt idx="17">
                  <c:v>0.09747856374481731</c:v>
                </c:pt>
                <c:pt idx="18">
                  <c:v>0.08221065596049781</c:v>
                </c:pt>
                <c:pt idx="19">
                  <c:v>0.0854501670138115</c:v>
                </c:pt>
                <c:pt idx="20">
                  <c:v>0.08463466937971639</c:v>
                </c:pt>
                <c:pt idx="21">
                  <c:v>0.09148503804371538</c:v>
                </c:pt>
                <c:pt idx="22">
                  <c:v>0.10145589735820976</c:v>
                </c:pt>
                <c:pt idx="23">
                  <c:v>0.10907925809611785</c:v>
                </c:pt>
                <c:pt idx="24">
                  <c:v>0.10480085652429658</c:v>
                </c:pt>
                <c:pt idx="25">
                  <c:v>0.11506741772706838</c:v>
                </c:pt>
                <c:pt idx="26">
                  <c:v>0.10607390832475022</c:v>
                </c:pt>
                <c:pt idx="27">
                  <c:v>0.1066674754494066</c:v>
                </c:pt>
                <c:pt idx="28">
                  <c:v>0.10258595064057383</c:v>
                </c:pt>
                <c:pt idx="29">
                  <c:v>0.10456803675988838</c:v>
                </c:pt>
                <c:pt idx="30">
                  <c:v>0.1025337402282896</c:v>
                </c:pt>
                <c:pt idx="31">
                  <c:v>0.11053733054510376</c:v>
                </c:pt>
                <c:pt idx="32">
                  <c:v>0.10854817426579239</c:v>
                </c:pt>
                <c:pt idx="33">
                  <c:v>0.11104797738302816</c:v>
                </c:pt>
                <c:pt idx="34">
                  <c:v>0.10473057792535378</c:v>
                </c:pt>
                <c:pt idx="35">
                  <c:v>0.10722094207685023</c:v>
                </c:pt>
                <c:pt idx="36">
                  <c:v>0.09933319361229173</c:v>
                </c:pt>
                <c:pt idx="37">
                  <c:v>0.08501537030262224</c:v>
                </c:pt>
                <c:pt idx="38">
                  <c:v>0.089091867442124</c:v>
                </c:pt>
                <c:pt idx="39">
                  <c:v>0.09264398833898954</c:v>
                </c:pt>
                <c:pt idx="40">
                  <c:v>0.08055018356370541</c:v>
                </c:pt>
                <c:pt idx="41">
                  <c:v>0.07984343345038195</c:v>
                </c:pt>
                <c:pt idx="42">
                  <c:v>0.08142035710177598</c:v>
                </c:pt>
                <c:pt idx="43">
                  <c:v>0.08617841766497147</c:v>
                </c:pt>
                <c:pt idx="44">
                  <c:v>0.09474528823301975</c:v>
                </c:pt>
                <c:pt idx="45">
                  <c:v>0.10416671755842768</c:v>
                </c:pt>
                <c:pt idx="46">
                  <c:v>0.10356539138639015</c:v>
                </c:pt>
                <c:pt idx="47">
                  <c:v>0.10544798766451866</c:v>
                </c:pt>
                <c:pt idx="48">
                  <c:v>0.10502271451927384</c:v>
                </c:pt>
                <c:pt idx="49">
                  <c:v>0.10626799328097072</c:v>
                </c:pt>
                <c:pt idx="50">
                  <c:v>0.12106264751801568</c:v>
                </c:pt>
                <c:pt idx="51">
                  <c:v>0.12216891605700582</c:v>
                </c:pt>
                <c:pt idx="52">
                  <c:v>0.13270806673143287</c:v>
                </c:pt>
                <c:pt idx="53">
                  <c:v>0.12889411714463606</c:v>
                </c:pt>
                <c:pt idx="54">
                  <c:v>0.095438732170070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2.0"/>
          <c:min val="59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13084112149532"/>
          <c:min val="0.0440944881889763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0</c:f>
              <c:numCache>
                <c:formatCode>General</c:formatCode>
                <c:ptCount val="119"/>
                <c:pt idx="0">
                  <c:v>0.24674252683732453</c:v>
                </c:pt>
                <c:pt idx="1">
                  <c:v>0.2776666451924626</c:v>
                </c:pt>
                <c:pt idx="2">
                  <c:v>0.22888622825827973</c:v>
                </c:pt>
                <c:pt idx="3">
                  <c:v>0.2735601928374656</c:v>
                </c:pt>
                <c:pt idx="4">
                  <c:v>0.0</c:v>
                </c:pt>
                <c:pt idx="5">
                  <c:v>0.20036585101775659</c:v>
                </c:pt>
                <c:pt idx="6">
                  <c:v>0.3608240867671962</c:v>
                </c:pt>
                <c:pt idx="7">
                  <c:v>0.30017816733067726</c:v>
                </c:pt>
                <c:pt idx="8">
                  <c:v>0.18853844388819357</c:v>
                </c:pt>
                <c:pt idx="9">
                  <c:v>0.0</c:v>
                </c:pt>
                <c:pt idx="10">
                  <c:v>0.3212323586744639</c:v>
                </c:pt>
                <c:pt idx="11">
                  <c:v>0.4011230635335074</c:v>
                </c:pt>
                <c:pt idx="12">
                  <c:v>0.32333917050691247</c:v>
                </c:pt>
                <c:pt idx="13">
                  <c:v>0.22376959920585682</c:v>
                </c:pt>
                <c:pt idx="14">
                  <c:v>0.222933407960199</c:v>
                </c:pt>
                <c:pt idx="15">
                  <c:v>0.21575751295336787</c:v>
                </c:pt>
                <c:pt idx="16">
                  <c:v>0.23415169069462646</c:v>
                </c:pt>
                <c:pt idx="17">
                  <c:v>0.3297594234234234</c:v>
                </c:pt>
                <c:pt idx="18">
                  <c:v>0.0</c:v>
                </c:pt>
                <c:pt idx="19">
                  <c:v>0.27971156462585034</c:v>
                </c:pt>
                <c:pt idx="20">
                  <c:v>0.32851874587458746</c:v>
                </c:pt>
                <c:pt idx="21">
                  <c:v>0.2846396033994334</c:v>
                </c:pt>
                <c:pt idx="22">
                  <c:v>0.0</c:v>
                </c:pt>
                <c:pt idx="23">
                  <c:v>0.0</c:v>
                </c:pt>
                <c:pt idx="24">
                  <c:v>0.20901927146927146</c:v>
                </c:pt>
                <c:pt idx="25">
                  <c:v>0.0</c:v>
                </c:pt>
                <c:pt idx="26">
                  <c:v>0.0</c:v>
                </c:pt>
                <c:pt idx="27">
                  <c:v>0.16576410300725888</c:v>
                </c:pt>
                <c:pt idx="28">
                  <c:v>0.22332074018877296</c:v>
                </c:pt>
                <c:pt idx="29">
                  <c:v>0.14173149274684135</c:v>
                </c:pt>
                <c:pt idx="30">
                  <c:v>0.18678456751711262</c:v>
                </c:pt>
                <c:pt idx="31">
                  <c:v>0.1784199175824176</c:v>
                </c:pt>
                <c:pt idx="32">
                  <c:v>0.0</c:v>
                </c:pt>
                <c:pt idx="33">
                  <c:v>0.2307740129707589</c:v>
                </c:pt>
                <c:pt idx="34">
                  <c:v>0.21040181709265174</c:v>
                </c:pt>
                <c:pt idx="35">
                  <c:v>0.29048909648633575</c:v>
                </c:pt>
                <c:pt idx="36">
                  <c:v>0.18383333333333332</c:v>
                </c:pt>
                <c:pt idx="37">
                  <c:v>0.26635968104222824</c:v>
                </c:pt>
                <c:pt idx="38">
                  <c:v>0.0</c:v>
                </c:pt>
                <c:pt idx="39">
                  <c:v>0.2663484067478913</c:v>
                </c:pt>
                <c:pt idx="40">
                  <c:v>0.46785950628976025</c:v>
                </c:pt>
                <c:pt idx="41">
                  <c:v>0.4021928297946398</c:v>
                </c:pt>
                <c:pt idx="42">
                  <c:v>0.34961995339353336</c:v>
                </c:pt>
                <c:pt idx="43">
                  <c:v>0.2780082644628099</c:v>
                </c:pt>
                <c:pt idx="44">
                  <c:v>0.35149078726968175</c:v>
                </c:pt>
                <c:pt idx="45">
                  <c:v>0.22661079487470237</c:v>
                </c:pt>
                <c:pt idx="46">
                  <c:v>0.3076206821367388</c:v>
                </c:pt>
                <c:pt idx="47">
                  <c:v>0.14067191075514873</c:v>
                </c:pt>
                <c:pt idx="48">
                  <c:v>0.12080020784937034</c:v>
                </c:pt>
                <c:pt idx="49">
                  <c:v>0.242499981164959</c:v>
                </c:pt>
                <c:pt idx="50">
                  <c:v>0.233792184245988</c:v>
                </c:pt>
                <c:pt idx="51">
                  <c:v>0.19360506454816287</c:v>
                </c:pt>
                <c:pt idx="52">
                  <c:v>0.37309546719848924</c:v>
                </c:pt>
                <c:pt idx="53">
                  <c:v>0.3741285675124173</c:v>
                </c:pt>
                <c:pt idx="54">
                  <c:v>0.0</c:v>
                </c:pt>
                <c:pt idx="55">
                  <c:v>0.0</c:v>
                </c:pt>
                <c:pt idx="56">
                  <c:v>0.20264011523226502</c:v>
                </c:pt>
                <c:pt idx="57">
                  <c:v>0.2178832330681157</c:v>
                </c:pt>
                <c:pt idx="58">
                  <c:v>0.2558231719035265</c:v>
                </c:pt>
                <c:pt idx="59">
                  <c:v>0.2895921290391157</c:v>
                </c:pt>
                <c:pt idx="60">
                  <c:v>0.21474122529644268</c:v>
                </c:pt>
                <c:pt idx="61">
                  <c:v>0.0</c:v>
                </c:pt>
                <c:pt idx="62">
                  <c:v>0.2394224564619615</c:v>
                </c:pt>
                <c:pt idx="63">
                  <c:v>0.26207872556486417</c:v>
                </c:pt>
                <c:pt idx="64">
                  <c:v>0.2939158407333142</c:v>
                </c:pt>
                <c:pt idx="65">
                  <c:v>0.3087473281847258</c:v>
                </c:pt>
                <c:pt idx="66">
                  <c:v>0.1854943424225561</c:v>
                </c:pt>
                <c:pt idx="67">
                  <c:v>0.3730124824684432</c:v>
                </c:pt>
                <c:pt idx="68">
                  <c:v>0.0</c:v>
                </c:pt>
                <c:pt idx="69">
                  <c:v>0.27892524515966804</c:v>
                </c:pt>
                <c:pt idx="70">
                  <c:v>0.1827355132310804</c:v>
                </c:pt>
                <c:pt idx="71">
                  <c:v>0.30574852982156536</c:v>
                </c:pt>
                <c:pt idx="72">
                  <c:v>0.25841721996144784</c:v>
                </c:pt>
                <c:pt idx="73">
                  <c:v>0.3050271073941325</c:v>
                </c:pt>
                <c:pt idx="74">
                  <c:v>0.31111537807986406</c:v>
                </c:pt>
                <c:pt idx="75">
                  <c:v>0.17073650843222987</c:v>
                </c:pt>
                <c:pt idx="76">
                  <c:v>0.0</c:v>
                </c:pt>
                <c:pt idx="77">
                  <c:v>0.2236949430341795</c:v>
                </c:pt>
                <c:pt idx="78">
                  <c:v>0.0</c:v>
                </c:pt>
                <c:pt idx="79">
                  <c:v>0.0</c:v>
                </c:pt>
                <c:pt idx="80">
                  <c:v>0.0</c:v>
                </c:pt>
                <c:pt idx="81">
                  <c:v>0.2943911908247926</c:v>
                </c:pt>
                <c:pt idx="82">
                  <c:v>0.2246755264655663</c:v>
                </c:pt>
                <c:pt idx="83">
                  <c:v>0.0</c:v>
                </c:pt>
                <c:pt idx="84">
                  <c:v>0.37840241834170857</c:v>
                </c:pt>
                <c:pt idx="85">
                  <c:v>0.41353672828740845</c:v>
                </c:pt>
                <c:pt idx="86">
                  <c:v>0.0</c:v>
                </c:pt>
                <c:pt idx="87">
                  <c:v>0.2177022345301757</c:v>
                </c:pt>
                <c:pt idx="88">
                  <c:v>0.17191414991429016</c:v>
                </c:pt>
                <c:pt idx="89">
                  <c:v>0.17305187856928164</c:v>
                </c:pt>
                <c:pt idx="90">
                  <c:v>0.2943443015178801</c:v>
                </c:pt>
                <c:pt idx="91">
                  <c:v>0.3177211006711409</c:v>
                </c:pt>
                <c:pt idx="92">
                  <c:v>0.38530762684124387</c:v>
                </c:pt>
                <c:pt idx="93">
                  <c:v>0.0</c:v>
                </c:pt>
                <c:pt idx="94">
                  <c:v>0.0</c:v>
                </c:pt>
                <c:pt idx="95">
                  <c:v>0.19430714648602881</c:v>
                </c:pt>
                <c:pt idx="96">
                  <c:v>0.20712086317722683</c:v>
                </c:pt>
                <c:pt idx="97">
                  <c:v>0.24066222524359848</c:v>
                </c:pt>
                <c:pt idx="98">
                  <c:v>0.3122163233745329</c:v>
                </c:pt>
                <c:pt idx="99">
                  <c:v>0.24270639063906388</c:v>
                </c:pt>
                <c:pt idx="100">
                  <c:v>0.19605971901120398</c:v>
                </c:pt>
                <c:pt idx="101">
                  <c:v>0.1689742742890995</c:v>
                </c:pt>
                <c:pt idx="102">
                  <c:v>0.17339812439366173</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numCache>
            </c:numRef>
          </c:xVal>
          <c:yVal>
            <c:numRef>
              <c:f>Sheet1!$B$2:$B$120</c:f>
              <c:numCache>
                <c:formatCode>General</c:formatCode>
                <c:ptCount val="119"/>
                <c:pt idx="0">
                  <c:v>0.1286549707602339</c:v>
                </c:pt>
                <c:pt idx="1">
                  <c:v>0.13319011815252416</c:v>
                </c:pt>
                <c:pt idx="2">
                  <c:v>0.11928651059085842</c:v>
                </c:pt>
                <c:pt idx="3">
                  <c:v>0.10814249363867684</c:v>
                </c:pt>
                <c:pt idx="4">
                  <c:v>0.1415929203539823</c:v>
                </c:pt>
                <c:pt idx="5">
                  <c:v>0.13555291319857313</c:v>
                </c:pt>
                <c:pt idx="6">
                  <c:v>0.1235565819861432</c:v>
                </c:pt>
                <c:pt idx="7">
                  <c:v>0.12125340599455041</c:v>
                </c:pt>
                <c:pt idx="8">
                  <c:v>0.11755485893416928</c:v>
                </c:pt>
                <c:pt idx="9">
                  <c:v>0.07534983853606028</c:v>
                </c:pt>
                <c:pt idx="10">
                  <c:v>0.07616974972796518</c:v>
                </c:pt>
                <c:pt idx="11">
                  <c:v>0.0929936305732484</c:v>
                </c:pt>
                <c:pt idx="12">
                  <c:v>0.11286407766990292</c:v>
                </c:pt>
                <c:pt idx="13">
                  <c:v>0.11935110081112399</c:v>
                </c:pt>
                <c:pt idx="14">
                  <c:v>0.11845102505694761</c:v>
                </c:pt>
                <c:pt idx="15">
                  <c:v>0.12005108556832694</c:v>
                </c:pt>
                <c:pt idx="16">
                  <c:v>0.1476407914764079</c:v>
                </c:pt>
                <c:pt idx="17">
                  <c:v>0.1423785594639866</c:v>
                </c:pt>
                <c:pt idx="18">
                  <c:v>0.10684474123539232</c:v>
                </c:pt>
                <c:pt idx="19">
                  <c:v>0.09823182711198428</c:v>
                </c:pt>
                <c:pt idx="20">
                  <c:v>0.13731825525040386</c:v>
                </c:pt>
                <c:pt idx="21">
                  <c:v>0.11842105263157894</c:v>
                </c:pt>
                <c:pt idx="22">
                  <c:v>0.07706422018348624</c:v>
                </c:pt>
                <c:pt idx="23">
                  <c:v>0.09177820267686425</c:v>
                </c:pt>
                <c:pt idx="24">
                  <c:v>0.0935483870967742</c:v>
                </c:pt>
                <c:pt idx="25">
                  <c:v>0.08426966292134831</c:v>
                </c:pt>
                <c:pt idx="26">
                  <c:v>0.08681672025723473</c:v>
                </c:pt>
                <c:pt idx="27">
                  <c:v>0.0973724884080371</c:v>
                </c:pt>
                <c:pt idx="28">
                  <c:v>0.09807355516637478</c:v>
                </c:pt>
                <c:pt idx="29">
                  <c:v>0.09481481481481481</c:v>
                </c:pt>
                <c:pt idx="30">
                  <c:v>0.08221797323135756</c:v>
                </c:pt>
                <c:pt idx="31">
                  <c:v>0.05752961082910321</c:v>
                </c:pt>
                <c:pt idx="32">
                  <c:v>0.06679035250463822</c:v>
                </c:pt>
                <c:pt idx="33">
                  <c:v>0.0694006309148265</c:v>
                </c:pt>
                <c:pt idx="34">
                  <c:v>0.06683804627249357</c:v>
                </c:pt>
                <c:pt idx="35">
                  <c:v>0.05875299760191847</c:v>
                </c:pt>
                <c:pt idx="36">
                  <c:v>0.0734094616639478</c:v>
                </c:pt>
                <c:pt idx="37">
                  <c:v>0.05714285714285714</c:v>
                </c:pt>
                <c:pt idx="38">
                  <c:v>0.05511811023622047</c:v>
                </c:pt>
                <c:pt idx="39">
                  <c:v>0.07905138339920949</c:v>
                </c:pt>
                <c:pt idx="40">
                  <c:v>0.07886904761904762</c:v>
                </c:pt>
                <c:pt idx="41">
                  <c:v>0.0859504132231405</c:v>
                </c:pt>
                <c:pt idx="42">
                  <c:v>0.08307210031347963</c:v>
                </c:pt>
                <c:pt idx="43">
                  <c:v>0.07617728531855955</c:v>
                </c:pt>
                <c:pt idx="44">
                  <c:v>0.09943181818181818</c:v>
                </c:pt>
                <c:pt idx="45">
                  <c:v>0.11535580524344569</c:v>
                </c:pt>
                <c:pt idx="46">
                  <c:v>0.11813537675606642</c:v>
                </c:pt>
                <c:pt idx="47">
                  <c:v>0.11548731642189586</c:v>
                </c:pt>
                <c:pt idx="48">
                  <c:v>0.12791932059447983</c:v>
                </c:pt>
                <c:pt idx="49">
                  <c:v>0.1400735294117647</c:v>
                </c:pt>
                <c:pt idx="50">
                  <c:v>0.11955815464587394</c:v>
                </c:pt>
                <c:pt idx="51">
                  <c:v>0.11594202898550725</c:v>
                </c:pt>
                <c:pt idx="52">
                  <c:v>0.10173323285606632</c:v>
                </c:pt>
                <c:pt idx="53">
                  <c:v>0.11805555555555555</c:v>
                </c:pt>
                <c:pt idx="54">
                  <c:v>0.0987535953978907</c:v>
                </c:pt>
                <c:pt idx="55">
                  <c:v>0.09663865546218488</c:v>
                </c:pt>
                <c:pt idx="56">
                  <c:v>0.10869565217391304</c:v>
                </c:pt>
                <c:pt idx="57">
                  <c:v>0.10273327049952875</c:v>
                </c:pt>
                <c:pt idx="58">
                  <c:v>0.1028770706190061</c:v>
                </c:pt>
                <c:pt idx="59">
                  <c:v>0.09751176866173504</c:v>
                </c:pt>
                <c:pt idx="60">
                  <c:v>0.12035541195476575</c:v>
                </c:pt>
                <c:pt idx="61">
                  <c:v>0.13693901035673187</c:v>
                </c:pt>
                <c:pt idx="62">
                  <c:v>0.11064718162839249</c:v>
                </c:pt>
                <c:pt idx="63">
                  <c:v>0.13278008298755187</c:v>
                </c:pt>
                <c:pt idx="64">
                  <c:v>0.1316831683168317</c:v>
                </c:pt>
                <c:pt idx="65">
                  <c:v>0.12718446601941746</c:v>
                </c:pt>
                <c:pt idx="66">
                  <c:v>0.10428849902534112</c:v>
                </c:pt>
                <c:pt idx="67">
                  <c:v>0.10555555555555556</c:v>
                </c:pt>
                <c:pt idx="68">
                  <c:v>0.0860655737704918</c:v>
                </c:pt>
                <c:pt idx="69">
                  <c:v>0.09210526315789473</c:v>
                </c:pt>
                <c:pt idx="70">
                  <c:v>0.08803986710963455</c:v>
                </c:pt>
                <c:pt idx="71">
                  <c:v>0.07608695652173914</c:v>
                </c:pt>
                <c:pt idx="72">
                  <c:v>0.09724473257698542</c:v>
                </c:pt>
                <c:pt idx="73">
                  <c:v>0.08843537414965986</c:v>
                </c:pt>
                <c:pt idx="74">
                  <c:v>0.09295352323838081</c:v>
                </c:pt>
                <c:pt idx="75">
                  <c:v>0.1012216404886562</c:v>
                </c:pt>
                <c:pt idx="76">
                  <c:v>0.09560229445506692</c:v>
                </c:pt>
                <c:pt idx="77">
                  <c:v>0.09523809523809523</c:v>
                </c:pt>
                <c:pt idx="78">
                  <c:v>0.09236947791164658</c:v>
                </c:pt>
                <c:pt idx="79">
                  <c:v>0.08602150537634409</c:v>
                </c:pt>
                <c:pt idx="80">
                  <c:v>0.07985480943738657</c:v>
                </c:pt>
                <c:pt idx="81">
                  <c:v>0.07625899280575539</c:v>
                </c:pt>
                <c:pt idx="82">
                  <c:v>0.06640625</c:v>
                </c:pt>
                <c:pt idx="83">
                  <c:v>0.05660377358490566</c:v>
                </c:pt>
                <c:pt idx="84">
                  <c:v>0.07407407407407407</c:v>
                </c:pt>
                <c:pt idx="85">
                  <c:v>0.07750472589792061</c:v>
                </c:pt>
                <c:pt idx="86">
                  <c:v>0.08615819209039548</c:v>
                </c:pt>
                <c:pt idx="87">
                  <c:v>0.07875</c:v>
                </c:pt>
                <c:pt idx="88">
                  <c:v>0.09792843691148775</c:v>
                </c:pt>
                <c:pt idx="89">
                  <c:v>0.08843537414965986</c:v>
                </c:pt>
                <c:pt idx="90">
                  <c:v>0.09033613445378151</c:v>
                </c:pt>
                <c:pt idx="91">
                  <c:v>0.0907258064516129</c:v>
                </c:pt>
                <c:pt idx="92">
                  <c:v>0.09399075500770417</c:v>
                </c:pt>
                <c:pt idx="93">
                  <c:v>0.08858858858858859</c:v>
                </c:pt>
                <c:pt idx="94">
                  <c:v>0.0997920997920998</c:v>
                </c:pt>
                <c:pt idx="95">
                  <c:v>0.08167141500474834</c:v>
                </c:pt>
                <c:pt idx="96">
                  <c:v>0.09842845326716294</c:v>
                </c:pt>
                <c:pt idx="97">
                  <c:v>0.10963455149501661</c:v>
                </c:pt>
                <c:pt idx="98">
                  <c:v>0.11425630468347915</c:v>
                </c:pt>
                <c:pt idx="99">
                  <c:v>0.1151639344262295</c:v>
                </c:pt>
                <c:pt idx="100">
                  <c:v>0.11695501730103806</c:v>
                </c:pt>
                <c:pt idx="101">
                  <c:v>0.10174418604651163</c:v>
                </c:pt>
                <c:pt idx="102">
                  <c:v>0.13174603174603175</c:v>
                </c:pt>
                <c:pt idx="103">
                  <c:v>0.13080568720379146</c:v>
                </c:pt>
                <c:pt idx="104">
                  <c:v>0.09424724602203183</c:v>
                </c:pt>
                <c:pt idx="105">
                  <c:v>0.09529860228716645</c:v>
                </c:pt>
                <c:pt idx="106">
                  <c:v>0.08139534883720931</c:v>
                </c:pt>
                <c:pt idx="107">
                  <c:v>0.1115702479338843</c:v>
                </c:pt>
                <c:pt idx="108">
                  <c:v>0.10301953818827708</c:v>
                </c:pt>
                <c:pt idx="109">
                  <c:v>0.11929824561403508</c:v>
                </c:pt>
                <c:pt idx="110">
                  <c:v>0.09566787003610108</c:v>
                </c:pt>
                <c:pt idx="111">
                  <c:v>0.09884678747940692</c:v>
                </c:pt>
                <c:pt idx="112">
                  <c:v>0.11836734693877551</c:v>
                </c:pt>
                <c:pt idx="113">
                  <c:v>0.1248</c:v>
                </c:pt>
                <c:pt idx="114">
                  <c:v>0.1111111111111111</c:v>
                </c:pt>
                <c:pt idx="115">
                  <c:v>0.08980582524271845</c:v>
                </c:pt>
                <c:pt idx="116">
                  <c:v>0.0891089108910891</c:v>
                </c:pt>
                <c:pt idx="117">
                  <c:v>0.08258527827648116</c:v>
                </c:pt>
                <c:pt idx="118">
                  <c:v>0.09633911368015415</c:v>
                </c:pt>
              </c:numCache>
            </c:numRef>
          </c:yVal>
          <c:smooth val="0"/>
          <c:extLst>
            <c:ext xmlns:c16="http://schemas.microsoft.com/office/drawing/2014/chart" uri="{C3380CC4-5D6E-409C-BE32-E72D297353CC}">
              <c16:uniqueId val="{00000000-096C-4121-9522-6AB7243CCAAE}"/>
            </c:ext>
          </c:extLst>
        </c:ser>
        <c:ser>
          <c:idx val="1"/>
          <c:order val="1"/>
          <c:tx>
            <c:strRef>
              <c:f>Sheet1!$B$12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3:$A$159</c:f>
              <c:numCache>
                <c:formatCode>General</c:formatCode>
                <c:ptCount val="37"/>
                <c:pt idx="0">
                  <c:v>0.19813397280685419</c:v>
                </c:pt>
                <c:pt idx="1">
                  <c:v>0.2111181030749242</c:v>
                </c:pt>
                <c:pt idx="2">
                  <c:v>0.2605697107052393</c:v>
                </c:pt>
                <c:pt idx="3">
                  <c:v>0.21661882826475848</c:v>
                </c:pt>
                <c:pt idx="4">
                  <c:v>0.192529382270357</c:v>
                </c:pt>
                <c:pt idx="5">
                  <c:v>0.3079493847150259</c:v>
                </c:pt>
                <c:pt idx="6">
                  <c:v>0.24967364936964262</c:v>
                </c:pt>
                <c:pt idx="7">
                  <c:v>0.29672933191940615</c:v>
                </c:pt>
                <c:pt idx="8">
                  <c:v>0.2905592135877152</c:v>
                </c:pt>
                <c:pt idx="9">
                  <c:v>0.324019900634833</c:v>
                </c:pt>
                <c:pt idx="10">
                  <c:v>0.2496589219330855</c:v>
                </c:pt>
                <c:pt idx="11">
                  <c:v>0.1816071911712353</c:v>
                </c:pt>
                <c:pt idx="12">
                  <c:v>0.1443679728711379</c:v>
                </c:pt>
                <c:pt idx="13">
                  <c:v>0.41557232746955347</c:v>
                </c:pt>
                <c:pt idx="14">
                  <c:v>0.28788040105037005</c:v>
                </c:pt>
                <c:pt idx="15">
                  <c:v>0.4569579488938432</c:v>
                </c:pt>
                <c:pt idx="16">
                  <c:v>0.40485548146999534</c:v>
                </c:pt>
                <c:pt idx="17">
                  <c:v>0.5537504915775707</c:v>
                </c:pt>
                <c:pt idx="18">
                  <c:v>0.3198783949044586</c:v>
                </c:pt>
                <c:pt idx="19">
                  <c:v>0.25600648188563946</c:v>
                </c:pt>
                <c:pt idx="20">
                  <c:v>0.3103951453720992</c:v>
                </c:pt>
                <c:pt idx="21">
                  <c:v>0.28703307480610457</c:v>
                </c:pt>
                <c:pt idx="22">
                  <c:v>0.4466558177379984</c:v>
                </c:pt>
                <c:pt idx="23">
                  <c:v>0.2617047205260686</c:v>
                </c:pt>
                <c:pt idx="24">
                  <c:v>0.2745806678383128</c:v>
                </c:pt>
                <c:pt idx="25">
                  <c:v>0.29326328854766476</c:v>
                </c:pt>
                <c:pt idx="26">
                  <c:v>0.29609909522732414</c:v>
                </c:pt>
                <c:pt idx="27">
                  <c:v>0.4404925932473042</c:v>
                </c:pt>
                <c:pt idx="28">
                  <c:v>0.48207412353923207</c:v>
                </c:pt>
                <c:pt idx="29">
                  <c:v>0.430223665779521</c:v>
                </c:pt>
                <c:pt idx="30">
                  <c:v>0.31653144429160934</c:v>
                </c:pt>
                <c:pt idx="31">
                  <c:v>0.4184563824008691</c:v>
                </c:pt>
                <c:pt idx="32">
                  <c:v>0.3413655637071418</c:v>
                </c:pt>
                <c:pt idx="33">
                  <c:v>0.3941096329484749</c:v>
                </c:pt>
                <c:pt idx="34">
                  <c:v>0.2768642560469094</c:v>
                </c:pt>
                <c:pt idx="35">
                  <c:v>0.3256677567458719</c:v>
                </c:pt>
                <c:pt idx="36">
                  <c:v>0.38080261539478666</c:v>
                </c:pt>
              </c:numCache>
            </c:numRef>
          </c:xVal>
          <c:yVal>
            <c:numRef>
              <c:f>Sheet1!$B$123:$B$159</c:f>
              <c:numCache>
                <c:formatCode>General</c:formatCode>
                <c:ptCount val="37"/>
                <c:pt idx="0">
                  <c:v>0.12098298676748583</c:v>
                </c:pt>
                <c:pt idx="1">
                  <c:v>0.16510903426791276</c:v>
                </c:pt>
                <c:pt idx="2">
                  <c:v>0.14692787177203917</c:v>
                </c:pt>
                <c:pt idx="3">
                  <c:v>0.12894248608534323</c:v>
                </c:pt>
                <c:pt idx="4">
                  <c:v>0.16019417475728157</c:v>
                </c:pt>
                <c:pt idx="5">
                  <c:v>0.14166666666666666</c:v>
                </c:pt>
                <c:pt idx="6">
                  <c:v>0.11210398050365557</c:v>
                </c:pt>
                <c:pt idx="7">
                  <c:v>0.11664899257688228</c:v>
                </c:pt>
                <c:pt idx="8">
                  <c:v>0.10179640718562874</c:v>
                </c:pt>
                <c:pt idx="9">
                  <c:v>0.09949622166246852</c:v>
                </c:pt>
                <c:pt idx="10">
                  <c:v>0.08776595744680851</c:v>
                </c:pt>
                <c:pt idx="11">
                  <c:v>0.07987711213517665</c:v>
                </c:pt>
                <c:pt idx="12">
                  <c:v>0.08539094650205761</c:v>
                </c:pt>
                <c:pt idx="13">
                  <c:v>0.07142857142857142</c:v>
                </c:pt>
                <c:pt idx="14">
                  <c:v>0.09090909090909091</c:v>
                </c:pt>
                <c:pt idx="15">
                  <c:v>0.08288288288288288</c:v>
                </c:pt>
                <c:pt idx="16">
                  <c:v>0.07744107744107744</c:v>
                </c:pt>
                <c:pt idx="17">
                  <c:v>0.09090909090909091</c:v>
                </c:pt>
                <c:pt idx="18">
                  <c:v>0.08997955010224949</c:v>
                </c:pt>
                <c:pt idx="19">
                  <c:v>0.08712121212121213</c:v>
                </c:pt>
                <c:pt idx="20">
                  <c:v>0.10835913312693499</c:v>
                </c:pt>
                <c:pt idx="21">
                  <c:v>0.11281070745697896</c:v>
                </c:pt>
                <c:pt idx="22">
                  <c:v>0.11013215859030837</c:v>
                </c:pt>
                <c:pt idx="23">
                  <c:v>0.11854684512428298</c:v>
                </c:pt>
                <c:pt idx="24">
                  <c:v>0.11864406779661017</c:v>
                </c:pt>
                <c:pt idx="25">
                  <c:v>0.11189634864546526</c:v>
                </c:pt>
                <c:pt idx="26">
                  <c:v>0.08525345622119816</c:v>
                </c:pt>
                <c:pt idx="27">
                  <c:v>0.11627906976744186</c:v>
                </c:pt>
                <c:pt idx="28">
                  <c:v>0.0962962962962963</c:v>
                </c:pt>
                <c:pt idx="29">
                  <c:v>0.10053619302949061</c:v>
                </c:pt>
                <c:pt idx="30">
                  <c:v>0.09245283018867924</c:v>
                </c:pt>
                <c:pt idx="31">
                  <c:v>0.10327706057596822</c:v>
                </c:pt>
                <c:pt idx="32">
                  <c:v>0.09262589928057553</c:v>
                </c:pt>
                <c:pt idx="33">
                  <c:v>0.0912863070539419</c:v>
                </c:pt>
                <c:pt idx="34">
                  <c:v>0.07932011331444759</c:v>
                </c:pt>
                <c:pt idx="35">
                  <c:v>0.10083210964268233</c:v>
                </c:pt>
                <c:pt idx="36">
                  <c:v>0.099764336213668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026452548519536122</c:v>
                </c:pt>
              </c:numCache>
            </c:numRef>
          </c:xVal>
          <c:yVal>
            <c:numRef>
              <c:f>Sheet1!$B$162:$B$163</c:f>
              <c:numCache>
                <c:formatCode>General</c:formatCode>
                <c:ptCount val="2"/>
                <c:pt idx="0">
                  <c:v>0.12889411714463606</c:v>
                </c:pt>
                <c:pt idx="1">
                  <c:v>0.12889411714463606</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026452548519536122</c:v>
                </c:pt>
                <c:pt idx="1">
                  <c:v>0.026452548519536122</c:v>
                </c:pt>
              </c:numCache>
            </c:numRef>
          </c:xVal>
          <c:yVal>
            <c:numRef>
              <c:f>Sheet1!$B$166:$B$167</c:f>
              <c:numCache>
                <c:formatCode>General</c:formatCode>
                <c:ptCount val="2"/>
                <c:pt idx="0">
                  <c:v>0.128894117144636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019731904906084865</c:v>
                </c:pt>
              </c:numCache>
            </c:numRef>
          </c:xVal>
          <c:yVal>
            <c:numRef>
              <c:f>Sheet1!$B$170:$B$171</c:f>
              <c:numCache>
                <c:formatCode>General</c:formatCode>
                <c:ptCount val="2"/>
                <c:pt idx="0">
                  <c:v>0.13270806673143287</c:v>
                </c:pt>
                <c:pt idx="1">
                  <c:v>0.1327080667314328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019731904906084865</c:v>
                </c:pt>
                <c:pt idx="1">
                  <c:v>-0.019731904906084865</c:v>
                </c:pt>
              </c:numCache>
            </c:numRef>
          </c:xVal>
          <c:yVal>
            <c:numRef>
              <c:f>Sheet1!$B$174:$B$175</c:f>
              <c:numCache>
                <c:formatCode>General</c:formatCode>
                <c:ptCount val="2"/>
                <c:pt idx="0">
                  <c:v>0.132708066731432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15755408482646</c:v>
                </c:pt>
              </c:numCache>
            </c:numRef>
          </c:xVal>
          <c:yVal>
            <c:numRef>
              <c:f>Sheet1!$B$178:$B$179</c:f>
              <c:numCache>
                <c:formatCode>General</c:formatCode>
                <c:ptCount val="2"/>
                <c:pt idx="0">
                  <c:v>0.09543873217007048</c:v>
                </c:pt>
                <c:pt idx="1">
                  <c:v>0.0954387321700704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15755408482646</c:v>
                </c:pt>
                <c:pt idx="1">
                  <c:v>0.4315755408482646</c:v>
                </c:pt>
              </c:numCache>
            </c:numRef>
          </c:xVal>
          <c:yVal>
            <c:numRef>
              <c:f>Sheet1!$B$182:$B$183</c:f>
              <c:numCache>
                <c:formatCode>General</c:formatCode>
                <c:ptCount val="2"/>
                <c:pt idx="0">
                  <c:v>0.095438732170070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25</c:f>
              <c:numCache>
                <c:formatCode>General</c:formatCode>
                <c:ptCount val="40"/>
                <c:pt idx="0">
                  <c:v>0.19813397280685419</c:v>
                </c:pt>
                <c:pt idx="1">
                  <c:v>0.2111181030749242</c:v>
                </c:pt>
                <c:pt idx="2">
                  <c:v>0.2605697107052393</c:v>
                </c:pt>
                <c:pt idx="3">
                  <c:v>0.21661882826475848</c:v>
                </c:pt>
                <c:pt idx="4">
                  <c:v>0.192529382270357</c:v>
                </c:pt>
                <c:pt idx="5">
                  <c:v>0.3079493847150259</c:v>
                </c:pt>
                <c:pt idx="6">
                  <c:v>0.24967364936964262</c:v>
                </c:pt>
                <c:pt idx="7">
                  <c:v>0.29672933191940615</c:v>
                </c:pt>
                <c:pt idx="8">
                  <c:v>0.2905592135877152</c:v>
                </c:pt>
                <c:pt idx="9">
                  <c:v>0.324019900634833</c:v>
                </c:pt>
                <c:pt idx="10">
                  <c:v>0.2496589219330855</c:v>
                </c:pt>
                <c:pt idx="11">
                  <c:v>0.1816071911712353</c:v>
                </c:pt>
                <c:pt idx="12">
                  <c:v>0.1443679728711379</c:v>
                </c:pt>
                <c:pt idx="13">
                  <c:v>0.41557232746955347</c:v>
                </c:pt>
                <c:pt idx="14">
                  <c:v>0.28788040105037005</c:v>
                </c:pt>
                <c:pt idx="15">
                  <c:v>0.4569579488938432</c:v>
                </c:pt>
                <c:pt idx="16">
                  <c:v>0.40485548146999534</c:v>
                </c:pt>
                <c:pt idx="17">
                  <c:v>0.5537504915775707</c:v>
                </c:pt>
                <c:pt idx="18">
                  <c:v>0.3198783949044586</c:v>
                </c:pt>
                <c:pt idx="19">
                  <c:v>0.25600648188563946</c:v>
                </c:pt>
                <c:pt idx="20">
                  <c:v>0.3103951453720992</c:v>
                </c:pt>
                <c:pt idx="21">
                  <c:v>0.28703307480610457</c:v>
                </c:pt>
                <c:pt idx="22">
                  <c:v>0.4466558177379984</c:v>
                </c:pt>
                <c:pt idx="23">
                  <c:v>0.2617047205260686</c:v>
                </c:pt>
                <c:pt idx="24">
                  <c:v>0.2745806678383128</c:v>
                </c:pt>
                <c:pt idx="25">
                  <c:v>0.29326328854766476</c:v>
                </c:pt>
                <c:pt idx="26">
                  <c:v>0.29609909522732414</c:v>
                </c:pt>
                <c:pt idx="27">
                  <c:v>0.4404925932473042</c:v>
                </c:pt>
                <c:pt idx="28">
                  <c:v>0.48207412353923207</c:v>
                </c:pt>
                <c:pt idx="29">
                  <c:v>0.430223665779521</c:v>
                </c:pt>
                <c:pt idx="30">
                  <c:v>0.31653144429160934</c:v>
                </c:pt>
                <c:pt idx="31">
                  <c:v>0.4184563824008691</c:v>
                </c:pt>
                <c:pt idx="32">
                  <c:v>0.3413655637071418</c:v>
                </c:pt>
                <c:pt idx="33">
                  <c:v>0.3941096329484749</c:v>
                </c:pt>
                <c:pt idx="34">
                  <c:v>0.2768642560469094</c:v>
                </c:pt>
                <c:pt idx="35">
                  <c:v>0.3256677567458719</c:v>
                </c:pt>
                <c:pt idx="36">
                  <c:v>0.38080261539478666</c:v>
                </c:pt>
                <c:pt idx="37">
                  <c:v>-0.019731904906084865</c:v>
                </c:pt>
                <c:pt idx="38">
                  <c:v>0.026452548519536122</c:v>
                </c:pt>
                <c:pt idx="39">
                  <c:v>0.4315755408482646</c:v>
                </c:pt>
              </c:numCache>
            </c:numRef>
          </c:xVal>
          <c:yVal>
            <c:numRef>
              <c:f>Sheet1!$B$186:$B$225</c:f>
              <c:numCache>
                <c:formatCode>General</c:formatCode>
                <c:ptCount val="40"/>
                <c:pt idx="0">
                  <c:v>0.11471652601484558</c:v>
                </c:pt>
                <c:pt idx="1">
                  <c:v>0.113644286016367</c:v>
                </c:pt>
                <c:pt idx="2">
                  <c:v>0.1095605321879965</c:v>
                </c:pt>
                <c:pt idx="3">
                  <c:v>0.11319003167299498</c:v>
                </c:pt>
                <c:pt idx="4">
                  <c:v>0.11517935764270631</c:v>
                </c:pt>
                <c:pt idx="5">
                  <c:v>0.1056478803168812</c:v>
                </c:pt>
                <c:pt idx="6">
                  <c:v>0.11046033776208516</c:v>
                </c:pt>
                <c:pt idx="7">
                  <c:v>0.10657444136826637</c:v>
                </c:pt>
                <c:pt idx="8">
                  <c:v>0.10708397473969705</c:v>
                </c:pt>
                <c:pt idx="9">
                  <c:v>0.10432076409040751</c:v>
                </c:pt>
                <c:pt idx="10">
                  <c:v>0.11046155396572957</c:v>
                </c:pt>
                <c:pt idx="11">
                  <c:v>0.11608132103383961</c:v>
                </c:pt>
                <c:pt idx="12">
                  <c:v>0.11915656585571516</c:v>
                </c:pt>
                <c:pt idx="13">
                  <c:v>0.09676029049816573</c:v>
                </c:pt>
                <c:pt idx="14">
                  <c:v>0.1073051932496523</c:v>
                </c:pt>
                <c:pt idx="15">
                  <c:v>0.09334263234649567</c:v>
                </c:pt>
                <c:pt idx="16">
                  <c:v>0.09764529632458752</c:v>
                </c:pt>
                <c:pt idx="17">
                  <c:v>0.08534942574141714</c:v>
                </c:pt>
                <c:pt idx="18">
                  <c:v>0.10466277298945222</c:v>
                </c:pt>
                <c:pt idx="19">
                  <c:v>0.10993736732146844</c:v>
                </c:pt>
                <c:pt idx="20">
                  <c:v>0.10544590742003895</c:v>
                </c:pt>
                <c:pt idx="21">
                  <c:v>0.10737516613748571</c:v>
                </c:pt>
                <c:pt idx="22">
                  <c:v>0.09419339068508335</c:v>
                </c:pt>
                <c:pt idx="23">
                  <c:v>0.10946680215730265</c:v>
                </c:pt>
                <c:pt idx="24">
                  <c:v>0.10840349599497599</c:v>
                </c:pt>
                <c:pt idx="25">
                  <c:v>0.10686067003841318</c:v>
                </c:pt>
                <c:pt idx="26">
                  <c:v>0.10662648682497447</c:v>
                </c:pt>
                <c:pt idx="27">
                  <c:v>0.09470235475753849</c:v>
                </c:pt>
                <c:pt idx="28">
                  <c:v>0.09126851829283544</c:v>
                </c:pt>
                <c:pt idx="29">
                  <c:v>0.09555037110866135</c:v>
                </c:pt>
                <c:pt idx="30">
                  <c:v>0.10493916688306977</c:v>
                </c:pt>
                <c:pt idx="31">
                  <c:v>0.09652212290501005</c:v>
                </c:pt>
                <c:pt idx="32">
                  <c:v>0.10288834517883826</c:v>
                </c:pt>
                <c:pt idx="33">
                  <c:v>0.09853269720277347</c:v>
                </c:pt>
                <c:pt idx="34">
                  <c:v>0.10821491543033604</c:v>
                </c:pt>
                <c:pt idx="35">
                  <c:v>0.10418468279751272</c:v>
                </c:pt>
                <c:pt idx="36">
                  <c:v>0.09963160149493148</c:v>
                </c:pt>
                <c:pt idx="37">
                  <c:v>0.13270806673143287</c:v>
                </c:pt>
                <c:pt idx="38">
                  <c:v>0.12889411714463606</c:v>
                </c:pt>
                <c:pt idx="39">
                  <c:v>0.095438732170070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13084112149532"/>
          <c:min val="0.0440944881889763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747.013</c:v>
                </c:pt>
                <c:pt idx="1">
                  <c:v>862.0161</c:v>
                </c:pt>
                <c:pt idx="2">
                  <c:v>960.6355</c:v>
                </c:pt>
                <c:pt idx="3">
                  <c:v>993.0235</c:v>
                </c:pt>
                <c:pt idx="4">
                  <c:v>950.6964</c:v>
                </c:pt>
                <c:pt idx="5">
                  <c:v>925.2895</c:v>
                </c:pt>
                <c:pt idx="6">
                  <c:v>894.9159</c:v>
                </c:pt>
                <c:pt idx="7">
                  <c:v>941.809</c:v>
                </c:pt>
                <c:pt idx="8">
                  <c:v>903.8533</c:v>
                </c:pt>
                <c:pt idx="9">
                  <c:v>896.0857</c:v>
                </c:pt>
                <c:pt idx="10">
                  <c:v>906.3571</c:v>
                </c:pt>
                <c:pt idx="11">
                  <c:v>921.7808</c:v>
                </c:pt>
                <c:pt idx="12">
                  <c:v>912.1398</c:v>
                </c:pt>
                <c:pt idx="13">
                  <c:v>901.6796</c:v>
                </c:pt>
                <c:pt idx="14">
                  <c:v>896.1923</c:v>
                </c:pt>
                <c:pt idx="15">
                  <c:v>916.1064</c:v>
                </c:pt>
                <c:pt idx="16">
                  <c:v>893.2887</c:v>
                </c:pt>
                <c:pt idx="17">
                  <c:v>915.0824</c:v>
                </c:pt>
                <c:pt idx="18">
                  <c:v>1004.3281</c:v>
                </c:pt>
                <c:pt idx="19">
                  <c:v>1027.94</c:v>
                </c:pt>
                <c:pt idx="20">
                  <c:v>995.4118</c:v>
                </c:pt>
                <c:pt idx="21">
                  <c:v>1004.7778</c:v>
                </c:pt>
                <c:pt idx="22">
                  <c:v>1029.2619</c:v>
                </c:pt>
                <c:pt idx="23">
                  <c:v>991.7292</c:v>
                </c:pt>
                <c:pt idx="24">
                  <c:v>1027.1207</c:v>
                </c:pt>
                <c:pt idx="25">
                  <c:v>1008.6</c:v>
                </c:pt>
                <c:pt idx="26">
                  <c:v>1002.8889</c:v>
                </c:pt>
                <c:pt idx="27">
                  <c:v>959.1111</c:v>
                </c:pt>
                <c:pt idx="28">
                  <c:v>899.0893</c:v>
                </c:pt>
                <c:pt idx="29">
                  <c:v>908.6406</c:v>
                </c:pt>
                <c:pt idx="30">
                  <c:v>900.4884</c:v>
                </c:pt>
                <c:pt idx="31">
                  <c:v>1039.1176</c:v>
                </c:pt>
                <c:pt idx="32">
                  <c:v>981.0</c:v>
                </c:pt>
                <c:pt idx="33">
                  <c:v>1014.1364</c:v>
                </c:pt>
                <c:pt idx="34">
                  <c:v>1053.6923</c:v>
                </c:pt>
                <c:pt idx="35">
                  <c:v>1041.6939</c:v>
                </c:pt>
                <c:pt idx="36">
                  <c:v>1103.0</c:v>
                </c:pt>
                <c:pt idx="37">
                  <c:v>1185.8333</c:v>
                </c:pt>
                <c:pt idx="38">
                  <c:v>1274.2143</c:v>
                </c:pt>
                <c:pt idx="39">
                  <c:v>1136.775</c:v>
                </c:pt>
                <c:pt idx="40">
                  <c:v>1158.2642</c:v>
                </c:pt>
                <c:pt idx="41">
                  <c:v>1155.5</c:v>
                </c:pt>
                <c:pt idx="42">
                  <c:v>1200.2453</c:v>
                </c:pt>
                <c:pt idx="43">
                  <c:v>1160.5455</c:v>
                </c:pt>
                <c:pt idx="44">
                  <c:v>1049.2</c:v>
                </c:pt>
                <c:pt idx="45">
                  <c:v>999.2403</c:v>
                </c:pt>
                <c:pt idx="46">
                  <c:v>987.6162</c:v>
                </c:pt>
                <c:pt idx="47">
                  <c:v>983.578</c:v>
                </c:pt>
                <c:pt idx="48">
                  <c:v>988.0249</c:v>
                </c:pt>
                <c:pt idx="49">
                  <c:v>962.4016</c:v>
                </c:pt>
                <c:pt idx="50">
                  <c:v>954.2228</c:v>
                </c:pt>
                <c:pt idx="51">
                  <c:v>974.8015</c:v>
                </c:pt>
                <c:pt idx="52">
                  <c:v>992.1852</c:v>
                </c:pt>
                <c:pt idx="53">
                  <c:v>1083.2269</c:v>
                </c:pt>
                <c:pt idx="54">
                  <c:v>1121.9806</c:v>
                </c:pt>
                <c:pt idx="55">
                  <c:v>1127.7283</c:v>
                </c:pt>
                <c:pt idx="56">
                  <c:v>1125.4632</c:v>
                </c:pt>
                <c:pt idx="57">
                  <c:v>1122.7523</c:v>
                </c:pt>
                <c:pt idx="58">
                  <c:v>1064.9407</c:v>
                </c:pt>
                <c:pt idx="59">
                  <c:v>1089.7931</c:v>
                </c:pt>
                <c:pt idx="60">
                  <c:v>1086.5906</c:v>
                </c:pt>
                <c:pt idx="61">
                  <c:v>1060.8403</c:v>
                </c:pt>
                <c:pt idx="62">
                  <c:v>1044.8396</c:v>
                </c:pt>
                <c:pt idx="63">
                  <c:v>1032.3281</c:v>
                </c:pt>
                <c:pt idx="64">
                  <c:v>1026.0602</c:v>
                </c:pt>
                <c:pt idx="65">
                  <c:v>989.458</c:v>
                </c:pt>
                <c:pt idx="66">
                  <c:v>1000.0</c:v>
                </c:pt>
                <c:pt idx="67">
                  <c:v>1063.8316</c:v>
                </c:pt>
                <c:pt idx="68">
                  <c:v>1124.5873</c:v>
                </c:pt>
                <c:pt idx="69">
                  <c:v>1109.2857</c:v>
                </c:pt>
                <c:pt idx="70">
                  <c:v>1084.1698</c:v>
                </c:pt>
                <c:pt idx="71">
                  <c:v>1173.6667</c:v>
                </c:pt>
                <c:pt idx="72">
                  <c:v>1206.55</c:v>
                </c:pt>
                <c:pt idx="73">
                  <c:v>1148.8846</c:v>
                </c:pt>
                <c:pt idx="74">
                  <c:v>1098.5484</c:v>
                </c:pt>
                <c:pt idx="75">
                  <c:v>1093.3966</c:v>
                </c:pt>
                <c:pt idx="76">
                  <c:v>1119.02</c:v>
                </c:pt>
                <c:pt idx="77">
                  <c:v>1119.1458</c:v>
                </c:pt>
                <c:pt idx="78">
                  <c:v>1135.5</c:v>
                </c:pt>
                <c:pt idx="79">
                  <c:v>1166.3958</c:v>
                </c:pt>
                <c:pt idx="80">
                  <c:v>1183.9545</c:v>
                </c:pt>
                <c:pt idx="81">
                  <c:v>1206.4151</c:v>
                </c:pt>
                <c:pt idx="82">
                  <c:v>1184.2647</c:v>
                </c:pt>
                <c:pt idx="83">
                  <c:v>1248.7083</c:v>
                </c:pt>
                <c:pt idx="84">
                  <c:v>1204.8333</c:v>
                </c:pt>
                <c:pt idx="85">
                  <c:v>1185.6098</c:v>
                </c:pt>
                <c:pt idx="86">
                  <c:v>1134.541</c:v>
                </c:pt>
                <c:pt idx="87">
                  <c:v>1139.8889</c:v>
                </c:pt>
                <c:pt idx="88">
                  <c:v>1103.1731</c:v>
                </c:pt>
                <c:pt idx="89">
                  <c:v>1151.4872</c:v>
                </c:pt>
                <c:pt idx="90">
                  <c:v>1144.1163</c:v>
                </c:pt>
                <c:pt idx="91">
                  <c:v>1183.5111</c:v>
                </c:pt>
                <c:pt idx="92">
                  <c:v>1177.1148</c:v>
                </c:pt>
                <c:pt idx="93">
                  <c:v>1192.7288</c:v>
                </c:pt>
                <c:pt idx="94">
                  <c:v>1143.9375</c:v>
                </c:pt>
                <c:pt idx="95">
                  <c:v>1147.3837</c:v>
                </c:pt>
                <c:pt idx="96">
                  <c:v>1127.7731</c:v>
                </c:pt>
                <c:pt idx="97">
                  <c:v>1062.0424</c:v>
                </c:pt>
                <c:pt idx="98">
                  <c:v>1056.6441</c:v>
                </c:pt>
                <c:pt idx="99">
                  <c:v>1078.5872</c:v>
                </c:pt>
                <c:pt idx="100">
                  <c:v>1102.4438</c:v>
                </c:pt>
                <c:pt idx="101">
                  <c:v>1140.9143</c:v>
                </c:pt>
                <c:pt idx="102">
                  <c:v>804.3072</c:v>
                </c:pt>
                <c:pt idx="103">
                  <c:v>948.3116</c:v>
                </c:pt>
              </c:numCache>
            </c:numRef>
          </c:xVal>
          <c:yVal>
            <c:numRef>
              <c:f>Sheet1!$B$2:$B$105</c:f>
              <c:numCache>
                <c:formatCode>General</c:formatCode>
                <c:ptCount val="104"/>
                <c:pt idx="0">
                  <c:v>0.1286549707602339</c:v>
                </c:pt>
                <c:pt idx="1">
                  <c:v>0.13319011815252416</c:v>
                </c:pt>
                <c:pt idx="2">
                  <c:v>0.11928651059085842</c:v>
                </c:pt>
                <c:pt idx="3">
                  <c:v>0.10814249363867684</c:v>
                </c:pt>
                <c:pt idx="4">
                  <c:v>0.1415929203539823</c:v>
                </c:pt>
                <c:pt idx="5">
                  <c:v>0.13555291319857313</c:v>
                </c:pt>
                <c:pt idx="6">
                  <c:v>0.1235565819861432</c:v>
                </c:pt>
                <c:pt idx="7">
                  <c:v>0.12125340599455041</c:v>
                </c:pt>
                <c:pt idx="8">
                  <c:v>0.11755485893416928</c:v>
                </c:pt>
                <c:pt idx="9">
                  <c:v>0.07534983853606028</c:v>
                </c:pt>
                <c:pt idx="10">
                  <c:v>0.07616974972796518</c:v>
                </c:pt>
                <c:pt idx="11">
                  <c:v>0.0929936305732484</c:v>
                </c:pt>
                <c:pt idx="12">
                  <c:v>0.11286407766990292</c:v>
                </c:pt>
                <c:pt idx="13">
                  <c:v>0.11935110081112399</c:v>
                </c:pt>
                <c:pt idx="14">
                  <c:v>0.11845102505694761</c:v>
                </c:pt>
                <c:pt idx="15">
                  <c:v>0.12005108556832694</c:v>
                </c:pt>
                <c:pt idx="16">
                  <c:v>0.1476407914764079</c:v>
                </c:pt>
                <c:pt idx="17">
                  <c:v>0.1423785594639866</c:v>
                </c:pt>
                <c:pt idx="18">
                  <c:v>0.10684474123539232</c:v>
                </c:pt>
                <c:pt idx="19">
                  <c:v>0.09823182711198428</c:v>
                </c:pt>
                <c:pt idx="20">
                  <c:v>0.13731825525040386</c:v>
                </c:pt>
                <c:pt idx="21">
                  <c:v>0.11842105263157894</c:v>
                </c:pt>
                <c:pt idx="22">
                  <c:v>0.07706422018348624</c:v>
                </c:pt>
                <c:pt idx="23">
                  <c:v>0.09177820267686425</c:v>
                </c:pt>
                <c:pt idx="24">
                  <c:v>0.0935483870967742</c:v>
                </c:pt>
                <c:pt idx="25">
                  <c:v>0.08426966292134831</c:v>
                </c:pt>
                <c:pt idx="26">
                  <c:v>0.08681672025723473</c:v>
                </c:pt>
                <c:pt idx="27">
                  <c:v>0.0973724884080371</c:v>
                </c:pt>
                <c:pt idx="28">
                  <c:v>0.09807355516637478</c:v>
                </c:pt>
                <c:pt idx="29">
                  <c:v>0.09481481481481481</c:v>
                </c:pt>
                <c:pt idx="30">
                  <c:v>0.08221797323135756</c:v>
                </c:pt>
                <c:pt idx="31">
                  <c:v>0.05752961082910321</c:v>
                </c:pt>
                <c:pt idx="32">
                  <c:v>0.06679035250463822</c:v>
                </c:pt>
                <c:pt idx="33">
                  <c:v>0.0694006309148265</c:v>
                </c:pt>
                <c:pt idx="34">
                  <c:v>0.06683804627249357</c:v>
                </c:pt>
                <c:pt idx="35">
                  <c:v>0.05875299760191847</c:v>
                </c:pt>
                <c:pt idx="36">
                  <c:v>0.0734094616639478</c:v>
                </c:pt>
                <c:pt idx="37">
                  <c:v>0.05714285714285714</c:v>
                </c:pt>
                <c:pt idx="38">
                  <c:v>0.05511811023622047</c:v>
                </c:pt>
                <c:pt idx="39">
                  <c:v>0.07905138339920949</c:v>
                </c:pt>
                <c:pt idx="40">
                  <c:v>0.07886904761904762</c:v>
                </c:pt>
                <c:pt idx="41">
                  <c:v>0.0859504132231405</c:v>
                </c:pt>
                <c:pt idx="42">
                  <c:v>0.08307210031347963</c:v>
                </c:pt>
                <c:pt idx="43">
                  <c:v>0.07617728531855955</c:v>
                </c:pt>
                <c:pt idx="44">
                  <c:v>0.09943181818181818</c:v>
                </c:pt>
                <c:pt idx="45">
                  <c:v>0.11535580524344569</c:v>
                </c:pt>
                <c:pt idx="46">
                  <c:v>0.11813537675606642</c:v>
                </c:pt>
                <c:pt idx="47">
                  <c:v>0.11548731642189586</c:v>
                </c:pt>
                <c:pt idx="48">
                  <c:v>0.12791932059447983</c:v>
                </c:pt>
                <c:pt idx="49">
                  <c:v>0.1400735294117647</c:v>
                </c:pt>
                <c:pt idx="50">
                  <c:v>0.11955815464587394</c:v>
                </c:pt>
                <c:pt idx="51">
                  <c:v>0.11594202898550725</c:v>
                </c:pt>
                <c:pt idx="52">
                  <c:v>0.10173323285606632</c:v>
                </c:pt>
                <c:pt idx="53">
                  <c:v>0.11805555555555555</c:v>
                </c:pt>
                <c:pt idx="54">
                  <c:v>0.0987535953978907</c:v>
                </c:pt>
                <c:pt idx="55">
                  <c:v>0.09663865546218488</c:v>
                </c:pt>
                <c:pt idx="56">
                  <c:v>0.10869565217391304</c:v>
                </c:pt>
                <c:pt idx="57">
                  <c:v>0.10273327049952875</c:v>
                </c:pt>
                <c:pt idx="58">
                  <c:v>0.1028770706190061</c:v>
                </c:pt>
                <c:pt idx="59">
                  <c:v>0.09751176866173504</c:v>
                </c:pt>
                <c:pt idx="60">
                  <c:v>0.12035541195476575</c:v>
                </c:pt>
                <c:pt idx="61">
                  <c:v>0.13693901035673187</c:v>
                </c:pt>
                <c:pt idx="62">
                  <c:v>0.11064718162839249</c:v>
                </c:pt>
                <c:pt idx="63">
                  <c:v>0.13278008298755187</c:v>
                </c:pt>
                <c:pt idx="64">
                  <c:v>0.1316831683168317</c:v>
                </c:pt>
                <c:pt idx="65">
                  <c:v>0.12718446601941746</c:v>
                </c:pt>
                <c:pt idx="66">
                  <c:v>0.10428849902534112</c:v>
                </c:pt>
                <c:pt idx="67">
                  <c:v>0.10555555555555556</c:v>
                </c:pt>
                <c:pt idx="68">
                  <c:v>0.0860655737704918</c:v>
                </c:pt>
                <c:pt idx="69">
                  <c:v>0.09210526315789473</c:v>
                </c:pt>
                <c:pt idx="70">
                  <c:v>0.08803986710963455</c:v>
                </c:pt>
                <c:pt idx="71">
                  <c:v>0.07608695652173914</c:v>
                </c:pt>
                <c:pt idx="72">
                  <c:v>0.09724473257698542</c:v>
                </c:pt>
                <c:pt idx="73">
                  <c:v>0.08843537414965986</c:v>
                </c:pt>
                <c:pt idx="74">
                  <c:v>0.09295352323838081</c:v>
                </c:pt>
                <c:pt idx="75">
                  <c:v>0.1012216404886562</c:v>
                </c:pt>
                <c:pt idx="76">
                  <c:v>0.09560229445506692</c:v>
                </c:pt>
                <c:pt idx="77">
                  <c:v>0.09523809523809523</c:v>
                </c:pt>
                <c:pt idx="78">
                  <c:v>0.09236947791164658</c:v>
                </c:pt>
                <c:pt idx="79">
                  <c:v>0.08602150537634409</c:v>
                </c:pt>
                <c:pt idx="80">
                  <c:v>0.07985480943738657</c:v>
                </c:pt>
                <c:pt idx="81">
                  <c:v>0.07625899280575539</c:v>
                </c:pt>
                <c:pt idx="82">
                  <c:v>0.06640625</c:v>
                </c:pt>
                <c:pt idx="83">
                  <c:v>0.05660377358490566</c:v>
                </c:pt>
                <c:pt idx="84">
                  <c:v>0.07407407407407407</c:v>
                </c:pt>
                <c:pt idx="85">
                  <c:v>0.07750472589792061</c:v>
                </c:pt>
                <c:pt idx="86">
                  <c:v>0.08615819209039548</c:v>
                </c:pt>
                <c:pt idx="87">
                  <c:v>0.07875</c:v>
                </c:pt>
                <c:pt idx="88">
                  <c:v>0.09792843691148775</c:v>
                </c:pt>
                <c:pt idx="89">
                  <c:v>0.08843537414965986</c:v>
                </c:pt>
                <c:pt idx="90">
                  <c:v>0.09033613445378151</c:v>
                </c:pt>
                <c:pt idx="91">
                  <c:v>0.0907258064516129</c:v>
                </c:pt>
                <c:pt idx="92">
                  <c:v>0.09399075500770417</c:v>
                </c:pt>
                <c:pt idx="93">
                  <c:v>0.08858858858858859</c:v>
                </c:pt>
                <c:pt idx="94">
                  <c:v>0.0997920997920998</c:v>
                </c:pt>
                <c:pt idx="95">
                  <c:v>0.08167141500474834</c:v>
                </c:pt>
                <c:pt idx="96">
                  <c:v>0.09842845326716294</c:v>
                </c:pt>
                <c:pt idx="97">
                  <c:v>0.10963455149501661</c:v>
                </c:pt>
                <c:pt idx="98">
                  <c:v>0.11425630468347915</c:v>
                </c:pt>
                <c:pt idx="99">
                  <c:v>0.1151639344262295</c:v>
                </c:pt>
                <c:pt idx="100">
                  <c:v>0.11695501730103806</c:v>
                </c:pt>
                <c:pt idx="101">
                  <c:v>0.10174418604651163</c:v>
                </c:pt>
                <c:pt idx="102">
                  <c:v>0.13174603174603175</c:v>
                </c:pt>
                <c:pt idx="103">
                  <c:v>0.130805687203791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63.7813</c:v>
                </c:pt>
                <c:pt idx="1">
                  <c:v>974.9434</c:v>
                </c:pt>
                <c:pt idx="2">
                  <c:v>977.2667</c:v>
                </c:pt>
                <c:pt idx="3">
                  <c:v>968.7194</c:v>
                </c:pt>
                <c:pt idx="4">
                  <c:v>959.9515</c:v>
                </c:pt>
                <c:pt idx="5">
                  <c:v>950.9477</c:v>
                </c:pt>
                <c:pt idx="6">
                  <c:v>939.6884</c:v>
                </c:pt>
                <c:pt idx="7">
                  <c:v>1049.3091</c:v>
                </c:pt>
                <c:pt idx="8">
                  <c:v>1248.8235</c:v>
                </c:pt>
                <c:pt idx="9">
                  <c:v>1173.9241</c:v>
                </c:pt>
                <c:pt idx="10">
                  <c:v>1208.8485</c:v>
                </c:pt>
                <c:pt idx="11">
                  <c:v>1020.2692</c:v>
                </c:pt>
                <c:pt idx="12">
                  <c:v>1149.4578</c:v>
                </c:pt>
                <c:pt idx="13">
                  <c:v>1216.1688</c:v>
                </c:pt>
                <c:pt idx="14">
                  <c:v>1184.1067</c:v>
                </c:pt>
                <c:pt idx="15">
                  <c:v>1220.9643</c:v>
                </c:pt>
                <c:pt idx="16">
                  <c:v>1228.4318</c:v>
                </c:pt>
                <c:pt idx="17">
                  <c:v>1205.931</c:v>
                </c:pt>
                <c:pt idx="18">
                  <c:v>1332.2609</c:v>
                </c:pt>
                <c:pt idx="19">
                  <c:v>1305.4565</c:v>
                </c:pt>
                <c:pt idx="20">
                  <c:v>1312.2041</c:v>
                </c:pt>
                <c:pt idx="21">
                  <c:v>1255.5227</c:v>
                </c:pt>
                <c:pt idx="22">
                  <c:v>1173.0217</c:v>
                </c:pt>
                <c:pt idx="23">
                  <c:v>1109.9444</c:v>
                </c:pt>
                <c:pt idx="24">
                  <c:v>1145.3448</c:v>
                </c:pt>
                <c:pt idx="25">
                  <c:v>1060.3971</c:v>
                </c:pt>
                <c:pt idx="26">
                  <c:v>1134.8113</c:v>
                </c:pt>
                <c:pt idx="27">
                  <c:v>1129.9</c:v>
                </c:pt>
                <c:pt idx="28">
                  <c:v>1163.6714</c:v>
                </c:pt>
                <c:pt idx="29">
                  <c:v>1147.2712</c:v>
                </c:pt>
                <c:pt idx="30">
                  <c:v>1164.1034</c:v>
                </c:pt>
                <c:pt idx="31">
                  <c:v>1097.88</c:v>
                </c:pt>
                <c:pt idx="32">
                  <c:v>1114.3387</c:v>
                </c:pt>
                <c:pt idx="33">
                  <c:v>1093.6548</c:v>
                </c:pt>
                <c:pt idx="34">
                  <c:v>1145.9263</c:v>
                </c:pt>
                <c:pt idx="35">
                  <c:v>1125.3205</c:v>
                </c:pt>
                <c:pt idx="36">
                  <c:v>1190.5854</c:v>
                </c:pt>
                <c:pt idx="37">
                  <c:v>1309.0541</c:v>
                </c:pt>
                <c:pt idx="38">
                  <c:v>1275.3243</c:v>
                </c:pt>
                <c:pt idx="39">
                  <c:v>1245.9333</c:v>
                </c:pt>
                <c:pt idx="40">
                  <c:v>1346.0</c:v>
                </c:pt>
                <c:pt idx="41">
                  <c:v>1351.8478</c:v>
                </c:pt>
                <c:pt idx="42">
                  <c:v>1338.8</c:v>
                </c:pt>
                <c:pt idx="43">
                  <c:v>1299.4308</c:v>
                </c:pt>
                <c:pt idx="44">
                  <c:v>1228.5467</c:v>
                </c:pt>
                <c:pt idx="45">
                  <c:v>1150.5918</c:v>
                </c:pt>
                <c:pt idx="46">
                  <c:v>1155.5673</c:v>
                </c:pt>
                <c:pt idx="47">
                  <c:v>1139.9903</c:v>
                </c:pt>
                <c:pt idx="48">
                  <c:v>1143.5091</c:v>
                </c:pt>
                <c:pt idx="49">
                  <c:v>1133.2054</c:v>
                </c:pt>
                <c:pt idx="50">
                  <c:v>1010.7913</c:v>
                </c:pt>
                <c:pt idx="51">
                  <c:v>1001.6378</c:v>
                </c:pt>
              </c:numCache>
            </c:numRef>
          </c:xVal>
          <c:yVal>
            <c:numRef>
              <c:f>Sheet1!$B$108:$B$159</c:f>
              <c:numCache>
                <c:formatCode>General</c:formatCode>
                <c:ptCount val="52"/>
                <c:pt idx="0">
                  <c:v>0.12098298676748583</c:v>
                </c:pt>
                <c:pt idx="1">
                  <c:v>0.16510903426791276</c:v>
                </c:pt>
                <c:pt idx="2">
                  <c:v>0.14692787177203917</c:v>
                </c:pt>
                <c:pt idx="3">
                  <c:v>0.12894248608534323</c:v>
                </c:pt>
                <c:pt idx="4">
                  <c:v>0.16019417475728157</c:v>
                </c:pt>
                <c:pt idx="5">
                  <c:v>0.14166666666666666</c:v>
                </c:pt>
                <c:pt idx="6">
                  <c:v>0.11210398050365557</c:v>
                </c:pt>
                <c:pt idx="7">
                  <c:v>0.11664899257688228</c:v>
                </c:pt>
                <c:pt idx="8">
                  <c:v>0.10179640718562874</c:v>
                </c:pt>
                <c:pt idx="9">
                  <c:v>0.09949622166246852</c:v>
                </c:pt>
                <c:pt idx="10">
                  <c:v>0.08776595744680851</c:v>
                </c:pt>
                <c:pt idx="11">
                  <c:v>0.07987711213517665</c:v>
                </c:pt>
                <c:pt idx="12">
                  <c:v>0.08539094650205761</c:v>
                </c:pt>
                <c:pt idx="13">
                  <c:v>0.09424724602203183</c:v>
                </c:pt>
                <c:pt idx="14">
                  <c:v>0.09529860228716645</c:v>
                </c:pt>
                <c:pt idx="15">
                  <c:v>0.08139534883720931</c:v>
                </c:pt>
                <c:pt idx="16">
                  <c:v>0.07142857142857142</c:v>
                </c:pt>
                <c:pt idx="17">
                  <c:v>0.09090909090909091</c:v>
                </c:pt>
                <c:pt idx="18">
                  <c:v>0.08288288288288288</c:v>
                </c:pt>
                <c:pt idx="19">
                  <c:v>0.07744107744107744</c:v>
                </c:pt>
                <c:pt idx="20">
                  <c:v>0.09090909090909091</c:v>
                </c:pt>
                <c:pt idx="21">
                  <c:v>0.08997955010224949</c:v>
                </c:pt>
                <c:pt idx="22">
                  <c:v>0.08712121212121213</c:v>
                </c:pt>
                <c:pt idx="23">
                  <c:v>0.1115702479338843</c:v>
                </c:pt>
                <c:pt idx="24">
                  <c:v>0.10301953818827708</c:v>
                </c:pt>
                <c:pt idx="25">
                  <c:v>0.11929824561403508</c:v>
                </c:pt>
                <c:pt idx="26">
                  <c:v>0.09566787003610108</c:v>
                </c:pt>
                <c:pt idx="27">
                  <c:v>0.09884678747940692</c:v>
                </c:pt>
                <c:pt idx="28">
                  <c:v>0.10835913312693499</c:v>
                </c:pt>
                <c:pt idx="29">
                  <c:v>0.11281070745697896</c:v>
                </c:pt>
                <c:pt idx="30">
                  <c:v>0.11836734693877551</c:v>
                </c:pt>
                <c:pt idx="31">
                  <c:v>0.11013215859030837</c:v>
                </c:pt>
                <c:pt idx="32">
                  <c:v>0.11854684512428298</c:v>
                </c:pt>
                <c:pt idx="33">
                  <c:v>0.11864406779661017</c:v>
                </c:pt>
                <c:pt idx="34">
                  <c:v>0.11189634864546526</c:v>
                </c:pt>
                <c:pt idx="35">
                  <c:v>0.1248</c:v>
                </c:pt>
                <c:pt idx="36">
                  <c:v>0.1111111111111111</c:v>
                </c:pt>
                <c:pt idx="37">
                  <c:v>0.08525345622119816</c:v>
                </c:pt>
                <c:pt idx="38">
                  <c:v>0.08980582524271845</c:v>
                </c:pt>
                <c:pt idx="39">
                  <c:v>0.11627906976744186</c:v>
                </c:pt>
                <c:pt idx="40">
                  <c:v>0.0891089108910891</c:v>
                </c:pt>
                <c:pt idx="41">
                  <c:v>0.08258527827648116</c:v>
                </c:pt>
                <c:pt idx="42">
                  <c:v>0.09633911368015415</c:v>
                </c:pt>
                <c:pt idx="43">
                  <c:v>0.0962962962962963</c:v>
                </c:pt>
                <c:pt idx="44">
                  <c:v>0.10053619302949061</c:v>
                </c:pt>
                <c:pt idx="45">
                  <c:v>0.09245283018867924</c:v>
                </c:pt>
                <c:pt idx="46">
                  <c:v>0.10327706057596822</c:v>
                </c:pt>
                <c:pt idx="47">
                  <c:v>0.09262589928057553</c:v>
                </c:pt>
                <c:pt idx="48">
                  <c:v>0.0912863070539419</c:v>
                </c:pt>
                <c:pt idx="49">
                  <c:v>0.07932011331444759</c:v>
                </c:pt>
                <c:pt idx="50">
                  <c:v>0.10083210964268233</c:v>
                </c:pt>
                <c:pt idx="51">
                  <c:v>0.099764336213668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945.9920630148204</c:v>
                </c:pt>
              </c:numCache>
            </c:numRef>
          </c:xVal>
          <c:yVal>
            <c:numRef>
              <c:f>Sheet1!$B$162:$B$163</c:f>
              <c:numCache>
                <c:formatCode>General</c:formatCode>
                <c:ptCount val="2"/>
                <c:pt idx="0">
                  <c:v>0.12889411714463606</c:v>
                </c:pt>
                <c:pt idx="1">
                  <c:v>0.12889411714463606</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945.9920630148204</c:v>
                </c:pt>
                <c:pt idx="1">
                  <c:v>945.9920630148204</c:v>
                </c:pt>
              </c:numCache>
            </c:numRef>
          </c:xVal>
          <c:yVal>
            <c:numRef>
              <c:f>Sheet1!$B$166:$B$167</c:f>
              <c:numCache>
                <c:formatCode>General</c:formatCode>
                <c:ptCount val="2"/>
                <c:pt idx="0">
                  <c:v>0.128894117144636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914.4346370261777</c:v>
                </c:pt>
              </c:numCache>
            </c:numRef>
          </c:xVal>
          <c:yVal>
            <c:numRef>
              <c:f>Sheet1!$B$170:$B$171</c:f>
              <c:numCache>
                <c:formatCode>General</c:formatCode>
                <c:ptCount val="2"/>
                <c:pt idx="0">
                  <c:v>0.13270806673143287</c:v>
                </c:pt>
                <c:pt idx="1">
                  <c:v>0.1327080667314328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914.4346370261777</c:v>
                </c:pt>
                <c:pt idx="1">
                  <c:v>914.4346370261777</c:v>
                </c:pt>
              </c:numCache>
            </c:numRef>
          </c:xVal>
          <c:yVal>
            <c:numRef>
              <c:f>Sheet1!$B$174:$B$175</c:f>
              <c:numCache>
                <c:formatCode>General</c:formatCode>
                <c:ptCount val="2"/>
                <c:pt idx="0">
                  <c:v>0.132708066731432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222.8089981183318</c:v>
                </c:pt>
              </c:numCache>
            </c:numRef>
          </c:xVal>
          <c:yVal>
            <c:numRef>
              <c:f>Sheet1!$B$178:$B$179</c:f>
              <c:numCache>
                <c:formatCode>General</c:formatCode>
                <c:ptCount val="2"/>
                <c:pt idx="0">
                  <c:v>0.09543873217007048</c:v>
                </c:pt>
                <c:pt idx="1">
                  <c:v>0.0954387321700704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222.8089981183318</c:v>
                </c:pt>
                <c:pt idx="1">
                  <c:v>1222.8089981183318</c:v>
                </c:pt>
              </c:numCache>
            </c:numRef>
          </c:xVal>
          <c:yVal>
            <c:numRef>
              <c:f>Sheet1!$B$182:$B$183</c:f>
              <c:numCache>
                <c:formatCode>General</c:formatCode>
                <c:ptCount val="2"/>
                <c:pt idx="0">
                  <c:v>0.095438732170070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63.7813</c:v>
                </c:pt>
                <c:pt idx="1">
                  <c:v>974.9434</c:v>
                </c:pt>
                <c:pt idx="2">
                  <c:v>977.2667</c:v>
                </c:pt>
                <c:pt idx="3">
                  <c:v>968.7194</c:v>
                </c:pt>
                <c:pt idx="4">
                  <c:v>959.9515</c:v>
                </c:pt>
                <c:pt idx="5">
                  <c:v>950.9477</c:v>
                </c:pt>
                <c:pt idx="6">
                  <c:v>939.6884</c:v>
                </c:pt>
                <c:pt idx="7">
                  <c:v>1049.3091</c:v>
                </c:pt>
                <c:pt idx="8">
                  <c:v>1248.8235</c:v>
                </c:pt>
                <c:pt idx="9">
                  <c:v>1173.9241</c:v>
                </c:pt>
                <c:pt idx="10">
                  <c:v>1208.8485</c:v>
                </c:pt>
                <c:pt idx="11">
                  <c:v>1020.2692</c:v>
                </c:pt>
                <c:pt idx="12">
                  <c:v>1149.4578</c:v>
                </c:pt>
                <c:pt idx="13">
                  <c:v>1216.1688</c:v>
                </c:pt>
                <c:pt idx="14">
                  <c:v>1184.1067</c:v>
                </c:pt>
                <c:pt idx="15">
                  <c:v>1220.9643</c:v>
                </c:pt>
                <c:pt idx="16">
                  <c:v>1228.4318</c:v>
                </c:pt>
                <c:pt idx="17">
                  <c:v>1205.931</c:v>
                </c:pt>
                <c:pt idx="18">
                  <c:v>1332.2609</c:v>
                </c:pt>
                <c:pt idx="19">
                  <c:v>1305.4565</c:v>
                </c:pt>
                <c:pt idx="20">
                  <c:v>1312.2041</c:v>
                </c:pt>
                <c:pt idx="21">
                  <c:v>1255.5227</c:v>
                </c:pt>
                <c:pt idx="22">
                  <c:v>1173.0217</c:v>
                </c:pt>
                <c:pt idx="23">
                  <c:v>1109.9444</c:v>
                </c:pt>
                <c:pt idx="24">
                  <c:v>1145.3448</c:v>
                </c:pt>
                <c:pt idx="25">
                  <c:v>1060.3971</c:v>
                </c:pt>
                <c:pt idx="26">
                  <c:v>1134.8113</c:v>
                </c:pt>
                <c:pt idx="27">
                  <c:v>1129.9</c:v>
                </c:pt>
                <c:pt idx="28">
                  <c:v>1163.6714</c:v>
                </c:pt>
                <c:pt idx="29">
                  <c:v>1147.2712</c:v>
                </c:pt>
                <c:pt idx="30">
                  <c:v>1164.1034</c:v>
                </c:pt>
                <c:pt idx="31">
                  <c:v>1097.88</c:v>
                </c:pt>
                <c:pt idx="32">
                  <c:v>1114.3387</c:v>
                </c:pt>
                <c:pt idx="33">
                  <c:v>1093.6548</c:v>
                </c:pt>
                <c:pt idx="34">
                  <c:v>1145.9263</c:v>
                </c:pt>
                <c:pt idx="35">
                  <c:v>1125.3205</c:v>
                </c:pt>
                <c:pt idx="36">
                  <c:v>1190.5854</c:v>
                </c:pt>
                <c:pt idx="37">
                  <c:v>1309.0541</c:v>
                </c:pt>
                <c:pt idx="38">
                  <c:v>1275.3243</c:v>
                </c:pt>
                <c:pt idx="39">
                  <c:v>1245.9333</c:v>
                </c:pt>
                <c:pt idx="40">
                  <c:v>1346.0</c:v>
                </c:pt>
                <c:pt idx="41">
                  <c:v>1351.8478</c:v>
                </c:pt>
                <c:pt idx="42">
                  <c:v>1338.8</c:v>
                </c:pt>
                <c:pt idx="43">
                  <c:v>1299.4308</c:v>
                </c:pt>
                <c:pt idx="44">
                  <c:v>1228.5467</c:v>
                </c:pt>
                <c:pt idx="45">
                  <c:v>1150.5918</c:v>
                </c:pt>
                <c:pt idx="46">
                  <c:v>1155.5673</c:v>
                </c:pt>
                <c:pt idx="47">
                  <c:v>1139.9903</c:v>
                </c:pt>
                <c:pt idx="48">
                  <c:v>1143.5091</c:v>
                </c:pt>
                <c:pt idx="49">
                  <c:v>1133.2054</c:v>
                </c:pt>
                <c:pt idx="50">
                  <c:v>1010.7913</c:v>
                </c:pt>
                <c:pt idx="51">
                  <c:v>1001.6378</c:v>
                </c:pt>
                <c:pt idx="52">
                  <c:v>914.4346370261777</c:v>
                </c:pt>
                <c:pt idx="53">
                  <c:v>945.9920630148204</c:v>
                </c:pt>
                <c:pt idx="54">
                  <c:v>1222.8089981183318</c:v>
                </c:pt>
              </c:numCache>
            </c:numRef>
          </c:xVal>
          <c:yVal>
            <c:numRef>
              <c:f>Sheet1!$B$186:$B$240</c:f>
              <c:numCache>
                <c:formatCode>General</c:formatCode>
                <c:ptCount val="55"/>
                <c:pt idx="0">
                  <c:v>0.114658411992688</c:v>
                </c:pt>
                <c:pt idx="1">
                  <c:v>0.12539513279237674</c:v>
                </c:pt>
                <c:pt idx="2">
                  <c:v>0.12511434471168242</c:v>
                </c:pt>
                <c:pt idx="3">
                  <c:v>0.12614734947306444</c:v>
                </c:pt>
                <c:pt idx="4">
                  <c:v>0.12720701538479345</c:v>
                </c:pt>
                <c:pt idx="5">
                  <c:v>0.12829519156563784</c:v>
                </c:pt>
                <c:pt idx="6">
                  <c:v>0.12965596169302646</c:v>
                </c:pt>
                <c:pt idx="7">
                  <c:v>0.11640748497569703</c:v>
                </c:pt>
                <c:pt idx="8">
                  <c:v>0.0922946861779157</c:v>
                </c:pt>
                <c:pt idx="9">
                  <c:v>0.10134683560810492</c:v>
                </c:pt>
                <c:pt idx="10">
                  <c:v>0.09712596217574496</c:v>
                </c:pt>
                <c:pt idx="11">
                  <c:v>0.11991717282683806</c:v>
                </c:pt>
                <c:pt idx="12">
                  <c:v>0.1043037698906738</c:v>
                </c:pt>
                <c:pt idx="13">
                  <c:v>0.0962412494881425</c:v>
                </c:pt>
                <c:pt idx="14">
                  <c:v>0.10011619268188862</c:v>
                </c:pt>
                <c:pt idx="15">
                  <c:v>0.09566167765455671</c:v>
                </c:pt>
                <c:pt idx="16">
                  <c:v>0.09475917475239812</c:v>
                </c:pt>
                <c:pt idx="17">
                  <c:v>0.09747856374481731</c:v>
                </c:pt>
                <c:pt idx="18">
                  <c:v>0.08221065596049781</c:v>
                </c:pt>
                <c:pt idx="19">
                  <c:v>0.0854501670138115</c:v>
                </c:pt>
                <c:pt idx="20">
                  <c:v>0.08463466937971639</c:v>
                </c:pt>
                <c:pt idx="21">
                  <c:v>0.09148503804371538</c:v>
                </c:pt>
                <c:pt idx="22">
                  <c:v>0.10145589735820976</c:v>
                </c:pt>
                <c:pt idx="23">
                  <c:v>0.10907925809611785</c:v>
                </c:pt>
                <c:pt idx="24">
                  <c:v>0.10480085652429658</c:v>
                </c:pt>
                <c:pt idx="25">
                  <c:v>0.11506741772706838</c:v>
                </c:pt>
                <c:pt idx="26">
                  <c:v>0.10607390832475022</c:v>
                </c:pt>
                <c:pt idx="27">
                  <c:v>0.1066674754494066</c:v>
                </c:pt>
                <c:pt idx="28">
                  <c:v>0.10258595064057383</c:v>
                </c:pt>
                <c:pt idx="29">
                  <c:v>0.10456803675988838</c:v>
                </c:pt>
                <c:pt idx="30">
                  <c:v>0.1025337402282896</c:v>
                </c:pt>
                <c:pt idx="31">
                  <c:v>0.11053733054510376</c:v>
                </c:pt>
                <c:pt idx="32">
                  <c:v>0.10854817426579239</c:v>
                </c:pt>
                <c:pt idx="33">
                  <c:v>0.11104797738302816</c:v>
                </c:pt>
                <c:pt idx="34">
                  <c:v>0.10473057792535378</c:v>
                </c:pt>
                <c:pt idx="35">
                  <c:v>0.10722094207685023</c:v>
                </c:pt>
                <c:pt idx="36">
                  <c:v>0.09933319361229173</c:v>
                </c:pt>
                <c:pt idx="37">
                  <c:v>0.08501537030262224</c:v>
                </c:pt>
                <c:pt idx="38">
                  <c:v>0.089091867442124</c:v>
                </c:pt>
                <c:pt idx="39">
                  <c:v>0.09264398833898954</c:v>
                </c:pt>
                <c:pt idx="40">
                  <c:v>0.08055018356370541</c:v>
                </c:pt>
                <c:pt idx="41">
                  <c:v>0.07984343345038195</c:v>
                </c:pt>
                <c:pt idx="42">
                  <c:v>0.08142035710177598</c:v>
                </c:pt>
                <c:pt idx="43">
                  <c:v>0.08617841766497147</c:v>
                </c:pt>
                <c:pt idx="44">
                  <c:v>0.09474528823301975</c:v>
                </c:pt>
                <c:pt idx="45">
                  <c:v>0.10416671755842768</c:v>
                </c:pt>
                <c:pt idx="46">
                  <c:v>0.10356539138639015</c:v>
                </c:pt>
                <c:pt idx="47">
                  <c:v>0.10544798766451866</c:v>
                </c:pt>
                <c:pt idx="48">
                  <c:v>0.10502271451927384</c:v>
                </c:pt>
                <c:pt idx="49">
                  <c:v>0.10626799328097072</c:v>
                </c:pt>
                <c:pt idx="50">
                  <c:v>0.12106264751801568</c:v>
                </c:pt>
                <c:pt idx="51">
                  <c:v>0.12216891605700582</c:v>
                </c:pt>
                <c:pt idx="52">
                  <c:v>0.13270806673143287</c:v>
                </c:pt>
                <c:pt idx="53">
                  <c:v>0.12889411714463606</c:v>
                </c:pt>
                <c:pt idx="54">
                  <c:v>0.0954387321700704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2.0"/>
          <c:min val="59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13084112149532"/>
          <c:min val="0.0440944881889763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8932161463589</c:v>
                </c:pt>
                <c:pt idx="1">
                  <c:v>0.6772884074525752</c:v>
                </c:pt>
                <c:pt idx="2">
                  <c:v>0.6793283367631031</c:v>
                </c:pt>
                <c:pt idx="3">
                  <c:v>0.6838005514973317</c:v>
                </c:pt>
                <c:pt idx="4">
                  <c:v>0.6866365482241148</c:v>
                </c:pt>
                <c:pt idx="5">
                  <c:v>0.6999241368332694</c:v>
                </c:pt>
                <c:pt idx="6">
                  <c:v>0.6590341621537804</c:v>
                </c:pt>
                <c:pt idx="7">
                  <c:v>0.6597062040155388</c:v>
                </c:pt>
                <c:pt idx="8">
                  <c:v>0.6658875195124291</c:v>
                </c:pt>
                <c:pt idx="9">
                  <c:v>0.6998048235333848</c:v>
                </c:pt>
                <c:pt idx="10">
                  <c:v>0.7186590828158504</c:v>
                </c:pt>
                <c:pt idx="11">
                  <c:v>0.750154286313679</c:v>
                </c:pt>
                <c:pt idx="12">
                  <c:v>0.769672935368271</c:v>
                </c:pt>
                <c:pt idx="13">
                  <c:v>0.7485739571859585</c:v>
                </c:pt>
                <c:pt idx="14">
                  <c:v>0.7457284913119203</c:v>
                </c:pt>
                <c:pt idx="15">
                  <c:v>0.7486721365515577</c:v>
                </c:pt>
                <c:pt idx="16">
                  <c:v>0.7409541932668882</c:v>
                </c:pt>
                <c:pt idx="17">
                  <c:v>0.7362448569803216</c:v>
                </c:pt>
                <c:pt idx="18">
                  <c:v>0.7643611355580772</c:v>
                </c:pt>
                <c:pt idx="19">
                  <c:v>0.7742366834807595</c:v>
                </c:pt>
                <c:pt idx="20">
                  <c:v>0.7788983797602445</c:v>
                </c:pt>
                <c:pt idx="21">
                  <c:v>0.7045264792741694</c:v>
                </c:pt>
                <c:pt idx="22">
                  <c:v>0.6696706208389931</c:v>
                </c:pt>
                <c:pt idx="23">
                  <c:v>0.6456522675908927</c:v>
                </c:pt>
                <c:pt idx="24">
                  <c:v>0.6142759997857721</c:v>
                </c:pt>
                <c:pt idx="25">
                  <c:v>0.5950517624341152</c:v>
                </c:pt>
                <c:pt idx="26">
                  <c:v>0.6054876931608508</c:v>
                </c:pt>
                <c:pt idx="27">
                  <c:v>0.6281382602335349</c:v>
                </c:pt>
                <c:pt idx="28">
                  <c:v>0.6187590251353342</c:v>
                </c:pt>
                <c:pt idx="29">
                  <c:v>0.5535664656091062</c:v>
                </c:pt>
                <c:pt idx="30">
                  <c:v>0.5749393798292388</c:v>
                </c:pt>
                <c:pt idx="31">
                  <c:v>0.5975515688342565</c:v>
                </c:pt>
                <c:pt idx="32">
                  <c:v>0.5621603417026902</c:v>
                </c:pt>
                <c:pt idx="33">
                  <c:v>0.5421411978688871</c:v>
                </c:pt>
                <c:pt idx="34">
                  <c:v>0.632878073445609</c:v>
                </c:pt>
                <c:pt idx="35">
                  <c:v>0.7033943007912401</c:v>
                </c:pt>
                <c:pt idx="36">
                  <c:v>0.7478069852040793</c:v>
                </c:pt>
                <c:pt idx="37">
                  <c:v>0.7071650776169396</c:v>
                </c:pt>
                <c:pt idx="38">
                  <c:v>0.7562399149146187</c:v>
                </c:pt>
                <c:pt idx="39">
                  <c:v>0.7665640345852957</c:v>
                </c:pt>
                <c:pt idx="40">
                  <c:v>0.7712828266641626</c:v>
                </c:pt>
                <c:pt idx="41">
                  <c:v>0.7545224475565984</c:v>
                </c:pt>
                <c:pt idx="42">
                  <c:v>0.7878399785533242</c:v>
                </c:pt>
                <c:pt idx="43">
                  <c:v>0.7918999815055466</c:v>
                </c:pt>
                <c:pt idx="44">
                  <c:v>0.7299710040761257</c:v>
                </c:pt>
                <c:pt idx="45">
                  <c:v>0.714817734758193</c:v>
                </c:pt>
                <c:pt idx="46">
                  <c:v>0.7139052130664947</c:v>
                </c:pt>
                <c:pt idx="47">
                  <c:v>0.7145121938111975</c:v>
                </c:pt>
                <c:pt idx="48">
                  <c:v>0.7196327488008899</c:v>
                </c:pt>
                <c:pt idx="49">
                  <c:v>0.7250539800712519</c:v>
                </c:pt>
                <c:pt idx="50">
                  <c:v>0.6919413757808915</c:v>
                </c:pt>
                <c:pt idx="51">
                  <c:v>0.6981261868678027</c:v>
                </c:pt>
                <c:pt idx="52">
                  <c:v>0.710423042928525</c:v>
                </c:pt>
                <c:pt idx="53">
                  <c:v>0.664002744463466</c:v>
                </c:pt>
                <c:pt idx="54">
                  <c:v>0.643892334302558</c:v>
                </c:pt>
                <c:pt idx="55">
                  <c:v>0.6553256644106009</c:v>
                </c:pt>
                <c:pt idx="56">
                  <c:v>0.6587249466707733</c:v>
                </c:pt>
                <c:pt idx="57">
                  <c:v>0.6612497341299342</c:v>
                </c:pt>
                <c:pt idx="58">
                  <c:v>0.6426328299376388</c:v>
                </c:pt>
                <c:pt idx="59">
                  <c:v>0.6492921655710985</c:v>
                </c:pt>
                <c:pt idx="60">
                  <c:v>0.6516763889191243</c:v>
                </c:pt>
                <c:pt idx="61">
                  <c:v>0.6848680805786694</c:v>
                </c:pt>
                <c:pt idx="62">
                  <c:v>0.7080954158982351</c:v>
                </c:pt>
                <c:pt idx="63">
                  <c:v>0.7265960650086608</c:v>
                </c:pt>
                <c:pt idx="64">
                  <c:v>0.7746421537916367</c:v>
                </c:pt>
                <c:pt idx="65">
                  <c:v>0.7731918656279183</c:v>
                </c:pt>
                <c:pt idx="66">
                  <c:v>0.7317472094455614</c:v>
                </c:pt>
                <c:pt idx="67">
                  <c:v>0.7254935617771187</c:v>
                </c:pt>
                <c:pt idx="68">
                  <c:v>0.7067593673020919</c:v>
                </c:pt>
                <c:pt idx="69">
                  <c:v>0.6974324010560665</c:v>
                </c:pt>
                <c:pt idx="70">
                  <c:v>0.6566226372220156</c:v>
                </c:pt>
                <c:pt idx="71">
                  <c:v>0.6392358178670257</c:v>
                </c:pt>
                <c:pt idx="72">
                  <c:v>0.6822782417441952</c:v>
                </c:pt>
                <c:pt idx="73">
                  <c:v>0.6532545466635774</c:v>
                </c:pt>
                <c:pt idx="74">
                  <c:v>0.620129412779487</c:v>
                </c:pt>
                <c:pt idx="75">
                  <c:v>0.613968123855853</c:v>
                </c:pt>
                <c:pt idx="76">
                  <c:v>0.6330002039853551</c:v>
                </c:pt>
                <c:pt idx="77">
                  <c:v>0.6250158186642925</c:v>
                </c:pt>
                <c:pt idx="78">
                  <c:v>0.6567383451685963</c:v>
                </c:pt>
                <c:pt idx="79">
                  <c:v>0.4150281990648996</c:v>
                </c:pt>
                <c:pt idx="80">
                  <c:v>0.4373406588273845</c:v>
                </c:pt>
                <c:pt idx="81">
                  <c:v>0.5745513462917465</c:v>
                </c:pt>
                <c:pt idx="82">
                  <c:v>0.5589780248158722</c:v>
                </c:pt>
                <c:pt idx="83">
                  <c:v>0.5606763941847615</c:v>
                </c:pt>
                <c:pt idx="84">
                  <c:v>0.5689966363041704</c:v>
                </c:pt>
                <c:pt idx="85">
                  <c:v>0.5990980444911254</c:v>
                </c:pt>
                <c:pt idx="86">
                  <c:v>0.6918962555609803</c:v>
                </c:pt>
                <c:pt idx="87">
                  <c:v>0.7245526854753715</c:v>
                </c:pt>
                <c:pt idx="88">
                  <c:v>0.6746911852934635</c:v>
                </c:pt>
                <c:pt idx="89">
                  <c:v>0.6314890137347587</c:v>
                </c:pt>
                <c:pt idx="90">
                  <c:v>0.653541504327075</c:v>
                </c:pt>
                <c:pt idx="91">
                  <c:v>0.6915465885857349</c:v>
                </c:pt>
                <c:pt idx="92">
                  <c:v>0.7185220755304156</c:v>
                </c:pt>
                <c:pt idx="93">
                  <c:v>0.7427286920319186</c:v>
                </c:pt>
                <c:pt idx="94">
                  <c:v>0.7414405100401361</c:v>
                </c:pt>
                <c:pt idx="95">
                  <c:v>0.7695555492268602</c:v>
                </c:pt>
                <c:pt idx="96">
                  <c:v>0.768427324936442</c:v>
                </c:pt>
                <c:pt idx="97">
                  <c:v>0.8240291213263155</c:v>
                </c:pt>
                <c:pt idx="98">
                  <c:v>0.835070109806222</c:v>
                </c:pt>
                <c:pt idx="99">
                  <c:v>0.8203883519670384</c:v>
                </c:pt>
                <c:pt idx="100">
                  <c:v>0.8162948692418482</c:v>
                </c:pt>
                <c:pt idx="101">
                  <c:v>0.7572842692004252</c:v>
                </c:pt>
                <c:pt idx="102">
                  <c:v>0.7664125389538184</c:v>
                </c:pt>
                <c:pt idx="103">
                  <c:v>0.6985592236008589</c:v>
                </c:pt>
                <c:pt idx="104">
                  <c:v>0.723158783203966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5031087682411</c:v>
                </c:pt>
                <c:pt idx="1">
                  <c:v>0.6886434030972932</c:v>
                </c:pt>
                <c:pt idx="2">
                  <c:v>0.6842205362751762</c:v>
                </c:pt>
                <c:pt idx="3">
                  <c:v>0.6748650950662318</c:v>
                </c:pt>
                <c:pt idx="4">
                  <c:v>0.6745917823416892</c:v>
                </c:pt>
                <c:pt idx="5">
                  <c:v>0.6981717349921437</c:v>
                </c:pt>
                <c:pt idx="6">
                  <c:v>0.7155577769176034</c:v>
                </c:pt>
                <c:pt idx="7">
                  <c:v>0.7305549755058234</c:v>
                </c:pt>
                <c:pt idx="8">
                  <c:v>0.7660601295913709</c:v>
                </c:pt>
                <c:pt idx="9">
                  <c:v>0.7530968261935558</c:v>
                </c:pt>
                <c:pt idx="10">
                  <c:v>0.7639539155826406</c:v>
                </c:pt>
                <c:pt idx="11">
                  <c:v>0.7312637329702889</c:v>
                </c:pt>
                <c:pt idx="12">
                  <c:v>0.7289846739673915</c:v>
                </c:pt>
                <c:pt idx="13">
                  <c:v>0.7069322403704377</c:v>
                </c:pt>
                <c:pt idx="14">
                  <c:v>0.7052106349473878</c:v>
                </c:pt>
                <c:pt idx="15">
                  <c:v>0.7160790935276131</c:v>
                </c:pt>
                <c:pt idx="16">
                  <c:v>0.7404004102194082</c:v>
                </c:pt>
                <c:pt idx="17">
                  <c:v>0.7299230013182909</c:v>
                </c:pt>
                <c:pt idx="18">
                  <c:v>0.742703860380433</c:v>
                </c:pt>
                <c:pt idx="19">
                  <c:v>0.7545001464776477</c:v>
                </c:pt>
                <c:pt idx="20">
                  <c:v>0.7165348153306192</c:v>
                </c:pt>
                <c:pt idx="21">
                  <c:v>0.6815372226069508</c:v>
                </c:pt>
                <c:pt idx="22">
                  <c:v>0.6463845974031943</c:v>
                </c:pt>
                <c:pt idx="23">
                  <c:v>0.6503533248873767</c:v>
                </c:pt>
                <c:pt idx="24">
                  <c:v>0.6541325538682937</c:v>
                </c:pt>
                <c:pt idx="25">
                  <c:v>0.6715768715550747</c:v>
                </c:pt>
                <c:pt idx="26">
                  <c:v>0.6928726158105634</c:v>
                </c:pt>
                <c:pt idx="27">
                  <c:v>0.7233325042180674</c:v>
                </c:pt>
                <c:pt idx="28">
                  <c:v>0.7026856632200386</c:v>
                </c:pt>
                <c:pt idx="29">
                  <c:v>0.6632124608273814</c:v>
                </c:pt>
                <c:pt idx="30">
                  <c:v>0.6440996205134729</c:v>
                </c:pt>
                <c:pt idx="31">
                  <c:v>0.6105359820786291</c:v>
                </c:pt>
                <c:pt idx="32">
                  <c:v>0.6281172553560777</c:v>
                </c:pt>
                <c:pt idx="33">
                  <c:v>0.6780352005476391</c:v>
                </c:pt>
                <c:pt idx="34">
                  <c:v>0.7189984228106117</c:v>
                </c:pt>
                <c:pt idx="35">
                  <c:v>0.6682049257394511</c:v>
                </c:pt>
                <c:pt idx="36">
                  <c:v>0.6169595979658359</c:v>
                </c:pt>
                <c:pt idx="37">
                  <c:v>0.6513440342466561</c:v>
                </c:pt>
                <c:pt idx="38">
                  <c:v>0.6400312351432516</c:v>
                </c:pt>
                <c:pt idx="39">
                  <c:v>0.6789179140332006</c:v>
                </c:pt>
                <c:pt idx="40">
                  <c:v>0.7045471723477562</c:v>
                </c:pt>
                <c:pt idx="41">
                  <c:v>0.7379893662504642</c:v>
                </c:pt>
                <c:pt idx="42">
                  <c:v>0.7089381550600562</c:v>
                </c:pt>
                <c:pt idx="43">
                  <c:v>0.7598333695666292</c:v>
                </c:pt>
                <c:pt idx="44">
                  <c:v>0.8196999386080881</c:v>
                </c:pt>
                <c:pt idx="45">
                  <c:v>0.8183435577684596</c:v>
                </c:pt>
                <c:pt idx="46">
                  <c:v>0.7872522030314383</c:v>
                </c:pt>
                <c:pt idx="47">
                  <c:v>0.7905914563256862</c:v>
                </c:pt>
                <c:pt idx="48">
                  <c:v>0.8372766023984277</c:v>
                </c:pt>
                <c:pt idx="49">
                  <c:v>0.8693102106668811</c:v>
                </c:pt>
                <c:pt idx="50">
                  <c:v>0.7893979845787219</c:v>
                </c:pt>
                <c:pt idx="51">
                  <c:v>0.7567497049316113</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052378369956325</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052378369956325</c:v>
                </c:pt>
                <c:pt idx="1">
                  <c:v>0.20052378369956325</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113683082597</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113683082597</c:v>
                </c:pt>
                <c:pt idx="1">
                  <c:v>0.472113683082597</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281779130511175</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281779130511175</c:v>
                </c:pt>
                <c:pt idx="1">
                  <c:v>0.9281779130511175</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5031087682411</c:v>
                </c:pt>
                <c:pt idx="1">
                  <c:v>0.6886434030972932</c:v>
                </c:pt>
                <c:pt idx="2">
                  <c:v>0.6842205362751762</c:v>
                </c:pt>
                <c:pt idx="3">
                  <c:v>0.6748650950662318</c:v>
                </c:pt>
                <c:pt idx="4">
                  <c:v>0.6745917823416892</c:v>
                </c:pt>
                <c:pt idx="5">
                  <c:v>0.6981717349921437</c:v>
                </c:pt>
                <c:pt idx="6">
                  <c:v>0.7155577769176034</c:v>
                </c:pt>
                <c:pt idx="7">
                  <c:v>0.7305549755058234</c:v>
                </c:pt>
                <c:pt idx="8">
                  <c:v>0.7660601295913709</c:v>
                </c:pt>
                <c:pt idx="9">
                  <c:v>0.7530968261935558</c:v>
                </c:pt>
                <c:pt idx="10">
                  <c:v>0.7639539155826406</c:v>
                </c:pt>
                <c:pt idx="11">
                  <c:v>0.7312637329702889</c:v>
                </c:pt>
                <c:pt idx="12">
                  <c:v>0.7289846739673915</c:v>
                </c:pt>
                <c:pt idx="13">
                  <c:v>0.7069322403704377</c:v>
                </c:pt>
                <c:pt idx="14">
                  <c:v>0.7052106349473878</c:v>
                </c:pt>
                <c:pt idx="15">
                  <c:v>0.7160790935276131</c:v>
                </c:pt>
                <c:pt idx="16">
                  <c:v>0.7404004102194082</c:v>
                </c:pt>
                <c:pt idx="17">
                  <c:v>0.7299230013182909</c:v>
                </c:pt>
                <c:pt idx="18">
                  <c:v>0.742703860380433</c:v>
                </c:pt>
                <c:pt idx="19">
                  <c:v>0.7545001464776477</c:v>
                </c:pt>
                <c:pt idx="20">
                  <c:v>0.7165348153306192</c:v>
                </c:pt>
                <c:pt idx="21">
                  <c:v>0.6815372226069508</c:v>
                </c:pt>
                <c:pt idx="22">
                  <c:v>0.6463845974031943</c:v>
                </c:pt>
                <c:pt idx="23">
                  <c:v>0.6503533248873767</c:v>
                </c:pt>
                <c:pt idx="24">
                  <c:v>0.6541325538682937</c:v>
                </c:pt>
                <c:pt idx="25">
                  <c:v>0.6715768715550747</c:v>
                </c:pt>
                <c:pt idx="26">
                  <c:v>0.6928726158105634</c:v>
                </c:pt>
                <c:pt idx="27">
                  <c:v>0.7233325042180674</c:v>
                </c:pt>
                <c:pt idx="28">
                  <c:v>0.7026856632200386</c:v>
                </c:pt>
                <c:pt idx="29">
                  <c:v>0.6632124608273814</c:v>
                </c:pt>
                <c:pt idx="30">
                  <c:v>0.6440996205134729</c:v>
                </c:pt>
                <c:pt idx="31">
                  <c:v>0.6105359820786291</c:v>
                </c:pt>
                <c:pt idx="32">
                  <c:v>0.6281172553560777</c:v>
                </c:pt>
                <c:pt idx="33">
                  <c:v>0.6780352005476391</c:v>
                </c:pt>
                <c:pt idx="34">
                  <c:v>0.7189984228106117</c:v>
                </c:pt>
                <c:pt idx="35">
                  <c:v>0.6682049257394511</c:v>
                </c:pt>
                <c:pt idx="36">
                  <c:v>0.6169595979658359</c:v>
                </c:pt>
                <c:pt idx="37">
                  <c:v>0.6513440342466561</c:v>
                </c:pt>
                <c:pt idx="38">
                  <c:v>0.6400312351432516</c:v>
                </c:pt>
                <c:pt idx="39">
                  <c:v>0.6789179140332006</c:v>
                </c:pt>
                <c:pt idx="40">
                  <c:v>0.7045471723477562</c:v>
                </c:pt>
                <c:pt idx="41">
                  <c:v>0.7379893662504642</c:v>
                </c:pt>
                <c:pt idx="42">
                  <c:v>0.7089381550600562</c:v>
                </c:pt>
                <c:pt idx="43">
                  <c:v>0.7598333695666292</c:v>
                </c:pt>
                <c:pt idx="44">
                  <c:v>0.8196999386080881</c:v>
                </c:pt>
                <c:pt idx="45">
                  <c:v>0.8183435577684596</c:v>
                </c:pt>
                <c:pt idx="46">
                  <c:v>0.7872522030314383</c:v>
                </c:pt>
                <c:pt idx="47">
                  <c:v>0.7905914563256862</c:v>
                </c:pt>
                <c:pt idx="48">
                  <c:v>0.8372766023984277</c:v>
                </c:pt>
                <c:pt idx="49">
                  <c:v>0.8693102106668811</c:v>
                </c:pt>
                <c:pt idx="50">
                  <c:v>0.7893979845787219</c:v>
                </c:pt>
                <c:pt idx="51">
                  <c:v>0.7567497049316113</c:v>
                </c:pt>
                <c:pt idx="52">
                  <c:v>0.472113683082597</c:v>
                </c:pt>
                <c:pt idx="53">
                  <c:v>0.20052378369956325</c:v>
                </c:pt>
                <c:pt idx="54">
                  <c:v>0.9281779130511175</c:v>
                </c:pt>
              </c:numCache>
            </c:numRef>
          </c:xVal>
          <c:yVal>
            <c:numRef>
              <c:f>Sheet1!$B$187:$B$241</c:f>
              <c:numCache>
                <c:formatCode>General</c:formatCode>
                <c:ptCount val="55"/>
                <c:pt idx="0">
                  <c:v>0.16903918729462514</c:v>
                </c:pt>
                <c:pt idx="1">
                  <c:v>0.17211253299874868</c:v>
                </c:pt>
                <c:pt idx="2">
                  <c:v>0.17236491088641687</c:v>
                </c:pt>
                <c:pt idx="3">
                  <c:v>0.1728987516248968</c:v>
                </c:pt>
                <c:pt idx="4">
                  <c:v>0.1729143474117172</c:v>
                </c:pt>
                <c:pt idx="5">
                  <c:v>0.17156882676174454</c:v>
                </c:pt>
                <c:pt idx="6">
                  <c:v>0.17057674341116386</c:v>
                </c:pt>
                <c:pt idx="7">
                  <c:v>0.1697209723800968</c:v>
                </c:pt>
                <c:pt idx="8">
                  <c:v>0.16769497518193682</c:v>
                </c:pt>
                <c:pt idx="9">
                  <c:v>0.16843468796559607</c:v>
                </c:pt>
                <c:pt idx="10">
                  <c:v>0.16781516009002456</c:v>
                </c:pt>
                <c:pt idx="11">
                  <c:v>0.1696805292198243</c:v>
                </c:pt>
                <c:pt idx="12">
                  <c:v>0.16981057701917157</c:v>
                </c:pt>
                <c:pt idx="13">
                  <c:v>0.17106893428674994</c:v>
                </c:pt>
                <c:pt idx="14">
                  <c:v>0.17116717263701964</c:v>
                </c:pt>
                <c:pt idx="15">
                  <c:v>0.1705469960119922</c:v>
                </c:pt>
                <c:pt idx="16">
                  <c:v>0.16915917160333271</c:v>
                </c:pt>
                <c:pt idx="17">
                  <c:v>0.16975703412848875</c:v>
                </c:pt>
                <c:pt idx="18">
                  <c:v>0.16902773199428064</c:v>
                </c:pt>
                <c:pt idx="19">
                  <c:v>0.16835461162071272</c:v>
                </c:pt>
                <c:pt idx="20">
                  <c:v>0.17052099158756956</c:v>
                </c:pt>
                <c:pt idx="21">
                  <c:v>0.17251802628933866</c:v>
                </c:pt>
                <c:pt idx="22">
                  <c:v>0.1745239074636375</c:v>
                </c:pt>
                <c:pt idx="23">
                  <c:v>0.1742974437016766</c:v>
                </c:pt>
                <c:pt idx="24">
                  <c:v>0.1740817931144944</c:v>
                </c:pt>
                <c:pt idx="25">
                  <c:v>0.17308638442898142</c:v>
                </c:pt>
                <c:pt idx="26">
                  <c:v>0.17187120541327017</c:v>
                </c:pt>
                <c:pt idx="27">
                  <c:v>0.170133101463033</c:v>
                </c:pt>
                <c:pt idx="28">
                  <c:v>0.17131125272276485</c:v>
                </c:pt>
                <c:pt idx="29">
                  <c:v>0.17356367492764352</c:v>
                </c:pt>
                <c:pt idx="30">
                  <c:v>0.17465429294979204</c:v>
                </c:pt>
                <c:pt idx="31">
                  <c:v>0.17656950326729148</c:v>
                </c:pt>
                <c:pt idx="32">
                  <c:v>0.17556627961377988</c:v>
                </c:pt>
                <c:pt idx="33">
                  <c:v>0.1727178588787978</c:v>
                </c:pt>
                <c:pt idx="34">
                  <c:v>0.17038041307212914</c:v>
                </c:pt>
                <c:pt idx="35">
                  <c:v>0.1732787946001453</c:v>
                </c:pt>
                <c:pt idx="36">
                  <c:v>0.17620295851837475</c:v>
                </c:pt>
                <c:pt idx="37">
                  <c:v>0.1742409117857397</c:v>
                </c:pt>
                <c:pt idx="38">
                  <c:v>0.1748864433959285</c:v>
                </c:pt>
                <c:pt idx="39">
                  <c:v>0.17266748942978155</c:v>
                </c:pt>
                <c:pt idx="40">
                  <c:v>0.17120503117904143</c:v>
                </c:pt>
                <c:pt idx="41">
                  <c:v>0.1692967507366031</c:v>
                </c:pt>
                <c:pt idx="42">
                  <c:v>0.17095447266432962</c:v>
                </c:pt>
                <c:pt idx="43">
                  <c:v>0.16805028693000995</c:v>
                </c:pt>
                <c:pt idx="44">
                  <c:v>0.16463417723367663</c:v>
                </c:pt>
                <c:pt idx="45">
                  <c:v>0.16471157511720935</c:v>
                </c:pt>
                <c:pt idx="46">
                  <c:v>0.16648571183641442</c:v>
                </c:pt>
                <c:pt idx="47">
                  <c:v>0.166295167167835</c:v>
                </c:pt>
                <c:pt idx="48">
                  <c:v>0.16363121660699048</c:v>
                </c:pt>
                <c:pt idx="49">
                  <c:v>0.1618033129611573</c:v>
                </c:pt>
                <c:pt idx="50">
                  <c:v>0.16636326912310623</c:v>
                </c:pt>
                <c:pt idx="51">
                  <c:v>0.16822624718343</c:v>
                </c:pt>
                <c:pt idx="52">
                  <c:v>0.1844681646631304</c:v>
                </c:pt>
                <c:pt idx="53">
                  <c:v>0.1999656435326154</c:v>
                </c:pt>
                <c:pt idx="54">
                  <c:v>0.1584442006529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5458664371805266</c:v>
                </c:pt>
                <c:pt idx="8">
                  <c:v>2.403019500943594</c:v>
                </c:pt>
                <c:pt idx="9">
                  <c:v>2.3808858460248707</c:v>
                </c:pt>
                <c:pt idx="10">
                  <c:v>2.651575769089552</c:v>
                </c:pt>
                <c:pt idx="11">
                  <c:v>2.839605017347211</c:v>
                </c:pt>
                <c:pt idx="12">
                  <c:v>1.6369330736403123</c:v>
                </c:pt>
                <c:pt idx="13">
                  <c:v>2.789757445092669</c:v>
                </c:pt>
                <c:pt idx="14">
                  <c:v>2.88693234476367</c:v>
                </c:pt>
                <c:pt idx="15">
                  <c:v>2.4942910525223168</c:v>
                </c:pt>
                <c:pt idx="16">
                  <c:v>1.2497806116164627</c:v>
                </c:pt>
                <c:pt idx="17">
                  <c:v>1.2195048085804683</c:v>
                </c:pt>
                <c:pt idx="18">
                  <c:v>1.6722618403615408</c:v>
                </c:pt>
                <c:pt idx="19">
                  <c:v>1.4285894545391336</c:v>
                </c:pt>
                <c:pt idx="20">
                  <c:v>0.8006348690659572</c:v>
                </c:pt>
                <c:pt idx="21">
                  <c:v>0.5956594665947499</c:v>
                </c:pt>
                <c:pt idx="22">
                  <c:v>0.6688181115305095</c:v>
                </c:pt>
                <c:pt idx="23">
                  <c:v>3.0518476028706587</c:v>
                </c:pt>
                <c:pt idx="24">
                  <c:v>3.6820629073391897</c:v>
                </c:pt>
                <c:pt idx="25">
                  <c:v>3.9399651972157774</c:v>
                </c:pt>
                <c:pt idx="26">
                  <c:v>2.0811200767736713</c:v>
                </c:pt>
                <c:pt idx="27">
                  <c:v>2.5179464725976537</c:v>
                </c:pt>
                <c:pt idx="28">
                  <c:v>3.0897257551669317</c:v>
                </c:pt>
                <c:pt idx="29">
                  <c:v>4.141187581159249</c:v>
                </c:pt>
                <c:pt idx="30">
                  <c:v>4.2460541388565085</c:v>
                </c:pt>
                <c:pt idx="31">
                  <c:v>3.6318064753495216</c:v>
                </c:pt>
                <c:pt idx="32">
                  <c:v>2.7738738738738737</c:v>
                </c:pt>
                <c:pt idx="33">
                  <c:v>3.3907986559834584</c:v>
                </c:pt>
                <c:pt idx="34">
                  <c:v>4.236626182744032</c:v>
                </c:pt>
                <c:pt idx="35">
                  <c:v>4.601756460687266</c:v>
                </c:pt>
                <c:pt idx="36">
                  <c:v>3.2367975626269465</c:v>
                </c:pt>
                <c:pt idx="37">
                  <c:v>3.677960339943343</c:v>
                </c:pt>
                <c:pt idx="38">
                  <c:v>2.7275275649411324</c:v>
                </c:pt>
                <c:pt idx="39">
                  <c:v>3.7349798919810766</c:v>
                </c:pt>
                <c:pt idx="40">
                  <c:v>4.326048269170352</c:v>
                </c:pt>
                <c:pt idx="41">
                  <c:v>3.1262780507236756</c:v>
                </c:pt>
                <c:pt idx="42">
                  <c:v>4.1710002925825584</c:v>
                </c:pt>
                <c:pt idx="43">
                  <c:v>3.0331854964207903</c:v>
                </c:pt>
                <c:pt idx="44">
                  <c:v>3.385220588235294</c:v>
                </c:pt>
                <c:pt idx="45">
                  <c:v>4.596898726032686</c:v>
                </c:pt>
                <c:pt idx="46">
                  <c:v>4.8115633199205545</c:v>
                </c:pt>
                <c:pt idx="47">
                  <c:v>4.570444171663057</c:v>
                </c:pt>
                <c:pt idx="48">
                  <c:v>4.372735038021477</c:v>
                </c:pt>
                <c:pt idx="49">
                  <c:v>3.746593284916168</c:v>
                </c:pt>
                <c:pt idx="50">
                  <c:v>4.43396824398346</c:v>
                </c:pt>
                <c:pt idx="51">
                  <c:v>3.270168403750798</c:v>
                </c:pt>
                <c:pt idx="52">
                  <c:v>5.31649698344554</c:v>
                </c:pt>
              </c:numCache>
            </c:numRef>
          </c:xVal>
          <c:yVal>
            <c:numRef>
              <c:f>Sheet1!$B$2:$B$54</c:f>
              <c:numCache>
                <c:formatCode>General</c:formatCode>
                <c:ptCount val="53"/>
                <c:pt idx="0">
                  <c:v>0.0</c:v>
                </c:pt>
                <c:pt idx="1">
                  <c:v>0.0</c:v>
                </c:pt>
                <c:pt idx="2">
                  <c:v>0.0</c:v>
                </c:pt>
                <c:pt idx="3">
                  <c:v>0.0</c:v>
                </c:pt>
                <c:pt idx="4">
                  <c:v>0.0</c:v>
                </c:pt>
                <c:pt idx="5">
                  <c:v>0.0</c:v>
                </c:pt>
                <c:pt idx="6">
                  <c:v>0.0</c:v>
                </c:pt>
                <c:pt idx="7">
                  <c:v>0.0006724949562878278</c:v>
                </c:pt>
                <c:pt idx="8">
                  <c:v>0.0016155088852988692</c:v>
                </c:pt>
                <c:pt idx="9">
                  <c:v>0.0011507479861910242</c:v>
                </c:pt>
                <c:pt idx="10">
                  <c:v>0.0010438413361169101</c:v>
                </c:pt>
                <c:pt idx="11">
                  <c:v>0.001037344398340249</c:v>
                </c:pt>
                <c:pt idx="12">
                  <c:v>0.0019801980198019802</c:v>
                </c:pt>
                <c:pt idx="13">
                  <c:v>0.000970873786407767</c:v>
                </c:pt>
                <c:pt idx="14">
                  <c:v>0.0009746588693957114</c:v>
                </c:pt>
                <c:pt idx="15">
                  <c:v>0.0011111111111111111</c:v>
                </c:pt>
                <c:pt idx="16">
                  <c:v>0.004098360655737705</c:v>
                </c:pt>
                <c:pt idx="17">
                  <c:v>0.003289473684210526</c:v>
                </c:pt>
                <c:pt idx="18">
                  <c:v>0.0016611295681063123</c:v>
                </c:pt>
                <c:pt idx="19">
                  <c:v>0.0018115942028985507</c:v>
                </c:pt>
                <c:pt idx="20">
                  <c:v>0.004862236628849271</c:v>
                </c:pt>
                <c:pt idx="21">
                  <c:v>0.003401360544217687</c:v>
                </c:pt>
                <c:pt idx="22">
                  <c:v>0.005997001499250375</c:v>
                </c:pt>
                <c:pt idx="23">
                  <c:v>0.0034904013961605585</c:v>
                </c:pt>
                <c:pt idx="24">
                  <c:v>0.0038240917782026767</c:v>
                </c:pt>
                <c:pt idx="25">
                  <c:v>0.007936507936507936</c:v>
                </c:pt>
                <c:pt idx="26">
                  <c:v>0.014056224899598393</c:v>
                </c:pt>
                <c:pt idx="27">
                  <c:v>0.010752688172043012</c:v>
                </c:pt>
                <c:pt idx="28">
                  <c:v>0.007259528130671506</c:v>
                </c:pt>
                <c:pt idx="29">
                  <c:v>0.007194244604316547</c:v>
                </c:pt>
                <c:pt idx="30">
                  <c:v>0.0078125</c:v>
                </c:pt>
                <c:pt idx="31">
                  <c:v>0.0047169811320754715</c:v>
                </c:pt>
                <c:pt idx="32">
                  <c:v>0.007407407407407408</c:v>
                </c:pt>
                <c:pt idx="33">
                  <c:v>0.007561436672967864</c:v>
                </c:pt>
                <c:pt idx="34">
                  <c:v>0.007062146892655367</c:v>
                </c:pt>
                <c:pt idx="35">
                  <c:v>0.00625</c:v>
                </c:pt>
                <c:pt idx="36">
                  <c:v>0.009416195856873822</c:v>
                </c:pt>
                <c:pt idx="37">
                  <c:v>0.011337868480725623</c:v>
                </c:pt>
                <c:pt idx="38">
                  <c:v>0.01050420168067227</c:v>
                </c:pt>
                <c:pt idx="39">
                  <c:v>0.010080645161290322</c:v>
                </c:pt>
                <c:pt idx="40">
                  <c:v>0.007704160246533128</c:v>
                </c:pt>
                <c:pt idx="41">
                  <c:v>0.013513513513513514</c:v>
                </c:pt>
                <c:pt idx="42">
                  <c:v>0.012474012474012475</c:v>
                </c:pt>
                <c:pt idx="43">
                  <c:v>0.011695906432748537</c:v>
                </c:pt>
                <c:pt idx="44">
                  <c:v>0.015194681861348529</c:v>
                </c:pt>
                <c:pt idx="45">
                  <c:v>0.013234077750206782</c:v>
                </c:pt>
                <c:pt idx="46">
                  <c:v>0.011295681063122924</c:v>
                </c:pt>
                <c:pt idx="47">
                  <c:v>0.010293360782295419</c:v>
                </c:pt>
                <c:pt idx="48">
                  <c:v>0.009836065573770493</c:v>
                </c:pt>
                <c:pt idx="49">
                  <c:v>0.01314878892733564</c:v>
                </c:pt>
                <c:pt idx="50">
                  <c:v>0.01065891472868217</c:v>
                </c:pt>
                <c:pt idx="51">
                  <c:v>0.010317460317460317</c:v>
                </c:pt>
                <c:pt idx="52">
                  <c:v>0.006635071090047393</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8063718955635744</c:v>
                </c:pt>
                <c:pt idx="1">
                  <c:v>4.90631672221278</c:v>
                </c:pt>
                <c:pt idx="2">
                  <c:v>5.808876326422026</c:v>
                </c:pt>
                <c:pt idx="3">
                  <c:v>3.183300876338851</c:v>
                </c:pt>
                <c:pt idx="4">
                  <c:v>5.343528707702515</c:v>
                </c:pt>
                <c:pt idx="5">
                  <c:v>5.5832192290172</c:v>
                </c:pt>
                <c:pt idx="6">
                  <c:v>4.740618336886993</c:v>
                </c:pt>
                <c:pt idx="7">
                  <c:v>4.794520466860807</c:v>
                </c:pt>
                <c:pt idx="8">
                  <c:v>4.693308550185874</c:v>
                </c:pt>
                <c:pt idx="9">
                  <c:v>3.719136960600375</c:v>
                </c:pt>
                <c:pt idx="10">
                  <c:v>4.005117939729779</c:v>
                </c:pt>
                <c:pt idx="11">
                  <c:v>5.088700531774927</c:v>
                </c:pt>
                <c:pt idx="12">
                  <c:v>3.359483033838973</c:v>
                </c:pt>
                <c:pt idx="13">
                  <c:v>2.7081392729400084</c:v>
                </c:pt>
                <c:pt idx="14">
                  <c:v>2.833721790293022</c:v>
                </c:pt>
                <c:pt idx="15">
                  <c:v>2.9964302468189485</c:v>
                </c:pt>
                <c:pt idx="16">
                  <c:v>4.472694106906946</c:v>
                </c:pt>
                <c:pt idx="17">
                  <c:v>2.778136354943584</c:v>
                </c:pt>
                <c:pt idx="18">
                  <c:v>3.952542881427964</c:v>
                </c:pt>
                <c:pt idx="19">
                  <c:v>4.692759295499021</c:v>
                </c:pt>
                <c:pt idx="20">
                  <c:v>4.404198698994677</c:v>
                </c:pt>
                <c:pt idx="21">
                  <c:v>4.1074103932584265</c:v>
                </c:pt>
                <c:pt idx="22">
                  <c:v>3.118490502408809</c:v>
                </c:pt>
                <c:pt idx="23">
                  <c:v>3.2205339381747873</c:v>
                </c:pt>
                <c:pt idx="24">
                  <c:v>3.4955203952569174</c:v>
                </c:pt>
                <c:pt idx="25">
                  <c:v>4.280024258436846</c:v>
                </c:pt>
                <c:pt idx="26">
                  <c:v>2.4359029715762275</c:v>
                </c:pt>
                <c:pt idx="27">
                  <c:v>3.676010875936455</c:v>
                </c:pt>
                <c:pt idx="28">
                  <c:v>3.710407665108246</c:v>
                </c:pt>
                <c:pt idx="29">
                  <c:v>3.768173198482933</c:v>
                </c:pt>
                <c:pt idx="30">
                  <c:v>3.672854387656702</c:v>
                </c:pt>
                <c:pt idx="31">
                  <c:v>4.478302796528448</c:v>
                </c:pt>
                <c:pt idx="32">
                  <c:v>3.9173630454967503</c:v>
                </c:pt>
                <c:pt idx="33">
                  <c:v>3.6664060973226498</c:v>
                </c:pt>
                <c:pt idx="34">
                  <c:v>3.4269700796872646</c:v>
                </c:pt>
                <c:pt idx="35">
                  <c:v>4.799534402483187</c:v>
                </c:pt>
                <c:pt idx="36">
                  <c:v>3.8614508855212706</c:v>
                </c:pt>
                <c:pt idx="37">
                  <c:v>3.9833012086179718</c:v>
                </c:pt>
                <c:pt idx="38">
                  <c:v>2.8154022335812368</c:v>
                </c:pt>
                <c:pt idx="39">
                  <c:v>3.604830421377184</c:v>
                </c:pt>
                <c:pt idx="40">
                  <c:v>3.4458891747948486</c:v>
                </c:pt>
                <c:pt idx="41">
                  <c:v>3.3370243844975853</c:v>
                </c:pt>
                <c:pt idx="42">
                  <c:v>4.218870561129926</c:v>
                </c:pt>
                <c:pt idx="43">
                  <c:v>4.293956645500328</c:v>
                </c:pt>
                <c:pt idx="44">
                  <c:v>3.856843744547199</c:v>
                </c:pt>
                <c:pt idx="45">
                  <c:v>5.024307585034548</c:v>
                </c:pt>
                <c:pt idx="46">
                  <c:v>3.921065882352941</c:v>
                </c:pt>
                <c:pt idx="47">
                  <c:v>3.4920489420401433</c:v>
                </c:pt>
                <c:pt idx="48">
                  <c:v>3.155260740891928</c:v>
                </c:pt>
                <c:pt idx="49">
                  <c:v>3.5137694256756755</c:v>
                </c:pt>
                <c:pt idx="50">
                  <c:v>4.081529209621992</c:v>
                </c:pt>
                <c:pt idx="51">
                  <c:v>3.6671134187915353</c:v>
                </c:pt>
              </c:numCache>
            </c:numRef>
          </c:xVal>
          <c:yVal>
            <c:numRef>
              <c:f>Sheet1!$B$57:$B$108</c:f>
              <c:numCache>
                <c:formatCode>General</c:formatCode>
                <c:ptCount val="52"/>
                <c:pt idx="0">
                  <c:v>0.010396975425330813</c:v>
                </c:pt>
                <c:pt idx="1">
                  <c:v>0.009345794392523364</c:v>
                </c:pt>
                <c:pt idx="2">
                  <c:v>0.008014247551202136</c:v>
                </c:pt>
                <c:pt idx="3">
                  <c:v>0.011131725417439703</c:v>
                </c:pt>
                <c:pt idx="4">
                  <c:v>0.009708737864077669</c:v>
                </c:pt>
                <c:pt idx="5">
                  <c:v>0.007407407407407408</c:v>
                </c:pt>
                <c:pt idx="6">
                  <c:v>0.008123476848090982</c:v>
                </c:pt>
                <c:pt idx="7">
                  <c:v>0.010604453870625663</c:v>
                </c:pt>
                <c:pt idx="8">
                  <c:v>0.011976047904191617</c:v>
                </c:pt>
                <c:pt idx="9">
                  <c:v>0.012594458438287154</c:v>
                </c:pt>
                <c:pt idx="10">
                  <c:v>0.015957446808510637</c:v>
                </c:pt>
                <c:pt idx="11">
                  <c:v>0.009984639016897081</c:v>
                </c:pt>
                <c:pt idx="12">
                  <c:v>0.013374485596707819</c:v>
                </c:pt>
                <c:pt idx="13">
                  <c:v>0.022031823745410038</c:v>
                </c:pt>
                <c:pt idx="14">
                  <c:v>0.021601016518424398</c:v>
                </c:pt>
                <c:pt idx="15">
                  <c:v>0.020348837209302327</c:v>
                </c:pt>
                <c:pt idx="16">
                  <c:v>0.016233766233766232</c:v>
                </c:pt>
                <c:pt idx="17">
                  <c:v>0.025078369905956112</c:v>
                </c:pt>
                <c:pt idx="18">
                  <c:v>0.010810810810810811</c:v>
                </c:pt>
                <c:pt idx="19">
                  <c:v>0.011784511784511785</c:v>
                </c:pt>
                <c:pt idx="20">
                  <c:v>0.014842300556586271</c:v>
                </c:pt>
                <c:pt idx="21">
                  <c:v>0.014314928425357873</c:v>
                </c:pt>
                <c:pt idx="22">
                  <c:v>0.011363636363636364</c:v>
                </c:pt>
                <c:pt idx="23">
                  <c:v>0.012396694214876033</c:v>
                </c:pt>
                <c:pt idx="24">
                  <c:v>0.010657193605683837</c:v>
                </c:pt>
                <c:pt idx="25">
                  <c:v>0.012280701754385965</c:v>
                </c:pt>
                <c:pt idx="26">
                  <c:v>0.016245487364620937</c:v>
                </c:pt>
                <c:pt idx="27">
                  <c:v>0.011532125205930808</c:v>
                </c:pt>
                <c:pt idx="28">
                  <c:v>0.010835913312693499</c:v>
                </c:pt>
                <c:pt idx="29">
                  <c:v>0.011472275334608031</c:v>
                </c:pt>
                <c:pt idx="30">
                  <c:v>0.012244897959183673</c:v>
                </c:pt>
                <c:pt idx="31">
                  <c:v>0.013215859030837005</c:v>
                </c:pt>
                <c:pt idx="32">
                  <c:v>0.011472275334608031</c:v>
                </c:pt>
                <c:pt idx="33">
                  <c:v>0.011299435028248588</c:v>
                </c:pt>
                <c:pt idx="34">
                  <c:v>0.01060070671378092</c:v>
                </c:pt>
                <c:pt idx="35">
                  <c:v>0.0128</c:v>
                </c:pt>
                <c:pt idx="36">
                  <c:v>0.016260162601626018</c:v>
                </c:pt>
                <c:pt idx="37">
                  <c:v>0.020737327188940093</c:v>
                </c:pt>
                <c:pt idx="38">
                  <c:v>0.02912621359223301</c:v>
                </c:pt>
                <c:pt idx="39">
                  <c:v>0.015503875968992248</c:v>
                </c:pt>
                <c:pt idx="40">
                  <c:v>0.01782178217821782</c:v>
                </c:pt>
                <c:pt idx="41">
                  <c:v>0.01615798922800718</c:v>
                </c:pt>
                <c:pt idx="42">
                  <c:v>0.011560693641618497</c:v>
                </c:pt>
                <c:pt idx="43">
                  <c:v>0.011851851851851851</c:v>
                </c:pt>
                <c:pt idx="44">
                  <c:v>0.00938337801608579</c:v>
                </c:pt>
                <c:pt idx="45">
                  <c:v>0.006603773584905661</c:v>
                </c:pt>
                <c:pt idx="46">
                  <c:v>0.00893743793445879</c:v>
                </c:pt>
                <c:pt idx="47">
                  <c:v>0.008093525179856115</c:v>
                </c:pt>
                <c:pt idx="48">
                  <c:v>0.008298755186721992</c:v>
                </c:pt>
                <c:pt idx="49">
                  <c:v>0.006373937677053824</c:v>
                </c:pt>
                <c:pt idx="50">
                  <c:v>0.004894762604013705</c:v>
                </c:pt>
                <c:pt idx="51">
                  <c:v>0.00785545954438334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911517981147608</c:v>
                </c:pt>
              </c:numCache>
            </c:numRef>
          </c:xVal>
          <c:yVal>
            <c:numRef>
              <c:f>Sheet1!$B$111:$B$112</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911517981147608</c:v>
                </c:pt>
                <c:pt idx="1">
                  <c:v>2.911517981147608</c:v>
                </c:pt>
              </c:numCache>
            </c:numRef>
          </c:xVal>
          <c:yVal>
            <c:numRef>
              <c:f>Sheet1!$B$115:$B$116</c:f>
              <c:numCache>
                <c:formatCode>General</c:formatCode>
                <c:ptCount val="2"/>
                <c:pt idx="0">
                  <c:v>0.016073645773117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911517981147608</c:v>
                </c:pt>
              </c:numCache>
            </c:numRef>
          </c:xVal>
          <c:yVal>
            <c:numRef>
              <c:f>Sheet1!$B$119:$B$120</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911517981147608</c:v>
                </c:pt>
                <c:pt idx="1">
                  <c:v>2.911517981147608</c:v>
                </c:pt>
              </c:numCache>
            </c:numRef>
          </c:xVal>
          <c:yVal>
            <c:numRef>
              <c:f>Sheet1!$B$123:$B$124</c:f>
              <c:numCache>
                <c:formatCode>General</c:formatCode>
                <c:ptCount val="2"/>
                <c:pt idx="0">
                  <c:v>0.016073645773117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4.684730537234099</c:v>
                </c:pt>
              </c:numCache>
            </c:numRef>
          </c:xVal>
          <c:yVal>
            <c:numRef>
              <c:f>Sheet1!$B$127:$B$128</c:f>
              <c:numCache>
                <c:formatCode>General</c:formatCode>
                <c:ptCount val="2"/>
                <c:pt idx="0">
                  <c:v>0.01025670943047437</c:v>
                </c:pt>
                <c:pt idx="1">
                  <c:v>0.01025670943047437</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4.684730537234099</c:v>
                </c:pt>
                <c:pt idx="1">
                  <c:v>4.684730537234099</c:v>
                </c:pt>
              </c:numCache>
            </c:numRef>
          </c:xVal>
          <c:yVal>
            <c:numRef>
              <c:f>Sheet1!$B$131:$B$132</c:f>
              <c:numCache>
                <c:formatCode>General</c:formatCode>
                <c:ptCount val="2"/>
                <c:pt idx="0">
                  <c:v>0.010256709430474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8063718955635744</c:v>
                </c:pt>
                <c:pt idx="1">
                  <c:v>4.90631672221278</c:v>
                </c:pt>
                <c:pt idx="2">
                  <c:v>5.808876326422026</c:v>
                </c:pt>
                <c:pt idx="3">
                  <c:v>3.183300876338851</c:v>
                </c:pt>
                <c:pt idx="4">
                  <c:v>5.343528707702515</c:v>
                </c:pt>
                <c:pt idx="5">
                  <c:v>5.5832192290172</c:v>
                </c:pt>
                <c:pt idx="6">
                  <c:v>4.740618336886993</c:v>
                </c:pt>
                <c:pt idx="7">
                  <c:v>4.794520466860807</c:v>
                </c:pt>
                <c:pt idx="8">
                  <c:v>4.693308550185874</c:v>
                </c:pt>
                <c:pt idx="9">
                  <c:v>3.719136960600375</c:v>
                </c:pt>
                <c:pt idx="10">
                  <c:v>4.005117939729779</c:v>
                </c:pt>
                <c:pt idx="11">
                  <c:v>5.088700531774927</c:v>
                </c:pt>
                <c:pt idx="12">
                  <c:v>3.359483033838973</c:v>
                </c:pt>
                <c:pt idx="13">
                  <c:v>2.7081392729400084</c:v>
                </c:pt>
                <c:pt idx="14">
                  <c:v>2.833721790293022</c:v>
                </c:pt>
                <c:pt idx="15">
                  <c:v>2.9964302468189485</c:v>
                </c:pt>
                <c:pt idx="16">
                  <c:v>4.472694106906946</c:v>
                </c:pt>
                <c:pt idx="17">
                  <c:v>2.778136354943584</c:v>
                </c:pt>
                <c:pt idx="18">
                  <c:v>3.952542881427964</c:v>
                </c:pt>
                <c:pt idx="19">
                  <c:v>4.692759295499021</c:v>
                </c:pt>
                <c:pt idx="20">
                  <c:v>4.404198698994677</c:v>
                </c:pt>
                <c:pt idx="21">
                  <c:v>4.1074103932584265</c:v>
                </c:pt>
                <c:pt idx="22">
                  <c:v>3.118490502408809</c:v>
                </c:pt>
                <c:pt idx="23">
                  <c:v>3.2205339381747873</c:v>
                </c:pt>
                <c:pt idx="24">
                  <c:v>3.4955203952569174</c:v>
                </c:pt>
                <c:pt idx="25">
                  <c:v>4.280024258436846</c:v>
                </c:pt>
                <c:pt idx="26">
                  <c:v>2.4359029715762275</c:v>
                </c:pt>
                <c:pt idx="27">
                  <c:v>3.676010875936455</c:v>
                </c:pt>
                <c:pt idx="28">
                  <c:v>3.710407665108246</c:v>
                </c:pt>
                <c:pt idx="29">
                  <c:v>3.768173198482933</c:v>
                </c:pt>
                <c:pt idx="30">
                  <c:v>3.672854387656702</c:v>
                </c:pt>
                <c:pt idx="31">
                  <c:v>4.478302796528448</c:v>
                </c:pt>
                <c:pt idx="32">
                  <c:v>3.9173630454967503</c:v>
                </c:pt>
                <c:pt idx="33">
                  <c:v>3.6664060973226498</c:v>
                </c:pt>
                <c:pt idx="34">
                  <c:v>3.4269700796872646</c:v>
                </c:pt>
                <c:pt idx="35">
                  <c:v>4.799534402483187</c:v>
                </c:pt>
                <c:pt idx="36">
                  <c:v>3.8614508855212706</c:v>
                </c:pt>
                <c:pt idx="37">
                  <c:v>3.9833012086179718</c:v>
                </c:pt>
                <c:pt idx="38">
                  <c:v>2.8154022335812368</c:v>
                </c:pt>
                <c:pt idx="39">
                  <c:v>3.604830421377184</c:v>
                </c:pt>
                <c:pt idx="40">
                  <c:v>3.4458891747948486</c:v>
                </c:pt>
                <c:pt idx="41">
                  <c:v>3.3370243844975853</c:v>
                </c:pt>
                <c:pt idx="42">
                  <c:v>4.218870561129926</c:v>
                </c:pt>
                <c:pt idx="43">
                  <c:v>4.293956645500328</c:v>
                </c:pt>
                <c:pt idx="44">
                  <c:v>3.856843744547199</c:v>
                </c:pt>
                <c:pt idx="45">
                  <c:v>5.024307585034548</c:v>
                </c:pt>
                <c:pt idx="46">
                  <c:v>3.921065882352941</c:v>
                </c:pt>
                <c:pt idx="47">
                  <c:v>3.4920489420401433</c:v>
                </c:pt>
                <c:pt idx="48">
                  <c:v>3.155260740891928</c:v>
                </c:pt>
                <c:pt idx="49">
                  <c:v>3.5137694256756755</c:v>
                </c:pt>
                <c:pt idx="50">
                  <c:v>4.081529209621992</c:v>
                </c:pt>
                <c:pt idx="51">
                  <c:v>3.6671134187915353</c:v>
                </c:pt>
                <c:pt idx="52">
                  <c:v>2.911517981147608</c:v>
                </c:pt>
                <c:pt idx="53">
                  <c:v>2.911517981147608</c:v>
                </c:pt>
                <c:pt idx="54">
                  <c:v>4.684730537234099</c:v>
                </c:pt>
              </c:numCache>
            </c:numRef>
          </c:xVal>
          <c:yVal>
            <c:numRef>
              <c:f>Sheet1!$B$135:$B$189</c:f>
              <c:numCache>
                <c:formatCode>General</c:formatCode>
                <c:ptCount val="55"/>
                <c:pt idx="0">
                  <c:v>0.013138121637414993</c:v>
                </c:pt>
                <c:pt idx="1">
                  <c:v>0.009529806878377126</c:v>
                </c:pt>
                <c:pt idx="2">
                  <c:v>0.006569004607320822</c:v>
                </c:pt>
                <c:pt idx="3">
                  <c:v>0.015182075388664687</c:v>
                </c:pt>
                <c:pt idx="4">
                  <c:v>0.008095554521486872</c:v>
                </c:pt>
                <c:pt idx="5">
                  <c:v>0.007309261586871268</c:v>
                </c:pt>
                <c:pt idx="6">
                  <c:v>0.01007337225987099</c:v>
                </c:pt>
                <c:pt idx="7">
                  <c:v>0.009896548980724718</c:v>
                </c:pt>
                <c:pt idx="8">
                  <c:v>0.010228569682018625</c:v>
                </c:pt>
                <c:pt idx="9">
                  <c:v>0.01342429153949119</c:v>
                </c:pt>
                <c:pt idx="10">
                  <c:v>0.01248614504087065</c:v>
                </c:pt>
                <c:pt idx="11">
                  <c:v>0.008931505785532829</c:v>
                </c:pt>
                <c:pt idx="12">
                  <c:v>0.014604118509569724</c:v>
                </c:pt>
                <c:pt idx="13">
                  <c:v>0.01674081959558566</c:v>
                </c:pt>
                <c:pt idx="14">
                  <c:v>0.01632885234062577</c:v>
                </c:pt>
                <c:pt idx="15">
                  <c:v>0.015795095273108767</c:v>
                </c:pt>
                <c:pt idx="16">
                  <c:v>0.010952284483392161</c:v>
                </c:pt>
                <c:pt idx="17">
                  <c:v>0.01651119762004303</c:v>
                </c:pt>
                <c:pt idx="18">
                  <c:v>0.012658614926842681</c:v>
                </c:pt>
                <c:pt idx="19">
                  <c:v>0.010230371484931847</c:v>
                </c:pt>
                <c:pt idx="20">
                  <c:v>0.011176980291134689</c:v>
                </c:pt>
                <c:pt idx="21">
                  <c:v>0.012150579691715797</c:v>
                </c:pt>
                <c:pt idx="22">
                  <c:v>0.01539468262415934</c:v>
                </c:pt>
                <c:pt idx="23">
                  <c:v>0.015059934165494386</c:v>
                </c:pt>
                <c:pt idx="24">
                  <c:v>0.01415785465424502</c:v>
                </c:pt>
                <c:pt idx="25">
                  <c:v>0.01158432841960858</c:v>
                </c:pt>
                <c:pt idx="26">
                  <c:v>0.017633877356627425</c:v>
                </c:pt>
                <c:pt idx="27">
                  <c:v>0.013565764533428882</c:v>
                </c:pt>
                <c:pt idx="28">
                  <c:v>0.01345292756285993</c:v>
                </c:pt>
                <c:pt idx="29">
                  <c:v>0.013263430579384365</c:v>
                </c:pt>
                <c:pt idx="30">
                  <c:v>0.013576119237565507</c:v>
                </c:pt>
                <c:pt idx="31">
                  <c:v>0.010933885453686482</c:v>
                </c:pt>
                <c:pt idx="32">
                  <c:v>0.012774020643689253</c:v>
                </c:pt>
                <c:pt idx="33">
                  <c:v>0.01359727253600303</c:v>
                </c:pt>
                <c:pt idx="34">
                  <c:v>0.014382730583849776</c:v>
                </c:pt>
                <c:pt idx="35">
                  <c:v>0.009880101012182323</c:v>
                </c:pt>
                <c:pt idx="36">
                  <c:v>0.012957437727129522</c:v>
                </c:pt>
                <c:pt idx="37">
                  <c:v>0.01255771375137089</c:v>
                </c:pt>
                <c:pt idx="38">
                  <c:v>0.016388948742973086</c:v>
                </c:pt>
                <c:pt idx="39">
                  <c:v>0.01379926850428137</c:v>
                </c:pt>
                <c:pt idx="40">
                  <c:v>0.014320667425361821</c:v>
                </c:pt>
                <c:pt idx="41">
                  <c:v>0.01467779300116532</c:v>
                </c:pt>
                <c:pt idx="42">
                  <c:v>0.011784940107773433</c:v>
                </c:pt>
                <c:pt idx="43">
                  <c:v>0.011538623910935233</c:v>
                </c:pt>
                <c:pt idx="44">
                  <c:v>0.012972551225889594</c:v>
                </c:pt>
                <c:pt idx="45">
                  <c:v>0.009142743671717597</c:v>
                </c:pt>
                <c:pt idx="46">
                  <c:v>0.012761873669991304</c:v>
                </c:pt>
                <c:pt idx="47">
                  <c:v>0.014169242585324758</c:v>
                </c:pt>
                <c:pt idx="48">
                  <c:v>0.0152740596701734</c:v>
                </c:pt>
                <c:pt idx="49">
                  <c:v>0.014097989609923905</c:v>
                </c:pt>
                <c:pt idx="50">
                  <c:v>0.012235481638280884</c:v>
                </c:pt>
                <c:pt idx="51">
                  <c:v>0.013594952202806557</c:v>
                </c:pt>
                <c:pt idx="52">
                  <c:v>0.01607364577311758</c:v>
                </c:pt>
                <c:pt idx="53">
                  <c:v>0.01607364577311758</c:v>
                </c:pt>
                <c:pt idx="54">
                  <c:v>0.010256709430474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951456310679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6724949562878278</c:v>
                </c:pt>
                <c:pt idx="8">
                  <c:v>0.0016155088852988692</c:v>
                </c:pt>
                <c:pt idx="9">
                  <c:v>0.0011507479861910242</c:v>
                </c:pt>
                <c:pt idx="10">
                  <c:v>0.0010438413361169101</c:v>
                </c:pt>
                <c:pt idx="11">
                  <c:v>0.001037344398340249</c:v>
                </c:pt>
                <c:pt idx="12">
                  <c:v>0.0019801980198019802</c:v>
                </c:pt>
                <c:pt idx="13">
                  <c:v>0.000970873786407767</c:v>
                </c:pt>
                <c:pt idx="14">
                  <c:v>0.0009746588693957114</c:v>
                </c:pt>
                <c:pt idx="15">
                  <c:v>0.0011111111111111111</c:v>
                </c:pt>
                <c:pt idx="16">
                  <c:v>0.004098360655737705</c:v>
                </c:pt>
                <c:pt idx="17">
                  <c:v>0.003289473684210526</c:v>
                </c:pt>
                <c:pt idx="18">
                  <c:v>0.0016611295681063123</c:v>
                </c:pt>
                <c:pt idx="19">
                  <c:v>0.0018115942028985507</c:v>
                </c:pt>
                <c:pt idx="20">
                  <c:v>0.004862236628849271</c:v>
                </c:pt>
                <c:pt idx="21">
                  <c:v>0.003401360544217687</c:v>
                </c:pt>
                <c:pt idx="22">
                  <c:v>0.005997001499250375</c:v>
                </c:pt>
                <c:pt idx="23">
                  <c:v>0.0034904013961605585</c:v>
                </c:pt>
                <c:pt idx="24">
                  <c:v>0.0038240917782026767</c:v>
                </c:pt>
                <c:pt idx="25">
                  <c:v>0.007936507936507936</c:v>
                </c:pt>
                <c:pt idx="26">
                  <c:v>0.014056224899598393</c:v>
                </c:pt>
                <c:pt idx="27">
                  <c:v>0.010752688172043012</c:v>
                </c:pt>
                <c:pt idx="28">
                  <c:v>0.007259528130671506</c:v>
                </c:pt>
                <c:pt idx="29">
                  <c:v>0.007194244604316547</c:v>
                </c:pt>
                <c:pt idx="30">
                  <c:v>0.0078125</c:v>
                </c:pt>
                <c:pt idx="31">
                  <c:v>0.0047169811320754715</c:v>
                </c:pt>
                <c:pt idx="32">
                  <c:v>0.007407407407407408</c:v>
                </c:pt>
                <c:pt idx="33">
                  <c:v>0.007561436672967864</c:v>
                </c:pt>
                <c:pt idx="34">
                  <c:v>0.007062146892655367</c:v>
                </c:pt>
                <c:pt idx="35">
                  <c:v>0.00625</c:v>
                </c:pt>
                <c:pt idx="36">
                  <c:v>0.009416195856873822</c:v>
                </c:pt>
                <c:pt idx="37">
                  <c:v>0.011337868480725623</c:v>
                </c:pt>
                <c:pt idx="38">
                  <c:v>0.01050420168067227</c:v>
                </c:pt>
                <c:pt idx="39">
                  <c:v>0.010080645161290322</c:v>
                </c:pt>
                <c:pt idx="40">
                  <c:v>0.007704160246533128</c:v>
                </c:pt>
                <c:pt idx="41">
                  <c:v>0.013513513513513514</c:v>
                </c:pt>
                <c:pt idx="42">
                  <c:v>0.012474012474012475</c:v>
                </c:pt>
                <c:pt idx="43">
                  <c:v>0.011695906432748537</c:v>
                </c:pt>
                <c:pt idx="44">
                  <c:v>0.015194681861348529</c:v>
                </c:pt>
                <c:pt idx="45">
                  <c:v>0.013234077750206782</c:v>
                </c:pt>
                <c:pt idx="46">
                  <c:v>0.011295681063122924</c:v>
                </c:pt>
                <c:pt idx="47">
                  <c:v>0.010293360782295419</c:v>
                </c:pt>
                <c:pt idx="48">
                  <c:v>0.009836065573770493</c:v>
                </c:pt>
                <c:pt idx="49">
                  <c:v>0.01314878892733564</c:v>
                </c:pt>
                <c:pt idx="50">
                  <c:v>0.01065891472868217</c:v>
                </c:pt>
                <c:pt idx="51">
                  <c:v>0.010317460317460317</c:v>
                </c:pt>
                <c:pt idx="52">
                  <c:v>0.006635071090047393</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10396975425330813</c:v>
                </c:pt>
                <c:pt idx="1">
                  <c:v>0.009345794392523364</c:v>
                </c:pt>
                <c:pt idx="2">
                  <c:v>0.008014247551202136</c:v>
                </c:pt>
                <c:pt idx="3">
                  <c:v>0.011131725417439703</c:v>
                </c:pt>
                <c:pt idx="4">
                  <c:v>0.009708737864077669</c:v>
                </c:pt>
                <c:pt idx="5">
                  <c:v>0.007407407407407408</c:v>
                </c:pt>
                <c:pt idx="6">
                  <c:v>0.008123476848090982</c:v>
                </c:pt>
                <c:pt idx="7">
                  <c:v>0.010604453870625663</c:v>
                </c:pt>
                <c:pt idx="8">
                  <c:v>0.011976047904191617</c:v>
                </c:pt>
                <c:pt idx="9">
                  <c:v>0.012594458438287154</c:v>
                </c:pt>
                <c:pt idx="10">
                  <c:v>0.015957446808510637</c:v>
                </c:pt>
                <c:pt idx="11">
                  <c:v>0.009984639016897081</c:v>
                </c:pt>
                <c:pt idx="12">
                  <c:v>0.013374485596707819</c:v>
                </c:pt>
                <c:pt idx="13">
                  <c:v>0.022031823745410038</c:v>
                </c:pt>
                <c:pt idx="14">
                  <c:v>0.021601016518424398</c:v>
                </c:pt>
                <c:pt idx="15">
                  <c:v>0.020348837209302327</c:v>
                </c:pt>
                <c:pt idx="16">
                  <c:v>0.016233766233766232</c:v>
                </c:pt>
                <c:pt idx="17">
                  <c:v>0.025078369905956112</c:v>
                </c:pt>
                <c:pt idx="18">
                  <c:v>0.010810810810810811</c:v>
                </c:pt>
                <c:pt idx="19">
                  <c:v>0.011784511784511785</c:v>
                </c:pt>
                <c:pt idx="20">
                  <c:v>0.014842300556586271</c:v>
                </c:pt>
                <c:pt idx="21">
                  <c:v>0.014314928425357873</c:v>
                </c:pt>
                <c:pt idx="22">
                  <c:v>0.011363636363636364</c:v>
                </c:pt>
                <c:pt idx="23">
                  <c:v>0.012396694214876033</c:v>
                </c:pt>
                <c:pt idx="24">
                  <c:v>0.010657193605683837</c:v>
                </c:pt>
                <c:pt idx="25">
                  <c:v>0.012280701754385965</c:v>
                </c:pt>
                <c:pt idx="26">
                  <c:v>0.016245487364620937</c:v>
                </c:pt>
                <c:pt idx="27">
                  <c:v>0.011532125205930808</c:v>
                </c:pt>
                <c:pt idx="28">
                  <c:v>0.010835913312693499</c:v>
                </c:pt>
                <c:pt idx="29">
                  <c:v>0.011472275334608031</c:v>
                </c:pt>
                <c:pt idx="30">
                  <c:v>0.012244897959183673</c:v>
                </c:pt>
                <c:pt idx="31">
                  <c:v>0.013215859030837005</c:v>
                </c:pt>
                <c:pt idx="32">
                  <c:v>0.011472275334608031</c:v>
                </c:pt>
                <c:pt idx="33">
                  <c:v>0.011299435028248588</c:v>
                </c:pt>
                <c:pt idx="34">
                  <c:v>0.01060070671378092</c:v>
                </c:pt>
                <c:pt idx="35">
                  <c:v>0.0128</c:v>
                </c:pt>
                <c:pt idx="36">
                  <c:v>0.016260162601626018</c:v>
                </c:pt>
                <c:pt idx="37">
                  <c:v>0.020737327188940093</c:v>
                </c:pt>
                <c:pt idx="38">
                  <c:v>0.02912621359223301</c:v>
                </c:pt>
                <c:pt idx="39">
                  <c:v>0.015503875968992248</c:v>
                </c:pt>
                <c:pt idx="40">
                  <c:v>0.01782178217821782</c:v>
                </c:pt>
                <c:pt idx="41">
                  <c:v>0.01615798922800718</c:v>
                </c:pt>
                <c:pt idx="42">
                  <c:v>0.011560693641618497</c:v>
                </c:pt>
                <c:pt idx="43">
                  <c:v>0.011851851851851851</c:v>
                </c:pt>
                <c:pt idx="44">
                  <c:v>0.00938337801608579</c:v>
                </c:pt>
                <c:pt idx="45">
                  <c:v>0.006603773584905661</c:v>
                </c:pt>
                <c:pt idx="46">
                  <c:v>0.00893743793445879</c:v>
                </c:pt>
                <c:pt idx="47">
                  <c:v>0.008093525179856115</c:v>
                </c:pt>
                <c:pt idx="48">
                  <c:v>0.008298755186721992</c:v>
                </c:pt>
                <c:pt idx="49">
                  <c:v>0.006373937677053824</c:v>
                </c:pt>
                <c:pt idx="50">
                  <c:v>0.004894762604013705</c:v>
                </c:pt>
                <c:pt idx="51">
                  <c:v>0.00785545954438334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61.550870012526</c:v>
                </c:pt>
              </c:numCache>
            </c:numRef>
          </c:xVal>
          <c:yVal>
            <c:numRef>
              <c:f>Sheet1!$B$111:$B$112</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61.550870012526</c:v>
                </c:pt>
                <c:pt idx="1">
                  <c:v>3661.550870012526</c:v>
                </c:pt>
              </c:numCache>
            </c:numRef>
          </c:xVal>
          <c:yVal>
            <c:numRef>
              <c:f>Sheet1!$B$115:$B$116</c:f>
              <c:numCache>
                <c:formatCode>General</c:formatCode>
                <c:ptCount val="2"/>
                <c:pt idx="0">
                  <c:v>0.016073645773117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61.550870012526</c:v>
                </c:pt>
              </c:numCache>
            </c:numRef>
          </c:xVal>
          <c:yVal>
            <c:numRef>
              <c:f>Sheet1!$B$119:$B$120</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61.550870012526</c:v>
                </c:pt>
                <c:pt idx="1">
                  <c:v>3661.550870012526</c:v>
                </c:pt>
              </c:numCache>
            </c:numRef>
          </c:xVal>
          <c:yVal>
            <c:numRef>
              <c:f>Sheet1!$B$123:$B$124</c:f>
              <c:numCache>
                <c:formatCode>General</c:formatCode>
                <c:ptCount val="2"/>
                <c:pt idx="0">
                  <c:v>0.016073645773117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39.698665781423</c:v>
                </c:pt>
              </c:numCache>
            </c:numRef>
          </c:xVal>
          <c:yVal>
            <c:numRef>
              <c:f>Sheet1!$B$127:$B$128</c:f>
              <c:numCache>
                <c:formatCode>General</c:formatCode>
                <c:ptCount val="2"/>
                <c:pt idx="0">
                  <c:v>0.01025670943047437</c:v>
                </c:pt>
                <c:pt idx="1">
                  <c:v>0.01025670943047437</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39.698665781423</c:v>
                </c:pt>
                <c:pt idx="1">
                  <c:v>4639.698665781423</c:v>
                </c:pt>
              </c:numCache>
            </c:numRef>
          </c:xVal>
          <c:yVal>
            <c:numRef>
              <c:f>Sheet1!$B$131:$B$132</c:f>
              <c:numCache>
                <c:formatCode>General</c:formatCode>
                <c:ptCount val="2"/>
                <c:pt idx="0">
                  <c:v>0.010256709430474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61.550870012526</c:v>
                </c:pt>
                <c:pt idx="53">
                  <c:v>3661.550870012526</c:v>
                </c:pt>
                <c:pt idx="54">
                  <c:v>4639.698665781423</c:v>
                </c:pt>
              </c:numCache>
            </c:numRef>
          </c:xVal>
          <c:yVal>
            <c:numRef>
              <c:f>Sheet1!$B$135:$B$189</c:f>
              <c:numCache>
                <c:formatCode>General</c:formatCode>
                <c:ptCount val="55"/>
                <c:pt idx="0">
                  <c:v>0.016520776120220383</c:v>
                </c:pt>
                <c:pt idx="1">
                  <c:v>0.010689701023877056</c:v>
                </c:pt>
                <c:pt idx="2">
                  <c:v>0.010683754134901993</c:v>
                </c:pt>
                <c:pt idx="3">
                  <c:v>0.01840661549190389</c:v>
                </c:pt>
                <c:pt idx="4">
                  <c:v>0.012828136288843182</c:v>
                </c:pt>
                <c:pt idx="5">
                  <c:v>0.007978745674125577</c:v>
                </c:pt>
                <c:pt idx="6">
                  <c:v>0.011404451068212373</c:v>
                </c:pt>
                <c:pt idx="7">
                  <c:v>0.013763581924621075</c:v>
                </c:pt>
                <c:pt idx="8">
                  <c:v>0.010819871881963379</c:v>
                </c:pt>
                <c:pt idx="9">
                  <c:v>0.014271446243091714</c:v>
                </c:pt>
                <c:pt idx="10">
                  <c:v>0.013969244970112475</c:v>
                </c:pt>
                <c:pt idx="11">
                  <c:v>0.01178830015337478</c:v>
                </c:pt>
                <c:pt idx="12">
                  <c:v>0.016446543483900226</c:v>
                </c:pt>
                <c:pt idx="13">
                  <c:v>0.01709450045002319</c:v>
                </c:pt>
                <c:pt idx="14">
                  <c:v>0.018341287132446097</c:v>
                </c:pt>
                <c:pt idx="15">
                  <c:v>0.01460124345967085</c:v>
                </c:pt>
                <c:pt idx="16">
                  <c:v>0.012800185910660372</c:v>
                </c:pt>
                <c:pt idx="17">
                  <c:v>0.02057053971770605</c:v>
                </c:pt>
                <c:pt idx="18">
                  <c:v>0.010194457193189302</c:v>
                </c:pt>
                <c:pt idx="19">
                  <c:v>0.009327202749221802</c:v>
                </c:pt>
                <c:pt idx="20">
                  <c:v>0.011274808888555931</c:v>
                </c:pt>
                <c:pt idx="21">
                  <c:v>0.011761179366203994</c:v>
                </c:pt>
                <c:pt idx="22">
                  <c:v>0.010902136981222162</c:v>
                </c:pt>
                <c:pt idx="23">
                  <c:v>0.013691227910528136</c:v>
                </c:pt>
                <c:pt idx="24">
                  <c:v>0.011552330572288647</c:v>
                </c:pt>
                <c:pt idx="25">
                  <c:v>0.013930094815922923</c:v>
                </c:pt>
                <c:pt idx="26">
                  <c:v>0.015424085347394763</c:v>
                </c:pt>
                <c:pt idx="27">
                  <c:v>0.0127449648837046</c:v>
                </c:pt>
                <c:pt idx="28">
                  <c:v>0.011296472810403201</c:v>
                </c:pt>
                <c:pt idx="29">
                  <c:v>0.009487768751548584</c:v>
                </c:pt>
                <c:pt idx="30">
                  <c:v>0.010668226213099197</c:v>
                </c:pt>
                <c:pt idx="31">
                  <c:v>0.010231129873431843</c:v>
                </c:pt>
                <c:pt idx="32">
                  <c:v>0.01275855768783491</c:v>
                </c:pt>
                <c:pt idx="33">
                  <c:v>0.009956086258335037</c:v>
                </c:pt>
                <c:pt idx="34">
                  <c:v>0.010739258233772978</c:v>
                </c:pt>
                <c:pt idx="35">
                  <c:v>0.010262351040550937</c:v>
                </c:pt>
                <c:pt idx="36">
                  <c:v>0.012694133255501328</c:v>
                </c:pt>
                <c:pt idx="37">
                  <c:v>0.015309112358773115</c:v>
                </c:pt>
                <c:pt idx="38">
                  <c:v>0.018807039151328704</c:v>
                </c:pt>
                <c:pt idx="39">
                  <c:v>0.01490389788558999</c:v>
                </c:pt>
                <c:pt idx="40">
                  <c:v>0.01668284371201337</c:v>
                </c:pt>
                <c:pt idx="41">
                  <c:v>0.016790548412929693</c:v>
                </c:pt>
                <c:pt idx="42">
                  <c:v>0.005053371674244703</c:v>
                </c:pt>
                <c:pt idx="43">
                  <c:v>0.008693115712255384</c:v>
                </c:pt>
                <c:pt idx="44">
                  <c:v>0.011558985141051747</c:v>
                </c:pt>
                <c:pt idx="45">
                  <c:v>0.008786885662925327</c:v>
                </c:pt>
                <c:pt idx="46">
                  <c:v>0.012081933743407644</c:v>
                </c:pt>
                <c:pt idx="47">
                  <c:v>0.01501441070748033</c:v>
                </c:pt>
                <c:pt idx="48">
                  <c:v>0.014864945762803304</c:v>
                </c:pt>
                <c:pt idx="49">
                  <c:v>0.010633536225640942</c:v>
                </c:pt>
                <c:pt idx="50">
                  <c:v>0.009595407441997283</c:v>
                </c:pt>
                <c:pt idx="51">
                  <c:v>0.012892957378671407</c:v>
                </c:pt>
                <c:pt idx="52">
                  <c:v>0.01607364577311758</c:v>
                </c:pt>
                <c:pt idx="53">
                  <c:v>0.01607364577311758</c:v>
                </c:pt>
                <c:pt idx="54">
                  <c:v>0.010256709430474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951456310679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8</c:f>
              <c:numCache>
                <c:formatCode>General</c:formatCode>
                <c:ptCount val="67"/>
                <c:pt idx="0">
                  <c:v>0.0</c:v>
                </c:pt>
                <c:pt idx="1">
                  <c:v>0.0</c:v>
                </c:pt>
                <c:pt idx="2">
                  <c:v>0.0</c:v>
                </c:pt>
                <c:pt idx="3">
                  <c:v>0.0</c:v>
                </c:pt>
                <c:pt idx="4">
                  <c:v>0.0</c:v>
                </c:pt>
                <c:pt idx="5">
                  <c:v>0.0</c:v>
                </c:pt>
                <c:pt idx="6">
                  <c:v>0.0</c:v>
                </c:pt>
                <c:pt idx="7">
                  <c:v>0.6170280612244898</c:v>
                </c:pt>
                <c:pt idx="8">
                  <c:v>0.45296442687747035</c:v>
                </c:pt>
                <c:pt idx="9">
                  <c:v>0.0</c:v>
                </c:pt>
                <c:pt idx="10">
                  <c:v>0.5843263061411549</c:v>
                </c:pt>
                <c:pt idx="11">
                  <c:v>0.6752982990606753</c:v>
                </c:pt>
                <c:pt idx="12">
                  <c:v>0.4175021483815526</c:v>
                </c:pt>
                <c:pt idx="13">
                  <c:v>0.8253373898119978</c:v>
                </c:pt>
                <c:pt idx="14">
                  <c:v>0.46225190131700983</c:v>
                </c:pt>
                <c:pt idx="15">
                  <c:v>0.8425666199158486</c:v>
                </c:pt>
                <c:pt idx="16">
                  <c:v>0.0</c:v>
                </c:pt>
                <c:pt idx="17">
                  <c:v>0.28350515463917525</c:v>
                </c:pt>
                <c:pt idx="18">
                  <c:v>0.23748525198044834</c:v>
                </c:pt>
                <c:pt idx="19">
                  <c:v>0.42176102447237734</c:v>
                </c:pt>
                <c:pt idx="20">
                  <c:v>0.15306633112015422</c:v>
                </c:pt>
                <c:pt idx="21">
                  <c:v>0.14695340501792115</c:v>
                </c:pt>
                <c:pt idx="22">
                  <c:v>0.17771169640328519</c:v>
                </c:pt>
                <c:pt idx="23">
                  <c:v>0.5652717051842598</c:v>
                </c:pt>
                <c:pt idx="24">
                  <c:v>0.0</c:v>
                </c:pt>
                <c:pt idx="25">
                  <c:v>0.67884269438337</c:v>
                </c:pt>
                <c:pt idx="26">
                  <c:v>0.0</c:v>
                </c:pt>
                <c:pt idx="27">
                  <c:v>0.0</c:v>
                </c:pt>
                <c:pt idx="28">
                  <c:v>0.0</c:v>
                </c:pt>
                <c:pt idx="29">
                  <c:v>0.8560273304050756</c:v>
                </c:pt>
                <c:pt idx="30">
                  <c:v>0.6707930184025802</c:v>
                </c:pt>
                <c:pt idx="31">
                  <c:v>0.0</c:v>
                </c:pt>
                <c:pt idx="32">
                  <c:v>0.9670226130653267</c:v>
                </c:pt>
                <c:pt idx="33">
                  <c:v>1.143965817928148</c:v>
                </c:pt>
                <c:pt idx="34">
                  <c:v>0.0</c:v>
                </c:pt>
                <c:pt idx="35">
                  <c:v>0.8719633307868603</c:v>
                </c:pt>
                <c:pt idx="36">
                  <c:v>0.5960105968521116</c:v>
                </c:pt>
                <c:pt idx="37">
                  <c:v>0.4877968139464984</c:v>
                </c:pt>
                <c:pt idx="38">
                  <c:v>0.7509647543092359</c:v>
                </c:pt>
                <c:pt idx="39">
                  <c:v>0.8931006711409396</c:v>
                </c:pt>
                <c:pt idx="40">
                  <c:v>1.345859247135843</c:v>
                </c:pt>
                <c:pt idx="41">
                  <c:v>0.0</c:v>
                </c:pt>
                <c:pt idx="42">
                  <c:v>0.0</c:v>
                </c:pt>
                <c:pt idx="43">
                  <c:v>0.4872883149872989</c:v>
                </c:pt>
                <c:pt idx="44">
                  <c:v>0.656060606060606</c:v>
                </c:pt>
                <c:pt idx="45">
                  <c:v>0.9028805347835939</c:v>
                </c:pt>
                <c:pt idx="46">
                  <c:v>1.0734315086519404</c:v>
                </c:pt>
                <c:pt idx="47">
                  <c:v>0.8689056480648065</c:v>
                </c:pt>
                <c:pt idx="48">
                  <c:v>0.605483122888138</c:v>
                </c:pt>
                <c:pt idx="49">
                  <c:v>0.5449429058056872</c:v>
                </c:pt>
                <c:pt idx="50">
                  <c:v>0.6338587474399051</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numCache>
            </c:numRef>
          </c:xVal>
          <c:yVal>
            <c:numRef>
              <c:f>Sheet1!$B$2:$B$68</c:f>
              <c:numCache>
                <c:formatCode>General</c:formatCode>
                <c:ptCount val="67"/>
                <c:pt idx="0">
                  <c:v>0.0</c:v>
                </c:pt>
                <c:pt idx="1">
                  <c:v>0.0</c:v>
                </c:pt>
                <c:pt idx="2">
                  <c:v>0.0</c:v>
                </c:pt>
                <c:pt idx="3">
                  <c:v>0.0</c:v>
                </c:pt>
                <c:pt idx="4">
                  <c:v>0.0</c:v>
                </c:pt>
                <c:pt idx="5">
                  <c:v>0.0</c:v>
                </c:pt>
                <c:pt idx="6">
                  <c:v>0.0</c:v>
                </c:pt>
                <c:pt idx="7">
                  <c:v>0.0006724949562878278</c:v>
                </c:pt>
                <c:pt idx="8">
                  <c:v>0.0016155088852988692</c:v>
                </c:pt>
                <c:pt idx="9">
                  <c:v>0.0011507479861910242</c:v>
                </c:pt>
                <c:pt idx="10">
                  <c:v>0.0010438413361169101</c:v>
                </c:pt>
                <c:pt idx="11">
                  <c:v>0.001037344398340249</c:v>
                </c:pt>
                <c:pt idx="12">
                  <c:v>0.0019801980198019802</c:v>
                </c:pt>
                <c:pt idx="13">
                  <c:v>0.000970873786407767</c:v>
                </c:pt>
                <c:pt idx="14">
                  <c:v>0.0009746588693957114</c:v>
                </c:pt>
                <c:pt idx="15">
                  <c:v>0.0011111111111111111</c:v>
                </c:pt>
                <c:pt idx="16">
                  <c:v>0.004098360655737705</c:v>
                </c:pt>
                <c:pt idx="17">
                  <c:v>0.003289473684210526</c:v>
                </c:pt>
                <c:pt idx="18">
                  <c:v>0.0016611295681063123</c:v>
                </c:pt>
                <c:pt idx="19">
                  <c:v>0.0018115942028985507</c:v>
                </c:pt>
                <c:pt idx="20">
                  <c:v>0.004862236628849271</c:v>
                </c:pt>
                <c:pt idx="21">
                  <c:v>0.003401360544217687</c:v>
                </c:pt>
                <c:pt idx="22">
                  <c:v>0.005997001499250375</c:v>
                </c:pt>
                <c:pt idx="23">
                  <c:v>0.0034904013961605585</c:v>
                </c:pt>
                <c:pt idx="24">
                  <c:v>0.0038240917782026767</c:v>
                </c:pt>
                <c:pt idx="25">
                  <c:v>0.007936507936507936</c:v>
                </c:pt>
                <c:pt idx="26">
                  <c:v>0.014056224899598393</c:v>
                </c:pt>
                <c:pt idx="27">
                  <c:v>0.010752688172043012</c:v>
                </c:pt>
                <c:pt idx="28">
                  <c:v>0.007259528130671506</c:v>
                </c:pt>
                <c:pt idx="29">
                  <c:v>0.007194244604316547</c:v>
                </c:pt>
                <c:pt idx="30">
                  <c:v>0.0078125</c:v>
                </c:pt>
                <c:pt idx="31">
                  <c:v>0.0047169811320754715</c:v>
                </c:pt>
                <c:pt idx="32">
                  <c:v>0.007407407407407408</c:v>
                </c:pt>
                <c:pt idx="33">
                  <c:v>0.007561436672967864</c:v>
                </c:pt>
                <c:pt idx="34">
                  <c:v>0.007062146892655367</c:v>
                </c:pt>
                <c:pt idx="35">
                  <c:v>0.00625</c:v>
                </c:pt>
                <c:pt idx="36">
                  <c:v>0.009416195856873822</c:v>
                </c:pt>
                <c:pt idx="37">
                  <c:v>0.011337868480725623</c:v>
                </c:pt>
                <c:pt idx="38">
                  <c:v>0.01050420168067227</c:v>
                </c:pt>
                <c:pt idx="39">
                  <c:v>0.010080645161290322</c:v>
                </c:pt>
                <c:pt idx="40">
                  <c:v>0.007704160246533128</c:v>
                </c:pt>
                <c:pt idx="41">
                  <c:v>0.013513513513513514</c:v>
                </c:pt>
                <c:pt idx="42">
                  <c:v>0.012474012474012475</c:v>
                </c:pt>
                <c:pt idx="43">
                  <c:v>0.015194681861348529</c:v>
                </c:pt>
                <c:pt idx="44">
                  <c:v>0.013234077750206782</c:v>
                </c:pt>
                <c:pt idx="45">
                  <c:v>0.011295681063122924</c:v>
                </c:pt>
                <c:pt idx="46">
                  <c:v>0.010293360782295419</c:v>
                </c:pt>
                <c:pt idx="47">
                  <c:v>0.009836065573770493</c:v>
                </c:pt>
                <c:pt idx="48">
                  <c:v>0.01314878892733564</c:v>
                </c:pt>
                <c:pt idx="49">
                  <c:v>0.01065891472868217</c:v>
                </c:pt>
                <c:pt idx="50">
                  <c:v>0.010317460317460317</c:v>
                </c:pt>
                <c:pt idx="51">
                  <c:v>0.006635071090047393</c:v>
                </c:pt>
                <c:pt idx="52">
                  <c:v>0.022031823745410038</c:v>
                </c:pt>
                <c:pt idx="53">
                  <c:v>0.021601016518424398</c:v>
                </c:pt>
                <c:pt idx="54">
                  <c:v>0.020348837209302327</c:v>
                </c:pt>
                <c:pt idx="55">
                  <c:v>0.012396694214876033</c:v>
                </c:pt>
                <c:pt idx="56">
                  <c:v>0.010657193605683837</c:v>
                </c:pt>
                <c:pt idx="57">
                  <c:v>0.012280701754385965</c:v>
                </c:pt>
                <c:pt idx="58">
                  <c:v>0.016245487364620937</c:v>
                </c:pt>
                <c:pt idx="59">
                  <c:v>0.011532125205930808</c:v>
                </c:pt>
                <c:pt idx="60">
                  <c:v>0.012244897959183673</c:v>
                </c:pt>
                <c:pt idx="61">
                  <c:v>0.0128</c:v>
                </c:pt>
                <c:pt idx="62">
                  <c:v>0.016260162601626018</c:v>
                </c:pt>
                <c:pt idx="63">
                  <c:v>0.02912621359223301</c:v>
                </c:pt>
                <c:pt idx="64">
                  <c:v>0.01782178217821782</c:v>
                </c:pt>
                <c:pt idx="65">
                  <c:v>0.01615798922800718</c:v>
                </c:pt>
                <c:pt idx="66">
                  <c:v>0.011560693641618497</c:v>
                </c:pt>
              </c:numCache>
            </c:numRef>
          </c:yVal>
          <c:smooth val="0"/>
          <c:extLst>
            <c:ext xmlns:c16="http://schemas.microsoft.com/office/drawing/2014/chart" uri="{C3380CC4-5D6E-409C-BE32-E72D297353CC}">
              <c16:uniqueId val="{00000000-096C-4121-9522-6AB7243CCAAE}"/>
            </c:ext>
          </c:extLst>
        </c:ser>
        <c:ser>
          <c:idx val="1"/>
          <c:order val="1"/>
          <c:tx>
            <c:strRef>
              <c:f>Sheet1!$B$7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1:$A$107</c:f>
              <c:numCache>
                <c:formatCode>General</c:formatCode>
                <c:ptCount val="37"/>
                <c:pt idx="0">
                  <c:v>0.6679760849320172</c:v>
                </c:pt>
                <c:pt idx="1">
                  <c:v>0.9889322000866175</c:v>
                </c:pt>
                <c:pt idx="2">
                  <c:v>1.217941314491401</c:v>
                </c:pt>
                <c:pt idx="3">
                  <c:v>0.7310487477638641</c:v>
                </c:pt>
                <c:pt idx="4">
                  <c:v>0.843822703569996</c:v>
                </c:pt>
                <c:pt idx="5">
                  <c:v>1.6265382124352332</c:v>
                </c:pt>
                <c:pt idx="6">
                  <c:v>1.1814808149722715</c:v>
                </c:pt>
                <c:pt idx="7">
                  <c:v>1.1452810180275717</c:v>
                </c:pt>
                <c:pt idx="8">
                  <c:v>1.0574685900418799</c:v>
                </c:pt>
                <c:pt idx="9">
                  <c:v>1.0942865028981508</c:v>
                </c:pt>
                <c:pt idx="10">
                  <c:v>0.829288868236266</c:v>
                </c:pt>
                <c:pt idx="11">
                  <c:v>0.7800202563189748</c:v>
                </c:pt>
                <c:pt idx="12">
                  <c:v>0.45200278824415974</c:v>
                </c:pt>
                <c:pt idx="13">
                  <c:v>1.4248985115020298</c:v>
                </c:pt>
                <c:pt idx="14">
                  <c:v>0.6935724516591072</c:v>
                </c:pt>
                <c:pt idx="15">
                  <c:v>1.5949808609157947</c:v>
                </c:pt>
                <c:pt idx="16">
                  <c:v>1.4873623817646147</c:v>
                </c:pt>
                <c:pt idx="17">
                  <c:v>1.8857082306131911</c:v>
                </c:pt>
                <c:pt idx="18">
                  <c:v>1.1176342165605095</c:v>
                </c:pt>
                <c:pt idx="19">
                  <c:v>0.9889058707987778</c:v>
                </c:pt>
                <c:pt idx="20">
                  <c:v>1.190946145638837</c:v>
                </c:pt>
                <c:pt idx="21">
                  <c:v>1.193144858643983</c:v>
                </c:pt>
                <c:pt idx="22">
                  <c:v>1.8893409275834012</c:v>
                </c:pt>
                <c:pt idx="23">
                  <c:v>0.9908407703147017</c:v>
                </c:pt>
                <c:pt idx="24">
                  <c:v>1.1775671604318354</c:v>
                </c:pt>
                <c:pt idx="25">
                  <c:v>1.16661691618682</c:v>
                </c:pt>
                <c:pt idx="26">
                  <c:v>0.8572972404433387</c:v>
                </c:pt>
                <c:pt idx="27">
                  <c:v>1.36406222379353</c:v>
                </c:pt>
                <c:pt idx="28">
                  <c:v>1.8188184010387682</c:v>
                </c:pt>
                <c:pt idx="29">
                  <c:v>1.5480859714245692</c:v>
                </c:pt>
                <c:pt idx="30">
                  <c:v>1.34438984869326</c:v>
                </c:pt>
                <c:pt idx="31">
                  <c:v>1.5689943146840484</c:v>
                </c:pt>
                <c:pt idx="32">
                  <c:v>1.1497729300793533</c:v>
                </c:pt>
                <c:pt idx="33">
                  <c:v>1.3320006892986387</c:v>
                </c:pt>
                <c:pt idx="34">
                  <c:v>1.1180877840215002</c:v>
                </c:pt>
                <c:pt idx="35">
                  <c:v>1.5306967378171565</c:v>
                </c:pt>
                <c:pt idx="36">
                  <c:v>1.595387170135435</c:v>
                </c:pt>
              </c:numCache>
            </c:numRef>
          </c:xVal>
          <c:yVal>
            <c:numRef>
              <c:f>Sheet1!$B$71:$B$107</c:f>
              <c:numCache>
                <c:formatCode>General</c:formatCode>
                <c:ptCount val="37"/>
                <c:pt idx="0">
                  <c:v>0.010396975425330813</c:v>
                </c:pt>
                <c:pt idx="1">
                  <c:v>0.009345794392523364</c:v>
                </c:pt>
                <c:pt idx="2">
                  <c:v>0.008014247551202136</c:v>
                </c:pt>
                <c:pt idx="3">
                  <c:v>0.011131725417439703</c:v>
                </c:pt>
                <c:pt idx="4">
                  <c:v>0.009708737864077669</c:v>
                </c:pt>
                <c:pt idx="5">
                  <c:v>0.007407407407407408</c:v>
                </c:pt>
                <c:pt idx="6">
                  <c:v>0.008123476848090982</c:v>
                </c:pt>
                <c:pt idx="7">
                  <c:v>0.010604453870625663</c:v>
                </c:pt>
                <c:pt idx="8">
                  <c:v>0.011976047904191617</c:v>
                </c:pt>
                <c:pt idx="9">
                  <c:v>0.012594458438287154</c:v>
                </c:pt>
                <c:pt idx="10">
                  <c:v>0.015957446808510637</c:v>
                </c:pt>
                <c:pt idx="11">
                  <c:v>0.009984639016897081</c:v>
                </c:pt>
                <c:pt idx="12">
                  <c:v>0.013374485596707819</c:v>
                </c:pt>
                <c:pt idx="13">
                  <c:v>0.016233766233766232</c:v>
                </c:pt>
                <c:pt idx="14">
                  <c:v>0.025078369905956112</c:v>
                </c:pt>
                <c:pt idx="15">
                  <c:v>0.010810810810810811</c:v>
                </c:pt>
                <c:pt idx="16">
                  <c:v>0.011784511784511785</c:v>
                </c:pt>
                <c:pt idx="17">
                  <c:v>0.014842300556586271</c:v>
                </c:pt>
                <c:pt idx="18">
                  <c:v>0.014314928425357873</c:v>
                </c:pt>
                <c:pt idx="19">
                  <c:v>0.011363636363636364</c:v>
                </c:pt>
                <c:pt idx="20">
                  <c:v>0.010835913312693499</c:v>
                </c:pt>
                <c:pt idx="21">
                  <c:v>0.011472275334608031</c:v>
                </c:pt>
                <c:pt idx="22">
                  <c:v>0.013215859030837005</c:v>
                </c:pt>
                <c:pt idx="23">
                  <c:v>0.011472275334608031</c:v>
                </c:pt>
                <c:pt idx="24">
                  <c:v>0.011299435028248588</c:v>
                </c:pt>
                <c:pt idx="25">
                  <c:v>0.01060070671378092</c:v>
                </c:pt>
                <c:pt idx="26">
                  <c:v>0.020737327188940093</c:v>
                </c:pt>
                <c:pt idx="27">
                  <c:v>0.015503875968992248</c:v>
                </c:pt>
                <c:pt idx="28">
                  <c:v>0.011851851851851851</c:v>
                </c:pt>
                <c:pt idx="29">
                  <c:v>0.00938337801608579</c:v>
                </c:pt>
                <c:pt idx="30">
                  <c:v>0.006603773584905661</c:v>
                </c:pt>
                <c:pt idx="31">
                  <c:v>0.00893743793445879</c:v>
                </c:pt>
                <c:pt idx="32">
                  <c:v>0.008093525179856115</c:v>
                </c:pt>
                <c:pt idx="33">
                  <c:v>0.008298755186721992</c:v>
                </c:pt>
                <c:pt idx="34">
                  <c:v>0.006373937677053824</c:v>
                </c:pt>
                <c:pt idx="35">
                  <c:v>0.004894762604013705</c:v>
                </c:pt>
                <c:pt idx="36">
                  <c:v>0.007855459544383346</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0.37646619054298147</c:v>
                </c:pt>
              </c:numCache>
            </c:numRef>
          </c:xVal>
          <c:yVal>
            <c:numRef>
              <c:f>Sheet1!$B$110:$B$111</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37646619054298147</c:v>
                </c:pt>
                <c:pt idx="1">
                  <c:v>-0.37646619054298147</c:v>
                </c:pt>
              </c:numCache>
            </c:numRef>
          </c:xVal>
          <c:yVal>
            <c:numRef>
              <c:f>Sheet1!$B$114:$B$115</c:f>
              <c:numCache>
                <c:formatCode>General</c:formatCode>
                <c:ptCount val="2"/>
                <c:pt idx="0">
                  <c:v>0.016073645773117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37646619054298147</c:v>
                </c:pt>
              </c:numCache>
            </c:numRef>
          </c:xVal>
          <c:yVal>
            <c:numRef>
              <c:f>Sheet1!$B$118:$B$119</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37646619054298147</c:v>
                </c:pt>
                <c:pt idx="1">
                  <c:v>-0.37646619054298147</c:v>
                </c:pt>
              </c:numCache>
            </c:numRef>
          </c:xVal>
          <c:yVal>
            <c:numRef>
              <c:f>Sheet1!$B$122:$B$123</c:f>
              <c:numCache>
                <c:formatCode>General</c:formatCode>
                <c:ptCount val="2"/>
                <c:pt idx="0">
                  <c:v>0.016073645773117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1.5789508871395967</c:v>
                </c:pt>
              </c:numCache>
            </c:numRef>
          </c:xVal>
          <c:yVal>
            <c:numRef>
              <c:f>Sheet1!$B$126:$B$127</c:f>
              <c:numCache>
                <c:formatCode>General</c:formatCode>
                <c:ptCount val="2"/>
                <c:pt idx="0">
                  <c:v>0.01025670943047437</c:v>
                </c:pt>
                <c:pt idx="1">
                  <c:v>0.01025670943047437</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1.5789508871395967</c:v>
                </c:pt>
                <c:pt idx="1">
                  <c:v>1.5789508871395967</c:v>
                </c:pt>
              </c:numCache>
            </c:numRef>
          </c:xVal>
          <c:yVal>
            <c:numRef>
              <c:f>Sheet1!$B$130:$B$131</c:f>
              <c:numCache>
                <c:formatCode>General</c:formatCode>
                <c:ptCount val="2"/>
                <c:pt idx="0">
                  <c:v>0.010256709430474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73</c:f>
              <c:numCache>
                <c:formatCode>General</c:formatCode>
                <c:ptCount val="40"/>
                <c:pt idx="0">
                  <c:v>0.6679760849320172</c:v>
                </c:pt>
                <c:pt idx="1">
                  <c:v>0.9889322000866175</c:v>
                </c:pt>
                <c:pt idx="2">
                  <c:v>1.217941314491401</c:v>
                </c:pt>
                <c:pt idx="3">
                  <c:v>0.7310487477638641</c:v>
                </c:pt>
                <c:pt idx="4">
                  <c:v>0.843822703569996</c:v>
                </c:pt>
                <c:pt idx="5">
                  <c:v>1.6265382124352332</c:v>
                </c:pt>
                <c:pt idx="6">
                  <c:v>1.1814808149722715</c:v>
                </c:pt>
                <c:pt idx="7">
                  <c:v>1.1452810180275717</c:v>
                </c:pt>
                <c:pt idx="8">
                  <c:v>1.0574685900418799</c:v>
                </c:pt>
                <c:pt idx="9">
                  <c:v>1.0942865028981508</c:v>
                </c:pt>
                <c:pt idx="10">
                  <c:v>0.829288868236266</c:v>
                </c:pt>
                <c:pt idx="11">
                  <c:v>0.7800202563189748</c:v>
                </c:pt>
                <c:pt idx="12">
                  <c:v>0.45200278824415974</c:v>
                </c:pt>
                <c:pt idx="13">
                  <c:v>1.4248985115020298</c:v>
                </c:pt>
                <c:pt idx="14">
                  <c:v>0.6935724516591072</c:v>
                </c:pt>
                <c:pt idx="15">
                  <c:v>1.5949808609157947</c:v>
                </c:pt>
                <c:pt idx="16">
                  <c:v>1.4873623817646147</c:v>
                </c:pt>
                <c:pt idx="17">
                  <c:v>1.8857082306131911</c:v>
                </c:pt>
                <c:pt idx="18">
                  <c:v>1.1176342165605095</c:v>
                </c:pt>
                <c:pt idx="19">
                  <c:v>0.9889058707987778</c:v>
                </c:pt>
                <c:pt idx="20">
                  <c:v>1.190946145638837</c:v>
                </c:pt>
                <c:pt idx="21">
                  <c:v>1.193144858643983</c:v>
                </c:pt>
                <c:pt idx="22">
                  <c:v>1.8893409275834012</c:v>
                </c:pt>
                <c:pt idx="23">
                  <c:v>0.9908407703147017</c:v>
                </c:pt>
                <c:pt idx="24">
                  <c:v>1.1775671604318354</c:v>
                </c:pt>
                <c:pt idx="25">
                  <c:v>1.16661691618682</c:v>
                </c:pt>
                <c:pt idx="26">
                  <c:v>0.8572972404433387</c:v>
                </c:pt>
                <c:pt idx="27">
                  <c:v>1.36406222379353</c:v>
                </c:pt>
                <c:pt idx="28">
                  <c:v>1.8188184010387682</c:v>
                </c:pt>
                <c:pt idx="29">
                  <c:v>1.5480859714245692</c:v>
                </c:pt>
                <c:pt idx="30">
                  <c:v>1.34438984869326</c:v>
                </c:pt>
                <c:pt idx="31">
                  <c:v>1.5689943146840484</c:v>
                </c:pt>
                <c:pt idx="32">
                  <c:v>1.1497729300793533</c:v>
                </c:pt>
                <c:pt idx="33">
                  <c:v>1.3320006892986387</c:v>
                </c:pt>
                <c:pt idx="34">
                  <c:v>1.1180877840215002</c:v>
                </c:pt>
                <c:pt idx="35">
                  <c:v>1.5306967378171565</c:v>
                </c:pt>
                <c:pt idx="36">
                  <c:v>1.595387170135435</c:v>
                </c:pt>
                <c:pt idx="37">
                  <c:v>-0.37646619054298147</c:v>
                </c:pt>
                <c:pt idx="38">
                  <c:v>-0.37646619054298147</c:v>
                </c:pt>
                <c:pt idx="39">
                  <c:v>1.5789508871395967</c:v>
                </c:pt>
              </c:numCache>
            </c:numRef>
          </c:xVal>
          <c:yVal>
            <c:numRef>
              <c:f>Sheet1!$B$134:$B$173</c:f>
              <c:numCache>
                <c:formatCode>General</c:formatCode>
                <c:ptCount val="40"/>
                <c:pt idx="0">
                  <c:v>0.012966659391877786</c:v>
                </c:pt>
                <c:pt idx="1">
                  <c:v>0.012011885440098154</c:v>
                </c:pt>
                <c:pt idx="2">
                  <c:v>0.0113306336214547</c:v>
                </c:pt>
                <c:pt idx="3">
                  <c:v>0.012779032072447466</c:v>
                </c:pt>
                <c:pt idx="4">
                  <c:v>0.012443554322191866</c:v>
                </c:pt>
                <c:pt idx="5">
                  <c:v>0.010115147589207528</c:v>
                </c:pt>
                <c:pt idx="6">
                  <c:v>0.011439095599793921</c:v>
                </c:pt>
                <c:pt idx="7">
                  <c:v>0.011546782045231681</c:v>
                </c:pt>
                <c:pt idx="8">
                  <c:v>0.011808004732460676</c:v>
                </c:pt>
                <c:pt idx="9">
                  <c:v>0.011698479527941275</c:v>
                </c:pt>
                <c:pt idx="10">
                  <c:v>0.012486789290279063</c:v>
                </c:pt>
                <c:pt idx="11">
                  <c:v>0.012633352589988467</c:v>
                </c:pt>
                <c:pt idx="12">
                  <c:v>0.013609132515838094</c:v>
                </c:pt>
                <c:pt idx="13">
                  <c:v>0.010714981413850263</c:v>
                </c:pt>
                <c:pt idx="14">
                  <c:v>0.012890515822532011</c:v>
                </c:pt>
                <c:pt idx="15">
                  <c:v>0.010209023779114052</c:v>
                </c:pt>
                <c:pt idx="16">
                  <c:v>0.010529165118605877</c:v>
                </c:pt>
                <c:pt idx="17">
                  <c:v>0.00934417370600429</c:v>
                </c:pt>
                <c:pt idx="18">
                  <c:v>0.011629025207596913</c:v>
                </c:pt>
                <c:pt idx="19">
                  <c:v>0.01201196376394684</c:v>
                </c:pt>
                <c:pt idx="20">
                  <c:v>0.011410938319908276</c:v>
                </c:pt>
                <c:pt idx="21">
                  <c:v>0.011404397631615918</c:v>
                </c:pt>
                <c:pt idx="22">
                  <c:v>0.009333367230358252</c:v>
                </c:pt>
                <c:pt idx="23">
                  <c:v>0.012006207862844207</c:v>
                </c:pt>
                <c:pt idx="24">
                  <c:v>0.01145073786250536</c:v>
                </c:pt>
                <c:pt idx="25">
                  <c:v>0.011483312434158961</c:v>
                </c:pt>
                <c:pt idx="26">
                  <c:v>0.012403470534373197</c:v>
                </c:pt>
                <c:pt idx="27">
                  <c:v>0.010895956008458215</c:v>
                </c:pt>
                <c:pt idx="28">
                  <c:v>0.009543156258138794</c:v>
                </c:pt>
                <c:pt idx="29">
                  <c:v>0.01034852577594075</c:v>
                </c:pt>
                <c:pt idx="30">
                  <c:v>0.010954477003785969</c:v>
                </c:pt>
                <c:pt idx="31">
                  <c:v>0.01028632804679201</c:v>
                </c:pt>
                <c:pt idx="32">
                  <c:v>0.01153341959342527</c:v>
                </c:pt>
                <c:pt idx="33">
                  <c:v>0.01099133203198424</c:v>
                </c:pt>
                <c:pt idx="34">
                  <c:v>0.011627675944016376</c:v>
                </c:pt>
                <c:pt idx="35">
                  <c:v>0.010400254926768026</c:v>
                </c:pt>
                <c:pt idx="36">
                  <c:v>0.010207815098422321</c:v>
                </c:pt>
                <c:pt idx="37">
                  <c:v>0.01607364577311758</c:v>
                </c:pt>
                <c:pt idx="38">
                  <c:v>0.01607364577311758</c:v>
                </c:pt>
                <c:pt idx="39">
                  <c:v>0.010256709430474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951456310679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3</c:f>
              <c:numCache>
                <c:formatCode>General</c:formatCode>
                <c:ptCount val="52"/>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2877.4375</c:v>
                </c:pt>
                <c:pt idx="44">
                  <c:v>3572.25</c:v>
                </c:pt>
                <c:pt idx="45">
                  <c:v>3984.4118</c:v>
                </c:pt>
                <c:pt idx="46">
                  <c:v>3632.85</c:v>
                </c:pt>
                <c:pt idx="47">
                  <c:v>3861.4167</c:v>
                </c:pt>
                <c:pt idx="48">
                  <c:v>3404.6316</c:v>
                </c:pt>
                <c:pt idx="49">
                  <c:v>3679.4545</c:v>
                </c:pt>
                <c:pt idx="50">
                  <c:v>2940.1538</c:v>
                </c:pt>
                <c:pt idx="51">
                  <c:v>4631.4286</c:v>
                </c:pt>
              </c:numCache>
            </c:numRef>
          </c:xVal>
          <c:yVal>
            <c:numRef>
              <c:f>Sheet1!$B$2:$B$53</c:f>
              <c:numCache>
                <c:formatCode>General</c:formatCode>
                <c:ptCount val="52"/>
                <c:pt idx="0">
                  <c:v>0.0</c:v>
                </c:pt>
                <c:pt idx="1">
                  <c:v>0.0</c:v>
                </c:pt>
                <c:pt idx="2">
                  <c:v>0.0</c:v>
                </c:pt>
                <c:pt idx="3">
                  <c:v>0.0</c:v>
                </c:pt>
                <c:pt idx="4">
                  <c:v>0.0</c:v>
                </c:pt>
                <c:pt idx="5">
                  <c:v>0.0</c:v>
                </c:pt>
                <c:pt idx="6">
                  <c:v>0.0</c:v>
                </c:pt>
                <c:pt idx="7">
                  <c:v>0.0006724949562878278</c:v>
                </c:pt>
                <c:pt idx="8">
                  <c:v>0.0016155088852988692</c:v>
                </c:pt>
                <c:pt idx="9">
                  <c:v>0.0011507479861910242</c:v>
                </c:pt>
                <c:pt idx="10">
                  <c:v>0.0010438413361169101</c:v>
                </c:pt>
                <c:pt idx="11">
                  <c:v>0.001037344398340249</c:v>
                </c:pt>
                <c:pt idx="12">
                  <c:v>0.0019801980198019802</c:v>
                </c:pt>
                <c:pt idx="13">
                  <c:v>0.000970873786407767</c:v>
                </c:pt>
                <c:pt idx="14">
                  <c:v>0.0009746588693957114</c:v>
                </c:pt>
                <c:pt idx="15">
                  <c:v>0.0011111111111111111</c:v>
                </c:pt>
                <c:pt idx="16">
                  <c:v>0.004098360655737705</c:v>
                </c:pt>
                <c:pt idx="17">
                  <c:v>0.003289473684210526</c:v>
                </c:pt>
                <c:pt idx="18">
                  <c:v>0.0016611295681063123</c:v>
                </c:pt>
                <c:pt idx="19">
                  <c:v>0.0018115942028985507</c:v>
                </c:pt>
                <c:pt idx="20">
                  <c:v>0.004862236628849271</c:v>
                </c:pt>
                <c:pt idx="21">
                  <c:v>0.003401360544217687</c:v>
                </c:pt>
                <c:pt idx="22">
                  <c:v>0.005997001499250375</c:v>
                </c:pt>
                <c:pt idx="23">
                  <c:v>0.0034904013961605585</c:v>
                </c:pt>
                <c:pt idx="24">
                  <c:v>0.0038240917782026767</c:v>
                </c:pt>
                <c:pt idx="25">
                  <c:v>0.007936507936507936</c:v>
                </c:pt>
                <c:pt idx="26">
                  <c:v>0.014056224899598393</c:v>
                </c:pt>
                <c:pt idx="27">
                  <c:v>0.010752688172043012</c:v>
                </c:pt>
                <c:pt idx="28">
                  <c:v>0.007259528130671506</c:v>
                </c:pt>
                <c:pt idx="29">
                  <c:v>0.007194244604316547</c:v>
                </c:pt>
                <c:pt idx="30">
                  <c:v>0.0078125</c:v>
                </c:pt>
                <c:pt idx="31">
                  <c:v>0.0047169811320754715</c:v>
                </c:pt>
                <c:pt idx="32">
                  <c:v>0.007407407407407408</c:v>
                </c:pt>
                <c:pt idx="33">
                  <c:v>0.007561436672967864</c:v>
                </c:pt>
                <c:pt idx="34">
                  <c:v>0.007062146892655367</c:v>
                </c:pt>
                <c:pt idx="35">
                  <c:v>0.00625</c:v>
                </c:pt>
                <c:pt idx="36">
                  <c:v>0.009416195856873822</c:v>
                </c:pt>
                <c:pt idx="37">
                  <c:v>0.011337868480725623</c:v>
                </c:pt>
                <c:pt idx="38">
                  <c:v>0.01050420168067227</c:v>
                </c:pt>
                <c:pt idx="39">
                  <c:v>0.010080645161290322</c:v>
                </c:pt>
                <c:pt idx="40">
                  <c:v>0.007704160246533128</c:v>
                </c:pt>
                <c:pt idx="41">
                  <c:v>0.013513513513513514</c:v>
                </c:pt>
                <c:pt idx="42">
                  <c:v>0.012474012474012475</c:v>
                </c:pt>
                <c:pt idx="43">
                  <c:v>0.015194681861348529</c:v>
                </c:pt>
                <c:pt idx="44">
                  <c:v>0.013234077750206782</c:v>
                </c:pt>
                <c:pt idx="45">
                  <c:v>0.011295681063122924</c:v>
                </c:pt>
                <c:pt idx="46">
                  <c:v>0.010293360782295419</c:v>
                </c:pt>
                <c:pt idx="47">
                  <c:v>0.009836065573770493</c:v>
                </c:pt>
                <c:pt idx="48">
                  <c:v>0.01314878892733564</c:v>
                </c:pt>
                <c:pt idx="49">
                  <c:v>0.01065891472868217</c:v>
                </c:pt>
                <c:pt idx="50">
                  <c:v>0.010317460317460317</c:v>
                </c:pt>
                <c:pt idx="51">
                  <c:v>0.006635071090047393</c:v>
                </c:pt>
              </c:numCache>
            </c:numRef>
          </c:yVal>
          <c:smooth val="0"/>
          <c:extLst>
            <c:ext xmlns:c16="http://schemas.microsoft.com/office/drawing/2014/chart" uri="{C3380CC4-5D6E-409C-BE32-E72D297353CC}">
              <c16:uniqueId val="{00000000-F32D-48B7-BC20-E66FC6253BAD}"/>
            </c:ext>
          </c:extLst>
        </c:ser>
        <c:ser>
          <c:idx val="1"/>
          <c:order val="1"/>
          <c:tx>
            <c:strRef>
              <c:f>Sheet1!$B$5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6:$A$107</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6:$B$107</c:f>
              <c:numCache>
                <c:formatCode>General</c:formatCode>
                <c:ptCount val="52"/>
                <c:pt idx="0">
                  <c:v>0.010396975425330813</c:v>
                </c:pt>
                <c:pt idx="1">
                  <c:v>0.009345794392523364</c:v>
                </c:pt>
                <c:pt idx="2">
                  <c:v>0.008014247551202136</c:v>
                </c:pt>
                <c:pt idx="3">
                  <c:v>0.011131725417439703</c:v>
                </c:pt>
                <c:pt idx="4">
                  <c:v>0.009708737864077669</c:v>
                </c:pt>
                <c:pt idx="5">
                  <c:v>0.007407407407407408</c:v>
                </c:pt>
                <c:pt idx="6">
                  <c:v>0.008123476848090982</c:v>
                </c:pt>
                <c:pt idx="7">
                  <c:v>0.010604453870625663</c:v>
                </c:pt>
                <c:pt idx="8">
                  <c:v>0.011976047904191617</c:v>
                </c:pt>
                <c:pt idx="9">
                  <c:v>0.012594458438287154</c:v>
                </c:pt>
                <c:pt idx="10">
                  <c:v>0.015957446808510637</c:v>
                </c:pt>
                <c:pt idx="11">
                  <c:v>0.009984639016897081</c:v>
                </c:pt>
                <c:pt idx="12">
                  <c:v>0.013374485596707819</c:v>
                </c:pt>
                <c:pt idx="13">
                  <c:v>0.022031823745410038</c:v>
                </c:pt>
                <c:pt idx="14">
                  <c:v>0.021601016518424398</c:v>
                </c:pt>
                <c:pt idx="15">
                  <c:v>0.020348837209302327</c:v>
                </c:pt>
                <c:pt idx="16">
                  <c:v>0.016233766233766232</c:v>
                </c:pt>
                <c:pt idx="17">
                  <c:v>0.025078369905956112</c:v>
                </c:pt>
                <c:pt idx="18">
                  <c:v>0.010810810810810811</c:v>
                </c:pt>
                <c:pt idx="19">
                  <c:v>0.011784511784511785</c:v>
                </c:pt>
                <c:pt idx="20">
                  <c:v>0.014842300556586271</c:v>
                </c:pt>
                <c:pt idx="21">
                  <c:v>0.014314928425357873</c:v>
                </c:pt>
                <c:pt idx="22">
                  <c:v>0.011363636363636364</c:v>
                </c:pt>
                <c:pt idx="23">
                  <c:v>0.012396694214876033</c:v>
                </c:pt>
                <c:pt idx="24">
                  <c:v>0.010657193605683837</c:v>
                </c:pt>
                <c:pt idx="25">
                  <c:v>0.012280701754385965</c:v>
                </c:pt>
                <c:pt idx="26">
                  <c:v>0.016245487364620937</c:v>
                </c:pt>
                <c:pt idx="27">
                  <c:v>0.011532125205930808</c:v>
                </c:pt>
                <c:pt idx="28">
                  <c:v>0.010835913312693499</c:v>
                </c:pt>
                <c:pt idx="29">
                  <c:v>0.011472275334608031</c:v>
                </c:pt>
                <c:pt idx="30">
                  <c:v>0.012244897959183673</c:v>
                </c:pt>
                <c:pt idx="31">
                  <c:v>0.013215859030837005</c:v>
                </c:pt>
                <c:pt idx="32">
                  <c:v>0.011472275334608031</c:v>
                </c:pt>
                <c:pt idx="33">
                  <c:v>0.011299435028248588</c:v>
                </c:pt>
                <c:pt idx="34">
                  <c:v>0.01060070671378092</c:v>
                </c:pt>
                <c:pt idx="35">
                  <c:v>0.0128</c:v>
                </c:pt>
                <c:pt idx="36">
                  <c:v>0.016260162601626018</c:v>
                </c:pt>
                <c:pt idx="37">
                  <c:v>0.020737327188940093</c:v>
                </c:pt>
                <c:pt idx="38">
                  <c:v>0.02912621359223301</c:v>
                </c:pt>
                <c:pt idx="39">
                  <c:v>0.015503875968992248</c:v>
                </c:pt>
                <c:pt idx="40">
                  <c:v>0.01782178217821782</c:v>
                </c:pt>
                <c:pt idx="41">
                  <c:v>0.01615798922800718</c:v>
                </c:pt>
                <c:pt idx="42">
                  <c:v>0.011560693641618497</c:v>
                </c:pt>
                <c:pt idx="43">
                  <c:v>0.011851851851851851</c:v>
                </c:pt>
                <c:pt idx="44">
                  <c:v>0.00938337801608579</c:v>
                </c:pt>
                <c:pt idx="45">
                  <c:v>0.006603773584905661</c:v>
                </c:pt>
                <c:pt idx="46">
                  <c:v>0.00893743793445879</c:v>
                </c:pt>
                <c:pt idx="47">
                  <c:v>0.008093525179856115</c:v>
                </c:pt>
                <c:pt idx="48">
                  <c:v>0.008298755186721992</c:v>
                </c:pt>
                <c:pt idx="49">
                  <c:v>0.006373937677053824</c:v>
                </c:pt>
                <c:pt idx="50">
                  <c:v>0.004894762604013705</c:v>
                </c:pt>
                <c:pt idx="51">
                  <c:v>0.007855459544383346</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3661.550870012526</c:v>
                </c:pt>
              </c:numCache>
            </c:numRef>
          </c:xVal>
          <c:yVal>
            <c:numRef>
              <c:f>Sheet1!$B$110:$B$111</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661.550870012526</c:v>
                </c:pt>
                <c:pt idx="1">
                  <c:v>3661.550870012526</c:v>
                </c:pt>
              </c:numCache>
            </c:numRef>
          </c:xVal>
          <c:yVal>
            <c:numRef>
              <c:f>Sheet1!$B$114:$B$115</c:f>
              <c:numCache>
                <c:formatCode>General</c:formatCode>
                <c:ptCount val="2"/>
                <c:pt idx="0">
                  <c:v>0.016073645773117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3661.550870012526</c:v>
                </c:pt>
              </c:numCache>
            </c:numRef>
          </c:xVal>
          <c:yVal>
            <c:numRef>
              <c:f>Sheet1!$B$118:$B$119</c:f>
              <c:numCache>
                <c:formatCode>General</c:formatCode>
                <c:ptCount val="2"/>
                <c:pt idx="0">
                  <c:v>0.01607364577311758</c:v>
                </c:pt>
                <c:pt idx="1">
                  <c:v>0.01607364577311758</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3661.550870012526</c:v>
                </c:pt>
                <c:pt idx="1">
                  <c:v>3661.550870012526</c:v>
                </c:pt>
              </c:numCache>
            </c:numRef>
          </c:xVal>
          <c:yVal>
            <c:numRef>
              <c:f>Sheet1!$B$122:$B$123</c:f>
              <c:numCache>
                <c:formatCode>General</c:formatCode>
                <c:ptCount val="2"/>
                <c:pt idx="0">
                  <c:v>0.016073645773117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4639.698665781423</c:v>
                </c:pt>
              </c:numCache>
            </c:numRef>
          </c:xVal>
          <c:yVal>
            <c:numRef>
              <c:f>Sheet1!$B$126:$B$127</c:f>
              <c:numCache>
                <c:formatCode>General</c:formatCode>
                <c:ptCount val="2"/>
                <c:pt idx="0">
                  <c:v>0.01025670943047437</c:v>
                </c:pt>
                <c:pt idx="1">
                  <c:v>0.01025670943047437</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4639.698665781423</c:v>
                </c:pt>
                <c:pt idx="1">
                  <c:v>4639.698665781423</c:v>
                </c:pt>
              </c:numCache>
            </c:numRef>
          </c:xVal>
          <c:yVal>
            <c:numRef>
              <c:f>Sheet1!$B$130:$B$131</c:f>
              <c:numCache>
                <c:formatCode>General</c:formatCode>
                <c:ptCount val="2"/>
                <c:pt idx="0">
                  <c:v>0.010256709430474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88</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61.550870012526</c:v>
                </c:pt>
                <c:pt idx="53">
                  <c:v>3661.550870012526</c:v>
                </c:pt>
                <c:pt idx="54">
                  <c:v>4639.698665781423</c:v>
                </c:pt>
              </c:numCache>
            </c:numRef>
          </c:xVal>
          <c:yVal>
            <c:numRef>
              <c:f>Sheet1!$B$134:$B$188</c:f>
              <c:numCache>
                <c:formatCode>General</c:formatCode>
                <c:ptCount val="55"/>
                <c:pt idx="0">
                  <c:v>0.016520776120220383</c:v>
                </c:pt>
                <c:pt idx="1">
                  <c:v>0.010689701023877056</c:v>
                </c:pt>
                <c:pt idx="2">
                  <c:v>0.010683754134901993</c:v>
                </c:pt>
                <c:pt idx="3">
                  <c:v>0.01840661549190389</c:v>
                </c:pt>
                <c:pt idx="4">
                  <c:v>0.012828136288843182</c:v>
                </c:pt>
                <c:pt idx="5">
                  <c:v>0.007978745674125577</c:v>
                </c:pt>
                <c:pt idx="6">
                  <c:v>0.011404451068212373</c:v>
                </c:pt>
                <c:pt idx="7">
                  <c:v>0.013763581924621075</c:v>
                </c:pt>
                <c:pt idx="8">
                  <c:v>0.010819871881963379</c:v>
                </c:pt>
                <c:pt idx="9">
                  <c:v>0.014271446243091714</c:v>
                </c:pt>
                <c:pt idx="10">
                  <c:v>0.013969244970112475</c:v>
                </c:pt>
                <c:pt idx="11">
                  <c:v>0.01178830015337478</c:v>
                </c:pt>
                <c:pt idx="12">
                  <c:v>0.016446543483900226</c:v>
                </c:pt>
                <c:pt idx="13">
                  <c:v>0.01709450045002319</c:v>
                </c:pt>
                <c:pt idx="14">
                  <c:v>0.018341287132446097</c:v>
                </c:pt>
                <c:pt idx="15">
                  <c:v>0.01460124345967085</c:v>
                </c:pt>
                <c:pt idx="16">
                  <c:v>0.012800185910660372</c:v>
                </c:pt>
                <c:pt idx="17">
                  <c:v>0.02057053971770605</c:v>
                </c:pt>
                <c:pt idx="18">
                  <c:v>0.010194457193189302</c:v>
                </c:pt>
                <c:pt idx="19">
                  <c:v>0.009327202749221802</c:v>
                </c:pt>
                <c:pt idx="20">
                  <c:v>0.011274808888555931</c:v>
                </c:pt>
                <c:pt idx="21">
                  <c:v>0.011761179366203994</c:v>
                </c:pt>
                <c:pt idx="22">
                  <c:v>0.010902136981222162</c:v>
                </c:pt>
                <c:pt idx="23">
                  <c:v>0.013691227910528136</c:v>
                </c:pt>
                <c:pt idx="24">
                  <c:v>0.011552330572288647</c:v>
                </c:pt>
                <c:pt idx="25">
                  <c:v>0.013930094815922923</c:v>
                </c:pt>
                <c:pt idx="26">
                  <c:v>0.015424085347394763</c:v>
                </c:pt>
                <c:pt idx="27">
                  <c:v>0.0127449648837046</c:v>
                </c:pt>
                <c:pt idx="28">
                  <c:v>0.011296472810403201</c:v>
                </c:pt>
                <c:pt idx="29">
                  <c:v>0.009487768751548584</c:v>
                </c:pt>
                <c:pt idx="30">
                  <c:v>0.010668226213099197</c:v>
                </c:pt>
                <c:pt idx="31">
                  <c:v>0.010231129873431843</c:v>
                </c:pt>
                <c:pt idx="32">
                  <c:v>0.01275855768783491</c:v>
                </c:pt>
                <c:pt idx="33">
                  <c:v>0.009956086258335037</c:v>
                </c:pt>
                <c:pt idx="34">
                  <c:v>0.010739258233772978</c:v>
                </c:pt>
                <c:pt idx="35">
                  <c:v>0.010262351040550937</c:v>
                </c:pt>
                <c:pt idx="36">
                  <c:v>0.012694133255501328</c:v>
                </c:pt>
                <c:pt idx="37">
                  <c:v>0.015309112358773115</c:v>
                </c:pt>
                <c:pt idx="38">
                  <c:v>0.018807039151328704</c:v>
                </c:pt>
                <c:pt idx="39">
                  <c:v>0.01490389788558999</c:v>
                </c:pt>
                <c:pt idx="40">
                  <c:v>0.01668284371201337</c:v>
                </c:pt>
                <c:pt idx="41">
                  <c:v>0.016790548412929693</c:v>
                </c:pt>
                <c:pt idx="42">
                  <c:v>0.005053371674244703</c:v>
                </c:pt>
                <c:pt idx="43">
                  <c:v>0.008693115712255384</c:v>
                </c:pt>
                <c:pt idx="44">
                  <c:v>0.011558985141051747</c:v>
                </c:pt>
                <c:pt idx="45">
                  <c:v>0.008786885662925327</c:v>
                </c:pt>
                <c:pt idx="46">
                  <c:v>0.012081933743407644</c:v>
                </c:pt>
                <c:pt idx="47">
                  <c:v>0.01501441070748033</c:v>
                </c:pt>
                <c:pt idx="48">
                  <c:v>0.014864945762803304</c:v>
                </c:pt>
                <c:pt idx="49">
                  <c:v>0.010633536225640942</c:v>
                </c:pt>
                <c:pt idx="50">
                  <c:v>0.009595407441997283</c:v>
                </c:pt>
                <c:pt idx="51">
                  <c:v>0.012892957378671407</c:v>
                </c:pt>
                <c:pt idx="52">
                  <c:v>0.01607364577311758</c:v>
                </c:pt>
                <c:pt idx="53">
                  <c:v>0.01607364577311758</c:v>
                </c:pt>
                <c:pt idx="54">
                  <c:v>0.010256709430474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951456310679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93163694944303</c:v>
                </c:pt>
                <c:pt idx="1">
                  <c:v>0.47218034295288325</c:v>
                </c:pt>
                <c:pt idx="2">
                  <c:v>0.45544441220160936</c:v>
                </c:pt>
                <c:pt idx="3">
                  <c:v>0.48365113015384925</c:v>
                </c:pt>
                <c:pt idx="4">
                  <c:v>0.47813698079699757</c:v>
                </c:pt>
                <c:pt idx="5">
                  <c:v>0.5038296024698666</c:v>
                </c:pt>
                <c:pt idx="6">
                  <c:v>0.47963735794768575</c:v>
                </c:pt>
                <c:pt idx="7">
                  <c:v>0.48261960091533246</c:v>
                </c:pt>
                <c:pt idx="8">
                  <c:v>0.5100548144783882</c:v>
                </c:pt>
                <c:pt idx="9">
                  <c:v>0.5286170008061126</c:v>
                </c:pt>
                <c:pt idx="10">
                  <c:v>0.5149119231061435</c:v>
                </c:pt>
                <c:pt idx="11">
                  <c:v>0.5290938818366827</c:v>
                </c:pt>
                <c:pt idx="12">
                  <c:v>0.5281292189287935</c:v>
                </c:pt>
                <c:pt idx="13">
                  <c:v>0.5351085906374101</c:v>
                </c:pt>
                <c:pt idx="14">
                  <c:v>0.5131312242876173</c:v>
                </c:pt>
                <c:pt idx="15">
                  <c:v>0.509032316753933</c:v>
                </c:pt>
                <c:pt idx="16">
                  <c:v>0.5026549433724993</c:v>
                </c:pt>
                <c:pt idx="17">
                  <c:v>0.4746524549582566</c:v>
                </c:pt>
                <c:pt idx="18">
                  <c:v>0.5479536325892335</c:v>
                </c:pt>
                <c:pt idx="19">
                  <c:v>0.5438603824657716</c:v>
                </c:pt>
                <c:pt idx="20">
                  <c:v>0.5357770386489458</c:v>
                </c:pt>
                <c:pt idx="21">
                  <c:v>0.4613664232626061</c:v>
                </c:pt>
                <c:pt idx="22">
                  <c:v>0.44460622008332507</c:v>
                </c:pt>
                <c:pt idx="23">
                  <c:v>0.4269042117281237</c:v>
                </c:pt>
                <c:pt idx="24">
                  <c:v>0.4320065122520278</c:v>
                </c:pt>
                <c:pt idx="25">
                  <c:v>0.41946553381096746</c:v>
                </c:pt>
                <c:pt idx="26">
                  <c:v>0.41728930690156113</c:v>
                </c:pt>
                <c:pt idx="27">
                  <c:v>0.42897804223440106</c:v>
                </c:pt>
                <c:pt idx="28">
                  <c:v>0.4498673364170881</c:v>
                </c:pt>
                <c:pt idx="29">
                  <c:v>0.4205736318581015</c:v>
                </c:pt>
                <c:pt idx="30">
                  <c:v>0.3871524515474848</c:v>
                </c:pt>
                <c:pt idx="31">
                  <c:v>0.3860662881381575</c:v>
                </c:pt>
                <c:pt idx="32">
                  <c:v>0.4138665943819184</c:v>
                </c:pt>
                <c:pt idx="33">
                  <c:v>0.3764778459261318</c:v>
                </c:pt>
                <c:pt idx="34">
                  <c:v>0.44543008671019785</c:v>
                </c:pt>
                <c:pt idx="35">
                  <c:v>0.4613258477094842</c:v>
                </c:pt>
                <c:pt idx="36">
                  <c:v>0.44732141098692424</c:v>
                </c:pt>
                <c:pt idx="37">
                  <c:v>0.4442793506055729</c:v>
                </c:pt>
                <c:pt idx="38">
                  <c:v>0.42201689377167523</c:v>
                </c:pt>
                <c:pt idx="39">
                  <c:v>0.4748484848484848</c:v>
                </c:pt>
                <c:pt idx="40">
                  <c:v>0.4290483366388591</c:v>
                </c:pt>
                <c:pt idx="41">
                  <c:v>0.4064417542005764</c:v>
                </c:pt>
                <c:pt idx="42">
                  <c:v>0.3967168148696768</c:v>
                </c:pt>
                <c:pt idx="43">
                  <c:v>0.40682494855202483</c:v>
                </c:pt>
                <c:pt idx="44">
                  <c:v>0.4739337199817875</c:v>
                </c:pt>
                <c:pt idx="45">
                  <c:v>0.46819954006200293</c:v>
                </c:pt>
                <c:pt idx="46">
                  <c:v>0.4686572367089945</c:v>
                </c:pt>
                <c:pt idx="47">
                  <c:v>0.47832593800871687</c:v>
                </c:pt>
                <c:pt idx="48">
                  <c:v>0.4554755519249751</c:v>
                </c:pt>
                <c:pt idx="49">
                  <c:v>0.422499345269735</c:v>
                </c:pt>
                <c:pt idx="50">
                  <c:v>0.44602412474767594</c:v>
                </c:pt>
                <c:pt idx="51">
                  <c:v>0.4730454742013611</c:v>
                </c:pt>
                <c:pt idx="52">
                  <c:v>0.4352147698832313</c:v>
                </c:pt>
                <c:pt idx="53">
                  <c:v>0.4223432436922682</c:v>
                </c:pt>
                <c:pt idx="54">
                  <c:v>0.4062371101679522</c:v>
                </c:pt>
                <c:pt idx="55">
                  <c:v>0.4422173377890166</c:v>
                </c:pt>
                <c:pt idx="56">
                  <c:v>0.4388060199181931</c:v>
                </c:pt>
                <c:pt idx="57">
                  <c:v>0.42643780297958217</c:v>
                </c:pt>
                <c:pt idx="58">
                  <c:v>0.39883657437951364</c:v>
                </c:pt>
                <c:pt idx="59">
                  <c:v>0.3939165127346781</c:v>
                </c:pt>
                <c:pt idx="60">
                  <c:v>0.38878251897250155</c:v>
                </c:pt>
                <c:pt idx="61">
                  <c:v>0.4382433351730865</c:v>
                </c:pt>
                <c:pt idx="62">
                  <c:v>0.4644634101817358</c:v>
                </c:pt>
                <c:pt idx="63">
                  <c:v>0.480316836000496</c:v>
                </c:pt>
                <c:pt idx="64">
                  <c:v>0.4654605151184855</c:v>
                </c:pt>
                <c:pt idx="65">
                  <c:v>0.5030586584565211</c:v>
                </c:pt>
                <c:pt idx="66">
                  <c:v>0.5006598083042145</c:v>
                </c:pt>
                <c:pt idx="67">
                  <c:v>0.47733966403328565</c:v>
                </c:pt>
                <c:pt idx="68">
                  <c:v>0.45947631641329967</c:v>
                </c:pt>
                <c:pt idx="69">
                  <c:v>0.4051169711757913</c:v>
                </c:pt>
                <c:pt idx="70">
                  <c:v>0.44622690803667747</c:v>
                </c:pt>
                <c:pt idx="71">
                  <c:v>0.36888984079509274</c:v>
                </c:pt>
                <c:pt idx="72">
                  <c:v>0.49643929608235904</c:v>
                </c:pt>
                <c:pt idx="73">
                  <c:v>0.48144876247418733</c:v>
                </c:pt>
                <c:pt idx="74">
                  <c:v>0.4600994869046043</c:v>
                </c:pt>
                <c:pt idx="75">
                  <c:v>0.44795995507502157</c:v>
                </c:pt>
                <c:pt idx="76">
                  <c:v>0.44038791869075034</c:v>
                </c:pt>
                <c:pt idx="77">
                  <c:v>0.44047978815226774</c:v>
                </c:pt>
                <c:pt idx="78">
                  <c:v>0.44806331350174244</c:v>
                </c:pt>
                <c:pt idx="79">
                  <c:v>0.47759788635306505</c:v>
                </c:pt>
                <c:pt idx="80">
                  <c:v>0.5381968745157607</c:v>
                </c:pt>
                <c:pt idx="81">
                  <c:v>0.503673578680098</c:v>
                </c:pt>
                <c:pt idx="82">
                  <c:v>0.4991517444672996</c:v>
                </c:pt>
                <c:pt idx="83">
                  <c:v>0.5188969780956664</c:v>
                </c:pt>
                <c:pt idx="84">
                  <c:v>0.5342474618470796</c:v>
                </c:pt>
                <c:pt idx="85">
                  <c:v>0.48892511645760744</c:v>
                </c:pt>
                <c:pt idx="86">
                  <c:v>0.4641399402518617</c:v>
                </c:pt>
                <c:pt idx="87">
                  <c:v>0.4595308701964203</c:v>
                </c:pt>
                <c:pt idx="88">
                  <c:v>0.47895752607621445</c:v>
                </c:pt>
                <c:pt idx="89">
                  <c:v>0.46844117739076735</c:v>
                </c:pt>
                <c:pt idx="90">
                  <c:v>0.4605379491876502</c:v>
                </c:pt>
                <c:pt idx="91">
                  <c:v>0.48019342180655883</c:v>
                </c:pt>
                <c:pt idx="92">
                  <c:v>0.45989808099212753</c:v>
                </c:pt>
                <c:pt idx="93">
                  <c:v>0.46059049332353613</c:v>
                </c:pt>
                <c:pt idx="94">
                  <c:v>0.43685815305678954</c:v>
                </c:pt>
                <c:pt idx="95">
                  <c:v>0.4179362532077689</c:v>
                </c:pt>
                <c:pt idx="96">
                  <c:v>0.3696796635761963</c:v>
                </c:pt>
                <c:pt idx="97">
                  <c:v>0.4961583499802624</c:v>
                </c:pt>
                <c:pt idx="98">
                  <c:v>0.48422271683908846</c:v>
                </c:pt>
                <c:pt idx="99">
                  <c:v>0.4912749991104521</c:v>
                </c:pt>
                <c:pt idx="100">
                  <c:v>0.4854907604326334</c:v>
                </c:pt>
                <c:pt idx="101">
                  <c:v>0.4784297469310881</c:v>
                </c:pt>
                <c:pt idx="102">
                  <c:v>0.48711961028932443</c:v>
                </c:pt>
                <c:pt idx="103">
                  <c:v>0.48651743959297694</c:v>
                </c:pt>
                <c:pt idx="104">
                  <c:v>0.4771681335812595</c:v>
                </c:pt>
              </c:numCache>
            </c:numRef>
          </c:xVal>
          <c:yVal>
            <c:numRef>
              <c:f>Sheet1!$B$2:$B$106</c:f>
              <c:numCache>
                <c:formatCode>General</c:formatCode>
                <c:ptCount val="105"/>
                <c:pt idx="0">
                  <c:v>0.17990654205607476</c:v>
                </c:pt>
                <c:pt idx="1">
                  <c:v>0.25696594427244585</c:v>
                </c:pt>
                <c:pt idx="2">
                  <c:v>0.26865671641791045</c:v>
                </c:pt>
                <c:pt idx="3">
                  <c:v>0.20604395604395603</c:v>
                </c:pt>
                <c:pt idx="4">
                  <c:v>0.1956521739130435</c:v>
                </c:pt>
                <c:pt idx="5">
                  <c:v>0.1810344827586207</c:v>
                </c:pt>
                <c:pt idx="6">
                  <c:v>0.19937694704049844</c:v>
                </c:pt>
                <c:pt idx="7">
                  <c:v>0.25461254612546125</c:v>
                </c:pt>
                <c:pt idx="8">
                  <c:v>0.24727272727272728</c:v>
                </c:pt>
                <c:pt idx="9">
                  <c:v>0.21727748691099477</c:v>
                </c:pt>
                <c:pt idx="10">
                  <c:v>0.2154255319148936</c:v>
                </c:pt>
                <c:pt idx="11">
                  <c:v>0.24444444444444444</c:v>
                </c:pt>
                <c:pt idx="12">
                  <c:v>0.25</c:v>
                </c:pt>
                <c:pt idx="13">
                  <c:v>0.23809523809523808</c:v>
                </c:pt>
                <c:pt idx="14">
                  <c:v>0.26136363636363635</c:v>
                </c:pt>
                <c:pt idx="15">
                  <c:v>0.21693121693121692</c:v>
                </c:pt>
                <c:pt idx="16">
                  <c:v>0.16519174041297935</c:v>
                </c:pt>
                <c:pt idx="17">
                  <c:v>0.18495297805642633</c:v>
                </c:pt>
                <c:pt idx="18">
                  <c:v>0.17770034843205576</c:v>
                </c:pt>
                <c:pt idx="19">
                  <c:v>0.14342629482071714</c:v>
                </c:pt>
                <c:pt idx="20">
                  <c:v>0.17647058823529413</c:v>
                </c:pt>
                <c:pt idx="21">
                  <c:v>0.1782178217821782</c:v>
                </c:pt>
                <c:pt idx="22">
                  <c:v>0.1782178217821782</c:v>
                </c:pt>
                <c:pt idx="23">
                  <c:v>0.18446601941747573</c:v>
                </c:pt>
                <c:pt idx="24">
                  <c:v>0.17716535433070865</c:v>
                </c:pt>
                <c:pt idx="25">
                  <c:v>0.17733990147783252</c:v>
                </c:pt>
                <c:pt idx="26">
                  <c:v>0.14883720930232558</c:v>
                </c:pt>
                <c:pt idx="27">
                  <c:v>0.11065573770491803</c:v>
                </c:pt>
                <c:pt idx="28">
                  <c:v>0.1542056074766355</c:v>
                </c:pt>
                <c:pt idx="29">
                  <c:v>0.136</c:v>
                </c:pt>
                <c:pt idx="30">
                  <c:v>0.13725490196078433</c:v>
                </c:pt>
                <c:pt idx="31">
                  <c:v>0.14691943127962084</c:v>
                </c:pt>
                <c:pt idx="32">
                  <c:v>0.14009661835748793</c:v>
                </c:pt>
                <c:pt idx="33">
                  <c:v>0.1700404858299595</c:v>
                </c:pt>
                <c:pt idx="34">
                  <c:v>0.12871287128712872</c:v>
                </c:pt>
                <c:pt idx="35">
                  <c:v>0.15806451612903225</c:v>
                </c:pt>
                <c:pt idx="36">
                  <c:v>0.19591836734693877</c:v>
                </c:pt>
                <c:pt idx="37">
                  <c:v>0.125</c:v>
                </c:pt>
                <c:pt idx="38">
                  <c:v>0.2052401746724891</c:v>
                </c:pt>
                <c:pt idx="39">
                  <c:v>0.11848341232227488</c:v>
                </c:pt>
                <c:pt idx="40">
                  <c:v>0.14855072463768115</c:v>
                </c:pt>
                <c:pt idx="41">
                  <c:v>0.15151515151515152</c:v>
                </c:pt>
                <c:pt idx="42">
                  <c:v>0.16013071895424835</c:v>
                </c:pt>
                <c:pt idx="43">
                  <c:v>0.17681159420289855</c:v>
                </c:pt>
                <c:pt idx="44">
                  <c:v>0.13580246913580246</c:v>
                </c:pt>
                <c:pt idx="45">
                  <c:v>0.17102966841186737</c:v>
                </c:pt>
                <c:pt idx="46">
                  <c:v>0.17889908256880735</c:v>
                </c:pt>
                <c:pt idx="47">
                  <c:v>0.2016949152542373</c:v>
                </c:pt>
                <c:pt idx="48">
                  <c:v>0.2020997375328084</c:v>
                </c:pt>
                <c:pt idx="49">
                  <c:v>0.24036697247706423</c:v>
                </c:pt>
                <c:pt idx="50">
                  <c:v>0.21011058451816747</c:v>
                </c:pt>
                <c:pt idx="51">
                  <c:v>0.20970873786407768</c:v>
                </c:pt>
                <c:pt idx="52">
                  <c:v>0.21643286573146292</c:v>
                </c:pt>
                <c:pt idx="53">
                  <c:v>0.1769041769041769</c:v>
                </c:pt>
                <c:pt idx="54">
                  <c:v>0.1868421052631579</c:v>
                </c:pt>
                <c:pt idx="55">
                  <c:v>0.18734177215189873</c:v>
                </c:pt>
                <c:pt idx="56">
                  <c:v>0.18010752688172044</c:v>
                </c:pt>
                <c:pt idx="57">
                  <c:v>0.16981132075471697</c:v>
                </c:pt>
                <c:pt idx="58">
                  <c:v>0.18126272912423624</c:v>
                </c:pt>
                <c:pt idx="59">
                  <c:v>0.1621129326047359</c:v>
                </c:pt>
                <c:pt idx="60">
                  <c:v>0.1807465618860511</c:v>
                </c:pt>
                <c:pt idx="61">
                  <c:v>0.18032786885245902</c:v>
                </c:pt>
                <c:pt idx="62">
                  <c:v>0.18290258449304175</c:v>
                </c:pt>
                <c:pt idx="63">
                  <c:v>0.19922630560928434</c:v>
                </c:pt>
                <c:pt idx="64">
                  <c:v>0.1580952380952381</c:v>
                </c:pt>
                <c:pt idx="65">
                  <c:v>0.17291666666666666</c:v>
                </c:pt>
                <c:pt idx="66">
                  <c:v>0.13813229571984437</c:v>
                </c:pt>
                <c:pt idx="67">
                  <c:v>0.14435146443514643</c:v>
                </c:pt>
                <c:pt idx="68">
                  <c:v>0.15584415584415584</c:v>
                </c:pt>
                <c:pt idx="69">
                  <c:v>0.13924050632911392</c:v>
                </c:pt>
                <c:pt idx="70">
                  <c:v>0.136986301369863</c:v>
                </c:pt>
                <c:pt idx="71">
                  <c:v>0.13991769547325103</c:v>
                </c:pt>
                <c:pt idx="72">
                  <c:v>0.11594202898550725</c:v>
                </c:pt>
                <c:pt idx="73">
                  <c:v>0.1228813559322034</c:v>
                </c:pt>
                <c:pt idx="74">
                  <c:v>0.13127413127413126</c:v>
                </c:pt>
                <c:pt idx="75">
                  <c:v>0.12727272727272726</c:v>
                </c:pt>
                <c:pt idx="76">
                  <c:v>0.11650485436893204</c:v>
                </c:pt>
                <c:pt idx="77">
                  <c:v>0.12135922330097088</c:v>
                </c:pt>
                <c:pt idx="78">
                  <c:v>0.1443850267379679</c:v>
                </c:pt>
                <c:pt idx="79">
                  <c:v>0.12601626016260162</c:v>
                </c:pt>
                <c:pt idx="80">
                  <c:v>0.09734513274336283</c:v>
                </c:pt>
                <c:pt idx="81">
                  <c:v>0.09965635738831616</c:v>
                </c:pt>
                <c:pt idx="82">
                  <c:v>0.09259259259259259</c:v>
                </c:pt>
                <c:pt idx="83">
                  <c:v>0.08333333333333333</c:v>
                </c:pt>
                <c:pt idx="84">
                  <c:v>0.07792207792207792</c:v>
                </c:pt>
                <c:pt idx="85">
                  <c:v>0.10952380952380952</c:v>
                </c:pt>
                <c:pt idx="86">
                  <c:v>0.11888111888111888</c:v>
                </c:pt>
                <c:pt idx="87">
                  <c:v>0.11371237458193979</c:v>
                </c:pt>
                <c:pt idx="88">
                  <c:v>0.10837438423645321</c:v>
                </c:pt>
                <c:pt idx="89">
                  <c:v>0.10596026490066225</c:v>
                </c:pt>
                <c:pt idx="90">
                  <c:v>0.10625</c:v>
                </c:pt>
                <c:pt idx="91">
                  <c:v>0.12568306010928962</c:v>
                </c:pt>
                <c:pt idx="92">
                  <c:v>0.10434782608695652</c:v>
                </c:pt>
                <c:pt idx="93">
                  <c:v>0.1152073732718894</c:v>
                </c:pt>
                <c:pt idx="94">
                  <c:v>0.1488095238095238</c:v>
                </c:pt>
                <c:pt idx="95">
                  <c:v>0.1289198606271777</c:v>
                </c:pt>
                <c:pt idx="96">
                  <c:v>0.15012722646310434</c:v>
                </c:pt>
                <c:pt idx="97">
                  <c:v>0.1493212669683258</c:v>
                </c:pt>
                <c:pt idx="98">
                  <c:v>0.12121212121212122</c:v>
                </c:pt>
                <c:pt idx="99">
                  <c:v>0.12462462462462462</c:v>
                </c:pt>
                <c:pt idx="100">
                  <c:v>0.14144736842105263</c:v>
                </c:pt>
                <c:pt idx="101">
                  <c:v>0.1618705035971223</c:v>
                </c:pt>
                <c:pt idx="102">
                  <c:v>0.13068181818181818</c:v>
                </c:pt>
                <c:pt idx="103">
                  <c:v>0.1314655172413793</c:v>
                </c:pt>
                <c:pt idx="104">
                  <c:v>0.1114058355437665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524146724689657</c:v>
                </c:pt>
                <c:pt idx="1">
                  <c:v>0.4272240657985881</c:v>
                </c:pt>
                <c:pt idx="2">
                  <c:v>0.4454617333164127</c:v>
                </c:pt>
                <c:pt idx="3">
                  <c:v>0.4343952428088623</c:v>
                </c:pt>
                <c:pt idx="4">
                  <c:v>0.4444130768735902</c:v>
                </c:pt>
                <c:pt idx="5">
                  <c:v>0.4522092430023276</c:v>
                </c:pt>
                <c:pt idx="6">
                  <c:v>0.46029929235278777</c:v>
                </c:pt>
                <c:pt idx="7">
                  <c:v>0.46874308407266585</c:v>
                </c:pt>
                <c:pt idx="8">
                  <c:v>0.4862430000697369</c:v>
                </c:pt>
                <c:pt idx="9">
                  <c:v>0.4879038936663019</c:v>
                </c:pt>
                <c:pt idx="10">
                  <c:v>0.4793280330122486</c:v>
                </c:pt>
                <c:pt idx="11">
                  <c:v>0.49553513542278743</c:v>
                </c:pt>
                <c:pt idx="12">
                  <c:v>0.49193791195240266</c:v>
                </c:pt>
                <c:pt idx="13">
                  <c:v>0.453941157777087</c:v>
                </c:pt>
                <c:pt idx="14">
                  <c:v>0.45276174584650036</c:v>
                </c:pt>
                <c:pt idx="15">
                  <c:v>0.47823592477322074</c:v>
                </c:pt>
                <c:pt idx="16">
                  <c:v>0.4848824328494444</c:v>
                </c:pt>
                <c:pt idx="17">
                  <c:v>0.5113216667969567</c:v>
                </c:pt>
                <c:pt idx="18">
                  <c:v>0.42095021089799056</c:v>
                </c:pt>
                <c:pt idx="19">
                  <c:v>0.44919547605124693</c:v>
                </c:pt>
                <c:pt idx="20">
                  <c:v>0.44870626044952155</c:v>
                </c:pt>
                <c:pt idx="21">
                  <c:v>0.436620296583652</c:v>
                </c:pt>
                <c:pt idx="22">
                  <c:v>0.4678455527418694</c:v>
                </c:pt>
                <c:pt idx="23">
                  <c:v>0.4590989492300027</c:v>
                </c:pt>
                <c:pt idx="24">
                  <c:v>0.4437570417524515</c:v>
                </c:pt>
                <c:pt idx="25">
                  <c:v>0.3815153739211438</c:v>
                </c:pt>
                <c:pt idx="26">
                  <c:v>0.5202365954724654</c:v>
                </c:pt>
                <c:pt idx="27">
                  <c:v>0.4982575097185274</c:v>
                </c:pt>
                <c:pt idx="28">
                  <c:v>0.5067017309981886</c:v>
                </c:pt>
                <c:pt idx="29">
                  <c:v>0.5046512706991061</c:v>
                </c:pt>
                <c:pt idx="30">
                  <c:v>0.47949469076375284</c:v>
                </c:pt>
                <c:pt idx="31">
                  <c:v>0.5109682878273311</c:v>
                </c:pt>
                <c:pt idx="32">
                  <c:v>0.5113383158339827</c:v>
                </c:pt>
                <c:pt idx="33">
                  <c:v>0.5146040565064585</c:v>
                </c:pt>
                <c:pt idx="34">
                  <c:v>0.4915144967136201</c:v>
                </c:pt>
                <c:pt idx="35">
                  <c:v>0.4868518376820466</c:v>
                </c:pt>
                <c:pt idx="36">
                  <c:v>0.45342303611650153</c:v>
                </c:pt>
                <c:pt idx="37">
                  <c:v>0.42576526326148856</c:v>
                </c:pt>
                <c:pt idx="38">
                  <c:v>0.44756638405840576</c:v>
                </c:pt>
                <c:pt idx="39">
                  <c:v>0.444198528818561</c:v>
                </c:pt>
                <c:pt idx="40">
                  <c:v>0.49889361784186953</c:v>
                </c:pt>
                <c:pt idx="41">
                  <c:v>0.4957308770195782</c:v>
                </c:pt>
                <c:pt idx="42">
                  <c:v>0.49392944772897074</c:v>
                </c:pt>
                <c:pt idx="43">
                  <c:v>0.5029013773100685</c:v>
                </c:pt>
                <c:pt idx="44">
                  <c:v>0.5383245607807111</c:v>
                </c:pt>
                <c:pt idx="45">
                  <c:v>0.5370555919631937</c:v>
                </c:pt>
                <c:pt idx="46">
                  <c:v>0.5331954273126992</c:v>
                </c:pt>
                <c:pt idx="47">
                  <c:v>0.5336543390749285</c:v>
                </c:pt>
                <c:pt idx="48">
                  <c:v>0.5601648077778334</c:v>
                </c:pt>
                <c:pt idx="49">
                  <c:v>0.5801740806375285</c:v>
                </c:pt>
                <c:pt idx="50">
                  <c:v>0.573506722743505</c:v>
                </c:pt>
                <c:pt idx="51">
                  <c:v>0.5739174839190008</c:v>
                </c:pt>
              </c:numCache>
            </c:numRef>
          </c:xVal>
          <c:yVal>
            <c:numRef>
              <c:f>Sheet1!$B$109:$B$160</c:f>
              <c:numCache>
                <c:formatCode>General</c:formatCode>
                <c:ptCount val="52"/>
                <c:pt idx="0">
                  <c:v>0.12028301886792453</c:v>
                </c:pt>
                <c:pt idx="1">
                  <c:v>0.14647887323943662</c:v>
                </c:pt>
                <c:pt idx="2">
                  <c:v>0.12903225806451613</c:v>
                </c:pt>
                <c:pt idx="3">
                  <c:v>0.13924050632911392</c:v>
                </c:pt>
                <c:pt idx="4">
                  <c:v>0.14868804664723032</c:v>
                </c:pt>
                <c:pt idx="5">
                  <c:v>0.14713896457765668</c:v>
                </c:pt>
                <c:pt idx="6">
                  <c:v>0.14769975786924938</c:v>
                </c:pt>
                <c:pt idx="7">
                  <c:v>0.13583815028901733</c:v>
                </c:pt>
                <c:pt idx="8">
                  <c:v>0.13804713804713806</c:v>
                </c:pt>
                <c:pt idx="9">
                  <c:v>0.14497041420118342</c:v>
                </c:pt>
                <c:pt idx="10">
                  <c:v>0.17732558139534885</c:v>
                </c:pt>
                <c:pt idx="11">
                  <c:v>0.21774193548387097</c:v>
                </c:pt>
                <c:pt idx="12">
                  <c:v>0.2035623409669211</c:v>
                </c:pt>
                <c:pt idx="13">
                  <c:v>0.21574344023323616</c:v>
                </c:pt>
                <c:pt idx="14">
                  <c:v>0.2125</c:v>
                </c:pt>
                <c:pt idx="15">
                  <c:v>0.1992619926199262</c:v>
                </c:pt>
                <c:pt idx="16">
                  <c:v>0.15865384615384615</c:v>
                </c:pt>
                <c:pt idx="17">
                  <c:v>0.13636363636363635</c:v>
                </c:pt>
                <c:pt idx="18">
                  <c:v>0.17209302325581396</c:v>
                </c:pt>
                <c:pt idx="19">
                  <c:v>0.16</c:v>
                </c:pt>
                <c:pt idx="20">
                  <c:v>0.15920398009950248</c:v>
                </c:pt>
                <c:pt idx="21">
                  <c:v>0.13609467455621302</c:v>
                </c:pt>
                <c:pt idx="22">
                  <c:v>0.14942528735632185</c:v>
                </c:pt>
                <c:pt idx="23">
                  <c:v>0.13953488372093023</c:v>
                </c:pt>
                <c:pt idx="24">
                  <c:v>0.15048543689320387</c:v>
                </c:pt>
                <c:pt idx="25">
                  <c:v>0.1836734693877551</c:v>
                </c:pt>
                <c:pt idx="26">
                  <c:v>0.12365591397849462</c:v>
                </c:pt>
                <c:pt idx="27">
                  <c:v>0.12334801762114538</c:v>
                </c:pt>
                <c:pt idx="28">
                  <c:v>0.10550458715596331</c:v>
                </c:pt>
                <c:pt idx="29">
                  <c:v>0.10215053763440861</c:v>
                </c:pt>
                <c:pt idx="30">
                  <c:v>0.14383561643835616</c:v>
                </c:pt>
                <c:pt idx="31">
                  <c:v>0.0958904109589041</c:v>
                </c:pt>
                <c:pt idx="32">
                  <c:v>0.09340659340659341</c:v>
                </c:pt>
                <c:pt idx="33">
                  <c:v>0.11494252873563218</c:v>
                </c:pt>
                <c:pt idx="34">
                  <c:v>0.14666666666666667</c:v>
                </c:pt>
                <c:pt idx="35">
                  <c:v>0.11467889908256881</c:v>
                </c:pt>
                <c:pt idx="36">
                  <c:v>0.12389380530973451</c:v>
                </c:pt>
                <c:pt idx="37">
                  <c:v>0.1417910447761194</c:v>
                </c:pt>
                <c:pt idx="38">
                  <c:v>0.11486486486486487</c:v>
                </c:pt>
                <c:pt idx="39">
                  <c:v>0.14893617021276595</c:v>
                </c:pt>
                <c:pt idx="40">
                  <c:v>0.1340782122905028</c:v>
                </c:pt>
                <c:pt idx="41">
                  <c:v>0.11616161616161616</c:v>
                </c:pt>
                <c:pt idx="42">
                  <c:v>0.11891891891891893</c:v>
                </c:pt>
                <c:pt idx="43">
                  <c:v>0.12927756653992395</c:v>
                </c:pt>
                <c:pt idx="44">
                  <c:v>0.12025316455696203</c:v>
                </c:pt>
                <c:pt idx="45">
                  <c:v>0.12850467289719625</c:v>
                </c:pt>
                <c:pt idx="46">
                  <c:v>0.12686567164179105</c:v>
                </c:pt>
                <c:pt idx="47">
                  <c:v>0.14095744680851063</c:v>
                </c:pt>
                <c:pt idx="48">
                  <c:v>0.13211845102505695</c:v>
                </c:pt>
                <c:pt idx="49">
                  <c:v>0.13508771929824562</c:v>
                </c:pt>
                <c:pt idx="50">
                  <c:v>0.12302070645554203</c:v>
                </c:pt>
                <c:pt idx="51">
                  <c:v>0.161654135338345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446780412913711</c:v>
                </c:pt>
              </c:numCache>
            </c:numRef>
          </c:xVal>
          <c:yVal>
            <c:numRef>
              <c:f>Sheet1!$B$163:$B$164</c:f>
              <c:numCache>
                <c:formatCode>General</c:formatCode>
                <c:ptCount val="2"/>
                <c:pt idx="0">
                  <c:v>0.2210580039889709</c:v>
                </c:pt>
                <c:pt idx="1">
                  <c:v>0.22105800398897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446780412913711</c:v>
                </c:pt>
                <c:pt idx="1">
                  <c:v>0.13446780412913711</c:v>
                </c:pt>
              </c:numCache>
            </c:numRef>
          </c:xVal>
          <c:yVal>
            <c:numRef>
              <c:f>Sheet1!$B$167:$B$168</c:f>
              <c:numCache>
                <c:formatCode>General</c:formatCode>
                <c:ptCount val="2"/>
                <c:pt idx="0">
                  <c:v>0.22105800398897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3649299055436</c:v>
                </c:pt>
              </c:numCache>
            </c:numRef>
          </c:xVal>
          <c:yVal>
            <c:numRef>
              <c:f>Sheet1!$B$171:$B$172</c:f>
              <c:numCache>
                <c:formatCode>General</c:formatCode>
                <c:ptCount val="2"/>
                <c:pt idx="0">
                  <c:v>0.17642422040996145</c:v>
                </c:pt>
                <c:pt idx="1">
                  <c:v>0.176424220409961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3649299055436</c:v>
                </c:pt>
                <c:pt idx="1">
                  <c:v>0.333649299055436</c:v>
                </c:pt>
              </c:numCache>
            </c:numRef>
          </c:xVal>
          <c:yVal>
            <c:numRef>
              <c:f>Sheet1!$B$175:$B$176</c:f>
              <c:numCache>
                <c:formatCode>General</c:formatCode>
                <c:ptCount val="2"/>
                <c:pt idx="0">
                  <c:v>0.176424220409961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319524315555652</c:v>
                </c:pt>
              </c:numCache>
            </c:numRef>
          </c:xVal>
          <c:yVal>
            <c:numRef>
              <c:f>Sheet1!$B$179:$B$180</c:f>
              <c:numCache>
                <c:formatCode>General</c:formatCode>
                <c:ptCount val="2"/>
                <c:pt idx="0">
                  <c:v>0.13198726554964446</c:v>
                </c:pt>
                <c:pt idx="1">
                  <c:v>0.131987265549644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319524315555652</c:v>
                </c:pt>
                <c:pt idx="1">
                  <c:v>0.5319524315555652</c:v>
                </c:pt>
              </c:numCache>
            </c:numRef>
          </c:xVal>
          <c:yVal>
            <c:numRef>
              <c:f>Sheet1!$B$183:$B$184</c:f>
              <c:numCache>
                <c:formatCode>General</c:formatCode>
                <c:ptCount val="2"/>
                <c:pt idx="0">
                  <c:v>0.131987265549644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524146724689657</c:v>
                </c:pt>
                <c:pt idx="1">
                  <c:v>0.4272240657985881</c:v>
                </c:pt>
                <c:pt idx="2">
                  <c:v>0.4454617333164127</c:v>
                </c:pt>
                <c:pt idx="3">
                  <c:v>0.4343952428088623</c:v>
                </c:pt>
                <c:pt idx="4">
                  <c:v>0.4444130768735902</c:v>
                </c:pt>
                <c:pt idx="5">
                  <c:v>0.4522092430023276</c:v>
                </c:pt>
                <c:pt idx="6">
                  <c:v>0.46029929235278777</c:v>
                </c:pt>
                <c:pt idx="7">
                  <c:v>0.46874308407266585</c:v>
                </c:pt>
                <c:pt idx="8">
                  <c:v>0.4862430000697369</c:v>
                </c:pt>
                <c:pt idx="9">
                  <c:v>0.4879038936663019</c:v>
                </c:pt>
                <c:pt idx="10">
                  <c:v>0.4793280330122486</c:v>
                </c:pt>
                <c:pt idx="11">
                  <c:v>0.49553513542278743</c:v>
                </c:pt>
                <c:pt idx="12">
                  <c:v>0.49193791195240266</c:v>
                </c:pt>
                <c:pt idx="13">
                  <c:v>0.453941157777087</c:v>
                </c:pt>
                <c:pt idx="14">
                  <c:v>0.45276174584650036</c:v>
                </c:pt>
                <c:pt idx="15">
                  <c:v>0.47823592477322074</c:v>
                </c:pt>
                <c:pt idx="16">
                  <c:v>0.4848824328494444</c:v>
                </c:pt>
                <c:pt idx="17">
                  <c:v>0.5113216667969567</c:v>
                </c:pt>
                <c:pt idx="18">
                  <c:v>0.42095021089799056</c:v>
                </c:pt>
                <c:pt idx="19">
                  <c:v>0.44919547605124693</c:v>
                </c:pt>
                <c:pt idx="20">
                  <c:v>0.44870626044952155</c:v>
                </c:pt>
                <c:pt idx="21">
                  <c:v>0.436620296583652</c:v>
                </c:pt>
                <c:pt idx="22">
                  <c:v>0.4678455527418694</c:v>
                </c:pt>
                <c:pt idx="23">
                  <c:v>0.4590989492300027</c:v>
                </c:pt>
                <c:pt idx="24">
                  <c:v>0.4437570417524515</c:v>
                </c:pt>
                <c:pt idx="25">
                  <c:v>0.3815153739211438</c:v>
                </c:pt>
                <c:pt idx="26">
                  <c:v>0.5202365954724654</c:v>
                </c:pt>
                <c:pt idx="27">
                  <c:v>0.4982575097185274</c:v>
                </c:pt>
                <c:pt idx="28">
                  <c:v>0.5067017309981886</c:v>
                </c:pt>
                <c:pt idx="29">
                  <c:v>0.5046512706991061</c:v>
                </c:pt>
                <c:pt idx="30">
                  <c:v>0.47949469076375284</c:v>
                </c:pt>
                <c:pt idx="31">
                  <c:v>0.5109682878273311</c:v>
                </c:pt>
                <c:pt idx="32">
                  <c:v>0.5113383158339827</c:v>
                </c:pt>
                <c:pt idx="33">
                  <c:v>0.5146040565064585</c:v>
                </c:pt>
                <c:pt idx="34">
                  <c:v>0.4915144967136201</c:v>
                </c:pt>
                <c:pt idx="35">
                  <c:v>0.4868518376820466</c:v>
                </c:pt>
                <c:pt idx="36">
                  <c:v>0.45342303611650153</c:v>
                </c:pt>
                <c:pt idx="37">
                  <c:v>0.42576526326148856</c:v>
                </c:pt>
                <c:pt idx="38">
                  <c:v>0.44756638405840576</c:v>
                </c:pt>
                <c:pt idx="39">
                  <c:v>0.444198528818561</c:v>
                </c:pt>
                <c:pt idx="40">
                  <c:v>0.49889361784186953</c:v>
                </c:pt>
                <c:pt idx="41">
                  <c:v>0.4957308770195782</c:v>
                </c:pt>
                <c:pt idx="42">
                  <c:v>0.49392944772897074</c:v>
                </c:pt>
                <c:pt idx="43">
                  <c:v>0.5029013773100685</c:v>
                </c:pt>
                <c:pt idx="44">
                  <c:v>0.5383245607807111</c:v>
                </c:pt>
                <c:pt idx="45">
                  <c:v>0.5370555919631937</c:v>
                </c:pt>
                <c:pt idx="46">
                  <c:v>0.5331954273126992</c:v>
                </c:pt>
                <c:pt idx="47">
                  <c:v>0.5336543390749285</c:v>
                </c:pt>
                <c:pt idx="48">
                  <c:v>0.5601648077778334</c:v>
                </c:pt>
                <c:pt idx="49">
                  <c:v>0.5801740806375285</c:v>
                </c:pt>
                <c:pt idx="50">
                  <c:v>0.573506722743505</c:v>
                </c:pt>
                <c:pt idx="51">
                  <c:v>0.5739174839190008</c:v>
                </c:pt>
                <c:pt idx="52">
                  <c:v>0.333649299055436</c:v>
                </c:pt>
                <c:pt idx="53">
                  <c:v>0.13446780412913711</c:v>
                </c:pt>
                <c:pt idx="54">
                  <c:v>0.5319524315555652</c:v>
                </c:pt>
              </c:numCache>
            </c:numRef>
          </c:xVal>
          <c:yVal>
            <c:numRef>
              <c:f>Sheet1!$B$187:$B$241</c:f>
              <c:numCache>
                <c:formatCode>General</c:formatCode>
                <c:ptCount val="55"/>
                <c:pt idx="0">
                  <c:v>0.1491771183537774</c:v>
                </c:pt>
                <c:pt idx="1">
                  <c:v>0.15545542564910492</c:v>
                </c:pt>
                <c:pt idx="2">
                  <c:v>0.15136861976747565</c:v>
                </c:pt>
                <c:pt idx="3">
                  <c:v>0.15384846530973312</c:v>
                </c:pt>
                <c:pt idx="4">
                  <c:v>0.15160360899042025</c:v>
                </c:pt>
                <c:pt idx="5">
                  <c:v>0.14985659734225068</c:v>
                </c:pt>
                <c:pt idx="6">
                  <c:v>0.14804373057977582</c:v>
                </c:pt>
                <c:pt idx="7">
                  <c:v>0.14615159510629358</c:v>
                </c:pt>
                <c:pt idx="8">
                  <c:v>0.14223010900863609</c:v>
                </c:pt>
                <c:pt idx="9">
                  <c:v>0.14185792601360298</c:v>
                </c:pt>
                <c:pt idx="10">
                  <c:v>0.14377965628567665</c:v>
                </c:pt>
                <c:pt idx="11">
                  <c:v>0.14014787160757441</c:v>
                </c:pt>
                <c:pt idx="12">
                  <c:v>0.1409539590100306</c:v>
                </c:pt>
                <c:pt idx="13">
                  <c:v>0.1494684994957991</c:v>
                </c:pt>
                <c:pt idx="14">
                  <c:v>0.14973278919238858</c:v>
                </c:pt>
                <c:pt idx="15">
                  <c:v>0.14402438244763088</c:v>
                </c:pt>
                <c:pt idx="16">
                  <c:v>0.14253499306866235</c:v>
                </c:pt>
                <c:pt idx="17">
                  <c:v>0.1366103310088424</c:v>
                </c:pt>
                <c:pt idx="18">
                  <c:v>0.15686130867023096</c:v>
                </c:pt>
                <c:pt idx="19">
                  <c:v>0.1505319403097381</c:v>
                </c:pt>
                <c:pt idx="20">
                  <c:v>0.15064156667487288</c:v>
                </c:pt>
                <c:pt idx="21">
                  <c:v>0.15334986191953182</c:v>
                </c:pt>
                <c:pt idx="22">
                  <c:v>0.1463527193080623</c:v>
                </c:pt>
                <c:pt idx="23">
                  <c:v>0.1483127106634064</c:v>
                </c:pt>
                <c:pt idx="24">
                  <c:v>0.15175061727363434</c:v>
                </c:pt>
                <c:pt idx="25">
                  <c:v>0.16569810337221558</c:v>
                </c:pt>
                <c:pt idx="26">
                  <c:v>0.13461262034163313</c:v>
                </c:pt>
                <c:pt idx="27">
                  <c:v>0.1395378256533452</c:v>
                </c:pt>
                <c:pt idx="28">
                  <c:v>0.1376455939215313</c:v>
                </c:pt>
                <c:pt idx="29">
                  <c:v>0.13810507335891814</c:v>
                </c:pt>
                <c:pt idx="30">
                  <c:v>0.1437423106175203</c:v>
                </c:pt>
                <c:pt idx="31">
                  <c:v>0.13668951828704554</c:v>
                </c:pt>
                <c:pt idx="32">
                  <c:v>0.13660660019280604</c:v>
                </c:pt>
                <c:pt idx="33">
                  <c:v>0.13587479344311582</c:v>
                </c:pt>
                <c:pt idx="34">
                  <c:v>0.14104884043533006</c:v>
                </c:pt>
                <c:pt idx="35">
                  <c:v>0.14209367702617384</c:v>
                </c:pt>
                <c:pt idx="36">
                  <c:v>0.14958460330391005</c:v>
                </c:pt>
                <c:pt idx="37">
                  <c:v>0.1557823228678928</c:v>
                </c:pt>
                <c:pt idx="38">
                  <c:v>0.15089699701074175</c:v>
                </c:pt>
                <c:pt idx="39">
                  <c:v>0.1516516862049176</c:v>
                </c:pt>
                <c:pt idx="40">
                  <c:v>0.13939528273127</c:v>
                </c:pt>
                <c:pt idx="41">
                  <c:v>0.14010400865699357</c:v>
                </c:pt>
                <c:pt idx="42">
                  <c:v>0.1405076837329318</c:v>
                </c:pt>
                <c:pt idx="43">
                  <c:v>0.13849719996104826</c:v>
                </c:pt>
                <c:pt idx="44">
                  <c:v>0.1305593606286683</c:v>
                </c:pt>
                <c:pt idx="45">
                  <c:v>0.130843718769421</c:v>
                </c:pt>
                <c:pt idx="46">
                  <c:v>0.13170872760798435</c:v>
                </c:pt>
                <c:pt idx="47">
                  <c:v>0.13160589190889102</c:v>
                </c:pt>
                <c:pt idx="48">
                  <c:v>0.12566526713799356</c:v>
                </c:pt>
                <c:pt idx="49">
                  <c:v>0.12118146930966897</c:v>
                </c:pt>
                <c:pt idx="50">
                  <c:v>0.12267553084081553</c:v>
                </c:pt>
                <c:pt idx="51">
                  <c:v>0.12258348501388508</c:v>
                </c:pt>
                <c:pt idx="52">
                  <c:v>0.17642422040996145</c:v>
                </c:pt>
                <c:pt idx="53">
                  <c:v>0.2210580039889709</c:v>
                </c:pt>
                <c:pt idx="54">
                  <c:v>0.1319872655496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38805970149254"/>
          <c:min val="0.062337662337662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1.2597</c:v>
                </c:pt>
                <c:pt idx="1">
                  <c:v>659.012</c:v>
                </c:pt>
                <c:pt idx="2">
                  <c:v>661.8556</c:v>
                </c:pt>
                <c:pt idx="3">
                  <c:v>665.76</c:v>
                </c:pt>
                <c:pt idx="4">
                  <c:v>657.7937</c:v>
                </c:pt>
                <c:pt idx="5">
                  <c:v>656.5397</c:v>
                </c:pt>
                <c:pt idx="6">
                  <c:v>633.6563</c:v>
                </c:pt>
                <c:pt idx="7">
                  <c:v>638.7246</c:v>
                </c:pt>
                <c:pt idx="8">
                  <c:v>659.2206</c:v>
                </c:pt>
                <c:pt idx="9">
                  <c:v>625.5301</c:v>
                </c:pt>
                <c:pt idx="10">
                  <c:v>618.7901</c:v>
                </c:pt>
                <c:pt idx="11">
                  <c:v>654.875</c:v>
                </c:pt>
                <c:pt idx="12">
                  <c:v>633.9238</c:v>
                </c:pt>
                <c:pt idx="13">
                  <c:v>632.3474</c:v>
                </c:pt>
                <c:pt idx="14">
                  <c:v>631.2391</c:v>
                </c:pt>
                <c:pt idx="15">
                  <c:v>635.6707</c:v>
                </c:pt>
                <c:pt idx="16">
                  <c:v>644.0179</c:v>
                </c:pt>
                <c:pt idx="17">
                  <c:v>576.0339</c:v>
                </c:pt>
                <c:pt idx="18">
                  <c:v>645.8627</c:v>
                </c:pt>
                <c:pt idx="19">
                  <c:v>646.6389</c:v>
                </c:pt>
                <c:pt idx="20">
                  <c:v>648.0556</c:v>
                </c:pt>
                <c:pt idx="21">
                  <c:v>657.5278</c:v>
                </c:pt>
                <c:pt idx="22">
                  <c:v>660.4444</c:v>
                </c:pt>
                <c:pt idx="23">
                  <c:v>636.2895</c:v>
                </c:pt>
                <c:pt idx="24">
                  <c:v>650.2667</c:v>
                </c:pt>
                <c:pt idx="25">
                  <c:v>629.3056</c:v>
                </c:pt>
                <c:pt idx="26">
                  <c:v>625.1563</c:v>
                </c:pt>
                <c:pt idx="27">
                  <c:v>644.2593</c:v>
                </c:pt>
                <c:pt idx="28">
                  <c:v>654.6061</c:v>
                </c:pt>
                <c:pt idx="29">
                  <c:v>629.9412</c:v>
                </c:pt>
                <c:pt idx="30">
                  <c:v>580.3929</c:v>
                </c:pt>
                <c:pt idx="31">
                  <c:v>527.4516</c:v>
                </c:pt>
                <c:pt idx="32">
                  <c:v>616.8276</c:v>
                </c:pt>
                <c:pt idx="33">
                  <c:v>565.4762</c:v>
                </c:pt>
                <c:pt idx="34">
                  <c:v>632.1538</c:v>
                </c:pt>
                <c:pt idx="35">
                  <c:v>646.0612</c:v>
                </c:pt>
                <c:pt idx="36">
                  <c:v>629.1458</c:v>
                </c:pt>
                <c:pt idx="37">
                  <c:v>615.8966</c:v>
                </c:pt>
                <c:pt idx="38">
                  <c:v>576.9574</c:v>
                </c:pt>
                <c:pt idx="39">
                  <c:v>626.8</c:v>
                </c:pt>
                <c:pt idx="40">
                  <c:v>608.122</c:v>
                </c:pt>
                <c:pt idx="41">
                  <c:v>599.25</c:v>
                </c:pt>
                <c:pt idx="42">
                  <c:v>576.2449</c:v>
                </c:pt>
                <c:pt idx="43">
                  <c:v>601.0492</c:v>
                </c:pt>
                <c:pt idx="44">
                  <c:v>641.8182</c:v>
                </c:pt>
                <c:pt idx="45">
                  <c:v>628.551</c:v>
                </c:pt>
                <c:pt idx="46">
                  <c:v>628.6496</c:v>
                </c:pt>
                <c:pt idx="47">
                  <c:v>611.9328</c:v>
                </c:pt>
                <c:pt idx="48">
                  <c:v>628.8377</c:v>
                </c:pt>
                <c:pt idx="49">
                  <c:v>593.1947</c:v>
                </c:pt>
                <c:pt idx="50">
                  <c:v>606.6842</c:v>
                </c:pt>
                <c:pt idx="51">
                  <c:v>632.9444</c:v>
                </c:pt>
                <c:pt idx="52">
                  <c:v>598.6481</c:v>
                </c:pt>
                <c:pt idx="53">
                  <c:v>645.6944</c:v>
                </c:pt>
                <c:pt idx="54">
                  <c:v>641.6479</c:v>
                </c:pt>
                <c:pt idx="55">
                  <c:v>648.4595</c:v>
                </c:pt>
                <c:pt idx="56">
                  <c:v>663.2388</c:v>
                </c:pt>
                <c:pt idx="57">
                  <c:v>624.8333</c:v>
                </c:pt>
                <c:pt idx="58">
                  <c:v>606.764</c:v>
                </c:pt>
                <c:pt idx="59">
                  <c:v>607.6629</c:v>
                </c:pt>
                <c:pt idx="60">
                  <c:v>600.7609</c:v>
                </c:pt>
                <c:pt idx="61">
                  <c:v>614.5758</c:v>
                </c:pt>
                <c:pt idx="62">
                  <c:v>575.2717</c:v>
                </c:pt>
                <c:pt idx="63">
                  <c:v>615.0874</c:v>
                </c:pt>
                <c:pt idx="64">
                  <c:v>594.8193</c:v>
                </c:pt>
                <c:pt idx="65">
                  <c:v>636.747</c:v>
                </c:pt>
                <c:pt idx="66">
                  <c:v>615.5352</c:v>
                </c:pt>
                <c:pt idx="67">
                  <c:v>589.2319</c:v>
                </c:pt>
                <c:pt idx="68">
                  <c:v>550.0833</c:v>
                </c:pt>
                <c:pt idx="69">
                  <c:v>490.9773</c:v>
                </c:pt>
                <c:pt idx="70">
                  <c:v>529.475</c:v>
                </c:pt>
                <c:pt idx="71">
                  <c:v>524.9706</c:v>
                </c:pt>
                <c:pt idx="72">
                  <c:v>716.0</c:v>
                </c:pt>
                <c:pt idx="73">
                  <c:v>711.8621</c:v>
                </c:pt>
                <c:pt idx="74">
                  <c:v>683.9412</c:v>
                </c:pt>
                <c:pt idx="75">
                  <c:v>671.7857</c:v>
                </c:pt>
                <c:pt idx="76">
                  <c:v>666.7917</c:v>
                </c:pt>
                <c:pt idx="77">
                  <c:v>648.32</c:v>
                </c:pt>
                <c:pt idx="78">
                  <c:v>657.3704</c:v>
                </c:pt>
                <c:pt idx="79">
                  <c:v>695.0323</c:v>
                </c:pt>
                <c:pt idx="80">
                  <c:v>705.4091</c:v>
                </c:pt>
                <c:pt idx="81">
                  <c:v>705.7586</c:v>
                </c:pt>
                <c:pt idx="82">
                  <c:v>726.2</c:v>
                </c:pt>
                <c:pt idx="83">
                  <c:v>739.0</c:v>
                </c:pt>
                <c:pt idx="84">
                  <c:v>750.4167</c:v>
                </c:pt>
                <c:pt idx="85">
                  <c:v>692.5217</c:v>
                </c:pt>
                <c:pt idx="86">
                  <c:v>658.2059</c:v>
                </c:pt>
                <c:pt idx="87">
                  <c:v>655.0</c:v>
                </c:pt>
                <c:pt idx="88">
                  <c:v>728.4545</c:v>
                </c:pt>
                <c:pt idx="89">
                  <c:v>723.1875</c:v>
                </c:pt>
                <c:pt idx="90">
                  <c:v>704.2941</c:v>
                </c:pt>
                <c:pt idx="91">
                  <c:v>723.913</c:v>
                </c:pt>
                <c:pt idx="92">
                  <c:v>674.25</c:v>
                </c:pt>
                <c:pt idx="93">
                  <c:v>698.04</c:v>
                </c:pt>
                <c:pt idx="94">
                  <c:v>676.36</c:v>
                </c:pt>
                <c:pt idx="95">
                  <c:v>622.3243</c:v>
                </c:pt>
                <c:pt idx="96">
                  <c:v>523.9322</c:v>
                </c:pt>
                <c:pt idx="97">
                  <c:v>673.4394</c:v>
                </c:pt>
                <c:pt idx="98">
                  <c:v>656.5294</c:v>
                </c:pt>
                <c:pt idx="99">
                  <c:v>654.4458</c:v>
                </c:pt>
                <c:pt idx="100">
                  <c:v>673.5659</c:v>
                </c:pt>
                <c:pt idx="101">
                  <c:v>675.2889</c:v>
                </c:pt>
                <c:pt idx="102">
                  <c:v>689.0435</c:v>
                </c:pt>
                <c:pt idx="103">
                  <c:v>674.0</c:v>
                </c:pt>
                <c:pt idx="104">
                  <c:v>699.9524</c:v>
                </c:pt>
              </c:numCache>
            </c:numRef>
          </c:xVal>
          <c:yVal>
            <c:numRef>
              <c:f>Sheet1!$B$2:$B$106</c:f>
              <c:numCache>
                <c:formatCode>General</c:formatCode>
                <c:ptCount val="105"/>
                <c:pt idx="0">
                  <c:v>0.17990654205607476</c:v>
                </c:pt>
                <c:pt idx="1">
                  <c:v>0.25696594427244585</c:v>
                </c:pt>
                <c:pt idx="2">
                  <c:v>0.26865671641791045</c:v>
                </c:pt>
                <c:pt idx="3">
                  <c:v>0.20604395604395603</c:v>
                </c:pt>
                <c:pt idx="4">
                  <c:v>0.1956521739130435</c:v>
                </c:pt>
                <c:pt idx="5">
                  <c:v>0.1810344827586207</c:v>
                </c:pt>
                <c:pt idx="6">
                  <c:v>0.19937694704049844</c:v>
                </c:pt>
                <c:pt idx="7">
                  <c:v>0.25461254612546125</c:v>
                </c:pt>
                <c:pt idx="8">
                  <c:v>0.24727272727272728</c:v>
                </c:pt>
                <c:pt idx="9">
                  <c:v>0.21727748691099477</c:v>
                </c:pt>
                <c:pt idx="10">
                  <c:v>0.2154255319148936</c:v>
                </c:pt>
                <c:pt idx="11">
                  <c:v>0.24444444444444444</c:v>
                </c:pt>
                <c:pt idx="12">
                  <c:v>0.25</c:v>
                </c:pt>
                <c:pt idx="13">
                  <c:v>0.23809523809523808</c:v>
                </c:pt>
                <c:pt idx="14">
                  <c:v>0.26136363636363635</c:v>
                </c:pt>
                <c:pt idx="15">
                  <c:v>0.21693121693121692</c:v>
                </c:pt>
                <c:pt idx="16">
                  <c:v>0.16519174041297935</c:v>
                </c:pt>
                <c:pt idx="17">
                  <c:v>0.18495297805642633</c:v>
                </c:pt>
                <c:pt idx="18">
                  <c:v>0.17770034843205576</c:v>
                </c:pt>
                <c:pt idx="19">
                  <c:v>0.14342629482071714</c:v>
                </c:pt>
                <c:pt idx="20">
                  <c:v>0.17647058823529413</c:v>
                </c:pt>
                <c:pt idx="21">
                  <c:v>0.1782178217821782</c:v>
                </c:pt>
                <c:pt idx="22">
                  <c:v>0.1782178217821782</c:v>
                </c:pt>
                <c:pt idx="23">
                  <c:v>0.18446601941747573</c:v>
                </c:pt>
                <c:pt idx="24">
                  <c:v>0.17716535433070865</c:v>
                </c:pt>
                <c:pt idx="25">
                  <c:v>0.17733990147783252</c:v>
                </c:pt>
                <c:pt idx="26">
                  <c:v>0.14883720930232558</c:v>
                </c:pt>
                <c:pt idx="27">
                  <c:v>0.11065573770491803</c:v>
                </c:pt>
                <c:pt idx="28">
                  <c:v>0.1542056074766355</c:v>
                </c:pt>
                <c:pt idx="29">
                  <c:v>0.136</c:v>
                </c:pt>
                <c:pt idx="30">
                  <c:v>0.13725490196078433</c:v>
                </c:pt>
                <c:pt idx="31">
                  <c:v>0.14691943127962084</c:v>
                </c:pt>
                <c:pt idx="32">
                  <c:v>0.14009661835748793</c:v>
                </c:pt>
                <c:pt idx="33">
                  <c:v>0.1700404858299595</c:v>
                </c:pt>
                <c:pt idx="34">
                  <c:v>0.12871287128712872</c:v>
                </c:pt>
                <c:pt idx="35">
                  <c:v>0.15806451612903225</c:v>
                </c:pt>
                <c:pt idx="36">
                  <c:v>0.19591836734693877</c:v>
                </c:pt>
                <c:pt idx="37">
                  <c:v>0.125</c:v>
                </c:pt>
                <c:pt idx="38">
                  <c:v>0.2052401746724891</c:v>
                </c:pt>
                <c:pt idx="39">
                  <c:v>0.11848341232227488</c:v>
                </c:pt>
                <c:pt idx="40">
                  <c:v>0.14855072463768115</c:v>
                </c:pt>
                <c:pt idx="41">
                  <c:v>0.15151515151515152</c:v>
                </c:pt>
                <c:pt idx="42">
                  <c:v>0.16013071895424835</c:v>
                </c:pt>
                <c:pt idx="43">
                  <c:v>0.17681159420289855</c:v>
                </c:pt>
                <c:pt idx="44">
                  <c:v>0.13580246913580246</c:v>
                </c:pt>
                <c:pt idx="45">
                  <c:v>0.17102966841186737</c:v>
                </c:pt>
                <c:pt idx="46">
                  <c:v>0.17889908256880735</c:v>
                </c:pt>
                <c:pt idx="47">
                  <c:v>0.2016949152542373</c:v>
                </c:pt>
                <c:pt idx="48">
                  <c:v>0.2020997375328084</c:v>
                </c:pt>
                <c:pt idx="49">
                  <c:v>0.24036697247706423</c:v>
                </c:pt>
                <c:pt idx="50">
                  <c:v>0.21011058451816747</c:v>
                </c:pt>
                <c:pt idx="51">
                  <c:v>0.20970873786407768</c:v>
                </c:pt>
                <c:pt idx="52">
                  <c:v>0.21643286573146292</c:v>
                </c:pt>
                <c:pt idx="53">
                  <c:v>0.1769041769041769</c:v>
                </c:pt>
                <c:pt idx="54">
                  <c:v>0.1868421052631579</c:v>
                </c:pt>
                <c:pt idx="55">
                  <c:v>0.18734177215189873</c:v>
                </c:pt>
                <c:pt idx="56">
                  <c:v>0.18010752688172044</c:v>
                </c:pt>
                <c:pt idx="57">
                  <c:v>0.16981132075471697</c:v>
                </c:pt>
                <c:pt idx="58">
                  <c:v>0.18126272912423624</c:v>
                </c:pt>
                <c:pt idx="59">
                  <c:v>0.1621129326047359</c:v>
                </c:pt>
                <c:pt idx="60">
                  <c:v>0.1807465618860511</c:v>
                </c:pt>
                <c:pt idx="61">
                  <c:v>0.18032786885245902</c:v>
                </c:pt>
                <c:pt idx="62">
                  <c:v>0.18290258449304175</c:v>
                </c:pt>
                <c:pt idx="63">
                  <c:v>0.19922630560928434</c:v>
                </c:pt>
                <c:pt idx="64">
                  <c:v>0.1580952380952381</c:v>
                </c:pt>
                <c:pt idx="65">
                  <c:v>0.17291666666666666</c:v>
                </c:pt>
                <c:pt idx="66">
                  <c:v>0.13813229571984437</c:v>
                </c:pt>
                <c:pt idx="67">
                  <c:v>0.14435146443514643</c:v>
                </c:pt>
                <c:pt idx="68">
                  <c:v>0.15584415584415584</c:v>
                </c:pt>
                <c:pt idx="69">
                  <c:v>0.13924050632911392</c:v>
                </c:pt>
                <c:pt idx="70">
                  <c:v>0.136986301369863</c:v>
                </c:pt>
                <c:pt idx="71">
                  <c:v>0.13991769547325103</c:v>
                </c:pt>
                <c:pt idx="72">
                  <c:v>0.11594202898550725</c:v>
                </c:pt>
                <c:pt idx="73">
                  <c:v>0.1228813559322034</c:v>
                </c:pt>
                <c:pt idx="74">
                  <c:v>0.13127413127413126</c:v>
                </c:pt>
                <c:pt idx="75">
                  <c:v>0.12727272727272726</c:v>
                </c:pt>
                <c:pt idx="76">
                  <c:v>0.11650485436893204</c:v>
                </c:pt>
                <c:pt idx="77">
                  <c:v>0.12135922330097088</c:v>
                </c:pt>
                <c:pt idx="78">
                  <c:v>0.1443850267379679</c:v>
                </c:pt>
                <c:pt idx="79">
                  <c:v>0.12601626016260162</c:v>
                </c:pt>
                <c:pt idx="80">
                  <c:v>0.09734513274336283</c:v>
                </c:pt>
                <c:pt idx="81">
                  <c:v>0.09965635738831616</c:v>
                </c:pt>
                <c:pt idx="82">
                  <c:v>0.09259259259259259</c:v>
                </c:pt>
                <c:pt idx="83">
                  <c:v>0.08333333333333333</c:v>
                </c:pt>
                <c:pt idx="84">
                  <c:v>0.07792207792207792</c:v>
                </c:pt>
                <c:pt idx="85">
                  <c:v>0.10952380952380952</c:v>
                </c:pt>
                <c:pt idx="86">
                  <c:v>0.11888111888111888</c:v>
                </c:pt>
                <c:pt idx="87">
                  <c:v>0.11371237458193979</c:v>
                </c:pt>
                <c:pt idx="88">
                  <c:v>0.10837438423645321</c:v>
                </c:pt>
                <c:pt idx="89">
                  <c:v>0.10596026490066225</c:v>
                </c:pt>
                <c:pt idx="90">
                  <c:v>0.10625</c:v>
                </c:pt>
                <c:pt idx="91">
                  <c:v>0.12568306010928962</c:v>
                </c:pt>
                <c:pt idx="92">
                  <c:v>0.10434782608695652</c:v>
                </c:pt>
                <c:pt idx="93">
                  <c:v>0.1152073732718894</c:v>
                </c:pt>
                <c:pt idx="94">
                  <c:v>0.1488095238095238</c:v>
                </c:pt>
                <c:pt idx="95">
                  <c:v>0.1289198606271777</c:v>
                </c:pt>
                <c:pt idx="96">
                  <c:v>0.15012722646310434</c:v>
                </c:pt>
                <c:pt idx="97">
                  <c:v>0.1493212669683258</c:v>
                </c:pt>
                <c:pt idx="98">
                  <c:v>0.12121212121212122</c:v>
                </c:pt>
                <c:pt idx="99">
                  <c:v>0.12462462462462462</c:v>
                </c:pt>
                <c:pt idx="100">
                  <c:v>0.14144736842105263</c:v>
                </c:pt>
                <c:pt idx="101">
                  <c:v>0.1618705035971223</c:v>
                </c:pt>
                <c:pt idx="102">
                  <c:v>0.13068181818181818</c:v>
                </c:pt>
                <c:pt idx="103">
                  <c:v>0.1314655172413793</c:v>
                </c:pt>
                <c:pt idx="104">
                  <c:v>0.111405835543766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numCache>
            </c:numRef>
          </c:xVal>
          <c:yVal>
            <c:numRef>
              <c:f>Sheet1!$B$109:$B$160</c:f>
              <c:numCache>
                <c:formatCode>General</c:formatCode>
                <c:ptCount val="52"/>
                <c:pt idx="0">
                  <c:v>0.12028301886792453</c:v>
                </c:pt>
                <c:pt idx="1">
                  <c:v>0.14647887323943662</c:v>
                </c:pt>
                <c:pt idx="2">
                  <c:v>0.12903225806451613</c:v>
                </c:pt>
                <c:pt idx="3">
                  <c:v>0.13924050632911392</c:v>
                </c:pt>
                <c:pt idx="4">
                  <c:v>0.14868804664723032</c:v>
                </c:pt>
                <c:pt idx="5">
                  <c:v>0.14713896457765668</c:v>
                </c:pt>
                <c:pt idx="6">
                  <c:v>0.14769975786924938</c:v>
                </c:pt>
                <c:pt idx="7">
                  <c:v>0.13583815028901733</c:v>
                </c:pt>
                <c:pt idx="8">
                  <c:v>0.13804713804713806</c:v>
                </c:pt>
                <c:pt idx="9">
                  <c:v>0.14497041420118342</c:v>
                </c:pt>
                <c:pt idx="10">
                  <c:v>0.17732558139534885</c:v>
                </c:pt>
                <c:pt idx="11">
                  <c:v>0.21774193548387097</c:v>
                </c:pt>
                <c:pt idx="12">
                  <c:v>0.2035623409669211</c:v>
                </c:pt>
                <c:pt idx="13">
                  <c:v>0.21574344023323616</c:v>
                </c:pt>
                <c:pt idx="14">
                  <c:v>0.2125</c:v>
                </c:pt>
                <c:pt idx="15">
                  <c:v>0.1992619926199262</c:v>
                </c:pt>
                <c:pt idx="16">
                  <c:v>0.15865384615384615</c:v>
                </c:pt>
                <c:pt idx="17">
                  <c:v>0.13636363636363635</c:v>
                </c:pt>
                <c:pt idx="18">
                  <c:v>0.17209302325581396</c:v>
                </c:pt>
                <c:pt idx="19">
                  <c:v>0.16</c:v>
                </c:pt>
                <c:pt idx="20">
                  <c:v>0.15920398009950248</c:v>
                </c:pt>
                <c:pt idx="21">
                  <c:v>0.13609467455621302</c:v>
                </c:pt>
                <c:pt idx="22">
                  <c:v>0.14942528735632185</c:v>
                </c:pt>
                <c:pt idx="23">
                  <c:v>0.13953488372093023</c:v>
                </c:pt>
                <c:pt idx="24">
                  <c:v>0.15048543689320387</c:v>
                </c:pt>
                <c:pt idx="25">
                  <c:v>0.1836734693877551</c:v>
                </c:pt>
                <c:pt idx="26">
                  <c:v>0.12365591397849462</c:v>
                </c:pt>
                <c:pt idx="27">
                  <c:v>0.12334801762114538</c:v>
                </c:pt>
                <c:pt idx="28">
                  <c:v>0.10550458715596331</c:v>
                </c:pt>
                <c:pt idx="29">
                  <c:v>0.10215053763440861</c:v>
                </c:pt>
                <c:pt idx="30">
                  <c:v>0.14383561643835616</c:v>
                </c:pt>
                <c:pt idx="31">
                  <c:v>0.0958904109589041</c:v>
                </c:pt>
                <c:pt idx="32">
                  <c:v>0.09340659340659341</c:v>
                </c:pt>
                <c:pt idx="33">
                  <c:v>0.11494252873563218</c:v>
                </c:pt>
                <c:pt idx="34">
                  <c:v>0.14666666666666667</c:v>
                </c:pt>
                <c:pt idx="35">
                  <c:v>0.11467889908256881</c:v>
                </c:pt>
                <c:pt idx="36">
                  <c:v>0.12389380530973451</c:v>
                </c:pt>
                <c:pt idx="37">
                  <c:v>0.1417910447761194</c:v>
                </c:pt>
                <c:pt idx="38">
                  <c:v>0.11486486486486487</c:v>
                </c:pt>
                <c:pt idx="39">
                  <c:v>0.14893617021276595</c:v>
                </c:pt>
                <c:pt idx="40">
                  <c:v>0.1340782122905028</c:v>
                </c:pt>
                <c:pt idx="41">
                  <c:v>0.11616161616161616</c:v>
                </c:pt>
                <c:pt idx="42">
                  <c:v>0.11891891891891893</c:v>
                </c:pt>
                <c:pt idx="43">
                  <c:v>0.12927756653992395</c:v>
                </c:pt>
                <c:pt idx="44">
                  <c:v>0.12025316455696203</c:v>
                </c:pt>
                <c:pt idx="45">
                  <c:v>0.12850467289719625</c:v>
                </c:pt>
                <c:pt idx="46">
                  <c:v>0.12686567164179105</c:v>
                </c:pt>
                <c:pt idx="47">
                  <c:v>0.14095744680851063</c:v>
                </c:pt>
                <c:pt idx="48">
                  <c:v>0.13211845102505695</c:v>
                </c:pt>
                <c:pt idx="49">
                  <c:v>0.13508771929824562</c:v>
                </c:pt>
                <c:pt idx="50">
                  <c:v>0.12302070645554203</c:v>
                </c:pt>
                <c:pt idx="51">
                  <c:v>0.161654135338345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32.9287711155732</c:v>
                </c:pt>
              </c:numCache>
            </c:numRef>
          </c:xVal>
          <c:yVal>
            <c:numRef>
              <c:f>Sheet1!$B$163:$B$164</c:f>
              <c:numCache>
                <c:formatCode>General</c:formatCode>
                <c:ptCount val="2"/>
                <c:pt idx="0">
                  <c:v>0.2210580039889709</c:v>
                </c:pt>
                <c:pt idx="1">
                  <c:v>0.22105800398897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32.9287711155732</c:v>
                </c:pt>
                <c:pt idx="1">
                  <c:v>532.9287711155732</c:v>
                </c:pt>
              </c:numCache>
            </c:numRef>
          </c:xVal>
          <c:yVal>
            <c:numRef>
              <c:f>Sheet1!$B$167:$B$168</c:f>
              <c:numCache>
                <c:formatCode>General</c:formatCode>
                <c:ptCount val="2"/>
                <c:pt idx="0">
                  <c:v>0.22105800398897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33.8920508266524</c:v>
                </c:pt>
              </c:numCache>
            </c:numRef>
          </c:xVal>
          <c:yVal>
            <c:numRef>
              <c:f>Sheet1!$B$171:$B$172</c:f>
              <c:numCache>
                <c:formatCode>General</c:formatCode>
                <c:ptCount val="2"/>
                <c:pt idx="0">
                  <c:v>0.17642422040996145</c:v>
                </c:pt>
                <c:pt idx="1">
                  <c:v>0.176424220409961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33.8920508266524</c:v>
                </c:pt>
                <c:pt idx="1">
                  <c:v>633.8920508266524</c:v>
                </c:pt>
              </c:numCache>
            </c:numRef>
          </c:xVal>
          <c:yVal>
            <c:numRef>
              <c:f>Sheet1!$B$175:$B$176</c:f>
              <c:numCache>
                <c:formatCode>General</c:formatCode>
                <c:ptCount val="2"/>
                <c:pt idx="0">
                  <c:v>0.176424220409961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34.4100966501466</c:v>
                </c:pt>
              </c:numCache>
            </c:numRef>
          </c:xVal>
          <c:yVal>
            <c:numRef>
              <c:f>Sheet1!$B$179:$B$180</c:f>
              <c:numCache>
                <c:formatCode>General</c:formatCode>
                <c:ptCount val="2"/>
                <c:pt idx="0">
                  <c:v>0.13198726554964446</c:v>
                </c:pt>
                <c:pt idx="1">
                  <c:v>0.131987265549644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34.4100966501466</c:v>
                </c:pt>
                <c:pt idx="1">
                  <c:v>734.4100966501466</c:v>
                </c:pt>
              </c:numCache>
            </c:numRef>
          </c:xVal>
          <c:yVal>
            <c:numRef>
              <c:f>Sheet1!$B$183:$B$184</c:f>
              <c:numCache>
                <c:formatCode>General</c:formatCode>
                <c:ptCount val="2"/>
                <c:pt idx="0">
                  <c:v>0.131987265549644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pt idx="52">
                  <c:v>633.8920508266524</c:v>
                </c:pt>
                <c:pt idx="53">
                  <c:v>532.9287711155732</c:v>
                </c:pt>
                <c:pt idx="54">
                  <c:v>734.4100966501466</c:v>
                </c:pt>
              </c:numCache>
            </c:numRef>
          </c:xVal>
          <c:yVal>
            <c:numRef>
              <c:f>Sheet1!$B$187:$B$241</c:f>
              <c:numCache>
                <c:formatCode>General</c:formatCode>
                <c:ptCount val="55"/>
                <c:pt idx="0">
                  <c:v>0.15084858059736506</c:v>
                </c:pt>
                <c:pt idx="1">
                  <c:v>0.15455307313492256</c:v>
                </c:pt>
                <c:pt idx="2">
                  <c:v>0.14008916435602198</c:v>
                </c:pt>
                <c:pt idx="3">
                  <c:v>0.13932220084856844</c:v>
                </c:pt>
                <c:pt idx="4">
                  <c:v>0.1341622503851424</c:v>
                </c:pt>
                <c:pt idx="5">
                  <c:v>0.14642973199796294</c:v>
                </c:pt>
                <c:pt idx="6">
                  <c:v>0.15879478052881624</c:v>
                </c:pt>
                <c:pt idx="7">
                  <c:v>0.15009629412515701</c:v>
                </c:pt>
                <c:pt idx="8">
                  <c:v>0.1391663678689285</c:v>
                </c:pt>
                <c:pt idx="9">
                  <c:v>0.1438520997869367</c:v>
                </c:pt>
                <c:pt idx="10">
                  <c:v>0.14536573535853747</c:v>
                </c:pt>
                <c:pt idx="11">
                  <c:v>0.1709651373029789</c:v>
                </c:pt>
                <c:pt idx="12">
                  <c:v>0.16751280684084446</c:v>
                </c:pt>
                <c:pt idx="13">
                  <c:v>0.15619619375542138</c:v>
                </c:pt>
                <c:pt idx="14">
                  <c:v>0.1627435661289242</c:v>
                </c:pt>
                <c:pt idx="15">
                  <c:v>0.14940147797168146</c:v>
                </c:pt>
                <c:pt idx="16">
                  <c:v>0.13344121892473731</c:v>
                </c:pt>
                <c:pt idx="17">
                  <c:v>0.14494465475397844</c:v>
                </c:pt>
                <c:pt idx="18">
                  <c:v>0.18839628284597437</c:v>
                </c:pt>
                <c:pt idx="19">
                  <c:v>0.14630281100943915</c:v>
                </c:pt>
                <c:pt idx="20">
                  <c:v>0.13994637271794058</c:v>
                </c:pt>
                <c:pt idx="21">
                  <c:v>0.16376764300079932</c:v>
                </c:pt>
                <c:pt idx="22">
                  <c:v>0.1401430096238806</c:v>
                </c:pt>
                <c:pt idx="23">
                  <c:v>0.14725451948764884</c:v>
                </c:pt>
                <c:pt idx="24">
                  <c:v>0.15612638942213014</c:v>
                </c:pt>
                <c:pt idx="25">
                  <c:v>0.21766180483823502</c:v>
                </c:pt>
                <c:pt idx="26">
                  <c:v>0.1399914648141768</c:v>
                </c:pt>
                <c:pt idx="27">
                  <c:v>0.1522199992340717</c:v>
                </c:pt>
                <c:pt idx="28">
                  <c:v>0.12109734599594008</c:v>
                </c:pt>
                <c:pt idx="29">
                  <c:v>0.1143225237840691</c:v>
                </c:pt>
                <c:pt idx="30">
                  <c:v>0.12252703069425402</c:v>
                </c:pt>
                <c:pt idx="31">
                  <c:v>0.116380005402629</c:v>
                </c:pt>
                <c:pt idx="32">
                  <c:v>0.12241682030610007</c:v>
                </c:pt>
                <c:pt idx="33">
                  <c:v>0.11536954457549975</c:v>
                </c:pt>
                <c:pt idx="34">
                  <c:v>0.12214140485555913</c:v>
                </c:pt>
                <c:pt idx="35">
                  <c:v>0.11911837767435624</c:v>
                </c:pt>
                <c:pt idx="36">
                  <c:v>0.12525315736729742</c:v>
                </c:pt>
                <c:pt idx="37">
                  <c:v>0.15485421760508072</c:v>
                </c:pt>
                <c:pt idx="38">
                  <c:v>0.134456984704365</c:v>
                </c:pt>
                <c:pt idx="39">
                  <c:v>0.15701974342285768</c:v>
                </c:pt>
                <c:pt idx="40">
                  <c:v>0.12726886248493258</c:v>
                </c:pt>
                <c:pt idx="41">
                  <c:v>0.12571035585678297</c:v>
                </c:pt>
                <c:pt idx="42">
                  <c:v>0.10928091796929446</c:v>
                </c:pt>
                <c:pt idx="43">
                  <c:v>0.1379806225696652</c:v>
                </c:pt>
                <c:pt idx="44">
                  <c:v>0.13721759356864793</c:v>
                </c:pt>
                <c:pt idx="45">
                  <c:v>0.14171747531746282</c:v>
                </c:pt>
                <c:pt idx="46">
                  <c:v>0.13730012978793527</c:v>
                </c:pt>
                <c:pt idx="47">
                  <c:v>0.1450973047621194</c:v>
                </c:pt>
                <c:pt idx="48">
                  <c:v>0.15235178309571906</c:v>
                </c:pt>
                <c:pt idx="49">
                  <c:v>0.134396198790321</c:v>
                </c:pt>
                <c:pt idx="50">
                  <c:v>0.1301989203736013</c:v>
                </c:pt>
                <c:pt idx="51">
                  <c:v>0.14637164276810566</c:v>
                </c:pt>
                <c:pt idx="52">
                  <c:v>0.17642422040996147</c:v>
                </c:pt>
                <c:pt idx="53">
                  <c:v>0.2210580039889709</c:v>
                </c:pt>
                <c:pt idx="54">
                  <c:v>0.131987265549644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3.0"/>
          <c:min val="39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38805970149254"/>
          <c:min val="0.062337662337662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6473629726949387</c:v>
                </c:pt>
                <c:pt idx="1">
                  <c:v>0.07177998039429255</c:v>
                </c:pt>
                <c:pt idx="2">
                  <c:v>0.07237824242159135</c:v>
                </c:pt>
                <c:pt idx="3">
                  <c:v>0.07426765356883819</c:v>
                </c:pt>
                <c:pt idx="4">
                  <c:v>0.055507674781654776</c:v>
                </c:pt>
                <c:pt idx="5">
                  <c:v>0.06526888358683766</c:v>
                </c:pt>
                <c:pt idx="6">
                  <c:v>0.08047451104902209</c:v>
                </c:pt>
                <c:pt idx="7">
                  <c:v>0.055521957579972185</c:v>
                </c:pt>
                <c:pt idx="8">
                  <c:v>0.07455138252756573</c:v>
                </c:pt>
                <c:pt idx="9">
                  <c:v>0.06404526466673492</c:v>
                </c:pt>
                <c:pt idx="10">
                  <c:v>0.060487790811339204</c:v>
                </c:pt>
                <c:pt idx="11">
                  <c:v>0.07737866658789472</c:v>
                </c:pt>
                <c:pt idx="12">
                  <c:v>0.07304391583559719</c:v>
                </c:pt>
                <c:pt idx="13">
                  <c:v>0.07381487130811334</c:v>
                </c:pt>
                <c:pt idx="14">
                  <c:v>0.05822164729754658</c:v>
                </c:pt>
                <c:pt idx="15">
                  <c:v>0.0611016196472341</c:v>
                </c:pt>
                <c:pt idx="16">
                  <c:v>0.071573449655479</c:v>
                </c:pt>
                <c:pt idx="17">
                  <c:v>0.0524048307860262</c:v>
                </c:pt>
                <c:pt idx="18">
                  <c:v>0.051567942832049185</c:v>
                </c:pt>
                <c:pt idx="19">
                  <c:v>0.06989935142146796</c:v>
                </c:pt>
                <c:pt idx="20">
                  <c:v>0.076518652773268</c:v>
                </c:pt>
                <c:pt idx="21">
                  <c:v>0.06956493863732544</c:v>
                </c:pt>
                <c:pt idx="22">
                  <c:v>0.0639702060682374</c:v>
                </c:pt>
                <c:pt idx="23">
                  <c:v>0.06977623642943305</c:v>
                </c:pt>
                <c:pt idx="24">
                  <c:v>0.058231100564162266</c:v>
                </c:pt>
                <c:pt idx="25">
                  <c:v>0.0515824262295082</c:v>
                </c:pt>
                <c:pt idx="26">
                  <c:v>0.05619382471910112</c:v>
                </c:pt>
                <c:pt idx="27">
                  <c:v>0.0497497528957529</c:v>
                </c:pt>
                <c:pt idx="28">
                  <c:v>0.0456840044664666</c:v>
                </c:pt>
                <c:pt idx="29">
                  <c:v>0.06447489360470435</c:v>
                </c:pt>
                <c:pt idx="30">
                  <c:v>0.05651893076248905</c:v>
                </c:pt>
                <c:pt idx="31">
                  <c:v>0.04961915333960489</c:v>
                </c:pt>
                <c:pt idx="32">
                  <c:v>0.06296515044052248</c:v>
                </c:pt>
                <c:pt idx="33">
                  <c:v>0.059715528802999095</c:v>
                </c:pt>
                <c:pt idx="34">
                  <c:v>0.06455159808026141</c:v>
                </c:pt>
                <c:pt idx="35">
                  <c:v>0.05916672586594641</c:v>
                </c:pt>
                <c:pt idx="36">
                  <c:v>0.05055681046408488</c:v>
                </c:pt>
                <c:pt idx="37">
                  <c:v>0.060604831488314886</c:v>
                </c:pt>
                <c:pt idx="38">
                  <c:v>0.053511166759413836</c:v>
                </c:pt>
                <c:pt idx="39">
                  <c:v>0.05664537913195981</c:v>
                </c:pt>
                <c:pt idx="40">
                  <c:v>0.06400475729381551</c:v>
                </c:pt>
                <c:pt idx="41">
                  <c:v>0.05695029637580478</c:v>
                </c:pt>
                <c:pt idx="42">
                  <c:v>0.05323934263422949</c:v>
                </c:pt>
                <c:pt idx="43">
                  <c:v>0.06175374499126683</c:v>
                </c:pt>
                <c:pt idx="44">
                  <c:v>0.056321250603091094</c:v>
                </c:pt>
                <c:pt idx="45">
                  <c:v>0.06674287231218477</c:v>
                </c:pt>
                <c:pt idx="46">
                  <c:v>0.0667668125238965</c:v>
                </c:pt>
                <c:pt idx="47">
                  <c:v>0.06803032795997777</c:v>
                </c:pt>
                <c:pt idx="48">
                  <c:v>0.06231205687814304</c:v>
                </c:pt>
                <c:pt idx="49">
                  <c:v>0.06304768984961494</c:v>
                </c:pt>
                <c:pt idx="50">
                  <c:v>0.053676991815969924</c:v>
                </c:pt>
                <c:pt idx="51">
                  <c:v>0.0643988808058198</c:v>
                </c:pt>
                <c:pt idx="52">
                  <c:v>0.056234850406274954</c:v>
                </c:pt>
                <c:pt idx="53">
                  <c:v>0.06595448416751787</c:v>
                </c:pt>
                <c:pt idx="54">
                  <c:v>0.06725692722937031</c:v>
                </c:pt>
                <c:pt idx="55">
                  <c:v>0.05549028752353244</c:v>
                </c:pt>
                <c:pt idx="56">
                  <c:v>0.04903194665098091</c:v>
                </c:pt>
                <c:pt idx="57">
                  <c:v>0.0675743840979387</c:v>
                </c:pt>
                <c:pt idx="58">
                  <c:v>0.061408387984778566</c:v>
                </c:pt>
                <c:pt idx="59">
                  <c:v>0.06711434828359071</c:v>
                </c:pt>
                <c:pt idx="60">
                  <c:v>0.06416671829105473</c:v>
                </c:pt>
                <c:pt idx="61">
                  <c:v>0.057785866069917445</c:v>
                </c:pt>
                <c:pt idx="62">
                  <c:v>0.054309341515223035</c:v>
                </c:pt>
                <c:pt idx="63">
                  <c:v>0.05263455416737977</c:v>
                </c:pt>
                <c:pt idx="64">
                  <c:v>0.055294993120886475</c:v>
                </c:pt>
                <c:pt idx="65">
                  <c:v>0.05997711110064522</c:v>
                </c:pt>
                <c:pt idx="66">
                  <c:v>0.05161937188142061</c:v>
                </c:pt>
                <c:pt idx="67">
                  <c:v>0.05385908914330111</c:v>
                </c:pt>
                <c:pt idx="68">
                  <c:v>0.04550656022501655</c:v>
                </c:pt>
                <c:pt idx="69">
                  <c:v>0.03644833525110427</c:v>
                </c:pt>
                <c:pt idx="70">
                  <c:v>0.03996641002415459</c:v>
                </c:pt>
                <c:pt idx="71">
                  <c:v>0.03825479851344458</c:v>
                </c:pt>
                <c:pt idx="72">
                  <c:v>0.07031787105220764</c:v>
                </c:pt>
                <c:pt idx="73">
                  <c:v>0.049574295762387276</c:v>
                </c:pt>
                <c:pt idx="74">
                  <c:v>0.05748250372954006</c:v>
                </c:pt>
                <c:pt idx="75">
                  <c:v>0.05860811079363745</c:v>
                </c:pt>
                <c:pt idx="76">
                  <c:v>0.06198485083659163</c:v>
                </c:pt>
                <c:pt idx="77">
                  <c:v>0.05430725414642319</c:v>
                </c:pt>
                <c:pt idx="78">
                  <c:v>0.06268730272254804</c:v>
                </c:pt>
                <c:pt idx="79">
                  <c:v>0.04758865457035261</c:v>
                </c:pt>
                <c:pt idx="80">
                  <c:v>0.0515687623364281</c:v>
                </c:pt>
                <c:pt idx="81">
                  <c:v>0.06634004793908915</c:v>
                </c:pt>
                <c:pt idx="82">
                  <c:v>0.07118212115271516</c:v>
                </c:pt>
                <c:pt idx="83">
                  <c:v>0.07137338226772262</c:v>
                </c:pt>
                <c:pt idx="84">
                  <c:v>0.07454223701201947</c:v>
                </c:pt>
                <c:pt idx="85">
                  <c:v>0.06327095585111145</c:v>
                </c:pt>
                <c:pt idx="86">
                  <c:v>0.057041849380362254</c:v>
                </c:pt>
                <c:pt idx="87">
                  <c:v>0.04166136623839206</c:v>
                </c:pt>
                <c:pt idx="88">
                  <c:v>0.04946723482276246</c:v>
                </c:pt>
                <c:pt idx="89">
                  <c:v>0.04440138142747506</c:v>
                </c:pt>
                <c:pt idx="90">
                  <c:v>0.05532336514669494</c:v>
                </c:pt>
                <c:pt idx="91">
                  <c:v>0.06294895652173912</c:v>
                </c:pt>
                <c:pt idx="92">
                  <c:v>0.06534274432955568</c:v>
                </c:pt>
                <c:pt idx="93">
                  <c:v>0.05080534226136322</c:v>
                </c:pt>
                <c:pt idx="94">
                  <c:v>0.05198170848864466</c:v>
                </c:pt>
                <c:pt idx="95">
                  <c:v>0.058602033994067514</c:v>
                </c:pt>
                <c:pt idx="96">
                  <c:v>0.04593613102862282</c:v>
                </c:pt>
                <c:pt idx="97">
                  <c:v>0.05746560286713883</c:v>
                </c:pt>
                <c:pt idx="98">
                  <c:v>0.0654565702891326</c:v>
                </c:pt>
                <c:pt idx="99">
                  <c:v>0.05925535787043324</c:v>
                </c:pt>
                <c:pt idx="100">
                  <c:v>0.057149660614288146</c:v>
                </c:pt>
                <c:pt idx="101">
                  <c:v>0.0657791642314436</c:v>
                </c:pt>
                <c:pt idx="102">
                  <c:v>0.05917330069990124</c:v>
                </c:pt>
                <c:pt idx="103">
                  <c:v>0.0684449260999422</c:v>
                </c:pt>
                <c:pt idx="104">
                  <c:v>0.06898121612299202</c:v>
                </c:pt>
              </c:numCache>
            </c:numRef>
          </c:xVal>
          <c:yVal>
            <c:numRef>
              <c:f>Sheet1!$B$2:$B$106</c:f>
              <c:numCache>
                <c:formatCode>General</c:formatCode>
                <c:ptCount val="105"/>
                <c:pt idx="0">
                  <c:v>0.17990654205607476</c:v>
                </c:pt>
                <c:pt idx="1">
                  <c:v>0.25696594427244585</c:v>
                </c:pt>
                <c:pt idx="2">
                  <c:v>0.26865671641791045</c:v>
                </c:pt>
                <c:pt idx="3">
                  <c:v>0.20604395604395603</c:v>
                </c:pt>
                <c:pt idx="4">
                  <c:v>0.1956521739130435</c:v>
                </c:pt>
                <c:pt idx="5">
                  <c:v>0.1810344827586207</c:v>
                </c:pt>
                <c:pt idx="6">
                  <c:v>0.19937694704049844</c:v>
                </c:pt>
                <c:pt idx="7">
                  <c:v>0.25461254612546125</c:v>
                </c:pt>
                <c:pt idx="8">
                  <c:v>0.24727272727272728</c:v>
                </c:pt>
                <c:pt idx="9">
                  <c:v>0.21727748691099477</c:v>
                </c:pt>
                <c:pt idx="10">
                  <c:v>0.2154255319148936</c:v>
                </c:pt>
                <c:pt idx="11">
                  <c:v>0.24444444444444444</c:v>
                </c:pt>
                <c:pt idx="12">
                  <c:v>0.25</c:v>
                </c:pt>
                <c:pt idx="13">
                  <c:v>0.23809523809523808</c:v>
                </c:pt>
                <c:pt idx="14">
                  <c:v>0.26136363636363635</c:v>
                </c:pt>
                <c:pt idx="15">
                  <c:v>0.21693121693121692</c:v>
                </c:pt>
                <c:pt idx="16">
                  <c:v>0.16519174041297935</c:v>
                </c:pt>
                <c:pt idx="17">
                  <c:v>0.18495297805642633</c:v>
                </c:pt>
                <c:pt idx="18">
                  <c:v>0.17770034843205576</c:v>
                </c:pt>
                <c:pt idx="19">
                  <c:v>0.14342629482071714</c:v>
                </c:pt>
                <c:pt idx="20">
                  <c:v>0.17647058823529413</c:v>
                </c:pt>
                <c:pt idx="21">
                  <c:v>0.1782178217821782</c:v>
                </c:pt>
                <c:pt idx="22">
                  <c:v>0.1782178217821782</c:v>
                </c:pt>
                <c:pt idx="23">
                  <c:v>0.18446601941747573</c:v>
                </c:pt>
                <c:pt idx="24">
                  <c:v>0.17716535433070865</c:v>
                </c:pt>
                <c:pt idx="25">
                  <c:v>0.17733990147783252</c:v>
                </c:pt>
                <c:pt idx="26">
                  <c:v>0.14883720930232558</c:v>
                </c:pt>
                <c:pt idx="27">
                  <c:v>0.11065573770491803</c:v>
                </c:pt>
                <c:pt idx="28">
                  <c:v>0.1542056074766355</c:v>
                </c:pt>
                <c:pt idx="29">
                  <c:v>0.136</c:v>
                </c:pt>
                <c:pt idx="30">
                  <c:v>0.13725490196078433</c:v>
                </c:pt>
                <c:pt idx="31">
                  <c:v>0.14691943127962084</c:v>
                </c:pt>
                <c:pt idx="32">
                  <c:v>0.14009661835748793</c:v>
                </c:pt>
                <c:pt idx="33">
                  <c:v>0.1700404858299595</c:v>
                </c:pt>
                <c:pt idx="34">
                  <c:v>0.12871287128712872</c:v>
                </c:pt>
                <c:pt idx="35">
                  <c:v>0.15806451612903225</c:v>
                </c:pt>
                <c:pt idx="36">
                  <c:v>0.19591836734693877</c:v>
                </c:pt>
                <c:pt idx="37">
                  <c:v>0.125</c:v>
                </c:pt>
                <c:pt idx="38">
                  <c:v>0.2052401746724891</c:v>
                </c:pt>
                <c:pt idx="39">
                  <c:v>0.11848341232227488</c:v>
                </c:pt>
                <c:pt idx="40">
                  <c:v>0.14855072463768115</c:v>
                </c:pt>
                <c:pt idx="41">
                  <c:v>0.15151515151515152</c:v>
                </c:pt>
                <c:pt idx="42">
                  <c:v>0.16013071895424835</c:v>
                </c:pt>
                <c:pt idx="43">
                  <c:v>0.17681159420289855</c:v>
                </c:pt>
                <c:pt idx="44">
                  <c:v>0.13580246913580246</c:v>
                </c:pt>
                <c:pt idx="45">
                  <c:v>0.17102966841186737</c:v>
                </c:pt>
                <c:pt idx="46">
                  <c:v>0.17889908256880735</c:v>
                </c:pt>
                <c:pt idx="47">
                  <c:v>0.2016949152542373</c:v>
                </c:pt>
                <c:pt idx="48">
                  <c:v>0.2020997375328084</c:v>
                </c:pt>
                <c:pt idx="49">
                  <c:v>0.24036697247706423</c:v>
                </c:pt>
                <c:pt idx="50">
                  <c:v>0.21011058451816747</c:v>
                </c:pt>
                <c:pt idx="51">
                  <c:v>0.20970873786407768</c:v>
                </c:pt>
                <c:pt idx="52">
                  <c:v>0.21643286573146292</c:v>
                </c:pt>
                <c:pt idx="53">
                  <c:v>0.1769041769041769</c:v>
                </c:pt>
                <c:pt idx="54">
                  <c:v>0.1868421052631579</c:v>
                </c:pt>
                <c:pt idx="55">
                  <c:v>0.18734177215189873</c:v>
                </c:pt>
                <c:pt idx="56">
                  <c:v>0.18010752688172044</c:v>
                </c:pt>
                <c:pt idx="57">
                  <c:v>0.16981132075471697</c:v>
                </c:pt>
                <c:pt idx="58">
                  <c:v>0.18126272912423624</c:v>
                </c:pt>
                <c:pt idx="59">
                  <c:v>0.1621129326047359</c:v>
                </c:pt>
                <c:pt idx="60">
                  <c:v>0.1807465618860511</c:v>
                </c:pt>
                <c:pt idx="61">
                  <c:v>0.18032786885245902</c:v>
                </c:pt>
                <c:pt idx="62">
                  <c:v>0.18290258449304175</c:v>
                </c:pt>
                <c:pt idx="63">
                  <c:v>0.19922630560928434</c:v>
                </c:pt>
                <c:pt idx="64">
                  <c:v>0.1580952380952381</c:v>
                </c:pt>
                <c:pt idx="65">
                  <c:v>0.17291666666666666</c:v>
                </c:pt>
                <c:pt idx="66">
                  <c:v>0.13813229571984437</c:v>
                </c:pt>
                <c:pt idx="67">
                  <c:v>0.14435146443514643</c:v>
                </c:pt>
                <c:pt idx="68">
                  <c:v>0.15584415584415584</c:v>
                </c:pt>
                <c:pt idx="69">
                  <c:v>0.13924050632911392</c:v>
                </c:pt>
                <c:pt idx="70">
                  <c:v>0.136986301369863</c:v>
                </c:pt>
                <c:pt idx="71">
                  <c:v>0.13991769547325103</c:v>
                </c:pt>
                <c:pt idx="72">
                  <c:v>0.11594202898550725</c:v>
                </c:pt>
                <c:pt idx="73">
                  <c:v>0.1228813559322034</c:v>
                </c:pt>
                <c:pt idx="74">
                  <c:v>0.13127413127413126</c:v>
                </c:pt>
                <c:pt idx="75">
                  <c:v>0.12727272727272726</c:v>
                </c:pt>
                <c:pt idx="76">
                  <c:v>0.11650485436893204</c:v>
                </c:pt>
                <c:pt idx="77">
                  <c:v>0.12135922330097088</c:v>
                </c:pt>
                <c:pt idx="78">
                  <c:v>0.1443850267379679</c:v>
                </c:pt>
                <c:pt idx="79">
                  <c:v>0.12601626016260162</c:v>
                </c:pt>
                <c:pt idx="80">
                  <c:v>0.09734513274336283</c:v>
                </c:pt>
                <c:pt idx="81">
                  <c:v>0.09965635738831616</c:v>
                </c:pt>
                <c:pt idx="82">
                  <c:v>0.09259259259259259</c:v>
                </c:pt>
                <c:pt idx="83">
                  <c:v>0.08333333333333333</c:v>
                </c:pt>
                <c:pt idx="84">
                  <c:v>0.07792207792207792</c:v>
                </c:pt>
                <c:pt idx="85">
                  <c:v>0.10952380952380952</c:v>
                </c:pt>
                <c:pt idx="86">
                  <c:v>0.11888111888111888</c:v>
                </c:pt>
                <c:pt idx="87">
                  <c:v>0.11371237458193979</c:v>
                </c:pt>
                <c:pt idx="88">
                  <c:v>0.10837438423645321</c:v>
                </c:pt>
                <c:pt idx="89">
                  <c:v>0.10596026490066225</c:v>
                </c:pt>
                <c:pt idx="90">
                  <c:v>0.10625</c:v>
                </c:pt>
                <c:pt idx="91">
                  <c:v>0.12568306010928962</c:v>
                </c:pt>
                <c:pt idx="92">
                  <c:v>0.10434782608695652</c:v>
                </c:pt>
                <c:pt idx="93">
                  <c:v>0.1152073732718894</c:v>
                </c:pt>
                <c:pt idx="94">
                  <c:v>0.1488095238095238</c:v>
                </c:pt>
                <c:pt idx="95">
                  <c:v>0.1289198606271777</c:v>
                </c:pt>
                <c:pt idx="96">
                  <c:v>0.15012722646310434</c:v>
                </c:pt>
                <c:pt idx="97">
                  <c:v>0.1493212669683258</c:v>
                </c:pt>
                <c:pt idx="98">
                  <c:v>0.12121212121212122</c:v>
                </c:pt>
                <c:pt idx="99">
                  <c:v>0.12462462462462462</c:v>
                </c:pt>
                <c:pt idx="100">
                  <c:v>0.14144736842105263</c:v>
                </c:pt>
                <c:pt idx="101">
                  <c:v>0.1618705035971223</c:v>
                </c:pt>
                <c:pt idx="102">
                  <c:v>0.13068181818181818</c:v>
                </c:pt>
                <c:pt idx="103">
                  <c:v>0.1314655172413793</c:v>
                </c:pt>
                <c:pt idx="104">
                  <c:v>0.1114058355437665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5911593385463402</c:v>
                </c:pt>
                <c:pt idx="1">
                  <c:v>0.047667787388392856</c:v>
                </c:pt>
                <c:pt idx="2">
                  <c:v>0.06864953503978526</c:v>
                </c:pt>
                <c:pt idx="3">
                  <c:v>0.050190057334638515</c:v>
                </c:pt>
                <c:pt idx="4">
                  <c:v>0.05092782742250768</c:v>
                </c:pt>
                <c:pt idx="5">
                  <c:v>0.059009476959300367</c:v>
                </c:pt>
                <c:pt idx="6">
                  <c:v>0.05213731331734117</c:v>
                </c:pt>
                <c:pt idx="7">
                  <c:v>0.06695009794049465</c:v>
                </c:pt>
                <c:pt idx="8">
                  <c:v>0.05123569237354641</c:v>
                </c:pt>
                <c:pt idx="9">
                  <c:v>0.050926399884842384</c:v>
                </c:pt>
                <c:pt idx="10">
                  <c:v>0.05691307233050374</c:v>
                </c:pt>
                <c:pt idx="11">
                  <c:v>0.053578059821533616</c:v>
                </c:pt>
                <c:pt idx="12">
                  <c:v>0.05120566820637282</c:v>
                </c:pt>
                <c:pt idx="13">
                  <c:v>0.06356608679386457</c:v>
                </c:pt>
                <c:pt idx="14">
                  <c:v>0.06620136064059559</c:v>
                </c:pt>
                <c:pt idx="15">
                  <c:v>0.054415938237377504</c:v>
                </c:pt>
                <c:pt idx="16">
                  <c:v>0.05653144668677028</c:v>
                </c:pt>
                <c:pt idx="17">
                  <c:v>0.045368851140494805</c:v>
                </c:pt>
                <c:pt idx="18">
                  <c:v>0.05682813260910283</c:v>
                </c:pt>
                <c:pt idx="19">
                  <c:v>0.06630096803135477</c:v>
                </c:pt>
                <c:pt idx="20">
                  <c:v>0.06028072699734949</c:v>
                </c:pt>
                <c:pt idx="21">
                  <c:v>0.0663184884884885</c:v>
                </c:pt>
                <c:pt idx="22">
                  <c:v>0.06846065213233887</c:v>
                </c:pt>
                <c:pt idx="23">
                  <c:v>0.06783706503828632</c:v>
                </c:pt>
                <c:pt idx="24">
                  <c:v>0.05985002421094335</c:v>
                </c:pt>
                <c:pt idx="25">
                  <c:v>0.053304190494971405</c:v>
                </c:pt>
                <c:pt idx="26">
                  <c:v>0.05972437570350607</c:v>
                </c:pt>
                <c:pt idx="27">
                  <c:v>0.05628466693910912</c:v>
                </c:pt>
                <c:pt idx="28">
                  <c:v>0.08922785301170828</c:v>
                </c:pt>
                <c:pt idx="29">
                  <c:v>0.11651646102919049</c:v>
                </c:pt>
                <c:pt idx="30">
                  <c:v>0.05713925533925534</c:v>
                </c:pt>
                <c:pt idx="31">
                  <c:v>0.08834766456880155</c:v>
                </c:pt>
                <c:pt idx="32">
                  <c:v>0.05655313037624355</c:v>
                </c:pt>
                <c:pt idx="33">
                  <c:v>0.07417905786831296</c:v>
                </c:pt>
                <c:pt idx="34">
                  <c:v>0.07982998283925312</c:v>
                </c:pt>
                <c:pt idx="35">
                  <c:v>0.08035868398341298</c:v>
                </c:pt>
                <c:pt idx="36">
                  <c:v>0.06385555221938286</c:v>
                </c:pt>
                <c:pt idx="37">
                  <c:v>0.053174763406940065</c:v>
                </c:pt>
                <c:pt idx="38">
                  <c:v>0.07342076872592086</c:v>
                </c:pt>
                <c:pt idx="39">
                  <c:v>0.05439692616372392</c:v>
                </c:pt>
                <c:pt idx="40">
                  <c:v>0.06814786301264593</c:v>
                </c:pt>
                <c:pt idx="41">
                  <c:v>0.052600386453063516</c:v>
                </c:pt>
                <c:pt idx="42">
                  <c:v>0.060898449972874524</c:v>
                </c:pt>
                <c:pt idx="43">
                  <c:v>0.06563351543294181</c:v>
                </c:pt>
                <c:pt idx="44">
                  <c:v>0.0749148710081382</c:v>
                </c:pt>
                <c:pt idx="45">
                  <c:v>0.07345844504021448</c:v>
                </c:pt>
                <c:pt idx="46">
                  <c:v>0.07477922112687355</c:v>
                </c:pt>
                <c:pt idx="47">
                  <c:v>0.07083317754661038</c:v>
                </c:pt>
                <c:pt idx="48">
                  <c:v>0.05032679948821056</c:v>
                </c:pt>
                <c:pt idx="49">
                  <c:v>0.05875874576817669</c:v>
                </c:pt>
                <c:pt idx="50">
                  <c:v>0.057464364864431516</c:v>
                </c:pt>
                <c:pt idx="51">
                  <c:v>0.05042184626436782</c:v>
                </c:pt>
              </c:numCache>
            </c:numRef>
          </c:xVal>
          <c:yVal>
            <c:numRef>
              <c:f>Sheet1!$B$109:$B$160</c:f>
              <c:numCache>
                <c:formatCode>General</c:formatCode>
                <c:ptCount val="52"/>
                <c:pt idx="0">
                  <c:v>0.12028301886792453</c:v>
                </c:pt>
                <c:pt idx="1">
                  <c:v>0.14647887323943662</c:v>
                </c:pt>
                <c:pt idx="2">
                  <c:v>0.12903225806451613</c:v>
                </c:pt>
                <c:pt idx="3">
                  <c:v>0.13924050632911392</c:v>
                </c:pt>
                <c:pt idx="4">
                  <c:v>0.14868804664723032</c:v>
                </c:pt>
                <c:pt idx="5">
                  <c:v>0.14713896457765668</c:v>
                </c:pt>
                <c:pt idx="6">
                  <c:v>0.14769975786924938</c:v>
                </c:pt>
                <c:pt idx="7">
                  <c:v>0.13583815028901733</c:v>
                </c:pt>
                <c:pt idx="8">
                  <c:v>0.13804713804713806</c:v>
                </c:pt>
                <c:pt idx="9">
                  <c:v>0.14497041420118342</c:v>
                </c:pt>
                <c:pt idx="10">
                  <c:v>0.17732558139534885</c:v>
                </c:pt>
                <c:pt idx="11">
                  <c:v>0.21774193548387097</c:v>
                </c:pt>
                <c:pt idx="12">
                  <c:v>0.2035623409669211</c:v>
                </c:pt>
                <c:pt idx="13">
                  <c:v>0.21574344023323616</c:v>
                </c:pt>
                <c:pt idx="14">
                  <c:v>0.2125</c:v>
                </c:pt>
                <c:pt idx="15">
                  <c:v>0.1992619926199262</c:v>
                </c:pt>
                <c:pt idx="16">
                  <c:v>0.15865384615384615</c:v>
                </c:pt>
                <c:pt idx="17">
                  <c:v>0.13636363636363635</c:v>
                </c:pt>
                <c:pt idx="18">
                  <c:v>0.17209302325581396</c:v>
                </c:pt>
                <c:pt idx="19">
                  <c:v>0.16</c:v>
                </c:pt>
                <c:pt idx="20">
                  <c:v>0.15920398009950248</c:v>
                </c:pt>
                <c:pt idx="21">
                  <c:v>0.13609467455621302</c:v>
                </c:pt>
                <c:pt idx="22">
                  <c:v>0.14942528735632185</c:v>
                </c:pt>
                <c:pt idx="23">
                  <c:v>0.13953488372093023</c:v>
                </c:pt>
                <c:pt idx="24">
                  <c:v>0.15048543689320387</c:v>
                </c:pt>
                <c:pt idx="25">
                  <c:v>0.1836734693877551</c:v>
                </c:pt>
                <c:pt idx="26">
                  <c:v>0.12365591397849462</c:v>
                </c:pt>
                <c:pt idx="27">
                  <c:v>0.12334801762114538</c:v>
                </c:pt>
                <c:pt idx="28">
                  <c:v>0.10550458715596331</c:v>
                </c:pt>
                <c:pt idx="29">
                  <c:v>0.10215053763440861</c:v>
                </c:pt>
                <c:pt idx="30">
                  <c:v>0.14383561643835616</c:v>
                </c:pt>
                <c:pt idx="31">
                  <c:v>0.0958904109589041</c:v>
                </c:pt>
                <c:pt idx="32">
                  <c:v>0.09340659340659341</c:v>
                </c:pt>
                <c:pt idx="33">
                  <c:v>0.11494252873563218</c:v>
                </c:pt>
                <c:pt idx="34">
                  <c:v>0.14666666666666667</c:v>
                </c:pt>
                <c:pt idx="35">
                  <c:v>0.11467889908256881</c:v>
                </c:pt>
                <c:pt idx="36">
                  <c:v>0.12389380530973451</c:v>
                </c:pt>
                <c:pt idx="37">
                  <c:v>0.1417910447761194</c:v>
                </c:pt>
                <c:pt idx="38">
                  <c:v>0.11486486486486487</c:v>
                </c:pt>
                <c:pt idx="39">
                  <c:v>0.14893617021276595</c:v>
                </c:pt>
                <c:pt idx="40">
                  <c:v>0.1340782122905028</c:v>
                </c:pt>
                <c:pt idx="41">
                  <c:v>0.11616161616161616</c:v>
                </c:pt>
                <c:pt idx="42">
                  <c:v>0.11891891891891893</c:v>
                </c:pt>
                <c:pt idx="43">
                  <c:v>0.12927756653992395</c:v>
                </c:pt>
                <c:pt idx="44">
                  <c:v>0.12025316455696203</c:v>
                </c:pt>
                <c:pt idx="45">
                  <c:v>0.12850467289719625</c:v>
                </c:pt>
                <c:pt idx="46">
                  <c:v>0.12686567164179105</c:v>
                </c:pt>
                <c:pt idx="47">
                  <c:v>0.14095744680851063</c:v>
                </c:pt>
                <c:pt idx="48">
                  <c:v>0.13211845102505695</c:v>
                </c:pt>
                <c:pt idx="49">
                  <c:v>0.13508771929824562</c:v>
                </c:pt>
                <c:pt idx="50">
                  <c:v>0.12302070645554203</c:v>
                </c:pt>
                <c:pt idx="51">
                  <c:v>0.161654135338345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941366102029085</c:v>
                </c:pt>
              </c:numCache>
            </c:numRef>
          </c:xVal>
          <c:yVal>
            <c:numRef>
              <c:f>Sheet1!$B$163:$B$164</c:f>
              <c:numCache>
                <c:formatCode>General</c:formatCode>
                <c:ptCount val="2"/>
                <c:pt idx="0">
                  <c:v>0.2210580039889709</c:v>
                </c:pt>
                <c:pt idx="1">
                  <c:v>0.22105800398897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941366102029085</c:v>
                </c:pt>
                <c:pt idx="1">
                  <c:v>-0.01941366102029085</c:v>
                </c:pt>
              </c:numCache>
            </c:numRef>
          </c:xVal>
          <c:yVal>
            <c:numRef>
              <c:f>Sheet1!$B$167:$B$168</c:f>
              <c:numCache>
                <c:formatCode>General</c:formatCode>
                <c:ptCount val="2"/>
                <c:pt idx="0">
                  <c:v>0.22105800398897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27515300314979115</c:v>
                </c:pt>
              </c:numCache>
            </c:numRef>
          </c:xVal>
          <c:yVal>
            <c:numRef>
              <c:f>Sheet1!$B$171:$B$172</c:f>
              <c:numCache>
                <c:formatCode>General</c:formatCode>
                <c:ptCount val="2"/>
                <c:pt idx="0">
                  <c:v>0.17642422040996145</c:v>
                </c:pt>
                <c:pt idx="1">
                  <c:v>0.176424220409961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27515300314979115</c:v>
                </c:pt>
                <c:pt idx="1">
                  <c:v>0.027515300314979115</c:v>
                </c:pt>
              </c:numCache>
            </c:numRef>
          </c:xVal>
          <c:yVal>
            <c:numRef>
              <c:f>Sheet1!$B$175:$B$176</c:f>
              <c:numCache>
                <c:formatCode>General</c:formatCode>
                <c:ptCount val="2"/>
                <c:pt idx="0">
                  <c:v>0.176424220409961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7423731151991028</c:v>
                </c:pt>
              </c:numCache>
            </c:numRef>
          </c:xVal>
          <c:yVal>
            <c:numRef>
              <c:f>Sheet1!$B$179:$B$180</c:f>
              <c:numCache>
                <c:formatCode>General</c:formatCode>
                <c:ptCount val="2"/>
                <c:pt idx="0">
                  <c:v>0.13198726554964446</c:v>
                </c:pt>
                <c:pt idx="1">
                  <c:v>0.131987265549644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7423731151991028</c:v>
                </c:pt>
                <c:pt idx="1">
                  <c:v>0.07423731151991028</c:v>
                </c:pt>
              </c:numCache>
            </c:numRef>
          </c:xVal>
          <c:yVal>
            <c:numRef>
              <c:f>Sheet1!$B$183:$B$184</c:f>
              <c:numCache>
                <c:formatCode>General</c:formatCode>
                <c:ptCount val="2"/>
                <c:pt idx="0">
                  <c:v>0.131987265549644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5911593385463402</c:v>
                </c:pt>
                <c:pt idx="1">
                  <c:v>0.047667787388392856</c:v>
                </c:pt>
                <c:pt idx="2">
                  <c:v>0.06864953503978526</c:v>
                </c:pt>
                <c:pt idx="3">
                  <c:v>0.050190057334638515</c:v>
                </c:pt>
                <c:pt idx="4">
                  <c:v>0.05092782742250768</c:v>
                </c:pt>
                <c:pt idx="5">
                  <c:v>0.059009476959300367</c:v>
                </c:pt>
                <c:pt idx="6">
                  <c:v>0.05213731331734117</c:v>
                </c:pt>
                <c:pt idx="7">
                  <c:v>0.06695009794049465</c:v>
                </c:pt>
                <c:pt idx="8">
                  <c:v>0.05123569237354641</c:v>
                </c:pt>
                <c:pt idx="9">
                  <c:v>0.050926399884842384</c:v>
                </c:pt>
                <c:pt idx="10">
                  <c:v>0.05691307233050374</c:v>
                </c:pt>
                <c:pt idx="11">
                  <c:v>0.053578059821533616</c:v>
                </c:pt>
                <c:pt idx="12">
                  <c:v>0.05120566820637282</c:v>
                </c:pt>
                <c:pt idx="13">
                  <c:v>0.06356608679386457</c:v>
                </c:pt>
                <c:pt idx="14">
                  <c:v>0.06620136064059559</c:v>
                </c:pt>
                <c:pt idx="15">
                  <c:v>0.054415938237377504</c:v>
                </c:pt>
                <c:pt idx="16">
                  <c:v>0.05653144668677028</c:v>
                </c:pt>
                <c:pt idx="17">
                  <c:v>0.045368851140494805</c:v>
                </c:pt>
                <c:pt idx="18">
                  <c:v>0.05682813260910283</c:v>
                </c:pt>
                <c:pt idx="19">
                  <c:v>0.06630096803135477</c:v>
                </c:pt>
                <c:pt idx="20">
                  <c:v>0.06028072699734949</c:v>
                </c:pt>
                <c:pt idx="21">
                  <c:v>0.0663184884884885</c:v>
                </c:pt>
                <c:pt idx="22">
                  <c:v>0.06846065213233887</c:v>
                </c:pt>
                <c:pt idx="23">
                  <c:v>0.06783706503828632</c:v>
                </c:pt>
                <c:pt idx="24">
                  <c:v>0.05985002421094335</c:v>
                </c:pt>
                <c:pt idx="25">
                  <c:v>0.053304190494971405</c:v>
                </c:pt>
                <c:pt idx="26">
                  <c:v>0.05972437570350607</c:v>
                </c:pt>
                <c:pt idx="27">
                  <c:v>0.05628466693910912</c:v>
                </c:pt>
                <c:pt idx="28">
                  <c:v>0.08922785301170828</c:v>
                </c:pt>
                <c:pt idx="29">
                  <c:v>0.11651646102919049</c:v>
                </c:pt>
                <c:pt idx="30">
                  <c:v>0.05713925533925534</c:v>
                </c:pt>
                <c:pt idx="31">
                  <c:v>0.08834766456880155</c:v>
                </c:pt>
                <c:pt idx="32">
                  <c:v>0.05655313037624355</c:v>
                </c:pt>
                <c:pt idx="33">
                  <c:v>0.07417905786831296</c:v>
                </c:pt>
                <c:pt idx="34">
                  <c:v>0.07982998283925312</c:v>
                </c:pt>
                <c:pt idx="35">
                  <c:v>0.08035868398341298</c:v>
                </c:pt>
                <c:pt idx="36">
                  <c:v>0.06385555221938286</c:v>
                </c:pt>
                <c:pt idx="37">
                  <c:v>0.053174763406940065</c:v>
                </c:pt>
                <c:pt idx="38">
                  <c:v>0.07342076872592086</c:v>
                </c:pt>
                <c:pt idx="39">
                  <c:v>0.05439692616372392</c:v>
                </c:pt>
                <c:pt idx="40">
                  <c:v>0.06814786301264593</c:v>
                </c:pt>
                <c:pt idx="41">
                  <c:v>0.052600386453063516</c:v>
                </c:pt>
                <c:pt idx="42">
                  <c:v>0.060898449972874524</c:v>
                </c:pt>
                <c:pt idx="43">
                  <c:v>0.06563351543294181</c:v>
                </c:pt>
                <c:pt idx="44">
                  <c:v>0.0749148710081382</c:v>
                </c:pt>
                <c:pt idx="45">
                  <c:v>0.07345844504021448</c:v>
                </c:pt>
                <c:pt idx="46">
                  <c:v>0.07477922112687355</c:v>
                </c:pt>
                <c:pt idx="47">
                  <c:v>0.07083317754661038</c:v>
                </c:pt>
                <c:pt idx="48">
                  <c:v>0.05032679948821056</c:v>
                </c:pt>
                <c:pt idx="49">
                  <c:v>0.05875874576817669</c:v>
                </c:pt>
                <c:pt idx="50">
                  <c:v>0.057464364864431516</c:v>
                </c:pt>
                <c:pt idx="51">
                  <c:v>0.05042184626436782</c:v>
                </c:pt>
                <c:pt idx="52">
                  <c:v>0.027515300314979115</c:v>
                </c:pt>
                <c:pt idx="53">
                  <c:v>-0.01941366102029085</c:v>
                </c:pt>
                <c:pt idx="54">
                  <c:v>0.07423731151991028</c:v>
                </c:pt>
              </c:numCache>
            </c:numRef>
          </c:xVal>
          <c:yVal>
            <c:numRef>
              <c:f>Sheet1!$B$187:$B$241</c:f>
              <c:numCache>
                <c:formatCode>General</c:formatCode>
                <c:ptCount val="55"/>
                <c:pt idx="0">
                  <c:v>0.14636909457216668</c:v>
                </c:pt>
                <c:pt idx="1">
                  <c:v>0.15725734091762716</c:v>
                </c:pt>
                <c:pt idx="2">
                  <c:v>0.13730175790160576</c:v>
                </c:pt>
                <c:pt idx="3">
                  <c:v>0.15485842886619083</c:v>
                </c:pt>
                <c:pt idx="4">
                  <c:v>0.15415674126228746</c:v>
                </c:pt>
                <c:pt idx="5">
                  <c:v>0.1464703449278451</c:v>
                </c:pt>
                <c:pt idx="6">
                  <c:v>0.15300640828802473</c:v>
                </c:pt>
                <c:pt idx="7">
                  <c:v>0.1389180797961811</c:v>
                </c:pt>
                <c:pt idx="8">
                  <c:v>0.15386393321358477</c:v>
                </c:pt>
                <c:pt idx="9">
                  <c:v>0.1541580989826672</c:v>
                </c:pt>
                <c:pt idx="10">
                  <c:v>0.14846421966603196</c:v>
                </c:pt>
                <c:pt idx="11">
                  <c:v>0.15163612508058433</c:v>
                </c:pt>
                <c:pt idx="12">
                  <c:v>0.15389248897407118</c:v>
                </c:pt>
                <c:pt idx="13">
                  <c:v>0.14213658744796087</c:v>
                </c:pt>
                <c:pt idx="14">
                  <c:v>0.1396301982332902</c:v>
                </c:pt>
                <c:pt idx="15">
                  <c:v>0.1508392251958602</c:v>
                </c:pt>
                <c:pt idx="16">
                  <c:v>0.14882718095701195</c:v>
                </c:pt>
                <c:pt idx="17">
                  <c:v>0.15944384196156788</c:v>
                </c:pt>
                <c:pt idx="18">
                  <c:v>0.14854500519876906</c:v>
                </c:pt>
                <c:pt idx="19">
                  <c:v>0.13953546239010262</c:v>
                </c:pt>
                <c:pt idx="20">
                  <c:v>0.14526126853964794</c:v>
                </c:pt>
                <c:pt idx="21">
                  <c:v>0.13951879881456924</c:v>
                </c:pt>
                <c:pt idx="22">
                  <c:v>0.13748140301994763</c:v>
                </c:pt>
                <c:pt idx="23">
                  <c:v>0.13807449203378197</c:v>
                </c:pt>
                <c:pt idx="24">
                  <c:v>0.14567090673338484</c:v>
                </c:pt>
                <c:pt idx="25">
                  <c:v>0.15189660014551015</c:v>
                </c:pt>
                <c:pt idx="26">
                  <c:v>0.1457904100875698</c:v>
                </c:pt>
                <c:pt idx="27">
                  <c:v>0.14906189132637424</c:v>
                </c:pt>
                <c:pt idx="28">
                  <c:v>0.11772987383161775</c:v>
                </c:pt>
                <c:pt idx="29">
                  <c:v>0.09177588316638377</c:v>
                </c:pt>
                <c:pt idx="30">
                  <c:v>0.14824909870075542</c:v>
                </c:pt>
                <c:pt idx="31">
                  <c:v>0.11856701446613502</c:v>
                </c:pt>
                <c:pt idx="32">
                  <c:v>0.1488065577623874</c:v>
                </c:pt>
                <c:pt idx="33">
                  <c:v>0.13204267016129795</c:v>
                </c:pt>
                <c:pt idx="34">
                  <c:v>0.12666811775277056</c:v>
                </c:pt>
                <c:pt idx="35">
                  <c:v>0.12616527405508424</c:v>
                </c:pt>
                <c:pt idx="36">
                  <c:v>0.14186127905014898</c:v>
                </c:pt>
                <c:pt idx="37">
                  <c:v>0.15201969727939263</c:v>
                </c:pt>
                <c:pt idx="38">
                  <c:v>0.1327638732842489</c:v>
                </c:pt>
                <c:pt idx="39">
                  <c:v>0.15085730743669182</c:v>
                </c:pt>
                <c:pt idx="40">
                  <c:v>0.1377788944085702</c:v>
                </c:pt>
                <c:pt idx="41">
                  <c:v>0.15256598289754095</c:v>
                </c:pt>
                <c:pt idx="42">
                  <c:v>0.14467375684501677</c:v>
                </c:pt>
                <c:pt idx="43">
                  <c:v>0.14017027155653566</c:v>
                </c:pt>
                <c:pt idx="44">
                  <c:v>0.13134284379601957</c:v>
                </c:pt>
                <c:pt idx="45">
                  <c:v>0.1327280396239592</c:v>
                </c:pt>
                <c:pt idx="46">
                  <c:v>0.131471859381931</c:v>
                </c:pt>
                <c:pt idx="47">
                  <c:v>0.1352249118711289</c:v>
                </c:pt>
                <c:pt idx="48">
                  <c:v>0.1547283744282701</c:v>
                </c:pt>
                <c:pt idx="49">
                  <c:v>0.14670881348548417</c:v>
                </c:pt>
                <c:pt idx="50">
                  <c:v>0.14793988946677047</c:v>
                </c:pt>
                <c:pt idx="51">
                  <c:v>0.15463797615146663</c:v>
                </c:pt>
                <c:pt idx="52">
                  <c:v>0.17642422040996145</c:v>
                </c:pt>
                <c:pt idx="53">
                  <c:v>0.2210580039889709</c:v>
                </c:pt>
                <c:pt idx="54">
                  <c:v>0.1319872655496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38805970149254"/>
          <c:min val="0.062337662337662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5.0010262139474</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5.0010262139474</c:v>
                </c:pt>
                <c:pt idx="1">
                  <c:v>1055.0010262139474</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8.4643720616702</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8.4643720616702</c:v>
                </c:pt>
                <c:pt idx="1">
                  <c:v>1148.4643720616702</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4116258113656</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4116258113656</c:v>
                </c:pt>
                <c:pt idx="1">
                  <c:v>1305.4116258113656</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pt idx="52">
                  <c:v>1148.4643720616702</c:v>
                </c:pt>
                <c:pt idx="53">
                  <c:v>1055.0010262139474</c:v>
                </c:pt>
                <c:pt idx="54">
                  <c:v>1305.4116258113656</c:v>
                </c:pt>
              </c:numCache>
            </c:numRef>
          </c:xVal>
          <c:yVal>
            <c:numRef>
              <c:f>Sheet1!$B$187:$B$241</c:f>
              <c:numCache>
                <c:formatCode>General</c:formatCode>
                <c:ptCount val="55"/>
                <c:pt idx="0">
                  <c:v>0.17372492487166913</c:v>
                </c:pt>
                <c:pt idx="1">
                  <c:v>0.17795893789407116</c:v>
                </c:pt>
                <c:pt idx="2">
                  <c:v>0.1807891909165377</c:v>
                </c:pt>
                <c:pt idx="3">
                  <c:v>0.1772781908170049</c:v>
                </c:pt>
                <c:pt idx="4">
                  <c:v>0.1766406215596605</c:v>
                </c:pt>
                <c:pt idx="5">
                  <c:v>0.17441368073787736</c:v>
                </c:pt>
                <c:pt idx="6">
                  <c:v>0.1858652709115797</c:v>
                </c:pt>
                <c:pt idx="7">
                  <c:v>0.1748215652184218</c:v>
                </c:pt>
                <c:pt idx="8">
                  <c:v>0.16149583547878182</c:v>
                </c:pt>
                <c:pt idx="9">
                  <c:v>0.1679125502972305</c:v>
                </c:pt>
                <c:pt idx="10">
                  <c:v>0.16478792867510117</c:v>
                </c:pt>
                <c:pt idx="11">
                  <c:v>0.19182770664903012</c:v>
                </c:pt>
                <c:pt idx="12">
                  <c:v>0.18817102286129603</c:v>
                </c:pt>
                <c:pt idx="13">
                  <c:v>0.1769407438856841</c:v>
                </c:pt>
                <c:pt idx="14">
                  <c:v>0.1775852441448118</c:v>
                </c:pt>
                <c:pt idx="15">
                  <c:v>0.17143417903825398</c:v>
                </c:pt>
                <c:pt idx="16">
                  <c:v>0.16446091140914326</c:v>
                </c:pt>
                <c:pt idx="17">
                  <c:v>0.16821844293095886</c:v>
                </c:pt>
                <c:pt idx="18">
                  <c:v>0.16746959627417002</c:v>
                </c:pt>
                <c:pt idx="19">
                  <c:v>0.14852032030532664</c:v>
                </c:pt>
                <c:pt idx="20">
                  <c:v>0.1480383172171951</c:v>
                </c:pt>
                <c:pt idx="21">
                  <c:v>0.16249642009986298</c:v>
                </c:pt>
                <c:pt idx="22">
                  <c:v>0.17251521634032224</c:v>
                </c:pt>
                <c:pt idx="23">
                  <c:v>0.17308068991404507</c:v>
                </c:pt>
                <c:pt idx="24">
                  <c:v>0.17158150427950922</c:v>
                </c:pt>
                <c:pt idx="25">
                  <c:v>0.18025328187912978</c:v>
                </c:pt>
                <c:pt idx="26">
                  <c:v>0.16732086161867654</c:v>
                </c:pt>
                <c:pt idx="27">
                  <c:v>0.16311951384391352</c:v>
                </c:pt>
                <c:pt idx="28">
                  <c:v>0.16758045914001501</c:v>
                </c:pt>
                <c:pt idx="29">
                  <c:v>0.16563185275826678</c:v>
                </c:pt>
                <c:pt idx="30">
                  <c:v>0.17339231969279023</c:v>
                </c:pt>
                <c:pt idx="31">
                  <c:v>0.18799448129194943</c:v>
                </c:pt>
                <c:pt idx="32">
                  <c:v>0.1814741496549747</c:v>
                </c:pt>
                <c:pt idx="33">
                  <c:v>0.17190371295571313</c:v>
                </c:pt>
                <c:pt idx="34">
                  <c:v>0.16602139827237022</c:v>
                </c:pt>
                <c:pt idx="35">
                  <c:v>0.17073630343285717</c:v>
                </c:pt>
                <c:pt idx="36">
                  <c:v>0.1666599624103534</c:v>
                </c:pt>
                <c:pt idx="37">
                  <c:v>0.15581442035909096</c:v>
                </c:pt>
                <c:pt idx="38">
                  <c:v>0.159529370989568</c:v>
                </c:pt>
                <c:pt idx="39">
                  <c:v>0.16753512574557586</c:v>
                </c:pt>
                <c:pt idx="40">
                  <c:v>0.16129370889567532</c:v>
                </c:pt>
                <c:pt idx="41">
                  <c:v>0.15065108933203036</c:v>
                </c:pt>
                <c:pt idx="42">
                  <c:v>0.15194290867876228</c:v>
                </c:pt>
                <c:pt idx="43">
                  <c:v>0.15276356913632508</c:v>
                </c:pt>
                <c:pt idx="44">
                  <c:v>0.16107783637841006</c:v>
                </c:pt>
                <c:pt idx="45">
                  <c:v>0.1691107679571998</c:v>
                </c:pt>
                <c:pt idx="46">
                  <c:v>0.16939948231856572</c:v>
                </c:pt>
                <c:pt idx="47">
                  <c:v>0.17440452783600083</c:v>
                </c:pt>
                <c:pt idx="48">
                  <c:v>0.17601374726918267</c:v>
                </c:pt>
                <c:pt idx="49">
                  <c:v>0.17176180981393907</c:v>
                </c:pt>
                <c:pt idx="50">
                  <c:v>0.19276937775495318</c:v>
                </c:pt>
                <c:pt idx="51">
                  <c:v>0.19825874774867686</c:v>
                </c:pt>
                <c:pt idx="52">
                  <c:v>0.1844681646631304</c:v>
                </c:pt>
                <c:pt idx="53">
                  <c:v>0.19996564353261542</c:v>
                </c:pt>
                <c:pt idx="54">
                  <c:v>0.1584442006529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2.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1.2597</c:v>
                </c:pt>
                <c:pt idx="1">
                  <c:v>659.012</c:v>
                </c:pt>
                <c:pt idx="2">
                  <c:v>661.8556</c:v>
                </c:pt>
                <c:pt idx="3">
                  <c:v>665.76</c:v>
                </c:pt>
                <c:pt idx="4">
                  <c:v>657.7937</c:v>
                </c:pt>
                <c:pt idx="5">
                  <c:v>656.5397</c:v>
                </c:pt>
                <c:pt idx="6">
                  <c:v>633.6563</c:v>
                </c:pt>
                <c:pt idx="7">
                  <c:v>638.7246</c:v>
                </c:pt>
                <c:pt idx="8">
                  <c:v>659.2206</c:v>
                </c:pt>
                <c:pt idx="9">
                  <c:v>625.5301</c:v>
                </c:pt>
                <c:pt idx="10">
                  <c:v>618.7901</c:v>
                </c:pt>
                <c:pt idx="11">
                  <c:v>654.875</c:v>
                </c:pt>
                <c:pt idx="12">
                  <c:v>633.9238</c:v>
                </c:pt>
                <c:pt idx="13">
                  <c:v>632.3474</c:v>
                </c:pt>
                <c:pt idx="14">
                  <c:v>631.2391</c:v>
                </c:pt>
                <c:pt idx="15">
                  <c:v>635.6707</c:v>
                </c:pt>
                <c:pt idx="16">
                  <c:v>644.0179</c:v>
                </c:pt>
                <c:pt idx="17">
                  <c:v>576.0339</c:v>
                </c:pt>
                <c:pt idx="18">
                  <c:v>645.8627</c:v>
                </c:pt>
                <c:pt idx="19">
                  <c:v>646.6389</c:v>
                </c:pt>
                <c:pt idx="20">
                  <c:v>648.0556</c:v>
                </c:pt>
                <c:pt idx="21">
                  <c:v>657.5278</c:v>
                </c:pt>
                <c:pt idx="22">
                  <c:v>660.4444</c:v>
                </c:pt>
                <c:pt idx="23">
                  <c:v>636.2895</c:v>
                </c:pt>
                <c:pt idx="24">
                  <c:v>650.2667</c:v>
                </c:pt>
                <c:pt idx="25">
                  <c:v>629.3056</c:v>
                </c:pt>
                <c:pt idx="26">
                  <c:v>625.1563</c:v>
                </c:pt>
                <c:pt idx="27">
                  <c:v>644.2593</c:v>
                </c:pt>
                <c:pt idx="28">
                  <c:v>654.6061</c:v>
                </c:pt>
                <c:pt idx="29">
                  <c:v>629.9412</c:v>
                </c:pt>
                <c:pt idx="30">
                  <c:v>580.3929</c:v>
                </c:pt>
                <c:pt idx="31">
                  <c:v>527.4516</c:v>
                </c:pt>
                <c:pt idx="32">
                  <c:v>616.8276</c:v>
                </c:pt>
                <c:pt idx="33">
                  <c:v>565.4762</c:v>
                </c:pt>
                <c:pt idx="34">
                  <c:v>632.1538</c:v>
                </c:pt>
                <c:pt idx="35">
                  <c:v>646.0612</c:v>
                </c:pt>
                <c:pt idx="36">
                  <c:v>629.1458</c:v>
                </c:pt>
                <c:pt idx="37">
                  <c:v>615.8966</c:v>
                </c:pt>
                <c:pt idx="38">
                  <c:v>576.9574</c:v>
                </c:pt>
                <c:pt idx="39">
                  <c:v>626.8</c:v>
                </c:pt>
                <c:pt idx="40">
                  <c:v>608.122</c:v>
                </c:pt>
                <c:pt idx="41">
                  <c:v>599.25</c:v>
                </c:pt>
                <c:pt idx="42">
                  <c:v>576.2449</c:v>
                </c:pt>
                <c:pt idx="43">
                  <c:v>601.0492</c:v>
                </c:pt>
                <c:pt idx="44">
                  <c:v>641.8182</c:v>
                </c:pt>
                <c:pt idx="45">
                  <c:v>628.551</c:v>
                </c:pt>
                <c:pt idx="46">
                  <c:v>628.6496</c:v>
                </c:pt>
                <c:pt idx="47">
                  <c:v>611.9328</c:v>
                </c:pt>
                <c:pt idx="48">
                  <c:v>628.8377</c:v>
                </c:pt>
                <c:pt idx="49">
                  <c:v>593.1947</c:v>
                </c:pt>
                <c:pt idx="50">
                  <c:v>606.6842</c:v>
                </c:pt>
                <c:pt idx="51">
                  <c:v>632.9444</c:v>
                </c:pt>
                <c:pt idx="52">
                  <c:v>598.6481</c:v>
                </c:pt>
                <c:pt idx="53">
                  <c:v>645.6944</c:v>
                </c:pt>
                <c:pt idx="54">
                  <c:v>641.6479</c:v>
                </c:pt>
                <c:pt idx="55">
                  <c:v>648.4595</c:v>
                </c:pt>
                <c:pt idx="56">
                  <c:v>663.2388</c:v>
                </c:pt>
                <c:pt idx="57">
                  <c:v>624.8333</c:v>
                </c:pt>
                <c:pt idx="58">
                  <c:v>606.764</c:v>
                </c:pt>
                <c:pt idx="59">
                  <c:v>607.6629</c:v>
                </c:pt>
                <c:pt idx="60">
                  <c:v>600.7609</c:v>
                </c:pt>
                <c:pt idx="61">
                  <c:v>614.5758</c:v>
                </c:pt>
                <c:pt idx="62">
                  <c:v>575.2717</c:v>
                </c:pt>
                <c:pt idx="63">
                  <c:v>615.0874</c:v>
                </c:pt>
                <c:pt idx="64">
                  <c:v>594.8193</c:v>
                </c:pt>
                <c:pt idx="65">
                  <c:v>636.747</c:v>
                </c:pt>
                <c:pt idx="66">
                  <c:v>615.5352</c:v>
                </c:pt>
                <c:pt idx="67">
                  <c:v>589.2319</c:v>
                </c:pt>
                <c:pt idx="68">
                  <c:v>550.0833</c:v>
                </c:pt>
                <c:pt idx="69">
                  <c:v>490.9773</c:v>
                </c:pt>
                <c:pt idx="70">
                  <c:v>529.475</c:v>
                </c:pt>
                <c:pt idx="71">
                  <c:v>524.9706</c:v>
                </c:pt>
                <c:pt idx="72">
                  <c:v>716.0</c:v>
                </c:pt>
                <c:pt idx="73">
                  <c:v>711.8621</c:v>
                </c:pt>
                <c:pt idx="74">
                  <c:v>683.9412</c:v>
                </c:pt>
                <c:pt idx="75">
                  <c:v>671.7857</c:v>
                </c:pt>
                <c:pt idx="76">
                  <c:v>666.7917</c:v>
                </c:pt>
                <c:pt idx="77">
                  <c:v>648.32</c:v>
                </c:pt>
                <c:pt idx="78">
                  <c:v>657.3704</c:v>
                </c:pt>
                <c:pt idx="79">
                  <c:v>695.0323</c:v>
                </c:pt>
                <c:pt idx="80">
                  <c:v>705.4091</c:v>
                </c:pt>
                <c:pt idx="81">
                  <c:v>705.7586</c:v>
                </c:pt>
                <c:pt idx="82">
                  <c:v>726.2</c:v>
                </c:pt>
                <c:pt idx="83">
                  <c:v>739.0</c:v>
                </c:pt>
                <c:pt idx="84">
                  <c:v>750.4167</c:v>
                </c:pt>
                <c:pt idx="85">
                  <c:v>692.5217</c:v>
                </c:pt>
                <c:pt idx="86">
                  <c:v>658.2059</c:v>
                </c:pt>
                <c:pt idx="87">
                  <c:v>655.0</c:v>
                </c:pt>
                <c:pt idx="88">
                  <c:v>728.4545</c:v>
                </c:pt>
                <c:pt idx="89">
                  <c:v>723.1875</c:v>
                </c:pt>
                <c:pt idx="90">
                  <c:v>704.2941</c:v>
                </c:pt>
                <c:pt idx="91">
                  <c:v>723.913</c:v>
                </c:pt>
                <c:pt idx="92">
                  <c:v>674.25</c:v>
                </c:pt>
                <c:pt idx="93">
                  <c:v>698.04</c:v>
                </c:pt>
                <c:pt idx="94">
                  <c:v>676.36</c:v>
                </c:pt>
                <c:pt idx="95">
                  <c:v>622.3243</c:v>
                </c:pt>
                <c:pt idx="96">
                  <c:v>523.9322</c:v>
                </c:pt>
                <c:pt idx="97">
                  <c:v>673.4394</c:v>
                </c:pt>
                <c:pt idx="98">
                  <c:v>656.5294</c:v>
                </c:pt>
                <c:pt idx="99">
                  <c:v>654.4458</c:v>
                </c:pt>
                <c:pt idx="100">
                  <c:v>673.5659</c:v>
                </c:pt>
                <c:pt idx="101">
                  <c:v>675.2889</c:v>
                </c:pt>
                <c:pt idx="102">
                  <c:v>689.0435</c:v>
                </c:pt>
                <c:pt idx="103">
                  <c:v>674.0</c:v>
                </c:pt>
                <c:pt idx="104">
                  <c:v>699.9524</c:v>
                </c:pt>
              </c:numCache>
            </c:numRef>
          </c:xVal>
          <c:yVal>
            <c:numRef>
              <c:f>Sheet1!$B$2:$B$106</c:f>
              <c:numCache>
                <c:formatCode>General</c:formatCode>
                <c:ptCount val="105"/>
                <c:pt idx="0">
                  <c:v>0.17990654205607476</c:v>
                </c:pt>
                <c:pt idx="1">
                  <c:v>0.25696594427244585</c:v>
                </c:pt>
                <c:pt idx="2">
                  <c:v>0.26865671641791045</c:v>
                </c:pt>
                <c:pt idx="3">
                  <c:v>0.20604395604395603</c:v>
                </c:pt>
                <c:pt idx="4">
                  <c:v>0.1956521739130435</c:v>
                </c:pt>
                <c:pt idx="5">
                  <c:v>0.1810344827586207</c:v>
                </c:pt>
                <c:pt idx="6">
                  <c:v>0.19937694704049844</c:v>
                </c:pt>
                <c:pt idx="7">
                  <c:v>0.25461254612546125</c:v>
                </c:pt>
                <c:pt idx="8">
                  <c:v>0.24727272727272728</c:v>
                </c:pt>
                <c:pt idx="9">
                  <c:v>0.21727748691099477</c:v>
                </c:pt>
                <c:pt idx="10">
                  <c:v>0.2154255319148936</c:v>
                </c:pt>
                <c:pt idx="11">
                  <c:v>0.24444444444444444</c:v>
                </c:pt>
                <c:pt idx="12">
                  <c:v>0.25</c:v>
                </c:pt>
                <c:pt idx="13">
                  <c:v>0.23809523809523808</c:v>
                </c:pt>
                <c:pt idx="14">
                  <c:v>0.26136363636363635</c:v>
                </c:pt>
                <c:pt idx="15">
                  <c:v>0.21693121693121692</c:v>
                </c:pt>
                <c:pt idx="16">
                  <c:v>0.16519174041297935</c:v>
                </c:pt>
                <c:pt idx="17">
                  <c:v>0.18495297805642633</c:v>
                </c:pt>
                <c:pt idx="18">
                  <c:v>0.17770034843205576</c:v>
                </c:pt>
                <c:pt idx="19">
                  <c:v>0.14342629482071714</c:v>
                </c:pt>
                <c:pt idx="20">
                  <c:v>0.17647058823529413</c:v>
                </c:pt>
                <c:pt idx="21">
                  <c:v>0.1782178217821782</c:v>
                </c:pt>
                <c:pt idx="22">
                  <c:v>0.1782178217821782</c:v>
                </c:pt>
                <c:pt idx="23">
                  <c:v>0.18446601941747573</c:v>
                </c:pt>
                <c:pt idx="24">
                  <c:v>0.17716535433070865</c:v>
                </c:pt>
                <c:pt idx="25">
                  <c:v>0.17733990147783252</c:v>
                </c:pt>
                <c:pt idx="26">
                  <c:v>0.14883720930232558</c:v>
                </c:pt>
                <c:pt idx="27">
                  <c:v>0.11065573770491803</c:v>
                </c:pt>
                <c:pt idx="28">
                  <c:v>0.1542056074766355</c:v>
                </c:pt>
                <c:pt idx="29">
                  <c:v>0.136</c:v>
                </c:pt>
                <c:pt idx="30">
                  <c:v>0.13725490196078433</c:v>
                </c:pt>
                <c:pt idx="31">
                  <c:v>0.14691943127962084</c:v>
                </c:pt>
                <c:pt idx="32">
                  <c:v>0.14009661835748793</c:v>
                </c:pt>
                <c:pt idx="33">
                  <c:v>0.1700404858299595</c:v>
                </c:pt>
                <c:pt idx="34">
                  <c:v>0.12871287128712872</c:v>
                </c:pt>
                <c:pt idx="35">
                  <c:v>0.15806451612903225</c:v>
                </c:pt>
                <c:pt idx="36">
                  <c:v>0.19591836734693877</c:v>
                </c:pt>
                <c:pt idx="37">
                  <c:v>0.125</c:v>
                </c:pt>
                <c:pt idx="38">
                  <c:v>0.2052401746724891</c:v>
                </c:pt>
                <c:pt idx="39">
                  <c:v>0.11848341232227488</c:v>
                </c:pt>
                <c:pt idx="40">
                  <c:v>0.14855072463768115</c:v>
                </c:pt>
                <c:pt idx="41">
                  <c:v>0.15151515151515152</c:v>
                </c:pt>
                <c:pt idx="42">
                  <c:v>0.16013071895424835</c:v>
                </c:pt>
                <c:pt idx="43">
                  <c:v>0.17681159420289855</c:v>
                </c:pt>
                <c:pt idx="44">
                  <c:v>0.13580246913580246</c:v>
                </c:pt>
                <c:pt idx="45">
                  <c:v>0.17102966841186737</c:v>
                </c:pt>
                <c:pt idx="46">
                  <c:v>0.17889908256880735</c:v>
                </c:pt>
                <c:pt idx="47">
                  <c:v>0.2016949152542373</c:v>
                </c:pt>
                <c:pt idx="48">
                  <c:v>0.2020997375328084</c:v>
                </c:pt>
                <c:pt idx="49">
                  <c:v>0.24036697247706423</c:v>
                </c:pt>
                <c:pt idx="50">
                  <c:v>0.21011058451816747</c:v>
                </c:pt>
                <c:pt idx="51">
                  <c:v>0.20970873786407768</c:v>
                </c:pt>
                <c:pt idx="52">
                  <c:v>0.21643286573146292</c:v>
                </c:pt>
                <c:pt idx="53">
                  <c:v>0.1769041769041769</c:v>
                </c:pt>
                <c:pt idx="54">
                  <c:v>0.1868421052631579</c:v>
                </c:pt>
                <c:pt idx="55">
                  <c:v>0.18734177215189873</c:v>
                </c:pt>
                <c:pt idx="56">
                  <c:v>0.18010752688172044</c:v>
                </c:pt>
                <c:pt idx="57">
                  <c:v>0.16981132075471697</c:v>
                </c:pt>
                <c:pt idx="58">
                  <c:v>0.18126272912423624</c:v>
                </c:pt>
                <c:pt idx="59">
                  <c:v>0.1621129326047359</c:v>
                </c:pt>
                <c:pt idx="60">
                  <c:v>0.1807465618860511</c:v>
                </c:pt>
                <c:pt idx="61">
                  <c:v>0.18032786885245902</c:v>
                </c:pt>
                <c:pt idx="62">
                  <c:v>0.18290258449304175</c:v>
                </c:pt>
                <c:pt idx="63">
                  <c:v>0.19922630560928434</c:v>
                </c:pt>
                <c:pt idx="64">
                  <c:v>0.1580952380952381</c:v>
                </c:pt>
                <c:pt idx="65">
                  <c:v>0.17291666666666666</c:v>
                </c:pt>
                <c:pt idx="66">
                  <c:v>0.13813229571984437</c:v>
                </c:pt>
                <c:pt idx="67">
                  <c:v>0.14435146443514643</c:v>
                </c:pt>
                <c:pt idx="68">
                  <c:v>0.15584415584415584</c:v>
                </c:pt>
                <c:pt idx="69">
                  <c:v>0.13924050632911392</c:v>
                </c:pt>
                <c:pt idx="70">
                  <c:v>0.136986301369863</c:v>
                </c:pt>
                <c:pt idx="71">
                  <c:v>0.13991769547325103</c:v>
                </c:pt>
                <c:pt idx="72">
                  <c:v>0.11594202898550725</c:v>
                </c:pt>
                <c:pt idx="73">
                  <c:v>0.1228813559322034</c:v>
                </c:pt>
                <c:pt idx="74">
                  <c:v>0.13127413127413126</c:v>
                </c:pt>
                <c:pt idx="75">
                  <c:v>0.12727272727272726</c:v>
                </c:pt>
                <c:pt idx="76">
                  <c:v>0.11650485436893204</c:v>
                </c:pt>
                <c:pt idx="77">
                  <c:v>0.12135922330097088</c:v>
                </c:pt>
                <c:pt idx="78">
                  <c:v>0.1443850267379679</c:v>
                </c:pt>
                <c:pt idx="79">
                  <c:v>0.12601626016260162</c:v>
                </c:pt>
                <c:pt idx="80">
                  <c:v>0.09734513274336283</c:v>
                </c:pt>
                <c:pt idx="81">
                  <c:v>0.09965635738831616</c:v>
                </c:pt>
                <c:pt idx="82">
                  <c:v>0.09259259259259259</c:v>
                </c:pt>
                <c:pt idx="83">
                  <c:v>0.08333333333333333</c:v>
                </c:pt>
                <c:pt idx="84">
                  <c:v>0.07792207792207792</c:v>
                </c:pt>
                <c:pt idx="85">
                  <c:v>0.10952380952380952</c:v>
                </c:pt>
                <c:pt idx="86">
                  <c:v>0.11888111888111888</c:v>
                </c:pt>
                <c:pt idx="87">
                  <c:v>0.11371237458193979</c:v>
                </c:pt>
                <c:pt idx="88">
                  <c:v>0.10837438423645321</c:v>
                </c:pt>
                <c:pt idx="89">
                  <c:v>0.10596026490066225</c:v>
                </c:pt>
                <c:pt idx="90">
                  <c:v>0.10625</c:v>
                </c:pt>
                <c:pt idx="91">
                  <c:v>0.12568306010928962</c:v>
                </c:pt>
                <c:pt idx="92">
                  <c:v>0.10434782608695652</c:v>
                </c:pt>
                <c:pt idx="93">
                  <c:v>0.1152073732718894</c:v>
                </c:pt>
                <c:pt idx="94">
                  <c:v>0.1488095238095238</c:v>
                </c:pt>
                <c:pt idx="95">
                  <c:v>0.1289198606271777</c:v>
                </c:pt>
                <c:pt idx="96">
                  <c:v>0.15012722646310434</c:v>
                </c:pt>
                <c:pt idx="97">
                  <c:v>0.1493212669683258</c:v>
                </c:pt>
                <c:pt idx="98">
                  <c:v>0.12121212121212122</c:v>
                </c:pt>
                <c:pt idx="99">
                  <c:v>0.12462462462462462</c:v>
                </c:pt>
                <c:pt idx="100">
                  <c:v>0.14144736842105263</c:v>
                </c:pt>
                <c:pt idx="101">
                  <c:v>0.1618705035971223</c:v>
                </c:pt>
                <c:pt idx="102">
                  <c:v>0.13068181818181818</c:v>
                </c:pt>
                <c:pt idx="103">
                  <c:v>0.1314655172413793</c:v>
                </c:pt>
                <c:pt idx="104">
                  <c:v>0.111405835543766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numCache>
            </c:numRef>
          </c:xVal>
          <c:yVal>
            <c:numRef>
              <c:f>Sheet1!$B$109:$B$160</c:f>
              <c:numCache>
                <c:formatCode>General</c:formatCode>
                <c:ptCount val="52"/>
                <c:pt idx="0">
                  <c:v>0.12028301886792453</c:v>
                </c:pt>
                <c:pt idx="1">
                  <c:v>0.14647887323943662</c:v>
                </c:pt>
                <c:pt idx="2">
                  <c:v>0.12903225806451613</c:v>
                </c:pt>
                <c:pt idx="3">
                  <c:v>0.13924050632911392</c:v>
                </c:pt>
                <c:pt idx="4">
                  <c:v>0.14868804664723032</c:v>
                </c:pt>
                <c:pt idx="5">
                  <c:v>0.14713896457765668</c:v>
                </c:pt>
                <c:pt idx="6">
                  <c:v>0.14769975786924938</c:v>
                </c:pt>
                <c:pt idx="7">
                  <c:v>0.13583815028901733</c:v>
                </c:pt>
                <c:pt idx="8">
                  <c:v>0.13804713804713806</c:v>
                </c:pt>
                <c:pt idx="9">
                  <c:v>0.14497041420118342</c:v>
                </c:pt>
                <c:pt idx="10">
                  <c:v>0.17732558139534885</c:v>
                </c:pt>
                <c:pt idx="11">
                  <c:v>0.21774193548387097</c:v>
                </c:pt>
                <c:pt idx="12">
                  <c:v>0.2035623409669211</c:v>
                </c:pt>
                <c:pt idx="13">
                  <c:v>0.21574344023323616</c:v>
                </c:pt>
                <c:pt idx="14">
                  <c:v>0.2125</c:v>
                </c:pt>
                <c:pt idx="15">
                  <c:v>0.1992619926199262</c:v>
                </c:pt>
                <c:pt idx="16">
                  <c:v>0.15865384615384615</c:v>
                </c:pt>
                <c:pt idx="17">
                  <c:v>0.13636363636363635</c:v>
                </c:pt>
                <c:pt idx="18">
                  <c:v>0.17209302325581396</c:v>
                </c:pt>
                <c:pt idx="19">
                  <c:v>0.16</c:v>
                </c:pt>
                <c:pt idx="20">
                  <c:v>0.15920398009950248</c:v>
                </c:pt>
                <c:pt idx="21">
                  <c:v>0.13609467455621302</c:v>
                </c:pt>
                <c:pt idx="22">
                  <c:v>0.14942528735632185</c:v>
                </c:pt>
                <c:pt idx="23">
                  <c:v>0.13953488372093023</c:v>
                </c:pt>
                <c:pt idx="24">
                  <c:v>0.15048543689320387</c:v>
                </c:pt>
                <c:pt idx="25">
                  <c:v>0.1836734693877551</c:v>
                </c:pt>
                <c:pt idx="26">
                  <c:v>0.12365591397849462</c:v>
                </c:pt>
                <c:pt idx="27">
                  <c:v>0.12334801762114538</c:v>
                </c:pt>
                <c:pt idx="28">
                  <c:v>0.10550458715596331</c:v>
                </c:pt>
                <c:pt idx="29">
                  <c:v>0.10215053763440861</c:v>
                </c:pt>
                <c:pt idx="30">
                  <c:v>0.14383561643835616</c:v>
                </c:pt>
                <c:pt idx="31">
                  <c:v>0.0958904109589041</c:v>
                </c:pt>
                <c:pt idx="32">
                  <c:v>0.09340659340659341</c:v>
                </c:pt>
                <c:pt idx="33">
                  <c:v>0.11494252873563218</c:v>
                </c:pt>
                <c:pt idx="34">
                  <c:v>0.14666666666666667</c:v>
                </c:pt>
                <c:pt idx="35">
                  <c:v>0.11467889908256881</c:v>
                </c:pt>
                <c:pt idx="36">
                  <c:v>0.12389380530973451</c:v>
                </c:pt>
                <c:pt idx="37">
                  <c:v>0.1417910447761194</c:v>
                </c:pt>
                <c:pt idx="38">
                  <c:v>0.11486486486486487</c:v>
                </c:pt>
                <c:pt idx="39">
                  <c:v>0.14893617021276595</c:v>
                </c:pt>
                <c:pt idx="40">
                  <c:v>0.1340782122905028</c:v>
                </c:pt>
                <c:pt idx="41">
                  <c:v>0.11616161616161616</c:v>
                </c:pt>
                <c:pt idx="42">
                  <c:v>0.11891891891891893</c:v>
                </c:pt>
                <c:pt idx="43">
                  <c:v>0.12927756653992395</c:v>
                </c:pt>
                <c:pt idx="44">
                  <c:v>0.12025316455696203</c:v>
                </c:pt>
                <c:pt idx="45">
                  <c:v>0.12850467289719625</c:v>
                </c:pt>
                <c:pt idx="46">
                  <c:v>0.12686567164179105</c:v>
                </c:pt>
                <c:pt idx="47">
                  <c:v>0.14095744680851063</c:v>
                </c:pt>
                <c:pt idx="48">
                  <c:v>0.13211845102505695</c:v>
                </c:pt>
                <c:pt idx="49">
                  <c:v>0.13508771929824562</c:v>
                </c:pt>
                <c:pt idx="50">
                  <c:v>0.12302070645554203</c:v>
                </c:pt>
                <c:pt idx="51">
                  <c:v>0.161654135338345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32.9287711155732</c:v>
                </c:pt>
              </c:numCache>
            </c:numRef>
          </c:xVal>
          <c:yVal>
            <c:numRef>
              <c:f>Sheet1!$B$163:$B$164</c:f>
              <c:numCache>
                <c:formatCode>General</c:formatCode>
                <c:ptCount val="2"/>
                <c:pt idx="0">
                  <c:v>0.2210580039889709</c:v>
                </c:pt>
                <c:pt idx="1">
                  <c:v>0.22105800398897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32.9287711155732</c:v>
                </c:pt>
                <c:pt idx="1">
                  <c:v>532.9287711155732</c:v>
                </c:pt>
              </c:numCache>
            </c:numRef>
          </c:xVal>
          <c:yVal>
            <c:numRef>
              <c:f>Sheet1!$B$167:$B$168</c:f>
              <c:numCache>
                <c:formatCode>General</c:formatCode>
                <c:ptCount val="2"/>
                <c:pt idx="0">
                  <c:v>0.22105800398897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33.8920508266524</c:v>
                </c:pt>
              </c:numCache>
            </c:numRef>
          </c:xVal>
          <c:yVal>
            <c:numRef>
              <c:f>Sheet1!$B$171:$B$172</c:f>
              <c:numCache>
                <c:formatCode>General</c:formatCode>
                <c:ptCount val="2"/>
                <c:pt idx="0">
                  <c:v>0.17642422040996145</c:v>
                </c:pt>
                <c:pt idx="1">
                  <c:v>0.176424220409961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33.8920508266524</c:v>
                </c:pt>
                <c:pt idx="1">
                  <c:v>633.8920508266524</c:v>
                </c:pt>
              </c:numCache>
            </c:numRef>
          </c:xVal>
          <c:yVal>
            <c:numRef>
              <c:f>Sheet1!$B$175:$B$176</c:f>
              <c:numCache>
                <c:formatCode>General</c:formatCode>
                <c:ptCount val="2"/>
                <c:pt idx="0">
                  <c:v>0.176424220409961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34.4100966501466</c:v>
                </c:pt>
              </c:numCache>
            </c:numRef>
          </c:xVal>
          <c:yVal>
            <c:numRef>
              <c:f>Sheet1!$B$179:$B$180</c:f>
              <c:numCache>
                <c:formatCode>General</c:formatCode>
                <c:ptCount val="2"/>
                <c:pt idx="0">
                  <c:v>0.13198726554964446</c:v>
                </c:pt>
                <c:pt idx="1">
                  <c:v>0.131987265549644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34.4100966501466</c:v>
                </c:pt>
                <c:pt idx="1">
                  <c:v>734.4100966501466</c:v>
                </c:pt>
              </c:numCache>
            </c:numRef>
          </c:xVal>
          <c:yVal>
            <c:numRef>
              <c:f>Sheet1!$B$183:$B$184</c:f>
              <c:numCache>
                <c:formatCode>General</c:formatCode>
                <c:ptCount val="2"/>
                <c:pt idx="0">
                  <c:v>0.131987265549644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pt idx="52">
                  <c:v>633.8920508266524</c:v>
                </c:pt>
                <c:pt idx="53">
                  <c:v>532.9287711155732</c:v>
                </c:pt>
                <c:pt idx="54">
                  <c:v>734.4100966501466</c:v>
                </c:pt>
              </c:numCache>
            </c:numRef>
          </c:xVal>
          <c:yVal>
            <c:numRef>
              <c:f>Sheet1!$B$187:$B$241</c:f>
              <c:numCache>
                <c:formatCode>General</c:formatCode>
                <c:ptCount val="55"/>
                <c:pt idx="0">
                  <c:v>0.15084858059736506</c:v>
                </c:pt>
                <c:pt idx="1">
                  <c:v>0.15455307313492256</c:v>
                </c:pt>
                <c:pt idx="2">
                  <c:v>0.14008916435602198</c:v>
                </c:pt>
                <c:pt idx="3">
                  <c:v>0.13932220084856844</c:v>
                </c:pt>
                <c:pt idx="4">
                  <c:v>0.1341622503851424</c:v>
                </c:pt>
                <c:pt idx="5">
                  <c:v>0.14642973199796294</c:v>
                </c:pt>
                <c:pt idx="6">
                  <c:v>0.15879478052881624</c:v>
                </c:pt>
                <c:pt idx="7">
                  <c:v>0.15009629412515701</c:v>
                </c:pt>
                <c:pt idx="8">
                  <c:v>0.1391663678689285</c:v>
                </c:pt>
                <c:pt idx="9">
                  <c:v>0.1438520997869367</c:v>
                </c:pt>
                <c:pt idx="10">
                  <c:v>0.14536573535853747</c:v>
                </c:pt>
                <c:pt idx="11">
                  <c:v>0.1709651373029789</c:v>
                </c:pt>
                <c:pt idx="12">
                  <c:v>0.16751280684084446</c:v>
                </c:pt>
                <c:pt idx="13">
                  <c:v>0.15619619375542138</c:v>
                </c:pt>
                <c:pt idx="14">
                  <c:v>0.1627435661289242</c:v>
                </c:pt>
                <c:pt idx="15">
                  <c:v>0.14940147797168146</c:v>
                </c:pt>
                <c:pt idx="16">
                  <c:v>0.13344121892473731</c:v>
                </c:pt>
                <c:pt idx="17">
                  <c:v>0.14494465475397844</c:v>
                </c:pt>
                <c:pt idx="18">
                  <c:v>0.18839628284597437</c:v>
                </c:pt>
                <c:pt idx="19">
                  <c:v>0.14630281100943915</c:v>
                </c:pt>
                <c:pt idx="20">
                  <c:v>0.13994637271794058</c:v>
                </c:pt>
                <c:pt idx="21">
                  <c:v>0.16376764300079932</c:v>
                </c:pt>
                <c:pt idx="22">
                  <c:v>0.1401430096238806</c:v>
                </c:pt>
                <c:pt idx="23">
                  <c:v>0.14725451948764884</c:v>
                </c:pt>
                <c:pt idx="24">
                  <c:v>0.15612638942213014</c:v>
                </c:pt>
                <c:pt idx="25">
                  <c:v>0.21766180483823502</c:v>
                </c:pt>
                <c:pt idx="26">
                  <c:v>0.1399914648141768</c:v>
                </c:pt>
                <c:pt idx="27">
                  <c:v>0.1522199992340717</c:v>
                </c:pt>
                <c:pt idx="28">
                  <c:v>0.12109734599594008</c:v>
                </c:pt>
                <c:pt idx="29">
                  <c:v>0.1143225237840691</c:v>
                </c:pt>
                <c:pt idx="30">
                  <c:v>0.12252703069425402</c:v>
                </c:pt>
                <c:pt idx="31">
                  <c:v>0.116380005402629</c:v>
                </c:pt>
                <c:pt idx="32">
                  <c:v>0.12241682030610007</c:v>
                </c:pt>
                <c:pt idx="33">
                  <c:v>0.11536954457549975</c:v>
                </c:pt>
                <c:pt idx="34">
                  <c:v>0.12214140485555913</c:v>
                </c:pt>
                <c:pt idx="35">
                  <c:v>0.11911837767435624</c:v>
                </c:pt>
                <c:pt idx="36">
                  <c:v>0.12525315736729742</c:v>
                </c:pt>
                <c:pt idx="37">
                  <c:v>0.15485421760508072</c:v>
                </c:pt>
                <c:pt idx="38">
                  <c:v>0.134456984704365</c:v>
                </c:pt>
                <c:pt idx="39">
                  <c:v>0.15701974342285768</c:v>
                </c:pt>
                <c:pt idx="40">
                  <c:v>0.12726886248493258</c:v>
                </c:pt>
                <c:pt idx="41">
                  <c:v>0.12571035585678297</c:v>
                </c:pt>
                <c:pt idx="42">
                  <c:v>0.10928091796929446</c:v>
                </c:pt>
                <c:pt idx="43">
                  <c:v>0.1379806225696652</c:v>
                </c:pt>
                <c:pt idx="44">
                  <c:v>0.13721759356864793</c:v>
                </c:pt>
                <c:pt idx="45">
                  <c:v>0.14171747531746282</c:v>
                </c:pt>
                <c:pt idx="46">
                  <c:v>0.13730012978793527</c:v>
                </c:pt>
                <c:pt idx="47">
                  <c:v>0.1450973047621194</c:v>
                </c:pt>
                <c:pt idx="48">
                  <c:v>0.15235178309571906</c:v>
                </c:pt>
                <c:pt idx="49">
                  <c:v>0.134396198790321</c:v>
                </c:pt>
                <c:pt idx="50">
                  <c:v>0.1301989203736013</c:v>
                </c:pt>
                <c:pt idx="51">
                  <c:v>0.14637164276810566</c:v>
                </c:pt>
                <c:pt idx="52">
                  <c:v>0.17642422040996147</c:v>
                </c:pt>
                <c:pt idx="53">
                  <c:v>0.2210580039889709</c:v>
                </c:pt>
                <c:pt idx="54">
                  <c:v>0.131987265549644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3.0"/>
          <c:min val="39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38805970149254"/>
          <c:min val="0.062337662337662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0618423896377206</c:v>
                </c:pt>
                <c:pt idx="1">
                  <c:v>0.22707197774616594</c:v>
                </c:pt>
                <c:pt idx="2">
                  <c:v>0.22221645720025135</c:v>
                </c:pt>
                <c:pt idx="3">
                  <c:v>0.23151804821604247</c:v>
                </c:pt>
                <c:pt idx="4">
                  <c:v>0.23453650361491885</c:v>
                </c:pt>
                <c:pt idx="5">
                  <c:v>0.24447104428851016</c:v>
                </c:pt>
                <c:pt idx="6">
                  <c:v>0.24002513330780947</c:v>
                </c:pt>
                <c:pt idx="7">
                  <c:v>0.24323000392533622</c:v>
                </c:pt>
                <c:pt idx="8">
                  <c:v>0.24638421355402004</c:v>
                </c:pt>
                <c:pt idx="9">
                  <c:v>0.26573983847154475</c:v>
                </c:pt>
                <c:pt idx="10">
                  <c:v>0.26367282365723627</c:v>
                </c:pt>
                <c:pt idx="11">
                  <c:v>0.26307335537746424</c:v>
                </c:pt>
                <c:pt idx="12">
                  <c:v>0.27305021704637805</c:v>
                </c:pt>
                <c:pt idx="13">
                  <c:v>0.27039845973391785</c:v>
                </c:pt>
                <c:pt idx="14">
                  <c:v>0.263161809468912</c:v>
                </c:pt>
                <c:pt idx="15">
                  <c:v>0.25967882640261003</c:v>
                </c:pt>
                <c:pt idx="16">
                  <c:v>0.25491077888589475</c:v>
                </c:pt>
                <c:pt idx="17">
                  <c:v>0.2715325238513242</c:v>
                </c:pt>
                <c:pt idx="18">
                  <c:v>0.27930493170630605</c:v>
                </c:pt>
                <c:pt idx="19">
                  <c:v>0.283477361596448</c:v>
                </c:pt>
                <c:pt idx="20">
                  <c:v>0.27630139866320214</c:v>
                </c:pt>
                <c:pt idx="21">
                  <c:v>0.23484298206788387</c:v>
                </c:pt>
                <c:pt idx="22">
                  <c:v>0.21994370494995755</c:v>
                </c:pt>
                <c:pt idx="23">
                  <c:v>0.22381132924385047</c:v>
                </c:pt>
                <c:pt idx="24">
                  <c:v>0.2334123891037369</c:v>
                </c:pt>
                <c:pt idx="25">
                  <c:v>0.23588704006343453</c:v>
                </c:pt>
                <c:pt idx="26">
                  <c:v>0.23806850964972215</c:v>
                </c:pt>
                <c:pt idx="27">
                  <c:v>0.2310591200114419</c:v>
                </c:pt>
                <c:pt idx="28">
                  <c:v>0.23837633629146182</c:v>
                </c:pt>
                <c:pt idx="29">
                  <c:v>0.23852442856233916</c:v>
                </c:pt>
                <c:pt idx="30">
                  <c:v>0.22520714810636844</c:v>
                </c:pt>
                <c:pt idx="31">
                  <c:v>0.2711251618790908</c:v>
                </c:pt>
                <c:pt idx="32">
                  <c:v>0.24482441649970946</c:v>
                </c:pt>
                <c:pt idx="33">
                  <c:v>0.2298813222644854</c:v>
                </c:pt>
                <c:pt idx="34">
                  <c:v>0.24826953406876712</c:v>
                </c:pt>
                <c:pt idx="35">
                  <c:v>0.25439174879059817</c:v>
                </c:pt>
                <c:pt idx="36">
                  <c:v>0.2513241449164673</c:v>
                </c:pt>
                <c:pt idx="37">
                  <c:v>0.25402632638388295</c:v>
                </c:pt>
                <c:pt idx="38">
                  <c:v>0.2629482258218947</c:v>
                </c:pt>
                <c:pt idx="39">
                  <c:v>0.2628314393939394</c:v>
                </c:pt>
                <c:pt idx="40">
                  <c:v>0.2488939934770926</c:v>
                </c:pt>
                <c:pt idx="41">
                  <c:v>0.23430171712739106</c:v>
                </c:pt>
                <c:pt idx="42">
                  <c:v>0.24091439887215083</c:v>
                </c:pt>
                <c:pt idx="43">
                  <c:v>0.23775374390455545</c:v>
                </c:pt>
                <c:pt idx="44">
                  <c:v>0.2546656188927751</c:v>
                </c:pt>
                <c:pt idx="45">
                  <c:v>0.2548765338436108</c:v>
                </c:pt>
                <c:pt idx="46">
                  <c:v>0.2644732167045901</c:v>
                </c:pt>
                <c:pt idx="47">
                  <c:v>0.27102743031503096</c:v>
                </c:pt>
                <c:pt idx="48">
                  <c:v>0.25602413238304383</c:v>
                </c:pt>
                <c:pt idx="49">
                  <c:v>0.25290857287463014</c:v>
                </c:pt>
                <c:pt idx="50">
                  <c:v>0.265395603265361</c:v>
                </c:pt>
                <c:pt idx="51">
                  <c:v>0.28654559923684264</c:v>
                </c:pt>
                <c:pt idx="52">
                  <c:v>0.2708835778438956</c:v>
                </c:pt>
                <c:pt idx="53">
                  <c:v>0.24056283268730894</c:v>
                </c:pt>
                <c:pt idx="54">
                  <c:v>0.2347354157297879</c:v>
                </c:pt>
                <c:pt idx="55">
                  <c:v>0.2402766291646126</c:v>
                </c:pt>
                <c:pt idx="56">
                  <c:v>0.24900626042698784</c:v>
                </c:pt>
                <c:pt idx="57">
                  <c:v>0.24726757887279824</c:v>
                </c:pt>
                <c:pt idx="58">
                  <c:v>0.2197522057766505</c:v>
                </c:pt>
                <c:pt idx="59">
                  <c:v>0.23393943479868806</c:v>
                </c:pt>
                <c:pt idx="60">
                  <c:v>0.24162885368219386</c:v>
                </c:pt>
                <c:pt idx="61">
                  <c:v>0.26671273180533983</c:v>
                </c:pt>
                <c:pt idx="62">
                  <c:v>0.28802758207087886</c:v>
                </c:pt>
                <c:pt idx="63">
                  <c:v>0.31352048920073206</c:v>
                </c:pt>
                <c:pt idx="64">
                  <c:v>0.32855344057514907</c:v>
                </c:pt>
                <c:pt idx="65">
                  <c:v>0.32075819019696605</c:v>
                </c:pt>
                <c:pt idx="66">
                  <c:v>0.321016342293452</c:v>
                </c:pt>
                <c:pt idx="67">
                  <c:v>0.32130138495537947</c:v>
                </c:pt>
                <c:pt idx="68">
                  <c:v>0.3428476468602222</c:v>
                </c:pt>
                <c:pt idx="69">
                  <c:v>0.3384207430799357</c:v>
                </c:pt>
                <c:pt idx="70">
                  <c:v>0.34395647923408845</c:v>
                </c:pt>
                <c:pt idx="71">
                  <c:v>0.3114804806995161</c:v>
                </c:pt>
                <c:pt idx="72">
                  <c:v>0.3222833988896678</c:v>
                </c:pt>
                <c:pt idx="73">
                  <c:v>0.29850127483517497</c:v>
                </c:pt>
                <c:pt idx="74">
                  <c:v>0.3119509949228635</c:v>
                </c:pt>
                <c:pt idx="75">
                  <c:v>0.2946708367794021</c:v>
                </c:pt>
                <c:pt idx="76">
                  <c:v>0.29627182021170584</c:v>
                </c:pt>
                <c:pt idx="77">
                  <c:v>0.3163581387663522</c:v>
                </c:pt>
                <c:pt idx="78">
                  <c:v>0.30428549529754306</c:v>
                </c:pt>
                <c:pt idx="79">
                  <c:v>0.31667583680709527</c:v>
                </c:pt>
                <c:pt idx="80">
                  <c:v>0.3640831235646393</c:v>
                </c:pt>
                <c:pt idx="81">
                  <c:v>0.32969845895961397</c:v>
                </c:pt>
                <c:pt idx="82">
                  <c:v>0.33189597518180686</c:v>
                </c:pt>
                <c:pt idx="83">
                  <c:v>0.32804294809878676</c:v>
                </c:pt>
                <c:pt idx="84">
                  <c:v>0.3132020118127003</c:v>
                </c:pt>
                <c:pt idx="85">
                  <c:v>0.318933616074987</c:v>
                </c:pt>
                <c:pt idx="86">
                  <c:v>0.3127846419148739</c:v>
                </c:pt>
                <c:pt idx="87">
                  <c:v>0.30560290204618923</c:v>
                </c:pt>
                <c:pt idx="88">
                  <c:v>0.30149751133641967</c:v>
                </c:pt>
                <c:pt idx="89">
                  <c:v>0.27401523146751</c:v>
                </c:pt>
                <c:pt idx="90">
                  <c:v>0.3059576114521963</c:v>
                </c:pt>
                <c:pt idx="91">
                  <c:v>0.3060103827110654</c:v>
                </c:pt>
                <c:pt idx="92">
                  <c:v>0.3065816684522603</c:v>
                </c:pt>
                <c:pt idx="93">
                  <c:v>0.3049715585172422</c:v>
                </c:pt>
                <c:pt idx="94">
                  <c:v>0.29540507716809006</c:v>
                </c:pt>
                <c:pt idx="95">
                  <c:v>0.30081498080778424</c:v>
                </c:pt>
                <c:pt idx="96">
                  <c:v>0.3328958694946587</c:v>
                </c:pt>
                <c:pt idx="97">
                  <c:v>0.32496934740059624</c:v>
                </c:pt>
                <c:pt idx="98">
                  <c:v>0.3119833007066164</c:v>
                </c:pt>
                <c:pt idx="99">
                  <c:v>0.31804091680032404</c:v>
                </c:pt>
                <c:pt idx="100">
                  <c:v>0.31252282159949335</c:v>
                </c:pt>
                <c:pt idx="101">
                  <c:v>0.300425237729223</c:v>
                </c:pt>
                <c:pt idx="102">
                  <c:v>0.311858747341778</c:v>
                </c:pt>
                <c:pt idx="103">
                  <c:v>0.2860311820143309</c:v>
                </c:pt>
                <c:pt idx="104">
                  <c:v>0.2612995644385762</c:v>
                </c:pt>
              </c:numCache>
            </c:numRef>
          </c:xVal>
          <c:yVal>
            <c:numRef>
              <c:f>Sheet1!$B$2:$B$106</c:f>
              <c:numCache>
                <c:formatCode>General</c:formatCode>
                <c:ptCount val="105"/>
                <c:pt idx="0">
                  <c:v>0.20327102803738317</c:v>
                </c:pt>
                <c:pt idx="1">
                  <c:v>0.2693498452012384</c:v>
                </c:pt>
                <c:pt idx="2">
                  <c:v>0.24477611940298508</c:v>
                </c:pt>
                <c:pt idx="3">
                  <c:v>0.22252747252747251</c:v>
                </c:pt>
                <c:pt idx="4">
                  <c:v>0.2204968944099379</c:v>
                </c:pt>
                <c:pt idx="5">
                  <c:v>0.2672413793103448</c:v>
                </c:pt>
                <c:pt idx="6">
                  <c:v>0.3395638629283489</c:v>
                </c:pt>
                <c:pt idx="7">
                  <c:v>0.3062730627306273</c:v>
                </c:pt>
                <c:pt idx="8">
                  <c:v>0.24</c:v>
                </c:pt>
                <c:pt idx="9">
                  <c:v>0.22251308900523561</c:v>
                </c:pt>
                <c:pt idx="10">
                  <c:v>0.2978723404255319</c:v>
                </c:pt>
                <c:pt idx="11">
                  <c:v>0.24444444444444444</c:v>
                </c:pt>
                <c:pt idx="12">
                  <c:v>0.2357142857142857</c:v>
                </c:pt>
                <c:pt idx="13">
                  <c:v>0.2531328320802005</c:v>
                </c:pt>
                <c:pt idx="14">
                  <c:v>0.26704545454545453</c:v>
                </c:pt>
                <c:pt idx="15">
                  <c:v>0.22486772486772486</c:v>
                </c:pt>
                <c:pt idx="16">
                  <c:v>0.22123893805309736</c:v>
                </c:pt>
                <c:pt idx="17">
                  <c:v>0.15987460815047022</c:v>
                </c:pt>
                <c:pt idx="18">
                  <c:v>0.18118466898954705</c:v>
                </c:pt>
                <c:pt idx="19">
                  <c:v>0.16334661354581673</c:v>
                </c:pt>
                <c:pt idx="20">
                  <c:v>0.17647058823529413</c:v>
                </c:pt>
                <c:pt idx="21">
                  <c:v>0.19306930693069307</c:v>
                </c:pt>
                <c:pt idx="22">
                  <c:v>0.22772277227722773</c:v>
                </c:pt>
                <c:pt idx="23">
                  <c:v>0.25728155339805825</c:v>
                </c:pt>
                <c:pt idx="24">
                  <c:v>0.2795275590551181</c:v>
                </c:pt>
                <c:pt idx="25">
                  <c:v>0.270935960591133</c:v>
                </c:pt>
                <c:pt idx="26">
                  <c:v>0.20465116279069767</c:v>
                </c:pt>
                <c:pt idx="27">
                  <c:v>0.26639344262295084</c:v>
                </c:pt>
                <c:pt idx="28">
                  <c:v>0.205607476635514</c:v>
                </c:pt>
                <c:pt idx="29">
                  <c:v>0.196</c:v>
                </c:pt>
                <c:pt idx="30">
                  <c:v>0.2549019607843137</c:v>
                </c:pt>
                <c:pt idx="31">
                  <c:v>0.17061611374407584</c:v>
                </c:pt>
                <c:pt idx="32">
                  <c:v>0.2560386473429952</c:v>
                </c:pt>
                <c:pt idx="33">
                  <c:v>0.22672064777327935</c:v>
                </c:pt>
                <c:pt idx="34">
                  <c:v>0.21122112211221122</c:v>
                </c:pt>
                <c:pt idx="35">
                  <c:v>0.20967741935483872</c:v>
                </c:pt>
                <c:pt idx="36">
                  <c:v>0.21224489795918366</c:v>
                </c:pt>
                <c:pt idx="37">
                  <c:v>0.19827586206896552</c:v>
                </c:pt>
                <c:pt idx="38">
                  <c:v>0.17903930131004367</c:v>
                </c:pt>
                <c:pt idx="39">
                  <c:v>0.22748815165876776</c:v>
                </c:pt>
                <c:pt idx="40">
                  <c:v>0.21014492753623187</c:v>
                </c:pt>
                <c:pt idx="41">
                  <c:v>0.22727272727272727</c:v>
                </c:pt>
                <c:pt idx="42">
                  <c:v>0.20588235294117646</c:v>
                </c:pt>
                <c:pt idx="43">
                  <c:v>0.2</c:v>
                </c:pt>
                <c:pt idx="44">
                  <c:v>0.21810699588477367</c:v>
                </c:pt>
                <c:pt idx="45">
                  <c:v>0.2181500872600349</c:v>
                </c:pt>
                <c:pt idx="46">
                  <c:v>0.22324159021406728</c:v>
                </c:pt>
                <c:pt idx="47">
                  <c:v>0.2271186440677966</c:v>
                </c:pt>
                <c:pt idx="48">
                  <c:v>0.2532808398950131</c:v>
                </c:pt>
                <c:pt idx="49">
                  <c:v>0.25321100917431194</c:v>
                </c:pt>
                <c:pt idx="50">
                  <c:v>0.20695102685624012</c:v>
                </c:pt>
                <c:pt idx="51">
                  <c:v>0.20194174757281552</c:v>
                </c:pt>
                <c:pt idx="52">
                  <c:v>0.17835671342685372</c:v>
                </c:pt>
                <c:pt idx="53">
                  <c:v>0.21375921375921375</c:v>
                </c:pt>
                <c:pt idx="54">
                  <c:v>0.21052631578947367</c:v>
                </c:pt>
                <c:pt idx="55">
                  <c:v>0.21012658227848102</c:v>
                </c:pt>
                <c:pt idx="56">
                  <c:v>0.20698924731182797</c:v>
                </c:pt>
                <c:pt idx="57">
                  <c:v>0.23113207547169812</c:v>
                </c:pt>
                <c:pt idx="58">
                  <c:v>0.24439918533604887</c:v>
                </c:pt>
                <c:pt idx="59">
                  <c:v>0.21129326047358835</c:v>
                </c:pt>
                <c:pt idx="60">
                  <c:v>0.1944990176817289</c:v>
                </c:pt>
                <c:pt idx="61">
                  <c:v>0.19672131147540983</c:v>
                </c:pt>
                <c:pt idx="62">
                  <c:v>0.21669980119284293</c:v>
                </c:pt>
                <c:pt idx="63">
                  <c:v>0.19729206963249515</c:v>
                </c:pt>
                <c:pt idx="64">
                  <c:v>0.20952380952380953</c:v>
                </c:pt>
                <c:pt idx="65">
                  <c:v>0.18541666666666667</c:v>
                </c:pt>
                <c:pt idx="66">
                  <c:v>0.20817120622568094</c:v>
                </c:pt>
                <c:pt idx="67">
                  <c:v>0.19665271966527198</c:v>
                </c:pt>
                <c:pt idx="68">
                  <c:v>0.17662337662337663</c:v>
                </c:pt>
                <c:pt idx="69">
                  <c:v>0.17405063291139242</c:v>
                </c:pt>
                <c:pt idx="70">
                  <c:v>0.1643835616438356</c:v>
                </c:pt>
                <c:pt idx="71">
                  <c:v>0.19753086419753085</c:v>
                </c:pt>
                <c:pt idx="72">
                  <c:v>0.18115942028985507</c:v>
                </c:pt>
                <c:pt idx="73">
                  <c:v>0.1652542372881356</c:v>
                </c:pt>
                <c:pt idx="74">
                  <c:v>0.1776061776061776</c:v>
                </c:pt>
                <c:pt idx="75">
                  <c:v>0.19090909090909092</c:v>
                </c:pt>
                <c:pt idx="76">
                  <c:v>0.19902912621359223</c:v>
                </c:pt>
                <c:pt idx="77">
                  <c:v>0.18446601941747573</c:v>
                </c:pt>
                <c:pt idx="78">
                  <c:v>0.18716577540106952</c:v>
                </c:pt>
                <c:pt idx="79">
                  <c:v>0.18699186991869918</c:v>
                </c:pt>
                <c:pt idx="80">
                  <c:v>0.15486725663716813</c:v>
                </c:pt>
                <c:pt idx="81">
                  <c:v>0.17869415807560138</c:v>
                </c:pt>
                <c:pt idx="82">
                  <c:v>0.1712962962962963</c:v>
                </c:pt>
                <c:pt idx="83">
                  <c:v>0.1346153846153846</c:v>
                </c:pt>
                <c:pt idx="84">
                  <c:v>0.18831168831168832</c:v>
                </c:pt>
                <c:pt idx="85">
                  <c:v>0.16666666666666666</c:v>
                </c:pt>
                <c:pt idx="86">
                  <c:v>0.1853146853146853</c:v>
                </c:pt>
                <c:pt idx="87">
                  <c:v>0.17391304347826086</c:v>
                </c:pt>
                <c:pt idx="88">
                  <c:v>0.18719211822660098</c:v>
                </c:pt>
                <c:pt idx="89">
                  <c:v>0.2251655629139073</c:v>
                </c:pt>
                <c:pt idx="90">
                  <c:v>0.18125</c:v>
                </c:pt>
                <c:pt idx="91">
                  <c:v>0.20218579234972678</c:v>
                </c:pt>
                <c:pt idx="92">
                  <c:v>0.17391304347826086</c:v>
                </c:pt>
                <c:pt idx="93">
                  <c:v>0.16589861751152074</c:v>
                </c:pt>
                <c:pt idx="94">
                  <c:v>0.16666666666666666</c:v>
                </c:pt>
                <c:pt idx="95">
                  <c:v>0.18815331010452963</c:v>
                </c:pt>
                <c:pt idx="96">
                  <c:v>0.1272264631043257</c:v>
                </c:pt>
                <c:pt idx="97">
                  <c:v>0.16289592760180996</c:v>
                </c:pt>
                <c:pt idx="98">
                  <c:v>0.16042780748663102</c:v>
                </c:pt>
                <c:pt idx="99">
                  <c:v>0.1981981981981982</c:v>
                </c:pt>
                <c:pt idx="100">
                  <c:v>0.20942982456140352</c:v>
                </c:pt>
                <c:pt idx="101">
                  <c:v>0.21942446043165467</c:v>
                </c:pt>
                <c:pt idx="102">
                  <c:v>0.19318181818181818</c:v>
                </c:pt>
                <c:pt idx="103">
                  <c:v>0.21120689655172414</c:v>
                </c:pt>
                <c:pt idx="104">
                  <c:v>0.196286472148541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756865112988541</c:v>
                </c:pt>
                <c:pt idx="1">
                  <c:v>0.2772702038325827</c:v>
                </c:pt>
                <c:pt idx="2">
                  <c:v>0.2829286697173513</c:v>
                </c:pt>
                <c:pt idx="3">
                  <c:v>0.27226365924475604</c:v>
                </c:pt>
                <c:pt idx="4">
                  <c:v>0.27888784727434357</c:v>
                </c:pt>
                <c:pt idx="5">
                  <c:v>0.2936987004748598</c:v>
                </c:pt>
                <c:pt idx="6">
                  <c:v>0.31013418059073783</c:v>
                </c:pt>
                <c:pt idx="7">
                  <c:v>0.289102762991128</c:v>
                </c:pt>
                <c:pt idx="8">
                  <c:v>0.3095438052944558</c:v>
                </c:pt>
                <c:pt idx="9">
                  <c:v>0.32401361993674094</c:v>
                </c:pt>
                <c:pt idx="10">
                  <c:v>0.30571754636816595</c:v>
                </c:pt>
                <c:pt idx="11">
                  <c:v>0.35290108654303504</c:v>
                </c:pt>
                <c:pt idx="12">
                  <c:v>0.3597324092427014</c:v>
                </c:pt>
                <c:pt idx="13">
                  <c:v>0.32466200299301895</c:v>
                </c:pt>
                <c:pt idx="14">
                  <c:v>0.3362322131143131</c:v>
                </c:pt>
                <c:pt idx="15">
                  <c:v>0.3508116686184366</c:v>
                </c:pt>
                <c:pt idx="16">
                  <c:v>0.3395962772773278</c:v>
                </c:pt>
                <c:pt idx="17">
                  <c:v>0.3553857450974107</c:v>
                </c:pt>
                <c:pt idx="18">
                  <c:v>0.3175800538637415</c:v>
                </c:pt>
                <c:pt idx="19">
                  <c:v>0.294872419139858</c:v>
                </c:pt>
                <c:pt idx="20">
                  <c:v>0.26728897493818443</c:v>
                </c:pt>
                <c:pt idx="21">
                  <c:v>0.3185470754186277</c:v>
                </c:pt>
                <c:pt idx="22">
                  <c:v>0.28282536144155934</c:v>
                </c:pt>
                <c:pt idx="23">
                  <c:v>0.28647971223786095</c:v>
                </c:pt>
                <c:pt idx="24">
                  <c:v>0.2936768816411151</c:v>
                </c:pt>
                <c:pt idx="25">
                  <c:v>0.30861299496827826</c:v>
                </c:pt>
                <c:pt idx="26">
                  <c:v>0.3567895951562436</c:v>
                </c:pt>
                <c:pt idx="27">
                  <c:v>0.3436793105923266</c:v>
                </c:pt>
                <c:pt idx="28">
                  <c:v>0.30924744419006966</c:v>
                </c:pt>
                <c:pt idx="29">
                  <c:v>0.28329276755168453</c:v>
                </c:pt>
                <c:pt idx="30">
                  <c:v>0.30749954401630436</c:v>
                </c:pt>
                <c:pt idx="31">
                  <c:v>0.3024682887899013</c:v>
                </c:pt>
                <c:pt idx="32">
                  <c:v>0.2982930609076956</c:v>
                </c:pt>
                <c:pt idx="33">
                  <c:v>0.29581714224769323</c:v>
                </c:pt>
                <c:pt idx="34">
                  <c:v>0.30167088418809784</c:v>
                </c:pt>
                <c:pt idx="35">
                  <c:v>0.29606843165761215</c:v>
                </c:pt>
                <c:pt idx="36">
                  <c:v>0.27774230992630544</c:v>
                </c:pt>
                <c:pt idx="37">
                  <c:v>0.28903338757959035</c:v>
                </c:pt>
                <c:pt idx="38">
                  <c:v>0.24518527011215757</c:v>
                </c:pt>
                <c:pt idx="39">
                  <c:v>0.2855372710286205</c:v>
                </c:pt>
                <c:pt idx="40">
                  <c:v>0.2997714117439016</c:v>
                </c:pt>
                <c:pt idx="41">
                  <c:v>0.3106999875704509</c:v>
                </c:pt>
                <c:pt idx="42">
                  <c:v>0.2611871237962959</c:v>
                </c:pt>
                <c:pt idx="43">
                  <c:v>0.3101347562370054</c:v>
                </c:pt>
                <c:pt idx="44">
                  <c:v>0.32050326248662997</c:v>
                </c:pt>
                <c:pt idx="45">
                  <c:v>0.31262131150272215</c:v>
                </c:pt>
                <c:pt idx="46">
                  <c:v>0.2880897661613139</c:v>
                </c:pt>
                <c:pt idx="47">
                  <c:v>0.307484771170394</c:v>
                </c:pt>
                <c:pt idx="48">
                  <c:v>0.3356020850804285</c:v>
                </c:pt>
                <c:pt idx="49">
                  <c:v>0.32796424726702694</c:v>
                </c:pt>
                <c:pt idx="50">
                  <c:v>0.34272074663358015</c:v>
                </c:pt>
                <c:pt idx="51">
                  <c:v>0.3651079623484044</c:v>
                </c:pt>
              </c:numCache>
            </c:numRef>
          </c:xVal>
          <c:yVal>
            <c:numRef>
              <c:f>Sheet1!$B$109:$B$160</c:f>
              <c:numCache>
                <c:formatCode>General</c:formatCode>
                <c:ptCount val="52"/>
                <c:pt idx="0">
                  <c:v>0.18160377358490565</c:v>
                </c:pt>
                <c:pt idx="1">
                  <c:v>0.2</c:v>
                </c:pt>
                <c:pt idx="2">
                  <c:v>0.21236559139784947</c:v>
                </c:pt>
                <c:pt idx="3">
                  <c:v>0.23544303797468355</c:v>
                </c:pt>
                <c:pt idx="4">
                  <c:v>0.24489795918367346</c:v>
                </c:pt>
                <c:pt idx="5">
                  <c:v>0.20708446866485014</c:v>
                </c:pt>
                <c:pt idx="6">
                  <c:v>0.2009685230024213</c:v>
                </c:pt>
                <c:pt idx="7">
                  <c:v>0.23410404624277456</c:v>
                </c:pt>
                <c:pt idx="8">
                  <c:v>0.19528619528619529</c:v>
                </c:pt>
                <c:pt idx="9">
                  <c:v>0.22189349112426035</c:v>
                </c:pt>
                <c:pt idx="10">
                  <c:v>0.24127906976744187</c:v>
                </c:pt>
                <c:pt idx="11">
                  <c:v>0.1592741935483871</c:v>
                </c:pt>
                <c:pt idx="12">
                  <c:v>0.183206106870229</c:v>
                </c:pt>
                <c:pt idx="13">
                  <c:v>0.19533527696793002</c:v>
                </c:pt>
                <c:pt idx="14">
                  <c:v>0.159375</c:v>
                </c:pt>
                <c:pt idx="15">
                  <c:v>0.17712177121771217</c:v>
                </c:pt>
                <c:pt idx="16">
                  <c:v>0.1778846153846154</c:v>
                </c:pt>
                <c:pt idx="17">
                  <c:v>0.2</c:v>
                </c:pt>
                <c:pt idx="18">
                  <c:v>0.18604651162790697</c:v>
                </c:pt>
                <c:pt idx="19">
                  <c:v>0.22666666666666666</c:v>
                </c:pt>
                <c:pt idx="20">
                  <c:v>0.263681592039801</c:v>
                </c:pt>
                <c:pt idx="21">
                  <c:v>0.23076923076923078</c:v>
                </c:pt>
                <c:pt idx="22">
                  <c:v>0.25287356321839083</c:v>
                </c:pt>
                <c:pt idx="23">
                  <c:v>0.23255813953488372</c:v>
                </c:pt>
                <c:pt idx="24">
                  <c:v>0.22815533980582525</c:v>
                </c:pt>
                <c:pt idx="25">
                  <c:v>0.1989795918367347</c:v>
                </c:pt>
                <c:pt idx="26">
                  <c:v>0.1881720430107527</c:v>
                </c:pt>
                <c:pt idx="27">
                  <c:v>0.21145374449339208</c:v>
                </c:pt>
                <c:pt idx="28">
                  <c:v>0.21559633027522937</c:v>
                </c:pt>
                <c:pt idx="29">
                  <c:v>0.25268817204301075</c:v>
                </c:pt>
                <c:pt idx="30">
                  <c:v>0.2054794520547945</c:v>
                </c:pt>
                <c:pt idx="31">
                  <c:v>0.2054794520547945</c:v>
                </c:pt>
                <c:pt idx="32">
                  <c:v>0.2087912087912088</c:v>
                </c:pt>
                <c:pt idx="33">
                  <c:v>0.2260536398467433</c:v>
                </c:pt>
                <c:pt idx="34">
                  <c:v>0.20666666666666667</c:v>
                </c:pt>
                <c:pt idx="35">
                  <c:v>0.2018348623853211</c:v>
                </c:pt>
                <c:pt idx="36">
                  <c:v>0.18584070796460178</c:v>
                </c:pt>
                <c:pt idx="37">
                  <c:v>0.20149253731343283</c:v>
                </c:pt>
                <c:pt idx="38">
                  <c:v>0.25675675675675674</c:v>
                </c:pt>
                <c:pt idx="39">
                  <c:v>0.22340425531914893</c:v>
                </c:pt>
                <c:pt idx="40">
                  <c:v>0.22346368715083798</c:v>
                </c:pt>
                <c:pt idx="41">
                  <c:v>0.23737373737373738</c:v>
                </c:pt>
                <c:pt idx="42">
                  <c:v>0.22162162162162163</c:v>
                </c:pt>
                <c:pt idx="43">
                  <c:v>0.17490494296577946</c:v>
                </c:pt>
                <c:pt idx="44">
                  <c:v>0.20253164556962025</c:v>
                </c:pt>
                <c:pt idx="45">
                  <c:v>0.20327102803738317</c:v>
                </c:pt>
                <c:pt idx="46">
                  <c:v>0.26119402985074625</c:v>
                </c:pt>
                <c:pt idx="47">
                  <c:v>0.22606382978723405</c:v>
                </c:pt>
                <c:pt idx="48">
                  <c:v>0.2528473804100228</c:v>
                </c:pt>
                <c:pt idx="49">
                  <c:v>0.22105263157894736</c:v>
                </c:pt>
                <c:pt idx="50">
                  <c:v>0.21680876979293545</c:v>
                </c:pt>
                <c:pt idx="51">
                  <c:v>0.2180451127819548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115399731540876</c:v>
                </c:pt>
              </c:numCache>
            </c:numRef>
          </c:xVal>
          <c:yVal>
            <c:numRef>
              <c:f>Sheet1!$B$163:$B$164</c:f>
              <c:numCache>
                <c:formatCode>General</c:formatCode>
                <c:ptCount val="2"/>
                <c:pt idx="0">
                  <c:v>0.25705551828314865</c:v>
                </c:pt>
                <c:pt idx="1">
                  <c:v>0.257055518283148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115399731540876</c:v>
                </c:pt>
                <c:pt idx="1">
                  <c:v>0.2115399731540876</c:v>
                </c:pt>
              </c:numCache>
            </c:numRef>
          </c:xVal>
          <c:yVal>
            <c:numRef>
              <c:f>Sheet1!$B$167:$B$168</c:f>
              <c:numCache>
                <c:formatCode>General</c:formatCode>
                <c:ptCount val="2"/>
                <c:pt idx="0">
                  <c:v>0.257055518283148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70642436984404</c:v>
                </c:pt>
              </c:numCache>
            </c:numRef>
          </c:xVal>
          <c:yVal>
            <c:numRef>
              <c:f>Sheet1!$B$171:$B$172</c:f>
              <c:numCache>
                <c:formatCode>General</c:formatCode>
                <c:ptCount val="2"/>
                <c:pt idx="0">
                  <c:v>0.22718847364096512</c:v>
                </c:pt>
                <c:pt idx="1">
                  <c:v>0.227188473640965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70642436984404</c:v>
                </c:pt>
                <c:pt idx="1">
                  <c:v>0.2770642436984404</c:v>
                </c:pt>
              </c:numCache>
            </c:numRef>
          </c:xVal>
          <c:yVal>
            <c:numRef>
              <c:f>Sheet1!$B$175:$B$176</c:f>
              <c:numCache>
                <c:formatCode>General</c:formatCode>
                <c:ptCount val="2"/>
                <c:pt idx="0">
                  <c:v>0.227188473640965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8902375992632756</c:v>
                </c:pt>
              </c:numCache>
            </c:numRef>
          </c:xVal>
          <c:yVal>
            <c:numRef>
              <c:f>Sheet1!$B$179:$B$180</c:f>
              <c:numCache>
                <c:formatCode>General</c:formatCode>
                <c:ptCount val="2"/>
                <c:pt idx="0">
                  <c:v>0.2217371286338438</c:v>
                </c:pt>
                <c:pt idx="1">
                  <c:v>0.22173712863384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8902375992632756</c:v>
                </c:pt>
                <c:pt idx="1">
                  <c:v>0.28902375992632756</c:v>
                </c:pt>
              </c:numCache>
            </c:numRef>
          </c:xVal>
          <c:yVal>
            <c:numRef>
              <c:f>Sheet1!$B$183:$B$184</c:f>
              <c:numCache>
                <c:formatCode>General</c:formatCode>
                <c:ptCount val="2"/>
                <c:pt idx="0">
                  <c:v>0.22173712863384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756865112988541</c:v>
                </c:pt>
                <c:pt idx="1">
                  <c:v>0.2772702038325827</c:v>
                </c:pt>
                <c:pt idx="2">
                  <c:v>0.2829286697173513</c:v>
                </c:pt>
                <c:pt idx="3">
                  <c:v>0.27226365924475604</c:v>
                </c:pt>
                <c:pt idx="4">
                  <c:v>0.27888784727434357</c:v>
                </c:pt>
                <c:pt idx="5">
                  <c:v>0.2936987004748598</c:v>
                </c:pt>
                <c:pt idx="6">
                  <c:v>0.31013418059073783</c:v>
                </c:pt>
                <c:pt idx="7">
                  <c:v>0.289102762991128</c:v>
                </c:pt>
                <c:pt idx="8">
                  <c:v>0.3095438052944558</c:v>
                </c:pt>
                <c:pt idx="9">
                  <c:v>0.32401361993674094</c:v>
                </c:pt>
                <c:pt idx="10">
                  <c:v>0.30571754636816595</c:v>
                </c:pt>
                <c:pt idx="11">
                  <c:v>0.35290108654303504</c:v>
                </c:pt>
                <c:pt idx="12">
                  <c:v>0.3597324092427014</c:v>
                </c:pt>
                <c:pt idx="13">
                  <c:v>0.32466200299301895</c:v>
                </c:pt>
                <c:pt idx="14">
                  <c:v>0.3362322131143131</c:v>
                </c:pt>
                <c:pt idx="15">
                  <c:v>0.3508116686184366</c:v>
                </c:pt>
                <c:pt idx="16">
                  <c:v>0.3395962772773278</c:v>
                </c:pt>
                <c:pt idx="17">
                  <c:v>0.3553857450974107</c:v>
                </c:pt>
                <c:pt idx="18">
                  <c:v>0.3175800538637415</c:v>
                </c:pt>
                <c:pt idx="19">
                  <c:v>0.294872419139858</c:v>
                </c:pt>
                <c:pt idx="20">
                  <c:v>0.26728897493818443</c:v>
                </c:pt>
                <c:pt idx="21">
                  <c:v>0.3185470754186277</c:v>
                </c:pt>
                <c:pt idx="22">
                  <c:v>0.28282536144155934</c:v>
                </c:pt>
                <c:pt idx="23">
                  <c:v>0.28647971223786095</c:v>
                </c:pt>
                <c:pt idx="24">
                  <c:v>0.2936768816411151</c:v>
                </c:pt>
                <c:pt idx="25">
                  <c:v>0.30861299496827826</c:v>
                </c:pt>
                <c:pt idx="26">
                  <c:v>0.3567895951562436</c:v>
                </c:pt>
                <c:pt idx="27">
                  <c:v>0.3436793105923266</c:v>
                </c:pt>
                <c:pt idx="28">
                  <c:v>0.30924744419006966</c:v>
                </c:pt>
                <c:pt idx="29">
                  <c:v>0.28329276755168453</c:v>
                </c:pt>
                <c:pt idx="30">
                  <c:v>0.30749954401630436</c:v>
                </c:pt>
                <c:pt idx="31">
                  <c:v>0.3024682887899013</c:v>
                </c:pt>
                <c:pt idx="32">
                  <c:v>0.2982930609076956</c:v>
                </c:pt>
                <c:pt idx="33">
                  <c:v>0.29581714224769323</c:v>
                </c:pt>
                <c:pt idx="34">
                  <c:v>0.30167088418809784</c:v>
                </c:pt>
                <c:pt idx="35">
                  <c:v>0.29606843165761215</c:v>
                </c:pt>
                <c:pt idx="36">
                  <c:v>0.27774230992630544</c:v>
                </c:pt>
                <c:pt idx="37">
                  <c:v>0.28903338757959035</c:v>
                </c:pt>
                <c:pt idx="38">
                  <c:v>0.24518527011215757</c:v>
                </c:pt>
                <c:pt idx="39">
                  <c:v>0.2855372710286205</c:v>
                </c:pt>
                <c:pt idx="40">
                  <c:v>0.2997714117439016</c:v>
                </c:pt>
                <c:pt idx="41">
                  <c:v>0.3106999875704509</c:v>
                </c:pt>
                <c:pt idx="42">
                  <c:v>0.2611871237962959</c:v>
                </c:pt>
                <c:pt idx="43">
                  <c:v>0.3101347562370054</c:v>
                </c:pt>
                <c:pt idx="44">
                  <c:v>0.32050326248662997</c:v>
                </c:pt>
                <c:pt idx="45">
                  <c:v>0.31262131150272215</c:v>
                </c:pt>
                <c:pt idx="46">
                  <c:v>0.2880897661613139</c:v>
                </c:pt>
                <c:pt idx="47">
                  <c:v>0.307484771170394</c:v>
                </c:pt>
                <c:pt idx="48">
                  <c:v>0.3356020850804285</c:v>
                </c:pt>
                <c:pt idx="49">
                  <c:v>0.32796424726702694</c:v>
                </c:pt>
                <c:pt idx="50">
                  <c:v>0.34272074663358015</c:v>
                </c:pt>
                <c:pt idx="51">
                  <c:v>0.3651079623484044</c:v>
                </c:pt>
                <c:pt idx="52">
                  <c:v>0.2770642436984404</c:v>
                </c:pt>
                <c:pt idx="53">
                  <c:v>0.2115399731540876</c:v>
                </c:pt>
                <c:pt idx="54">
                  <c:v>0.28902375992632756</c:v>
                </c:pt>
              </c:numCache>
            </c:numRef>
          </c:xVal>
          <c:yVal>
            <c:numRef>
              <c:f>Sheet1!$B$187:$B$241</c:f>
              <c:numCache>
                <c:formatCode>General</c:formatCode>
                <c:ptCount val="55"/>
                <c:pt idx="0">
                  <c:v>0.22781646682183654</c:v>
                </c:pt>
                <c:pt idx="1">
                  <c:v>0.22709459361040796</c:v>
                </c:pt>
                <c:pt idx="2">
                  <c:v>0.22451537141102063</c:v>
                </c:pt>
                <c:pt idx="3">
                  <c:v>0.22937665931622128</c:v>
                </c:pt>
                <c:pt idx="4">
                  <c:v>0.2263572450144018</c:v>
                </c:pt>
                <c:pt idx="5">
                  <c:v>0.21960621352555496</c:v>
                </c:pt>
                <c:pt idx="6">
                  <c:v>0.21211465025810314</c:v>
                </c:pt>
                <c:pt idx="7">
                  <c:v>0.22170111773217846</c:v>
                </c:pt>
                <c:pt idx="8">
                  <c:v>0.2123837530681491</c:v>
                </c:pt>
                <c:pt idx="9">
                  <c:v>0.2057881725863684</c:v>
                </c:pt>
                <c:pt idx="10">
                  <c:v>0.214127825077111</c:v>
                </c:pt>
                <c:pt idx="11">
                  <c:v>0.19262078823302772</c:v>
                </c:pt>
                <c:pt idx="12">
                  <c:v>0.18950695852777386</c:v>
                </c:pt>
                <c:pt idx="13">
                  <c:v>0.20549262888132275</c:v>
                </c:pt>
                <c:pt idx="14">
                  <c:v>0.20021873602694562</c:v>
                </c:pt>
                <c:pt idx="15">
                  <c:v>0.19357317942962896</c:v>
                </c:pt>
                <c:pt idx="16">
                  <c:v>0.19868534002419397</c:v>
                </c:pt>
                <c:pt idx="17">
                  <c:v>0.19148823983000673</c:v>
                </c:pt>
                <c:pt idx="18">
                  <c:v>0.20872069825226872</c:v>
                </c:pt>
                <c:pt idx="19">
                  <c:v>0.21907121317417924</c:v>
                </c:pt>
                <c:pt idx="20">
                  <c:v>0.23164420257966856</c:v>
                </c:pt>
                <c:pt idx="21">
                  <c:v>0.20827991385726827</c:v>
                </c:pt>
                <c:pt idx="22">
                  <c:v>0.22456246102925448</c:v>
                </c:pt>
                <c:pt idx="23">
                  <c:v>0.2228967475849902</c:v>
                </c:pt>
                <c:pt idx="24">
                  <c:v>0.21961615891031208</c:v>
                </c:pt>
                <c:pt idx="25">
                  <c:v>0.21280803178707863</c:v>
                </c:pt>
                <c:pt idx="26">
                  <c:v>0.1908483417887197</c:v>
                </c:pt>
                <c:pt idx="27">
                  <c:v>0.1968242260082501</c:v>
                </c:pt>
                <c:pt idx="28">
                  <c:v>0.21251883935390814</c:v>
                </c:pt>
                <c:pt idx="29">
                  <c:v>0.22434940960508504</c:v>
                </c:pt>
                <c:pt idx="30">
                  <c:v>0.21331556111954142</c:v>
                </c:pt>
                <c:pt idx="31">
                  <c:v>0.21560889034251207</c:v>
                </c:pt>
                <c:pt idx="32">
                  <c:v>0.2175120281647747</c:v>
                </c:pt>
                <c:pt idx="33">
                  <c:v>0.21864059277960168</c:v>
                </c:pt>
                <c:pt idx="34">
                  <c:v>0.21597236052908705</c:v>
                </c:pt>
                <c:pt idx="35">
                  <c:v>0.2185260509165362</c:v>
                </c:pt>
                <c:pt idx="36">
                  <c:v>0.2268793998560949</c:v>
                </c:pt>
                <c:pt idx="37">
                  <c:v>0.2217327401904867</c:v>
                </c:pt>
                <c:pt idx="38">
                  <c:v>0.24171943628028225</c:v>
                </c:pt>
                <c:pt idx="39">
                  <c:v>0.22332632785250292</c:v>
                </c:pt>
                <c:pt idx="40">
                  <c:v>0.21683817143878664</c:v>
                </c:pt>
                <c:pt idx="41">
                  <c:v>0.21185674609249305</c:v>
                </c:pt>
                <c:pt idx="42">
                  <c:v>0.2344255271017231</c:v>
                </c:pt>
                <c:pt idx="43">
                  <c:v>0.21211438786902762</c:v>
                </c:pt>
                <c:pt idx="44">
                  <c:v>0.20738825148540044</c:v>
                </c:pt>
                <c:pt idx="45">
                  <c:v>0.21098097491365334</c:v>
                </c:pt>
                <c:pt idx="46">
                  <c:v>0.22216285841676905</c:v>
                </c:pt>
                <c:pt idx="47">
                  <c:v>0.2133222948266797</c:v>
                </c:pt>
                <c:pt idx="48">
                  <c:v>0.20050595879130412</c:v>
                </c:pt>
                <c:pt idx="49">
                  <c:v>0.20398741140493085</c:v>
                </c:pt>
                <c:pt idx="50">
                  <c:v>0.19726115529125354</c:v>
                </c:pt>
                <c:pt idx="51">
                  <c:v>0.18705669264536642</c:v>
                </c:pt>
                <c:pt idx="52">
                  <c:v>0.22718847364096512</c:v>
                </c:pt>
                <c:pt idx="53">
                  <c:v>0.25705551828314865</c:v>
                </c:pt>
                <c:pt idx="54">
                  <c:v>0.22173712863384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747663551401864"/>
          <c:min val="0.101781170483460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8161</c:v>
                </c:pt>
                <c:pt idx="1">
                  <c:v>316.9195</c:v>
                </c:pt>
                <c:pt idx="2">
                  <c:v>322.9268</c:v>
                </c:pt>
                <c:pt idx="3">
                  <c:v>318.6914</c:v>
                </c:pt>
                <c:pt idx="4">
                  <c:v>322.662</c:v>
                </c:pt>
                <c:pt idx="5">
                  <c:v>318.5699</c:v>
                </c:pt>
                <c:pt idx="6">
                  <c:v>317.1009</c:v>
                </c:pt>
                <c:pt idx="7">
                  <c:v>321.9036</c:v>
                </c:pt>
                <c:pt idx="8">
                  <c:v>318.4394</c:v>
                </c:pt>
                <c:pt idx="9">
                  <c:v>314.4588</c:v>
                </c:pt>
                <c:pt idx="10">
                  <c:v>316.8661</c:v>
                </c:pt>
                <c:pt idx="11">
                  <c:v>325.6136</c:v>
                </c:pt>
                <c:pt idx="12">
                  <c:v>327.7475</c:v>
                </c:pt>
                <c:pt idx="13">
                  <c:v>319.5347</c:v>
                </c:pt>
                <c:pt idx="14">
                  <c:v>323.734</c:v>
                </c:pt>
                <c:pt idx="15">
                  <c:v>324.2824</c:v>
                </c:pt>
                <c:pt idx="16">
                  <c:v>326.6</c:v>
                </c:pt>
                <c:pt idx="17">
                  <c:v>329.5294</c:v>
                </c:pt>
                <c:pt idx="18">
                  <c:v>329.2115</c:v>
                </c:pt>
                <c:pt idx="19">
                  <c:v>337.0488</c:v>
                </c:pt>
                <c:pt idx="20">
                  <c:v>334.2037</c:v>
                </c:pt>
                <c:pt idx="21">
                  <c:v>334.6923</c:v>
                </c:pt>
                <c:pt idx="22">
                  <c:v>326.7174</c:v>
                </c:pt>
                <c:pt idx="23">
                  <c:v>333.5849</c:v>
                </c:pt>
                <c:pt idx="24">
                  <c:v>351.338</c:v>
                </c:pt>
                <c:pt idx="25">
                  <c:v>353.8909</c:v>
                </c:pt>
                <c:pt idx="26">
                  <c:v>356.6591</c:v>
                </c:pt>
                <c:pt idx="27">
                  <c:v>347.0154</c:v>
                </c:pt>
                <c:pt idx="28">
                  <c:v>346.8636</c:v>
                </c:pt>
                <c:pt idx="29">
                  <c:v>357.2653</c:v>
                </c:pt>
                <c:pt idx="30">
                  <c:v>337.6154</c:v>
                </c:pt>
                <c:pt idx="31">
                  <c:v>370.4167</c:v>
                </c:pt>
                <c:pt idx="32">
                  <c:v>364.8868</c:v>
                </c:pt>
                <c:pt idx="33">
                  <c:v>345.2857</c:v>
                </c:pt>
                <c:pt idx="34">
                  <c:v>352.3438</c:v>
                </c:pt>
                <c:pt idx="35">
                  <c:v>356.2615</c:v>
                </c:pt>
                <c:pt idx="36">
                  <c:v>353.4808</c:v>
                </c:pt>
                <c:pt idx="37">
                  <c:v>352.1522</c:v>
                </c:pt>
                <c:pt idx="38">
                  <c:v>359.4878</c:v>
                </c:pt>
                <c:pt idx="39">
                  <c:v>346.9375</c:v>
                </c:pt>
                <c:pt idx="40">
                  <c:v>352.7759</c:v>
                </c:pt>
                <c:pt idx="41">
                  <c:v>345.45</c:v>
                </c:pt>
                <c:pt idx="42">
                  <c:v>349.9365</c:v>
                </c:pt>
                <c:pt idx="43">
                  <c:v>351.2609</c:v>
                </c:pt>
                <c:pt idx="44">
                  <c:v>344.8774</c:v>
                </c:pt>
                <c:pt idx="45">
                  <c:v>342.168</c:v>
                </c:pt>
                <c:pt idx="46">
                  <c:v>354.7603</c:v>
                </c:pt>
                <c:pt idx="47">
                  <c:v>346.7313</c:v>
                </c:pt>
                <c:pt idx="48">
                  <c:v>353.4715</c:v>
                </c:pt>
                <c:pt idx="49">
                  <c:v>355.087</c:v>
                </c:pt>
                <c:pt idx="50">
                  <c:v>360.9924</c:v>
                </c:pt>
                <c:pt idx="51">
                  <c:v>383.4038</c:v>
                </c:pt>
                <c:pt idx="52">
                  <c:v>372.6067</c:v>
                </c:pt>
                <c:pt idx="53">
                  <c:v>367.7816</c:v>
                </c:pt>
                <c:pt idx="54">
                  <c:v>370.7625</c:v>
                </c:pt>
                <c:pt idx="55">
                  <c:v>352.3373</c:v>
                </c:pt>
                <c:pt idx="56">
                  <c:v>376.3636</c:v>
                </c:pt>
                <c:pt idx="57">
                  <c:v>362.3061</c:v>
                </c:pt>
                <c:pt idx="58">
                  <c:v>334.3167</c:v>
                </c:pt>
                <c:pt idx="59">
                  <c:v>360.8793</c:v>
                </c:pt>
                <c:pt idx="60">
                  <c:v>373.3737</c:v>
                </c:pt>
                <c:pt idx="61">
                  <c:v>374.0278</c:v>
                </c:pt>
                <c:pt idx="62">
                  <c:v>356.7431</c:v>
                </c:pt>
                <c:pt idx="63">
                  <c:v>401.4902</c:v>
                </c:pt>
                <c:pt idx="64">
                  <c:v>419.8636</c:v>
                </c:pt>
                <c:pt idx="65">
                  <c:v>406.0</c:v>
                </c:pt>
                <c:pt idx="66">
                  <c:v>394.6729</c:v>
                </c:pt>
                <c:pt idx="67">
                  <c:v>396.617</c:v>
                </c:pt>
                <c:pt idx="68">
                  <c:v>410.4559</c:v>
                </c:pt>
                <c:pt idx="69">
                  <c:v>410.1455</c:v>
                </c:pt>
                <c:pt idx="70">
                  <c:v>408.125</c:v>
                </c:pt>
                <c:pt idx="71">
                  <c:v>443.2708</c:v>
                </c:pt>
                <c:pt idx="72">
                  <c:v>464.82</c:v>
                </c:pt>
                <c:pt idx="73">
                  <c:v>441.359</c:v>
                </c:pt>
                <c:pt idx="74">
                  <c:v>463.7174</c:v>
                </c:pt>
                <c:pt idx="75">
                  <c:v>441.9048</c:v>
                </c:pt>
                <c:pt idx="76">
                  <c:v>448.5854</c:v>
                </c:pt>
                <c:pt idx="77">
                  <c:v>465.6316</c:v>
                </c:pt>
                <c:pt idx="78">
                  <c:v>446.4286</c:v>
                </c:pt>
                <c:pt idx="79">
                  <c:v>460.8478</c:v>
                </c:pt>
                <c:pt idx="80">
                  <c:v>477.2</c:v>
                </c:pt>
                <c:pt idx="81">
                  <c:v>461.9808</c:v>
                </c:pt>
                <c:pt idx="82">
                  <c:v>482.8649</c:v>
                </c:pt>
                <c:pt idx="83">
                  <c:v>467.1905</c:v>
                </c:pt>
                <c:pt idx="84">
                  <c:v>439.931</c:v>
                </c:pt>
                <c:pt idx="85">
                  <c:v>451.7429</c:v>
                </c:pt>
                <c:pt idx="86">
                  <c:v>443.566</c:v>
                </c:pt>
                <c:pt idx="87">
                  <c:v>435.5962</c:v>
                </c:pt>
                <c:pt idx="88">
                  <c:v>458.5526</c:v>
                </c:pt>
                <c:pt idx="89">
                  <c:v>423.0294</c:v>
                </c:pt>
                <c:pt idx="90">
                  <c:v>467.8966</c:v>
                </c:pt>
                <c:pt idx="91">
                  <c:v>461.3243</c:v>
                </c:pt>
                <c:pt idx="92">
                  <c:v>449.475</c:v>
                </c:pt>
                <c:pt idx="93">
                  <c:v>462.1944</c:v>
                </c:pt>
                <c:pt idx="94">
                  <c:v>457.3571</c:v>
                </c:pt>
                <c:pt idx="95">
                  <c:v>447.9259</c:v>
                </c:pt>
                <c:pt idx="96">
                  <c:v>471.8</c:v>
                </c:pt>
                <c:pt idx="97">
                  <c:v>441.0833</c:v>
                </c:pt>
                <c:pt idx="98">
                  <c:v>423.0</c:v>
                </c:pt>
                <c:pt idx="99">
                  <c:v>423.6742</c:v>
                </c:pt>
                <c:pt idx="100">
                  <c:v>433.5916</c:v>
                </c:pt>
                <c:pt idx="101">
                  <c:v>424.041</c:v>
                </c:pt>
                <c:pt idx="102">
                  <c:v>441.1324</c:v>
                </c:pt>
                <c:pt idx="103">
                  <c:v>396.2551</c:v>
                </c:pt>
                <c:pt idx="104">
                  <c:v>383.2973</c:v>
                </c:pt>
              </c:numCache>
            </c:numRef>
          </c:xVal>
          <c:yVal>
            <c:numRef>
              <c:f>Sheet1!$B$2:$B$106</c:f>
              <c:numCache>
                <c:formatCode>General</c:formatCode>
                <c:ptCount val="105"/>
                <c:pt idx="0">
                  <c:v>0.20327102803738317</c:v>
                </c:pt>
                <c:pt idx="1">
                  <c:v>0.2693498452012384</c:v>
                </c:pt>
                <c:pt idx="2">
                  <c:v>0.24477611940298508</c:v>
                </c:pt>
                <c:pt idx="3">
                  <c:v>0.22252747252747251</c:v>
                </c:pt>
                <c:pt idx="4">
                  <c:v>0.2204968944099379</c:v>
                </c:pt>
                <c:pt idx="5">
                  <c:v>0.2672413793103448</c:v>
                </c:pt>
                <c:pt idx="6">
                  <c:v>0.3395638629283489</c:v>
                </c:pt>
                <c:pt idx="7">
                  <c:v>0.3062730627306273</c:v>
                </c:pt>
                <c:pt idx="8">
                  <c:v>0.24</c:v>
                </c:pt>
                <c:pt idx="9">
                  <c:v>0.22251308900523561</c:v>
                </c:pt>
                <c:pt idx="10">
                  <c:v>0.2978723404255319</c:v>
                </c:pt>
                <c:pt idx="11">
                  <c:v>0.24444444444444444</c:v>
                </c:pt>
                <c:pt idx="12">
                  <c:v>0.2357142857142857</c:v>
                </c:pt>
                <c:pt idx="13">
                  <c:v>0.2531328320802005</c:v>
                </c:pt>
                <c:pt idx="14">
                  <c:v>0.26704545454545453</c:v>
                </c:pt>
                <c:pt idx="15">
                  <c:v>0.22486772486772486</c:v>
                </c:pt>
                <c:pt idx="16">
                  <c:v>0.22123893805309736</c:v>
                </c:pt>
                <c:pt idx="17">
                  <c:v>0.15987460815047022</c:v>
                </c:pt>
                <c:pt idx="18">
                  <c:v>0.18118466898954705</c:v>
                </c:pt>
                <c:pt idx="19">
                  <c:v>0.16334661354581673</c:v>
                </c:pt>
                <c:pt idx="20">
                  <c:v>0.17647058823529413</c:v>
                </c:pt>
                <c:pt idx="21">
                  <c:v>0.19306930693069307</c:v>
                </c:pt>
                <c:pt idx="22">
                  <c:v>0.22772277227722773</c:v>
                </c:pt>
                <c:pt idx="23">
                  <c:v>0.25728155339805825</c:v>
                </c:pt>
                <c:pt idx="24">
                  <c:v>0.2795275590551181</c:v>
                </c:pt>
                <c:pt idx="25">
                  <c:v>0.270935960591133</c:v>
                </c:pt>
                <c:pt idx="26">
                  <c:v>0.20465116279069767</c:v>
                </c:pt>
                <c:pt idx="27">
                  <c:v>0.26639344262295084</c:v>
                </c:pt>
                <c:pt idx="28">
                  <c:v>0.205607476635514</c:v>
                </c:pt>
                <c:pt idx="29">
                  <c:v>0.196</c:v>
                </c:pt>
                <c:pt idx="30">
                  <c:v>0.2549019607843137</c:v>
                </c:pt>
                <c:pt idx="31">
                  <c:v>0.17061611374407584</c:v>
                </c:pt>
                <c:pt idx="32">
                  <c:v>0.2560386473429952</c:v>
                </c:pt>
                <c:pt idx="33">
                  <c:v>0.22672064777327935</c:v>
                </c:pt>
                <c:pt idx="34">
                  <c:v>0.21122112211221122</c:v>
                </c:pt>
                <c:pt idx="35">
                  <c:v>0.20967741935483872</c:v>
                </c:pt>
                <c:pt idx="36">
                  <c:v>0.21224489795918366</c:v>
                </c:pt>
                <c:pt idx="37">
                  <c:v>0.19827586206896552</c:v>
                </c:pt>
                <c:pt idx="38">
                  <c:v>0.17903930131004367</c:v>
                </c:pt>
                <c:pt idx="39">
                  <c:v>0.22748815165876776</c:v>
                </c:pt>
                <c:pt idx="40">
                  <c:v>0.21014492753623187</c:v>
                </c:pt>
                <c:pt idx="41">
                  <c:v>0.22727272727272727</c:v>
                </c:pt>
                <c:pt idx="42">
                  <c:v>0.20588235294117646</c:v>
                </c:pt>
                <c:pt idx="43">
                  <c:v>0.2</c:v>
                </c:pt>
                <c:pt idx="44">
                  <c:v>0.21810699588477367</c:v>
                </c:pt>
                <c:pt idx="45">
                  <c:v>0.2181500872600349</c:v>
                </c:pt>
                <c:pt idx="46">
                  <c:v>0.22324159021406728</c:v>
                </c:pt>
                <c:pt idx="47">
                  <c:v>0.2271186440677966</c:v>
                </c:pt>
                <c:pt idx="48">
                  <c:v>0.2532808398950131</c:v>
                </c:pt>
                <c:pt idx="49">
                  <c:v>0.25321100917431194</c:v>
                </c:pt>
                <c:pt idx="50">
                  <c:v>0.20695102685624012</c:v>
                </c:pt>
                <c:pt idx="51">
                  <c:v>0.20194174757281552</c:v>
                </c:pt>
                <c:pt idx="52">
                  <c:v>0.17835671342685372</c:v>
                </c:pt>
                <c:pt idx="53">
                  <c:v>0.21375921375921375</c:v>
                </c:pt>
                <c:pt idx="54">
                  <c:v>0.21052631578947367</c:v>
                </c:pt>
                <c:pt idx="55">
                  <c:v>0.21012658227848102</c:v>
                </c:pt>
                <c:pt idx="56">
                  <c:v>0.20698924731182797</c:v>
                </c:pt>
                <c:pt idx="57">
                  <c:v>0.23113207547169812</c:v>
                </c:pt>
                <c:pt idx="58">
                  <c:v>0.24439918533604887</c:v>
                </c:pt>
                <c:pt idx="59">
                  <c:v>0.21129326047358835</c:v>
                </c:pt>
                <c:pt idx="60">
                  <c:v>0.1944990176817289</c:v>
                </c:pt>
                <c:pt idx="61">
                  <c:v>0.19672131147540983</c:v>
                </c:pt>
                <c:pt idx="62">
                  <c:v>0.21669980119284293</c:v>
                </c:pt>
                <c:pt idx="63">
                  <c:v>0.19729206963249515</c:v>
                </c:pt>
                <c:pt idx="64">
                  <c:v>0.20952380952380953</c:v>
                </c:pt>
                <c:pt idx="65">
                  <c:v>0.18541666666666667</c:v>
                </c:pt>
                <c:pt idx="66">
                  <c:v>0.20817120622568094</c:v>
                </c:pt>
                <c:pt idx="67">
                  <c:v>0.19665271966527198</c:v>
                </c:pt>
                <c:pt idx="68">
                  <c:v>0.17662337662337663</c:v>
                </c:pt>
                <c:pt idx="69">
                  <c:v>0.17405063291139242</c:v>
                </c:pt>
                <c:pt idx="70">
                  <c:v>0.1643835616438356</c:v>
                </c:pt>
                <c:pt idx="71">
                  <c:v>0.19753086419753085</c:v>
                </c:pt>
                <c:pt idx="72">
                  <c:v>0.18115942028985507</c:v>
                </c:pt>
                <c:pt idx="73">
                  <c:v>0.1652542372881356</c:v>
                </c:pt>
                <c:pt idx="74">
                  <c:v>0.1776061776061776</c:v>
                </c:pt>
                <c:pt idx="75">
                  <c:v>0.19090909090909092</c:v>
                </c:pt>
                <c:pt idx="76">
                  <c:v>0.19902912621359223</c:v>
                </c:pt>
                <c:pt idx="77">
                  <c:v>0.18446601941747573</c:v>
                </c:pt>
                <c:pt idx="78">
                  <c:v>0.18716577540106952</c:v>
                </c:pt>
                <c:pt idx="79">
                  <c:v>0.18699186991869918</c:v>
                </c:pt>
                <c:pt idx="80">
                  <c:v>0.15486725663716813</c:v>
                </c:pt>
                <c:pt idx="81">
                  <c:v>0.17869415807560138</c:v>
                </c:pt>
                <c:pt idx="82">
                  <c:v>0.1712962962962963</c:v>
                </c:pt>
                <c:pt idx="83">
                  <c:v>0.1346153846153846</c:v>
                </c:pt>
                <c:pt idx="84">
                  <c:v>0.18831168831168832</c:v>
                </c:pt>
                <c:pt idx="85">
                  <c:v>0.16666666666666666</c:v>
                </c:pt>
                <c:pt idx="86">
                  <c:v>0.1853146853146853</c:v>
                </c:pt>
                <c:pt idx="87">
                  <c:v>0.17391304347826086</c:v>
                </c:pt>
                <c:pt idx="88">
                  <c:v>0.18719211822660098</c:v>
                </c:pt>
                <c:pt idx="89">
                  <c:v>0.2251655629139073</c:v>
                </c:pt>
                <c:pt idx="90">
                  <c:v>0.18125</c:v>
                </c:pt>
                <c:pt idx="91">
                  <c:v>0.20218579234972678</c:v>
                </c:pt>
                <c:pt idx="92">
                  <c:v>0.17391304347826086</c:v>
                </c:pt>
                <c:pt idx="93">
                  <c:v>0.16589861751152074</c:v>
                </c:pt>
                <c:pt idx="94">
                  <c:v>0.16666666666666666</c:v>
                </c:pt>
                <c:pt idx="95">
                  <c:v>0.18815331010452963</c:v>
                </c:pt>
                <c:pt idx="96">
                  <c:v>0.1272264631043257</c:v>
                </c:pt>
                <c:pt idx="97">
                  <c:v>0.16289592760180996</c:v>
                </c:pt>
                <c:pt idx="98">
                  <c:v>0.16042780748663102</c:v>
                </c:pt>
                <c:pt idx="99">
                  <c:v>0.1981981981981982</c:v>
                </c:pt>
                <c:pt idx="100">
                  <c:v>0.20942982456140352</c:v>
                </c:pt>
                <c:pt idx="101">
                  <c:v>0.21942446043165467</c:v>
                </c:pt>
                <c:pt idx="102">
                  <c:v>0.19318181818181818</c:v>
                </c:pt>
                <c:pt idx="103">
                  <c:v>0.21120689655172414</c:v>
                </c:pt>
                <c:pt idx="104">
                  <c:v>0.196286472148541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numCache>
            </c:numRef>
          </c:xVal>
          <c:yVal>
            <c:numRef>
              <c:f>Sheet1!$B$109:$B$160</c:f>
              <c:numCache>
                <c:formatCode>General</c:formatCode>
                <c:ptCount val="52"/>
                <c:pt idx="0">
                  <c:v>0.18160377358490565</c:v>
                </c:pt>
                <c:pt idx="1">
                  <c:v>0.2</c:v>
                </c:pt>
                <c:pt idx="2">
                  <c:v>0.21236559139784947</c:v>
                </c:pt>
                <c:pt idx="3">
                  <c:v>0.23544303797468355</c:v>
                </c:pt>
                <c:pt idx="4">
                  <c:v>0.24489795918367346</c:v>
                </c:pt>
                <c:pt idx="5">
                  <c:v>0.20708446866485014</c:v>
                </c:pt>
                <c:pt idx="6">
                  <c:v>0.2009685230024213</c:v>
                </c:pt>
                <c:pt idx="7">
                  <c:v>0.23410404624277456</c:v>
                </c:pt>
                <c:pt idx="8">
                  <c:v>0.19528619528619529</c:v>
                </c:pt>
                <c:pt idx="9">
                  <c:v>0.22189349112426035</c:v>
                </c:pt>
                <c:pt idx="10">
                  <c:v>0.24127906976744187</c:v>
                </c:pt>
                <c:pt idx="11">
                  <c:v>0.1592741935483871</c:v>
                </c:pt>
                <c:pt idx="12">
                  <c:v>0.183206106870229</c:v>
                </c:pt>
                <c:pt idx="13">
                  <c:v>0.19533527696793002</c:v>
                </c:pt>
                <c:pt idx="14">
                  <c:v>0.159375</c:v>
                </c:pt>
                <c:pt idx="15">
                  <c:v>0.17712177121771217</c:v>
                </c:pt>
                <c:pt idx="16">
                  <c:v>0.1778846153846154</c:v>
                </c:pt>
                <c:pt idx="17">
                  <c:v>0.2</c:v>
                </c:pt>
                <c:pt idx="18">
                  <c:v>0.18604651162790697</c:v>
                </c:pt>
                <c:pt idx="19">
                  <c:v>0.22666666666666666</c:v>
                </c:pt>
                <c:pt idx="20">
                  <c:v>0.263681592039801</c:v>
                </c:pt>
                <c:pt idx="21">
                  <c:v>0.23076923076923078</c:v>
                </c:pt>
                <c:pt idx="22">
                  <c:v>0.25287356321839083</c:v>
                </c:pt>
                <c:pt idx="23">
                  <c:v>0.23255813953488372</c:v>
                </c:pt>
                <c:pt idx="24">
                  <c:v>0.22815533980582525</c:v>
                </c:pt>
                <c:pt idx="25">
                  <c:v>0.1989795918367347</c:v>
                </c:pt>
                <c:pt idx="26">
                  <c:v>0.1881720430107527</c:v>
                </c:pt>
                <c:pt idx="27">
                  <c:v>0.21145374449339208</c:v>
                </c:pt>
                <c:pt idx="28">
                  <c:v>0.21559633027522937</c:v>
                </c:pt>
                <c:pt idx="29">
                  <c:v>0.25268817204301075</c:v>
                </c:pt>
                <c:pt idx="30">
                  <c:v>0.2054794520547945</c:v>
                </c:pt>
                <c:pt idx="31">
                  <c:v>0.2054794520547945</c:v>
                </c:pt>
                <c:pt idx="32">
                  <c:v>0.2087912087912088</c:v>
                </c:pt>
                <c:pt idx="33">
                  <c:v>0.2260536398467433</c:v>
                </c:pt>
                <c:pt idx="34">
                  <c:v>0.20666666666666667</c:v>
                </c:pt>
                <c:pt idx="35">
                  <c:v>0.2018348623853211</c:v>
                </c:pt>
                <c:pt idx="36">
                  <c:v>0.18584070796460178</c:v>
                </c:pt>
                <c:pt idx="37">
                  <c:v>0.20149253731343283</c:v>
                </c:pt>
                <c:pt idx="38">
                  <c:v>0.25675675675675674</c:v>
                </c:pt>
                <c:pt idx="39">
                  <c:v>0.22340425531914893</c:v>
                </c:pt>
                <c:pt idx="40">
                  <c:v>0.22346368715083798</c:v>
                </c:pt>
                <c:pt idx="41">
                  <c:v>0.23737373737373738</c:v>
                </c:pt>
                <c:pt idx="42">
                  <c:v>0.22162162162162163</c:v>
                </c:pt>
                <c:pt idx="43">
                  <c:v>0.17490494296577946</c:v>
                </c:pt>
                <c:pt idx="44">
                  <c:v>0.20253164556962025</c:v>
                </c:pt>
                <c:pt idx="45">
                  <c:v>0.20327102803738317</c:v>
                </c:pt>
                <c:pt idx="46">
                  <c:v>0.26119402985074625</c:v>
                </c:pt>
                <c:pt idx="47">
                  <c:v>0.22606382978723405</c:v>
                </c:pt>
                <c:pt idx="48">
                  <c:v>0.2528473804100228</c:v>
                </c:pt>
                <c:pt idx="49">
                  <c:v>0.22105263157894736</c:v>
                </c:pt>
                <c:pt idx="50">
                  <c:v>0.21680876979293545</c:v>
                </c:pt>
                <c:pt idx="51">
                  <c:v>0.2180451127819548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7.7370740032348</c:v>
                </c:pt>
              </c:numCache>
            </c:numRef>
          </c:xVal>
          <c:yVal>
            <c:numRef>
              <c:f>Sheet1!$B$163:$B$164</c:f>
              <c:numCache>
                <c:formatCode>General</c:formatCode>
                <c:ptCount val="2"/>
                <c:pt idx="0">
                  <c:v>0.25705551828314865</c:v>
                </c:pt>
                <c:pt idx="1">
                  <c:v>0.257055518283148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7.7370740032348</c:v>
                </c:pt>
                <c:pt idx="1">
                  <c:v>367.7370740032348</c:v>
                </c:pt>
              </c:numCache>
            </c:numRef>
          </c:xVal>
          <c:yVal>
            <c:numRef>
              <c:f>Sheet1!$B$167:$B$168</c:f>
              <c:numCache>
                <c:formatCode>General</c:formatCode>
                <c:ptCount val="2"/>
                <c:pt idx="0">
                  <c:v>0.257055518283148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24.7869113855792</c:v>
                </c:pt>
              </c:numCache>
            </c:numRef>
          </c:xVal>
          <c:yVal>
            <c:numRef>
              <c:f>Sheet1!$B$171:$B$172</c:f>
              <c:numCache>
                <c:formatCode>General</c:formatCode>
                <c:ptCount val="2"/>
                <c:pt idx="0">
                  <c:v>0.22718847364096512</c:v>
                </c:pt>
                <c:pt idx="1">
                  <c:v>0.227188473640965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24.7869113855792</c:v>
                </c:pt>
                <c:pt idx="1">
                  <c:v>424.7869113855792</c:v>
                </c:pt>
              </c:numCache>
            </c:numRef>
          </c:xVal>
          <c:yVal>
            <c:numRef>
              <c:f>Sheet1!$B$175:$B$176</c:f>
              <c:numCache>
                <c:formatCode>General</c:formatCode>
                <c:ptCount val="2"/>
                <c:pt idx="0">
                  <c:v>0.227188473640965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5.1996706624739</c:v>
                </c:pt>
              </c:numCache>
            </c:numRef>
          </c:xVal>
          <c:yVal>
            <c:numRef>
              <c:f>Sheet1!$B$179:$B$180</c:f>
              <c:numCache>
                <c:formatCode>General</c:formatCode>
                <c:ptCount val="2"/>
                <c:pt idx="0">
                  <c:v>0.2217371286338438</c:v>
                </c:pt>
                <c:pt idx="1">
                  <c:v>0.22173712863384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5.1996706624739</c:v>
                </c:pt>
                <c:pt idx="1">
                  <c:v>435.1996706624739</c:v>
                </c:pt>
              </c:numCache>
            </c:numRef>
          </c:xVal>
          <c:yVal>
            <c:numRef>
              <c:f>Sheet1!$B$183:$B$184</c:f>
              <c:numCache>
                <c:formatCode>General</c:formatCode>
                <c:ptCount val="2"/>
                <c:pt idx="0">
                  <c:v>0.22173712863384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pt idx="52">
                  <c:v>424.7869113855792</c:v>
                </c:pt>
                <c:pt idx="53">
                  <c:v>367.7370740032348</c:v>
                </c:pt>
                <c:pt idx="54">
                  <c:v>435.1996706624739</c:v>
                </c:pt>
              </c:numCache>
            </c:numRef>
          </c:xVal>
          <c:yVal>
            <c:numRef>
              <c:f>Sheet1!$B$187:$B$241</c:f>
              <c:numCache>
                <c:formatCode>General</c:formatCode>
                <c:ptCount val="55"/>
                <c:pt idx="0">
                  <c:v>0.23026565778567848</c:v>
                </c:pt>
                <c:pt idx="1">
                  <c:v>0.21738802988850717</c:v>
                </c:pt>
                <c:pt idx="2">
                  <c:v>0.2114705688091257</c:v>
                </c:pt>
                <c:pt idx="3">
                  <c:v>0.21403945608521957</c:v>
                </c:pt>
                <c:pt idx="4">
                  <c:v>0.20991276633123843</c:v>
                </c:pt>
                <c:pt idx="5">
                  <c:v>0.21097159665504775</c:v>
                </c:pt>
                <c:pt idx="6">
                  <c:v>0.2119135760872505</c:v>
                </c:pt>
                <c:pt idx="7">
                  <c:v>0.22566789978677096</c:v>
                </c:pt>
                <c:pt idx="8">
                  <c:v>0.21022478752925589</c:v>
                </c:pt>
                <c:pt idx="9">
                  <c:v>0.20357412898708335</c:v>
                </c:pt>
                <c:pt idx="10">
                  <c:v>0.2144555541526429</c:v>
                </c:pt>
                <c:pt idx="11">
                  <c:v>0.2086342647076168</c:v>
                </c:pt>
                <c:pt idx="12">
                  <c:v>0.19918462943208748</c:v>
                </c:pt>
                <c:pt idx="13">
                  <c:v>0.1950949529309584</c:v>
                </c:pt>
                <c:pt idx="14">
                  <c:v>0.19109736456528448</c:v>
                </c:pt>
                <c:pt idx="15">
                  <c:v>0.1826645205159121</c:v>
                </c:pt>
                <c:pt idx="16">
                  <c:v>0.18150187508544702</c:v>
                </c:pt>
                <c:pt idx="17">
                  <c:v>0.19301205437654173</c:v>
                </c:pt>
                <c:pt idx="18">
                  <c:v>0.209905279916588</c:v>
                </c:pt>
                <c:pt idx="19">
                  <c:v>0.20831213946744878</c:v>
                </c:pt>
                <c:pt idx="20">
                  <c:v>0.2261582861226484</c:v>
                </c:pt>
                <c:pt idx="21">
                  <c:v>0.1965244916613385</c:v>
                </c:pt>
                <c:pt idx="22">
                  <c:v>0.22298388925322063</c:v>
                </c:pt>
                <c:pt idx="23">
                  <c:v>0.22093857982970602</c:v>
                </c:pt>
                <c:pt idx="24">
                  <c:v>0.21404448193001988</c:v>
                </c:pt>
                <c:pt idx="25">
                  <c:v>0.22063352152083895</c:v>
                </c:pt>
                <c:pt idx="26">
                  <c:v>0.19238963490955685</c:v>
                </c:pt>
                <c:pt idx="27">
                  <c:v>0.20090064131608362</c:v>
                </c:pt>
                <c:pt idx="28">
                  <c:v>0.20704929125627805</c:v>
                </c:pt>
                <c:pt idx="29">
                  <c:v>0.2219976195637154</c:v>
                </c:pt>
                <c:pt idx="30">
                  <c:v>0.19582244396579918</c:v>
                </c:pt>
                <c:pt idx="31">
                  <c:v>0.21103960261750154</c:v>
                </c:pt>
                <c:pt idx="32">
                  <c:v>0.21867297087577914</c:v>
                </c:pt>
                <c:pt idx="33">
                  <c:v>0.21724526448464918</c:v>
                </c:pt>
                <c:pt idx="34">
                  <c:v>0.2064398552216939</c:v>
                </c:pt>
                <c:pt idx="35">
                  <c:v>0.20649283600229687</c:v>
                </c:pt>
                <c:pt idx="36">
                  <c:v>0.20917731770879724</c:v>
                </c:pt>
                <c:pt idx="37">
                  <c:v>0.2069502925842225</c:v>
                </c:pt>
                <c:pt idx="38">
                  <c:v>0.24055078740670463</c:v>
                </c:pt>
                <c:pt idx="39">
                  <c:v>0.22148016695948639</c:v>
                </c:pt>
                <c:pt idx="40">
                  <c:v>0.2151928874668842</c:v>
                </c:pt>
                <c:pt idx="41">
                  <c:v>0.20394153918300395</c:v>
                </c:pt>
                <c:pt idx="42">
                  <c:v>0.23204402155672813</c:v>
                </c:pt>
                <c:pt idx="43">
                  <c:v>0.21684539570772676</c:v>
                </c:pt>
                <c:pt idx="44">
                  <c:v>0.2243529607883473</c:v>
                </c:pt>
                <c:pt idx="45">
                  <c:v>0.23247462128050222</c:v>
                </c:pt>
                <c:pt idx="46">
                  <c:v>0.24523576475391706</c:v>
                </c:pt>
                <c:pt idx="47">
                  <c:v>0.23698693991780498</c:v>
                </c:pt>
                <c:pt idx="48">
                  <c:v>0.23367522230971946</c:v>
                </c:pt>
                <c:pt idx="49">
                  <c:v>0.23384536809722903</c:v>
                </c:pt>
                <c:pt idx="50">
                  <c:v>0.2185475865185221</c:v>
                </c:pt>
                <c:pt idx="51">
                  <c:v>0.21581661574761912</c:v>
                </c:pt>
                <c:pt idx="52">
                  <c:v>0.2271884736409651</c:v>
                </c:pt>
                <c:pt idx="53">
                  <c:v>0.25705551828314865</c:v>
                </c:pt>
                <c:pt idx="54">
                  <c:v>0.22173712863384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4.0"/>
          <c:min val="2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747663551401864"/>
          <c:min val="0.101781170483460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675014395408154</c:v>
                </c:pt>
                <c:pt idx="1">
                  <c:v>0.14807749625472025</c:v>
                </c:pt>
                <c:pt idx="2">
                  <c:v>0.15568935661566277</c:v>
                </c:pt>
                <c:pt idx="3">
                  <c:v>0.14057194432036305</c:v>
                </c:pt>
                <c:pt idx="4">
                  <c:v>0.1416132211664326</c:v>
                </c:pt>
                <c:pt idx="5">
                  <c:v>0.14160060606874156</c:v>
                </c:pt>
                <c:pt idx="6">
                  <c:v>0.15773922084806158</c:v>
                </c:pt>
                <c:pt idx="7">
                  <c:v>0.1527729909864469</c:v>
                </c:pt>
                <c:pt idx="8">
                  <c:v>0.13596174414260553</c:v>
                </c:pt>
                <c:pt idx="9">
                  <c:v>0.13984648225562574</c:v>
                </c:pt>
                <c:pt idx="10">
                  <c:v>0.1417708115777536</c:v>
                </c:pt>
                <c:pt idx="11">
                  <c:v>0.14532827710838264</c:v>
                </c:pt>
                <c:pt idx="12">
                  <c:v>0.14539347589765905</c:v>
                </c:pt>
                <c:pt idx="13">
                  <c:v>0.1391870061630279</c:v>
                </c:pt>
                <c:pt idx="14">
                  <c:v>0.14492919070091936</c:v>
                </c:pt>
                <c:pt idx="15">
                  <c:v>0.1471830392364621</c:v>
                </c:pt>
                <c:pt idx="16">
                  <c:v>0.15765752393017712</c:v>
                </c:pt>
                <c:pt idx="17">
                  <c:v>0.1491870844214455</c:v>
                </c:pt>
                <c:pt idx="18">
                  <c:v>0.1453243287780103</c:v>
                </c:pt>
                <c:pt idx="19">
                  <c:v>0.17048497723823977</c:v>
                </c:pt>
                <c:pt idx="20">
                  <c:v>0.13900745037578388</c:v>
                </c:pt>
                <c:pt idx="21">
                  <c:v>0.13524872618994846</c:v>
                </c:pt>
                <c:pt idx="22">
                  <c:v>0.13846665354263132</c:v>
                </c:pt>
                <c:pt idx="23">
                  <c:v>0.14068782421660833</c:v>
                </c:pt>
                <c:pt idx="24">
                  <c:v>0.14906547161305722</c:v>
                </c:pt>
                <c:pt idx="25">
                  <c:v>0.14770070951585976</c:v>
                </c:pt>
                <c:pt idx="26">
                  <c:v>0.15204885561269352</c:v>
                </c:pt>
                <c:pt idx="27">
                  <c:v>0.16169756079104156</c:v>
                </c:pt>
                <c:pt idx="28">
                  <c:v>0.1545487549343609</c:v>
                </c:pt>
                <c:pt idx="29">
                  <c:v>0.16929330546980426</c:v>
                </c:pt>
                <c:pt idx="30">
                  <c:v>0.16979107045319022</c:v>
                </c:pt>
                <c:pt idx="31">
                  <c:v>0.17122309580789966</c:v>
                </c:pt>
                <c:pt idx="32">
                  <c:v>0.1666208279185694</c:v>
                </c:pt>
                <c:pt idx="33">
                  <c:v>0.16860953293225098</c:v>
                </c:pt>
                <c:pt idx="34">
                  <c:v>0.18370006650022924</c:v>
                </c:pt>
                <c:pt idx="35">
                  <c:v>0.15645729922971477</c:v>
                </c:pt>
                <c:pt idx="36">
                  <c:v>0.14941474426161266</c:v>
                </c:pt>
                <c:pt idx="37">
                  <c:v>0.15602667257421354</c:v>
                </c:pt>
                <c:pt idx="38">
                  <c:v>0.1544136328798888</c:v>
                </c:pt>
                <c:pt idx="39">
                  <c:v>0.16612686458925346</c:v>
                </c:pt>
                <c:pt idx="40">
                  <c:v>0.17225806294098975</c:v>
                </c:pt>
                <c:pt idx="41">
                  <c:v>0.16134266239072412</c:v>
                </c:pt>
                <c:pt idx="42">
                  <c:v>0.15017015005192325</c:v>
                </c:pt>
                <c:pt idx="43">
                  <c:v>0.14974176155985447</c:v>
                </c:pt>
                <c:pt idx="44">
                  <c:v>0.157051400567699</c:v>
                </c:pt>
                <c:pt idx="45">
                  <c:v>0.1672767804763581</c:v>
                </c:pt>
                <c:pt idx="46">
                  <c:v>0.1622132144490169</c:v>
                </c:pt>
                <c:pt idx="47">
                  <c:v>0.1536350665750936</c:v>
                </c:pt>
                <c:pt idx="48">
                  <c:v>0.16217361362496657</c:v>
                </c:pt>
                <c:pt idx="49">
                  <c:v>0.16340551587206079</c:v>
                </c:pt>
                <c:pt idx="50">
                  <c:v>0.162264887948342</c:v>
                </c:pt>
                <c:pt idx="51">
                  <c:v>0.16331110538160132</c:v>
                </c:pt>
                <c:pt idx="52">
                  <c:v>0.16808581443037232</c:v>
                </c:pt>
                <c:pt idx="53">
                  <c:v>0.16844959035800905</c:v>
                </c:pt>
                <c:pt idx="54">
                  <c:v>0.16808006316242619</c:v>
                </c:pt>
                <c:pt idx="55">
                  <c:v>0.14139870776145758</c:v>
                </c:pt>
                <c:pt idx="56">
                  <c:v>0.15776130317738687</c:v>
                </c:pt>
                <c:pt idx="57">
                  <c:v>0.15710523453859887</c:v>
                </c:pt>
                <c:pt idx="58">
                  <c:v>0.1473502672336658</c:v>
                </c:pt>
                <c:pt idx="59">
                  <c:v>0.15687708108254264</c:v>
                </c:pt>
                <c:pt idx="60">
                  <c:v>0.16140324894686037</c:v>
                </c:pt>
                <c:pt idx="61">
                  <c:v>0.16913660867505925</c:v>
                </c:pt>
                <c:pt idx="62">
                  <c:v>0.18457096574001713</c:v>
                </c:pt>
                <c:pt idx="63">
                  <c:v>0.19320247536187252</c:v>
                </c:pt>
                <c:pt idx="64">
                  <c:v>0.1944795174562931</c:v>
                </c:pt>
                <c:pt idx="65">
                  <c:v>0.173132157746082</c:v>
                </c:pt>
                <c:pt idx="66">
                  <c:v>0.17141172875495203</c:v>
                </c:pt>
                <c:pt idx="67">
                  <c:v>0.18260451197053407</c:v>
                </c:pt>
                <c:pt idx="68">
                  <c:v>0.1804485002898697</c:v>
                </c:pt>
                <c:pt idx="69">
                  <c:v>0.1784193365442351</c:v>
                </c:pt>
                <c:pt idx="70">
                  <c:v>0.17709435088004774</c:v>
                </c:pt>
                <c:pt idx="71">
                  <c:v>0.1938125349485646</c:v>
                </c:pt>
                <c:pt idx="72">
                  <c:v>0.20129786497461322</c:v>
                </c:pt>
                <c:pt idx="73">
                  <c:v>0.17928364938430816</c:v>
                </c:pt>
                <c:pt idx="74">
                  <c:v>0.1920088636280165</c:v>
                </c:pt>
                <c:pt idx="75">
                  <c:v>0.1828675454972739</c:v>
                </c:pt>
                <c:pt idx="76">
                  <c:v>0.184819519883742</c:v>
                </c:pt>
                <c:pt idx="77">
                  <c:v>0.20583586411157526</c:v>
                </c:pt>
                <c:pt idx="78">
                  <c:v>0.1776022361808036</c:v>
                </c:pt>
                <c:pt idx="79">
                  <c:v>0.18571930415196355</c:v>
                </c:pt>
                <c:pt idx="80">
                  <c:v>0.20733509148161255</c:v>
                </c:pt>
                <c:pt idx="81">
                  <c:v>0.21227844756249414</c:v>
                </c:pt>
                <c:pt idx="82">
                  <c:v>0.22404011505057225</c:v>
                </c:pt>
                <c:pt idx="83">
                  <c:v>0.2188416772400918</c:v>
                </c:pt>
                <c:pt idx="84">
                  <c:v>0.18492265657839427</c:v>
                </c:pt>
                <c:pt idx="85">
                  <c:v>0.20618543196583958</c:v>
                </c:pt>
                <c:pt idx="86">
                  <c:v>0.20534806989961893</c:v>
                </c:pt>
                <c:pt idx="87">
                  <c:v>0.188260091624168</c:v>
                </c:pt>
                <c:pt idx="88">
                  <c:v>0.21212714603752855</c:v>
                </c:pt>
                <c:pt idx="89">
                  <c:v>0.1754701994534421</c:v>
                </c:pt>
                <c:pt idx="90">
                  <c:v>0.20190335098134196</c:v>
                </c:pt>
                <c:pt idx="91">
                  <c:v>0.189344477404345</c:v>
                </c:pt>
                <c:pt idx="92">
                  <c:v>0.19481604463290955</c:v>
                </c:pt>
                <c:pt idx="93">
                  <c:v>0.19269340448595013</c:v>
                </c:pt>
                <c:pt idx="94">
                  <c:v>0.18150199008177564</c:v>
                </c:pt>
                <c:pt idx="95">
                  <c:v>0.1631862653126281</c:v>
                </c:pt>
                <c:pt idx="96">
                  <c:v>0.18962296941049522</c:v>
                </c:pt>
                <c:pt idx="97">
                  <c:v>0.18429887916885457</c:v>
                </c:pt>
                <c:pt idx="98">
                  <c:v>0.18018174587677713</c:v>
                </c:pt>
                <c:pt idx="99">
                  <c:v>0.1824002999175898</c:v>
                </c:pt>
                <c:pt idx="100">
                  <c:v>0.1796677846810605</c:v>
                </c:pt>
                <c:pt idx="101">
                  <c:v>0.19163726140134846</c:v>
                </c:pt>
                <c:pt idx="102">
                  <c:v>0.18738699092019329</c:v>
                </c:pt>
                <c:pt idx="103">
                  <c:v>0.1579618106077216</c:v>
                </c:pt>
                <c:pt idx="104">
                  <c:v>0.15187350341832698</c:v>
                </c:pt>
              </c:numCache>
            </c:numRef>
          </c:xVal>
          <c:yVal>
            <c:numRef>
              <c:f>Sheet1!$B$2:$B$106</c:f>
              <c:numCache>
                <c:formatCode>General</c:formatCode>
                <c:ptCount val="105"/>
                <c:pt idx="0">
                  <c:v>0.20327102803738317</c:v>
                </c:pt>
                <c:pt idx="1">
                  <c:v>0.2693498452012384</c:v>
                </c:pt>
                <c:pt idx="2">
                  <c:v>0.24477611940298508</c:v>
                </c:pt>
                <c:pt idx="3">
                  <c:v>0.22252747252747251</c:v>
                </c:pt>
                <c:pt idx="4">
                  <c:v>0.2204968944099379</c:v>
                </c:pt>
                <c:pt idx="5">
                  <c:v>0.2672413793103448</c:v>
                </c:pt>
                <c:pt idx="6">
                  <c:v>0.3395638629283489</c:v>
                </c:pt>
                <c:pt idx="7">
                  <c:v>0.3062730627306273</c:v>
                </c:pt>
                <c:pt idx="8">
                  <c:v>0.24</c:v>
                </c:pt>
                <c:pt idx="9">
                  <c:v>0.22251308900523561</c:v>
                </c:pt>
                <c:pt idx="10">
                  <c:v>0.2978723404255319</c:v>
                </c:pt>
                <c:pt idx="11">
                  <c:v>0.24444444444444444</c:v>
                </c:pt>
                <c:pt idx="12">
                  <c:v>0.2357142857142857</c:v>
                </c:pt>
                <c:pt idx="13">
                  <c:v>0.2531328320802005</c:v>
                </c:pt>
                <c:pt idx="14">
                  <c:v>0.26704545454545453</c:v>
                </c:pt>
                <c:pt idx="15">
                  <c:v>0.22486772486772486</c:v>
                </c:pt>
                <c:pt idx="16">
                  <c:v>0.22123893805309736</c:v>
                </c:pt>
                <c:pt idx="17">
                  <c:v>0.15987460815047022</c:v>
                </c:pt>
                <c:pt idx="18">
                  <c:v>0.18118466898954705</c:v>
                </c:pt>
                <c:pt idx="19">
                  <c:v>0.16334661354581673</c:v>
                </c:pt>
                <c:pt idx="20">
                  <c:v>0.17647058823529413</c:v>
                </c:pt>
                <c:pt idx="21">
                  <c:v>0.19306930693069307</c:v>
                </c:pt>
                <c:pt idx="22">
                  <c:v>0.22772277227722773</c:v>
                </c:pt>
                <c:pt idx="23">
                  <c:v>0.25728155339805825</c:v>
                </c:pt>
                <c:pt idx="24">
                  <c:v>0.2795275590551181</c:v>
                </c:pt>
                <c:pt idx="25">
                  <c:v>0.270935960591133</c:v>
                </c:pt>
                <c:pt idx="26">
                  <c:v>0.20465116279069767</c:v>
                </c:pt>
                <c:pt idx="27">
                  <c:v>0.26639344262295084</c:v>
                </c:pt>
                <c:pt idx="28">
                  <c:v>0.205607476635514</c:v>
                </c:pt>
                <c:pt idx="29">
                  <c:v>0.196</c:v>
                </c:pt>
                <c:pt idx="30">
                  <c:v>0.2549019607843137</c:v>
                </c:pt>
                <c:pt idx="31">
                  <c:v>0.17061611374407584</c:v>
                </c:pt>
                <c:pt idx="32">
                  <c:v>0.2560386473429952</c:v>
                </c:pt>
                <c:pt idx="33">
                  <c:v>0.22672064777327935</c:v>
                </c:pt>
                <c:pt idx="34">
                  <c:v>0.21122112211221122</c:v>
                </c:pt>
                <c:pt idx="35">
                  <c:v>0.20967741935483872</c:v>
                </c:pt>
                <c:pt idx="36">
                  <c:v>0.21224489795918366</c:v>
                </c:pt>
                <c:pt idx="37">
                  <c:v>0.19827586206896552</c:v>
                </c:pt>
                <c:pt idx="38">
                  <c:v>0.17903930131004367</c:v>
                </c:pt>
                <c:pt idx="39">
                  <c:v>0.22748815165876776</c:v>
                </c:pt>
                <c:pt idx="40">
                  <c:v>0.21014492753623187</c:v>
                </c:pt>
                <c:pt idx="41">
                  <c:v>0.22727272727272727</c:v>
                </c:pt>
                <c:pt idx="42">
                  <c:v>0.20588235294117646</c:v>
                </c:pt>
                <c:pt idx="43">
                  <c:v>0.2</c:v>
                </c:pt>
                <c:pt idx="44">
                  <c:v>0.21810699588477367</c:v>
                </c:pt>
                <c:pt idx="45">
                  <c:v>0.2181500872600349</c:v>
                </c:pt>
                <c:pt idx="46">
                  <c:v>0.22324159021406728</c:v>
                </c:pt>
                <c:pt idx="47">
                  <c:v>0.2271186440677966</c:v>
                </c:pt>
                <c:pt idx="48">
                  <c:v>0.2532808398950131</c:v>
                </c:pt>
                <c:pt idx="49">
                  <c:v>0.25321100917431194</c:v>
                </c:pt>
                <c:pt idx="50">
                  <c:v>0.20695102685624012</c:v>
                </c:pt>
                <c:pt idx="51">
                  <c:v>0.20194174757281552</c:v>
                </c:pt>
                <c:pt idx="52">
                  <c:v>0.17835671342685372</c:v>
                </c:pt>
                <c:pt idx="53">
                  <c:v>0.21375921375921375</c:v>
                </c:pt>
                <c:pt idx="54">
                  <c:v>0.21052631578947367</c:v>
                </c:pt>
                <c:pt idx="55">
                  <c:v>0.21012658227848102</c:v>
                </c:pt>
                <c:pt idx="56">
                  <c:v>0.20698924731182797</c:v>
                </c:pt>
                <c:pt idx="57">
                  <c:v>0.23113207547169812</c:v>
                </c:pt>
                <c:pt idx="58">
                  <c:v>0.24439918533604887</c:v>
                </c:pt>
                <c:pt idx="59">
                  <c:v>0.21129326047358835</c:v>
                </c:pt>
                <c:pt idx="60">
                  <c:v>0.1944990176817289</c:v>
                </c:pt>
                <c:pt idx="61">
                  <c:v>0.19672131147540983</c:v>
                </c:pt>
                <c:pt idx="62">
                  <c:v>0.21669980119284293</c:v>
                </c:pt>
                <c:pt idx="63">
                  <c:v>0.19729206963249515</c:v>
                </c:pt>
                <c:pt idx="64">
                  <c:v>0.20952380952380953</c:v>
                </c:pt>
                <c:pt idx="65">
                  <c:v>0.18541666666666667</c:v>
                </c:pt>
                <c:pt idx="66">
                  <c:v>0.20817120622568094</c:v>
                </c:pt>
                <c:pt idx="67">
                  <c:v>0.19665271966527198</c:v>
                </c:pt>
                <c:pt idx="68">
                  <c:v>0.17662337662337663</c:v>
                </c:pt>
                <c:pt idx="69">
                  <c:v>0.17405063291139242</c:v>
                </c:pt>
                <c:pt idx="70">
                  <c:v>0.1643835616438356</c:v>
                </c:pt>
                <c:pt idx="71">
                  <c:v>0.19753086419753085</c:v>
                </c:pt>
                <c:pt idx="72">
                  <c:v>0.18115942028985507</c:v>
                </c:pt>
                <c:pt idx="73">
                  <c:v>0.1652542372881356</c:v>
                </c:pt>
                <c:pt idx="74">
                  <c:v>0.1776061776061776</c:v>
                </c:pt>
                <c:pt idx="75">
                  <c:v>0.19090909090909092</c:v>
                </c:pt>
                <c:pt idx="76">
                  <c:v>0.19902912621359223</c:v>
                </c:pt>
                <c:pt idx="77">
                  <c:v>0.18446601941747573</c:v>
                </c:pt>
                <c:pt idx="78">
                  <c:v>0.18716577540106952</c:v>
                </c:pt>
                <c:pt idx="79">
                  <c:v>0.18699186991869918</c:v>
                </c:pt>
                <c:pt idx="80">
                  <c:v>0.15486725663716813</c:v>
                </c:pt>
                <c:pt idx="81">
                  <c:v>0.17869415807560138</c:v>
                </c:pt>
                <c:pt idx="82">
                  <c:v>0.1712962962962963</c:v>
                </c:pt>
                <c:pt idx="83">
                  <c:v>0.1346153846153846</c:v>
                </c:pt>
                <c:pt idx="84">
                  <c:v>0.18831168831168832</c:v>
                </c:pt>
                <c:pt idx="85">
                  <c:v>0.16666666666666666</c:v>
                </c:pt>
                <c:pt idx="86">
                  <c:v>0.1853146853146853</c:v>
                </c:pt>
                <c:pt idx="87">
                  <c:v>0.17391304347826086</c:v>
                </c:pt>
                <c:pt idx="88">
                  <c:v>0.18719211822660098</c:v>
                </c:pt>
                <c:pt idx="89">
                  <c:v>0.2251655629139073</c:v>
                </c:pt>
                <c:pt idx="90">
                  <c:v>0.18125</c:v>
                </c:pt>
                <c:pt idx="91">
                  <c:v>0.20218579234972678</c:v>
                </c:pt>
                <c:pt idx="92">
                  <c:v>0.17391304347826086</c:v>
                </c:pt>
                <c:pt idx="93">
                  <c:v>0.16589861751152074</c:v>
                </c:pt>
                <c:pt idx="94">
                  <c:v>0.16666666666666666</c:v>
                </c:pt>
                <c:pt idx="95">
                  <c:v>0.18815331010452963</c:v>
                </c:pt>
                <c:pt idx="96">
                  <c:v>0.1272264631043257</c:v>
                </c:pt>
                <c:pt idx="97">
                  <c:v>0.16289592760180996</c:v>
                </c:pt>
                <c:pt idx="98">
                  <c:v>0.16042780748663102</c:v>
                </c:pt>
                <c:pt idx="99">
                  <c:v>0.1981981981981982</c:v>
                </c:pt>
                <c:pt idx="100">
                  <c:v>0.20942982456140352</c:v>
                </c:pt>
                <c:pt idx="101">
                  <c:v>0.21942446043165467</c:v>
                </c:pt>
                <c:pt idx="102">
                  <c:v>0.19318181818181818</c:v>
                </c:pt>
                <c:pt idx="103">
                  <c:v>0.21120689655172414</c:v>
                </c:pt>
                <c:pt idx="104">
                  <c:v>0.196286472148541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780219601827624</c:v>
                </c:pt>
                <c:pt idx="1">
                  <c:v>0.19561791902428116</c:v>
                </c:pt>
                <c:pt idx="2">
                  <c:v>0.1939367705972118</c:v>
                </c:pt>
                <c:pt idx="3">
                  <c:v>0.18212451123456141</c:v>
                </c:pt>
                <c:pt idx="4">
                  <c:v>0.17723252103869555</c:v>
                </c:pt>
                <c:pt idx="5">
                  <c:v>0.18923226324324863</c:v>
                </c:pt>
                <c:pt idx="6">
                  <c:v>0.19459209567491106</c:v>
                </c:pt>
                <c:pt idx="7">
                  <c:v>0.17134522931957308</c:v>
                </c:pt>
                <c:pt idx="8">
                  <c:v>0.21087034359587514</c:v>
                </c:pt>
                <c:pt idx="9">
                  <c:v>0.2024811730544951</c:v>
                </c:pt>
                <c:pt idx="10">
                  <c:v>0.18378062953202498</c:v>
                </c:pt>
                <c:pt idx="11">
                  <c:v>0.19014492365617758</c:v>
                </c:pt>
                <c:pt idx="12">
                  <c:v>0.19456609401318417</c:v>
                </c:pt>
                <c:pt idx="13">
                  <c:v>0.1856613721551255</c:v>
                </c:pt>
                <c:pt idx="14">
                  <c:v>0.19787853266278005</c:v>
                </c:pt>
                <c:pt idx="15">
                  <c:v>0.199072487445059</c:v>
                </c:pt>
                <c:pt idx="16">
                  <c:v>0.2041024238787361</c:v>
                </c:pt>
                <c:pt idx="17">
                  <c:v>0.19563190010461257</c:v>
                </c:pt>
                <c:pt idx="18">
                  <c:v>0.1872432920233785</c:v>
                </c:pt>
                <c:pt idx="19">
                  <c:v>0.17956548126607386</c:v>
                </c:pt>
                <c:pt idx="20">
                  <c:v>0.15731079829512729</c:v>
                </c:pt>
                <c:pt idx="21">
                  <c:v>0.1846056038778562</c:v>
                </c:pt>
                <c:pt idx="22">
                  <c:v>0.17821074139838905</c:v>
                </c:pt>
                <c:pt idx="23">
                  <c:v>0.18456201549961718</c:v>
                </c:pt>
                <c:pt idx="24">
                  <c:v>0.19186250866250865</c:v>
                </c:pt>
                <c:pt idx="25">
                  <c:v>0.18428959886216978</c:v>
                </c:pt>
                <c:pt idx="26">
                  <c:v>0.18584758115822927</c:v>
                </c:pt>
                <c:pt idx="27">
                  <c:v>0.19231589103778393</c:v>
                </c:pt>
                <c:pt idx="28">
                  <c:v>0.189266387769033</c:v>
                </c:pt>
                <c:pt idx="29">
                  <c:v>0.17872966867330556</c:v>
                </c:pt>
                <c:pt idx="30">
                  <c:v>0.18416236349729456</c:v>
                </c:pt>
                <c:pt idx="31">
                  <c:v>0.20278157174229022</c:v>
                </c:pt>
                <c:pt idx="32">
                  <c:v>0.19172251349798086</c:v>
                </c:pt>
                <c:pt idx="33">
                  <c:v>0.17820092595637702</c:v>
                </c:pt>
                <c:pt idx="34">
                  <c:v>0.18187087104480176</c:v>
                </c:pt>
                <c:pt idx="35">
                  <c:v>0.1782773819754387</c:v>
                </c:pt>
                <c:pt idx="36">
                  <c:v>0.1831122143797105</c:v>
                </c:pt>
                <c:pt idx="37">
                  <c:v>0.17347181351223448</c:v>
                </c:pt>
                <c:pt idx="38">
                  <c:v>0.1407563454775926</c:v>
                </c:pt>
                <c:pt idx="39">
                  <c:v>0.17531405923064544</c:v>
                </c:pt>
                <c:pt idx="40">
                  <c:v>0.17615195984695356</c:v>
                </c:pt>
                <c:pt idx="41">
                  <c:v>0.18215723575657577</c:v>
                </c:pt>
                <c:pt idx="42">
                  <c:v>0.1528030332589297</c:v>
                </c:pt>
                <c:pt idx="43">
                  <c:v>0.17319758309183497</c:v>
                </c:pt>
                <c:pt idx="44">
                  <c:v>0.16892088563694752</c:v>
                </c:pt>
                <c:pt idx="45">
                  <c:v>0.17194131626067483</c:v>
                </c:pt>
                <c:pt idx="46">
                  <c:v>0.15235245548772136</c:v>
                </c:pt>
                <c:pt idx="47">
                  <c:v>0.1605589929371466</c:v>
                </c:pt>
                <c:pt idx="48">
                  <c:v>0.14617624039013094</c:v>
                </c:pt>
                <c:pt idx="49">
                  <c:v>0.16300292721518986</c:v>
                </c:pt>
                <c:pt idx="50">
                  <c:v>0.1779625436379994</c:v>
                </c:pt>
                <c:pt idx="51">
                  <c:v>0.18042979367472606</c:v>
                </c:pt>
              </c:numCache>
            </c:numRef>
          </c:xVal>
          <c:yVal>
            <c:numRef>
              <c:f>Sheet1!$B$109:$B$160</c:f>
              <c:numCache>
                <c:formatCode>General</c:formatCode>
                <c:ptCount val="52"/>
                <c:pt idx="0">
                  <c:v>0.18160377358490565</c:v>
                </c:pt>
                <c:pt idx="1">
                  <c:v>0.2</c:v>
                </c:pt>
                <c:pt idx="2">
                  <c:v>0.21236559139784947</c:v>
                </c:pt>
                <c:pt idx="3">
                  <c:v>0.23544303797468355</c:v>
                </c:pt>
                <c:pt idx="4">
                  <c:v>0.24489795918367346</c:v>
                </c:pt>
                <c:pt idx="5">
                  <c:v>0.20708446866485014</c:v>
                </c:pt>
                <c:pt idx="6">
                  <c:v>0.2009685230024213</c:v>
                </c:pt>
                <c:pt idx="7">
                  <c:v>0.23410404624277456</c:v>
                </c:pt>
                <c:pt idx="8">
                  <c:v>0.19528619528619529</c:v>
                </c:pt>
                <c:pt idx="9">
                  <c:v>0.22189349112426035</c:v>
                </c:pt>
                <c:pt idx="10">
                  <c:v>0.24127906976744187</c:v>
                </c:pt>
                <c:pt idx="11">
                  <c:v>0.1592741935483871</c:v>
                </c:pt>
                <c:pt idx="12">
                  <c:v>0.183206106870229</c:v>
                </c:pt>
                <c:pt idx="13">
                  <c:v>0.19533527696793002</c:v>
                </c:pt>
                <c:pt idx="14">
                  <c:v>0.159375</c:v>
                </c:pt>
                <c:pt idx="15">
                  <c:v>0.17712177121771217</c:v>
                </c:pt>
                <c:pt idx="16">
                  <c:v>0.1778846153846154</c:v>
                </c:pt>
                <c:pt idx="17">
                  <c:v>0.2</c:v>
                </c:pt>
                <c:pt idx="18">
                  <c:v>0.18604651162790697</c:v>
                </c:pt>
                <c:pt idx="19">
                  <c:v>0.22666666666666666</c:v>
                </c:pt>
                <c:pt idx="20">
                  <c:v>0.263681592039801</c:v>
                </c:pt>
                <c:pt idx="21">
                  <c:v>0.23076923076923078</c:v>
                </c:pt>
                <c:pt idx="22">
                  <c:v>0.25287356321839083</c:v>
                </c:pt>
                <c:pt idx="23">
                  <c:v>0.23255813953488372</c:v>
                </c:pt>
                <c:pt idx="24">
                  <c:v>0.22815533980582525</c:v>
                </c:pt>
                <c:pt idx="25">
                  <c:v>0.1989795918367347</c:v>
                </c:pt>
                <c:pt idx="26">
                  <c:v>0.1881720430107527</c:v>
                </c:pt>
                <c:pt idx="27">
                  <c:v>0.21145374449339208</c:v>
                </c:pt>
                <c:pt idx="28">
                  <c:v>0.21559633027522937</c:v>
                </c:pt>
                <c:pt idx="29">
                  <c:v>0.25268817204301075</c:v>
                </c:pt>
                <c:pt idx="30">
                  <c:v>0.2054794520547945</c:v>
                </c:pt>
                <c:pt idx="31">
                  <c:v>0.2054794520547945</c:v>
                </c:pt>
                <c:pt idx="32">
                  <c:v>0.2087912087912088</c:v>
                </c:pt>
                <c:pt idx="33">
                  <c:v>0.2260536398467433</c:v>
                </c:pt>
                <c:pt idx="34">
                  <c:v>0.20666666666666667</c:v>
                </c:pt>
                <c:pt idx="35">
                  <c:v>0.2018348623853211</c:v>
                </c:pt>
                <c:pt idx="36">
                  <c:v>0.18584070796460178</c:v>
                </c:pt>
                <c:pt idx="37">
                  <c:v>0.20149253731343283</c:v>
                </c:pt>
                <c:pt idx="38">
                  <c:v>0.25675675675675674</c:v>
                </c:pt>
                <c:pt idx="39">
                  <c:v>0.22340425531914893</c:v>
                </c:pt>
                <c:pt idx="40">
                  <c:v>0.22346368715083798</c:v>
                </c:pt>
                <c:pt idx="41">
                  <c:v>0.23737373737373738</c:v>
                </c:pt>
                <c:pt idx="42">
                  <c:v>0.22162162162162163</c:v>
                </c:pt>
                <c:pt idx="43">
                  <c:v>0.17490494296577946</c:v>
                </c:pt>
                <c:pt idx="44">
                  <c:v>0.20253164556962025</c:v>
                </c:pt>
                <c:pt idx="45">
                  <c:v>0.20327102803738317</c:v>
                </c:pt>
                <c:pt idx="46">
                  <c:v>0.26119402985074625</c:v>
                </c:pt>
                <c:pt idx="47">
                  <c:v>0.22606382978723405</c:v>
                </c:pt>
                <c:pt idx="48">
                  <c:v>0.2528473804100228</c:v>
                </c:pt>
                <c:pt idx="49">
                  <c:v>0.22105263157894736</c:v>
                </c:pt>
                <c:pt idx="50">
                  <c:v>0.21680876979293545</c:v>
                </c:pt>
                <c:pt idx="51">
                  <c:v>0.2180451127819548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734191448177682</c:v>
                </c:pt>
              </c:numCache>
            </c:numRef>
          </c:xVal>
          <c:yVal>
            <c:numRef>
              <c:f>Sheet1!$B$163:$B$164</c:f>
              <c:numCache>
                <c:formatCode>General</c:formatCode>
                <c:ptCount val="2"/>
                <c:pt idx="0">
                  <c:v>0.25705551828314865</c:v>
                </c:pt>
                <c:pt idx="1">
                  <c:v>0.257055518283148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734191448177682</c:v>
                </c:pt>
                <c:pt idx="1">
                  <c:v>0.13734191448177682</c:v>
                </c:pt>
              </c:numCache>
            </c:numRef>
          </c:xVal>
          <c:yVal>
            <c:numRef>
              <c:f>Sheet1!$B$167:$B$168</c:f>
              <c:numCache>
                <c:formatCode>General</c:formatCode>
                <c:ptCount val="2"/>
                <c:pt idx="0">
                  <c:v>0.257055518283148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750489153544512</c:v>
                </c:pt>
              </c:numCache>
            </c:numRef>
          </c:xVal>
          <c:yVal>
            <c:numRef>
              <c:f>Sheet1!$B$171:$B$172</c:f>
              <c:numCache>
                <c:formatCode>General</c:formatCode>
                <c:ptCount val="2"/>
                <c:pt idx="0">
                  <c:v>0.22718847364096512</c:v>
                </c:pt>
                <c:pt idx="1">
                  <c:v>0.2271884736409651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750489153544512</c:v>
                </c:pt>
                <c:pt idx="1">
                  <c:v>0.16750489153544512</c:v>
                </c:pt>
              </c:numCache>
            </c:numRef>
          </c:xVal>
          <c:yVal>
            <c:numRef>
              <c:f>Sheet1!$B$175:$B$176</c:f>
              <c:numCache>
                <c:formatCode>General</c:formatCode>
                <c:ptCount val="2"/>
                <c:pt idx="0">
                  <c:v>0.2271884736409651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301025024539912</c:v>
                </c:pt>
              </c:numCache>
            </c:numRef>
          </c:xVal>
          <c:yVal>
            <c:numRef>
              <c:f>Sheet1!$B$179:$B$180</c:f>
              <c:numCache>
                <c:formatCode>General</c:formatCode>
                <c:ptCount val="2"/>
                <c:pt idx="0">
                  <c:v>0.2217371286338438</c:v>
                </c:pt>
                <c:pt idx="1">
                  <c:v>0.22173712863384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301025024539912</c:v>
                </c:pt>
                <c:pt idx="1">
                  <c:v>0.17301025024539912</c:v>
                </c:pt>
              </c:numCache>
            </c:numRef>
          </c:xVal>
          <c:yVal>
            <c:numRef>
              <c:f>Sheet1!$B$183:$B$184</c:f>
              <c:numCache>
                <c:formatCode>General</c:formatCode>
                <c:ptCount val="2"/>
                <c:pt idx="0">
                  <c:v>0.22173712863384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780219601827624</c:v>
                </c:pt>
                <c:pt idx="1">
                  <c:v>0.19561791902428116</c:v>
                </c:pt>
                <c:pt idx="2">
                  <c:v>0.1939367705972118</c:v>
                </c:pt>
                <c:pt idx="3">
                  <c:v>0.18212451123456141</c:v>
                </c:pt>
                <c:pt idx="4">
                  <c:v>0.17723252103869555</c:v>
                </c:pt>
                <c:pt idx="5">
                  <c:v>0.18923226324324863</c:v>
                </c:pt>
                <c:pt idx="6">
                  <c:v>0.19459209567491106</c:v>
                </c:pt>
                <c:pt idx="7">
                  <c:v>0.17134522931957308</c:v>
                </c:pt>
                <c:pt idx="8">
                  <c:v>0.21087034359587514</c:v>
                </c:pt>
                <c:pt idx="9">
                  <c:v>0.2024811730544951</c:v>
                </c:pt>
                <c:pt idx="10">
                  <c:v>0.18378062953202498</c:v>
                </c:pt>
                <c:pt idx="11">
                  <c:v>0.19014492365617758</c:v>
                </c:pt>
                <c:pt idx="12">
                  <c:v>0.19456609401318417</c:v>
                </c:pt>
                <c:pt idx="13">
                  <c:v>0.1856613721551255</c:v>
                </c:pt>
                <c:pt idx="14">
                  <c:v>0.19787853266278005</c:v>
                </c:pt>
                <c:pt idx="15">
                  <c:v>0.199072487445059</c:v>
                </c:pt>
                <c:pt idx="16">
                  <c:v>0.2041024238787361</c:v>
                </c:pt>
                <c:pt idx="17">
                  <c:v>0.19563190010461257</c:v>
                </c:pt>
                <c:pt idx="18">
                  <c:v>0.1872432920233785</c:v>
                </c:pt>
                <c:pt idx="19">
                  <c:v>0.17956548126607386</c:v>
                </c:pt>
                <c:pt idx="20">
                  <c:v>0.15731079829512729</c:v>
                </c:pt>
                <c:pt idx="21">
                  <c:v>0.1846056038778562</c:v>
                </c:pt>
                <c:pt idx="22">
                  <c:v>0.17821074139838905</c:v>
                </c:pt>
                <c:pt idx="23">
                  <c:v>0.18456201549961718</c:v>
                </c:pt>
                <c:pt idx="24">
                  <c:v>0.19186250866250865</c:v>
                </c:pt>
                <c:pt idx="25">
                  <c:v>0.18428959886216978</c:v>
                </c:pt>
                <c:pt idx="26">
                  <c:v>0.18584758115822927</c:v>
                </c:pt>
                <c:pt idx="27">
                  <c:v>0.19231589103778393</c:v>
                </c:pt>
                <c:pt idx="28">
                  <c:v>0.189266387769033</c:v>
                </c:pt>
                <c:pt idx="29">
                  <c:v>0.17872966867330556</c:v>
                </c:pt>
                <c:pt idx="30">
                  <c:v>0.18416236349729456</c:v>
                </c:pt>
                <c:pt idx="31">
                  <c:v>0.20278157174229022</c:v>
                </c:pt>
                <c:pt idx="32">
                  <c:v>0.19172251349798086</c:v>
                </c:pt>
                <c:pt idx="33">
                  <c:v>0.17820092595637702</c:v>
                </c:pt>
                <c:pt idx="34">
                  <c:v>0.18187087104480176</c:v>
                </c:pt>
                <c:pt idx="35">
                  <c:v>0.1782773819754387</c:v>
                </c:pt>
                <c:pt idx="36">
                  <c:v>0.1831122143797105</c:v>
                </c:pt>
                <c:pt idx="37">
                  <c:v>0.17347181351223448</c:v>
                </c:pt>
                <c:pt idx="38">
                  <c:v>0.1407563454775926</c:v>
                </c:pt>
                <c:pt idx="39">
                  <c:v>0.17531405923064544</c:v>
                </c:pt>
                <c:pt idx="40">
                  <c:v>0.17615195984695356</c:v>
                </c:pt>
                <c:pt idx="41">
                  <c:v>0.18215723575657577</c:v>
                </c:pt>
                <c:pt idx="42">
                  <c:v>0.1528030332589297</c:v>
                </c:pt>
                <c:pt idx="43">
                  <c:v>0.17319758309183497</c:v>
                </c:pt>
                <c:pt idx="44">
                  <c:v>0.16892088563694752</c:v>
                </c:pt>
                <c:pt idx="45">
                  <c:v>0.17194131626067483</c:v>
                </c:pt>
                <c:pt idx="46">
                  <c:v>0.15235245548772136</c:v>
                </c:pt>
                <c:pt idx="47">
                  <c:v>0.1605589929371466</c:v>
                </c:pt>
                <c:pt idx="48">
                  <c:v>0.14617624039013094</c:v>
                </c:pt>
                <c:pt idx="49">
                  <c:v>0.16300292721518986</c:v>
                </c:pt>
                <c:pt idx="50">
                  <c:v>0.1779625436379994</c:v>
                </c:pt>
                <c:pt idx="51">
                  <c:v>0.18042979367472606</c:v>
                </c:pt>
                <c:pt idx="52">
                  <c:v>0.16750489153544512</c:v>
                </c:pt>
                <c:pt idx="53">
                  <c:v>0.13734191448177682</c:v>
                </c:pt>
                <c:pt idx="54">
                  <c:v>0.17301025024539912</c:v>
                </c:pt>
              </c:numCache>
            </c:numRef>
          </c:xVal>
          <c:yVal>
            <c:numRef>
              <c:f>Sheet1!$B$187:$B$241</c:f>
              <c:numCache>
                <c:formatCode>General</c:formatCode>
                <c:ptCount val="55"/>
                <c:pt idx="0">
                  <c:v>0.21677458915484699</c:v>
                </c:pt>
                <c:pt idx="1">
                  <c:v>0.19935126627439706</c:v>
                </c:pt>
                <c:pt idx="2">
                  <c:v>0.20101592076231709</c:v>
                </c:pt>
                <c:pt idx="3">
                  <c:v>0.2127122886997924</c:v>
                </c:pt>
                <c:pt idx="4">
                  <c:v>0.21755628302134364</c:v>
                </c:pt>
                <c:pt idx="5">
                  <c:v>0.20567427165753185</c:v>
                </c:pt>
                <c:pt idx="6">
                  <c:v>0.2003670251537715</c:v>
                </c:pt>
                <c:pt idx="7">
                  <c:v>0.22338581384927642</c:v>
                </c:pt>
                <c:pt idx="8">
                  <c:v>0.18424848498159582</c:v>
                </c:pt>
                <c:pt idx="9">
                  <c:v>0.19255534841302946</c:v>
                </c:pt>
                <c:pt idx="10">
                  <c:v>0.211072418768019</c:v>
                </c:pt>
                <c:pt idx="11">
                  <c:v>0.2047705654601097</c:v>
                </c:pt>
                <c:pt idx="12">
                  <c:v>0.20039277171022665</c:v>
                </c:pt>
                <c:pt idx="13">
                  <c:v>0.20921012832551214</c:v>
                </c:pt>
                <c:pt idx="14">
                  <c:v>0.19711283177439257</c:v>
                </c:pt>
                <c:pt idx="15">
                  <c:v>0.19593059101879257</c:v>
                </c:pt>
                <c:pt idx="16">
                  <c:v>0.19095000386571814</c:v>
                </c:pt>
                <c:pt idx="17">
                  <c:v>0.19933742236404095</c:v>
                </c:pt>
                <c:pt idx="18">
                  <c:v>0.2076437288536893</c:v>
                </c:pt>
                <c:pt idx="19">
                  <c:v>0.2152462117331028</c:v>
                </c:pt>
                <c:pt idx="20">
                  <c:v>0.23728255146867497</c:v>
                </c:pt>
                <c:pt idx="21">
                  <c:v>0.21025553833967942</c:v>
                </c:pt>
                <c:pt idx="22">
                  <c:v>0.2165876600932794</c:v>
                </c:pt>
                <c:pt idx="23">
                  <c:v>0.2102986990673632</c:v>
                </c:pt>
                <c:pt idx="24">
                  <c:v>0.20306983187636696</c:v>
                </c:pt>
                <c:pt idx="25">
                  <c:v>0.21056844299407965</c:v>
                </c:pt>
                <c:pt idx="26">
                  <c:v>0.20902574624019668</c:v>
                </c:pt>
                <c:pt idx="27">
                  <c:v>0.2026208976873367</c:v>
                </c:pt>
                <c:pt idx="28">
                  <c:v>0.20564048193136583</c:v>
                </c:pt>
                <c:pt idx="29">
                  <c:v>0.21607382407310136</c:v>
                </c:pt>
                <c:pt idx="30">
                  <c:v>0.21069443003826402</c:v>
                </c:pt>
                <c:pt idx="31">
                  <c:v>0.19225789697105586</c:v>
                </c:pt>
                <c:pt idx="32">
                  <c:v>0.20320845353235276</c:v>
                </c:pt>
                <c:pt idx="33">
                  <c:v>0.21659737923486924</c:v>
                </c:pt>
                <c:pt idx="34">
                  <c:v>0.21296344039669302</c:v>
                </c:pt>
                <c:pt idx="35">
                  <c:v>0.21652167333453934</c:v>
                </c:pt>
                <c:pt idx="36">
                  <c:v>0.21173427602296327</c:v>
                </c:pt>
                <c:pt idx="37">
                  <c:v>0.22128009381691457</c:v>
                </c:pt>
                <c:pt idx="38">
                  <c:v>0.25367458665964754</c:v>
                </c:pt>
                <c:pt idx="39">
                  <c:v>0.21945592258157026</c:v>
                </c:pt>
                <c:pt idx="40">
                  <c:v>0.2186262427038692</c:v>
                </c:pt>
                <c:pt idx="41">
                  <c:v>0.21267988524179957</c:v>
                </c:pt>
                <c:pt idx="42">
                  <c:v>0.24174609030746522</c:v>
                </c:pt>
                <c:pt idx="43">
                  <c:v>0.2215516337313515</c:v>
                </c:pt>
                <c:pt idx="44">
                  <c:v>0.2257863720192521</c:v>
                </c:pt>
                <c:pt idx="45">
                  <c:v>0.22279557518520715</c:v>
                </c:pt>
                <c:pt idx="46">
                  <c:v>0.2421922474087192</c:v>
                </c:pt>
                <c:pt idx="47">
                  <c:v>0.23406622523512458</c:v>
                </c:pt>
                <c:pt idx="48">
                  <c:v>0.2483078669548683</c:v>
                </c:pt>
                <c:pt idx="49">
                  <c:v>0.2316462686752994</c:v>
                </c:pt>
                <c:pt idx="50">
                  <c:v>0.2168334227571059</c:v>
                </c:pt>
                <c:pt idx="51">
                  <c:v>0.21439037919216766</c:v>
                </c:pt>
                <c:pt idx="52">
                  <c:v>0.22718847364096512</c:v>
                </c:pt>
                <c:pt idx="53">
                  <c:v>0.25705551828314865</c:v>
                </c:pt>
                <c:pt idx="54">
                  <c:v>0.22173712863384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747663551401864"/>
          <c:min val="0.1017811704834605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8161</c:v>
                </c:pt>
                <c:pt idx="1">
                  <c:v>316.9195</c:v>
                </c:pt>
                <c:pt idx="2">
                  <c:v>322.9268</c:v>
                </c:pt>
                <c:pt idx="3">
                  <c:v>318.6914</c:v>
                </c:pt>
                <c:pt idx="4">
                  <c:v>322.662</c:v>
                </c:pt>
                <c:pt idx="5">
                  <c:v>318.5699</c:v>
                </c:pt>
                <c:pt idx="6">
                  <c:v>317.1009</c:v>
                </c:pt>
                <c:pt idx="7">
                  <c:v>321.9036</c:v>
                </c:pt>
                <c:pt idx="8">
                  <c:v>318.4394</c:v>
                </c:pt>
                <c:pt idx="9">
                  <c:v>314.4588</c:v>
                </c:pt>
                <c:pt idx="10">
                  <c:v>316.8661</c:v>
                </c:pt>
                <c:pt idx="11">
                  <c:v>325.6136</c:v>
                </c:pt>
                <c:pt idx="12">
                  <c:v>327.7475</c:v>
                </c:pt>
                <c:pt idx="13">
                  <c:v>319.5347</c:v>
                </c:pt>
                <c:pt idx="14">
                  <c:v>323.734</c:v>
                </c:pt>
                <c:pt idx="15">
                  <c:v>324.2824</c:v>
                </c:pt>
                <c:pt idx="16">
                  <c:v>326.6</c:v>
                </c:pt>
                <c:pt idx="17">
                  <c:v>329.5294</c:v>
                </c:pt>
                <c:pt idx="18">
                  <c:v>329.2115</c:v>
                </c:pt>
                <c:pt idx="19">
                  <c:v>337.0488</c:v>
                </c:pt>
                <c:pt idx="20">
                  <c:v>334.2037</c:v>
                </c:pt>
                <c:pt idx="21">
                  <c:v>334.6923</c:v>
                </c:pt>
                <c:pt idx="22">
                  <c:v>326.7174</c:v>
                </c:pt>
                <c:pt idx="23">
                  <c:v>333.5849</c:v>
                </c:pt>
                <c:pt idx="24">
                  <c:v>351.338</c:v>
                </c:pt>
                <c:pt idx="25">
                  <c:v>353.8909</c:v>
                </c:pt>
                <c:pt idx="26">
                  <c:v>356.6591</c:v>
                </c:pt>
                <c:pt idx="27">
                  <c:v>347.0154</c:v>
                </c:pt>
                <c:pt idx="28">
                  <c:v>346.8636</c:v>
                </c:pt>
                <c:pt idx="29">
                  <c:v>357.2653</c:v>
                </c:pt>
                <c:pt idx="30">
                  <c:v>337.6154</c:v>
                </c:pt>
                <c:pt idx="31">
                  <c:v>370.4167</c:v>
                </c:pt>
                <c:pt idx="32">
                  <c:v>364.8868</c:v>
                </c:pt>
                <c:pt idx="33">
                  <c:v>345.2857</c:v>
                </c:pt>
                <c:pt idx="34">
                  <c:v>352.3438</c:v>
                </c:pt>
                <c:pt idx="35">
                  <c:v>356.2615</c:v>
                </c:pt>
                <c:pt idx="36">
                  <c:v>353.4808</c:v>
                </c:pt>
                <c:pt idx="37">
                  <c:v>352.1522</c:v>
                </c:pt>
                <c:pt idx="38">
                  <c:v>359.4878</c:v>
                </c:pt>
                <c:pt idx="39">
                  <c:v>346.9375</c:v>
                </c:pt>
                <c:pt idx="40">
                  <c:v>352.7759</c:v>
                </c:pt>
                <c:pt idx="41">
                  <c:v>345.45</c:v>
                </c:pt>
                <c:pt idx="42">
                  <c:v>349.9365</c:v>
                </c:pt>
                <c:pt idx="43">
                  <c:v>351.2609</c:v>
                </c:pt>
                <c:pt idx="44">
                  <c:v>344.8774</c:v>
                </c:pt>
                <c:pt idx="45">
                  <c:v>342.168</c:v>
                </c:pt>
                <c:pt idx="46">
                  <c:v>354.7603</c:v>
                </c:pt>
                <c:pt idx="47">
                  <c:v>346.7313</c:v>
                </c:pt>
                <c:pt idx="48">
                  <c:v>353.4715</c:v>
                </c:pt>
                <c:pt idx="49">
                  <c:v>355.087</c:v>
                </c:pt>
                <c:pt idx="50">
                  <c:v>360.9924</c:v>
                </c:pt>
                <c:pt idx="51">
                  <c:v>383.4038</c:v>
                </c:pt>
                <c:pt idx="52">
                  <c:v>372.6067</c:v>
                </c:pt>
                <c:pt idx="53">
                  <c:v>367.7816</c:v>
                </c:pt>
                <c:pt idx="54">
                  <c:v>370.7625</c:v>
                </c:pt>
                <c:pt idx="55">
                  <c:v>352.3373</c:v>
                </c:pt>
                <c:pt idx="56">
                  <c:v>376.3636</c:v>
                </c:pt>
                <c:pt idx="57">
                  <c:v>362.3061</c:v>
                </c:pt>
                <c:pt idx="58">
                  <c:v>334.3167</c:v>
                </c:pt>
                <c:pt idx="59">
                  <c:v>360.8793</c:v>
                </c:pt>
                <c:pt idx="60">
                  <c:v>373.3737</c:v>
                </c:pt>
                <c:pt idx="61">
                  <c:v>374.0278</c:v>
                </c:pt>
                <c:pt idx="62">
                  <c:v>356.7431</c:v>
                </c:pt>
                <c:pt idx="63">
                  <c:v>401.4902</c:v>
                </c:pt>
                <c:pt idx="64">
                  <c:v>419.8636</c:v>
                </c:pt>
                <c:pt idx="65">
                  <c:v>406.0</c:v>
                </c:pt>
                <c:pt idx="66">
                  <c:v>394.6729</c:v>
                </c:pt>
                <c:pt idx="67">
                  <c:v>396.617</c:v>
                </c:pt>
                <c:pt idx="68">
                  <c:v>410.4559</c:v>
                </c:pt>
                <c:pt idx="69">
                  <c:v>410.1455</c:v>
                </c:pt>
                <c:pt idx="70">
                  <c:v>408.125</c:v>
                </c:pt>
                <c:pt idx="71">
                  <c:v>443.2708</c:v>
                </c:pt>
                <c:pt idx="72">
                  <c:v>464.82</c:v>
                </c:pt>
                <c:pt idx="73">
                  <c:v>441.359</c:v>
                </c:pt>
                <c:pt idx="74">
                  <c:v>463.7174</c:v>
                </c:pt>
                <c:pt idx="75">
                  <c:v>441.9048</c:v>
                </c:pt>
                <c:pt idx="76">
                  <c:v>448.5854</c:v>
                </c:pt>
                <c:pt idx="77">
                  <c:v>465.6316</c:v>
                </c:pt>
                <c:pt idx="78">
                  <c:v>446.4286</c:v>
                </c:pt>
                <c:pt idx="79">
                  <c:v>460.8478</c:v>
                </c:pt>
                <c:pt idx="80">
                  <c:v>477.2</c:v>
                </c:pt>
                <c:pt idx="81">
                  <c:v>461.9808</c:v>
                </c:pt>
                <c:pt idx="82">
                  <c:v>482.8649</c:v>
                </c:pt>
                <c:pt idx="83">
                  <c:v>467.1905</c:v>
                </c:pt>
                <c:pt idx="84">
                  <c:v>439.931</c:v>
                </c:pt>
                <c:pt idx="85">
                  <c:v>451.7429</c:v>
                </c:pt>
                <c:pt idx="86">
                  <c:v>443.566</c:v>
                </c:pt>
                <c:pt idx="87">
                  <c:v>435.5962</c:v>
                </c:pt>
                <c:pt idx="88">
                  <c:v>458.5526</c:v>
                </c:pt>
                <c:pt idx="89">
                  <c:v>423.0294</c:v>
                </c:pt>
                <c:pt idx="90">
                  <c:v>467.8966</c:v>
                </c:pt>
                <c:pt idx="91">
                  <c:v>461.3243</c:v>
                </c:pt>
                <c:pt idx="92">
                  <c:v>449.475</c:v>
                </c:pt>
                <c:pt idx="93">
                  <c:v>462.1944</c:v>
                </c:pt>
                <c:pt idx="94">
                  <c:v>457.3571</c:v>
                </c:pt>
                <c:pt idx="95">
                  <c:v>447.9259</c:v>
                </c:pt>
                <c:pt idx="96">
                  <c:v>471.8</c:v>
                </c:pt>
                <c:pt idx="97">
                  <c:v>441.0833</c:v>
                </c:pt>
                <c:pt idx="98">
                  <c:v>423.0</c:v>
                </c:pt>
                <c:pt idx="99">
                  <c:v>423.6742</c:v>
                </c:pt>
                <c:pt idx="100">
                  <c:v>433.5916</c:v>
                </c:pt>
                <c:pt idx="101">
                  <c:v>424.041</c:v>
                </c:pt>
                <c:pt idx="102">
                  <c:v>441.1324</c:v>
                </c:pt>
                <c:pt idx="103">
                  <c:v>396.2551</c:v>
                </c:pt>
                <c:pt idx="104">
                  <c:v>383.2973</c:v>
                </c:pt>
              </c:numCache>
            </c:numRef>
          </c:xVal>
          <c:yVal>
            <c:numRef>
              <c:f>Sheet1!$B$2:$B$106</c:f>
              <c:numCache>
                <c:formatCode>General</c:formatCode>
                <c:ptCount val="105"/>
                <c:pt idx="0">
                  <c:v>0.20327102803738317</c:v>
                </c:pt>
                <c:pt idx="1">
                  <c:v>0.2693498452012384</c:v>
                </c:pt>
                <c:pt idx="2">
                  <c:v>0.24477611940298508</c:v>
                </c:pt>
                <c:pt idx="3">
                  <c:v>0.22252747252747251</c:v>
                </c:pt>
                <c:pt idx="4">
                  <c:v>0.2204968944099379</c:v>
                </c:pt>
                <c:pt idx="5">
                  <c:v>0.2672413793103448</c:v>
                </c:pt>
                <c:pt idx="6">
                  <c:v>0.3395638629283489</c:v>
                </c:pt>
                <c:pt idx="7">
                  <c:v>0.3062730627306273</c:v>
                </c:pt>
                <c:pt idx="8">
                  <c:v>0.24</c:v>
                </c:pt>
                <c:pt idx="9">
                  <c:v>0.22251308900523561</c:v>
                </c:pt>
                <c:pt idx="10">
                  <c:v>0.2978723404255319</c:v>
                </c:pt>
                <c:pt idx="11">
                  <c:v>0.24444444444444444</c:v>
                </c:pt>
                <c:pt idx="12">
                  <c:v>0.2357142857142857</c:v>
                </c:pt>
                <c:pt idx="13">
                  <c:v>0.2531328320802005</c:v>
                </c:pt>
                <c:pt idx="14">
                  <c:v>0.26704545454545453</c:v>
                </c:pt>
                <c:pt idx="15">
                  <c:v>0.22486772486772486</c:v>
                </c:pt>
                <c:pt idx="16">
                  <c:v>0.22123893805309736</c:v>
                </c:pt>
                <c:pt idx="17">
                  <c:v>0.15987460815047022</c:v>
                </c:pt>
                <c:pt idx="18">
                  <c:v>0.18118466898954705</c:v>
                </c:pt>
                <c:pt idx="19">
                  <c:v>0.16334661354581673</c:v>
                </c:pt>
                <c:pt idx="20">
                  <c:v>0.17647058823529413</c:v>
                </c:pt>
                <c:pt idx="21">
                  <c:v>0.19306930693069307</c:v>
                </c:pt>
                <c:pt idx="22">
                  <c:v>0.22772277227722773</c:v>
                </c:pt>
                <c:pt idx="23">
                  <c:v>0.25728155339805825</c:v>
                </c:pt>
                <c:pt idx="24">
                  <c:v>0.2795275590551181</c:v>
                </c:pt>
                <c:pt idx="25">
                  <c:v>0.270935960591133</c:v>
                </c:pt>
                <c:pt idx="26">
                  <c:v>0.20465116279069767</c:v>
                </c:pt>
                <c:pt idx="27">
                  <c:v>0.26639344262295084</c:v>
                </c:pt>
                <c:pt idx="28">
                  <c:v>0.205607476635514</c:v>
                </c:pt>
                <c:pt idx="29">
                  <c:v>0.196</c:v>
                </c:pt>
                <c:pt idx="30">
                  <c:v>0.2549019607843137</c:v>
                </c:pt>
                <c:pt idx="31">
                  <c:v>0.17061611374407584</c:v>
                </c:pt>
                <c:pt idx="32">
                  <c:v>0.2560386473429952</c:v>
                </c:pt>
                <c:pt idx="33">
                  <c:v>0.22672064777327935</c:v>
                </c:pt>
                <c:pt idx="34">
                  <c:v>0.21122112211221122</c:v>
                </c:pt>
                <c:pt idx="35">
                  <c:v>0.20967741935483872</c:v>
                </c:pt>
                <c:pt idx="36">
                  <c:v>0.21224489795918366</c:v>
                </c:pt>
                <c:pt idx="37">
                  <c:v>0.19827586206896552</c:v>
                </c:pt>
                <c:pt idx="38">
                  <c:v>0.17903930131004367</c:v>
                </c:pt>
                <c:pt idx="39">
                  <c:v>0.22748815165876776</c:v>
                </c:pt>
                <c:pt idx="40">
                  <c:v>0.21014492753623187</c:v>
                </c:pt>
                <c:pt idx="41">
                  <c:v>0.22727272727272727</c:v>
                </c:pt>
                <c:pt idx="42">
                  <c:v>0.20588235294117646</c:v>
                </c:pt>
                <c:pt idx="43">
                  <c:v>0.2</c:v>
                </c:pt>
                <c:pt idx="44">
                  <c:v>0.21810699588477367</c:v>
                </c:pt>
                <c:pt idx="45">
                  <c:v>0.2181500872600349</c:v>
                </c:pt>
                <c:pt idx="46">
                  <c:v>0.22324159021406728</c:v>
                </c:pt>
                <c:pt idx="47">
                  <c:v>0.2271186440677966</c:v>
                </c:pt>
                <c:pt idx="48">
                  <c:v>0.2532808398950131</c:v>
                </c:pt>
                <c:pt idx="49">
                  <c:v>0.25321100917431194</c:v>
                </c:pt>
                <c:pt idx="50">
                  <c:v>0.20695102685624012</c:v>
                </c:pt>
                <c:pt idx="51">
                  <c:v>0.20194174757281552</c:v>
                </c:pt>
                <c:pt idx="52">
                  <c:v>0.17835671342685372</c:v>
                </c:pt>
                <c:pt idx="53">
                  <c:v>0.21375921375921375</c:v>
                </c:pt>
                <c:pt idx="54">
                  <c:v>0.21052631578947367</c:v>
                </c:pt>
                <c:pt idx="55">
                  <c:v>0.21012658227848102</c:v>
                </c:pt>
                <c:pt idx="56">
                  <c:v>0.20698924731182797</c:v>
                </c:pt>
                <c:pt idx="57">
                  <c:v>0.23113207547169812</c:v>
                </c:pt>
                <c:pt idx="58">
                  <c:v>0.24439918533604887</c:v>
                </c:pt>
                <c:pt idx="59">
                  <c:v>0.21129326047358835</c:v>
                </c:pt>
                <c:pt idx="60">
                  <c:v>0.1944990176817289</c:v>
                </c:pt>
                <c:pt idx="61">
                  <c:v>0.19672131147540983</c:v>
                </c:pt>
                <c:pt idx="62">
                  <c:v>0.21669980119284293</c:v>
                </c:pt>
                <c:pt idx="63">
                  <c:v>0.19729206963249515</c:v>
                </c:pt>
                <c:pt idx="64">
                  <c:v>0.20952380952380953</c:v>
                </c:pt>
                <c:pt idx="65">
                  <c:v>0.18541666666666667</c:v>
                </c:pt>
                <c:pt idx="66">
                  <c:v>0.20817120622568094</c:v>
                </c:pt>
                <c:pt idx="67">
                  <c:v>0.19665271966527198</c:v>
                </c:pt>
                <c:pt idx="68">
                  <c:v>0.17662337662337663</c:v>
                </c:pt>
                <c:pt idx="69">
                  <c:v>0.17405063291139242</c:v>
                </c:pt>
                <c:pt idx="70">
                  <c:v>0.1643835616438356</c:v>
                </c:pt>
                <c:pt idx="71">
                  <c:v>0.19753086419753085</c:v>
                </c:pt>
                <c:pt idx="72">
                  <c:v>0.18115942028985507</c:v>
                </c:pt>
                <c:pt idx="73">
                  <c:v>0.1652542372881356</c:v>
                </c:pt>
                <c:pt idx="74">
                  <c:v>0.1776061776061776</c:v>
                </c:pt>
                <c:pt idx="75">
                  <c:v>0.19090909090909092</c:v>
                </c:pt>
                <c:pt idx="76">
                  <c:v>0.19902912621359223</c:v>
                </c:pt>
                <c:pt idx="77">
                  <c:v>0.18446601941747573</c:v>
                </c:pt>
                <c:pt idx="78">
                  <c:v>0.18716577540106952</c:v>
                </c:pt>
                <c:pt idx="79">
                  <c:v>0.18699186991869918</c:v>
                </c:pt>
                <c:pt idx="80">
                  <c:v>0.15486725663716813</c:v>
                </c:pt>
                <c:pt idx="81">
                  <c:v>0.17869415807560138</c:v>
                </c:pt>
                <c:pt idx="82">
                  <c:v>0.1712962962962963</c:v>
                </c:pt>
                <c:pt idx="83">
                  <c:v>0.1346153846153846</c:v>
                </c:pt>
                <c:pt idx="84">
                  <c:v>0.18831168831168832</c:v>
                </c:pt>
                <c:pt idx="85">
                  <c:v>0.16666666666666666</c:v>
                </c:pt>
                <c:pt idx="86">
                  <c:v>0.1853146853146853</c:v>
                </c:pt>
                <c:pt idx="87">
                  <c:v>0.17391304347826086</c:v>
                </c:pt>
                <c:pt idx="88">
                  <c:v>0.18719211822660098</c:v>
                </c:pt>
                <c:pt idx="89">
                  <c:v>0.2251655629139073</c:v>
                </c:pt>
                <c:pt idx="90">
                  <c:v>0.18125</c:v>
                </c:pt>
                <c:pt idx="91">
                  <c:v>0.20218579234972678</c:v>
                </c:pt>
                <c:pt idx="92">
                  <c:v>0.17391304347826086</c:v>
                </c:pt>
                <c:pt idx="93">
                  <c:v>0.16589861751152074</c:v>
                </c:pt>
                <c:pt idx="94">
                  <c:v>0.16666666666666666</c:v>
                </c:pt>
                <c:pt idx="95">
                  <c:v>0.18815331010452963</c:v>
                </c:pt>
                <c:pt idx="96">
                  <c:v>0.1272264631043257</c:v>
                </c:pt>
                <c:pt idx="97">
                  <c:v>0.16289592760180996</c:v>
                </c:pt>
                <c:pt idx="98">
                  <c:v>0.16042780748663102</c:v>
                </c:pt>
                <c:pt idx="99">
                  <c:v>0.1981981981981982</c:v>
                </c:pt>
                <c:pt idx="100">
                  <c:v>0.20942982456140352</c:v>
                </c:pt>
                <c:pt idx="101">
                  <c:v>0.21942446043165467</c:v>
                </c:pt>
                <c:pt idx="102">
                  <c:v>0.19318181818181818</c:v>
                </c:pt>
                <c:pt idx="103">
                  <c:v>0.21120689655172414</c:v>
                </c:pt>
                <c:pt idx="104">
                  <c:v>0.196286472148541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numCache>
            </c:numRef>
          </c:xVal>
          <c:yVal>
            <c:numRef>
              <c:f>Sheet1!$B$109:$B$160</c:f>
              <c:numCache>
                <c:formatCode>General</c:formatCode>
                <c:ptCount val="52"/>
                <c:pt idx="0">
                  <c:v>0.18160377358490565</c:v>
                </c:pt>
                <c:pt idx="1">
                  <c:v>0.2</c:v>
                </c:pt>
                <c:pt idx="2">
                  <c:v>0.21236559139784947</c:v>
                </c:pt>
                <c:pt idx="3">
                  <c:v>0.23544303797468355</c:v>
                </c:pt>
                <c:pt idx="4">
                  <c:v>0.24489795918367346</c:v>
                </c:pt>
                <c:pt idx="5">
                  <c:v>0.20708446866485014</c:v>
                </c:pt>
                <c:pt idx="6">
                  <c:v>0.2009685230024213</c:v>
                </c:pt>
                <c:pt idx="7">
                  <c:v>0.23410404624277456</c:v>
                </c:pt>
                <c:pt idx="8">
                  <c:v>0.19528619528619529</c:v>
                </c:pt>
                <c:pt idx="9">
                  <c:v>0.22189349112426035</c:v>
                </c:pt>
                <c:pt idx="10">
                  <c:v>0.24127906976744187</c:v>
                </c:pt>
                <c:pt idx="11">
                  <c:v>0.1592741935483871</c:v>
                </c:pt>
                <c:pt idx="12">
                  <c:v>0.183206106870229</c:v>
                </c:pt>
                <c:pt idx="13">
                  <c:v>0.19533527696793002</c:v>
                </c:pt>
                <c:pt idx="14">
                  <c:v>0.159375</c:v>
                </c:pt>
                <c:pt idx="15">
                  <c:v>0.17712177121771217</c:v>
                </c:pt>
                <c:pt idx="16">
                  <c:v>0.1778846153846154</c:v>
                </c:pt>
                <c:pt idx="17">
                  <c:v>0.2</c:v>
                </c:pt>
                <c:pt idx="18">
                  <c:v>0.18604651162790697</c:v>
                </c:pt>
                <c:pt idx="19">
                  <c:v>0.22666666666666666</c:v>
                </c:pt>
                <c:pt idx="20">
                  <c:v>0.263681592039801</c:v>
                </c:pt>
                <c:pt idx="21">
                  <c:v>0.23076923076923078</c:v>
                </c:pt>
                <c:pt idx="22">
                  <c:v>0.25287356321839083</c:v>
                </c:pt>
                <c:pt idx="23">
                  <c:v>0.23255813953488372</c:v>
                </c:pt>
                <c:pt idx="24">
                  <c:v>0.22815533980582525</c:v>
                </c:pt>
                <c:pt idx="25">
                  <c:v>0.1989795918367347</c:v>
                </c:pt>
                <c:pt idx="26">
                  <c:v>0.1881720430107527</c:v>
                </c:pt>
                <c:pt idx="27">
                  <c:v>0.21145374449339208</c:v>
                </c:pt>
                <c:pt idx="28">
                  <c:v>0.21559633027522937</c:v>
                </c:pt>
                <c:pt idx="29">
                  <c:v>0.25268817204301075</c:v>
                </c:pt>
                <c:pt idx="30">
                  <c:v>0.2054794520547945</c:v>
                </c:pt>
                <c:pt idx="31">
                  <c:v>0.2054794520547945</c:v>
                </c:pt>
                <c:pt idx="32">
                  <c:v>0.2087912087912088</c:v>
                </c:pt>
                <c:pt idx="33">
                  <c:v>0.2260536398467433</c:v>
                </c:pt>
                <c:pt idx="34">
                  <c:v>0.20666666666666667</c:v>
                </c:pt>
                <c:pt idx="35">
                  <c:v>0.2018348623853211</c:v>
                </c:pt>
                <c:pt idx="36">
                  <c:v>0.18584070796460178</c:v>
                </c:pt>
                <c:pt idx="37">
                  <c:v>0.20149253731343283</c:v>
                </c:pt>
                <c:pt idx="38">
                  <c:v>0.25675675675675674</c:v>
                </c:pt>
                <c:pt idx="39">
                  <c:v>0.22340425531914893</c:v>
                </c:pt>
                <c:pt idx="40">
                  <c:v>0.22346368715083798</c:v>
                </c:pt>
                <c:pt idx="41">
                  <c:v>0.23737373737373738</c:v>
                </c:pt>
                <c:pt idx="42">
                  <c:v>0.22162162162162163</c:v>
                </c:pt>
                <c:pt idx="43">
                  <c:v>0.17490494296577946</c:v>
                </c:pt>
                <c:pt idx="44">
                  <c:v>0.20253164556962025</c:v>
                </c:pt>
                <c:pt idx="45">
                  <c:v>0.20327102803738317</c:v>
                </c:pt>
                <c:pt idx="46">
                  <c:v>0.26119402985074625</c:v>
                </c:pt>
                <c:pt idx="47">
                  <c:v>0.22606382978723405</c:v>
                </c:pt>
                <c:pt idx="48">
                  <c:v>0.2528473804100228</c:v>
                </c:pt>
                <c:pt idx="49">
                  <c:v>0.22105263157894736</c:v>
                </c:pt>
                <c:pt idx="50">
                  <c:v>0.21680876979293545</c:v>
                </c:pt>
                <c:pt idx="51">
                  <c:v>0.2180451127819548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7.7370740032348</c:v>
                </c:pt>
              </c:numCache>
            </c:numRef>
          </c:xVal>
          <c:yVal>
            <c:numRef>
              <c:f>Sheet1!$B$163:$B$164</c:f>
              <c:numCache>
                <c:formatCode>General</c:formatCode>
                <c:ptCount val="2"/>
                <c:pt idx="0">
                  <c:v>0.25705551828314865</c:v>
                </c:pt>
                <c:pt idx="1">
                  <c:v>0.257055518283148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7.7370740032348</c:v>
                </c:pt>
                <c:pt idx="1">
                  <c:v>367.7370740032348</c:v>
                </c:pt>
              </c:numCache>
            </c:numRef>
          </c:xVal>
          <c:yVal>
            <c:numRef>
              <c:f>Sheet1!$B$167:$B$168</c:f>
              <c:numCache>
                <c:formatCode>General</c:formatCode>
                <c:ptCount val="2"/>
                <c:pt idx="0">
                  <c:v>0.257055518283148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24.7869113855792</c:v>
                </c:pt>
              </c:numCache>
            </c:numRef>
          </c:xVal>
          <c:yVal>
            <c:numRef>
              <c:f>Sheet1!$B$171:$B$172</c:f>
              <c:numCache>
                <c:formatCode>General</c:formatCode>
                <c:ptCount val="2"/>
                <c:pt idx="0">
                  <c:v>0.22718847364096512</c:v>
                </c:pt>
                <c:pt idx="1">
                  <c:v>0.2271884736409651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24.7869113855792</c:v>
                </c:pt>
                <c:pt idx="1">
                  <c:v>424.7869113855792</c:v>
                </c:pt>
              </c:numCache>
            </c:numRef>
          </c:xVal>
          <c:yVal>
            <c:numRef>
              <c:f>Sheet1!$B$175:$B$176</c:f>
              <c:numCache>
                <c:formatCode>General</c:formatCode>
                <c:ptCount val="2"/>
                <c:pt idx="0">
                  <c:v>0.2271884736409651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5.1996706624739</c:v>
                </c:pt>
              </c:numCache>
            </c:numRef>
          </c:xVal>
          <c:yVal>
            <c:numRef>
              <c:f>Sheet1!$B$179:$B$180</c:f>
              <c:numCache>
                <c:formatCode>General</c:formatCode>
                <c:ptCount val="2"/>
                <c:pt idx="0">
                  <c:v>0.2217371286338438</c:v>
                </c:pt>
                <c:pt idx="1">
                  <c:v>0.22173712863384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5.1996706624739</c:v>
                </c:pt>
                <c:pt idx="1">
                  <c:v>435.1996706624739</c:v>
                </c:pt>
              </c:numCache>
            </c:numRef>
          </c:xVal>
          <c:yVal>
            <c:numRef>
              <c:f>Sheet1!$B$183:$B$184</c:f>
              <c:numCache>
                <c:formatCode>General</c:formatCode>
                <c:ptCount val="2"/>
                <c:pt idx="0">
                  <c:v>0.22173712863384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pt idx="52">
                  <c:v>424.7869113855792</c:v>
                </c:pt>
                <c:pt idx="53">
                  <c:v>367.7370740032348</c:v>
                </c:pt>
                <c:pt idx="54">
                  <c:v>435.1996706624739</c:v>
                </c:pt>
              </c:numCache>
            </c:numRef>
          </c:xVal>
          <c:yVal>
            <c:numRef>
              <c:f>Sheet1!$B$187:$B$241</c:f>
              <c:numCache>
                <c:formatCode>General</c:formatCode>
                <c:ptCount val="55"/>
                <c:pt idx="0">
                  <c:v>0.23026565778567848</c:v>
                </c:pt>
                <c:pt idx="1">
                  <c:v>0.21738802988850717</c:v>
                </c:pt>
                <c:pt idx="2">
                  <c:v>0.2114705688091257</c:v>
                </c:pt>
                <c:pt idx="3">
                  <c:v>0.21403945608521957</c:v>
                </c:pt>
                <c:pt idx="4">
                  <c:v>0.20991276633123843</c:v>
                </c:pt>
                <c:pt idx="5">
                  <c:v>0.21097159665504775</c:v>
                </c:pt>
                <c:pt idx="6">
                  <c:v>0.2119135760872505</c:v>
                </c:pt>
                <c:pt idx="7">
                  <c:v>0.22566789978677096</c:v>
                </c:pt>
                <c:pt idx="8">
                  <c:v>0.21022478752925589</c:v>
                </c:pt>
                <c:pt idx="9">
                  <c:v>0.20357412898708335</c:v>
                </c:pt>
                <c:pt idx="10">
                  <c:v>0.2144555541526429</c:v>
                </c:pt>
                <c:pt idx="11">
                  <c:v>0.2086342647076168</c:v>
                </c:pt>
                <c:pt idx="12">
                  <c:v>0.19918462943208748</c:v>
                </c:pt>
                <c:pt idx="13">
                  <c:v>0.1950949529309584</c:v>
                </c:pt>
                <c:pt idx="14">
                  <c:v>0.19109736456528448</c:v>
                </c:pt>
                <c:pt idx="15">
                  <c:v>0.1826645205159121</c:v>
                </c:pt>
                <c:pt idx="16">
                  <c:v>0.18150187508544702</c:v>
                </c:pt>
                <c:pt idx="17">
                  <c:v>0.19301205437654173</c:v>
                </c:pt>
                <c:pt idx="18">
                  <c:v>0.209905279916588</c:v>
                </c:pt>
                <c:pt idx="19">
                  <c:v>0.20831213946744878</c:v>
                </c:pt>
                <c:pt idx="20">
                  <c:v>0.2261582861226484</c:v>
                </c:pt>
                <c:pt idx="21">
                  <c:v>0.1965244916613385</c:v>
                </c:pt>
                <c:pt idx="22">
                  <c:v>0.22298388925322063</c:v>
                </c:pt>
                <c:pt idx="23">
                  <c:v>0.22093857982970602</c:v>
                </c:pt>
                <c:pt idx="24">
                  <c:v>0.21404448193001988</c:v>
                </c:pt>
                <c:pt idx="25">
                  <c:v>0.22063352152083895</c:v>
                </c:pt>
                <c:pt idx="26">
                  <c:v>0.19238963490955685</c:v>
                </c:pt>
                <c:pt idx="27">
                  <c:v>0.20090064131608362</c:v>
                </c:pt>
                <c:pt idx="28">
                  <c:v>0.20704929125627805</c:v>
                </c:pt>
                <c:pt idx="29">
                  <c:v>0.2219976195637154</c:v>
                </c:pt>
                <c:pt idx="30">
                  <c:v>0.19582244396579918</c:v>
                </c:pt>
                <c:pt idx="31">
                  <c:v>0.21103960261750154</c:v>
                </c:pt>
                <c:pt idx="32">
                  <c:v>0.21867297087577914</c:v>
                </c:pt>
                <c:pt idx="33">
                  <c:v>0.21724526448464918</c:v>
                </c:pt>
                <c:pt idx="34">
                  <c:v>0.2064398552216939</c:v>
                </c:pt>
                <c:pt idx="35">
                  <c:v>0.20649283600229687</c:v>
                </c:pt>
                <c:pt idx="36">
                  <c:v>0.20917731770879724</c:v>
                </c:pt>
                <c:pt idx="37">
                  <c:v>0.2069502925842225</c:v>
                </c:pt>
                <c:pt idx="38">
                  <c:v>0.24055078740670463</c:v>
                </c:pt>
                <c:pt idx="39">
                  <c:v>0.22148016695948639</c:v>
                </c:pt>
                <c:pt idx="40">
                  <c:v>0.2151928874668842</c:v>
                </c:pt>
                <c:pt idx="41">
                  <c:v>0.20394153918300395</c:v>
                </c:pt>
                <c:pt idx="42">
                  <c:v>0.23204402155672813</c:v>
                </c:pt>
                <c:pt idx="43">
                  <c:v>0.21684539570772676</c:v>
                </c:pt>
                <c:pt idx="44">
                  <c:v>0.2243529607883473</c:v>
                </c:pt>
                <c:pt idx="45">
                  <c:v>0.23247462128050222</c:v>
                </c:pt>
                <c:pt idx="46">
                  <c:v>0.24523576475391706</c:v>
                </c:pt>
                <c:pt idx="47">
                  <c:v>0.23698693991780498</c:v>
                </c:pt>
                <c:pt idx="48">
                  <c:v>0.23367522230971946</c:v>
                </c:pt>
                <c:pt idx="49">
                  <c:v>0.23384536809722903</c:v>
                </c:pt>
                <c:pt idx="50">
                  <c:v>0.2185475865185221</c:v>
                </c:pt>
                <c:pt idx="51">
                  <c:v>0.21581661574761912</c:v>
                </c:pt>
                <c:pt idx="52">
                  <c:v>0.2271884736409651</c:v>
                </c:pt>
                <c:pt idx="53">
                  <c:v>0.25705551828314865</c:v>
                </c:pt>
                <c:pt idx="54">
                  <c:v>0.22173712863384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4.0"/>
          <c:min val="2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747663551401864"/>
          <c:min val="0.1017811704834605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448183539757515</c:v>
                </c:pt>
                <c:pt idx="5">
                  <c:v>0.6281097172017861</c:v>
                </c:pt>
                <c:pt idx="6">
                  <c:v>0.4628900036706228</c:v>
                </c:pt>
                <c:pt idx="7">
                  <c:v>0.5076957760334474</c:v>
                </c:pt>
                <c:pt idx="8">
                  <c:v>0.3461133723816142</c:v>
                </c:pt>
                <c:pt idx="9">
                  <c:v>0.6058846813563795</c:v>
                </c:pt>
                <c:pt idx="10">
                  <c:v>0.5591726388557573</c:v>
                </c:pt>
                <c:pt idx="11">
                  <c:v>0.6606711041969023</c:v>
                </c:pt>
                <c:pt idx="12">
                  <c:v>0.6695712402529214</c:v>
                </c:pt>
                <c:pt idx="13">
                  <c:v>0.5134310735019187</c:v>
                </c:pt>
                <c:pt idx="14">
                  <c:v>0.3747987828019552</c:v>
                </c:pt>
                <c:pt idx="15">
                  <c:v>0.558038661008958</c:v>
                </c:pt>
                <c:pt idx="16">
                  <c:v>0.4005306074675198</c:v>
                </c:pt>
              </c:numCache>
            </c:numRef>
          </c:xVal>
          <c:yVal>
            <c:numRef>
              <c:f>Sheet1!$B$4:$B$20</c:f>
              <c:numCache>
                <c:formatCode>General</c:formatCode>
                <c:ptCount val="17"/>
                <c:pt idx="0">
                  <c:v>0.0</c:v>
                </c:pt>
                <c:pt idx="1">
                  <c:v>0.0</c:v>
                </c:pt>
                <c:pt idx="2">
                  <c:v>0.0</c:v>
                </c:pt>
                <c:pt idx="3">
                  <c:v>0.0</c:v>
                </c:pt>
                <c:pt idx="4">
                  <c:v>0.0625</c:v>
                </c:pt>
                <c:pt idx="5">
                  <c:v>0.058823529411764705</c:v>
                </c:pt>
                <c:pt idx="6">
                  <c:v>0.06666666666666667</c:v>
                </c:pt>
                <c:pt idx="7">
                  <c:v>0.0625</c:v>
                </c:pt>
                <c:pt idx="8">
                  <c:v>0.05263157894736842</c:v>
                </c:pt>
                <c:pt idx="9">
                  <c:v>0.043478260869565216</c:v>
                </c:pt>
                <c:pt idx="10">
                  <c:v>0.037037037037037035</c:v>
                </c:pt>
                <c:pt idx="11">
                  <c:v>0.038461538461538464</c:v>
                </c:pt>
                <c:pt idx="12">
                  <c:v>0.037037037037037035</c:v>
                </c:pt>
                <c:pt idx="13">
                  <c:v>0.02857142857142857</c:v>
                </c:pt>
                <c:pt idx="14">
                  <c:v>0.06666666666666667</c:v>
                </c:pt>
                <c:pt idx="15">
                  <c:v>0.06451612903225806</c:v>
                </c:pt>
                <c:pt idx="16">
                  <c:v>0.041666666666666664</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5459196837018242</c:v>
                </c:pt>
              </c:numCache>
            </c:numRef>
          </c:xVal>
          <c:yVal>
            <c:numRef>
              <c:f>Sheet1!$B$23:$B$24</c:f>
              <c:numCache>
                <c:formatCode>General</c:formatCode>
                <c:ptCount val="2"/>
                <c:pt idx="0">
                  <c:v>0.05035522273425499</c:v>
                </c:pt>
                <c:pt idx="1">
                  <c:v>0.05035522273425499</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5459196837018242</c:v>
                </c:pt>
                <c:pt idx="1">
                  <c:v>0.5459196837018242</c:v>
                </c:pt>
              </c:numCache>
            </c:numRef>
          </c:xVal>
          <c:yVal>
            <c:numRef>
              <c:f>Sheet1!$B$27:$B$28</c:f>
              <c:numCache>
                <c:formatCode>General</c:formatCode>
                <c:ptCount val="2"/>
                <c:pt idx="0">
                  <c:v>0.050355222734254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5459196837018242</c:v>
                </c:pt>
              </c:numCache>
            </c:numRef>
          </c:xVal>
          <c:yVal>
            <c:numRef>
              <c:f>Sheet1!$B$31:$B$32</c:f>
              <c:numCache>
                <c:formatCode>General</c:formatCode>
                <c:ptCount val="2"/>
                <c:pt idx="0">
                  <c:v>0.05035522273425499</c:v>
                </c:pt>
                <c:pt idx="1">
                  <c:v>0.05035522273425499</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5459196837018242</c:v>
                </c:pt>
                <c:pt idx="1">
                  <c:v>0.5459196837018242</c:v>
                </c:pt>
              </c:numCache>
            </c:numRef>
          </c:xVal>
          <c:yVal>
            <c:numRef>
              <c:f>Sheet1!$B$35:$B$36</c:f>
              <c:numCache>
                <c:formatCode>General</c:formatCode>
                <c:ptCount val="2"/>
                <c:pt idx="0">
                  <c:v>0.0503552227342549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5518683158493614</c:v>
                </c:pt>
              </c:numCache>
            </c:numRef>
          </c:xVal>
          <c:yVal>
            <c:numRef>
              <c:f>Sheet1!$B$39:$B$40</c:f>
              <c:numCache>
                <c:formatCode>General</c:formatCode>
                <c:ptCount val="2"/>
                <c:pt idx="0">
                  <c:v>0.05081204148984596</c:v>
                </c:pt>
                <c:pt idx="1">
                  <c:v>0.05081204148984596</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5518683158493614</c:v>
                </c:pt>
                <c:pt idx="1">
                  <c:v>0.5518683158493614</c:v>
                </c:pt>
              </c:numCache>
            </c:numRef>
          </c:xVal>
          <c:yVal>
            <c:numRef>
              <c:f>Sheet1!$B$43:$B$44</c:f>
              <c:numCache>
                <c:formatCode>General</c:formatCode>
                <c:ptCount val="2"/>
                <c:pt idx="0">
                  <c:v>0.050812041489845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0</c:v>
                </c:pt>
                <c:pt idx="2">
                  <c:v>0.0</c:v>
                </c:pt>
                <c:pt idx="3">
                  <c:v>0.0</c:v>
                </c:pt>
                <c:pt idx="4">
                  <c:v>0.448183539757515</c:v>
                </c:pt>
                <c:pt idx="5">
                  <c:v>0.6281097172017861</c:v>
                </c:pt>
                <c:pt idx="6">
                  <c:v>0.4628900036706228</c:v>
                </c:pt>
                <c:pt idx="7">
                  <c:v>0.5076957760334474</c:v>
                </c:pt>
                <c:pt idx="8">
                  <c:v>0.3461133723816142</c:v>
                </c:pt>
                <c:pt idx="9">
                  <c:v>0.6058846813563795</c:v>
                </c:pt>
                <c:pt idx="10">
                  <c:v>0.5591726388557573</c:v>
                </c:pt>
                <c:pt idx="11">
                  <c:v>0.6606711041969023</c:v>
                </c:pt>
                <c:pt idx="12">
                  <c:v>0.6695712402529214</c:v>
                </c:pt>
                <c:pt idx="13">
                  <c:v>0.5134310735019187</c:v>
                </c:pt>
                <c:pt idx="14">
                  <c:v>0.3747987828019552</c:v>
                </c:pt>
                <c:pt idx="15">
                  <c:v>0.558038661008958</c:v>
                </c:pt>
                <c:pt idx="16">
                  <c:v>0.4005306074675198</c:v>
                </c:pt>
                <c:pt idx="17">
                  <c:v>0.5459196837018242</c:v>
                </c:pt>
                <c:pt idx="18">
                  <c:v>0.5459196837018242</c:v>
                </c:pt>
                <c:pt idx="19">
                  <c:v>0.5518683158493614</c:v>
                </c:pt>
              </c:numCache>
            </c:numRef>
          </c:xVal>
          <c:yVal>
            <c:numRef>
              <c:f>Sheet1!$B$47:$B$66</c:f>
              <c:numCache>
                <c:formatCode>General</c:formatCode>
                <c:ptCount val="20"/>
                <c:pt idx="0">
                  <c:v>0.008431912572181297</c:v>
                </c:pt>
                <c:pt idx="1">
                  <c:v>0.008431912572181297</c:v>
                </c:pt>
                <c:pt idx="2">
                  <c:v>0.008431912572181297</c:v>
                </c:pt>
                <c:pt idx="3">
                  <c:v>0.008431912572181297</c:v>
                </c:pt>
                <c:pt idx="4">
                  <c:v>0.04284968153662284</c:v>
                </c:pt>
                <c:pt idx="5">
                  <c:v>0.056666917237163085</c:v>
                </c:pt>
                <c:pt idx="6">
                  <c:v>0.04397904848642</c:v>
                </c:pt>
                <c:pt idx="7">
                  <c:v>0.04741985919154184</c:v>
                </c:pt>
                <c:pt idx="8">
                  <c:v>0.03501131370899954</c:v>
                </c:pt>
                <c:pt idx="9">
                  <c:v>0.054960169708310296</c:v>
                </c:pt>
                <c:pt idx="10">
                  <c:v>0.05137296905494977</c:v>
                </c:pt>
                <c:pt idx="11">
                  <c:v>0.059167433644717944</c:v>
                </c:pt>
                <c:pt idx="12">
                  <c:v>0.059850909942606736</c:v>
                </c:pt>
                <c:pt idx="13">
                  <c:v>0.04786029514177552</c:v>
                </c:pt>
                <c:pt idx="14">
                  <c:v>0.03721417869826631</c:v>
                </c:pt>
                <c:pt idx="15">
                  <c:v>0.05128588645579174</c:v>
                </c:pt>
                <c:pt idx="16">
                  <c:v>0.03919022627210644</c:v>
                </c:pt>
                <c:pt idx="17">
                  <c:v>0.05035522273425499</c:v>
                </c:pt>
                <c:pt idx="18">
                  <c:v>0.05035522273425499</c:v>
                </c:pt>
                <c:pt idx="19">
                  <c:v>0.050812041489845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4118.0</c:v>
                </c:pt>
                <c:pt idx="5">
                  <c:v>5908.0</c:v>
                </c:pt>
                <c:pt idx="6">
                  <c:v>4729.0</c:v>
                </c:pt>
                <c:pt idx="7">
                  <c:v>6193.0</c:v>
                </c:pt>
                <c:pt idx="8">
                  <c:v>4358.0</c:v>
                </c:pt>
                <c:pt idx="9">
                  <c:v>6888.0</c:v>
                </c:pt>
                <c:pt idx="10">
                  <c:v>5551.0</c:v>
                </c:pt>
                <c:pt idx="11">
                  <c:v>5347.0</c:v>
                </c:pt>
                <c:pt idx="12">
                  <c:v>7492.0</c:v>
                </c:pt>
                <c:pt idx="13">
                  <c:v>5218.0</c:v>
                </c:pt>
                <c:pt idx="14">
                  <c:v>4889.5</c:v>
                </c:pt>
                <c:pt idx="15">
                  <c:v>5918.0</c:v>
                </c:pt>
                <c:pt idx="16">
                  <c:v>5133.0</c:v>
                </c:pt>
              </c:numCache>
            </c:numRef>
          </c:xVal>
          <c:yVal>
            <c:numRef>
              <c:f>Sheet1!$B$4:$B$20</c:f>
              <c:numCache>
                <c:formatCode>General</c:formatCode>
                <c:ptCount val="17"/>
                <c:pt idx="0">
                  <c:v>0.0</c:v>
                </c:pt>
                <c:pt idx="1">
                  <c:v>0.0</c:v>
                </c:pt>
                <c:pt idx="2">
                  <c:v>0.0</c:v>
                </c:pt>
                <c:pt idx="3">
                  <c:v>0.0</c:v>
                </c:pt>
                <c:pt idx="4">
                  <c:v>0.0625</c:v>
                </c:pt>
                <c:pt idx="5">
                  <c:v>0.058823529411764705</c:v>
                </c:pt>
                <c:pt idx="6">
                  <c:v>0.06666666666666667</c:v>
                </c:pt>
                <c:pt idx="7">
                  <c:v>0.0625</c:v>
                </c:pt>
                <c:pt idx="8">
                  <c:v>0.05263157894736842</c:v>
                </c:pt>
                <c:pt idx="9">
                  <c:v>0.043478260869565216</c:v>
                </c:pt>
                <c:pt idx="10">
                  <c:v>0.037037037037037035</c:v>
                </c:pt>
                <c:pt idx="11">
                  <c:v>0.038461538461538464</c:v>
                </c:pt>
                <c:pt idx="12">
                  <c:v>0.037037037037037035</c:v>
                </c:pt>
                <c:pt idx="13">
                  <c:v>0.02857142857142857</c:v>
                </c:pt>
                <c:pt idx="14">
                  <c:v>0.06666666666666667</c:v>
                </c:pt>
                <c:pt idx="15">
                  <c:v>0.06451612903225806</c:v>
                </c:pt>
                <c:pt idx="16">
                  <c:v>0.041666666666666664</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5704.544071621552</c:v>
                </c:pt>
              </c:numCache>
            </c:numRef>
          </c:xVal>
          <c:yVal>
            <c:numRef>
              <c:f>Sheet1!$B$23:$B$24</c:f>
              <c:numCache>
                <c:formatCode>General</c:formatCode>
                <c:ptCount val="2"/>
                <c:pt idx="0">
                  <c:v>0.05035522273425499</c:v>
                </c:pt>
                <c:pt idx="1">
                  <c:v>0.05035522273425499</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5704.544071621552</c:v>
                </c:pt>
                <c:pt idx="1">
                  <c:v>5704.544071621552</c:v>
                </c:pt>
              </c:numCache>
            </c:numRef>
          </c:xVal>
          <c:yVal>
            <c:numRef>
              <c:f>Sheet1!$B$27:$B$28</c:f>
              <c:numCache>
                <c:formatCode>General</c:formatCode>
                <c:ptCount val="2"/>
                <c:pt idx="0">
                  <c:v>0.050355222734254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5704.544071621552</c:v>
                </c:pt>
              </c:numCache>
            </c:numRef>
          </c:xVal>
          <c:yVal>
            <c:numRef>
              <c:f>Sheet1!$B$31:$B$32</c:f>
              <c:numCache>
                <c:formatCode>General</c:formatCode>
                <c:ptCount val="2"/>
                <c:pt idx="0">
                  <c:v>0.05035522273425499</c:v>
                </c:pt>
                <c:pt idx="1">
                  <c:v>0.05035522273425499</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5704.544071621552</c:v>
                </c:pt>
                <c:pt idx="1">
                  <c:v>5704.544071621552</c:v>
                </c:pt>
              </c:numCache>
            </c:numRef>
          </c:xVal>
          <c:yVal>
            <c:numRef>
              <c:f>Sheet1!$B$35:$B$36</c:f>
              <c:numCache>
                <c:formatCode>General</c:formatCode>
                <c:ptCount val="2"/>
                <c:pt idx="0">
                  <c:v>0.0503552227342549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5763.514678443338</c:v>
                </c:pt>
              </c:numCache>
            </c:numRef>
          </c:xVal>
          <c:yVal>
            <c:numRef>
              <c:f>Sheet1!$B$39:$B$40</c:f>
              <c:numCache>
                <c:formatCode>General</c:formatCode>
                <c:ptCount val="2"/>
                <c:pt idx="0">
                  <c:v>0.05081204148984596</c:v>
                </c:pt>
                <c:pt idx="1">
                  <c:v>0.05081204148984596</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5763.514678443338</c:v>
                </c:pt>
                <c:pt idx="1">
                  <c:v>5763.514678443338</c:v>
                </c:pt>
              </c:numCache>
            </c:numRef>
          </c:xVal>
          <c:yVal>
            <c:numRef>
              <c:f>Sheet1!$B$43:$B$44</c:f>
              <c:numCache>
                <c:formatCode>General</c:formatCode>
                <c:ptCount val="2"/>
                <c:pt idx="0">
                  <c:v>0.050812041489845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4118.0</c:v>
                </c:pt>
                <c:pt idx="5">
                  <c:v>5908.0</c:v>
                </c:pt>
                <c:pt idx="6">
                  <c:v>4729.0</c:v>
                </c:pt>
                <c:pt idx="7">
                  <c:v>6193.0</c:v>
                </c:pt>
                <c:pt idx="8">
                  <c:v>4358.0</c:v>
                </c:pt>
                <c:pt idx="9">
                  <c:v>6888.0</c:v>
                </c:pt>
                <c:pt idx="10">
                  <c:v>5551.0</c:v>
                </c:pt>
                <c:pt idx="11">
                  <c:v>5347.0</c:v>
                </c:pt>
                <c:pt idx="12">
                  <c:v>7492.0</c:v>
                </c:pt>
                <c:pt idx="13">
                  <c:v>5218.0</c:v>
                </c:pt>
                <c:pt idx="14">
                  <c:v>4889.5</c:v>
                </c:pt>
                <c:pt idx="15">
                  <c:v>5918.0</c:v>
                </c:pt>
                <c:pt idx="16">
                  <c:v>5133.0</c:v>
                </c:pt>
                <c:pt idx="17">
                  <c:v>5704.544071621552</c:v>
                </c:pt>
                <c:pt idx="18">
                  <c:v>5704.544071621552</c:v>
                </c:pt>
                <c:pt idx="19">
                  <c:v>5763.514678443338</c:v>
                </c:pt>
              </c:numCache>
            </c:numRef>
          </c:xVal>
          <c:yVal>
            <c:numRef>
              <c:f>Sheet1!$B$47:$B$66</c:f>
              <c:numCache>
                <c:formatCode>General</c:formatCode>
                <c:ptCount val="20"/>
                <c:pt idx="0">
                  <c:v>0.006164686728964231</c:v>
                </c:pt>
                <c:pt idx="1">
                  <c:v>0.006164686728964231</c:v>
                </c:pt>
                <c:pt idx="2">
                  <c:v>0.006164686728964231</c:v>
                </c:pt>
                <c:pt idx="3">
                  <c:v>0.006164686728964231</c:v>
                </c:pt>
                <c:pt idx="4">
                  <c:v>0.038064979720838575</c:v>
                </c:pt>
                <c:pt idx="5">
                  <c:v>0.05193130426077425</c:v>
                </c:pt>
                <c:pt idx="6">
                  <c:v>0.04279812178447025</c:v>
                </c:pt>
                <c:pt idx="7">
                  <c:v>0.054139071017132716</c:v>
                </c:pt>
                <c:pt idx="8">
                  <c:v>0.03992415172619308</c:v>
                </c:pt>
                <c:pt idx="9">
                  <c:v>0.05952292328263847</c:v>
                </c:pt>
                <c:pt idx="10">
                  <c:v>0.04916578590280942</c:v>
                </c:pt>
                <c:pt idx="11">
                  <c:v>0.0475854896982581</c:v>
                </c:pt>
                <c:pt idx="12">
                  <c:v>0.06420183949611397</c:v>
                </c:pt>
                <c:pt idx="13">
                  <c:v>0.04658618474538005</c:v>
                </c:pt>
                <c:pt idx="14">
                  <c:v>0.04404144306305107</c:v>
                </c:pt>
                <c:pt idx="15">
                  <c:v>0.05200876976099735</c:v>
                </c:pt>
                <c:pt idx="16">
                  <c:v>0.045927727993483665</c:v>
                </c:pt>
                <c:pt idx="17">
                  <c:v>0.05035522273425499</c:v>
                </c:pt>
                <c:pt idx="18">
                  <c:v>0.05035522273425499</c:v>
                </c:pt>
                <c:pt idx="19">
                  <c:v>0.050812041489845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99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474576494509062</c:v>
                </c:pt>
                <c:pt idx="1">
                  <c:v>0.7695002815092555</c:v>
                </c:pt>
                <c:pt idx="2">
                  <c:v>0.7458434588684558</c:v>
                </c:pt>
                <c:pt idx="3">
                  <c:v>0.7574364411113005</c:v>
                </c:pt>
                <c:pt idx="4">
                  <c:v>0.8042422110024096</c:v>
                </c:pt>
                <c:pt idx="5">
                  <c:v>0.7859381922941888</c:v>
                </c:pt>
                <c:pt idx="6">
                  <c:v>0.7259474492537336</c:v>
                </c:pt>
                <c:pt idx="7">
                  <c:v>0.7766327653157123</c:v>
                </c:pt>
                <c:pt idx="8">
                  <c:v>0.7768204383090289</c:v>
                </c:pt>
                <c:pt idx="9">
                  <c:v>0.8370976278650786</c:v>
                </c:pt>
                <c:pt idx="10">
                  <c:v>0.8236951170806778</c:v>
                </c:pt>
                <c:pt idx="11">
                  <c:v>0.8837237241385777</c:v>
                </c:pt>
                <c:pt idx="12">
                  <c:v>0.9005749300672273</c:v>
                </c:pt>
                <c:pt idx="13">
                  <c:v>0.9244711931682167</c:v>
                </c:pt>
                <c:pt idx="14">
                  <c:v>0.9238437476622825</c:v>
                </c:pt>
                <c:pt idx="15">
                  <c:v>0.930304073972843</c:v>
                </c:pt>
                <c:pt idx="16">
                  <c:v>0.9295247600066545</c:v>
                </c:pt>
                <c:pt idx="17">
                  <c:v>0.9200175759032335</c:v>
                </c:pt>
                <c:pt idx="18">
                  <c:v>0.9083182903901968</c:v>
                </c:pt>
                <c:pt idx="19">
                  <c:v>0.8884996050718572</c:v>
                </c:pt>
                <c:pt idx="20">
                  <c:v>0.9340172296496217</c:v>
                </c:pt>
                <c:pt idx="21">
                  <c:v>0.8056237858357925</c:v>
                </c:pt>
                <c:pt idx="22">
                  <c:v>0.7635942342916625</c:v>
                </c:pt>
                <c:pt idx="23">
                  <c:v>0.75329777486911</c:v>
                </c:pt>
                <c:pt idx="24">
                  <c:v>0.7670719566615916</c:v>
                </c:pt>
                <c:pt idx="25">
                  <c:v>0.7218062937916242</c:v>
                </c:pt>
                <c:pt idx="26">
                  <c:v>0.7330656345973624</c:v>
                </c:pt>
                <c:pt idx="27">
                  <c:v>0.786851415703255</c:v>
                </c:pt>
                <c:pt idx="28">
                  <c:v>0.7545660849262333</c:v>
                </c:pt>
                <c:pt idx="29">
                  <c:v>0.7053090299721642</c:v>
                </c:pt>
                <c:pt idx="30">
                  <c:v>0.7180207205948151</c:v>
                </c:pt>
                <c:pt idx="31">
                  <c:v>0.677506028502589</c:v>
                </c:pt>
                <c:pt idx="32">
                  <c:v>0.6463106717395373</c:v>
                </c:pt>
                <c:pt idx="33">
                  <c:v>0.5723945959292038</c:v>
                </c:pt>
                <c:pt idx="34">
                  <c:v>0.7299293925275101</c:v>
                </c:pt>
                <c:pt idx="35">
                  <c:v>0.8284187640035781</c:v>
                </c:pt>
                <c:pt idx="36">
                  <c:v>0.7883235445277497</c:v>
                </c:pt>
                <c:pt idx="37">
                  <c:v>0.8993409257684577</c:v>
                </c:pt>
                <c:pt idx="38">
                  <c:v>0.9520572944940956</c:v>
                </c:pt>
                <c:pt idx="39">
                  <c:v>1.0091950005337678</c:v>
                </c:pt>
                <c:pt idx="40">
                  <c:v>0.8639043351358021</c:v>
                </c:pt>
                <c:pt idx="41">
                  <c:v>0.7447423778543182</c:v>
                </c:pt>
                <c:pt idx="42">
                  <c:v>0.800224501192832</c:v>
                </c:pt>
                <c:pt idx="43">
                  <c:v>0.8644538812234908</c:v>
                </c:pt>
                <c:pt idx="44">
                  <c:v>0.9265113107143774</c:v>
                </c:pt>
                <c:pt idx="45">
                  <c:v>0.9756284894776756</c:v>
                </c:pt>
                <c:pt idx="46">
                  <c:v>0.9854927984559572</c:v>
                </c:pt>
                <c:pt idx="47">
                  <c:v>1.0314507353629456</c:v>
                </c:pt>
                <c:pt idx="48">
                  <c:v>0.9850051044178337</c:v>
                </c:pt>
                <c:pt idx="49">
                  <c:v>0.9201788271926393</c:v>
                </c:pt>
                <c:pt idx="50">
                  <c:v>0.9213342671731549</c:v>
                </c:pt>
                <c:pt idx="51">
                  <c:v>0.9525294544348109</c:v>
                </c:pt>
                <c:pt idx="52">
                  <c:v>0.9288868897031319</c:v>
                </c:pt>
                <c:pt idx="53">
                  <c:v>0.8747739361659042</c:v>
                </c:pt>
                <c:pt idx="54">
                  <c:v>0.8670755104550624</c:v>
                </c:pt>
                <c:pt idx="55">
                  <c:v>0.9161125199429444</c:v>
                </c:pt>
                <c:pt idx="56">
                  <c:v>0.8673304178753805</c:v>
                </c:pt>
                <c:pt idx="57">
                  <c:v>0.8456818256506685</c:v>
                </c:pt>
                <c:pt idx="58">
                  <c:v>0.8117744839353037</c:v>
                </c:pt>
                <c:pt idx="59">
                  <c:v>0.8358191287197109</c:v>
                </c:pt>
                <c:pt idx="60">
                  <c:v>0.8499280979855076</c:v>
                </c:pt>
                <c:pt idx="61">
                  <c:v>1.0764089232552458</c:v>
                </c:pt>
                <c:pt idx="62">
                  <c:v>1.0515692971199502</c:v>
                </c:pt>
                <c:pt idx="63">
                  <c:v>1.1087534046409788</c:v>
                </c:pt>
                <c:pt idx="64">
                  <c:v>1.0993553121963489</c:v>
                </c:pt>
                <c:pt idx="65">
                  <c:v>1.0870886293175979</c:v>
                </c:pt>
                <c:pt idx="66">
                  <c:v>1.0234470388305774</c:v>
                </c:pt>
                <c:pt idx="67">
                  <c:v>1.0406832467896538</c:v>
                </c:pt>
                <c:pt idx="68">
                  <c:v>1.0671504503014577</c:v>
                </c:pt>
                <c:pt idx="69">
                  <c:v>1.0891017690193363</c:v>
                </c:pt>
                <c:pt idx="70">
                  <c:v>1.010253011609088</c:v>
                </c:pt>
                <c:pt idx="71">
                  <c:v>0.9473724444502303</c:v>
                </c:pt>
                <c:pt idx="72">
                  <c:v>1.0257469855832242</c:v>
                </c:pt>
                <c:pt idx="73">
                  <c:v>1.023171858392279</c:v>
                </c:pt>
                <c:pt idx="74">
                  <c:v>1.0108944470344503</c:v>
                </c:pt>
                <c:pt idx="75">
                  <c:v>0.8659534316195536</c:v>
                </c:pt>
                <c:pt idx="76">
                  <c:v>0.8794483921852441</c:v>
                </c:pt>
                <c:pt idx="77">
                  <c:v>0.9744676904295723</c:v>
                </c:pt>
                <c:pt idx="78">
                  <c:v>0.9932515552264353</c:v>
                </c:pt>
                <c:pt idx="79">
                  <c:v>0.9905932575009113</c:v>
                </c:pt>
                <c:pt idx="80">
                  <c:v>1.0989160600090038</c:v>
                </c:pt>
                <c:pt idx="81">
                  <c:v>1.0355080853697214</c:v>
                </c:pt>
                <c:pt idx="82">
                  <c:v>0.9547271722902062</c:v>
                </c:pt>
                <c:pt idx="83">
                  <c:v>0.920568821741823</c:v>
                </c:pt>
                <c:pt idx="84">
                  <c:v>1.1131057475806592</c:v>
                </c:pt>
                <c:pt idx="85">
                  <c:v>0.9915699519832595</c:v>
                </c:pt>
                <c:pt idx="86">
                  <c:v>0.9528728969647839</c:v>
                </c:pt>
                <c:pt idx="87">
                  <c:v>0.9501349830762628</c:v>
                </c:pt>
                <c:pt idx="88">
                  <c:v>0.8892393548088614</c:v>
                </c:pt>
                <c:pt idx="89">
                  <c:v>0.8014470692553605</c:v>
                </c:pt>
                <c:pt idx="90">
                  <c:v>0.8562425912202661</c:v>
                </c:pt>
                <c:pt idx="91">
                  <c:v>0.871484719647609</c:v>
                </c:pt>
                <c:pt idx="92">
                  <c:v>0.8892949256874124</c:v>
                </c:pt>
                <c:pt idx="93">
                  <c:v>0.9114841210651436</c:v>
                </c:pt>
                <c:pt idx="94">
                  <c:v>0.8838675441220462</c:v>
                </c:pt>
                <c:pt idx="95">
                  <c:v>0.933091327257436</c:v>
                </c:pt>
                <c:pt idx="96">
                  <c:v>1.0237191933741447</c:v>
                </c:pt>
                <c:pt idx="97">
                  <c:v>1.0470519520873585</c:v>
                </c:pt>
                <c:pt idx="98">
                  <c:v>1.0520768366870268</c:v>
                </c:pt>
                <c:pt idx="99">
                  <c:v>1.014843839969286</c:v>
                </c:pt>
                <c:pt idx="100">
                  <c:v>1.010150717806208</c:v>
                </c:pt>
                <c:pt idx="101">
                  <c:v>0.9739002994469907</c:v>
                </c:pt>
                <c:pt idx="102">
                  <c:v>1.0079050481964476</c:v>
                </c:pt>
                <c:pt idx="103">
                  <c:v>1.052799653105316</c:v>
                </c:pt>
                <c:pt idx="104">
                  <c:v>0.9066983721514736</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343938740930104</c:v>
                </c:pt>
                <c:pt idx="1">
                  <c:v>0.842296309912046</c:v>
                </c:pt>
                <c:pt idx="2">
                  <c:v>0.872817397884488</c:v>
                </c:pt>
                <c:pt idx="3">
                  <c:v>0.8590593823214342</c:v>
                </c:pt>
                <c:pt idx="4">
                  <c:v>0.8713770464794733</c:v>
                </c:pt>
                <c:pt idx="5">
                  <c:v>0.8685514872186537</c:v>
                </c:pt>
                <c:pt idx="6">
                  <c:v>0.88474174971361</c:v>
                </c:pt>
                <c:pt idx="7">
                  <c:v>0.9616945293891408</c:v>
                </c:pt>
                <c:pt idx="8">
                  <c:v>1.043955565098381</c:v>
                </c:pt>
                <c:pt idx="9">
                  <c:v>0.9770833340518186</c:v>
                </c:pt>
                <c:pt idx="10">
                  <c:v>0.9765957533379263</c:v>
                </c:pt>
                <c:pt idx="11">
                  <c:v>0.9585900169870645</c:v>
                </c:pt>
                <c:pt idx="12">
                  <c:v>0.9781253891461723</c:v>
                </c:pt>
                <c:pt idx="13">
                  <c:v>0.920077641657787</c:v>
                </c:pt>
                <c:pt idx="14">
                  <c:v>0.9361738145045586</c:v>
                </c:pt>
                <c:pt idx="15">
                  <c:v>1.008624755133135</c:v>
                </c:pt>
                <c:pt idx="16">
                  <c:v>1.0380653765013248</c:v>
                </c:pt>
                <c:pt idx="17">
                  <c:v>0.9653335730143179</c:v>
                </c:pt>
                <c:pt idx="18">
                  <c:v>1.1207538979325504</c:v>
                </c:pt>
                <c:pt idx="19">
                  <c:v>0.920238671914723</c:v>
                </c:pt>
                <c:pt idx="20">
                  <c:v>0.9688138914173942</c:v>
                </c:pt>
                <c:pt idx="21">
                  <c:v>0.6536078840967581</c:v>
                </c:pt>
                <c:pt idx="22">
                  <c:v>0.9099809677183223</c:v>
                </c:pt>
                <c:pt idx="23">
                  <c:v>0.9489199475296656</c:v>
                </c:pt>
                <c:pt idx="24">
                  <c:v>1.0340825432022156</c:v>
                </c:pt>
                <c:pt idx="25">
                  <c:v>0.9724136269770621</c:v>
                </c:pt>
                <c:pt idx="26">
                  <c:v>1.0640231975349954</c:v>
                </c:pt>
                <c:pt idx="27">
                  <c:v>1.0933240759809244</c:v>
                </c:pt>
                <c:pt idx="28">
                  <c:v>1.1385700772311302</c:v>
                </c:pt>
                <c:pt idx="29">
                  <c:v>1.0760573381633929</c:v>
                </c:pt>
                <c:pt idx="30">
                  <c:v>1.1471913961983464</c:v>
                </c:pt>
                <c:pt idx="31">
                  <c:v>1.2153031195878456</c:v>
                </c:pt>
                <c:pt idx="32">
                  <c:v>1.0535361796117273</c:v>
                </c:pt>
                <c:pt idx="33">
                  <c:v>1.1206702169718863</c:v>
                </c:pt>
                <c:pt idx="34">
                  <c:v>1.0627271758475945</c:v>
                </c:pt>
                <c:pt idx="35">
                  <c:v>1.1044583153029217</c:v>
                </c:pt>
                <c:pt idx="36">
                  <c:v>1.0145189497603775</c:v>
                </c:pt>
                <c:pt idx="37">
                  <c:v>0.9893165010157378</c:v>
                </c:pt>
                <c:pt idx="38">
                  <c:v>1.0321247845892836</c:v>
                </c:pt>
                <c:pt idx="39">
                  <c:v>1.0126343414932282</c:v>
                </c:pt>
                <c:pt idx="40">
                  <c:v>1.0601894154657698</c:v>
                </c:pt>
                <c:pt idx="41">
                  <c:v>1.0376099843924282</c:v>
                </c:pt>
                <c:pt idx="42">
                  <c:v>0.9742909638992078</c:v>
                </c:pt>
                <c:pt idx="43">
                  <c:v>1.145658929304015</c:v>
                </c:pt>
                <c:pt idx="44">
                  <c:v>1.190706851774733</c:v>
                </c:pt>
                <c:pt idx="45">
                  <c:v>1.1640966394178185</c:v>
                </c:pt>
                <c:pt idx="46">
                  <c:v>1.1484360375553309</c:v>
                </c:pt>
                <c:pt idx="47">
                  <c:v>1.112160554854569</c:v>
                </c:pt>
                <c:pt idx="48">
                  <c:v>1.2110120824061192</c:v>
                </c:pt>
                <c:pt idx="49">
                  <c:v>1.2425099857824946</c:v>
                </c:pt>
                <c:pt idx="50">
                  <c:v>1.1312959678798737</c:v>
                </c:pt>
                <c:pt idx="51">
                  <c:v>1.1223466565173486</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280579239473973</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280579239473973</c:v>
                </c:pt>
                <c:pt idx="1">
                  <c:v>0.6280579239473973</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272201440257888</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272201440257888</c:v>
                </c:pt>
                <c:pt idx="1">
                  <c:v>0.8272201440257888</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908846488781611</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908846488781611</c:v>
                </c:pt>
                <c:pt idx="1">
                  <c:v>0.7908846488781611</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343938740930104</c:v>
                </c:pt>
                <c:pt idx="1">
                  <c:v>0.842296309912046</c:v>
                </c:pt>
                <c:pt idx="2">
                  <c:v>0.872817397884488</c:v>
                </c:pt>
                <c:pt idx="3">
                  <c:v>0.8590593823214342</c:v>
                </c:pt>
                <c:pt idx="4">
                  <c:v>0.8713770464794733</c:v>
                </c:pt>
                <c:pt idx="5">
                  <c:v>0.8685514872186537</c:v>
                </c:pt>
                <c:pt idx="6">
                  <c:v>0.88474174971361</c:v>
                </c:pt>
                <c:pt idx="7">
                  <c:v>0.9616945293891408</c:v>
                </c:pt>
                <c:pt idx="8">
                  <c:v>1.043955565098381</c:v>
                </c:pt>
                <c:pt idx="9">
                  <c:v>0.9770833340518186</c:v>
                </c:pt>
                <c:pt idx="10">
                  <c:v>0.9765957533379263</c:v>
                </c:pt>
                <c:pt idx="11">
                  <c:v>0.9585900169870645</c:v>
                </c:pt>
                <c:pt idx="12">
                  <c:v>0.9781253891461723</c:v>
                </c:pt>
                <c:pt idx="13">
                  <c:v>0.920077641657787</c:v>
                </c:pt>
                <c:pt idx="14">
                  <c:v>0.9361738145045586</c:v>
                </c:pt>
                <c:pt idx="15">
                  <c:v>1.008624755133135</c:v>
                </c:pt>
                <c:pt idx="16">
                  <c:v>1.0380653765013248</c:v>
                </c:pt>
                <c:pt idx="17">
                  <c:v>0.9653335730143179</c:v>
                </c:pt>
                <c:pt idx="18">
                  <c:v>1.1207538979325504</c:v>
                </c:pt>
                <c:pt idx="19">
                  <c:v>0.920238671914723</c:v>
                </c:pt>
                <c:pt idx="20">
                  <c:v>0.9688138914173942</c:v>
                </c:pt>
                <c:pt idx="21">
                  <c:v>0.6536078840967581</c:v>
                </c:pt>
                <c:pt idx="22">
                  <c:v>0.9099809677183223</c:v>
                </c:pt>
                <c:pt idx="23">
                  <c:v>0.9489199475296656</c:v>
                </c:pt>
                <c:pt idx="24">
                  <c:v>1.0340825432022156</c:v>
                </c:pt>
                <c:pt idx="25">
                  <c:v>0.9724136269770621</c:v>
                </c:pt>
                <c:pt idx="26">
                  <c:v>1.0640231975349954</c:v>
                </c:pt>
                <c:pt idx="27">
                  <c:v>1.0933240759809244</c:v>
                </c:pt>
                <c:pt idx="28">
                  <c:v>1.1385700772311302</c:v>
                </c:pt>
                <c:pt idx="29">
                  <c:v>1.0760573381633929</c:v>
                </c:pt>
                <c:pt idx="30">
                  <c:v>1.1471913961983464</c:v>
                </c:pt>
                <c:pt idx="31">
                  <c:v>1.2153031195878456</c:v>
                </c:pt>
                <c:pt idx="32">
                  <c:v>1.0535361796117273</c:v>
                </c:pt>
                <c:pt idx="33">
                  <c:v>1.1206702169718863</c:v>
                </c:pt>
                <c:pt idx="34">
                  <c:v>1.0627271758475945</c:v>
                </c:pt>
                <c:pt idx="35">
                  <c:v>1.1044583153029217</c:v>
                </c:pt>
                <c:pt idx="36">
                  <c:v>1.0145189497603775</c:v>
                </c:pt>
                <c:pt idx="37">
                  <c:v>0.9893165010157378</c:v>
                </c:pt>
                <c:pt idx="38">
                  <c:v>1.0321247845892836</c:v>
                </c:pt>
                <c:pt idx="39">
                  <c:v>1.0126343414932282</c:v>
                </c:pt>
                <c:pt idx="40">
                  <c:v>1.0601894154657698</c:v>
                </c:pt>
                <c:pt idx="41">
                  <c:v>1.0376099843924282</c:v>
                </c:pt>
                <c:pt idx="42">
                  <c:v>0.9742909638992078</c:v>
                </c:pt>
                <c:pt idx="43">
                  <c:v>1.145658929304015</c:v>
                </c:pt>
                <c:pt idx="44">
                  <c:v>1.190706851774733</c:v>
                </c:pt>
                <c:pt idx="45">
                  <c:v>1.1640966394178185</c:v>
                </c:pt>
                <c:pt idx="46">
                  <c:v>1.1484360375553309</c:v>
                </c:pt>
                <c:pt idx="47">
                  <c:v>1.112160554854569</c:v>
                </c:pt>
                <c:pt idx="48">
                  <c:v>1.2110120824061192</c:v>
                </c:pt>
                <c:pt idx="49">
                  <c:v>1.2425099857824946</c:v>
                </c:pt>
                <c:pt idx="50">
                  <c:v>1.1312959678798737</c:v>
                </c:pt>
                <c:pt idx="51">
                  <c:v>1.1223466565173486</c:v>
                </c:pt>
                <c:pt idx="52">
                  <c:v>0.8272201440257888</c:v>
                </c:pt>
                <c:pt idx="53">
                  <c:v>0.6280579239473973</c:v>
                </c:pt>
                <c:pt idx="54">
                  <c:v>0.7908846488781611</c:v>
                </c:pt>
              </c:numCache>
            </c:numRef>
          </c:xVal>
          <c:yVal>
            <c:numRef>
              <c:f>Sheet1!$B$187:$B$241</c:f>
              <c:numCache>
                <c:formatCode>General</c:formatCode>
                <c:ptCount val="55"/>
                <c:pt idx="0">
                  <c:v>0.3356602068458918</c:v>
                </c:pt>
                <c:pt idx="1">
                  <c:v>0.33505306675220053</c:v>
                </c:pt>
                <c:pt idx="2">
                  <c:v>0.33270814720644337</c:v>
                </c:pt>
                <c:pt idx="3">
                  <c:v>0.3337651684906704</c:v>
                </c:pt>
                <c:pt idx="4">
                  <c:v>0.33281880866665825</c:v>
                </c:pt>
                <c:pt idx="5">
                  <c:v>0.33303589493646535</c:v>
                </c:pt>
                <c:pt idx="6">
                  <c:v>0.33179200536707515</c:v>
                </c:pt>
                <c:pt idx="7">
                  <c:v>0.32587976274569724</c:v>
                </c:pt>
                <c:pt idx="8">
                  <c:v>0.31955968953392344</c:v>
                </c:pt>
                <c:pt idx="9">
                  <c:v>0.32469744877078477</c:v>
                </c:pt>
                <c:pt idx="10">
                  <c:v>0.3247349093471303</c:v>
                </c:pt>
                <c:pt idx="11">
                  <c:v>0.3261182808423735</c:v>
                </c:pt>
                <c:pt idx="12">
                  <c:v>0.3246173882119766</c:v>
                </c:pt>
                <c:pt idx="13">
                  <c:v>0.3290771668999314</c:v>
                </c:pt>
                <c:pt idx="14">
                  <c:v>0.32784050618998684</c:v>
                </c:pt>
                <c:pt idx="15">
                  <c:v>0.32227413755523054</c:v>
                </c:pt>
                <c:pt idx="16">
                  <c:v>0.32001222970489973</c:v>
                </c:pt>
                <c:pt idx="17">
                  <c:v>0.32560017688911685</c:v>
                </c:pt>
                <c:pt idx="18">
                  <c:v>0.3136593129842077</c:v>
                </c:pt>
                <c:pt idx="19">
                  <c:v>0.3290647950278249</c:v>
                </c:pt>
                <c:pt idx="20">
                  <c:v>0.325332785809998</c:v>
                </c:pt>
                <c:pt idx="21">
                  <c:v>0.349549901797921</c:v>
                </c:pt>
                <c:pt idx="22">
                  <c:v>0.3298528891837886</c:v>
                </c:pt>
                <c:pt idx="23">
                  <c:v>0.32686122732252376</c:v>
                </c:pt>
                <c:pt idx="24">
                  <c:v>0.32031822874592364</c:v>
                </c:pt>
                <c:pt idx="25">
                  <c:v>0.3250562199719439</c:v>
                </c:pt>
                <c:pt idx="26">
                  <c:v>0.31801790361920845</c:v>
                </c:pt>
                <c:pt idx="27">
                  <c:v>0.3157667321459716</c:v>
                </c:pt>
                <c:pt idx="28">
                  <c:v>0.3122905050601365</c:v>
                </c:pt>
                <c:pt idx="29">
                  <c:v>0.3170933267626626</c:v>
                </c:pt>
                <c:pt idx="30">
                  <c:v>0.3116281335426242</c:v>
                </c:pt>
                <c:pt idx="31">
                  <c:v>0.3063951447443398</c:v>
                </c:pt>
                <c:pt idx="32">
                  <c:v>0.3188236158312757</c:v>
                </c:pt>
                <c:pt idx="33">
                  <c:v>0.31366574214952603</c:v>
                </c:pt>
                <c:pt idx="34">
                  <c:v>0.3181174763011933</c:v>
                </c:pt>
                <c:pt idx="35">
                  <c:v>0.3149112942455644</c:v>
                </c:pt>
                <c:pt idx="36">
                  <c:v>0.32182128960300826</c:v>
                </c:pt>
                <c:pt idx="37">
                  <c:v>0.323757580822889</c:v>
                </c:pt>
                <c:pt idx="38">
                  <c:v>0.3204686423367329</c:v>
                </c:pt>
                <c:pt idx="39">
                  <c:v>0.32196608309024316</c:v>
                </c:pt>
                <c:pt idx="40">
                  <c:v>0.31831245113063455</c:v>
                </c:pt>
                <c:pt idx="41">
                  <c:v>0.3200472172472213</c:v>
                </c:pt>
                <c:pt idx="42">
                  <c:v>0.3249119851384188</c:v>
                </c:pt>
                <c:pt idx="43">
                  <c:v>0.3117458721886708</c:v>
                </c:pt>
                <c:pt idx="44">
                  <c:v>0.3082848633939411</c:v>
                </c:pt>
                <c:pt idx="45">
                  <c:v>0.310329312370623</c:v>
                </c:pt>
                <c:pt idx="46">
                  <c:v>0.311532508385091</c:v>
                </c:pt>
                <c:pt idx="47">
                  <c:v>0.31431953512848876</c:v>
                </c:pt>
                <c:pt idx="48">
                  <c:v>0.30672482293169956</c:v>
                </c:pt>
                <c:pt idx="49">
                  <c:v>0.30430485515911154</c:v>
                </c:pt>
                <c:pt idx="50">
                  <c:v>0.31284937115334843</c:v>
                </c:pt>
                <c:pt idx="51">
                  <c:v>0.31353694215848427</c:v>
                </c:pt>
                <c:pt idx="52">
                  <c:v>0.33621136085015935</c:v>
                </c:pt>
                <c:pt idx="53">
                  <c:v>0.3515128921409143</c:v>
                </c:pt>
                <c:pt idx="54">
                  <c:v>0.339002998319091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6.2679</c:v>
                </c:pt>
                <c:pt idx="1">
                  <c:v>1026.0122</c:v>
                </c:pt>
                <c:pt idx="2">
                  <c:v>1074.7558</c:v>
                </c:pt>
                <c:pt idx="3">
                  <c:v>1110.9699</c:v>
                </c:pt>
                <c:pt idx="4">
                  <c:v>1129.8605</c:v>
                </c:pt>
                <c:pt idx="5">
                  <c:v>1107.4167</c:v>
                </c:pt>
                <c:pt idx="6">
                  <c:v>1025.993</c:v>
                </c:pt>
                <c:pt idx="7">
                  <c:v>1066.0139</c:v>
                </c:pt>
                <c:pt idx="8">
                  <c:v>1084.4672</c:v>
                </c:pt>
                <c:pt idx="9">
                  <c:v>1045.4303</c:v>
                </c:pt>
                <c:pt idx="10">
                  <c:v>1009.3443</c:v>
                </c:pt>
                <c:pt idx="11">
                  <c:v>1074.6981</c:v>
                </c:pt>
                <c:pt idx="12">
                  <c:v>1080.0225</c:v>
                </c:pt>
                <c:pt idx="13">
                  <c:v>1086.3314</c:v>
                </c:pt>
                <c:pt idx="14">
                  <c:v>1100.3586</c:v>
                </c:pt>
                <c:pt idx="15">
                  <c:v>1130.6992</c:v>
                </c:pt>
                <c:pt idx="16">
                  <c:v>1145.9712</c:v>
                </c:pt>
                <c:pt idx="17">
                  <c:v>1159.1364</c:v>
                </c:pt>
                <c:pt idx="18">
                  <c:v>1183.8333</c:v>
                </c:pt>
                <c:pt idx="19">
                  <c:v>1158.7468</c:v>
                </c:pt>
                <c:pt idx="20">
                  <c:v>1203.7629</c:v>
                </c:pt>
                <c:pt idx="21">
                  <c:v>1225.9385</c:v>
                </c:pt>
                <c:pt idx="22">
                  <c:v>1203.6316</c:v>
                </c:pt>
                <c:pt idx="23">
                  <c:v>1151.039</c:v>
                </c:pt>
                <c:pt idx="24">
                  <c:v>1167.3232</c:v>
                </c:pt>
                <c:pt idx="25">
                  <c:v>1149.3523</c:v>
                </c:pt>
                <c:pt idx="26">
                  <c:v>1134.7738</c:v>
                </c:pt>
                <c:pt idx="27">
                  <c:v>1180.9775</c:v>
                </c:pt>
                <c:pt idx="28">
                  <c:v>1161.4045</c:v>
                </c:pt>
                <c:pt idx="29">
                  <c:v>1086.2269</c:v>
                </c:pt>
                <c:pt idx="30">
                  <c:v>1126.6988</c:v>
                </c:pt>
                <c:pt idx="31">
                  <c:v>1075.9625</c:v>
                </c:pt>
                <c:pt idx="32">
                  <c:v>1036.2299</c:v>
                </c:pt>
                <c:pt idx="33">
                  <c:v>884.8952</c:v>
                </c:pt>
                <c:pt idx="34">
                  <c:v>969.2147</c:v>
                </c:pt>
                <c:pt idx="35">
                  <c:v>1073.3416</c:v>
                </c:pt>
                <c:pt idx="36">
                  <c:v>1074.0172</c:v>
                </c:pt>
                <c:pt idx="37">
                  <c:v>1126.9151</c:v>
                </c:pt>
                <c:pt idx="38">
                  <c:v>1182.9111</c:v>
                </c:pt>
                <c:pt idx="39">
                  <c:v>1258.2614</c:v>
                </c:pt>
                <c:pt idx="40">
                  <c:v>1205.3011</c:v>
                </c:pt>
                <c:pt idx="41">
                  <c:v>1167.6071</c:v>
                </c:pt>
                <c:pt idx="42">
                  <c:v>1269.8729</c:v>
                </c:pt>
                <c:pt idx="43">
                  <c:v>1360.9821</c:v>
                </c:pt>
                <c:pt idx="44">
                  <c:v>1286.3154</c:v>
                </c:pt>
                <c:pt idx="45">
                  <c:v>1268.8389</c:v>
                </c:pt>
                <c:pt idx="46">
                  <c:v>1221.058</c:v>
                </c:pt>
                <c:pt idx="47">
                  <c:v>1262.7843</c:v>
                </c:pt>
                <c:pt idx="48">
                  <c:v>1243.7952</c:v>
                </c:pt>
                <c:pt idx="49">
                  <c:v>1192.0164</c:v>
                </c:pt>
                <c:pt idx="50">
                  <c:v>1195.901</c:v>
                </c:pt>
                <c:pt idx="51">
                  <c:v>1247.2053</c:v>
                </c:pt>
                <c:pt idx="52">
                  <c:v>1276.6039</c:v>
                </c:pt>
                <c:pt idx="53">
                  <c:v>1349.9542</c:v>
                </c:pt>
                <c:pt idx="54">
                  <c:v>1366.3884</c:v>
                </c:pt>
                <c:pt idx="55">
                  <c:v>1394.9245</c:v>
                </c:pt>
                <c:pt idx="56">
                  <c:v>1377.4554</c:v>
                </c:pt>
                <c:pt idx="57">
                  <c:v>1309.8403</c:v>
                </c:pt>
                <c:pt idx="58">
                  <c:v>1275.2857</c:v>
                </c:pt>
                <c:pt idx="59">
                  <c:v>1306.2346</c:v>
                </c:pt>
                <c:pt idx="60">
                  <c:v>1347.7898</c:v>
                </c:pt>
                <c:pt idx="61">
                  <c:v>1346.188</c:v>
                </c:pt>
                <c:pt idx="62">
                  <c:v>1244.0946</c:v>
                </c:pt>
                <c:pt idx="63">
                  <c:v>1325.2303</c:v>
                </c:pt>
                <c:pt idx="64">
                  <c:v>1277.4556</c:v>
                </c:pt>
                <c:pt idx="65">
                  <c:v>1289.7413</c:v>
                </c:pt>
                <c:pt idx="66">
                  <c:v>1221.0414</c:v>
                </c:pt>
                <c:pt idx="67">
                  <c:v>1245.1032</c:v>
                </c:pt>
                <c:pt idx="68">
                  <c:v>1262.1389</c:v>
                </c:pt>
                <c:pt idx="69">
                  <c:v>1247.7436</c:v>
                </c:pt>
                <c:pt idx="70">
                  <c:v>1158.6711</c:v>
                </c:pt>
                <c:pt idx="71">
                  <c:v>1309.9333</c:v>
                </c:pt>
                <c:pt idx="72">
                  <c:v>1565.2899</c:v>
                </c:pt>
                <c:pt idx="73">
                  <c:v>1522.1077</c:v>
                </c:pt>
                <c:pt idx="74">
                  <c:v>1477.3077</c:v>
                </c:pt>
                <c:pt idx="75">
                  <c:v>1309.5263</c:v>
                </c:pt>
                <c:pt idx="76">
                  <c:v>1316.029</c:v>
                </c:pt>
                <c:pt idx="77">
                  <c:v>1399.4655</c:v>
                </c:pt>
                <c:pt idx="78">
                  <c:v>1455.0294</c:v>
                </c:pt>
                <c:pt idx="79">
                  <c:v>1406.2239</c:v>
                </c:pt>
                <c:pt idx="80">
                  <c:v>1422.8608</c:v>
                </c:pt>
                <c:pt idx="81">
                  <c:v>1394.8559</c:v>
                </c:pt>
                <c:pt idx="82">
                  <c:v>1344.2824</c:v>
                </c:pt>
                <c:pt idx="83">
                  <c:v>1278.3571</c:v>
                </c:pt>
                <c:pt idx="84">
                  <c:v>1421.3333</c:v>
                </c:pt>
                <c:pt idx="85">
                  <c:v>1299.8667</c:v>
                </c:pt>
                <c:pt idx="86">
                  <c:v>1257.2569</c:v>
                </c:pt>
                <c:pt idx="87">
                  <c:v>1240.152</c:v>
                </c:pt>
                <c:pt idx="88">
                  <c:v>1368.5102</c:v>
                </c:pt>
                <c:pt idx="89">
                  <c:v>1306.5122</c:v>
                </c:pt>
                <c:pt idx="90">
                  <c:v>1380.8608</c:v>
                </c:pt>
                <c:pt idx="91">
                  <c:v>1478.4557</c:v>
                </c:pt>
                <c:pt idx="92">
                  <c:v>1419.2143</c:v>
                </c:pt>
                <c:pt idx="93">
                  <c:v>1519.0345</c:v>
                </c:pt>
                <c:pt idx="94">
                  <c:v>1477.3846</c:v>
                </c:pt>
                <c:pt idx="95">
                  <c:v>1467.8469</c:v>
                </c:pt>
                <c:pt idx="96">
                  <c:v>1421.4341</c:v>
                </c:pt>
                <c:pt idx="97">
                  <c:v>1344.5058</c:v>
                </c:pt>
                <c:pt idx="98">
                  <c:v>1314.5941</c:v>
                </c:pt>
                <c:pt idx="99">
                  <c:v>1280.444</c:v>
                </c:pt>
                <c:pt idx="100">
                  <c:v>1311.0033</c:v>
                </c:pt>
                <c:pt idx="101">
                  <c:v>1323.7957</c:v>
                </c:pt>
                <c:pt idx="102">
                  <c:v>1361.1799</c:v>
                </c:pt>
                <c:pt idx="103">
                  <c:v>1383.9262</c:v>
                </c:pt>
                <c:pt idx="104">
                  <c:v>1412.3364</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58.8434083903571</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58.8434083903571</c:v>
                </c:pt>
                <c:pt idx="1">
                  <c:v>1258.8434083903571</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75.2361818580923</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75.2361818580923</c:v>
                </c:pt>
                <c:pt idx="1">
                  <c:v>1375.2361818580923</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4.001285732255</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4.001285732255</c:v>
                </c:pt>
                <c:pt idx="1">
                  <c:v>1354.001285732255</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pt idx="52">
                  <c:v>1375.2361818580923</c:v>
                </c:pt>
                <c:pt idx="53">
                  <c:v>1258.8434083903571</c:v>
                </c:pt>
                <c:pt idx="54">
                  <c:v>1354.001285732255</c:v>
                </c:pt>
              </c:numCache>
            </c:numRef>
          </c:xVal>
          <c:yVal>
            <c:numRef>
              <c:f>Sheet1!$B$187:$B$241</c:f>
              <c:numCache>
                <c:formatCode>General</c:formatCode>
                <c:ptCount val="55"/>
                <c:pt idx="0">
                  <c:v>0.3312088931829556</c:v>
                </c:pt>
                <c:pt idx="1">
                  <c:v>0.32164187125510135</c:v>
                </c:pt>
                <c:pt idx="2">
                  <c:v>0.3156047268576866</c:v>
                </c:pt>
                <c:pt idx="3">
                  <c:v>0.3137672196243322</c:v>
                </c:pt>
                <c:pt idx="4">
                  <c:v>0.3129997291950386</c:v>
                </c:pt>
                <c:pt idx="5">
                  <c:v>0.3161617818758513</c:v>
                </c:pt>
                <c:pt idx="6">
                  <c:v>0.33436855320775377</c:v>
                </c:pt>
                <c:pt idx="7">
                  <c:v>0.3344995051119366</c:v>
                </c:pt>
                <c:pt idx="8">
                  <c:v>0.3176422443581063</c:v>
                </c:pt>
                <c:pt idx="9">
                  <c:v>0.3307754937827754</c:v>
                </c:pt>
                <c:pt idx="10">
                  <c:v>0.340303759941778</c:v>
                </c:pt>
                <c:pt idx="11">
                  <c:v>0.3435142836265785</c:v>
                </c:pt>
                <c:pt idx="12">
                  <c:v>0.3361944389690373</c:v>
                </c:pt>
                <c:pt idx="13">
                  <c:v>0.3471394730037527</c:v>
                </c:pt>
                <c:pt idx="14">
                  <c:v>0.34419003804669757</c:v>
                </c:pt>
                <c:pt idx="15">
                  <c:v>0.33424579154915934</c:v>
                </c:pt>
                <c:pt idx="16">
                  <c:v>0.3286420071125399</c:v>
                </c:pt>
                <c:pt idx="17">
                  <c:v>0.3405116449393528</c:v>
                </c:pt>
                <c:pt idx="18">
                  <c:v>0.32930865103475726</c:v>
                </c:pt>
                <c:pt idx="19">
                  <c:v>0.3348668435424834</c:v>
                </c:pt>
                <c:pt idx="20">
                  <c:v>0.3115182938746239</c:v>
                </c:pt>
                <c:pt idx="21">
                  <c:v>0.3748141287964436</c:v>
                </c:pt>
                <c:pt idx="22">
                  <c:v>0.320893916467773</c:v>
                </c:pt>
                <c:pt idx="23">
                  <c:v>0.30301021943014755</c:v>
                </c:pt>
                <c:pt idx="24">
                  <c:v>0.29766887780682016</c:v>
                </c:pt>
                <c:pt idx="25">
                  <c:v>0.3413428562681118</c:v>
                </c:pt>
                <c:pt idx="26">
                  <c:v>0.32023974853763165</c:v>
                </c:pt>
                <c:pt idx="27">
                  <c:v>0.31216118214069644</c:v>
                </c:pt>
                <c:pt idx="28">
                  <c:v>0.30394119925613006</c:v>
                </c:pt>
                <c:pt idx="29">
                  <c:v>0.3104975237157864</c:v>
                </c:pt>
                <c:pt idx="30">
                  <c:v>0.3054087387666139</c:v>
                </c:pt>
                <c:pt idx="31">
                  <c:v>0.30368393614871575</c:v>
                </c:pt>
                <c:pt idx="32">
                  <c:v>0.3178763959859951</c:v>
                </c:pt>
                <c:pt idx="33">
                  <c:v>0.2984864168154958</c:v>
                </c:pt>
                <c:pt idx="34">
                  <c:v>0.30829380864758443</c:v>
                </c:pt>
                <c:pt idx="35">
                  <c:v>0.30118840907196576</c:v>
                </c:pt>
                <c:pt idx="36">
                  <c:v>0.3067709619730712</c:v>
                </c:pt>
                <c:pt idx="37">
                  <c:v>0.31088588333846134</c:v>
                </c:pt>
                <c:pt idx="38">
                  <c:v>0.31386249203168215</c:v>
                </c:pt>
                <c:pt idx="39">
                  <c:v>0.3116481546224924</c:v>
                </c:pt>
                <c:pt idx="40">
                  <c:v>0.3104281498378251</c:v>
                </c:pt>
                <c:pt idx="41">
                  <c:v>0.3087251177603673</c:v>
                </c:pt>
                <c:pt idx="42">
                  <c:v>0.3030767142330144</c:v>
                </c:pt>
                <c:pt idx="43">
                  <c:v>0.3008046507108574</c:v>
                </c:pt>
                <c:pt idx="44">
                  <c:v>0.3129361923460359</c:v>
                </c:pt>
                <c:pt idx="45">
                  <c:v>0.31752863263679837</c:v>
                </c:pt>
                <c:pt idx="46">
                  <c:v>0.31940379133622837</c:v>
                </c:pt>
                <c:pt idx="47">
                  <c:v>0.3291130448323342</c:v>
                </c:pt>
                <c:pt idx="48">
                  <c:v>0.33152428994364735</c:v>
                </c:pt>
                <c:pt idx="49">
                  <c:v>0.32408157845581875</c:v>
                </c:pt>
                <c:pt idx="50">
                  <c:v>0.33197259743130303</c:v>
                </c:pt>
                <c:pt idx="51">
                  <c:v>0.34518870900355414</c:v>
                </c:pt>
                <c:pt idx="52">
                  <c:v>0.33621136085015935</c:v>
                </c:pt>
                <c:pt idx="53">
                  <c:v>0.3515128921409143</c:v>
                </c:pt>
                <c:pt idx="54">
                  <c:v>0.339002998319091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02.0"/>
          <c:min val="70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2938126870438</c:v>
                </c:pt>
                <c:pt idx="1">
                  <c:v>1.1807784897401237</c:v>
                </c:pt>
                <c:pt idx="2">
                  <c:v>1.0371087522918074</c:v>
                </c:pt>
                <c:pt idx="3">
                  <c:v>1.1591386000064272</c:v>
                </c:pt>
                <c:pt idx="4">
                  <c:v>0.906230680064923</c:v>
                </c:pt>
                <c:pt idx="5">
                  <c:v>1.1322314776256788</c:v>
                </c:pt>
                <c:pt idx="6">
                  <c:v>1.0238522273777757</c:v>
                </c:pt>
                <c:pt idx="7">
                  <c:v>1.1340573404255319</c:v>
                </c:pt>
                <c:pt idx="8">
                  <c:v>1.133638782176924</c:v>
                </c:pt>
                <c:pt idx="9">
                  <c:v>1.105413578069501</c:v>
                </c:pt>
                <c:pt idx="10">
                  <c:v>1.0696147372941005</c:v>
                </c:pt>
                <c:pt idx="11">
                  <c:v>1.2394089852754908</c:v>
                </c:pt>
                <c:pt idx="12">
                  <c:v>1.2812239942156314</c:v>
                </c:pt>
                <c:pt idx="13">
                  <c:v>1.2472883485876702</c:v>
                </c:pt>
                <c:pt idx="14">
                  <c:v>1.241621195826398</c:v>
                </c:pt>
                <c:pt idx="15">
                  <c:v>1.2549380688124308</c:v>
                </c:pt>
                <c:pt idx="16">
                  <c:v>1.2696067776104867</c:v>
                </c:pt>
                <c:pt idx="17">
                  <c:v>1.2562545498645648</c:v>
                </c:pt>
                <c:pt idx="18">
                  <c:v>1.3482487267847052</c:v>
                </c:pt>
                <c:pt idx="19">
                  <c:v>1.234560019706136</c:v>
                </c:pt>
                <c:pt idx="20">
                  <c:v>1.3993414360001268</c:v>
                </c:pt>
                <c:pt idx="21">
                  <c:v>1.3517475355832862</c:v>
                </c:pt>
                <c:pt idx="22">
                  <c:v>1.49758639357294</c:v>
                </c:pt>
                <c:pt idx="23">
                  <c:v>1.3817072954074132</c:v>
                </c:pt>
                <c:pt idx="24">
                  <c:v>1.2180515131743224</c:v>
                </c:pt>
                <c:pt idx="25">
                  <c:v>1.143823856156041</c:v>
                </c:pt>
                <c:pt idx="26">
                  <c:v>1.2192614229693826</c:v>
                </c:pt>
                <c:pt idx="27">
                  <c:v>1.1867927846447592</c:v>
                </c:pt>
                <c:pt idx="28">
                  <c:v>1.1461007315417957</c:v>
                </c:pt>
                <c:pt idx="29">
                  <c:v>1.031717841751396</c:v>
                </c:pt>
                <c:pt idx="30">
                  <c:v>1.0886854951707707</c:v>
                </c:pt>
                <c:pt idx="31">
                  <c:v>1.1103844169246646</c:v>
                </c:pt>
                <c:pt idx="32">
                  <c:v>1.099364886309939</c:v>
                </c:pt>
                <c:pt idx="33">
                  <c:v>0.8686798145065506</c:v>
                </c:pt>
                <c:pt idx="34">
                  <c:v>0.8288609415296734</c:v>
                </c:pt>
                <c:pt idx="35">
                  <c:v>1.2249961196073955</c:v>
                </c:pt>
                <c:pt idx="36">
                  <c:v>1.2247564239099187</c:v>
                </c:pt>
                <c:pt idx="37">
                  <c:v>1.0421780035414525</c:v>
                </c:pt>
                <c:pt idx="38">
                  <c:v>1.194859696969697</c:v>
                </c:pt>
                <c:pt idx="39">
                  <c:v>1.2057262205537638</c:v>
                </c:pt>
                <c:pt idx="40">
                  <c:v>1.1250159142983764</c:v>
                </c:pt>
                <c:pt idx="41">
                  <c:v>1.110646801340492</c:v>
                </c:pt>
                <c:pt idx="42">
                  <c:v>1.221959266192942</c:v>
                </c:pt>
                <c:pt idx="43">
                  <c:v>1.6178322165864811</c:v>
                </c:pt>
                <c:pt idx="44">
                  <c:v>1.4214215150008287</c:v>
                </c:pt>
                <c:pt idx="45">
                  <c:v>1.4363271406453741</c:v>
                </c:pt>
                <c:pt idx="46">
                  <c:v>1.3232644304018188</c:v>
                </c:pt>
                <c:pt idx="47">
                  <c:v>1.3186052099336858</c:v>
                </c:pt>
                <c:pt idx="48">
                  <c:v>1.3186590337238966</c:v>
                </c:pt>
                <c:pt idx="49">
                  <c:v>1.0672483448253447</c:v>
                </c:pt>
                <c:pt idx="50">
                  <c:v>0.85036811686106</c:v>
                </c:pt>
                <c:pt idx="51">
                  <c:v>0.9557128735632184</c:v>
                </c:pt>
                <c:pt idx="52">
                  <c:v>0.827687105924305</c:v>
                </c:pt>
                <c:pt idx="53">
                  <c:v>0.891647424042272</c:v>
                </c:pt>
                <c:pt idx="54">
                  <c:v>1.0559960084495856</c:v>
                </c:pt>
                <c:pt idx="55">
                  <c:v>0.9570964307976682</c:v>
                </c:pt>
                <c:pt idx="56">
                  <c:v>1.061668153178664</c:v>
                </c:pt>
                <c:pt idx="57">
                  <c:v>1.045941265074071</c:v>
                </c:pt>
                <c:pt idx="58">
                  <c:v>0.9762330180207455</c:v>
                </c:pt>
                <c:pt idx="59">
                  <c:v>0.9365455905372254</c:v>
                </c:pt>
                <c:pt idx="60">
                  <c:v>0.9575346032591804</c:v>
                </c:pt>
                <c:pt idx="61">
                  <c:v>1.056201863614267</c:v>
                </c:pt>
                <c:pt idx="62">
                  <c:v>1.0510514488580274</c:v>
                </c:pt>
                <c:pt idx="63">
                  <c:v>1.2578646062913055</c:v>
                </c:pt>
                <c:pt idx="64">
                  <c:v>1.1113678921746888</c:v>
                </c:pt>
                <c:pt idx="65">
                  <c:v>1.1159159631525049</c:v>
                </c:pt>
                <c:pt idx="66">
                  <c:v>1.130070708005553</c:v>
                </c:pt>
                <c:pt idx="67">
                  <c:v>1.259343478248996</c:v>
                </c:pt>
                <c:pt idx="68">
                  <c:v>1.1620259488113007</c:v>
                </c:pt>
                <c:pt idx="69">
                  <c:v>1.1661882100501033</c:v>
                </c:pt>
                <c:pt idx="70">
                  <c:v>1.2185683657356996</c:v>
                </c:pt>
                <c:pt idx="71">
                  <c:v>1.119760653077665</c:v>
                </c:pt>
                <c:pt idx="72">
                  <c:v>1.415953913401462</c:v>
                </c:pt>
                <c:pt idx="73">
                  <c:v>1.607294297782471</c:v>
                </c:pt>
                <c:pt idx="74">
                  <c:v>1.6339996015950797</c:v>
                </c:pt>
                <c:pt idx="75">
                  <c:v>1.9845604449811938</c:v>
                </c:pt>
                <c:pt idx="76">
                  <c:v>1.232446684276406</c:v>
                </c:pt>
                <c:pt idx="77">
                  <c:v>1.6563354707037985</c:v>
                </c:pt>
                <c:pt idx="78">
                  <c:v>1.7590521958874794</c:v>
                </c:pt>
                <c:pt idx="79">
                  <c:v>1.5072067524115755</c:v>
                </c:pt>
                <c:pt idx="80">
                  <c:v>1.2424561648620327</c:v>
                </c:pt>
                <c:pt idx="81">
                  <c:v>1.5322474746337413</c:v>
                </c:pt>
                <c:pt idx="82">
                  <c:v>1.486489992130114</c:v>
                </c:pt>
                <c:pt idx="83">
                  <c:v>1.053554836715772</c:v>
                </c:pt>
                <c:pt idx="84">
                  <c:v>1.3979181706417507</c:v>
                </c:pt>
                <c:pt idx="85">
                  <c:v>1.5962844266362703</c:v>
                </c:pt>
                <c:pt idx="86">
                  <c:v>1.7139453517198322</c:v>
                </c:pt>
                <c:pt idx="87">
                  <c:v>1.2015918365330032</c:v>
                </c:pt>
                <c:pt idx="88">
                  <c:v>0.9604543501239527</c:v>
                </c:pt>
                <c:pt idx="89">
                  <c:v>1.81150361299046</c:v>
                </c:pt>
                <c:pt idx="90">
                  <c:v>1.6961808131679152</c:v>
                </c:pt>
                <c:pt idx="91">
                  <c:v>1.2661624246028427</c:v>
                </c:pt>
                <c:pt idx="92">
                  <c:v>1.6532201764915904</c:v>
                </c:pt>
                <c:pt idx="93">
                  <c:v>1.8754959487614784</c:v>
                </c:pt>
                <c:pt idx="94">
                  <c:v>1.3200194100450646</c:v>
                </c:pt>
                <c:pt idx="95">
                  <c:v>1.3348107203755466</c:v>
                </c:pt>
                <c:pt idx="96">
                  <c:v>1.6248056629760206</c:v>
                </c:pt>
                <c:pt idx="97">
                  <c:v>1.3254720217674199</c:v>
                </c:pt>
                <c:pt idx="98">
                  <c:v>1.3254993810577766</c:v>
                </c:pt>
                <c:pt idx="99">
                  <c:v>1.2199985612820026</c:v>
                </c:pt>
                <c:pt idx="100">
                  <c:v>1.2390034468025144</c:v>
                </c:pt>
                <c:pt idx="101">
                  <c:v>1.2822042012228343</c:v>
                </c:pt>
                <c:pt idx="102">
                  <c:v>0.8967466497170351</c:v>
                </c:pt>
                <c:pt idx="103">
                  <c:v>0.8859962868117799</c:v>
                </c:pt>
                <c:pt idx="104">
                  <c:v>1.0893454685692248</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806917293233083</c:v>
                </c:pt>
                <c:pt idx="1">
                  <c:v>1.2729348929776092</c:v>
                </c:pt>
                <c:pt idx="2">
                  <c:v>1.3736132917765815</c:v>
                </c:pt>
                <c:pt idx="3">
                  <c:v>1.2975586214132089</c:v>
                </c:pt>
                <c:pt idx="4">
                  <c:v>1.1322484368450374</c:v>
                </c:pt>
                <c:pt idx="5">
                  <c:v>1.2381867397772401</c:v>
                </c:pt>
                <c:pt idx="6">
                  <c:v>1.1292909283043406</c:v>
                </c:pt>
                <c:pt idx="7">
                  <c:v>1.2096667550802673</c:v>
                </c:pt>
                <c:pt idx="8">
                  <c:v>1.2659426328759003</c:v>
                </c:pt>
                <c:pt idx="9">
                  <c:v>1.2106765803170716</c:v>
                </c:pt>
                <c:pt idx="10">
                  <c:v>1.1201668415815864</c:v>
                </c:pt>
                <c:pt idx="11">
                  <c:v>1.4537414502123134</c:v>
                </c:pt>
                <c:pt idx="12">
                  <c:v>1.0766534339968141</c:v>
                </c:pt>
                <c:pt idx="13">
                  <c:v>1.1785191984637506</c:v>
                </c:pt>
                <c:pt idx="14">
                  <c:v>1.2675409005236127</c:v>
                </c:pt>
                <c:pt idx="15">
                  <c:v>1.0972277032359905</c:v>
                </c:pt>
                <c:pt idx="16">
                  <c:v>1.0810965815165137</c:v>
                </c:pt>
                <c:pt idx="17">
                  <c:v>0.9661933069449442</c:v>
                </c:pt>
                <c:pt idx="18">
                  <c:v>0.8658231655548818</c:v>
                </c:pt>
                <c:pt idx="19">
                  <c:v>1.3364598284096518</c:v>
                </c:pt>
                <c:pt idx="20">
                  <c:v>1.4321291379023786</c:v>
                </c:pt>
                <c:pt idx="21">
                  <c:v>0.705347480802171</c:v>
                </c:pt>
                <c:pt idx="22">
                  <c:v>1.2590968534353022</c:v>
                </c:pt>
                <c:pt idx="23">
                  <c:v>1.2411622569576821</c:v>
                </c:pt>
                <c:pt idx="24">
                  <c:v>1.2671038812292081</c:v>
                </c:pt>
                <c:pt idx="25">
                  <c:v>1.189057085650723</c:v>
                </c:pt>
                <c:pt idx="26">
                  <c:v>1.5311774936061382</c:v>
                </c:pt>
                <c:pt idx="27">
                  <c:v>1.5283732221677293</c:v>
                </c:pt>
                <c:pt idx="28">
                  <c:v>1.5396605133548487</c:v>
                </c:pt>
                <c:pt idx="29">
                  <c:v>1.2738191032891175</c:v>
                </c:pt>
                <c:pt idx="30">
                  <c:v>1.6093609000040097</c:v>
                </c:pt>
                <c:pt idx="31">
                  <c:v>1.4790443897548082</c:v>
                </c:pt>
                <c:pt idx="32">
                  <c:v>1.4274689049996743</c:v>
                </c:pt>
                <c:pt idx="33">
                  <c:v>1.6123466619562956</c:v>
                </c:pt>
                <c:pt idx="34">
                  <c:v>1.0375815580629884</c:v>
                </c:pt>
                <c:pt idx="35">
                  <c:v>0.9824799165631656</c:v>
                </c:pt>
                <c:pt idx="36">
                  <c:v>1.39849392216878</c:v>
                </c:pt>
                <c:pt idx="37">
                  <c:v>1.334477146991233</c:v>
                </c:pt>
                <c:pt idx="38">
                  <c:v>1.5512015313298007</c:v>
                </c:pt>
                <c:pt idx="39">
                  <c:v>1.46556128396574</c:v>
                </c:pt>
                <c:pt idx="40">
                  <c:v>1.5187715355805242</c:v>
                </c:pt>
                <c:pt idx="41">
                  <c:v>1.1736523446181197</c:v>
                </c:pt>
                <c:pt idx="42">
                  <c:v>1.3375224512434445</c:v>
                </c:pt>
                <c:pt idx="43">
                  <c:v>1.4308531265000235</c:v>
                </c:pt>
                <c:pt idx="44">
                  <c:v>1.1198251917605613</c:v>
                </c:pt>
                <c:pt idx="45">
                  <c:v>1.087315227517019</c:v>
                </c:pt>
                <c:pt idx="46">
                  <c:v>1.1581988842774165</c:v>
                </c:pt>
                <c:pt idx="47">
                  <c:v>1.1820086907058474</c:v>
                </c:pt>
                <c:pt idx="48">
                  <c:v>1.1737147227693794</c:v>
                </c:pt>
                <c:pt idx="49">
                  <c:v>1.285664936797091</c:v>
                </c:pt>
                <c:pt idx="50">
                  <c:v>0.9241868428612469</c:v>
                </c:pt>
                <c:pt idx="51">
                  <c:v>0.9718125442472663</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931569099783405</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931569099783405</c:v>
                </c:pt>
                <c:pt idx="1">
                  <c:v>0.7931569099783405</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256865030754285</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256865030754285</c:v>
                </c:pt>
                <c:pt idx="1">
                  <c:v>1.0256865030754285</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832634074786156</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832634074786156</c:v>
                </c:pt>
                <c:pt idx="1">
                  <c:v>0.9832634074786156</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806917293233083</c:v>
                </c:pt>
                <c:pt idx="1">
                  <c:v>1.2729348929776092</c:v>
                </c:pt>
                <c:pt idx="2">
                  <c:v>1.3736132917765815</c:v>
                </c:pt>
                <c:pt idx="3">
                  <c:v>1.2975586214132089</c:v>
                </c:pt>
                <c:pt idx="4">
                  <c:v>1.1322484368450374</c:v>
                </c:pt>
                <c:pt idx="5">
                  <c:v>1.2381867397772401</c:v>
                </c:pt>
                <c:pt idx="6">
                  <c:v>1.1292909283043406</c:v>
                </c:pt>
                <c:pt idx="7">
                  <c:v>1.2096667550802673</c:v>
                </c:pt>
                <c:pt idx="8">
                  <c:v>1.2659426328759003</c:v>
                </c:pt>
                <c:pt idx="9">
                  <c:v>1.2106765803170716</c:v>
                </c:pt>
                <c:pt idx="10">
                  <c:v>1.1201668415815864</c:v>
                </c:pt>
                <c:pt idx="11">
                  <c:v>1.4537414502123134</c:v>
                </c:pt>
                <c:pt idx="12">
                  <c:v>1.0766534339968141</c:v>
                </c:pt>
                <c:pt idx="13">
                  <c:v>1.1785191984637506</c:v>
                </c:pt>
                <c:pt idx="14">
                  <c:v>1.2675409005236127</c:v>
                </c:pt>
                <c:pt idx="15">
                  <c:v>1.0972277032359905</c:v>
                </c:pt>
                <c:pt idx="16">
                  <c:v>1.0810965815165137</c:v>
                </c:pt>
                <c:pt idx="17">
                  <c:v>0.9661933069449442</c:v>
                </c:pt>
                <c:pt idx="18">
                  <c:v>0.8658231655548818</c:v>
                </c:pt>
                <c:pt idx="19">
                  <c:v>1.3364598284096518</c:v>
                </c:pt>
                <c:pt idx="20">
                  <c:v>1.4321291379023786</c:v>
                </c:pt>
                <c:pt idx="21">
                  <c:v>0.705347480802171</c:v>
                </c:pt>
                <c:pt idx="22">
                  <c:v>1.2590968534353022</c:v>
                </c:pt>
                <c:pt idx="23">
                  <c:v>1.2411622569576821</c:v>
                </c:pt>
                <c:pt idx="24">
                  <c:v>1.2671038812292081</c:v>
                </c:pt>
                <c:pt idx="25">
                  <c:v>1.189057085650723</c:v>
                </c:pt>
                <c:pt idx="26">
                  <c:v>1.5311774936061382</c:v>
                </c:pt>
                <c:pt idx="27">
                  <c:v>1.5283732221677293</c:v>
                </c:pt>
                <c:pt idx="28">
                  <c:v>1.5396605133548487</c:v>
                </c:pt>
                <c:pt idx="29">
                  <c:v>1.2738191032891175</c:v>
                </c:pt>
                <c:pt idx="30">
                  <c:v>1.6093609000040097</c:v>
                </c:pt>
                <c:pt idx="31">
                  <c:v>1.4790443897548082</c:v>
                </c:pt>
                <c:pt idx="32">
                  <c:v>1.4274689049996743</c:v>
                </c:pt>
                <c:pt idx="33">
                  <c:v>1.6123466619562956</c:v>
                </c:pt>
                <c:pt idx="34">
                  <c:v>1.0375815580629884</c:v>
                </c:pt>
                <c:pt idx="35">
                  <c:v>0.9824799165631656</c:v>
                </c:pt>
                <c:pt idx="36">
                  <c:v>1.39849392216878</c:v>
                </c:pt>
                <c:pt idx="37">
                  <c:v>1.334477146991233</c:v>
                </c:pt>
                <c:pt idx="38">
                  <c:v>1.5512015313298007</c:v>
                </c:pt>
                <c:pt idx="39">
                  <c:v>1.46556128396574</c:v>
                </c:pt>
                <c:pt idx="40">
                  <c:v>1.5187715355805242</c:v>
                </c:pt>
                <c:pt idx="41">
                  <c:v>1.1736523446181197</c:v>
                </c:pt>
                <c:pt idx="42">
                  <c:v>1.3375224512434445</c:v>
                </c:pt>
                <c:pt idx="43">
                  <c:v>1.4308531265000235</c:v>
                </c:pt>
                <c:pt idx="44">
                  <c:v>1.1198251917605613</c:v>
                </c:pt>
                <c:pt idx="45">
                  <c:v>1.087315227517019</c:v>
                </c:pt>
                <c:pt idx="46">
                  <c:v>1.1581988842774165</c:v>
                </c:pt>
                <c:pt idx="47">
                  <c:v>1.1820086907058474</c:v>
                </c:pt>
                <c:pt idx="48">
                  <c:v>1.1737147227693794</c:v>
                </c:pt>
                <c:pt idx="49">
                  <c:v>1.285664936797091</c:v>
                </c:pt>
                <c:pt idx="50">
                  <c:v>0.9241868428612469</c:v>
                </c:pt>
                <c:pt idx="51">
                  <c:v>0.9718125442472663</c:v>
                </c:pt>
                <c:pt idx="52">
                  <c:v>1.0256865030754285</c:v>
                </c:pt>
                <c:pt idx="53">
                  <c:v>0.7931569099783405</c:v>
                </c:pt>
                <c:pt idx="54">
                  <c:v>0.9832634074786156</c:v>
                </c:pt>
              </c:numCache>
            </c:numRef>
          </c:xVal>
          <c:yVal>
            <c:numRef>
              <c:f>Sheet1!$B$187:$B$241</c:f>
              <c:numCache>
                <c:formatCode>General</c:formatCode>
                <c:ptCount val="55"/>
                <c:pt idx="0">
                  <c:v>0.32601129432068243</c:v>
                </c:pt>
                <c:pt idx="1">
                  <c:v>0.31994126410983875</c:v>
                </c:pt>
                <c:pt idx="2">
                  <c:v>0.313316156100974</c:v>
                </c:pt>
                <c:pt idx="3">
                  <c:v>0.3183209079816832</c:v>
                </c:pt>
                <c:pt idx="4">
                  <c:v>0.32919908881088294</c:v>
                </c:pt>
                <c:pt idx="5">
                  <c:v>0.32222785458810704</c:v>
                </c:pt>
                <c:pt idx="6">
                  <c:v>0.3293937066609183</c:v>
                </c:pt>
                <c:pt idx="7">
                  <c:v>0.32410460254280876</c:v>
                </c:pt>
                <c:pt idx="8">
                  <c:v>0.32040138742280877</c:v>
                </c:pt>
                <c:pt idx="9">
                  <c:v>0.32403815133436964</c:v>
                </c:pt>
                <c:pt idx="10">
                  <c:v>0.32999411410423884</c:v>
                </c:pt>
                <c:pt idx="11">
                  <c:v>0.30804334971429187</c:v>
                </c:pt>
                <c:pt idx="12">
                  <c:v>0.33285749918506924</c:v>
                </c:pt>
                <c:pt idx="13">
                  <c:v>0.32615425697969236</c:v>
                </c:pt>
                <c:pt idx="14">
                  <c:v>0.320296213960383</c:v>
                </c:pt>
                <c:pt idx="15">
                  <c:v>0.33150361635082615</c:v>
                </c:pt>
                <c:pt idx="16">
                  <c:v>0.3325651193640899</c:v>
                </c:pt>
                <c:pt idx="17">
                  <c:v>0.3401262905158967</c:v>
                </c:pt>
                <c:pt idx="18">
                  <c:v>0.34673111375014326</c:v>
                </c:pt>
                <c:pt idx="19">
                  <c:v>0.31576102720188215</c:v>
                </c:pt>
                <c:pt idx="20">
                  <c:v>0.30946554062200127</c:v>
                </c:pt>
                <c:pt idx="21">
                  <c:v>0.3572911619527979</c:v>
                </c:pt>
                <c:pt idx="22">
                  <c:v>0.32085187162537726</c:v>
                </c:pt>
                <c:pt idx="23">
                  <c:v>0.32203205168561927</c:v>
                </c:pt>
                <c:pt idx="24">
                  <c:v>0.3203249718673613</c:v>
                </c:pt>
                <c:pt idx="25">
                  <c:v>0.32546081487461553</c:v>
                </c:pt>
                <c:pt idx="26">
                  <c:v>0.3029476970481465</c:v>
                </c:pt>
                <c:pt idx="27">
                  <c:v>0.303132231182452</c:v>
                </c:pt>
                <c:pt idx="28">
                  <c:v>0.3023894748004054</c:v>
                </c:pt>
                <c:pt idx="29">
                  <c:v>0.3198830789491074</c:v>
                </c:pt>
                <c:pt idx="30">
                  <c:v>0.29780286441209003</c:v>
                </c:pt>
                <c:pt idx="31">
                  <c:v>0.3063782983287854</c:v>
                </c:pt>
                <c:pt idx="32">
                  <c:v>0.30977220567324554</c:v>
                </c:pt>
                <c:pt idx="33">
                  <c:v>0.29760638735585326</c:v>
                </c:pt>
                <c:pt idx="34">
                  <c:v>0.3354286107766175</c:v>
                </c:pt>
                <c:pt idx="35">
                  <c:v>0.33905455567400294</c:v>
                </c:pt>
                <c:pt idx="36">
                  <c:v>0.3116788946263841</c:v>
                </c:pt>
                <c:pt idx="37">
                  <c:v>0.3158914968825772</c:v>
                </c:pt>
                <c:pt idx="38">
                  <c:v>0.301630022012832</c:v>
                </c:pt>
                <c:pt idx="39">
                  <c:v>0.30726554954864127</c:v>
                </c:pt>
                <c:pt idx="40">
                  <c:v>0.30376406692344865</c:v>
                </c:pt>
                <c:pt idx="41">
                  <c:v>0.32647451865225874</c:v>
                </c:pt>
                <c:pt idx="42">
                  <c:v>0.31569110166541603</c:v>
                </c:pt>
                <c:pt idx="43">
                  <c:v>0.30954950812110726</c:v>
                </c:pt>
                <c:pt idx="44">
                  <c:v>0.33001659625525137</c:v>
                </c:pt>
                <c:pt idx="45">
                  <c:v>0.33215590346560797</c:v>
                </c:pt>
                <c:pt idx="46">
                  <c:v>0.3274914283875069</c:v>
                </c:pt>
                <c:pt idx="47">
                  <c:v>0.3259246321219694</c:v>
                </c:pt>
                <c:pt idx="48">
                  <c:v>0.3264704138790957</c:v>
                </c:pt>
                <c:pt idx="49">
                  <c:v>0.31910356787839544</c:v>
                </c:pt>
                <c:pt idx="50">
                  <c:v>0.342890511688908</c:v>
                </c:pt>
                <c:pt idx="51">
                  <c:v>0.33975651850422955</c:v>
                </c:pt>
                <c:pt idx="52">
                  <c:v>0.33621136085015935</c:v>
                </c:pt>
                <c:pt idx="53">
                  <c:v>0.3515128921409143</c:v>
                </c:pt>
                <c:pt idx="54">
                  <c:v>0.339002998319091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6.2679</c:v>
                </c:pt>
                <c:pt idx="1">
                  <c:v>1026.0122</c:v>
                </c:pt>
                <c:pt idx="2">
                  <c:v>1074.7558</c:v>
                </c:pt>
                <c:pt idx="3">
                  <c:v>1110.9699</c:v>
                </c:pt>
                <c:pt idx="4">
                  <c:v>1129.8605</c:v>
                </c:pt>
                <c:pt idx="5">
                  <c:v>1107.4167</c:v>
                </c:pt>
                <c:pt idx="6">
                  <c:v>1025.993</c:v>
                </c:pt>
                <c:pt idx="7">
                  <c:v>1066.0139</c:v>
                </c:pt>
                <c:pt idx="8">
                  <c:v>1084.4672</c:v>
                </c:pt>
                <c:pt idx="9">
                  <c:v>1045.4303</c:v>
                </c:pt>
                <c:pt idx="10">
                  <c:v>1009.3443</c:v>
                </c:pt>
                <c:pt idx="11">
                  <c:v>1074.6981</c:v>
                </c:pt>
                <c:pt idx="12">
                  <c:v>1080.0225</c:v>
                </c:pt>
                <c:pt idx="13">
                  <c:v>1086.3314</c:v>
                </c:pt>
                <c:pt idx="14">
                  <c:v>1100.3586</c:v>
                </c:pt>
                <c:pt idx="15">
                  <c:v>1130.6992</c:v>
                </c:pt>
                <c:pt idx="16">
                  <c:v>1145.9712</c:v>
                </c:pt>
                <c:pt idx="17">
                  <c:v>1159.1364</c:v>
                </c:pt>
                <c:pt idx="18">
                  <c:v>1183.8333</c:v>
                </c:pt>
                <c:pt idx="19">
                  <c:v>1158.7468</c:v>
                </c:pt>
                <c:pt idx="20">
                  <c:v>1203.7629</c:v>
                </c:pt>
                <c:pt idx="21">
                  <c:v>1225.9385</c:v>
                </c:pt>
                <c:pt idx="22">
                  <c:v>1203.6316</c:v>
                </c:pt>
                <c:pt idx="23">
                  <c:v>1151.039</c:v>
                </c:pt>
                <c:pt idx="24">
                  <c:v>1167.3232</c:v>
                </c:pt>
                <c:pt idx="25">
                  <c:v>1149.3523</c:v>
                </c:pt>
                <c:pt idx="26">
                  <c:v>1134.7738</c:v>
                </c:pt>
                <c:pt idx="27">
                  <c:v>1180.9775</c:v>
                </c:pt>
                <c:pt idx="28">
                  <c:v>1161.4045</c:v>
                </c:pt>
                <c:pt idx="29">
                  <c:v>1086.2269</c:v>
                </c:pt>
                <c:pt idx="30">
                  <c:v>1126.6988</c:v>
                </c:pt>
                <c:pt idx="31">
                  <c:v>1075.9625</c:v>
                </c:pt>
                <c:pt idx="32">
                  <c:v>1036.2299</c:v>
                </c:pt>
                <c:pt idx="33">
                  <c:v>884.8952</c:v>
                </c:pt>
                <c:pt idx="34">
                  <c:v>969.2147</c:v>
                </c:pt>
                <c:pt idx="35">
                  <c:v>1073.3416</c:v>
                </c:pt>
                <c:pt idx="36">
                  <c:v>1074.0172</c:v>
                </c:pt>
                <c:pt idx="37">
                  <c:v>1126.9151</c:v>
                </c:pt>
                <c:pt idx="38">
                  <c:v>1182.9111</c:v>
                </c:pt>
                <c:pt idx="39">
                  <c:v>1258.2614</c:v>
                </c:pt>
                <c:pt idx="40">
                  <c:v>1205.3011</c:v>
                </c:pt>
                <c:pt idx="41">
                  <c:v>1167.6071</c:v>
                </c:pt>
                <c:pt idx="42">
                  <c:v>1269.8729</c:v>
                </c:pt>
                <c:pt idx="43">
                  <c:v>1360.9821</c:v>
                </c:pt>
                <c:pt idx="44">
                  <c:v>1286.3154</c:v>
                </c:pt>
                <c:pt idx="45">
                  <c:v>1268.8389</c:v>
                </c:pt>
                <c:pt idx="46">
                  <c:v>1221.058</c:v>
                </c:pt>
                <c:pt idx="47">
                  <c:v>1262.7843</c:v>
                </c:pt>
                <c:pt idx="48">
                  <c:v>1243.7952</c:v>
                </c:pt>
                <c:pt idx="49">
                  <c:v>1192.0164</c:v>
                </c:pt>
                <c:pt idx="50">
                  <c:v>1195.901</c:v>
                </c:pt>
                <c:pt idx="51">
                  <c:v>1247.2053</c:v>
                </c:pt>
                <c:pt idx="52">
                  <c:v>1276.6039</c:v>
                </c:pt>
                <c:pt idx="53">
                  <c:v>1349.9542</c:v>
                </c:pt>
                <c:pt idx="54">
                  <c:v>1366.3884</c:v>
                </c:pt>
                <c:pt idx="55">
                  <c:v>1394.9245</c:v>
                </c:pt>
                <c:pt idx="56">
                  <c:v>1377.4554</c:v>
                </c:pt>
                <c:pt idx="57">
                  <c:v>1309.8403</c:v>
                </c:pt>
                <c:pt idx="58">
                  <c:v>1275.2857</c:v>
                </c:pt>
                <c:pt idx="59">
                  <c:v>1306.2346</c:v>
                </c:pt>
                <c:pt idx="60">
                  <c:v>1347.7898</c:v>
                </c:pt>
                <c:pt idx="61">
                  <c:v>1346.188</c:v>
                </c:pt>
                <c:pt idx="62">
                  <c:v>1244.0946</c:v>
                </c:pt>
                <c:pt idx="63">
                  <c:v>1325.2303</c:v>
                </c:pt>
                <c:pt idx="64">
                  <c:v>1277.4556</c:v>
                </c:pt>
                <c:pt idx="65">
                  <c:v>1289.7413</c:v>
                </c:pt>
                <c:pt idx="66">
                  <c:v>1221.0414</c:v>
                </c:pt>
                <c:pt idx="67">
                  <c:v>1245.1032</c:v>
                </c:pt>
                <c:pt idx="68">
                  <c:v>1262.1389</c:v>
                </c:pt>
                <c:pt idx="69">
                  <c:v>1247.7436</c:v>
                </c:pt>
                <c:pt idx="70">
                  <c:v>1158.6711</c:v>
                </c:pt>
                <c:pt idx="71">
                  <c:v>1309.9333</c:v>
                </c:pt>
                <c:pt idx="72">
                  <c:v>1565.2899</c:v>
                </c:pt>
                <c:pt idx="73">
                  <c:v>1522.1077</c:v>
                </c:pt>
                <c:pt idx="74">
                  <c:v>1477.3077</c:v>
                </c:pt>
                <c:pt idx="75">
                  <c:v>1309.5263</c:v>
                </c:pt>
                <c:pt idx="76">
                  <c:v>1316.029</c:v>
                </c:pt>
                <c:pt idx="77">
                  <c:v>1399.4655</c:v>
                </c:pt>
                <c:pt idx="78">
                  <c:v>1455.0294</c:v>
                </c:pt>
                <c:pt idx="79">
                  <c:v>1406.2239</c:v>
                </c:pt>
                <c:pt idx="80">
                  <c:v>1422.8608</c:v>
                </c:pt>
                <c:pt idx="81">
                  <c:v>1394.8559</c:v>
                </c:pt>
                <c:pt idx="82">
                  <c:v>1344.2824</c:v>
                </c:pt>
                <c:pt idx="83">
                  <c:v>1278.3571</c:v>
                </c:pt>
                <c:pt idx="84">
                  <c:v>1421.3333</c:v>
                </c:pt>
                <c:pt idx="85">
                  <c:v>1299.8667</c:v>
                </c:pt>
                <c:pt idx="86">
                  <c:v>1257.2569</c:v>
                </c:pt>
                <c:pt idx="87">
                  <c:v>1240.152</c:v>
                </c:pt>
                <c:pt idx="88">
                  <c:v>1368.5102</c:v>
                </c:pt>
                <c:pt idx="89">
                  <c:v>1306.5122</c:v>
                </c:pt>
                <c:pt idx="90">
                  <c:v>1380.8608</c:v>
                </c:pt>
                <c:pt idx="91">
                  <c:v>1478.4557</c:v>
                </c:pt>
                <c:pt idx="92">
                  <c:v>1419.2143</c:v>
                </c:pt>
                <c:pt idx="93">
                  <c:v>1519.0345</c:v>
                </c:pt>
                <c:pt idx="94">
                  <c:v>1477.3846</c:v>
                </c:pt>
                <c:pt idx="95">
                  <c:v>1467.8469</c:v>
                </c:pt>
                <c:pt idx="96">
                  <c:v>1421.4341</c:v>
                </c:pt>
                <c:pt idx="97">
                  <c:v>1344.5058</c:v>
                </c:pt>
                <c:pt idx="98">
                  <c:v>1314.5941</c:v>
                </c:pt>
                <c:pt idx="99">
                  <c:v>1280.444</c:v>
                </c:pt>
                <c:pt idx="100">
                  <c:v>1311.0033</c:v>
                </c:pt>
                <c:pt idx="101">
                  <c:v>1323.7957</c:v>
                </c:pt>
                <c:pt idx="102">
                  <c:v>1361.1799</c:v>
                </c:pt>
                <c:pt idx="103">
                  <c:v>1383.9262</c:v>
                </c:pt>
                <c:pt idx="104">
                  <c:v>1412.3364</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58.8434083903571</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58.8434083903571</c:v>
                </c:pt>
                <c:pt idx="1">
                  <c:v>1258.8434083903571</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75.2361818580923</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75.2361818580923</c:v>
                </c:pt>
                <c:pt idx="1">
                  <c:v>1375.2361818580923</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4.001285732255</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4.001285732255</c:v>
                </c:pt>
                <c:pt idx="1">
                  <c:v>1354.001285732255</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pt idx="52">
                  <c:v>1375.2361818580923</c:v>
                </c:pt>
                <c:pt idx="53">
                  <c:v>1258.8434083903571</c:v>
                </c:pt>
                <c:pt idx="54">
                  <c:v>1354.001285732255</c:v>
                </c:pt>
              </c:numCache>
            </c:numRef>
          </c:xVal>
          <c:yVal>
            <c:numRef>
              <c:f>Sheet1!$B$187:$B$241</c:f>
              <c:numCache>
                <c:formatCode>General</c:formatCode>
                <c:ptCount val="55"/>
                <c:pt idx="0">
                  <c:v>0.3312088931829556</c:v>
                </c:pt>
                <c:pt idx="1">
                  <c:v>0.32164187125510135</c:v>
                </c:pt>
                <c:pt idx="2">
                  <c:v>0.3156047268576866</c:v>
                </c:pt>
                <c:pt idx="3">
                  <c:v>0.3137672196243322</c:v>
                </c:pt>
                <c:pt idx="4">
                  <c:v>0.3129997291950386</c:v>
                </c:pt>
                <c:pt idx="5">
                  <c:v>0.3161617818758513</c:v>
                </c:pt>
                <c:pt idx="6">
                  <c:v>0.33436855320775377</c:v>
                </c:pt>
                <c:pt idx="7">
                  <c:v>0.3344995051119366</c:v>
                </c:pt>
                <c:pt idx="8">
                  <c:v>0.3176422443581063</c:v>
                </c:pt>
                <c:pt idx="9">
                  <c:v>0.3307754937827754</c:v>
                </c:pt>
                <c:pt idx="10">
                  <c:v>0.340303759941778</c:v>
                </c:pt>
                <c:pt idx="11">
                  <c:v>0.3435142836265785</c:v>
                </c:pt>
                <c:pt idx="12">
                  <c:v>0.3361944389690373</c:v>
                </c:pt>
                <c:pt idx="13">
                  <c:v>0.3471394730037527</c:v>
                </c:pt>
                <c:pt idx="14">
                  <c:v>0.34419003804669757</c:v>
                </c:pt>
                <c:pt idx="15">
                  <c:v>0.33424579154915934</c:v>
                </c:pt>
                <c:pt idx="16">
                  <c:v>0.3286420071125399</c:v>
                </c:pt>
                <c:pt idx="17">
                  <c:v>0.3405116449393528</c:v>
                </c:pt>
                <c:pt idx="18">
                  <c:v>0.32930865103475726</c:v>
                </c:pt>
                <c:pt idx="19">
                  <c:v>0.3348668435424834</c:v>
                </c:pt>
                <c:pt idx="20">
                  <c:v>0.3115182938746239</c:v>
                </c:pt>
                <c:pt idx="21">
                  <c:v>0.3748141287964436</c:v>
                </c:pt>
                <c:pt idx="22">
                  <c:v>0.320893916467773</c:v>
                </c:pt>
                <c:pt idx="23">
                  <c:v>0.30301021943014755</c:v>
                </c:pt>
                <c:pt idx="24">
                  <c:v>0.29766887780682016</c:v>
                </c:pt>
                <c:pt idx="25">
                  <c:v>0.3413428562681118</c:v>
                </c:pt>
                <c:pt idx="26">
                  <c:v>0.32023974853763165</c:v>
                </c:pt>
                <c:pt idx="27">
                  <c:v>0.31216118214069644</c:v>
                </c:pt>
                <c:pt idx="28">
                  <c:v>0.30394119925613006</c:v>
                </c:pt>
                <c:pt idx="29">
                  <c:v>0.3104975237157864</c:v>
                </c:pt>
                <c:pt idx="30">
                  <c:v>0.3054087387666139</c:v>
                </c:pt>
                <c:pt idx="31">
                  <c:v>0.30368393614871575</c:v>
                </c:pt>
                <c:pt idx="32">
                  <c:v>0.3178763959859951</c:v>
                </c:pt>
                <c:pt idx="33">
                  <c:v>0.2984864168154958</c:v>
                </c:pt>
                <c:pt idx="34">
                  <c:v>0.30829380864758443</c:v>
                </c:pt>
                <c:pt idx="35">
                  <c:v>0.30118840907196576</c:v>
                </c:pt>
                <c:pt idx="36">
                  <c:v>0.3067709619730712</c:v>
                </c:pt>
                <c:pt idx="37">
                  <c:v>0.31088588333846134</c:v>
                </c:pt>
                <c:pt idx="38">
                  <c:v>0.31386249203168215</c:v>
                </c:pt>
                <c:pt idx="39">
                  <c:v>0.3116481546224924</c:v>
                </c:pt>
                <c:pt idx="40">
                  <c:v>0.3104281498378251</c:v>
                </c:pt>
                <c:pt idx="41">
                  <c:v>0.3087251177603673</c:v>
                </c:pt>
                <c:pt idx="42">
                  <c:v>0.3030767142330144</c:v>
                </c:pt>
                <c:pt idx="43">
                  <c:v>0.3008046507108574</c:v>
                </c:pt>
                <c:pt idx="44">
                  <c:v>0.3129361923460359</c:v>
                </c:pt>
                <c:pt idx="45">
                  <c:v>0.31752863263679837</c:v>
                </c:pt>
                <c:pt idx="46">
                  <c:v>0.31940379133622837</c:v>
                </c:pt>
                <c:pt idx="47">
                  <c:v>0.3291130448323342</c:v>
                </c:pt>
                <c:pt idx="48">
                  <c:v>0.33152428994364735</c:v>
                </c:pt>
                <c:pt idx="49">
                  <c:v>0.32408157845581875</c:v>
                </c:pt>
                <c:pt idx="50">
                  <c:v>0.33197259743130303</c:v>
                </c:pt>
                <c:pt idx="51">
                  <c:v>0.34518870900355414</c:v>
                </c:pt>
                <c:pt idx="52">
                  <c:v>0.33621136085015935</c:v>
                </c:pt>
                <c:pt idx="53">
                  <c:v>0.3515128921409143</c:v>
                </c:pt>
                <c:pt idx="54">
                  <c:v>0.339002998319091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02.0"/>
          <c:min val="70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017066325395059</c:v>
                </c:pt>
                <c:pt idx="1">
                  <c:v>0.2414998705425444</c:v>
                </c:pt>
                <c:pt idx="2">
                  <c:v>0.16473877988963825</c:v>
                </c:pt>
                <c:pt idx="3">
                  <c:v>0.17509375886524822</c:v>
                </c:pt>
                <c:pt idx="4">
                  <c:v>0.1857712101282473</c:v>
                </c:pt>
                <c:pt idx="5">
                  <c:v>0.2227530322840189</c:v>
                </c:pt>
                <c:pt idx="6">
                  <c:v>0.24896699830138314</c:v>
                </c:pt>
                <c:pt idx="7">
                  <c:v>0.21231107349133638</c:v>
                </c:pt>
                <c:pt idx="8">
                  <c:v>0.3072145042492918</c:v>
                </c:pt>
                <c:pt idx="9">
                  <c:v>0.18347320112320112</c:v>
                </c:pt>
                <c:pt idx="10">
                  <c:v>0.22519953145917002</c:v>
                </c:pt>
                <c:pt idx="11">
                  <c:v>0.17958026568635643</c:v>
                </c:pt>
                <c:pt idx="12">
                  <c:v>0.19615374137304759</c:v>
                </c:pt>
                <c:pt idx="13">
                  <c:v>0.16242993421052632</c:v>
                </c:pt>
                <c:pt idx="14">
                  <c:v>0.15565972556231433</c:v>
                </c:pt>
                <c:pt idx="15">
                  <c:v>0.27611702075702077</c:v>
                </c:pt>
                <c:pt idx="16">
                  <c:v>0.19639609254498713</c:v>
                </c:pt>
                <c:pt idx="17">
                  <c:v>0.0</c:v>
                </c:pt>
                <c:pt idx="18">
                  <c:v>0.24145080562920662</c:v>
                </c:pt>
                <c:pt idx="19">
                  <c:v>0.3531687900030478</c:v>
                </c:pt>
                <c:pt idx="20">
                  <c:v>0.17828242002369668</c:v>
                </c:pt>
                <c:pt idx="21">
                  <c:v>0.18546724659606656</c:v>
                </c:pt>
                <c:pt idx="22">
                  <c:v>0.1890125</c:v>
                </c:pt>
                <c:pt idx="23">
                  <c:v>0.18854037674037674</c:v>
                </c:pt>
                <c:pt idx="24">
                  <c:v>0.26179035658219335</c:v>
                </c:pt>
                <c:pt idx="25">
                  <c:v>0.23441817254741995</c:v>
                </c:pt>
                <c:pt idx="26">
                  <c:v>0.20538892307692305</c:v>
                </c:pt>
                <c:pt idx="27">
                  <c:v>0.19044952427027897</c:v>
                </c:pt>
                <c:pt idx="28">
                  <c:v>0.3605726482458864</c:v>
                </c:pt>
                <c:pt idx="29">
                  <c:v>0.15484346400570206</c:v>
                </c:pt>
                <c:pt idx="30">
                  <c:v>0.17217279951100242</c:v>
                </c:pt>
                <c:pt idx="31">
                  <c:v>0.240277467619473</c:v>
                </c:pt>
                <c:pt idx="32">
                  <c:v>0.2524926656920078</c:v>
                </c:pt>
                <c:pt idx="33">
                  <c:v>0.18181532771727965</c:v>
                </c:pt>
                <c:pt idx="34">
                  <c:v>0.16719246161807833</c:v>
                </c:pt>
                <c:pt idx="35">
                  <c:v>0.0</c:v>
                </c:pt>
                <c:pt idx="36">
                  <c:v>0.2760260087381136</c:v>
                </c:pt>
                <c:pt idx="37">
                  <c:v>0.2048191748455107</c:v>
                </c:pt>
                <c:pt idx="38">
                  <c:v>0.29830061782877315</c:v>
                </c:pt>
                <c:pt idx="39">
                  <c:v>0.2672602803738318</c:v>
                </c:pt>
                <c:pt idx="40">
                  <c:v>0.22722237722688282</c:v>
                </c:pt>
                <c:pt idx="41">
                  <c:v>0.29862074168797953</c:v>
                </c:pt>
                <c:pt idx="42">
                  <c:v>0.27024322196211964</c:v>
                </c:pt>
                <c:pt idx="43">
                  <c:v>0.3390588191330344</c:v>
                </c:pt>
                <c:pt idx="44">
                  <c:v>0.24861140316969463</c:v>
                </c:pt>
                <c:pt idx="45">
                  <c:v>0.31160090864440076</c:v>
                </c:pt>
                <c:pt idx="46">
                  <c:v>0.26992660621968456</c:v>
                </c:pt>
                <c:pt idx="47">
                  <c:v>0.2639323440275891</c:v>
                </c:pt>
                <c:pt idx="48">
                  <c:v>0.29703754415728023</c:v>
                </c:pt>
                <c:pt idx="49">
                  <c:v>0.2899342653635014</c:v>
                </c:pt>
                <c:pt idx="50">
                  <c:v>0.2478294477256243</c:v>
                </c:pt>
                <c:pt idx="51">
                  <c:v>0.2716039416376307</c:v>
                </c:pt>
                <c:pt idx="52">
                  <c:v>0.2609841357456813</c:v>
                </c:pt>
                <c:pt idx="53">
                  <c:v>0.28759143587558583</c:v>
                </c:pt>
                <c:pt idx="54">
                  <c:v>0.2574933383586168</c:v>
                </c:pt>
                <c:pt idx="55">
                  <c:v>0.34442580246913584</c:v>
                </c:pt>
                <c:pt idx="56">
                  <c:v>0.33429326538041504</c:v>
                </c:pt>
                <c:pt idx="57">
                  <c:v>0.2920708243491094</c:v>
                </c:pt>
                <c:pt idx="58">
                  <c:v>0.2518668285178856</c:v>
                </c:pt>
                <c:pt idx="59">
                  <c:v>0.24781532915955226</c:v>
                </c:pt>
                <c:pt idx="60">
                  <c:v>0.20427247650803274</c:v>
                </c:pt>
                <c:pt idx="61">
                  <c:v>0.30598658938515744</c:v>
                </c:pt>
                <c:pt idx="62">
                  <c:v>0.27069073107049607</c:v>
                </c:pt>
                <c:pt idx="63">
                  <c:v>0.3126649286304117</c:v>
                </c:pt>
                <c:pt idx="64">
                  <c:v>0.24010819021432359</c:v>
                </c:pt>
                <c:pt idx="65">
                  <c:v>0.27937643236217913</c:v>
                </c:pt>
                <c:pt idx="66">
                  <c:v>0.26124120667522466</c:v>
                </c:pt>
                <c:pt idx="67">
                  <c:v>0.20101762996448175</c:v>
                </c:pt>
                <c:pt idx="68">
                  <c:v>0.22823488245931284</c:v>
                </c:pt>
                <c:pt idx="69">
                  <c:v>0.24957367736773678</c:v>
                </c:pt>
                <c:pt idx="70">
                  <c:v>0.18438432527052834</c:v>
                </c:pt>
                <c:pt idx="71">
                  <c:v>0.23696333212735166</c:v>
                </c:pt>
                <c:pt idx="72">
                  <c:v>0.2635611887523152</c:v>
                </c:pt>
                <c:pt idx="73">
                  <c:v>0.3512826448188322</c:v>
                </c:pt>
                <c:pt idx="74">
                  <c:v>0.3563212011577424</c:v>
                </c:pt>
                <c:pt idx="75">
                  <c:v>0.20098630956948815</c:v>
                </c:pt>
                <c:pt idx="76">
                  <c:v>0.20428888543930457</c:v>
                </c:pt>
                <c:pt idx="77">
                  <c:v>0.2570184573002755</c:v>
                </c:pt>
                <c:pt idx="78">
                  <c:v>0.30427214554579674</c:v>
                </c:pt>
                <c:pt idx="79">
                  <c:v>0.3502861875700585</c:v>
                </c:pt>
                <c:pt idx="80">
                  <c:v>0.21568300742761862</c:v>
                </c:pt>
                <c:pt idx="81">
                  <c:v>0.28037304522613066</c:v>
                </c:pt>
                <c:pt idx="82">
                  <c:v>0.0</c:v>
                </c:pt>
                <c:pt idx="83">
                  <c:v>0.3605067963902989</c:v>
                </c:pt>
                <c:pt idx="84">
                  <c:v>0.38146358024691357</c:v>
                </c:pt>
                <c:pt idx="85">
                  <c:v>0.20272406425452277</c:v>
                </c:pt>
                <c:pt idx="86">
                  <c:v>0.30612537131726325</c:v>
                </c:pt>
                <c:pt idx="87">
                  <c:v>0.2930762141084722</c:v>
                </c:pt>
                <c:pt idx="88">
                  <c:v>0.20848723339427178</c:v>
                </c:pt>
                <c:pt idx="89">
                  <c:v>0.2156672499174645</c:v>
                </c:pt>
                <c:pt idx="90">
                  <c:v>0.21195100537221795</c:v>
                </c:pt>
                <c:pt idx="91">
                  <c:v>0.3071158496053178</c:v>
                </c:pt>
                <c:pt idx="92">
                  <c:v>0.22168295845048425</c:v>
                </c:pt>
                <c:pt idx="93">
                  <c:v>0.366783653265725</c:v>
                </c:pt>
                <c:pt idx="94">
                  <c:v>0.3254868032606301</c:v>
                </c:pt>
                <c:pt idx="95">
                  <c:v>0.21020290706000286</c:v>
                </c:pt>
                <c:pt idx="96">
                  <c:v>0.24560416414686825</c:v>
                </c:pt>
                <c:pt idx="97">
                  <c:v>0.2055347855996331</c:v>
                </c:pt>
                <c:pt idx="98">
                  <c:v>0.26739320135190997</c:v>
                </c:pt>
                <c:pt idx="99">
                  <c:v>0.22403662792509405</c:v>
                </c:pt>
                <c:pt idx="100">
                  <c:v>0.2319949212528756</c:v>
                </c:pt>
                <c:pt idx="101">
                  <c:v>0.21991788354514494</c:v>
                </c:pt>
                <c:pt idx="102">
                  <c:v>0.32894632672788787</c:v>
                </c:pt>
                <c:pt idx="103">
                  <c:v>0.30150897603485843</c:v>
                </c:pt>
                <c:pt idx="104">
                  <c:v>0.2600269538801436</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4514969644405898</c:v>
                </c:pt>
                <c:pt idx="1">
                  <c:v>0.3310080409845194</c:v>
                </c:pt>
                <c:pt idx="2">
                  <c:v>0.3173559198823085</c:v>
                </c:pt>
                <c:pt idx="3">
                  <c:v>0.29458079268292686</c:v>
                </c:pt>
                <c:pt idx="4">
                  <c:v>0.3323263732733697</c:v>
                </c:pt>
                <c:pt idx="5">
                  <c:v>0.24567749457264615</c:v>
                </c:pt>
                <c:pt idx="6">
                  <c:v>0.29502095986409005</c:v>
                </c:pt>
                <c:pt idx="7">
                  <c:v>0.30327855816493715</c:v>
                </c:pt>
                <c:pt idx="8">
                  <c:v>0.3912497936016512</c:v>
                </c:pt>
                <c:pt idx="9">
                  <c:v>0.357678247695998</c:v>
                </c:pt>
                <c:pt idx="10">
                  <c:v>0.20414746354799515</c:v>
                </c:pt>
                <c:pt idx="11">
                  <c:v>0.3089513519840805</c:v>
                </c:pt>
                <c:pt idx="12">
                  <c:v>0.1971849318996416</c:v>
                </c:pt>
                <c:pt idx="13">
                  <c:v>0.20160872210953348</c:v>
                </c:pt>
                <c:pt idx="14">
                  <c:v>0.1744585932315859</c:v>
                </c:pt>
                <c:pt idx="15">
                  <c:v>0.28181380498682346</c:v>
                </c:pt>
                <c:pt idx="16">
                  <c:v>0.21052208345577433</c:v>
                </c:pt>
                <c:pt idx="17">
                  <c:v>0.4241787045813586</c:v>
                </c:pt>
                <c:pt idx="18">
                  <c:v>0.3434549915804667</c:v>
                </c:pt>
                <c:pt idx="19">
                  <c:v>0.3060444886238127</c:v>
                </c:pt>
                <c:pt idx="20">
                  <c:v>0.3704827447262385</c:v>
                </c:pt>
                <c:pt idx="21">
                  <c:v>0.22603970741901774</c:v>
                </c:pt>
                <c:pt idx="22">
                  <c:v>0.22750495653500077</c:v>
                </c:pt>
                <c:pt idx="23">
                  <c:v>0.2262697108701696</c:v>
                </c:pt>
                <c:pt idx="24">
                  <c:v>0.3184603550295858</c:v>
                </c:pt>
                <c:pt idx="25">
                  <c:v>0.3262214111328125</c:v>
                </c:pt>
                <c:pt idx="26">
                  <c:v>0.32046376190985976</c:v>
                </c:pt>
                <c:pt idx="27">
                  <c:v>0.2928627948501081</c:v>
                </c:pt>
                <c:pt idx="28">
                  <c:v>0.22962633890620573</c:v>
                </c:pt>
                <c:pt idx="29">
                  <c:v>0.2765548063380282</c:v>
                </c:pt>
                <c:pt idx="30">
                  <c:v>0.2694692281935376</c:v>
                </c:pt>
                <c:pt idx="31">
                  <c:v>0.2782338134430727</c:v>
                </c:pt>
                <c:pt idx="32">
                  <c:v>0.24454360671617695</c:v>
                </c:pt>
                <c:pt idx="33">
                  <c:v>0.3002791256435733</c:v>
                </c:pt>
                <c:pt idx="34">
                  <c:v>0.34182239207664983</c:v>
                </c:pt>
                <c:pt idx="35">
                  <c:v>0.2090731151299032</c:v>
                </c:pt>
                <c:pt idx="36">
                  <c:v>0.24531029298972234</c:v>
                </c:pt>
                <c:pt idx="37">
                  <c:v>0.21250707508809974</c:v>
                </c:pt>
                <c:pt idx="38">
                  <c:v>0.35686727482678987</c:v>
                </c:pt>
                <c:pt idx="39">
                  <c:v>0.3349944027450139</c:v>
                </c:pt>
                <c:pt idx="40">
                  <c:v>0.3258053078996475</c:v>
                </c:pt>
                <c:pt idx="41">
                  <c:v>0.3030728455284553</c:v>
                </c:pt>
                <c:pt idx="42">
                  <c:v>0.24783406944867498</c:v>
                </c:pt>
                <c:pt idx="43">
                  <c:v>0.3643649495956575</c:v>
                </c:pt>
                <c:pt idx="44">
                  <c:v>0.18453177603423682</c:v>
                </c:pt>
                <c:pt idx="45">
                  <c:v>0.2532713069604407</c:v>
                </c:pt>
                <c:pt idx="46">
                  <c:v>0.29930003982477105</c:v>
                </c:pt>
                <c:pt idx="47">
                  <c:v>0.1737454777534646</c:v>
                </c:pt>
                <c:pt idx="48">
                  <c:v>0.15728973244147157</c:v>
                </c:pt>
                <c:pt idx="49">
                  <c:v>0.2361797215739921</c:v>
                </c:pt>
                <c:pt idx="50">
                  <c:v>0.24695499033193935</c:v>
                </c:pt>
                <c:pt idx="51">
                  <c:v>0.2191764212644642</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183724445091305</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183724445091305</c:v>
                </c:pt>
                <c:pt idx="1">
                  <c:v>4.183724445091305</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93595017468726</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93595017468726</c:v>
                </c:pt>
                <c:pt idx="1">
                  <c:v>2.193595017468726</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5566776248631844</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5566776248631844</c:v>
                </c:pt>
                <c:pt idx="1">
                  <c:v>2.5566776248631844</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4514969644405898</c:v>
                </c:pt>
                <c:pt idx="1">
                  <c:v>0.3310080409845194</c:v>
                </c:pt>
                <c:pt idx="2">
                  <c:v>0.3173559198823085</c:v>
                </c:pt>
                <c:pt idx="3">
                  <c:v>0.29458079268292686</c:v>
                </c:pt>
                <c:pt idx="4">
                  <c:v>0.3323263732733697</c:v>
                </c:pt>
                <c:pt idx="5">
                  <c:v>0.24567749457264615</c:v>
                </c:pt>
                <c:pt idx="6">
                  <c:v>0.29502095986409005</c:v>
                </c:pt>
                <c:pt idx="7">
                  <c:v>0.30327855816493715</c:v>
                </c:pt>
                <c:pt idx="8">
                  <c:v>0.3912497936016512</c:v>
                </c:pt>
                <c:pt idx="9">
                  <c:v>0.357678247695998</c:v>
                </c:pt>
                <c:pt idx="10">
                  <c:v>0.20414746354799515</c:v>
                </c:pt>
                <c:pt idx="11">
                  <c:v>0.3089513519840805</c:v>
                </c:pt>
                <c:pt idx="12">
                  <c:v>0.1971849318996416</c:v>
                </c:pt>
                <c:pt idx="13">
                  <c:v>0.20160872210953348</c:v>
                </c:pt>
                <c:pt idx="14">
                  <c:v>0.1744585932315859</c:v>
                </c:pt>
                <c:pt idx="15">
                  <c:v>0.28181380498682346</c:v>
                </c:pt>
                <c:pt idx="16">
                  <c:v>0.21052208345577433</c:v>
                </c:pt>
                <c:pt idx="17">
                  <c:v>0.4241787045813586</c:v>
                </c:pt>
                <c:pt idx="18">
                  <c:v>0.3434549915804667</c:v>
                </c:pt>
                <c:pt idx="19">
                  <c:v>0.3060444886238127</c:v>
                </c:pt>
                <c:pt idx="20">
                  <c:v>0.3704827447262385</c:v>
                </c:pt>
                <c:pt idx="21">
                  <c:v>0.22603970741901774</c:v>
                </c:pt>
                <c:pt idx="22">
                  <c:v>0.22750495653500077</c:v>
                </c:pt>
                <c:pt idx="23">
                  <c:v>0.2262697108701696</c:v>
                </c:pt>
                <c:pt idx="24">
                  <c:v>0.3184603550295858</c:v>
                </c:pt>
                <c:pt idx="25">
                  <c:v>0.3262214111328125</c:v>
                </c:pt>
                <c:pt idx="26">
                  <c:v>0.32046376190985976</c:v>
                </c:pt>
                <c:pt idx="27">
                  <c:v>0.2928627948501081</c:v>
                </c:pt>
                <c:pt idx="28">
                  <c:v>0.22962633890620573</c:v>
                </c:pt>
                <c:pt idx="29">
                  <c:v>0.2765548063380282</c:v>
                </c:pt>
                <c:pt idx="30">
                  <c:v>0.2694692281935376</c:v>
                </c:pt>
                <c:pt idx="31">
                  <c:v>0.2782338134430727</c:v>
                </c:pt>
                <c:pt idx="32">
                  <c:v>0.24454360671617695</c:v>
                </c:pt>
                <c:pt idx="33">
                  <c:v>0.3002791256435733</c:v>
                </c:pt>
                <c:pt idx="34">
                  <c:v>0.34182239207664983</c:v>
                </c:pt>
                <c:pt idx="35">
                  <c:v>0.2090731151299032</c:v>
                </c:pt>
                <c:pt idx="36">
                  <c:v>0.24531029298972234</c:v>
                </c:pt>
                <c:pt idx="37">
                  <c:v>0.21250707508809974</c:v>
                </c:pt>
                <c:pt idx="38">
                  <c:v>0.35686727482678987</c:v>
                </c:pt>
                <c:pt idx="39">
                  <c:v>0.3349944027450139</c:v>
                </c:pt>
                <c:pt idx="40">
                  <c:v>0.3258053078996475</c:v>
                </c:pt>
                <c:pt idx="41">
                  <c:v>0.3030728455284553</c:v>
                </c:pt>
                <c:pt idx="42">
                  <c:v>0.24783406944867498</c:v>
                </c:pt>
                <c:pt idx="43">
                  <c:v>0.3643649495956575</c:v>
                </c:pt>
                <c:pt idx="44">
                  <c:v>0.18453177603423682</c:v>
                </c:pt>
                <c:pt idx="45">
                  <c:v>0.2532713069604407</c:v>
                </c:pt>
                <c:pt idx="46">
                  <c:v>0.29930003982477105</c:v>
                </c:pt>
                <c:pt idx="47">
                  <c:v>0.1737454777534646</c:v>
                </c:pt>
                <c:pt idx="48">
                  <c:v>0.15728973244147157</c:v>
                </c:pt>
                <c:pt idx="49">
                  <c:v>0.2361797215739921</c:v>
                </c:pt>
                <c:pt idx="50">
                  <c:v>0.24695499033193935</c:v>
                </c:pt>
                <c:pt idx="51">
                  <c:v>0.2191764212644642</c:v>
                </c:pt>
                <c:pt idx="52">
                  <c:v>2.193595017468726</c:v>
                </c:pt>
                <c:pt idx="53">
                  <c:v>4.183724445091305</c:v>
                </c:pt>
                <c:pt idx="54">
                  <c:v>2.5566776248631844</c:v>
                </c:pt>
              </c:numCache>
            </c:numRef>
          </c:xVal>
          <c:yVal>
            <c:numRef>
              <c:f>Sheet1!$B$187:$B$241</c:f>
              <c:numCache>
                <c:formatCode>General</c:formatCode>
                <c:ptCount val="55"/>
                <c:pt idx="0">
                  <c:v>0.32123032663491224</c:v>
                </c:pt>
                <c:pt idx="1">
                  <c:v>0.3218904666877769</c:v>
                </c:pt>
                <c:pt idx="2">
                  <c:v>0.3217854994653786</c:v>
                </c:pt>
                <c:pt idx="3">
                  <c:v>0.32161038807982983</c:v>
                </c:pt>
                <c:pt idx="4">
                  <c:v>0.32190060296458856</c:v>
                </c:pt>
                <c:pt idx="5">
                  <c:v>0.32123438472252586</c:v>
                </c:pt>
                <c:pt idx="6">
                  <c:v>0.3216137723983582</c:v>
                </c:pt>
                <c:pt idx="7">
                  <c:v>0.32167726269051367</c:v>
                </c:pt>
                <c:pt idx="8">
                  <c:v>0.3223536481522016</c:v>
                </c:pt>
                <c:pt idx="9">
                  <c:v>0.3220955262165001</c:v>
                </c:pt>
                <c:pt idx="10">
                  <c:v>0.32091507228967125</c:v>
                </c:pt>
                <c:pt idx="11">
                  <c:v>0.3217208791663694</c:v>
                </c:pt>
                <c:pt idx="12">
                  <c:v>0.3208615393915585</c:v>
                </c:pt>
                <c:pt idx="13">
                  <c:v>0.32089555263882813</c:v>
                </c:pt>
                <c:pt idx="14">
                  <c:v>0.32068680312695835</c:v>
                </c:pt>
                <c:pt idx="15">
                  <c:v>0.32151222639295207</c:v>
                </c:pt>
                <c:pt idx="16">
                  <c:v>0.3209640849039423</c:v>
                </c:pt>
                <c:pt idx="17">
                  <c:v>0.3226068290532691</c:v>
                </c:pt>
                <c:pt idx="18">
                  <c:v>0.3219861677016782</c:v>
                </c:pt>
                <c:pt idx="19">
                  <c:v>0.32169852913222197</c:v>
                </c:pt>
                <c:pt idx="20">
                  <c:v>0.3221939763018319</c:v>
                </c:pt>
                <c:pt idx="21">
                  <c:v>0.32108339543989844</c:v>
                </c:pt>
                <c:pt idx="22">
                  <c:v>0.3210946613178287</c:v>
                </c:pt>
                <c:pt idx="23">
                  <c:v>0.32108516387011005</c:v>
                </c:pt>
                <c:pt idx="24">
                  <c:v>0.32179399114874857</c:v>
                </c:pt>
                <c:pt idx="25">
                  <c:v>0.32185366367113055</c:v>
                </c:pt>
                <c:pt idx="26">
                  <c:v>0.321809394766544</c:v>
                </c:pt>
                <c:pt idx="27">
                  <c:v>0.3215971788898991</c:v>
                </c:pt>
                <c:pt idx="28">
                  <c:v>0.32111097201515426</c:v>
                </c:pt>
                <c:pt idx="29">
                  <c:v>0.32147179146883825</c:v>
                </c:pt>
                <c:pt idx="30">
                  <c:v>0.32141731250169864</c:v>
                </c:pt>
                <c:pt idx="31">
                  <c:v>0.3214847008703066</c:v>
                </c:pt>
                <c:pt idx="32">
                  <c:v>0.32122566658576795</c:v>
                </c:pt>
                <c:pt idx="33">
                  <c:v>0.32165420091878005</c:v>
                </c:pt>
                <c:pt idx="34">
                  <c:v>0.32197361511487343</c:v>
                </c:pt>
                <c:pt idx="35">
                  <c:v>0.3209529442043125</c:v>
                </c:pt>
                <c:pt idx="36">
                  <c:v>0.32123156141544185</c:v>
                </c:pt>
                <c:pt idx="37">
                  <c:v>0.3209793469322066</c:v>
                </c:pt>
                <c:pt idx="38">
                  <c:v>0.3220892908799628</c:v>
                </c:pt>
                <c:pt idx="39">
                  <c:v>0.321921116673837</c:v>
                </c:pt>
                <c:pt idx="40">
                  <c:v>0.3218504643733592</c:v>
                </c:pt>
                <c:pt idx="41">
                  <c:v>0.32167568102537153</c:v>
                </c:pt>
                <c:pt idx="42">
                  <c:v>0.32125096600487285</c:v>
                </c:pt>
                <c:pt idx="43">
                  <c:v>0.3221469383392141</c:v>
                </c:pt>
                <c:pt idx="44">
                  <c:v>0.3207642529248021</c:v>
                </c:pt>
                <c:pt idx="45">
                  <c:v>0.32129277135620665</c:v>
                </c:pt>
                <c:pt idx="46">
                  <c:v>0.3216466730102507</c:v>
                </c:pt>
                <c:pt idx="47">
                  <c:v>0.3206813201876827</c:v>
                </c:pt>
                <c:pt idx="48">
                  <c:v>0.3205547967071948</c:v>
                </c:pt>
                <c:pt idx="49">
                  <c:v>0.3211613590847386</c:v>
                </c:pt>
                <c:pt idx="50">
                  <c:v>0.3212442070190375</c:v>
                </c:pt>
                <c:pt idx="51">
                  <c:v>0.32103062561176887</c:v>
                </c:pt>
                <c:pt idx="52">
                  <c:v>0.33621136085015935</c:v>
                </c:pt>
                <c:pt idx="53">
                  <c:v>0.3515128921409143</c:v>
                </c:pt>
                <c:pt idx="54">
                  <c:v>0.339002998319091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6.2679</c:v>
                </c:pt>
                <c:pt idx="1">
                  <c:v>1026.0122</c:v>
                </c:pt>
                <c:pt idx="2">
                  <c:v>1074.7558</c:v>
                </c:pt>
                <c:pt idx="3">
                  <c:v>1110.9699</c:v>
                </c:pt>
                <c:pt idx="4">
                  <c:v>1129.8605</c:v>
                </c:pt>
                <c:pt idx="5">
                  <c:v>1107.4167</c:v>
                </c:pt>
                <c:pt idx="6">
                  <c:v>1025.993</c:v>
                </c:pt>
                <c:pt idx="7">
                  <c:v>1066.0139</c:v>
                </c:pt>
                <c:pt idx="8">
                  <c:v>1084.4672</c:v>
                </c:pt>
                <c:pt idx="9">
                  <c:v>1045.4303</c:v>
                </c:pt>
                <c:pt idx="10">
                  <c:v>1009.3443</c:v>
                </c:pt>
                <c:pt idx="11">
                  <c:v>1074.6981</c:v>
                </c:pt>
                <c:pt idx="12">
                  <c:v>1080.0225</c:v>
                </c:pt>
                <c:pt idx="13">
                  <c:v>1086.3314</c:v>
                </c:pt>
                <c:pt idx="14">
                  <c:v>1100.3586</c:v>
                </c:pt>
                <c:pt idx="15">
                  <c:v>1130.6992</c:v>
                </c:pt>
                <c:pt idx="16">
                  <c:v>1145.9712</c:v>
                </c:pt>
                <c:pt idx="17">
                  <c:v>1159.1364</c:v>
                </c:pt>
                <c:pt idx="18">
                  <c:v>1183.8333</c:v>
                </c:pt>
                <c:pt idx="19">
                  <c:v>1158.7468</c:v>
                </c:pt>
                <c:pt idx="20">
                  <c:v>1203.7629</c:v>
                </c:pt>
                <c:pt idx="21">
                  <c:v>1225.9385</c:v>
                </c:pt>
                <c:pt idx="22">
                  <c:v>1203.6316</c:v>
                </c:pt>
                <c:pt idx="23">
                  <c:v>1151.039</c:v>
                </c:pt>
                <c:pt idx="24">
                  <c:v>1167.3232</c:v>
                </c:pt>
                <c:pt idx="25">
                  <c:v>1149.3523</c:v>
                </c:pt>
                <c:pt idx="26">
                  <c:v>1134.7738</c:v>
                </c:pt>
                <c:pt idx="27">
                  <c:v>1180.9775</c:v>
                </c:pt>
                <c:pt idx="28">
                  <c:v>1161.4045</c:v>
                </c:pt>
                <c:pt idx="29">
                  <c:v>1086.2269</c:v>
                </c:pt>
                <c:pt idx="30">
                  <c:v>1126.6988</c:v>
                </c:pt>
                <c:pt idx="31">
                  <c:v>1075.9625</c:v>
                </c:pt>
                <c:pt idx="32">
                  <c:v>1036.2299</c:v>
                </c:pt>
                <c:pt idx="33">
                  <c:v>884.8952</c:v>
                </c:pt>
                <c:pt idx="34">
                  <c:v>969.2147</c:v>
                </c:pt>
                <c:pt idx="35">
                  <c:v>1073.3416</c:v>
                </c:pt>
                <c:pt idx="36">
                  <c:v>1074.0172</c:v>
                </c:pt>
                <c:pt idx="37">
                  <c:v>1126.9151</c:v>
                </c:pt>
                <c:pt idx="38">
                  <c:v>1182.9111</c:v>
                </c:pt>
                <c:pt idx="39">
                  <c:v>1258.2614</c:v>
                </c:pt>
                <c:pt idx="40">
                  <c:v>1205.3011</c:v>
                </c:pt>
                <c:pt idx="41">
                  <c:v>1167.6071</c:v>
                </c:pt>
                <c:pt idx="42">
                  <c:v>1269.8729</c:v>
                </c:pt>
                <c:pt idx="43">
                  <c:v>1360.9821</c:v>
                </c:pt>
                <c:pt idx="44">
                  <c:v>1286.3154</c:v>
                </c:pt>
                <c:pt idx="45">
                  <c:v>1268.8389</c:v>
                </c:pt>
                <c:pt idx="46">
                  <c:v>1221.058</c:v>
                </c:pt>
                <c:pt idx="47">
                  <c:v>1262.7843</c:v>
                </c:pt>
                <c:pt idx="48">
                  <c:v>1243.7952</c:v>
                </c:pt>
                <c:pt idx="49">
                  <c:v>1192.0164</c:v>
                </c:pt>
                <c:pt idx="50">
                  <c:v>1195.901</c:v>
                </c:pt>
                <c:pt idx="51">
                  <c:v>1247.2053</c:v>
                </c:pt>
                <c:pt idx="52">
                  <c:v>1276.6039</c:v>
                </c:pt>
                <c:pt idx="53">
                  <c:v>1349.9542</c:v>
                </c:pt>
                <c:pt idx="54">
                  <c:v>1366.3884</c:v>
                </c:pt>
                <c:pt idx="55">
                  <c:v>1394.9245</c:v>
                </c:pt>
                <c:pt idx="56">
                  <c:v>1377.4554</c:v>
                </c:pt>
                <c:pt idx="57">
                  <c:v>1309.8403</c:v>
                </c:pt>
                <c:pt idx="58">
                  <c:v>1275.2857</c:v>
                </c:pt>
                <c:pt idx="59">
                  <c:v>1306.2346</c:v>
                </c:pt>
                <c:pt idx="60">
                  <c:v>1347.7898</c:v>
                </c:pt>
                <c:pt idx="61">
                  <c:v>1346.188</c:v>
                </c:pt>
                <c:pt idx="62">
                  <c:v>1244.0946</c:v>
                </c:pt>
                <c:pt idx="63">
                  <c:v>1325.2303</c:v>
                </c:pt>
                <c:pt idx="64">
                  <c:v>1277.4556</c:v>
                </c:pt>
                <c:pt idx="65">
                  <c:v>1289.7413</c:v>
                </c:pt>
                <c:pt idx="66">
                  <c:v>1221.0414</c:v>
                </c:pt>
                <c:pt idx="67">
                  <c:v>1245.1032</c:v>
                </c:pt>
                <c:pt idx="68">
                  <c:v>1262.1389</c:v>
                </c:pt>
                <c:pt idx="69">
                  <c:v>1247.7436</c:v>
                </c:pt>
                <c:pt idx="70">
                  <c:v>1158.6711</c:v>
                </c:pt>
                <c:pt idx="71">
                  <c:v>1309.9333</c:v>
                </c:pt>
                <c:pt idx="72">
                  <c:v>1565.2899</c:v>
                </c:pt>
                <c:pt idx="73">
                  <c:v>1522.1077</c:v>
                </c:pt>
                <c:pt idx="74">
                  <c:v>1477.3077</c:v>
                </c:pt>
                <c:pt idx="75">
                  <c:v>1309.5263</c:v>
                </c:pt>
                <c:pt idx="76">
                  <c:v>1316.029</c:v>
                </c:pt>
                <c:pt idx="77">
                  <c:v>1399.4655</c:v>
                </c:pt>
                <c:pt idx="78">
                  <c:v>1455.0294</c:v>
                </c:pt>
                <c:pt idx="79">
                  <c:v>1406.2239</c:v>
                </c:pt>
                <c:pt idx="80">
                  <c:v>1422.8608</c:v>
                </c:pt>
                <c:pt idx="81">
                  <c:v>1394.8559</c:v>
                </c:pt>
                <c:pt idx="82">
                  <c:v>1344.2824</c:v>
                </c:pt>
                <c:pt idx="83">
                  <c:v>1278.3571</c:v>
                </c:pt>
                <c:pt idx="84">
                  <c:v>1421.3333</c:v>
                </c:pt>
                <c:pt idx="85">
                  <c:v>1299.8667</c:v>
                </c:pt>
                <c:pt idx="86">
                  <c:v>1257.2569</c:v>
                </c:pt>
                <c:pt idx="87">
                  <c:v>1240.152</c:v>
                </c:pt>
                <c:pt idx="88">
                  <c:v>1368.5102</c:v>
                </c:pt>
                <c:pt idx="89">
                  <c:v>1306.5122</c:v>
                </c:pt>
                <c:pt idx="90">
                  <c:v>1380.8608</c:v>
                </c:pt>
                <c:pt idx="91">
                  <c:v>1478.4557</c:v>
                </c:pt>
                <c:pt idx="92">
                  <c:v>1419.2143</c:v>
                </c:pt>
                <c:pt idx="93">
                  <c:v>1519.0345</c:v>
                </c:pt>
                <c:pt idx="94">
                  <c:v>1477.3846</c:v>
                </c:pt>
                <c:pt idx="95">
                  <c:v>1467.8469</c:v>
                </c:pt>
                <c:pt idx="96">
                  <c:v>1421.4341</c:v>
                </c:pt>
                <c:pt idx="97">
                  <c:v>1344.5058</c:v>
                </c:pt>
                <c:pt idx="98">
                  <c:v>1314.5941</c:v>
                </c:pt>
                <c:pt idx="99">
                  <c:v>1280.444</c:v>
                </c:pt>
                <c:pt idx="100">
                  <c:v>1311.0033</c:v>
                </c:pt>
                <c:pt idx="101">
                  <c:v>1323.7957</c:v>
                </c:pt>
                <c:pt idx="102">
                  <c:v>1361.1799</c:v>
                </c:pt>
                <c:pt idx="103">
                  <c:v>1383.9262</c:v>
                </c:pt>
                <c:pt idx="104">
                  <c:v>1412.3364</c:v>
                </c:pt>
              </c:numCache>
            </c:numRef>
          </c:xVal>
          <c:yVal>
            <c:numRef>
              <c:f>Sheet1!$B$2:$B$106</c:f>
              <c:numCache>
                <c:formatCode>General</c:formatCode>
                <c:ptCount val="105"/>
                <c:pt idx="0">
                  <c:v>0.3106796116504854</c:v>
                </c:pt>
                <c:pt idx="1">
                  <c:v>0.33131313131313134</c:v>
                </c:pt>
                <c:pt idx="2">
                  <c:v>0.34959349593495936</c:v>
                </c:pt>
                <c:pt idx="3">
                  <c:v>0.3562231759656652</c:v>
                </c:pt>
                <c:pt idx="4">
                  <c:v>0.36210526315789476</c:v>
                </c:pt>
                <c:pt idx="5">
                  <c:v>0.33962264150943394</c:v>
                </c:pt>
                <c:pt idx="6">
                  <c:v>0.34292565947242204</c:v>
                </c:pt>
                <c:pt idx="7">
                  <c:v>0.366412213740458</c:v>
                </c:pt>
                <c:pt idx="8">
                  <c:v>0.3765432098765432</c:v>
                </c:pt>
                <c:pt idx="9">
                  <c:v>0.3634361233480176</c:v>
                </c:pt>
                <c:pt idx="10">
                  <c:v>0.38125</c:v>
                </c:pt>
                <c:pt idx="11">
                  <c:v>0.3509933774834437</c:v>
                </c:pt>
                <c:pt idx="12">
                  <c:v>0.31448763250883394</c:v>
                </c:pt>
                <c:pt idx="13">
                  <c:v>0.29238754325259514</c:v>
                </c:pt>
                <c:pt idx="14">
                  <c:v>0.2767175572519084</c:v>
                </c:pt>
                <c:pt idx="15">
                  <c:v>0.3014705882352941</c:v>
                </c:pt>
                <c:pt idx="16">
                  <c:v>0.2937853107344633</c:v>
                </c:pt>
                <c:pt idx="17">
                  <c:v>0.28852459016393445</c:v>
                </c:pt>
                <c:pt idx="18">
                  <c:v>0.2785714285714286</c:v>
                </c:pt>
                <c:pt idx="19">
                  <c:v>0.3038461538461538</c:v>
                </c:pt>
                <c:pt idx="20">
                  <c:v>0.305993690851735</c:v>
                </c:pt>
                <c:pt idx="21">
                  <c:v>0.32338308457711445</c:v>
                </c:pt>
                <c:pt idx="22">
                  <c:v>0.3179916317991632</c:v>
                </c:pt>
                <c:pt idx="23">
                  <c:v>0.31950207468879666</c:v>
                </c:pt>
                <c:pt idx="24">
                  <c:v>0.32781456953642385</c:v>
                </c:pt>
                <c:pt idx="25">
                  <c:v>0.3371647509578544</c:v>
                </c:pt>
                <c:pt idx="26">
                  <c:v>0.31226765799256506</c:v>
                </c:pt>
                <c:pt idx="27">
                  <c:v>0.3047945205479452</c:v>
                </c:pt>
                <c:pt idx="28">
                  <c:v>0.31338028169014087</c:v>
                </c:pt>
                <c:pt idx="29">
                  <c:v>0.34195402298850575</c:v>
                </c:pt>
                <c:pt idx="30">
                  <c:v>0.3487394957983193</c:v>
                </c:pt>
                <c:pt idx="31">
                  <c:v>0.3404255319148936</c:v>
                </c:pt>
                <c:pt idx="32">
                  <c:v>0.35802469135802467</c:v>
                </c:pt>
                <c:pt idx="33">
                  <c:v>0.37349397590361444</c:v>
                </c:pt>
                <c:pt idx="34">
                  <c:v>0.38443396226415094</c:v>
                </c:pt>
                <c:pt idx="35">
                  <c:v>0.35815602836879434</c:v>
                </c:pt>
                <c:pt idx="36">
                  <c:v>0.3473053892215569</c:v>
                </c:pt>
                <c:pt idx="37">
                  <c:v>0.3680555555555556</c:v>
                </c:pt>
                <c:pt idx="38">
                  <c:v>0.36</c:v>
                </c:pt>
                <c:pt idx="39">
                  <c:v>0.3464566929133858</c:v>
                </c:pt>
                <c:pt idx="40">
                  <c:v>0.2971246006389776</c:v>
                </c:pt>
                <c:pt idx="41">
                  <c:v>0.38095238095238093</c:v>
                </c:pt>
                <c:pt idx="42">
                  <c:v>0.34502923976608185</c:v>
                </c:pt>
                <c:pt idx="43">
                  <c:v>0.3425076452599388</c:v>
                </c:pt>
                <c:pt idx="44">
                  <c:v>0.29345372460496616</c:v>
                </c:pt>
                <c:pt idx="45">
                  <c:v>0.31802120141342755</c:v>
                </c:pt>
                <c:pt idx="46">
                  <c:v>0.3076923076923077</c:v>
                </c:pt>
                <c:pt idx="47">
                  <c:v>0.3202511773940345</c:v>
                </c:pt>
                <c:pt idx="48">
                  <c:v>0.3204633204633205</c:v>
                </c:pt>
                <c:pt idx="49">
                  <c:v>0.2836052836052836</c:v>
                </c:pt>
                <c:pt idx="50">
                  <c:v>0.2898134863701578</c:v>
                </c:pt>
                <c:pt idx="51">
                  <c:v>0.27706422018348625</c:v>
                </c:pt>
                <c:pt idx="52">
                  <c:v>0.283609576427256</c:v>
                </c:pt>
                <c:pt idx="53">
                  <c:v>0.3119047619047619</c:v>
                </c:pt>
                <c:pt idx="54">
                  <c:v>0.31025641025641026</c:v>
                </c:pt>
                <c:pt idx="55">
                  <c:v>0.2857142857142857</c:v>
                </c:pt>
                <c:pt idx="56">
                  <c:v>0.28717948717948716</c:v>
                </c:pt>
                <c:pt idx="57">
                  <c:v>0.26327433628318586</c:v>
                </c:pt>
                <c:pt idx="58">
                  <c:v>0.2702702702702703</c:v>
                </c:pt>
                <c:pt idx="59">
                  <c:v>0.2775193798449612</c:v>
                </c:pt>
                <c:pt idx="60">
                  <c:v>0.2875816993464052</c:v>
                </c:pt>
                <c:pt idx="61">
                  <c:v>0.2733644859813084</c:v>
                </c:pt>
                <c:pt idx="62">
                  <c:v>0.27106227106227104</c:v>
                </c:pt>
                <c:pt idx="63">
                  <c:v>0.26161790017211706</c:v>
                </c:pt>
                <c:pt idx="64">
                  <c:v>0.2708333333333333</c:v>
                </c:pt>
                <c:pt idx="65">
                  <c:v>0.2581227436823105</c:v>
                </c:pt>
                <c:pt idx="66">
                  <c:v>0.2935222672064777</c:v>
                </c:pt>
                <c:pt idx="67">
                  <c:v>0.2903225806451613</c:v>
                </c:pt>
                <c:pt idx="68">
                  <c:v>0.31486880466472306</c:v>
                </c:pt>
                <c:pt idx="69">
                  <c:v>0.3046875</c:v>
                </c:pt>
                <c:pt idx="70">
                  <c:v>0.3064516129032258</c:v>
                </c:pt>
                <c:pt idx="71">
                  <c:v>0.3488372093023256</c:v>
                </c:pt>
                <c:pt idx="72">
                  <c:v>0.30666666666666664</c:v>
                </c:pt>
                <c:pt idx="73">
                  <c:v>0.31100478468899523</c:v>
                </c:pt>
                <c:pt idx="74">
                  <c:v>0.2698961937716263</c:v>
                </c:pt>
                <c:pt idx="75">
                  <c:v>0.3486238532110092</c:v>
                </c:pt>
                <c:pt idx="76">
                  <c:v>0.3612565445026178</c:v>
                </c:pt>
                <c:pt idx="77">
                  <c:v>0.31868131868131866</c:v>
                </c:pt>
                <c:pt idx="78">
                  <c:v>0.33170731707317075</c:v>
                </c:pt>
                <c:pt idx="79">
                  <c:v>0.29004329004329005</c:v>
                </c:pt>
                <c:pt idx="80">
                  <c:v>0.3319327731092437</c:v>
                </c:pt>
                <c:pt idx="81">
                  <c:v>0.3512658227848101</c:v>
                </c:pt>
                <c:pt idx="82">
                  <c:v>0.37117903930131</c:v>
                </c:pt>
                <c:pt idx="83">
                  <c:v>0.4046242774566474</c:v>
                </c:pt>
                <c:pt idx="84">
                  <c:v>0.32608695652173914</c:v>
                </c:pt>
                <c:pt idx="85">
                  <c:v>0.3813559322033898</c:v>
                </c:pt>
                <c:pt idx="86">
                  <c:v>0.41739130434782606</c:v>
                </c:pt>
                <c:pt idx="87">
                  <c:v>0.391304347826087</c:v>
                </c:pt>
                <c:pt idx="88">
                  <c:v>0.4016393442622951</c:v>
                </c:pt>
                <c:pt idx="89">
                  <c:v>0.41836734693877553</c:v>
                </c:pt>
                <c:pt idx="90">
                  <c:v>0.398989898989899</c:v>
                </c:pt>
                <c:pt idx="91">
                  <c:v>0.41798941798941797</c:v>
                </c:pt>
                <c:pt idx="92">
                  <c:v>0.3798449612403101</c:v>
                </c:pt>
                <c:pt idx="93">
                  <c:v>0.33852140077821014</c:v>
                </c:pt>
                <c:pt idx="94">
                  <c:v>0.32019704433497537</c:v>
                </c:pt>
                <c:pt idx="95">
                  <c:v>0.3072100313479624</c:v>
                </c:pt>
                <c:pt idx="96">
                  <c:v>0.3265822784810127</c:v>
                </c:pt>
                <c:pt idx="97">
                  <c:v>0.33204633204633205</c:v>
                </c:pt>
                <c:pt idx="98">
                  <c:v>0.3136645962732919</c:v>
                </c:pt>
                <c:pt idx="99">
                  <c:v>0.31136950904392763</c:v>
                </c:pt>
                <c:pt idx="100">
                  <c:v>0.30324543610547666</c:v>
                </c:pt>
                <c:pt idx="101">
                  <c:v>0.3184931506849315</c:v>
                </c:pt>
                <c:pt idx="102">
                  <c:v>0.34663341645885287</c:v>
                </c:pt>
                <c:pt idx="103">
                  <c:v>0.3059548254620123</c:v>
                </c:pt>
                <c:pt idx="104">
                  <c:v>0.30640668523676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numCache>
            </c:numRef>
          </c:xVal>
          <c:yVal>
            <c:numRef>
              <c:f>Sheet1!$B$109:$B$160</c:f>
              <c:numCache>
                <c:formatCode>General</c:formatCode>
                <c:ptCount val="52"/>
                <c:pt idx="0">
                  <c:v>0.3472222222222222</c:v>
                </c:pt>
                <c:pt idx="1">
                  <c:v>0.3</c:v>
                </c:pt>
                <c:pt idx="2">
                  <c:v>0.2951653944020356</c:v>
                </c:pt>
                <c:pt idx="3">
                  <c:v>0.29411764705882354</c:v>
                </c:pt>
                <c:pt idx="4">
                  <c:v>0.2877906976744186</c:v>
                </c:pt>
                <c:pt idx="5">
                  <c:v>0.3081232492997199</c:v>
                </c:pt>
                <c:pt idx="6">
                  <c:v>0.3228915662650602</c:v>
                </c:pt>
                <c:pt idx="7">
                  <c:v>0.34554973821989526</c:v>
                </c:pt>
                <c:pt idx="8">
                  <c:v>0.34545454545454546</c:v>
                </c:pt>
                <c:pt idx="9">
                  <c:v>0.33810888252148996</c:v>
                </c:pt>
                <c:pt idx="10">
                  <c:v>0.34203655352480417</c:v>
                </c:pt>
                <c:pt idx="11">
                  <c:v>0.32287822878228783</c:v>
                </c:pt>
                <c:pt idx="12">
                  <c:v>0.3203463203463203</c:v>
                </c:pt>
                <c:pt idx="13">
                  <c:v>0.3493975903614458</c:v>
                </c:pt>
                <c:pt idx="14">
                  <c:v>0.34108527131782945</c:v>
                </c:pt>
                <c:pt idx="15">
                  <c:v>0.32432432432432434</c:v>
                </c:pt>
                <c:pt idx="16">
                  <c:v>0.31645569620253167</c:v>
                </c:pt>
                <c:pt idx="17">
                  <c:v>0.3157894736842105</c:v>
                </c:pt>
                <c:pt idx="18">
                  <c:v>0.3055555555555556</c:v>
                </c:pt>
                <c:pt idx="19">
                  <c:v>0.33884297520661155</c:v>
                </c:pt>
                <c:pt idx="20">
                  <c:v>0.33707865168539325</c:v>
                </c:pt>
                <c:pt idx="21">
                  <c:v>0.418848167539267</c:v>
                </c:pt>
                <c:pt idx="22">
                  <c:v>0.32</c:v>
                </c:pt>
                <c:pt idx="23">
                  <c:v>0.2982456140350877</c:v>
                </c:pt>
                <c:pt idx="24">
                  <c:v>0.29743589743589743</c:v>
                </c:pt>
                <c:pt idx="25">
                  <c:v>0.32547169811320753</c:v>
                </c:pt>
                <c:pt idx="26">
                  <c:v>0.2967479674796748</c:v>
                </c:pt>
                <c:pt idx="27">
                  <c:v>0.27755102040816326</c:v>
                </c:pt>
                <c:pt idx="28">
                  <c:v>0.2813688212927757</c:v>
                </c:pt>
                <c:pt idx="29">
                  <c:v>0.34297520661157027</c:v>
                </c:pt>
                <c:pt idx="30">
                  <c:v>0.2930232558139535</c:v>
                </c:pt>
                <c:pt idx="31">
                  <c:v>0.25</c:v>
                </c:pt>
                <c:pt idx="32">
                  <c:v>0.27705627705627706</c:v>
                </c:pt>
                <c:pt idx="33">
                  <c:v>0.2662337662337662</c:v>
                </c:pt>
                <c:pt idx="34">
                  <c:v>0.3617021276595745</c:v>
                </c:pt>
                <c:pt idx="35">
                  <c:v>0.2714285714285714</c:v>
                </c:pt>
                <c:pt idx="36">
                  <c:v>0.28846153846153844</c:v>
                </c:pt>
                <c:pt idx="37">
                  <c:v>0.3064516129032258</c:v>
                </c:pt>
                <c:pt idx="38">
                  <c:v>0.3383084577114428</c:v>
                </c:pt>
                <c:pt idx="39">
                  <c:v>0.3377777777777778</c:v>
                </c:pt>
                <c:pt idx="40">
                  <c:v>0.3391304347826087</c:v>
                </c:pt>
                <c:pt idx="41">
                  <c:v>0.3458333333333333</c:v>
                </c:pt>
                <c:pt idx="42">
                  <c:v>0.36574074074074076</c:v>
                </c:pt>
                <c:pt idx="43">
                  <c:v>0.33447098976109213</c:v>
                </c:pt>
                <c:pt idx="44">
                  <c:v>0.30670926517571884</c:v>
                </c:pt>
                <c:pt idx="45">
                  <c:v>0.34831460674157305</c:v>
                </c:pt>
                <c:pt idx="46">
                  <c:v>0.37585421412300685</c:v>
                </c:pt>
                <c:pt idx="47">
                  <c:v>0.3626373626373626</c:v>
                </c:pt>
                <c:pt idx="48">
                  <c:v>0.29933481152993346</c:v>
                </c:pt>
                <c:pt idx="49">
                  <c:v>0.3280701754385965</c:v>
                </c:pt>
                <c:pt idx="50">
                  <c:v>0.3333333333333333</c:v>
                </c:pt>
                <c:pt idx="51">
                  <c:v>0.3298319327731092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58.8434083903571</c:v>
                </c:pt>
              </c:numCache>
            </c:numRef>
          </c:xVal>
          <c:yVal>
            <c:numRef>
              <c:f>Sheet1!$B$163:$B$164</c:f>
              <c:numCache>
                <c:formatCode>General</c:formatCode>
                <c:ptCount val="2"/>
                <c:pt idx="0">
                  <c:v>0.3515128921409143</c:v>
                </c:pt>
                <c:pt idx="1">
                  <c:v>0.35151289214091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58.8434083903571</c:v>
                </c:pt>
                <c:pt idx="1">
                  <c:v>1258.8434083903571</c:v>
                </c:pt>
              </c:numCache>
            </c:numRef>
          </c:xVal>
          <c:yVal>
            <c:numRef>
              <c:f>Sheet1!$B$167:$B$168</c:f>
              <c:numCache>
                <c:formatCode>General</c:formatCode>
                <c:ptCount val="2"/>
                <c:pt idx="0">
                  <c:v>0.35151289214091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75.2361818580923</c:v>
                </c:pt>
              </c:numCache>
            </c:numRef>
          </c:xVal>
          <c:yVal>
            <c:numRef>
              <c:f>Sheet1!$B$171:$B$172</c:f>
              <c:numCache>
                <c:formatCode>General</c:formatCode>
                <c:ptCount val="2"/>
                <c:pt idx="0">
                  <c:v>0.33621136085015935</c:v>
                </c:pt>
                <c:pt idx="1">
                  <c:v>0.3362113608501593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75.2361818580923</c:v>
                </c:pt>
                <c:pt idx="1">
                  <c:v>1375.2361818580923</c:v>
                </c:pt>
              </c:numCache>
            </c:numRef>
          </c:xVal>
          <c:yVal>
            <c:numRef>
              <c:f>Sheet1!$B$175:$B$176</c:f>
              <c:numCache>
                <c:formatCode>General</c:formatCode>
                <c:ptCount val="2"/>
                <c:pt idx="0">
                  <c:v>0.3362113608501593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4.001285732255</c:v>
                </c:pt>
              </c:numCache>
            </c:numRef>
          </c:xVal>
          <c:yVal>
            <c:numRef>
              <c:f>Sheet1!$B$179:$B$180</c:f>
              <c:numCache>
                <c:formatCode>General</c:formatCode>
                <c:ptCount val="2"/>
                <c:pt idx="0">
                  <c:v>0.33900299831909125</c:v>
                </c:pt>
                <c:pt idx="1">
                  <c:v>0.339002998319091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4.001285732255</c:v>
                </c:pt>
                <c:pt idx="1">
                  <c:v>1354.001285732255</c:v>
                </c:pt>
              </c:numCache>
            </c:numRef>
          </c:xVal>
          <c:yVal>
            <c:numRef>
              <c:f>Sheet1!$B$183:$B$184</c:f>
              <c:numCache>
                <c:formatCode>General</c:formatCode>
                <c:ptCount val="2"/>
                <c:pt idx="0">
                  <c:v>0.339002998319091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13.288</c:v>
                </c:pt>
                <c:pt idx="1">
                  <c:v>1486.0606</c:v>
                </c:pt>
                <c:pt idx="2">
                  <c:v>1531.9828</c:v>
                </c:pt>
                <c:pt idx="3">
                  <c:v>1545.96</c:v>
                </c:pt>
                <c:pt idx="4">
                  <c:v>1551.798</c:v>
                </c:pt>
                <c:pt idx="5">
                  <c:v>1527.7455</c:v>
                </c:pt>
                <c:pt idx="6">
                  <c:v>1389.2537</c:v>
                </c:pt>
                <c:pt idx="7">
                  <c:v>1388.2576</c:v>
                </c:pt>
                <c:pt idx="8">
                  <c:v>1516.4842</c:v>
                </c:pt>
                <c:pt idx="9">
                  <c:v>1416.5847</c:v>
                </c:pt>
                <c:pt idx="10">
                  <c:v>1344.1069</c:v>
                </c:pt>
                <c:pt idx="11">
                  <c:v>1319.6857</c:v>
                </c:pt>
                <c:pt idx="12">
                  <c:v>1375.3649</c:v>
                </c:pt>
                <c:pt idx="13">
                  <c:v>1292.1103</c:v>
                </c:pt>
                <c:pt idx="14">
                  <c:v>1314.5455</c:v>
                </c:pt>
                <c:pt idx="15">
                  <c:v>1390.1875</c:v>
                </c:pt>
                <c:pt idx="16">
                  <c:v>1432.8133</c:v>
                </c:pt>
                <c:pt idx="17">
                  <c:v>1342.5256</c:v>
                </c:pt>
                <c:pt idx="18">
                  <c:v>1427.7424</c:v>
                </c:pt>
                <c:pt idx="19">
                  <c:v>1385.4634</c:v>
                </c:pt>
                <c:pt idx="20">
                  <c:v>1563.0667</c:v>
                </c:pt>
                <c:pt idx="21">
                  <c:v>1081.6</c:v>
                </c:pt>
                <c:pt idx="22">
                  <c:v>1491.75</c:v>
                </c:pt>
                <c:pt idx="23">
                  <c:v>1627.7843</c:v>
                </c:pt>
                <c:pt idx="24">
                  <c:v>1668.4138</c:v>
                </c:pt>
                <c:pt idx="25">
                  <c:v>1336.2029</c:v>
                </c:pt>
                <c:pt idx="26">
                  <c:v>1496.726</c:v>
                </c:pt>
                <c:pt idx="27">
                  <c:v>1558.1765</c:v>
                </c:pt>
                <c:pt idx="28">
                  <c:v>1620.7027</c:v>
                </c:pt>
                <c:pt idx="29">
                  <c:v>1570.8313</c:v>
                </c:pt>
                <c:pt idx="30">
                  <c:v>1609.5397</c:v>
                </c:pt>
                <c:pt idx="31">
                  <c:v>1622.6596</c:v>
                </c:pt>
                <c:pt idx="32">
                  <c:v>1514.7031</c:v>
                </c:pt>
                <c:pt idx="33">
                  <c:v>1662.1951</c:v>
                </c:pt>
                <c:pt idx="34">
                  <c:v>1587.5941</c:v>
                </c:pt>
                <c:pt idx="35">
                  <c:v>1641.6421</c:v>
                </c:pt>
                <c:pt idx="36">
                  <c:v>1599.1778</c:v>
                </c:pt>
                <c:pt idx="37">
                  <c:v>1567.8772</c:v>
                </c:pt>
                <c:pt idx="38">
                  <c:v>1545.2353</c:v>
                </c:pt>
                <c:pt idx="39">
                  <c:v>1562.0789</c:v>
                </c:pt>
                <c:pt idx="40">
                  <c:v>1571.359</c:v>
                </c:pt>
                <c:pt idx="41">
                  <c:v>1584.3133</c:v>
                </c:pt>
                <c:pt idx="42">
                  <c:v>1627.2785</c:v>
                </c:pt>
                <c:pt idx="43">
                  <c:v>1644.5612</c:v>
                </c:pt>
                <c:pt idx="44">
                  <c:v>1552.2813</c:v>
                </c:pt>
                <c:pt idx="45">
                  <c:v>1517.3484</c:v>
                </c:pt>
                <c:pt idx="46">
                  <c:v>1503.0848</c:v>
                </c:pt>
                <c:pt idx="47">
                  <c:v>1429.2303</c:v>
                </c:pt>
                <c:pt idx="48">
                  <c:v>1410.8889</c:v>
                </c:pt>
                <c:pt idx="49">
                  <c:v>1467.5027</c:v>
                </c:pt>
                <c:pt idx="50">
                  <c:v>1407.4788</c:v>
                </c:pt>
                <c:pt idx="51">
                  <c:v>1306.949</c:v>
                </c:pt>
                <c:pt idx="52">
                  <c:v>1375.2361818580923</c:v>
                </c:pt>
                <c:pt idx="53">
                  <c:v>1258.8434083903571</c:v>
                </c:pt>
                <c:pt idx="54">
                  <c:v>1354.001285732255</c:v>
                </c:pt>
              </c:numCache>
            </c:numRef>
          </c:xVal>
          <c:yVal>
            <c:numRef>
              <c:f>Sheet1!$B$187:$B$241</c:f>
              <c:numCache>
                <c:formatCode>General</c:formatCode>
                <c:ptCount val="55"/>
                <c:pt idx="0">
                  <c:v>0.3312088931829556</c:v>
                </c:pt>
                <c:pt idx="1">
                  <c:v>0.32164187125510135</c:v>
                </c:pt>
                <c:pt idx="2">
                  <c:v>0.3156047268576866</c:v>
                </c:pt>
                <c:pt idx="3">
                  <c:v>0.3137672196243322</c:v>
                </c:pt>
                <c:pt idx="4">
                  <c:v>0.3129997291950386</c:v>
                </c:pt>
                <c:pt idx="5">
                  <c:v>0.3161617818758513</c:v>
                </c:pt>
                <c:pt idx="6">
                  <c:v>0.33436855320775377</c:v>
                </c:pt>
                <c:pt idx="7">
                  <c:v>0.3344995051119366</c:v>
                </c:pt>
                <c:pt idx="8">
                  <c:v>0.3176422443581063</c:v>
                </c:pt>
                <c:pt idx="9">
                  <c:v>0.3307754937827754</c:v>
                </c:pt>
                <c:pt idx="10">
                  <c:v>0.340303759941778</c:v>
                </c:pt>
                <c:pt idx="11">
                  <c:v>0.3435142836265785</c:v>
                </c:pt>
                <c:pt idx="12">
                  <c:v>0.3361944389690373</c:v>
                </c:pt>
                <c:pt idx="13">
                  <c:v>0.3471394730037527</c:v>
                </c:pt>
                <c:pt idx="14">
                  <c:v>0.34419003804669757</c:v>
                </c:pt>
                <c:pt idx="15">
                  <c:v>0.33424579154915934</c:v>
                </c:pt>
                <c:pt idx="16">
                  <c:v>0.3286420071125399</c:v>
                </c:pt>
                <c:pt idx="17">
                  <c:v>0.3405116449393528</c:v>
                </c:pt>
                <c:pt idx="18">
                  <c:v>0.32930865103475726</c:v>
                </c:pt>
                <c:pt idx="19">
                  <c:v>0.3348668435424834</c:v>
                </c:pt>
                <c:pt idx="20">
                  <c:v>0.3115182938746239</c:v>
                </c:pt>
                <c:pt idx="21">
                  <c:v>0.3748141287964436</c:v>
                </c:pt>
                <c:pt idx="22">
                  <c:v>0.320893916467773</c:v>
                </c:pt>
                <c:pt idx="23">
                  <c:v>0.30301021943014755</c:v>
                </c:pt>
                <c:pt idx="24">
                  <c:v>0.29766887780682016</c:v>
                </c:pt>
                <c:pt idx="25">
                  <c:v>0.3413428562681118</c:v>
                </c:pt>
                <c:pt idx="26">
                  <c:v>0.32023974853763165</c:v>
                </c:pt>
                <c:pt idx="27">
                  <c:v>0.31216118214069644</c:v>
                </c:pt>
                <c:pt idx="28">
                  <c:v>0.30394119925613006</c:v>
                </c:pt>
                <c:pt idx="29">
                  <c:v>0.3104975237157864</c:v>
                </c:pt>
                <c:pt idx="30">
                  <c:v>0.3054087387666139</c:v>
                </c:pt>
                <c:pt idx="31">
                  <c:v>0.30368393614871575</c:v>
                </c:pt>
                <c:pt idx="32">
                  <c:v>0.3178763959859951</c:v>
                </c:pt>
                <c:pt idx="33">
                  <c:v>0.2984864168154958</c:v>
                </c:pt>
                <c:pt idx="34">
                  <c:v>0.30829380864758443</c:v>
                </c:pt>
                <c:pt idx="35">
                  <c:v>0.30118840907196576</c:v>
                </c:pt>
                <c:pt idx="36">
                  <c:v>0.3067709619730712</c:v>
                </c:pt>
                <c:pt idx="37">
                  <c:v>0.31088588333846134</c:v>
                </c:pt>
                <c:pt idx="38">
                  <c:v>0.31386249203168215</c:v>
                </c:pt>
                <c:pt idx="39">
                  <c:v>0.3116481546224924</c:v>
                </c:pt>
                <c:pt idx="40">
                  <c:v>0.3104281498378251</c:v>
                </c:pt>
                <c:pt idx="41">
                  <c:v>0.3087251177603673</c:v>
                </c:pt>
                <c:pt idx="42">
                  <c:v>0.3030767142330144</c:v>
                </c:pt>
                <c:pt idx="43">
                  <c:v>0.3008046507108574</c:v>
                </c:pt>
                <c:pt idx="44">
                  <c:v>0.3129361923460359</c:v>
                </c:pt>
                <c:pt idx="45">
                  <c:v>0.31752863263679837</c:v>
                </c:pt>
                <c:pt idx="46">
                  <c:v>0.31940379133622837</c:v>
                </c:pt>
                <c:pt idx="47">
                  <c:v>0.3291130448323342</c:v>
                </c:pt>
                <c:pt idx="48">
                  <c:v>0.33152428994364735</c:v>
                </c:pt>
                <c:pt idx="49">
                  <c:v>0.32408157845581875</c:v>
                </c:pt>
                <c:pt idx="50">
                  <c:v>0.33197259743130303</c:v>
                </c:pt>
                <c:pt idx="51">
                  <c:v>0.34518870900355414</c:v>
                </c:pt>
                <c:pt idx="52">
                  <c:v>0.33621136085015935</c:v>
                </c:pt>
                <c:pt idx="53">
                  <c:v>0.3515128921409143</c:v>
                </c:pt>
                <c:pt idx="54">
                  <c:v>0.339002998319091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02.0"/>
          <c:min val="70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6178010471204"/>
          <c:min val="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652835642659734</c:v>
                </c:pt>
                <c:pt idx="1">
                  <c:v>1.2317231818586707</c:v>
                </c:pt>
                <c:pt idx="2">
                  <c:v>1.1258640355109524</c:v>
                </c:pt>
                <c:pt idx="3">
                  <c:v>1.244375260578496</c:v>
                </c:pt>
                <c:pt idx="4">
                  <c:v>0.9673561874964508</c:v>
                </c:pt>
                <c:pt idx="5">
                  <c:v>1.2185640016550736</c:v>
                </c:pt>
                <c:pt idx="6">
                  <c:v>1.0916056617219054</c:v>
                </c:pt>
                <c:pt idx="7">
                  <c:v>1.1733494680851064</c:v>
                </c:pt>
                <c:pt idx="8">
                  <c:v>1.2273233503201357</c:v>
                </c:pt>
                <c:pt idx="9">
                  <c:v>1.1961498167354807</c:v>
                </c:pt>
                <c:pt idx="10">
                  <c:v>1.1685171718987144</c:v>
                </c:pt>
                <c:pt idx="11">
                  <c:v>1.3671016657377137</c:v>
                </c:pt>
                <c:pt idx="12">
                  <c:v>1.3902926764745482</c:v>
                </c:pt>
                <c:pt idx="13">
                  <c:v>1.3505180810248985</c:v>
                </c:pt>
                <c:pt idx="14">
                  <c:v>1.3248357390931198</c:v>
                </c:pt>
                <c:pt idx="15">
                  <c:v>1.3130917869034406</c:v>
                </c:pt>
                <c:pt idx="16">
                  <c:v>1.3486168582757507</c:v>
                </c:pt>
                <c:pt idx="17">
                  <c:v>1.2761248793340967</c:v>
                </c:pt>
                <c:pt idx="18">
                  <c:v>1.4741713651323396</c:v>
                </c:pt>
                <c:pt idx="19">
                  <c:v>1.3905985024998644</c:v>
                </c:pt>
                <c:pt idx="20">
                  <c:v>1.4737953673837842</c:v>
                </c:pt>
                <c:pt idx="21">
                  <c:v>1.4097030350570046</c:v>
                </c:pt>
                <c:pt idx="22">
                  <c:v>1.583972936651743</c:v>
                </c:pt>
                <c:pt idx="23">
                  <c:v>1.465870825428699</c:v>
                </c:pt>
                <c:pt idx="24">
                  <c:v>1.2355609295907592</c:v>
                </c:pt>
                <c:pt idx="25">
                  <c:v>1.1613559184394069</c:v>
                </c:pt>
                <c:pt idx="26">
                  <c:v>1.281864120556236</c:v>
                </c:pt>
                <c:pt idx="27">
                  <c:v>1.2414631695307006</c:v>
                </c:pt>
                <c:pt idx="28">
                  <c:v>1.2510263699842374</c:v>
                </c:pt>
                <c:pt idx="29">
                  <c:v>1.1179429829964533</c:v>
                </c:pt>
                <c:pt idx="30">
                  <c:v>1.1799570921988214</c:v>
                </c:pt>
                <c:pt idx="31">
                  <c:v>1.2622279669762642</c:v>
                </c:pt>
                <c:pt idx="32">
                  <c:v>1.2740340943932733</c:v>
                </c:pt>
                <c:pt idx="33">
                  <c:v>1.1573498966835767</c:v>
                </c:pt>
                <c:pt idx="34">
                  <c:v>0.998263027316506</c:v>
                </c:pt>
                <c:pt idx="35">
                  <c:v>1.3738418169367723</c:v>
                </c:pt>
                <c:pt idx="36">
                  <c:v>1.4665223210564302</c:v>
                </c:pt>
                <c:pt idx="37">
                  <c:v>1.2347215320856404</c:v>
                </c:pt>
                <c:pt idx="38">
                  <c:v>1.3930443434343436</c:v>
                </c:pt>
                <c:pt idx="39">
                  <c:v>1.332460050170022</c:v>
                </c:pt>
                <c:pt idx="40">
                  <c:v>1.2895580921360408</c:v>
                </c:pt>
                <c:pt idx="41">
                  <c:v>1.3502081308629996</c:v>
                </c:pt>
                <c:pt idx="42">
                  <c:v>1.4563758738003514</c:v>
                </c:pt>
                <c:pt idx="43">
                  <c:v>1.7675093412911278</c:v>
                </c:pt>
                <c:pt idx="44">
                  <c:v>1.5193616221890711</c:v>
                </c:pt>
                <c:pt idx="45">
                  <c:v>1.4815050816099278</c:v>
                </c:pt>
                <c:pt idx="46">
                  <c:v>1.4582586255457666</c:v>
                </c:pt>
                <c:pt idx="47">
                  <c:v>1.3602633358766678</c:v>
                </c:pt>
                <c:pt idx="48">
                  <c:v>1.4105958341112477</c:v>
                </c:pt>
                <c:pt idx="49">
                  <c:v>1.048442201463095</c:v>
                </c:pt>
                <c:pt idx="50">
                  <c:v>0.8340683534977092</c:v>
                </c:pt>
                <c:pt idx="51">
                  <c:v>0.9051652107279694</c:v>
                </c:pt>
                <c:pt idx="52">
                  <c:v>0.7913365426695843</c:v>
                </c:pt>
                <c:pt idx="53">
                  <c:v>0.8711323645970938</c:v>
                </c:pt>
                <c:pt idx="54">
                  <c:v>1.004693673159196</c:v>
                </c:pt>
                <c:pt idx="55">
                  <c:v>0.9177092663956233</c:v>
                </c:pt>
                <c:pt idx="56">
                  <c:v>1.0219187041849347</c:v>
                </c:pt>
                <c:pt idx="57">
                  <c:v>1.0217626227164458</c:v>
                </c:pt>
                <c:pt idx="58">
                  <c:v>0.9781542734920712</c:v>
                </c:pt>
                <c:pt idx="59">
                  <c:v>0.8810043586718297</c:v>
                </c:pt>
                <c:pt idx="60">
                  <c:v>0.9016423071799653</c:v>
                </c:pt>
                <c:pt idx="61">
                  <c:v>1.0157374852850674</c:v>
                </c:pt>
                <c:pt idx="62">
                  <c:v>1.0497825105665302</c:v>
                </c:pt>
                <c:pt idx="63">
                  <c:v>1.1960571421195048</c:v>
                </c:pt>
                <c:pt idx="64">
                  <c:v>1.0546791127957125</c:v>
                </c:pt>
                <c:pt idx="65">
                  <c:v>1.080670431432158</c:v>
                </c:pt>
                <c:pt idx="66">
                  <c:v>1.1263193891716798</c:v>
                </c:pt>
                <c:pt idx="67">
                  <c:v>1.2488603380445058</c:v>
                </c:pt>
                <c:pt idx="68">
                  <c:v>1.1948199232926313</c:v>
                </c:pt>
                <c:pt idx="69">
                  <c:v>1.1711688008962802</c:v>
                </c:pt>
                <c:pt idx="70">
                  <c:v>1.3553286535719447</c:v>
                </c:pt>
                <c:pt idx="71">
                  <c:v>1.187102384587616</c:v>
                </c:pt>
                <c:pt idx="72">
                  <c:v>1.287652626714129</c:v>
                </c:pt>
                <c:pt idx="73">
                  <c:v>1.5352051742344246</c:v>
                </c:pt>
                <c:pt idx="74">
                  <c:v>1.0289375584901448</c:v>
                </c:pt>
                <c:pt idx="75">
                  <c:v>2.269130088923799</c:v>
                </c:pt>
                <c:pt idx="76">
                  <c:v>1.4654844804106169</c:v>
                </c:pt>
                <c:pt idx="77">
                  <c:v>1.845436360767872</c:v>
                </c:pt>
                <c:pt idx="78">
                  <c:v>1.7959758292977703</c:v>
                </c:pt>
                <c:pt idx="79">
                  <c:v>1.5826719185423366</c:v>
                </c:pt>
                <c:pt idx="80">
                  <c:v>1.3170915997205728</c:v>
                </c:pt>
                <c:pt idx="81">
                  <c:v>1.6742204201472142</c:v>
                </c:pt>
                <c:pt idx="82">
                  <c:v>1.6572936106632365</c:v>
                </c:pt>
                <c:pt idx="83">
                  <c:v>1.2787319666220254</c:v>
                </c:pt>
                <c:pt idx="84">
                  <c:v>1.4500122940742561</c:v>
                </c:pt>
                <c:pt idx="85">
                  <c:v>1.7792774156501285</c:v>
                </c:pt>
                <c:pt idx="86">
                  <c:v>1.97226334290102</c:v>
                </c:pt>
                <c:pt idx="87">
                  <c:v>1.3920788372419524</c:v>
                </c:pt>
                <c:pt idx="88">
                  <c:v>1.0599308520131598</c:v>
                </c:pt>
                <c:pt idx="89">
                  <c:v>2.0760717650993272</c:v>
                </c:pt>
                <c:pt idx="90">
                  <c:v>1.9624488392089423</c:v>
                </c:pt>
                <c:pt idx="91">
                  <c:v>1.392722169776701</c:v>
                </c:pt>
                <c:pt idx="92">
                  <c:v>1.8340757722162329</c:v>
                </c:pt>
                <c:pt idx="93">
                  <c:v>1.9724045373871442</c:v>
                </c:pt>
                <c:pt idx="94">
                  <c:v>1.3574224346490211</c:v>
                </c:pt>
                <c:pt idx="95">
                  <c:v>1.259784078212062</c:v>
                </c:pt>
                <c:pt idx="96">
                  <c:v>1.5845968597674551</c:v>
                </c:pt>
                <c:pt idx="97">
                  <c:v>1.3650996687566546</c:v>
                </c:pt>
                <c:pt idx="98">
                  <c:v>1.3797454799875013</c:v>
                </c:pt>
                <c:pt idx="99">
                  <c:v>1.2664480005869208</c:v>
                </c:pt>
                <c:pt idx="100">
                  <c:v>1.2853562352762389</c:v>
                </c:pt>
                <c:pt idx="101">
                  <c:v>1.305171499485441</c:v>
                </c:pt>
                <c:pt idx="102">
                  <c:v>0.897235084762322</c:v>
                </c:pt>
                <c:pt idx="103">
                  <c:v>0.8298300896286812</c:v>
                </c:pt>
                <c:pt idx="104">
                  <c:v>1.0649587350559198</c:v>
                </c:pt>
              </c:numCache>
            </c:numRef>
          </c:xVal>
          <c:yVal>
            <c:numRef>
              <c:f>Sheet1!$B$2:$B$106</c:f>
              <c:numCache>
                <c:formatCode>General</c:formatCode>
                <c:ptCount val="105"/>
                <c:pt idx="0">
                  <c:v>0.30374479889042993</c:v>
                </c:pt>
                <c:pt idx="1">
                  <c:v>0.32525252525252524</c:v>
                </c:pt>
                <c:pt idx="2">
                  <c:v>0.2967479674796748</c:v>
                </c:pt>
                <c:pt idx="3">
                  <c:v>0.3261802575107296</c:v>
                </c:pt>
                <c:pt idx="4">
                  <c:v>0.30105263157894735</c:v>
                </c:pt>
                <c:pt idx="5">
                  <c:v>0.3136792452830189</c:v>
                </c:pt>
                <c:pt idx="6">
                  <c:v>0.34292565947242204</c:v>
                </c:pt>
                <c:pt idx="7">
                  <c:v>0.3460559796437659</c:v>
                </c:pt>
                <c:pt idx="8">
                  <c:v>0.3148148148148148</c:v>
                </c:pt>
                <c:pt idx="9">
                  <c:v>0.30837004405286345</c:v>
                </c:pt>
                <c:pt idx="10">
                  <c:v>0.29375</c:v>
                </c:pt>
                <c:pt idx="11">
                  <c:v>0.25165562913907286</c:v>
                </c:pt>
                <c:pt idx="12">
                  <c:v>0.2879858657243816</c:v>
                </c:pt>
                <c:pt idx="13">
                  <c:v>0.2958477508650519</c:v>
                </c:pt>
                <c:pt idx="14">
                  <c:v>0.27099236641221375</c:v>
                </c:pt>
                <c:pt idx="15">
                  <c:v>0.2818627450980392</c:v>
                </c:pt>
                <c:pt idx="16">
                  <c:v>0.2655367231638418</c:v>
                </c:pt>
                <c:pt idx="17">
                  <c:v>0.2786885245901639</c:v>
                </c:pt>
                <c:pt idx="18">
                  <c:v>0.25</c:v>
                </c:pt>
                <c:pt idx="19">
                  <c:v>0.24615384615384617</c:v>
                </c:pt>
                <c:pt idx="20">
                  <c:v>0.2334384858044164</c:v>
                </c:pt>
                <c:pt idx="21">
                  <c:v>0.2885572139303483</c:v>
                </c:pt>
                <c:pt idx="22">
                  <c:v>0.3389121338912134</c:v>
                </c:pt>
                <c:pt idx="23">
                  <c:v>0.3278008298755187</c:v>
                </c:pt>
                <c:pt idx="24">
                  <c:v>0.3841059602649007</c:v>
                </c:pt>
                <c:pt idx="25">
                  <c:v>0.3716475095785441</c:v>
                </c:pt>
                <c:pt idx="26">
                  <c:v>0.38661710037174724</c:v>
                </c:pt>
                <c:pt idx="27">
                  <c:v>0.3424657534246575</c:v>
                </c:pt>
                <c:pt idx="28">
                  <c:v>0.3274647887323944</c:v>
                </c:pt>
                <c:pt idx="29">
                  <c:v>0.3793103448275862</c:v>
                </c:pt>
                <c:pt idx="30">
                  <c:v>0.3739495798319328</c:v>
                </c:pt>
                <c:pt idx="31">
                  <c:v>0.3872340425531915</c:v>
                </c:pt>
                <c:pt idx="32">
                  <c:v>0.37448559670781895</c:v>
                </c:pt>
                <c:pt idx="33">
                  <c:v>0.39156626506024095</c:v>
                </c:pt>
                <c:pt idx="34">
                  <c:v>0.3278301886792453</c:v>
                </c:pt>
                <c:pt idx="35">
                  <c:v>0.3475177304964539</c:v>
                </c:pt>
                <c:pt idx="36">
                  <c:v>0.32934131736526945</c:v>
                </c:pt>
                <c:pt idx="37">
                  <c:v>0.2743055555555556</c:v>
                </c:pt>
                <c:pt idx="38">
                  <c:v>0.316</c:v>
                </c:pt>
                <c:pt idx="39">
                  <c:v>0.3425196850393701</c:v>
                </c:pt>
                <c:pt idx="40">
                  <c:v>0.3546325878594249</c:v>
                </c:pt>
                <c:pt idx="41">
                  <c:v>0.29931972789115646</c:v>
                </c:pt>
                <c:pt idx="42">
                  <c:v>0.30994152046783624</c:v>
                </c:pt>
                <c:pt idx="43">
                  <c:v>0.3241590214067278</c:v>
                </c:pt>
                <c:pt idx="44">
                  <c:v>0.3363431151241535</c:v>
                </c:pt>
                <c:pt idx="45">
                  <c:v>0.3303886925795053</c:v>
                </c:pt>
                <c:pt idx="46">
                  <c:v>0.3228021978021978</c:v>
                </c:pt>
                <c:pt idx="47">
                  <c:v>0.34222919937205654</c:v>
                </c:pt>
                <c:pt idx="48">
                  <c:v>0.3088803088803089</c:v>
                </c:pt>
                <c:pt idx="49">
                  <c:v>0.3978243978243978</c:v>
                </c:pt>
                <c:pt idx="50">
                  <c:v>0.3931133428981349</c:v>
                </c:pt>
                <c:pt idx="51">
                  <c:v>0.3889908256880734</c:v>
                </c:pt>
                <c:pt idx="52">
                  <c:v>0.39042357274401474</c:v>
                </c:pt>
                <c:pt idx="53">
                  <c:v>0.38333333333333336</c:v>
                </c:pt>
                <c:pt idx="54">
                  <c:v>0.38974358974358975</c:v>
                </c:pt>
                <c:pt idx="55">
                  <c:v>0.41509433962264153</c:v>
                </c:pt>
                <c:pt idx="56">
                  <c:v>0.4153846153846154</c:v>
                </c:pt>
                <c:pt idx="57">
                  <c:v>0.4336283185840708</c:v>
                </c:pt>
                <c:pt idx="58">
                  <c:v>0.4247104247104247</c:v>
                </c:pt>
                <c:pt idx="59">
                  <c:v>0.40310077519379844</c:v>
                </c:pt>
                <c:pt idx="60">
                  <c:v>0.4019607843137255</c:v>
                </c:pt>
                <c:pt idx="61">
                  <c:v>0.3691588785046729</c:v>
                </c:pt>
                <c:pt idx="62">
                  <c:v>0.34615384615384615</c:v>
                </c:pt>
                <c:pt idx="63">
                  <c:v>0.36660929432013767</c:v>
                </c:pt>
                <c:pt idx="64">
                  <c:v>0.32051282051282054</c:v>
                </c:pt>
                <c:pt idx="65">
                  <c:v>0.3231046931407942</c:v>
                </c:pt>
                <c:pt idx="66">
                  <c:v>0.340080971659919</c:v>
                </c:pt>
                <c:pt idx="67">
                  <c:v>0.35253456221198154</c:v>
                </c:pt>
                <c:pt idx="68">
                  <c:v>0.2653061224489796</c:v>
                </c:pt>
                <c:pt idx="69">
                  <c:v>0.26953125</c:v>
                </c:pt>
                <c:pt idx="70">
                  <c:v>0.2217741935483871</c:v>
                </c:pt>
                <c:pt idx="71">
                  <c:v>0.2744186046511628</c:v>
                </c:pt>
                <c:pt idx="72">
                  <c:v>0.3111111111111111</c:v>
                </c:pt>
                <c:pt idx="73">
                  <c:v>0.2679425837320574</c:v>
                </c:pt>
                <c:pt idx="74">
                  <c:v>0.3875432525951557</c:v>
                </c:pt>
                <c:pt idx="75">
                  <c:v>0.2889908256880734</c:v>
                </c:pt>
                <c:pt idx="76">
                  <c:v>0.32460732984293195</c:v>
                </c:pt>
                <c:pt idx="77">
                  <c:v>0.27472527472527475</c:v>
                </c:pt>
                <c:pt idx="78">
                  <c:v>0.3073170731707317</c:v>
                </c:pt>
                <c:pt idx="79">
                  <c:v>0.341991341991342</c:v>
                </c:pt>
                <c:pt idx="80">
                  <c:v>0.2647058823529412</c:v>
                </c:pt>
                <c:pt idx="81">
                  <c:v>0.22468354430379747</c:v>
                </c:pt>
                <c:pt idx="82">
                  <c:v>0.2576419213973799</c:v>
                </c:pt>
                <c:pt idx="83">
                  <c:v>0.24855491329479767</c:v>
                </c:pt>
                <c:pt idx="84">
                  <c:v>0.2717391304347826</c:v>
                </c:pt>
                <c:pt idx="85">
                  <c:v>0.2457627118644068</c:v>
                </c:pt>
                <c:pt idx="86">
                  <c:v>0.28405797101449276</c:v>
                </c:pt>
                <c:pt idx="87">
                  <c:v>0.2951945080091533</c:v>
                </c:pt>
                <c:pt idx="88">
                  <c:v>0.3114754098360656</c:v>
                </c:pt>
                <c:pt idx="89">
                  <c:v>0.2653061224489796</c:v>
                </c:pt>
                <c:pt idx="90">
                  <c:v>0.2727272727272727</c:v>
                </c:pt>
                <c:pt idx="91">
                  <c:v>0.2698412698412698</c:v>
                </c:pt>
                <c:pt idx="92">
                  <c:v>0.32945736434108525</c:v>
                </c:pt>
                <c:pt idx="93">
                  <c:v>0.31906614785992216</c:v>
                </c:pt>
                <c:pt idx="94">
                  <c:v>0.35960591133004927</c:v>
                </c:pt>
                <c:pt idx="95">
                  <c:v>0.3385579937304075</c:v>
                </c:pt>
                <c:pt idx="96">
                  <c:v>0.3139240506329114</c:v>
                </c:pt>
                <c:pt idx="97">
                  <c:v>0.305019305019305</c:v>
                </c:pt>
                <c:pt idx="98">
                  <c:v>0.30745341614906835</c:v>
                </c:pt>
                <c:pt idx="99">
                  <c:v>0.29844961240310075</c:v>
                </c:pt>
                <c:pt idx="100">
                  <c:v>0.3265720081135903</c:v>
                </c:pt>
                <c:pt idx="101">
                  <c:v>0.3202054794520548</c:v>
                </c:pt>
                <c:pt idx="102">
                  <c:v>0.3167082294264339</c:v>
                </c:pt>
                <c:pt idx="103">
                  <c:v>0.3059548254620123</c:v>
                </c:pt>
                <c:pt idx="104">
                  <c:v>0.33704735376044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589661654135338</c:v>
                </c:pt>
                <c:pt idx="1">
                  <c:v>1.1336918591852214</c:v>
                </c:pt>
                <c:pt idx="2">
                  <c:v>1.1621825131147023</c:v>
                </c:pt>
                <c:pt idx="3">
                  <c:v>1.0973089230446416</c:v>
                </c:pt>
                <c:pt idx="4">
                  <c:v>0.9508632876471449</c:v>
                </c:pt>
                <c:pt idx="5">
                  <c:v>1.1694791074266218</c:v>
                </c:pt>
                <c:pt idx="6">
                  <c:v>1.1535823443342546</c:v>
                </c:pt>
                <c:pt idx="7">
                  <c:v>1.1796662252957468</c:v>
                </c:pt>
                <c:pt idx="8">
                  <c:v>1.196648977789717</c:v>
                </c:pt>
                <c:pt idx="9">
                  <c:v>1.2207822408937397</c:v>
                </c:pt>
                <c:pt idx="10">
                  <c:v>1.1963808821062327</c:v>
                </c:pt>
                <c:pt idx="11">
                  <c:v>1.3862240835034083</c:v>
                </c:pt>
                <c:pt idx="12">
                  <c:v>0.9439427657281991</c:v>
                </c:pt>
                <c:pt idx="13">
                  <c:v>1.1141376848963402</c:v>
                </c:pt>
                <c:pt idx="14">
                  <c:v>1.149063146615127</c:v>
                </c:pt>
                <c:pt idx="15">
                  <c:v>0.9917247040252566</c:v>
                </c:pt>
                <c:pt idx="16">
                  <c:v>0.899528971316121</c:v>
                </c:pt>
                <c:pt idx="17">
                  <c:v>0.851824685138539</c:v>
                </c:pt>
                <c:pt idx="18">
                  <c:v>0.872182838083687</c:v>
                </c:pt>
                <c:pt idx="19">
                  <c:v>1.4083204370314972</c:v>
                </c:pt>
                <c:pt idx="20">
                  <c:v>1.4389656822260293</c:v>
                </c:pt>
                <c:pt idx="21">
                  <c:v>1.0369852890444329</c:v>
                </c:pt>
                <c:pt idx="22">
                  <c:v>1.2882817351911895</c:v>
                </c:pt>
                <c:pt idx="23">
                  <c:v>1.1194895158215783</c:v>
                </c:pt>
                <c:pt idx="24">
                  <c:v>1.1046737321832079</c:v>
                </c:pt>
                <c:pt idx="25">
                  <c:v>1.2509417575083426</c:v>
                </c:pt>
                <c:pt idx="26">
                  <c:v>1.3925293094629156</c:v>
                </c:pt>
                <c:pt idx="27">
                  <c:v>1.5023704757233938</c:v>
                </c:pt>
                <c:pt idx="28">
                  <c:v>1.4578732029407304</c:v>
                </c:pt>
                <c:pt idx="29">
                  <c:v>1.2380513518569711</c:v>
                </c:pt>
                <c:pt idx="30">
                  <c:v>1.644696074266149</c:v>
                </c:pt>
                <c:pt idx="31">
                  <c:v>1.3572144745237444</c:v>
                </c:pt>
                <c:pt idx="32">
                  <c:v>1.3242520976361474</c:v>
                </c:pt>
                <c:pt idx="33">
                  <c:v>1.516038201728617</c:v>
                </c:pt>
                <c:pt idx="34">
                  <c:v>1.027694955900986</c:v>
                </c:pt>
                <c:pt idx="35">
                  <c:v>0.9085002262530502</c:v>
                </c:pt>
                <c:pt idx="36">
                  <c:v>1.3837470922606034</c:v>
                </c:pt>
                <c:pt idx="37">
                  <c:v>1.3509113116009872</c:v>
                </c:pt>
                <c:pt idx="38">
                  <c:v>1.5688281267410715</c:v>
                </c:pt>
                <c:pt idx="39">
                  <c:v>1.5042341979989626</c:v>
                </c:pt>
                <c:pt idx="40">
                  <c:v>1.5494246707744352</c:v>
                </c:pt>
                <c:pt idx="41">
                  <c:v>1.229811097118305</c:v>
                </c:pt>
                <c:pt idx="42">
                  <c:v>1.3058335259408644</c:v>
                </c:pt>
                <c:pt idx="43">
                  <c:v>1.3261052635425492</c:v>
                </c:pt>
                <c:pt idx="44">
                  <c:v>1.0615250467146515</c:v>
                </c:pt>
                <c:pt idx="45">
                  <c:v>1.0387209602293086</c:v>
                </c:pt>
                <c:pt idx="46">
                  <c:v>1.0588198534448656</c:v>
                </c:pt>
                <c:pt idx="47">
                  <c:v>1.0372175979598295</c:v>
                </c:pt>
                <c:pt idx="48">
                  <c:v>1.006116109242762</c:v>
                </c:pt>
                <c:pt idx="49">
                  <c:v>1.1950896363068657</c:v>
                </c:pt>
                <c:pt idx="50">
                  <c:v>0.7896058111380144</c:v>
                </c:pt>
                <c:pt idx="51">
                  <c:v>0.8854844131766861</c:v>
                </c:pt>
              </c:numCache>
            </c:numRef>
          </c:xVal>
          <c:yVal>
            <c:numRef>
              <c:f>Sheet1!$B$109:$B$160</c:f>
              <c:numCache>
                <c:formatCode>General</c:formatCode>
                <c:ptCount val="52"/>
                <c:pt idx="0">
                  <c:v>0.31666666666666665</c:v>
                </c:pt>
                <c:pt idx="1">
                  <c:v>0.3484848484848485</c:v>
                </c:pt>
                <c:pt idx="2">
                  <c:v>0.39185750636132316</c:v>
                </c:pt>
                <c:pt idx="3">
                  <c:v>0.41411764705882353</c:v>
                </c:pt>
                <c:pt idx="4">
                  <c:v>0.4186046511627907</c:v>
                </c:pt>
                <c:pt idx="5">
                  <c:v>0.3753501400560224</c:v>
                </c:pt>
                <c:pt idx="6">
                  <c:v>0.35180722891566263</c:v>
                </c:pt>
                <c:pt idx="7">
                  <c:v>0.3193717277486911</c:v>
                </c:pt>
                <c:pt idx="8">
                  <c:v>0.31272727272727274</c:v>
                </c:pt>
                <c:pt idx="9">
                  <c:v>0.3151862464183381</c:v>
                </c:pt>
                <c:pt idx="10">
                  <c:v>0.3185378590078329</c:v>
                </c:pt>
                <c:pt idx="11">
                  <c:v>0.33210332103321033</c:v>
                </c:pt>
                <c:pt idx="12">
                  <c:v>0.3398268398268398</c:v>
                </c:pt>
                <c:pt idx="13">
                  <c:v>0.30843373493975906</c:v>
                </c:pt>
                <c:pt idx="14">
                  <c:v>0.34108527131782945</c:v>
                </c:pt>
                <c:pt idx="15">
                  <c:v>0.3344594594594595</c:v>
                </c:pt>
                <c:pt idx="16">
                  <c:v>0.31223628691983124</c:v>
                </c:pt>
                <c:pt idx="17">
                  <c:v>0.3117408906882591</c:v>
                </c:pt>
                <c:pt idx="18">
                  <c:v>0.2824074074074074</c:v>
                </c:pt>
                <c:pt idx="19">
                  <c:v>0.30165289256198347</c:v>
                </c:pt>
                <c:pt idx="20">
                  <c:v>0.29775280898876405</c:v>
                </c:pt>
                <c:pt idx="21">
                  <c:v>0.25654450261780104</c:v>
                </c:pt>
                <c:pt idx="22">
                  <c:v>0.3314285714285714</c:v>
                </c:pt>
                <c:pt idx="23">
                  <c:v>0.3333333333333333</c:v>
                </c:pt>
                <c:pt idx="24">
                  <c:v>0.3230769230769231</c:v>
                </c:pt>
                <c:pt idx="25">
                  <c:v>0.2783018867924528</c:v>
                </c:pt>
                <c:pt idx="26">
                  <c:v>0.3089430894308943</c:v>
                </c:pt>
                <c:pt idx="27">
                  <c:v>0.2693877551020408</c:v>
                </c:pt>
                <c:pt idx="28">
                  <c:v>0.29277566539923955</c:v>
                </c:pt>
                <c:pt idx="29">
                  <c:v>0.3140495867768595</c:v>
                </c:pt>
                <c:pt idx="30">
                  <c:v>0.30697674418604654</c:v>
                </c:pt>
                <c:pt idx="31">
                  <c:v>0.2925531914893617</c:v>
                </c:pt>
                <c:pt idx="32">
                  <c:v>0.36363636363636365</c:v>
                </c:pt>
                <c:pt idx="33">
                  <c:v>0.42857142857142855</c:v>
                </c:pt>
                <c:pt idx="34">
                  <c:v>0.3829787234042553</c:v>
                </c:pt>
                <c:pt idx="35">
                  <c:v>0.4057142857142857</c:v>
                </c:pt>
                <c:pt idx="36">
                  <c:v>0.34615384615384615</c:v>
                </c:pt>
                <c:pt idx="37">
                  <c:v>0.3763440860215054</c:v>
                </c:pt>
                <c:pt idx="38">
                  <c:v>0.3383084577114428</c:v>
                </c:pt>
                <c:pt idx="39">
                  <c:v>0.3422222222222222</c:v>
                </c:pt>
                <c:pt idx="40">
                  <c:v>0.2956521739130435</c:v>
                </c:pt>
                <c:pt idx="41">
                  <c:v>0.3416666666666667</c:v>
                </c:pt>
                <c:pt idx="42">
                  <c:v>0.3194444444444444</c:v>
                </c:pt>
                <c:pt idx="43">
                  <c:v>0.3037542662116041</c:v>
                </c:pt>
                <c:pt idx="44">
                  <c:v>0.28753993610223644</c:v>
                </c:pt>
                <c:pt idx="45">
                  <c:v>0.25617977528089886</c:v>
                </c:pt>
                <c:pt idx="46">
                  <c:v>0.2824601366742597</c:v>
                </c:pt>
                <c:pt idx="47">
                  <c:v>0.2967032967032967</c:v>
                </c:pt>
                <c:pt idx="48">
                  <c:v>0.30376940133037694</c:v>
                </c:pt>
                <c:pt idx="49">
                  <c:v>0.27017543859649124</c:v>
                </c:pt>
                <c:pt idx="50">
                  <c:v>0.3166023166023166</c:v>
                </c:pt>
                <c:pt idx="51">
                  <c:v>0.336134453781512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970072689515667</c:v>
                </c:pt>
              </c:numCache>
            </c:numRef>
          </c:xVal>
          <c:yVal>
            <c:numRef>
              <c:f>Sheet1!$B$163:$B$164</c:f>
              <c:numCache>
                <c:formatCode>General</c:formatCode>
                <c:ptCount val="2"/>
                <c:pt idx="0">
                  <c:v>0.39586066376316376</c:v>
                </c:pt>
                <c:pt idx="1">
                  <c:v>0.395860663763163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970072689515667</c:v>
                </c:pt>
                <c:pt idx="1">
                  <c:v>-5.970072689515667</c:v>
                </c:pt>
              </c:numCache>
            </c:numRef>
          </c:xVal>
          <c:yVal>
            <c:numRef>
              <c:f>Sheet1!$B$167:$B$168</c:f>
              <c:numCache>
                <c:formatCode>General</c:formatCode>
                <c:ptCount val="2"/>
                <c:pt idx="0">
                  <c:v>0.395860663763163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399714697536335</c:v>
                </c:pt>
              </c:numCache>
            </c:numRef>
          </c:xVal>
          <c:yVal>
            <c:numRef>
              <c:f>Sheet1!$B$171:$B$172</c:f>
              <c:numCache>
                <c:formatCode>General</c:formatCode>
                <c:ptCount val="2"/>
                <c:pt idx="0">
                  <c:v>0.3609986321313446</c:v>
                </c:pt>
                <c:pt idx="1">
                  <c:v>0.36099863213134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399714697536335</c:v>
                </c:pt>
                <c:pt idx="1">
                  <c:v>-2.399714697536335</c:v>
                </c:pt>
              </c:numCache>
            </c:numRef>
          </c:xVal>
          <c:yVal>
            <c:numRef>
              <c:f>Sheet1!$B$175:$B$176</c:f>
              <c:numCache>
                <c:formatCode>General</c:formatCode>
                <c:ptCount val="2"/>
                <c:pt idx="0">
                  <c:v>0.36099863213134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435340680334726</c:v>
                </c:pt>
              </c:numCache>
            </c:numRef>
          </c:xVal>
          <c:yVal>
            <c:numRef>
              <c:f>Sheet1!$B$179:$B$180</c:f>
              <c:numCache>
                <c:formatCode>General</c:formatCode>
                <c:ptCount val="2"/>
                <c:pt idx="0">
                  <c:v>0.30402342527149</c:v>
                </c:pt>
                <c:pt idx="1">
                  <c:v>0.3040234252714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435340680334726</c:v>
                </c:pt>
                <c:pt idx="1">
                  <c:v>3.435340680334726</c:v>
                </c:pt>
              </c:numCache>
            </c:numRef>
          </c:xVal>
          <c:yVal>
            <c:numRef>
              <c:f>Sheet1!$B$183:$B$184</c:f>
              <c:numCache>
                <c:formatCode>General</c:formatCode>
                <c:ptCount val="2"/>
                <c:pt idx="0">
                  <c:v>0.304023425271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589661654135338</c:v>
                </c:pt>
                <c:pt idx="1">
                  <c:v>1.1336918591852214</c:v>
                </c:pt>
                <c:pt idx="2">
                  <c:v>1.1621825131147023</c:v>
                </c:pt>
                <c:pt idx="3">
                  <c:v>1.0973089230446416</c:v>
                </c:pt>
                <c:pt idx="4">
                  <c:v>0.9508632876471449</c:v>
                </c:pt>
                <c:pt idx="5">
                  <c:v>1.1694791074266218</c:v>
                </c:pt>
                <c:pt idx="6">
                  <c:v>1.1535823443342546</c:v>
                </c:pt>
                <c:pt idx="7">
                  <c:v>1.1796662252957468</c:v>
                </c:pt>
                <c:pt idx="8">
                  <c:v>1.196648977789717</c:v>
                </c:pt>
                <c:pt idx="9">
                  <c:v>1.2207822408937397</c:v>
                </c:pt>
                <c:pt idx="10">
                  <c:v>1.1963808821062327</c:v>
                </c:pt>
                <c:pt idx="11">
                  <c:v>1.3862240835034083</c:v>
                </c:pt>
                <c:pt idx="12">
                  <c:v>0.9439427657281991</c:v>
                </c:pt>
                <c:pt idx="13">
                  <c:v>1.1141376848963402</c:v>
                </c:pt>
                <c:pt idx="14">
                  <c:v>1.149063146615127</c:v>
                </c:pt>
                <c:pt idx="15">
                  <c:v>0.9917247040252566</c:v>
                </c:pt>
                <c:pt idx="16">
                  <c:v>0.899528971316121</c:v>
                </c:pt>
                <c:pt idx="17">
                  <c:v>0.851824685138539</c:v>
                </c:pt>
                <c:pt idx="18">
                  <c:v>0.872182838083687</c:v>
                </c:pt>
                <c:pt idx="19">
                  <c:v>1.4083204370314972</c:v>
                </c:pt>
                <c:pt idx="20">
                  <c:v>1.4389656822260293</c:v>
                </c:pt>
                <c:pt idx="21">
                  <c:v>1.0369852890444329</c:v>
                </c:pt>
                <c:pt idx="22">
                  <c:v>1.2882817351911895</c:v>
                </c:pt>
                <c:pt idx="23">
                  <c:v>1.1194895158215783</c:v>
                </c:pt>
                <c:pt idx="24">
                  <c:v>1.1046737321832079</c:v>
                </c:pt>
                <c:pt idx="25">
                  <c:v>1.2509417575083426</c:v>
                </c:pt>
                <c:pt idx="26">
                  <c:v>1.3925293094629156</c:v>
                </c:pt>
                <c:pt idx="27">
                  <c:v>1.5023704757233938</c:v>
                </c:pt>
                <c:pt idx="28">
                  <c:v>1.4578732029407304</c:v>
                </c:pt>
                <c:pt idx="29">
                  <c:v>1.2380513518569711</c:v>
                </c:pt>
                <c:pt idx="30">
                  <c:v>1.644696074266149</c:v>
                </c:pt>
                <c:pt idx="31">
                  <c:v>1.3572144745237444</c:v>
                </c:pt>
                <c:pt idx="32">
                  <c:v>1.3242520976361474</c:v>
                </c:pt>
                <c:pt idx="33">
                  <c:v>1.516038201728617</c:v>
                </c:pt>
                <c:pt idx="34">
                  <c:v>1.027694955900986</c:v>
                </c:pt>
                <c:pt idx="35">
                  <c:v>0.9085002262530502</c:v>
                </c:pt>
                <c:pt idx="36">
                  <c:v>1.3837470922606034</c:v>
                </c:pt>
                <c:pt idx="37">
                  <c:v>1.3509113116009872</c:v>
                </c:pt>
                <c:pt idx="38">
                  <c:v>1.5688281267410715</c:v>
                </c:pt>
                <c:pt idx="39">
                  <c:v>1.5042341979989626</c:v>
                </c:pt>
                <c:pt idx="40">
                  <c:v>1.5494246707744352</c:v>
                </c:pt>
                <c:pt idx="41">
                  <c:v>1.229811097118305</c:v>
                </c:pt>
                <c:pt idx="42">
                  <c:v>1.3058335259408644</c:v>
                </c:pt>
                <c:pt idx="43">
                  <c:v>1.3261052635425492</c:v>
                </c:pt>
                <c:pt idx="44">
                  <c:v>1.0615250467146515</c:v>
                </c:pt>
                <c:pt idx="45">
                  <c:v>1.0387209602293086</c:v>
                </c:pt>
                <c:pt idx="46">
                  <c:v>1.0588198534448656</c:v>
                </c:pt>
                <c:pt idx="47">
                  <c:v>1.0372175979598295</c:v>
                </c:pt>
                <c:pt idx="48">
                  <c:v>1.006116109242762</c:v>
                </c:pt>
                <c:pt idx="49">
                  <c:v>1.1950896363068657</c:v>
                </c:pt>
                <c:pt idx="50">
                  <c:v>0.7896058111380144</c:v>
                </c:pt>
                <c:pt idx="51">
                  <c:v>0.8854844131766861</c:v>
                </c:pt>
                <c:pt idx="52">
                  <c:v>-2.399714697536335</c:v>
                </c:pt>
                <c:pt idx="53">
                  <c:v>-5.970072689515667</c:v>
                </c:pt>
                <c:pt idx="54">
                  <c:v>3.435340680334726</c:v>
                </c:pt>
              </c:numCache>
            </c:numRef>
          </c:xVal>
          <c:yVal>
            <c:numRef>
              <c:f>Sheet1!$B$187:$B$241</c:f>
              <c:numCache>
                <c:formatCode>General</c:formatCode>
                <c:ptCount val="55"/>
                <c:pt idx="0">
                  <c:v>0.3252741898593305</c:v>
                </c:pt>
                <c:pt idx="1">
                  <c:v>0.32649740524450943</c:v>
                </c:pt>
                <c:pt idx="2">
                  <c:v>0.3262192140713184</c:v>
                </c:pt>
                <c:pt idx="3">
                  <c:v>0.32685265899593735</c:v>
                </c:pt>
                <c:pt idx="4">
                  <c:v>0.32828259750211475</c:v>
                </c:pt>
                <c:pt idx="5">
                  <c:v>0.32614796796594797</c:v>
                </c:pt>
                <c:pt idx="6">
                  <c:v>0.32630318866342833</c:v>
                </c:pt>
                <c:pt idx="7">
                  <c:v>0.3260484979334783</c:v>
                </c:pt>
                <c:pt idx="8">
                  <c:v>0.3258826733142188</c:v>
                </c:pt>
                <c:pt idx="9">
                  <c:v>0.32564702899406894</c:v>
                </c:pt>
                <c:pt idx="10">
                  <c:v>0.3258852910797815</c:v>
                </c:pt>
                <c:pt idx="11">
                  <c:v>0.324031605901135</c:v>
                </c:pt>
                <c:pt idx="12">
                  <c:v>0.32835017152538887</c:v>
                </c:pt>
                <c:pt idx="13">
                  <c:v>0.32668833798686314</c:v>
                </c:pt>
                <c:pt idx="14">
                  <c:v>0.3263473154468457</c:v>
                </c:pt>
                <c:pt idx="15">
                  <c:v>0.3278836145448049</c:v>
                </c:pt>
                <c:pt idx="16">
                  <c:v>0.3287838409527016</c:v>
                </c:pt>
                <c:pt idx="17">
                  <c:v>0.3292496397150196</c:v>
                </c:pt>
                <c:pt idx="18">
                  <c:v>0.3290508566872298</c:v>
                </c:pt>
                <c:pt idx="19">
                  <c:v>0.32381585056865164</c:v>
                </c:pt>
                <c:pt idx="20">
                  <c:v>0.3235166213289685</c:v>
                </c:pt>
                <c:pt idx="21">
                  <c:v>0.3274416768035034</c:v>
                </c:pt>
                <c:pt idx="22">
                  <c:v>0.32498794396376784</c:v>
                </c:pt>
                <c:pt idx="23">
                  <c:v>0.32663608112650827</c:v>
                </c:pt>
                <c:pt idx="24">
                  <c:v>0.32678074682082</c:v>
                </c:pt>
                <c:pt idx="25">
                  <c:v>0.32535254255193047</c:v>
                </c:pt>
                <c:pt idx="26">
                  <c:v>0.32397003980962824</c:v>
                </c:pt>
                <c:pt idx="27">
                  <c:v>0.3228975181685908</c:v>
                </c:pt>
                <c:pt idx="28">
                  <c:v>0.32333200270340884</c:v>
                </c:pt>
                <c:pt idx="29">
                  <c:v>0.32547840828600383</c:v>
                </c:pt>
                <c:pt idx="30">
                  <c:v>0.32150780892106956</c:v>
                </c:pt>
                <c:pt idx="31">
                  <c:v>0.3243148643049555</c:v>
                </c:pt>
                <c:pt idx="32">
                  <c:v>0.3246367187039532</c:v>
                </c:pt>
                <c:pt idx="33">
                  <c:v>0.3227640624486323</c:v>
                </c:pt>
                <c:pt idx="34">
                  <c:v>0.32753239036462095</c:v>
                </c:pt>
                <c:pt idx="35">
                  <c:v>0.3286962429655835</c:v>
                </c:pt>
                <c:pt idx="36">
                  <c:v>0.32405579197638357</c:v>
                </c:pt>
                <c:pt idx="37">
                  <c:v>0.32437641025236114</c:v>
                </c:pt>
                <c:pt idx="38">
                  <c:v>0.3222486060042758</c:v>
                </c:pt>
                <c:pt idx="39">
                  <c:v>0.3228793202329581</c:v>
                </c:pt>
                <c:pt idx="40">
                  <c:v>0.322438067088345</c:v>
                </c:pt>
                <c:pt idx="41">
                  <c:v>0.3255588685709385</c:v>
                </c:pt>
                <c:pt idx="42">
                  <c:v>0.32481656308664436</c:v>
                </c:pt>
                <c:pt idx="43">
                  <c:v>0.3246186238438319</c:v>
                </c:pt>
                <c:pt idx="44">
                  <c:v>0.32720206335015833</c:v>
                </c:pt>
                <c:pt idx="45">
                  <c:v>0.3274247291966008</c:v>
                </c:pt>
                <c:pt idx="46">
                  <c:v>0.327228477657506</c:v>
                </c:pt>
                <c:pt idx="47">
                  <c:v>0.3274394084705309</c:v>
                </c:pt>
                <c:pt idx="48">
                  <c:v>0.3277430926069359</c:v>
                </c:pt>
                <c:pt idx="49">
                  <c:v>0.3258978991857482</c:v>
                </c:pt>
                <c:pt idx="50">
                  <c:v>0.32985716320660646</c:v>
                </c:pt>
                <c:pt idx="51">
                  <c:v>0.3289209761730945</c:v>
                </c:pt>
                <c:pt idx="52">
                  <c:v>0.3609986321313446</c:v>
                </c:pt>
                <c:pt idx="53">
                  <c:v>0.39586066376316376</c:v>
                </c:pt>
                <c:pt idx="54">
                  <c:v>0.304023425271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03539823008849"/>
          <c:min val="0.17741935483870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5.0822</c:v>
                </c:pt>
                <c:pt idx="1">
                  <c:v>1070.2795</c:v>
                </c:pt>
                <c:pt idx="2">
                  <c:v>1166.7329</c:v>
                </c:pt>
                <c:pt idx="3">
                  <c:v>1192.6645</c:v>
                </c:pt>
                <c:pt idx="4">
                  <c:v>1206.0699</c:v>
                </c:pt>
                <c:pt idx="5">
                  <c:v>1191.8571</c:v>
                </c:pt>
                <c:pt idx="6">
                  <c:v>1093.8881</c:v>
                </c:pt>
                <c:pt idx="7">
                  <c:v>1102.9485</c:v>
                </c:pt>
                <c:pt idx="8">
                  <c:v>1174.0882</c:v>
                </c:pt>
                <c:pt idx="9">
                  <c:v>1131.2429</c:v>
                </c:pt>
                <c:pt idx="10">
                  <c:v>1102.6738</c:v>
                </c:pt>
                <c:pt idx="11">
                  <c:v>1185.4211</c:v>
                </c:pt>
                <c:pt idx="12">
                  <c:v>1171.9632</c:v>
                </c:pt>
                <c:pt idx="13">
                  <c:v>1176.2398</c:v>
                </c:pt>
                <c:pt idx="14">
                  <c:v>1174.1056</c:v>
                </c:pt>
                <c:pt idx="15">
                  <c:v>1183.0957</c:v>
                </c:pt>
                <c:pt idx="16">
                  <c:v>1217.2872</c:v>
                </c:pt>
                <c:pt idx="17">
                  <c:v>1177.4706</c:v>
                </c:pt>
                <c:pt idx="18">
                  <c:v>1294.4</c:v>
                </c:pt>
                <c:pt idx="19">
                  <c:v>1305.2031</c:v>
                </c:pt>
                <c:pt idx="20">
                  <c:v>1267.8108</c:v>
                </c:pt>
                <c:pt idx="21">
                  <c:v>1278.5</c:v>
                </c:pt>
                <c:pt idx="22">
                  <c:v>1273.0617</c:v>
                </c:pt>
                <c:pt idx="23">
                  <c:v>1221.1519</c:v>
                </c:pt>
                <c:pt idx="24">
                  <c:v>1184.1034</c:v>
                </c:pt>
                <c:pt idx="25">
                  <c:v>1166.9691</c:v>
                </c:pt>
                <c:pt idx="26">
                  <c:v>1193.0385</c:v>
                </c:pt>
                <c:pt idx="27">
                  <c:v>1235.38</c:v>
                </c:pt>
                <c:pt idx="28">
                  <c:v>1267.7312</c:v>
                </c:pt>
                <c:pt idx="29">
                  <c:v>1177.0076</c:v>
                </c:pt>
                <c:pt idx="30">
                  <c:v>1221.1573</c:v>
                </c:pt>
                <c:pt idx="31">
                  <c:v>1223.0989</c:v>
                </c:pt>
                <c:pt idx="32">
                  <c:v>1200.8681</c:v>
                </c:pt>
                <c:pt idx="33">
                  <c:v>1178.9538</c:v>
                </c:pt>
                <c:pt idx="34">
                  <c:v>1167.3022</c:v>
                </c:pt>
                <c:pt idx="35">
                  <c:v>1203.7602</c:v>
                </c:pt>
                <c:pt idx="36">
                  <c:v>1286.0273</c:v>
                </c:pt>
                <c:pt idx="37">
                  <c:v>1335.1139</c:v>
                </c:pt>
                <c:pt idx="38">
                  <c:v>1379.1139</c:v>
                </c:pt>
                <c:pt idx="39">
                  <c:v>1390.5172</c:v>
                </c:pt>
                <c:pt idx="40">
                  <c:v>1381.5856</c:v>
                </c:pt>
                <c:pt idx="41">
                  <c:v>1419.4545</c:v>
                </c:pt>
                <c:pt idx="42">
                  <c:v>1513.4811</c:v>
                </c:pt>
                <c:pt idx="43">
                  <c:v>1486.8962</c:v>
                </c:pt>
                <c:pt idx="44">
                  <c:v>1374.9463</c:v>
                </c:pt>
                <c:pt idx="45">
                  <c:v>1308.7487</c:v>
                </c:pt>
                <c:pt idx="46">
                  <c:v>1345.6255</c:v>
                </c:pt>
                <c:pt idx="47">
                  <c:v>1302.6789</c:v>
                </c:pt>
                <c:pt idx="48">
                  <c:v>1330.5125</c:v>
                </c:pt>
                <c:pt idx="49">
                  <c:v>1171.0117</c:v>
                </c:pt>
                <c:pt idx="50">
                  <c:v>1172.9781</c:v>
                </c:pt>
                <c:pt idx="51">
                  <c:v>1181.2406</c:v>
                </c:pt>
                <c:pt idx="52">
                  <c:v>1220.5377</c:v>
                </c:pt>
                <c:pt idx="53">
                  <c:v>1318.8944</c:v>
                </c:pt>
                <c:pt idx="54">
                  <c:v>1300.0066</c:v>
                </c:pt>
                <c:pt idx="55">
                  <c:v>1337.5195</c:v>
                </c:pt>
                <c:pt idx="56">
                  <c:v>1325.8827</c:v>
                </c:pt>
                <c:pt idx="57">
                  <c:v>1279.5612</c:v>
                </c:pt>
                <c:pt idx="58">
                  <c:v>1277.7955</c:v>
                </c:pt>
                <c:pt idx="59">
                  <c:v>1228.7692</c:v>
                </c:pt>
                <c:pt idx="60">
                  <c:v>1269.1179</c:v>
                </c:pt>
                <c:pt idx="61">
                  <c:v>1294.6139</c:v>
                </c:pt>
                <c:pt idx="62">
                  <c:v>1242.5926</c:v>
                </c:pt>
                <c:pt idx="63">
                  <c:v>1260.1127</c:v>
                </c:pt>
                <c:pt idx="64">
                  <c:v>1212.295</c:v>
                </c:pt>
                <c:pt idx="65">
                  <c:v>1249.0056</c:v>
                </c:pt>
                <c:pt idx="66">
                  <c:v>1216.9881</c:v>
                </c:pt>
                <c:pt idx="67">
                  <c:v>1234.7386</c:v>
                </c:pt>
                <c:pt idx="68">
                  <c:v>1297.7582</c:v>
                </c:pt>
                <c:pt idx="69">
                  <c:v>1253.0725</c:v>
                </c:pt>
                <c:pt idx="70">
                  <c:v>1288.7091</c:v>
                </c:pt>
                <c:pt idx="71">
                  <c:v>1388.7119</c:v>
                </c:pt>
                <c:pt idx="72">
                  <c:v>1423.4571</c:v>
                </c:pt>
                <c:pt idx="73">
                  <c:v>1453.8393</c:v>
                </c:pt>
                <c:pt idx="74">
                  <c:v>930.2679</c:v>
                </c:pt>
                <c:pt idx="75">
                  <c:v>1497.3016</c:v>
                </c:pt>
                <c:pt idx="76">
                  <c:v>1564.871</c:v>
                </c:pt>
                <c:pt idx="77">
                  <c:v>1559.24</c:v>
                </c:pt>
                <c:pt idx="78">
                  <c:v>1485.5714</c:v>
                </c:pt>
                <c:pt idx="79">
                  <c:v>1476.6329</c:v>
                </c:pt>
                <c:pt idx="80">
                  <c:v>1508.3333</c:v>
                </c:pt>
                <c:pt idx="81">
                  <c:v>1524.0986</c:v>
                </c:pt>
                <c:pt idx="82">
                  <c:v>1498.7458</c:v>
                </c:pt>
                <c:pt idx="83">
                  <c:v>1551.5814</c:v>
                </c:pt>
                <c:pt idx="84">
                  <c:v>1474.3</c:v>
                </c:pt>
                <c:pt idx="85">
                  <c:v>1448.8793</c:v>
                </c:pt>
                <c:pt idx="86">
                  <c:v>1446.7449</c:v>
                </c:pt>
                <c:pt idx="87">
                  <c:v>1436.7519</c:v>
                </c:pt>
                <c:pt idx="88">
                  <c:v>1510.25</c:v>
                </c:pt>
                <c:pt idx="89">
                  <c:v>1497.3269</c:v>
                </c:pt>
                <c:pt idx="90">
                  <c:v>1597.6296</c:v>
                </c:pt>
                <c:pt idx="91">
                  <c:v>1626.2353</c:v>
                </c:pt>
                <c:pt idx="92">
                  <c:v>1574.4706</c:v>
                </c:pt>
                <c:pt idx="93">
                  <c:v>1597.5244</c:v>
                </c:pt>
                <c:pt idx="94">
                  <c:v>1519.2466</c:v>
                </c:pt>
                <c:pt idx="95">
                  <c:v>1385.3426</c:v>
                </c:pt>
                <c:pt idx="96">
                  <c:v>1386.2581</c:v>
                </c:pt>
                <c:pt idx="97">
                  <c:v>1384.7025</c:v>
                </c:pt>
                <c:pt idx="98">
                  <c:v>1368.3939</c:v>
                </c:pt>
                <c:pt idx="99">
                  <c:v>1329.1948</c:v>
                </c:pt>
                <c:pt idx="100">
                  <c:v>1360.0497</c:v>
                </c:pt>
                <c:pt idx="101">
                  <c:v>1347.508</c:v>
                </c:pt>
                <c:pt idx="102">
                  <c:v>1361.9213</c:v>
                </c:pt>
                <c:pt idx="103">
                  <c:v>1296.1946</c:v>
                </c:pt>
                <c:pt idx="104">
                  <c:v>1380.719</c:v>
                </c:pt>
              </c:numCache>
            </c:numRef>
          </c:xVal>
          <c:yVal>
            <c:numRef>
              <c:f>Sheet1!$B$2:$B$106</c:f>
              <c:numCache>
                <c:formatCode>General</c:formatCode>
                <c:ptCount val="105"/>
                <c:pt idx="0">
                  <c:v>0.30374479889042993</c:v>
                </c:pt>
                <c:pt idx="1">
                  <c:v>0.32525252525252524</c:v>
                </c:pt>
                <c:pt idx="2">
                  <c:v>0.2967479674796748</c:v>
                </c:pt>
                <c:pt idx="3">
                  <c:v>0.3261802575107296</c:v>
                </c:pt>
                <c:pt idx="4">
                  <c:v>0.30105263157894735</c:v>
                </c:pt>
                <c:pt idx="5">
                  <c:v>0.3136792452830189</c:v>
                </c:pt>
                <c:pt idx="6">
                  <c:v>0.34292565947242204</c:v>
                </c:pt>
                <c:pt idx="7">
                  <c:v>0.3460559796437659</c:v>
                </c:pt>
                <c:pt idx="8">
                  <c:v>0.3148148148148148</c:v>
                </c:pt>
                <c:pt idx="9">
                  <c:v>0.30837004405286345</c:v>
                </c:pt>
                <c:pt idx="10">
                  <c:v>0.29375</c:v>
                </c:pt>
                <c:pt idx="11">
                  <c:v>0.25165562913907286</c:v>
                </c:pt>
                <c:pt idx="12">
                  <c:v>0.2879858657243816</c:v>
                </c:pt>
                <c:pt idx="13">
                  <c:v>0.2958477508650519</c:v>
                </c:pt>
                <c:pt idx="14">
                  <c:v>0.27099236641221375</c:v>
                </c:pt>
                <c:pt idx="15">
                  <c:v>0.2818627450980392</c:v>
                </c:pt>
                <c:pt idx="16">
                  <c:v>0.2655367231638418</c:v>
                </c:pt>
                <c:pt idx="17">
                  <c:v>0.2786885245901639</c:v>
                </c:pt>
                <c:pt idx="18">
                  <c:v>0.25</c:v>
                </c:pt>
                <c:pt idx="19">
                  <c:v>0.24615384615384617</c:v>
                </c:pt>
                <c:pt idx="20">
                  <c:v>0.2334384858044164</c:v>
                </c:pt>
                <c:pt idx="21">
                  <c:v>0.2885572139303483</c:v>
                </c:pt>
                <c:pt idx="22">
                  <c:v>0.3389121338912134</c:v>
                </c:pt>
                <c:pt idx="23">
                  <c:v>0.3278008298755187</c:v>
                </c:pt>
                <c:pt idx="24">
                  <c:v>0.3841059602649007</c:v>
                </c:pt>
                <c:pt idx="25">
                  <c:v>0.3716475095785441</c:v>
                </c:pt>
                <c:pt idx="26">
                  <c:v>0.38661710037174724</c:v>
                </c:pt>
                <c:pt idx="27">
                  <c:v>0.3424657534246575</c:v>
                </c:pt>
                <c:pt idx="28">
                  <c:v>0.3274647887323944</c:v>
                </c:pt>
                <c:pt idx="29">
                  <c:v>0.3793103448275862</c:v>
                </c:pt>
                <c:pt idx="30">
                  <c:v>0.3739495798319328</c:v>
                </c:pt>
                <c:pt idx="31">
                  <c:v>0.3872340425531915</c:v>
                </c:pt>
                <c:pt idx="32">
                  <c:v>0.37448559670781895</c:v>
                </c:pt>
                <c:pt idx="33">
                  <c:v>0.39156626506024095</c:v>
                </c:pt>
                <c:pt idx="34">
                  <c:v>0.3278301886792453</c:v>
                </c:pt>
                <c:pt idx="35">
                  <c:v>0.3475177304964539</c:v>
                </c:pt>
                <c:pt idx="36">
                  <c:v>0.32934131736526945</c:v>
                </c:pt>
                <c:pt idx="37">
                  <c:v>0.2743055555555556</c:v>
                </c:pt>
                <c:pt idx="38">
                  <c:v>0.316</c:v>
                </c:pt>
                <c:pt idx="39">
                  <c:v>0.3425196850393701</c:v>
                </c:pt>
                <c:pt idx="40">
                  <c:v>0.3546325878594249</c:v>
                </c:pt>
                <c:pt idx="41">
                  <c:v>0.29931972789115646</c:v>
                </c:pt>
                <c:pt idx="42">
                  <c:v>0.30994152046783624</c:v>
                </c:pt>
                <c:pt idx="43">
                  <c:v>0.3241590214067278</c:v>
                </c:pt>
                <c:pt idx="44">
                  <c:v>0.3363431151241535</c:v>
                </c:pt>
                <c:pt idx="45">
                  <c:v>0.3303886925795053</c:v>
                </c:pt>
                <c:pt idx="46">
                  <c:v>0.3228021978021978</c:v>
                </c:pt>
                <c:pt idx="47">
                  <c:v>0.34222919937205654</c:v>
                </c:pt>
                <c:pt idx="48">
                  <c:v>0.3088803088803089</c:v>
                </c:pt>
                <c:pt idx="49">
                  <c:v>0.3978243978243978</c:v>
                </c:pt>
                <c:pt idx="50">
                  <c:v>0.3931133428981349</c:v>
                </c:pt>
                <c:pt idx="51">
                  <c:v>0.3889908256880734</c:v>
                </c:pt>
                <c:pt idx="52">
                  <c:v>0.39042357274401474</c:v>
                </c:pt>
                <c:pt idx="53">
                  <c:v>0.38333333333333336</c:v>
                </c:pt>
                <c:pt idx="54">
                  <c:v>0.38974358974358975</c:v>
                </c:pt>
                <c:pt idx="55">
                  <c:v>0.41509433962264153</c:v>
                </c:pt>
                <c:pt idx="56">
                  <c:v>0.4153846153846154</c:v>
                </c:pt>
                <c:pt idx="57">
                  <c:v>0.4336283185840708</c:v>
                </c:pt>
                <c:pt idx="58">
                  <c:v>0.4247104247104247</c:v>
                </c:pt>
                <c:pt idx="59">
                  <c:v>0.40310077519379844</c:v>
                </c:pt>
                <c:pt idx="60">
                  <c:v>0.4019607843137255</c:v>
                </c:pt>
                <c:pt idx="61">
                  <c:v>0.3691588785046729</c:v>
                </c:pt>
                <c:pt idx="62">
                  <c:v>0.34615384615384615</c:v>
                </c:pt>
                <c:pt idx="63">
                  <c:v>0.36660929432013767</c:v>
                </c:pt>
                <c:pt idx="64">
                  <c:v>0.32051282051282054</c:v>
                </c:pt>
                <c:pt idx="65">
                  <c:v>0.3231046931407942</c:v>
                </c:pt>
                <c:pt idx="66">
                  <c:v>0.340080971659919</c:v>
                </c:pt>
                <c:pt idx="67">
                  <c:v>0.35253456221198154</c:v>
                </c:pt>
                <c:pt idx="68">
                  <c:v>0.2653061224489796</c:v>
                </c:pt>
                <c:pt idx="69">
                  <c:v>0.26953125</c:v>
                </c:pt>
                <c:pt idx="70">
                  <c:v>0.2217741935483871</c:v>
                </c:pt>
                <c:pt idx="71">
                  <c:v>0.2744186046511628</c:v>
                </c:pt>
                <c:pt idx="72">
                  <c:v>0.3111111111111111</c:v>
                </c:pt>
                <c:pt idx="73">
                  <c:v>0.2679425837320574</c:v>
                </c:pt>
                <c:pt idx="74">
                  <c:v>0.3875432525951557</c:v>
                </c:pt>
                <c:pt idx="75">
                  <c:v>0.2889908256880734</c:v>
                </c:pt>
                <c:pt idx="76">
                  <c:v>0.32460732984293195</c:v>
                </c:pt>
                <c:pt idx="77">
                  <c:v>0.27472527472527475</c:v>
                </c:pt>
                <c:pt idx="78">
                  <c:v>0.3073170731707317</c:v>
                </c:pt>
                <c:pt idx="79">
                  <c:v>0.341991341991342</c:v>
                </c:pt>
                <c:pt idx="80">
                  <c:v>0.2647058823529412</c:v>
                </c:pt>
                <c:pt idx="81">
                  <c:v>0.22468354430379747</c:v>
                </c:pt>
                <c:pt idx="82">
                  <c:v>0.2576419213973799</c:v>
                </c:pt>
                <c:pt idx="83">
                  <c:v>0.24855491329479767</c:v>
                </c:pt>
                <c:pt idx="84">
                  <c:v>0.2717391304347826</c:v>
                </c:pt>
                <c:pt idx="85">
                  <c:v>0.2457627118644068</c:v>
                </c:pt>
                <c:pt idx="86">
                  <c:v>0.28405797101449276</c:v>
                </c:pt>
                <c:pt idx="87">
                  <c:v>0.2951945080091533</c:v>
                </c:pt>
                <c:pt idx="88">
                  <c:v>0.3114754098360656</c:v>
                </c:pt>
                <c:pt idx="89">
                  <c:v>0.2653061224489796</c:v>
                </c:pt>
                <c:pt idx="90">
                  <c:v>0.2727272727272727</c:v>
                </c:pt>
                <c:pt idx="91">
                  <c:v>0.2698412698412698</c:v>
                </c:pt>
                <c:pt idx="92">
                  <c:v>0.32945736434108525</c:v>
                </c:pt>
                <c:pt idx="93">
                  <c:v>0.31906614785992216</c:v>
                </c:pt>
                <c:pt idx="94">
                  <c:v>0.35960591133004927</c:v>
                </c:pt>
                <c:pt idx="95">
                  <c:v>0.3385579937304075</c:v>
                </c:pt>
                <c:pt idx="96">
                  <c:v>0.3139240506329114</c:v>
                </c:pt>
                <c:pt idx="97">
                  <c:v>0.305019305019305</c:v>
                </c:pt>
                <c:pt idx="98">
                  <c:v>0.30745341614906835</c:v>
                </c:pt>
                <c:pt idx="99">
                  <c:v>0.29844961240310075</c:v>
                </c:pt>
                <c:pt idx="100">
                  <c:v>0.3265720081135903</c:v>
                </c:pt>
                <c:pt idx="101">
                  <c:v>0.3202054794520548</c:v>
                </c:pt>
                <c:pt idx="102">
                  <c:v>0.3167082294264339</c:v>
                </c:pt>
                <c:pt idx="103">
                  <c:v>0.3059548254620123</c:v>
                </c:pt>
                <c:pt idx="104">
                  <c:v>0.33704735376044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506.9825</c:v>
                </c:pt>
                <c:pt idx="1">
                  <c:v>1323.5043</c:v>
                </c:pt>
                <c:pt idx="2">
                  <c:v>1296.1753</c:v>
                </c:pt>
                <c:pt idx="3">
                  <c:v>1307.375</c:v>
                </c:pt>
                <c:pt idx="4">
                  <c:v>1303.2014</c:v>
                </c:pt>
                <c:pt idx="5">
                  <c:v>1442.9701</c:v>
                </c:pt>
                <c:pt idx="6">
                  <c:v>1419.137</c:v>
                </c:pt>
                <c:pt idx="7">
                  <c:v>1353.8279</c:v>
                </c:pt>
                <c:pt idx="8">
                  <c:v>1433.4767</c:v>
                </c:pt>
                <c:pt idx="9">
                  <c:v>1428.4091</c:v>
                </c:pt>
                <c:pt idx="10">
                  <c:v>1435.5574</c:v>
                </c:pt>
                <c:pt idx="11">
                  <c:v>1258.3944</c:v>
                </c:pt>
                <c:pt idx="12">
                  <c:v>1205.8344</c:v>
                </c:pt>
                <c:pt idx="13">
                  <c:v>1221.5234</c:v>
                </c:pt>
                <c:pt idx="14">
                  <c:v>1191.6742</c:v>
                </c:pt>
                <c:pt idx="15">
                  <c:v>1256.5152</c:v>
                </c:pt>
                <c:pt idx="16">
                  <c:v>1192.1757</c:v>
                </c:pt>
                <c:pt idx="17">
                  <c:v>1183.6104</c:v>
                </c:pt>
                <c:pt idx="18">
                  <c:v>1438.2295</c:v>
                </c:pt>
                <c:pt idx="19">
                  <c:v>1459.9589</c:v>
                </c:pt>
                <c:pt idx="20">
                  <c:v>1570.5283</c:v>
                </c:pt>
                <c:pt idx="21">
                  <c:v>1590.1429</c:v>
                </c:pt>
                <c:pt idx="22">
                  <c:v>1526.3276</c:v>
                </c:pt>
                <c:pt idx="23">
                  <c:v>1468.2105</c:v>
                </c:pt>
                <c:pt idx="24">
                  <c:v>1454.5397</c:v>
                </c:pt>
                <c:pt idx="25">
                  <c:v>1405.7458</c:v>
                </c:pt>
                <c:pt idx="26">
                  <c:v>1361.1974</c:v>
                </c:pt>
                <c:pt idx="27">
                  <c:v>1531.6667</c:v>
                </c:pt>
                <c:pt idx="28">
                  <c:v>1534.6104</c:v>
                </c:pt>
                <c:pt idx="29">
                  <c:v>1526.7237</c:v>
                </c:pt>
                <c:pt idx="30">
                  <c:v>1644.8788</c:v>
                </c:pt>
                <c:pt idx="31">
                  <c:v>1489.0</c:v>
                </c:pt>
                <c:pt idx="32">
                  <c:v>1405.1786</c:v>
                </c:pt>
                <c:pt idx="33">
                  <c:v>1562.9091</c:v>
                </c:pt>
                <c:pt idx="34">
                  <c:v>1572.4667</c:v>
                </c:pt>
                <c:pt idx="35">
                  <c:v>1518.0282</c:v>
                </c:pt>
                <c:pt idx="36">
                  <c:v>1582.3148</c:v>
                </c:pt>
                <c:pt idx="37">
                  <c:v>1587.1857</c:v>
                </c:pt>
                <c:pt idx="38">
                  <c:v>1562.7941</c:v>
                </c:pt>
                <c:pt idx="39">
                  <c:v>1603.2987</c:v>
                </c:pt>
                <c:pt idx="40">
                  <c:v>1603.0735</c:v>
                </c:pt>
                <c:pt idx="41">
                  <c:v>1660.122</c:v>
                </c:pt>
                <c:pt idx="42">
                  <c:v>1588.7246</c:v>
                </c:pt>
                <c:pt idx="43">
                  <c:v>1524.1685</c:v>
                </c:pt>
                <c:pt idx="44">
                  <c:v>1471.4667</c:v>
                </c:pt>
                <c:pt idx="45">
                  <c:v>1449.5351</c:v>
                </c:pt>
                <c:pt idx="46">
                  <c:v>1374.1129</c:v>
                </c:pt>
                <c:pt idx="47">
                  <c:v>1254.1556</c:v>
                </c:pt>
                <c:pt idx="48">
                  <c:v>1209.4234</c:v>
                </c:pt>
                <c:pt idx="49">
                  <c:v>1364.1169</c:v>
                </c:pt>
                <c:pt idx="50">
                  <c:v>1202.5203</c:v>
                </c:pt>
                <c:pt idx="51">
                  <c:v>1190.85</c:v>
                </c:pt>
              </c:numCache>
            </c:numRef>
          </c:xVal>
          <c:yVal>
            <c:numRef>
              <c:f>Sheet1!$B$109:$B$160</c:f>
              <c:numCache>
                <c:formatCode>General</c:formatCode>
                <c:ptCount val="52"/>
                <c:pt idx="0">
                  <c:v>0.31666666666666665</c:v>
                </c:pt>
                <c:pt idx="1">
                  <c:v>0.3484848484848485</c:v>
                </c:pt>
                <c:pt idx="2">
                  <c:v>0.39185750636132316</c:v>
                </c:pt>
                <c:pt idx="3">
                  <c:v>0.41411764705882353</c:v>
                </c:pt>
                <c:pt idx="4">
                  <c:v>0.4186046511627907</c:v>
                </c:pt>
                <c:pt idx="5">
                  <c:v>0.3753501400560224</c:v>
                </c:pt>
                <c:pt idx="6">
                  <c:v>0.35180722891566263</c:v>
                </c:pt>
                <c:pt idx="7">
                  <c:v>0.3193717277486911</c:v>
                </c:pt>
                <c:pt idx="8">
                  <c:v>0.31272727272727274</c:v>
                </c:pt>
                <c:pt idx="9">
                  <c:v>0.3151862464183381</c:v>
                </c:pt>
                <c:pt idx="10">
                  <c:v>0.3185378590078329</c:v>
                </c:pt>
                <c:pt idx="11">
                  <c:v>0.33210332103321033</c:v>
                </c:pt>
                <c:pt idx="12">
                  <c:v>0.3398268398268398</c:v>
                </c:pt>
                <c:pt idx="13">
                  <c:v>0.30843373493975906</c:v>
                </c:pt>
                <c:pt idx="14">
                  <c:v>0.34108527131782945</c:v>
                </c:pt>
                <c:pt idx="15">
                  <c:v>0.3344594594594595</c:v>
                </c:pt>
                <c:pt idx="16">
                  <c:v>0.31223628691983124</c:v>
                </c:pt>
                <c:pt idx="17">
                  <c:v>0.3117408906882591</c:v>
                </c:pt>
                <c:pt idx="18">
                  <c:v>0.2824074074074074</c:v>
                </c:pt>
                <c:pt idx="19">
                  <c:v>0.30165289256198347</c:v>
                </c:pt>
                <c:pt idx="20">
                  <c:v>0.29775280898876405</c:v>
                </c:pt>
                <c:pt idx="21">
                  <c:v>0.25654450261780104</c:v>
                </c:pt>
                <c:pt idx="22">
                  <c:v>0.3314285714285714</c:v>
                </c:pt>
                <c:pt idx="23">
                  <c:v>0.3333333333333333</c:v>
                </c:pt>
                <c:pt idx="24">
                  <c:v>0.3230769230769231</c:v>
                </c:pt>
                <c:pt idx="25">
                  <c:v>0.2783018867924528</c:v>
                </c:pt>
                <c:pt idx="26">
                  <c:v>0.3089430894308943</c:v>
                </c:pt>
                <c:pt idx="27">
                  <c:v>0.2693877551020408</c:v>
                </c:pt>
                <c:pt idx="28">
                  <c:v>0.29277566539923955</c:v>
                </c:pt>
                <c:pt idx="29">
                  <c:v>0.3140495867768595</c:v>
                </c:pt>
                <c:pt idx="30">
                  <c:v>0.30697674418604654</c:v>
                </c:pt>
                <c:pt idx="31">
                  <c:v>0.2925531914893617</c:v>
                </c:pt>
                <c:pt idx="32">
                  <c:v>0.36363636363636365</c:v>
                </c:pt>
                <c:pt idx="33">
                  <c:v>0.42857142857142855</c:v>
                </c:pt>
                <c:pt idx="34">
                  <c:v>0.3829787234042553</c:v>
                </c:pt>
                <c:pt idx="35">
                  <c:v>0.4057142857142857</c:v>
                </c:pt>
                <c:pt idx="36">
                  <c:v>0.34615384615384615</c:v>
                </c:pt>
                <c:pt idx="37">
                  <c:v>0.3763440860215054</c:v>
                </c:pt>
                <c:pt idx="38">
                  <c:v>0.3383084577114428</c:v>
                </c:pt>
                <c:pt idx="39">
                  <c:v>0.3422222222222222</c:v>
                </c:pt>
                <c:pt idx="40">
                  <c:v>0.2956521739130435</c:v>
                </c:pt>
                <c:pt idx="41">
                  <c:v>0.3416666666666667</c:v>
                </c:pt>
                <c:pt idx="42">
                  <c:v>0.3194444444444444</c:v>
                </c:pt>
                <c:pt idx="43">
                  <c:v>0.3037542662116041</c:v>
                </c:pt>
                <c:pt idx="44">
                  <c:v>0.28753993610223644</c:v>
                </c:pt>
                <c:pt idx="45">
                  <c:v>0.25617977528089886</c:v>
                </c:pt>
                <c:pt idx="46">
                  <c:v>0.2824601366742597</c:v>
                </c:pt>
                <c:pt idx="47">
                  <c:v>0.2967032967032967</c:v>
                </c:pt>
                <c:pt idx="48">
                  <c:v>0.30376940133037694</c:v>
                </c:pt>
                <c:pt idx="49">
                  <c:v>0.27017543859649124</c:v>
                </c:pt>
                <c:pt idx="50">
                  <c:v>0.3166023166023166</c:v>
                </c:pt>
                <c:pt idx="51">
                  <c:v>0.336134453781512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38.86080248086</c:v>
                </c:pt>
              </c:numCache>
            </c:numRef>
          </c:xVal>
          <c:yVal>
            <c:numRef>
              <c:f>Sheet1!$B$163:$B$164</c:f>
              <c:numCache>
                <c:formatCode>General</c:formatCode>
                <c:ptCount val="2"/>
                <c:pt idx="0">
                  <c:v>0.39586066376316376</c:v>
                </c:pt>
                <c:pt idx="1">
                  <c:v>0.395860663763163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38.86080248086</c:v>
                </c:pt>
                <c:pt idx="1">
                  <c:v>-5138.86080248086</c:v>
                </c:pt>
              </c:numCache>
            </c:numRef>
          </c:xVal>
          <c:yVal>
            <c:numRef>
              <c:f>Sheet1!$B$167:$B$168</c:f>
              <c:numCache>
                <c:formatCode>General</c:formatCode>
                <c:ptCount val="2"/>
                <c:pt idx="0">
                  <c:v>0.395860663763163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869.4270085233773</c:v>
                </c:pt>
              </c:numCache>
            </c:numRef>
          </c:xVal>
          <c:yVal>
            <c:numRef>
              <c:f>Sheet1!$B$171:$B$172</c:f>
              <c:numCache>
                <c:formatCode>General</c:formatCode>
                <c:ptCount val="2"/>
                <c:pt idx="0">
                  <c:v>0.3609986321313446</c:v>
                </c:pt>
                <c:pt idx="1">
                  <c:v>0.36099863213134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869.4270085233773</c:v>
                </c:pt>
                <c:pt idx="1">
                  <c:v>-1869.4270085233773</c:v>
                </c:pt>
              </c:numCache>
            </c:numRef>
          </c:xVal>
          <c:yVal>
            <c:numRef>
              <c:f>Sheet1!$B$175:$B$176</c:f>
              <c:numCache>
                <c:formatCode>General</c:formatCode>
                <c:ptCount val="2"/>
                <c:pt idx="0">
                  <c:v>0.36099863213134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473.8263248626454</c:v>
                </c:pt>
              </c:numCache>
            </c:numRef>
          </c:xVal>
          <c:yVal>
            <c:numRef>
              <c:f>Sheet1!$B$179:$B$180</c:f>
              <c:numCache>
                <c:formatCode>General</c:formatCode>
                <c:ptCount val="2"/>
                <c:pt idx="0">
                  <c:v>0.30402342527149</c:v>
                </c:pt>
                <c:pt idx="1">
                  <c:v>0.3040234252714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473.8263248626454</c:v>
                </c:pt>
                <c:pt idx="1">
                  <c:v>3473.8263248626454</c:v>
                </c:pt>
              </c:numCache>
            </c:numRef>
          </c:xVal>
          <c:yVal>
            <c:numRef>
              <c:f>Sheet1!$B$183:$B$184</c:f>
              <c:numCache>
                <c:formatCode>General</c:formatCode>
                <c:ptCount val="2"/>
                <c:pt idx="0">
                  <c:v>0.304023425271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506.9825</c:v>
                </c:pt>
                <c:pt idx="1">
                  <c:v>1323.5043</c:v>
                </c:pt>
                <c:pt idx="2">
                  <c:v>1296.1753</c:v>
                </c:pt>
                <c:pt idx="3">
                  <c:v>1307.375</c:v>
                </c:pt>
                <c:pt idx="4">
                  <c:v>1303.2014</c:v>
                </c:pt>
                <c:pt idx="5">
                  <c:v>1442.9701</c:v>
                </c:pt>
                <c:pt idx="6">
                  <c:v>1419.137</c:v>
                </c:pt>
                <c:pt idx="7">
                  <c:v>1353.8279</c:v>
                </c:pt>
                <c:pt idx="8">
                  <c:v>1433.4767</c:v>
                </c:pt>
                <c:pt idx="9">
                  <c:v>1428.4091</c:v>
                </c:pt>
                <c:pt idx="10">
                  <c:v>1435.5574</c:v>
                </c:pt>
                <c:pt idx="11">
                  <c:v>1258.3944</c:v>
                </c:pt>
                <c:pt idx="12">
                  <c:v>1205.8344</c:v>
                </c:pt>
                <c:pt idx="13">
                  <c:v>1221.5234</c:v>
                </c:pt>
                <c:pt idx="14">
                  <c:v>1191.6742</c:v>
                </c:pt>
                <c:pt idx="15">
                  <c:v>1256.5152</c:v>
                </c:pt>
                <c:pt idx="16">
                  <c:v>1192.1757</c:v>
                </c:pt>
                <c:pt idx="17">
                  <c:v>1183.6104</c:v>
                </c:pt>
                <c:pt idx="18">
                  <c:v>1438.2295</c:v>
                </c:pt>
                <c:pt idx="19">
                  <c:v>1459.9589</c:v>
                </c:pt>
                <c:pt idx="20">
                  <c:v>1570.5283</c:v>
                </c:pt>
                <c:pt idx="21">
                  <c:v>1590.1429</c:v>
                </c:pt>
                <c:pt idx="22">
                  <c:v>1526.3276</c:v>
                </c:pt>
                <c:pt idx="23">
                  <c:v>1468.2105</c:v>
                </c:pt>
                <c:pt idx="24">
                  <c:v>1454.5397</c:v>
                </c:pt>
                <c:pt idx="25">
                  <c:v>1405.7458</c:v>
                </c:pt>
                <c:pt idx="26">
                  <c:v>1361.1974</c:v>
                </c:pt>
                <c:pt idx="27">
                  <c:v>1531.6667</c:v>
                </c:pt>
                <c:pt idx="28">
                  <c:v>1534.6104</c:v>
                </c:pt>
                <c:pt idx="29">
                  <c:v>1526.7237</c:v>
                </c:pt>
                <c:pt idx="30">
                  <c:v>1644.8788</c:v>
                </c:pt>
                <c:pt idx="31">
                  <c:v>1489.0</c:v>
                </c:pt>
                <c:pt idx="32">
                  <c:v>1405.1786</c:v>
                </c:pt>
                <c:pt idx="33">
                  <c:v>1562.9091</c:v>
                </c:pt>
                <c:pt idx="34">
                  <c:v>1572.4667</c:v>
                </c:pt>
                <c:pt idx="35">
                  <c:v>1518.0282</c:v>
                </c:pt>
                <c:pt idx="36">
                  <c:v>1582.3148</c:v>
                </c:pt>
                <c:pt idx="37">
                  <c:v>1587.1857</c:v>
                </c:pt>
                <c:pt idx="38">
                  <c:v>1562.7941</c:v>
                </c:pt>
                <c:pt idx="39">
                  <c:v>1603.2987</c:v>
                </c:pt>
                <c:pt idx="40">
                  <c:v>1603.0735</c:v>
                </c:pt>
                <c:pt idx="41">
                  <c:v>1660.122</c:v>
                </c:pt>
                <c:pt idx="42">
                  <c:v>1588.7246</c:v>
                </c:pt>
                <c:pt idx="43">
                  <c:v>1524.1685</c:v>
                </c:pt>
                <c:pt idx="44">
                  <c:v>1471.4667</c:v>
                </c:pt>
                <c:pt idx="45">
                  <c:v>1449.5351</c:v>
                </c:pt>
                <c:pt idx="46">
                  <c:v>1374.1129</c:v>
                </c:pt>
                <c:pt idx="47">
                  <c:v>1254.1556</c:v>
                </c:pt>
                <c:pt idx="48">
                  <c:v>1209.4234</c:v>
                </c:pt>
                <c:pt idx="49">
                  <c:v>1364.1169</c:v>
                </c:pt>
                <c:pt idx="50">
                  <c:v>1202.5203</c:v>
                </c:pt>
                <c:pt idx="51">
                  <c:v>1190.85</c:v>
                </c:pt>
                <c:pt idx="52">
                  <c:v>-1869.4270085233773</c:v>
                </c:pt>
                <c:pt idx="53">
                  <c:v>-5138.86080248086</c:v>
                </c:pt>
                <c:pt idx="54">
                  <c:v>3473.8263248626454</c:v>
                </c:pt>
              </c:numCache>
            </c:numRef>
          </c:xVal>
          <c:yVal>
            <c:numRef>
              <c:f>Sheet1!$B$187:$B$241</c:f>
              <c:numCache>
                <c:formatCode>General</c:formatCode>
                <c:ptCount val="55"/>
                <c:pt idx="0">
                  <c:v>0.3249959165217904</c:v>
                </c:pt>
                <c:pt idx="1">
                  <c:v>0.32695234788430066</c:v>
                </c:pt>
                <c:pt idx="2">
                  <c:v>0.32724375750520407</c:v>
                </c:pt>
                <c:pt idx="3">
                  <c:v>0.32712433490169746</c:v>
                </c:pt>
                <c:pt idx="4">
                  <c:v>0.3271688380739249</c:v>
                </c:pt>
                <c:pt idx="5">
                  <c:v>0.32567848189985465</c:v>
                </c:pt>
                <c:pt idx="6">
                  <c:v>0.3259326146758784</c:v>
                </c:pt>
                <c:pt idx="7">
                  <c:v>0.3266290067894773</c:v>
                </c:pt>
                <c:pt idx="8">
                  <c:v>0.3257797101956242</c:v>
                </c:pt>
                <c:pt idx="9">
                  <c:v>0.3258337461060084</c:v>
                </c:pt>
                <c:pt idx="10">
                  <c:v>0.3257575236539207</c:v>
                </c:pt>
                <c:pt idx="11">
                  <c:v>0.32764661592469946</c:v>
                </c:pt>
                <c:pt idx="12">
                  <c:v>0.3282070641545902</c:v>
                </c:pt>
                <c:pt idx="13">
                  <c:v>0.3280397720640507</c:v>
                </c:pt>
                <c:pt idx="14">
                  <c:v>0.32835805462310047</c:v>
                </c:pt>
                <c:pt idx="15">
                  <c:v>0.3276666538682613</c:v>
                </c:pt>
                <c:pt idx="16">
                  <c:v>0.3283527071195371</c:v>
                </c:pt>
                <c:pt idx="17">
                  <c:v>0.3284440390682335</c:v>
                </c:pt>
                <c:pt idx="18">
                  <c:v>0.3257290310033292</c:v>
                </c:pt>
                <c:pt idx="19">
                  <c:v>0.3254973300184245</c:v>
                </c:pt>
                <c:pt idx="20">
                  <c:v>0.3243183265079588</c:v>
                </c:pt>
                <c:pt idx="21">
                  <c:v>0.32410917567367387</c:v>
                </c:pt>
                <c:pt idx="22">
                  <c:v>0.324789639370876</c:v>
                </c:pt>
                <c:pt idx="23">
                  <c:v>0.3254093430584975</c:v>
                </c:pt>
                <c:pt idx="24">
                  <c:v>0.325555115045963</c:v>
                </c:pt>
                <c:pt idx="25">
                  <c:v>0.32607540528349094</c:v>
                </c:pt>
                <c:pt idx="26">
                  <c:v>0.326550425677792</c:v>
                </c:pt>
                <c:pt idx="27">
                  <c:v>0.32473270845108515</c:v>
                </c:pt>
                <c:pt idx="28">
                  <c:v>0.3247013197247851</c:v>
                </c:pt>
                <c:pt idx="29">
                  <c:v>0.32478541574941755</c:v>
                </c:pt>
                <c:pt idx="30">
                  <c:v>0.32352552578275917</c:v>
                </c:pt>
                <c:pt idx="31">
                  <c:v>0.3251876642442792</c:v>
                </c:pt>
                <c:pt idx="32">
                  <c:v>0.3260814533473417</c:v>
                </c:pt>
                <c:pt idx="33">
                  <c:v>0.3243995701752568</c:v>
                </c:pt>
                <c:pt idx="34">
                  <c:v>0.32429765731372706</c:v>
                </c:pt>
                <c:pt idx="35">
                  <c:v>0.324878136023067</c:v>
                </c:pt>
                <c:pt idx="36">
                  <c:v>0.32419264684544724</c:v>
                </c:pt>
                <c:pt idx="37">
                  <c:v>0.3241407083507179</c:v>
                </c:pt>
                <c:pt idx="38">
                  <c:v>0.3244007964223351</c:v>
                </c:pt>
                <c:pt idx="39">
                  <c:v>0.32396889514051563</c:v>
                </c:pt>
                <c:pt idx="40">
                  <c:v>0.3239712964521856</c:v>
                </c:pt>
                <c:pt idx="41">
                  <c:v>0.3233629872656764</c:v>
                </c:pt>
                <c:pt idx="42">
                  <c:v>0.3241242990322061</c:v>
                </c:pt>
                <c:pt idx="43">
                  <c:v>0.32481266189319635</c:v>
                </c:pt>
                <c:pt idx="44">
                  <c:v>0.3253746221390498</c:v>
                </c:pt>
                <c:pt idx="45">
                  <c:v>0.32560847918620867</c:v>
                </c:pt>
                <c:pt idx="46">
                  <c:v>0.3264127074678766</c:v>
                </c:pt>
                <c:pt idx="47">
                  <c:v>0.3276918143257052</c:v>
                </c:pt>
                <c:pt idx="48">
                  <c:v>0.328168794582728</c:v>
                </c:pt>
                <c:pt idx="49">
                  <c:v>0.3265192949965293</c:v>
                </c:pt>
                <c:pt idx="50">
                  <c:v>0.3282424024627843</c:v>
                </c:pt>
                <c:pt idx="51">
                  <c:v>0.32836684308259584</c:v>
                </c:pt>
                <c:pt idx="52">
                  <c:v>0.3609986321313446</c:v>
                </c:pt>
                <c:pt idx="53">
                  <c:v>0.39586066376316376</c:v>
                </c:pt>
                <c:pt idx="54">
                  <c:v>0.304023425271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1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03539823008849"/>
          <c:min val="0.17741935483870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0589410193634541</c:v>
                </c:pt>
                <c:pt idx="1">
                  <c:v>0.2519193833117571</c:v>
                </c:pt>
                <c:pt idx="2">
                  <c:v>0.17883704782342122</c:v>
                </c:pt>
                <c:pt idx="3">
                  <c:v>0.18796918833727347</c:v>
                </c:pt>
                <c:pt idx="4">
                  <c:v>0.19830152910226898</c:v>
                </c:pt>
                <c:pt idx="5">
                  <c:v>0.23973792617922154</c:v>
                </c:pt>
                <c:pt idx="6">
                  <c:v>0.26544239262314967</c:v>
                </c:pt>
                <c:pt idx="7">
                  <c:v>0.21966709818761201</c:v>
                </c:pt>
                <c:pt idx="8">
                  <c:v>0.33260288951841355</c:v>
                </c:pt>
                <c:pt idx="9">
                  <c:v>0.19853332748332747</c:v>
                </c:pt>
                <c:pt idx="10">
                  <c:v>0.2460227130745203</c:v>
                </c:pt>
                <c:pt idx="11">
                  <c:v>0.1980818948951458</c:v>
                </c:pt>
                <c:pt idx="12">
                  <c:v>0.21285201598256445</c:v>
                </c:pt>
                <c:pt idx="13">
                  <c:v>0.1758731758373206</c:v>
                </c:pt>
                <c:pt idx="14">
                  <c:v>0.16609217711133117</c:v>
                </c:pt>
                <c:pt idx="15">
                  <c:v>0.28891225885225885</c:v>
                </c:pt>
                <c:pt idx="16">
                  <c:v>0.20861820051413882</c:v>
                </c:pt>
                <c:pt idx="17">
                  <c:v>0.0</c:v>
                </c:pt>
                <c:pt idx="18">
                  <c:v>0.26400163165408935</c:v>
                </c:pt>
                <c:pt idx="19">
                  <c:v>0.3978064919231941</c:v>
                </c:pt>
                <c:pt idx="20">
                  <c:v>0.18776818720379146</c:v>
                </c:pt>
                <c:pt idx="21">
                  <c:v>0.19341906202723147</c:v>
                </c:pt>
                <c:pt idx="22">
                  <c:v>0.19991546796482412</c:v>
                </c:pt>
                <c:pt idx="23">
                  <c:v>0.20002488124488127</c:v>
                </c:pt>
                <c:pt idx="24">
                  <c:v>0.26555357703520965</c:v>
                </c:pt>
                <c:pt idx="25">
                  <c:v>0.2380112380175403</c:v>
                </c:pt>
                <c:pt idx="26">
                  <c:v>0.21593457013574663</c:v>
                </c:pt>
                <c:pt idx="27">
                  <c:v>0.19922270601515887</c:v>
                </c:pt>
                <c:pt idx="28">
                  <c:v>0.39358311083514436</c:v>
                </c:pt>
                <c:pt idx="29">
                  <c:v>0.16778440484675694</c:v>
                </c:pt>
                <c:pt idx="30">
                  <c:v>0.18660716687041565</c:v>
                </c:pt>
                <c:pt idx="31">
                  <c:v>0.27313508262617237</c:v>
                </c:pt>
                <c:pt idx="32">
                  <c:v>0.29260918615984405</c:v>
                </c:pt>
                <c:pt idx="33">
                  <c:v>0.2422341894390795</c:v>
                </c:pt>
                <c:pt idx="34">
                  <c:v>0.20136315335518373</c:v>
                </c:pt>
                <c:pt idx="35">
                  <c:v>0.0</c:v>
                </c:pt>
                <c:pt idx="36">
                  <c:v>0.33051331277306606</c:v>
                </c:pt>
                <c:pt idx="37">
                  <c:v>0.242659741912032</c:v>
                </c:pt>
                <c:pt idx="38">
                  <c:v>0.3477780607741773</c:v>
                </c:pt>
                <c:pt idx="39">
                  <c:v>0.29535199660152933</c:v>
                </c:pt>
                <c:pt idx="40">
                  <c:v>0.2604553869356207</c:v>
                </c:pt>
                <c:pt idx="41">
                  <c:v>0.36303184143222506</c:v>
                </c:pt>
                <c:pt idx="42">
                  <c:v>0.32208578420940626</c:v>
                </c:pt>
                <c:pt idx="43">
                  <c:v>0.3704275535625311</c:v>
                </c:pt>
                <c:pt idx="44">
                  <c:v>0.26574145728643217</c:v>
                </c:pt>
                <c:pt idx="45">
                  <c:v>0.32140194007858547</c:v>
                </c:pt>
                <c:pt idx="46">
                  <c:v>0.29746344928550994</c:v>
                </c:pt>
                <c:pt idx="47">
                  <c:v>0.27227064479046925</c:v>
                </c:pt>
                <c:pt idx="48">
                  <c:v>0.3177469775334101</c:v>
                </c:pt>
                <c:pt idx="49">
                  <c:v>0.2848252901315493</c:v>
                </c:pt>
                <c:pt idx="50">
                  <c:v>0.24307907988809452</c:v>
                </c:pt>
                <c:pt idx="51">
                  <c:v>0.2572388066202091</c:v>
                </c:pt>
                <c:pt idx="52">
                  <c:v>0.2495221711131555</c:v>
                </c:pt>
                <c:pt idx="53">
                  <c:v>0.2809745206646783</c:v>
                </c:pt>
                <c:pt idx="54">
                  <c:v>0.24498381230566285</c:v>
                </c:pt>
                <c:pt idx="55">
                  <c:v>0.3302517283950617</c:v>
                </c:pt>
                <c:pt idx="56">
                  <c:v>0.3217771386967601</c:v>
                </c:pt>
                <c:pt idx="57">
                  <c:v>0.2853191297359958</c:v>
                </c:pt>
                <c:pt idx="58">
                  <c:v>0.25236250989047077</c:v>
                </c:pt>
                <c:pt idx="59">
                  <c:v>0.23311880098653007</c:v>
                </c:pt>
                <c:pt idx="60">
                  <c:v>0.19234887844801454</c:v>
                </c:pt>
                <c:pt idx="61">
                  <c:v>0.29426387089441985</c:v>
                </c:pt>
                <c:pt idx="62">
                  <c:v>0.27036392515230634</c:v>
                </c:pt>
                <c:pt idx="63">
                  <c:v>0.2973015689512799</c:v>
                </c:pt>
                <c:pt idx="64">
                  <c:v>0.22786072443995192</c:v>
                </c:pt>
                <c:pt idx="65">
                  <c:v>0.27055249648001733</c:v>
                </c:pt>
                <c:pt idx="66">
                  <c:v>0.2603740051347882</c:v>
                </c:pt>
                <c:pt idx="67">
                  <c:v>0.19934430093639005</c:v>
                </c:pt>
                <c:pt idx="68">
                  <c:v>0.2346759855334539</c:v>
                </c:pt>
                <c:pt idx="69">
                  <c:v>0.25063956395639564</c:v>
                </c:pt>
                <c:pt idx="70">
                  <c:v>0.20507783259070655</c:v>
                </c:pt>
                <c:pt idx="71">
                  <c:v>0.25121416425470333</c:v>
                </c:pt>
                <c:pt idx="72">
                  <c:v>0.23967959252399396</c:v>
                </c:pt>
                <c:pt idx="73">
                  <c:v>0.33552718670666976</c:v>
                </c:pt>
                <c:pt idx="74">
                  <c:v>0.22437720694645444</c:v>
                </c:pt>
                <c:pt idx="75">
                  <c:v>0.22980609316245876</c:v>
                </c:pt>
                <c:pt idx="76">
                  <c:v>0.2429169512573735</c:v>
                </c:pt>
                <c:pt idx="77">
                  <c:v>0.2863617998163453</c:v>
                </c:pt>
                <c:pt idx="78">
                  <c:v>0.3106590129652865</c:v>
                </c:pt>
                <c:pt idx="79">
                  <c:v>0.3678248598829244</c:v>
                </c:pt>
                <c:pt idx="80">
                  <c:v>0.22863927542822496</c:v>
                </c:pt>
                <c:pt idx="81">
                  <c:v>0.3063514773869347</c:v>
                </c:pt>
                <c:pt idx="82">
                  <c:v>0.0</c:v>
                </c:pt>
                <c:pt idx="83">
                  <c:v>0.43755820642978005</c:v>
                </c:pt>
                <c:pt idx="84">
                  <c:v>0.395679012345679</c:v>
                </c:pt>
                <c:pt idx="85">
                  <c:v>0.22596370867124144</c:v>
                </c:pt>
                <c:pt idx="86">
                  <c:v>0.35226318480642804</c:v>
                </c:pt>
                <c:pt idx="87">
                  <c:v>0.33953725629209497</c:v>
                </c:pt>
                <c:pt idx="88">
                  <c:v>0.2300807434491164</c:v>
                </c:pt>
                <c:pt idx="89">
                  <c:v>0.2471652195444041</c:v>
                </c:pt>
                <c:pt idx="90">
                  <c:v>0.24522326937835764</c:v>
                </c:pt>
                <c:pt idx="91">
                  <c:v>0.3378137307852098</c:v>
                </c:pt>
                <c:pt idx="92">
                  <c:v>0.24593417681974383</c:v>
                </c:pt>
                <c:pt idx="93">
                  <c:v>0.38573569962573945</c:v>
                </c:pt>
                <c:pt idx="94">
                  <c:v>0.3347095395461555</c:v>
                </c:pt>
                <c:pt idx="95">
                  <c:v>0.1983878848632393</c:v>
                </c:pt>
                <c:pt idx="96">
                  <c:v>0.23952623758099353</c:v>
                </c:pt>
                <c:pt idx="97">
                  <c:v>0.21167966062829627</c:v>
                </c:pt>
                <c:pt idx="98">
                  <c:v>0.2783362755328244</c:v>
                </c:pt>
                <c:pt idx="99">
                  <c:v>0.23256645417337252</c:v>
                </c:pt>
                <c:pt idx="100">
                  <c:v>0.2406741638648027</c:v>
                </c:pt>
                <c:pt idx="101">
                  <c:v>0.2238571309909461</c:v>
                </c:pt>
                <c:pt idx="102">
                  <c:v>0.32912549540840985</c:v>
                </c:pt>
                <c:pt idx="103">
                  <c:v>0.2823953376906318</c:v>
                </c:pt>
                <c:pt idx="104">
                  <c:v>0.2542058363251404</c:v>
                </c:pt>
              </c:numCache>
            </c:numRef>
          </c:xVal>
          <c:yVal>
            <c:numRef>
              <c:f>Sheet1!$B$2:$B$106</c:f>
              <c:numCache>
                <c:formatCode>General</c:formatCode>
                <c:ptCount val="105"/>
                <c:pt idx="0">
                  <c:v>0.30374479889042993</c:v>
                </c:pt>
                <c:pt idx="1">
                  <c:v>0.32525252525252524</c:v>
                </c:pt>
                <c:pt idx="2">
                  <c:v>0.2967479674796748</c:v>
                </c:pt>
                <c:pt idx="3">
                  <c:v>0.3261802575107296</c:v>
                </c:pt>
                <c:pt idx="4">
                  <c:v>0.30105263157894735</c:v>
                </c:pt>
                <c:pt idx="5">
                  <c:v>0.3136792452830189</c:v>
                </c:pt>
                <c:pt idx="6">
                  <c:v>0.34292565947242204</c:v>
                </c:pt>
                <c:pt idx="7">
                  <c:v>0.3460559796437659</c:v>
                </c:pt>
                <c:pt idx="8">
                  <c:v>0.3148148148148148</c:v>
                </c:pt>
                <c:pt idx="9">
                  <c:v>0.30837004405286345</c:v>
                </c:pt>
                <c:pt idx="10">
                  <c:v>0.29375</c:v>
                </c:pt>
                <c:pt idx="11">
                  <c:v>0.25165562913907286</c:v>
                </c:pt>
                <c:pt idx="12">
                  <c:v>0.2879858657243816</c:v>
                </c:pt>
                <c:pt idx="13">
                  <c:v>0.2958477508650519</c:v>
                </c:pt>
                <c:pt idx="14">
                  <c:v>0.27099236641221375</c:v>
                </c:pt>
                <c:pt idx="15">
                  <c:v>0.2818627450980392</c:v>
                </c:pt>
                <c:pt idx="16">
                  <c:v>0.2655367231638418</c:v>
                </c:pt>
                <c:pt idx="17">
                  <c:v>0.2786885245901639</c:v>
                </c:pt>
                <c:pt idx="18">
                  <c:v>0.25</c:v>
                </c:pt>
                <c:pt idx="19">
                  <c:v>0.24615384615384617</c:v>
                </c:pt>
                <c:pt idx="20">
                  <c:v>0.2334384858044164</c:v>
                </c:pt>
                <c:pt idx="21">
                  <c:v>0.2885572139303483</c:v>
                </c:pt>
                <c:pt idx="22">
                  <c:v>0.3389121338912134</c:v>
                </c:pt>
                <c:pt idx="23">
                  <c:v>0.3278008298755187</c:v>
                </c:pt>
                <c:pt idx="24">
                  <c:v>0.3841059602649007</c:v>
                </c:pt>
                <c:pt idx="25">
                  <c:v>0.3716475095785441</c:v>
                </c:pt>
                <c:pt idx="26">
                  <c:v>0.38661710037174724</c:v>
                </c:pt>
                <c:pt idx="27">
                  <c:v>0.3424657534246575</c:v>
                </c:pt>
                <c:pt idx="28">
                  <c:v>0.3274647887323944</c:v>
                </c:pt>
                <c:pt idx="29">
                  <c:v>0.3793103448275862</c:v>
                </c:pt>
                <c:pt idx="30">
                  <c:v>0.3739495798319328</c:v>
                </c:pt>
                <c:pt idx="31">
                  <c:v>0.3872340425531915</c:v>
                </c:pt>
                <c:pt idx="32">
                  <c:v>0.37448559670781895</c:v>
                </c:pt>
                <c:pt idx="33">
                  <c:v>0.39156626506024095</c:v>
                </c:pt>
                <c:pt idx="34">
                  <c:v>0.3278301886792453</c:v>
                </c:pt>
                <c:pt idx="35">
                  <c:v>0.3475177304964539</c:v>
                </c:pt>
                <c:pt idx="36">
                  <c:v>0.32934131736526945</c:v>
                </c:pt>
                <c:pt idx="37">
                  <c:v>0.2743055555555556</c:v>
                </c:pt>
                <c:pt idx="38">
                  <c:v>0.316</c:v>
                </c:pt>
                <c:pt idx="39">
                  <c:v>0.3425196850393701</c:v>
                </c:pt>
                <c:pt idx="40">
                  <c:v>0.3546325878594249</c:v>
                </c:pt>
                <c:pt idx="41">
                  <c:v>0.29931972789115646</c:v>
                </c:pt>
                <c:pt idx="42">
                  <c:v>0.30994152046783624</c:v>
                </c:pt>
                <c:pt idx="43">
                  <c:v>0.3241590214067278</c:v>
                </c:pt>
                <c:pt idx="44">
                  <c:v>0.3363431151241535</c:v>
                </c:pt>
                <c:pt idx="45">
                  <c:v>0.3303886925795053</c:v>
                </c:pt>
                <c:pt idx="46">
                  <c:v>0.3228021978021978</c:v>
                </c:pt>
                <c:pt idx="47">
                  <c:v>0.34222919937205654</c:v>
                </c:pt>
                <c:pt idx="48">
                  <c:v>0.3088803088803089</c:v>
                </c:pt>
                <c:pt idx="49">
                  <c:v>0.3978243978243978</c:v>
                </c:pt>
                <c:pt idx="50">
                  <c:v>0.3931133428981349</c:v>
                </c:pt>
                <c:pt idx="51">
                  <c:v>0.3889908256880734</c:v>
                </c:pt>
                <c:pt idx="52">
                  <c:v>0.39042357274401474</c:v>
                </c:pt>
                <c:pt idx="53">
                  <c:v>0.38333333333333336</c:v>
                </c:pt>
                <c:pt idx="54">
                  <c:v>0.38974358974358975</c:v>
                </c:pt>
                <c:pt idx="55">
                  <c:v>0.41509433962264153</c:v>
                </c:pt>
                <c:pt idx="56">
                  <c:v>0.4153846153846154</c:v>
                </c:pt>
                <c:pt idx="57">
                  <c:v>0.4336283185840708</c:v>
                </c:pt>
                <c:pt idx="58">
                  <c:v>0.4247104247104247</c:v>
                </c:pt>
                <c:pt idx="59">
                  <c:v>0.40310077519379844</c:v>
                </c:pt>
                <c:pt idx="60">
                  <c:v>0.4019607843137255</c:v>
                </c:pt>
                <c:pt idx="61">
                  <c:v>0.3691588785046729</c:v>
                </c:pt>
                <c:pt idx="62">
                  <c:v>0.34615384615384615</c:v>
                </c:pt>
                <c:pt idx="63">
                  <c:v>0.36660929432013767</c:v>
                </c:pt>
                <c:pt idx="64">
                  <c:v>0.32051282051282054</c:v>
                </c:pt>
                <c:pt idx="65">
                  <c:v>0.3231046931407942</c:v>
                </c:pt>
                <c:pt idx="66">
                  <c:v>0.340080971659919</c:v>
                </c:pt>
                <c:pt idx="67">
                  <c:v>0.35253456221198154</c:v>
                </c:pt>
                <c:pt idx="68">
                  <c:v>0.2653061224489796</c:v>
                </c:pt>
                <c:pt idx="69">
                  <c:v>0.26953125</c:v>
                </c:pt>
                <c:pt idx="70">
                  <c:v>0.2217741935483871</c:v>
                </c:pt>
                <c:pt idx="71">
                  <c:v>0.2744186046511628</c:v>
                </c:pt>
                <c:pt idx="72">
                  <c:v>0.3111111111111111</c:v>
                </c:pt>
                <c:pt idx="73">
                  <c:v>0.2679425837320574</c:v>
                </c:pt>
                <c:pt idx="74">
                  <c:v>0.3875432525951557</c:v>
                </c:pt>
                <c:pt idx="75">
                  <c:v>0.2889908256880734</c:v>
                </c:pt>
                <c:pt idx="76">
                  <c:v>0.32460732984293195</c:v>
                </c:pt>
                <c:pt idx="77">
                  <c:v>0.27472527472527475</c:v>
                </c:pt>
                <c:pt idx="78">
                  <c:v>0.3073170731707317</c:v>
                </c:pt>
                <c:pt idx="79">
                  <c:v>0.341991341991342</c:v>
                </c:pt>
                <c:pt idx="80">
                  <c:v>0.2647058823529412</c:v>
                </c:pt>
                <c:pt idx="81">
                  <c:v>0.22468354430379747</c:v>
                </c:pt>
                <c:pt idx="82">
                  <c:v>0.2576419213973799</c:v>
                </c:pt>
                <c:pt idx="83">
                  <c:v>0.24855491329479767</c:v>
                </c:pt>
                <c:pt idx="84">
                  <c:v>0.2717391304347826</c:v>
                </c:pt>
                <c:pt idx="85">
                  <c:v>0.2457627118644068</c:v>
                </c:pt>
                <c:pt idx="86">
                  <c:v>0.28405797101449276</c:v>
                </c:pt>
                <c:pt idx="87">
                  <c:v>0.2951945080091533</c:v>
                </c:pt>
                <c:pt idx="88">
                  <c:v>0.3114754098360656</c:v>
                </c:pt>
                <c:pt idx="89">
                  <c:v>0.2653061224489796</c:v>
                </c:pt>
                <c:pt idx="90">
                  <c:v>0.2727272727272727</c:v>
                </c:pt>
                <c:pt idx="91">
                  <c:v>0.2698412698412698</c:v>
                </c:pt>
                <c:pt idx="92">
                  <c:v>0.32945736434108525</c:v>
                </c:pt>
                <c:pt idx="93">
                  <c:v>0.31906614785992216</c:v>
                </c:pt>
                <c:pt idx="94">
                  <c:v>0.35960591133004927</c:v>
                </c:pt>
                <c:pt idx="95">
                  <c:v>0.3385579937304075</c:v>
                </c:pt>
                <c:pt idx="96">
                  <c:v>0.3139240506329114</c:v>
                </c:pt>
                <c:pt idx="97">
                  <c:v>0.305019305019305</c:v>
                </c:pt>
                <c:pt idx="98">
                  <c:v>0.30745341614906835</c:v>
                </c:pt>
                <c:pt idx="99">
                  <c:v>0.29844961240310075</c:v>
                </c:pt>
                <c:pt idx="100">
                  <c:v>0.3265720081135903</c:v>
                </c:pt>
                <c:pt idx="101">
                  <c:v>0.3202054794520548</c:v>
                </c:pt>
                <c:pt idx="102">
                  <c:v>0.3167082294264339</c:v>
                </c:pt>
                <c:pt idx="103">
                  <c:v>0.3059548254620123</c:v>
                </c:pt>
                <c:pt idx="104">
                  <c:v>0.33704735376044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6140199479618387</c:v>
                </c:pt>
                <c:pt idx="1">
                  <c:v>0.294799933177414</c:v>
                </c:pt>
                <c:pt idx="2">
                  <c:v>0.2685075215336799</c:v>
                </c:pt>
                <c:pt idx="3">
                  <c:v>0.2491187118902439</c:v>
                </c:pt>
                <c:pt idx="4">
                  <c:v>0.2790879965735089</c:v>
                </c:pt>
                <c:pt idx="5">
                  <c:v>0.232044721395835</c:v>
                </c:pt>
                <c:pt idx="6">
                  <c:v>0.30136695689105963</c:v>
                </c:pt>
                <c:pt idx="7">
                  <c:v>0.295757050791917</c:v>
                </c:pt>
                <c:pt idx="8">
                  <c:v>0.36983402992776054</c:v>
                </c:pt>
                <c:pt idx="9">
                  <c:v>0.360663830324454</c:v>
                </c:pt>
                <c:pt idx="10">
                  <c:v>0.2180372721749696</c:v>
                </c:pt>
                <c:pt idx="11">
                  <c:v>0.29460245815287367</c:v>
                </c:pt>
                <c:pt idx="12">
                  <c:v>0.17287948387096774</c:v>
                </c:pt>
                <c:pt idx="13">
                  <c:v>0.1905950070213762</c:v>
                </c:pt>
                <c:pt idx="14">
                  <c:v>0.1581518513603185</c:v>
                </c:pt>
                <c:pt idx="15">
                  <c:v>0.2547162375836205</c:v>
                </c:pt>
                <c:pt idx="16">
                  <c:v>0.17516539817807816</c:v>
                </c:pt>
                <c:pt idx="17">
                  <c:v>0.3739685308056872</c:v>
                </c:pt>
                <c:pt idx="18">
                  <c:v>0.34597774837623285</c:v>
                </c:pt>
                <c:pt idx="19">
                  <c:v>0.32250030925557766</c:v>
                </c:pt>
                <c:pt idx="20">
                  <c:v>0.3722513154776013</c:v>
                </c:pt>
                <c:pt idx="21">
                  <c:v>0.33231826541274817</c:v>
                </c:pt>
                <c:pt idx="22">
                  <c:v>0.23277834375476592</c:v>
                </c:pt>
                <c:pt idx="23">
                  <c:v>0.20408819849874896</c:v>
                </c:pt>
                <c:pt idx="24">
                  <c:v>0.2776368963542661</c:v>
                </c:pt>
                <c:pt idx="25">
                  <c:v>0.343199658203125</c:v>
                </c:pt>
                <c:pt idx="26">
                  <c:v>0.29144575527245475</c:v>
                </c:pt>
                <c:pt idx="27">
                  <c:v>0.28788021802462177</c:v>
                </c:pt>
                <c:pt idx="28">
                  <c:v>0.21742850665911023</c:v>
                </c:pt>
                <c:pt idx="29">
                  <c:v>0.2687893838028169</c:v>
                </c:pt>
                <c:pt idx="30">
                  <c:v>0.27538570232713877</c:v>
                </c:pt>
                <c:pt idx="31">
                  <c:v>0.25531550068587106</c:v>
                </c:pt>
                <c:pt idx="32">
                  <c:v>0.2268612528253148</c:v>
                </c:pt>
                <c:pt idx="33">
                  <c:v>0.28234289585403305</c:v>
                </c:pt>
                <c:pt idx="34">
                  <c:v>0.33856533534287864</c:v>
                </c:pt>
                <c:pt idx="35">
                  <c:v>0.19333013245033112</c:v>
                </c:pt>
                <c:pt idx="36">
                  <c:v>0.2427235465562203</c:v>
                </c:pt>
                <c:pt idx="37">
                  <c:v>0.21512411222553537</c:v>
                </c:pt>
                <c:pt idx="38">
                  <c:v>0.3609224249422633</c:v>
                </c:pt>
                <c:pt idx="39">
                  <c:v>0.34383416255629423</c:v>
                </c:pt>
                <c:pt idx="40">
                  <c:v>0.3323809869375907</c:v>
                </c:pt>
                <c:pt idx="41">
                  <c:v>0.3175747489239598</c:v>
                </c:pt>
                <c:pt idx="42">
                  <c:v>0.24196232104782212</c:v>
                </c:pt>
                <c:pt idx="43">
                  <c:v>0.33769103799711975</c:v>
                </c:pt>
                <c:pt idx="44">
                  <c:v>0.1749247146932953</c:v>
                </c:pt>
                <c:pt idx="45">
                  <c:v>0.2419521115005842</c:v>
                </c:pt>
                <c:pt idx="46">
                  <c:v>0.27361865790521706</c:v>
                </c:pt>
                <c:pt idx="47">
                  <c:v>0.15246238755166547</c:v>
                </c:pt>
                <c:pt idx="48">
                  <c:v>0.13482981047937567</c:v>
                </c:pt>
                <c:pt idx="49">
                  <c:v>0.21954082240283254</c:v>
                </c:pt>
                <c:pt idx="50">
                  <c:v>0.21099315247978212</c:v>
                </c:pt>
                <c:pt idx="51">
                  <c:v>0.19970652356196544</c:v>
                </c:pt>
              </c:numCache>
            </c:numRef>
          </c:xVal>
          <c:yVal>
            <c:numRef>
              <c:f>Sheet1!$B$109:$B$160</c:f>
              <c:numCache>
                <c:formatCode>General</c:formatCode>
                <c:ptCount val="52"/>
                <c:pt idx="0">
                  <c:v>0.31666666666666665</c:v>
                </c:pt>
                <c:pt idx="1">
                  <c:v>0.3484848484848485</c:v>
                </c:pt>
                <c:pt idx="2">
                  <c:v>0.39185750636132316</c:v>
                </c:pt>
                <c:pt idx="3">
                  <c:v>0.41411764705882353</c:v>
                </c:pt>
                <c:pt idx="4">
                  <c:v>0.4186046511627907</c:v>
                </c:pt>
                <c:pt idx="5">
                  <c:v>0.3753501400560224</c:v>
                </c:pt>
                <c:pt idx="6">
                  <c:v>0.35180722891566263</c:v>
                </c:pt>
                <c:pt idx="7">
                  <c:v>0.3193717277486911</c:v>
                </c:pt>
                <c:pt idx="8">
                  <c:v>0.31272727272727274</c:v>
                </c:pt>
                <c:pt idx="9">
                  <c:v>0.3151862464183381</c:v>
                </c:pt>
                <c:pt idx="10">
                  <c:v>0.3185378590078329</c:v>
                </c:pt>
                <c:pt idx="11">
                  <c:v>0.33210332103321033</c:v>
                </c:pt>
                <c:pt idx="12">
                  <c:v>0.3398268398268398</c:v>
                </c:pt>
                <c:pt idx="13">
                  <c:v>0.30843373493975906</c:v>
                </c:pt>
                <c:pt idx="14">
                  <c:v>0.34108527131782945</c:v>
                </c:pt>
                <c:pt idx="15">
                  <c:v>0.3344594594594595</c:v>
                </c:pt>
                <c:pt idx="16">
                  <c:v>0.31223628691983124</c:v>
                </c:pt>
                <c:pt idx="17">
                  <c:v>0.3117408906882591</c:v>
                </c:pt>
                <c:pt idx="18">
                  <c:v>0.2824074074074074</c:v>
                </c:pt>
                <c:pt idx="19">
                  <c:v>0.30165289256198347</c:v>
                </c:pt>
                <c:pt idx="20">
                  <c:v>0.29775280898876405</c:v>
                </c:pt>
                <c:pt idx="21">
                  <c:v>0.25654450261780104</c:v>
                </c:pt>
                <c:pt idx="22">
                  <c:v>0.3314285714285714</c:v>
                </c:pt>
                <c:pt idx="23">
                  <c:v>0.3333333333333333</c:v>
                </c:pt>
                <c:pt idx="24">
                  <c:v>0.3230769230769231</c:v>
                </c:pt>
                <c:pt idx="25">
                  <c:v>0.2783018867924528</c:v>
                </c:pt>
                <c:pt idx="26">
                  <c:v>0.3089430894308943</c:v>
                </c:pt>
                <c:pt idx="27">
                  <c:v>0.2693877551020408</c:v>
                </c:pt>
                <c:pt idx="28">
                  <c:v>0.29277566539923955</c:v>
                </c:pt>
                <c:pt idx="29">
                  <c:v>0.3140495867768595</c:v>
                </c:pt>
                <c:pt idx="30">
                  <c:v>0.30697674418604654</c:v>
                </c:pt>
                <c:pt idx="31">
                  <c:v>0.2925531914893617</c:v>
                </c:pt>
                <c:pt idx="32">
                  <c:v>0.36363636363636365</c:v>
                </c:pt>
                <c:pt idx="33">
                  <c:v>0.42857142857142855</c:v>
                </c:pt>
                <c:pt idx="34">
                  <c:v>0.3829787234042553</c:v>
                </c:pt>
                <c:pt idx="35">
                  <c:v>0.4057142857142857</c:v>
                </c:pt>
                <c:pt idx="36">
                  <c:v>0.34615384615384615</c:v>
                </c:pt>
                <c:pt idx="37">
                  <c:v>0.3763440860215054</c:v>
                </c:pt>
                <c:pt idx="38">
                  <c:v>0.3383084577114428</c:v>
                </c:pt>
                <c:pt idx="39">
                  <c:v>0.3422222222222222</c:v>
                </c:pt>
                <c:pt idx="40">
                  <c:v>0.2956521739130435</c:v>
                </c:pt>
                <c:pt idx="41">
                  <c:v>0.3416666666666667</c:v>
                </c:pt>
                <c:pt idx="42">
                  <c:v>0.3194444444444444</c:v>
                </c:pt>
                <c:pt idx="43">
                  <c:v>0.3037542662116041</c:v>
                </c:pt>
                <c:pt idx="44">
                  <c:v>0.28753993610223644</c:v>
                </c:pt>
                <c:pt idx="45">
                  <c:v>0.25617977528089886</c:v>
                </c:pt>
                <c:pt idx="46">
                  <c:v>0.2824601366742597</c:v>
                </c:pt>
                <c:pt idx="47">
                  <c:v>0.2967032967032967</c:v>
                </c:pt>
                <c:pt idx="48">
                  <c:v>0.30376940133037694</c:v>
                </c:pt>
                <c:pt idx="49">
                  <c:v>0.27017543859649124</c:v>
                </c:pt>
                <c:pt idx="50">
                  <c:v>0.3166023166023166</c:v>
                </c:pt>
                <c:pt idx="51">
                  <c:v>0.336134453781512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19717436557272</c:v>
                </c:pt>
              </c:numCache>
            </c:numRef>
          </c:xVal>
          <c:yVal>
            <c:numRef>
              <c:f>Sheet1!$B$163:$B$164</c:f>
              <c:numCache>
                <c:formatCode>General</c:formatCode>
                <c:ptCount val="2"/>
                <c:pt idx="0">
                  <c:v>0.39586066376316376</c:v>
                </c:pt>
                <c:pt idx="1">
                  <c:v>0.395860663763163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19717436557272</c:v>
                </c:pt>
                <c:pt idx="1">
                  <c:v>-0.919717436557272</c:v>
                </c:pt>
              </c:numCache>
            </c:numRef>
          </c:xVal>
          <c:yVal>
            <c:numRef>
              <c:f>Sheet1!$B$167:$B$168</c:f>
              <c:numCache>
                <c:formatCode>General</c:formatCode>
                <c:ptCount val="2"/>
                <c:pt idx="0">
                  <c:v>0.395860663763163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2915130574280055</c:v>
                </c:pt>
              </c:numCache>
            </c:numRef>
          </c:xVal>
          <c:yVal>
            <c:numRef>
              <c:f>Sheet1!$B$171:$B$172</c:f>
              <c:numCache>
                <c:formatCode>General</c:formatCode>
                <c:ptCount val="2"/>
                <c:pt idx="0">
                  <c:v>0.3609986321313446</c:v>
                </c:pt>
                <c:pt idx="1">
                  <c:v>0.36099863213134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2915130574280055</c:v>
                </c:pt>
                <c:pt idx="1">
                  <c:v>-0.32915130574280055</c:v>
                </c:pt>
              </c:numCache>
            </c:numRef>
          </c:xVal>
          <c:yVal>
            <c:numRef>
              <c:f>Sheet1!$B$175:$B$176</c:f>
              <c:numCache>
                <c:formatCode>General</c:formatCode>
                <c:ptCount val="2"/>
                <c:pt idx="0">
                  <c:v>0.36099863213134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360141161389146</c:v>
                </c:pt>
              </c:numCache>
            </c:numRef>
          </c:xVal>
          <c:yVal>
            <c:numRef>
              <c:f>Sheet1!$B$179:$B$180</c:f>
              <c:numCache>
                <c:formatCode>General</c:formatCode>
                <c:ptCount val="2"/>
                <c:pt idx="0">
                  <c:v>0.30402342527149</c:v>
                </c:pt>
                <c:pt idx="1">
                  <c:v>0.3040234252714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360141161389146</c:v>
                </c:pt>
                <c:pt idx="1">
                  <c:v>0.6360141161389146</c:v>
                </c:pt>
              </c:numCache>
            </c:numRef>
          </c:xVal>
          <c:yVal>
            <c:numRef>
              <c:f>Sheet1!$B$183:$B$184</c:f>
              <c:numCache>
                <c:formatCode>General</c:formatCode>
                <c:ptCount val="2"/>
                <c:pt idx="0">
                  <c:v>0.304023425271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6140199479618387</c:v>
                </c:pt>
                <c:pt idx="1">
                  <c:v>0.294799933177414</c:v>
                </c:pt>
                <c:pt idx="2">
                  <c:v>0.2685075215336799</c:v>
                </c:pt>
                <c:pt idx="3">
                  <c:v>0.2491187118902439</c:v>
                </c:pt>
                <c:pt idx="4">
                  <c:v>0.2790879965735089</c:v>
                </c:pt>
                <c:pt idx="5">
                  <c:v>0.232044721395835</c:v>
                </c:pt>
                <c:pt idx="6">
                  <c:v>0.30136695689105963</c:v>
                </c:pt>
                <c:pt idx="7">
                  <c:v>0.295757050791917</c:v>
                </c:pt>
                <c:pt idx="8">
                  <c:v>0.36983402992776054</c:v>
                </c:pt>
                <c:pt idx="9">
                  <c:v>0.360663830324454</c:v>
                </c:pt>
                <c:pt idx="10">
                  <c:v>0.2180372721749696</c:v>
                </c:pt>
                <c:pt idx="11">
                  <c:v>0.29460245815287367</c:v>
                </c:pt>
                <c:pt idx="12">
                  <c:v>0.17287948387096774</c:v>
                </c:pt>
                <c:pt idx="13">
                  <c:v>0.1905950070213762</c:v>
                </c:pt>
                <c:pt idx="14">
                  <c:v>0.1581518513603185</c:v>
                </c:pt>
                <c:pt idx="15">
                  <c:v>0.2547162375836205</c:v>
                </c:pt>
                <c:pt idx="16">
                  <c:v>0.17516539817807816</c:v>
                </c:pt>
                <c:pt idx="17">
                  <c:v>0.3739685308056872</c:v>
                </c:pt>
                <c:pt idx="18">
                  <c:v>0.34597774837623285</c:v>
                </c:pt>
                <c:pt idx="19">
                  <c:v>0.32250030925557766</c:v>
                </c:pt>
                <c:pt idx="20">
                  <c:v>0.3722513154776013</c:v>
                </c:pt>
                <c:pt idx="21">
                  <c:v>0.33231826541274817</c:v>
                </c:pt>
                <c:pt idx="22">
                  <c:v>0.23277834375476592</c:v>
                </c:pt>
                <c:pt idx="23">
                  <c:v>0.20408819849874896</c:v>
                </c:pt>
                <c:pt idx="24">
                  <c:v>0.2776368963542661</c:v>
                </c:pt>
                <c:pt idx="25">
                  <c:v>0.343199658203125</c:v>
                </c:pt>
                <c:pt idx="26">
                  <c:v>0.29144575527245475</c:v>
                </c:pt>
                <c:pt idx="27">
                  <c:v>0.28788021802462177</c:v>
                </c:pt>
                <c:pt idx="28">
                  <c:v>0.21742850665911023</c:v>
                </c:pt>
                <c:pt idx="29">
                  <c:v>0.2687893838028169</c:v>
                </c:pt>
                <c:pt idx="30">
                  <c:v>0.27538570232713877</c:v>
                </c:pt>
                <c:pt idx="31">
                  <c:v>0.25531550068587106</c:v>
                </c:pt>
                <c:pt idx="32">
                  <c:v>0.2268612528253148</c:v>
                </c:pt>
                <c:pt idx="33">
                  <c:v>0.28234289585403305</c:v>
                </c:pt>
                <c:pt idx="34">
                  <c:v>0.33856533534287864</c:v>
                </c:pt>
                <c:pt idx="35">
                  <c:v>0.19333013245033112</c:v>
                </c:pt>
                <c:pt idx="36">
                  <c:v>0.2427235465562203</c:v>
                </c:pt>
                <c:pt idx="37">
                  <c:v>0.21512411222553537</c:v>
                </c:pt>
                <c:pt idx="38">
                  <c:v>0.3609224249422633</c:v>
                </c:pt>
                <c:pt idx="39">
                  <c:v>0.34383416255629423</c:v>
                </c:pt>
                <c:pt idx="40">
                  <c:v>0.3323809869375907</c:v>
                </c:pt>
                <c:pt idx="41">
                  <c:v>0.3175747489239598</c:v>
                </c:pt>
                <c:pt idx="42">
                  <c:v>0.24196232104782212</c:v>
                </c:pt>
                <c:pt idx="43">
                  <c:v>0.33769103799711975</c:v>
                </c:pt>
                <c:pt idx="44">
                  <c:v>0.1749247146932953</c:v>
                </c:pt>
                <c:pt idx="45">
                  <c:v>0.2419521115005842</c:v>
                </c:pt>
                <c:pt idx="46">
                  <c:v>0.27361865790521706</c:v>
                </c:pt>
                <c:pt idx="47">
                  <c:v>0.15246238755166547</c:v>
                </c:pt>
                <c:pt idx="48">
                  <c:v>0.13482981047937567</c:v>
                </c:pt>
                <c:pt idx="49">
                  <c:v>0.21954082240283254</c:v>
                </c:pt>
                <c:pt idx="50">
                  <c:v>0.21099315247978212</c:v>
                </c:pt>
                <c:pt idx="51">
                  <c:v>0.19970652356196544</c:v>
                </c:pt>
                <c:pt idx="52">
                  <c:v>-0.32915130574280055</c:v>
                </c:pt>
                <c:pt idx="53">
                  <c:v>-0.919717436557272</c:v>
                </c:pt>
                <c:pt idx="54">
                  <c:v>0.6360141161389146</c:v>
                </c:pt>
              </c:numCache>
            </c:numRef>
          </c:xVal>
          <c:yVal>
            <c:numRef>
              <c:f>Sheet1!$B$187:$B$241</c:f>
              <c:numCache>
                <c:formatCode>General</c:formatCode>
                <c:ptCount val="55"/>
                <c:pt idx="0">
                  <c:v>0.3261373578905212</c:v>
                </c:pt>
                <c:pt idx="1">
                  <c:v>0.32416582595949384</c:v>
                </c:pt>
                <c:pt idx="2">
                  <c:v>0.32571790766308995</c:v>
                </c:pt>
                <c:pt idx="3">
                  <c:v>0.326862459068638</c:v>
                </c:pt>
                <c:pt idx="4">
                  <c:v>0.32509332586560435</c:v>
                </c:pt>
                <c:pt idx="5">
                  <c:v>0.3278703631214433</c:v>
                </c:pt>
                <c:pt idx="6">
                  <c:v>0.3237781643980083</c:v>
                </c:pt>
                <c:pt idx="7">
                  <c:v>0.3241093258271443</c:v>
                </c:pt>
                <c:pt idx="8">
                  <c:v>0.31973644723645744</c:v>
                </c:pt>
                <c:pt idx="9">
                  <c:v>0.32027777829484316</c:v>
                </c:pt>
                <c:pt idx="10">
                  <c:v>0.328697244502442</c:v>
                </c:pt>
                <c:pt idx="11">
                  <c:v>0.3241774832154603</c:v>
                </c:pt>
                <c:pt idx="12">
                  <c:v>0.331362978553438</c:v>
                </c:pt>
                <c:pt idx="13">
                  <c:v>0.3303172038362323</c:v>
                </c:pt>
                <c:pt idx="14">
                  <c:v>0.3322323734673318</c:v>
                </c:pt>
                <c:pt idx="15">
                  <c:v>0.32653202847399265</c:v>
                </c:pt>
                <c:pt idx="16">
                  <c:v>0.3312280374981963</c:v>
                </c:pt>
                <c:pt idx="17">
                  <c:v>0.31949238125829293</c:v>
                </c:pt>
                <c:pt idx="18">
                  <c:v>0.3211447204148057</c:v>
                </c:pt>
                <c:pt idx="19">
                  <c:v>0.322530629938824</c:v>
                </c:pt>
                <c:pt idx="20">
                  <c:v>0.3195937511336764</c:v>
                </c:pt>
                <c:pt idx="21">
                  <c:v>0.3219510608097257</c:v>
                </c:pt>
                <c:pt idx="22">
                  <c:v>0.3278270562595215</c:v>
                </c:pt>
                <c:pt idx="23">
                  <c:v>0.3295206798848001</c:v>
                </c:pt>
                <c:pt idx="24">
                  <c:v>0.32517898655473737</c:v>
                </c:pt>
                <c:pt idx="25">
                  <c:v>0.3213087153722499</c:v>
                </c:pt>
                <c:pt idx="26">
                  <c:v>0.3243638282662976</c:v>
                </c:pt>
                <c:pt idx="27">
                  <c:v>0.3245743074418422</c:v>
                </c:pt>
                <c:pt idx="28">
                  <c:v>0.3287331808719066</c:v>
                </c:pt>
                <c:pt idx="29">
                  <c:v>0.32570126889762446</c:v>
                </c:pt>
                <c:pt idx="30">
                  <c:v>0.3253118780181791</c:v>
                </c:pt>
                <c:pt idx="31">
                  <c:v>0.32649665304669273</c:v>
                </c:pt>
                <c:pt idx="32">
                  <c:v>0.328176351284054</c:v>
                </c:pt>
                <c:pt idx="33">
                  <c:v>0.3249011841294714</c:v>
                </c:pt>
                <c:pt idx="34">
                  <c:v>0.3215822866146833</c:v>
                </c:pt>
                <c:pt idx="35">
                  <c:v>0.33015574515405266</c:v>
                </c:pt>
                <c:pt idx="36">
                  <c:v>0.32723997556430623</c:v>
                </c:pt>
                <c:pt idx="37">
                  <c:v>0.3288692128375811</c:v>
                </c:pt>
                <c:pt idx="38">
                  <c:v>0.320262513054804</c:v>
                </c:pt>
                <c:pt idx="39">
                  <c:v>0.32127125959943037</c:v>
                </c:pt>
                <c:pt idx="40">
                  <c:v>0.32194735826115584</c:v>
                </c:pt>
                <c:pt idx="41">
                  <c:v>0.3228213933794034</c:v>
                </c:pt>
                <c:pt idx="42">
                  <c:v>0.32728491188281156</c:v>
                </c:pt>
                <c:pt idx="43">
                  <c:v>0.32163389773854073</c:v>
                </c:pt>
                <c:pt idx="44">
                  <c:v>0.3312422454163649</c:v>
                </c:pt>
                <c:pt idx="45">
                  <c:v>0.3272855145681675</c:v>
                </c:pt>
                <c:pt idx="46">
                  <c:v>0.32541618938200034</c:v>
                </c:pt>
                <c:pt idx="47">
                  <c:v>0.33256823131104496</c:v>
                </c:pt>
                <c:pt idx="48">
                  <c:v>0.33360910959303663</c:v>
                </c:pt>
                <c:pt idx="49">
                  <c:v>0.32860848760822</c:v>
                </c:pt>
                <c:pt idx="50">
                  <c:v>0.32911306977723936</c:v>
                </c:pt>
                <c:pt idx="51">
                  <c:v>0.3297793369297543</c:v>
                </c:pt>
                <c:pt idx="52">
                  <c:v>0.3609986321313446</c:v>
                </c:pt>
                <c:pt idx="53">
                  <c:v>0.39586066376316376</c:v>
                </c:pt>
                <c:pt idx="54">
                  <c:v>0.304023425271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03539823008849"/>
          <c:min val="0.17741935483870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5.0822</c:v>
                </c:pt>
                <c:pt idx="1">
                  <c:v>1070.2795</c:v>
                </c:pt>
                <c:pt idx="2">
                  <c:v>1166.7329</c:v>
                </c:pt>
                <c:pt idx="3">
                  <c:v>1192.6645</c:v>
                </c:pt>
                <c:pt idx="4">
                  <c:v>1206.0699</c:v>
                </c:pt>
                <c:pt idx="5">
                  <c:v>1191.8571</c:v>
                </c:pt>
                <c:pt idx="6">
                  <c:v>1093.8881</c:v>
                </c:pt>
                <c:pt idx="7">
                  <c:v>1102.9485</c:v>
                </c:pt>
                <c:pt idx="8">
                  <c:v>1174.0882</c:v>
                </c:pt>
                <c:pt idx="9">
                  <c:v>1131.2429</c:v>
                </c:pt>
                <c:pt idx="10">
                  <c:v>1102.6738</c:v>
                </c:pt>
                <c:pt idx="11">
                  <c:v>1185.4211</c:v>
                </c:pt>
                <c:pt idx="12">
                  <c:v>1171.9632</c:v>
                </c:pt>
                <c:pt idx="13">
                  <c:v>1176.2398</c:v>
                </c:pt>
                <c:pt idx="14">
                  <c:v>1174.1056</c:v>
                </c:pt>
                <c:pt idx="15">
                  <c:v>1183.0957</c:v>
                </c:pt>
                <c:pt idx="16">
                  <c:v>1217.2872</c:v>
                </c:pt>
                <c:pt idx="17">
                  <c:v>1177.4706</c:v>
                </c:pt>
                <c:pt idx="18">
                  <c:v>1294.4</c:v>
                </c:pt>
                <c:pt idx="19">
                  <c:v>1305.2031</c:v>
                </c:pt>
                <c:pt idx="20">
                  <c:v>1267.8108</c:v>
                </c:pt>
                <c:pt idx="21">
                  <c:v>1278.5</c:v>
                </c:pt>
                <c:pt idx="22">
                  <c:v>1273.0617</c:v>
                </c:pt>
                <c:pt idx="23">
                  <c:v>1221.1519</c:v>
                </c:pt>
                <c:pt idx="24">
                  <c:v>1184.1034</c:v>
                </c:pt>
                <c:pt idx="25">
                  <c:v>1166.9691</c:v>
                </c:pt>
                <c:pt idx="26">
                  <c:v>1193.0385</c:v>
                </c:pt>
                <c:pt idx="27">
                  <c:v>1235.38</c:v>
                </c:pt>
                <c:pt idx="28">
                  <c:v>1267.7312</c:v>
                </c:pt>
                <c:pt idx="29">
                  <c:v>1177.0076</c:v>
                </c:pt>
                <c:pt idx="30">
                  <c:v>1221.1573</c:v>
                </c:pt>
                <c:pt idx="31">
                  <c:v>1223.0989</c:v>
                </c:pt>
                <c:pt idx="32">
                  <c:v>1200.8681</c:v>
                </c:pt>
                <c:pt idx="33">
                  <c:v>1178.9538</c:v>
                </c:pt>
                <c:pt idx="34">
                  <c:v>1167.3022</c:v>
                </c:pt>
                <c:pt idx="35">
                  <c:v>1203.7602</c:v>
                </c:pt>
                <c:pt idx="36">
                  <c:v>1286.0273</c:v>
                </c:pt>
                <c:pt idx="37">
                  <c:v>1335.1139</c:v>
                </c:pt>
                <c:pt idx="38">
                  <c:v>1379.1139</c:v>
                </c:pt>
                <c:pt idx="39">
                  <c:v>1390.5172</c:v>
                </c:pt>
                <c:pt idx="40">
                  <c:v>1381.5856</c:v>
                </c:pt>
                <c:pt idx="41">
                  <c:v>1419.4545</c:v>
                </c:pt>
                <c:pt idx="42">
                  <c:v>1513.4811</c:v>
                </c:pt>
                <c:pt idx="43">
                  <c:v>1486.8962</c:v>
                </c:pt>
                <c:pt idx="44">
                  <c:v>1374.9463</c:v>
                </c:pt>
                <c:pt idx="45">
                  <c:v>1308.7487</c:v>
                </c:pt>
                <c:pt idx="46">
                  <c:v>1345.6255</c:v>
                </c:pt>
                <c:pt idx="47">
                  <c:v>1302.6789</c:v>
                </c:pt>
                <c:pt idx="48">
                  <c:v>1330.5125</c:v>
                </c:pt>
                <c:pt idx="49">
                  <c:v>1171.0117</c:v>
                </c:pt>
                <c:pt idx="50">
                  <c:v>1172.9781</c:v>
                </c:pt>
                <c:pt idx="51">
                  <c:v>1181.2406</c:v>
                </c:pt>
                <c:pt idx="52">
                  <c:v>1220.5377</c:v>
                </c:pt>
                <c:pt idx="53">
                  <c:v>1318.8944</c:v>
                </c:pt>
                <c:pt idx="54">
                  <c:v>1300.0066</c:v>
                </c:pt>
                <c:pt idx="55">
                  <c:v>1337.5195</c:v>
                </c:pt>
                <c:pt idx="56">
                  <c:v>1325.8827</c:v>
                </c:pt>
                <c:pt idx="57">
                  <c:v>1279.5612</c:v>
                </c:pt>
                <c:pt idx="58">
                  <c:v>1277.7955</c:v>
                </c:pt>
                <c:pt idx="59">
                  <c:v>1228.7692</c:v>
                </c:pt>
                <c:pt idx="60">
                  <c:v>1269.1179</c:v>
                </c:pt>
                <c:pt idx="61">
                  <c:v>1294.6139</c:v>
                </c:pt>
                <c:pt idx="62">
                  <c:v>1242.5926</c:v>
                </c:pt>
                <c:pt idx="63">
                  <c:v>1260.1127</c:v>
                </c:pt>
                <c:pt idx="64">
                  <c:v>1212.295</c:v>
                </c:pt>
                <c:pt idx="65">
                  <c:v>1249.0056</c:v>
                </c:pt>
                <c:pt idx="66">
                  <c:v>1216.9881</c:v>
                </c:pt>
                <c:pt idx="67">
                  <c:v>1234.7386</c:v>
                </c:pt>
                <c:pt idx="68">
                  <c:v>1297.7582</c:v>
                </c:pt>
                <c:pt idx="69">
                  <c:v>1253.0725</c:v>
                </c:pt>
                <c:pt idx="70">
                  <c:v>1288.7091</c:v>
                </c:pt>
                <c:pt idx="71">
                  <c:v>1388.7119</c:v>
                </c:pt>
                <c:pt idx="72">
                  <c:v>1423.4571</c:v>
                </c:pt>
                <c:pt idx="73">
                  <c:v>1453.8393</c:v>
                </c:pt>
                <c:pt idx="74">
                  <c:v>930.2679</c:v>
                </c:pt>
                <c:pt idx="75">
                  <c:v>1497.3016</c:v>
                </c:pt>
                <c:pt idx="76">
                  <c:v>1564.871</c:v>
                </c:pt>
                <c:pt idx="77">
                  <c:v>1559.24</c:v>
                </c:pt>
                <c:pt idx="78">
                  <c:v>1485.5714</c:v>
                </c:pt>
                <c:pt idx="79">
                  <c:v>1476.6329</c:v>
                </c:pt>
                <c:pt idx="80">
                  <c:v>1508.3333</c:v>
                </c:pt>
                <c:pt idx="81">
                  <c:v>1524.0986</c:v>
                </c:pt>
                <c:pt idx="82">
                  <c:v>1498.7458</c:v>
                </c:pt>
                <c:pt idx="83">
                  <c:v>1551.5814</c:v>
                </c:pt>
                <c:pt idx="84">
                  <c:v>1474.3</c:v>
                </c:pt>
                <c:pt idx="85">
                  <c:v>1448.8793</c:v>
                </c:pt>
                <c:pt idx="86">
                  <c:v>1446.7449</c:v>
                </c:pt>
                <c:pt idx="87">
                  <c:v>1436.7519</c:v>
                </c:pt>
                <c:pt idx="88">
                  <c:v>1510.25</c:v>
                </c:pt>
                <c:pt idx="89">
                  <c:v>1497.3269</c:v>
                </c:pt>
                <c:pt idx="90">
                  <c:v>1597.6296</c:v>
                </c:pt>
                <c:pt idx="91">
                  <c:v>1626.2353</c:v>
                </c:pt>
                <c:pt idx="92">
                  <c:v>1574.4706</c:v>
                </c:pt>
                <c:pt idx="93">
                  <c:v>1597.5244</c:v>
                </c:pt>
                <c:pt idx="94">
                  <c:v>1519.2466</c:v>
                </c:pt>
                <c:pt idx="95">
                  <c:v>1385.3426</c:v>
                </c:pt>
                <c:pt idx="96">
                  <c:v>1386.2581</c:v>
                </c:pt>
                <c:pt idx="97">
                  <c:v>1384.7025</c:v>
                </c:pt>
                <c:pt idx="98">
                  <c:v>1368.3939</c:v>
                </c:pt>
                <c:pt idx="99">
                  <c:v>1329.1948</c:v>
                </c:pt>
                <c:pt idx="100">
                  <c:v>1360.0497</c:v>
                </c:pt>
                <c:pt idx="101">
                  <c:v>1347.508</c:v>
                </c:pt>
                <c:pt idx="102">
                  <c:v>1361.9213</c:v>
                </c:pt>
                <c:pt idx="103">
                  <c:v>1296.1946</c:v>
                </c:pt>
                <c:pt idx="104">
                  <c:v>1380.719</c:v>
                </c:pt>
              </c:numCache>
            </c:numRef>
          </c:xVal>
          <c:yVal>
            <c:numRef>
              <c:f>Sheet1!$B$2:$B$106</c:f>
              <c:numCache>
                <c:formatCode>General</c:formatCode>
                <c:ptCount val="105"/>
                <c:pt idx="0">
                  <c:v>0.30374479889042993</c:v>
                </c:pt>
                <c:pt idx="1">
                  <c:v>0.32525252525252524</c:v>
                </c:pt>
                <c:pt idx="2">
                  <c:v>0.2967479674796748</c:v>
                </c:pt>
                <c:pt idx="3">
                  <c:v>0.3261802575107296</c:v>
                </c:pt>
                <c:pt idx="4">
                  <c:v>0.30105263157894735</c:v>
                </c:pt>
                <c:pt idx="5">
                  <c:v>0.3136792452830189</c:v>
                </c:pt>
                <c:pt idx="6">
                  <c:v>0.34292565947242204</c:v>
                </c:pt>
                <c:pt idx="7">
                  <c:v>0.3460559796437659</c:v>
                </c:pt>
                <c:pt idx="8">
                  <c:v>0.3148148148148148</c:v>
                </c:pt>
                <c:pt idx="9">
                  <c:v>0.30837004405286345</c:v>
                </c:pt>
                <c:pt idx="10">
                  <c:v>0.29375</c:v>
                </c:pt>
                <c:pt idx="11">
                  <c:v>0.25165562913907286</c:v>
                </c:pt>
                <c:pt idx="12">
                  <c:v>0.2879858657243816</c:v>
                </c:pt>
                <c:pt idx="13">
                  <c:v>0.2958477508650519</c:v>
                </c:pt>
                <c:pt idx="14">
                  <c:v>0.27099236641221375</c:v>
                </c:pt>
                <c:pt idx="15">
                  <c:v>0.2818627450980392</c:v>
                </c:pt>
                <c:pt idx="16">
                  <c:v>0.2655367231638418</c:v>
                </c:pt>
                <c:pt idx="17">
                  <c:v>0.2786885245901639</c:v>
                </c:pt>
                <c:pt idx="18">
                  <c:v>0.25</c:v>
                </c:pt>
                <c:pt idx="19">
                  <c:v>0.24615384615384617</c:v>
                </c:pt>
                <c:pt idx="20">
                  <c:v>0.2334384858044164</c:v>
                </c:pt>
                <c:pt idx="21">
                  <c:v>0.2885572139303483</c:v>
                </c:pt>
                <c:pt idx="22">
                  <c:v>0.3389121338912134</c:v>
                </c:pt>
                <c:pt idx="23">
                  <c:v>0.3278008298755187</c:v>
                </c:pt>
                <c:pt idx="24">
                  <c:v>0.3841059602649007</c:v>
                </c:pt>
                <c:pt idx="25">
                  <c:v>0.3716475095785441</c:v>
                </c:pt>
                <c:pt idx="26">
                  <c:v>0.38661710037174724</c:v>
                </c:pt>
                <c:pt idx="27">
                  <c:v>0.3424657534246575</c:v>
                </c:pt>
                <c:pt idx="28">
                  <c:v>0.3274647887323944</c:v>
                </c:pt>
                <c:pt idx="29">
                  <c:v>0.3793103448275862</c:v>
                </c:pt>
                <c:pt idx="30">
                  <c:v>0.3739495798319328</c:v>
                </c:pt>
                <c:pt idx="31">
                  <c:v>0.3872340425531915</c:v>
                </c:pt>
                <c:pt idx="32">
                  <c:v>0.37448559670781895</c:v>
                </c:pt>
                <c:pt idx="33">
                  <c:v>0.39156626506024095</c:v>
                </c:pt>
                <c:pt idx="34">
                  <c:v>0.3278301886792453</c:v>
                </c:pt>
                <c:pt idx="35">
                  <c:v>0.3475177304964539</c:v>
                </c:pt>
                <c:pt idx="36">
                  <c:v>0.32934131736526945</c:v>
                </c:pt>
                <c:pt idx="37">
                  <c:v>0.2743055555555556</c:v>
                </c:pt>
                <c:pt idx="38">
                  <c:v>0.316</c:v>
                </c:pt>
                <c:pt idx="39">
                  <c:v>0.3425196850393701</c:v>
                </c:pt>
                <c:pt idx="40">
                  <c:v>0.3546325878594249</c:v>
                </c:pt>
                <c:pt idx="41">
                  <c:v>0.29931972789115646</c:v>
                </c:pt>
                <c:pt idx="42">
                  <c:v>0.30994152046783624</c:v>
                </c:pt>
                <c:pt idx="43">
                  <c:v>0.3241590214067278</c:v>
                </c:pt>
                <c:pt idx="44">
                  <c:v>0.3363431151241535</c:v>
                </c:pt>
                <c:pt idx="45">
                  <c:v>0.3303886925795053</c:v>
                </c:pt>
                <c:pt idx="46">
                  <c:v>0.3228021978021978</c:v>
                </c:pt>
                <c:pt idx="47">
                  <c:v>0.34222919937205654</c:v>
                </c:pt>
                <c:pt idx="48">
                  <c:v>0.3088803088803089</c:v>
                </c:pt>
                <c:pt idx="49">
                  <c:v>0.3978243978243978</c:v>
                </c:pt>
                <c:pt idx="50">
                  <c:v>0.3931133428981349</c:v>
                </c:pt>
                <c:pt idx="51">
                  <c:v>0.3889908256880734</c:v>
                </c:pt>
                <c:pt idx="52">
                  <c:v>0.39042357274401474</c:v>
                </c:pt>
                <c:pt idx="53">
                  <c:v>0.38333333333333336</c:v>
                </c:pt>
                <c:pt idx="54">
                  <c:v>0.38974358974358975</c:v>
                </c:pt>
                <c:pt idx="55">
                  <c:v>0.41509433962264153</c:v>
                </c:pt>
                <c:pt idx="56">
                  <c:v>0.4153846153846154</c:v>
                </c:pt>
                <c:pt idx="57">
                  <c:v>0.4336283185840708</c:v>
                </c:pt>
                <c:pt idx="58">
                  <c:v>0.4247104247104247</c:v>
                </c:pt>
                <c:pt idx="59">
                  <c:v>0.40310077519379844</c:v>
                </c:pt>
                <c:pt idx="60">
                  <c:v>0.4019607843137255</c:v>
                </c:pt>
                <c:pt idx="61">
                  <c:v>0.3691588785046729</c:v>
                </c:pt>
                <c:pt idx="62">
                  <c:v>0.34615384615384615</c:v>
                </c:pt>
                <c:pt idx="63">
                  <c:v>0.36660929432013767</c:v>
                </c:pt>
                <c:pt idx="64">
                  <c:v>0.32051282051282054</c:v>
                </c:pt>
                <c:pt idx="65">
                  <c:v>0.3231046931407942</c:v>
                </c:pt>
                <c:pt idx="66">
                  <c:v>0.340080971659919</c:v>
                </c:pt>
                <c:pt idx="67">
                  <c:v>0.35253456221198154</c:v>
                </c:pt>
                <c:pt idx="68">
                  <c:v>0.2653061224489796</c:v>
                </c:pt>
                <c:pt idx="69">
                  <c:v>0.26953125</c:v>
                </c:pt>
                <c:pt idx="70">
                  <c:v>0.2217741935483871</c:v>
                </c:pt>
                <c:pt idx="71">
                  <c:v>0.2744186046511628</c:v>
                </c:pt>
                <c:pt idx="72">
                  <c:v>0.3111111111111111</c:v>
                </c:pt>
                <c:pt idx="73">
                  <c:v>0.2679425837320574</c:v>
                </c:pt>
                <c:pt idx="74">
                  <c:v>0.3875432525951557</c:v>
                </c:pt>
                <c:pt idx="75">
                  <c:v>0.2889908256880734</c:v>
                </c:pt>
                <c:pt idx="76">
                  <c:v>0.32460732984293195</c:v>
                </c:pt>
                <c:pt idx="77">
                  <c:v>0.27472527472527475</c:v>
                </c:pt>
                <c:pt idx="78">
                  <c:v>0.3073170731707317</c:v>
                </c:pt>
                <c:pt idx="79">
                  <c:v>0.341991341991342</c:v>
                </c:pt>
                <c:pt idx="80">
                  <c:v>0.2647058823529412</c:v>
                </c:pt>
                <c:pt idx="81">
                  <c:v>0.22468354430379747</c:v>
                </c:pt>
                <c:pt idx="82">
                  <c:v>0.2576419213973799</c:v>
                </c:pt>
                <c:pt idx="83">
                  <c:v>0.24855491329479767</c:v>
                </c:pt>
                <c:pt idx="84">
                  <c:v>0.2717391304347826</c:v>
                </c:pt>
                <c:pt idx="85">
                  <c:v>0.2457627118644068</c:v>
                </c:pt>
                <c:pt idx="86">
                  <c:v>0.28405797101449276</c:v>
                </c:pt>
                <c:pt idx="87">
                  <c:v>0.2951945080091533</c:v>
                </c:pt>
                <c:pt idx="88">
                  <c:v>0.3114754098360656</c:v>
                </c:pt>
                <c:pt idx="89">
                  <c:v>0.2653061224489796</c:v>
                </c:pt>
                <c:pt idx="90">
                  <c:v>0.2727272727272727</c:v>
                </c:pt>
                <c:pt idx="91">
                  <c:v>0.2698412698412698</c:v>
                </c:pt>
                <c:pt idx="92">
                  <c:v>0.32945736434108525</c:v>
                </c:pt>
                <c:pt idx="93">
                  <c:v>0.31906614785992216</c:v>
                </c:pt>
                <c:pt idx="94">
                  <c:v>0.35960591133004927</c:v>
                </c:pt>
                <c:pt idx="95">
                  <c:v>0.3385579937304075</c:v>
                </c:pt>
                <c:pt idx="96">
                  <c:v>0.3139240506329114</c:v>
                </c:pt>
                <c:pt idx="97">
                  <c:v>0.305019305019305</c:v>
                </c:pt>
                <c:pt idx="98">
                  <c:v>0.30745341614906835</c:v>
                </c:pt>
                <c:pt idx="99">
                  <c:v>0.29844961240310075</c:v>
                </c:pt>
                <c:pt idx="100">
                  <c:v>0.3265720081135903</c:v>
                </c:pt>
                <c:pt idx="101">
                  <c:v>0.3202054794520548</c:v>
                </c:pt>
                <c:pt idx="102">
                  <c:v>0.3167082294264339</c:v>
                </c:pt>
                <c:pt idx="103">
                  <c:v>0.3059548254620123</c:v>
                </c:pt>
                <c:pt idx="104">
                  <c:v>0.33704735376044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506.9825</c:v>
                </c:pt>
                <c:pt idx="1">
                  <c:v>1323.5043</c:v>
                </c:pt>
                <c:pt idx="2">
                  <c:v>1296.1753</c:v>
                </c:pt>
                <c:pt idx="3">
                  <c:v>1307.375</c:v>
                </c:pt>
                <c:pt idx="4">
                  <c:v>1303.2014</c:v>
                </c:pt>
                <c:pt idx="5">
                  <c:v>1442.9701</c:v>
                </c:pt>
                <c:pt idx="6">
                  <c:v>1419.137</c:v>
                </c:pt>
                <c:pt idx="7">
                  <c:v>1353.8279</c:v>
                </c:pt>
                <c:pt idx="8">
                  <c:v>1433.4767</c:v>
                </c:pt>
                <c:pt idx="9">
                  <c:v>1428.4091</c:v>
                </c:pt>
                <c:pt idx="10">
                  <c:v>1435.5574</c:v>
                </c:pt>
                <c:pt idx="11">
                  <c:v>1258.3944</c:v>
                </c:pt>
                <c:pt idx="12">
                  <c:v>1205.8344</c:v>
                </c:pt>
                <c:pt idx="13">
                  <c:v>1221.5234</c:v>
                </c:pt>
                <c:pt idx="14">
                  <c:v>1191.6742</c:v>
                </c:pt>
                <c:pt idx="15">
                  <c:v>1256.5152</c:v>
                </c:pt>
                <c:pt idx="16">
                  <c:v>1192.1757</c:v>
                </c:pt>
                <c:pt idx="17">
                  <c:v>1183.6104</c:v>
                </c:pt>
                <c:pt idx="18">
                  <c:v>1438.2295</c:v>
                </c:pt>
                <c:pt idx="19">
                  <c:v>1459.9589</c:v>
                </c:pt>
                <c:pt idx="20">
                  <c:v>1570.5283</c:v>
                </c:pt>
                <c:pt idx="21">
                  <c:v>1590.1429</c:v>
                </c:pt>
                <c:pt idx="22">
                  <c:v>1526.3276</c:v>
                </c:pt>
                <c:pt idx="23">
                  <c:v>1468.2105</c:v>
                </c:pt>
                <c:pt idx="24">
                  <c:v>1454.5397</c:v>
                </c:pt>
                <c:pt idx="25">
                  <c:v>1405.7458</c:v>
                </c:pt>
                <c:pt idx="26">
                  <c:v>1361.1974</c:v>
                </c:pt>
                <c:pt idx="27">
                  <c:v>1531.6667</c:v>
                </c:pt>
                <c:pt idx="28">
                  <c:v>1534.6104</c:v>
                </c:pt>
                <c:pt idx="29">
                  <c:v>1526.7237</c:v>
                </c:pt>
                <c:pt idx="30">
                  <c:v>1644.8788</c:v>
                </c:pt>
                <c:pt idx="31">
                  <c:v>1489.0</c:v>
                </c:pt>
                <c:pt idx="32">
                  <c:v>1405.1786</c:v>
                </c:pt>
                <c:pt idx="33">
                  <c:v>1562.9091</c:v>
                </c:pt>
                <c:pt idx="34">
                  <c:v>1572.4667</c:v>
                </c:pt>
                <c:pt idx="35">
                  <c:v>1518.0282</c:v>
                </c:pt>
                <c:pt idx="36">
                  <c:v>1582.3148</c:v>
                </c:pt>
                <c:pt idx="37">
                  <c:v>1587.1857</c:v>
                </c:pt>
                <c:pt idx="38">
                  <c:v>1562.7941</c:v>
                </c:pt>
                <c:pt idx="39">
                  <c:v>1603.2987</c:v>
                </c:pt>
                <c:pt idx="40">
                  <c:v>1603.0735</c:v>
                </c:pt>
                <c:pt idx="41">
                  <c:v>1660.122</c:v>
                </c:pt>
                <c:pt idx="42">
                  <c:v>1588.7246</c:v>
                </c:pt>
                <c:pt idx="43">
                  <c:v>1524.1685</c:v>
                </c:pt>
                <c:pt idx="44">
                  <c:v>1471.4667</c:v>
                </c:pt>
                <c:pt idx="45">
                  <c:v>1449.5351</c:v>
                </c:pt>
                <c:pt idx="46">
                  <c:v>1374.1129</c:v>
                </c:pt>
                <c:pt idx="47">
                  <c:v>1254.1556</c:v>
                </c:pt>
                <c:pt idx="48">
                  <c:v>1209.4234</c:v>
                </c:pt>
                <c:pt idx="49">
                  <c:v>1364.1169</c:v>
                </c:pt>
                <c:pt idx="50">
                  <c:v>1202.5203</c:v>
                </c:pt>
                <c:pt idx="51">
                  <c:v>1190.85</c:v>
                </c:pt>
              </c:numCache>
            </c:numRef>
          </c:xVal>
          <c:yVal>
            <c:numRef>
              <c:f>Sheet1!$B$109:$B$160</c:f>
              <c:numCache>
                <c:formatCode>General</c:formatCode>
                <c:ptCount val="52"/>
                <c:pt idx="0">
                  <c:v>0.31666666666666665</c:v>
                </c:pt>
                <c:pt idx="1">
                  <c:v>0.3484848484848485</c:v>
                </c:pt>
                <c:pt idx="2">
                  <c:v>0.39185750636132316</c:v>
                </c:pt>
                <c:pt idx="3">
                  <c:v>0.41411764705882353</c:v>
                </c:pt>
                <c:pt idx="4">
                  <c:v>0.4186046511627907</c:v>
                </c:pt>
                <c:pt idx="5">
                  <c:v>0.3753501400560224</c:v>
                </c:pt>
                <c:pt idx="6">
                  <c:v>0.35180722891566263</c:v>
                </c:pt>
                <c:pt idx="7">
                  <c:v>0.3193717277486911</c:v>
                </c:pt>
                <c:pt idx="8">
                  <c:v>0.31272727272727274</c:v>
                </c:pt>
                <c:pt idx="9">
                  <c:v>0.3151862464183381</c:v>
                </c:pt>
                <c:pt idx="10">
                  <c:v>0.3185378590078329</c:v>
                </c:pt>
                <c:pt idx="11">
                  <c:v>0.33210332103321033</c:v>
                </c:pt>
                <c:pt idx="12">
                  <c:v>0.3398268398268398</c:v>
                </c:pt>
                <c:pt idx="13">
                  <c:v>0.30843373493975906</c:v>
                </c:pt>
                <c:pt idx="14">
                  <c:v>0.34108527131782945</c:v>
                </c:pt>
                <c:pt idx="15">
                  <c:v>0.3344594594594595</c:v>
                </c:pt>
                <c:pt idx="16">
                  <c:v>0.31223628691983124</c:v>
                </c:pt>
                <c:pt idx="17">
                  <c:v>0.3117408906882591</c:v>
                </c:pt>
                <c:pt idx="18">
                  <c:v>0.2824074074074074</c:v>
                </c:pt>
                <c:pt idx="19">
                  <c:v>0.30165289256198347</c:v>
                </c:pt>
                <c:pt idx="20">
                  <c:v>0.29775280898876405</c:v>
                </c:pt>
                <c:pt idx="21">
                  <c:v>0.25654450261780104</c:v>
                </c:pt>
                <c:pt idx="22">
                  <c:v>0.3314285714285714</c:v>
                </c:pt>
                <c:pt idx="23">
                  <c:v>0.3333333333333333</c:v>
                </c:pt>
                <c:pt idx="24">
                  <c:v>0.3230769230769231</c:v>
                </c:pt>
                <c:pt idx="25">
                  <c:v>0.2783018867924528</c:v>
                </c:pt>
                <c:pt idx="26">
                  <c:v>0.3089430894308943</c:v>
                </c:pt>
                <c:pt idx="27">
                  <c:v>0.2693877551020408</c:v>
                </c:pt>
                <c:pt idx="28">
                  <c:v>0.29277566539923955</c:v>
                </c:pt>
                <c:pt idx="29">
                  <c:v>0.3140495867768595</c:v>
                </c:pt>
                <c:pt idx="30">
                  <c:v>0.30697674418604654</c:v>
                </c:pt>
                <c:pt idx="31">
                  <c:v>0.2925531914893617</c:v>
                </c:pt>
                <c:pt idx="32">
                  <c:v>0.36363636363636365</c:v>
                </c:pt>
                <c:pt idx="33">
                  <c:v>0.42857142857142855</c:v>
                </c:pt>
                <c:pt idx="34">
                  <c:v>0.3829787234042553</c:v>
                </c:pt>
                <c:pt idx="35">
                  <c:v>0.4057142857142857</c:v>
                </c:pt>
                <c:pt idx="36">
                  <c:v>0.34615384615384615</c:v>
                </c:pt>
                <c:pt idx="37">
                  <c:v>0.3763440860215054</c:v>
                </c:pt>
                <c:pt idx="38">
                  <c:v>0.3383084577114428</c:v>
                </c:pt>
                <c:pt idx="39">
                  <c:v>0.3422222222222222</c:v>
                </c:pt>
                <c:pt idx="40">
                  <c:v>0.2956521739130435</c:v>
                </c:pt>
                <c:pt idx="41">
                  <c:v>0.3416666666666667</c:v>
                </c:pt>
                <c:pt idx="42">
                  <c:v>0.3194444444444444</c:v>
                </c:pt>
                <c:pt idx="43">
                  <c:v>0.3037542662116041</c:v>
                </c:pt>
                <c:pt idx="44">
                  <c:v>0.28753993610223644</c:v>
                </c:pt>
                <c:pt idx="45">
                  <c:v>0.25617977528089886</c:v>
                </c:pt>
                <c:pt idx="46">
                  <c:v>0.2824601366742597</c:v>
                </c:pt>
                <c:pt idx="47">
                  <c:v>0.2967032967032967</c:v>
                </c:pt>
                <c:pt idx="48">
                  <c:v>0.30376940133037694</c:v>
                </c:pt>
                <c:pt idx="49">
                  <c:v>0.27017543859649124</c:v>
                </c:pt>
                <c:pt idx="50">
                  <c:v>0.3166023166023166</c:v>
                </c:pt>
                <c:pt idx="51">
                  <c:v>0.336134453781512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38.86080248086</c:v>
                </c:pt>
              </c:numCache>
            </c:numRef>
          </c:xVal>
          <c:yVal>
            <c:numRef>
              <c:f>Sheet1!$B$163:$B$164</c:f>
              <c:numCache>
                <c:formatCode>General</c:formatCode>
                <c:ptCount val="2"/>
                <c:pt idx="0">
                  <c:v>0.39586066376316376</c:v>
                </c:pt>
                <c:pt idx="1">
                  <c:v>0.395860663763163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38.86080248086</c:v>
                </c:pt>
                <c:pt idx="1">
                  <c:v>-5138.86080248086</c:v>
                </c:pt>
              </c:numCache>
            </c:numRef>
          </c:xVal>
          <c:yVal>
            <c:numRef>
              <c:f>Sheet1!$B$167:$B$168</c:f>
              <c:numCache>
                <c:formatCode>General</c:formatCode>
                <c:ptCount val="2"/>
                <c:pt idx="0">
                  <c:v>0.395860663763163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869.4270085233773</c:v>
                </c:pt>
              </c:numCache>
            </c:numRef>
          </c:xVal>
          <c:yVal>
            <c:numRef>
              <c:f>Sheet1!$B$171:$B$172</c:f>
              <c:numCache>
                <c:formatCode>General</c:formatCode>
                <c:ptCount val="2"/>
                <c:pt idx="0">
                  <c:v>0.3609986321313446</c:v>
                </c:pt>
                <c:pt idx="1">
                  <c:v>0.36099863213134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869.4270085233773</c:v>
                </c:pt>
                <c:pt idx="1">
                  <c:v>-1869.4270085233773</c:v>
                </c:pt>
              </c:numCache>
            </c:numRef>
          </c:xVal>
          <c:yVal>
            <c:numRef>
              <c:f>Sheet1!$B$175:$B$176</c:f>
              <c:numCache>
                <c:formatCode>General</c:formatCode>
                <c:ptCount val="2"/>
                <c:pt idx="0">
                  <c:v>0.36099863213134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473.8263248626454</c:v>
                </c:pt>
              </c:numCache>
            </c:numRef>
          </c:xVal>
          <c:yVal>
            <c:numRef>
              <c:f>Sheet1!$B$179:$B$180</c:f>
              <c:numCache>
                <c:formatCode>General</c:formatCode>
                <c:ptCount val="2"/>
                <c:pt idx="0">
                  <c:v>0.30402342527149</c:v>
                </c:pt>
                <c:pt idx="1">
                  <c:v>0.3040234252714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473.8263248626454</c:v>
                </c:pt>
                <c:pt idx="1">
                  <c:v>3473.8263248626454</c:v>
                </c:pt>
              </c:numCache>
            </c:numRef>
          </c:xVal>
          <c:yVal>
            <c:numRef>
              <c:f>Sheet1!$B$183:$B$184</c:f>
              <c:numCache>
                <c:formatCode>General</c:formatCode>
                <c:ptCount val="2"/>
                <c:pt idx="0">
                  <c:v>0.304023425271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506.9825</c:v>
                </c:pt>
                <c:pt idx="1">
                  <c:v>1323.5043</c:v>
                </c:pt>
                <c:pt idx="2">
                  <c:v>1296.1753</c:v>
                </c:pt>
                <c:pt idx="3">
                  <c:v>1307.375</c:v>
                </c:pt>
                <c:pt idx="4">
                  <c:v>1303.2014</c:v>
                </c:pt>
                <c:pt idx="5">
                  <c:v>1442.9701</c:v>
                </c:pt>
                <c:pt idx="6">
                  <c:v>1419.137</c:v>
                </c:pt>
                <c:pt idx="7">
                  <c:v>1353.8279</c:v>
                </c:pt>
                <c:pt idx="8">
                  <c:v>1433.4767</c:v>
                </c:pt>
                <c:pt idx="9">
                  <c:v>1428.4091</c:v>
                </c:pt>
                <c:pt idx="10">
                  <c:v>1435.5574</c:v>
                </c:pt>
                <c:pt idx="11">
                  <c:v>1258.3944</c:v>
                </c:pt>
                <c:pt idx="12">
                  <c:v>1205.8344</c:v>
                </c:pt>
                <c:pt idx="13">
                  <c:v>1221.5234</c:v>
                </c:pt>
                <c:pt idx="14">
                  <c:v>1191.6742</c:v>
                </c:pt>
                <c:pt idx="15">
                  <c:v>1256.5152</c:v>
                </c:pt>
                <c:pt idx="16">
                  <c:v>1192.1757</c:v>
                </c:pt>
                <c:pt idx="17">
                  <c:v>1183.6104</c:v>
                </c:pt>
                <c:pt idx="18">
                  <c:v>1438.2295</c:v>
                </c:pt>
                <c:pt idx="19">
                  <c:v>1459.9589</c:v>
                </c:pt>
                <c:pt idx="20">
                  <c:v>1570.5283</c:v>
                </c:pt>
                <c:pt idx="21">
                  <c:v>1590.1429</c:v>
                </c:pt>
                <c:pt idx="22">
                  <c:v>1526.3276</c:v>
                </c:pt>
                <c:pt idx="23">
                  <c:v>1468.2105</c:v>
                </c:pt>
                <c:pt idx="24">
                  <c:v>1454.5397</c:v>
                </c:pt>
                <c:pt idx="25">
                  <c:v>1405.7458</c:v>
                </c:pt>
                <c:pt idx="26">
                  <c:v>1361.1974</c:v>
                </c:pt>
                <c:pt idx="27">
                  <c:v>1531.6667</c:v>
                </c:pt>
                <c:pt idx="28">
                  <c:v>1534.6104</c:v>
                </c:pt>
                <c:pt idx="29">
                  <c:v>1526.7237</c:v>
                </c:pt>
                <c:pt idx="30">
                  <c:v>1644.8788</c:v>
                </c:pt>
                <c:pt idx="31">
                  <c:v>1489.0</c:v>
                </c:pt>
                <c:pt idx="32">
                  <c:v>1405.1786</c:v>
                </c:pt>
                <c:pt idx="33">
                  <c:v>1562.9091</c:v>
                </c:pt>
                <c:pt idx="34">
                  <c:v>1572.4667</c:v>
                </c:pt>
                <c:pt idx="35">
                  <c:v>1518.0282</c:v>
                </c:pt>
                <c:pt idx="36">
                  <c:v>1582.3148</c:v>
                </c:pt>
                <c:pt idx="37">
                  <c:v>1587.1857</c:v>
                </c:pt>
                <c:pt idx="38">
                  <c:v>1562.7941</c:v>
                </c:pt>
                <c:pt idx="39">
                  <c:v>1603.2987</c:v>
                </c:pt>
                <c:pt idx="40">
                  <c:v>1603.0735</c:v>
                </c:pt>
                <c:pt idx="41">
                  <c:v>1660.122</c:v>
                </c:pt>
                <c:pt idx="42">
                  <c:v>1588.7246</c:v>
                </c:pt>
                <c:pt idx="43">
                  <c:v>1524.1685</c:v>
                </c:pt>
                <c:pt idx="44">
                  <c:v>1471.4667</c:v>
                </c:pt>
                <c:pt idx="45">
                  <c:v>1449.5351</c:v>
                </c:pt>
                <c:pt idx="46">
                  <c:v>1374.1129</c:v>
                </c:pt>
                <c:pt idx="47">
                  <c:v>1254.1556</c:v>
                </c:pt>
                <c:pt idx="48">
                  <c:v>1209.4234</c:v>
                </c:pt>
                <c:pt idx="49">
                  <c:v>1364.1169</c:v>
                </c:pt>
                <c:pt idx="50">
                  <c:v>1202.5203</c:v>
                </c:pt>
                <c:pt idx="51">
                  <c:v>1190.85</c:v>
                </c:pt>
                <c:pt idx="52">
                  <c:v>-1869.4270085233773</c:v>
                </c:pt>
                <c:pt idx="53">
                  <c:v>-5138.86080248086</c:v>
                </c:pt>
                <c:pt idx="54">
                  <c:v>3473.8263248626454</c:v>
                </c:pt>
              </c:numCache>
            </c:numRef>
          </c:xVal>
          <c:yVal>
            <c:numRef>
              <c:f>Sheet1!$B$187:$B$241</c:f>
              <c:numCache>
                <c:formatCode>General</c:formatCode>
                <c:ptCount val="55"/>
                <c:pt idx="0">
                  <c:v>0.3249959165217904</c:v>
                </c:pt>
                <c:pt idx="1">
                  <c:v>0.32695234788430066</c:v>
                </c:pt>
                <c:pt idx="2">
                  <c:v>0.32724375750520407</c:v>
                </c:pt>
                <c:pt idx="3">
                  <c:v>0.32712433490169746</c:v>
                </c:pt>
                <c:pt idx="4">
                  <c:v>0.3271688380739249</c:v>
                </c:pt>
                <c:pt idx="5">
                  <c:v>0.32567848189985465</c:v>
                </c:pt>
                <c:pt idx="6">
                  <c:v>0.3259326146758784</c:v>
                </c:pt>
                <c:pt idx="7">
                  <c:v>0.3266290067894773</c:v>
                </c:pt>
                <c:pt idx="8">
                  <c:v>0.3257797101956242</c:v>
                </c:pt>
                <c:pt idx="9">
                  <c:v>0.3258337461060084</c:v>
                </c:pt>
                <c:pt idx="10">
                  <c:v>0.3257575236539207</c:v>
                </c:pt>
                <c:pt idx="11">
                  <c:v>0.32764661592469946</c:v>
                </c:pt>
                <c:pt idx="12">
                  <c:v>0.3282070641545902</c:v>
                </c:pt>
                <c:pt idx="13">
                  <c:v>0.3280397720640507</c:v>
                </c:pt>
                <c:pt idx="14">
                  <c:v>0.32835805462310047</c:v>
                </c:pt>
                <c:pt idx="15">
                  <c:v>0.3276666538682613</c:v>
                </c:pt>
                <c:pt idx="16">
                  <c:v>0.3283527071195371</c:v>
                </c:pt>
                <c:pt idx="17">
                  <c:v>0.3284440390682335</c:v>
                </c:pt>
                <c:pt idx="18">
                  <c:v>0.3257290310033292</c:v>
                </c:pt>
                <c:pt idx="19">
                  <c:v>0.3254973300184245</c:v>
                </c:pt>
                <c:pt idx="20">
                  <c:v>0.3243183265079588</c:v>
                </c:pt>
                <c:pt idx="21">
                  <c:v>0.32410917567367387</c:v>
                </c:pt>
                <c:pt idx="22">
                  <c:v>0.324789639370876</c:v>
                </c:pt>
                <c:pt idx="23">
                  <c:v>0.3254093430584975</c:v>
                </c:pt>
                <c:pt idx="24">
                  <c:v>0.325555115045963</c:v>
                </c:pt>
                <c:pt idx="25">
                  <c:v>0.32607540528349094</c:v>
                </c:pt>
                <c:pt idx="26">
                  <c:v>0.326550425677792</c:v>
                </c:pt>
                <c:pt idx="27">
                  <c:v>0.32473270845108515</c:v>
                </c:pt>
                <c:pt idx="28">
                  <c:v>0.3247013197247851</c:v>
                </c:pt>
                <c:pt idx="29">
                  <c:v>0.32478541574941755</c:v>
                </c:pt>
                <c:pt idx="30">
                  <c:v>0.32352552578275917</c:v>
                </c:pt>
                <c:pt idx="31">
                  <c:v>0.3251876642442792</c:v>
                </c:pt>
                <c:pt idx="32">
                  <c:v>0.3260814533473417</c:v>
                </c:pt>
                <c:pt idx="33">
                  <c:v>0.3243995701752568</c:v>
                </c:pt>
                <c:pt idx="34">
                  <c:v>0.32429765731372706</c:v>
                </c:pt>
                <c:pt idx="35">
                  <c:v>0.324878136023067</c:v>
                </c:pt>
                <c:pt idx="36">
                  <c:v>0.32419264684544724</c:v>
                </c:pt>
                <c:pt idx="37">
                  <c:v>0.3241407083507179</c:v>
                </c:pt>
                <c:pt idx="38">
                  <c:v>0.3244007964223351</c:v>
                </c:pt>
                <c:pt idx="39">
                  <c:v>0.32396889514051563</c:v>
                </c:pt>
                <c:pt idx="40">
                  <c:v>0.3239712964521856</c:v>
                </c:pt>
                <c:pt idx="41">
                  <c:v>0.3233629872656764</c:v>
                </c:pt>
                <c:pt idx="42">
                  <c:v>0.3241242990322061</c:v>
                </c:pt>
                <c:pt idx="43">
                  <c:v>0.32481266189319635</c:v>
                </c:pt>
                <c:pt idx="44">
                  <c:v>0.3253746221390498</c:v>
                </c:pt>
                <c:pt idx="45">
                  <c:v>0.32560847918620867</c:v>
                </c:pt>
                <c:pt idx="46">
                  <c:v>0.3264127074678766</c:v>
                </c:pt>
                <c:pt idx="47">
                  <c:v>0.3276918143257052</c:v>
                </c:pt>
                <c:pt idx="48">
                  <c:v>0.328168794582728</c:v>
                </c:pt>
                <c:pt idx="49">
                  <c:v>0.3265192949965293</c:v>
                </c:pt>
                <c:pt idx="50">
                  <c:v>0.3282424024627843</c:v>
                </c:pt>
                <c:pt idx="51">
                  <c:v>0.32836684308259584</c:v>
                </c:pt>
                <c:pt idx="52">
                  <c:v>0.3609986321313446</c:v>
                </c:pt>
                <c:pt idx="53">
                  <c:v>0.39586066376316376</c:v>
                </c:pt>
                <c:pt idx="54">
                  <c:v>0.304023425271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1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03539823008849"/>
          <c:min val="0.17741935483870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455629806795925</c:v>
                </c:pt>
                <c:pt idx="1">
                  <c:v>0.4238773021562791</c:v>
                </c:pt>
                <c:pt idx="2">
                  <c:v>0.4568835636629711</c:v>
                </c:pt>
                <c:pt idx="3">
                  <c:v>0.45895193767730835</c:v>
                </c:pt>
                <c:pt idx="4">
                  <c:v>0.4728176509476988</c:v>
                </c:pt>
                <c:pt idx="5">
                  <c:v>0.4731472721135015</c:v>
                </c:pt>
                <c:pt idx="6">
                  <c:v>0.422482203696644</c:v>
                </c:pt>
                <c:pt idx="7">
                  <c:v>0.4366113384519352</c:v>
                </c:pt>
                <c:pt idx="8">
                  <c:v>0.42410295157329825</c:v>
                </c:pt>
                <c:pt idx="9">
                  <c:v>0.4381321504815362</c:v>
                </c:pt>
                <c:pt idx="10">
                  <c:v>0.42641129893623875</c:v>
                </c:pt>
                <c:pt idx="11">
                  <c:v>0.4895877916689281</c:v>
                </c:pt>
                <c:pt idx="12">
                  <c:v>0.5079178765086286</c:v>
                </c:pt>
                <c:pt idx="13">
                  <c:v>0.5055632314512262</c:v>
                </c:pt>
                <c:pt idx="14">
                  <c:v>0.5091533336370393</c:v>
                </c:pt>
                <c:pt idx="15">
                  <c:v>0.4653841115058391</c:v>
                </c:pt>
                <c:pt idx="16">
                  <c:v>0.4324808415427116</c:v>
                </c:pt>
                <c:pt idx="17">
                  <c:v>0.4564789475850838</c:v>
                </c:pt>
                <c:pt idx="18">
                  <c:v>0.4306743571134108</c:v>
                </c:pt>
                <c:pt idx="19">
                  <c:v>0.41722839482577107</c:v>
                </c:pt>
                <c:pt idx="20">
                  <c:v>0.4641849368045034</c:v>
                </c:pt>
                <c:pt idx="21">
                  <c:v>0.4414488609647021</c:v>
                </c:pt>
                <c:pt idx="22">
                  <c:v>0.4156562662587321</c:v>
                </c:pt>
                <c:pt idx="23">
                  <c:v>0.3749024575708642</c:v>
                </c:pt>
                <c:pt idx="24">
                  <c:v>0.3677852146067161</c:v>
                </c:pt>
                <c:pt idx="25">
                  <c:v>0.3601795959420602</c:v>
                </c:pt>
                <c:pt idx="26">
                  <c:v>0.36049490785760613</c:v>
                </c:pt>
                <c:pt idx="27">
                  <c:v>0.34930087338340093</c:v>
                </c:pt>
                <c:pt idx="28">
                  <c:v>0.35373051212867473</c:v>
                </c:pt>
                <c:pt idx="29">
                  <c:v>0.3239480488096311</c:v>
                </c:pt>
                <c:pt idx="30">
                  <c:v>0.3250899223041604</c:v>
                </c:pt>
                <c:pt idx="31">
                  <c:v>0.3160268329773986</c:v>
                </c:pt>
                <c:pt idx="32">
                  <c:v>0.3310769027930136</c:v>
                </c:pt>
                <c:pt idx="33">
                  <c:v>0.3015280918876685</c:v>
                </c:pt>
                <c:pt idx="34">
                  <c:v>0.30060852756978096</c:v>
                </c:pt>
                <c:pt idx="35">
                  <c:v>0.35150872925655113</c:v>
                </c:pt>
                <c:pt idx="36">
                  <c:v>0.38158329803080693</c:v>
                </c:pt>
                <c:pt idx="37">
                  <c:v>0.3914888792162645</c:v>
                </c:pt>
                <c:pt idx="38">
                  <c:v>0.3703879505973284</c:v>
                </c:pt>
                <c:pt idx="39">
                  <c:v>0.37908578393087766</c:v>
                </c:pt>
                <c:pt idx="40">
                  <c:v>0.38669734418531615</c:v>
                </c:pt>
                <c:pt idx="41">
                  <c:v>0.37669209616572</c:v>
                </c:pt>
                <c:pt idx="42">
                  <c:v>0.39645121288957536</c:v>
                </c:pt>
                <c:pt idx="43">
                  <c:v>0.4253256924741143</c:v>
                </c:pt>
                <c:pt idx="44">
                  <c:v>0.38425618352157553</c:v>
                </c:pt>
                <c:pt idx="45">
                  <c:v>0.4146522982240003</c:v>
                </c:pt>
                <c:pt idx="46">
                  <c:v>0.4290492151957866</c:v>
                </c:pt>
                <c:pt idx="47">
                  <c:v>0.4554161519039998</c:v>
                </c:pt>
                <c:pt idx="48">
                  <c:v>0.45899834160843317</c:v>
                </c:pt>
                <c:pt idx="49">
                  <c:v>0.5221637591783103</c:v>
                </c:pt>
                <c:pt idx="50">
                  <c:v>0.4383862914372656</c:v>
                </c:pt>
                <c:pt idx="51">
                  <c:v>0.4376815205335323</c:v>
                </c:pt>
                <c:pt idx="52">
                  <c:v>0.4335808178252118</c:v>
                </c:pt>
                <c:pt idx="53">
                  <c:v>0.4054595307940183</c:v>
                </c:pt>
                <c:pt idx="54">
                  <c:v>0.3953718927853446</c:v>
                </c:pt>
                <c:pt idx="55">
                  <c:v>0.3851394417406303</c:v>
                </c:pt>
                <c:pt idx="56">
                  <c:v>0.4093192200744698</c:v>
                </c:pt>
                <c:pt idx="57">
                  <c:v>0.4234140498599694</c:v>
                </c:pt>
                <c:pt idx="58">
                  <c:v>0.38378272598157276</c:v>
                </c:pt>
                <c:pt idx="59">
                  <c:v>0.4077876150896501</c:v>
                </c:pt>
                <c:pt idx="60">
                  <c:v>0.41941738922209043</c:v>
                </c:pt>
                <c:pt idx="61">
                  <c:v>0.43827976179765404</c:v>
                </c:pt>
                <c:pt idx="62">
                  <c:v>0.40111120275071344</c:v>
                </c:pt>
                <c:pt idx="63">
                  <c:v>0.39923887139070935</c:v>
                </c:pt>
                <c:pt idx="64">
                  <c:v>0.454700926504822</c:v>
                </c:pt>
                <c:pt idx="65">
                  <c:v>0.44293369466502647</c:v>
                </c:pt>
                <c:pt idx="66">
                  <c:v>0.4538257554088337</c:v>
                </c:pt>
                <c:pt idx="67">
                  <c:v>0.4642536959888016</c:v>
                </c:pt>
                <c:pt idx="68">
                  <c:v>0.46408754820668674</c:v>
                </c:pt>
                <c:pt idx="69">
                  <c:v>0.48623072976116405</c:v>
                </c:pt>
                <c:pt idx="70">
                  <c:v>0.4854172707293528</c:v>
                </c:pt>
                <c:pt idx="71">
                  <c:v>0.45700257848182696</c:v>
                </c:pt>
                <c:pt idx="72">
                  <c:v>0.5146454683594299</c:v>
                </c:pt>
                <c:pt idx="73">
                  <c:v>0.49586565412315464</c:v>
                </c:pt>
                <c:pt idx="74">
                  <c:v>0.44154577573107867</c:v>
                </c:pt>
                <c:pt idx="75">
                  <c:v>0.4308624483293648</c:v>
                </c:pt>
                <c:pt idx="76">
                  <c:v>0.4215619774627409</c:v>
                </c:pt>
                <c:pt idx="77">
                  <c:v>0.4255732112820107</c:v>
                </c:pt>
                <c:pt idx="78">
                  <c:v>0.43957352523463883</c:v>
                </c:pt>
                <c:pt idx="79">
                  <c:v>0.44619511611489054</c:v>
                </c:pt>
                <c:pt idx="80">
                  <c:v>0.46475075828820456</c:v>
                </c:pt>
                <c:pt idx="81">
                  <c:v>0.46566533321787645</c:v>
                </c:pt>
                <c:pt idx="82">
                  <c:v>0.4325422306617922</c:v>
                </c:pt>
                <c:pt idx="83">
                  <c:v>0.4344767454820752</c:v>
                </c:pt>
                <c:pt idx="84">
                  <c:v>0.41736759879015006</c:v>
                </c:pt>
                <c:pt idx="85">
                  <c:v>0.4331258583272364</c:v>
                </c:pt>
                <c:pt idx="86">
                  <c:v>0.3980754721817738</c:v>
                </c:pt>
                <c:pt idx="87">
                  <c:v>0.4250641779492976</c:v>
                </c:pt>
                <c:pt idx="88">
                  <c:v>0.40647403340504057</c:v>
                </c:pt>
                <c:pt idx="89">
                  <c:v>0.3916723193477642</c:v>
                </c:pt>
                <c:pt idx="90">
                  <c:v>0.38774096094876054</c:v>
                </c:pt>
                <c:pt idx="91">
                  <c:v>0.40258481929315276</c:v>
                </c:pt>
                <c:pt idx="92">
                  <c:v>0.4308286384559718</c:v>
                </c:pt>
                <c:pt idx="93">
                  <c:v>0.4480669681847296</c:v>
                </c:pt>
                <c:pt idx="94">
                  <c:v>0.4420456375694318</c:v>
                </c:pt>
                <c:pt idx="95">
                  <c:v>0.4758876245545637</c:v>
                </c:pt>
                <c:pt idx="96">
                  <c:v>0.47749813103959926</c:v>
                </c:pt>
                <c:pt idx="97">
                  <c:v>0.4841663216600325</c:v>
                </c:pt>
                <c:pt idx="98">
                  <c:v>0.4874008234477239</c:v>
                </c:pt>
                <c:pt idx="99">
                  <c:v>0.5202828915313447</c:v>
                </c:pt>
                <c:pt idx="100">
                  <c:v>0.5504566916594673</c:v>
                </c:pt>
                <c:pt idx="101">
                  <c:v>0.5105010221565726</c:v>
                </c:pt>
                <c:pt idx="102">
                  <c:v>0.5039635612357007</c:v>
                </c:pt>
                <c:pt idx="103">
                  <c:v>0.49705447243582074</c:v>
                </c:pt>
                <c:pt idx="104">
                  <c:v>0.5022339733307761</c:v>
                </c:pt>
              </c:numCache>
            </c:numRef>
          </c:xVal>
          <c:yVal>
            <c:numRef>
              <c:f>Sheet1!$B$2:$B$106</c:f>
              <c:numCache>
                <c:formatCode>General</c:formatCode>
                <c:ptCount val="105"/>
                <c:pt idx="0">
                  <c:v>0.1591240875912409</c:v>
                </c:pt>
                <c:pt idx="1">
                  <c:v>0.13671539122957868</c:v>
                </c:pt>
                <c:pt idx="2">
                  <c:v>0.1293166789125643</c:v>
                </c:pt>
                <c:pt idx="3">
                  <c:v>0.13168395849960096</c:v>
                </c:pt>
                <c:pt idx="4">
                  <c:v>0.12727272727272726</c:v>
                </c:pt>
                <c:pt idx="5">
                  <c:v>0.13191489361702127</c:v>
                </c:pt>
                <c:pt idx="6">
                  <c:v>0.1519434628975265</c:v>
                </c:pt>
                <c:pt idx="7">
                  <c:v>0.1690017513134851</c:v>
                </c:pt>
                <c:pt idx="8">
                  <c:v>0.1510673234811166</c:v>
                </c:pt>
                <c:pt idx="9">
                  <c:v>0.1358515573227303</c:v>
                </c:pt>
                <c:pt idx="10">
                  <c:v>0.16375545851528384</c:v>
                </c:pt>
                <c:pt idx="11">
                  <c:v>0.15568862275449102</c:v>
                </c:pt>
                <c:pt idx="12">
                  <c:v>0.14609203798392986</c:v>
                </c:pt>
                <c:pt idx="13">
                  <c:v>0.11908396946564885</c:v>
                </c:pt>
                <c:pt idx="14">
                  <c:v>0.10832025117739404</c:v>
                </c:pt>
                <c:pt idx="15">
                  <c:v>0.09064609450337512</c:v>
                </c:pt>
                <c:pt idx="16">
                  <c:v>0.08820403825717323</c:v>
                </c:pt>
                <c:pt idx="17">
                  <c:v>0.09090909090909091</c:v>
                </c:pt>
                <c:pt idx="18">
                  <c:v>0.07752808988764046</c:v>
                </c:pt>
                <c:pt idx="19">
                  <c:v>0.09389671361502347</c:v>
                </c:pt>
                <c:pt idx="20">
                  <c:v>0.07399347116430903</c:v>
                </c:pt>
                <c:pt idx="21">
                  <c:v>0.0622568093385214</c:v>
                </c:pt>
                <c:pt idx="22">
                  <c:v>0.08792650918635171</c:v>
                </c:pt>
                <c:pt idx="23">
                  <c:v>0.10704225352112676</c:v>
                </c:pt>
                <c:pt idx="24">
                  <c:v>0.10798816568047337</c:v>
                </c:pt>
                <c:pt idx="25">
                  <c:v>0.1070840197693575</c:v>
                </c:pt>
                <c:pt idx="26">
                  <c:v>0.1191806331471136</c:v>
                </c:pt>
                <c:pt idx="27">
                  <c:v>0.1463917525773196</c:v>
                </c:pt>
                <c:pt idx="28">
                  <c:v>0.20412844036697247</c:v>
                </c:pt>
                <c:pt idx="29">
                  <c:v>0.1925343811394892</c:v>
                </c:pt>
                <c:pt idx="30">
                  <c:v>0.18840579710144928</c:v>
                </c:pt>
                <c:pt idx="31">
                  <c:v>0.21707317073170732</c:v>
                </c:pt>
                <c:pt idx="32">
                  <c:v>0.19174757281553398</c:v>
                </c:pt>
                <c:pt idx="33">
                  <c:v>0.1806083650190114</c:v>
                </c:pt>
                <c:pt idx="34">
                  <c:v>0.17744916820702403</c:v>
                </c:pt>
                <c:pt idx="35">
                  <c:v>0.20168067226890757</c:v>
                </c:pt>
                <c:pt idx="36">
                  <c:v>0.1814814814814815</c:v>
                </c:pt>
                <c:pt idx="37">
                  <c:v>0.15985130111524162</c:v>
                </c:pt>
                <c:pt idx="38">
                  <c:v>0.18200836820083682</c:v>
                </c:pt>
                <c:pt idx="39">
                  <c:v>0.15948275862068967</c:v>
                </c:pt>
                <c:pt idx="40">
                  <c:v>0.1436265709156194</c:v>
                </c:pt>
                <c:pt idx="41">
                  <c:v>0.17089678510998307</c:v>
                </c:pt>
                <c:pt idx="42">
                  <c:v>0.16123499142367068</c:v>
                </c:pt>
                <c:pt idx="43">
                  <c:v>0.1495798319327731</c:v>
                </c:pt>
                <c:pt idx="44">
                  <c:v>0.15498652291105122</c:v>
                </c:pt>
                <c:pt idx="45">
                  <c:v>0.16682926829268294</c:v>
                </c:pt>
                <c:pt idx="46">
                  <c:v>0.16433566433566432</c:v>
                </c:pt>
                <c:pt idx="47">
                  <c:v>0.16717325227963525</c:v>
                </c:pt>
                <c:pt idx="48">
                  <c:v>0.15726495726495726</c:v>
                </c:pt>
                <c:pt idx="49">
                  <c:v>0.14330511132016305</c:v>
                </c:pt>
                <c:pt idx="50">
                  <c:v>0.1594014313597918</c:v>
                </c:pt>
                <c:pt idx="51">
                  <c:v>0.13743356112376615</c:v>
                </c:pt>
                <c:pt idx="52">
                  <c:v>0.1417910447761194</c:v>
                </c:pt>
                <c:pt idx="53">
                  <c:v>0.13727272727272727</c:v>
                </c:pt>
                <c:pt idx="54">
                  <c:v>0.1219946571682992</c:v>
                </c:pt>
                <c:pt idx="55">
                  <c:v>0.1143106457242583</c:v>
                </c:pt>
                <c:pt idx="56">
                  <c:v>0.1320754716981132</c:v>
                </c:pt>
                <c:pt idx="57">
                  <c:v>0.12962962962962962</c:v>
                </c:pt>
                <c:pt idx="58">
                  <c:v>0.16265060240963855</c:v>
                </c:pt>
                <c:pt idx="59">
                  <c:v>0.15271265907568654</c:v>
                </c:pt>
                <c:pt idx="60">
                  <c:v>0.1345679012345679</c:v>
                </c:pt>
                <c:pt idx="61">
                  <c:v>0.13431916204559458</c:v>
                </c:pt>
                <c:pt idx="62">
                  <c:v>0.14954954954954955</c:v>
                </c:pt>
                <c:pt idx="63">
                  <c:v>0.14007782101167315</c:v>
                </c:pt>
                <c:pt idx="64">
                  <c:v>0.1427771556550952</c:v>
                </c:pt>
                <c:pt idx="65">
                  <c:v>0.14214463840399003</c:v>
                </c:pt>
                <c:pt idx="66">
                  <c:v>0.15009874917709018</c:v>
                </c:pt>
                <c:pt idx="67">
                  <c:v>0.1583198707592892</c:v>
                </c:pt>
                <c:pt idx="68">
                  <c:v>0.13005780346820808</c:v>
                </c:pt>
                <c:pt idx="69">
                  <c:v>0.1240234375</c:v>
                </c:pt>
                <c:pt idx="70">
                  <c:v>0.11928429423459244</c:v>
                </c:pt>
                <c:pt idx="71">
                  <c:v>0.1045673076923077</c:v>
                </c:pt>
                <c:pt idx="72">
                  <c:v>0.10276243093922652</c:v>
                </c:pt>
                <c:pt idx="73">
                  <c:v>0.11889035667107001</c:v>
                </c:pt>
                <c:pt idx="74">
                  <c:v>0.13032258064516128</c:v>
                </c:pt>
                <c:pt idx="75">
                  <c:v>0.1426448736998514</c:v>
                </c:pt>
                <c:pt idx="76">
                  <c:v>0.15542521994134897</c:v>
                </c:pt>
                <c:pt idx="77">
                  <c:v>0.11589403973509933</c:v>
                </c:pt>
                <c:pt idx="78">
                  <c:v>0.15236427320490367</c:v>
                </c:pt>
                <c:pt idx="79">
                  <c:v>0.1303030303030303</c:v>
                </c:pt>
                <c:pt idx="80">
                  <c:v>0.12244897959183673</c:v>
                </c:pt>
                <c:pt idx="81">
                  <c:v>0.14574314574314573</c:v>
                </c:pt>
                <c:pt idx="82">
                  <c:v>0.16342412451361868</c:v>
                </c:pt>
                <c:pt idx="83">
                  <c:v>0.14315352697095435</c:v>
                </c:pt>
                <c:pt idx="84">
                  <c:v>0.1488469601677149</c:v>
                </c:pt>
                <c:pt idx="85">
                  <c:v>0.14337568058076225</c:v>
                </c:pt>
                <c:pt idx="86">
                  <c:v>0.17326732673267325</c:v>
                </c:pt>
                <c:pt idx="87">
                  <c:v>0.19844961240310077</c:v>
                </c:pt>
                <c:pt idx="88">
                  <c:v>0.16569200779727095</c:v>
                </c:pt>
                <c:pt idx="89">
                  <c:v>0.21669980119284293</c:v>
                </c:pt>
                <c:pt idx="90">
                  <c:v>0.17536534446764093</c:v>
                </c:pt>
                <c:pt idx="91">
                  <c:v>0.1822125813449024</c:v>
                </c:pt>
                <c:pt idx="92">
                  <c:v>0.19022687609075042</c:v>
                </c:pt>
                <c:pt idx="93">
                  <c:v>0.188212927756654</c:v>
                </c:pt>
                <c:pt idx="94">
                  <c:v>0.1796875</c:v>
                </c:pt>
                <c:pt idx="95">
                  <c:v>0.19213973799126638</c:v>
                </c:pt>
                <c:pt idx="96">
                  <c:v>0.17969661610268378</c:v>
                </c:pt>
                <c:pt idx="97">
                  <c:v>0.19666666666666666</c:v>
                </c:pt>
                <c:pt idx="98">
                  <c:v>0.18989547038327526</c:v>
                </c:pt>
                <c:pt idx="99">
                  <c:v>0.18352059925093633</c:v>
                </c:pt>
                <c:pt idx="100">
                  <c:v>0.1936834094368341</c:v>
                </c:pt>
                <c:pt idx="101">
                  <c:v>0.17377567140600317</c:v>
                </c:pt>
                <c:pt idx="102">
                  <c:v>0.14613180515759314</c:v>
                </c:pt>
                <c:pt idx="103">
                  <c:v>0.15333333333333332</c:v>
                </c:pt>
                <c:pt idx="104">
                  <c:v>0.15171137835337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035109788123897</c:v>
                </c:pt>
                <c:pt idx="1">
                  <c:v>0.48463145077138214</c:v>
                </c:pt>
                <c:pt idx="2">
                  <c:v>0.4861926803379763</c:v>
                </c:pt>
                <c:pt idx="3">
                  <c:v>0.40843187928194963</c:v>
                </c:pt>
                <c:pt idx="4">
                  <c:v>0.45993816589049824</c:v>
                </c:pt>
                <c:pt idx="5">
                  <c:v>0.5012056418193489</c:v>
                </c:pt>
                <c:pt idx="6">
                  <c:v>0.5179250073505671</c:v>
                </c:pt>
                <c:pt idx="7">
                  <c:v>0.4911532732762132</c:v>
                </c:pt>
                <c:pt idx="8">
                  <c:v>0.51819567689612</c:v>
                </c:pt>
                <c:pt idx="9">
                  <c:v>0.5325501247515351</c:v>
                </c:pt>
                <c:pt idx="10">
                  <c:v>0.5390355279221635</c:v>
                </c:pt>
                <c:pt idx="11">
                  <c:v>0.5211521464289404</c:v>
                </c:pt>
                <c:pt idx="12">
                  <c:v>0.5055733344049979</c:v>
                </c:pt>
                <c:pt idx="13">
                  <c:v>0.5099669958588402</c:v>
                </c:pt>
                <c:pt idx="14">
                  <c:v>0.5046785259682371</c:v>
                </c:pt>
                <c:pt idx="15">
                  <c:v>0.46684803263770613</c:v>
                </c:pt>
                <c:pt idx="16">
                  <c:v>0.4672228463552445</c:v>
                </c:pt>
                <c:pt idx="17">
                  <c:v>0.3879071773337875</c:v>
                </c:pt>
                <c:pt idx="18">
                  <c:v>0.4319019521013517</c:v>
                </c:pt>
                <c:pt idx="19">
                  <c:v>0.4577162282461797</c:v>
                </c:pt>
                <c:pt idx="20">
                  <c:v>0.44913899513830036</c:v>
                </c:pt>
                <c:pt idx="21">
                  <c:v>0.45086444932597564</c:v>
                </c:pt>
                <c:pt idx="22">
                  <c:v>0.46965295717702</c:v>
                </c:pt>
                <c:pt idx="23">
                  <c:v>0.449992971117768</c:v>
                </c:pt>
                <c:pt idx="24">
                  <c:v>0.43582769703109625</c:v>
                </c:pt>
                <c:pt idx="25">
                  <c:v>0.43569766826003764</c:v>
                </c:pt>
                <c:pt idx="26">
                  <c:v>0.4178783235664034</c:v>
                </c:pt>
                <c:pt idx="27">
                  <c:v>0.44135525420980776</c:v>
                </c:pt>
                <c:pt idx="28">
                  <c:v>0.45114948161784607</c:v>
                </c:pt>
                <c:pt idx="29">
                  <c:v>0.441237381112823</c:v>
                </c:pt>
                <c:pt idx="30">
                  <c:v>0.43057860227952105</c:v>
                </c:pt>
                <c:pt idx="31">
                  <c:v>0.4160943010984901</c:v>
                </c:pt>
                <c:pt idx="32">
                  <c:v>0.41984333133791607</c:v>
                </c:pt>
                <c:pt idx="33">
                  <c:v>0.4408571478216549</c:v>
                </c:pt>
                <c:pt idx="34">
                  <c:v>0.4534053102406354</c:v>
                </c:pt>
                <c:pt idx="35">
                  <c:v>0.46840641307782227</c:v>
                </c:pt>
                <c:pt idx="36">
                  <c:v>0.42086645839224424</c:v>
                </c:pt>
                <c:pt idx="37">
                  <c:v>0.4043637426766891</c:v>
                </c:pt>
                <c:pt idx="38">
                  <c:v>0.4397800513346858</c:v>
                </c:pt>
                <c:pt idx="39">
                  <c:v>0.442451033720256</c:v>
                </c:pt>
                <c:pt idx="40">
                  <c:v>0.49241913118843217</c:v>
                </c:pt>
                <c:pt idx="41">
                  <c:v>0.4950529837667197</c:v>
                </c:pt>
                <c:pt idx="42">
                  <c:v>0.4724278835493111</c:v>
                </c:pt>
                <c:pt idx="43">
                  <c:v>0.5300446508975442</c:v>
                </c:pt>
                <c:pt idx="44">
                  <c:v>0.5340672635838504</c:v>
                </c:pt>
                <c:pt idx="45">
                  <c:v>0.5442303596917178</c:v>
                </c:pt>
                <c:pt idx="46">
                  <c:v>0.5081716273328681</c:v>
                </c:pt>
                <c:pt idx="47">
                  <c:v>0.5545833545174997</c:v>
                </c:pt>
                <c:pt idx="48">
                  <c:v>0.5226182900924591</c:v>
                </c:pt>
                <c:pt idx="49">
                  <c:v>0.6214335829534283</c:v>
                </c:pt>
                <c:pt idx="50">
                  <c:v>0.6702488171344492</c:v>
                </c:pt>
                <c:pt idx="51">
                  <c:v>0.5722436880895537</c:v>
                </c:pt>
              </c:numCache>
            </c:numRef>
          </c:xVal>
          <c:yVal>
            <c:numRef>
              <c:f>Sheet1!$B$109:$B$160</c:f>
              <c:numCache>
                <c:formatCode>General</c:formatCode>
                <c:ptCount val="52"/>
                <c:pt idx="0">
                  <c:v>0.16100957354221063</c:v>
                </c:pt>
                <c:pt idx="1">
                  <c:v>0.14666666666666667</c:v>
                </c:pt>
                <c:pt idx="2">
                  <c:v>0.18227009113504558</c:v>
                </c:pt>
                <c:pt idx="3">
                  <c:v>0.21612635078969245</c:v>
                </c:pt>
                <c:pt idx="4">
                  <c:v>0.1671664167916042</c:v>
                </c:pt>
                <c:pt idx="5">
                  <c:v>0.16491511721907842</c:v>
                </c:pt>
                <c:pt idx="6">
                  <c:v>0.16037110669317428</c:v>
                </c:pt>
                <c:pt idx="7">
                  <c:v>0.171875</c:v>
                </c:pt>
                <c:pt idx="8">
                  <c:v>0.15365396627108058</c:v>
                </c:pt>
                <c:pt idx="9">
                  <c:v>0.16511085180863477</c:v>
                </c:pt>
                <c:pt idx="10">
                  <c:v>0.16239850093691444</c:v>
                </c:pt>
                <c:pt idx="11">
                  <c:v>0.15636363636363637</c:v>
                </c:pt>
                <c:pt idx="12">
                  <c:v>0.1578034682080925</c:v>
                </c:pt>
                <c:pt idx="13">
                  <c:v>0.14878671775223498</c:v>
                </c:pt>
                <c:pt idx="14">
                  <c:v>0.1562734785875282</c:v>
                </c:pt>
                <c:pt idx="15">
                  <c:v>0.1497907949790795</c:v>
                </c:pt>
                <c:pt idx="16">
                  <c:v>0.15735567970204842</c:v>
                </c:pt>
                <c:pt idx="17">
                  <c:v>0.18769230769230769</c:v>
                </c:pt>
                <c:pt idx="18">
                  <c:v>0.15970772442588727</c:v>
                </c:pt>
                <c:pt idx="19">
                  <c:v>0.15151515151515152</c:v>
                </c:pt>
                <c:pt idx="20">
                  <c:v>0.15248796147672553</c:v>
                </c:pt>
                <c:pt idx="21">
                  <c:v>0.13601236476043277</c:v>
                </c:pt>
                <c:pt idx="22">
                  <c:v>0.14223512336719885</c:v>
                </c:pt>
                <c:pt idx="23">
                  <c:v>0.17889908256880735</c:v>
                </c:pt>
                <c:pt idx="24">
                  <c:v>0.1424287856071964</c:v>
                </c:pt>
                <c:pt idx="25">
                  <c:v>0.15830721003134796</c:v>
                </c:pt>
                <c:pt idx="26">
                  <c:v>0.17833333333333334</c:v>
                </c:pt>
                <c:pt idx="27">
                  <c:v>0.17723880597014927</c:v>
                </c:pt>
                <c:pt idx="28">
                  <c:v>0.14990859232175502</c:v>
                </c:pt>
                <c:pt idx="29">
                  <c:v>0.1419624217118998</c:v>
                </c:pt>
                <c:pt idx="30">
                  <c:v>0.1613588110403397</c:v>
                </c:pt>
                <c:pt idx="31">
                  <c:v>0.16397228637413394</c:v>
                </c:pt>
                <c:pt idx="32">
                  <c:v>0.14315352697095435</c:v>
                </c:pt>
                <c:pt idx="33">
                  <c:v>0.17434210526315788</c:v>
                </c:pt>
                <c:pt idx="34">
                  <c:v>0.20948012232415902</c:v>
                </c:pt>
                <c:pt idx="35">
                  <c:v>0.1761744966442953</c:v>
                </c:pt>
                <c:pt idx="36">
                  <c:v>0.18789144050104384</c:v>
                </c:pt>
                <c:pt idx="37">
                  <c:v>0.17272727272727273</c:v>
                </c:pt>
                <c:pt idx="38">
                  <c:v>0.15982721382289417</c:v>
                </c:pt>
                <c:pt idx="39">
                  <c:v>0.1746641074856046</c:v>
                </c:pt>
                <c:pt idx="40">
                  <c:v>0.16695059625212946</c:v>
                </c:pt>
                <c:pt idx="41">
                  <c:v>0.17594254937163376</c:v>
                </c:pt>
                <c:pt idx="42">
                  <c:v>0.15634218289085547</c:v>
                </c:pt>
                <c:pt idx="43">
                  <c:v>0.13857677902621723</c:v>
                </c:pt>
                <c:pt idx="44">
                  <c:v>0.1588785046728972</c:v>
                </c:pt>
                <c:pt idx="45">
                  <c:v>0.1768018018018018</c:v>
                </c:pt>
                <c:pt idx="46">
                  <c:v>0.18839200761179828</c:v>
                </c:pt>
                <c:pt idx="47">
                  <c:v>0.17909090909090908</c:v>
                </c:pt>
                <c:pt idx="48">
                  <c:v>0.1847922192749779</c:v>
                </c:pt>
                <c:pt idx="49">
                  <c:v>0.16822429906542055</c:v>
                </c:pt>
                <c:pt idx="50">
                  <c:v>0.15536187949981053</c:v>
                </c:pt>
                <c:pt idx="51">
                  <c:v>0.172185430463576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014370742382136</c:v>
                </c:pt>
              </c:numCache>
            </c:numRef>
          </c:xVal>
          <c:yVal>
            <c:numRef>
              <c:f>Sheet1!$B$163:$B$164</c:f>
              <c:numCache>
                <c:formatCode>General</c:formatCode>
                <c:ptCount val="2"/>
                <c:pt idx="0">
                  <c:v>0.18720765680628645</c:v>
                </c:pt>
                <c:pt idx="1">
                  <c:v>0.1872076568062864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014370742382136</c:v>
                </c:pt>
                <c:pt idx="1">
                  <c:v>-0.13014370742382136</c:v>
                </c:pt>
              </c:numCache>
            </c:numRef>
          </c:xVal>
          <c:yVal>
            <c:numRef>
              <c:f>Sheet1!$B$167:$B$168</c:f>
              <c:numCache>
                <c:formatCode>General</c:formatCode>
                <c:ptCount val="2"/>
                <c:pt idx="0">
                  <c:v>0.187207656806286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825182446165925</c:v>
                </c:pt>
              </c:numCache>
            </c:numRef>
          </c:xVal>
          <c:yVal>
            <c:numRef>
              <c:f>Sheet1!$B$171:$B$172</c:f>
              <c:numCache>
                <c:formatCode>General</c:formatCode>
                <c:ptCount val="2"/>
                <c:pt idx="0">
                  <c:v>0.17017383553071944</c:v>
                </c:pt>
                <c:pt idx="1">
                  <c:v>0.1701738355307194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825182446165925</c:v>
                </c:pt>
                <c:pt idx="1">
                  <c:v>0.33825182446165925</c:v>
                </c:pt>
              </c:numCache>
            </c:numRef>
          </c:xVal>
          <c:yVal>
            <c:numRef>
              <c:f>Sheet1!$B$175:$B$176</c:f>
              <c:numCache>
                <c:formatCode>General</c:formatCode>
                <c:ptCount val="2"/>
                <c:pt idx="0">
                  <c:v>0.1701738355307194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7221519387607127</c:v>
                </c:pt>
              </c:numCache>
            </c:numRef>
          </c:xVal>
          <c:yVal>
            <c:numRef>
              <c:f>Sheet1!$B$179:$B$180</c:f>
              <c:numCache>
                <c:formatCode>General</c:formatCode>
                <c:ptCount val="2"/>
                <c:pt idx="0">
                  <c:v>0.16893871280827938</c:v>
                </c:pt>
                <c:pt idx="1">
                  <c:v>0.168938712808279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7221519387607127</c:v>
                </c:pt>
                <c:pt idx="1">
                  <c:v>0.37221519387607127</c:v>
                </c:pt>
              </c:numCache>
            </c:numRef>
          </c:xVal>
          <c:yVal>
            <c:numRef>
              <c:f>Sheet1!$B$183:$B$184</c:f>
              <c:numCache>
                <c:formatCode>General</c:formatCode>
                <c:ptCount val="2"/>
                <c:pt idx="0">
                  <c:v>0.168938712808279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035109788123897</c:v>
                </c:pt>
                <c:pt idx="1">
                  <c:v>0.48463145077138214</c:v>
                </c:pt>
                <c:pt idx="2">
                  <c:v>0.4861926803379763</c:v>
                </c:pt>
                <c:pt idx="3">
                  <c:v>0.40843187928194963</c:v>
                </c:pt>
                <c:pt idx="4">
                  <c:v>0.45993816589049824</c:v>
                </c:pt>
                <c:pt idx="5">
                  <c:v>0.5012056418193489</c:v>
                </c:pt>
                <c:pt idx="6">
                  <c:v>0.5179250073505671</c:v>
                </c:pt>
                <c:pt idx="7">
                  <c:v>0.4911532732762132</c:v>
                </c:pt>
                <c:pt idx="8">
                  <c:v>0.51819567689612</c:v>
                </c:pt>
                <c:pt idx="9">
                  <c:v>0.5325501247515351</c:v>
                </c:pt>
                <c:pt idx="10">
                  <c:v>0.5390355279221635</c:v>
                </c:pt>
                <c:pt idx="11">
                  <c:v>0.5211521464289404</c:v>
                </c:pt>
                <c:pt idx="12">
                  <c:v>0.5055733344049979</c:v>
                </c:pt>
                <c:pt idx="13">
                  <c:v>0.5099669958588402</c:v>
                </c:pt>
                <c:pt idx="14">
                  <c:v>0.5046785259682371</c:v>
                </c:pt>
                <c:pt idx="15">
                  <c:v>0.46684803263770613</c:v>
                </c:pt>
                <c:pt idx="16">
                  <c:v>0.4672228463552445</c:v>
                </c:pt>
                <c:pt idx="17">
                  <c:v>0.3879071773337875</c:v>
                </c:pt>
                <c:pt idx="18">
                  <c:v>0.4319019521013517</c:v>
                </c:pt>
                <c:pt idx="19">
                  <c:v>0.4577162282461797</c:v>
                </c:pt>
                <c:pt idx="20">
                  <c:v>0.44913899513830036</c:v>
                </c:pt>
                <c:pt idx="21">
                  <c:v>0.45086444932597564</c:v>
                </c:pt>
                <c:pt idx="22">
                  <c:v>0.46965295717702</c:v>
                </c:pt>
                <c:pt idx="23">
                  <c:v>0.449992971117768</c:v>
                </c:pt>
                <c:pt idx="24">
                  <c:v>0.43582769703109625</c:v>
                </c:pt>
                <c:pt idx="25">
                  <c:v>0.43569766826003764</c:v>
                </c:pt>
                <c:pt idx="26">
                  <c:v>0.4178783235664034</c:v>
                </c:pt>
                <c:pt idx="27">
                  <c:v>0.44135525420980776</c:v>
                </c:pt>
                <c:pt idx="28">
                  <c:v>0.45114948161784607</c:v>
                </c:pt>
                <c:pt idx="29">
                  <c:v>0.441237381112823</c:v>
                </c:pt>
                <c:pt idx="30">
                  <c:v>0.43057860227952105</c:v>
                </c:pt>
                <c:pt idx="31">
                  <c:v>0.4160943010984901</c:v>
                </c:pt>
                <c:pt idx="32">
                  <c:v>0.41984333133791607</c:v>
                </c:pt>
                <c:pt idx="33">
                  <c:v>0.4408571478216549</c:v>
                </c:pt>
                <c:pt idx="34">
                  <c:v>0.4534053102406354</c:v>
                </c:pt>
                <c:pt idx="35">
                  <c:v>0.46840641307782227</c:v>
                </c:pt>
                <c:pt idx="36">
                  <c:v>0.42086645839224424</c:v>
                </c:pt>
                <c:pt idx="37">
                  <c:v>0.4043637426766891</c:v>
                </c:pt>
                <c:pt idx="38">
                  <c:v>0.4397800513346858</c:v>
                </c:pt>
                <c:pt idx="39">
                  <c:v>0.442451033720256</c:v>
                </c:pt>
                <c:pt idx="40">
                  <c:v>0.49241913118843217</c:v>
                </c:pt>
                <c:pt idx="41">
                  <c:v>0.4950529837667197</c:v>
                </c:pt>
                <c:pt idx="42">
                  <c:v>0.4724278835493111</c:v>
                </c:pt>
                <c:pt idx="43">
                  <c:v>0.5300446508975442</c:v>
                </c:pt>
                <c:pt idx="44">
                  <c:v>0.5340672635838504</c:v>
                </c:pt>
                <c:pt idx="45">
                  <c:v>0.5442303596917178</c:v>
                </c:pt>
                <c:pt idx="46">
                  <c:v>0.5081716273328681</c:v>
                </c:pt>
                <c:pt idx="47">
                  <c:v>0.5545833545174997</c:v>
                </c:pt>
                <c:pt idx="48">
                  <c:v>0.5226182900924591</c:v>
                </c:pt>
                <c:pt idx="49">
                  <c:v>0.6214335829534283</c:v>
                </c:pt>
                <c:pt idx="50">
                  <c:v>0.6702488171344492</c:v>
                </c:pt>
                <c:pt idx="51">
                  <c:v>0.5722436880895537</c:v>
                </c:pt>
                <c:pt idx="52">
                  <c:v>0.33825182446165925</c:v>
                </c:pt>
                <c:pt idx="53">
                  <c:v>-0.13014370742382136</c:v>
                </c:pt>
                <c:pt idx="54">
                  <c:v>0.37221519387607127</c:v>
                </c:pt>
              </c:numCache>
            </c:numRef>
          </c:xVal>
          <c:yVal>
            <c:numRef>
              <c:f>Sheet1!$B$187:$B$241</c:f>
              <c:numCache>
                <c:formatCode>General</c:formatCode>
                <c:ptCount val="55"/>
                <c:pt idx="0">
                  <c:v>0.16416396842539033</c:v>
                </c:pt>
                <c:pt idx="1">
                  <c:v>0.16485054736247592</c:v>
                </c:pt>
                <c:pt idx="2">
                  <c:v>0.16479377119020877</c:v>
                </c:pt>
                <c:pt idx="3">
                  <c:v>0.1676216452779512</c:v>
                </c:pt>
                <c:pt idx="4">
                  <c:v>0.1657485512347043</c:v>
                </c:pt>
                <c:pt idx="5">
                  <c:v>0.1642478050456103</c:v>
                </c:pt>
                <c:pt idx="6">
                  <c:v>0.16363978326719314</c:v>
                </c:pt>
                <c:pt idx="7">
                  <c:v>0.16461337268557183</c:v>
                </c:pt>
                <c:pt idx="8">
                  <c:v>0.16362994001218786</c:v>
                </c:pt>
                <c:pt idx="9">
                  <c:v>0.16310792158409926</c:v>
                </c:pt>
                <c:pt idx="10">
                  <c:v>0.16287207134431625</c:v>
                </c:pt>
                <c:pt idx="11">
                  <c:v>0.16352242409839168</c:v>
                </c:pt>
                <c:pt idx="12">
                  <c:v>0.16408896814426094</c:v>
                </c:pt>
                <c:pt idx="13">
                  <c:v>0.16392918685076988</c:v>
                </c:pt>
                <c:pt idx="14">
                  <c:v>0.1641215090332107</c:v>
                </c:pt>
                <c:pt idx="15">
                  <c:v>0.1654972648171415</c:v>
                </c:pt>
                <c:pt idx="16">
                  <c:v>0.16548363422196807</c:v>
                </c:pt>
                <c:pt idx="17">
                  <c:v>0.16836805313396114</c:v>
                </c:pt>
                <c:pt idx="18">
                  <c:v>0.16676812512561126</c:v>
                </c:pt>
                <c:pt idx="19">
                  <c:v>0.16582935492761408</c:v>
                </c:pt>
                <c:pt idx="20">
                  <c:v>0.16614127732194256</c:v>
                </c:pt>
                <c:pt idx="21">
                  <c:v>0.16607852890473687</c:v>
                </c:pt>
                <c:pt idx="22">
                  <c:v>0.1653952600369042</c:v>
                </c:pt>
                <c:pt idx="23">
                  <c:v>0.16611022135915549</c:v>
                </c:pt>
                <c:pt idx="24">
                  <c:v>0.1666253602336458</c:v>
                </c:pt>
                <c:pt idx="25">
                  <c:v>0.166630088901398</c:v>
                </c:pt>
                <c:pt idx="26">
                  <c:v>0.16727811287279937</c:v>
                </c:pt>
                <c:pt idx="27">
                  <c:v>0.16642434332664494</c:v>
                </c:pt>
                <c:pt idx="28">
                  <c:v>0.16606816332951896</c:v>
                </c:pt>
                <c:pt idx="29">
                  <c:v>0.16642862993727753</c:v>
                </c:pt>
                <c:pt idx="30">
                  <c:v>0.1668162504872247</c:v>
                </c:pt>
                <c:pt idx="31">
                  <c:v>0.16734299120276058</c:v>
                </c:pt>
                <c:pt idx="32">
                  <c:v>0.16720665277357444</c:v>
                </c:pt>
                <c:pt idx="33">
                  <c:v>0.1664424576223938</c:v>
                </c:pt>
                <c:pt idx="34">
                  <c:v>0.16598612714647892</c:v>
                </c:pt>
                <c:pt idx="35">
                  <c:v>0.16544059225711638</c:v>
                </c:pt>
                <c:pt idx="36">
                  <c:v>0.1671694454088597</c:v>
                </c:pt>
                <c:pt idx="37">
                  <c:v>0.16776958843099463</c:v>
                </c:pt>
                <c:pt idx="38">
                  <c:v>0.16648162765670585</c:v>
                </c:pt>
                <c:pt idx="39">
                  <c:v>0.16638449385954335</c:v>
                </c:pt>
                <c:pt idx="40">
                  <c:v>0.16456733809307644</c:v>
                </c:pt>
                <c:pt idx="41">
                  <c:v>0.1644715545703256</c:v>
                </c:pt>
                <c:pt idx="42">
                  <c:v>0.1652943461795747</c:v>
                </c:pt>
                <c:pt idx="43">
                  <c:v>0.16319903644522463</c:v>
                </c:pt>
                <c:pt idx="44">
                  <c:v>0.16305274882953463</c:v>
                </c:pt>
                <c:pt idx="45">
                  <c:v>0.16268315443564502</c:v>
                </c:pt>
                <c:pt idx="46">
                  <c:v>0.16399447779509652</c:v>
                </c:pt>
                <c:pt idx="47">
                  <c:v>0.16230665412442435</c:v>
                </c:pt>
                <c:pt idx="48">
                  <c:v>0.16346910585039695</c:v>
                </c:pt>
                <c:pt idx="49">
                  <c:v>0.15987555739977233</c:v>
                </c:pt>
                <c:pt idx="50">
                  <c:v>0.15810032702723378</c:v>
                </c:pt>
                <c:pt idx="51">
                  <c:v>0.1616644128021762</c:v>
                </c:pt>
                <c:pt idx="52">
                  <c:v>0.17017383553071944</c:v>
                </c:pt>
                <c:pt idx="53">
                  <c:v>0.18720765680628645</c:v>
                </c:pt>
                <c:pt idx="54">
                  <c:v>0.168938712808279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04878048780488"/>
          <c:min val="0.0498054474708171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27.9174</c:v>
                </c:pt>
                <c:pt idx="1">
                  <c:v>798.9623</c:v>
                </c:pt>
                <c:pt idx="2">
                  <c:v>887.2841</c:v>
                </c:pt>
                <c:pt idx="3">
                  <c:v>887.6242</c:v>
                </c:pt>
                <c:pt idx="4">
                  <c:v>899.35</c:v>
                </c:pt>
                <c:pt idx="5">
                  <c:v>905.0194</c:v>
                </c:pt>
                <c:pt idx="6">
                  <c:v>881.0465</c:v>
                </c:pt>
                <c:pt idx="7">
                  <c:v>886.9896</c:v>
                </c:pt>
                <c:pt idx="8">
                  <c:v>874.6793</c:v>
                </c:pt>
                <c:pt idx="9">
                  <c:v>872.1268</c:v>
                </c:pt>
                <c:pt idx="10">
                  <c:v>853.3467</c:v>
                </c:pt>
                <c:pt idx="11">
                  <c:v>877.7115</c:v>
                </c:pt>
                <c:pt idx="12">
                  <c:v>894.605</c:v>
                </c:pt>
                <c:pt idx="13">
                  <c:v>902.3333</c:v>
                </c:pt>
                <c:pt idx="14">
                  <c:v>898.587</c:v>
                </c:pt>
                <c:pt idx="15">
                  <c:v>911.1702</c:v>
                </c:pt>
                <c:pt idx="16">
                  <c:v>904.3494</c:v>
                </c:pt>
                <c:pt idx="17">
                  <c:v>912.6049</c:v>
                </c:pt>
                <c:pt idx="18">
                  <c:v>906.8986</c:v>
                </c:pt>
                <c:pt idx="19">
                  <c:v>950.7</c:v>
                </c:pt>
                <c:pt idx="20">
                  <c:v>986.5147</c:v>
                </c:pt>
                <c:pt idx="21">
                  <c:v>1015.8125</c:v>
                </c:pt>
                <c:pt idx="22">
                  <c:v>1010.9403</c:v>
                </c:pt>
                <c:pt idx="23">
                  <c:v>977.9737</c:v>
                </c:pt>
                <c:pt idx="24">
                  <c:v>1007.1644</c:v>
                </c:pt>
                <c:pt idx="25">
                  <c:v>973.4615</c:v>
                </c:pt>
                <c:pt idx="26">
                  <c:v>990.5156</c:v>
                </c:pt>
                <c:pt idx="27">
                  <c:v>1001.5775</c:v>
                </c:pt>
                <c:pt idx="28">
                  <c:v>1011.1236</c:v>
                </c:pt>
                <c:pt idx="29">
                  <c:v>941.5816</c:v>
                </c:pt>
                <c:pt idx="30">
                  <c:v>967.9872</c:v>
                </c:pt>
                <c:pt idx="31">
                  <c:v>966.0562</c:v>
                </c:pt>
                <c:pt idx="32">
                  <c:v>962.2532</c:v>
                </c:pt>
                <c:pt idx="33">
                  <c:v>911.3474</c:v>
                </c:pt>
                <c:pt idx="34">
                  <c:v>915.3646</c:v>
                </c:pt>
                <c:pt idx="35">
                  <c:v>993.7833</c:v>
                </c:pt>
                <c:pt idx="36">
                  <c:v>1081.7959</c:v>
                </c:pt>
                <c:pt idx="37">
                  <c:v>1120.7674</c:v>
                </c:pt>
                <c:pt idx="38">
                  <c:v>1105.3908</c:v>
                </c:pt>
                <c:pt idx="39">
                  <c:v>1131.4189</c:v>
                </c:pt>
                <c:pt idx="40">
                  <c:v>1143.4125</c:v>
                </c:pt>
                <c:pt idx="41">
                  <c:v>1137.5644</c:v>
                </c:pt>
                <c:pt idx="42">
                  <c:v>1131.9255</c:v>
                </c:pt>
                <c:pt idx="43">
                  <c:v>1151.0112</c:v>
                </c:pt>
                <c:pt idx="44">
                  <c:v>1096.5043</c:v>
                </c:pt>
                <c:pt idx="45">
                  <c:v>1068.3509</c:v>
                </c:pt>
                <c:pt idx="46">
                  <c:v>1066.1362</c:v>
                </c:pt>
                <c:pt idx="47">
                  <c:v>1055.3864</c:v>
                </c:pt>
                <c:pt idx="48">
                  <c:v>1052.7899</c:v>
                </c:pt>
                <c:pt idx="49">
                  <c:v>1011.9212</c:v>
                </c:pt>
                <c:pt idx="50">
                  <c:v>978.3224</c:v>
                </c:pt>
                <c:pt idx="51">
                  <c:v>1019.5138</c:v>
                </c:pt>
                <c:pt idx="52">
                  <c:v>1008.5167</c:v>
                </c:pt>
                <c:pt idx="53">
                  <c:v>1087.9934</c:v>
                </c:pt>
                <c:pt idx="54">
                  <c:v>1084.1533</c:v>
                </c:pt>
                <c:pt idx="55">
                  <c:v>1063.7328</c:v>
                </c:pt>
                <c:pt idx="56">
                  <c:v>1089.1429</c:v>
                </c:pt>
                <c:pt idx="57">
                  <c:v>1082.4783</c:v>
                </c:pt>
                <c:pt idx="58">
                  <c:v>1028.4233</c:v>
                </c:pt>
                <c:pt idx="59">
                  <c:v>1046.25</c:v>
                </c:pt>
                <c:pt idx="60">
                  <c:v>1054.4128</c:v>
                </c:pt>
                <c:pt idx="61">
                  <c:v>1061.9587</c:v>
                </c:pt>
                <c:pt idx="62">
                  <c:v>1037.8474</c:v>
                </c:pt>
                <c:pt idx="63">
                  <c:v>1048.5357</c:v>
                </c:pt>
                <c:pt idx="64">
                  <c:v>1035.9373</c:v>
                </c:pt>
                <c:pt idx="65">
                  <c:v>999.2368</c:v>
                </c:pt>
                <c:pt idx="66">
                  <c:v>995.6009</c:v>
                </c:pt>
                <c:pt idx="67">
                  <c:v>999.75</c:v>
                </c:pt>
                <c:pt idx="68">
                  <c:v>1014.3407</c:v>
                </c:pt>
                <c:pt idx="69">
                  <c:v>1033.8583</c:v>
                </c:pt>
                <c:pt idx="70">
                  <c:v>1097.5667</c:v>
                </c:pt>
                <c:pt idx="71">
                  <c:v>1140.6092</c:v>
                </c:pt>
                <c:pt idx="72">
                  <c:v>1242.5699</c:v>
                </c:pt>
                <c:pt idx="73">
                  <c:v>1230.8889</c:v>
                </c:pt>
                <c:pt idx="74">
                  <c:v>1184.1485</c:v>
                </c:pt>
                <c:pt idx="75">
                  <c:v>1180.0833</c:v>
                </c:pt>
                <c:pt idx="76">
                  <c:v>1159.717</c:v>
                </c:pt>
                <c:pt idx="77">
                  <c:v>1169.0857</c:v>
                </c:pt>
                <c:pt idx="78">
                  <c:v>1163.7586</c:v>
                </c:pt>
                <c:pt idx="79">
                  <c:v>1207.5581</c:v>
                </c:pt>
                <c:pt idx="80">
                  <c:v>1205.625</c:v>
                </c:pt>
                <c:pt idx="81">
                  <c:v>1185.7723</c:v>
                </c:pt>
                <c:pt idx="82">
                  <c:v>1158.6071</c:v>
                </c:pt>
                <c:pt idx="83">
                  <c:v>1202.5652</c:v>
                </c:pt>
                <c:pt idx="84">
                  <c:v>1166.0282</c:v>
                </c:pt>
                <c:pt idx="85">
                  <c:v>1150.4304</c:v>
                </c:pt>
                <c:pt idx="86">
                  <c:v>1099.4667</c:v>
                </c:pt>
                <c:pt idx="87">
                  <c:v>1092.7969</c:v>
                </c:pt>
                <c:pt idx="88">
                  <c:v>1113.6</c:v>
                </c:pt>
                <c:pt idx="89">
                  <c:v>1149.2844</c:v>
                </c:pt>
                <c:pt idx="90">
                  <c:v>1231.9167</c:v>
                </c:pt>
                <c:pt idx="91">
                  <c:v>1196.5595</c:v>
                </c:pt>
                <c:pt idx="92">
                  <c:v>1193.7798</c:v>
                </c:pt>
                <c:pt idx="93">
                  <c:v>1198.6869</c:v>
                </c:pt>
                <c:pt idx="94">
                  <c:v>1230.9457</c:v>
                </c:pt>
                <c:pt idx="95">
                  <c:v>1210.9091</c:v>
                </c:pt>
                <c:pt idx="96">
                  <c:v>1175.6948</c:v>
                </c:pt>
                <c:pt idx="97">
                  <c:v>1138.5876</c:v>
                </c:pt>
                <c:pt idx="98">
                  <c:v>1083.6789</c:v>
                </c:pt>
                <c:pt idx="99">
                  <c:v>1072.7381</c:v>
                </c:pt>
                <c:pt idx="100">
                  <c:v>1054.9568</c:v>
                </c:pt>
                <c:pt idx="101">
                  <c:v>1115.5136</c:v>
                </c:pt>
                <c:pt idx="102">
                  <c:v>1126.9804</c:v>
                </c:pt>
                <c:pt idx="103">
                  <c:v>1079.4022</c:v>
                </c:pt>
                <c:pt idx="104">
                  <c:v>1137.5488</c:v>
                </c:pt>
              </c:numCache>
            </c:numRef>
          </c:xVal>
          <c:yVal>
            <c:numRef>
              <c:f>Sheet1!$B$2:$B$106</c:f>
              <c:numCache>
                <c:formatCode>General</c:formatCode>
                <c:ptCount val="105"/>
                <c:pt idx="0">
                  <c:v>0.1591240875912409</c:v>
                </c:pt>
                <c:pt idx="1">
                  <c:v>0.13671539122957868</c:v>
                </c:pt>
                <c:pt idx="2">
                  <c:v>0.1293166789125643</c:v>
                </c:pt>
                <c:pt idx="3">
                  <c:v>0.13168395849960096</c:v>
                </c:pt>
                <c:pt idx="4">
                  <c:v>0.12727272727272726</c:v>
                </c:pt>
                <c:pt idx="5">
                  <c:v>0.13191489361702127</c:v>
                </c:pt>
                <c:pt idx="6">
                  <c:v>0.1519434628975265</c:v>
                </c:pt>
                <c:pt idx="7">
                  <c:v>0.1690017513134851</c:v>
                </c:pt>
                <c:pt idx="8">
                  <c:v>0.1510673234811166</c:v>
                </c:pt>
                <c:pt idx="9">
                  <c:v>0.1358515573227303</c:v>
                </c:pt>
                <c:pt idx="10">
                  <c:v>0.16375545851528384</c:v>
                </c:pt>
                <c:pt idx="11">
                  <c:v>0.15568862275449102</c:v>
                </c:pt>
                <c:pt idx="12">
                  <c:v>0.14609203798392986</c:v>
                </c:pt>
                <c:pt idx="13">
                  <c:v>0.11908396946564885</c:v>
                </c:pt>
                <c:pt idx="14">
                  <c:v>0.10832025117739404</c:v>
                </c:pt>
                <c:pt idx="15">
                  <c:v>0.09064609450337512</c:v>
                </c:pt>
                <c:pt idx="16">
                  <c:v>0.08820403825717323</c:v>
                </c:pt>
                <c:pt idx="17">
                  <c:v>0.09090909090909091</c:v>
                </c:pt>
                <c:pt idx="18">
                  <c:v>0.07752808988764046</c:v>
                </c:pt>
                <c:pt idx="19">
                  <c:v>0.09389671361502347</c:v>
                </c:pt>
                <c:pt idx="20">
                  <c:v>0.07399347116430903</c:v>
                </c:pt>
                <c:pt idx="21">
                  <c:v>0.0622568093385214</c:v>
                </c:pt>
                <c:pt idx="22">
                  <c:v>0.08792650918635171</c:v>
                </c:pt>
                <c:pt idx="23">
                  <c:v>0.10704225352112676</c:v>
                </c:pt>
                <c:pt idx="24">
                  <c:v>0.10798816568047337</c:v>
                </c:pt>
                <c:pt idx="25">
                  <c:v>0.1070840197693575</c:v>
                </c:pt>
                <c:pt idx="26">
                  <c:v>0.1191806331471136</c:v>
                </c:pt>
                <c:pt idx="27">
                  <c:v>0.1463917525773196</c:v>
                </c:pt>
                <c:pt idx="28">
                  <c:v>0.20412844036697247</c:v>
                </c:pt>
                <c:pt idx="29">
                  <c:v>0.1925343811394892</c:v>
                </c:pt>
                <c:pt idx="30">
                  <c:v>0.18840579710144928</c:v>
                </c:pt>
                <c:pt idx="31">
                  <c:v>0.21707317073170732</c:v>
                </c:pt>
                <c:pt idx="32">
                  <c:v>0.19174757281553398</c:v>
                </c:pt>
                <c:pt idx="33">
                  <c:v>0.1806083650190114</c:v>
                </c:pt>
                <c:pt idx="34">
                  <c:v>0.17744916820702403</c:v>
                </c:pt>
                <c:pt idx="35">
                  <c:v>0.20168067226890757</c:v>
                </c:pt>
                <c:pt idx="36">
                  <c:v>0.1814814814814815</c:v>
                </c:pt>
                <c:pt idx="37">
                  <c:v>0.15985130111524162</c:v>
                </c:pt>
                <c:pt idx="38">
                  <c:v>0.18200836820083682</c:v>
                </c:pt>
                <c:pt idx="39">
                  <c:v>0.15948275862068967</c:v>
                </c:pt>
                <c:pt idx="40">
                  <c:v>0.1436265709156194</c:v>
                </c:pt>
                <c:pt idx="41">
                  <c:v>0.17089678510998307</c:v>
                </c:pt>
                <c:pt idx="42">
                  <c:v>0.16123499142367068</c:v>
                </c:pt>
                <c:pt idx="43">
                  <c:v>0.1495798319327731</c:v>
                </c:pt>
                <c:pt idx="44">
                  <c:v>0.15498652291105122</c:v>
                </c:pt>
                <c:pt idx="45">
                  <c:v>0.16682926829268294</c:v>
                </c:pt>
                <c:pt idx="46">
                  <c:v>0.16433566433566432</c:v>
                </c:pt>
                <c:pt idx="47">
                  <c:v>0.16717325227963525</c:v>
                </c:pt>
                <c:pt idx="48">
                  <c:v>0.15726495726495726</c:v>
                </c:pt>
                <c:pt idx="49">
                  <c:v>0.14330511132016305</c:v>
                </c:pt>
                <c:pt idx="50">
                  <c:v>0.1594014313597918</c:v>
                </c:pt>
                <c:pt idx="51">
                  <c:v>0.13743356112376615</c:v>
                </c:pt>
                <c:pt idx="52">
                  <c:v>0.1417910447761194</c:v>
                </c:pt>
                <c:pt idx="53">
                  <c:v>0.13727272727272727</c:v>
                </c:pt>
                <c:pt idx="54">
                  <c:v>0.1219946571682992</c:v>
                </c:pt>
                <c:pt idx="55">
                  <c:v>0.1143106457242583</c:v>
                </c:pt>
                <c:pt idx="56">
                  <c:v>0.1320754716981132</c:v>
                </c:pt>
                <c:pt idx="57">
                  <c:v>0.12962962962962962</c:v>
                </c:pt>
                <c:pt idx="58">
                  <c:v>0.16265060240963855</c:v>
                </c:pt>
                <c:pt idx="59">
                  <c:v>0.15271265907568654</c:v>
                </c:pt>
                <c:pt idx="60">
                  <c:v>0.1345679012345679</c:v>
                </c:pt>
                <c:pt idx="61">
                  <c:v>0.13431916204559458</c:v>
                </c:pt>
                <c:pt idx="62">
                  <c:v>0.14954954954954955</c:v>
                </c:pt>
                <c:pt idx="63">
                  <c:v>0.14007782101167315</c:v>
                </c:pt>
                <c:pt idx="64">
                  <c:v>0.1427771556550952</c:v>
                </c:pt>
                <c:pt idx="65">
                  <c:v>0.14214463840399003</c:v>
                </c:pt>
                <c:pt idx="66">
                  <c:v>0.15009874917709018</c:v>
                </c:pt>
                <c:pt idx="67">
                  <c:v>0.1583198707592892</c:v>
                </c:pt>
                <c:pt idx="68">
                  <c:v>0.13005780346820808</c:v>
                </c:pt>
                <c:pt idx="69">
                  <c:v>0.1240234375</c:v>
                </c:pt>
                <c:pt idx="70">
                  <c:v>0.11928429423459244</c:v>
                </c:pt>
                <c:pt idx="71">
                  <c:v>0.1045673076923077</c:v>
                </c:pt>
                <c:pt idx="72">
                  <c:v>0.10276243093922652</c:v>
                </c:pt>
                <c:pt idx="73">
                  <c:v>0.11889035667107001</c:v>
                </c:pt>
                <c:pt idx="74">
                  <c:v>0.13032258064516128</c:v>
                </c:pt>
                <c:pt idx="75">
                  <c:v>0.1426448736998514</c:v>
                </c:pt>
                <c:pt idx="76">
                  <c:v>0.15542521994134897</c:v>
                </c:pt>
                <c:pt idx="77">
                  <c:v>0.11589403973509933</c:v>
                </c:pt>
                <c:pt idx="78">
                  <c:v>0.15236427320490367</c:v>
                </c:pt>
                <c:pt idx="79">
                  <c:v>0.1303030303030303</c:v>
                </c:pt>
                <c:pt idx="80">
                  <c:v>0.12244897959183673</c:v>
                </c:pt>
                <c:pt idx="81">
                  <c:v>0.14574314574314573</c:v>
                </c:pt>
                <c:pt idx="82">
                  <c:v>0.16342412451361868</c:v>
                </c:pt>
                <c:pt idx="83">
                  <c:v>0.14315352697095435</c:v>
                </c:pt>
                <c:pt idx="84">
                  <c:v>0.1488469601677149</c:v>
                </c:pt>
                <c:pt idx="85">
                  <c:v>0.14337568058076225</c:v>
                </c:pt>
                <c:pt idx="86">
                  <c:v>0.17326732673267325</c:v>
                </c:pt>
                <c:pt idx="87">
                  <c:v>0.19844961240310077</c:v>
                </c:pt>
                <c:pt idx="88">
                  <c:v>0.16569200779727095</c:v>
                </c:pt>
                <c:pt idx="89">
                  <c:v>0.21669980119284293</c:v>
                </c:pt>
                <c:pt idx="90">
                  <c:v>0.17536534446764093</c:v>
                </c:pt>
                <c:pt idx="91">
                  <c:v>0.1822125813449024</c:v>
                </c:pt>
                <c:pt idx="92">
                  <c:v>0.19022687609075042</c:v>
                </c:pt>
                <c:pt idx="93">
                  <c:v>0.188212927756654</c:v>
                </c:pt>
                <c:pt idx="94">
                  <c:v>0.1796875</c:v>
                </c:pt>
                <c:pt idx="95">
                  <c:v>0.19213973799126638</c:v>
                </c:pt>
                <c:pt idx="96">
                  <c:v>0.17969661610268378</c:v>
                </c:pt>
                <c:pt idx="97">
                  <c:v>0.19666666666666666</c:v>
                </c:pt>
                <c:pt idx="98">
                  <c:v>0.18989547038327526</c:v>
                </c:pt>
                <c:pt idx="99">
                  <c:v>0.18352059925093633</c:v>
                </c:pt>
                <c:pt idx="100">
                  <c:v>0.1936834094368341</c:v>
                </c:pt>
                <c:pt idx="101">
                  <c:v>0.17377567140600317</c:v>
                </c:pt>
                <c:pt idx="102">
                  <c:v>0.14613180515759314</c:v>
                </c:pt>
                <c:pt idx="103">
                  <c:v>0.15333333333333332</c:v>
                </c:pt>
                <c:pt idx="104">
                  <c:v>0.15171137835337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4.7838</c:v>
                </c:pt>
                <c:pt idx="1">
                  <c:v>1190.8112</c:v>
                </c:pt>
                <c:pt idx="2">
                  <c:v>1171.8409</c:v>
                </c:pt>
                <c:pt idx="3">
                  <c:v>1014.1346</c:v>
                </c:pt>
                <c:pt idx="4">
                  <c:v>1168.0448</c:v>
                </c:pt>
                <c:pt idx="5">
                  <c:v>1195.6225</c:v>
                </c:pt>
                <c:pt idx="6">
                  <c:v>1145.5124</c:v>
                </c:pt>
                <c:pt idx="7">
                  <c:v>1123.7803</c:v>
                </c:pt>
                <c:pt idx="8">
                  <c:v>1172.252</c:v>
                </c:pt>
                <c:pt idx="9">
                  <c:v>1137.5088</c:v>
                </c:pt>
                <c:pt idx="10">
                  <c:v>1158.0808</c:v>
                </c:pt>
                <c:pt idx="11">
                  <c:v>1045.8339</c:v>
                </c:pt>
                <c:pt idx="12">
                  <c:v>1055.4945</c:v>
                </c:pt>
                <c:pt idx="13">
                  <c:v>1088.9056</c:v>
                </c:pt>
                <c:pt idx="14">
                  <c:v>1087.9087</c:v>
                </c:pt>
                <c:pt idx="15">
                  <c:v>1097.3073</c:v>
                </c:pt>
                <c:pt idx="16">
                  <c:v>1136.284</c:v>
                </c:pt>
                <c:pt idx="17">
                  <c:v>955.4044</c:v>
                </c:pt>
                <c:pt idx="18">
                  <c:v>1121.0327</c:v>
                </c:pt>
                <c:pt idx="19">
                  <c:v>1240.4167</c:v>
                </c:pt>
                <c:pt idx="20">
                  <c:v>1214.4316</c:v>
                </c:pt>
                <c:pt idx="21">
                  <c:v>1196.3864</c:v>
                </c:pt>
                <c:pt idx="22">
                  <c:v>1209.6429</c:v>
                </c:pt>
                <c:pt idx="23">
                  <c:v>1167.735</c:v>
                </c:pt>
                <c:pt idx="24">
                  <c:v>1199.9053</c:v>
                </c:pt>
                <c:pt idx="25">
                  <c:v>1155.802</c:v>
                </c:pt>
                <c:pt idx="26">
                  <c:v>1141.3832</c:v>
                </c:pt>
                <c:pt idx="27">
                  <c:v>1174.8842</c:v>
                </c:pt>
                <c:pt idx="28">
                  <c:v>1228.9634</c:v>
                </c:pt>
                <c:pt idx="29">
                  <c:v>1232.9118</c:v>
                </c:pt>
                <c:pt idx="30">
                  <c:v>1209.0921</c:v>
                </c:pt>
                <c:pt idx="31">
                  <c:v>1184.3662</c:v>
                </c:pt>
                <c:pt idx="32">
                  <c:v>1219.2899</c:v>
                </c:pt>
                <c:pt idx="33">
                  <c:v>1187.4057</c:v>
                </c:pt>
                <c:pt idx="34">
                  <c:v>1202.4891</c:v>
                </c:pt>
                <c:pt idx="35">
                  <c:v>1288.4095</c:v>
                </c:pt>
                <c:pt idx="36">
                  <c:v>1316.1556</c:v>
                </c:pt>
                <c:pt idx="37">
                  <c:v>1269.9605</c:v>
                </c:pt>
                <c:pt idx="38">
                  <c:v>1288.8243</c:v>
                </c:pt>
                <c:pt idx="39">
                  <c:v>1247.3626</c:v>
                </c:pt>
                <c:pt idx="40">
                  <c:v>1298.9184</c:v>
                </c:pt>
                <c:pt idx="41">
                  <c:v>1341.6122</c:v>
                </c:pt>
                <c:pt idx="42">
                  <c:v>1328.3774</c:v>
                </c:pt>
                <c:pt idx="43">
                  <c:v>1344.3514</c:v>
                </c:pt>
                <c:pt idx="44">
                  <c:v>1280.4958</c:v>
                </c:pt>
                <c:pt idx="45">
                  <c:v>1236.8854</c:v>
                </c:pt>
                <c:pt idx="46">
                  <c:v>1176.1364</c:v>
                </c:pt>
                <c:pt idx="47">
                  <c:v>1179.1523</c:v>
                </c:pt>
                <c:pt idx="48">
                  <c:v>1148.6029</c:v>
                </c:pt>
                <c:pt idx="49">
                  <c:v>1183.5</c:v>
                </c:pt>
                <c:pt idx="50">
                  <c:v>1164.2293</c:v>
                </c:pt>
                <c:pt idx="51">
                  <c:v>1114.6875</c:v>
                </c:pt>
              </c:numCache>
            </c:numRef>
          </c:xVal>
          <c:yVal>
            <c:numRef>
              <c:f>Sheet1!$B$109:$B$160</c:f>
              <c:numCache>
                <c:formatCode>General</c:formatCode>
                <c:ptCount val="52"/>
                <c:pt idx="0">
                  <c:v>0.16100957354221063</c:v>
                </c:pt>
                <c:pt idx="1">
                  <c:v>0.14666666666666667</c:v>
                </c:pt>
                <c:pt idx="2">
                  <c:v>0.18227009113504558</c:v>
                </c:pt>
                <c:pt idx="3">
                  <c:v>0.21612635078969245</c:v>
                </c:pt>
                <c:pt idx="4">
                  <c:v>0.1671664167916042</c:v>
                </c:pt>
                <c:pt idx="5">
                  <c:v>0.16491511721907842</c:v>
                </c:pt>
                <c:pt idx="6">
                  <c:v>0.16037110669317428</c:v>
                </c:pt>
                <c:pt idx="7">
                  <c:v>0.171875</c:v>
                </c:pt>
                <c:pt idx="8">
                  <c:v>0.15365396627108058</c:v>
                </c:pt>
                <c:pt idx="9">
                  <c:v>0.16511085180863477</c:v>
                </c:pt>
                <c:pt idx="10">
                  <c:v>0.16239850093691444</c:v>
                </c:pt>
                <c:pt idx="11">
                  <c:v>0.15636363636363637</c:v>
                </c:pt>
                <c:pt idx="12">
                  <c:v>0.1578034682080925</c:v>
                </c:pt>
                <c:pt idx="13">
                  <c:v>0.14878671775223498</c:v>
                </c:pt>
                <c:pt idx="14">
                  <c:v>0.1562734785875282</c:v>
                </c:pt>
                <c:pt idx="15">
                  <c:v>0.1497907949790795</c:v>
                </c:pt>
                <c:pt idx="16">
                  <c:v>0.15735567970204842</c:v>
                </c:pt>
                <c:pt idx="17">
                  <c:v>0.18769230769230769</c:v>
                </c:pt>
                <c:pt idx="18">
                  <c:v>0.15970772442588727</c:v>
                </c:pt>
                <c:pt idx="19">
                  <c:v>0.15151515151515152</c:v>
                </c:pt>
                <c:pt idx="20">
                  <c:v>0.15248796147672553</c:v>
                </c:pt>
                <c:pt idx="21">
                  <c:v>0.13601236476043277</c:v>
                </c:pt>
                <c:pt idx="22">
                  <c:v>0.14223512336719885</c:v>
                </c:pt>
                <c:pt idx="23">
                  <c:v>0.17889908256880735</c:v>
                </c:pt>
                <c:pt idx="24">
                  <c:v>0.1424287856071964</c:v>
                </c:pt>
                <c:pt idx="25">
                  <c:v>0.15830721003134796</c:v>
                </c:pt>
                <c:pt idx="26">
                  <c:v>0.17833333333333334</c:v>
                </c:pt>
                <c:pt idx="27">
                  <c:v>0.17723880597014927</c:v>
                </c:pt>
                <c:pt idx="28">
                  <c:v>0.14990859232175502</c:v>
                </c:pt>
                <c:pt idx="29">
                  <c:v>0.1419624217118998</c:v>
                </c:pt>
                <c:pt idx="30">
                  <c:v>0.1613588110403397</c:v>
                </c:pt>
                <c:pt idx="31">
                  <c:v>0.16397228637413394</c:v>
                </c:pt>
                <c:pt idx="32">
                  <c:v>0.14315352697095435</c:v>
                </c:pt>
                <c:pt idx="33">
                  <c:v>0.17434210526315788</c:v>
                </c:pt>
                <c:pt idx="34">
                  <c:v>0.20948012232415902</c:v>
                </c:pt>
                <c:pt idx="35">
                  <c:v>0.1761744966442953</c:v>
                </c:pt>
                <c:pt idx="36">
                  <c:v>0.18789144050104384</c:v>
                </c:pt>
                <c:pt idx="37">
                  <c:v>0.17272727272727273</c:v>
                </c:pt>
                <c:pt idx="38">
                  <c:v>0.15982721382289417</c:v>
                </c:pt>
                <c:pt idx="39">
                  <c:v>0.1746641074856046</c:v>
                </c:pt>
                <c:pt idx="40">
                  <c:v>0.16695059625212946</c:v>
                </c:pt>
                <c:pt idx="41">
                  <c:v>0.17594254937163376</c:v>
                </c:pt>
                <c:pt idx="42">
                  <c:v>0.15634218289085547</c:v>
                </c:pt>
                <c:pt idx="43">
                  <c:v>0.13857677902621723</c:v>
                </c:pt>
                <c:pt idx="44">
                  <c:v>0.1588785046728972</c:v>
                </c:pt>
                <c:pt idx="45">
                  <c:v>0.1768018018018018</c:v>
                </c:pt>
                <c:pt idx="46">
                  <c:v>0.18839200761179828</c:v>
                </c:pt>
                <c:pt idx="47">
                  <c:v>0.17909090909090908</c:v>
                </c:pt>
                <c:pt idx="48">
                  <c:v>0.1847922192749779</c:v>
                </c:pt>
                <c:pt idx="49">
                  <c:v>0.16822429906542055</c:v>
                </c:pt>
                <c:pt idx="50">
                  <c:v>0.15536187949981053</c:v>
                </c:pt>
                <c:pt idx="51">
                  <c:v>0.172185430463576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1.7790069523367</c:v>
                </c:pt>
              </c:numCache>
            </c:numRef>
          </c:xVal>
          <c:yVal>
            <c:numRef>
              <c:f>Sheet1!$B$163:$B$164</c:f>
              <c:numCache>
                <c:formatCode>General</c:formatCode>
                <c:ptCount val="2"/>
                <c:pt idx="0">
                  <c:v>0.18720765680628645</c:v>
                </c:pt>
                <c:pt idx="1">
                  <c:v>0.1872076568062864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1.7790069523367</c:v>
                </c:pt>
                <c:pt idx="1">
                  <c:v>601.7790069523367</c:v>
                </c:pt>
              </c:numCache>
            </c:numRef>
          </c:xVal>
          <c:yVal>
            <c:numRef>
              <c:f>Sheet1!$B$167:$B$168</c:f>
              <c:numCache>
                <c:formatCode>General</c:formatCode>
                <c:ptCount val="2"/>
                <c:pt idx="0">
                  <c:v>0.187207656806286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8.6516033991102</c:v>
                </c:pt>
              </c:numCache>
            </c:numRef>
          </c:xVal>
          <c:yVal>
            <c:numRef>
              <c:f>Sheet1!$B$171:$B$172</c:f>
              <c:numCache>
                <c:formatCode>General</c:formatCode>
                <c:ptCount val="2"/>
                <c:pt idx="0">
                  <c:v>0.17017383553071944</c:v>
                </c:pt>
                <c:pt idx="1">
                  <c:v>0.1701738355307194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8.6516033991102</c:v>
                </c:pt>
                <c:pt idx="1">
                  <c:v>1048.6516033991102</c:v>
                </c:pt>
              </c:numCache>
            </c:numRef>
          </c:xVal>
          <c:yVal>
            <c:numRef>
              <c:f>Sheet1!$B$175:$B$176</c:f>
              <c:numCache>
                <c:formatCode>General</c:formatCode>
                <c:ptCount val="2"/>
                <c:pt idx="0">
                  <c:v>0.1701738355307194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1.054344333048</c:v>
                </c:pt>
              </c:numCache>
            </c:numRef>
          </c:xVal>
          <c:yVal>
            <c:numRef>
              <c:f>Sheet1!$B$179:$B$180</c:f>
              <c:numCache>
                <c:formatCode>General</c:formatCode>
                <c:ptCount val="2"/>
                <c:pt idx="0">
                  <c:v>0.16893871280827938</c:v>
                </c:pt>
                <c:pt idx="1">
                  <c:v>0.168938712808279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1.054344333048</c:v>
                </c:pt>
                <c:pt idx="1">
                  <c:v>1081.054344333048</c:v>
                </c:pt>
              </c:numCache>
            </c:numRef>
          </c:xVal>
          <c:yVal>
            <c:numRef>
              <c:f>Sheet1!$B$183:$B$184</c:f>
              <c:numCache>
                <c:formatCode>General</c:formatCode>
                <c:ptCount val="2"/>
                <c:pt idx="0">
                  <c:v>0.168938712808279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4.7838</c:v>
                </c:pt>
                <c:pt idx="1">
                  <c:v>1190.8112</c:v>
                </c:pt>
                <c:pt idx="2">
                  <c:v>1171.8409</c:v>
                </c:pt>
                <c:pt idx="3">
                  <c:v>1014.1346</c:v>
                </c:pt>
                <c:pt idx="4">
                  <c:v>1168.0448</c:v>
                </c:pt>
                <c:pt idx="5">
                  <c:v>1195.6225</c:v>
                </c:pt>
                <c:pt idx="6">
                  <c:v>1145.5124</c:v>
                </c:pt>
                <c:pt idx="7">
                  <c:v>1123.7803</c:v>
                </c:pt>
                <c:pt idx="8">
                  <c:v>1172.252</c:v>
                </c:pt>
                <c:pt idx="9">
                  <c:v>1137.5088</c:v>
                </c:pt>
                <c:pt idx="10">
                  <c:v>1158.0808</c:v>
                </c:pt>
                <c:pt idx="11">
                  <c:v>1045.8339</c:v>
                </c:pt>
                <c:pt idx="12">
                  <c:v>1055.4945</c:v>
                </c:pt>
                <c:pt idx="13">
                  <c:v>1088.9056</c:v>
                </c:pt>
                <c:pt idx="14">
                  <c:v>1087.9087</c:v>
                </c:pt>
                <c:pt idx="15">
                  <c:v>1097.3073</c:v>
                </c:pt>
                <c:pt idx="16">
                  <c:v>1136.284</c:v>
                </c:pt>
                <c:pt idx="17">
                  <c:v>955.4044</c:v>
                </c:pt>
                <c:pt idx="18">
                  <c:v>1121.0327</c:v>
                </c:pt>
                <c:pt idx="19">
                  <c:v>1240.4167</c:v>
                </c:pt>
                <c:pt idx="20">
                  <c:v>1214.4316</c:v>
                </c:pt>
                <c:pt idx="21">
                  <c:v>1196.3864</c:v>
                </c:pt>
                <c:pt idx="22">
                  <c:v>1209.6429</c:v>
                </c:pt>
                <c:pt idx="23">
                  <c:v>1167.735</c:v>
                </c:pt>
                <c:pt idx="24">
                  <c:v>1199.9053</c:v>
                </c:pt>
                <c:pt idx="25">
                  <c:v>1155.802</c:v>
                </c:pt>
                <c:pt idx="26">
                  <c:v>1141.3832</c:v>
                </c:pt>
                <c:pt idx="27">
                  <c:v>1174.8842</c:v>
                </c:pt>
                <c:pt idx="28">
                  <c:v>1228.9634</c:v>
                </c:pt>
                <c:pt idx="29">
                  <c:v>1232.9118</c:v>
                </c:pt>
                <c:pt idx="30">
                  <c:v>1209.0921</c:v>
                </c:pt>
                <c:pt idx="31">
                  <c:v>1184.3662</c:v>
                </c:pt>
                <c:pt idx="32">
                  <c:v>1219.2899</c:v>
                </c:pt>
                <c:pt idx="33">
                  <c:v>1187.4057</c:v>
                </c:pt>
                <c:pt idx="34">
                  <c:v>1202.4891</c:v>
                </c:pt>
                <c:pt idx="35">
                  <c:v>1288.4095</c:v>
                </c:pt>
                <c:pt idx="36">
                  <c:v>1316.1556</c:v>
                </c:pt>
                <c:pt idx="37">
                  <c:v>1269.9605</c:v>
                </c:pt>
                <c:pt idx="38">
                  <c:v>1288.8243</c:v>
                </c:pt>
                <c:pt idx="39">
                  <c:v>1247.3626</c:v>
                </c:pt>
                <c:pt idx="40">
                  <c:v>1298.9184</c:v>
                </c:pt>
                <c:pt idx="41">
                  <c:v>1341.6122</c:v>
                </c:pt>
                <c:pt idx="42">
                  <c:v>1328.3774</c:v>
                </c:pt>
                <c:pt idx="43">
                  <c:v>1344.3514</c:v>
                </c:pt>
                <c:pt idx="44">
                  <c:v>1280.4958</c:v>
                </c:pt>
                <c:pt idx="45">
                  <c:v>1236.8854</c:v>
                </c:pt>
                <c:pt idx="46">
                  <c:v>1176.1364</c:v>
                </c:pt>
                <c:pt idx="47">
                  <c:v>1179.1523</c:v>
                </c:pt>
                <c:pt idx="48">
                  <c:v>1148.6029</c:v>
                </c:pt>
                <c:pt idx="49">
                  <c:v>1183.5</c:v>
                </c:pt>
                <c:pt idx="50">
                  <c:v>1164.2293</c:v>
                </c:pt>
                <c:pt idx="51">
                  <c:v>1114.6875</c:v>
                </c:pt>
                <c:pt idx="52">
                  <c:v>1048.6516033991102</c:v>
                </c:pt>
                <c:pt idx="53">
                  <c:v>601.7790069523367</c:v>
                </c:pt>
                <c:pt idx="54">
                  <c:v>1081.054344333048</c:v>
                </c:pt>
              </c:numCache>
            </c:numRef>
          </c:xVal>
          <c:yVal>
            <c:numRef>
              <c:f>Sheet1!$B$187:$B$241</c:f>
              <c:numCache>
                <c:formatCode>General</c:formatCode>
                <c:ptCount val="55"/>
                <c:pt idx="0">
                  <c:v>0.1661283046951802</c:v>
                </c:pt>
                <c:pt idx="1">
                  <c:v>0.16475501777290535</c:v>
                </c:pt>
                <c:pt idx="2">
                  <c:v>0.16547812476651663</c:v>
                </c:pt>
                <c:pt idx="3">
                  <c:v>0.17148954938639913</c:v>
                </c:pt>
                <c:pt idx="4">
                  <c:v>0.16562282392564684</c:v>
                </c:pt>
                <c:pt idx="5">
                  <c:v>0.16457162137546505</c:v>
                </c:pt>
                <c:pt idx="6">
                  <c:v>0.16648171050218208</c:v>
                </c:pt>
                <c:pt idx="7">
                  <c:v>0.16731009136573508</c:v>
                </c:pt>
                <c:pt idx="8">
                  <c:v>0.16546245451960045</c:v>
                </c:pt>
                <c:pt idx="9">
                  <c:v>0.16678679050271275</c:v>
                </c:pt>
                <c:pt idx="10">
                  <c:v>0.16600263015350525</c:v>
                </c:pt>
                <c:pt idx="11">
                  <c:v>0.1702812403178772</c:v>
                </c:pt>
                <c:pt idx="12">
                  <c:v>0.16991299904480922</c:v>
                </c:pt>
                <c:pt idx="13">
                  <c:v>0.1686394398457325</c:v>
                </c:pt>
                <c:pt idx="14">
                  <c:v>0.16867743952744185</c:v>
                </c:pt>
                <c:pt idx="15">
                  <c:v>0.16831918513029712</c:v>
                </c:pt>
                <c:pt idx="16">
                  <c:v>0.16683347724176142</c:v>
                </c:pt>
                <c:pt idx="17">
                  <c:v>0.17372821816634404</c:v>
                </c:pt>
                <c:pt idx="18">
                  <c:v>0.1674148239622489</c:v>
                </c:pt>
                <c:pt idx="19">
                  <c:v>0.16286416291180228</c:v>
                </c:pt>
                <c:pt idx="20">
                  <c:v>0.16385465897879584</c:v>
                </c:pt>
                <c:pt idx="21">
                  <c:v>0.16454250315211488</c:v>
                </c:pt>
                <c:pt idx="22">
                  <c:v>0.16403719391289315</c:v>
                </c:pt>
                <c:pt idx="23">
                  <c:v>0.16563463283465832</c:v>
                </c:pt>
                <c:pt idx="24">
                  <c:v>0.16440837026018282</c:v>
                </c:pt>
                <c:pt idx="25">
                  <c:v>0.166089493103329</c:v>
                </c:pt>
                <c:pt idx="26">
                  <c:v>0.1666391067161597</c:v>
                </c:pt>
                <c:pt idx="27">
                  <c:v>0.1653621207226345</c:v>
                </c:pt>
                <c:pt idx="28">
                  <c:v>0.16330073804925016</c:v>
                </c:pt>
                <c:pt idx="29">
                  <c:v>0.1631502335420165</c:v>
                </c:pt>
                <c:pt idx="30">
                  <c:v>0.1640581892230401</c:v>
                </c:pt>
                <c:pt idx="31">
                  <c:v>0.16500068729704703</c:v>
                </c:pt>
                <c:pt idx="32">
                  <c:v>0.16366947104254487</c:v>
                </c:pt>
                <c:pt idx="33">
                  <c:v>0.16488482810098362</c:v>
                </c:pt>
                <c:pt idx="34">
                  <c:v>0.16430988136701336</c:v>
                </c:pt>
                <c:pt idx="35">
                  <c:v>0.1610347807026128</c:v>
                </c:pt>
                <c:pt idx="36">
                  <c:v>0.15997715910699029</c:v>
                </c:pt>
                <c:pt idx="37">
                  <c:v>0.16173801686256464</c:v>
                </c:pt>
                <c:pt idx="38">
                  <c:v>0.1610189694196626</c:v>
                </c:pt>
                <c:pt idx="39">
                  <c:v>0.1625994001580807</c:v>
                </c:pt>
                <c:pt idx="40">
                  <c:v>0.16063420405990492</c:v>
                </c:pt>
                <c:pt idx="41">
                  <c:v>0.1590068083221548</c:v>
                </c:pt>
                <c:pt idx="42">
                  <c:v>0.15951129040409584</c:v>
                </c:pt>
                <c:pt idx="43">
                  <c:v>0.15890239591555605</c:v>
                </c:pt>
                <c:pt idx="44">
                  <c:v>0.161336433908695</c:v>
                </c:pt>
                <c:pt idx="45">
                  <c:v>0.16299876846503755</c:v>
                </c:pt>
                <c:pt idx="46">
                  <c:v>0.16531438955457706</c:v>
                </c:pt>
                <c:pt idx="47">
                  <c:v>0.16519942993970368</c:v>
                </c:pt>
                <c:pt idx="48">
                  <c:v>0.16636390729591988</c:v>
                </c:pt>
                <c:pt idx="49">
                  <c:v>0.1650337049761489</c:v>
                </c:pt>
                <c:pt idx="50">
                  <c:v>0.16576826257100952</c:v>
                </c:pt>
                <c:pt idx="51">
                  <c:v>0.16765668932525646</c:v>
                </c:pt>
                <c:pt idx="52">
                  <c:v>0.17017383553071944</c:v>
                </c:pt>
                <c:pt idx="53">
                  <c:v>0.18720765680628645</c:v>
                </c:pt>
                <c:pt idx="54">
                  <c:v>0.168938712808279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3.0"/>
          <c:min val="4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04878048780488"/>
          <c:min val="0.0498054474708171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64886814424728</c:v>
                </c:pt>
                <c:pt idx="1">
                  <c:v>0.4293133002333675</c:v>
                </c:pt>
                <c:pt idx="2">
                  <c:v>0.46102180366887874</c:v>
                </c:pt>
                <c:pt idx="3">
                  <c:v>0.45817363611029244</c:v>
                </c:pt>
                <c:pt idx="4">
                  <c:v>0.49746567581878964</c:v>
                </c:pt>
                <c:pt idx="5">
                  <c:v>0.4919719288639413</c:v>
                </c:pt>
                <c:pt idx="6">
                  <c:v>0.4766907740689913</c:v>
                </c:pt>
                <c:pt idx="7">
                  <c:v>0.4496269671854541</c:v>
                </c:pt>
                <c:pt idx="8">
                  <c:v>0.44098205633235726</c:v>
                </c:pt>
                <c:pt idx="9">
                  <c:v>0.4777870446986064</c:v>
                </c:pt>
                <c:pt idx="10">
                  <c:v>0.5065239180944174</c:v>
                </c:pt>
                <c:pt idx="11">
                  <c:v>0.4871819633687717</c:v>
                </c:pt>
                <c:pt idx="12">
                  <c:v>0.45662623628424887</c:v>
                </c:pt>
                <c:pt idx="13">
                  <c:v>0.4074417855881247</c:v>
                </c:pt>
                <c:pt idx="14">
                  <c:v>0.33606864029653</c:v>
                </c:pt>
                <c:pt idx="15">
                  <c:v>0.34278392345152386</c:v>
                </c:pt>
                <c:pt idx="16">
                  <c:v>0.36662024548199873</c:v>
                </c:pt>
                <c:pt idx="17">
                  <c:v>0.38379207704948115</c:v>
                </c:pt>
                <c:pt idx="18">
                  <c:v>0.37277787531770257</c:v>
                </c:pt>
                <c:pt idx="19">
                  <c:v>0.4131037604060522</c:v>
                </c:pt>
                <c:pt idx="20">
                  <c:v>0.44875272311699405</c:v>
                </c:pt>
                <c:pt idx="21">
                  <c:v>0.43177439526835765</c:v>
                </c:pt>
                <c:pt idx="22">
                  <c:v>0.3874664171913807</c:v>
                </c:pt>
                <c:pt idx="23">
                  <c:v>0.3650314659753334</c:v>
                </c:pt>
                <c:pt idx="24">
                  <c:v>0.3583096544269059</c:v>
                </c:pt>
                <c:pt idx="25">
                  <c:v>0.34538651583366486</c:v>
                </c:pt>
                <c:pt idx="26">
                  <c:v>0.3377670861493963</c:v>
                </c:pt>
                <c:pt idx="27">
                  <c:v>0.3329070095894273</c:v>
                </c:pt>
                <c:pt idx="28">
                  <c:v>0.34643870245117164</c:v>
                </c:pt>
                <c:pt idx="29">
                  <c:v>0.2944746374018642</c:v>
                </c:pt>
                <c:pt idx="30">
                  <c:v>0.2952286675270037</c:v>
                </c:pt>
                <c:pt idx="31">
                  <c:v>0.3182745968363774</c:v>
                </c:pt>
                <c:pt idx="32">
                  <c:v>0.3144097088530978</c:v>
                </c:pt>
                <c:pt idx="33">
                  <c:v>0.30622542994673396</c:v>
                </c:pt>
                <c:pt idx="34">
                  <c:v>0.349606310261788</c:v>
                </c:pt>
                <c:pt idx="35">
                  <c:v>0.3902419381957038</c:v>
                </c:pt>
                <c:pt idx="36">
                  <c:v>0.36995310806640597</c:v>
                </c:pt>
                <c:pt idx="37">
                  <c:v>0.4191373109964513</c:v>
                </c:pt>
                <c:pt idx="38">
                  <c:v>0.4078397368705706</c:v>
                </c:pt>
                <c:pt idx="39">
                  <c:v>0.4059900389509975</c:v>
                </c:pt>
                <c:pt idx="40">
                  <c:v>0.4192172501553351</c:v>
                </c:pt>
                <c:pt idx="41">
                  <c:v>0.44977667855728226</c:v>
                </c:pt>
                <c:pt idx="42">
                  <c:v>0.4608484003407039</c:v>
                </c:pt>
                <c:pt idx="43">
                  <c:v>0.4865990852403077</c:v>
                </c:pt>
                <c:pt idx="44">
                  <c:v>0.44098381909715645</c:v>
                </c:pt>
                <c:pt idx="45">
                  <c:v>0.45147469887775965</c:v>
                </c:pt>
                <c:pt idx="46">
                  <c:v>0.4656396345238938</c:v>
                </c:pt>
                <c:pt idx="47">
                  <c:v>0.47782450745163674</c:v>
                </c:pt>
                <c:pt idx="48">
                  <c:v>0.46898207714702894</c:v>
                </c:pt>
                <c:pt idx="49">
                  <c:v>0.40170443728535654</c:v>
                </c:pt>
                <c:pt idx="50">
                  <c:v>0.30577874653450676</c:v>
                </c:pt>
                <c:pt idx="51">
                  <c:v>0.28747935136199176</c:v>
                </c:pt>
                <c:pt idx="52">
                  <c:v>0.2740638550377429</c:v>
                </c:pt>
                <c:pt idx="53">
                  <c:v>0.2529811393396187</c:v>
                </c:pt>
                <c:pt idx="54">
                  <c:v>0.2334941949470651</c:v>
                </c:pt>
                <c:pt idx="55">
                  <c:v>0.2730272006077984</c:v>
                </c:pt>
                <c:pt idx="56">
                  <c:v>0.36124276664374144</c:v>
                </c:pt>
                <c:pt idx="57">
                  <c:v>0.4956327451703277</c:v>
                </c:pt>
                <c:pt idx="58">
                  <c:v>0.449458394293833</c:v>
                </c:pt>
                <c:pt idx="59">
                  <c:v>0.394453967643644</c:v>
                </c:pt>
                <c:pt idx="60">
                  <c:v>0.3559002554187801</c:v>
                </c:pt>
                <c:pt idx="61">
                  <c:v>0.33147638278039077</c:v>
                </c:pt>
                <c:pt idx="62">
                  <c:v>0.4167244547314261</c:v>
                </c:pt>
                <c:pt idx="63">
                  <c:v>0.41071412297320303</c:v>
                </c:pt>
                <c:pt idx="64">
                  <c:v>0.40843956332090664</c:v>
                </c:pt>
                <c:pt idx="65">
                  <c:v>0.3781166585785337</c:v>
                </c:pt>
                <c:pt idx="66">
                  <c:v>0.3706151317241445</c:v>
                </c:pt>
                <c:pt idx="67">
                  <c:v>0.3977114382281293</c:v>
                </c:pt>
                <c:pt idx="68">
                  <c:v>0.355700828379328</c:v>
                </c:pt>
                <c:pt idx="69">
                  <c:v>0.3538240655051566</c:v>
                </c:pt>
                <c:pt idx="70">
                  <c:v>0.33617079975857544</c:v>
                </c:pt>
                <c:pt idx="71">
                  <c:v>0.33942378636175213</c:v>
                </c:pt>
                <c:pt idx="72">
                  <c:v>0.3640635344624627</c:v>
                </c:pt>
                <c:pt idx="73">
                  <c:v>0.3460231634077813</c:v>
                </c:pt>
                <c:pt idx="74">
                  <c:v>0.32725278726941576</c:v>
                </c:pt>
                <c:pt idx="75">
                  <c:v>0.31460124233215564</c:v>
                </c:pt>
                <c:pt idx="76">
                  <c:v>0.3329027346635513</c:v>
                </c:pt>
                <c:pt idx="77">
                  <c:v>0.3297636103725264</c:v>
                </c:pt>
                <c:pt idx="78">
                  <c:v>0.3653423086110149</c:v>
                </c:pt>
                <c:pt idx="79">
                  <c:v>0.22786301089587424</c:v>
                </c:pt>
                <c:pt idx="80">
                  <c:v>0.22853081269054418</c:v>
                </c:pt>
                <c:pt idx="81">
                  <c:v>0.31648737348102185</c:v>
                </c:pt>
                <c:pt idx="82">
                  <c:v>0.33414932181449464</c:v>
                </c:pt>
                <c:pt idx="83">
                  <c:v>0.30470263901571265</c:v>
                </c:pt>
                <c:pt idx="84">
                  <c:v>0.28757938831926544</c:v>
                </c:pt>
                <c:pt idx="85">
                  <c:v>0.28709207012690613</c:v>
                </c:pt>
                <c:pt idx="86">
                  <c:v>0.31255131477273584</c:v>
                </c:pt>
                <c:pt idx="87">
                  <c:v>0.31168404056578597</c:v>
                </c:pt>
                <c:pt idx="88">
                  <c:v>0.28169509716958446</c:v>
                </c:pt>
                <c:pt idx="89">
                  <c:v>0.27305526698308397</c:v>
                </c:pt>
                <c:pt idx="90">
                  <c:v>0.2758214319362903</c:v>
                </c:pt>
                <c:pt idx="91">
                  <c:v>0.2925271071491258</c:v>
                </c:pt>
                <c:pt idx="92">
                  <c:v>0.2999747397483501</c:v>
                </c:pt>
                <c:pt idx="93">
                  <c:v>0.31974836564993514</c:v>
                </c:pt>
                <c:pt idx="94">
                  <c:v>0.30992493615600963</c:v>
                </c:pt>
                <c:pt idx="95">
                  <c:v>0.4064644418733486</c:v>
                </c:pt>
                <c:pt idx="96">
                  <c:v>0.37559847070311575</c:v>
                </c:pt>
                <c:pt idx="97">
                  <c:v>0.3705096234569044</c:v>
                </c:pt>
                <c:pt idx="98">
                  <c:v>0.406900714567972</c:v>
                </c:pt>
                <c:pt idx="99">
                  <c:v>0.45143485018210294</c:v>
                </c:pt>
                <c:pt idx="100">
                  <c:v>0.43511683551972374</c:v>
                </c:pt>
                <c:pt idx="101">
                  <c:v>0.40252633251525816</c:v>
                </c:pt>
                <c:pt idx="102">
                  <c:v>0.4010999428829723</c:v>
                </c:pt>
                <c:pt idx="103">
                  <c:v>0.33619731928379787</c:v>
                </c:pt>
                <c:pt idx="104">
                  <c:v>0.3403878034807529</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16109229860394</c:v>
                </c:pt>
                <c:pt idx="1">
                  <c:v>0.37601853992047746</c:v>
                </c:pt>
                <c:pt idx="2">
                  <c:v>0.3654428711887425</c:v>
                </c:pt>
                <c:pt idx="3">
                  <c:v>0.3896370335222368</c:v>
                </c:pt>
                <c:pt idx="4">
                  <c:v>0.3660860596918</c:v>
                </c:pt>
                <c:pt idx="5">
                  <c:v>0.33961323412854566</c:v>
                </c:pt>
                <c:pt idx="6">
                  <c:v>0.3858344656965853</c:v>
                </c:pt>
                <c:pt idx="7">
                  <c:v>0.4188729285757183</c:v>
                </c:pt>
                <c:pt idx="8">
                  <c:v>0.40234240048938547</c:v>
                </c:pt>
                <c:pt idx="9">
                  <c:v>0.3944581238214611</c:v>
                </c:pt>
                <c:pt idx="10">
                  <c:v>0.42565718871640457</c:v>
                </c:pt>
                <c:pt idx="11">
                  <c:v>0.40907017076109853</c:v>
                </c:pt>
                <c:pt idx="12">
                  <c:v>0.438199864820011</c:v>
                </c:pt>
                <c:pt idx="13">
                  <c:v>0.4727225046370002</c:v>
                </c:pt>
                <c:pt idx="14">
                  <c:v>0.47701415744339287</c:v>
                </c:pt>
                <c:pt idx="15">
                  <c:v>0.43422083737229217</c:v>
                </c:pt>
                <c:pt idx="16">
                  <c:v>0.4269818416101241</c:v>
                </c:pt>
                <c:pt idx="17">
                  <c:v>0.39129662390052794</c:v>
                </c:pt>
                <c:pt idx="18">
                  <c:v>0.3679371263053037</c:v>
                </c:pt>
                <c:pt idx="19">
                  <c:v>0.3939008297339419</c:v>
                </c:pt>
                <c:pt idx="20">
                  <c:v>0.38880602516141</c:v>
                </c:pt>
                <c:pt idx="21">
                  <c:v>0.3530636756081201</c:v>
                </c:pt>
                <c:pt idx="22">
                  <c:v>0.34055088698422126</c:v>
                </c:pt>
                <c:pt idx="23">
                  <c:v>0.33854339653479026</c:v>
                </c:pt>
                <c:pt idx="24">
                  <c:v>0.34646569066770855</c:v>
                </c:pt>
                <c:pt idx="25">
                  <c:v>0.32928088874920963</c:v>
                </c:pt>
                <c:pt idx="26">
                  <c:v>0.34220916245275884</c:v>
                </c:pt>
                <c:pt idx="27">
                  <c:v>0.3591555020809369</c:v>
                </c:pt>
                <c:pt idx="28">
                  <c:v>0.40111801229084626</c:v>
                </c:pt>
                <c:pt idx="29">
                  <c:v>0.40384917283902816</c:v>
                </c:pt>
                <c:pt idx="30">
                  <c:v>0.3816787980916271</c:v>
                </c:pt>
                <c:pt idx="31">
                  <c:v>0.28720989592058904</c:v>
                </c:pt>
                <c:pt idx="32">
                  <c:v>0.2861095972659548</c:v>
                </c:pt>
                <c:pt idx="33">
                  <c:v>0.2859131781130976</c:v>
                </c:pt>
                <c:pt idx="34">
                  <c:v>0.3094707904036711</c:v>
                </c:pt>
                <c:pt idx="35">
                  <c:v>0.3030668025686158</c:v>
                </c:pt>
                <c:pt idx="36">
                  <c:v>0.30672670110911343</c:v>
                </c:pt>
                <c:pt idx="37">
                  <c:v>0.3185274615624672</c:v>
                </c:pt>
                <c:pt idx="38">
                  <c:v>0.3237627110430982</c:v>
                </c:pt>
                <c:pt idx="39">
                  <c:v>0.3302830346841907</c:v>
                </c:pt>
                <c:pt idx="40">
                  <c:v>0.3338704817134267</c:v>
                </c:pt>
                <c:pt idx="41">
                  <c:v>0.3516554193657294</c:v>
                </c:pt>
                <c:pt idx="42">
                  <c:v>0.33691001507553314</c:v>
                </c:pt>
                <c:pt idx="43">
                  <c:v>0.3713740000931436</c:v>
                </c:pt>
                <c:pt idx="44">
                  <c:v>0.40833386082547984</c:v>
                </c:pt>
                <c:pt idx="45">
                  <c:v>0.4217021425523066</c:v>
                </c:pt>
                <c:pt idx="46">
                  <c:v>0.3904469205066988</c:v>
                </c:pt>
                <c:pt idx="47">
                  <c:v>0.41983376948367046</c:v>
                </c:pt>
                <c:pt idx="48">
                  <c:v>0.42818077985574066</c:v>
                </c:pt>
                <c:pt idx="49">
                  <c:v>0.46269020808382255</c:v>
                </c:pt>
                <c:pt idx="50">
                  <c:v>0.43744924423569237</c:v>
                </c:pt>
                <c:pt idx="51">
                  <c:v>0.36989820339341933</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030556055268163</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030556055268163</c:v>
                </c:pt>
                <c:pt idx="1">
                  <c:v>0.9030556055268163</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41981571937397</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41981571937397</c:v>
                </c:pt>
                <c:pt idx="1">
                  <c:v>0.6241981571937397</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59299788339527</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59299788339527</c:v>
                </c:pt>
                <c:pt idx="1">
                  <c:v>0.1559299788339527</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16109229860394</c:v>
                </c:pt>
                <c:pt idx="1">
                  <c:v>0.37601853992047746</c:v>
                </c:pt>
                <c:pt idx="2">
                  <c:v>0.3654428711887425</c:v>
                </c:pt>
                <c:pt idx="3">
                  <c:v>0.3896370335222368</c:v>
                </c:pt>
                <c:pt idx="4">
                  <c:v>0.3660860596918</c:v>
                </c:pt>
                <c:pt idx="5">
                  <c:v>0.33961323412854566</c:v>
                </c:pt>
                <c:pt idx="6">
                  <c:v>0.3858344656965853</c:v>
                </c:pt>
                <c:pt idx="7">
                  <c:v>0.4188729285757183</c:v>
                </c:pt>
                <c:pt idx="8">
                  <c:v>0.40234240048938547</c:v>
                </c:pt>
                <c:pt idx="9">
                  <c:v>0.3944581238214611</c:v>
                </c:pt>
                <c:pt idx="10">
                  <c:v>0.42565718871640457</c:v>
                </c:pt>
                <c:pt idx="11">
                  <c:v>0.40907017076109853</c:v>
                </c:pt>
                <c:pt idx="12">
                  <c:v>0.438199864820011</c:v>
                </c:pt>
                <c:pt idx="13">
                  <c:v>0.4727225046370002</c:v>
                </c:pt>
                <c:pt idx="14">
                  <c:v>0.47701415744339287</c:v>
                </c:pt>
                <c:pt idx="15">
                  <c:v>0.43422083737229217</c:v>
                </c:pt>
                <c:pt idx="16">
                  <c:v>0.4269818416101241</c:v>
                </c:pt>
                <c:pt idx="17">
                  <c:v>0.39129662390052794</c:v>
                </c:pt>
                <c:pt idx="18">
                  <c:v>0.3679371263053037</c:v>
                </c:pt>
                <c:pt idx="19">
                  <c:v>0.3939008297339419</c:v>
                </c:pt>
                <c:pt idx="20">
                  <c:v>0.38880602516141</c:v>
                </c:pt>
                <c:pt idx="21">
                  <c:v>0.3530636756081201</c:v>
                </c:pt>
                <c:pt idx="22">
                  <c:v>0.34055088698422126</c:v>
                </c:pt>
                <c:pt idx="23">
                  <c:v>0.33854339653479026</c:v>
                </c:pt>
                <c:pt idx="24">
                  <c:v>0.34646569066770855</c:v>
                </c:pt>
                <c:pt idx="25">
                  <c:v>0.32928088874920963</c:v>
                </c:pt>
                <c:pt idx="26">
                  <c:v>0.34220916245275884</c:v>
                </c:pt>
                <c:pt idx="27">
                  <c:v>0.3591555020809369</c:v>
                </c:pt>
                <c:pt idx="28">
                  <c:v>0.40111801229084626</c:v>
                </c:pt>
                <c:pt idx="29">
                  <c:v>0.40384917283902816</c:v>
                </c:pt>
                <c:pt idx="30">
                  <c:v>0.3816787980916271</c:v>
                </c:pt>
                <c:pt idx="31">
                  <c:v>0.28720989592058904</c:v>
                </c:pt>
                <c:pt idx="32">
                  <c:v>0.2861095972659548</c:v>
                </c:pt>
                <c:pt idx="33">
                  <c:v>0.2859131781130976</c:v>
                </c:pt>
                <c:pt idx="34">
                  <c:v>0.3094707904036711</c:v>
                </c:pt>
                <c:pt idx="35">
                  <c:v>0.3030668025686158</c:v>
                </c:pt>
                <c:pt idx="36">
                  <c:v>0.30672670110911343</c:v>
                </c:pt>
                <c:pt idx="37">
                  <c:v>0.3185274615624672</c:v>
                </c:pt>
                <c:pt idx="38">
                  <c:v>0.3237627110430982</c:v>
                </c:pt>
                <c:pt idx="39">
                  <c:v>0.3302830346841907</c:v>
                </c:pt>
                <c:pt idx="40">
                  <c:v>0.3338704817134267</c:v>
                </c:pt>
                <c:pt idx="41">
                  <c:v>0.3516554193657294</c:v>
                </c:pt>
                <c:pt idx="42">
                  <c:v>0.33691001507553314</c:v>
                </c:pt>
                <c:pt idx="43">
                  <c:v>0.3713740000931436</c:v>
                </c:pt>
                <c:pt idx="44">
                  <c:v>0.40833386082547984</c:v>
                </c:pt>
                <c:pt idx="45">
                  <c:v>0.4217021425523066</c:v>
                </c:pt>
                <c:pt idx="46">
                  <c:v>0.3904469205066988</c:v>
                </c:pt>
                <c:pt idx="47">
                  <c:v>0.41983376948367046</c:v>
                </c:pt>
                <c:pt idx="48">
                  <c:v>0.42818077985574066</c:v>
                </c:pt>
                <c:pt idx="49">
                  <c:v>0.46269020808382255</c:v>
                </c:pt>
                <c:pt idx="50">
                  <c:v>0.43744924423569237</c:v>
                </c:pt>
                <c:pt idx="51">
                  <c:v>0.36989820339341933</c:v>
                </c:pt>
                <c:pt idx="52">
                  <c:v>0.6241981571937397</c:v>
                </c:pt>
                <c:pt idx="53">
                  <c:v>0.9030556055268163</c:v>
                </c:pt>
                <c:pt idx="54">
                  <c:v>0.1559299788339527</c:v>
                </c:pt>
              </c:numCache>
            </c:numRef>
          </c:xVal>
          <c:yVal>
            <c:numRef>
              <c:f>Sheet1!$B$187:$B$241</c:f>
              <c:numCache>
                <c:formatCode>General</c:formatCode>
                <c:ptCount val="55"/>
                <c:pt idx="0">
                  <c:v>0.16984990225173976</c:v>
                </c:pt>
                <c:pt idx="1">
                  <c:v>0.17067560363411577</c:v>
                </c:pt>
                <c:pt idx="2">
                  <c:v>0.17008786174778476</c:v>
                </c:pt>
                <c:pt idx="3">
                  <c:v>0.17143245025266257</c:v>
                </c:pt>
                <c:pt idx="4">
                  <c:v>0.17012360689389727</c:v>
                </c:pt>
                <c:pt idx="5">
                  <c:v>0.16865238187468218</c:v>
                </c:pt>
                <c:pt idx="6">
                  <c:v>0.17122112287058947</c:v>
                </c:pt>
                <c:pt idx="7">
                  <c:v>0.17305723262275954</c:v>
                </c:pt>
                <c:pt idx="8">
                  <c:v>0.1721385499364955</c:v>
                </c:pt>
                <c:pt idx="9">
                  <c:v>0.17170038193419637</c:v>
                </c:pt>
                <c:pt idx="10">
                  <c:v>0.17343426730052722</c:v>
                </c:pt>
                <c:pt idx="11">
                  <c:v>0.17251244519462067</c:v>
                </c:pt>
                <c:pt idx="12">
                  <c:v>0.17413132545351678</c:v>
                </c:pt>
                <c:pt idx="13">
                  <c:v>0.17604991821222118</c:v>
                </c:pt>
                <c:pt idx="14">
                  <c:v>0.1762884264503185</c:v>
                </c:pt>
                <c:pt idx="15">
                  <c:v>0.17391019134302146</c:v>
                </c:pt>
                <c:pt idx="16">
                  <c:v>0.17350788477193613</c:v>
                </c:pt>
                <c:pt idx="17">
                  <c:v>0.17152468184616423</c:v>
                </c:pt>
                <c:pt idx="18">
                  <c:v>0.17022647976281385</c:v>
                </c:pt>
                <c:pt idx="19">
                  <c:v>0.1716694103628898</c:v>
                </c:pt>
                <c:pt idx="20">
                  <c:v>0.1713862670339992</c:v>
                </c:pt>
                <c:pt idx="21">
                  <c:v>0.16939988901089456</c:v>
                </c:pt>
                <c:pt idx="22">
                  <c:v>0.1687044918520366</c:v>
                </c:pt>
                <c:pt idx="23">
                  <c:v>0.168592925741801</c:v>
                </c:pt>
                <c:pt idx="24">
                  <c:v>0.16903320656146947</c:v>
                </c:pt>
                <c:pt idx="25">
                  <c:v>0.16807816266287465</c:v>
                </c:pt>
                <c:pt idx="26">
                  <c:v>0.16879665036954103</c:v>
                </c:pt>
                <c:pt idx="27">
                  <c:v>0.1697384417467221</c:v>
                </c:pt>
                <c:pt idx="28">
                  <c:v>0.17207050466695603</c:v>
                </c:pt>
                <c:pt idx="29">
                  <c:v>0.17222228868110961</c:v>
                </c:pt>
                <c:pt idx="30">
                  <c:v>0.1709901719984452</c:v>
                </c:pt>
                <c:pt idx="31">
                  <c:v>0.16574007083037307</c:v>
                </c:pt>
                <c:pt idx="32">
                  <c:v>0.16567892182663568</c:v>
                </c:pt>
                <c:pt idx="33">
                  <c:v>0.1656680058489949</c:v>
                </c:pt>
                <c:pt idx="34">
                  <c:v>0.16697721813961522</c:v>
                </c:pt>
                <c:pt idx="35">
                  <c:v>0.1666213170627479</c:v>
                </c:pt>
                <c:pt idx="36">
                  <c:v>0.16682471561148624</c:v>
                </c:pt>
                <c:pt idx="37">
                  <c:v>0.16748054186559175</c:v>
                </c:pt>
                <c:pt idx="38">
                  <c:v>0.16777149040825234</c:v>
                </c:pt>
                <c:pt idx="39">
                  <c:v>0.1681338568376021</c:v>
                </c:pt>
                <c:pt idx="40">
                  <c:v>0.16833322889979127</c:v>
                </c:pt>
                <c:pt idx="41">
                  <c:v>0.16932162529052516</c:v>
                </c:pt>
                <c:pt idx="42">
                  <c:v>0.16850215070673571</c:v>
                </c:pt>
                <c:pt idx="43">
                  <c:v>0.17041748372997528</c:v>
                </c:pt>
                <c:pt idx="44">
                  <c:v>0.17247152483284853</c:v>
                </c:pt>
                <c:pt idx="45">
                  <c:v>0.17321446594782053</c:v>
                </c:pt>
                <c:pt idx="46">
                  <c:v>0.1714774596526388</c:v>
                </c:pt>
                <c:pt idx="47">
                  <c:v>0.17311063127413837</c:v>
                </c:pt>
                <c:pt idx="48">
                  <c:v>0.17357451566251597</c:v>
                </c:pt>
                <c:pt idx="49">
                  <c:v>0.1754923741882955</c:v>
                </c:pt>
                <c:pt idx="50">
                  <c:v>0.17408960977866564</c:v>
                </c:pt>
                <c:pt idx="51">
                  <c:v>0.17033546645445927</c:v>
                </c:pt>
                <c:pt idx="52">
                  <c:v>0.1844681646631304</c:v>
                </c:pt>
                <c:pt idx="53">
                  <c:v>0.1999656435326154</c:v>
                </c:pt>
                <c:pt idx="54">
                  <c:v>0.1584442006529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518440237780615</c:v>
                </c:pt>
                <c:pt idx="1">
                  <c:v>0.7490793060508594</c:v>
                </c:pt>
                <c:pt idx="2">
                  <c:v>0.8705066483039894</c:v>
                </c:pt>
                <c:pt idx="3">
                  <c:v>0.796812651935559</c:v>
                </c:pt>
                <c:pt idx="4">
                  <c:v>0.8281544486358772</c:v>
                </c:pt>
                <c:pt idx="5">
                  <c:v>0.799930380217695</c:v>
                </c:pt>
                <c:pt idx="6">
                  <c:v>0.7515787428635926</c:v>
                </c:pt>
                <c:pt idx="7">
                  <c:v>0.7726692999440236</c:v>
                </c:pt>
                <c:pt idx="8">
                  <c:v>0.7923619462411025</c:v>
                </c:pt>
                <c:pt idx="9">
                  <c:v>0.8225616210462554</c:v>
                </c:pt>
                <c:pt idx="10">
                  <c:v>0.9191809446636138</c:v>
                </c:pt>
                <c:pt idx="11">
                  <c:v>0.8841292560163597</c:v>
                </c:pt>
                <c:pt idx="12">
                  <c:v>0.860204591392436</c:v>
                </c:pt>
                <c:pt idx="13">
                  <c:v>0.898248449602697</c:v>
                </c:pt>
                <c:pt idx="14">
                  <c:v>0.9243888474344886</c:v>
                </c:pt>
                <c:pt idx="15">
                  <c:v>0.8762157662764439</c:v>
                </c:pt>
                <c:pt idx="16">
                  <c:v>0.8971036349725062</c:v>
                </c:pt>
                <c:pt idx="17">
                  <c:v>0.9083311240299173</c:v>
                </c:pt>
                <c:pt idx="18">
                  <c:v>0.9588783061194396</c:v>
                </c:pt>
                <c:pt idx="19">
                  <c:v>0.8993108801503216</c:v>
                </c:pt>
                <c:pt idx="20">
                  <c:v>0.896096789543051</c:v>
                </c:pt>
                <c:pt idx="21">
                  <c:v>0.9548693405846362</c:v>
                </c:pt>
                <c:pt idx="22">
                  <c:v>1.030170433117133</c:v>
                </c:pt>
                <c:pt idx="23">
                  <c:v>0.8724692677756489</c:v>
                </c:pt>
                <c:pt idx="24">
                  <c:v>0.8123432518782118</c:v>
                </c:pt>
                <c:pt idx="25">
                  <c:v>0.9237716438547177</c:v>
                </c:pt>
                <c:pt idx="26">
                  <c:v>0.9279093415393923</c:v>
                </c:pt>
                <c:pt idx="27">
                  <c:v>0.9944481197979969</c:v>
                </c:pt>
                <c:pt idx="28">
                  <c:v>0.9052077348066299</c:v>
                </c:pt>
                <c:pt idx="29">
                  <c:v>0.6733547099265557</c:v>
                </c:pt>
                <c:pt idx="30">
                  <c:v>0.7006925486875529</c:v>
                </c:pt>
                <c:pt idx="31">
                  <c:v>0.7464345764898687</c:v>
                </c:pt>
                <c:pt idx="32">
                  <c:v>0.5581926145495216</c:v>
                </c:pt>
                <c:pt idx="33">
                  <c:v>0.3706987010562153</c:v>
                </c:pt>
                <c:pt idx="34">
                  <c:v>0.6904276702690592</c:v>
                </c:pt>
                <c:pt idx="35">
                  <c:v>0.646388555307194</c:v>
                </c:pt>
                <c:pt idx="36">
                  <c:v>0.7148582288107521</c:v>
                </c:pt>
                <c:pt idx="37">
                  <c:v>0.7905243298541098</c:v>
                </c:pt>
                <c:pt idx="38">
                  <c:v>0.7654730598410472</c:v>
                </c:pt>
                <c:pt idx="39">
                  <c:v>0.7381077315652731</c:v>
                </c:pt>
                <c:pt idx="40">
                  <c:v>0.7513540630115377</c:v>
                </c:pt>
                <c:pt idx="41">
                  <c:v>0.7470594887325606</c:v>
                </c:pt>
                <c:pt idx="42">
                  <c:v>0.8070618514658571</c:v>
                </c:pt>
                <c:pt idx="43">
                  <c:v>0.8253186300870072</c:v>
                </c:pt>
                <c:pt idx="44">
                  <c:v>0.7680064440386957</c:v>
                </c:pt>
                <c:pt idx="45">
                  <c:v>0.8278920041536865</c:v>
                </c:pt>
                <c:pt idx="46">
                  <c:v>0.8291187447221846</c:v>
                </c:pt>
                <c:pt idx="47">
                  <c:v>0.8610262395153961</c:v>
                </c:pt>
                <c:pt idx="48">
                  <c:v>0.909044329156501</c:v>
                </c:pt>
                <c:pt idx="49">
                  <c:v>1.07107045472598</c:v>
                </c:pt>
                <c:pt idx="50">
                  <c:v>0.9344937974263817</c:v>
                </c:pt>
                <c:pt idx="51">
                  <c:v>0.8301341330028581</c:v>
                </c:pt>
                <c:pt idx="52">
                  <c:v>0.8238555076980003</c:v>
                </c:pt>
                <c:pt idx="53">
                  <c:v>0.9209166124552266</c:v>
                </c:pt>
                <c:pt idx="54">
                  <c:v>0.8946548626817448</c:v>
                </c:pt>
                <c:pt idx="55">
                  <c:v>0.9160459849460685</c:v>
                </c:pt>
                <c:pt idx="56">
                  <c:v>0.9562433232446844</c:v>
                </c:pt>
                <c:pt idx="57">
                  <c:v>0.9182947531800343</c:v>
                </c:pt>
                <c:pt idx="58">
                  <c:v>0.92103104465409</c:v>
                </c:pt>
                <c:pt idx="59">
                  <c:v>0.9437829074655573</c:v>
                </c:pt>
                <c:pt idx="60">
                  <c:v>0.9594549160154567</c:v>
                </c:pt>
                <c:pt idx="61">
                  <c:v>0.7696376958992672</c:v>
                </c:pt>
                <c:pt idx="62">
                  <c:v>0.8368188020966435</c:v>
                </c:pt>
                <c:pt idx="63">
                  <c:v>0.9123168768438467</c:v>
                </c:pt>
                <c:pt idx="64">
                  <c:v>0.9499536726727911</c:v>
                </c:pt>
                <c:pt idx="65">
                  <c:v>0.8921399464669508</c:v>
                </c:pt>
                <c:pt idx="66">
                  <c:v>0.8881169526589026</c:v>
                </c:pt>
                <c:pt idx="67">
                  <c:v>0.8836088892991172</c:v>
                </c:pt>
                <c:pt idx="68">
                  <c:v>0.8642042205087122</c:v>
                </c:pt>
                <c:pt idx="69">
                  <c:v>0.867208627184963</c:v>
                </c:pt>
                <c:pt idx="70">
                  <c:v>0.8803174276183383</c:v>
                </c:pt>
                <c:pt idx="71">
                  <c:v>0.9250614080707985</c:v>
                </c:pt>
                <c:pt idx="72">
                  <c:v>0.9744588768074605</c:v>
                </c:pt>
                <c:pt idx="73">
                  <c:v>0.9533780061996476</c:v>
                </c:pt>
                <c:pt idx="74">
                  <c:v>0.8905013269954446</c:v>
                </c:pt>
                <c:pt idx="75">
                  <c:v>0.8399667060436421</c:v>
                </c:pt>
                <c:pt idx="76">
                  <c:v>0.8534762116155261</c:v>
                </c:pt>
                <c:pt idx="77">
                  <c:v>0.9257642560709114</c:v>
                </c:pt>
                <c:pt idx="78">
                  <c:v>0.9264187949868011</c:v>
                </c:pt>
                <c:pt idx="79">
                  <c:v>0.9407139529559814</c:v>
                </c:pt>
                <c:pt idx="80">
                  <c:v>0.8774827608560473</c:v>
                </c:pt>
                <c:pt idx="81">
                  <c:v>0.8681557165431978</c:v>
                </c:pt>
                <c:pt idx="82">
                  <c:v>0.8359887351465038</c:v>
                </c:pt>
                <c:pt idx="83">
                  <c:v>0.8353285521105955</c:v>
                </c:pt>
                <c:pt idx="84">
                  <c:v>0.8142179586457391</c:v>
                </c:pt>
                <c:pt idx="85">
                  <c:v>0.8123487367478215</c:v>
                </c:pt>
                <c:pt idx="86">
                  <c:v>0.7375355780084056</c:v>
                </c:pt>
                <c:pt idx="87">
                  <c:v>0.7973259337037153</c:v>
                </c:pt>
                <c:pt idx="88">
                  <c:v>0.805775533441983</c:v>
                </c:pt>
                <c:pt idx="89">
                  <c:v>0.6943572612135985</c:v>
                </c:pt>
                <c:pt idx="90">
                  <c:v>0.7503606353943707</c:v>
                </c:pt>
                <c:pt idx="91">
                  <c:v>0.7288133173906134</c:v>
                </c:pt>
                <c:pt idx="92">
                  <c:v>0.7291587494134233</c:v>
                </c:pt>
                <c:pt idx="93">
                  <c:v>0.8102499699640178</c:v>
                </c:pt>
                <c:pt idx="94">
                  <c:v>0.8052582415336013</c:v>
                </c:pt>
                <c:pt idx="95">
                  <c:v>0.8539059770532097</c:v>
                </c:pt>
                <c:pt idx="96">
                  <c:v>0.9320681077758427</c:v>
                </c:pt>
                <c:pt idx="97">
                  <c:v>0.9200535681048797</c:v>
                </c:pt>
                <c:pt idx="98">
                  <c:v>0.9385968800667104</c:v>
                </c:pt>
                <c:pt idx="99">
                  <c:v>0.9644339738068612</c:v>
                </c:pt>
                <c:pt idx="100">
                  <c:v>0.9419644869828716</c:v>
                </c:pt>
                <c:pt idx="101">
                  <c:v>0.9387620139317522</c:v>
                </c:pt>
                <c:pt idx="102">
                  <c:v>0.8795164437822182</c:v>
                </c:pt>
                <c:pt idx="103">
                  <c:v>0.8502461845199092</c:v>
                </c:pt>
                <c:pt idx="104">
                  <c:v>0.9256007549325723</c:v>
                </c:pt>
              </c:numCache>
            </c:numRef>
          </c:xVal>
          <c:yVal>
            <c:numRef>
              <c:f>Sheet1!$B$2:$B$106</c:f>
              <c:numCache>
                <c:formatCode>General</c:formatCode>
                <c:ptCount val="105"/>
                <c:pt idx="0">
                  <c:v>0.23357664233576642</c:v>
                </c:pt>
                <c:pt idx="1">
                  <c:v>0.234737747205503</c:v>
                </c:pt>
                <c:pt idx="2">
                  <c:v>0.21087435709037472</c:v>
                </c:pt>
                <c:pt idx="3">
                  <c:v>0.18355945730247406</c:v>
                </c:pt>
                <c:pt idx="4">
                  <c:v>0.19545454545454546</c:v>
                </c:pt>
                <c:pt idx="5">
                  <c:v>0.1778723404255319</c:v>
                </c:pt>
                <c:pt idx="6">
                  <c:v>0.2146643109540636</c:v>
                </c:pt>
                <c:pt idx="7">
                  <c:v>0.22942206654991243</c:v>
                </c:pt>
                <c:pt idx="8">
                  <c:v>0.22167487684729065</c:v>
                </c:pt>
                <c:pt idx="9">
                  <c:v>0.268389662027833</c:v>
                </c:pt>
                <c:pt idx="10">
                  <c:v>0.2540029112081514</c:v>
                </c:pt>
                <c:pt idx="11">
                  <c:v>0.23952095808383234</c:v>
                </c:pt>
                <c:pt idx="12">
                  <c:v>0.23155588020452886</c:v>
                </c:pt>
                <c:pt idx="13">
                  <c:v>0.25419847328244277</c:v>
                </c:pt>
                <c:pt idx="14">
                  <c:v>0.2401883830455259</c:v>
                </c:pt>
                <c:pt idx="15">
                  <c:v>0.2507232401157184</c:v>
                </c:pt>
                <c:pt idx="16">
                  <c:v>0.2157279489904357</c:v>
                </c:pt>
                <c:pt idx="17">
                  <c:v>0.20875420875420875</c:v>
                </c:pt>
                <c:pt idx="18">
                  <c:v>0.23258426966292134</c:v>
                </c:pt>
                <c:pt idx="19">
                  <c:v>0.18622848200312989</c:v>
                </c:pt>
                <c:pt idx="20">
                  <c:v>0.18280739934711643</c:v>
                </c:pt>
                <c:pt idx="21">
                  <c:v>0.185473411154345</c:v>
                </c:pt>
                <c:pt idx="22">
                  <c:v>0.19160104986876642</c:v>
                </c:pt>
                <c:pt idx="23">
                  <c:v>0.18028169014084508</c:v>
                </c:pt>
                <c:pt idx="24">
                  <c:v>0.1819526627218935</c:v>
                </c:pt>
                <c:pt idx="25">
                  <c:v>0.19110378912685339</c:v>
                </c:pt>
                <c:pt idx="26">
                  <c:v>0.17690875232774675</c:v>
                </c:pt>
                <c:pt idx="27">
                  <c:v>0.12164948453608247</c:v>
                </c:pt>
                <c:pt idx="28">
                  <c:v>0.12385321100917432</c:v>
                </c:pt>
                <c:pt idx="29">
                  <c:v>0.13948919449901767</c:v>
                </c:pt>
                <c:pt idx="30">
                  <c:v>0.13526570048309178</c:v>
                </c:pt>
                <c:pt idx="31">
                  <c:v>0.13414634146341464</c:v>
                </c:pt>
                <c:pt idx="32">
                  <c:v>0.1941747572815534</c:v>
                </c:pt>
                <c:pt idx="33">
                  <c:v>0.2338403041825095</c:v>
                </c:pt>
                <c:pt idx="34">
                  <c:v>0.16820702402957485</c:v>
                </c:pt>
                <c:pt idx="35">
                  <c:v>0.16806722689075632</c:v>
                </c:pt>
                <c:pt idx="36">
                  <c:v>0.1388888888888889</c:v>
                </c:pt>
                <c:pt idx="37">
                  <c:v>0.13011152416356878</c:v>
                </c:pt>
                <c:pt idx="38">
                  <c:v>0.10669456066945607</c:v>
                </c:pt>
                <c:pt idx="39">
                  <c:v>0.10560344827586207</c:v>
                </c:pt>
                <c:pt idx="40">
                  <c:v>0.12208258527827648</c:v>
                </c:pt>
                <c:pt idx="41">
                  <c:v>0.09983079526226735</c:v>
                </c:pt>
                <c:pt idx="42">
                  <c:v>0.10806174957118353</c:v>
                </c:pt>
                <c:pt idx="43">
                  <c:v>0.10084033613445378</c:v>
                </c:pt>
                <c:pt idx="44">
                  <c:v>0.1347708894878706</c:v>
                </c:pt>
                <c:pt idx="45">
                  <c:v>0.15609756097560976</c:v>
                </c:pt>
                <c:pt idx="46">
                  <c:v>0.16153846153846155</c:v>
                </c:pt>
                <c:pt idx="47">
                  <c:v>0.1458966565349544</c:v>
                </c:pt>
                <c:pt idx="48">
                  <c:v>0.1789173789173789</c:v>
                </c:pt>
                <c:pt idx="49">
                  <c:v>0.1975540921919097</c:v>
                </c:pt>
                <c:pt idx="50">
                  <c:v>0.1457384515289525</c:v>
                </c:pt>
                <c:pt idx="51">
                  <c:v>0.13895216400911162</c:v>
                </c:pt>
                <c:pt idx="52">
                  <c:v>0.14654002713704206</c:v>
                </c:pt>
                <c:pt idx="53">
                  <c:v>0.11090909090909092</c:v>
                </c:pt>
                <c:pt idx="54">
                  <c:v>0.11665182546749778</c:v>
                </c:pt>
                <c:pt idx="55">
                  <c:v>0.12041884816753927</c:v>
                </c:pt>
                <c:pt idx="56">
                  <c:v>0.12778730703259006</c:v>
                </c:pt>
                <c:pt idx="57">
                  <c:v>0.10628019323671498</c:v>
                </c:pt>
                <c:pt idx="58">
                  <c:v>0.1333907056798623</c:v>
                </c:pt>
                <c:pt idx="59">
                  <c:v>0.12659075686537175</c:v>
                </c:pt>
                <c:pt idx="60">
                  <c:v>0.14506172839506173</c:v>
                </c:pt>
                <c:pt idx="61">
                  <c:v>0.1836105976586568</c:v>
                </c:pt>
                <c:pt idx="62">
                  <c:v>0.203003003003003</c:v>
                </c:pt>
                <c:pt idx="63">
                  <c:v>0.20622568093385213</c:v>
                </c:pt>
                <c:pt idx="64">
                  <c:v>0.2116461366181411</c:v>
                </c:pt>
                <c:pt idx="65">
                  <c:v>0.2194513715710723</c:v>
                </c:pt>
                <c:pt idx="66">
                  <c:v>0.21461487820934824</c:v>
                </c:pt>
                <c:pt idx="67">
                  <c:v>0.19305331179321486</c:v>
                </c:pt>
                <c:pt idx="68">
                  <c:v>0.13583815028901733</c:v>
                </c:pt>
                <c:pt idx="69">
                  <c:v>0.1259765625</c:v>
                </c:pt>
                <c:pt idx="70">
                  <c:v>0.1172962226640159</c:v>
                </c:pt>
                <c:pt idx="71">
                  <c:v>0.12740384615384615</c:v>
                </c:pt>
                <c:pt idx="72">
                  <c:v>0.11933701657458563</c:v>
                </c:pt>
                <c:pt idx="73">
                  <c:v>0.1202113606340819</c:v>
                </c:pt>
                <c:pt idx="74">
                  <c:v>0.10967741935483871</c:v>
                </c:pt>
                <c:pt idx="75">
                  <c:v>0.1099554234769688</c:v>
                </c:pt>
                <c:pt idx="76">
                  <c:v>0.10703812316715543</c:v>
                </c:pt>
                <c:pt idx="77">
                  <c:v>0.10927152317880795</c:v>
                </c:pt>
                <c:pt idx="78">
                  <c:v>0.10332749562171628</c:v>
                </c:pt>
                <c:pt idx="79">
                  <c:v>0.1</c:v>
                </c:pt>
                <c:pt idx="80">
                  <c:v>0.08163265306122448</c:v>
                </c:pt>
                <c:pt idx="81">
                  <c:v>0.09956709956709957</c:v>
                </c:pt>
                <c:pt idx="82">
                  <c:v>0.10700389105058365</c:v>
                </c:pt>
                <c:pt idx="83">
                  <c:v>0.0975103734439834</c:v>
                </c:pt>
                <c:pt idx="84">
                  <c:v>0.08176100628930817</c:v>
                </c:pt>
                <c:pt idx="85">
                  <c:v>0.10344827586206896</c:v>
                </c:pt>
                <c:pt idx="86">
                  <c:v>0.1254125412541254</c:v>
                </c:pt>
                <c:pt idx="87">
                  <c:v>0.12248062015503876</c:v>
                </c:pt>
                <c:pt idx="88">
                  <c:v>0.09551656920077972</c:v>
                </c:pt>
                <c:pt idx="89">
                  <c:v>0.09145129224652088</c:v>
                </c:pt>
                <c:pt idx="90">
                  <c:v>0.08977035490605428</c:v>
                </c:pt>
                <c:pt idx="91">
                  <c:v>0.09978308026030369</c:v>
                </c:pt>
                <c:pt idx="92">
                  <c:v>0.09598603839441536</c:v>
                </c:pt>
                <c:pt idx="93">
                  <c:v>0.08555133079847908</c:v>
                </c:pt>
                <c:pt idx="94">
                  <c:v>0.1015625</c:v>
                </c:pt>
                <c:pt idx="95">
                  <c:v>0.11062590975254731</c:v>
                </c:pt>
                <c:pt idx="96">
                  <c:v>0.11201866977829639</c:v>
                </c:pt>
                <c:pt idx="97">
                  <c:v>0.12111111111111111</c:v>
                </c:pt>
                <c:pt idx="98">
                  <c:v>0.1437282229965157</c:v>
                </c:pt>
                <c:pt idx="99">
                  <c:v>0.15168539325842698</c:v>
                </c:pt>
                <c:pt idx="100">
                  <c:v>0.1917808219178082</c:v>
                </c:pt>
                <c:pt idx="101">
                  <c:v>0.1579778830963665</c:v>
                </c:pt>
                <c:pt idx="102">
                  <c:v>0.12225405921680993</c:v>
                </c:pt>
                <c:pt idx="103">
                  <c:v>0.13666666666666666</c:v>
                </c:pt>
                <c:pt idx="104">
                  <c:v>0.1350601295097132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899578806144741</c:v>
                </c:pt>
                <c:pt idx="1">
                  <c:v>1.0160222897857396</c:v>
                </c:pt>
                <c:pt idx="2">
                  <c:v>0.9713496619319754</c:v>
                </c:pt>
                <c:pt idx="3">
                  <c:v>1.0028674618358442</c:v>
                </c:pt>
                <c:pt idx="4">
                  <c:v>0.8897089452537333</c:v>
                </c:pt>
                <c:pt idx="5">
                  <c:v>1.091434718522904</c:v>
                </c:pt>
                <c:pt idx="6">
                  <c:v>1.1009812775990155</c:v>
                </c:pt>
                <c:pt idx="7">
                  <c:v>1.1892977745711866</c:v>
                </c:pt>
                <c:pt idx="8">
                  <c:v>1.2127108835062068</c:v>
                </c:pt>
                <c:pt idx="9">
                  <c:v>1.1491472134537866</c:v>
                </c:pt>
                <c:pt idx="10">
                  <c:v>1.171563823365143</c:v>
                </c:pt>
                <c:pt idx="11">
                  <c:v>1.1630894136211558</c:v>
                </c:pt>
                <c:pt idx="12">
                  <c:v>1.1225782817040697</c:v>
                </c:pt>
                <c:pt idx="13">
                  <c:v>1.1723823492843863</c:v>
                </c:pt>
                <c:pt idx="14">
                  <c:v>1.0860231284564865</c:v>
                </c:pt>
                <c:pt idx="15">
                  <c:v>1.1143221327603916</c:v>
                </c:pt>
                <c:pt idx="16">
                  <c:v>1.0469128157256575</c:v>
                </c:pt>
                <c:pt idx="17">
                  <c:v>1.009623953169276</c:v>
                </c:pt>
                <c:pt idx="18">
                  <c:v>1.3241109554846862</c:v>
                </c:pt>
                <c:pt idx="19">
                  <c:v>1.470283825297102</c:v>
                </c:pt>
                <c:pt idx="20">
                  <c:v>1.3648880859045482</c:v>
                </c:pt>
                <c:pt idx="21">
                  <c:v>1.6334704091258405</c:v>
                </c:pt>
                <c:pt idx="22">
                  <c:v>1.4025502828028675</c:v>
                </c:pt>
                <c:pt idx="23">
                  <c:v>1.3800633414904913</c:v>
                </c:pt>
                <c:pt idx="24">
                  <c:v>1.4984132439319928</c:v>
                </c:pt>
                <c:pt idx="25">
                  <c:v>1.285327732843744</c:v>
                </c:pt>
                <c:pt idx="26">
                  <c:v>1.2463188936997305</c:v>
                </c:pt>
                <c:pt idx="27">
                  <c:v>1.2983743165414323</c:v>
                </c:pt>
                <c:pt idx="28">
                  <c:v>1.159876954416035</c:v>
                </c:pt>
                <c:pt idx="29">
                  <c:v>1.385235918885983</c:v>
                </c:pt>
                <c:pt idx="30">
                  <c:v>1.202418441222089</c:v>
                </c:pt>
                <c:pt idx="31">
                  <c:v>1.1717288840499764</c:v>
                </c:pt>
                <c:pt idx="32">
                  <c:v>1.2286674065998429</c:v>
                </c:pt>
                <c:pt idx="33">
                  <c:v>1.245287188989346</c:v>
                </c:pt>
                <c:pt idx="34">
                  <c:v>1.3389653158410801</c:v>
                </c:pt>
                <c:pt idx="35">
                  <c:v>1.3870213816158221</c:v>
                </c:pt>
                <c:pt idx="36">
                  <c:v>1.2111881401930555</c:v>
                </c:pt>
                <c:pt idx="37">
                  <c:v>1.4701362583441722</c:v>
                </c:pt>
                <c:pt idx="38">
                  <c:v>1.6949956596068172</c:v>
                </c:pt>
                <c:pt idx="39">
                  <c:v>1.645776755010685</c:v>
                </c:pt>
                <c:pt idx="40">
                  <c:v>1.3658660235402798</c:v>
                </c:pt>
                <c:pt idx="41">
                  <c:v>1.4627936922842433</c:v>
                </c:pt>
                <c:pt idx="42">
                  <c:v>1.4875694037570024</c:v>
                </c:pt>
                <c:pt idx="43">
                  <c:v>1.59742151675485</c:v>
                </c:pt>
                <c:pt idx="44">
                  <c:v>1.4819766595281931</c:v>
                </c:pt>
                <c:pt idx="45">
                  <c:v>1.3315629702448453</c:v>
                </c:pt>
                <c:pt idx="46">
                  <c:v>1.5975799697091542</c:v>
                </c:pt>
                <c:pt idx="47">
                  <c:v>1.234047087773853</c:v>
                </c:pt>
                <c:pt idx="48">
                  <c:v>1.282671636126929</c:v>
                </c:pt>
                <c:pt idx="49">
                  <c:v>1.3119912953840467</c:v>
                </c:pt>
                <c:pt idx="50">
                  <c:v>1.2192672864360488</c:v>
                </c:pt>
                <c:pt idx="51">
                  <c:v>1.0908511708692497</c:v>
                </c:pt>
              </c:numCache>
            </c:numRef>
          </c:xVal>
          <c:yVal>
            <c:numRef>
              <c:f>Sheet1!$B$109:$B$160</c:f>
              <c:numCache>
                <c:formatCode>General</c:formatCode>
                <c:ptCount val="52"/>
                <c:pt idx="0">
                  <c:v>0.1392515230635335</c:v>
                </c:pt>
                <c:pt idx="1">
                  <c:v>0.1282051282051282</c:v>
                </c:pt>
                <c:pt idx="2">
                  <c:v>0.13421706710853357</c:v>
                </c:pt>
                <c:pt idx="3">
                  <c:v>0.1487946799667498</c:v>
                </c:pt>
                <c:pt idx="4">
                  <c:v>0.1424287856071964</c:v>
                </c:pt>
                <c:pt idx="5">
                  <c:v>0.12772837510105092</c:v>
                </c:pt>
                <c:pt idx="6">
                  <c:v>0.13717693836978131</c:v>
                </c:pt>
                <c:pt idx="7">
                  <c:v>0.13606770833333334</c:v>
                </c:pt>
                <c:pt idx="8">
                  <c:v>0.1755153029356652</c:v>
                </c:pt>
                <c:pt idx="9">
                  <c:v>0.1826137689614936</c:v>
                </c:pt>
                <c:pt idx="10">
                  <c:v>0.2004996876951905</c:v>
                </c:pt>
                <c:pt idx="11">
                  <c:v>0.20103896103896104</c:v>
                </c:pt>
                <c:pt idx="12">
                  <c:v>0.2069364161849711</c:v>
                </c:pt>
                <c:pt idx="13">
                  <c:v>0.2049808429118774</c:v>
                </c:pt>
                <c:pt idx="14">
                  <c:v>0.1990984222389181</c:v>
                </c:pt>
                <c:pt idx="15">
                  <c:v>0.19246861924686193</c:v>
                </c:pt>
                <c:pt idx="16">
                  <c:v>0.16294227188081936</c:v>
                </c:pt>
                <c:pt idx="17">
                  <c:v>0.1476923076923077</c:v>
                </c:pt>
                <c:pt idx="18">
                  <c:v>0.1524008350730689</c:v>
                </c:pt>
                <c:pt idx="19">
                  <c:v>0.12878787878787878</c:v>
                </c:pt>
                <c:pt idx="20">
                  <c:v>0.12038523274478331</c:v>
                </c:pt>
                <c:pt idx="21">
                  <c:v>0.11591962905718702</c:v>
                </c:pt>
                <c:pt idx="22">
                  <c:v>0.10885341074020319</c:v>
                </c:pt>
                <c:pt idx="23">
                  <c:v>0.11773700305810397</c:v>
                </c:pt>
                <c:pt idx="24">
                  <c:v>0.136431784107946</c:v>
                </c:pt>
                <c:pt idx="25">
                  <c:v>0.15047021943573669</c:v>
                </c:pt>
                <c:pt idx="26">
                  <c:v>0.115</c:v>
                </c:pt>
                <c:pt idx="27">
                  <c:v>0.09328358208955224</c:v>
                </c:pt>
                <c:pt idx="28">
                  <c:v>0.11517367458866545</c:v>
                </c:pt>
                <c:pt idx="29">
                  <c:v>0.1127348643006263</c:v>
                </c:pt>
                <c:pt idx="30">
                  <c:v>0.11677282377919321</c:v>
                </c:pt>
                <c:pt idx="31">
                  <c:v>0.09699769053117784</c:v>
                </c:pt>
                <c:pt idx="32">
                  <c:v>0.0995850622406639</c:v>
                </c:pt>
                <c:pt idx="33">
                  <c:v>0.10855263157894737</c:v>
                </c:pt>
                <c:pt idx="34">
                  <c:v>0.13149847094801223</c:v>
                </c:pt>
                <c:pt idx="35">
                  <c:v>0.12751677852348994</c:v>
                </c:pt>
                <c:pt idx="36">
                  <c:v>0.10438413361169102</c:v>
                </c:pt>
                <c:pt idx="37">
                  <c:v>0.07954545454545454</c:v>
                </c:pt>
                <c:pt idx="38">
                  <c:v>0.06695464362850972</c:v>
                </c:pt>
                <c:pt idx="39">
                  <c:v>0.07869481765834933</c:v>
                </c:pt>
                <c:pt idx="40">
                  <c:v>0.09540034071550256</c:v>
                </c:pt>
                <c:pt idx="41">
                  <c:v>0.08797127468581688</c:v>
                </c:pt>
                <c:pt idx="42">
                  <c:v>0.08849557522123894</c:v>
                </c:pt>
                <c:pt idx="43">
                  <c:v>0.08364544319600499</c:v>
                </c:pt>
                <c:pt idx="44">
                  <c:v>0.08544726301735647</c:v>
                </c:pt>
                <c:pt idx="45">
                  <c:v>0.10247747747747747</c:v>
                </c:pt>
                <c:pt idx="46">
                  <c:v>0.1027592768791627</c:v>
                </c:pt>
                <c:pt idx="47">
                  <c:v>0.10727272727272727</c:v>
                </c:pt>
                <c:pt idx="48">
                  <c:v>0.10079575596816977</c:v>
                </c:pt>
                <c:pt idx="49">
                  <c:v>0.1252336448598131</c:v>
                </c:pt>
                <c:pt idx="50">
                  <c:v>0.17847669571807503</c:v>
                </c:pt>
                <c:pt idx="51">
                  <c:v>0.151490066225165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1557556463378525</c:v>
                </c:pt>
              </c:numCache>
            </c:numRef>
          </c:xVal>
          <c:yVal>
            <c:numRef>
              <c:f>Sheet1!$B$163:$B$164</c:f>
              <c:numCache>
                <c:formatCode>General</c:formatCode>
                <c:ptCount val="2"/>
                <c:pt idx="0">
                  <c:v>0.2269350175292454</c:v>
                </c:pt>
                <c:pt idx="1">
                  <c:v>0.22693501752924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1557556463378525</c:v>
                </c:pt>
                <c:pt idx="1">
                  <c:v>0.41557556463378525</c:v>
                </c:pt>
              </c:numCache>
            </c:numRef>
          </c:xVal>
          <c:yVal>
            <c:numRef>
              <c:f>Sheet1!$B$167:$B$168</c:f>
              <c:numCache>
                <c:formatCode>General</c:formatCode>
                <c:ptCount val="2"/>
                <c:pt idx="0">
                  <c:v>0.22693501752924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126514643905905</c:v>
                </c:pt>
              </c:numCache>
            </c:numRef>
          </c:xVal>
          <c:yVal>
            <c:numRef>
              <c:f>Sheet1!$B$171:$B$172</c:f>
              <c:numCache>
                <c:formatCode>General</c:formatCode>
                <c:ptCount val="2"/>
                <c:pt idx="0">
                  <c:v>0.17044345180879375</c:v>
                </c:pt>
                <c:pt idx="1">
                  <c:v>0.170443451808793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126514643905905</c:v>
                </c:pt>
                <c:pt idx="1">
                  <c:v>0.9126514643905905</c:v>
                </c:pt>
              </c:numCache>
            </c:numRef>
          </c:xVal>
          <c:yVal>
            <c:numRef>
              <c:f>Sheet1!$B$175:$B$176</c:f>
              <c:numCache>
                <c:formatCode>General</c:formatCode>
                <c:ptCount val="2"/>
                <c:pt idx="0">
                  <c:v>0.170443451808793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728198493668343</c:v>
                </c:pt>
              </c:numCache>
            </c:numRef>
          </c:xVal>
          <c:yVal>
            <c:numRef>
              <c:f>Sheet1!$B$179:$B$180</c:f>
              <c:numCache>
                <c:formatCode>General</c:formatCode>
                <c:ptCount val="2"/>
                <c:pt idx="0">
                  <c:v>0.10678156606883539</c:v>
                </c:pt>
                <c:pt idx="1">
                  <c:v>0.106781566068835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728198493668343</c:v>
                </c:pt>
                <c:pt idx="1">
                  <c:v>1.4728198493668343</c:v>
                </c:pt>
              </c:numCache>
            </c:numRef>
          </c:xVal>
          <c:yVal>
            <c:numRef>
              <c:f>Sheet1!$B$183:$B$184</c:f>
              <c:numCache>
                <c:formatCode>General</c:formatCode>
                <c:ptCount val="2"/>
                <c:pt idx="0">
                  <c:v>0.106781566068835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899578806144741</c:v>
                </c:pt>
                <c:pt idx="1">
                  <c:v>1.0160222897857396</c:v>
                </c:pt>
                <c:pt idx="2">
                  <c:v>0.9713496619319754</c:v>
                </c:pt>
                <c:pt idx="3">
                  <c:v>1.0028674618358442</c:v>
                </c:pt>
                <c:pt idx="4">
                  <c:v>0.8897089452537333</c:v>
                </c:pt>
                <c:pt idx="5">
                  <c:v>1.091434718522904</c:v>
                </c:pt>
                <c:pt idx="6">
                  <c:v>1.1009812775990155</c:v>
                </c:pt>
                <c:pt idx="7">
                  <c:v>1.1892977745711866</c:v>
                </c:pt>
                <c:pt idx="8">
                  <c:v>1.2127108835062068</c:v>
                </c:pt>
                <c:pt idx="9">
                  <c:v>1.1491472134537866</c:v>
                </c:pt>
                <c:pt idx="10">
                  <c:v>1.171563823365143</c:v>
                </c:pt>
                <c:pt idx="11">
                  <c:v>1.1630894136211558</c:v>
                </c:pt>
                <c:pt idx="12">
                  <c:v>1.1225782817040697</c:v>
                </c:pt>
                <c:pt idx="13">
                  <c:v>1.1723823492843863</c:v>
                </c:pt>
                <c:pt idx="14">
                  <c:v>1.0860231284564865</c:v>
                </c:pt>
                <c:pt idx="15">
                  <c:v>1.1143221327603916</c:v>
                </c:pt>
                <c:pt idx="16">
                  <c:v>1.0469128157256575</c:v>
                </c:pt>
                <c:pt idx="17">
                  <c:v>1.009623953169276</c:v>
                </c:pt>
                <c:pt idx="18">
                  <c:v>1.3241109554846862</c:v>
                </c:pt>
                <c:pt idx="19">
                  <c:v>1.470283825297102</c:v>
                </c:pt>
                <c:pt idx="20">
                  <c:v>1.3648880859045482</c:v>
                </c:pt>
                <c:pt idx="21">
                  <c:v>1.6334704091258405</c:v>
                </c:pt>
                <c:pt idx="22">
                  <c:v>1.4025502828028675</c:v>
                </c:pt>
                <c:pt idx="23">
                  <c:v>1.3800633414904913</c:v>
                </c:pt>
                <c:pt idx="24">
                  <c:v>1.4984132439319928</c:v>
                </c:pt>
                <c:pt idx="25">
                  <c:v>1.285327732843744</c:v>
                </c:pt>
                <c:pt idx="26">
                  <c:v>1.2463188936997305</c:v>
                </c:pt>
                <c:pt idx="27">
                  <c:v>1.2983743165414323</c:v>
                </c:pt>
                <c:pt idx="28">
                  <c:v>1.159876954416035</c:v>
                </c:pt>
                <c:pt idx="29">
                  <c:v>1.385235918885983</c:v>
                </c:pt>
                <c:pt idx="30">
                  <c:v>1.202418441222089</c:v>
                </c:pt>
                <c:pt idx="31">
                  <c:v>1.1717288840499764</c:v>
                </c:pt>
                <c:pt idx="32">
                  <c:v>1.2286674065998429</c:v>
                </c:pt>
                <c:pt idx="33">
                  <c:v>1.245287188989346</c:v>
                </c:pt>
                <c:pt idx="34">
                  <c:v>1.3389653158410801</c:v>
                </c:pt>
                <c:pt idx="35">
                  <c:v>1.3870213816158221</c:v>
                </c:pt>
                <c:pt idx="36">
                  <c:v>1.2111881401930555</c:v>
                </c:pt>
                <c:pt idx="37">
                  <c:v>1.4701362583441722</c:v>
                </c:pt>
                <c:pt idx="38">
                  <c:v>1.6949956596068172</c:v>
                </c:pt>
                <c:pt idx="39">
                  <c:v>1.645776755010685</c:v>
                </c:pt>
                <c:pt idx="40">
                  <c:v>1.3658660235402798</c:v>
                </c:pt>
                <c:pt idx="41">
                  <c:v>1.4627936922842433</c:v>
                </c:pt>
                <c:pt idx="42">
                  <c:v>1.4875694037570024</c:v>
                </c:pt>
                <c:pt idx="43">
                  <c:v>1.59742151675485</c:v>
                </c:pt>
                <c:pt idx="44">
                  <c:v>1.4819766595281931</c:v>
                </c:pt>
                <c:pt idx="45">
                  <c:v>1.3315629702448453</c:v>
                </c:pt>
                <c:pt idx="46">
                  <c:v>1.5975799697091542</c:v>
                </c:pt>
                <c:pt idx="47">
                  <c:v>1.234047087773853</c:v>
                </c:pt>
                <c:pt idx="48">
                  <c:v>1.282671636126929</c:v>
                </c:pt>
                <c:pt idx="49">
                  <c:v>1.3119912953840467</c:v>
                </c:pt>
                <c:pt idx="50">
                  <c:v>1.2192672864360488</c:v>
                </c:pt>
                <c:pt idx="51">
                  <c:v>1.0908511708692497</c:v>
                </c:pt>
                <c:pt idx="52">
                  <c:v>0.9126514643905905</c:v>
                </c:pt>
                <c:pt idx="53">
                  <c:v>0.41557556463378525</c:v>
                </c:pt>
                <c:pt idx="54">
                  <c:v>1.4728198493668343</c:v>
                </c:pt>
              </c:numCache>
            </c:numRef>
          </c:xVal>
          <c:yVal>
            <c:numRef>
              <c:f>Sheet1!$B$187:$B$241</c:f>
              <c:numCache>
                <c:formatCode>General</c:formatCode>
                <c:ptCount val="55"/>
                <c:pt idx="0">
                  <c:v>0.161657750279388</c:v>
                </c:pt>
                <c:pt idx="1">
                  <c:v>0.15869558839549125</c:v>
                </c:pt>
                <c:pt idx="2">
                  <c:v>0.16377253276865616</c:v>
                </c:pt>
                <c:pt idx="3">
                  <c:v>0.16019060520889203</c:v>
                </c:pt>
                <c:pt idx="4">
                  <c:v>0.17305081786344773</c:v>
                </c:pt>
                <c:pt idx="5">
                  <c:v>0.15012513431347138</c:v>
                </c:pt>
                <c:pt idx="6">
                  <c:v>0.14904018919801482</c:v>
                </c:pt>
                <c:pt idx="7">
                  <c:v>0.1390032165840852</c:v>
                </c:pt>
                <c:pt idx="8">
                  <c:v>0.13634236904999658</c:v>
                </c:pt>
                <c:pt idx="9">
                  <c:v>0.14356623817331599</c:v>
                </c:pt>
                <c:pt idx="10">
                  <c:v>0.14101864052745006</c:v>
                </c:pt>
                <c:pt idx="11">
                  <c:v>0.1419817382661027</c:v>
                </c:pt>
                <c:pt idx="12">
                  <c:v>0.14658573792133364</c:v>
                </c:pt>
                <c:pt idx="13">
                  <c:v>0.1409256168850175</c:v>
                </c:pt>
                <c:pt idx="14">
                  <c:v>0.15074014943699426</c:v>
                </c:pt>
                <c:pt idx="15">
                  <c:v>0.14752403080754645</c:v>
                </c:pt>
                <c:pt idx="16">
                  <c:v>0.15518494912062808</c:v>
                </c:pt>
                <c:pt idx="17">
                  <c:v>0.15942274506039367</c:v>
                </c:pt>
                <c:pt idx="18">
                  <c:v>0.1236819996969174</c:v>
                </c:pt>
                <c:pt idx="19">
                  <c:v>0.10706977953980434</c:v>
                </c:pt>
                <c:pt idx="20">
                  <c:v>0.11904776990598995</c:v>
                </c:pt>
                <c:pt idx="21">
                  <c:v>0.08852398878719009</c:v>
                </c:pt>
                <c:pt idx="22">
                  <c:v>0.11476754535215636</c:v>
                </c:pt>
                <c:pt idx="23">
                  <c:v>0.11732313600465338</c:v>
                </c:pt>
                <c:pt idx="24">
                  <c:v>0.10387293394284725</c:v>
                </c:pt>
                <c:pt idx="25">
                  <c:v>0.12808962632243598</c:v>
                </c:pt>
                <c:pt idx="26">
                  <c:v>0.13252289375958332</c:v>
                </c:pt>
                <c:pt idx="27">
                  <c:v>0.1266069112265202</c:v>
                </c:pt>
                <c:pt idx="28">
                  <c:v>0.1423468270792983</c:v>
                </c:pt>
                <c:pt idx="29">
                  <c:v>0.1167352841373138</c:v>
                </c:pt>
                <c:pt idx="30">
                  <c:v>0.13751208212601104</c:v>
                </c:pt>
                <c:pt idx="31">
                  <c:v>0.14099988174930433</c:v>
                </c:pt>
                <c:pt idx="32">
                  <c:v>0.1345289458414784</c:v>
                </c:pt>
                <c:pt idx="33">
                  <c:v>0.13264014469546515</c:v>
                </c:pt>
                <c:pt idx="34">
                  <c:v>0.1219938348216558</c:v>
                </c:pt>
                <c:pt idx="35">
                  <c:v>0.11653237028614244</c:v>
                </c:pt>
                <c:pt idx="36">
                  <c:v>0.13651542542628106</c:v>
                </c:pt>
                <c:pt idx="37">
                  <c:v>0.10708655019439389</c:v>
                </c:pt>
                <c:pt idx="38">
                  <c:v>0.08153178149507673</c:v>
                </c:pt>
                <c:pt idx="39">
                  <c:v>0.08712540006528177</c:v>
                </c:pt>
                <c:pt idx="40">
                  <c:v>0.11893662947804631</c:v>
                </c:pt>
                <c:pt idx="41">
                  <c:v>0.10792101642648072</c:v>
                </c:pt>
                <c:pt idx="42">
                  <c:v>0.1051053121575369</c:v>
                </c:pt>
                <c:pt idx="43">
                  <c:v>0.09262086488502874</c:v>
                </c:pt>
                <c:pt idx="44">
                  <c:v>0.10574091504698302</c:v>
                </c:pt>
                <c:pt idx="45">
                  <c:v>0.12283509486451805</c:v>
                </c:pt>
                <c:pt idx="46">
                  <c:v>0.0926028570606984</c:v>
                </c:pt>
                <c:pt idx="47">
                  <c:v>0.13391755709230477</c:v>
                </c:pt>
                <c:pt idx="48">
                  <c:v>0.12839148578154722</c:v>
                </c:pt>
                <c:pt idx="49">
                  <c:v>0.12505937199643904</c:v>
                </c:pt>
                <c:pt idx="50">
                  <c:v>0.1355972485016414</c:v>
                </c:pt>
                <c:pt idx="51">
                  <c:v>0.15019145320087585</c:v>
                </c:pt>
                <c:pt idx="52">
                  <c:v>0.17044345180879375</c:v>
                </c:pt>
                <c:pt idx="53">
                  <c:v>0.2269350175292454</c:v>
                </c:pt>
                <c:pt idx="54">
                  <c:v>0.106781566068835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06759443339955"/>
          <c:min val="0.0535637149028077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0.5938</c:v>
                </c:pt>
                <c:pt idx="1">
                  <c:v>746.5824</c:v>
                </c:pt>
                <c:pt idx="2">
                  <c:v>799.4599</c:v>
                </c:pt>
                <c:pt idx="3">
                  <c:v>775.0913</c:v>
                </c:pt>
                <c:pt idx="4">
                  <c:v>780.693</c:v>
                </c:pt>
                <c:pt idx="5">
                  <c:v>783.8469</c:v>
                </c:pt>
                <c:pt idx="6">
                  <c:v>764.4239</c:v>
                </c:pt>
                <c:pt idx="7">
                  <c:v>783.2099</c:v>
                </c:pt>
                <c:pt idx="8">
                  <c:v>767.9259</c:v>
                </c:pt>
                <c:pt idx="9">
                  <c:v>779.1877</c:v>
                </c:pt>
                <c:pt idx="10">
                  <c:v>855.7479</c:v>
                </c:pt>
                <c:pt idx="11">
                  <c:v>883.1469</c:v>
                </c:pt>
                <c:pt idx="12">
                  <c:v>882.306</c:v>
                </c:pt>
                <c:pt idx="13">
                  <c:v>871.6426</c:v>
                </c:pt>
                <c:pt idx="14">
                  <c:v>883.781</c:v>
                </c:pt>
                <c:pt idx="15">
                  <c:v>860.7538</c:v>
                </c:pt>
                <c:pt idx="16">
                  <c:v>876.3251</c:v>
                </c:pt>
                <c:pt idx="17">
                  <c:v>884.6344</c:v>
                </c:pt>
                <c:pt idx="18">
                  <c:v>927.9517</c:v>
                </c:pt>
                <c:pt idx="19">
                  <c:v>963.2437</c:v>
                </c:pt>
                <c:pt idx="20">
                  <c:v>976.8214</c:v>
                </c:pt>
                <c:pt idx="21">
                  <c:v>965.6713</c:v>
                </c:pt>
                <c:pt idx="22">
                  <c:v>960.411</c:v>
                </c:pt>
                <c:pt idx="23">
                  <c:v>953.0391</c:v>
                </c:pt>
                <c:pt idx="24">
                  <c:v>910.5285</c:v>
                </c:pt>
                <c:pt idx="25">
                  <c:v>889.7241</c:v>
                </c:pt>
                <c:pt idx="26">
                  <c:v>900.5684</c:v>
                </c:pt>
                <c:pt idx="27">
                  <c:v>980.3729</c:v>
                </c:pt>
                <c:pt idx="28">
                  <c:v>983.0556</c:v>
                </c:pt>
                <c:pt idx="29">
                  <c:v>709.0986</c:v>
                </c:pt>
                <c:pt idx="30">
                  <c:v>827.5179</c:v>
                </c:pt>
                <c:pt idx="31">
                  <c:v>893.9455</c:v>
                </c:pt>
                <c:pt idx="32">
                  <c:v>782.4</c:v>
                </c:pt>
                <c:pt idx="33">
                  <c:v>509.8455</c:v>
                </c:pt>
                <c:pt idx="34">
                  <c:v>859.4396</c:v>
                </c:pt>
                <c:pt idx="35">
                  <c:v>860.51</c:v>
                </c:pt>
                <c:pt idx="36">
                  <c:v>1050.3467</c:v>
                </c:pt>
                <c:pt idx="37">
                  <c:v>1066.3857</c:v>
                </c:pt>
                <c:pt idx="38">
                  <c:v>1047.902</c:v>
                </c:pt>
                <c:pt idx="39">
                  <c:v>1059.6327</c:v>
                </c:pt>
                <c:pt idx="40">
                  <c:v>1077.9265</c:v>
                </c:pt>
                <c:pt idx="41">
                  <c:v>1072.8475</c:v>
                </c:pt>
                <c:pt idx="42">
                  <c:v>1113.1905</c:v>
                </c:pt>
                <c:pt idx="43">
                  <c:v>1144.1667</c:v>
                </c:pt>
                <c:pt idx="44">
                  <c:v>1053.75</c:v>
                </c:pt>
                <c:pt idx="45">
                  <c:v>996.575</c:v>
                </c:pt>
                <c:pt idx="46">
                  <c:v>993.5281</c:v>
                </c:pt>
                <c:pt idx="47">
                  <c:v>974.2344</c:v>
                </c:pt>
                <c:pt idx="48">
                  <c:v>969.0478</c:v>
                </c:pt>
                <c:pt idx="49">
                  <c:v>972.2159</c:v>
                </c:pt>
                <c:pt idx="50">
                  <c:v>968.9241</c:v>
                </c:pt>
                <c:pt idx="51">
                  <c:v>937.8579</c:v>
                </c:pt>
                <c:pt idx="52">
                  <c:v>951.1528</c:v>
                </c:pt>
                <c:pt idx="53">
                  <c:v>1069.2213</c:v>
                </c:pt>
                <c:pt idx="54">
                  <c:v>1038.3588</c:v>
                </c:pt>
                <c:pt idx="55">
                  <c:v>1074.3478</c:v>
                </c:pt>
                <c:pt idx="56">
                  <c:v>1109.4161</c:v>
                </c:pt>
                <c:pt idx="57">
                  <c:v>1082.3561</c:v>
                </c:pt>
                <c:pt idx="58">
                  <c:v>1054.8645</c:v>
                </c:pt>
                <c:pt idx="59">
                  <c:v>1067.5556</c:v>
                </c:pt>
                <c:pt idx="60">
                  <c:v>1074.9872</c:v>
                </c:pt>
                <c:pt idx="61">
                  <c:v>886.1376</c:v>
                </c:pt>
                <c:pt idx="62">
                  <c:v>959.7633</c:v>
                </c:pt>
                <c:pt idx="63">
                  <c:v>1070.3235</c:v>
                </c:pt>
                <c:pt idx="64">
                  <c:v>1060.1217</c:v>
                </c:pt>
                <c:pt idx="65">
                  <c:v>1033.2102</c:v>
                </c:pt>
                <c:pt idx="66">
                  <c:v>1038.1779</c:v>
                </c:pt>
                <c:pt idx="67">
                  <c:v>1045.3808</c:v>
                </c:pt>
                <c:pt idx="68">
                  <c:v>1041.2979</c:v>
                </c:pt>
                <c:pt idx="69">
                  <c:v>1067.7364</c:v>
                </c:pt>
                <c:pt idx="70">
                  <c:v>1052.0847</c:v>
                </c:pt>
                <c:pt idx="71">
                  <c:v>1130.3774</c:v>
                </c:pt>
                <c:pt idx="72">
                  <c:v>1221.3889</c:v>
                </c:pt>
                <c:pt idx="73">
                  <c:v>1220.0549</c:v>
                </c:pt>
                <c:pt idx="74">
                  <c:v>1124.0353</c:v>
                </c:pt>
                <c:pt idx="75">
                  <c:v>1124.0946</c:v>
                </c:pt>
                <c:pt idx="76">
                  <c:v>1135.274</c:v>
                </c:pt>
                <c:pt idx="77">
                  <c:v>1169.8333</c:v>
                </c:pt>
                <c:pt idx="78">
                  <c:v>1127.8983</c:v>
                </c:pt>
                <c:pt idx="79">
                  <c:v>1163.3182</c:v>
                </c:pt>
                <c:pt idx="80">
                  <c:v>1165.4583</c:v>
                </c:pt>
                <c:pt idx="81">
                  <c:v>1129.6957</c:v>
                </c:pt>
                <c:pt idx="82">
                  <c:v>1143.1636</c:v>
                </c:pt>
                <c:pt idx="83">
                  <c:v>1174.4255</c:v>
                </c:pt>
                <c:pt idx="84">
                  <c:v>1140.2051</c:v>
                </c:pt>
                <c:pt idx="85">
                  <c:v>1134.7719</c:v>
                </c:pt>
                <c:pt idx="86">
                  <c:v>1120.5395</c:v>
                </c:pt>
                <c:pt idx="87">
                  <c:v>1194.4684</c:v>
                </c:pt>
                <c:pt idx="88">
                  <c:v>1197.7755</c:v>
                </c:pt>
                <c:pt idx="89">
                  <c:v>1167.1304</c:v>
                </c:pt>
                <c:pt idx="90">
                  <c:v>1225.3023</c:v>
                </c:pt>
                <c:pt idx="91">
                  <c:v>1189.6739</c:v>
                </c:pt>
                <c:pt idx="92">
                  <c:v>1111.3091</c:v>
                </c:pt>
                <c:pt idx="93">
                  <c:v>1182.2222</c:v>
                </c:pt>
                <c:pt idx="94">
                  <c:v>1162.0577</c:v>
                </c:pt>
                <c:pt idx="95">
                  <c:v>1228.6579</c:v>
                </c:pt>
                <c:pt idx="96">
                  <c:v>1137.2396</c:v>
                </c:pt>
                <c:pt idx="97">
                  <c:v>1132.4771</c:v>
                </c:pt>
                <c:pt idx="98">
                  <c:v>1079.8788</c:v>
                </c:pt>
                <c:pt idx="99">
                  <c:v>1038.9012</c:v>
                </c:pt>
                <c:pt idx="100">
                  <c:v>1019.6012</c:v>
                </c:pt>
                <c:pt idx="101">
                  <c:v>1064.65</c:v>
                </c:pt>
                <c:pt idx="102">
                  <c:v>1050.2188</c:v>
                </c:pt>
                <c:pt idx="103">
                  <c:v>984.5793</c:v>
                </c:pt>
                <c:pt idx="104">
                  <c:v>1052.7534</c:v>
                </c:pt>
              </c:numCache>
            </c:numRef>
          </c:xVal>
          <c:yVal>
            <c:numRef>
              <c:f>Sheet1!$B$2:$B$106</c:f>
              <c:numCache>
                <c:formatCode>General</c:formatCode>
                <c:ptCount val="105"/>
                <c:pt idx="0">
                  <c:v>0.23357664233576642</c:v>
                </c:pt>
                <c:pt idx="1">
                  <c:v>0.234737747205503</c:v>
                </c:pt>
                <c:pt idx="2">
                  <c:v>0.21087435709037472</c:v>
                </c:pt>
                <c:pt idx="3">
                  <c:v>0.18355945730247406</c:v>
                </c:pt>
                <c:pt idx="4">
                  <c:v>0.19545454545454546</c:v>
                </c:pt>
                <c:pt idx="5">
                  <c:v>0.1778723404255319</c:v>
                </c:pt>
                <c:pt idx="6">
                  <c:v>0.2146643109540636</c:v>
                </c:pt>
                <c:pt idx="7">
                  <c:v>0.22942206654991243</c:v>
                </c:pt>
                <c:pt idx="8">
                  <c:v>0.22167487684729065</c:v>
                </c:pt>
                <c:pt idx="9">
                  <c:v>0.268389662027833</c:v>
                </c:pt>
                <c:pt idx="10">
                  <c:v>0.2540029112081514</c:v>
                </c:pt>
                <c:pt idx="11">
                  <c:v>0.23952095808383234</c:v>
                </c:pt>
                <c:pt idx="12">
                  <c:v>0.23155588020452886</c:v>
                </c:pt>
                <c:pt idx="13">
                  <c:v>0.25419847328244277</c:v>
                </c:pt>
                <c:pt idx="14">
                  <c:v>0.2401883830455259</c:v>
                </c:pt>
                <c:pt idx="15">
                  <c:v>0.2507232401157184</c:v>
                </c:pt>
                <c:pt idx="16">
                  <c:v>0.2157279489904357</c:v>
                </c:pt>
                <c:pt idx="17">
                  <c:v>0.20875420875420875</c:v>
                </c:pt>
                <c:pt idx="18">
                  <c:v>0.23258426966292134</c:v>
                </c:pt>
                <c:pt idx="19">
                  <c:v>0.18622848200312989</c:v>
                </c:pt>
                <c:pt idx="20">
                  <c:v>0.18280739934711643</c:v>
                </c:pt>
                <c:pt idx="21">
                  <c:v>0.185473411154345</c:v>
                </c:pt>
                <c:pt idx="22">
                  <c:v>0.19160104986876642</c:v>
                </c:pt>
                <c:pt idx="23">
                  <c:v>0.18028169014084508</c:v>
                </c:pt>
                <c:pt idx="24">
                  <c:v>0.1819526627218935</c:v>
                </c:pt>
                <c:pt idx="25">
                  <c:v>0.19110378912685339</c:v>
                </c:pt>
                <c:pt idx="26">
                  <c:v>0.17690875232774675</c:v>
                </c:pt>
                <c:pt idx="27">
                  <c:v>0.12164948453608247</c:v>
                </c:pt>
                <c:pt idx="28">
                  <c:v>0.12385321100917432</c:v>
                </c:pt>
                <c:pt idx="29">
                  <c:v>0.13948919449901767</c:v>
                </c:pt>
                <c:pt idx="30">
                  <c:v>0.13526570048309178</c:v>
                </c:pt>
                <c:pt idx="31">
                  <c:v>0.13414634146341464</c:v>
                </c:pt>
                <c:pt idx="32">
                  <c:v>0.1941747572815534</c:v>
                </c:pt>
                <c:pt idx="33">
                  <c:v>0.2338403041825095</c:v>
                </c:pt>
                <c:pt idx="34">
                  <c:v>0.16820702402957485</c:v>
                </c:pt>
                <c:pt idx="35">
                  <c:v>0.16806722689075632</c:v>
                </c:pt>
                <c:pt idx="36">
                  <c:v>0.1388888888888889</c:v>
                </c:pt>
                <c:pt idx="37">
                  <c:v>0.13011152416356878</c:v>
                </c:pt>
                <c:pt idx="38">
                  <c:v>0.10669456066945607</c:v>
                </c:pt>
                <c:pt idx="39">
                  <c:v>0.10560344827586207</c:v>
                </c:pt>
                <c:pt idx="40">
                  <c:v>0.12208258527827648</c:v>
                </c:pt>
                <c:pt idx="41">
                  <c:v>0.09983079526226735</c:v>
                </c:pt>
                <c:pt idx="42">
                  <c:v>0.10806174957118353</c:v>
                </c:pt>
                <c:pt idx="43">
                  <c:v>0.10084033613445378</c:v>
                </c:pt>
                <c:pt idx="44">
                  <c:v>0.1347708894878706</c:v>
                </c:pt>
                <c:pt idx="45">
                  <c:v>0.15609756097560976</c:v>
                </c:pt>
                <c:pt idx="46">
                  <c:v>0.16153846153846155</c:v>
                </c:pt>
                <c:pt idx="47">
                  <c:v>0.1458966565349544</c:v>
                </c:pt>
                <c:pt idx="48">
                  <c:v>0.1789173789173789</c:v>
                </c:pt>
                <c:pt idx="49">
                  <c:v>0.1975540921919097</c:v>
                </c:pt>
                <c:pt idx="50">
                  <c:v>0.1457384515289525</c:v>
                </c:pt>
                <c:pt idx="51">
                  <c:v>0.13895216400911162</c:v>
                </c:pt>
                <c:pt idx="52">
                  <c:v>0.14654002713704206</c:v>
                </c:pt>
                <c:pt idx="53">
                  <c:v>0.11090909090909092</c:v>
                </c:pt>
                <c:pt idx="54">
                  <c:v>0.11665182546749778</c:v>
                </c:pt>
                <c:pt idx="55">
                  <c:v>0.12041884816753927</c:v>
                </c:pt>
                <c:pt idx="56">
                  <c:v>0.12778730703259006</c:v>
                </c:pt>
                <c:pt idx="57">
                  <c:v>0.10628019323671498</c:v>
                </c:pt>
                <c:pt idx="58">
                  <c:v>0.1333907056798623</c:v>
                </c:pt>
                <c:pt idx="59">
                  <c:v>0.12659075686537175</c:v>
                </c:pt>
                <c:pt idx="60">
                  <c:v>0.14506172839506173</c:v>
                </c:pt>
                <c:pt idx="61">
                  <c:v>0.1836105976586568</c:v>
                </c:pt>
                <c:pt idx="62">
                  <c:v>0.203003003003003</c:v>
                </c:pt>
                <c:pt idx="63">
                  <c:v>0.20622568093385213</c:v>
                </c:pt>
                <c:pt idx="64">
                  <c:v>0.2116461366181411</c:v>
                </c:pt>
                <c:pt idx="65">
                  <c:v>0.2194513715710723</c:v>
                </c:pt>
                <c:pt idx="66">
                  <c:v>0.21461487820934824</c:v>
                </c:pt>
                <c:pt idx="67">
                  <c:v>0.19305331179321486</c:v>
                </c:pt>
                <c:pt idx="68">
                  <c:v>0.13583815028901733</c:v>
                </c:pt>
                <c:pt idx="69">
                  <c:v>0.1259765625</c:v>
                </c:pt>
                <c:pt idx="70">
                  <c:v>0.1172962226640159</c:v>
                </c:pt>
                <c:pt idx="71">
                  <c:v>0.12740384615384615</c:v>
                </c:pt>
                <c:pt idx="72">
                  <c:v>0.11933701657458563</c:v>
                </c:pt>
                <c:pt idx="73">
                  <c:v>0.1202113606340819</c:v>
                </c:pt>
                <c:pt idx="74">
                  <c:v>0.10967741935483871</c:v>
                </c:pt>
                <c:pt idx="75">
                  <c:v>0.1099554234769688</c:v>
                </c:pt>
                <c:pt idx="76">
                  <c:v>0.10703812316715543</c:v>
                </c:pt>
                <c:pt idx="77">
                  <c:v>0.10927152317880795</c:v>
                </c:pt>
                <c:pt idx="78">
                  <c:v>0.10332749562171628</c:v>
                </c:pt>
                <c:pt idx="79">
                  <c:v>0.1</c:v>
                </c:pt>
                <c:pt idx="80">
                  <c:v>0.08163265306122448</c:v>
                </c:pt>
                <c:pt idx="81">
                  <c:v>0.09956709956709957</c:v>
                </c:pt>
                <c:pt idx="82">
                  <c:v>0.10700389105058365</c:v>
                </c:pt>
                <c:pt idx="83">
                  <c:v>0.0975103734439834</c:v>
                </c:pt>
                <c:pt idx="84">
                  <c:v>0.08176100628930817</c:v>
                </c:pt>
                <c:pt idx="85">
                  <c:v>0.10344827586206896</c:v>
                </c:pt>
                <c:pt idx="86">
                  <c:v>0.1254125412541254</c:v>
                </c:pt>
                <c:pt idx="87">
                  <c:v>0.12248062015503876</c:v>
                </c:pt>
                <c:pt idx="88">
                  <c:v>0.09551656920077972</c:v>
                </c:pt>
                <c:pt idx="89">
                  <c:v>0.09145129224652088</c:v>
                </c:pt>
                <c:pt idx="90">
                  <c:v>0.08977035490605428</c:v>
                </c:pt>
                <c:pt idx="91">
                  <c:v>0.09978308026030369</c:v>
                </c:pt>
                <c:pt idx="92">
                  <c:v>0.09598603839441536</c:v>
                </c:pt>
                <c:pt idx="93">
                  <c:v>0.08555133079847908</c:v>
                </c:pt>
                <c:pt idx="94">
                  <c:v>0.1015625</c:v>
                </c:pt>
                <c:pt idx="95">
                  <c:v>0.11062590975254731</c:v>
                </c:pt>
                <c:pt idx="96">
                  <c:v>0.11201866977829639</c:v>
                </c:pt>
                <c:pt idx="97">
                  <c:v>0.12111111111111111</c:v>
                </c:pt>
                <c:pt idx="98">
                  <c:v>0.1437282229965157</c:v>
                </c:pt>
                <c:pt idx="99">
                  <c:v>0.15168539325842698</c:v>
                </c:pt>
                <c:pt idx="100">
                  <c:v>0.1917808219178082</c:v>
                </c:pt>
                <c:pt idx="101">
                  <c:v>0.1579778830963665</c:v>
                </c:pt>
                <c:pt idx="102">
                  <c:v>0.12225405921680993</c:v>
                </c:pt>
                <c:pt idx="103">
                  <c:v>0.13666666666666666</c:v>
                </c:pt>
                <c:pt idx="104">
                  <c:v>0.1350601295097132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9.8063</c:v>
                </c:pt>
                <c:pt idx="1">
                  <c:v>1129.824</c:v>
                </c:pt>
                <c:pt idx="2">
                  <c:v>1104.142</c:v>
                </c:pt>
                <c:pt idx="3">
                  <c:v>1097.7654</c:v>
                </c:pt>
                <c:pt idx="4">
                  <c:v>1005.7842</c:v>
                </c:pt>
                <c:pt idx="5">
                  <c:v>1121.2215</c:v>
                </c:pt>
                <c:pt idx="6">
                  <c:v>1062.2754</c:v>
                </c:pt>
                <c:pt idx="7">
                  <c:v>1078.7177</c:v>
                </c:pt>
                <c:pt idx="8">
                  <c:v>1094.5658</c:v>
                </c:pt>
                <c:pt idx="9">
                  <c:v>1096.639</c:v>
                </c:pt>
                <c:pt idx="10">
                  <c:v>1089.5171</c:v>
                </c:pt>
                <c:pt idx="11">
                  <c:v>1030.2817</c:v>
                </c:pt>
                <c:pt idx="12">
                  <c:v>1025.0223</c:v>
                </c:pt>
                <c:pt idx="13">
                  <c:v>1055.1651</c:v>
                </c:pt>
                <c:pt idx="14">
                  <c:v>1029.5698</c:v>
                </c:pt>
                <c:pt idx="15">
                  <c:v>1067.1609</c:v>
                </c:pt>
                <c:pt idx="16">
                  <c:v>1046.1314</c:v>
                </c:pt>
                <c:pt idx="17">
                  <c:v>1064.6528</c:v>
                </c:pt>
                <c:pt idx="18">
                  <c:v>1094.5411</c:v>
                </c:pt>
                <c:pt idx="19">
                  <c:v>1231.6078</c:v>
                </c:pt>
                <c:pt idx="20">
                  <c:v>1211.0667</c:v>
                </c:pt>
                <c:pt idx="21">
                  <c:v>1207.1067</c:v>
                </c:pt>
                <c:pt idx="22">
                  <c:v>1225.88</c:v>
                </c:pt>
                <c:pt idx="23">
                  <c:v>1140.5844</c:v>
                </c:pt>
                <c:pt idx="24">
                  <c:v>1103.0659</c:v>
                </c:pt>
                <c:pt idx="25">
                  <c:v>1020.0938</c:v>
                </c:pt>
                <c:pt idx="26">
                  <c:v>1104.5652</c:v>
                </c:pt>
                <c:pt idx="27">
                  <c:v>1161.84</c:v>
                </c:pt>
                <c:pt idx="28">
                  <c:v>1082.3016</c:v>
                </c:pt>
                <c:pt idx="29">
                  <c:v>1147.2963</c:v>
                </c:pt>
                <c:pt idx="30">
                  <c:v>1112.8545</c:v>
                </c:pt>
                <c:pt idx="31">
                  <c:v>1018.3095</c:v>
                </c:pt>
                <c:pt idx="32">
                  <c:v>998.5208</c:v>
                </c:pt>
                <c:pt idx="33">
                  <c:v>1067.7121</c:v>
                </c:pt>
                <c:pt idx="34">
                  <c:v>1159.093</c:v>
                </c:pt>
                <c:pt idx="35">
                  <c:v>1156.8947</c:v>
                </c:pt>
                <c:pt idx="36">
                  <c:v>1062.84</c:v>
                </c:pt>
                <c:pt idx="37">
                  <c:v>1212.8286</c:v>
                </c:pt>
                <c:pt idx="38">
                  <c:v>1230.3226</c:v>
                </c:pt>
                <c:pt idx="39">
                  <c:v>1136.2683</c:v>
                </c:pt>
                <c:pt idx="40">
                  <c:v>1172.7857</c:v>
                </c:pt>
                <c:pt idx="41">
                  <c:v>1252.4286</c:v>
                </c:pt>
                <c:pt idx="42">
                  <c:v>1223.2667</c:v>
                </c:pt>
                <c:pt idx="43">
                  <c:v>1222.7463</c:v>
                </c:pt>
                <c:pt idx="44">
                  <c:v>1154.1406</c:v>
                </c:pt>
                <c:pt idx="45">
                  <c:v>1148.4945</c:v>
                </c:pt>
                <c:pt idx="46">
                  <c:v>1115.2685</c:v>
                </c:pt>
                <c:pt idx="47">
                  <c:v>1135.4661</c:v>
                </c:pt>
                <c:pt idx="48">
                  <c:v>1107.6053</c:v>
                </c:pt>
                <c:pt idx="49">
                  <c:v>1111.6169</c:v>
                </c:pt>
                <c:pt idx="50">
                  <c:v>988.0658</c:v>
                </c:pt>
                <c:pt idx="51">
                  <c:v>960.3497</c:v>
                </c:pt>
              </c:numCache>
            </c:numRef>
          </c:xVal>
          <c:yVal>
            <c:numRef>
              <c:f>Sheet1!$B$109:$B$160</c:f>
              <c:numCache>
                <c:formatCode>General</c:formatCode>
                <c:ptCount val="52"/>
                <c:pt idx="0">
                  <c:v>0.1392515230635335</c:v>
                </c:pt>
                <c:pt idx="1">
                  <c:v>0.1282051282051282</c:v>
                </c:pt>
                <c:pt idx="2">
                  <c:v>0.13421706710853357</c:v>
                </c:pt>
                <c:pt idx="3">
                  <c:v>0.1487946799667498</c:v>
                </c:pt>
                <c:pt idx="4">
                  <c:v>0.1424287856071964</c:v>
                </c:pt>
                <c:pt idx="5">
                  <c:v>0.12772837510105092</c:v>
                </c:pt>
                <c:pt idx="6">
                  <c:v>0.13717693836978131</c:v>
                </c:pt>
                <c:pt idx="7">
                  <c:v>0.13606770833333334</c:v>
                </c:pt>
                <c:pt idx="8">
                  <c:v>0.1755153029356652</c:v>
                </c:pt>
                <c:pt idx="9">
                  <c:v>0.1826137689614936</c:v>
                </c:pt>
                <c:pt idx="10">
                  <c:v>0.2004996876951905</c:v>
                </c:pt>
                <c:pt idx="11">
                  <c:v>0.20103896103896104</c:v>
                </c:pt>
                <c:pt idx="12">
                  <c:v>0.2069364161849711</c:v>
                </c:pt>
                <c:pt idx="13">
                  <c:v>0.2049808429118774</c:v>
                </c:pt>
                <c:pt idx="14">
                  <c:v>0.1990984222389181</c:v>
                </c:pt>
                <c:pt idx="15">
                  <c:v>0.19246861924686193</c:v>
                </c:pt>
                <c:pt idx="16">
                  <c:v>0.16294227188081936</c:v>
                </c:pt>
                <c:pt idx="17">
                  <c:v>0.1476923076923077</c:v>
                </c:pt>
                <c:pt idx="18">
                  <c:v>0.1524008350730689</c:v>
                </c:pt>
                <c:pt idx="19">
                  <c:v>0.12878787878787878</c:v>
                </c:pt>
                <c:pt idx="20">
                  <c:v>0.12038523274478331</c:v>
                </c:pt>
                <c:pt idx="21">
                  <c:v>0.11591962905718702</c:v>
                </c:pt>
                <c:pt idx="22">
                  <c:v>0.10885341074020319</c:v>
                </c:pt>
                <c:pt idx="23">
                  <c:v>0.11773700305810397</c:v>
                </c:pt>
                <c:pt idx="24">
                  <c:v>0.136431784107946</c:v>
                </c:pt>
                <c:pt idx="25">
                  <c:v>0.15047021943573669</c:v>
                </c:pt>
                <c:pt idx="26">
                  <c:v>0.115</c:v>
                </c:pt>
                <c:pt idx="27">
                  <c:v>0.09328358208955224</c:v>
                </c:pt>
                <c:pt idx="28">
                  <c:v>0.11517367458866545</c:v>
                </c:pt>
                <c:pt idx="29">
                  <c:v>0.1127348643006263</c:v>
                </c:pt>
                <c:pt idx="30">
                  <c:v>0.11677282377919321</c:v>
                </c:pt>
                <c:pt idx="31">
                  <c:v>0.09699769053117784</c:v>
                </c:pt>
                <c:pt idx="32">
                  <c:v>0.0995850622406639</c:v>
                </c:pt>
                <c:pt idx="33">
                  <c:v>0.10855263157894737</c:v>
                </c:pt>
                <c:pt idx="34">
                  <c:v>0.13149847094801223</c:v>
                </c:pt>
                <c:pt idx="35">
                  <c:v>0.12751677852348994</c:v>
                </c:pt>
                <c:pt idx="36">
                  <c:v>0.10438413361169102</c:v>
                </c:pt>
                <c:pt idx="37">
                  <c:v>0.07954545454545454</c:v>
                </c:pt>
                <c:pt idx="38">
                  <c:v>0.06695464362850972</c:v>
                </c:pt>
                <c:pt idx="39">
                  <c:v>0.07869481765834933</c:v>
                </c:pt>
                <c:pt idx="40">
                  <c:v>0.09540034071550256</c:v>
                </c:pt>
                <c:pt idx="41">
                  <c:v>0.08797127468581688</c:v>
                </c:pt>
                <c:pt idx="42">
                  <c:v>0.08849557522123894</c:v>
                </c:pt>
                <c:pt idx="43">
                  <c:v>0.08364544319600499</c:v>
                </c:pt>
                <c:pt idx="44">
                  <c:v>0.08544726301735647</c:v>
                </c:pt>
                <c:pt idx="45">
                  <c:v>0.10247747747747747</c:v>
                </c:pt>
                <c:pt idx="46">
                  <c:v>0.1027592768791627</c:v>
                </c:pt>
                <c:pt idx="47">
                  <c:v>0.10727272727272727</c:v>
                </c:pt>
                <c:pt idx="48">
                  <c:v>0.10079575596816977</c:v>
                </c:pt>
                <c:pt idx="49">
                  <c:v>0.1252336448598131</c:v>
                </c:pt>
                <c:pt idx="50">
                  <c:v>0.17847669571807503</c:v>
                </c:pt>
                <c:pt idx="51">
                  <c:v>0.151490066225165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96.2416358455455</c:v>
                </c:pt>
              </c:numCache>
            </c:numRef>
          </c:xVal>
          <c:yVal>
            <c:numRef>
              <c:f>Sheet1!$B$163:$B$164</c:f>
              <c:numCache>
                <c:formatCode>General</c:formatCode>
                <c:ptCount val="2"/>
                <c:pt idx="0">
                  <c:v>0.2269350175292454</c:v>
                </c:pt>
                <c:pt idx="1">
                  <c:v>0.22693501752924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96.2416358455455</c:v>
                </c:pt>
                <c:pt idx="1">
                  <c:v>796.2416358455455</c:v>
                </c:pt>
              </c:numCache>
            </c:numRef>
          </c:xVal>
          <c:yVal>
            <c:numRef>
              <c:f>Sheet1!$B$167:$B$168</c:f>
              <c:numCache>
                <c:formatCode>General</c:formatCode>
                <c:ptCount val="2"/>
                <c:pt idx="0">
                  <c:v>0.22693501752924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9.7563461280225</c:v>
                </c:pt>
              </c:numCache>
            </c:numRef>
          </c:xVal>
          <c:yVal>
            <c:numRef>
              <c:f>Sheet1!$B$171:$B$172</c:f>
              <c:numCache>
                <c:formatCode>General</c:formatCode>
                <c:ptCount val="2"/>
                <c:pt idx="0">
                  <c:v>0.17044345180879375</c:v>
                </c:pt>
                <c:pt idx="1">
                  <c:v>0.170443451808793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9.7563461280225</c:v>
                </c:pt>
                <c:pt idx="1">
                  <c:v>979.7563461280225</c:v>
                </c:pt>
              </c:numCache>
            </c:numRef>
          </c:xVal>
          <c:yVal>
            <c:numRef>
              <c:f>Sheet1!$B$175:$B$176</c:f>
              <c:numCache>
                <c:formatCode>General</c:formatCode>
                <c:ptCount val="2"/>
                <c:pt idx="0">
                  <c:v>0.170443451808793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6.564076956681</c:v>
                </c:pt>
              </c:numCache>
            </c:numRef>
          </c:xVal>
          <c:yVal>
            <c:numRef>
              <c:f>Sheet1!$B$179:$B$180</c:f>
              <c:numCache>
                <c:formatCode>General</c:formatCode>
                <c:ptCount val="2"/>
                <c:pt idx="0">
                  <c:v>0.10678156606883539</c:v>
                </c:pt>
                <c:pt idx="1">
                  <c:v>0.106781566068835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6.564076956681</c:v>
                </c:pt>
                <c:pt idx="1">
                  <c:v>1186.564076956681</c:v>
                </c:pt>
              </c:numCache>
            </c:numRef>
          </c:xVal>
          <c:yVal>
            <c:numRef>
              <c:f>Sheet1!$B$183:$B$184</c:f>
              <c:numCache>
                <c:formatCode>General</c:formatCode>
                <c:ptCount val="2"/>
                <c:pt idx="0">
                  <c:v>0.106781566068835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9.8063</c:v>
                </c:pt>
                <c:pt idx="1">
                  <c:v>1129.824</c:v>
                </c:pt>
                <c:pt idx="2">
                  <c:v>1104.142</c:v>
                </c:pt>
                <c:pt idx="3">
                  <c:v>1097.7654</c:v>
                </c:pt>
                <c:pt idx="4">
                  <c:v>1005.7842</c:v>
                </c:pt>
                <c:pt idx="5">
                  <c:v>1121.2215</c:v>
                </c:pt>
                <c:pt idx="6">
                  <c:v>1062.2754</c:v>
                </c:pt>
                <c:pt idx="7">
                  <c:v>1078.7177</c:v>
                </c:pt>
                <c:pt idx="8">
                  <c:v>1094.5658</c:v>
                </c:pt>
                <c:pt idx="9">
                  <c:v>1096.639</c:v>
                </c:pt>
                <c:pt idx="10">
                  <c:v>1089.5171</c:v>
                </c:pt>
                <c:pt idx="11">
                  <c:v>1030.2817</c:v>
                </c:pt>
                <c:pt idx="12">
                  <c:v>1025.0223</c:v>
                </c:pt>
                <c:pt idx="13">
                  <c:v>1055.1651</c:v>
                </c:pt>
                <c:pt idx="14">
                  <c:v>1029.5698</c:v>
                </c:pt>
                <c:pt idx="15">
                  <c:v>1067.1609</c:v>
                </c:pt>
                <c:pt idx="16">
                  <c:v>1046.1314</c:v>
                </c:pt>
                <c:pt idx="17">
                  <c:v>1064.6528</c:v>
                </c:pt>
                <c:pt idx="18">
                  <c:v>1094.5411</c:v>
                </c:pt>
                <c:pt idx="19">
                  <c:v>1231.6078</c:v>
                </c:pt>
                <c:pt idx="20">
                  <c:v>1211.0667</c:v>
                </c:pt>
                <c:pt idx="21">
                  <c:v>1207.1067</c:v>
                </c:pt>
                <c:pt idx="22">
                  <c:v>1225.88</c:v>
                </c:pt>
                <c:pt idx="23">
                  <c:v>1140.5844</c:v>
                </c:pt>
                <c:pt idx="24">
                  <c:v>1103.0659</c:v>
                </c:pt>
                <c:pt idx="25">
                  <c:v>1020.0938</c:v>
                </c:pt>
                <c:pt idx="26">
                  <c:v>1104.5652</c:v>
                </c:pt>
                <c:pt idx="27">
                  <c:v>1161.84</c:v>
                </c:pt>
                <c:pt idx="28">
                  <c:v>1082.3016</c:v>
                </c:pt>
                <c:pt idx="29">
                  <c:v>1147.2963</c:v>
                </c:pt>
                <c:pt idx="30">
                  <c:v>1112.8545</c:v>
                </c:pt>
                <c:pt idx="31">
                  <c:v>1018.3095</c:v>
                </c:pt>
                <c:pt idx="32">
                  <c:v>998.5208</c:v>
                </c:pt>
                <c:pt idx="33">
                  <c:v>1067.7121</c:v>
                </c:pt>
                <c:pt idx="34">
                  <c:v>1159.093</c:v>
                </c:pt>
                <c:pt idx="35">
                  <c:v>1156.8947</c:v>
                </c:pt>
                <c:pt idx="36">
                  <c:v>1062.84</c:v>
                </c:pt>
                <c:pt idx="37">
                  <c:v>1212.8286</c:v>
                </c:pt>
                <c:pt idx="38">
                  <c:v>1230.3226</c:v>
                </c:pt>
                <c:pt idx="39">
                  <c:v>1136.2683</c:v>
                </c:pt>
                <c:pt idx="40">
                  <c:v>1172.7857</c:v>
                </c:pt>
                <c:pt idx="41">
                  <c:v>1252.4286</c:v>
                </c:pt>
                <c:pt idx="42">
                  <c:v>1223.2667</c:v>
                </c:pt>
                <c:pt idx="43">
                  <c:v>1222.7463</c:v>
                </c:pt>
                <c:pt idx="44">
                  <c:v>1154.1406</c:v>
                </c:pt>
                <c:pt idx="45">
                  <c:v>1148.4945</c:v>
                </c:pt>
                <c:pt idx="46">
                  <c:v>1115.2685</c:v>
                </c:pt>
                <c:pt idx="47">
                  <c:v>1135.4661</c:v>
                </c:pt>
                <c:pt idx="48">
                  <c:v>1107.6053</c:v>
                </c:pt>
                <c:pt idx="49">
                  <c:v>1111.6169</c:v>
                </c:pt>
                <c:pt idx="50">
                  <c:v>988.0658</c:v>
                </c:pt>
                <c:pt idx="51">
                  <c:v>960.3497</c:v>
                </c:pt>
                <c:pt idx="52">
                  <c:v>979.7563461280225</c:v>
                </c:pt>
                <c:pt idx="53">
                  <c:v>796.2416358455455</c:v>
                </c:pt>
                <c:pt idx="54">
                  <c:v>1186.564076956681</c:v>
                </c:pt>
              </c:numCache>
            </c:numRef>
          </c:xVal>
          <c:yVal>
            <c:numRef>
              <c:f>Sheet1!$B$187:$B$241</c:f>
              <c:numCache>
                <c:formatCode>General</c:formatCode>
                <c:ptCount val="55"/>
                <c:pt idx="0">
                  <c:v>0.12733169711007264</c:v>
                </c:pt>
                <c:pt idx="1">
                  <c:v>0.12424793582986415</c:v>
                </c:pt>
                <c:pt idx="2">
                  <c:v>0.13215365842070964</c:v>
                </c:pt>
                <c:pt idx="3">
                  <c:v>0.13411657527581383</c:v>
                </c:pt>
                <c:pt idx="4">
                  <c:v>0.16243126458245172</c:v>
                </c:pt>
                <c:pt idx="5">
                  <c:v>0.12689605430146872</c:v>
                </c:pt>
                <c:pt idx="6">
                  <c:v>0.14504150693024515</c:v>
                </c:pt>
                <c:pt idx="7">
                  <c:v>0.139980052894132</c:v>
                </c:pt>
                <c:pt idx="8">
                  <c:v>0.13510151219667937</c:v>
                </c:pt>
                <c:pt idx="9">
                  <c:v>0.13446331641460085</c:v>
                </c:pt>
                <c:pt idx="10">
                  <c:v>0.13665565991276074</c:v>
                </c:pt>
                <c:pt idx="11">
                  <c:v>0.1548901681269873</c:v>
                </c:pt>
                <c:pt idx="12">
                  <c:v>0.15650917589095786</c:v>
                </c:pt>
                <c:pt idx="13">
                  <c:v>0.1472302795857116</c:v>
                </c:pt>
                <c:pt idx="14">
                  <c:v>0.15510931320573595</c:v>
                </c:pt>
                <c:pt idx="15">
                  <c:v>0.14353759727688575</c:v>
                </c:pt>
                <c:pt idx="16">
                  <c:v>0.15001113489950801</c:v>
                </c:pt>
                <c:pt idx="17">
                  <c:v>0.14430966887684288</c:v>
                </c:pt>
                <c:pt idx="18">
                  <c:v>0.13510911562896638</c:v>
                </c:pt>
                <c:pt idx="19">
                  <c:v>0.09291569974848052</c:v>
                </c:pt>
                <c:pt idx="20">
                  <c:v>0.09923889258045676</c:v>
                </c:pt>
                <c:pt idx="21">
                  <c:v>0.10045790439650493</c:v>
                </c:pt>
                <c:pt idx="22">
                  <c:v>0.09467889567776339</c:v>
                </c:pt>
                <c:pt idx="23">
                  <c:v>0.12093554826789343</c:v>
                </c:pt>
                <c:pt idx="24">
                  <c:v>0.13248491564678272</c:v>
                </c:pt>
                <c:pt idx="25">
                  <c:v>0.1580263222887845</c:v>
                </c:pt>
                <c:pt idx="26">
                  <c:v>0.13202338422865117</c:v>
                </c:pt>
                <c:pt idx="27">
                  <c:v>0.11439240999587513</c:v>
                </c:pt>
                <c:pt idx="28">
                  <c:v>0.13887681641748173</c:v>
                </c:pt>
                <c:pt idx="29">
                  <c:v>0.11886941558907183</c:v>
                </c:pt>
                <c:pt idx="30">
                  <c:v>0.12947167850977048</c:v>
                </c:pt>
                <c:pt idx="31">
                  <c:v>0.1585755856179195</c:v>
                </c:pt>
                <c:pt idx="32">
                  <c:v>0.16466716620484667</c:v>
                </c:pt>
                <c:pt idx="33">
                  <c:v>0.14336792068269244</c:v>
                </c:pt>
                <c:pt idx="34">
                  <c:v>0.1152380224854418</c:v>
                </c:pt>
                <c:pt idx="35">
                  <c:v>0.11591472795898183</c:v>
                </c:pt>
                <c:pt idx="36">
                  <c:v>0.14486770539707833</c:v>
                </c:pt>
                <c:pt idx="37">
                  <c:v>0.09869652467169537</c:v>
                </c:pt>
                <c:pt idx="38">
                  <c:v>0.09331132449241614</c:v>
                </c:pt>
                <c:pt idx="39">
                  <c:v>0.12226417879800588</c:v>
                </c:pt>
                <c:pt idx="40">
                  <c:v>0.11102298130018873</c:v>
                </c:pt>
                <c:pt idx="41">
                  <c:v>0.0865064065112141</c:v>
                </c:pt>
                <c:pt idx="42">
                  <c:v>0.09548335112697526</c:v>
                </c:pt>
                <c:pt idx="43">
                  <c:v>0.09564354651815488</c:v>
                </c:pt>
                <c:pt idx="44">
                  <c:v>0.11676252605054199</c:v>
                </c:pt>
                <c:pt idx="45">
                  <c:v>0.11850057216533727</c:v>
                </c:pt>
                <c:pt idx="46">
                  <c:v>0.1287285738320078</c:v>
                </c:pt>
                <c:pt idx="47">
                  <c:v>0.12251112104013562</c:v>
                </c:pt>
                <c:pt idx="48">
                  <c:v>0.1310875463948209</c:v>
                </c:pt>
                <c:pt idx="49">
                  <c:v>0.12985265048541217</c:v>
                </c:pt>
                <c:pt idx="50">
                  <c:v>0.16788554209797374</c:v>
                </c:pt>
                <c:pt idx="51">
                  <c:v>0.1764174242683706</c:v>
                </c:pt>
                <c:pt idx="52">
                  <c:v>0.17044345180879378</c:v>
                </c:pt>
                <c:pt idx="53">
                  <c:v>0.2269350175292454</c:v>
                </c:pt>
                <c:pt idx="54">
                  <c:v>0.106781566068835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3.0"/>
          <c:min val="40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206759443339955"/>
          <c:min val="0.0535637149028077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498232804350141</c:v>
                </c:pt>
                <c:pt idx="1">
                  <c:v>0.8886510502509407</c:v>
                </c:pt>
                <c:pt idx="2">
                  <c:v>0.8619051725440795</c:v>
                </c:pt>
                <c:pt idx="3">
                  <c:v>0.7871150169169655</c:v>
                </c:pt>
                <c:pt idx="4">
                  <c:v>0.7922360723717119</c:v>
                </c:pt>
                <c:pt idx="5">
                  <c:v>0.7975315218325529</c:v>
                </c:pt>
                <c:pt idx="6">
                  <c:v>0.7741171531061471</c:v>
                </c:pt>
                <c:pt idx="7">
                  <c:v>0.7433914275982197</c:v>
                </c:pt>
                <c:pt idx="8">
                  <c:v>0.7516838374110794</c:v>
                </c:pt>
                <c:pt idx="9">
                  <c:v>0.8019780027109099</c:v>
                </c:pt>
                <c:pt idx="10">
                  <c:v>0.7916917942287963</c:v>
                </c:pt>
                <c:pt idx="11">
                  <c:v>0.8676089289970331</c:v>
                </c:pt>
                <c:pt idx="12">
                  <c:v>0.887308853573</c:v>
                </c:pt>
                <c:pt idx="13">
                  <c:v>0.8854168365213504</c:v>
                </c:pt>
                <c:pt idx="14">
                  <c:v>0.8829553170577612</c:v>
                </c:pt>
                <c:pt idx="15">
                  <c:v>0.8947560330084261</c:v>
                </c:pt>
                <c:pt idx="16">
                  <c:v>0.8860098446865239</c:v>
                </c:pt>
                <c:pt idx="17">
                  <c:v>0.9025878456571526</c:v>
                </c:pt>
                <c:pt idx="18">
                  <c:v>0.9475880835277879</c:v>
                </c:pt>
                <c:pt idx="19">
                  <c:v>0.97277606175649</c:v>
                </c:pt>
                <c:pt idx="20">
                  <c:v>1.0125647485185145</c:v>
                </c:pt>
                <c:pt idx="21">
                  <c:v>0.9810940369067912</c:v>
                </c:pt>
                <c:pt idx="22">
                  <c:v>0.898150928133222</c:v>
                </c:pt>
                <c:pt idx="23">
                  <c:v>0.831190578434003</c:v>
                </c:pt>
                <c:pt idx="24">
                  <c:v>0.8403578452136423</c:v>
                </c:pt>
                <c:pt idx="25">
                  <c:v>0.8170705886529223</c:v>
                </c:pt>
                <c:pt idx="26">
                  <c:v>0.8163037857361344</c:v>
                </c:pt>
                <c:pt idx="27">
                  <c:v>0.8378372477741914</c:v>
                </c:pt>
                <c:pt idx="28">
                  <c:v>0.8345257358668705</c:v>
                </c:pt>
                <c:pt idx="29">
                  <c:v>0.8249210337698109</c:v>
                </c:pt>
                <c:pt idx="30">
                  <c:v>0.8162333261074487</c:v>
                </c:pt>
                <c:pt idx="31">
                  <c:v>0.8294933246204712</c:v>
                </c:pt>
                <c:pt idx="32">
                  <c:v>0.8329801959286866</c:v>
                </c:pt>
                <c:pt idx="33">
                  <c:v>0.7528607294630267</c:v>
                </c:pt>
                <c:pt idx="34">
                  <c:v>0.8159933446237038</c:v>
                </c:pt>
                <c:pt idx="35">
                  <c:v>0.8545837277749229</c:v>
                </c:pt>
                <c:pt idx="36">
                  <c:v>0.9635106380326546</c:v>
                </c:pt>
                <c:pt idx="37">
                  <c:v>0.9088309460551605</c:v>
                </c:pt>
                <c:pt idx="38">
                  <c:v>0.9815182296489533</c:v>
                </c:pt>
                <c:pt idx="39">
                  <c:v>1.0261177346733859</c:v>
                </c:pt>
                <c:pt idx="40">
                  <c:v>1.0459385614200953</c:v>
                </c:pt>
                <c:pt idx="41">
                  <c:v>0.964423268698061</c:v>
                </c:pt>
                <c:pt idx="42">
                  <c:v>1.035937623416588</c:v>
                </c:pt>
                <c:pt idx="43">
                  <c:v>1.080161959245836</c:v>
                </c:pt>
                <c:pt idx="44">
                  <c:v>0.9998603712650403</c:v>
                </c:pt>
                <c:pt idx="45">
                  <c:v>1.0050061053597654</c:v>
                </c:pt>
                <c:pt idx="46">
                  <c:v>0.9266276793963721</c:v>
                </c:pt>
                <c:pt idx="47">
                  <c:v>1.0093722667858367</c:v>
                </c:pt>
                <c:pt idx="48">
                  <c:v>0.9896204762823021</c:v>
                </c:pt>
                <c:pt idx="49">
                  <c:v>0.9241309280326253</c:v>
                </c:pt>
                <c:pt idx="50">
                  <c:v>0.9027603111243269</c:v>
                </c:pt>
                <c:pt idx="51">
                  <c:v>0.9141885479346179</c:v>
                </c:pt>
                <c:pt idx="52">
                  <c:v>0.8831910542509634</c:v>
                </c:pt>
                <c:pt idx="53">
                  <c:v>0.9035480064880799</c:v>
                </c:pt>
                <c:pt idx="54">
                  <c:v>0.8468990965513623</c:v>
                </c:pt>
                <c:pt idx="55">
                  <c:v>0.8775063627479567</c:v>
                </c:pt>
                <c:pt idx="56">
                  <c:v>0.8807348289317728</c:v>
                </c:pt>
                <c:pt idx="57">
                  <c:v>0.8839630382252622</c:v>
                </c:pt>
                <c:pt idx="58">
                  <c:v>0.8667239694212286</c:v>
                </c:pt>
                <c:pt idx="59">
                  <c:v>0.8684281278620478</c:v>
                </c:pt>
                <c:pt idx="60">
                  <c:v>0.8850109871910193</c:v>
                </c:pt>
                <c:pt idx="61">
                  <c:v>0.8928451208711481</c:v>
                </c:pt>
                <c:pt idx="62">
                  <c:v>0.8897586101180261</c:v>
                </c:pt>
                <c:pt idx="63">
                  <c:v>0.9122419406002962</c:v>
                </c:pt>
                <c:pt idx="64">
                  <c:v>0.9930367046387589</c:v>
                </c:pt>
                <c:pt idx="65">
                  <c:v>1.0234526687717427</c:v>
                </c:pt>
                <c:pt idx="66">
                  <c:v>0.9937528271328515</c:v>
                </c:pt>
                <c:pt idx="67">
                  <c:v>1.0728827214170902</c:v>
                </c:pt>
                <c:pt idx="68">
                  <c:v>1.0960694013436285</c:v>
                </c:pt>
                <c:pt idx="69">
                  <c:v>1.0825668708362057</c:v>
                </c:pt>
                <c:pt idx="70">
                  <c:v>1.018863693772679</c:v>
                </c:pt>
                <c:pt idx="71">
                  <c:v>1.0080720537909558</c:v>
                </c:pt>
                <c:pt idx="72">
                  <c:v>1.2062994935848008</c:v>
                </c:pt>
                <c:pt idx="73">
                  <c:v>1.1845101220274445</c:v>
                </c:pt>
                <c:pt idx="74">
                  <c:v>0.9960668830839506</c:v>
                </c:pt>
                <c:pt idx="75">
                  <c:v>1.0162223312082048</c:v>
                </c:pt>
                <c:pt idx="76">
                  <c:v>0.9935388321837352</c:v>
                </c:pt>
                <c:pt idx="77">
                  <c:v>1.0589631532989818</c:v>
                </c:pt>
                <c:pt idx="78">
                  <c:v>1.0434180072066068</c:v>
                </c:pt>
                <c:pt idx="79">
                  <c:v>1.0723146376412922</c:v>
                </c:pt>
                <c:pt idx="80">
                  <c:v>1.1060847593749756</c:v>
                </c:pt>
                <c:pt idx="81">
                  <c:v>1.095626666827061</c:v>
                </c:pt>
                <c:pt idx="82">
                  <c:v>1.0443310597526856</c:v>
                </c:pt>
                <c:pt idx="83">
                  <c:v>0.9375909553772803</c:v>
                </c:pt>
                <c:pt idx="84">
                  <c:v>1.058817059245131</c:v>
                </c:pt>
                <c:pt idx="85">
                  <c:v>1.0442317202864169</c:v>
                </c:pt>
                <c:pt idx="86">
                  <c:v>1.092994601105422</c:v>
                </c:pt>
                <c:pt idx="87">
                  <c:v>1.100472720393213</c:v>
                </c:pt>
                <c:pt idx="88">
                  <c:v>1.0938244342201981</c:v>
                </c:pt>
                <c:pt idx="89">
                  <c:v>1.0572743358152865</c:v>
                </c:pt>
                <c:pt idx="90">
                  <c:v>1.0769449694678688</c:v>
                </c:pt>
                <c:pt idx="91">
                  <c:v>1.0874330155453975</c:v>
                </c:pt>
                <c:pt idx="92">
                  <c:v>1.0476912885677943</c:v>
                </c:pt>
                <c:pt idx="93">
                  <c:v>1.0931294908490043</c:v>
                </c:pt>
                <c:pt idx="94">
                  <c:v>0.982280537988333</c:v>
                </c:pt>
                <c:pt idx="95">
                  <c:v>0.8608517131451401</c:v>
                </c:pt>
                <c:pt idx="96">
                  <c:v>1.1240729255530129</c:v>
                </c:pt>
                <c:pt idx="97">
                  <c:v>1.082447153724852</c:v>
                </c:pt>
                <c:pt idx="98">
                  <c:v>1.044128518771544</c:v>
                </c:pt>
                <c:pt idx="99">
                  <c:v>1.0150511377281053</c:v>
                </c:pt>
                <c:pt idx="100">
                  <c:v>0.9572671185416209</c:v>
                </c:pt>
                <c:pt idx="101">
                  <c:v>0.9604415463490944</c:v>
                </c:pt>
                <c:pt idx="102">
                  <c:v>0.9529152082973101</c:v>
                </c:pt>
                <c:pt idx="103">
                  <c:v>0.9409132569643013</c:v>
                </c:pt>
                <c:pt idx="104">
                  <c:v>0.9523038937600069</c:v>
                </c:pt>
              </c:numCache>
            </c:numRef>
          </c:xVal>
          <c:yVal>
            <c:numRef>
              <c:f>Sheet1!$B$2:$B$106</c:f>
              <c:numCache>
                <c:formatCode>General</c:formatCode>
                <c:ptCount val="105"/>
                <c:pt idx="0">
                  <c:v>0.4753694581280788</c:v>
                </c:pt>
                <c:pt idx="1">
                  <c:v>0.4640625</c:v>
                </c:pt>
                <c:pt idx="2">
                  <c:v>0.5089430894308943</c:v>
                </c:pt>
                <c:pt idx="3">
                  <c:v>0.5400763358778626</c:v>
                </c:pt>
                <c:pt idx="4">
                  <c:v>0.5435203094777563</c:v>
                </c:pt>
                <c:pt idx="5">
                  <c:v>0.5375816993464052</c:v>
                </c:pt>
                <c:pt idx="6">
                  <c:v>0.5165876777251185</c:v>
                </c:pt>
                <c:pt idx="7">
                  <c:v>0.5521739130434783</c:v>
                </c:pt>
                <c:pt idx="8">
                  <c:v>0.5225352112676056</c:v>
                </c:pt>
                <c:pt idx="9">
                  <c:v>0.49415515409139216</c:v>
                </c:pt>
                <c:pt idx="10">
                  <c:v>0.5031982942430704</c:v>
                </c:pt>
                <c:pt idx="11">
                  <c:v>0.44760820045558086</c:v>
                </c:pt>
                <c:pt idx="12">
                  <c:v>0.43532058492688414</c:v>
                </c:pt>
                <c:pt idx="13">
                  <c:v>0.41605839416058393</c:v>
                </c:pt>
                <c:pt idx="14">
                  <c:v>0.3645083932853717</c:v>
                </c:pt>
                <c:pt idx="15">
                  <c:v>0.32991202346041054</c:v>
                </c:pt>
                <c:pt idx="16">
                  <c:v>0.3464991023339318</c:v>
                </c:pt>
                <c:pt idx="17">
                  <c:v>0.3628865979381443</c:v>
                </c:pt>
                <c:pt idx="18">
                  <c:v>0.3475177304964539</c:v>
                </c:pt>
                <c:pt idx="19">
                  <c:v>0.34963325183374083</c:v>
                </c:pt>
                <c:pt idx="20">
                  <c:v>0.33539094650205764</c:v>
                </c:pt>
                <c:pt idx="21">
                  <c:v>0.35768261964735515</c:v>
                </c:pt>
                <c:pt idx="22">
                  <c:v>0.4088888888888889</c:v>
                </c:pt>
                <c:pt idx="23">
                  <c:v>0.4474327628361858</c:v>
                </c:pt>
                <c:pt idx="24">
                  <c:v>0.45879120879120877</c:v>
                </c:pt>
                <c:pt idx="25">
                  <c:v>0.43352601156069365</c:v>
                </c:pt>
                <c:pt idx="26">
                  <c:v>0.4666666666666667</c:v>
                </c:pt>
                <c:pt idx="27">
                  <c:v>0.40594059405940597</c:v>
                </c:pt>
                <c:pt idx="28">
                  <c:v>0.44086021505376344</c:v>
                </c:pt>
                <c:pt idx="29">
                  <c:v>0.4326241134751773</c:v>
                </c:pt>
                <c:pt idx="30">
                  <c:v>0.43243243243243246</c:v>
                </c:pt>
                <c:pt idx="31">
                  <c:v>0.42745098039215684</c:v>
                </c:pt>
                <c:pt idx="32">
                  <c:v>0.4609053497942387</c:v>
                </c:pt>
                <c:pt idx="33">
                  <c:v>0.5</c:v>
                </c:pt>
                <c:pt idx="34">
                  <c:v>0.4485981308411215</c:v>
                </c:pt>
                <c:pt idx="35">
                  <c:v>0.4257703081232493</c:v>
                </c:pt>
                <c:pt idx="36">
                  <c:v>0.40822784810126583</c:v>
                </c:pt>
                <c:pt idx="37">
                  <c:v>0.44785276073619634</c:v>
                </c:pt>
                <c:pt idx="38">
                  <c:v>0.4099616858237548</c:v>
                </c:pt>
                <c:pt idx="39">
                  <c:v>0.37446808510638296</c:v>
                </c:pt>
                <c:pt idx="40">
                  <c:v>0.38006230529595014</c:v>
                </c:pt>
                <c:pt idx="41">
                  <c:v>0.365625</c:v>
                </c:pt>
                <c:pt idx="42">
                  <c:v>0.3799392097264438</c:v>
                </c:pt>
                <c:pt idx="43">
                  <c:v>0.3618421052631579</c:v>
                </c:pt>
                <c:pt idx="44">
                  <c:v>0.3871794871794872</c:v>
                </c:pt>
                <c:pt idx="45">
                  <c:v>0.3933649289099526</c:v>
                </c:pt>
                <c:pt idx="46">
                  <c:v>0.40749148694665155</c:v>
                </c:pt>
                <c:pt idx="47">
                  <c:v>0.37828162291169454</c:v>
                </c:pt>
                <c:pt idx="48">
                  <c:v>0.3946459412780656</c:v>
                </c:pt>
                <c:pt idx="49">
                  <c:v>0.38881247134342045</c:v>
                </c:pt>
                <c:pt idx="50">
                  <c:v>0.3918245264207378</c:v>
                </c:pt>
                <c:pt idx="51">
                  <c:v>0.3802325581395349</c:v>
                </c:pt>
                <c:pt idx="52">
                  <c:v>0.3931987247608927</c:v>
                </c:pt>
                <c:pt idx="53">
                  <c:v>0.3650568181818182</c:v>
                </c:pt>
                <c:pt idx="54">
                  <c:v>0.38328530259365995</c:v>
                </c:pt>
                <c:pt idx="55">
                  <c:v>0.3739495798319328</c:v>
                </c:pt>
                <c:pt idx="56">
                  <c:v>0.3713872832369942</c:v>
                </c:pt>
                <c:pt idx="57">
                  <c:v>0.35397039030955585</c:v>
                </c:pt>
                <c:pt idx="58">
                  <c:v>0.3655913978494624</c:v>
                </c:pt>
                <c:pt idx="59">
                  <c:v>0.37895927601809953</c:v>
                </c:pt>
                <c:pt idx="60">
                  <c:v>0.3958762886597938</c:v>
                </c:pt>
                <c:pt idx="61">
                  <c:v>0.429769392033543</c:v>
                </c:pt>
                <c:pt idx="62">
                  <c:v>0.4426919032597266</c:v>
                </c:pt>
                <c:pt idx="63">
                  <c:v>0.4711992445703494</c:v>
                </c:pt>
                <c:pt idx="64">
                  <c:v>0.4440400363967243</c:v>
                </c:pt>
                <c:pt idx="65">
                  <c:v>0.3666978484565014</c:v>
                </c:pt>
                <c:pt idx="66">
                  <c:v>0.3787740164684355</c:v>
                </c:pt>
                <c:pt idx="67">
                  <c:v>0.3561643835616438</c:v>
                </c:pt>
                <c:pt idx="68">
                  <c:v>0.3319027181688126</c:v>
                </c:pt>
                <c:pt idx="69">
                  <c:v>0.34057971014492755</c:v>
                </c:pt>
                <c:pt idx="70">
                  <c:v>0.349025974025974</c:v>
                </c:pt>
                <c:pt idx="71">
                  <c:v>0.36531365313653136</c:v>
                </c:pt>
                <c:pt idx="72">
                  <c:v>0.31443298969072164</c:v>
                </c:pt>
                <c:pt idx="73">
                  <c:v>0.31982942430703626</c:v>
                </c:pt>
                <c:pt idx="74">
                  <c:v>0.3434959349593496</c:v>
                </c:pt>
                <c:pt idx="75">
                  <c:v>0.34977578475336324</c:v>
                </c:pt>
                <c:pt idx="76">
                  <c:v>0.3590308370044053</c:v>
                </c:pt>
                <c:pt idx="77">
                  <c:v>0.32786885245901637</c:v>
                </c:pt>
                <c:pt idx="78">
                  <c:v>0.33134328358208953</c:v>
                </c:pt>
                <c:pt idx="79">
                  <c:v>0.32987012987012987</c:v>
                </c:pt>
                <c:pt idx="80">
                  <c:v>0.3151862464183381</c:v>
                </c:pt>
                <c:pt idx="81">
                  <c:v>0.3069544364508393</c:v>
                </c:pt>
                <c:pt idx="82">
                  <c:v>0.31722054380664655</c:v>
                </c:pt>
                <c:pt idx="83">
                  <c:v>0.3289902280130293</c:v>
                </c:pt>
                <c:pt idx="84">
                  <c:v>0.34076433121019106</c:v>
                </c:pt>
                <c:pt idx="85">
                  <c:v>0.32628398791540786</c:v>
                </c:pt>
                <c:pt idx="86">
                  <c:v>0.3157894736842105</c:v>
                </c:pt>
                <c:pt idx="87">
                  <c:v>0.32304038004750596</c:v>
                </c:pt>
                <c:pt idx="88">
                  <c:v>0.31189710610932475</c:v>
                </c:pt>
                <c:pt idx="89">
                  <c:v>0.36666666666666664</c:v>
                </c:pt>
                <c:pt idx="90">
                  <c:v>0.3506944444444444</c:v>
                </c:pt>
                <c:pt idx="91">
                  <c:v>0.3</c:v>
                </c:pt>
                <c:pt idx="92">
                  <c:v>0.29581151832460734</c:v>
                </c:pt>
                <c:pt idx="93">
                  <c:v>0.2910662824207493</c:v>
                </c:pt>
                <c:pt idx="94">
                  <c:v>0.3017241379310345</c:v>
                </c:pt>
                <c:pt idx="95">
                  <c:v>0.3804780876494024</c:v>
                </c:pt>
                <c:pt idx="96">
                  <c:v>0.3068181818181818</c:v>
                </c:pt>
                <c:pt idx="97">
                  <c:v>0.33797909407665505</c:v>
                </c:pt>
                <c:pt idx="98">
                  <c:v>0.3417015341701534</c:v>
                </c:pt>
                <c:pt idx="99">
                  <c:v>0.36031589338598224</c:v>
                </c:pt>
                <c:pt idx="100">
                  <c:v>0.3490508266993264</c:v>
                </c:pt>
                <c:pt idx="101">
                  <c:v>0.36625</c:v>
                </c:pt>
                <c:pt idx="102">
                  <c:v>0.35106382978723405</c:v>
                </c:pt>
                <c:pt idx="103">
                  <c:v>0.3313885647607935</c:v>
                </c:pt>
                <c:pt idx="104">
                  <c:v>0.299734748010610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075911197729746</c:v>
                </c:pt>
                <c:pt idx="1">
                  <c:v>0.9317877327791014</c:v>
                </c:pt>
                <c:pt idx="2">
                  <c:v>0.9442108226658508</c:v>
                </c:pt>
                <c:pt idx="3">
                  <c:v>0.872220202124371</c:v>
                </c:pt>
                <c:pt idx="4">
                  <c:v>0.8618522190571707</c:v>
                </c:pt>
                <c:pt idx="5">
                  <c:v>0.928874779308375</c:v>
                </c:pt>
                <c:pt idx="6">
                  <c:v>0.8965635837321946</c:v>
                </c:pt>
                <c:pt idx="7">
                  <c:v>0.9129032337532414</c:v>
                </c:pt>
                <c:pt idx="8">
                  <c:v>0.8732380129893531</c:v>
                </c:pt>
                <c:pt idx="9">
                  <c:v>0.8699198310042389</c:v>
                </c:pt>
                <c:pt idx="10">
                  <c:v>0.9240559372291774</c:v>
                </c:pt>
                <c:pt idx="11">
                  <c:v>0.8768368569688101</c:v>
                </c:pt>
                <c:pt idx="12">
                  <c:v>0.8862576446584117</c:v>
                </c:pt>
                <c:pt idx="13">
                  <c:v>0.9038624370063801</c:v>
                </c:pt>
                <c:pt idx="14">
                  <c:v>0.894432319282918</c:v>
                </c:pt>
                <c:pt idx="15">
                  <c:v>0.8738380514366062</c:v>
                </c:pt>
                <c:pt idx="16">
                  <c:v>0.8978915149027866</c:v>
                </c:pt>
                <c:pt idx="17">
                  <c:v>0.8552699338088363</c:v>
                </c:pt>
                <c:pt idx="18">
                  <c:v>0.8999882342721358</c:v>
                </c:pt>
                <c:pt idx="19">
                  <c:v>0.8771298424333621</c:v>
                </c:pt>
                <c:pt idx="20">
                  <c:v>0.8711368158813573</c:v>
                </c:pt>
                <c:pt idx="21">
                  <c:v>0.8609776464160059</c:v>
                </c:pt>
                <c:pt idx="22">
                  <c:v>0.8583195153219745</c:v>
                </c:pt>
                <c:pt idx="23">
                  <c:v>0.8761471874349286</c:v>
                </c:pt>
                <c:pt idx="24">
                  <c:v>0.8835961398391283</c:v>
                </c:pt>
                <c:pt idx="25">
                  <c:v>0.9144351132828161</c:v>
                </c:pt>
                <c:pt idx="26">
                  <c:v>0.8455331113178576</c:v>
                </c:pt>
                <c:pt idx="27">
                  <c:v>0.8891082804614219</c:v>
                </c:pt>
                <c:pt idx="28">
                  <c:v>0.9152209940065037</c:v>
                </c:pt>
                <c:pt idx="29">
                  <c:v>0.907470014175516</c:v>
                </c:pt>
                <c:pt idx="30">
                  <c:v>0.8833937626746812</c:v>
                </c:pt>
                <c:pt idx="31">
                  <c:v>0.880327492073736</c:v>
                </c:pt>
                <c:pt idx="32">
                  <c:v>0.9253979559184408</c:v>
                </c:pt>
                <c:pt idx="33">
                  <c:v>0.8994909785904946</c:v>
                </c:pt>
                <c:pt idx="34">
                  <c:v>0.8947633270477475</c:v>
                </c:pt>
                <c:pt idx="35">
                  <c:v>0.916183896798226</c:v>
                </c:pt>
                <c:pt idx="36">
                  <c:v>0.9013941184854286</c:v>
                </c:pt>
                <c:pt idx="37">
                  <c:v>0.8627124734656061</c:v>
                </c:pt>
                <c:pt idx="38">
                  <c:v>0.875167515295136</c:v>
                </c:pt>
                <c:pt idx="39">
                  <c:v>0.9072609906316668</c:v>
                </c:pt>
                <c:pt idx="40">
                  <c:v>0.9179244982081811</c:v>
                </c:pt>
                <c:pt idx="41">
                  <c:v>0.9835248590587969</c:v>
                </c:pt>
                <c:pt idx="42">
                  <c:v>0.9434628599002115</c:v>
                </c:pt>
                <c:pt idx="43">
                  <c:v>0.9687476754086208</c:v>
                </c:pt>
                <c:pt idx="44">
                  <c:v>1.0196423747690482</c:v>
                </c:pt>
                <c:pt idx="45">
                  <c:v>0.9882443492682803</c:v>
                </c:pt>
                <c:pt idx="46">
                  <c:v>0.9489762922065093</c:v>
                </c:pt>
                <c:pt idx="47">
                  <c:v>0.9194915098260737</c:v>
                </c:pt>
                <c:pt idx="48">
                  <c:v>0.9970782003350059</c:v>
                </c:pt>
                <c:pt idx="49">
                  <c:v>1.0203034970343403</c:v>
                </c:pt>
                <c:pt idx="50">
                  <c:v>0.986683023459123</c:v>
                </c:pt>
                <c:pt idx="51">
                  <c:v>0.9800932481210217</c:v>
                </c:pt>
              </c:numCache>
            </c:numRef>
          </c:xVal>
          <c:yVal>
            <c:numRef>
              <c:f>Sheet1!$B$109:$B$160</c:f>
              <c:numCache>
                <c:formatCode>General</c:formatCode>
                <c:ptCount val="52"/>
                <c:pt idx="0">
                  <c:v>0.305591677503251</c:v>
                </c:pt>
                <c:pt idx="1">
                  <c:v>0.31846153846153846</c:v>
                </c:pt>
                <c:pt idx="2">
                  <c:v>0.31912302070645554</c:v>
                </c:pt>
                <c:pt idx="3">
                  <c:v>0.34081902245706736</c:v>
                </c:pt>
                <c:pt idx="4">
                  <c:v>0.36155606407322655</c:v>
                </c:pt>
                <c:pt idx="5">
                  <c:v>0.33221850613154963</c:v>
                </c:pt>
                <c:pt idx="6">
                  <c:v>0.33471933471933474</c:v>
                </c:pt>
                <c:pt idx="7">
                  <c:v>0.34523809523809523</c:v>
                </c:pt>
                <c:pt idx="8">
                  <c:v>0.3779956427015251</c:v>
                </c:pt>
                <c:pt idx="9">
                  <c:v>0.38254410399257194</c:v>
                </c:pt>
                <c:pt idx="10">
                  <c:v>0.36561264822134387</c:v>
                </c:pt>
                <c:pt idx="11">
                  <c:v>0.3794238683127572</c:v>
                </c:pt>
                <c:pt idx="12">
                  <c:v>0.37309417040358744</c:v>
                </c:pt>
                <c:pt idx="13">
                  <c:v>0.38453713123092575</c:v>
                </c:pt>
                <c:pt idx="14">
                  <c:v>0.3711453744493392</c:v>
                </c:pt>
                <c:pt idx="15">
                  <c:v>0.36724565756823824</c:v>
                </c:pt>
                <c:pt idx="16">
                  <c:v>0.3377386196769457</c:v>
                </c:pt>
                <c:pt idx="17">
                  <c:v>0.3786407766990291</c:v>
                </c:pt>
                <c:pt idx="18">
                  <c:v>0.3625632377740304</c:v>
                </c:pt>
                <c:pt idx="19">
                  <c:v>0.35860655737704916</c:v>
                </c:pt>
                <c:pt idx="20">
                  <c:v>0.3681462140992167</c:v>
                </c:pt>
                <c:pt idx="21">
                  <c:v>0.36764705882352944</c:v>
                </c:pt>
                <c:pt idx="22">
                  <c:v>0.36080178173719374</c:v>
                </c:pt>
                <c:pt idx="23">
                  <c:v>0.3591549295774648</c:v>
                </c:pt>
                <c:pt idx="24">
                  <c:v>0.39069767441860465</c:v>
                </c:pt>
                <c:pt idx="25">
                  <c:v>0.3664302600472813</c:v>
                </c:pt>
                <c:pt idx="26">
                  <c:v>0.4</c:v>
                </c:pt>
                <c:pt idx="27">
                  <c:v>0.40425531914893614</c:v>
                </c:pt>
                <c:pt idx="28">
                  <c:v>0.36555891238670696</c:v>
                </c:pt>
                <c:pt idx="29">
                  <c:v>0.3583617747440273</c:v>
                </c:pt>
                <c:pt idx="30">
                  <c:v>0.36395759717314485</c:v>
                </c:pt>
                <c:pt idx="31">
                  <c:v>0.34552845528455284</c:v>
                </c:pt>
                <c:pt idx="32">
                  <c:v>0.34274193548387094</c:v>
                </c:pt>
                <c:pt idx="33">
                  <c:v>0.3323943661971831</c:v>
                </c:pt>
                <c:pt idx="34">
                  <c:v>0.36159600997506236</c:v>
                </c:pt>
                <c:pt idx="35">
                  <c:v>0.3475783475783476</c:v>
                </c:pt>
                <c:pt idx="36">
                  <c:v>0.3320754716981132</c:v>
                </c:pt>
                <c:pt idx="37">
                  <c:v>0.3656716417910448</c:v>
                </c:pt>
                <c:pt idx="38">
                  <c:v>0.40794223826714804</c:v>
                </c:pt>
                <c:pt idx="39">
                  <c:v>0.36824324324324326</c:v>
                </c:pt>
                <c:pt idx="40">
                  <c:v>0.3664772727272727</c:v>
                </c:pt>
                <c:pt idx="41">
                  <c:v>0.33035714285714285</c:v>
                </c:pt>
                <c:pt idx="42">
                  <c:v>0.3188010899182561</c:v>
                </c:pt>
                <c:pt idx="43">
                  <c:v>0.35807860262008734</c:v>
                </c:pt>
                <c:pt idx="44">
                  <c:v>0.351010101010101</c:v>
                </c:pt>
                <c:pt idx="45">
                  <c:v>0.35658914728682173</c:v>
                </c:pt>
                <c:pt idx="46">
                  <c:v>0.402317880794702</c:v>
                </c:pt>
                <c:pt idx="47">
                  <c:v>0.37359550561797755</c:v>
                </c:pt>
                <c:pt idx="48">
                  <c:v>0.37617135207496655</c:v>
                </c:pt>
                <c:pt idx="49">
                  <c:v>0.3720508166969147</c:v>
                </c:pt>
                <c:pt idx="50">
                  <c:v>0.34414225941422594</c:v>
                </c:pt>
                <c:pt idx="51">
                  <c:v>0.351025331724969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203666506589551</c:v>
                </c:pt>
              </c:numCache>
            </c:numRef>
          </c:xVal>
          <c:yVal>
            <c:numRef>
              <c:f>Sheet1!$B$163:$B$164</c:f>
              <c:numCache>
                <c:formatCode>General</c:formatCode>
                <c:ptCount val="2"/>
                <c:pt idx="0">
                  <c:v>0.5178722438108</c:v>
                </c:pt>
                <c:pt idx="1">
                  <c:v>0.51787224381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203666506589551</c:v>
                </c:pt>
                <c:pt idx="1">
                  <c:v>0.06203666506589551</c:v>
                </c:pt>
              </c:numCache>
            </c:numRef>
          </c:xVal>
          <c:yVal>
            <c:numRef>
              <c:f>Sheet1!$B$167:$B$168</c:f>
              <c:numCache>
                <c:formatCode>General</c:formatCode>
                <c:ptCount val="2"/>
                <c:pt idx="0">
                  <c:v>0.51787224381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62355487624957</c:v>
                </c:pt>
              </c:numCache>
            </c:numRef>
          </c:xVal>
          <c:yVal>
            <c:numRef>
              <c:f>Sheet1!$B$171:$B$172</c:f>
              <c:numCache>
                <c:formatCode>General</c:formatCode>
                <c:ptCount val="2"/>
                <c:pt idx="0">
                  <c:v>0.36899580143296645</c:v>
                </c:pt>
                <c:pt idx="1">
                  <c:v>0.368995801432966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62355487624957</c:v>
                </c:pt>
                <c:pt idx="1">
                  <c:v>0.862355487624957</c:v>
                </c:pt>
              </c:numCache>
            </c:numRef>
          </c:xVal>
          <c:yVal>
            <c:numRef>
              <c:f>Sheet1!$B$175:$B$176</c:f>
              <c:numCache>
                <c:formatCode>General</c:formatCode>
                <c:ptCount val="2"/>
                <c:pt idx="0">
                  <c:v>0.368995801432966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153211307490704</c:v>
                </c:pt>
              </c:numCache>
            </c:numRef>
          </c:xVal>
          <c:yVal>
            <c:numRef>
              <c:f>Sheet1!$B$179:$B$180</c:f>
              <c:numCache>
                <c:formatCode>General</c:formatCode>
                <c:ptCount val="2"/>
                <c:pt idx="0">
                  <c:v>0.359143057383591</c:v>
                </c:pt>
                <c:pt idx="1">
                  <c:v>0.35914305738359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153211307490704</c:v>
                </c:pt>
                <c:pt idx="1">
                  <c:v>0.9153211307490704</c:v>
                </c:pt>
              </c:numCache>
            </c:numRef>
          </c:xVal>
          <c:yVal>
            <c:numRef>
              <c:f>Sheet1!$B$183:$B$184</c:f>
              <c:numCache>
                <c:formatCode>General</c:formatCode>
                <c:ptCount val="2"/>
                <c:pt idx="0">
                  <c:v>0.3591430573835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075911197729746</c:v>
                </c:pt>
                <c:pt idx="1">
                  <c:v>0.9317877327791014</c:v>
                </c:pt>
                <c:pt idx="2">
                  <c:v>0.9442108226658508</c:v>
                </c:pt>
                <c:pt idx="3">
                  <c:v>0.872220202124371</c:v>
                </c:pt>
                <c:pt idx="4">
                  <c:v>0.8618522190571707</c:v>
                </c:pt>
                <c:pt idx="5">
                  <c:v>0.928874779308375</c:v>
                </c:pt>
                <c:pt idx="6">
                  <c:v>0.8965635837321946</c:v>
                </c:pt>
                <c:pt idx="7">
                  <c:v>0.9129032337532414</c:v>
                </c:pt>
                <c:pt idx="8">
                  <c:v>0.8732380129893531</c:v>
                </c:pt>
                <c:pt idx="9">
                  <c:v>0.8699198310042389</c:v>
                </c:pt>
                <c:pt idx="10">
                  <c:v>0.9240559372291774</c:v>
                </c:pt>
                <c:pt idx="11">
                  <c:v>0.8768368569688101</c:v>
                </c:pt>
                <c:pt idx="12">
                  <c:v>0.8862576446584117</c:v>
                </c:pt>
                <c:pt idx="13">
                  <c:v>0.9038624370063801</c:v>
                </c:pt>
                <c:pt idx="14">
                  <c:v>0.894432319282918</c:v>
                </c:pt>
                <c:pt idx="15">
                  <c:v>0.8738380514366062</c:v>
                </c:pt>
                <c:pt idx="16">
                  <c:v>0.8978915149027866</c:v>
                </c:pt>
                <c:pt idx="17">
                  <c:v>0.8552699338088363</c:v>
                </c:pt>
                <c:pt idx="18">
                  <c:v>0.8999882342721358</c:v>
                </c:pt>
                <c:pt idx="19">
                  <c:v>0.8771298424333621</c:v>
                </c:pt>
                <c:pt idx="20">
                  <c:v>0.8711368158813573</c:v>
                </c:pt>
                <c:pt idx="21">
                  <c:v>0.8609776464160059</c:v>
                </c:pt>
                <c:pt idx="22">
                  <c:v>0.8583195153219745</c:v>
                </c:pt>
                <c:pt idx="23">
                  <c:v>0.8761471874349286</c:v>
                </c:pt>
                <c:pt idx="24">
                  <c:v>0.8835961398391283</c:v>
                </c:pt>
                <c:pt idx="25">
                  <c:v>0.9144351132828161</c:v>
                </c:pt>
                <c:pt idx="26">
                  <c:v>0.8455331113178576</c:v>
                </c:pt>
                <c:pt idx="27">
                  <c:v>0.8891082804614219</c:v>
                </c:pt>
                <c:pt idx="28">
                  <c:v>0.9152209940065037</c:v>
                </c:pt>
                <c:pt idx="29">
                  <c:v>0.907470014175516</c:v>
                </c:pt>
                <c:pt idx="30">
                  <c:v>0.8833937626746812</c:v>
                </c:pt>
                <c:pt idx="31">
                  <c:v>0.880327492073736</c:v>
                </c:pt>
                <c:pt idx="32">
                  <c:v>0.9253979559184408</c:v>
                </c:pt>
                <c:pt idx="33">
                  <c:v>0.8994909785904946</c:v>
                </c:pt>
                <c:pt idx="34">
                  <c:v>0.8947633270477475</c:v>
                </c:pt>
                <c:pt idx="35">
                  <c:v>0.916183896798226</c:v>
                </c:pt>
                <c:pt idx="36">
                  <c:v>0.9013941184854286</c:v>
                </c:pt>
                <c:pt idx="37">
                  <c:v>0.8627124734656061</c:v>
                </c:pt>
                <c:pt idx="38">
                  <c:v>0.875167515295136</c:v>
                </c:pt>
                <c:pt idx="39">
                  <c:v>0.9072609906316668</c:v>
                </c:pt>
                <c:pt idx="40">
                  <c:v>0.9179244982081811</c:v>
                </c:pt>
                <c:pt idx="41">
                  <c:v>0.9835248590587969</c:v>
                </c:pt>
                <c:pt idx="42">
                  <c:v>0.9434628599002115</c:v>
                </c:pt>
                <c:pt idx="43">
                  <c:v>0.9687476754086208</c:v>
                </c:pt>
                <c:pt idx="44">
                  <c:v>1.0196423747690482</c:v>
                </c:pt>
                <c:pt idx="45">
                  <c:v>0.9882443492682803</c:v>
                </c:pt>
                <c:pt idx="46">
                  <c:v>0.9489762922065093</c:v>
                </c:pt>
                <c:pt idx="47">
                  <c:v>0.9194915098260737</c:v>
                </c:pt>
                <c:pt idx="48">
                  <c:v>0.9970782003350059</c:v>
                </c:pt>
                <c:pt idx="49">
                  <c:v>1.0203034970343403</c:v>
                </c:pt>
                <c:pt idx="50">
                  <c:v>0.986683023459123</c:v>
                </c:pt>
                <c:pt idx="51">
                  <c:v>0.9800932481210217</c:v>
                </c:pt>
                <c:pt idx="52">
                  <c:v>0.862355487624957</c:v>
                </c:pt>
                <c:pt idx="53">
                  <c:v>0.06203666506589551</c:v>
                </c:pt>
                <c:pt idx="54">
                  <c:v>0.9153211307490704</c:v>
                </c:pt>
              </c:numCache>
            </c:numRef>
          </c:xVal>
          <c:yVal>
            <c:numRef>
              <c:f>Sheet1!$B$187:$B$241</c:f>
              <c:numCache>
                <c:formatCode>General</c:formatCode>
                <c:ptCount val="55"/>
                <c:pt idx="0">
                  <c:v>0.34197886316884496</c:v>
                </c:pt>
                <c:pt idx="1">
                  <c:v>0.3560799167211687</c:v>
                </c:pt>
                <c:pt idx="2">
                  <c:v>0.3537689559221143</c:v>
                </c:pt>
                <c:pt idx="3">
                  <c:v>0.3671607532517306</c:v>
                </c:pt>
                <c:pt idx="4">
                  <c:v>0.36908942016567725</c:v>
                </c:pt>
                <c:pt idx="5">
                  <c:v>0.35662178845691916</c:v>
                </c:pt>
                <c:pt idx="6">
                  <c:v>0.36263236288146505</c:v>
                </c:pt>
                <c:pt idx="7">
                  <c:v>0.3595928380117962</c:v>
                </c:pt>
                <c:pt idx="8">
                  <c:v>0.3669714186311759</c:v>
                </c:pt>
                <c:pt idx="9">
                  <c:v>0.3675886715498645</c:v>
                </c:pt>
                <c:pt idx="10">
                  <c:v>0.35751819629453263</c:v>
                </c:pt>
                <c:pt idx="11">
                  <c:v>0.36630195657026715</c:v>
                </c:pt>
                <c:pt idx="12">
                  <c:v>0.3645494882837659</c:v>
                </c:pt>
                <c:pt idx="13">
                  <c:v>0.36127461984422893</c:v>
                </c:pt>
                <c:pt idx="14">
                  <c:v>0.36302882371686074</c:v>
                </c:pt>
                <c:pt idx="15">
                  <c:v>0.3668597986282484</c:v>
                </c:pt>
                <c:pt idx="16">
                  <c:v>0.3623853392418507</c:v>
                </c:pt>
                <c:pt idx="17">
                  <c:v>0.37031386620251383</c:v>
                </c:pt>
                <c:pt idx="18">
                  <c:v>0.36199530453121465</c:v>
                </c:pt>
                <c:pt idx="19">
                  <c:v>0.36624745499864164</c:v>
                </c:pt>
                <c:pt idx="20">
                  <c:v>0.36736228629710527</c:v>
                </c:pt>
                <c:pt idx="21">
                  <c:v>0.3692521094086983</c:v>
                </c:pt>
                <c:pt idx="22">
                  <c:v>0.3697465787245491</c:v>
                </c:pt>
                <c:pt idx="23">
                  <c:v>0.3664302498750433</c:v>
                </c:pt>
                <c:pt idx="24">
                  <c:v>0.3650445851847727</c:v>
                </c:pt>
                <c:pt idx="25">
                  <c:v>0.3593078756092061</c:v>
                </c:pt>
                <c:pt idx="26">
                  <c:v>0.3721251237309651</c:v>
                </c:pt>
                <c:pt idx="27">
                  <c:v>0.36401920896894235</c:v>
                </c:pt>
                <c:pt idx="28">
                  <c:v>0.3591616849624563</c:v>
                </c:pt>
                <c:pt idx="29">
                  <c:v>0.36060353322299077</c:v>
                </c:pt>
                <c:pt idx="30">
                  <c:v>0.36508223167191267</c:v>
                </c:pt>
                <c:pt idx="31">
                  <c:v>0.3656526236776596</c:v>
                </c:pt>
                <c:pt idx="32">
                  <c:v>0.3572685520747163</c:v>
                </c:pt>
                <c:pt idx="33">
                  <c:v>0.36208780473831736</c:v>
                </c:pt>
                <c:pt idx="34">
                  <c:v>0.3629672491830147</c:v>
                </c:pt>
                <c:pt idx="35">
                  <c:v>0.35898256441955956</c:v>
                </c:pt>
                <c:pt idx="36">
                  <c:v>0.36173377995604483</c:v>
                </c:pt>
                <c:pt idx="37">
                  <c:v>0.36892939442061456</c:v>
                </c:pt>
                <c:pt idx="38">
                  <c:v>0.36661248987585027</c:v>
                </c:pt>
                <c:pt idx="39">
                  <c:v>0.36064241607905306</c:v>
                </c:pt>
                <c:pt idx="40">
                  <c:v>0.3586587752767735</c:v>
                </c:pt>
                <c:pt idx="41">
                  <c:v>0.346455703117464</c:v>
                </c:pt>
                <c:pt idx="42">
                  <c:v>0.35390809301653303</c:v>
                </c:pt>
                <c:pt idx="43">
                  <c:v>0.34920457577694686</c:v>
                </c:pt>
                <c:pt idx="44">
                  <c:v>0.3397370716234872</c:v>
                </c:pt>
                <c:pt idx="45">
                  <c:v>0.34557777685555474</c:v>
                </c:pt>
                <c:pt idx="46">
                  <c:v>0.3528824765198124</c:v>
                </c:pt>
                <c:pt idx="47">
                  <c:v>0.35836727755329045</c:v>
                </c:pt>
                <c:pt idx="48">
                  <c:v>0.34393449135202947</c:v>
                </c:pt>
                <c:pt idx="49">
                  <c:v>0.3396140887220996</c:v>
                </c:pt>
                <c:pt idx="50">
                  <c:v>0.3458682168968333</c:v>
                </c:pt>
                <c:pt idx="51">
                  <c:v>0.3470940562507906</c:v>
                </c:pt>
                <c:pt idx="52">
                  <c:v>0.36899580143296645</c:v>
                </c:pt>
                <c:pt idx="53">
                  <c:v>0.5178722438108</c:v>
                </c:pt>
                <c:pt idx="54">
                  <c:v>0.3591430573835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2608695652174"/>
          <c:min val="0.232853025936599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0.9093</c:v>
                </c:pt>
                <c:pt idx="1">
                  <c:v>906.9394</c:v>
                </c:pt>
                <c:pt idx="2">
                  <c:v>969.508</c:v>
                </c:pt>
                <c:pt idx="3">
                  <c:v>981.3251</c:v>
                </c:pt>
                <c:pt idx="4">
                  <c:v>983.0676</c:v>
                </c:pt>
                <c:pt idx="5">
                  <c:v>966.8875</c:v>
                </c:pt>
                <c:pt idx="6">
                  <c:v>949.5321</c:v>
                </c:pt>
                <c:pt idx="7">
                  <c:v>920.9921</c:v>
                </c:pt>
                <c:pt idx="8">
                  <c:v>921.973</c:v>
                </c:pt>
                <c:pt idx="9">
                  <c:v>907.4989</c:v>
                </c:pt>
                <c:pt idx="10">
                  <c:v>894.1398</c:v>
                </c:pt>
                <c:pt idx="11">
                  <c:v>954.8346</c:v>
                </c:pt>
                <c:pt idx="12">
                  <c:v>969.7158</c:v>
                </c:pt>
                <c:pt idx="13">
                  <c:v>961.1082</c:v>
                </c:pt>
                <c:pt idx="14">
                  <c:v>981.6382</c:v>
                </c:pt>
                <c:pt idx="15">
                  <c:v>1036.5244</c:v>
                </c:pt>
                <c:pt idx="16">
                  <c:v>1038.658</c:v>
                </c:pt>
                <c:pt idx="17">
                  <c:v>1038.875</c:v>
                </c:pt>
                <c:pt idx="18">
                  <c:v>1075.2806</c:v>
                </c:pt>
                <c:pt idx="19">
                  <c:v>1113.035</c:v>
                </c:pt>
                <c:pt idx="20">
                  <c:v>1159.0613</c:v>
                </c:pt>
                <c:pt idx="21">
                  <c:v>1157.6268</c:v>
                </c:pt>
                <c:pt idx="22">
                  <c:v>1096.0707</c:v>
                </c:pt>
                <c:pt idx="23">
                  <c:v>1070.9672</c:v>
                </c:pt>
                <c:pt idx="24">
                  <c:v>1126.2754</c:v>
                </c:pt>
                <c:pt idx="25">
                  <c:v>1102.52</c:v>
                </c:pt>
                <c:pt idx="26">
                  <c:v>1100.5646</c:v>
                </c:pt>
                <c:pt idx="27">
                  <c:v>1112.9024</c:v>
                </c:pt>
                <c:pt idx="28">
                  <c:v>1117.9593</c:v>
                </c:pt>
                <c:pt idx="29">
                  <c:v>1107.3033</c:v>
                </c:pt>
                <c:pt idx="30">
                  <c:v>1081.7768</c:v>
                </c:pt>
                <c:pt idx="31">
                  <c:v>1101.3119</c:v>
                </c:pt>
                <c:pt idx="32">
                  <c:v>1078.2857</c:v>
                </c:pt>
                <c:pt idx="33">
                  <c:v>921.1705</c:v>
                </c:pt>
                <c:pt idx="34">
                  <c:v>1029.8958</c:v>
                </c:pt>
                <c:pt idx="35">
                  <c:v>1077.7763</c:v>
                </c:pt>
                <c:pt idx="36">
                  <c:v>1198.0853</c:v>
                </c:pt>
                <c:pt idx="37">
                  <c:v>1145.6712</c:v>
                </c:pt>
                <c:pt idx="38">
                  <c:v>1238.5701</c:v>
                </c:pt>
                <c:pt idx="39">
                  <c:v>1276.7159</c:v>
                </c:pt>
                <c:pt idx="40">
                  <c:v>1247.6885</c:v>
                </c:pt>
                <c:pt idx="41">
                  <c:v>1262.0684</c:v>
                </c:pt>
                <c:pt idx="42">
                  <c:v>1287.928</c:v>
                </c:pt>
                <c:pt idx="43">
                  <c:v>1334.5091</c:v>
                </c:pt>
                <c:pt idx="44">
                  <c:v>1261.7417</c:v>
                </c:pt>
                <c:pt idx="45">
                  <c:v>1214.4137</c:v>
                </c:pt>
                <c:pt idx="46">
                  <c:v>1144.3231</c:v>
                </c:pt>
                <c:pt idx="47">
                  <c:v>1133.4006</c:v>
                </c:pt>
                <c:pt idx="48">
                  <c:v>1127.4945</c:v>
                </c:pt>
                <c:pt idx="49">
                  <c:v>1046.8691</c:v>
                </c:pt>
                <c:pt idx="50">
                  <c:v>1052.5751</c:v>
                </c:pt>
                <c:pt idx="51">
                  <c:v>1071.6269</c:v>
                </c:pt>
                <c:pt idx="52">
                  <c:v>1082.6216</c:v>
                </c:pt>
                <c:pt idx="53">
                  <c:v>1217.9922</c:v>
                </c:pt>
                <c:pt idx="54">
                  <c:v>1160.688</c:v>
                </c:pt>
                <c:pt idx="55">
                  <c:v>1187.8801</c:v>
                </c:pt>
                <c:pt idx="56">
                  <c:v>1234.9027</c:v>
                </c:pt>
                <c:pt idx="57">
                  <c:v>1205.308</c:v>
                </c:pt>
                <c:pt idx="58">
                  <c:v>1184.4154</c:v>
                </c:pt>
                <c:pt idx="59">
                  <c:v>1180.9075</c:v>
                </c:pt>
                <c:pt idx="60">
                  <c:v>1205.5417</c:v>
                </c:pt>
                <c:pt idx="61">
                  <c:v>1202.0756</c:v>
                </c:pt>
                <c:pt idx="62">
                  <c:v>1165.5368</c:v>
                </c:pt>
                <c:pt idx="63">
                  <c:v>1170.7194</c:v>
                </c:pt>
                <c:pt idx="64">
                  <c:v>1182.3381</c:v>
                </c:pt>
                <c:pt idx="65">
                  <c:v>1213.3189</c:v>
                </c:pt>
                <c:pt idx="66">
                  <c:v>1209.6184</c:v>
                </c:pt>
                <c:pt idx="67">
                  <c:v>1241.8301</c:v>
                </c:pt>
                <c:pt idx="68">
                  <c:v>1269.1164</c:v>
                </c:pt>
                <c:pt idx="69">
                  <c:v>1282.183</c:v>
                </c:pt>
                <c:pt idx="70">
                  <c:v>1307.2605</c:v>
                </c:pt>
                <c:pt idx="71">
                  <c:v>1324.2222</c:v>
                </c:pt>
                <c:pt idx="72">
                  <c:v>1398.8033</c:v>
                </c:pt>
                <c:pt idx="73">
                  <c:v>1400.0867</c:v>
                </c:pt>
                <c:pt idx="74">
                  <c:v>1363.0237</c:v>
                </c:pt>
                <c:pt idx="75">
                  <c:v>1380.4167</c:v>
                </c:pt>
                <c:pt idx="76">
                  <c:v>1353.6442</c:v>
                </c:pt>
                <c:pt idx="77">
                  <c:v>1396.6</c:v>
                </c:pt>
                <c:pt idx="78">
                  <c:v>1398.6937</c:v>
                </c:pt>
                <c:pt idx="79">
                  <c:v>1416.9764</c:v>
                </c:pt>
                <c:pt idx="80">
                  <c:v>1377.0909</c:v>
                </c:pt>
                <c:pt idx="81">
                  <c:v>1384.3828</c:v>
                </c:pt>
                <c:pt idx="82">
                  <c:v>1387.6762</c:v>
                </c:pt>
                <c:pt idx="83">
                  <c:v>1218.6931</c:v>
                </c:pt>
                <c:pt idx="84">
                  <c:v>1316.8692</c:v>
                </c:pt>
                <c:pt idx="85">
                  <c:v>1292.8611</c:v>
                </c:pt>
                <c:pt idx="86">
                  <c:v>1340.0833</c:v>
                </c:pt>
                <c:pt idx="87">
                  <c:v>1340.7868</c:v>
                </c:pt>
                <c:pt idx="88">
                  <c:v>1406.2371</c:v>
                </c:pt>
                <c:pt idx="89">
                  <c:v>1439.7576</c:v>
                </c:pt>
                <c:pt idx="90">
                  <c:v>1481.4455</c:v>
                </c:pt>
                <c:pt idx="91">
                  <c:v>1484.2644</c:v>
                </c:pt>
                <c:pt idx="92">
                  <c:v>1373.1327</c:v>
                </c:pt>
                <c:pt idx="93">
                  <c:v>1397.5842</c:v>
                </c:pt>
                <c:pt idx="94">
                  <c:v>1245.7048</c:v>
                </c:pt>
                <c:pt idx="95">
                  <c:v>1087.7068</c:v>
                </c:pt>
                <c:pt idx="96">
                  <c:v>1349.537</c:v>
                </c:pt>
                <c:pt idx="97">
                  <c:v>1277.5825</c:v>
                </c:pt>
                <c:pt idx="98">
                  <c:v>1205.8776</c:v>
                </c:pt>
                <c:pt idx="99">
                  <c:v>1159.411</c:v>
                </c:pt>
                <c:pt idx="100">
                  <c:v>1125.086</c:v>
                </c:pt>
                <c:pt idx="101">
                  <c:v>1168.6792</c:v>
                </c:pt>
                <c:pt idx="102">
                  <c:v>1144.6407</c:v>
                </c:pt>
                <c:pt idx="103">
                  <c:v>1124.4366</c:v>
                </c:pt>
                <c:pt idx="104">
                  <c:v>1202.0973</c:v>
                </c:pt>
              </c:numCache>
            </c:numRef>
          </c:xVal>
          <c:yVal>
            <c:numRef>
              <c:f>Sheet1!$B$2:$B$106</c:f>
              <c:numCache>
                <c:formatCode>General</c:formatCode>
                <c:ptCount val="105"/>
                <c:pt idx="0">
                  <c:v>0.4753694581280788</c:v>
                </c:pt>
                <c:pt idx="1">
                  <c:v>0.4640625</c:v>
                </c:pt>
                <c:pt idx="2">
                  <c:v>0.5089430894308943</c:v>
                </c:pt>
                <c:pt idx="3">
                  <c:v>0.5400763358778626</c:v>
                </c:pt>
                <c:pt idx="4">
                  <c:v>0.5435203094777563</c:v>
                </c:pt>
                <c:pt idx="5">
                  <c:v>0.5375816993464052</c:v>
                </c:pt>
                <c:pt idx="6">
                  <c:v>0.5165876777251185</c:v>
                </c:pt>
                <c:pt idx="7">
                  <c:v>0.5521739130434783</c:v>
                </c:pt>
                <c:pt idx="8">
                  <c:v>0.5225352112676056</c:v>
                </c:pt>
                <c:pt idx="9">
                  <c:v>0.49415515409139216</c:v>
                </c:pt>
                <c:pt idx="10">
                  <c:v>0.5031982942430704</c:v>
                </c:pt>
                <c:pt idx="11">
                  <c:v>0.44760820045558086</c:v>
                </c:pt>
                <c:pt idx="12">
                  <c:v>0.43532058492688414</c:v>
                </c:pt>
                <c:pt idx="13">
                  <c:v>0.41605839416058393</c:v>
                </c:pt>
                <c:pt idx="14">
                  <c:v>0.3645083932853717</c:v>
                </c:pt>
                <c:pt idx="15">
                  <c:v>0.32991202346041054</c:v>
                </c:pt>
                <c:pt idx="16">
                  <c:v>0.3464991023339318</c:v>
                </c:pt>
                <c:pt idx="17">
                  <c:v>0.3628865979381443</c:v>
                </c:pt>
                <c:pt idx="18">
                  <c:v>0.3475177304964539</c:v>
                </c:pt>
                <c:pt idx="19">
                  <c:v>0.34963325183374083</c:v>
                </c:pt>
                <c:pt idx="20">
                  <c:v>0.33539094650205764</c:v>
                </c:pt>
                <c:pt idx="21">
                  <c:v>0.35768261964735515</c:v>
                </c:pt>
                <c:pt idx="22">
                  <c:v>0.4088888888888889</c:v>
                </c:pt>
                <c:pt idx="23">
                  <c:v>0.4474327628361858</c:v>
                </c:pt>
                <c:pt idx="24">
                  <c:v>0.45879120879120877</c:v>
                </c:pt>
                <c:pt idx="25">
                  <c:v>0.43352601156069365</c:v>
                </c:pt>
                <c:pt idx="26">
                  <c:v>0.4666666666666667</c:v>
                </c:pt>
                <c:pt idx="27">
                  <c:v>0.40594059405940597</c:v>
                </c:pt>
                <c:pt idx="28">
                  <c:v>0.44086021505376344</c:v>
                </c:pt>
                <c:pt idx="29">
                  <c:v>0.4326241134751773</c:v>
                </c:pt>
                <c:pt idx="30">
                  <c:v>0.43243243243243246</c:v>
                </c:pt>
                <c:pt idx="31">
                  <c:v>0.42745098039215684</c:v>
                </c:pt>
                <c:pt idx="32">
                  <c:v>0.4609053497942387</c:v>
                </c:pt>
                <c:pt idx="33">
                  <c:v>0.5</c:v>
                </c:pt>
                <c:pt idx="34">
                  <c:v>0.4485981308411215</c:v>
                </c:pt>
                <c:pt idx="35">
                  <c:v>0.4257703081232493</c:v>
                </c:pt>
                <c:pt idx="36">
                  <c:v>0.40822784810126583</c:v>
                </c:pt>
                <c:pt idx="37">
                  <c:v>0.44785276073619634</c:v>
                </c:pt>
                <c:pt idx="38">
                  <c:v>0.4099616858237548</c:v>
                </c:pt>
                <c:pt idx="39">
                  <c:v>0.37446808510638296</c:v>
                </c:pt>
                <c:pt idx="40">
                  <c:v>0.38006230529595014</c:v>
                </c:pt>
                <c:pt idx="41">
                  <c:v>0.365625</c:v>
                </c:pt>
                <c:pt idx="42">
                  <c:v>0.3799392097264438</c:v>
                </c:pt>
                <c:pt idx="43">
                  <c:v>0.3618421052631579</c:v>
                </c:pt>
                <c:pt idx="44">
                  <c:v>0.3871794871794872</c:v>
                </c:pt>
                <c:pt idx="45">
                  <c:v>0.3933649289099526</c:v>
                </c:pt>
                <c:pt idx="46">
                  <c:v>0.40749148694665155</c:v>
                </c:pt>
                <c:pt idx="47">
                  <c:v>0.37828162291169454</c:v>
                </c:pt>
                <c:pt idx="48">
                  <c:v>0.3946459412780656</c:v>
                </c:pt>
                <c:pt idx="49">
                  <c:v>0.38881247134342045</c:v>
                </c:pt>
                <c:pt idx="50">
                  <c:v>0.3918245264207378</c:v>
                </c:pt>
                <c:pt idx="51">
                  <c:v>0.3802325581395349</c:v>
                </c:pt>
                <c:pt idx="52">
                  <c:v>0.3931987247608927</c:v>
                </c:pt>
                <c:pt idx="53">
                  <c:v>0.3650568181818182</c:v>
                </c:pt>
                <c:pt idx="54">
                  <c:v>0.38328530259365995</c:v>
                </c:pt>
                <c:pt idx="55">
                  <c:v>0.3739495798319328</c:v>
                </c:pt>
                <c:pt idx="56">
                  <c:v>0.3713872832369942</c:v>
                </c:pt>
                <c:pt idx="57">
                  <c:v>0.35397039030955585</c:v>
                </c:pt>
                <c:pt idx="58">
                  <c:v>0.3655913978494624</c:v>
                </c:pt>
                <c:pt idx="59">
                  <c:v>0.37895927601809953</c:v>
                </c:pt>
                <c:pt idx="60">
                  <c:v>0.3958762886597938</c:v>
                </c:pt>
                <c:pt idx="61">
                  <c:v>0.429769392033543</c:v>
                </c:pt>
                <c:pt idx="62">
                  <c:v>0.4426919032597266</c:v>
                </c:pt>
                <c:pt idx="63">
                  <c:v>0.4711992445703494</c:v>
                </c:pt>
                <c:pt idx="64">
                  <c:v>0.4440400363967243</c:v>
                </c:pt>
                <c:pt idx="65">
                  <c:v>0.3666978484565014</c:v>
                </c:pt>
                <c:pt idx="66">
                  <c:v>0.3787740164684355</c:v>
                </c:pt>
                <c:pt idx="67">
                  <c:v>0.3561643835616438</c:v>
                </c:pt>
                <c:pt idx="68">
                  <c:v>0.3319027181688126</c:v>
                </c:pt>
                <c:pt idx="69">
                  <c:v>0.34057971014492755</c:v>
                </c:pt>
                <c:pt idx="70">
                  <c:v>0.349025974025974</c:v>
                </c:pt>
                <c:pt idx="71">
                  <c:v>0.36531365313653136</c:v>
                </c:pt>
                <c:pt idx="72">
                  <c:v>0.31443298969072164</c:v>
                </c:pt>
                <c:pt idx="73">
                  <c:v>0.31982942430703626</c:v>
                </c:pt>
                <c:pt idx="74">
                  <c:v>0.3434959349593496</c:v>
                </c:pt>
                <c:pt idx="75">
                  <c:v>0.34977578475336324</c:v>
                </c:pt>
                <c:pt idx="76">
                  <c:v>0.3590308370044053</c:v>
                </c:pt>
                <c:pt idx="77">
                  <c:v>0.32786885245901637</c:v>
                </c:pt>
                <c:pt idx="78">
                  <c:v>0.33134328358208953</c:v>
                </c:pt>
                <c:pt idx="79">
                  <c:v>0.32987012987012987</c:v>
                </c:pt>
                <c:pt idx="80">
                  <c:v>0.3151862464183381</c:v>
                </c:pt>
                <c:pt idx="81">
                  <c:v>0.3069544364508393</c:v>
                </c:pt>
                <c:pt idx="82">
                  <c:v>0.31722054380664655</c:v>
                </c:pt>
                <c:pt idx="83">
                  <c:v>0.3289902280130293</c:v>
                </c:pt>
                <c:pt idx="84">
                  <c:v>0.34076433121019106</c:v>
                </c:pt>
                <c:pt idx="85">
                  <c:v>0.32628398791540786</c:v>
                </c:pt>
                <c:pt idx="86">
                  <c:v>0.3157894736842105</c:v>
                </c:pt>
                <c:pt idx="87">
                  <c:v>0.32304038004750596</c:v>
                </c:pt>
                <c:pt idx="88">
                  <c:v>0.31189710610932475</c:v>
                </c:pt>
                <c:pt idx="89">
                  <c:v>0.36666666666666664</c:v>
                </c:pt>
                <c:pt idx="90">
                  <c:v>0.3506944444444444</c:v>
                </c:pt>
                <c:pt idx="91">
                  <c:v>0.3</c:v>
                </c:pt>
                <c:pt idx="92">
                  <c:v>0.29581151832460734</c:v>
                </c:pt>
                <c:pt idx="93">
                  <c:v>0.2910662824207493</c:v>
                </c:pt>
                <c:pt idx="94">
                  <c:v>0.3017241379310345</c:v>
                </c:pt>
                <c:pt idx="95">
                  <c:v>0.3804780876494024</c:v>
                </c:pt>
                <c:pt idx="96">
                  <c:v>0.3068181818181818</c:v>
                </c:pt>
                <c:pt idx="97">
                  <c:v>0.33797909407665505</c:v>
                </c:pt>
                <c:pt idx="98">
                  <c:v>0.3417015341701534</c:v>
                </c:pt>
                <c:pt idx="99">
                  <c:v>0.36031589338598224</c:v>
                </c:pt>
                <c:pt idx="100">
                  <c:v>0.3490508266993264</c:v>
                </c:pt>
                <c:pt idx="101">
                  <c:v>0.36625</c:v>
                </c:pt>
                <c:pt idx="102">
                  <c:v>0.35106382978723405</c:v>
                </c:pt>
                <c:pt idx="103">
                  <c:v>0.3313885647607935</c:v>
                </c:pt>
                <c:pt idx="104">
                  <c:v>0.299734748010610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8.9106</c:v>
                </c:pt>
                <c:pt idx="1">
                  <c:v>1286.5169</c:v>
                </c:pt>
                <c:pt idx="2">
                  <c:v>1294.5763</c:v>
                </c:pt>
                <c:pt idx="3">
                  <c:v>1305.8682</c:v>
                </c:pt>
                <c:pt idx="4">
                  <c:v>1263.1519</c:v>
                </c:pt>
                <c:pt idx="5">
                  <c:v>1259.5738</c:v>
                </c:pt>
                <c:pt idx="6">
                  <c:v>1182.4596</c:v>
                </c:pt>
                <c:pt idx="7">
                  <c:v>1222.884</c:v>
                </c:pt>
                <c:pt idx="8">
                  <c:v>1216.4092</c:v>
                </c:pt>
                <c:pt idx="9">
                  <c:v>1141.034</c:v>
                </c:pt>
                <c:pt idx="10">
                  <c:v>1204.0216</c:v>
                </c:pt>
                <c:pt idx="11">
                  <c:v>1089.7766</c:v>
                </c:pt>
                <c:pt idx="12">
                  <c:v>1132.0433</c:v>
                </c:pt>
                <c:pt idx="13">
                  <c:v>1188.0</c:v>
                </c:pt>
                <c:pt idx="14">
                  <c:v>1134.2849</c:v>
                </c:pt>
                <c:pt idx="15">
                  <c:v>1163.3108</c:v>
                </c:pt>
                <c:pt idx="16">
                  <c:v>1205.2783</c:v>
                </c:pt>
                <c:pt idx="17">
                  <c:v>1164.7308</c:v>
                </c:pt>
                <c:pt idx="18">
                  <c:v>1227.7023</c:v>
                </c:pt>
                <c:pt idx="19">
                  <c:v>1285.6514</c:v>
                </c:pt>
                <c:pt idx="20">
                  <c:v>1265.5461</c:v>
                </c:pt>
                <c:pt idx="21">
                  <c:v>1257.6</c:v>
                </c:pt>
                <c:pt idx="22">
                  <c:v>1243.1481</c:v>
                </c:pt>
                <c:pt idx="23">
                  <c:v>1251.7712</c:v>
                </c:pt>
                <c:pt idx="24">
                  <c:v>1259.8274</c:v>
                </c:pt>
                <c:pt idx="25">
                  <c:v>1267.4516</c:v>
                </c:pt>
                <c:pt idx="26">
                  <c:v>1195.013</c:v>
                </c:pt>
                <c:pt idx="27">
                  <c:v>1260.6316</c:v>
                </c:pt>
                <c:pt idx="28">
                  <c:v>1316.3554</c:v>
                </c:pt>
                <c:pt idx="29">
                  <c:v>1302.6762</c:v>
                </c:pt>
                <c:pt idx="30">
                  <c:v>1278.2524</c:v>
                </c:pt>
                <c:pt idx="31">
                  <c:v>1272.4118</c:v>
                </c:pt>
                <c:pt idx="32">
                  <c:v>1333.4706</c:v>
                </c:pt>
                <c:pt idx="33">
                  <c:v>1307.2288</c:v>
                </c:pt>
                <c:pt idx="34">
                  <c:v>1300.1448</c:v>
                </c:pt>
                <c:pt idx="35">
                  <c:v>1359.8279</c:v>
                </c:pt>
                <c:pt idx="36">
                  <c:v>1338.9091</c:v>
                </c:pt>
                <c:pt idx="37">
                  <c:v>1305.0714</c:v>
                </c:pt>
                <c:pt idx="38">
                  <c:v>1311.1947</c:v>
                </c:pt>
                <c:pt idx="39">
                  <c:v>1316.6147</c:v>
                </c:pt>
                <c:pt idx="40">
                  <c:v>1312.1705</c:v>
                </c:pt>
                <c:pt idx="41">
                  <c:v>1389.4595</c:v>
                </c:pt>
                <c:pt idx="42">
                  <c:v>1373.3419</c:v>
                </c:pt>
                <c:pt idx="43">
                  <c:v>1332.2622</c:v>
                </c:pt>
                <c:pt idx="44">
                  <c:v>1286.0216</c:v>
                </c:pt>
                <c:pt idx="45">
                  <c:v>1244.1522</c:v>
                </c:pt>
                <c:pt idx="46">
                  <c:v>1208.5103</c:v>
                </c:pt>
                <c:pt idx="47">
                  <c:v>1149.0376</c:v>
                </c:pt>
                <c:pt idx="48">
                  <c:v>1175.0427</c:v>
                </c:pt>
                <c:pt idx="49">
                  <c:v>1177.9561</c:v>
                </c:pt>
                <c:pt idx="50">
                  <c:v>1153.6884</c:v>
                </c:pt>
                <c:pt idx="51">
                  <c:v>1105.9038</c:v>
                </c:pt>
              </c:numCache>
            </c:numRef>
          </c:xVal>
          <c:yVal>
            <c:numRef>
              <c:f>Sheet1!$B$109:$B$160</c:f>
              <c:numCache>
                <c:formatCode>General</c:formatCode>
                <c:ptCount val="52"/>
                <c:pt idx="0">
                  <c:v>0.305591677503251</c:v>
                </c:pt>
                <c:pt idx="1">
                  <c:v>0.31846153846153846</c:v>
                </c:pt>
                <c:pt idx="2">
                  <c:v>0.31912302070645554</c:v>
                </c:pt>
                <c:pt idx="3">
                  <c:v>0.34081902245706736</c:v>
                </c:pt>
                <c:pt idx="4">
                  <c:v>0.36155606407322655</c:v>
                </c:pt>
                <c:pt idx="5">
                  <c:v>0.33221850613154963</c:v>
                </c:pt>
                <c:pt idx="6">
                  <c:v>0.33471933471933474</c:v>
                </c:pt>
                <c:pt idx="7">
                  <c:v>0.34523809523809523</c:v>
                </c:pt>
                <c:pt idx="8">
                  <c:v>0.3779956427015251</c:v>
                </c:pt>
                <c:pt idx="9">
                  <c:v>0.38254410399257194</c:v>
                </c:pt>
                <c:pt idx="10">
                  <c:v>0.36561264822134387</c:v>
                </c:pt>
                <c:pt idx="11">
                  <c:v>0.3794238683127572</c:v>
                </c:pt>
                <c:pt idx="12">
                  <c:v>0.37309417040358744</c:v>
                </c:pt>
                <c:pt idx="13">
                  <c:v>0.38453713123092575</c:v>
                </c:pt>
                <c:pt idx="14">
                  <c:v>0.3711453744493392</c:v>
                </c:pt>
                <c:pt idx="15">
                  <c:v>0.36724565756823824</c:v>
                </c:pt>
                <c:pt idx="16">
                  <c:v>0.3377386196769457</c:v>
                </c:pt>
                <c:pt idx="17">
                  <c:v>0.3786407766990291</c:v>
                </c:pt>
                <c:pt idx="18">
                  <c:v>0.3625632377740304</c:v>
                </c:pt>
                <c:pt idx="19">
                  <c:v>0.35860655737704916</c:v>
                </c:pt>
                <c:pt idx="20">
                  <c:v>0.3681462140992167</c:v>
                </c:pt>
                <c:pt idx="21">
                  <c:v>0.36764705882352944</c:v>
                </c:pt>
                <c:pt idx="22">
                  <c:v>0.36080178173719374</c:v>
                </c:pt>
                <c:pt idx="23">
                  <c:v>0.3591549295774648</c:v>
                </c:pt>
                <c:pt idx="24">
                  <c:v>0.39069767441860465</c:v>
                </c:pt>
                <c:pt idx="25">
                  <c:v>0.3664302600472813</c:v>
                </c:pt>
                <c:pt idx="26">
                  <c:v>0.4</c:v>
                </c:pt>
                <c:pt idx="27">
                  <c:v>0.40425531914893614</c:v>
                </c:pt>
                <c:pt idx="28">
                  <c:v>0.36555891238670696</c:v>
                </c:pt>
                <c:pt idx="29">
                  <c:v>0.3583617747440273</c:v>
                </c:pt>
                <c:pt idx="30">
                  <c:v>0.36395759717314485</c:v>
                </c:pt>
                <c:pt idx="31">
                  <c:v>0.34552845528455284</c:v>
                </c:pt>
                <c:pt idx="32">
                  <c:v>0.34274193548387094</c:v>
                </c:pt>
                <c:pt idx="33">
                  <c:v>0.3323943661971831</c:v>
                </c:pt>
                <c:pt idx="34">
                  <c:v>0.36159600997506236</c:v>
                </c:pt>
                <c:pt idx="35">
                  <c:v>0.3475783475783476</c:v>
                </c:pt>
                <c:pt idx="36">
                  <c:v>0.3320754716981132</c:v>
                </c:pt>
                <c:pt idx="37">
                  <c:v>0.3656716417910448</c:v>
                </c:pt>
                <c:pt idx="38">
                  <c:v>0.40794223826714804</c:v>
                </c:pt>
                <c:pt idx="39">
                  <c:v>0.36824324324324326</c:v>
                </c:pt>
                <c:pt idx="40">
                  <c:v>0.3664772727272727</c:v>
                </c:pt>
                <c:pt idx="41">
                  <c:v>0.33035714285714285</c:v>
                </c:pt>
                <c:pt idx="42">
                  <c:v>0.3188010899182561</c:v>
                </c:pt>
                <c:pt idx="43">
                  <c:v>0.35807860262008734</c:v>
                </c:pt>
                <c:pt idx="44">
                  <c:v>0.351010101010101</c:v>
                </c:pt>
                <c:pt idx="45">
                  <c:v>0.35658914728682173</c:v>
                </c:pt>
                <c:pt idx="46">
                  <c:v>0.402317880794702</c:v>
                </c:pt>
                <c:pt idx="47">
                  <c:v>0.37359550561797755</c:v>
                </c:pt>
                <c:pt idx="48">
                  <c:v>0.37617135207496655</c:v>
                </c:pt>
                <c:pt idx="49">
                  <c:v>0.3720508166969147</c:v>
                </c:pt>
                <c:pt idx="50">
                  <c:v>0.34414225941422594</c:v>
                </c:pt>
                <c:pt idx="51">
                  <c:v>0.351025331724969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6177152871746</c:v>
                </c:pt>
              </c:numCache>
            </c:numRef>
          </c:xVal>
          <c:yVal>
            <c:numRef>
              <c:f>Sheet1!$B$163:$B$164</c:f>
              <c:numCache>
                <c:formatCode>General</c:formatCode>
                <c:ptCount val="2"/>
                <c:pt idx="0">
                  <c:v>0.5178722438108</c:v>
                </c:pt>
                <c:pt idx="1">
                  <c:v>0.51787224381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6177152871746</c:v>
                </c:pt>
                <c:pt idx="1">
                  <c:v>2.96177152871746</c:v>
                </c:pt>
              </c:numCache>
            </c:numRef>
          </c:xVal>
          <c:yVal>
            <c:numRef>
              <c:f>Sheet1!$B$167:$B$168</c:f>
              <c:numCache>
                <c:formatCode>General</c:formatCode>
                <c:ptCount val="2"/>
                <c:pt idx="0">
                  <c:v>0.51787224381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5.4741224037355</c:v>
                </c:pt>
              </c:numCache>
            </c:numRef>
          </c:xVal>
          <c:yVal>
            <c:numRef>
              <c:f>Sheet1!$B$171:$B$172</c:f>
              <c:numCache>
                <c:formatCode>General</c:formatCode>
                <c:ptCount val="2"/>
                <c:pt idx="0">
                  <c:v>0.36899580143296645</c:v>
                </c:pt>
                <c:pt idx="1">
                  <c:v>0.368995801432966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5.4741224037355</c:v>
                </c:pt>
                <c:pt idx="1">
                  <c:v>1175.4741224037355</c:v>
                </c:pt>
              </c:numCache>
            </c:numRef>
          </c:xVal>
          <c:yVal>
            <c:numRef>
              <c:f>Sheet1!$B$175:$B$176</c:f>
              <c:numCache>
                <c:formatCode>General</c:formatCode>
                <c:ptCount val="2"/>
                <c:pt idx="0">
                  <c:v>0.368995801432966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3.07178596547</c:v>
                </c:pt>
              </c:numCache>
            </c:numRef>
          </c:xVal>
          <c:yVal>
            <c:numRef>
              <c:f>Sheet1!$B$179:$B$180</c:f>
              <c:numCache>
                <c:formatCode>General</c:formatCode>
                <c:ptCount val="2"/>
                <c:pt idx="0">
                  <c:v>0.359143057383591</c:v>
                </c:pt>
                <c:pt idx="1">
                  <c:v>0.35914305738359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3.07178596547</c:v>
                </c:pt>
                <c:pt idx="1">
                  <c:v>1253.07178596547</c:v>
                </c:pt>
              </c:numCache>
            </c:numRef>
          </c:xVal>
          <c:yVal>
            <c:numRef>
              <c:f>Sheet1!$B$183:$B$184</c:f>
              <c:numCache>
                <c:formatCode>General</c:formatCode>
                <c:ptCount val="2"/>
                <c:pt idx="0">
                  <c:v>0.3591430573835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8.9106</c:v>
                </c:pt>
                <c:pt idx="1">
                  <c:v>1286.5169</c:v>
                </c:pt>
                <c:pt idx="2">
                  <c:v>1294.5763</c:v>
                </c:pt>
                <c:pt idx="3">
                  <c:v>1305.8682</c:v>
                </c:pt>
                <c:pt idx="4">
                  <c:v>1263.1519</c:v>
                </c:pt>
                <c:pt idx="5">
                  <c:v>1259.5738</c:v>
                </c:pt>
                <c:pt idx="6">
                  <c:v>1182.4596</c:v>
                </c:pt>
                <c:pt idx="7">
                  <c:v>1222.884</c:v>
                </c:pt>
                <c:pt idx="8">
                  <c:v>1216.4092</c:v>
                </c:pt>
                <c:pt idx="9">
                  <c:v>1141.034</c:v>
                </c:pt>
                <c:pt idx="10">
                  <c:v>1204.0216</c:v>
                </c:pt>
                <c:pt idx="11">
                  <c:v>1089.7766</c:v>
                </c:pt>
                <c:pt idx="12">
                  <c:v>1132.0433</c:v>
                </c:pt>
                <c:pt idx="13">
                  <c:v>1188.0</c:v>
                </c:pt>
                <c:pt idx="14">
                  <c:v>1134.2849</c:v>
                </c:pt>
                <c:pt idx="15">
                  <c:v>1163.3108</c:v>
                </c:pt>
                <c:pt idx="16">
                  <c:v>1205.2783</c:v>
                </c:pt>
                <c:pt idx="17">
                  <c:v>1164.7308</c:v>
                </c:pt>
                <c:pt idx="18">
                  <c:v>1227.7023</c:v>
                </c:pt>
                <c:pt idx="19">
                  <c:v>1285.6514</c:v>
                </c:pt>
                <c:pt idx="20">
                  <c:v>1265.5461</c:v>
                </c:pt>
                <c:pt idx="21">
                  <c:v>1257.6</c:v>
                </c:pt>
                <c:pt idx="22">
                  <c:v>1243.1481</c:v>
                </c:pt>
                <c:pt idx="23">
                  <c:v>1251.7712</c:v>
                </c:pt>
                <c:pt idx="24">
                  <c:v>1259.8274</c:v>
                </c:pt>
                <c:pt idx="25">
                  <c:v>1267.4516</c:v>
                </c:pt>
                <c:pt idx="26">
                  <c:v>1195.013</c:v>
                </c:pt>
                <c:pt idx="27">
                  <c:v>1260.6316</c:v>
                </c:pt>
                <c:pt idx="28">
                  <c:v>1316.3554</c:v>
                </c:pt>
                <c:pt idx="29">
                  <c:v>1302.6762</c:v>
                </c:pt>
                <c:pt idx="30">
                  <c:v>1278.2524</c:v>
                </c:pt>
                <c:pt idx="31">
                  <c:v>1272.4118</c:v>
                </c:pt>
                <c:pt idx="32">
                  <c:v>1333.4706</c:v>
                </c:pt>
                <c:pt idx="33">
                  <c:v>1307.2288</c:v>
                </c:pt>
                <c:pt idx="34">
                  <c:v>1300.1448</c:v>
                </c:pt>
                <c:pt idx="35">
                  <c:v>1359.8279</c:v>
                </c:pt>
                <c:pt idx="36">
                  <c:v>1338.9091</c:v>
                </c:pt>
                <c:pt idx="37">
                  <c:v>1305.0714</c:v>
                </c:pt>
                <c:pt idx="38">
                  <c:v>1311.1947</c:v>
                </c:pt>
                <c:pt idx="39">
                  <c:v>1316.6147</c:v>
                </c:pt>
                <c:pt idx="40">
                  <c:v>1312.1705</c:v>
                </c:pt>
                <c:pt idx="41">
                  <c:v>1389.4595</c:v>
                </c:pt>
                <c:pt idx="42">
                  <c:v>1373.3419</c:v>
                </c:pt>
                <c:pt idx="43">
                  <c:v>1332.2622</c:v>
                </c:pt>
                <c:pt idx="44">
                  <c:v>1286.0216</c:v>
                </c:pt>
                <c:pt idx="45">
                  <c:v>1244.1522</c:v>
                </c:pt>
                <c:pt idx="46">
                  <c:v>1208.5103</c:v>
                </c:pt>
                <c:pt idx="47">
                  <c:v>1149.0376</c:v>
                </c:pt>
                <c:pt idx="48">
                  <c:v>1175.0427</c:v>
                </c:pt>
                <c:pt idx="49">
                  <c:v>1177.9561</c:v>
                </c:pt>
                <c:pt idx="50">
                  <c:v>1153.6884</c:v>
                </c:pt>
                <c:pt idx="51">
                  <c:v>1105.9038</c:v>
                </c:pt>
                <c:pt idx="52">
                  <c:v>1175.4741224037355</c:v>
                </c:pt>
                <c:pt idx="53">
                  <c:v>2.96177152871746</c:v>
                </c:pt>
                <c:pt idx="54">
                  <c:v>1253.07178596547</c:v>
                </c:pt>
              </c:numCache>
            </c:numRef>
          </c:xVal>
          <c:yVal>
            <c:numRef>
              <c:f>Sheet1!$B$187:$B$241</c:f>
              <c:numCache>
                <c:formatCode>General</c:formatCode>
                <c:ptCount val="55"/>
                <c:pt idx="0">
                  <c:v>0.35332280350636136</c:v>
                </c:pt>
                <c:pt idx="1">
                  <c:v>0.3548964585408019</c:v>
                </c:pt>
                <c:pt idx="2">
                  <c:v>0.35387313900066697</c:v>
                </c:pt>
                <c:pt idx="3">
                  <c:v>0.3524393819076763</c:v>
                </c:pt>
                <c:pt idx="4">
                  <c:v>0.357863163389209</c:v>
                </c:pt>
                <c:pt idx="5">
                  <c:v>0.35831748252544204</c:v>
                </c:pt>
                <c:pt idx="6">
                  <c:v>0.36810884015527434</c:v>
                </c:pt>
                <c:pt idx="7">
                  <c:v>0.3629760661996164</c:v>
                </c:pt>
                <c:pt idx="8">
                  <c:v>0.36379818563263444</c:v>
                </c:pt>
                <c:pt idx="9">
                  <c:v>0.37336873865166514</c:v>
                </c:pt>
                <c:pt idx="10">
                  <c:v>0.3653710661368128</c:v>
                </c:pt>
                <c:pt idx="11">
                  <c:v>0.37987700216960824</c:v>
                </c:pt>
                <c:pt idx="12">
                  <c:v>0.37451030737756175</c:v>
                </c:pt>
                <c:pt idx="13">
                  <c:v>0.3674053635217578</c:v>
                </c:pt>
                <c:pt idx="14">
                  <c:v>0.37422568655204536</c:v>
                </c:pt>
                <c:pt idx="15">
                  <c:v>0.37054020492313977</c:v>
                </c:pt>
                <c:pt idx="16">
                  <c:v>0.36521150020559123</c:v>
                </c:pt>
                <c:pt idx="17">
                  <c:v>0.37035990443588374</c:v>
                </c:pt>
                <c:pt idx="18">
                  <c:v>0.3623642761730348</c:v>
                </c:pt>
                <c:pt idx="19">
                  <c:v>0.3550063529575062</c:v>
                </c:pt>
                <c:pt idx="20">
                  <c:v>0.35755916660992126</c:v>
                </c:pt>
                <c:pt idx="21">
                  <c:v>0.35856810020272795</c:v>
                </c:pt>
                <c:pt idx="22">
                  <c:v>0.36040308936595045</c:v>
                </c:pt>
                <c:pt idx="23">
                  <c:v>0.35930819561126187</c:v>
                </c:pt>
                <c:pt idx="24">
                  <c:v>0.3582852823820842</c:v>
                </c:pt>
                <c:pt idx="25">
                  <c:v>0.35731722113212805</c:v>
                </c:pt>
                <c:pt idx="26">
                  <c:v>0.36651490766462624</c:v>
                </c:pt>
                <c:pt idx="27">
                  <c:v>0.35818317135965366</c:v>
                </c:pt>
                <c:pt idx="28">
                  <c:v>0.3511077993232032</c:v>
                </c:pt>
                <c:pt idx="29">
                  <c:v>0.35284467708748</c:v>
                </c:pt>
                <c:pt idx="30">
                  <c:v>0.3559458200738496</c:v>
                </c:pt>
                <c:pt idx="31">
                  <c:v>0.35668741375403823</c:v>
                </c:pt>
                <c:pt idx="32">
                  <c:v>0.3489346451686362</c:v>
                </c:pt>
                <c:pt idx="33">
                  <c:v>0.35226662356756316</c:v>
                </c:pt>
                <c:pt idx="34">
                  <c:v>0.35316609444905755</c:v>
                </c:pt>
                <c:pt idx="35">
                  <c:v>0.3455880014835979</c:v>
                </c:pt>
                <c:pt idx="36">
                  <c:v>0.3482441069996629</c:v>
                </c:pt>
                <c:pt idx="37">
                  <c:v>0.3525405533360183</c:v>
                </c:pt>
                <c:pt idx="38">
                  <c:v>0.35176306462220486</c:v>
                </c:pt>
                <c:pt idx="39">
                  <c:v>0.35107487543845284</c:v>
                </c:pt>
                <c:pt idx="40">
                  <c:v>0.3516391651746946</c:v>
                </c:pt>
                <c:pt idx="41">
                  <c:v>0.3418256128088255</c:v>
                </c:pt>
                <c:pt idx="42">
                  <c:v>0.3438720995224863</c:v>
                </c:pt>
                <c:pt idx="43">
                  <c:v>0.3490880783438477</c:v>
                </c:pt>
                <c:pt idx="44">
                  <c:v>0.35495934785864547</c:v>
                </c:pt>
                <c:pt idx="45">
                  <c:v>0.3602755966059126</c:v>
                </c:pt>
                <c:pt idx="46">
                  <c:v>0.36480112613882243</c:v>
                </c:pt>
                <c:pt idx="47">
                  <c:v>0.37235250415884635</c:v>
                </c:pt>
                <c:pt idx="48">
                  <c:v>0.36905058007353453</c:v>
                </c:pt>
                <c:pt idx="49">
                  <c:v>0.3686806593414417</c:v>
                </c:pt>
                <c:pt idx="50">
                  <c:v>0.3717619819714305</c:v>
                </c:pt>
                <c:pt idx="51">
                  <c:v>0.3778292965230758</c:v>
                </c:pt>
                <c:pt idx="52">
                  <c:v>0.36899580143296645</c:v>
                </c:pt>
                <c:pt idx="53">
                  <c:v>0.5178722438108</c:v>
                </c:pt>
                <c:pt idx="54">
                  <c:v>0.3591430573835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2608695652174"/>
          <c:min val="0.232853025936599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c:v>
                </c:pt>
                <c:pt idx="1">
                  <c:v>0.0</c:v>
                </c:pt>
                <c:pt idx="2">
                  <c:v>0.0</c:v>
                </c:pt>
                <c:pt idx="3">
                  <c:v>0.0</c:v>
                </c:pt>
                <c:pt idx="4">
                  <c:v>0.0</c:v>
                </c:pt>
                <c:pt idx="5">
                  <c:v>0.0</c:v>
                </c:pt>
                <c:pt idx="6">
                  <c:v>0.0</c:v>
                </c:pt>
                <c:pt idx="7">
                  <c:v>0.0</c:v>
                </c:pt>
                <c:pt idx="8">
                  <c:v>0.490672166045769</c:v>
                </c:pt>
                <c:pt idx="9">
                  <c:v>0.515039103291714</c:v>
                </c:pt>
                <c:pt idx="10">
                  <c:v>0.0</c:v>
                </c:pt>
                <c:pt idx="11">
                  <c:v>0.0</c:v>
                </c:pt>
                <c:pt idx="12">
                  <c:v>0.0</c:v>
                </c:pt>
                <c:pt idx="13">
                  <c:v>0.0</c:v>
                </c:pt>
                <c:pt idx="14">
                  <c:v>0.0</c:v>
                </c:pt>
                <c:pt idx="15">
                  <c:v>0.0</c:v>
                </c:pt>
                <c:pt idx="16">
                  <c:v>0.0</c:v>
                </c:pt>
                <c:pt idx="17">
                  <c:v>0.0</c:v>
                </c:pt>
                <c:pt idx="18">
                  <c:v>0.6229899188876015</c:v>
                </c:pt>
                <c:pt idx="19">
                  <c:v>0.0</c:v>
                </c:pt>
                <c:pt idx="20">
                  <c:v>0.0</c:v>
                </c:pt>
                <c:pt idx="21">
                  <c:v>1.598932044198895</c:v>
                </c:pt>
                <c:pt idx="22">
                  <c:v>0.0</c:v>
                </c:pt>
                <c:pt idx="23">
                  <c:v>0.525499116781158</c:v>
                </c:pt>
                <c:pt idx="24">
                  <c:v>1.3836307125307126</c:v>
                </c:pt>
                <c:pt idx="25">
                  <c:v>0.0</c:v>
                </c:pt>
                <c:pt idx="26">
                  <c:v>1.120737881873727</c:v>
                </c:pt>
                <c:pt idx="27">
                  <c:v>1.0783937984496124</c:v>
                </c:pt>
                <c:pt idx="28">
                  <c:v>0.8405709022556391</c:v>
                </c:pt>
                <c:pt idx="29">
                  <c:v>0.47585015040825096</c:v>
                </c:pt>
                <c:pt idx="30">
                  <c:v>0.6349697390927463</c:v>
                </c:pt>
                <c:pt idx="31">
                  <c:v>0.9420974337040204</c:v>
                </c:pt>
                <c:pt idx="32">
                  <c:v>0.6240079282407407</c:v>
                </c:pt>
                <c:pt idx="33">
                  <c:v>0.49419018240343343</c:v>
                </c:pt>
                <c:pt idx="34">
                  <c:v>0.9352061748013621</c:v>
                </c:pt>
                <c:pt idx="35">
                  <c:v>0.9102840371621621</c:v>
                </c:pt>
                <c:pt idx="36">
                  <c:v>0.8652517605861396</c:v>
                </c:pt>
                <c:pt idx="37">
                  <c:v>0.9272935653581545</c:v>
                </c:pt>
                <c:pt idx="38">
                  <c:v>1.1475325555136675</c:v>
                </c:pt>
                <c:pt idx="39">
                  <c:v>0.8572398804216624</c:v>
                </c:pt>
                <c:pt idx="40">
                  <c:v>1.1590232234091964</c:v>
                </c:pt>
                <c:pt idx="41">
                  <c:v>0.8060900829020634</c:v>
                </c:pt>
                <c:pt idx="42">
                  <c:v>1.0685982161377308</c:v>
                </c:pt>
                <c:pt idx="43">
                  <c:v>1.0882846890927624</c:v>
                </c:pt>
                <c:pt idx="44">
                  <c:v>0.9849661982825918</c:v>
                </c:pt>
                <c:pt idx="45">
                  <c:v>1.0114093752360573</c:v>
                </c:pt>
                <c:pt idx="46">
                  <c:v>1.101824198124462</c:v>
                </c:pt>
                <c:pt idx="47">
                  <c:v>0.9135065179791995</c:v>
                </c:pt>
                <c:pt idx="48">
                  <c:v>1.0377989865141621</c:v>
                </c:pt>
                <c:pt idx="49">
                  <c:v>1.0553115927419354</c:v>
                </c:pt>
                <c:pt idx="50">
                  <c:v>0.9647801099908341</c:v>
                </c:pt>
                <c:pt idx="51">
                  <c:v>0.900526806722689</c:v>
                </c:pt>
                <c:pt idx="52">
                  <c:v>0.8674852564102563</c:v>
                </c:pt>
                <c:pt idx="53">
                  <c:v>0.9092208121827411</c:v>
                </c:pt>
                <c:pt idx="54">
                  <c:v>1.0499213025780192</c:v>
                </c:pt>
                <c:pt idx="55">
                  <c:v>0.9840232504756801</c:v>
                </c:pt>
                <c:pt idx="56">
                  <c:v>1.1836128493167046</c:v>
                </c:pt>
                <c:pt idx="57">
                  <c:v>1.1296232427366448</c:v>
                </c:pt>
                <c:pt idx="58">
                  <c:v>1.371985427304078</c:v>
                </c:pt>
                <c:pt idx="59">
                  <c:v>0.9042170750382849</c:v>
                </c:pt>
                <c:pt idx="60">
                  <c:v>1.0690585258924468</c:v>
                </c:pt>
                <c:pt idx="61">
                  <c:v>1.0060893873451624</c:v>
                </c:pt>
                <c:pt idx="62">
                  <c:v>1.0454807907155268</c:v>
                </c:pt>
                <c:pt idx="63">
                  <c:v>1.0663368579461912</c:v>
                </c:pt>
                <c:pt idx="64">
                  <c:v>1.204964685878489</c:v>
                </c:pt>
                <c:pt idx="65">
                  <c:v>0.9988512525126277</c:v>
                </c:pt>
                <c:pt idx="66">
                  <c:v>0.9931185550082102</c:v>
                </c:pt>
                <c:pt idx="67">
                  <c:v>1.1056179665242163</c:v>
                </c:pt>
                <c:pt idx="68">
                  <c:v>1.2798672851956434</c:v>
                </c:pt>
                <c:pt idx="69">
                  <c:v>1.0732558294292458</c:v>
                </c:pt>
                <c:pt idx="70">
                  <c:v>0.862593533487298</c:v>
                </c:pt>
                <c:pt idx="71">
                  <c:v>0.6218465367457149</c:v>
                </c:pt>
                <c:pt idx="72">
                  <c:v>0.9294374086378738</c:v>
                </c:pt>
                <c:pt idx="73">
                  <c:v>1.376683087512291</c:v>
                </c:pt>
                <c:pt idx="74">
                  <c:v>1.0983269137792102</c:v>
                </c:pt>
                <c:pt idx="75">
                  <c:v>1.358232284625526</c:v>
                </c:pt>
                <c:pt idx="76">
                  <c:v>1.3420133727027967</c:v>
                </c:pt>
                <c:pt idx="77">
                  <c:v>0.8531459987782528</c:v>
                </c:pt>
                <c:pt idx="78">
                  <c:v>0.6998717538153615</c:v>
                </c:pt>
                <c:pt idx="79">
                  <c:v>0.7485348124669836</c:v>
                </c:pt>
                <c:pt idx="80">
                  <c:v>0.9553180020811654</c:v>
                </c:pt>
                <c:pt idx="81">
                  <c:v>1.2404863799283155</c:v>
                </c:pt>
                <c:pt idx="82">
                  <c:v>0.8889661755285074</c:v>
                </c:pt>
                <c:pt idx="83">
                  <c:v>1.4364605139085338</c:v>
                </c:pt>
                <c:pt idx="84">
                  <c:v>1.1001413533834588</c:v>
                </c:pt>
                <c:pt idx="85">
                  <c:v>1.4202063134458556</c:v>
                </c:pt>
                <c:pt idx="86">
                  <c:v>2.038149505703422</c:v>
                </c:pt>
                <c:pt idx="87">
                  <c:v>1.568171695906433</c:v>
                </c:pt>
                <c:pt idx="88">
                  <c:v>1.1191699960206924</c:v>
                </c:pt>
                <c:pt idx="89">
                  <c:v>0.8097624296962879</c:v>
                </c:pt>
                <c:pt idx="90">
                  <c:v>1.068478543094122</c:v>
                </c:pt>
                <c:pt idx="91">
                  <c:v>1.4055534090909092</c:v>
                </c:pt>
                <c:pt idx="92">
                  <c:v>0.8550016811955169</c:v>
                </c:pt>
                <c:pt idx="93">
                  <c:v>1.0047334291876349</c:v>
                </c:pt>
                <c:pt idx="94">
                  <c:v>0.41985331985170204</c:v>
                </c:pt>
                <c:pt idx="95">
                  <c:v>1.194844569565894</c:v>
                </c:pt>
                <c:pt idx="96">
                  <c:v>1.3813070624360286</c:v>
                </c:pt>
                <c:pt idx="97">
                  <c:v>1.409357418643133</c:v>
                </c:pt>
                <c:pt idx="98">
                  <c:v>1.3178990163934428</c:v>
                </c:pt>
                <c:pt idx="99">
                  <c:v>1.1465127317676145</c:v>
                </c:pt>
                <c:pt idx="100">
                  <c:v>0.9393982482772545</c:v>
                </c:pt>
                <c:pt idx="101">
                  <c:v>1.275850655021834</c:v>
                </c:pt>
                <c:pt idx="102">
                  <c:v>0.7694201261613236</c:v>
                </c:pt>
                <c:pt idx="103">
                  <c:v>0.9689242567858681</c:v>
                </c:pt>
                <c:pt idx="104">
                  <c:v>1.3048545997286294</c:v>
                </c:pt>
              </c:numCache>
            </c:numRef>
          </c:xVal>
          <c:yVal>
            <c:numRef>
              <c:f>Sheet1!$B$2:$B$106</c:f>
              <c:numCache>
                <c:formatCode>General</c:formatCode>
                <c:ptCount val="105"/>
                <c:pt idx="0">
                  <c:v>0.4753694581280788</c:v>
                </c:pt>
                <c:pt idx="1">
                  <c:v>0.4640625</c:v>
                </c:pt>
                <c:pt idx="2">
                  <c:v>0.5089430894308943</c:v>
                </c:pt>
                <c:pt idx="3">
                  <c:v>0.5400763358778626</c:v>
                </c:pt>
                <c:pt idx="4">
                  <c:v>0.5435203094777563</c:v>
                </c:pt>
                <c:pt idx="5">
                  <c:v>0.5375816993464052</c:v>
                </c:pt>
                <c:pt idx="6">
                  <c:v>0.5165876777251185</c:v>
                </c:pt>
                <c:pt idx="7">
                  <c:v>0.5521739130434783</c:v>
                </c:pt>
                <c:pt idx="8">
                  <c:v>0.5225352112676056</c:v>
                </c:pt>
                <c:pt idx="9">
                  <c:v>0.49415515409139216</c:v>
                </c:pt>
                <c:pt idx="10">
                  <c:v>0.5031982942430704</c:v>
                </c:pt>
                <c:pt idx="11">
                  <c:v>0.44760820045558086</c:v>
                </c:pt>
                <c:pt idx="12">
                  <c:v>0.43532058492688414</c:v>
                </c:pt>
                <c:pt idx="13">
                  <c:v>0.41605839416058393</c:v>
                </c:pt>
                <c:pt idx="14">
                  <c:v>0.3645083932853717</c:v>
                </c:pt>
                <c:pt idx="15">
                  <c:v>0.32991202346041054</c:v>
                </c:pt>
                <c:pt idx="16">
                  <c:v>0.3464991023339318</c:v>
                </c:pt>
                <c:pt idx="17">
                  <c:v>0.3628865979381443</c:v>
                </c:pt>
                <c:pt idx="18">
                  <c:v>0.3475177304964539</c:v>
                </c:pt>
                <c:pt idx="19">
                  <c:v>0.34963325183374083</c:v>
                </c:pt>
                <c:pt idx="20">
                  <c:v>0.33539094650205764</c:v>
                </c:pt>
                <c:pt idx="21">
                  <c:v>0.35768261964735515</c:v>
                </c:pt>
                <c:pt idx="22">
                  <c:v>0.4088888888888889</c:v>
                </c:pt>
                <c:pt idx="23">
                  <c:v>0.4474327628361858</c:v>
                </c:pt>
                <c:pt idx="24">
                  <c:v>0.45879120879120877</c:v>
                </c:pt>
                <c:pt idx="25">
                  <c:v>0.43352601156069365</c:v>
                </c:pt>
                <c:pt idx="26">
                  <c:v>0.4666666666666667</c:v>
                </c:pt>
                <c:pt idx="27">
                  <c:v>0.40594059405940597</c:v>
                </c:pt>
                <c:pt idx="28">
                  <c:v>0.44086021505376344</c:v>
                </c:pt>
                <c:pt idx="29">
                  <c:v>0.4326241134751773</c:v>
                </c:pt>
                <c:pt idx="30">
                  <c:v>0.43243243243243246</c:v>
                </c:pt>
                <c:pt idx="31">
                  <c:v>0.42745098039215684</c:v>
                </c:pt>
                <c:pt idx="32">
                  <c:v>0.4609053497942387</c:v>
                </c:pt>
                <c:pt idx="33">
                  <c:v>0.5</c:v>
                </c:pt>
                <c:pt idx="34">
                  <c:v>0.4485981308411215</c:v>
                </c:pt>
                <c:pt idx="35">
                  <c:v>0.4257703081232493</c:v>
                </c:pt>
                <c:pt idx="36">
                  <c:v>0.40822784810126583</c:v>
                </c:pt>
                <c:pt idx="37">
                  <c:v>0.44785276073619634</c:v>
                </c:pt>
                <c:pt idx="38">
                  <c:v>0.4099616858237548</c:v>
                </c:pt>
                <c:pt idx="39">
                  <c:v>0.37446808510638296</c:v>
                </c:pt>
                <c:pt idx="40">
                  <c:v>0.38006230529595014</c:v>
                </c:pt>
                <c:pt idx="41">
                  <c:v>0.365625</c:v>
                </c:pt>
                <c:pt idx="42">
                  <c:v>0.3799392097264438</c:v>
                </c:pt>
                <c:pt idx="43">
                  <c:v>0.3618421052631579</c:v>
                </c:pt>
                <c:pt idx="44">
                  <c:v>0.3871794871794872</c:v>
                </c:pt>
                <c:pt idx="45">
                  <c:v>0.3933649289099526</c:v>
                </c:pt>
                <c:pt idx="46">
                  <c:v>0.40749148694665155</c:v>
                </c:pt>
                <c:pt idx="47">
                  <c:v>0.37828162291169454</c:v>
                </c:pt>
                <c:pt idx="48">
                  <c:v>0.3946459412780656</c:v>
                </c:pt>
                <c:pt idx="49">
                  <c:v>0.38881247134342045</c:v>
                </c:pt>
                <c:pt idx="50">
                  <c:v>0.3918245264207378</c:v>
                </c:pt>
                <c:pt idx="51">
                  <c:v>0.3802325581395349</c:v>
                </c:pt>
                <c:pt idx="52">
                  <c:v>0.3931987247608927</c:v>
                </c:pt>
                <c:pt idx="53">
                  <c:v>0.3650568181818182</c:v>
                </c:pt>
                <c:pt idx="54">
                  <c:v>0.38328530259365995</c:v>
                </c:pt>
                <c:pt idx="55">
                  <c:v>0.3739495798319328</c:v>
                </c:pt>
                <c:pt idx="56">
                  <c:v>0.3713872832369942</c:v>
                </c:pt>
                <c:pt idx="57">
                  <c:v>0.35397039030955585</c:v>
                </c:pt>
                <c:pt idx="58">
                  <c:v>0.3655913978494624</c:v>
                </c:pt>
                <c:pt idx="59">
                  <c:v>0.37895927601809953</c:v>
                </c:pt>
                <c:pt idx="60">
                  <c:v>0.3958762886597938</c:v>
                </c:pt>
                <c:pt idx="61">
                  <c:v>0.429769392033543</c:v>
                </c:pt>
                <c:pt idx="62">
                  <c:v>0.4426919032597266</c:v>
                </c:pt>
                <c:pt idx="63">
                  <c:v>0.4711992445703494</c:v>
                </c:pt>
                <c:pt idx="64">
                  <c:v>0.4440400363967243</c:v>
                </c:pt>
                <c:pt idx="65">
                  <c:v>0.3666978484565014</c:v>
                </c:pt>
                <c:pt idx="66">
                  <c:v>0.3787740164684355</c:v>
                </c:pt>
                <c:pt idx="67">
                  <c:v>0.3561643835616438</c:v>
                </c:pt>
                <c:pt idx="68">
                  <c:v>0.3319027181688126</c:v>
                </c:pt>
                <c:pt idx="69">
                  <c:v>0.34057971014492755</c:v>
                </c:pt>
                <c:pt idx="70">
                  <c:v>0.349025974025974</c:v>
                </c:pt>
                <c:pt idx="71">
                  <c:v>0.36531365313653136</c:v>
                </c:pt>
                <c:pt idx="72">
                  <c:v>0.31443298969072164</c:v>
                </c:pt>
                <c:pt idx="73">
                  <c:v>0.31982942430703626</c:v>
                </c:pt>
                <c:pt idx="74">
                  <c:v>0.3434959349593496</c:v>
                </c:pt>
                <c:pt idx="75">
                  <c:v>0.34977578475336324</c:v>
                </c:pt>
                <c:pt idx="76">
                  <c:v>0.3590308370044053</c:v>
                </c:pt>
                <c:pt idx="77">
                  <c:v>0.32786885245901637</c:v>
                </c:pt>
                <c:pt idx="78">
                  <c:v>0.33134328358208953</c:v>
                </c:pt>
                <c:pt idx="79">
                  <c:v>0.32987012987012987</c:v>
                </c:pt>
                <c:pt idx="80">
                  <c:v>0.3151862464183381</c:v>
                </c:pt>
                <c:pt idx="81">
                  <c:v>0.3069544364508393</c:v>
                </c:pt>
                <c:pt idx="82">
                  <c:v>0.31722054380664655</c:v>
                </c:pt>
                <c:pt idx="83">
                  <c:v>0.3289902280130293</c:v>
                </c:pt>
                <c:pt idx="84">
                  <c:v>0.34076433121019106</c:v>
                </c:pt>
                <c:pt idx="85">
                  <c:v>0.32628398791540786</c:v>
                </c:pt>
                <c:pt idx="86">
                  <c:v>0.3157894736842105</c:v>
                </c:pt>
                <c:pt idx="87">
                  <c:v>0.32304038004750596</c:v>
                </c:pt>
                <c:pt idx="88">
                  <c:v>0.31189710610932475</c:v>
                </c:pt>
                <c:pt idx="89">
                  <c:v>0.36666666666666664</c:v>
                </c:pt>
                <c:pt idx="90">
                  <c:v>0.3506944444444444</c:v>
                </c:pt>
                <c:pt idx="91">
                  <c:v>0.3</c:v>
                </c:pt>
                <c:pt idx="92">
                  <c:v>0.29581151832460734</c:v>
                </c:pt>
                <c:pt idx="93">
                  <c:v>0.2910662824207493</c:v>
                </c:pt>
                <c:pt idx="94">
                  <c:v>0.3017241379310345</c:v>
                </c:pt>
                <c:pt idx="95">
                  <c:v>0.3804780876494024</c:v>
                </c:pt>
                <c:pt idx="96">
                  <c:v>0.3068181818181818</c:v>
                </c:pt>
                <c:pt idx="97">
                  <c:v>0.33797909407665505</c:v>
                </c:pt>
                <c:pt idx="98">
                  <c:v>0.3417015341701534</c:v>
                </c:pt>
                <c:pt idx="99">
                  <c:v>0.36031589338598224</c:v>
                </c:pt>
                <c:pt idx="100">
                  <c:v>0.3490508266993264</c:v>
                </c:pt>
                <c:pt idx="101">
                  <c:v>0.36625</c:v>
                </c:pt>
                <c:pt idx="102">
                  <c:v>0.35106382978723405</c:v>
                </c:pt>
                <c:pt idx="103">
                  <c:v>0.3313885647607935</c:v>
                </c:pt>
                <c:pt idx="104">
                  <c:v>0.299734748010610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36227044276027</c:v>
                </c:pt>
                <c:pt idx="1">
                  <c:v>0.9187219214168513</c:v>
                </c:pt>
                <c:pt idx="2">
                  <c:v>1.0730014919187734</c:v>
                </c:pt>
                <c:pt idx="3">
                  <c:v>1.2366176136363636</c:v>
                </c:pt>
                <c:pt idx="4">
                  <c:v>1.0904908803018958</c:v>
                </c:pt>
                <c:pt idx="5">
                  <c:v>0.9938773012592661</c:v>
                </c:pt>
                <c:pt idx="6">
                  <c:v>1.1934994700984103</c:v>
                </c:pt>
                <c:pt idx="7">
                  <c:v>1.1066823529411765</c:v>
                </c:pt>
                <c:pt idx="8">
                  <c:v>0.8948572068380874</c:v>
                </c:pt>
                <c:pt idx="9">
                  <c:v>0.6424740990990991</c:v>
                </c:pt>
                <c:pt idx="10">
                  <c:v>1.0556962735642264</c:v>
                </c:pt>
                <c:pt idx="11">
                  <c:v>1.1667843683083512</c:v>
                </c:pt>
                <c:pt idx="12">
                  <c:v>0.7115294154619737</c:v>
                </c:pt>
                <c:pt idx="13">
                  <c:v>0.9544723900784041</c:v>
                </c:pt>
                <c:pt idx="14">
                  <c:v>0.9052553072625699</c:v>
                </c:pt>
                <c:pt idx="15">
                  <c:v>0.6522628539388842</c:v>
                </c:pt>
                <c:pt idx="16">
                  <c:v>0.898790678598061</c:v>
                </c:pt>
                <c:pt idx="17">
                  <c:v>0.9543062679229825</c:v>
                </c:pt>
                <c:pt idx="18">
                  <c:v>0.9141491437081161</c:v>
                </c:pt>
                <c:pt idx="19">
                  <c:v>0.9739783333333333</c:v>
                </c:pt>
                <c:pt idx="20">
                  <c:v>0.9370944835246205</c:v>
                </c:pt>
                <c:pt idx="21">
                  <c:v>0.4544994578966389</c:v>
                </c:pt>
                <c:pt idx="22">
                  <c:v>0.8402488002703616</c:v>
                </c:pt>
                <c:pt idx="23">
                  <c:v>0.7449541111873459</c:v>
                </c:pt>
                <c:pt idx="24">
                  <c:v>0.3758434964200477</c:v>
                </c:pt>
                <c:pt idx="25">
                  <c:v>1.5494518337408314</c:v>
                </c:pt>
                <c:pt idx="26">
                  <c:v>0.6629753120665741</c:v>
                </c:pt>
                <c:pt idx="27">
                  <c:v>1.1624081143384046</c:v>
                </c:pt>
                <c:pt idx="28">
                  <c:v>0.9412623525205577</c:v>
                </c:pt>
                <c:pt idx="29">
                  <c:v>0.9321475491949911</c:v>
                </c:pt>
                <c:pt idx="30">
                  <c:v>1.2098934216753432</c:v>
                </c:pt>
                <c:pt idx="31">
                  <c:v>1.323590683897042</c:v>
                </c:pt>
                <c:pt idx="32">
                  <c:v>1.0727840707964602</c:v>
                </c:pt>
                <c:pt idx="33">
                  <c:v>0.9131881243450927</c:v>
                </c:pt>
                <c:pt idx="34">
                  <c:v>1.139478352322524</c:v>
                </c:pt>
                <c:pt idx="35">
                  <c:v>1.5702400692840646</c:v>
                </c:pt>
                <c:pt idx="36">
                  <c:v>1.4078960042060988</c:v>
                </c:pt>
                <c:pt idx="37">
                  <c:v>1.109282957926052</c:v>
                </c:pt>
                <c:pt idx="38">
                  <c:v>1.3855527434150314</c:v>
                </c:pt>
                <c:pt idx="39">
                  <c:v>1.0478429765220851</c:v>
                </c:pt>
                <c:pt idx="40">
                  <c:v>1.2002474273953807</c:v>
                </c:pt>
                <c:pt idx="41">
                  <c:v>1.1502148178807947</c:v>
                </c:pt>
                <c:pt idx="42">
                  <c:v>1.2883132270168856</c:v>
                </c:pt>
                <c:pt idx="43">
                  <c:v>1.0447476474278543</c:v>
                </c:pt>
                <c:pt idx="44">
                  <c:v>0.6951468108108109</c:v>
                </c:pt>
                <c:pt idx="45">
                  <c:v>1.2406783007578779</c:v>
                </c:pt>
                <c:pt idx="46">
                  <c:v>0.9706910040160642</c:v>
                </c:pt>
                <c:pt idx="47">
                  <c:v>0.9569332500520509</c:v>
                </c:pt>
                <c:pt idx="48">
                  <c:v>0.8035395897775152</c:v>
                </c:pt>
                <c:pt idx="49">
                  <c:v>0.6653866252191043</c:v>
                </c:pt>
                <c:pt idx="50">
                  <c:v>0.9160619342544067</c:v>
                </c:pt>
                <c:pt idx="51">
                  <c:v>1.0219033450378858</c:v>
                </c:pt>
              </c:numCache>
            </c:numRef>
          </c:xVal>
          <c:yVal>
            <c:numRef>
              <c:f>Sheet1!$B$109:$B$160</c:f>
              <c:numCache>
                <c:formatCode>General</c:formatCode>
                <c:ptCount val="52"/>
                <c:pt idx="0">
                  <c:v>0.305591677503251</c:v>
                </c:pt>
                <c:pt idx="1">
                  <c:v>0.31846153846153846</c:v>
                </c:pt>
                <c:pt idx="2">
                  <c:v>0.31912302070645554</c:v>
                </c:pt>
                <c:pt idx="3">
                  <c:v>0.34081902245706736</c:v>
                </c:pt>
                <c:pt idx="4">
                  <c:v>0.36155606407322655</c:v>
                </c:pt>
                <c:pt idx="5">
                  <c:v>0.33221850613154963</c:v>
                </c:pt>
                <c:pt idx="6">
                  <c:v>0.33471933471933474</c:v>
                </c:pt>
                <c:pt idx="7">
                  <c:v>0.34523809523809523</c:v>
                </c:pt>
                <c:pt idx="8">
                  <c:v>0.3779956427015251</c:v>
                </c:pt>
                <c:pt idx="9">
                  <c:v>0.38254410399257194</c:v>
                </c:pt>
                <c:pt idx="10">
                  <c:v>0.36561264822134387</c:v>
                </c:pt>
                <c:pt idx="11">
                  <c:v>0.3794238683127572</c:v>
                </c:pt>
                <c:pt idx="12">
                  <c:v>0.37309417040358744</c:v>
                </c:pt>
                <c:pt idx="13">
                  <c:v>0.38453713123092575</c:v>
                </c:pt>
                <c:pt idx="14">
                  <c:v>0.3711453744493392</c:v>
                </c:pt>
                <c:pt idx="15">
                  <c:v>0.36724565756823824</c:v>
                </c:pt>
                <c:pt idx="16">
                  <c:v>0.3377386196769457</c:v>
                </c:pt>
                <c:pt idx="17">
                  <c:v>0.3786407766990291</c:v>
                </c:pt>
                <c:pt idx="18">
                  <c:v>0.3625632377740304</c:v>
                </c:pt>
                <c:pt idx="19">
                  <c:v>0.35860655737704916</c:v>
                </c:pt>
                <c:pt idx="20">
                  <c:v>0.3681462140992167</c:v>
                </c:pt>
                <c:pt idx="21">
                  <c:v>0.36764705882352944</c:v>
                </c:pt>
                <c:pt idx="22">
                  <c:v>0.36080178173719374</c:v>
                </c:pt>
                <c:pt idx="23">
                  <c:v>0.3591549295774648</c:v>
                </c:pt>
                <c:pt idx="24">
                  <c:v>0.39069767441860465</c:v>
                </c:pt>
                <c:pt idx="25">
                  <c:v>0.3664302600472813</c:v>
                </c:pt>
                <c:pt idx="26">
                  <c:v>0.4</c:v>
                </c:pt>
                <c:pt idx="27">
                  <c:v>0.40425531914893614</c:v>
                </c:pt>
                <c:pt idx="28">
                  <c:v>0.36555891238670696</c:v>
                </c:pt>
                <c:pt idx="29">
                  <c:v>0.3583617747440273</c:v>
                </c:pt>
                <c:pt idx="30">
                  <c:v>0.36395759717314485</c:v>
                </c:pt>
                <c:pt idx="31">
                  <c:v>0.34552845528455284</c:v>
                </c:pt>
                <c:pt idx="32">
                  <c:v>0.34274193548387094</c:v>
                </c:pt>
                <c:pt idx="33">
                  <c:v>0.3323943661971831</c:v>
                </c:pt>
                <c:pt idx="34">
                  <c:v>0.36159600997506236</c:v>
                </c:pt>
                <c:pt idx="35">
                  <c:v>0.3475783475783476</c:v>
                </c:pt>
                <c:pt idx="36">
                  <c:v>0.3320754716981132</c:v>
                </c:pt>
                <c:pt idx="37">
                  <c:v>0.3656716417910448</c:v>
                </c:pt>
                <c:pt idx="38">
                  <c:v>0.40794223826714804</c:v>
                </c:pt>
                <c:pt idx="39">
                  <c:v>0.36824324324324326</c:v>
                </c:pt>
                <c:pt idx="40">
                  <c:v>0.3664772727272727</c:v>
                </c:pt>
                <c:pt idx="41">
                  <c:v>0.33035714285714285</c:v>
                </c:pt>
                <c:pt idx="42">
                  <c:v>0.3188010899182561</c:v>
                </c:pt>
                <c:pt idx="43">
                  <c:v>0.35807860262008734</c:v>
                </c:pt>
                <c:pt idx="44">
                  <c:v>0.351010101010101</c:v>
                </c:pt>
                <c:pt idx="45">
                  <c:v>0.35658914728682173</c:v>
                </c:pt>
                <c:pt idx="46">
                  <c:v>0.402317880794702</c:v>
                </c:pt>
                <c:pt idx="47">
                  <c:v>0.37359550561797755</c:v>
                </c:pt>
                <c:pt idx="48">
                  <c:v>0.37617135207496655</c:v>
                </c:pt>
                <c:pt idx="49">
                  <c:v>0.3720508166969147</c:v>
                </c:pt>
                <c:pt idx="50">
                  <c:v>0.34414225941422594</c:v>
                </c:pt>
                <c:pt idx="51">
                  <c:v>0.351025331724969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428839563417262</c:v>
                </c:pt>
              </c:numCache>
            </c:numRef>
          </c:xVal>
          <c:yVal>
            <c:numRef>
              <c:f>Sheet1!$B$163:$B$164</c:f>
              <c:numCache>
                <c:formatCode>General</c:formatCode>
                <c:ptCount val="2"/>
                <c:pt idx="0">
                  <c:v>0.5178722438108</c:v>
                </c:pt>
                <c:pt idx="1">
                  <c:v>0.51787224381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428839563417262</c:v>
                </c:pt>
                <c:pt idx="1">
                  <c:v>-5.428839563417262</c:v>
                </c:pt>
              </c:numCache>
            </c:numRef>
          </c:xVal>
          <c:yVal>
            <c:numRef>
              <c:f>Sheet1!$B$167:$B$168</c:f>
              <c:numCache>
                <c:formatCode>General</c:formatCode>
                <c:ptCount val="2"/>
                <c:pt idx="0">
                  <c:v>0.51787224381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55143580704131</c:v>
                </c:pt>
              </c:numCache>
            </c:numRef>
          </c:xVal>
          <c:yVal>
            <c:numRef>
              <c:f>Sheet1!$B$171:$B$172</c:f>
              <c:numCache>
                <c:formatCode>General</c:formatCode>
                <c:ptCount val="2"/>
                <c:pt idx="0">
                  <c:v>0.36899580143296645</c:v>
                </c:pt>
                <c:pt idx="1">
                  <c:v>0.368995801432966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55143580704131</c:v>
                </c:pt>
                <c:pt idx="1">
                  <c:v>0.6255143580704131</c:v>
                </c:pt>
              </c:numCache>
            </c:numRef>
          </c:xVal>
          <c:yVal>
            <c:numRef>
              <c:f>Sheet1!$B$175:$B$176</c:f>
              <c:numCache>
                <c:formatCode>General</c:formatCode>
                <c:ptCount val="2"/>
                <c:pt idx="0">
                  <c:v>0.368995801432966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26195611732829</c:v>
                </c:pt>
              </c:numCache>
            </c:numRef>
          </c:xVal>
          <c:yVal>
            <c:numRef>
              <c:f>Sheet1!$B$179:$B$180</c:f>
              <c:numCache>
                <c:formatCode>General</c:formatCode>
                <c:ptCount val="2"/>
                <c:pt idx="0">
                  <c:v>0.359143057383591</c:v>
                </c:pt>
                <c:pt idx="1">
                  <c:v>0.35914305738359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26195611732829</c:v>
                </c:pt>
                <c:pt idx="1">
                  <c:v>1.026195611732829</c:v>
                </c:pt>
              </c:numCache>
            </c:numRef>
          </c:xVal>
          <c:yVal>
            <c:numRef>
              <c:f>Sheet1!$B$183:$B$184</c:f>
              <c:numCache>
                <c:formatCode>General</c:formatCode>
                <c:ptCount val="2"/>
                <c:pt idx="0">
                  <c:v>0.3591430573835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36227044276027</c:v>
                </c:pt>
                <c:pt idx="1">
                  <c:v>0.9187219214168513</c:v>
                </c:pt>
                <c:pt idx="2">
                  <c:v>1.0730014919187734</c:v>
                </c:pt>
                <c:pt idx="3">
                  <c:v>1.2366176136363636</c:v>
                </c:pt>
                <c:pt idx="4">
                  <c:v>1.0904908803018958</c:v>
                </c:pt>
                <c:pt idx="5">
                  <c:v>0.9938773012592661</c:v>
                </c:pt>
                <c:pt idx="6">
                  <c:v>1.1934994700984103</c:v>
                </c:pt>
                <c:pt idx="7">
                  <c:v>1.1066823529411765</c:v>
                </c:pt>
                <c:pt idx="8">
                  <c:v>0.8948572068380874</c:v>
                </c:pt>
                <c:pt idx="9">
                  <c:v>0.6424740990990991</c:v>
                </c:pt>
                <c:pt idx="10">
                  <c:v>1.0556962735642264</c:v>
                </c:pt>
                <c:pt idx="11">
                  <c:v>1.1667843683083512</c:v>
                </c:pt>
                <c:pt idx="12">
                  <c:v>0.7115294154619737</c:v>
                </c:pt>
                <c:pt idx="13">
                  <c:v>0.9544723900784041</c:v>
                </c:pt>
                <c:pt idx="14">
                  <c:v>0.9052553072625699</c:v>
                </c:pt>
                <c:pt idx="15">
                  <c:v>0.6522628539388842</c:v>
                </c:pt>
                <c:pt idx="16">
                  <c:v>0.898790678598061</c:v>
                </c:pt>
                <c:pt idx="17">
                  <c:v>0.9543062679229825</c:v>
                </c:pt>
                <c:pt idx="18">
                  <c:v>0.9141491437081161</c:v>
                </c:pt>
                <c:pt idx="19">
                  <c:v>0.9739783333333333</c:v>
                </c:pt>
                <c:pt idx="20">
                  <c:v>0.9370944835246205</c:v>
                </c:pt>
                <c:pt idx="21">
                  <c:v>0.4544994578966389</c:v>
                </c:pt>
                <c:pt idx="22">
                  <c:v>0.8402488002703616</c:v>
                </c:pt>
                <c:pt idx="23">
                  <c:v>0.7449541111873459</c:v>
                </c:pt>
                <c:pt idx="24">
                  <c:v>0.3758434964200477</c:v>
                </c:pt>
                <c:pt idx="25">
                  <c:v>1.5494518337408314</c:v>
                </c:pt>
                <c:pt idx="26">
                  <c:v>0.6629753120665741</c:v>
                </c:pt>
                <c:pt idx="27">
                  <c:v>1.1624081143384046</c:v>
                </c:pt>
                <c:pt idx="28">
                  <c:v>0.9412623525205577</c:v>
                </c:pt>
                <c:pt idx="29">
                  <c:v>0.9321475491949911</c:v>
                </c:pt>
                <c:pt idx="30">
                  <c:v>1.2098934216753432</c:v>
                </c:pt>
                <c:pt idx="31">
                  <c:v>1.323590683897042</c:v>
                </c:pt>
                <c:pt idx="32">
                  <c:v>1.0727840707964602</c:v>
                </c:pt>
                <c:pt idx="33">
                  <c:v>0.9131881243450927</c:v>
                </c:pt>
                <c:pt idx="34">
                  <c:v>1.139478352322524</c:v>
                </c:pt>
                <c:pt idx="35">
                  <c:v>1.5702400692840646</c:v>
                </c:pt>
                <c:pt idx="36">
                  <c:v>1.4078960042060988</c:v>
                </c:pt>
                <c:pt idx="37">
                  <c:v>1.109282957926052</c:v>
                </c:pt>
                <c:pt idx="38">
                  <c:v>1.3855527434150314</c:v>
                </c:pt>
                <c:pt idx="39">
                  <c:v>1.0478429765220851</c:v>
                </c:pt>
                <c:pt idx="40">
                  <c:v>1.2002474273953807</c:v>
                </c:pt>
                <c:pt idx="41">
                  <c:v>1.1502148178807947</c:v>
                </c:pt>
                <c:pt idx="42">
                  <c:v>1.2883132270168856</c:v>
                </c:pt>
                <c:pt idx="43">
                  <c:v>1.0447476474278543</c:v>
                </c:pt>
                <c:pt idx="44">
                  <c:v>0.6951468108108109</c:v>
                </c:pt>
                <c:pt idx="45">
                  <c:v>1.2406783007578779</c:v>
                </c:pt>
                <c:pt idx="46">
                  <c:v>0.9706910040160642</c:v>
                </c:pt>
                <c:pt idx="47">
                  <c:v>0.9569332500520509</c:v>
                </c:pt>
                <c:pt idx="48">
                  <c:v>0.8035395897775152</c:v>
                </c:pt>
                <c:pt idx="49">
                  <c:v>0.6653866252191043</c:v>
                </c:pt>
                <c:pt idx="50">
                  <c:v>0.9160619342544067</c:v>
                </c:pt>
                <c:pt idx="51">
                  <c:v>1.0219033450378858</c:v>
                </c:pt>
                <c:pt idx="52">
                  <c:v>0.6255143580704131</c:v>
                </c:pt>
                <c:pt idx="53">
                  <c:v>-5.428839563417262</c:v>
                </c:pt>
                <c:pt idx="54">
                  <c:v>1.026195611732829</c:v>
                </c:pt>
              </c:numCache>
            </c:numRef>
          </c:xVal>
          <c:yVal>
            <c:numRef>
              <c:f>Sheet1!$B$187:$B$241</c:f>
              <c:numCache>
                <c:formatCode>General</c:formatCode>
                <c:ptCount val="55"/>
                <c:pt idx="0">
                  <c:v>0.35889638465709506</c:v>
                </c:pt>
                <c:pt idx="1">
                  <c:v>0.3617858332884935</c:v>
                </c:pt>
                <c:pt idx="2">
                  <c:v>0.3579921017217961</c:v>
                </c:pt>
                <c:pt idx="3">
                  <c:v>0.3539687845466105</c:v>
                </c:pt>
                <c:pt idx="4">
                  <c:v>0.3575620380096958</c:v>
                </c:pt>
                <c:pt idx="5">
                  <c:v>0.35993776399462835</c:v>
                </c:pt>
                <c:pt idx="6">
                  <c:v>0.35502905883765984</c:v>
                </c:pt>
                <c:pt idx="7">
                  <c:v>0.3571638900198932</c:v>
                </c:pt>
                <c:pt idx="8">
                  <c:v>0.36237266614480196</c:v>
                </c:pt>
                <c:pt idx="9">
                  <c:v>0.36857876173876575</c:v>
                </c:pt>
                <c:pt idx="10">
                  <c:v>0.35841763669656074</c:v>
                </c:pt>
                <c:pt idx="11">
                  <c:v>0.3556859826587384</c:v>
                </c:pt>
                <c:pt idx="12">
                  <c:v>0.3668806928844008</c:v>
                </c:pt>
                <c:pt idx="13">
                  <c:v>0.360906729975953</c:v>
                </c:pt>
                <c:pt idx="14">
                  <c:v>0.3621169770624062</c:v>
                </c:pt>
                <c:pt idx="15">
                  <c:v>0.36833805645216466</c:v>
                </c:pt>
                <c:pt idx="16">
                  <c:v>0.3622759421525457</c:v>
                </c:pt>
                <c:pt idx="17">
                  <c:v>0.3609108149164471</c:v>
                </c:pt>
                <c:pt idx="18">
                  <c:v>0.36189827780130024</c:v>
                </c:pt>
                <c:pt idx="19">
                  <c:v>0.36042707921970785</c:v>
                </c:pt>
                <c:pt idx="20">
                  <c:v>0.3613340523520896</c:v>
                </c:pt>
                <c:pt idx="21">
                  <c:v>0.37320105442306845</c:v>
                </c:pt>
                <c:pt idx="22">
                  <c:v>0.3637154857749645</c:v>
                </c:pt>
                <c:pt idx="23">
                  <c:v>0.36605878028205124</c:v>
                </c:pt>
                <c:pt idx="24">
                  <c:v>0.375135202949616</c:v>
                </c:pt>
                <c:pt idx="25">
                  <c:v>0.3462761973032547</c:v>
                </c:pt>
                <c:pt idx="26">
                  <c:v>0.36807463732010637</c:v>
                </c:pt>
                <c:pt idx="27">
                  <c:v>0.35579359465672145</c:v>
                </c:pt>
                <c:pt idx="28">
                  <c:v>0.3612315645364682</c:v>
                </c:pt>
                <c:pt idx="29">
                  <c:v>0.36145569736875405</c:v>
                </c:pt>
                <c:pt idx="30">
                  <c:v>0.354625931894812</c:v>
                </c:pt>
                <c:pt idx="31">
                  <c:v>0.35183011848066875</c:v>
                </c:pt>
                <c:pt idx="32">
                  <c:v>0.35799744810286455</c:v>
                </c:pt>
                <c:pt idx="33">
                  <c:v>0.3619219092483016</c:v>
                </c:pt>
                <c:pt idx="34">
                  <c:v>0.3563574370481249</c:v>
                </c:pt>
                <c:pt idx="35">
                  <c:v>0.3457650150051725</c:v>
                </c:pt>
                <c:pt idx="36">
                  <c:v>0.3497570523329183</c:v>
                </c:pt>
                <c:pt idx="37">
                  <c:v>0.3570999411950972</c:v>
                </c:pt>
                <c:pt idx="38">
                  <c:v>0.3503064726708818</c:v>
                </c:pt>
                <c:pt idx="39">
                  <c:v>0.3586107491144557</c:v>
                </c:pt>
                <c:pt idx="40">
                  <c:v>0.35486312670208964</c:v>
                </c:pt>
                <c:pt idx="41">
                  <c:v>0.35609342757382667</c:v>
                </c:pt>
                <c:pt idx="42">
                  <c:v>0.35269759044292304</c:v>
                </c:pt>
                <c:pt idx="43">
                  <c:v>0.35868686319525</c:v>
                </c:pt>
                <c:pt idx="44">
                  <c:v>0.3672835408065699</c:v>
                </c:pt>
                <c:pt idx="45">
                  <c:v>0.353868932331147</c:v>
                </c:pt>
                <c:pt idx="46">
                  <c:v>0.36050791458216364</c:v>
                </c:pt>
                <c:pt idx="47">
                  <c:v>0.3608462174782006</c:v>
                </c:pt>
                <c:pt idx="48">
                  <c:v>0.3646181645300465</c:v>
                </c:pt>
                <c:pt idx="49">
                  <c:v>0.36801534317769863</c:v>
                </c:pt>
                <c:pt idx="50">
                  <c:v>0.36185124231985355</c:v>
                </c:pt>
                <c:pt idx="51">
                  <c:v>0.35924860413615395</c:v>
                </c:pt>
                <c:pt idx="52">
                  <c:v>0.36899580143296645</c:v>
                </c:pt>
                <c:pt idx="53">
                  <c:v>0.5178722438108</c:v>
                </c:pt>
                <c:pt idx="54">
                  <c:v>0.3591430573835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2608695652174"/>
          <c:min val="0.232853025936599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numCache>
            </c:numRef>
          </c:xVal>
          <c:yVal>
            <c:numRef>
              <c:f>Sheet1!$B$109:$B$160</c:f>
              <c:numCache>
                <c:formatCode>General</c:formatCode>
                <c:ptCount val="52"/>
                <c:pt idx="0">
                  <c:v>0.1696125907990315</c:v>
                </c:pt>
                <c:pt idx="1">
                  <c:v>0.1799104286628279</c:v>
                </c:pt>
                <c:pt idx="2">
                  <c:v>0.1882895378041009</c:v>
                </c:pt>
                <c:pt idx="3">
                  <c:v>0.2025717264548017</c:v>
                </c:pt>
                <c:pt idx="4">
                  <c:v>0.19036715357283854</c:v>
                </c:pt>
                <c:pt idx="5">
                  <c:v>0.1883741612094753</c:v>
                </c:pt>
                <c:pt idx="6">
                  <c:v>0.1853735531392494</c:v>
                </c:pt>
                <c:pt idx="7">
                  <c:v>0.17800038528221923</c:v>
                </c:pt>
                <c:pt idx="8">
                  <c:v>0.17771394504362908</c:v>
                </c:pt>
                <c:pt idx="9">
                  <c:v>0.18665271132376396</c:v>
                </c:pt>
                <c:pt idx="10">
                  <c:v>0.19376186073670382</c:v>
                </c:pt>
                <c:pt idx="11">
                  <c:v>0.20784165751920966</c:v>
                </c:pt>
                <c:pt idx="12">
                  <c:v>0.20951877743456349</c:v>
                </c:pt>
                <c:pt idx="13">
                  <c:v>0.19814417647831226</c:v>
                </c:pt>
                <c:pt idx="14">
                  <c:v>0.20124253285543608</c:v>
                </c:pt>
                <c:pt idx="15">
                  <c:v>0.18858176181865152</c:v>
                </c:pt>
                <c:pt idx="16">
                  <c:v>0.16970213802765427</c:v>
                </c:pt>
                <c:pt idx="17">
                  <c:v>0.15518128053484187</c:v>
                </c:pt>
                <c:pt idx="18">
                  <c:v>0.1502881520844248</c:v>
                </c:pt>
                <c:pt idx="19">
                  <c:v>0.157272860707471</c:v>
                </c:pt>
                <c:pt idx="20">
                  <c:v>0.1460418192173135</c:v>
                </c:pt>
                <c:pt idx="21">
                  <c:v>0.15542436852801703</c:v>
                </c:pt>
                <c:pt idx="22">
                  <c:v>0.16148597422289612</c:v>
                </c:pt>
                <c:pt idx="23">
                  <c:v>0.16593756213959038</c:v>
                </c:pt>
                <c:pt idx="24">
                  <c:v>0.15968992248062017</c:v>
                </c:pt>
                <c:pt idx="25">
                  <c:v>0.16526772793053546</c:v>
                </c:pt>
                <c:pt idx="26">
                  <c:v>0.1439575033200531</c:v>
                </c:pt>
                <c:pt idx="27">
                  <c:v>0.14356673609998397</c:v>
                </c:pt>
                <c:pt idx="28">
                  <c:v>0.1543013856812933</c:v>
                </c:pt>
                <c:pt idx="29">
                  <c:v>0.15728375665531988</c:v>
                </c:pt>
                <c:pt idx="30">
                  <c:v>0.1659631791647957</c:v>
                </c:pt>
                <c:pt idx="31">
                  <c:v>0.16738361533314214</c:v>
                </c:pt>
                <c:pt idx="32">
                  <c:v>0.17072766451185148</c:v>
                </c:pt>
                <c:pt idx="33">
                  <c:v>0.18749190728991325</c:v>
                </c:pt>
                <c:pt idx="34">
                  <c:v>0.20933340460790079</c:v>
                </c:pt>
                <c:pt idx="35">
                  <c:v>0.20136381869233855</c:v>
                </c:pt>
                <c:pt idx="36">
                  <c:v>0.17013669821240798</c:v>
                </c:pt>
                <c:pt idx="37">
                  <c:v>0.1519192304028955</c:v>
                </c:pt>
                <c:pt idx="38">
                  <c:v>0.15699152542372882</c:v>
                </c:pt>
                <c:pt idx="39">
                  <c:v>0.17547272585790988</c:v>
                </c:pt>
                <c:pt idx="40">
                  <c:v>0.15525388134703366</c:v>
                </c:pt>
                <c:pt idx="41">
                  <c:v>0.1563388288800455</c:v>
                </c:pt>
                <c:pt idx="42">
                  <c:v>0.15529659302419682</c:v>
                </c:pt>
                <c:pt idx="43">
                  <c:v>0.14629695042976568</c:v>
                </c:pt>
                <c:pt idx="44">
                  <c:v>0.13895062324862306</c:v>
                </c:pt>
                <c:pt idx="45">
                  <c:v>0.1540945217144479</c:v>
                </c:pt>
                <c:pt idx="46">
                  <c:v>0.1499685995394599</c:v>
                </c:pt>
                <c:pt idx="47">
                  <c:v>0.15169280944246</c:v>
                </c:pt>
                <c:pt idx="48">
                  <c:v>0.14248446004702245</c:v>
                </c:pt>
                <c:pt idx="49">
                  <c:v>0.15973649220355374</c:v>
                </c:pt>
                <c:pt idx="50">
                  <c:v>0.19359691025510722</c:v>
                </c:pt>
                <c:pt idx="51">
                  <c:v>0.18059121249908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5.0010262139474</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5.0010262139474</c:v>
                </c:pt>
                <c:pt idx="1">
                  <c:v>1055.0010262139474</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8.4643720616702</c:v>
                </c:pt>
              </c:numCache>
            </c:numRef>
          </c:xVal>
          <c:yVal>
            <c:numRef>
              <c:f>Sheet1!$B$171:$B$172</c:f>
              <c:numCache>
                <c:formatCode>General</c:formatCode>
                <c:ptCount val="2"/>
                <c:pt idx="0">
                  <c:v>0.1844681646631304</c:v>
                </c:pt>
                <c:pt idx="1">
                  <c:v>0.18446816466313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8.4643720616702</c:v>
                </c:pt>
                <c:pt idx="1">
                  <c:v>1148.4643720616702</c:v>
                </c:pt>
              </c:numCache>
            </c:numRef>
          </c:xVal>
          <c:yVal>
            <c:numRef>
              <c:f>Sheet1!$B$175:$B$176</c:f>
              <c:numCache>
                <c:formatCode>General</c:formatCode>
                <c:ptCount val="2"/>
                <c:pt idx="0">
                  <c:v>0.18446816466313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5.4116258113656</c:v>
                </c:pt>
              </c:numCache>
            </c:numRef>
          </c:xVal>
          <c:yVal>
            <c:numRef>
              <c:f>Sheet1!$B$179:$B$180</c:f>
              <c:numCache>
                <c:formatCode>General</c:formatCode>
                <c:ptCount val="2"/>
                <c:pt idx="0">
                  <c:v>0.1584442006529776</c:v>
                </c:pt>
                <c:pt idx="1">
                  <c:v>0.1584442006529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5.4116258113656</c:v>
                </c:pt>
                <c:pt idx="1">
                  <c:v>1305.4116258113656</c:v>
                </c:pt>
              </c:numCache>
            </c:numRef>
          </c:xVal>
          <c:yVal>
            <c:numRef>
              <c:f>Sheet1!$B$183:$B$184</c:f>
              <c:numCache>
                <c:formatCode>General</c:formatCode>
                <c:ptCount val="2"/>
                <c:pt idx="0">
                  <c:v>0.1584442006529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2555</c:v>
                </c:pt>
                <c:pt idx="1">
                  <c:v>1187.7207</c:v>
                </c:pt>
                <c:pt idx="2">
                  <c:v>1170.6518</c:v>
                </c:pt>
                <c:pt idx="3">
                  <c:v>1191.8262</c:v>
                </c:pt>
                <c:pt idx="4">
                  <c:v>1195.6713</c:v>
                </c:pt>
                <c:pt idx="5">
                  <c:v>1209.1017</c:v>
                </c:pt>
                <c:pt idx="6">
                  <c:v>1140.0386</c:v>
                </c:pt>
                <c:pt idx="7">
                  <c:v>1206.6418</c:v>
                </c:pt>
                <c:pt idx="8">
                  <c:v>1287.0076</c:v>
                </c:pt>
                <c:pt idx="9">
                  <c:v>1248.3092</c:v>
                </c:pt>
                <c:pt idx="10">
                  <c:v>1267.1534</c:v>
                </c:pt>
                <c:pt idx="11">
                  <c:v>1104.0799</c:v>
                </c:pt>
                <c:pt idx="12">
                  <c:v>1126.1329</c:v>
                </c:pt>
                <c:pt idx="13">
                  <c:v>1193.8613</c:v>
                </c:pt>
                <c:pt idx="14">
                  <c:v>1189.9744</c:v>
                </c:pt>
                <c:pt idx="15">
                  <c:v>1227.0707</c:v>
                </c:pt>
                <c:pt idx="16">
                  <c:v>1269.1256</c:v>
                </c:pt>
                <c:pt idx="17">
                  <c:v>1246.4644</c:v>
                </c:pt>
                <c:pt idx="18">
                  <c:v>1250.9806</c:v>
                </c:pt>
                <c:pt idx="19">
                  <c:v>1365.2613</c:v>
                </c:pt>
                <c:pt idx="20">
                  <c:v>1368.1682</c:v>
                </c:pt>
                <c:pt idx="21">
                  <c:v>1280.9732</c:v>
                </c:pt>
                <c:pt idx="22">
                  <c:v>1220.5511</c:v>
                </c:pt>
                <c:pt idx="23">
                  <c:v>1217.1408</c:v>
                </c:pt>
                <c:pt idx="24">
                  <c:v>1226.1822</c:v>
                </c:pt>
                <c:pt idx="25">
                  <c:v>1173.8838</c:v>
                </c:pt>
                <c:pt idx="26">
                  <c:v>1251.8776</c:v>
                </c:pt>
                <c:pt idx="27">
                  <c:v>1277.2154</c:v>
                </c:pt>
                <c:pt idx="28">
                  <c:v>1250.312</c:v>
                </c:pt>
                <c:pt idx="29">
                  <c:v>1262.0638</c:v>
                </c:pt>
                <c:pt idx="30">
                  <c:v>1215.2614</c:v>
                </c:pt>
                <c:pt idx="31">
                  <c:v>1127.1976</c:v>
                </c:pt>
                <c:pt idx="32">
                  <c:v>1166.5209</c:v>
                </c:pt>
                <c:pt idx="33">
                  <c:v>1224.239</c:v>
                </c:pt>
                <c:pt idx="34">
                  <c:v>1259.7145</c:v>
                </c:pt>
                <c:pt idx="35">
                  <c:v>1231.2795</c:v>
                </c:pt>
                <c:pt idx="36">
                  <c:v>1255.8634</c:v>
                </c:pt>
                <c:pt idx="37">
                  <c:v>1321.2715</c:v>
                </c:pt>
                <c:pt idx="38">
                  <c:v>1298.8671</c:v>
                </c:pt>
                <c:pt idx="39">
                  <c:v>1250.5854</c:v>
                </c:pt>
                <c:pt idx="40">
                  <c:v>1288.2266</c:v>
                </c:pt>
                <c:pt idx="41">
                  <c:v>1352.4109</c:v>
                </c:pt>
                <c:pt idx="42">
                  <c:v>1344.6201</c:v>
                </c:pt>
                <c:pt idx="43">
                  <c:v>1339.6708</c:v>
                </c:pt>
                <c:pt idx="44">
                  <c:v>1289.5285</c:v>
                </c:pt>
                <c:pt idx="45">
                  <c:v>1241.0829</c:v>
                </c:pt>
                <c:pt idx="46">
                  <c:v>1239.3417</c:v>
                </c:pt>
                <c:pt idx="47">
                  <c:v>1209.1569</c:v>
                </c:pt>
                <c:pt idx="48">
                  <c:v>1199.4519</c:v>
                </c:pt>
                <c:pt idx="49">
                  <c:v>1225.0948</c:v>
                </c:pt>
                <c:pt idx="50">
                  <c:v>1098.4008</c:v>
                </c:pt>
                <c:pt idx="51">
                  <c:v>1065.2951</c:v>
                </c:pt>
                <c:pt idx="52">
                  <c:v>1148.4643720616702</c:v>
                </c:pt>
                <c:pt idx="53">
                  <c:v>1055.0010262139474</c:v>
                </c:pt>
                <c:pt idx="54">
                  <c:v>1305.4116258113656</c:v>
                </c:pt>
              </c:numCache>
            </c:numRef>
          </c:xVal>
          <c:yVal>
            <c:numRef>
              <c:f>Sheet1!$B$187:$B$241</c:f>
              <c:numCache>
                <c:formatCode>General</c:formatCode>
                <c:ptCount val="55"/>
                <c:pt idx="0">
                  <c:v>0.17372492487166913</c:v>
                </c:pt>
                <c:pt idx="1">
                  <c:v>0.17795893789407116</c:v>
                </c:pt>
                <c:pt idx="2">
                  <c:v>0.1807891909165377</c:v>
                </c:pt>
                <c:pt idx="3">
                  <c:v>0.1772781908170049</c:v>
                </c:pt>
                <c:pt idx="4">
                  <c:v>0.1766406215596605</c:v>
                </c:pt>
                <c:pt idx="5">
                  <c:v>0.17441368073787736</c:v>
                </c:pt>
                <c:pt idx="6">
                  <c:v>0.1858652709115797</c:v>
                </c:pt>
                <c:pt idx="7">
                  <c:v>0.1748215652184218</c:v>
                </c:pt>
                <c:pt idx="8">
                  <c:v>0.16149583547878182</c:v>
                </c:pt>
                <c:pt idx="9">
                  <c:v>0.1679125502972305</c:v>
                </c:pt>
                <c:pt idx="10">
                  <c:v>0.16478792867510117</c:v>
                </c:pt>
                <c:pt idx="11">
                  <c:v>0.19182770664903012</c:v>
                </c:pt>
                <c:pt idx="12">
                  <c:v>0.18817102286129603</c:v>
                </c:pt>
                <c:pt idx="13">
                  <c:v>0.1769407438856841</c:v>
                </c:pt>
                <c:pt idx="14">
                  <c:v>0.1775852441448118</c:v>
                </c:pt>
                <c:pt idx="15">
                  <c:v>0.17143417903825398</c:v>
                </c:pt>
                <c:pt idx="16">
                  <c:v>0.16446091140914326</c:v>
                </c:pt>
                <c:pt idx="17">
                  <c:v>0.16821844293095886</c:v>
                </c:pt>
                <c:pt idx="18">
                  <c:v>0.16746959627417002</c:v>
                </c:pt>
                <c:pt idx="19">
                  <c:v>0.14852032030532664</c:v>
                </c:pt>
                <c:pt idx="20">
                  <c:v>0.1480383172171951</c:v>
                </c:pt>
                <c:pt idx="21">
                  <c:v>0.16249642009986298</c:v>
                </c:pt>
                <c:pt idx="22">
                  <c:v>0.17251521634032224</c:v>
                </c:pt>
                <c:pt idx="23">
                  <c:v>0.17308068991404507</c:v>
                </c:pt>
                <c:pt idx="24">
                  <c:v>0.17158150427950922</c:v>
                </c:pt>
                <c:pt idx="25">
                  <c:v>0.18025328187912978</c:v>
                </c:pt>
                <c:pt idx="26">
                  <c:v>0.16732086161867654</c:v>
                </c:pt>
                <c:pt idx="27">
                  <c:v>0.16311951384391352</c:v>
                </c:pt>
                <c:pt idx="28">
                  <c:v>0.16758045914001501</c:v>
                </c:pt>
                <c:pt idx="29">
                  <c:v>0.16563185275826678</c:v>
                </c:pt>
                <c:pt idx="30">
                  <c:v>0.17339231969279023</c:v>
                </c:pt>
                <c:pt idx="31">
                  <c:v>0.18799448129194943</c:v>
                </c:pt>
                <c:pt idx="32">
                  <c:v>0.1814741496549747</c:v>
                </c:pt>
                <c:pt idx="33">
                  <c:v>0.17190371295571313</c:v>
                </c:pt>
                <c:pt idx="34">
                  <c:v>0.16602139827237022</c:v>
                </c:pt>
                <c:pt idx="35">
                  <c:v>0.17073630343285717</c:v>
                </c:pt>
                <c:pt idx="36">
                  <c:v>0.1666599624103534</c:v>
                </c:pt>
                <c:pt idx="37">
                  <c:v>0.15581442035909096</c:v>
                </c:pt>
                <c:pt idx="38">
                  <c:v>0.159529370989568</c:v>
                </c:pt>
                <c:pt idx="39">
                  <c:v>0.16753512574557586</c:v>
                </c:pt>
                <c:pt idx="40">
                  <c:v>0.16129370889567532</c:v>
                </c:pt>
                <c:pt idx="41">
                  <c:v>0.15065108933203036</c:v>
                </c:pt>
                <c:pt idx="42">
                  <c:v>0.15194290867876228</c:v>
                </c:pt>
                <c:pt idx="43">
                  <c:v>0.15276356913632508</c:v>
                </c:pt>
                <c:pt idx="44">
                  <c:v>0.16107783637841006</c:v>
                </c:pt>
                <c:pt idx="45">
                  <c:v>0.1691107679571998</c:v>
                </c:pt>
                <c:pt idx="46">
                  <c:v>0.16939948231856572</c:v>
                </c:pt>
                <c:pt idx="47">
                  <c:v>0.17440452783600083</c:v>
                </c:pt>
                <c:pt idx="48">
                  <c:v>0.17601374726918267</c:v>
                </c:pt>
                <c:pt idx="49">
                  <c:v>0.17176180981393907</c:v>
                </c:pt>
                <c:pt idx="50">
                  <c:v>0.19276937775495318</c:v>
                </c:pt>
                <c:pt idx="51">
                  <c:v>0.19825874774867686</c:v>
                </c:pt>
                <c:pt idx="52">
                  <c:v>0.1844681646631304</c:v>
                </c:pt>
                <c:pt idx="53">
                  <c:v>0.19996564353261542</c:v>
                </c:pt>
                <c:pt idx="54">
                  <c:v>0.1584442006529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2.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0.9093</c:v>
                </c:pt>
                <c:pt idx="1">
                  <c:v>906.9394</c:v>
                </c:pt>
                <c:pt idx="2">
                  <c:v>969.508</c:v>
                </c:pt>
                <c:pt idx="3">
                  <c:v>981.3251</c:v>
                </c:pt>
                <c:pt idx="4">
                  <c:v>983.0676</c:v>
                </c:pt>
                <c:pt idx="5">
                  <c:v>966.8875</c:v>
                </c:pt>
                <c:pt idx="6">
                  <c:v>949.5321</c:v>
                </c:pt>
                <c:pt idx="7">
                  <c:v>920.9921</c:v>
                </c:pt>
                <c:pt idx="8">
                  <c:v>921.973</c:v>
                </c:pt>
                <c:pt idx="9">
                  <c:v>907.4989</c:v>
                </c:pt>
                <c:pt idx="10">
                  <c:v>894.1398</c:v>
                </c:pt>
                <c:pt idx="11">
                  <c:v>954.8346</c:v>
                </c:pt>
                <c:pt idx="12">
                  <c:v>969.7158</c:v>
                </c:pt>
                <c:pt idx="13">
                  <c:v>961.1082</c:v>
                </c:pt>
                <c:pt idx="14">
                  <c:v>981.6382</c:v>
                </c:pt>
                <c:pt idx="15">
                  <c:v>1036.5244</c:v>
                </c:pt>
                <c:pt idx="16">
                  <c:v>1038.658</c:v>
                </c:pt>
                <c:pt idx="17">
                  <c:v>1038.875</c:v>
                </c:pt>
                <c:pt idx="18">
                  <c:v>1075.2806</c:v>
                </c:pt>
                <c:pt idx="19">
                  <c:v>1113.035</c:v>
                </c:pt>
                <c:pt idx="20">
                  <c:v>1159.0613</c:v>
                </c:pt>
                <c:pt idx="21">
                  <c:v>1157.6268</c:v>
                </c:pt>
                <c:pt idx="22">
                  <c:v>1096.0707</c:v>
                </c:pt>
                <c:pt idx="23">
                  <c:v>1070.9672</c:v>
                </c:pt>
                <c:pt idx="24">
                  <c:v>1126.2754</c:v>
                </c:pt>
                <c:pt idx="25">
                  <c:v>1102.52</c:v>
                </c:pt>
                <c:pt idx="26">
                  <c:v>1100.5646</c:v>
                </c:pt>
                <c:pt idx="27">
                  <c:v>1112.9024</c:v>
                </c:pt>
                <c:pt idx="28">
                  <c:v>1117.9593</c:v>
                </c:pt>
                <c:pt idx="29">
                  <c:v>1107.3033</c:v>
                </c:pt>
                <c:pt idx="30">
                  <c:v>1081.7768</c:v>
                </c:pt>
                <c:pt idx="31">
                  <c:v>1101.3119</c:v>
                </c:pt>
                <c:pt idx="32">
                  <c:v>1078.2857</c:v>
                </c:pt>
                <c:pt idx="33">
                  <c:v>921.1705</c:v>
                </c:pt>
                <c:pt idx="34">
                  <c:v>1029.8958</c:v>
                </c:pt>
                <c:pt idx="35">
                  <c:v>1077.7763</c:v>
                </c:pt>
                <c:pt idx="36">
                  <c:v>1198.0853</c:v>
                </c:pt>
                <c:pt idx="37">
                  <c:v>1145.6712</c:v>
                </c:pt>
                <c:pt idx="38">
                  <c:v>1238.5701</c:v>
                </c:pt>
                <c:pt idx="39">
                  <c:v>1276.7159</c:v>
                </c:pt>
                <c:pt idx="40">
                  <c:v>1247.6885</c:v>
                </c:pt>
                <c:pt idx="41">
                  <c:v>1262.0684</c:v>
                </c:pt>
                <c:pt idx="42">
                  <c:v>1287.928</c:v>
                </c:pt>
                <c:pt idx="43">
                  <c:v>1334.5091</c:v>
                </c:pt>
                <c:pt idx="44">
                  <c:v>1261.7417</c:v>
                </c:pt>
                <c:pt idx="45">
                  <c:v>1214.4137</c:v>
                </c:pt>
                <c:pt idx="46">
                  <c:v>1144.3231</c:v>
                </c:pt>
                <c:pt idx="47">
                  <c:v>1133.4006</c:v>
                </c:pt>
                <c:pt idx="48">
                  <c:v>1127.4945</c:v>
                </c:pt>
                <c:pt idx="49">
                  <c:v>1046.8691</c:v>
                </c:pt>
                <c:pt idx="50">
                  <c:v>1052.5751</c:v>
                </c:pt>
                <c:pt idx="51">
                  <c:v>1071.6269</c:v>
                </c:pt>
                <c:pt idx="52">
                  <c:v>1082.6216</c:v>
                </c:pt>
                <c:pt idx="53">
                  <c:v>1217.9922</c:v>
                </c:pt>
                <c:pt idx="54">
                  <c:v>1160.688</c:v>
                </c:pt>
                <c:pt idx="55">
                  <c:v>1187.8801</c:v>
                </c:pt>
                <c:pt idx="56">
                  <c:v>1234.9027</c:v>
                </c:pt>
                <c:pt idx="57">
                  <c:v>1205.308</c:v>
                </c:pt>
                <c:pt idx="58">
                  <c:v>1184.4154</c:v>
                </c:pt>
                <c:pt idx="59">
                  <c:v>1180.9075</c:v>
                </c:pt>
                <c:pt idx="60">
                  <c:v>1205.5417</c:v>
                </c:pt>
                <c:pt idx="61">
                  <c:v>1202.0756</c:v>
                </c:pt>
                <c:pt idx="62">
                  <c:v>1165.5368</c:v>
                </c:pt>
                <c:pt idx="63">
                  <c:v>1170.7194</c:v>
                </c:pt>
                <c:pt idx="64">
                  <c:v>1182.3381</c:v>
                </c:pt>
                <c:pt idx="65">
                  <c:v>1213.3189</c:v>
                </c:pt>
                <c:pt idx="66">
                  <c:v>1209.6184</c:v>
                </c:pt>
                <c:pt idx="67">
                  <c:v>1241.8301</c:v>
                </c:pt>
                <c:pt idx="68">
                  <c:v>1269.1164</c:v>
                </c:pt>
                <c:pt idx="69">
                  <c:v>1282.183</c:v>
                </c:pt>
                <c:pt idx="70">
                  <c:v>1307.2605</c:v>
                </c:pt>
                <c:pt idx="71">
                  <c:v>1324.2222</c:v>
                </c:pt>
                <c:pt idx="72">
                  <c:v>1398.8033</c:v>
                </c:pt>
                <c:pt idx="73">
                  <c:v>1400.0867</c:v>
                </c:pt>
                <c:pt idx="74">
                  <c:v>1363.0237</c:v>
                </c:pt>
                <c:pt idx="75">
                  <c:v>1380.4167</c:v>
                </c:pt>
                <c:pt idx="76">
                  <c:v>1353.6442</c:v>
                </c:pt>
                <c:pt idx="77">
                  <c:v>1396.6</c:v>
                </c:pt>
                <c:pt idx="78">
                  <c:v>1398.6937</c:v>
                </c:pt>
                <c:pt idx="79">
                  <c:v>1416.9764</c:v>
                </c:pt>
                <c:pt idx="80">
                  <c:v>1377.0909</c:v>
                </c:pt>
                <c:pt idx="81">
                  <c:v>1384.3828</c:v>
                </c:pt>
                <c:pt idx="82">
                  <c:v>1387.6762</c:v>
                </c:pt>
                <c:pt idx="83">
                  <c:v>1218.6931</c:v>
                </c:pt>
                <c:pt idx="84">
                  <c:v>1316.8692</c:v>
                </c:pt>
                <c:pt idx="85">
                  <c:v>1292.8611</c:v>
                </c:pt>
                <c:pt idx="86">
                  <c:v>1340.0833</c:v>
                </c:pt>
                <c:pt idx="87">
                  <c:v>1340.7868</c:v>
                </c:pt>
                <c:pt idx="88">
                  <c:v>1406.2371</c:v>
                </c:pt>
                <c:pt idx="89">
                  <c:v>1439.7576</c:v>
                </c:pt>
                <c:pt idx="90">
                  <c:v>1481.4455</c:v>
                </c:pt>
                <c:pt idx="91">
                  <c:v>1484.2644</c:v>
                </c:pt>
                <c:pt idx="92">
                  <c:v>1373.1327</c:v>
                </c:pt>
                <c:pt idx="93">
                  <c:v>1397.5842</c:v>
                </c:pt>
                <c:pt idx="94">
                  <c:v>1245.7048</c:v>
                </c:pt>
                <c:pt idx="95">
                  <c:v>1087.7068</c:v>
                </c:pt>
                <c:pt idx="96">
                  <c:v>1349.537</c:v>
                </c:pt>
                <c:pt idx="97">
                  <c:v>1277.5825</c:v>
                </c:pt>
                <c:pt idx="98">
                  <c:v>1205.8776</c:v>
                </c:pt>
                <c:pt idx="99">
                  <c:v>1159.411</c:v>
                </c:pt>
                <c:pt idx="100">
                  <c:v>1125.086</c:v>
                </c:pt>
                <c:pt idx="101">
                  <c:v>1168.6792</c:v>
                </c:pt>
                <c:pt idx="102">
                  <c:v>1144.6407</c:v>
                </c:pt>
                <c:pt idx="103">
                  <c:v>1124.4366</c:v>
                </c:pt>
                <c:pt idx="104">
                  <c:v>1202.0973</c:v>
                </c:pt>
              </c:numCache>
            </c:numRef>
          </c:xVal>
          <c:yVal>
            <c:numRef>
              <c:f>Sheet1!$B$2:$B$106</c:f>
              <c:numCache>
                <c:formatCode>General</c:formatCode>
                <c:ptCount val="105"/>
                <c:pt idx="0">
                  <c:v>0.4753694581280788</c:v>
                </c:pt>
                <c:pt idx="1">
                  <c:v>0.4640625</c:v>
                </c:pt>
                <c:pt idx="2">
                  <c:v>0.5089430894308943</c:v>
                </c:pt>
                <c:pt idx="3">
                  <c:v>0.5400763358778626</c:v>
                </c:pt>
                <c:pt idx="4">
                  <c:v>0.5435203094777563</c:v>
                </c:pt>
                <c:pt idx="5">
                  <c:v>0.5375816993464052</c:v>
                </c:pt>
                <c:pt idx="6">
                  <c:v>0.5165876777251185</c:v>
                </c:pt>
                <c:pt idx="7">
                  <c:v>0.5521739130434783</c:v>
                </c:pt>
                <c:pt idx="8">
                  <c:v>0.5225352112676056</c:v>
                </c:pt>
                <c:pt idx="9">
                  <c:v>0.49415515409139216</c:v>
                </c:pt>
                <c:pt idx="10">
                  <c:v>0.5031982942430704</c:v>
                </c:pt>
                <c:pt idx="11">
                  <c:v>0.44760820045558086</c:v>
                </c:pt>
                <c:pt idx="12">
                  <c:v>0.43532058492688414</c:v>
                </c:pt>
                <c:pt idx="13">
                  <c:v>0.41605839416058393</c:v>
                </c:pt>
                <c:pt idx="14">
                  <c:v>0.3645083932853717</c:v>
                </c:pt>
                <c:pt idx="15">
                  <c:v>0.32991202346041054</c:v>
                </c:pt>
                <c:pt idx="16">
                  <c:v>0.3464991023339318</c:v>
                </c:pt>
                <c:pt idx="17">
                  <c:v>0.3628865979381443</c:v>
                </c:pt>
                <c:pt idx="18">
                  <c:v>0.3475177304964539</c:v>
                </c:pt>
                <c:pt idx="19">
                  <c:v>0.34963325183374083</c:v>
                </c:pt>
                <c:pt idx="20">
                  <c:v>0.33539094650205764</c:v>
                </c:pt>
                <c:pt idx="21">
                  <c:v>0.35768261964735515</c:v>
                </c:pt>
                <c:pt idx="22">
                  <c:v>0.4088888888888889</c:v>
                </c:pt>
                <c:pt idx="23">
                  <c:v>0.4474327628361858</c:v>
                </c:pt>
                <c:pt idx="24">
                  <c:v>0.45879120879120877</c:v>
                </c:pt>
                <c:pt idx="25">
                  <c:v>0.43352601156069365</c:v>
                </c:pt>
                <c:pt idx="26">
                  <c:v>0.4666666666666667</c:v>
                </c:pt>
                <c:pt idx="27">
                  <c:v>0.40594059405940597</c:v>
                </c:pt>
                <c:pt idx="28">
                  <c:v>0.44086021505376344</c:v>
                </c:pt>
                <c:pt idx="29">
                  <c:v>0.4326241134751773</c:v>
                </c:pt>
                <c:pt idx="30">
                  <c:v>0.43243243243243246</c:v>
                </c:pt>
                <c:pt idx="31">
                  <c:v>0.42745098039215684</c:v>
                </c:pt>
                <c:pt idx="32">
                  <c:v>0.4609053497942387</c:v>
                </c:pt>
                <c:pt idx="33">
                  <c:v>0.5</c:v>
                </c:pt>
                <c:pt idx="34">
                  <c:v>0.4485981308411215</c:v>
                </c:pt>
                <c:pt idx="35">
                  <c:v>0.4257703081232493</c:v>
                </c:pt>
                <c:pt idx="36">
                  <c:v>0.40822784810126583</c:v>
                </c:pt>
                <c:pt idx="37">
                  <c:v>0.44785276073619634</c:v>
                </c:pt>
                <c:pt idx="38">
                  <c:v>0.4099616858237548</c:v>
                </c:pt>
                <c:pt idx="39">
                  <c:v>0.37446808510638296</c:v>
                </c:pt>
                <c:pt idx="40">
                  <c:v>0.38006230529595014</c:v>
                </c:pt>
                <c:pt idx="41">
                  <c:v>0.365625</c:v>
                </c:pt>
                <c:pt idx="42">
                  <c:v>0.3799392097264438</c:v>
                </c:pt>
                <c:pt idx="43">
                  <c:v>0.3618421052631579</c:v>
                </c:pt>
                <c:pt idx="44">
                  <c:v>0.3871794871794872</c:v>
                </c:pt>
                <c:pt idx="45">
                  <c:v>0.3933649289099526</c:v>
                </c:pt>
                <c:pt idx="46">
                  <c:v>0.40749148694665155</c:v>
                </c:pt>
                <c:pt idx="47">
                  <c:v>0.37828162291169454</c:v>
                </c:pt>
                <c:pt idx="48">
                  <c:v>0.3946459412780656</c:v>
                </c:pt>
                <c:pt idx="49">
                  <c:v>0.38881247134342045</c:v>
                </c:pt>
                <c:pt idx="50">
                  <c:v>0.3918245264207378</c:v>
                </c:pt>
                <c:pt idx="51">
                  <c:v>0.3802325581395349</c:v>
                </c:pt>
                <c:pt idx="52">
                  <c:v>0.3931987247608927</c:v>
                </c:pt>
                <c:pt idx="53">
                  <c:v>0.3650568181818182</c:v>
                </c:pt>
                <c:pt idx="54">
                  <c:v>0.38328530259365995</c:v>
                </c:pt>
                <c:pt idx="55">
                  <c:v>0.3739495798319328</c:v>
                </c:pt>
                <c:pt idx="56">
                  <c:v>0.3713872832369942</c:v>
                </c:pt>
                <c:pt idx="57">
                  <c:v>0.35397039030955585</c:v>
                </c:pt>
                <c:pt idx="58">
                  <c:v>0.3655913978494624</c:v>
                </c:pt>
                <c:pt idx="59">
                  <c:v>0.37895927601809953</c:v>
                </c:pt>
                <c:pt idx="60">
                  <c:v>0.3958762886597938</c:v>
                </c:pt>
                <c:pt idx="61">
                  <c:v>0.429769392033543</c:v>
                </c:pt>
                <c:pt idx="62">
                  <c:v>0.4426919032597266</c:v>
                </c:pt>
                <c:pt idx="63">
                  <c:v>0.4711992445703494</c:v>
                </c:pt>
                <c:pt idx="64">
                  <c:v>0.4440400363967243</c:v>
                </c:pt>
                <c:pt idx="65">
                  <c:v>0.3666978484565014</c:v>
                </c:pt>
                <c:pt idx="66">
                  <c:v>0.3787740164684355</c:v>
                </c:pt>
                <c:pt idx="67">
                  <c:v>0.3561643835616438</c:v>
                </c:pt>
                <c:pt idx="68">
                  <c:v>0.3319027181688126</c:v>
                </c:pt>
                <c:pt idx="69">
                  <c:v>0.34057971014492755</c:v>
                </c:pt>
                <c:pt idx="70">
                  <c:v>0.349025974025974</c:v>
                </c:pt>
                <c:pt idx="71">
                  <c:v>0.36531365313653136</c:v>
                </c:pt>
                <c:pt idx="72">
                  <c:v>0.31443298969072164</c:v>
                </c:pt>
                <c:pt idx="73">
                  <c:v>0.31982942430703626</c:v>
                </c:pt>
                <c:pt idx="74">
                  <c:v>0.3434959349593496</c:v>
                </c:pt>
                <c:pt idx="75">
                  <c:v>0.34977578475336324</c:v>
                </c:pt>
                <c:pt idx="76">
                  <c:v>0.3590308370044053</c:v>
                </c:pt>
                <c:pt idx="77">
                  <c:v>0.32786885245901637</c:v>
                </c:pt>
                <c:pt idx="78">
                  <c:v>0.33134328358208953</c:v>
                </c:pt>
                <c:pt idx="79">
                  <c:v>0.32987012987012987</c:v>
                </c:pt>
                <c:pt idx="80">
                  <c:v>0.3151862464183381</c:v>
                </c:pt>
                <c:pt idx="81">
                  <c:v>0.3069544364508393</c:v>
                </c:pt>
                <c:pt idx="82">
                  <c:v>0.31722054380664655</c:v>
                </c:pt>
                <c:pt idx="83">
                  <c:v>0.3289902280130293</c:v>
                </c:pt>
                <c:pt idx="84">
                  <c:v>0.34076433121019106</c:v>
                </c:pt>
                <c:pt idx="85">
                  <c:v>0.32628398791540786</c:v>
                </c:pt>
                <c:pt idx="86">
                  <c:v>0.3157894736842105</c:v>
                </c:pt>
                <c:pt idx="87">
                  <c:v>0.32304038004750596</c:v>
                </c:pt>
                <c:pt idx="88">
                  <c:v>0.31189710610932475</c:v>
                </c:pt>
                <c:pt idx="89">
                  <c:v>0.36666666666666664</c:v>
                </c:pt>
                <c:pt idx="90">
                  <c:v>0.3506944444444444</c:v>
                </c:pt>
                <c:pt idx="91">
                  <c:v>0.3</c:v>
                </c:pt>
                <c:pt idx="92">
                  <c:v>0.29581151832460734</c:v>
                </c:pt>
                <c:pt idx="93">
                  <c:v>0.2910662824207493</c:v>
                </c:pt>
                <c:pt idx="94">
                  <c:v>0.3017241379310345</c:v>
                </c:pt>
                <c:pt idx="95">
                  <c:v>0.3804780876494024</c:v>
                </c:pt>
                <c:pt idx="96">
                  <c:v>0.3068181818181818</c:v>
                </c:pt>
                <c:pt idx="97">
                  <c:v>0.33797909407665505</c:v>
                </c:pt>
                <c:pt idx="98">
                  <c:v>0.3417015341701534</c:v>
                </c:pt>
                <c:pt idx="99">
                  <c:v>0.36031589338598224</c:v>
                </c:pt>
                <c:pt idx="100">
                  <c:v>0.3490508266993264</c:v>
                </c:pt>
                <c:pt idx="101">
                  <c:v>0.36625</c:v>
                </c:pt>
                <c:pt idx="102">
                  <c:v>0.35106382978723405</c:v>
                </c:pt>
                <c:pt idx="103">
                  <c:v>0.3313885647607935</c:v>
                </c:pt>
                <c:pt idx="104">
                  <c:v>0.299734748010610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8.9106</c:v>
                </c:pt>
                <c:pt idx="1">
                  <c:v>1286.5169</c:v>
                </c:pt>
                <c:pt idx="2">
                  <c:v>1294.5763</c:v>
                </c:pt>
                <c:pt idx="3">
                  <c:v>1305.8682</c:v>
                </c:pt>
                <c:pt idx="4">
                  <c:v>1263.1519</c:v>
                </c:pt>
                <c:pt idx="5">
                  <c:v>1259.5738</c:v>
                </c:pt>
                <c:pt idx="6">
                  <c:v>1182.4596</c:v>
                </c:pt>
                <c:pt idx="7">
                  <c:v>1222.884</c:v>
                </c:pt>
                <c:pt idx="8">
                  <c:v>1216.4092</c:v>
                </c:pt>
                <c:pt idx="9">
                  <c:v>1141.034</c:v>
                </c:pt>
                <c:pt idx="10">
                  <c:v>1204.0216</c:v>
                </c:pt>
                <c:pt idx="11">
                  <c:v>1089.7766</c:v>
                </c:pt>
                <c:pt idx="12">
                  <c:v>1132.0433</c:v>
                </c:pt>
                <c:pt idx="13">
                  <c:v>1188.0</c:v>
                </c:pt>
                <c:pt idx="14">
                  <c:v>1134.2849</c:v>
                </c:pt>
                <c:pt idx="15">
                  <c:v>1163.3108</c:v>
                </c:pt>
                <c:pt idx="16">
                  <c:v>1205.2783</c:v>
                </c:pt>
                <c:pt idx="17">
                  <c:v>1164.7308</c:v>
                </c:pt>
                <c:pt idx="18">
                  <c:v>1227.7023</c:v>
                </c:pt>
                <c:pt idx="19">
                  <c:v>1285.6514</c:v>
                </c:pt>
                <c:pt idx="20">
                  <c:v>1265.5461</c:v>
                </c:pt>
                <c:pt idx="21">
                  <c:v>1257.6</c:v>
                </c:pt>
                <c:pt idx="22">
                  <c:v>1243.1481</c:v>
                </c:pt>
                <c:pt idx="23">
                  <c:v>1251.7712</c:v>
                </c:pt>
                <c:pt idx="24">
                  <c:v>1259.8274</c:v>
                </c:pt>
                <c:pt idx="25">
                  <c:v>1267.4516</c:v>
                </c:pt>
                <c:pt idx="26">
                  <c:v>1195.013</c:v>
                </c:pt>
                <c:pt idx="27">
                  <c:v>1260.6316</c:v>
                </c:pt>
                <c:pt idx="28">
                  <c:v>1316.3554</c:v>
                </c:pt>
                <c:pt idx="29">
                  <c:v>1302.6762</c:v>
                </c:pt>
                <c:pt idx="30">
                  <c:v>1278.2524</c:v>
                </c:pt>
                <c:pt idx="31">
                  <c:v>1272.4118</c:v>
                </c:pt>
                <c:pt idx="32">
                  <c:v>1333.4706</c:v>
                </c:pt>
                <c:pt idx="33">
                  <c:v>1307.2288</c:v>
                </c:pt>
                <c:pt idx="34">
                  <c:v>1300.1448</c:v>
                </c:pt>
                <c:pt idx="35">
                  <c:v>1359.8279</c:v>
                </c:pt>
                <c:pt idx="36">
                  <c:v>1338.9091</c:v>
                </c:pt>
                <c:pt idx="37">
                  <c:v>1305.0714</c:v>
                </c:pt>
                <c:pt idx="38">
                  <c:v>1311.1947</c:v>
                </c:pt>
                <c:pt idx="39">
                  <c:v>1316.6147</c:v>
                </c:pt>
                <c:pt idx="40">
                  <c:v>1312.1705</c:v>
                </c:pt>
                <c:pt idx="41">
                  <c:v>1389.4595</c:v>
                </c:pt>
                <c:pt idx="42">
                  <c:v>1373.3419</c:v>
                </c:pt>
                <c:pt idx="43">
                  <c:v>1332.2622</c:v>
                </c:pt>
                <c:pt idx="44">
                  <c:v>1286.0216</c:v>
                </c:pt>
                <c:pt idx="45">
                  <c:v>1244.1522</c:v>
                </c:pt>
                <c:pt idx="46">
                  <c:v>1208.5103</c:v>
                </c:pt>
                <c:pt idx="47">
                  <c:v>1149.0376</c:v>
                </c:pt>
                <c:pt idx="48">
                  <c:v>1175.0427</c:v>
                </c:pt>
                <c:pt idx="49">
                  <c:v>1177.9561</c:v>
                </c:pt>
                <c:pt idx="50">
                  <c:v>1153.6884</c:v>
                </c:pt>
                <c:pt idx="51">
                  <c:v>1105.9038</c:v>
                </c:pt>
              </c:numCache>
            </c:numRef>
          </c:xVal>
          <c:yVal>
            <c:numRef>
              <c:f>Sheet1!$B$109:$B$160</c:f>
              <c:numCache>
                <c:formatCode>General</c:formatCode>
                <c:ptCount val="52"/>
                <c:pt idx="0">
                  <c:v>0.305591677503251</c:v>
                </c:pt>
                <c:pt idx="1">
                  <c:v>0.31846153846153846</c:v>
                </c:pt>
                <c:pt idx="2">
                  <c:v>0.31912302070645554</c:v>
                </c:pt>
                <c:pt idx="3">
                  <c:v>0.34081902245706736</c:v>
                </c:pt>
                <c:pt idx="4">
                  <c:v>0.36155606407322655</c:v>
                </c:pt>
                <c:pt idx="5">
                  <c:v>0.33221850613154963</c:v>
                </c:pt>
                <c:pt idx="6">
                  <c:v>0.33471933471933474</c:v>
                </c:pt>
                <c:pt idx="7">
                  <c:v>0.34523809523809523</c:v>
                </c:pt>
                <c:pt idx="8">
                  <c:v>0.3779956427015251</c:v>
                </c:pt>
                <c:pt idx="9">
                  <c:v>0.38254410399257194</c:v>
                </c:pt>
                <c:pt idx="10">
                  <c:v>0.36561264822134387</c:v>
                </c:pt>
                <c:pt idx="11">
                  <c:v>0.3794238683127572</c:v>
                </c:pt>
                <c:pt idx="12">
                  <c:v>0.37309417040358744</c:v>
                </c:pt>
                <c:pt idx="13">
                  <c:v>0.38453713123092575</c:v>
                </c:pt>
                <c:pt idx="14">
                  <c:v>0.3711453744493392</c:v>
                </c:pt>
                <c:pt idx="15">
                  <c:v>0.36724565756823824</c:v>
                </c:pt>
                <c:pt idx="16">
                  <c:v>0.3377386196769457</c:v>
                </c:pt>
                <c:pt idx="17">
                  <c:v>0.3786407766990291</c:v>
                </c:pt>
                <c:pt idx="18">
                  <c:v>0.3625632377740304</c:v>
                </c:pt>
                <c:pt idx="19">
                  <c:v>0.35860655737704916</c:v>
                </c:pt>
                <c:pt idx="20">
                  <c:v>0.3681462140992167</c:v>
                </c:pt>
                <c:pt idx="21">
                  <c:v>0.36764705882352944</c:v>
                </c:pt>
                <c:pt idx="22">
                  <c:v>0.36080178173719374</c:v>
                </c:pt>
                <c:pt idx="23">
                  <c:v>0.3591549295774648</c:v>
                </c:pt>
                <c:pt idx="24">
                  <c:v>0.39069767441860465</c:v>
                </c:pt>
                <c:pt idx="25">
                  <c:v>0.3664302600472813</c:v>
                </c:pt>
                <c:pt idx="26">
                  <c:v>0.4</c:v>
                </c:pt>
                <c:pt idx="27">
                  <c:v>0.40425531914893614</c:v>
                </c:pt>
                <c:pt idx="28">
                  <c:v>0.36555891238670696</c:v>
                </c:pt>
                <c:pt idx="29">
                  <c:v>0.3583617747440273</c:v>
                </c:pt>
                <c:pt idx="30">
                  <c:v>0.36395759717314485</c:v>
                </c:pt>
                <c:pt idx="31">
                  <c:v>0.34552845528455284</c:v>
                </c:pt>
                <c:pt idx="32">
                  <c:v>0.34274193548387094</c:v>
                </c:pt>
                <c:pt idx="33">
                  <c:v>0.3323943661971831</c:v>
                </c:pt>
                <c:pt idx="34">
                  <c:v>0.36159600997506236</c:v>
                </c:pt>
                <c:pt idx="35">
                  <c:v>0.3475783475783476</c:v>
                </c:pt>
                <c:pt idx="36">
                  <c:v>0.3320754716981132</c:v>
                </c:pt>
                <c:pt idx="37">
                  <c:v>0.3656716417910448</c:v>
                </c:pt>
                <c:pt idx="38">
                  <c:v>0.40794223826714804</c:v>
                </c:pt>
                <c:pt idx="39">
                  <c:v>0.36824324324324326</c:v>
                </c:pt>
                <c:pt idx="40">
                  <c:v>0.3664772727272727</c:v>
                </c:pt>
                <c:pt idx="41">
                  <c:v>0.33035714285714285</c:v>
                </c:pt>
                <c:pt idx="42">
                  <c:v>0.3188010899182561</c:v>
                </c:pt>
                <c:pt idx="43">
                  <c:v>0.35807860262008734</c:v>
                </c:pt>
                <c:pt idx="44">
                  <c:v>0.351010101010101</c:v>
                </c:pt>
                <c:pt idx="45">
                  <c:v>0.35658914728682173</c:v>
                </c:pt>
                <c:pt idx="46">
                  <c:v>0.402317880794702</c:v>
                </c:pt>
                <c:pt idx="47">
                  <c:v>0.37359550561797755</c:v>
                </c:pt>
                <c:pt idx="48">
                  <c:v>0.37617135207496655</c:v>
                </c:pt>
                <c:pt idx="49">
                  <c:v>0.3720508166969147</c:v>
                </c:pt>
                <c:pt idx="50">
                  <c:v>0.34414225941422594</c:v>
                </c:pt>
                <c:pt idx="51">
                  <c:v>0.351025331724969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6177152871746</c:v>
                </c:pt>
              </c:numCache>
            </c:numRef>
          </c:xVal>
          <c:yVal>
            <c:numRef>
              <c:f>Sheet1!$B$163:$B$164</c:f>
              <c:numCache>
                <c:formatCode>General</c:formatCode>
                <c:ptCount val="2"/>
                <c:pt idx="0">
                  <c:v>0.5178722438108</c:v>
                </c:pt>
                <c:pt idx="1">
                  <c:v>0.51787224381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6177152871746</c:v>
                </c:pt>
                <c:pt idx="1">
                  <c:v>2.96177152871746</c:v>
                </c:pt>
              </c:numCache>
            </c:numRef>
          </c:xVal>
          <c:yVal>
            <c:numRef>
              <c:f>Sheet1!$B$167:$B$168</c:f>
              <c:numCache>
                <c:formatCode>General</c:formatCode>
                <c:ptCount val="2"/>
                <c:pt idx="0">
                  <c:v>0.51787224381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5.4741224037355</c:v>
                </c:pt>
              </c:numCache>
            </c:numRef>
          </c:xVal>
          <c:yVal>
            <c:numRef>
              <c:f>Sheet1!$B$171:$B$172</c:f>
              <c:numCache>
                <c:formatCode>General</c:formatCode>
                <c:ptCount val="2"/>
                <c:pt idx="0">
                  <c:v>0.36899580143296645</c:v>
                </c:pt>
                <c:pt idx="1">
                  <c:v>0.368995801432966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5.4741224037355</c:v>
                </c:pt>
                <c:pt idx="1">
                  <c:v>1175.4741224037355</c:v>
                </c:pt>
              </c:numCache>
            </c:numRef>
          </c:xVal>
          <c:yVal>
            <c:numRef>
              <c:f>Sheet1!$B$175:$B$176</c:f>
              <c:numCache>
                <c:formatCode>General</c:formatCode>
                <c:ptCount val="2"/>
                <c:pt idx="0">
                  <c:v>0.368995801432966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3.07178596547</c:v>
                </c:pt>
              </c:numCache>
            </c:numRef>
          </c:xVal>
          <c:yVal>
            <c:numRef>
              <c:f>Sheet1!$B$179:$B$180</c:f>
              <c:numCache>
                <c:formatCode>General</c:formatCode>
                <c:ptCount val="2"/>
                <c:pt idx="0">
                  <c:v>0.359143057383591</c:v>
                </c:pt>
                <c:pt idx="1">
                  <c:v>0.35914305738359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3.07178596547</c:v>
                </c:pt>
                <c:pt idx="1">
                  <c:v>1253.07178596547</c:v>
                </c:pt>
              </c:numCache>
            </c:numRef>
          </c:xVal>
          <c:yVal>
            <c:numRef>
              <c:f>Sheet1!$B$183:$B$184</c:f>
              <c:numCache>
                <c:formatCode>General</c:formatCode>
                <c:ptCount val="2"/>
                <c:pt idx="0">
                  <c:v>0.3591430573835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8.9106</c:v>
                </c:pt>
                <c:pt idx="1">
                  <c:v>1286.5169</c:v>
                </c:pt>
                <c:pt idx="2">
                  <c:v>1294.5763</c:v>
                </c:pt>
                <c:pt idx="3">
                  <c:v>1305.8682</c:v>
                </c:pt>
                <c:pt idx="4">
                  <c:v>1263.1519</c:v>
                </c:pt>
                <c:pt idx="5">
                  <c:v>1259.5738</c:v>
                </c:pt>
                <c:pt idx="6">
                  <c:v>1182.4596</c:v>
                </c:pt>
                <c:pt idx="7">
                  <c:v>1222.884</c:v>
                </c:pt>
                <c:pt idx="8">
                  <c:v>1216.4092</c:v>
                </c:pt>
                <c:pt idx="9">
                  <c:v>1141.034</c:v>
                </c:pt>
                <c:pt idx="10">
                  <c:v>1204.0216</c:v>
                </c:pt>
                <c:pt idx="11">
                  <c:v>1089.7766</c:v>
                </c:pt>
                <c:pt idx="12">
                  <c:v>1132.0433</c:v>
                </c:pt>
                <c:pt idx="13">
                  <c:v>1188.0</c:v>
                </c:pt>
                <c:pt idx="14">
                  <c:v>1134.2849</c:v>
                </c:pt>
                <c:pt idx="15">
                  <c:v>1163.3108</c:v>
                </c:pt>
                <c:pt idx="16">
                  <c:v>1205.2783</c:v>
                </c:pt>
                <c:pt idx="17">
                  <c:v>1164.7308</c:v>
                </c:pt>
                <c:pt idx="18">
                  <c:v>1227.7023</c:v>
                </c:pt>
                <c:pt idx="19">
                  <c:v>1285.6514</c:v>
                </c:pt>
                <c:pt idx="20">
                  <c:v>1265.5461</c:v>
                </c:pt>
                <c:pt idx="21">
                  <c:v>1257.6</c:v>
                </c:pt>
                <c:pt idx="22">
                  <c:v>1243.1481</c:v>
                </c:pt>
                <c:pt idx="23">
                  <c:v>1251.7712</c:v>
                </c:pt>
                <c:pt idx="24">
                  <c:v>1259.8274</c:v>
                </c:pt>
                <c:pt idx="25">
                  <c:v>1267.4516</c:v>
                </c:pt>
                <c:pt idx="26">
                  <c:v>1195.013</c:v>
                </c:pt>
                <c:pt idx="27">
                  <c:v>1260.6316</c:v>
                </c:pt>
                <c:pt idx="28">
                  <c:v>1316.3554</c:v>
                </c:pt>
                <c:pt idx="29">
                  <c:v>1302.6762</c:v>
                </c:pt>
                <c:pt idx="30">
                  <c:v>1278.2524</c:v>
                </c:pt>
                <c:pt idx="31">
                  <c:v>1272.4118</c:v>
                </c:pt>
                <c:pt idx="32">
                  <c:v>1333.4706</c:v>
                </c:pt>
                <c:pt idx="33">
                  <c:v>1307.2288</c:v>
                </c:pt>
                <c:pt idx="34">
                  <c:v>1300.1448</c:v>
                </c:pt>
                <c:pt idx="35">
                  <c:v>1359.8279</c:v>
                </c:pt>
                <c:pt idx="36">
                  <c:v>1338.9091</c:v>
                </c:pt>
                <c:pt idx="37">
                  <c:v>1305.0714</c:v>
                </c:pt>
                <c:pt idx="38">
                  <c:v>1311.1947</c:v>
                </c:pt>
                <c:pt idx="39">
                  <c:v>1316.6147</c:v>
                </c:pt>
                <c:pt idx="40">
                  <c:v>1312.1705</c:v>
                </c:pt>
                <c:pt idx="41">
                  <c:v>1389.4595</c:v>
                </c:pt>
                <c:pt idx="42">
                  <c:v>1373.3419</c:v>
                </c:pt>
                <c:pt idx="43">
                  <c:v>1332.2622</c:v>
                </c:pt>
                <c:pt idx="44">
                  <c:v>1286.0216</c:v>
                </c:pt>
                <c:pt idx="45">
                  <c:v>1244.1522</c:v>
                </c:pt>
                <c:pt idx="46">
                  <c:v>1208.5103</c:v>
                </c:pt>
                <c:pt idx="47">
                  <c:v>1149.0376</c:v>
                </c:pt>
                <c:pt idx="48">
                  <c:v>1175.0427</c:v>
                </c:pt>
                <c:pt idx="49">
                  <c:v>1177.9561</c:v>
                </c:pt>
                <c:pt idx="50">
                  <c:v>1153.6884</c:v>
                </c:pt>
                <c:pt idx="51">
                  <c:v>1105.9038</c:v>
                </c:pt>
                <c:pt idx="52">
                  <c:v>1175.4741224037355</c:v>
                </c:pt>
                <c:pt idx="53">
                  <c:v>2.96177152871746</c:v>
                </c:pt>
                <c:pt idx="54">
                  <c:v>1253.07178596547</c:v>
                </c:pt>
              </c:numCache>
            </c:numRef>
          </c:xVal>
          <c:yVal>
            <c:numRef>
              <c:f>Sheet1!$B$187:$B$241</c:f>
              <c:numCache>
                <c:formatCode>General</c:formatCode>
                <c:ptCount val="55"/>
                <c:pt idx="0">
                  <c:v>0.35332280350636136</c:v>
                </c:pt>
                <c:pt idx="1">
                  <c:v>0.3548964585408019</c:v>
                </c:pt>
                <c:pt idx="2">
                  <c:v>0.35387313900066697</c:v>
                </c:pt>
                <c:pt idx="3">
                  <c:v>0.3524393819076763</c:v>
                </c:pt>
                <c:pt idx="4">
                  <c:v>0.357863163389209</c:v>
                </c:pt>
                <c:pt idx="5">
                  <c:v>0.35831748252544204</c:v>
                </c:pt>
                <c:pt idx="6">
                  <c:v>0.36810884015527434</c:v>
                </c:pt>
                <c:pt idx="7">
                  <c:v>0.3629760661996164</c:v>
                </c:pt>
                <c:pt idx="8">
                  <c:v>0.36379818563263444</c:v>
                </c:pt>
                <c:pt idx="9">
                  <c:v>0.37336873865166514</c:v>
                </c:pt>
                <c:pt idx="10">
                  <c:v>0.3653710661368128</c:v>
                </c:pt>
                <c:pt idx="11">
                  <c:v>0.37987700216960824</c:v>
                </c:pt>
                <c:pt idx="12">
                  <c:v>0.37451030737756175</c:v>
                </c:pt>
                <c:pt idx="13">
                  <c:v>0.3674053635217578</c:v>
                </c:pt>
                <c:pt idx="14">
                  <c:v>0.37422568655204536</c:v>
                </c:pt>
                <c:pt idx="15">
                  <c:v>0.37054020492313977</c:v>
                </c:pt>
                <c:pt idx="16">
                  <c:v>0.36521150020559123</c:v>
                </c:pt>
                <c:pt idx="17">
                  <c:v>0.37035990443588374</c:v>
                </c:pt>
                <c:pt idx="18">
                  <c:v>0.3623642761730348</c:v>
                </c:pt>
                <c:pt idx="19">
                  <c:v>0.3550063529575062</c:v>
                </c:pt>
                <c:pt idx="20">
                  <c:v>0.35755916660992126</c:v>
                </c:pt>
                <c:pt idx="21">
                  <c:v>0.35856810020272795</c:v>
                </c:pt>
                <c:pt idx="22">
                  <c:v>0.36040308936595045</c:v>
                </c:pt>
                <c:pt idx="23">
                  <c:v>0.35930819561126187</c:v>
                </c:pt>
                <c:pt idx="24">
                  <c:v>0.3582852823820842</c:v>
                </c:pt>
                <c:pt idx="25">
                  <c:v>0.35731722113212805</c:v>
                </c:pt>
                <c:pt idx="26">
                  <c:v>0.36651490766462624</c:v>
                </c:pt>
                <c:pt idx="27">
                  <c:v>0.35818317135965366</c:v>
                </c:pt>
                <c:pt idx="28">
                  <c:v>0.3511077993232032</c:v>
                </c:pt>
                <c:pt idx="29">
                  <c:v>0.35284467708748</c:v>
                </c:pt>
                <c:pt idx="30">
                  <c:v>0.3559458200738496</c:v>
                </c:pt>
                <c:pt idx="31">
                  <c:v>0.35668741375403823</c:v>
                </c:pt>
                <c:pt idx="32">
                  <c:v>0.3489346451686362</c:v>
                </c:pt>
                <c:pt idx="33">
                  <c:v>0.35226662356756316</c:v>
                </c:pt>
                <c:pt idx="34">
                  <c:v>0.35316609444905755</c:v>
                </c:pt>
                <c:pt idx="35">
                  <c:v>0.3455880014835979</c:v>
                </c:pt>
                <c:pt idx="36">
                  <c:v>0.3482441069996629</c:v>
                </c:pt>
                <c:pt idx="37">
                  <c:v>0.3525405533360183</c:v>
                </c:pt>
                <c:pt idx="38">
                  <c:v>0.35176306462220486</c:v>
                </c:pt>
                <c:pt idx="39">
                  <c:v>0.35107487543845284</c:v>
                </c:pt>
                <c:pt idx="40">
                  <c:v>0.3516391651746946</c:v>
                </c:pt>
                <c:pt idx="41">
                  <c:v>0.3418256128088255</c:v>
                </c:pt>
                <c:pt idx="42">
                  <c:v>0.3438720995224863</c:v>
                </c:pt>
                <c:pt idx="43">
                  <c:v>0.3490880783438477</c:v>
                </c:pt>
                <c:pt idx="44">
                  <c:v>0.35495934785864547</c:v>
                </c:pt>
                <c:pt idx="45">
                  <c:v>0.3602755966059126</c:v>
                </c:pt>
                <c:pt idx="46">
                  <c:v>0.36480112613882243</c:v>
                </c:pt>
                <c:pt idx="47">
                  <c:v>0.37235250415884635</c:v>
                </c:pt>
                <c:pt idx="48">
                  <c:v>0.36905058007353453</c:v>
                </c:pt>
                <c:pt idx="49">
                  <c:v>0.3686806593414417</c:v>
                </c:pt>
                <c:pt idx="50">
                  <c:v>0.3717619819714305</c:v>
                </c:pt>
                <c:pt idx="51">
                  <c:v>0.3778292965230758</c:v>
                </c:pt>
                <c:pt idx="52">
                  <c:v>0.36899580143296645</c:v>
                </c:pt>
                <c:pt idx="53">
                  <c:v>0.5178722438108</c:v>
                </c:pt>
                <c:pt idx="54">
                  <c:v>0.3591430573835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2608695652174"/>
          <c:min val="0.232853025936599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619072544355931</c:v>
                </c:pt>
                <c:pt idx="1">
                  <c:v>0.8470406873582363</c:v>
                </c:pt>
                <c:pt idx="2">
                  <c:v>0.8323421135216202</c:v>
                </c:pt>
                <c:pt idx="3">
                  <c:v>0.757666936223738</c:v>
                </c:pt>
                <c:pt idx="4">
                  <c:v>0.7574155409911264</c:v>
                </c:pt>
                <c:pt idx="5">
                  <c:v>0.7563186775570292</c:v>
                </c:pt>
                <c:pt idx="6">
                  <c:v>0.7410282080547856</c:v>
                </c:pt>
                <c:pt idx="7">
                  <c:v>0.7388755079077831</c:v>
                </c:pt>
                <c:pt idx="8">
                  <c:v>0.7251253033320625</c:v>
                </c:pt>
                <c:pt idx="9">
                  <c:v>0.7732174017860757</c:v>
                </c:pt>
                <c:pt idx="10">
                  <c:v>0.7823562500536787</c:v>
                </c:pt>
                <c:pt idx="11">
                  <c:v>0.8346036389369288</c:v>
                </c:pt>
                <c:pt idx="12">
                  <c:v>0.8198675253087526</c:v>
                </c:pt>
                <c:pt idx="13">
                  <c:v>0.8553553903516276</c:v>
                </c:pt>
                <c:pt idx="14">
                  <c:v>0.8361709401893909</c:v>
                </c:pt>
                <c:pt idx="15">
                  <c:v>0.7955131350373897</c:v>
                </c:pt>
                <c:pt idx="16">
                  <c:v>0.7499365343236708</c:v>
                </c:pt>
                <c:pt idx="17">
                  <c:v>0.7825412077887325</c:v>
                </c:pt>
                <c:pt idx="18">
                  <c:v>0.828160044725061</c:v>
                </c:pt>
                <c:pt idx="19">
                  <c:v>0.8428759984624854</c:v>
                </c:pt>
                <c:pt idx="20">
                  <c:v>0.8606863218473446</c:v>
                </c:pt>
                <c:pt idx="21">
                  <c:v>0.8141476654723067</c:v>
                </c:pt>
                <c:pt idx="22">
                  <c:v>0.797809439744024</c:v>
                </c:pt>
                <c:pt idx="23">
                  <c:v>0.7737381057913716</c:v>
                </c:pt>
                <c:pt idx="24">
                  <c:v>0.7335267275520952</c:v>
                </c:pt>
                <c:pt idx="25">
                  <c:v>0.7092815534153265</c:v>
                </c:pt>
                <c:pt idx="26">
                  <c:v>0.698482350033659</c:v>
                </c:pt>
                <c:pt idx="27">
                  <c:v>0.7073920890687809</c:v>
                </c:pt>
                <c:pt idx="28">
                  <c:v>0.7397896575207129</c:v>
                </c:pt>
                <c:pt idx="29">
                  <c:v>0.7287676962094496</c:v>
                </c:pt>
                <c:pt idx="30">
                  <c:v>0.6840355507493655</c:v>
                </c:pt>
                <c:pt idx="31">
                  <c:v>0.8457600454563156</c:v>
                </c:pt>
                <c:pt idx="32">
                  <c:v>0.6820568294235094</c:v>
                </c:pt>
                <c:pt idx="33">
                  <c:v>0.6967372184272406</c:v>
                </c:pt>
                <c:pt idx="34">
                  <c:v>0.7208670212239158</c:v>
                </c:pt>
                <c:pt idx="35">
                  <c:v>0.7934235885995168</c:v>
                </c:pt>
                <c:pt idx="36">
                  <c:v>0.8889857424249772</c:v>
                </c:pt>
                <c:pt idx="37">
                  <c:v>0.9793325997137233</c:v>
                </c:pt>
                <c:pt idx="38">
                  <c:v>0.9310423609118402</c:v>
                </c:pt>
                <c:pt idx="39">
                  <c:v>0.958119454305377</c:v>
                </c:pt>
                <c:pt idx="40">
                  <c:v>0.9895176323629135</c:v>
                </c:pt>
                <c:pt idx="41">
                  <c:v>0.8863863979367657</c:v>
                </c:pt>
                <c:pt idx="42">
                  <c:v>0.9454565241416721</c:v>
                </c:pt>
                <c:pt idx="43">
                  <c:v>0.8860990943294272</c:v>
                </c:pt>
                <c:pt idx="44">
                  <c:v>0.8886935512999697</c:v>
                </c:pt>
                <c:pt idx="45">
                  <c:v>0.840137475074781</c:v>
                </c:pt>
                <c:pt idx="46">
                  <c:v>0.8010769005282068</c:v>
                </c:pt>
                <c:pt idx="47">
                  <c:v>0.8626910683960224</c:v>
                </c:pt>
                <c:pt idx="48">
                  <c:v>0.8150704968691416</c:v>
                </c:pt>
                <c:pt idx="49">
                  <c:v>0.8366884716450096</c:v>
                </c:pt>
                <c:pt idx="50">
                  <c:v>0.7856241754055205</c:v>
                </c:pt>
                <c:pt idx="51">
                  <c:v>0.8269897241678478</c:v>
                </c:pt>
                <c:pt idx="52">
                  <c:v>0.7989004466282941</c:v>
                </c:pt>
                <c:pt idx="53">
                  <c:v>0.8323522702530878</c:v>
                </c:pt>
                <c:pt idx="54">
                  <c:v>0.8062810836597131</c:v>
                </c:pt>
                <c:pt idx="55">
                  <c:v>0.8356474482486773</c:v>
                </c:pt>
                <c:pt idx="56">
                  <c:v>0.8126522997869594</c:v>
                </c:pt>
                <c:pt idx="57">
                  <c:v>0.8256581678287995</c:v>
                </c:pt>
                <c:pt idx="58">
                  <c:v>0.7957401700115064</c:v>
                </c:pt>
                <c:pt idx="59">
                  <c:v>0.8018336667348619</c:v>
                </c:pt>
                <c:pt idx="60">
                  <c:v>0.7922693018404141</c:v>
                </c:pt>
                <c:pt idx="61">
                  <c:v>0.7839247181327074</c:v>
                </c:pt>
                <c:pt idx="62">
                  <c:v>0.8106868734861986</c:v>
                </c:pt>
                <c:pt idx="63">
                  <c:v>0.8137194955892934</c:v>
                </c:pt>
                <c:pt idx="64">
                  <c:v>0.8910293451661845</c:v>
                </c:pt>
                <c:pt idx="65">
                  <c:v>0.8557459481336135</c:v>
                </c:pt>
                <c:pt idx="66">
                  <c:v>0.8273492457336892</c:v>
                </c:pt>
                <c:pt idx="67">
                  <c:v>0.8952186686399352</c:v>
                </c:pt>
                <c:pt idx="68">
                  <c:v>0.9510075140800477</c:v>
                </c:pt>
                <c:pt idx="69">
                  <c:v>0.9218024614327274</c:v>
                </c:pt>
                <c:pt idx="70">
                  <c:v>0.8545214621357909</c:v>
                </c:pt>
                <c:pt idx="71">
                  <c:v>0.8935905749203003</c:v>
                </c:pt>
                <c:pt idx="72">
                  <c:v>1.0432582565736397</c:v>
                </c:pt>
                <c:pt idx="73">
                  <c:v>1.063975660162755</c:v>
                </c:pt>
                <c:pt idx="74">
                  <c:v>0.8515586531422186</c:v>
                </c:pt>
                <c:pt idx="75">
                  <c:v>0.8514883089466972</c:v>
                </c:pt>
                <c:pt idx="76">
                  <c:v>0.8405218932520834</c:v>
                </c:pt>
                <c:pt idx="77">
                  <c:v>0.8816306516073402</c:v>
                </c:pt>
                <c:pt idx="78">
                  <c:v>0.9134046434585745</c:v>
                </c:pt>
                <c:pt idx="79">
                  <c:v>0.9466378743751507</c:v>
                </c:pt>
                <c:pt idx="80">
                  <c:v>1.0664693783740085</c:v>
                </c:pt>
                <c:pt idx="81">
                  <c:v>0.9878665990689431</c:v>
                </c:pt>
                <c:pt idx="82">
                  <c:v>0.9770520174139942</c:v>
                </c:pt>
                <c:pt idx="83">
                  <c:v>1.1639364794879756</c:v>
                </c:pt>
                <c:pt idx="84">
                  <c:v>1.0202551640750543</c:v>
                </c:pt>
                <c:pt idx="85">
                  <c:v>1.0042478062518319</c:v>
                </c:pt>
                <c:pt idx="86">
                  <c:v>0.9820027603738722</c:v>
                </c:pt>
                <c:pt idx="87">
                  <c:v>0.9996934437592414</c:v>
                </c:pt>
                <c:pt idx="88">
                  <c:v>0.8964581153766874</c:v>
                </c:pt>
                <c:pt idx="89">
                  <c:v>0.9086256901436996</c:v>
                </c:pt>
                <c:pt idx="90">
                  <c:v>0.847948168072114</c:v>
                </c:pt>
                <c:pt idx="91">
                  <c:v>0.9555470780846624</c:v>
                </c:pt>
                <c:pt idx="92">
                  <c:v>0.8634432430518763</c:v>
                </c:pt>
                <c:pt idx="93">
                  <c:v>0.9173391256711099</c:v>
                </c:pt>
                <c:pt idx="94">
                  <c:v>1.0137299532982875</c:v>
                </c:pt>
                <c:pt idx="95">
                  <c:v>0.9199598108148322</c:v>
                </c:pt>
                <c:pt idx="96">
                  <c:v>0.9490591946644357</c:v>
                </c:pt>
                <c:pt idx="97">
                  <c:v>1.0038559742649238</c:v>
                </c:pt>
                <c:pt idx="98">
                  <c:v>0.9580808251357461</c:v>
                </c:pt>
                <c:pt idx="99">
                  <c:v>0.9529442375908024</c:v>
                </c:pt>
                <c:pt idx="100">
                  <c:v>0.9445435010189649</c:v>
                </c:pt>
                <c:pt idx="101">
                  <c:v>0.9045725539924121</c:v>
                </c:pt>
                <c:pt idx="102">
                  <c:v>0.9582833450813182</c:v>
                </c:pt>
                <c:pt idx="103">
                  <c:v>0.4496256677869284</c:v>
                </c:pt>
                <c:pt idx="104">
                  <c:v>0.5354252536412971</c:v>
                </c:pt>
              </c:numCache>
            </c:numRef>
          </c:xVal>
          <c:yVal>
            <c:numRef>
              <c:f>Sheet1!$B$2:$B$106</c:f>
              <c:numCache>
                <c:formatCode>General</c:formatCode>
                <c:ptCount val="105"/>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4938271604938271</c:v>
                </c:pt>
                <c:pt idx="33">
                  <c:v>0.03875968992248062</c:v>
                </c:pt>
                <c:pt idx="34">
                  <c:v>0.037383177570093455</c:v>
                </c:pt>
                <c:pt idx="35">
                  <c:v>0.0392156862745098</c:v>
                </c:pt>
                <c:pt idx="36">
                  <c:v>0.0379746835443038</c:v>
                </c:pt>
                <c:pt idx="37">
                  <c:v>0.03374233128834356</c:v>
                </c:pt>
                <c:pt idx="38">
                  <c:v>0.03065134099616858</c:v>
                </c:pt>
                <c:pt idx="39">
                  <c:v>0.03829787234042553</c:v>
                </c:pt>
                <c:pt idx="40">
                  <c:v>0.040498442367601244</c:v>
                </c:pt>
                <c:pt idx="41">
                  <c:v>0.059375</c:v>
                </c:pt>
                <c:pt idx="42">
                  <c:v>0.0486322188449848</c:v>
                </c:pt>
                <c:pt idx="43">
                  <c:v>0.039473684210526314</c:v>
                </c:pt>
                <c:pt idx="44">
                  <c:v>0.06153846153846154</c:v>
                </c:pt>
                <c:pt idx="45">
                  <c:v>0.08214849921011058</c:v>
                </c:pt>
                <c:pt idx="46">
                  <c:v>0.08626560726447219</c:v>
                </c:pt>
                <c:pt idx="47">
                  <c:v>0.08233890214797136</c:v>
                </c:pt>
                <c:pt idx="48">
                  <c:v>0.0924006908462867</c:v>
                </c:pt>
                <c:pt idx="49">
                  <c:v>0.10545621274644658</c:v>
                </c:pt>
                <c:pt idx="50">
                  <c:v>0.0967098703888335</c:v>
                </c:pt>
                <c:pt idx="51">
                  <c:v>0.08488372093023255</c:v>
                </c:pt>
                <c:pt idx="52">
                  <c:v>0.08926673751328375</c:v>
                </c:pt>
                <c:pt idx="53">
                  <c:v>0.07244318181818182</c:v>
                </c:pt>
                <c:pt idx="54">
                  <c:v>0.07060518731988473</c:v>
                </c:pt>
                <c:pt idx="55">
                  <c:v>0.07142857142857142</c:v>
                </c:pt>
                <c:pt idx="56">
                  <c:v>0.07514450867052024</c:v>
                </c:pt>
                <c:pt idx="57">
                  <c:v>0.06998654104979811</c:v>
                </c:pt>
                <c:pt idx="58">
                  <c:v>0.06182795698924731</c:v>
                </c:pt>
                <c:pt idx="59">
                  <c:v>0.06447963800904978</c:v>
                </c:pt>
                <c:pt idx="60">
                  <c:v>0.09278350515463918</c:v>
                </c:pt>
                <c:pt idx="61">
                  <c:v>0.1069182389937107</c:v>
                </c:pt>
                <c:pt idx="62">
                  <c:v>0.09779179810725552</c:v>
                </c:pt>
                <c:pt idx="63">
                  <c:v>0.12086874409820586</c:v>
                </c:pt>
                <c:pt idx="64">
                  <c:v>0.11101000909918107</c:v>
                </c:pt>
                <c:pt idx="65">
                  <c:v>0.09728718428437792</c:v>
                </c:pt>
                <c:pt idx="66">
                  <c:v>0.08051235132662397</c:v>
                </c:pt>
                <c:pt idx="67">
                  <c:v>0.08447488584474885</c:v>
                </c:pt>
                <c:pt idx="68">
                  <c:v>0.06580829756795423</c:v>
                </c:pt>
                <c:pt idx="69">
                  <c:v>0.057971014492753624</c:v>
                </c:pt>
                <c:pt idx="70">
                  <c:v>0.06493506493506493</c:v>
                </c:pt>
                <c:pt idx="71">
                  <c:v>0.07933579335793357</c:v>
                </c:pt>
                <c:pt idx="72">
                  <c:v>0.06701030927835051</c:v>
                </c:pt>
                <c:pt idx="73">
                  <c:v>0.05543710021321962</c:v>
                </c:pt>
                <c:pt idx="74">
                  <c:v>0.07317073170731707</c:v>
                </c:pt>
                <c:pt idx="75">
                  <c:v>0.06950672645739911</c:v>
                </c:pt>
                <c:pt idx="76">
                  <c:v>0.06607929515418502</c:v>
                </c:pt>
                <c:pt idx="77">
                  <c:v>0.060109289617486336</c:v>
                </c:pt>
                <c:pt idx="78">
                  <c:v>0.050746268656716415</c:v>
                </c:pt>
                <c:pt idx="79">
                  <c:v>0.05454545454545454</c:v>
                </c:pt>
                <c:pt idx="80">
                  <c:v>0.03724928366762178</c:v>
                </c:pt>
                <c:pt idx="81">
                  <c:v>0.04316546762589928</c:v>
                </c:pt>
                <c:pt idx="82">
                  <c:v>0.054380664652567974</c:v>
                </c:pt>
                <c:pt idx="83">
                  <c:v>0.03257328990228013</c:v>
                </c:pt>
                <c:pt idx="84">
                  <c:v>0.03503184713375796</c:v>
                </c:pt>
                <c:pt idx="85">
                  <c:v>0.04229607250755287</c:v>
                </c:pt>
                <c:pt idx="86">
                  <c:v>0.04473684210526316</c:v>
                </c:pt>
                <c:pt idx="87">
                  <c:v>0.0498812351543943</c:v>
                </c:pt>
                <c:pt idx="88">
                  <c:v>0.03858520900321544</c:v>
                </c:pt>
                <c:pt idx="89">
                  <c:v>0.044444444444444446</c:v>
                </c:pt>
                <c:pt idx="90">
                  <c:v>0.05555555555555555</c:v>
                </c:pt>
                <c:pt idx="91">
                  <c:v>0.041379310344827586</c:v>
                </c:pt>
                <c:pt idx="92">
                  <c:v>0.060209424083769635</c:v>
                </c:pt>
                <c:pt idx="93">
                  <c:v>0.05187319884726225</c:v>
                </c:pt>
                <c:pt idx="94">
                  <c:v>0.04885057471264368</c:v>
                </c:pt>
                <c:pt idx="95">
                  <c:v>0.045816733067729085</c:v>
                </c:pt>
                <c:pt idx="96">
                  <c:v>0.058712121212121215</c:v>
                </c:pt>
                <c:pt idx="97">
                  <c:v>0.059233449477351915</c:v>
                </c:pt>
                <c:pt idx="98">
                  <c:v>0.0697350069735007</c:v>
                </c:pt>
                <c:pt idx="99">
                  <c:v>0.08588351431391905</c:v>
                </c:pt>
                <c:pt idx="100">
                  <c:v>0.07899571341090018</c:v>
                </c:pt>
                <c:pt idx="101">
                  <c:v>0.0825</c:v>
                </c:pt>
                <c:pt idx="102">
                  <c:v>0.06838905775075987</c:v>
                </c:pt>
                <c:pt idx="103">
                  <c:v>0.1295215869311552</c:v>
                </c:pt>
                <c:pt idx="104">
                  <c:v>0.12201591511936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744582273538005</c:v>
                </c:pt>
                <c:pt idx="1">
                  <c:v>0.7088238161381343</c:v>
                </c:pt>
                <c:pt idx="2">
                  <c:v>0.6872543792535303</c:v>
                </c:pt>
                <c:pt idx="3">
                  <c:v>0.6475140684749942</c:v>
                </c:pt>
                <c:pt idx="4">
                  <c:v>0.6761877034414062</c:v>
                </c:pt>
                <c:pt idx="5">
                  <c:v>0.7267291047314824</c:v>
                </c:pt>
                <c:pt idx="6">
                  <c:v>0.7436522266851006</c:v>
                </c:pt>
                <c:pt idx="7">
                  <c:v>0.811783526005541</c:v>
                </c:pt>
                <c:pt idx="8">
                  <c:v>0.8565799967982471</c:v>
                </c:pt>
                <c:pt idx="9">
                  <c:v>0.8800763188956359</c:v>
                </c:pt>
                <c:pt idx="10">
                  <c:v>0.8774348513877628</c:v>
                </c:pt>
                <c:pt idx="11">
                  <c:v>0.8753390896197522</c:v>
                </c:pt>
                <c:pt idx="12">
                  <c:v>0.8523889444996899</c:v>
                </c:pt>
                <c:pt idx="13">
                  <c:v>0.8858595210609458</c:v>
                </c:pt>
                <c:pt idx="14">
                  <c:v>0.8884054069441297</c:v>
                </c:pt>
                <c:pt idx="15">
                  <c:v>0.8483278960273826</c:v>
                </c:pt>
                <c:pt idx="16">
                  <c:v>0.8898322477810997</c:v>
                </c:pt>
                <c:pt idx="17">
                  <c:v>0.8932739171303754</c:v>
                </c:pt>
                <c:pt idx="18">
                  <c:v>0.9816607123286868</c:v>
                </c:pt>
                <c:pt idx="19">
                  <c:v>0.9256121839762235</c:v>
                </c:pt>
                <c:pt idx="20">
                  <c:v>0.9216388147078607</c:v>
                </c:pt>
                <c:pt idx="21">
                  <c:v>0.8203867539520182</c:v>
                </c:pt>
                <c:pt idx="22">
                  <c:v>0.7935871493046714</c:v>
                </c:pt>
                <c:pt idx="23">
                  <c:v>0.8130170834434258</c:v>
                </c:pt>
                <c:pt idx="24">
                  <c:v>0.8064541513842624</c:v>
                </c:pt>
                <c:pt idx="25">
                  <c:v>0.7519763915943214</c:v>
                </c:pt>
                <c:pt idx="26">
                  <c:v>0.8692082761720252</c:v>
                </c:pt>
                <c:pt idx="27">
                  <c:v>0.8658976771059157</c:v>
                </c:pt>
                <c:pt idx="28">
                  <c:v>0.8703818500327193</c:v>
                </c:pt>
                <c:pt idx="29">
                  <c:v>0.9135471858546058</c:v>
                </c:pt>
                <c:pt idx="30">
                  <c:v>0.8648362049710183</c:v>
                </c:pt>
                <c:pt idx="31">
                  <c:v>0.7927229195606484</c:v>
                </c:pt>
                <c:pt idx="32">
                  <c:v>0.7861126731377247</c:v>
                </c:pt>
                <c:pt idx="33">
                  <c:v>0.796532907488235</c:v>
                </c:pt>
                <c:pt idx="34">
                  <c:v>0.7892348560967888</c:v>
                </c:pt>
                <c:pt idx="35">
                  <c:v>0.736235407672246</c:v>
                </c:pt>
                <c:pt idx="36">
                  <c:v>0.8103550084527426</c:v>
                </c:pt>
                <c:pt idx="37">
                  <c:v>0.8740499444192364</c:v>
                </c:pt>
                <c:pt idx="38">
                  <c:v>0.8836442330886477</c:v>
                </c:pt>
                <c:pt idx="39">
                  <c:v>0.8972763386480942</c:v>
                </c:pt>
                <c:pt idx="40">
                  <c:v>0.8328522784094995</c:v>
                </c:pt>
                <c:pt idx="41">
                  <c:v>0.868764300723172</c:v>
                </c:pt>
                <c:pt idx="42">
                  <c:v>0.8236096352421299</c:v>
                </c:pt>
                <c:pt idx="43">
                  <c:v>0.9350655961057609</c:v>
                </c:pt>
                <c:pt idx="44">
                  <c:v>0.9246928260007927</c:v>
                </c:pt>
                <c:pt idx="45">
                  <c:v>0.9603225539972929</c:v>
                </c:pt>
                <c:pt idx="46">
                  <c:v>0.9155587911126636</c:v>
                </c:pt>
                <c:pt idx="47">
                  <c:v>0.8875902796683152</c:v>
                </c:pt>
                <c:pt idx="48">
                  <c:v>0.9696721895720442</c:v>
                </c:pt>
                <c:pt idx="49">
                  <c:v>0.962903309908209</c:v>
                </c:pt>
                <c:pt idx="50">
                  <c:v>0.8175521188882467</c:v>
                </c:pt>
                <c:pt idx="51">
                  <c:v>0.8170409084499983</c:v>
                </c:pt>
              </c:numCache>
            </c:numRef>
          </c:xVal>
          <c:yVal>
            <c:numRef>
              <c:f>Sheet1!$B$109:$B$160</c:f>
              <c:numCache>
                <c:formatCode>General</c:formatCode>
                <c:ptCount val="52"/>
                <c:pt idx="0">
                  <c:v>0.08192457737321196</c:v>
                </c:pt>
                <c:pt idx="1">
                  <c:v>0.1123076923076923</c:v>
                </c:pt>
                <c:pt idx="2">
                  <c:v>0.12545676004872108</c:v>
                </c:pt>
                <c:pt idx="3">
                  <c:v>0.12813738441215325</c:v>
                </c:pt>
                <c:pt idx="4">
                  <c:v>0.12242562929061784</c:v>
                </c:pt>
                <c:pt idx="5">
                  <c:v>0.11148272017837235</c:v>
                </c:pt>
                <c:pt idx="6">
                  <c:v>0.10291060291060292</c:v>
                </c:pt>
                <c:pt idx="7">
                  <c:v>0.10606060606060606</c:v>
                </c:pt>
                <c:pt idx="8">
                  <c:v>0.09041394335511982</c:v>
                </c:pt>
                <c:pt idx="9">
                  <c:v>0.09656453110492108</c:v>
                </c:pt>
                <c:pt idx="10">
                  <c:v>0.09683794466403162</c:v>
                </c:pt>
                <c:pt idx="11">
                  <c:v>0.08724279835390947</c:v>
                </c:pt>
                <c:pt idx="12">
                  <c:v>0.09865470852017937</c:v>
                </c:pt>
                <c:pt idx="13">
                  <c:v>0.07833163784333673</c:v>
                </c:pt>
                <c:pt idx="14">
                  <c:v>0.07378854625550661</c:v>
                </c:pt>
                <c:pt idx="15">
                  <c:v>0.07444168734491315</c:v>
                </c:pt>
                <c:pt idx="16">
                  <c:v>0.07342143906020558</c:v>
                </c:pt>
                <c:pt idx="17">
                  <c:v>0.05663430420711974</c:v>
                </c:pt>
                <c:pt idx="18">
                  <c:v>0.05902192242833052</c:v>
                </c:pt>
                <c:pt idx="19">
                  <c:v>0.05737704918032787</c:v>
                </c:pt>
                <c:pt idx="20">
                  <c:v>0.06005221932114883</c:v>
                </c:pt>
                <c:pt idx="21">
                  <c:v>0.07107843137254902</c:v>
                </c:pt>
                <c:pt idx="22">
                  <c:v>0.062360801781737196</c:v>
                </c:pt>
                <c:pt idx="23">
                  <c:v>0.07746478873239436</c:v>
                </c:pt>
                <c:pt idx="24">
                  <c:v>0.07209302325581396</c:v>
                </c:pt>
                <c:pt idx="25">
                  <c:v>0.06855791962174941</c:v>
                </c:pt>
                <c:pt idx="26">
                  <c:v>0.04935064935064935</c:v>
                </c:pt>
                <c:pt idx="27">
                  <c:v>0.0547112462006079</c:v>
                </c:pt>
                <c:pt idx="28">
                  <c:v>0.06646525679758308</c:v>
                </c:pt>
                <c:pt idx="29">
                  <c:v>0.06825938566552901</c:v>
                </c:pt>
                <c:pt idx="30">
                  <c:v>0.0706713780918728</c:v>
                </c:pt>
                <c:pt idx="31">
                  <c:v>0.07723577235772358</c:v>
                </c:pt>
                <c:pt idx="32">
                  <c:v>0.06854838709677419</c:v>
                </c:pt>
                <c:pt idx="33">
                  <c:v>0.08450704225352113</c:v>
                </c:pt>
                <c:pt idx="34">
                  <c:v>0.08977556109725686</c:v>
                </c:pt>
                <c:pt idx="35">
                  <c:v>0.09971509971509972</c:v>
                </c:pt>
                <c:pt idx="36">
                  <c:v>0.0830188679245283</c:v>
                </c:pt>
                <c:pt idx="37">
                  <c:v>0.06716417910447761</c:v>
                </c:pt>
                <c:pt idx="38">
                  <c:v>0.06859205776173286</c:v>
                </c:pt>
                <c:pt idx="39">
                  <c:v>0.08108108108108109</c:v>
                </c:pt>
                <c:pt idx="40">
                  <c:v>0.07102272727272728</c:v>
                </c:pt>
                <c:pt idx="41">
                  <c:v>0.08928571428571429</c:v>
                </c:pt>
                <c:pt idx="42">
                  <c:v>0.08991825613079019</c:v>
                </c:pt>
                <c:pt idx="43">
                  <c:v>0.07423580786026202</c:v>
                </c:pt>
                <c:pt idx="44">
                  <c:v>0.07575757575757576</c:v>
                </c:pt>
                <c:pt idx="45">
                  <c:v>0.07945736434108527</c:v>
                </c:pt>
                <c:pt idx="46">
                  <c:v>0.07119205298013245</c:v>
                </c:pt>
                <c:pt idx="47">
                  <c:v>0.08146067415730338</c:v>
                </c:pt>
                <c:pt idx="48">
                  <c:v>0.06827309236947791</c:v>
                </c:pt>
                <c:pt idx="49">
                  <c:v>0.07531760435571688</c:v>
                </c:pt>
                <c:pt idx="50">
                  <c:v>0.09780334728033473</c:v>
                </c:pt>
                <c:pt idx="51">
                  <c:v>0.091676718938480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92100172181003</c:v>
                </c:pt>
              </c:numCache>
            </c:numRef>
          </c:xVal>
          <c:yVal>
            <c:numRef>
              <c:f>Sheet1!$B$163:$B$164</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92100172181003</c:v>
                </c:pt>
                <c:pt idx="1">
                  <c:v>0.692100172181003</c:v>
                </c:pt>
              </c:numCache>
            </c:numRef>
          </c:xVal>
          <c:yVal>
            <c:numRef>
              <c:f>Sheet1!$B$167:$B$168</c:f>
              <c:numCache>
                <c:formatCode>General</c:formatCode>
                <c:ptCount val="2"/>
                <c:pt idx="0">
                  <c:v>0.106426651979875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762867695044099</c:v>
                </c:pt>
              </c:numCache>
            </c:numRef>
          </c:xVal>
          <c:yVal>
            <c:numRef>
              <c:f>Sheet1!$B$171:$B$172</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762867695044099</c:v>
                </c:pt>
                <c:pt idx="1">
                  <c:v>0.6762867695044099</c:v>
                </c:pt>
              </c:numCache>
            </c:numRef>
          </c:xVal>
          <c:yVal>
            <c:numRef>
              <c:f>Sheet1!$B$175:$B$176</c:f>
              <c:numCache>
                <c:formatCode>General</c:formatCode>
                <c:ptCount val="2"/>
                <c:pt idx="0">
                  <c:v>0.109013323993010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06090441073134</c:v>
                </c:pt>
              </c:numCache>
            </c:numRef>
          </c:xVal>
          <c:yVal>
            <c:numRef>
              <c:f>Sheet1!$B$179:$B$180</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06090441073134</c:v>
                </c:pt>
                <c:pt idx="1">
                  <c:v>0.8506090441073134</c:v>
                </c:pt>
              </c:numCache>
            </c:numRef>
          </c:xVal>
          <c:yVal>
            <c:numRef>
              <c:f>Sheet1!$B$183:$B$184</c:f>
              <c:numCache>
                <c:formatCode>General</c:formatCode>
                <c:ptCount val="2"/>
                <c:pt idx="0">
                  <c:v>0.080498616677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744582273538005</c:v>
                </c:pt>
                <c:pt idx="1">
                  <c:v>0.7088238161381343</c:v>
                </c:pt>
                <c:pt idx="2">
                  <c:v>0.6872543792535303</c:v>
                </c:pt>
                <c:pt idx="3">
                  <c:v>0.6475140684749942</c:v>
                </c:pt>
                <c:pt idx="4">
                  <c:v>0.6761877034414062</c:v>
                </c:pt>
                <c:pt idx="5">
                  <c:v>0.7267291047314824</c:v>
                </c:pt>
                <c:pt idx="6">
                  <c:v>0.7436522266851006</c:v>
                </c:pt>
                <c:pt idx="7">
                  <c:v>0.811783526005541</c:v>
                </c:pt>
                <c:pt idx="8">
                  <c:v>0.8565799967982471</c:v>
                </c:pt>
                <c:pt idx="9">
                  <c:v>0.8800763188956359</c:v>
                </c:pt>
                <c:pt idx="10">
                  <c:v>0.8774348513877628</c:v>
                </c:pt>
                <c:pt idx="11">
                  <c:v>0.8753390896197522</c:v>
                </c:pt>
                <c:pt idx="12">
                  <c:v>0.8523889444996899</c:v>
                </c:pt>
                <c:pt idx="13">
                  <c:v>0.8858595210609458</c:v>
                </c:pt>
                <c:pt idx="14">
                  <c:v>0.8884054069441297</c:v>
                </c:pt>
                <c:pt idx="15">
                  <c:v>0.8483278960273826</c:v>
                </c:pt>
                <c:pt idx="16">
                  <c:v>0.8898322477810997</c:v>
                </c:pt>
                <c:pt idx="17">
                  <c:v>0.8932739171303754</c:v>
                </c:pt>
                <c:pt idx="18">
                  <c:v>0.9816607123286868</c:v>
                </c:pt>
                <c:pt idx="19">
                  <c:v>0.9256121839762235</c:v>
                </c:pt>
                <c:pt idx="20">
                  <c:v>0.9216388147078607</c:v>
                </c:pt>
                <c:pt idx="21">
                  <c:v>0.8203867539520182</c:v>
                </c:pt>
                <c:pt idx="22">
                  <c:v>0.7935871493046714</c:v>
                </c:pt>
                <c:pt idx="23">
                  <c:v>0.8130170834434258</c:v>
                </c:pt>
                <c:pt idx="24">
                  <c:v>0.8064541513842624</c:v>
                </c:pt>
                <c:pt idx="25">
                  <c:v>0.7519763915943214</c:v>
                </c:pt>
                <c:pt idx="26">
                  <c:v>0.8692082761720252</c:v>
                </c:pt>
                <c:pt idx="27">
                  <c:v>0.8658976771059157</c:v>
                </c:pt>
                <c:pt idx="28">
                  <c:v>0.8703818500327193</c:v>
                </c:pt>
                <c:pt idx="29">
                  <c:v>0.9135471858546058</c:v>
                </c:pt>
                <c:pt idx="30">
                  <c:v>0.8648362049710183</c:v>
                </c:pt>
                <c:pt idx="31">
                  <c:v>0.7927229195606484</c:v>
                </c:pt>
                <c:pt idx="32">
                  <c:v>0.7861126731377247</c:v>
                </c:pt>
                <c:pt idx="33">
                  <c:v>0.796532907488235</c:v>
                </c:pt>
                <c:pt idx="34">
                  <c:v>0.7892348560967888</c:v>
                </c:pt>
                <c:pt idx="35">
                  <c:v>0.736235407672246</c:v>
                </c:pt>
                <c:pt idx="36">
                  <c:v>0.8103550084527426</c:v>
                </c:pt>
                <c:pt idx="37">
                  <c:v>0.8740499444192364</c:v>
                </c:pt>
                <c:pt idx="38">
                  <c:v>0.8836442330886477</c:v>
                </c:pt>
                <c:pt idx="39">
                  <c:v>0.8972763386480942</c:v>
                </c:pt>
                <c:pt idx="40">
                  <c:v>0.8328522784094995</c:v>
                </c:pt>
                <c:pt idx="41">
                  <c:v>0.868764300723172</c:v>
                </c:pt>
                <c:pt idx="42">
                  <c:v>0.8236096352421299</c:v>
                </c:pt>
                <c:pt idx="43">
                  <c:v>0.9350655961057609</c:v>
                </c:pt>
                <c:pt idx="44">
                  <c:v>0.9246928260007927</c:v>
                </c:pt>
                <c:pt idx="45">
                  <c:v>0.9603225539972929</c:v>
                </c:pt>
                <c:pt idx="46">
                  <c:v>0.9155587911126636</c:v>
                </c:pt>
                <c:pt idx="47">
                  <c:v>0.8875902796683152</c:v>
                </c:pt>
                <c:pt idx="48">
                  <c:v>0.9696721895720442</c:v>
                </c:pt>
                <c:pt idx="49">
                  <c:v>0.962903309908209</c:v>
                </c:pt>
                <c:pt idx="50">
                  <c:v>0.8175521188882467</c:v>
                </c:pt>
                <c:pt idx="51">
                  <c:v>0.8170409084499983</c:v>
                </c:pt>
                <c:pt idx="52">
                  <c:v>0.6762867695044099</c:v>
                </c:pt>
                <c:pt idx="53">
                  <c:v>0.692100172181003</c:v>
                </c:pt>
                <c:pt idx="54">
                  <c:v>0.8506090441073134</c:v>
                </c:pt>
              </c:numCache>
            </c:numRef>
          </c:xVal>
          <c:yVal>
            <c:numRef>
              <c:f>Sheet1!$B$187:$B$241</c:f>
              <c:numCache>
                <c:formatCode>General</c:formatCode>
                <c:ptCount val="55"/>
                <c:pt idx="0">
                  <c:v>0.07659749456623688</c:v>
                </c:pt>
                <c:pt idx="1">
                  <c:v>0.10369108755605948</c:v>
                </c:pt>
                <c:pt idx="2">
                  <c:v>0.10721930092477916</c:v>
                </c:pt>
                <c:pt idx="3">
                  <c:v>0.11371980886645788</c:v>
                </c:pt>
                <c:pt idx="4">
                  <c:v>0.10902952869087783</c:v>
                </c:pt>
                <c:pt idx="5">
                  <c:v>0.10076223600913162</c:v>
                </c:pt>
                <c:pt idx="6">
                  <c:v>0.09799404203927196</c:v>
                </c:pt>
                <c:pt idx="7">
                  <c:v>0.08684948771564</c:v>
                </c:pt>
                <c:pt idx="8">
                  <c:v>0.07952192010375198</c:v>
                </c:pt>
                <c:pt idx="9">
                  <c:v>0.07567851713578097</c:v>
                </c:pt>
                <c:pt idx="10">
                  <c:v>0.07611059429311132</c:v>
                </c:pt>
                <c:pt idx="11">
                  <c:v>0.07645340781796625</c:v>
                </c:pt>
                <c:pt idx="12">
                  <c:v>0.08020747007095244</c:v>
                </c:pt>
                <c:pt idx="13">
                  <c:v>0.07473253179073844</c:v>
                </c:pt>
                <c:pt idx="14">
                  <c:v>0.07431608936545214</c:v>
                </c:pt>
                <c:pt idx="15">
                  <c:v>0.0808717547060901</c:v>
                </c:pt>
                <c:pt idx="16">
                  <c:v>0.07408269435644166</c:v>
                </c:pt>
                <c:pt idx="17">
                  <c:v>0.0735197244526008</c:v>
                </c:pt>
                <c:pt idx="18">
                  <c:v>0.05906188421757991</c:v>
                </c:pt>
                <c:pt idx="19">
                  <c:v>0.06823000335245533</c:v>
                </c:pt>
                <c:pt idx="20">
                  <c:v>0.06887994589135879</c:v>
                </c:pt>
                <c:pt idx="21">
                  <c:v>0.08544221760389359</c:v>
                </c:pt>
                <c:pt idx="22">
                  <c:v>0.08982595390164844</c:v>
                </c:pt>
                <c:pt idx="23">
                  <c:v>0.08664770897349139</c:v>
                </c:pt>
                <c:pt idx="24">
                  <c:v>0.08772123837312387</c:v>
                </c:pt>
                <c:pt idx="25">
                  <c:v>0.09663241956979045</c:v>
                </c:pt>
                <c:pt idx="26">
                  <c:v>0.07745625356137256</c:v>
                </c:pt>
                <c:pt idx="27">
                  <c:v>0.07799778368781995</c:v>
                </c:pt>
                <c:pt idx="28">
                  <c:v>0.07726428661264634</c:v>
                </c:pt>
                <c:pt idx="29">
                  <c:v>0.07020353135385873</c:v>
                </c:pt>
                <c:pt idx="30">
                  <c:v>0.07817141363453134</c:v>
                </c:pt>
                <c:pt idx="31">
                  <c:v>0.08996731999075036</c:v>
                </c:pt>
                <c:pt idx="32">
                  <c:v>0.09104858882148828</c:v>
                </c:pt>
                <c:pt idx="33">
                  <c:v>0.08934410249959895</c:v>
                </c:pt>
                <c:pt idx="34">
                  <c:v>0.09053787879624783</c:v>
                </c:pt>
                <c:pt idx="35">
                  <c:v>0.09920724570956371</c:v>
                </c:pt>
                <c:pt idx="36">
                  <c:v>0.08708315699287697</c:v>
                </c:pt>
                <c:pt idx="37">
                  <c:v>0.07666427930965208</c:v>
                </c:pt>
                <c:pt idx="38">
                  <c:v>0.07509489677417502</c:v>
                </c:pt>
                <c:pt idx="39">
                  <c:v>0.07286502970180059</c:v>
                </c:pt>
                <c:pt idx="40">
                  <c:v>0.08340317364209313</c:v>
                </c:pt>
                <c:pt idx="41">
                  <c:v>0.07752887669578298</c:v>
                </c:pt>
                <c:pt idx="42">
                  <c:v>0.08491503588309099</c:v>
                </c:pt>
                <c:pt idx="43">
                  <c:v>0.06668366464950762</c:v>
                </c:pt>
                <c:pt idx="44">
                  <c:v>0.06838038702342955</c:v>
                </c:pt>
                <c:pt idx="45">
                  <c:v>0.06255226627490748</c:v>
                </c:pt>
                <c:pt idx="46">
                  <c:v>0.06987448370175556</c:v>
                </c:pt>
                <c:pt idx="47">
                  <c:v>0.07444942353486617</c:v>
                </c:pt>
                <c:pt idx="48">
                  <c:v>0.06102290278693248</c:v>
                </c:pt>
                <c:pt idx="49">
                  <c:v>0.06213011999658735</c:v>
                </c:pt>
                <c:pt idx="50">
                  <c:v>0.08590589207907559</c:v>
                </c:pt>
                <c:pt idx="51">
                  <c:v>0.08598951315421569</c:v>
                </c:pt>
                <c:pt idx="52">
                  <c:v>0.10901332399301084</c:v>
                </c:pt>
                <c:pt idx="53">
                  <c:v>0.10642665197987508</c:v>
                </c:pt>
                <c:pt idx="54">
                  <c:v>0.080498616677744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4.0</c:v>
                </c:pt>
                <c:pt idx="1">
                  <c:v>864.4727</c:v>
                </c:pt>
                <c:pt idx="2">
                  <c:v>936.2542</c:v>
                </c:pt>
                <c:pt idx="3">
                  <c:v>944.6111</c:v>
                </c:pt>
                <c:pt idx="4">
                  <c:v>939.8596</c:v>
                </c:pt>
                <c:pt idx="5">
                  <c:v>916.9231</c:v>
                </c:pt>
                <c:pt idx="6">
                  <c:v>908.9452</c:v>
                </c:pt>
                <c:pt idx="7">
                  <c:v>915.3973</c:v>
                </c:pt>
                <c:pt idx="8">
                  <c:v>889.3978</c:v>
                </c:pt>
                <c:pt idx="9">
                  <c:v>874.9541</c:v>
                </c:pt>
                <c:pt idx="10">
                  <c:v>883.5962</c:v>
                </c:pt>
                <c:pt idx="11">
                  <c:v>918.5111</c:v>
                </c:pt>
                <c:pt idx="12">
                  <c:v>896.011</c:v>
                </c:pt>
                <c:pt idx="13">
                  <c:v>928.4769</c:v>
                </c:pt>
                <c:pt idx="14">
                  <c:v>929.625</c:v>
                </c:pt>
                <c:pt idx="15">
                  <c:v>921.5571</c:v>
                </c:pt>
                <c:pt idx="16">
                  <c:v>879.141</c:v>
                </c:pt>
                <c:pt idx="17">
                  <c:v>900.7018</c:v>
                </c:pt>
                <c:pt idx="18">
                  <c:v>939.759</c:v>
                </c:pt>
                <c:pt idx="19">
                  <c:v>964.4054</c:v>
                </c:pt>
                <c:pt idx="20">
                  <c:v>985.2093</c:v>
                </c:pt>
                <c:pt idx="21">
                  <c:v>960.641</c:v>
                </c:pt>
                <c:pt idx="22">
                  <c:v>973.6176</c:v>
                </c:pt>
                <c:pt idx="23">
                  <c:v>996.9412</c:v>
                </c:pt>
                <c:pt idx="24">
                  <c:v>983.0968</c:v>
                </c:pt>
                <c:pt idx="25">
                  <c:v>957.0741</c:v>
                </c:pt>
                <c:pt idx="26">
                  <c:v>941.7143</c:v>
                </c:pt>
                <c:pt idx="27">
                  <c:v>939.6316</c:v>
                </c:pt>
                <c:pt idx="28">
                  <c:v>991.0476</c:v>
                </c:pt>
                <c:pt idx="29">
                  <c:v>978.2353</c:v>
                </c:pt>
                <c:pt idx="30">
                  <c:v>906.5714</c:v>
                </c:pt>
                <c:pt idx="31">
                  <c:v>1122.9091</c:v>
                </c:pt>
                <c:pt idx="32">
                  <c:v>882.9167</c:v>
                </c:pt>
                <c:pt idx="33">
                  <c:v>852.5</c:v>
                </c:pt>
                <c:pt idx="34">
                  <c:v>909.8333</c:v>
                </c:pt>
                <c:pt idx="35">
                  <c:v>1000.6429</c:v>
                </c:pt>
                <c:pt idx="36">
                  <c:v>1105.4167</c:v>
                </c:pt>
                <c:pt idx="37">
                  <c:v>1234.5455</c:v>
                </c:pt>
                <c:pt idx="38">
                  <c:v>1174.875</c:v>
                </c:pt>
                <c:pt idx="39">
                  <c:v>1192.1111</c:v>
                </c:pt>
                <c:pt idx="40">
                  <c:v>1180.3846</c:v>
                </c:pt>
                <c:pt idx="41">
                  <c:v>1159.9474</c:v>
                </c:pt>
                <c:pt idx="42">
                  <c:v>1175.4375</c:v>
                </c:pt>
                <c:pt idx="43">
                  <c:v>1094.75</c:v>
                </c:pt>
                <c:pt idx="44">
                  <c:v>1121.4583</c:v>
                </c:pt>
                <c:pt idx="45">
                  <c:v>1015.1923</c:v>
                </c:pt>
                <c:pt idx="46">
                  <c:v>989.2763</c:v>
                </c:pt>
                <c:pt idx="47">
                  <c:v>968.6957</c:v>
                </c:pt>
                <c:pt idx="48">
                  <c:v>928.6262</c:v>
                </c:pt>
                <c:pt idx="49">
                  <c:v>947.813</c:v>
                </c:pt>
                <c:pt idx="50">
                  <c:v>916.0</c:v>
                </c:pt>
                <c:pt idx="51">
                  <c:v>969.411</c:v>
                </c:pt>
                <c:pt idx="52">
                  <c:v>979.2976</c:v>
                </c:pt>
                <c:pt idx="53">
                  <c:v>1122.0196</c:v>
                </c:pt>
                <c:pt idx="54">
                  <c:v>1105.0204</c:v>
                </c:pt>
                <c:pt idx="55">
                  <c:v>1131.2157</c:v>
                </c:pt>
                <c:pt idx="56">
                  <c:v>1139.4423</c:v>
                </c:pt>
                <c:pt idx="57">
                  <c:v>1125.8077</c:v>
                </c:pt>
                <c:pt idx="58">
                  <c:v>1087.413</c:v>
                </c:pt>
                <c:pt idx="59">
                  <c:v>1090.3509</c:v>
                </c:pt>
                <c:pt idx="60">
                  <c:v>1079.2111</c:v>
                </c:pt>
                <c:pt idx="61">
                  <c:v>1055.4314</c:v>
                </c:pt>
                <c:pt idx="62">
                  <c:v>1061.957</c:v>
                </c:pt>
                <c:pt idx="63">
                  <c:v>1044.2813</c:v>
                </c:pt>
                <c:pt idx="64">
                  <c:v>1060.8852</c:v>
                </c:pt>
                <c:pt idx="65">
                  <c:v>1014.5</c:v>
                </c:pt>
                <c:pt idx="66">
                  <c:v>1007.0682</c:v>
                </c:pt>
                <c:pt idx="67">
                  <c:v>1036.1892</c:v>
                </c:pt>
                <c:pt idx="68">
                  <c:v>1101.1522</c:v>
                </c:pt>
                <c:pt idx="69">
                  <c:v>1091.775</c:v>
                </c:pt>
                <c:pt idx="70">
                  <c:v>1096.4</c:v>
                </c:pt>
                <c:pt idx="71">
                  <c:v>1173.8372</c:v>
                </c:pt>
                <c:pt idx="72">
                  <c:v>1209.7436</c:v>
                </c:pt>
                <c:pt idx="73">
                  <c:v>1257.6154</c:v>
                </c:pt>
                <c:pt idx="74">
                  <c:v>1165.2778</c:v>
                </c:pt>
                <c:pt idx="75">
                  <c:v>1156.6452</c:v>
                </c:pt>
                <c:pt idx="76">
                  <c:v>1145.1667</c:v>
                </c:pt>
                <c:pt idx="77">
                  <c:v>1162.7273</c:v>
                </c:pt>
                <c:pt idx="78">
                  <c:v>1224.4118</c:v>
                </c:pt>
                <c:pt idx="79">
                  <c:v>1250.9048</c:v>
                </c:pt>
                <c:pt idx="80">
                  <c:v>1327.7692</c:v>
                </c:pt>
                <c:pt idx="81">
                  <c:v>1248.2222</c:v>
                </c:pt>
                <c:pt idx="82">
                  <c:v>1298.2778</c:v>
                </c:pt>
                <c:pt idx="83">
                  <c:v>1512.9</c:v>
                </c:pt>
                <c:pt idx="84">
                  <c:v>1268.9091</c:v>
                </c:pt>
                <c:pt idx="85">
                  <c:v>1243.3571</c:v>
                </c:pt>
                <c:pt idx="86">
                  <c:v>1204.0</c:v>
                </c:pt>
                <c:pt idx="87">
                  <c:v>1218.0</c:v>
                </c:pt>
                <c:pt idx="88">
                  <c:v>1152.5</c:v>
                </c:pt>
                <c:pt idx="89">
                  <c:v>1237.3333</c:v>
                </c:pt>
                <c:pt idx="90">
                  <c:v>1166.4375</c:v>
                </c:pt>
                <c:pt idx="91">
                  <c:v>1304.25</c:v>
                </c:pt>
                <c:pt idx="92">
                  <c:v>1131.6522</c:v>
                </c:pt>
                <c:pt idx="93">
                  <c:v>1172.8333</c:v>
                </c:pt>
                <c:pt idx="94">
                  <c:v>1285.5882</c:v>
                </c:pt>
                <c:pt idx="95">
                  <c:v>1162.3913</c:v>
                </c:pt>
                <c:pt idx="96">
                  <c:v>1139.4194</c:v>
                </c:pt>
                <c:pt idx="97">
                  <c:v>1184.8235</c:v>
                </c:pt>
                <c:pt idx="98">
                  <c:v>1106.5</c:v>
                </c:pt>
                <c:pt idx="99">
                  <c:v>1088.4713</c:v>
                </c:pt>
                <c:pt idx="100">
                  <c:v>1110.1318</c:v>
                </c:pt>
                <c:pt idx="101">
                  <c:v>1100.697</c:v>
                </c:pt>
                <c:pt idx="102">
                  <c:v>1151.0889</c:v>
                </c:pt>
                <c:pt idx="103">
                  <c:v>537.3243</c:v>
                </c:pt>
                <c:pt idx="104">
                  <c:v>675.8696</c:v>
                </c:pt>
              </c:numCache>
            </c:numRef>
          </c:xVal>
          <c:yVal>
            <c:numRef>
              <c:f>Sheet1!$B$2:$B$106</c:f>
              <c:numCache>
                <c:formatCode>General</c:formatCode>
                <c:ptCount val="105"/>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4938271604938271</c:v>
                </c:pt>
                <c:pt idx="33">
                  <c:v>0.03875968992248062</c:v>
                </c:pt>
                <c:pt idx="34">
                  <c:v>0.037383177570093455</c:v>
                </c:pt>
                <c:pt idx="35">
                  <c:v>0.0392156862745098</c:v>
                </c:pt>
                <c:pt idx="36">
                  <c:v>0.0379746835443038</c:v>
                </c:pt>
                <c:pt idx="37">
                  <c:v>0.03374233128834356</c:v>
                </c:pt>
                <c:pt idx="38">
                  <c:v>0.03065134099616858</c:v>
                </c:pt>
                <c:pt idx="39">
                  <c:v>0.03829787234042553</c:v>
                </c:pt>
                <c:pt idx="40">
                  <c:v>0.040498442367601244</c:v>
                </c:pt>
                <c:pt idx="41">
                  <c:v>0.059375</c:v>
                </c:pt>
                <c:pt idx="42">
                  <c:v>0.0486322188449848</c:v>
                </c:pt>
                <c:pt idx="43">
                  <c:v>0.039473684210526314</c:v>
                </c:pt>
                <c:pt idx="44">
                  <c:v>0.06153846153846154</c:v>
                </c:pt>
                <c:pt idx="45">
                  <c:v>0.08214849921011058</c:v>
                </c:pt>
                <c:pt idx="46">
                  <c:v>0.08626560726447219</c:v>
                </c:pt>
                <c:pt idx="47">
                  <c:v>0.08233890214797136</c:v>
                </c:pt>
                <c:pt idx="48">
                  <c:v>0.0924006908462867</c:v>
                </c:pt>
                <c:pt idx="49">
                  <c:v>0.10545621274644658</c:v>
                </c:pt>
                <c:pt idx="50">
                  <c:v>0.0967098703888335</c:v>
                </c:pt>
                <c:pt idx="51">
                  <c:v>0.08488372093023255</c:v>
                </c:pt>
                <c:pt idx="52">
                  <c:v>0.08926673751328375</c:v>
                </c:pt>
                <c:pt idx="53">
                  <c:v>0.07244318181818182</c:v>
                </c:pt>
                <c:pt idx="54">
                  <c:v>0.07060518731988473</c:v>
                </c:pt>
                <c:pt idx="55">
                  <c:v>0.07142857142857142</c:v>
                </c:pt>
                <c:pt idx="56">
                  <c:v>0.07514450867052024</c:v>
                </c:pt>
                <c:pt idx="57">
                  <c:v>0.06998654104979811</c:v>
                </c:pt>
                <c:pt idx="58">
                  <c:v>0.06182795698924731</c:v>
                </c:pt>
                <c:pt idx="59">
                  <c:v>0.06447963800904978</c:v>
                </c:pt>
                <c:pt idx="60">
                  <c:v>0.09278350515463918</c:v>
                </c:pt>
                <c:pt idx="61">
                  <c:v>0.1069182389937107</c:v>
                </c:pt>
                <c:pt idx="62">
                  <c:v>0.09779179810725552</c:v>
                </c:pt>
                <c:pt idx="63">
                  <c:v>0.12086874409820586</c:v>
                </c:pt>
                <c:pt idx="64">
                  <c:v>0.11101000909918107</c:v>
                </c:pt>
                <c:pt idx="65">
                  <c:v>0.09728718428437792</c:v>
                </c:pt>
                <c:pt idx="66">
                  <c:v>0.08051235132662397</c:v>
                </c:pt>
                <c:pt idx="67">
                  <c:v>0.08447488584474885</c:v>
                </c:pt>
                <c:pt idx="68">
                  <c:v>0.06580829756795423</c:v>
                </c:pt>
                <c:pt idx="69">
                  <c:v>0.057971014492753624</c:v>
                </c:pt>
                <c:pt idx="70">
                  <c:v>0.06493506493506493</c:v>
                </c:pt>
                <c:pt idx="71">
                  <c:v>0.07933579335793357</c:v>
                </c:pt>
                <c:pt idx="72">
                  <c:v>0.06701030927835051</c:v>
                </c:pt>
                <c:pt idx="73">
                  <c:v>0.05543710021321962</c:v>
                </c:pt>
                <c:pt idx="74">
                  <c:v>0.07317073170731707</c:v>
                </c:pt>
                <c:pt idx="75">
                  <c:v>0.06950672645739911</c:v>
                </c:pt>
                <c:pt idx="76">
                  <c:v>0.06607929515418502</c:v>
                </c:pt>
                <c:pt idx="77">
                  <c:v>0.060109289617486336</c:v>
                </c:pt>
                <c:pt idx="78">
                  <c:v>0.050746268656716415</c:v>
                </c:pt>
                <c:pt idx="79">
                  <c:v>0.05454545454545454</c:v>
                </c:pt>
                <c:pt idx="80">
                  <c:v>0.03724928366762178</c:v>
                </c:pt>
                <c:pt idx="81">
                  <c:v>0.04316546762589928</c:v>
                </c:pt>
                <c:pt idx="82">
                  <c:v>0.054380664652567974</c:v>
                </c:pt>
                <c:pt idx="83">
                  <c:v>0.03257328990228013</c:v>
                </c:pt>
                <c:pt idx="84">
                  <c:v>0.03503184713375796</c:v>
                </c:pt>
                <c:pt idx="85">
                  <c:v>0.04229607250755287</c:v>
                </c:pt>
                <c:pt idx="86">
                  <c:v>0.04473684210526316</c:v>
                </c:pt>
                <c:pt idx="87">
                  <c:v>0.0498812351543943</c:v>
                </c:pt>
                <c:pt idx="88">
                  <c:v>0.03858520900321544</c:v>
                </c:pt>
                <c:pt idx="89">
                  <c:v>0.044444444444444446</c:v>
                </c:pt>
                <c:pt idx="90">
                  <c:v>0.05555555555555555</c:v>
                </c:pt>
                <c:pt idx="91">
                  <c:v>0.041379310344827586</c:v>
                </c:pt>
                <c:pt idx="92">
                  <c:v>0.060209424083769635</c:v>
                </c:pt>
                <c:pt idx="93">
                  <c:v>0.05187319884726225</c:v>
                </c:pt>
                <c:pt idx="94">
                  <c:v>0.04885057471264368</c:v>
                </c:pt>
                <c:pt idx="95">
                  <c:v>0.045816733067729085</c:v>
                </c:pt>
                <c:pt idx="96">
                  <c:v>0.058712121212121215</c:v>
                </c:pt>
                <c:pt idx="97">
                  <c:v>0.059233449477351915</c:v>
                </c:pt>
                <c:pt idx="98">
                  <c:v>0.0697350069735007</c:v>
                </c:pt>
                <c:pt idx="99">
                  <c:v>0.08588351431391905</c:v>
                </c:pt>
                <c:pt idx="100">
                  <c:v>0.07899571341090018</c:v>
                </c:pt>
                <c:pt idx="101">
                  <c:v>0.0825</c:v>
                </c:pt>
                <c:pt idx="102">
                  <c:v>0.06838905775075987</c:v>
                </c:pt>
                <c:pt idx="103">
                  <c:v>0.1295215869311552</c:v>
                </c:pt>
                <c:pt idx="104">
                  <c:v>0.12201591511936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numCache>
            </c:numRef>
          </c:xVal>
          <c:yVal>
            <c:numRef>
              <c:f>Sheet1!$B$109:$B$160</c:f>
              <c:numCache>
                <c:formatCode>General</c:formatCode>
                <c:ptCount val="52"/>
                <c:pt idx="0">
                  <c:v>0.08192457737321196</c:v>
                </c:pt>
                <c:pt idx="1">
                  <c:v>0.1123076923076923</c:v>
                </c:pt>
                <c:pt idx="2">
                  <c:v>0.12545676004872108</c:v>
                </c:pt>
                <c:pt idx="3">
                  <c:v>0.12813738441215325</c:v>
                </c:pt>
                <c:pt idx="4">
                  <c:v>0.12242562929061784</c:v>
                </c:pt>
                <c:pt idx="5">
                  <c:v>0.11148272017837235</c:v>
                </c:pt>
                <c:pt idx="6">
                  <c:v>0.10291060291060292</c:v>
                </c:pt>
                <c:pt idx="7">
                  <c:v>0.10606060606060606</c:v>
                </c:pt>
                <c:pt idx="8">
                  <c:v>0.09041394335511982</c:v>
                </c:pt>
                <c:pt idx="9">
                  <c:v>0.09656453110492108</c:v>
                </c:pt>
                <c:pt idx="10">
                  <c:v>0.09683794466403162</c:v>
                </c:pt>
                <c:pt idx="11">
                  <c:v>0.08724279835390947</c:v>
                </c:pt>
                <c:pt idx="12">
                  <c:v>0.09865470852017937</c:v>
                </c:pt>
                <c:pt idx="13">
                  <c:v>0.07833163784333673</c:v>
                </c:pt>
                <c:pt idx="14">
                  <c:v>0.07378854625550661</c:v>
                </c:pt>
                <c:pt idx="15">
                  <c:v>0.07444168734491315</c:v>
                </c:pt>
                <c:pt idx="16">
                  <c:v>0.07342143906020558</c:v>
                </c:pt>
                <c:pt idx="17">
                  <c:v>0.05663430420711974</c:v>
                </c:pt>
                <c:pt idx="18">
                  <c:v>0.05902192242833052</c:v>
                </c:pt>
                <c:pt idx="19">
                  <c:v>0.05737704918032787</c:v>
                </c:pt>
                <c:pt idx="20">
                  <c:v>0.06005221932114883</c:v>
                </c:pt>
                <c:pt idx="21">
                  <c:v>0.07107843137254902</c:v>
                </c:pt>
                <c:pt idx="22">
                  <c:v>0.062360801781737196</c:v>
                </c:pt>
                <c:pt idx="23">
                  <c:v>0.07746478873239436</c:v>
                </c:pt>
                <c:pt idx="24">
                  <c:v>0.07209302325581396</c:v>
                </c:pt>
                <c:pt idx="25">
                  <c:v>0.06855791962174941</c:v>
                </c:pt>
                <c:pt idx="26">
                  <c:v>0.04935064935064935</c:v>
                </c:pt>
                <c:pt idx="27">
                  <c:v>0.0547112462006079</c:v>
                </c:pt>
                <c:pt idx="28">
                  <c:v>0.06646525679758308</c:v>
                </c:pt>
                <c:pt idx="29">
                  <c:v>0.06825938566552901</c:v>
                </c:pt>
                <c:pt idx="30">
                  <c:v>0.0706713780918728</c:v>
                </c:pt>
                <c:pt idx="31">
                  <c:v>0.07723577235772358</c:v>
                </c:pt>
                <c:pt idx="32">
                  <c:v>0.06854838709677419</c:v>
                </c:pt>
                <c:pt idx="33">
                  <c:v>0.08450704225352113</c:v>
                </c:pt>
                <c:pt idx="34">
                  <c:v>0.08977556109725686</c:v>
                </c:pt>
                <c:pt idx="35">
                  <c:v>0.09971509971509972</c:v>
                </c:pt>
                <c:pt idx="36">
                  <c:v>0.0830188679245283</c:v>
                </c:pt>
                <c:pt idx="37">
                  <c:v>0.06716417910447761</c:v>
                </c:pt>
                <c:pt idx="38">
                  <c:v>0.06859205776173286</c:v>
                </c:pt>
                <c:pt idx="39">
                  <c:v>0.08108108108108109</c:v>
                </c:pt>
                <c:pt idx="40">
                  <c:v>0.07102272727272728</c:v>
                </c:pt>
                <c:pt idx="41">
                  <c:v>0.08928571428571429</c:v>
                </c:pt>
                <c:pt idx="42">
                  <c:v>0.08991825613079019</c:v>
                </c:pt>
                <c:pt idx="43">
                  <c:v>0.07423580786026202</c:v>
                </c:pt>
                <c:pt idx="44">
                  <c:v>0.07575757575757576</c:v>
                </c:pt>
                <c:pt idx="45">
                  <c:v>0.07945736434108527</c:v>
                </c:pt>
                <c:pt idx="46">
                  <c:v>0.07119205298013245</c:v>
                </c:pt>
                <c:pt idx="47">
                  <c:v>0.08146067415730338</c:v>
                </c:pt>
                <c:pt idx="48">
                  <c:v>0.06827309236947791</c:v>
                </c:pt>
                <c:pt idx="49">
                  <c:v>0.07531760435571688</c:v>
                </c:pt>
                <c:pt idx="50">
                  <c:v>0.09780334728033473</c:v>
                </c:pt>
                <c:pt idx="51">
                  <c:v>0.091676718938480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4.7641125645739</c:v>
                </c:pt>
              </c:numCache>
            </c:numRef>
          </c:xVal>
          <c:yVal>
            <c:numRef>
              <c:f>Sheet1!$B$163:$B$164</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4.7641125645739</c:v>
                </c:pt>
                <c:pt idx="1">
                  <c:v>954.7641125645739</c:v>
                </c:pt>
              </c:numCache>
            </c:numRef>
          </c:xVal>
          <c:yVal>
            <c:numRef>
              <c:f>Sheet1!$B$167:$B$168</c:f>
              <c:numCache>
                <c:formatCode>General</c:formatCode>
                <c:ptCount val="2"/>
                <c:pt idx="0">
                  <c:v>0.106426651979875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33.9182748527312</c:v>
                </c:pt>
              </c:numCache>
            </c:numRef>
          </c:xVal>
          <c:yVal>
            <c:numRef>
              <c:f>Sheet1!$B$171:$B$172</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33.9182748527312</c:v>
                </c:pt>
                <c:pt idx="1">
                  <c:v>933.9182748527312</c:v>
                </c:pt>
              </c:numCache>
            </c:numRef>
          </c:xVal>
          <c:yVal>
            <c:numRef>
              <c:f>Sheet1!$B$175:$B$176</c:f>
              <c:numCache>
                <c:formatCode>General</c:formatCode>
                <c:ptCount val="2"/>
                <c:pt idx="0">
                  <c:v>0.109013323993010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63.7166250402145</c:v>
                </c:pt>
              </c:numCache>
            </c:numRef>
          </c:xVal>
          <c:yVal>
            <c:numRef>
              <c:f>Sheet1!$B$179:$B$180</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63.7166250402145</c:v>
                </c:pt>
                <c:pt idx="1">
                  <c:v>1163.7166250402145</c:v>
                </c:pt>
              </c:numCache>
            </c:numRef>
          </c:xVal>
          <c:yVal>
            <c:numRef>
              <c:f>Sheet1!$B$183:$B$184</c:f>
              <c:numCache>
                <c:formatCode>General</c:formatCode>
                <c:ptCount val="2"/>
                <c:pt idx="0">
                  <c:v>0.080498616677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pt idx="52">
                  <c:v>933.9182748527312</c:v>
                </c:pt>
                <c:pt idx="53">
                  <c:v>954.7641125645739</c:v>
                </c:pt>
                <c:pt idx="54">
                  <c:v>1163.7166250402145</c:v>
                </c:pt>
              </c:numCache>
            </c:numRef>
          </c:xVal>
          <c:yVal>
            <c:numRef>
              <c:f>Sheet1!$B$187:$B$241</c:f>
              <c:numCache>
                <c:formatCode>General</c:formatCode>
                <c:ptCount val="55"/>
                <c:pt idx="0">
                  <c:v>0.08501917639411599</c:v>
                </c:pt>
                <c:pt idx="1">
                  <c:v>0.10346012240981735</c:v>
                </c:pt>
                <c:pt idx="2">
                  <c:v>0.10797677031701294</c:v>
                </c:pt>
                <c:pt idx="3">
                  <c:v>0.10460517357062797</c:v>
                </c:pt>
                <c:pt idx="4">
                  <c:v>0.10192565284850692</c:v>
                </c:pt>
                <c:pt idx="5">
                  <c:v>0.10261772887277086</c:v>
                </c:pt>
                <c:pt idx="6">
                  <c:v>0.10319747004122992</c:v>
                </c:pt>
                <c:pt idx="7">
                  <c:v>0.08996487569965084</c:v>
                </c:pt>
                <c:pt idx="8">
                  <c:v>0.07683955351409</c:v>
                </c:pt>
                <c:pt idx="9">
                  <c:v>0.08166016194573011</c:v>
                </c:pt>
                <c:pt idx="10">
                  <c:v>0.08303506960371623</c:v>
                </c:pt>
                <c:pt idx="11">
                  <c:v>0.08990450796812641</c:v>
                </c:pt>
                <c:pt idx="12">
                  <c:v>0.08979696282339417</c:v>
                </c:pt>
                <c:pt idx="13">
                  <c:v>0.08042155010749005</c:v>
                </c:pt>
                <c:pt idx="14">
                  <c:v>0.08509907522726823</c:v>
                </c:pt>
                <c:pt idx="15">
                  <c:v>0.08476302612035258</c:v>
                </c:pt>
                <c:pt idx="16">
                  <c:v>0.07668380104418357</c:v>
                </c:pt>
                <c:pt idx="17">
                  <c:v>0.0739507248998098</c:v>
                </c:pt>
                <c:pt idx="18">
                  <c:v>0.05873425953081124</c:v>
                </c:pt>
                <c:pt idx="19">
                  <c:v>0.0565503498189302</c:v>
                </c:pt>
                <c:pt idx="20">
                  <c:v>0.05875923799814087</c:v>
                </c:pt>
                <c:pt idx="21">
                  <c:v>0.07620603356897585</c:v>
                </c:pt>
                <c:pt idx="22">
                  <c:v>0.08227598725874685</c:v>
                </c:pt>
                <c:pt idx="23">
                  <c:v>0.08076426262074254</c:v>
                </c:pt>
                <c:pt idx="24">
                  <c:v>0.08222066981843112</c:v>
                </c:pt>
                <c:pt idx="25">
                  <c:v>0.09556768365690371</c:v>
                </c:pt>
                <c:pt idx="26">
                  <c:v>0.07246318458014903</c:v>
                </c:pt>
                <c:pt idx="27">
                  <c:v>0.07255643504313078</c:v>
                </c:pt>
                <c:pt idx="28">
                  <c:v>0.06956083061594867</c:v>
                </c:pt>
                <c:pt idx="29">
                  <c:v>0.06217321003808307</c:v>
                </c:pt>
                <c:pt idx="30">
                  <c:v>0.06961835678313205</c:v>
                </c:pt>
                <c:pt idx="31">
                  <c:v>0.08272311795509865</c:v>
                </c:pt>
                <c:pt idx="32">
                  <c:v>0.08433931041051393</c:v>
                </c:pt>
                <c:pt idx="33">
                  <c:v>0.08125760286122533</c:v>
                </c:pt>
                <c:pt idx="34">
                  <c:v>0.08259703439497129</c:v>
                </c:pt>
                <c:pt idx="35">
                  <c:v>0.08930544664386394</c:v>
                </c:pt>
                <c:pt idx="36">
                  <c:v>0.07553950680662536</c:v>
                </c:pt>
                <c:pt idx="37">
                  <c:v>0.0608303289196786</c:v>
                </c:pt>
                <c:pt idx="38">
                  <c:v>0.060622795454160355</c:v>
                </c:pt>
                <c:pt idx="39">
                  <c:v>0.06332410563908858</c:v>
                </c:pt>
                <c:pt idx="40">
                  <c:v>0.07716773558261175</c:v>
                </c:pt>
                <c:pt idx="41">
                  <c:v>0.07260469200261657</c:v>
                </c:pt>
                <c:pt idx="42">
                  <c:v>0.07613549080356652</c:v>
                </c:pt>
                <c:pt idx="43">
                  <c:v>0.06533228507063066</c:v>
                </c:pt>
                <c:pt idx="44">
                  <c:v>0.08018218863963675</c:v>
                </c:pt>
                <c:pt idx="45">
                  <c:v>0.07487959381630002</c:v>
                </c:pt>
                <c:pt idx="46">
                  <c:v>0.08022105230564586</c:v>
                </c:pt>
                <c:pt idx="47">
                  <c:v>0.0872667793364009</c:v>
                </c:pt>
                <c:pt idx="48">
                  <c:v>0.08310088470094246</c:v>
                </c:pt>
                <c:pt idx="49">
                  <c:v>0.08695479046204962</c:v>
                </c:pt>
                <c:pt idx="50">
                  <c:v>0.10628191988623627</c:v>
                </c:pt>
                <c:pt idx="51">
                  <c:v>0.11050200278142075</c:v>
                </c:pt>
                <c:pt idx="52">
                  <c:v>0.10901332399301084</c:v>
                </c:pt>
                <c:pt idx="53">
                  <c:v>0.10642665197987508</c:v>
                </c:pt>
                <c:pt idx="54">
                  <c:v>0.0804986166777446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5.0"/>
          <c:min val="4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c:v>
                </c:pt>
                <c:pt idx="1">
                  <c:v>0.0</c:v>
                </c:pt>
                <c:pt idx="2">
                  <c:v>0.0</c:v>
                </c:pt>
                <c:pt idx="3">
                  <c:v>0.0</c:v>
                </c:pt>
                <c:pt idx="4">
                  <c:v>0.0</c:v>
                </c:pt>
                <c:pt idx="5">
                  <c:v>0.0</c:v>
                </c:pt>
                <c:pt idx="6">
                  <c:v>0.0</c:v>
                </c:pt>
                <c:pt idx="7">
                  <c:v>0.0</c:v>
                </c:pt>
                <c:pt idx="8">
                  <c:v>0.4733357104843001</c:v>
                </c:pt>
                <c:pt idx="9">
                  <c:v>0.4965687287173666</c:v>
                </c:pt>
                <c:pt idx="10">
                  <c:v>0.0</c:v>
                </c:pt>
                <c:pt idx="11">
                  <c:v>0.0</c:v>
                </c:pt>
                <c:pt idx="12">
                  <c:v>0.0</c:v>
                </c:pt>
                <c:pt idx="13">
                  <c:v>0.0</c:v>
                </c:pt>
                <c:pt idx="14">
                  <c:v>0.0</c:v>
                </c:pt>
                <c:pt idx="15">
                  <c:v>0.0</c:v>
                </c:pt>
                <c:pt idx="16">
                  <c:v>0.0</c:v>
                </c:pt>
                <c:pt idx="17">
                  <c:v>0.0</c:v>
                </c:pt>
                <c:pt idx="18">
                  <c:v>0.5444721900347624</c:v>
                </c:pt>
                <c:pt idx="19">
                  <c:v>0.0</c:v>
                </c:pt>
                <c:pt idx="20">
                  <c:v>0.0</c:v>
                </c:pt>
                <c:pt idx="21">
                  <c:v>1.3268522099447513</c:v>
                </c:pt>
                <c:pt idx="22">
                  <c:v>0.0</c:v>
                </c:pt>
                <c:pt idx="23">
                  <c:v>0.48917625122669284</c:v>
                </c:pt>
                <c:pt idx="24">
                  <c:v>1.2077356265356265</c:v>
                </c:pt>
                <c:pt idx="25">
                  <c:v>0.0</c:v>
                </c:pt>
                <c:pt idx="26">
                  <c:v>0.958975865580448</c:v>
                </c:pt>
                <c:pt idx="27">
                  <c:v>0.9104957364341085</c:v>
                </c:pt>
                <c:pt idx="28">
                  <c:v>0.7451485714285714</c:v>
                </c:pt>
                <c:pt idx="29">
                  <c:v>0.4203847443059734</c:v>
                </c:pt>
                <c:pt idx="30">
                  <c:v>0.5321295532747103</c:v>
                </c:pt>
                <c:pt idx="31">
                  <c:v>0.9605723695466211</c:v>
                </c:pt>
                <c:pt idx="32">
                  <c:v>0.5109471643518518</c:v>
                </c:pt>
                <c:pt idx="33">
                  <c:v>0.4573497854077253</c:v>
                </c:pt>
                <c:pt idx="34">
                  <c:v>0.8261823382519864</c:v>
                </c:pt>
                <c:pt idx="35">
                  <c:v>0.8451375844594595</c:v>
                </c:pt>
                <c:pt idx="36">
                  <c:v>0.7983269186729196</c:v>
                </c:pt>
                <c:pt idx="37">
                  <c:v>0.9992274382840954</c:v>
                </c:pt>
                <c:pt idx="38">
                  <c:v>1.0885191812390111</c:v>
                </c:pt>
                <c:pt idx="39">
                  <c:v>0.8004327171090582</c:v>
                </c:pt>
                <c:pt idx="40">
                  <c:v>1.0965021830004646</c:v>
                </c:pt>
                <c:pt idx="41">
                  <c:v>0.7408648341310446</c:v>
                </c:pt>
                <c:pt idx="42">
                  <c:v>0.9752644679527069</c:v>
                </c:pt>
                <c:pt idx="43">
                  <c:v>0.8927624872579001</c:v>
                </c:pt>
                <c:pt idx="44">
                  <c:v>0.8754553473848556</c:v>
                </c:pt>
                <c:pt idx="45">
                  <c:v>0.8454903052291457</c:v>
                </c:pt>
                <c:pt idx="46">
                  <c:v>0.9525356658194131</c:v>
                </c:pt>
                <c:pt idx="47">
                  <c:v>0.7807564561801213</c:v>
                </c:pt>
                <c:pt idx="48">
                  <c:v>0.854751246423373</c:v>
                </c:pt>
                <c:pt idx="49">
                  <c:v>0.9554566532258064</c:v>
                </c:pt>
                <c:pt idx="50">
                  <c:v>0.8395967002749771</c:v>
                </c:pt>
                <c:pt idx="51">
                  <c:v>0.8146310924369747</c:v>
                </c:pt>
                <c:pt idx="52">
                  <c:v>0.7846935897435897</c:v>
                </c:pt>
                <c:pt idx="53">
                  <c:v>0.8375780830098538</c:v>
                </c:pt>
                <c:pt idx="54">
                  <c:v>0.9995661691542289</c:v>
                </c:pt>
                <c:pt idx="55">
                  <c:v>0.9370832545331146</c:v>
                </c:pt>
                <c:pt idx="56">
                  <c:v>1.0921172553392093</c:v>
                </c:pt>
                <c:pt idx="57">
                  <c:v>1.0551149953139645</c:v>
                </c:pt>
                <c:pt idx="58">
                  <c:v>1.259621235472799</c:v>
                </c:pt>
                <c:pt idx="59">
                  <c:v>0.8348781776416538</c:v>
                </c:pt>
                <c:pt idx="60">
                  <c:v>0.9570302111430621</c:v>
                </c:pt>
                <c:pt idx="61">
                  <c:v>0.8833540341479745</c:v>
                </c:pt>
                <c:pt idx="62">
                  <c:v>0.9525702183456487</c:v>
                </c:pt>
                <c:pt idx="63">
                  <c:v>0.9511721085803857</c:v>
                </c:pt>
                <c:pt idx="64">
                  <c:v>1.0811875230707173</c:v>
                </c:pt>
                <c:pt idx="65">
                  <c:v>0.8351758104765868</c:v>
                </c:pt>
                <c:pt idx="66">
                  <c:v>0.8268211822660099</c:v>
                </c:pt>
                <c:pt idx="67">
                  <c:v>0.9225331196581197</c:v>
                </c:pt>
                <c:pt idx="68">
                  <c:v>1.1104802339653086</c:v>
                </c:pt>
                <c:pt idx="69">
                  <c:v>0.9138741374477083</c:v>
                </c:pt>
                <c:pt idx="70">
                  <c:v>0.7234576047509074</c:v>
                </c:pt>
                <c:pt idx="71">
                  <c:v>0.5512266729279173</c:v>
                </c:pt>
                <c:pt idx="72">
                  <c:v>0.8038163455149502</c:v>
                </c:pt>
                <c:pt idx="73">
                  <c:v>1.23659331366765</c:v>
                </c:pt>
                <c:pt idx="74">
                  <c:v>0.9389829170024174</c:v>
                </c:pt>
                <c:pt idx="75">
                  <c:v>1.1380569740261388</c:v>
                </c:pt>
                <c:pt idx="76">
                  <c:v>1.135327160101548</c:v>
                </c:pt>
                <c:pt idx="77">
                  <c:v>0.7102793524740378</c:v>
                </c:pt>
                <c:pt idx="78">
                  <c:v>0.612665399049287</c:v>
                </c:pt>
                <c:pt idx="79">
                  <c:v>0.6608054939249868</c:v>
                </c:pt>
                <c:pt idx="80">
                  <c:v>0.9211024627124523</c:v>
                </c:pt>
                <c:pt idx="81">
                  <c:v>1.1184786738351253</c:v>
                </c:pt>
                <c:pt idx="82">
                  <c:v>0.8316962203715568</c:v>
                </c:pt>
                <c:pt idx="83">
                  <c:v>1.7832390381895333</c:v>
                </c:pt>
                <c:pt idx="84">
                  <c:v>1.0600744360902257</c:v>
                </c:pt>
                <c:pt idx="85">
                  <c:v>1.3658262308980678</c:v>
                </c:pt>
                <c:pt idx="86">
                  <c:v>1.8311787072243346</c:v>
                </c:pt>
                <c:pt idx="87">
                  <c:v>1.424561403508772</c:v>
                </c:pt>
                <c:pt idx="88">
                  <c:v>0.9172304019100677</c:v>
                </c:pt>
                <c:pt idx="89">
                  <c:v>0.6959129921259842</c:v>
                </c:pt>
                <c:pt idx="90">
                  <c:v>0.8412820050486838</c:v>
                </c:pt>
                <c:pt idx="91">
                  <c:v>1.2350852272727273</c:v>
                </c:pt>
                <c:pt idx="92">
                  <c:v>0.7046402241594022</c:v>
                </c:pt>
                <c:pt idx="93">
                  <c:v>0.8431583752695903</c:v>
                </c:pt>
                <c:pt idx="94">
                  <c:v>0.433295652173913</c:v>
                </c:pt>
                <c:pt idx="95">
                  <c:v>1.2768854001056535</c:v>
                </c:pt>
                <c:pt idx="96">
                  <c:v>1.166242988741044</c:v>
                </c:pt>
                <c:pt idx="97">
                  <c:v>1.307030888030888</c:v>
                </c:pt>
                <c:pt idx="98">
                  <c:v>1.2092896174863388</c:v>
                </c:pt>
                <c:pt idx="99">
                  <c:v>1.0763622249690976</c:v>
                </c:pt>
                <c:pt idx="100">
                  <c:v>0.9269121367405474</c:v>
                </c:pt>
                <c:pt idx="101">
                  <c:v>1.2016342794759824</c:v>
                </c:pt>
                <c:pt idx="102">
                  <c:v>0.7737545647825551</c:v>
                </c:pt>
                <c:pt idx="103">
                  <c:v>0.4630110297285653</c:v>
                </c:pt>
                <c:pt idx="104">
                  <c:v>0.7336440705563093</c:v>
                </c:pt>
              </c:numCache>
            </c:numRef>
          </c:xVal>
          <c:yVal>
            <c:numRef>
              <c:f>Sheet1!$B$2:$B$106</c:f>
              <c:numCache>
                <c:formatCode>General</c:formatCode>
                <c:ptCount val="105"/>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4938271604938271</c:v>
                </c:pt>
                <c:pt idx="33">
                  <c:v>0.03875968992248062</c:v>
                </c:pt>
                <c:pt idx="34">
                  <c:v>0.037383177570093455</c:v>
                </c:pt>
                <c:pt idx="35">
                  <c:v>0.0392156862745098</c:v>
                </c:pt>
                <c:pt idx="36">
                  <c:v>0.0379746835443038</c:v>
                </c:pt>
                <c:pt idx="37">
                  <c:v>0.03374233128834356</c:v>
                </c:pt>
                <c:pt idx="38">
                  <c:v>0.03065134099616858</c:v>
                </c:pt>
                <c:pt idx="39">
                  <c:v>0.03829787234042553</c:v>
                </c:pt>
                <c:pt idx="40">
                  <c:v>0.040498442367601244</c:v>
                </c:pt>
                <c:pt idx="41">
                  <c:v>0.059375</c:v>
                </c:pt>
                <c:pt idx="42">
                  <c:v>0.0486322188449848</c:v>
                </c:pt>
                <c:pt idx="43">
                  <c:v>0.039473684210526314</c:v>
                </c:pt>
                <c:pt idx="44">
                  <c:v>0.06153846153846154</c:v>
                </c:pt>
                <c:pt idx="45">
                  <c:v>0.08214849921011058</c:v>
                </c:pt>
                <c:pt idx="46">
                  <c:v>0.08626560726447219</c:v>
                </c:pt>
                <c:pt idx="47">
                  <c:v>0.08233890214797136</c:v>
                </c:pt>
                <c:pt idx="48">
                  <c:v>0.0924006908462867</c:v>
                </c:pt>
                <c:pt idx="49">
                  <c:v>0.10545621274644658</c:v>
                </c:pt>
                <c:pt idx="50">
                  <c:v>0.0967098703888335</c:v>
                </c:pt>
                <c:pt idx="51">
                  <c:v>0.08488372093023255</c:v>
                </c:pt>
                <c:pt idx="52">
                  <c:v>0.08926673751328375</c:v>
                </c:pt>
                <c:pt idx="53">
                  <c:v>0.07244318181818182</c:v>
                </c:pt>
                <c:pt idx="54">
                  <c:v>0.07060518731988473</c:v>
                </c:pt>
                <c:pt idx="55">
                  <c:v>0.07142857142857142</c:v>
                </c:pt>
                <c:pt idx="56">
                  <c:v>0.07514450867052024</c:v>
                </c:pt>
                <c:pt idx="57">
                  <c:v>0.06998654104979811</c:v>
                </c:pt>
                <c:pt idx="58">
                  <c:v>0.06182795698924731</c:v>
                </c:pt>
                <c:pt idx="59">
                  <c:v>0.06447963800904978</c:v>
                </c:pt>
                <c:pt idx="60">
                  <c:v>0.09278350515463918</c:v>
                </c:pt>
                <c:pt idx="61">
                  <c:v>0.1069182389937107</c:v>
                </c:pt>
                <c:pt idx="62">
                  <c:v>0.09779179810725552</c:v>
                </c:pt>
                <c:pt idx="63">
                  <c:v>0.12086874409820586</c:v>
                </c:pt>
                <c:pt idx="64">
                  <c:v>0.11101000909918107</c:v>
                </c:pt>
                <c:pt idx="65">
                  <c:v>0.09728718428437792</c:v>
                </c:pt>
                <c:pt idx="66">
                  <c:v>0.08051235132662397</c:v>
                </c:pt>
                <c:pt idx="67">
                  <c:v>0.08447488584474885</c:v>
                </c:pt>
                <c:pt idx="68">
                  <c:v>0.06580829756795423</c:v>
                </c:pt>
                <c:pt idx="69">
                  <c:v>0.057971014492753624</c:v>
                </c:pt>
                <c:pt idx="70">
                  <c:v>0.06493506493506493</c:v>
                </c:pt>
                <c:pt idx="71">
                  <c:v>0.07933579335793357</c:v>
                </c:pt>
                <c:pt idx="72">
                  <c:v>0.06701030927835051</c:v>
                </c:pt>
                <c:pt idx="73">
                  <c:v>0.05543710021321962</c:v>
                </c:pt>
                <c:pt idx="74">
                  <c:v>0.07317073170731707</c:v>
                </c:pt>
                <c:pt idx="75">
                  <c:v>0.06950672645739911</c:v>
                </c:pt>
                <c:pt idx="76">
                  <c:v>0.06607929515418502</c:v>
                </c:pt>
                <c:pt idx="77">
                  <c:v>0.060109289617486336</c:v>
                </c:pt>
                <c:pt idx="78">
                  <c:v>0.050746268656716415</c:v>
                </c:pt>
                <c:pt idx="79">
                  <c:v>0.05454545454545454</c:v>
                </c:pt>
                <c:pt idx="80">
                  <c:v>0.03724928366762178</c:v>
                </c:pt>
                <c:pt idx="81">
                  <c:v>0.04316546762589928</c:v>
                </c:pt>
                <c:pt idx="82">
                  <c:v>0.054380664652567974</c:v>
                </c:pt>
                <c:pt idx="83">
                  <c:v>0.03257328990228013</c:v>
                </c:pt>
                <c:pt idx="84">
                  <c:v>0.03503184713375796</c:v>
                </c:pt>
                <c:pt idx="85">
                  <c:v>0.04229607250755287</c:v>
                </c:pt>
                <c:pt idx="86">
                  <c:v>0.04473684210526316</c:v>
                </c:pt>
                <c:pt idx="87">
                  <c:v>0.0498812351543943</c:v>
                </c:pt>
                <c:pt idx="88">
                  <c:v>0.03858520900321544</c:v>
                </c:pt>
                <c:pt idx="89">
                  <c:v>0.044444444444444446</c:v>
                </c:pt>
                <c:pt idx="90">
                  <c:v>0.05555555555555555</c:v>
                </c:pt>
                <c:pt idx="91">
                  <c:v>0.041379310344827586</c:v>
                </c:pt>
                <c:pt idx="92">
                  <c:v>0.060209424083769635</c:v>
                </c:pt>
                <c:pt idx="93">
                  <c:v>0.05187319884726225</c:v>
                </c:pt>
                <c:pt idx="94">
                  <c:v>0.04885057471264368</c:v>
                </c:pt>
                <c:pt idx="95">
                  <c:v>0.045816733067729085</c:v>
                </c:pt>
                <c:pt idx="96">
                  <c:v>0.058712121212121215</c:v>
                </c:pt>
                <c:pt idx="97">
                  <c:v>0.059233449477351915</c:v>
                </c:pt>
                <c:pt idx="98">
                  <c:v>0.0697350069735007</c:v>
                </c:pt>
                <c:pt idx="99">
                  <c:v>0.08588351431391905</c:v>
                </c:pt>
                <c:pt idx="100">
                  <c:v>0.07899571341090018</c:v>
                </c:pt>
                <c:pt idx="101">
                  <c:v>0.0825</c:v>
                </c:pt>
                <c:pt idx="102">
                  <c:v>0.06838905775075987</c:v>
                </c:pt>
                <c:pt idx="103">
                  <c:v>0.1295215869311552</c:v>
                </c:pt>
                <c:pt idx="104">
                  <c:v>0.12201591511936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993104906262465</c:v>
                </c:pt>
                <c:pt idx="1">
                  <c:v>0.6988844727180308</c:v>
                </c:pt>
                <c:pt idx="2">
                  <c:v>0.7809961044343141</c:v>
                </c:pt>
                <c:pt idx="3">
                  <c:v>0.9180334280303031</c:v>
                </c:pt>
                <c:pt idx="4">
                  <c:v>0.8555718807358815</c:v>
                </c:pt>
                <c:pt idx="5">
                  <c:v>0.7775855017776303</c:v>
                </c:pt>
                <c:pt idx="6">
                  <c:v>0.9899448902346707</c:v>
                </c:pt>
                <c:pt idx="7">
                  <c:v>0.9840982805429864</c:v>
                </c:pt>
                <c:pt idx="8">
                  <c:v>0.8777867797397445</c:v>
                </c:pt>
                <c:pt idx="9">
                  <c:v>0.6499751126126126</c:v>
                </c:pt>
                <c:pt idx="10">
                  <c:v>1.0024335817623848</c:v>
                </c:pt>
                <c:pt idx="11">
                  <c:v>1.1647913276231263</c:v>
                </c:pt>
                <c:pt idx="12">
                  <c:v>0.6843380263984915</c:v>
                </c:pt>
                <c:pt idx="13">
                  <c:v>0.9354614371863569</c:v>
                </c:pt>
                <c:pt idx="14">
                  <c:v>0.8991554668794893</c:v>
                </c:pt>
                <c:pt idx="15">
                  <c:v>0.6332211942809083</c:v>
                </c:pt>
                <c:pt idx="16">
                  <c:v>0.8907233407904549</c:v>
                </c:pt>
                <c:pt idx="17">
                  <c:v>0.9967109381401065</c:v>
                </c:pt>
                <c:pt idx="18">
                  <c:v>0.9971067014147431</c:v>
                </c:pt>
                <c:pt idx="19">
                  <c:v>1.0278138636363636</c:v>
                </c:pt>
                <c:pt idx="20">
                  <c:v>0.9914202147352832</c:v>
                </c:pt>
                <c:pt idx="21">
                  <c:v>0.4330720274665703</c:v>
                </c:pt>
                <c:pt idx="22">
                  <c:v>0.7768792835417371</c:v>
                </c:pt>
                <c:pt idx="23">
                  <c:v>0.6912770222431467</c:v>
                </c:pt>
                <c:pt idx="24">
                  <c:v>0.343030638424821</c:v>
                </c:pt>
                <c:pt idx="25">
                  <c:v>1.2741759168704159</c:v>
                </c:pt>
                <c:pt idx="26">
                  <c:v>0.6815388072122053</c:v>
                </c:pt>
                <c:pt idx="27">
                  <c:v>1.1320628861226372</c:v>
                </c:pt>
                <c:pt idx="28">
                  <c:v>0.8951473721844833</c:v>
                </c:pt>
                <c:pt idx="29">
                  <c:v>0.9383899821109124</c:v>
                </c:pt>
                <c:pt idx="30">
                  <c:v>1.184477046852816</c:v>
                </c:pt>
                <c:pt idx="31">
                  <c:v>1.1918753880678012</c:v>
                </c:pt>
                <c:pt idx="32">
                  <c:v>0.9113151246983106</c:v>
                </c:pt>
                <c:pt idx="33">
                  <c:v>0.8086622424030736</c:v>
                </c:pt>
                <c:pt idx="34">
                  <c:v>1.0050881682734443</c:v>
                </c:pt>
                <c:pt idx="35">
                  <c:v>1.261827829099307</c:v>
                </c:pt>
                <c:pt idx="36">
                  <c:v>1.265701156677182</c:v>
                </c:pt>
                <c:pt idx="37">
                  <c:v>1.123860773480663</c:v>
                </c:pt>
                <c:pt idx="38">
                  <c:v>1.3989729622744969</c:v>
                </c:pt>
                <c:pt idx="39">
                  <c:v>1.0363111818543573</c:v>
                </c:pt>
                <c:pt idx="40">
                  <c:v>1.0890098330665448</c:v>
                </c:pt>
                <c:pt idx="41">
                  <c:v>1.0160043874172187</c:v>
                </c:pt>
                <c:pt idx="42">
                  <c:v>1.1246517823639774</c:v>
                </c:pt>
                <c:pt idx="43">
                  <c:v>1.008423149309912</c:v>
                </c:pt>
                <c:pt idx="44">
                  <c:v>0.6304144324324323</c:v>
                </c:pt>
                <c:pt idx="45">
                  <c:v>1.2056242520941365</c:v>
                </c:pt>
                <c:pt idx="46">
                  <c:v>0.9365088353413655</c:v>
                </c:pt>
                <c:pt idx="47">
                  <c:v>0.9237330002082031</c:v>
                </c:pt>
                <c:pt idx="48">
                  <c:v>0.7814532432517266</c:v>
                </c:pt>
                <c:pt idx="49">
                  <c:v>0.6279533351149187</c:v>
                </c:pt>
                <c:pt idx="50">
                  <c:v>0.7590364459266317</c:v>
                </c:pt>
                <c:pt idx="51">
                  <c:v>0.8518953058584365</c:v>
                </c:pt>
              </c:numCache>
            </c:numRef>
          </c:xVal>
          <c:yVal>
            <c:numRef>
              <c:f>Sheet1!$B$109:$B$160</c:f>
              <c:numCache>
                <c:formatCode>General</c:formatCode>
                <c:ptCount val="52"/>
                <c:pt idx="0">
                  <c:v>0.08192457737321196</c:v>
                </c:pt>
                <c:pt idx="1">
                  <c:v>0.1123076923076923</c:v>
                </c:pt>
                <c:pt idx="2">
                  <c:v>0.12545676004872108</c:v>
                </c:pt>
                <c:pt idx="3">
                  <c:v>0.12813738441215325</c:v>
                </c:pt>
                <c:pt idx="4">
                  <c:v>0.12242562929061784</c:v>
                </c:pt>
                <c:pt idx="5">
                  <c:v>0.11148272017837235</c:v>
                </c:pt>
                <c:pt idx="6">
                  <c:v>0.10291060291060292</c:v>
                </c:pt>
                <c:pt idx="7">
                  <c:v>0.10606060606060606</c:v>
                </c:pt>
                <c:pt idx="8">
                  <c:v>0.09041394335511982</c:v>
                </c:pt>
                <c:pt idx="9">
                  <c:v>0.09656453110492108</c:v>
                </c:pt>
                <c:pt idx="10">
                  <c:v>0.09683794466403162</c:v>
                </c:pt>
                <c:pt idx="11">
                  <c:v>0.08724279835390947</c:v>
                </c:pt>
                <c:pt idx="12">
                  <c:v>0.09865470852017937</c:v>
                </c:pt>
                <c:pt idx="13">
                  <c:v>0.07833163784333673</c:v>
                </c:pt>
                <c:pt idx="14">
                  <c:v>0.07378854625550661</c:v>
                </c:pt>
                <c:pt idx="15">
                  <c:v>0.07444168734491315</c:v>
                </c:pt>
                <c:pt idx="16">
                  <c:v>0.07342143906020558</c:v>
                </c:pt>
                <c:pt idx="17">
                  <c:v>0.05663430420711974</c:v>
                </c:pt>
                <c:pt idx="18">
                  <c:v>0.05902192242833052</c:v>
                </c:pt>
                <c:pt idx="19">
                  <c:v>0.05737704918032787</c:v>
                </c:pt>
                <c:pt idx="20">
                  <c:v>0.06005221932114883</c:v>
                </c:pt>
                <c:pt idx="21">
                  <c:v>0.07107843137254902</c:v>
                </c:pt>
                <c:pt idx="22">
                  <c:v>0.062360801781737196</c:v>
                </c:pt>
                <c:pt idx="23">
                  <c:v>0.07746478873239436</c:v>
                </c:pt>
                <c:pt idx="24">
                  <c:v>0.07209302325581396</c:v>
                </c:pt>
                <c:pt idx="25">
                  <c:v>0.06855791962174941</c:v>
                </c:pt>
                <c:pt idx="26">
                  <c:v>0.04935064935064935</c:v>
                </c:pt>
                <c:pt idx="27">
                  <c:v>0.0547112462006079</c:v>
                </c:pt>
                <c:pt idx="28">
                  <c:v>0.06646525679758308</c:v>
                </c:pt>
                <c:pt idx="29">
                  <c:v>0.06825938566552901</c:v>
                </c:pt>
                <c:pt idx="30">
                  <c:v>0.0706713780918728</c:v>
                </c:pt>
                <c:pt idx="31">
                  <c:v>0.07723577235772358</c:v>
                </c:pt>
                <c:pt idx="32">
                  <c:v>0.06854838709677419</c:v>
                </c:pt>
                <c:pt idx="33">
                  <c:v>0.08450704225352113</c:v>
                </c:pt>
                <c:pt idx="34">
                  <c:v>0.08977556109725686</c:v>
                </c:pt>
                <c:pt idx="35">
                  <c:v>0.09971509971509972</c:v>
                </c:pt>
                <c:pt idx="36">
                  <c:v>0.0830188679245283</c:v>
                </c:pt>
                <c:pt idx="37">
                  <c:v>0.06716417910447761</c:v>
                </c:pt>
                <c:pt idx="38">
                  <c:v>0.06859205776173286</c:v>
                </c:pt>
                <c:pt idx="39">
                  <c:v>0.08108108108108109</c:v>
                </c:pt>
                <c:pt idx="40">
                  <c:v>0.07102272727272728</c:v>
                </c:pt>
                <c:pt idx="41">
                  <c:v>0.08928571428571429</c:v>
                </c:pt>
                <c:pt idx="42">
                  <c:v>0.08991825613079019</c:v>
                </c:pt>
                <c:pt idx="43">
                  <c:v>0.07423580786026202</c:v>
                </c:pt>
                <c:pt idx="44">
                  <c:v>0.07575757575757576</c:v>
                </c:pt>
                <c:pt idx="45">
                  <c:v>0.07945736434108527</c:v>
                </c:pt>
                <c:pt idx="46">
                  <c:v>0.07119205298013245</c:v>
                </c:pt>
                <c:pt idx="47">
                  <c:v>0.08146067415730338</c:v>
                </c:pt>
                <c:pt idx="48">
                  <c:v>0.06827309236947791</c:v>
                </c:pt>
                <c:pt idx="49">
                  <c:v>0.07531760435571688</c:v>
                </c:pt>
                <c:pt idx="50">
                  <c:v>0.09780334728033473</c:v>
                </c:pt>
                <c:pt idx="51">
                  <c:v>0.091676718938480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641575864875484</c:v>
                </c:pt>
              </c:numCache>
            </c:numRef>
          </c:xVal>
          <c:yVal>
            <c:numRef>
              <c:f>Sheet1!$B$163:$B$164</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641575864875484</c:v>
                </c:pt>
                <c:pt idx="1">
                  <c:v>-1.8641575864875484</c:v>
                </c:pt>
              </c:numCache>
            </c:numRef>
          </c:xVal>
          <c:yVal>
            <c:numRef>
              <c:f>Sheet1!$B$167:$B$168</c:f>
              <c:numCache>
                <c:formatCode>General</c:formatCode>
                <c:ptCount val="2"/>
                <c:pt idx="0">
                  <c:v>0.106426651979875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536643628567473</c:v>
                </c:pt>
              </c:numCache>
            </c:numRef>
          </c:xVal>
          <c:yVal>
            <c:numRef>
              <c:f>Sheet1!$B$171:$B$172</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536643628567473</c:v>
                </c:pt>
                <c:pt idx="1">
                  <c:v>-2.1536643628567473</c:v>
                </c:pt>
              </c:numCache>
            </c:numRef>
          </c:xVal>
          <c:yVal>
            <c:numRef>
              <c:f>Sheet1!$B$175:$B$176</c:f>
              <c:numCache>
                <c:formatCode>General</c:formatCode>
                <c:ptCount val="2"/>
                <c:pt idx="0">
                  <c:v>0.109013323993010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377727238832737</c:v>
                </c:pt>
              </c:numCache>
            </c:numRef>
          </c:xVal>
          <c:yVal>
            <c:numRef>
              <c:f>Sheet1!$B$179:$B$180</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377727238832737</c:v>
                </c:pt>
                <c:pt idx="1">
                  <c:v>1.0377727238832737</c:v>
                </c:pt>
              </c:numCache>
            </c:numRef>
          </c:xVal>
          <c:yVal>
            <c:numRef>
              <c:f>Sheet1!$B$183:$B$184</c:f>
              <c:numCache>
                <c:formatCode>General</c:formatCode>
                <c:ptCount val="2"/>
                <c:pt idx="0">
                  <c:v>0.080498616677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993104906262465</c:v>
                </c:pt>
                <c:pt idx="1">
                  <c:v>0.6988844727180308</c:v>
                </c:pt>
                <c:pt idx="2">
                  <c:v>0.7809961044343141</c:v>
                </c:pt>
                <c:pt idx="3">
                  <c:v>0.9180334280303031</c:v>
                </c:pt>
                <c:pt idx="4">
                  <c:v>0.8555718807358815</c:v>
                </c:pt>
                <c:pt idx="5">
                  <c:v>0.7775855017776303</c:v>
                </c:pt>
                <c:pt idx="6">
                  <c:v>0.9899448902346707</c:v>
                </c:pt>
                <c:pt idx="7">
                  <c:v>0.9840982805429864</c:v>
                </c:pt>
                <c:pt idx="8">
                  <c:v>0.8777867797397445</c:v>
                </c:pt>
                <c:pt idx="9">
                  <c:v>0.6499751126126126</c:v>
                </c:pt>
                <c:pt idx="10">
                  <c:v>1.0024335817623848</c:v>
                </c:pt>
                <c:pt idx="11">
                  <c:v>1.1647913276231263</c:v>
                </c:pt>
                <c:pt idx="12">
                  <c:v>0.6843380263984915</c:v>
                </c:pt>
                <c:pt idx="13">
                  <c:v>0.9354614371863569</c:v>
                </c:pt>
                <c:pt idx="14">
                  <c:v>0.8991554668794893</c:v>
                </c:pt>
                <c:pt idx="15">
                  <c:v>0.6332211942809083</c:v>
                </c:pt>
                <c:pt idx="16">
                  <c:v>0.8907233407904549</c:v>
                </c:pt>
                <c:pt idx="17">
                  <c:v>0.9967109381401065</c:v>
                </c:pt>
                <c:pt idx="18">
                  <c:v>0.9971067014147431</c:v>
                </c:pt>
                <c:pt idx="19">
                  <c:v>1.0278138636363636</c:v>
                </c:pt>
                <c:pt idx="20">
                  <c:v>0.9914202147352832</c:v>
                </c:pt>
                <c:pt idx="21">
                  <c:v>0.4330720274665703</c:v>
                </c:pt>
                <c:pt idx="22">
                  <c:v>0.7768792835417371</c:v>
                </c:pt>
                <c:pt idx="23">
                  <c:v>0.6912770222431467</c:v>
                </c:pt>
                <c:pt idx="24">
                  <c:v>0.343030638424821</c:v>
                </c:pt>
                <c:pt idx="25">
                  <c:v>1.2741759168704159</c:v>
                </c:pt>
                <c:pt idx="26">
                  <c:v>0.6815388072122053</c:v>
                </c:pt>
                <c:pt idx="27">
                  <c:v>1.1320628861226372</c:v>
                </c:pt>
                <c:pt idx="28">
                  <c:v>0.8951473721844833</c:v>
                </c:pt>
                <c:pt idx="29">
                  <c:v>0.9383899821109124</c:v>
                </c:pt>
                <c:pt idx="30">
                  <c:v>1.184477046852816</c:v>
                </c:pt>
                <c:pt idx="31">
                  <c:v>1.1918753880678012</c:v>
                </c:pt>
                <c:pt idx="32">
                  <c:v>0.9113151246983106</c:v>
                </c:pt>
                <c:pt idx="33">
                  <c:v>0.8086622424030736</c:v>
                </c:pt>
                <c:pt idx="34">
                  <c:v>1.0050881682734443</c:v>
                </c:pt>
                <c:pt idx="35">
                  <c:v>1.261827829099307</c:v>
                </c:pt>
                <c:pt idx="36">
                  <c:v>1.265701156677182</c:v>
                </c:pt>
                <c:pt idx="37">
                  <c:v>1.123860773480663</c:v>
                </c:pt>
                <c:pt idx="38">
                  <c:v>1.3989729622744969</c:v>
                </c:pt>
                <c:pt idx="39">
                  <c:v>1.0363111818543573</c:v>
                </c:pt>
                <c:pt idx="40">
                  <c:v>1.0890098330665448</c:v>
                </c:pt>
                <c:pt idx="41">
                  <c:v>1.0160043874172187</c:v>
                </c:pt>
                <c:pt idx="42">
                  <c:v>1.1246517823639774</c:v>
                </c:pt>
                <c:pt idx="43">
                  <c:v>1.008423149309912</c:v>
                </c:pt>
                <c:pt idx="44">
                  <c:v>0.6304144324324323</c:v>
                </c:pt>
                <c:pt idx="45">
                  <c:v>1.2056242520941365</c:v>
                </c:pt>
                <c:pt idx="46">
                  <c:v>0.9365088353413655</c:v>
                </c:pt>
                <c:pt idx="47">
                  <c:v>0.9237330002082031</c:v>
                </c:pt>
                <c:pt idx="48">
                  <c:v>0.7814532432517266</c:v>
                </c:pt>
                <c:pt idx="49">
                  <c:v>0.6279533351149187</c:v>
                </c:pt>
                <c:pt idx="50">
                  <c:v>0.7590364459266317</c:v>
                </c:pt>
                <c:pt idx="51">
                  <c:v>0.8518953058584365</c:v>
                </c:pt>
                <c:pt idx="52">
                  <c:v>-2.1536643628567473</c:v>
                </c:pt>
                <c:pt idx="53">
                  <c:v>-1.8641575864875484</c:v>
                </c:pt>
                <c:pt idx="54">
                  <c:v>1.0377727238832737</c:v>
                </c:pt>
              </c:numCache>
            </c:numRef>
          </c:xVal>
          <c:yVal>
            <c:numRef>
              <c:f>Sheet1!$B$187:$B$241</c:f>
              <c:numCache>
                <c:formatCode>General</c:formatCode>
                <c:ptCount val="55"/>
                <c:pt idx="0">
                  <c:v>0.08173574275863989</c:v>
                </c:pt>
                <c:pt idx="1">
                  <c:v>0.08352650005188639</c:v>
                </c:pt>
                <c:pt idx="2">
                  <c:v>0.0827928527695079</c:v>
                </c:pt>
                <c:pt idx="3">
                  <c:v>0.08156845790681658</c:v>
                </c:pt>
                <c:pt idx="4">
                  <c:v>0.08212653650625355</c:v>
                </c:pt>
                <c:pt idx="5">
                  <c:v>0.08282332566741589</c:v>
                </c:pt>
                <c:pt idx="6">
                  <c:v>0.08092594663630147</c:v>
                </c:pt>
                <c:pt idx="7">
                  <c:v>0.08097818465936564</c:v>
                </c:pt>
                <c:pt idx="8">
                  <c:v>0.08192805183432778</c:v>
                </c:pt>
                <c:pt idx="9">
                  <c:v>0.0839634931839702</c:v>
                </c:pt>
                <c:pt idx="10">
                  <c:v>0.08081436324174138</c:v>
                </c:pt>
                <c:pt idx="11">
                  <c:v>0.07936373661876307</c:v>
                </c:pt>
                <c:pt idx="12">
                  <c:v>0.0836564689806183</c:v>
                </c:pt>
                <c:pt idx="13">
                  <c:v>0.08141274292116406</c:v>
                </c:pt>
                <c:pt idx="14">
                  <c:v>0.08173712785778035</c:v>
                </c:pt>
                <c:pt idx="15">
                  <c:v>0.08411318533350289</c:v>
                </c:pt>
                <c:pt idx="16">
                  <c:v>0.08181246683546951</c:v>
                </c:pt>
                <c:pt idx="17">
                  <c:v>0.08086549365839188</c:v>
                </c:pt>
                <c:pt idx="18">
                  <c:v>0.08086195761063794</c:v>
                </c:pt>
                <c:pt idx="19">
                  <c:v>0.08058759665053318</c:v>
                </c:pt>
                <c:pt idx="20">
                  <c:v>0.08091276497387585</c:v>
                </c:pt>
                <c:pt idx="21">
                  <c:v>0.0859014690301541</c:v>
                </c:pt>
                <c:pt idx="22">
                  <c:v>0.08282963555407506</c:v>
                </c:pt>
                <c:pt idx="23">
                  <c:v>0.08359447075530649</c:v>
                </c:pt>
                <c:pt idx="24">
                  <c:v>0.08670596674858104</c:v>
                </c:pt>
                <c:pt idx="25">
                  <c:v>0.07838641215256997</c:v>
                </c:pt>
                <c:pt idx="26">
                  <c:v>0.08368147931722807</c:v>
                </c:pt>
                <c:pt idx="27">
                  <c:v>0.07965615721328106</c:v>
                </c:pt>
                <c:pt idx="28">
                  <c:v>0.08177293920044941</c:v>
                </c:pt>
                <c:pt idx="29">
                  <c:v>0.08138657709081439</c:v>
                </c:pt>
                <c:pt idx="30">
                  <c:v>0.07918784954755702</c:v>
                </c:pt>
                <c:pt idx="31">
                  <c:v>0.07912174718406682</c:v>
                </c:pt>
                <c:pt idx="32">
                  <c:v>0.08162848429867713</c:v>
                </c:pt>
                <c:pt idx="33">
                  <c:v>0.08254566261495318</c:v>
                </c:pt>
                <c:pt idx="34">
                  <c:v>0.08079064516259754</c:v>
                </c:pt>
                <c:pt idx="35">
                  <c:v>0.0784967392870635</c:v>
                </c:pt>
                <c:pt idx="36">
                  <c:v>0.07846213205551938</c:v>
                </c:pt>
                <c:pt idx="37">
                  <c:v>0.0797294410772571</c:v>
                </c:pt>
                <c:pt idx="38">
                  <c:v>0.0772713811722343</c:v>
                </c:pt>
                <c:pt idx="39">
                  <c:v>0.0805116751971674</c:v>
                </c:pt>
                <c:pt idx="40">
                  <c:v>0.08004082567878953</c:v>
                </c:pt>
                <c:pt idx="41">
                  <c:v>0.08069311142296427</c:v>
                </c:pt>
                <c:pt idx="42">
                  <c:v>0.07972237360696754</c:v>
                </c:pt>
                <c:pt idx="43">
                  <c:v>0.08076084792531156</c:v>
                </c:pt>
                <c:pt idx="44">
                  <c:v>0.08413826306194863</c:v>
                </c:pt>
                <c:pt idx="45">
                  <c:v>0.07899890445742896</c:v>
                </c:pt>
                <c:pt idx="46">
                  <c:v>0.0814033846756399</c:v>
                </c:pt>
                <c:pt idx="47">
                  <c:v>0.08151753362786077</c:v>
                </c:pt>
                <c:pt idx="48">
                  <c:v>0.08278876834633844</c:v>
                </c:pt>
                <c:pt idx="49">
                  <c:v>0.08416025236262288</c:v>
                </c:pt>
                <c:pt idx="50">
                  <c:v>0.08298905693022642</c:v>
                </c:pt>
                <c:pt idx="51">
                  <c:v>0.08215938580069479</c:v>
                </c:pt>
                <c:pt idx="52">
                  <c:v>0.10901332399301084</c:v>
                </c:pt>
                <c:pt idx="53">
                  <c:v>0.10642665197987508</c:v>
                </c:pt>
                <c:pt idx="54">
                  <c:v>0.08049861667774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4.0</c:v>
                </c:pt>
                <c:pt idx="1">
                  <c:v>864.4727</c:v>
                </c:pt>
                <c:pt idx="2">
                  <c:v>936.2542</c:v>
                </c:pt>
                <c:pt idx="3">
                  <c:v>944.6111</c:v>
                </c:pt>
                <c:pt idx="4">
                  <c:v>939.8596</c:v>
                </c:pt>
                <c:pt idx="5">
                  <c:v>916.9231</c:v>
                </c:pt>
                <c:pt idx="6">
                  <c:v>908.9452</c:v>
                </c:pt>
                <c:pt idx="7">
                  <c:v>915.3973</c:v>
                </c:pt>
                <c:pt idx="8">
                  <c:v>889.3978</c:v>
                </c:pt>
                <c:pt idx="9">
                  <c:v>874.9541</c:v>
                </c:pt>
                <c:pt idx="10">
                  <c:v>883.5962</c:v>
                </c:pt>
                <c:pt idx="11">
                  <c:v>918.5111</c:v>
                </c:pt>
                <c:pt idx="12">
                  <c:v>896.011</c:v>
                </c:pt>
                <c:pt idx="13">
                  <c:v>928.4769</c:v>
                </c:pt>
                <c:pt idx="14">
                  <c:v>929.625</c:v>
                </c:pt>
                <c:pt idx="15">
                  <c:v>921.5571</c:v>
                </c:pt>
                <c:pt idx="16">
                  <c:v>879.141</c:v>
                </c:pt>
                <c:pt idx="17">
                  <c:v>900.7018</c:v>
                </c:pt>
                <c:pt idx="18">
                  <c:v>939.759</c:v>
                </c:pt>
                <c:pt idx="19">
                  <c:v>964.4054</c:v>
                </c:pt>
                <c:pt idx="20">
                  <c:v>985.2093</c:v>
                </c:pt>
                <c:pt idx="21">
                  <c:v>960.641</c:v>
                </c:pt>
                <c:pt idx="22">
                  <c:v>973.6176</c:v>
                </c:pt>
                <c:pt idx="23">
                  <c:v>996.9412</c:v>
                </c:pt>
                <c:pt idx="24">
                  <c:v>983.0968</c:v>
                </c:pt>
                <c:pt idx="25">
                  <c:v>957.0741</c:v>
                </c:pt>
                <c:pt idx="26">
                  <c:v>941.7143</c:v>
                </c:pt>
                <c:pt idx="27">
                  <c:v>939.6316</c:v>
                </c:pt>
                <c:pt idx="28">
                  <c:v>991.0476</c:v>
                </c:pt>
                <c:pt idx="29">
                  <c:v>978.2353</c:v>
                </c:pt>
                <c:pt idx="30">
                  <c:v>906.5714</c:v>
                </c:pt>
                <c:pt idx="31">
                  <c:v>1122.9091</c:v>
                </c:pt>
                <c:pt idx="32">
                  <c:v>882.9167</c:v>
                </c:pt>
                <c:pt idx="33">
                  <c:v>852.5</c:v>
                </c:pt>
                <c:pt idx="34">
                  <c:v>909.8333</c:v>
                </c:pt>
                <c:pt idx="35">
                  <c:v>1000.6429</c:v>
                </c:pt>
                <c:pt idx="36">
                  <c:v>1105.4167</c:v>
                </c:pt>
                <c:pt idx="37">
                  <c:v>1234.5455</c:v>
                </c:pt>
                <c:pt idx="38">
                  <c:v>1174.875</c:v>
                </c:pt>
                <c:pt idx="39">
                  <c:v>1192.1111</c:v>
                </c:pt>
                <c:pt idx="40">
                  <c:v>1180.3846</c:v>
                </c:pt>
                <c:pt idx="41">
                  <c:v>1159.9474</c:v>
                </c:pt>
                <c:pt idx="42">
                  <c:v>1175.4375</c:v>
                </c:pt>
                <c:pt idx="43">
                  <c:v>1094.75</c:v>
                </c:pt>
                <c:pt idx="44">
                  <c:v>1121.4583</c:v>
                </c:pt>
                <c:pt idx="45">
                  <c:v>1015.1923</c:v>
                </c:pt>
                <c:pt idx="46">
                  <c:v>989.2763</c:v>
                </c:pt>
                <c:pt idx="47">
                  <c:v>968.6957</c:v>
                </c:pt>
                <c:pt idx="48">
                  <c:v>928.6262</c:v>
                </c:pt>
                <c:pt idx="49">
                  <c:v>947.813</c:v>
                </c:pt>
                <c:pt idx="50">
                  <c:v>916.0</c:v>
                </c:pt>
                <c:pt idx="51">
                  <c:v>969.411</c:v>
                </c:pt>
                <c:pt idx="52">
                  <c:v>979.2976</c:v>
                </c:pt>
                <c:pt idx="53">
                  <c:v>1122.0196</c:v>
                </c:pt>
                <c:pt idx="54">
                  <c:v>1105.0204</c:v>
                </c:pt>
                <c:pt idx="55">
                  <c:v>1131.2157</c:v>
                </c:pt>
                <c:pt idx="56">
                  <c:v>1139.4423</c:v>
                </c:pt>
                <c:pt idx="57">
                  <c:v>1125.8077</c:v>
                </c:pt>
                <c:pt idx="58">
                  <c:v>1087.413</c:v>
                </c:pt>
                <c:pt idx="59">
                  <c:v>1090.3509</c:v>
                </c:pt>
                <c:pt idx="60">
                  <c:v>1079.2111</c:v>
                </c:pt>
                <c:pt idx="61">
                  <c:v>1055.4314</c:v>
                </c:pt>
                <c:pt idx="62">
                  <c:v>1061.957</c:v>
                </c:pt>
                <c:pt idx="63">
                  <c:v>1044.2813</c:v>
                </c:pt>
                <c:pt idx="64">
                  <c:v>1060.8852</c:v>
                </c:pt>
                <c:pt idx="65">
                  <c:v>1014.5</c:v>
                </c:pt>
                <c:pt idx="66">
                  <c:v>1007.0682</c:v>
                </c:pt>
                <c:pt idx="67">
                  <c:v>1036.1892</c:v>
                </c:pt>
                <c:pt idx="68">
                  <c:v>1101.1522</c:v>
                </c:pt>
                <c:pt idx="69">
                  <c:v>1091.775</c:v>
                </c:pt>
                <c:pt idx="70">
                  <c:v>1096.4</c:v>
                </c:pt>
                <c:pt idx="71">
                  <c:v>1173.8372</c:v>
                </c:pt>
                <c:pt idx="72">
                  <c:v>1209.7436</c:v>
                </c:pt>
                <c:pt idx="73">
                  <c:v>1257.6154</c:v>
                </c:pt>
                <c:pt idx="74">
                  <c:v>1165.2778</c:v>
                </c:pt>
                <c:pt idx="75">
                  <c:v>1156.6452</c:v>
                </c:pt>
                <c:pt idx="76">
                  <c:v>1145.1667</c:v>
                </c:pt>
                <c:pt idx="77">
                  <c:v>1162.7273</c:v>
                </c:pt>
                <c:pt idx="78">
                  <c:v>1224.4118</c:v>
                </c:pt>
                <c:pt idx="79">
                  <c:v>1250.9048</c:v>
                </c:pt>
                <c:pt idx="80">
                  <c:v>1327.7692</c:v>
                </c:pt>
                <c:pt idx="81">
                  <c:v>1248.2222</c:v>
                </c:pt>
                <c:pt idx="82">
                  <c:v>1298.2778</c:v>
                </c:pt>
                <c:pt idx="83">
                  <c:v>1512.9</c:v>
                </c:pt>
                <c:pt idx="84">
                  <c:v>1268.9091</c:v>
                </c:pt>
                <c:pt idx="85">
                  <c:v>1243.3571</c:v>
                </c:pt>
                <c:pt idx="86">
                  <c:v>1204.0</c:v>
                </c:pt>
                <c:pt idx="87">
                  <c:v>1218.0</c:v>
                </c:pt>
                <c:pt idx="88">
                  <c:v>1152.5</c:v>
                </c:pt>
                <c:pt idx="89">
                  <c:v>1237.3333</c:v>
                </c:pt>
                <c:pt idx="90">
                  <c:v>1166.4375</c:v>
                </c:pt>
                <c:pt idx="91">
                  <c:v>1304.25</c:v>
                </c:pt>
                <c:pt idx="92">
                  <c:v>1131.6522</c:v>
                </c:pt>
                <c:pt idx="93">
                  <c:v>1172.8333</c:v>
                </c:pt>
                <c:pt idx="94">
                  <c:v>1285.5882</c:v>
                </c:pt>
                <c:pt idx="95">
                  <c:v>1162.3913</c:v>
                </c:pt>
                <c:pt idx="96">
                  <c:v>1139.4194</c:v>
                </c:pt>
                <c:pt idx="97">
                  <c:v>1184.8235</c:v>
                </c:pt>
                <c:pt idx="98">
                  <c:v>1106.5</c:v>
                </c:pt>
                <c:pt idx="99">
                  <c:v>1088.4713</c:v>
                </c:pt>
                <c:pt idx="100">
                  <c:v>1110.1318</c:v>
                </c:pt>
                <c:pt idx="101">
                  <c:v>1100.697</c:v>
                </c:pt>
                <c:pt idx="102">
                  <c:v>1151.0889</c:v>
                </c:pt>
                <c:pt idx="103">
                  <c:v>537.3243</c:v>
                </c:pt>
                <c:pt idx="104">
                  <c:v>675.8696</c:v>
                </c:pt>
              </c:numCache>
            </c:numRef>
          </c:xVal>
          <c:yVal>
            <c:numRef>
              <c:f>Sheet1!$B$2:$B$106</c:f>
              <c:numCache>
                <c:formatCode>General</c:formatCode>
                <c:ptCount val="105"/>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4938271604938271</c:v>
                </c:pt>
                <c:pt idx="33">
                  <c:v>0.03875968992248062</c:v>
                </c:pt>
                <c:pt idx="34">
                  <c:v>0.037383177570093455</c:v>
                </c:pt>
                <c:pt idx="35">
                  <c:v>0.0392156862745098</c:v>
                </c:pt>
                <c:pt idx="36">
                  <c:v>0.0379746835443038</c:v>
                </c:pt>
                <c:pt idx="37">
                  <c:v>0.03374233128834356</c:v>
                </c:pt>
                <c:pt idx="38">
                  <c:v>0.03065134099616858</c:v>
                </c:pt>
                <c:pt idx="39">
                  <c:v>0.03829787234042553</c:v>
                </c:pt>
                <c:pt idx="40">
                  <c:v>0.040498442367601244</c:v>
                </c:pt>
                <c:pt idx="41">
                  <c:v>0.059375</c:v>
                </c:pt>
                <c:pt idx="42">
                  <c:v>0.0486322188449848</c:v>
                </c:pt>
                <c:pt idx="43">
                  <c:v>0.039473684210526314</c:v>
                </c:pt>
                <c:pt idx="44">
                  <c:v>0.06153846153846154</c:v>
                </c:pt>
                <c:pt idx="45">
                  <c:v>0.08214849921011058</c:v>
                </c:pt>
                <c:pt idx="46">
                  <c:v>0.08626560726447219</c:v>
                </c:pt>
                <c:pt idx="47">
                  <c:v>0.08233890214797136</c:v>
                </c:pt>
                <c:pt idx="48">
                  <c:v>0.0924006908462867</c:v>
                </c:pt>
                <c:pt idx="49">
                  <c:v>0.10545621274644658</c:v>
                </c:pt>
                <c:pt idx="50">
                  <c:v>0.0967098703888335</c:v>
                </c:pt>
                <c:pt idx="51">
                  <c:v>0.08488372093023255</c:v>
                </c:pt>
                <c:pt idx="52">
                  <c:v>0.08926673751328375</c:v>
                </c:pt>
                <c:pt idx="53">
                  <c:v>0.07244318181818182</c:v>
                </c:pt>
                <c:pt idx="54">
                  <c:v>0.07060518731988473</c:v>
                </c:pt>
                <c:pt idx="55">
                  <c:v>0.07142857142857142</c:v>
                </c:pt>
                <c:pt idx="56">
                  <c:v>0.07514450867052024</c:v>
                </c:pt>
                <c:pt idx="57">
                  <c:v>0.06998654104979811</c:v>
                </c:pt>
                <c:pt idx="58">
                  <c:v>0.06182795698924731</c:v>
                </c:pt>
                <c:pt idx="59">
                  <c:v>0.06447963800904978</c:v>
                </c:pt>
                <c:pt idx="60">
                  <c:v>0.09278350515463918</c:v>
                </c:pt>
                <c:pt idx="61">
                  <c:v>0.1069182389937107</c:v>
                </c:pt>
                <c:pt idx="62">
                  <c:v>0.09779179810725552</c:v>
                </c:pt>
                <c:pt idx="63">
                  <c:v>0.12086874409820586</c:v>
                </c:pt>
                <c:pt idx="64">
                  <c:v>0.11101000909918107</c:v>
                </c:pt>
                <c:pt idx="65">
                  <c:v>0.09728718428437792</c:v>
                </c:pt>
                <c:pt idx="66">
                  <c:v>0.08051235132662397</c:v>
                </c:pt>
                <c:pt idx="67">
                  <c:v>0.08447488584474885</c:v>
                </c:pt>
                <c:pt idx="68">
                  <c:v>0.06580829756795423</c:v>
                </c:pt>
                <c:pt idx="69">
                  <c:v>0.057971014492753624</c:v>
                </c:pt>
                <c:pt idx="70">
                  <c:v>0.06493506493506493</c:v>
                </c:pt>
                <c:pt idx="71">
                  <c:v>0.07933579335793357</c:v>
                </c:pt>
                <c:pt idx="72">
                  <c:v>0.06701030927835051</c:v>
                </c:pt>
                <c:pt idx="73">
                  <c:v>0.05543710021321962</c:v>
                </c:pt>
                <c:pt idx="74">
                  <c:v>0.07317073170731707</c:v>
                </c:pt>
                <c:pt idx="75">
                  <c:v>0.06950672645739911</c:v>
                </c:pt>
                <c:pt idx="76">
                  <c:v>0.06607929515418502</c:v>
                </c:pt>
                <c:pt idx="77">
                  <c:v>0.060109289617486336</c:v>
                </c:pt>
                <c:pt idx="78">
                  <c:v>0.050746268656716415</c:v>
                </c:pt>
                <c:pt idx="79">
                  <c:v>0.05454545454545454</c:v>
                </c:pt>
                <c:pt idx="80">
                  <c:v>0.03724928366762178</c:v>
                </c:pt>
                <c:pt idx="81">
                  <c:v>0.04316546762589928</c:v>
                </c:pt>
                <c:pt idx="82">
                  <c:v>0.054380664652567974</c:v>
                </c:pt>
                <c:pt idx="83">
                  <c:v>0.03257328990228013</c:v>
                </c:pt>
                <c:pt idx="84">
                  <c:v>0.03503184713375796</c:v>
                </c:pt>
                <c:pt idx="85">
                  <c:v>0.04229607250755287</c:v>
                </c:pt>
                <c:pt idx="86">
                  <c:v>0.04473684210526316</c:v>
                </c:pt>
                <c:pt idx="87">
                  <c:v>0.0498812351543943</c:v>
                </c:pt>
                <c:pt idx="88">
                  <c:v>0.03858520900321544</c:v>
                </c:pt>
                <c:pt idx="89">
                  <c:v>0.044444444444444446</c:v>
                </c:pt>
                <c:pt idx="90">
                  <c:v>0.05555555555555555</c:v>
                </c:pt>
                <c:pt idx="91">
                  <c:v>0.041379310344827586</c:v>
                </c:pt>
                <c:pt idx="92">
                  <c:v>0.060209424083769635</c:v>
                </c:pt>
                <c:pt idx="93">
                  <c:v>0.05187319884726225</c:v>
                </c:pt>
                <c:pt idx="94">
                  <c:v>0.04885057471264368</c:v>
                </c:pt>
                <c:pt idx="95">
                  <c:v>0.045816733067729085</c:v>
                </c:pt>
                <c:pt idx="96">
                  <c:v>0.058712121212121215</c:v>
                </c:pt>
                <c:pt idx="97">
                  <c:v>0.059233449477351915</c:v>
                </c:pt>
                <c:pt idx="98">
                  <c:v>0.0697350069735007</c:v>
                </c:pt>
                <c:pt idx="99">
                  <c:v>0.08588351431391905</c:v>
                </c:pt>
                <c:pt idx="100">
                  <c:v>0.07899571341090018</c:v>
                </c:pt>
                <c:pt idx="101">
                  <c:v>0.0825</c:v>
                </c:pt>
                <c:pt idx="102">
                  <c:v>0.06838905775075987</c:v>
                </c:pt>
                <c:pt idx="103">
                  <c:v>0.1295215869311552</c:v>
                </c:pt>
                <c:pt idx="104">
                  <c:v>0.12201591511936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numCache>
            </c:numRef>
          </c:xVal>
          <c:yVal>
            <c:numRef>
              <c:f>Sheet1!$B$109:$B$160</c:f>
              <c:numCache>
                <c:formatCode>General</c:formatCode>
                <c:ptCount val="52"/>
                <c:pt idx="0">
                  <c:v>0.08192457737321196</c:v>
                </c:pt>
                <c:pt idx="1">
                  <c:v>0.1123076923076923</c:v>
                </c:pt>
                <c:pt idx="2">
                  <c:v>0.12545676004872108</c:v>
                </c:pt>
                <c:pt idx="3">
                  <c:v>0.12813738441215325</c:v>
                </c:pt>
                <c:pt idx="4">
                  <c:v>0.12242562929061784</c:v>
                </c:pt>
                <c:pt idx="5">
                  <c:v>0.11148272017837235</c:v>
                </c:pt>
                <c:pt idx="6">
                  <c:v>0.10291060291060292</c:v>
                </c:pt>
                <c:pt idx="7">
                  <c:v>0.10606060606060606</c:v>
                </c:pt>
                <c:pt idx="8">
                  <c:v>0.09041394335511982</c:v>
                </c:pt>
                <c:pt idx="9">
                  <c:v>0.09656453110492108</c:v>
                </c:pt>
                <c:pt idx="10">
                  <c:v>0.09683794466403162</c:v>
                </c:pt>
                <c:pt idx="11">
                  <c:v>0.08724279835390947</c:v>
                </c:pt>
                <c:pt idx="12">
                  <c:v>0.09865470852017937</c:v>
                </c:pt>
                <c:pt idx="13">
                  <c:v>0.07833163784333673</c:v>
                </c:pt>
                <c:pt idx="14">
                  <c:v>0.07378854625550661</c:v>
                </c:pt>
                <c:pt idx="15">
                  <c:v>0.07444168734491315</c:v>
                </c:pt>
                <c:pt idx="16">
                  <c:v>0.07342143906020558</c:v>
                </c:pt>
                <c:pt idx="17">
                  <c:v>0.05663430420711974</c:v>
                </c:pt>
                <c:pt idx="18">
                  <c:v>0.05902192242833052</c:v>
                </c:pt>
                <c:pt idx="19">
                  <c:v>0.05737704918032787</c:v>
                </c:pt>
                <c:pt idx="20">
                  <c:v>0.06005221932114883</c:v>
                </c:pt>
                <c:pt idx="21">
                  <c:v>0.07107843137254902</c:v>
                </c:pt>
                <c:pt idx="22">
                  <c:v>0.062360801781737196</c:v>
                </c:pt>
                <c:pt idx="23">
                  <c:v>0.07746478873239436</c:v>
                </c:pt>
                <c:pt idx="24">
                  <c:v>0.07209302325581396</c:v>
                </c:pt>
                <c:pt idx="25">
                  <c:v>0.06855791962174941</c:v>
                </c:pt>
                <c:pt idx="26">
                  <c:v>0.04935064935064935</c:v>
                </c:pt>
                <c:pt idx="27">
                  <c:v>0.0547112462006079</c:v>
                </c:pt>
                <c:pt idx="28">
                  <c:v>0.06646525679758308</c:v>
                </c:pt>
                <c:pt idx="29">
                  <c:v>0.06825938566552901</c:v>
                </c:pt>
                <c:pt idx="30">
                  <c:v>0.0706713780918728</c:v>
                </c:pt>
                <c:pt idx="31">
                  <c:v>0.07723577235772358</c:v>
                </c:pt>
                <c:pt idx="32">
                  <c:v>0.06854838709677419</c:v>
                </c:pt>
                <c:pt idx="33">
                  <c:v>0.08450704225352113</c:v>
                </c:pt>
                <c:pt idx="34">
                  <c:v>0.08977556109725686</c:v>
                </c:pt>
                <c:pt idx="35">
                  <c:v>0.09971509971509972</c:v>
                </c:pt>
                <c:pt idx="36">
                  <c:v>0.0830188679245283</c:v>
                </c:pt>
                <c:pt idx="37">
                  <c:v>0.06716417910447761</c:v>
                </c:pt>
                <c:pt idx="38">
                  <c:v>0.06859205776173286</c:v>
                </c:pt>
                <c:pt idx="39">
                  <c:v>0.08108108108108109</c:v>
                </c:pt>
                <c:pt idx="40">
                  <c:v>0.07102272727272728</c:v>
                </c:pt>
                <c:pt idx="41">
                  <c:v>0.08928571428571429</c:v>
                </c:pt>
                <c:pt idx="42">
                  <c:v>0.08991825613079019</c:v>
                </c:pt>
                <c:pt idx="43">
                  <c:v>0.07423580786026202</c:v>
                </c:pt>
                <c:pt idx="44">
                  <c:v>0.07575757575757576</c:v>
                </c:pt>
                <c:pt idx="45">
                  <c:v>0.07945736434108527</c:v>
                </c:pt>
                <c:pt idx="46">
                  <c:v>0.07119205298013245</c:v>
                </c:pt>
                <c:pt idx="47">
                  <c:v>0.08146067415730338</c:v>
                </c:pt>
                <c:pt idx="48">
                  <c:v>0.06827309236947791</c:v>
                </c:pt>
                <c:pt idx="49">
                  <c:v>0.07531760435571688</c:v>
                </c:pt>
                <c:pt idx="50">
                  <c:v>0.09780334728033473</c:v>
                </c:pt>
                <c:pt idx="51">
                  <c:v>0.091676718938480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4.7641125645739</c:v>
                </c:pt>
              </c:numCache>
            </c:numRef>
          </c:xVal>
          <c:yVal>
            <c:numRef>
              <c:f>Sheet1!$B$163:$B$164</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4.7641125645739</c:v>
                </c:pt>
                <c:pt idx="1">
                  <c:v>954.7641125645739</c:v>
                </c:pt>
              </c:numCache>
            </c:numRef>
          </c:xVal>
          <c:yVal>
            <c:numRef>
              <c:f>Sheet1!$B$167:$B$168</c:f>
              <c:numCache>
                <c:formatCode>General</c:formatCode>
                <c:ptCount val="2"/>
                <c:pt idx="0">
                  <c:v>0.106426651979875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33.9182748527312</c:v>
                </c:pt>
              </c:numCache>
            </c:numRef>
          </c:xVal>
          <c:yVal>
            <c:numRef>
              <c:f>Sheet1!$B$171:$B$172</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33.9182748527312</c:v>
                </c:pt>
                <c:pt idx="1">
                  <c:v>933.9182748527312</c:v>
                </c:pt>
              </c:numCache>
            </c:numRef>
          </c:xVal>
          <c:yVal>
            <c:numRef>
              <c:f>Sheet1!$B$175:$B$176</c:f>
              <c:numCache>
                <c:formatCode>General</c:formatCode>
                <c:ptCount val="2"/>
                <c:pt idx="0">
                  <c:v>0.109013323993010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63.7166250402145</c:v>
                </c:pt>
              </c:numCache>
            </c:numRef>
          </c:xVal>
          <c:yVal>
            <c:numRef>
              <c:f>Sheet1!$B$179:$B$180</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63.7166250402145</c:v>
                </c:pt>
                <c:pt idx="1">
                  <c:v>1163.7166250402145</c:v>
                </c:pt>
              </c:numCache>
            </c:numRef>
          </c:xVal>
          <c:yVal>
            <c:numRef>
              <c:f>Sheet1!$B$183:$B$184</c:f>
              <c:numCache>
                <c:formatCode>General</c:formatCode>
                <c:ptCount val="2"/>
                <c:pt idx="0">
                  <c:v>0.080498616677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pt idx="52">
                  <c:v>933.9182748527312</c:v>
                </c:pt>
                <c:pt idx="53">
                  <c:v>954.7641125645739</c:v>
                </c:pt>
                <c:pt idx="54">
                  <c:v>1163.7166250402145</c:v>
                </c:pt>
              </c:numCache>
            </c:numRef>
          </c:xVal>
          <c:yVal>
            <c:numRef>
              <c:f>Sheet1!$B$187:$B$241</c:f>
              <c:numCache>
                <c:formatCode>General</c:formatCode>
                <c:ptCount val="55"/>
                <c:pt idx="0">
                  <c:v>0.08501917639411599</c:v>
                </c:pt>
                <c:pt idx="1">
                  <c:v>0.10346012240981735</c:v>
                </c:pt>
                <c:pt idx="2">
                  <c:v>0.10797677031701294</c:v>
                </c:pt>
                <c:pt idx="3">
                  <c:v>0.10460517357062797</c:v>
                </c:pt>
                <c:pt idx="4">
                  <c:v>0.10192565284850692</c:v>
                </c:pt>
                <c:pt idx="5">
                  <c:v>0.10261772887277086</c:v>
                </c:pt>
                <c:pt idx="6">
                  <c:v>0.10319747004122992</c:v>
                </c:pt>
                <c:pt idx="7">
                  <c:v>0.08996487569965084</c:v>
                </c:pt>
                <c:pt idx="8">
                  <c:v>0.07683955351409</c:v>
                </c:pt>
                <c:pt idx="9">
                  <c:v>0.08166016194573011</c:v>
                </c:pt>
                <c:pt idx="10">
                  <c:v>0.08303506960371623</c:v>
                </c:pt>
                <c:pt idx="11">
                  <c:v>0.08990450796812641</c:v>
                </c:pt>
                <c:pt idx="12">
                  <c:v>0.08979696282339417</c:v>
                </c:pt>
                <c:pt idx="13">
                  <c:v>0.08042155010749005</c:v>
                </c:pt>
                <c:pt idx="14">
                  <c:v>0.08509907522726823</c:v>
                </c:pt>
                <c:pt idx="15">
                  <c:v>0.08476302612035258</c:v>
                </c:pt>
                <c:pt idx="16">
                  <c:v>0.07668380104418357</c:v>
                </c:pt>
                <c:pt idx="17">
                  <c:v>0.0739507248998098</c:v>
                </c:pt>
                <c:pt idx="18">
                  <c:v>0.05873425953081124</c:v>
                </c:pt>
                <c:pt idx="19">
                  <c:v>0.0565503498189302</c:v>
                </c:pt>
                <c:pt idx="20">
                  <c:v>0.05875923799814087</c:v>
                </c:pt>
                <c:pt idx="21">
                  <c:v>0.07620603356897585</c:v>
                </c:pt>
                <c:pt idx="22">
                  <c:v>0.08227598725874685</c:v>
                </c:pt>
                <c:pt idx="23">
                  <c:v>0.08076426262074254</c:v>
                </c:pt>
                <c:pt idx="24">
                  <c:v>0.08222066981843112</c:v>
                </c:pt>
                <c:pt idx="25">
                  <c:v>0.09556768365690371</c:v>
                </c:pt>
                <c:pt idx="26">
                  <c:v>0.07246318458014903</c:v>
                </c:pt>
                <c:pt idx="27">
                  <c:v>0.07255643504313078</c:v>
                </c:pt>
                <c:pt idx="28">
                  <c:v>0.06956083061594867</c:v>
                </c:pt>
                <c:pt idx="29">
                  <c:v>0.06217321003808307</c:v>
                </c:pt>
                <c:pt idx="30">
                  <c:v>0.06961835678313205</c:v>
                </c:pt>
                <c:pt idx="31">
                  <c:v>0.08272311795509865</c:v>
                </c:pt>
                <c:pt idx="32">
                  <c:v>0.08433931041051393</c:v>
                </c:pt>
                <c:pt idx="33">
                  <c:v>0.08125760286122533</c:v>
                </c:pt>
                <c:pt idx="34">
                  <c:v>0.08259703439497129</c:v>
                </c:pt>
                <c:pt idx="35">
                  <c:v>0.08930544664386394</c:v>
                </c:pt>
                <c:pt idx="36">
                  <c:v>0.07553950680662536</c:v>
                </c:pt>
                <c:pt idx="37">
                  <c:v>0.0608303289196786</c:v>
                </c:pt>
                <c:pt idx="38">
                  <c:v>0.060622795454160355</c:v>
                </c:pt>
                <c:pt idx="39">
                  <c:v>0.06332410563908858</c:v>
                </c:pt>
                <c:pt idx="40">
                  <c:v>0.07716773558261175</c:v>
                </c:pt>
                <c:pt idx="41">
                  <c:v>0.07260469200261657</c:v>
                </c:pt>
                <c:pt idx="42">
                  <c:v>0.07613549080356652</c:v>
                </c:pt>
                <c:pt idx="43">
                  <c:v>0.06533228507063066</c:v>
                </c:pt>
                <c:pt idx="44">
                  <c:v>0.08018218863963675</c:v>
                </c:pt>
                <c:pt idx="45">
                  <c:v>0.07487959381630002</c:v>
                </c:pt>
                <c:pt idx="46">
                  <c:v>0.08022105230564586</c:v>
                </c:pt>
                <c:pt idx="47">
                  <c:v>0.0872667793364009</c:v>
                </c:pt>
                <c:pt idx="48">
                  <c:v>0.08310088470094246</c:v>
                </c:pt>
                <c:pt idx="49">
                  <c:v>0.08695479046204962</c:v>
                </c:pt>
                <c:pt idx="50">
                  <c:v>0.10628191988623627</c:v>
                </c:pt>
                <c:pt idx="51">
                  <c:v>0.11050200278142075</c:v>
                </c:pt>
                <c:pt idx="52">
                  <c:v>0.10901332399301084</c:v>
                </c:pt>
                <c:pt idx="53">
                  <c:v>0.10642665197987508</c:v>
                </c:pt>
                <c:pt idx="54">
                  <c:v>0.0804986166777446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5.0"/>
          <c:min val="4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8</c:f>
              <c:numCache>
                <c:formatCode>General</c:formatCode>
                <c:ptCount val="137"/>
                <c:pt idx="0">
                  <c:v>0.0</c:v>
                </c:pt>
                <c:pt idx="1">
                  <c:v>0.0</c:v>
                </c:pt>
                <c:pt idx="2">
                  <c:v>0.1838315727469075</c:v>
                </c:pt>
                <c:pt idx="3">
                  <c:v>0.1479653978696742</c:v>
                </c:pt>
                <c:pt idx="4">
                  <c:v>0.0</c:v>
                </c:pt>
                <c:pt idx="5">
                  <c:v>0.3688347144006436</c:v>
                </c:pt>
                <c:pt idx="6">
                  <c:v>0.3096917206132879</c:v>
                </c:pt>
                <c:pt idx="7">
                  <c:v>0.3226638350370109</c:v>
                </c:pt>
                <c:pt idx="8">
                  <c:v>0.259602393461763</c:v>
                </c:pt>
                <c:pt idx="9">
                  <c:v>0.17576418240257133</c:v>
                </c:pt>
                <c:pt idx="10">
                  <c:v>0.0</c:v>
                </c:pt>
                <c:pt idx="11">
                  <c:v>0.2132105617455896</c:v>
                </c:pt>
                <c:pt idx="12">
                  <c:v>0.21028185871861066</c:v>
                </c:pt>
                <c:pt idx="13">
                  <c:v>0.0</c:v>
                </c:pt>
                <c:pt idx="14">
                  <c:v>0.19682934575481686</c:v>
                </c:pt>
                <c:pt idx="15">
                  <c:v>0.2704099471830986</c:v>
                </c:pt>
                <c:pt idx="16">
                  <c:v>0.3021103092783505</c:v>
                </c:pt>
                <c:pt idx="17">
                  <c:v>0.0</c:v>
                </c:pt>
                <c:pt idx="18">
                  <c:v>0.24158329048843188</c:v>
                </c:pt>
                <c:pt idx="19">
                  <c:v>0.0</c:v>
                </c:pt>
                <c:pt idx="20">
                  <c:v>0.33149707267833106</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3293878068303095</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4508631725787166</c:v>
                </c:pt>
                <c:pt idx="55">
                  <c:v>0.0</c:v>
                </c:pt>
                <c:pt idx="56">
                  <c:v>0.0</c:v>
                </c:pt>
                <c:pt idx="57">
                  <c:v>0.0</c:v>
                </c:pt>
                <c:pt idx="58">
                  <c:v>0.20361361344537812</c:v>
                </c:pt>
                <c:pt idx="59">
                  <c:v>0.19823862968405584</c:v>
                </c:pt>
                <c:pt idx="60">
                  <c:v>0.3878836457184858</c:v>
                </c:pt>
                <c:pt idx="61">
                  <c:v>0.23620040035587192</c:v>
                </c:pt>
                <c:pt idx="62">
                  <c:v>0.0</c:v>
                </c:pt>
                <c:pt idx="63">
                  <c:v>0.20822084396467125</c:v>
                </c:pt>
                <c:pt idx="64">
                  <c:v>0.21407469930365056</c:v>
                </c:pt>
                <c:pt idx="65">
                  <c:v>0.2709357546408394</c:v>
                </c:pt>
                <c:pt idx="66">
                  <c:v>0.0</c:v>
                </c:pt>
                <c:pt idx="67">
                  <c:v>0.3379841006752609</c:v>
                </c:pt>
                <c:pt idx="68">
                  <c:v>0.0</c:v>
                </c:pt>
                <c:pt idx="69">
                  <c:v>0.2757545271629779</c:v>
                </c:pt>
                <c:pt idx="70">
                  <c:v>0.0</c:v>
                </c:pt>
                <c:pt idx="71">
                  <c:v>0.0</c:v>
                </c:pt>
                <c:pt idx="72">
                  <c:v>0.0</c:v>
                </c:pt>
                <c:pt idx="73">
                  <c:v>0.0</c:v>
                </c:pt>
                <c:pt idx="74">
                  <c:v>0.376634711820254</c:v>
                </c:pt>
                <c:pt idx="75">
                  <c:v>0.0</c:v>
                </c:pt>
                <c:pt idx="76">
                  <c:v>0.0</c:v>
                </c:pt>
                <c:pt idx="77">
                  <c:v>0.0</c:v>
                </c:pt>
                <c:pt idx="78">
                  <c:v>0.0</c:v>
                </c:pt>
                <c:pt idx="79">
                  <c:v>0.32188344242424244</c:v>
                </c:pt>
                <c:pt idx="80">
                  <c:v>0.0</c:v>
                </c:pt>
                <c:pt idx="81">
                  <c:v>0.28010308522114347</c:v>
                </c:pt>
                <c:pt idx="82">
                  <c:v>0.0</c:v>
                </c:pt>
                <c:pt idx="83">
                  <c:v>0.0</c:v>
                </c:pt>
                <c:pt idx="84">
                  <c:v>0.0</c:v>
                </c:pt>
                <c:pt idx="85">
                  <c:v>0.24244865082561418</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28988596260205424</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numCache>
            </c:numRef>
          </c:xVal>
          <c:yVal>
            <c:numRef>
              <c:f>Sheet1!$B$2:$B$138</c:f>
              <c:numCache>
                <c:formatCode>General</c:formatCode>
                <c:ptCount val="137"/>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3875968992248062</c:v>
                </c:pt>
                <c:pt idx="33">
                  <c:v>0.037383177570093455</c:v>
                </c:pt>
                <c:pt idx="34">
                  <c:v>0.0392156862745098</c:v>
                </c:pt>
                <c:pt idx="35">
                  <c:v>0.0379746835443038</c:v>
                </c:pt>
                <c:pt idx="36">
                  <c:v>0.03374233128834356</c:v>
                </c:pt>
                <c:pt idx="37">
                  <c:v>0.03065134099616858</c:v>
                </c:pt>
                <c:pt idx="38">
                  <c:v>0.03829787234042553</c:v>
                </c:pt>
                <c:pt idx="39">
                  <c:v>0.040498442367601244</c:v>
                </c:pt>
                <c:pt idx="40">
                  <c:v>0.059375</c:v>
                </c:pt>
                <c:pt idx="41">
                  <c:v>0.0486322188449848</c:v>
                </c:pt>
                <c:pt idx="42">
                  <c:v>0.039473684210526314</c:v>
                </c:pt>
                <c:pt idx="43">
                  <c:v>0.06153846153846154</c:v>
                </c:pt>
                <c:pt idx="44">
                  <c:v>0.08214849921011058</c:v>
                </c:pt>
                <c:pt idx="45">
                  <c:v>0.08626560726447219</c:v>
                </c:pt>
                <c:pt idx="46">
                  <c:v>0.08233890214797136</c:v>
                </c:pt>
                <c:pt idx="47">
                  <c:v>0.0924006908462867</c:v>
                </c:pt>
                <c:pt idx="48">
                  <c:v>0.10545621274644658</c:v>
                </c:pt>
                <c:pt idx="49">
                  <c:v>0.0967098703888335</c:v>
                </c:pt>
                <c:pt idx="50">
                  <c:v>0.08488372093023255</c:v>
                </c:pt>
                <c:pt idx="51">
                  <c:v>0.08926673751328375</c:v>
                </c:pt>
                <c:pt idx="52">
                  <c:v>0.07244318181818182</c:v>
                </c:pt>
                <c:pt idx="53">
                  <c:v>0.07060518731988473</c:v>
                </c:pt>
                <c:pt idx="54">
                  <c:v>0.07142857142857142</c:v>
                </c:pt>
                <c:pt idx="55">
                  <c:v>0.07514450867052024</c:v>
                </c:pt>
                <c:pt idx="56">
                  <c:v>0.06998654104979811</c:v>
                </c:pt>
                <c:pt idx="57">
                  <c:v>0.06182795698924731</c:v>
                </c:pt>
                <c:pt idx="58">
                  <c:v>0.06447963800904978</c:v>
                </c:pt>
                <c:pt idx="59">
                  <c:v>0.09278350515463918</c:v>
                </c:pt>
                <c:pt idx="60">
                  <c:v>0.1069182389937107</c:v>
                </c:pt>
                <c:pt idx="61">
                  <c:v>0.09779179810725552</c:v>
                </c:pt>
                <c:pt idx="62">
                  <c:v>0.12086874409820586</c:v>
                </c:pt>
                <c:pt idx="63">
                  <c:v>0.11101000909918107</c:v>
                </c:pt>
                <c:pt idx="64">
                  <c:v>0.09728718428437792</c:v>
                </c:pt>
                <c:pt idx="65">
                  <c:v>0.08051235132662397</c:v>
                </c:pt>
                <c:pt idx="66">
                  <c:v>0.08447488584474885</c:v>
                </c:pt>
                <c:pt idx="67">
                  <c:v>0.06580829756795423</c:v>
                </c:pt>
                <c:pt idx="68">
                  <c:v>0.057971014492753624</c:v>
                </c:pt>
                <c:pt idx="69">
                  <c:v>0.06493506493506493</c:v>
                </c:pt>
                <c:pt idx="70">
                  <c:v>0.07933579335793357</c:v>
                </c:pt>
                <c:pt idx="71">
                  <c:v>0.06701030927835051</c:v>
                </c:pt>
                <c:pt idx="72">
                  <c:v>0.05543710021321962</c:v>
                </c:pt>
                <c:pt idx="73">
                  <c:v>0.07317073170731707</c:v>
                </c:pt>
                <c:pt idx="74">
                  <c:v>0.06950672645739911</c:v>
                </c:pt>
                <c:pt idx="75">
                  <c:v>0.06607929515418502</c:v>
                </c:pt>
                <c:pt idx="76">
                  <c:v>0.060109289617486336</c:v>
                </c:pt>
                <c:pt idx="77">
                  <c:v>0.050746268656716415</c:v>
                </c:pt>
                <c:pt idx="78">
                  <c:v>0.05454545454545454</c:v>
                </c:pt>
                <c:pt idx="79">
                  <c:v>0.03724928366762178</c:v>
                </c:pt>
                <c:pt idx="80">
                  <c:v>0.04316546762589928</c:v>
                </c:pt>
                <c:pt idx="81">
                  <c:v>0.054380664652567974</c:v>
                </c:pt>
                <c:pt idx="82">
                  <c:v>0.03257328990228013</c:v>
                </c:pt>
                <c:pt idx="83">
                  <c:v>0.03503184713375796</c:v>
                </c:pt>
                <c:pt idx="84">
                  <c:v>0.04229607250755287</c:v>
                </c:pt>
                <c:pt idx="85">
                  <c:v>0.04473684210526316</c:v>
                </c:pt>
                <c:pt idx="86">
                  <c:v>0.0498812351543943</c:v>
                </c:pt>
                <c:pt idx="87">
                  <c:v>0.03858520900321544</c:v>
                </c:pt>
                <c:pt idx="88">
                  <c:v>0.044444444444444446</c:v>
                </c:pt>
                <c:pt idx="89">
                  <c:v>0.05555555555555555</c:v>
                </c:pt>
                <c:pt idx="90">
                  <c:v>0.041379310344827586</c:v>
                </c:pt>
                <c:pt idx="91">
                  <c:v>0.060209424083769635</c:v>
                </c:pt>
                <c:pt idx="92">
                  <c:v>0.05187319884726225</c:v>
                </c:pt>
                <c:pt idx="93">
                  <c:v>0.04885057471264368</c:v>
                </c:pt>
                <c:pt idx="94">
                  <c:v>0.058712121212121215</c:v>
                </c:pt>
                <c:pt idx="95">
                  <c:v>0.059233449477351915</c:v>
                </c:pt>
                <c:pt idx="96">
                  <c:v>0.0697350069735007</c:v>
                </c:pt>
                <c:pt idx="97">
                  <c:v>0.08588351431391905</c:v>
                </c:pt>
                <c:pt idx="98">
                  <c:v>0.07899571341090018</c:v>
                </c:pt>
                <c:pt idx="99">
                  <c:v>0.0825</c:v>
                </c:pt>
                <c:pt idx="100">
                  <c:v>0.06838905775075987</c:v>
                </c:pt>
                <c:pt idx="101">
                  <c:v>0.1295215869311552</c:v>
                </c:pt>
                <c:pt idx="102">
                  <c:v>0.1220159151193634</c:v>
                </c:pt>
                <c:pt idx="103">
                  <c:v>0.08192457737321196</c:v>
                </c:pt>
                <c:pt idx="104">
                  <c:v>0.1123076923076923</c:v>
                </c:pt>
                <c:pt idx="105">
                  <c:v>0.12545676004872108</c:v>
                </c:pt>
                <c:pt idx="106">
                  <c:v>0.12813738441215325</c:v>
                </c:pt>
                <c:pt idx="107">
                  <c:v>0.12242562929061784</c:v>
                </c:pt>
                <c:pt idx="108">
                  <c:v>0.11148272017837235</c:v>
                </c:pt>
                <c:pt idx="109">
                  <c:v>0.10291060291060292</c:v>
                </c:pt>
                <c:pt idx="110">
                  <c:v>0.10606060606060606</c:v>
                </c:pt>
                <c:pt idx="111">
                  <c:v>0.07833163784333673</c:v>
                </c:pt>
                <c:pt idx="112">
                  <c:v>0.07342143906020558</c:v>
                </c:pt>
                <c:pt idx="113">
                  <c:v>0.05663430420711974</c:v>
                </c:pt>
                <c:pt idx="114">
                  <c:v>0.05737704918032787</c:v>
                </c:pt>
                <c:pt idx="115">
                  <c:v>0.07107843137254902</c:v>
                </c:pt>
                <c:pt idx="116">
                  <c:v>0.07746478873239436</c:v>
                </c:pt>
                <c:pt idx="117">
                  <c:v>0.07209302325581396</c:v>
                </c:pt>
                <c:pt idx="118">
                  <c:v>0.06855791962174941</c:v>
                </c:pt>
                <c:pt idx="119">
                  <c:v>0.04935064935064935</c:v>
                </c:pt>
                <c:pt idx="120">
                  <c:v>0.0547112462006079</c:v>
                </c:pt>
                <c:pt idx="121">
                  <c:v>0.06646525679758308</c:v>
                </c:pt>
                <c:pt idx="122">
                  <c:v>0.06825938566552901</c:v>
                </c:pt>
                <c:pt idx="123">
                  <c:v>0.07723577235772358</c:v>
                </c:pt>
                <c:pt idx="124">
                  <c:v>0.06854838709677419</c:v>
                </c:pt>
                <c:pt idx="125">
                  <c:v>0.09971509971509972</c:v>
                </c:pt>
                <c:pt idx="126">
                  <c:v>0.06859205776173286</c:v>
                </c:pt>
                <c:pt idx="127">
                  <c:v>0.08108108108108109</c:v>
                </c:pt>
                <c:pt idx="128">
                  <c:v>0.08928571428571429</c:v>
                </c:pt>
                <c:pt idx="129">
                  <c:v>0.08991825613079019</c:v>
                </c:pt>
                <c:pt idx="130">
                  <c:v>0.07423580786026202</c:v>
                </c:pt>
                <c:pt idx="131">
                  <c:v>0.07575757575757576</c:v>
                </c:pt>
                <c:pt idx="132">
                  <c:v>0.07945736434108527</c:v>
                </c:pt>
                <c:pt idx="133">
                  <c:v>0.07119205298013245</c:v>
                </c:pt>
                <c:pt idx="134">
                  <c:v>0.08146067415730338</c:v>
                </c:pt>
                <c:pt idx="135">
                  <c:v>0.06827309236947791</c:v>
                </c:pt>
                <c:pt idx="136">
                  <c:v>0.09167671893848009</c:v>
                </c:pt>
              </c:numCache>
            </c:numRef>
          </c:yVal>
          <c:smooth val="0"/>
          <c:extLst>
            <c:ext xmlns:c16="http://schemas.microsoft.com/office/drawing/2014/chart" uri="{C3380CC4-5D6E-409C-BE32-E72D297353CC}">
              <c16:uniqueId val="{00000000-096C-4121-9522-6AB7243CCAAE}"/>
            </c:ext>
          </c:extLst>
        </c:ser>
        <c:ser>
          <c:idx val="1"/>
          <c:order val="1"/>
          <c:tx>
            <c:strRef>
              <c:f>Sheet1!$B$14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1:$A$158</c:f>
              <c:numCache>
                <c:formatCode>General</c:formatCode>
                <c:ptCount val="18"/>
                <c:pt idx="0">
                  <c:v>0.27976665885111374</c:v>
                </c:pt>
                <c:pt idx="1">
                  <c:v>0.2134533653846154</c:v>
                </c:pt>
                <c:pt idx="2">
                  <c:v>0.17648587527014512</c:v>
                </c:pt>
                <c:pt idx="3">
                  <c:v>0.25049852636426434</c:v>
                </c:pt>
                <c:pt idx="4">
                  <c:v>0.27564096202531646</c:v>
                </c:pt>
                <c:pt idx="5">
                  <c:v>0.3471931587057011</c:v>
                </c:pt>
                <c:pt idx="6">
                  <c:v>0.25401484480431846</c:v>
                </c:pt>
                <c:pt idx="7">
                  <c:v>0.3219024759615384</c:v>
                </c:pt>
                <c:pt idx="8">
                  <c:v>0.4213067967275016</c:v>
                </c:pt>
                <c:pt idx="9">
                  <c:v>0.2975389334713953</c:v>
                </c:pt>
                <c:pt idx="10">
                  <c:v>0.4852268321054673</c:v>
                </c:pt>
                <c:pt idx="11">
                  <c:v>0.21248164464023495</c:v>
                </c:pt>
                <c:pt idx="12">
                  <c:v>0.45707676365085687</c:v>
                </c:pt>
                <c:pt idx="13">
                  <c:v>0.4837949356913184</c:v>
                </c:pt>
                <c:pt idx="14">
                  <c:v>0.49171521011528446</c:v>
                </c:pt>
                <c:pt idx="15">
                  <c:v>0.41267244367417677</c:v>
                </c:pt>
                <c:pt idx="16">
                  <c:v>0.3160894796701734</c:v>
                </c:pt>
                <c:pt idx="17">
                  <c:v>0.44721894736842105</c:v>
                </c:pt>
              </c:numCache>
            </c:numRef>
          </c:xVal>
          <c:yVal>
            <c:numRef>
              <c:f>Sheet1!$B$141:$B$158</c:f>
              <c:numCache>
                <c:formatCode>General</c:formatCode>
                <c:ptCount val="18"/>
                <c:pt idx="0">
                  <c:v>0.09041394335511982</c:v>
                </c:pt>
                <c:pt idx="1">
                  <c:v>0.09656453110492108</c:v>
                </c:pt>
                <c:pt idx="2">
                  <c:v>0.09683794466403162</c:v>
                </c:pt>
                <c:pt idx="3">
                  <c:v>0.08724279835390947</c:v>
                </c:pt>
                <c:pt idx="4">
                  <c:v>0.09865470852017937</c:v>
                </c:pt>
                <c:pt idx="5">
                  <c:v>0.07378854625550661</c:v>
                </c:pt>
                <c:pt idx="6">
                  <c:v>0.07444168734491315</c:v>
                </c:pt>
                <c:pt idx="7">
                  <c:v>0.05902192242833052</c:v>
                </c:pt>
                <c:pt idx="8">
                  <c:v>0.06005221932114883</c:v>
                </c:pt>
                <c:pt idx="9">
                  <c:v>0.062360801781737196</c:v>
                </c:pt>
                <c:pt idx="10">
                  <c:v>0.0706713780918728</c:v>
                </c:pt>
                <c:pt idx="11">
                  <c:v>0.08450704225352113</c:v>
                </c:pt>
                <c:pt idx="12">
                  <c:v>0.08977556109725686</c:v>
                </c:pt>
                <c:pt idx="13">
                  <c:v>0.0830188679245283</c:v>
                </c:pt>
                <c:pt idx="14">
                  <c:v>0.06716417910447761</c:v>
                </c:pt>
                <c:pt idx="15">
                  <c:v>0.07102272727272728</c:v>
                </c:pt>
                <c:pt idx="16">
                  <c:v>0.07531760435571688</c:v>
                </c:pt>
                <c:pt idx="17">
                  <c:v>0.09780334728033473</c:v>
                </c:pt>
              </c:numCache>
            </c:numRef>
          </c:yVal>
          <c:smooth val="0"/>
          <c:extLst>
            <c:ext xmlns:c16="http://schemas.microsoft.com/office/drawing/2014/chart" uri="{C3380CC4-5D6E-409C-BE32-E72D297353CC}">
              <c16:uniqueId val="{00000002-096C-4121-9522-6AB7243CCAAE}"/>
            </c:ext>
          </c:extLst>
        </c:ser>
        <c:ser>
          <c:idx val="2"/>
          <c:order val="2"/>
          <c:tx>
            <c:strRef>
              <c:f>Sheet1!$B$16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1:$A$162</c:f>
              <c:numCache>
                <c:formatCode>General</c:formatCode>
                <c:ptCount val="2"/>
                <c:pt idx="0">
                  <c:v>0</c:v>
                </c:pt>
                <c:pt idx="1">
                  <c:v>-0.2540804698217487</c:v>
                </c:pt>
              </c:numCache>
            </c:numRef>
          </c:xVal>
          <c:yVal>
            <c:numRef>
              <c:f>Sheet1!$B$161:$B$162</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5-096C-4121-9522-6AB7243CCAAE}"/>
            </c:ext>
          </c:extLst>
        </c:ser>
        <c:ser>
          <c:idx val="3"/>
          <c:order val="3"/>
          <c:tx>
            <c:strRef>
              <c:f>Sheet1!$B$16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5:$A$166</c:f>
              <c:numCache>
                <c:formatCode>General</c:formatCode>
                <c:ptCount val="2"/>
                <c:pt idx="0">
                  <c:v>-0.2540804698217487</c:v>
                </c:pt>
                <c:pt idx="1">
                  <c:v>-0.2540804698217487</c:v>
                </c:pt>
              </c:numCache>
            </c:numRef>
          </c:xVal>
          <c:yVal>
            <c:numRef>
              <c:f>Sheet1!$B$165:$B$166</c:f>
              <c:numCache>
                <c:formatCode>General</c:formatCode>
                <c:ptCount val="2"/>
                <c:pt idx="0">
                  <c:v>0.106426651979875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9:$A$170</c:f>
              <c:numCache>
                <c:formatCode>General</c:formatCode>
                <c:ptCount val="2"/>
                <c:pt idx="0">
                  <c:v>0</c:v>
                </c:pt>
                <c:pt idx="1">
                  <c:v>-0.31219696328269975</c:v>
                </c:pt>
              </c:numCache>
            </c:numRef>
          </c:xVal>
          <c:yVal>
            <c:numRef>
              <c:f>Sheet1!$B$169:$B$170</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D-096C-4121-9522-6AB7243CCAAE}"/>
            </c:ext>
          </c:extLst>
        </c:ser>
        <c:ser>
          <c:idx val="5"/>
          <c:order val="5"/>
          <c:tx>
            <c:strRef>
              <c:f>Sheet1!$B$17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3:$A$174</c:f>
              <c:numCache>
                <c:formatCode>General</c:formatCode>
                <c:ptCount val="2"/>
                <c:pt idx="0">
                  <c:v>-0.31219696328269975</c:v>
                </c:pt>
                <c:pt idx="1">
                  <c:v>-0.31219696328269975</c:v>
                </c:pt>
              </c:numCache>
            </c:numRef>
          </c:xVal>
          <c:yVal>
            <c:numRef>
              <c:f>Sheet1!$B$173:$B$174</c:f>
              <c:numCache>
                <c:formatCode>General</c:formatCode>
                <c:ptCount val="2"/>
                <c:pt idx="0">
                  <c:v>0.109013323993010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7:$A$178</c:f>
              <c:numCache>
                <c:formatCode>General</c:formatCode>
                <c:ptCount val="2"/>
                <c:pt idx="0">
                  <c:v>0</c:v>
                </c:pt>
                <c:pt idx="1">
                  <c:v>0.32846207381711684</c:v>
                </c:pt>
              </c:numCache>
            </c:numRef>
          </c:xVal>
          <c:yVal>
            <c:numRef>
              <c:f>Sheet1!$B$177:$B$178</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5-096C-4121-9522-6AB7243CCAAE}"/>
            </c:ext>
          </c:extLst>
        </c:ser>
        <c:ser>
          <c:idx val="7"/>
          <c:order val="7"/>
          <c:tx>
            <c:strRef>
              <c:f>Sheet1!$B$18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1:$A$182</c:f>
              <c:numCache>
                <c:formatCode>General</c:formatCode>
                <c:ptCount val="2"/>
                <c:pt idx="0">
                  <c:v>0.32846207381711684</c:v>
                </c:pt>
                <c:pt idx="1">
                  <c:v>0.32846207381711684</c:v>
                </c:pt>
              </c:numCache>
            </c:numRef>
          </c:xVal>
          <c:yVal>
            <c:numRef>
              <c:f>Sheet1!$B$181:$B$182</c:f>
              <c:numCache>
                <c:formatCode>General</c:formatCode>
                <c:ptCount val="2"/>
                <c:pt idx="0">
                  <c:v>0.08049861667774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5:$A$205</c:f>
              <c:numCache>
                <c:formatCode>General</c:formatCode>
                <c:ptCount val="21"/>
                <c:pt idx="0">
                  <c:v>0.27976665885111374</c:v>
                </c:pt>
                <c:pt idx="1">
                  <c:v>0.2134533653846154</c:v>
                </c:pt>
                <c:pt idx="2">
                  <c:v>0.17648587527014512</c:v>
                </c:pt>
                <c:pt idx="3">
                  <c:v>0.25049852636426434</c:v>
                </c:pt>
                <c:pt idx="4">
                  <c:v>0.27564096202531646</c:v>
                </c:pt>
                <c:pt idx="5">
                  <c:v>0.3471931587057011</c:v>
                </c:pt>
                <c:pt idx="6">
                  <c:v>0.25401484480431846</c:v>
                </c:pt>
                <c:pt idx="7">
                  <c:v>0.3219024759615384</c:v>
                </c:pt>
                <c:pt idx="8">
                  <c:v>0.4213067967275016</c:v>
                </c:pt>
                <c:pt idx="9">
                  <c:v>0.2975389334713953</c:v>
                </c:pt>
                <c:pt idx="10">
                  <c:v>0.4852268321054673</c:v>
                </c:pt>
                <c:pt idx="11">
                  <c:v>0.21248164464023495</c:v>
                </c:pt>
                <c:pt idx="12">
                  <c:v>0.45707676365085687</c:v>
                </c:pt>
                <c:pt idx="13">
                  <c:v>0.4837949356913184</c:v>
                </c:pt>
                <c:pt idx="14">
                  <c:v>0.49171521011528446</c:v>
                </c:pt>
                <c:pt idx="15">
                  <c:v>0.41267244367417677</c:v>
                </c:pt>
                <c:pt idx="16">
                  <c:v>0.3160894796701734</c:v>
                </c:pt>
                <c:pt idx="17">
                  <c:v>0.44721894736842105</c:v>
                </c:pt>
                <c:pt idx="18">
                  <c:v>-0.31219696328269975</c:v>
                </c:pt>
                <c:pt idx="19">
                  <c:v>-0.2540804698217487</c:v>
                </c:pt>
                <c:pt idx="20">
                  <c:v>0.32846207381711684</c:v>
                </c:pt>
              </c:numCache>
            </c:numRef>
          </c:xVal>
          <c:yVal>
            <c:numRef>
              <c:f>Sheet1!$B$185:$B$205</c:f>
              <c:numCache>
                <c:formatCode>General</c:formatCode>
                <c:ptCount val="21"/>
                <c:pt idx="0">
                  <c:v>0.0826659715809655</c:v>
                </c:pt>
                <c:pt idx="1">
                  <c:v>0.08561747002991964</c:v>
                </c:pt>
                <c:pt idx="2">
                  <c:v>0.08726283378778679</c:v>
                </c:pt>
                <c:pt idx="3">
                  <c:v>0.08396864926628303</c:v>
                </c:pt>
                <c:pt idx="4">
                  <c:v>0.08284959973673411</c:v>
                </c:pt>
                <c:pt idx="5">
                  <c:v>0.07966492609919103</c:v>
                </c:pt>
                <c:pt idx="6">
                  <c:v>0.08381214356615382</c:v>
                </c:pt>
                <c:pt idx="7">
                  <c:v>0.08079057386889649</c:v>
                </c:pt>
                <c:pt idx="8">
                  <c:v>0.07636624681133146</c:v>
                </c:pt>
                <c:pt idx="9">
                  <c:v>0.08187495611130484</c:v>
                </c:pt>
                <c:pt idx="10">
                  <c:v>0.07352126844556126</c:v>
                </c:pt>
                <c:pt idx="11">
                  <c:v>0.08566071976341846</c:v>
                </c:pt>
                <c:pt idx="12">
                  <c:v>0.07477418289209994</c:v>
                </c:pt>
                <c:pt idx="13">
                  <c:v>0.07358499986085522</c:v>
                </c:pt>
                <c:pt idx="14">
                  <c:v>0.07323248113564008</c:v>
                </c:pt>
                <c:pt idx="15">
                  <c:v>0.07675054803228477</c:v>
                </c:pt>
                <c:pt idx="16">
                  <c:v>0.08104930102058602</c:v>
                </c:pt>
                <c:pt idx="17">
                  <c:v>0.0752129385012205</c:v>
                </c:pt>
                <c:pt idx="18">
                  <c:v>0.10901332399301084</c:v>
                </c:pt>
                <c:pt idx="19">
                  <c:v>0.10642665197987508</c:v>
                </c:pt>
                <c:pt idx="20">
                  <c:v>0.08049861667774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4</c:f>
              <c:numCache>
                <c:formatCode>General</c:formatCode>
                <c:ptCount val="103"/>
                <c:pt idx="0">
                  <c:v>754.0</c:v>
                </c:pt>
                <c:pt idx="1">
                  <c:v>864.4727</c:v>
                </c:pt>
                <c:pt idx="2">
                  <c:v>936.2542</c:v>
                </c:pt>
                <c:pt idx="3">
                  <c:v>944.6111</c:v>
                </c:pt>
                <c:pt idx="4">
                  <c:v>939.8596</c:v>
                </c:pt>
                <c:pt idx="5">
                  <c:v>916.9231</c:v>
                </c:pt>
                <c:pt idx="6">
                  <c:v>908.9452</c:v>
                </c:pt>
                <c:pt idx="7">
                  <c:v>915.3973</c:v>
                </c:pt>
                <c:pt idx="8">
                  <c:v>889.3978</c:v>
                </c:pt>
                <c:pt idx="9">
                  <c:v>874.9541</c:v>
                </c:pt>
                <c:pt idx="10">
                  <c:v>883.5962</c:v>
                </c:pt>
                <c:pt idx="11">
                  <c:v>918.5111</c:v>
                </c:pt>
                <c:pt idx="12">
                  <c:v>896.011</c:v>
                </c:pt>
                <c:pt idx="13">
                  <c:v>928.4769</c:v>
                </c:pt>
                <c:pt idx="14">
                  <c:v>929.625</c:v>
                </c:pt>
                <c:pt idx="15">
                  <c:v>921.5571</c:v>
                </c:pt>
                <c:pt idx="16">
                  <c:v>879.141</c:v>
                </c:pt>
                <c:pt idx="17">
                  <c:v>900.7018</c:v>
                </c:pt>
                <c:pt idx="18">
                  <c:v>939.759</c:v>
                </c:pt>
                <c:pt idx="19">
                  <c:v>964.4054</c:v>
                </c:pt>
                <c:pt idx="20">
                  <c:v>985.2093</c:v>
                </c:pt>
                <c:pt idx="21">
                  <c:v>960.641</c:v>
                </c:pt>
                <c:pt idx="22">
                  <c:v>973.6176</c:v>
                </c:pt>
                <c:pt idx="23">
                  <c:v>996.9412</c:v>
                </c:pt>
                <c:pt idx="24">
                  <c:v>983.0968</c:v>
                </c:pt>
                <c:pt idx="25">
                  <c:v>957.0741</c:v>
                </c:pt>
                <c:pt idx="26">
                  <c:v>941.7143</c:v>
                </c:pt>
                <c:pt idx="27">
                  <c:v>939.6316</c:v>
                </c:pt>
                <c:pt idx="28">
                  <c:v>991.0476</c:v>
                </c:pt>
                <c:pt idx="29">
                  <c:v>978.2353</c:v>
                </c:pt>
                <c:pt idx="30">
                  <c:v>906.5714</c:v>
                </c:pt>
                <c:pt idx="31">
                  <c:v>1122.9091</c:v>
                </c:pt>
                <c:pt idx="32">
                  <c:v>852.5</c:v>
                </c:pt>
                <c:pt idx="33">
                  <c:v>909.8333</c:v>
                </c:pt>
                <c:pt idx="34">
                  <c:v>1000.6429</c:v>
                </c:pt>
                <c:pt idx="35">
                  <c:v>1105.4167</c:v>
                </c:pt>
                <c:pt idx="36">
                  <c:v>1234.5455</c:v>
                </c:pt>
                <c:pt idx="37">
                  <c:v>1174.875</c:v>
                </c:pt>
                <c:pt idx="38">
                  <c:v>1192.1111</c:v>
                </c:pt>
                <c:pt idx="39">
                  <c:v>1180.3846</c:v>
                </c:pt>
                <c:pt idx="40">
                  <c:v>1159.9474</c:v>
                </c:pt>
                <c:pt idx="41">
                  <c:v>1175.4375</c:v>
                </c:pt>
                <c:pt idx="42">
                  <c:v>1094.75</c:v>
                </c:pt>
                <c:pt idx="43">
                  <c:v>1121.4583</c:v>
                </c:pt>
                <c:pt idx="44">
                  <c:v>1015.1923</c:v>
                </c:pt>
                <c:pt idx="45">
                  <c:v>989.2763</c:v>
                </c:pt>
                <c:pt idx="46">
                  <c:v>968.6957</c:v>
                </c:pt>
                <c:pt idx="47">
                  <c:v>928.6262</c:v>
                </c:pt>
                <c:pt idx="48">
                  <c:v>947.813</c:v>
                </c:pt>
                <c:pt idx="49">
                  <c:v>916.0</c:v>
                </c:pt>
                <c:pt idx="50">
                  <c:v>969.411</c:v>
                </c:pt>
                <c:pt idx="51">
                  <c:v>979.2976</c:v>
                </c:pt>
                <c:pt idx="52">
                  <c:v>1122.0196</c:v>
                </c:pt>
                <c:pt idx="53">
                  <c:v>1105.0204</c:v>
                </c:pt>
                <c:pt idx="54">
                  <c:v>1131.2157</c:v>
                </c:pt>
                <c:pt idx="55">
                  <c:v>1139.4423</c:v>
                </c:pt>
                <c:pt idx="56">
                  <c:v>1125.8077</c:v>
                </c:pt>
                <c:pt idx="57">
                  <c:v>1087.413</c:v>
                </c:pt>
                <c:pt idx="58">
                  <c:v>1090.3509</c:v>
                </c:pt>
                <c:pt idx="59">
                  <c:v>1079.2111</c:v>
                </c:pt>
                <c:pt idx="60">
                  <c:v>1055.4314</c:v>
                </c:pt>
                <c:pt idx="61">
                  <c:v>1061.957</c:v>
                </c:pt>
                <c:pt idx="62">
                  <c:v>1044.2813</c:v>
                </c:pt>
                <c:pt idx="63">
                  <c:v>1060.8852</c:v>
                </c:pt>
                <c:pt idx="64">
                  <c:v>1014.5</c:v>
                </c:pt>
                <c:pt idx="65">
                  <c:v>1007.0682</c:v>
                </c:pt>
                <c:pt idx="66">
                  <c:v>1036.1892</c:v>
                </c:pt>
                <c:pt idx="67">
                  <c:v>1101.1522</c:v>
                </c:pt>
                <c:pt idx="68">
                  <c:v>1091.775</c:v>
                </c:pt>
                <c:pt idx="69">
                  <c:v>1096.4</c:v>
                </c:pt>
                <c:pt idx="70">
                  <c:v>1173.8372</c:v>
                </c:pt>
                <c:pt idx="71">
                  <c:v>1209.7436</c:v>
                </c:pt>
                <c:pt idx="72">
                  <c:v>1257.6154</c:v>
                </c:pt>
                <c:pt idx="73">
                  <c:v>1165.2778</c:v>
                </c:pt>
                <c:pt idx="74">
                  <c:v>1156.6452</c:v>
                </c:pt>
                <c:pt idx="75">
                  <c:v>1145.1667</c:v>
                </c:pt>
                <c:pt idx="76">
                  <c:v>1162.7273</c:v>
                </c:pt>
                <c:pt idx="77">
                  <c:v>1224.4118</c:v>
                </c:pt>
                <c:pt idx="78">
                  <c:v>1250.9048</c:v>
                </c:pt>
                <c:pt idx="79">
                  <c:v>1327.7692</c:v>
                </c:pt>
                <c:pt idx="80">
                  <c:v>1248.2222</c:v>
                </c:pt>
                <c:pt idx="81">
                  <c:v>1298.2778</c:v>
                </c:pt>
                <c:pt idx="82">
                  <c:v>1512.9</c:v>
                </c:pt>
                <c:pt idx="83">
                  <c:v>1268.9091</c:v>
                </c:pt>
                <c:pt idx="84">
                  <c:v>1243.3571</c:v>
                </c:pt>
                <c:pt idx="85">
                  <c:v>1204.0</c:v>
                </c:pt>
                <c:pt idx="86">
                  <c:v>1218.0</c:v>
                </c:pt>
                <c:pt idx="87">
                  <c:v>1152.5</c:v>
                </c:pt>
                <c:pt idx="88">
                  <c:v>1237.3333</c:v>
                </c:pt>
                <c:pt idx="89">
                  <c:v>1166.4375</c:v>
                </c:pt>
                <c:pt idx="90">
                  <c:v>1304.25</c:v>
                </c:pt>
                <c:pt idx="91">
                  <c:v>1131.6522</c:v>
                </c:pt>
                <c:pt idx="92">
                  <c:v>1172.8333</c:v>
                </c:pt>
                <c:pt idx="93">
                  <c:v>1285.5882</c:v>
                </c:pt>
                <c:pt idx="94">
                  <c:v>1139.4194</c:v>
                </c:pt>
                <c:pt idx="95">
                  <c:v>1184.8235</c:v>
                </c:pt>
                <c:pt idx="96">
                  <c:v>1106.5</c:v>
                </c:pt>
                <c:pt idx="97">
                  <c:v>1088.4713</c:v>
                </c:pt>
                <c:pt idx="98">
                  <c:v>1110.1318</c:v>
                </c:pt>
                <c:pt idx="99">
                  <c:v>1100.697</c:v>
                </c:pt>
                <c:pt idx="100">
                  <c:v>1151.0889</c:v>
                </c:pt>
                <c:pt idx="101">
                  <c:v>537.3243</c:v>
                </c:pt>
                <c:pt idx="102">
                  <c:v>675.8696</c:v>
                </c:pt>
              </c:numCache>
            </c:numRef>
          </c:xVal>
          <c:yVal>
            <c:numRef>
              <c:f>Sheet1!$B$2:$B$104</c:f>
              <c:numCache>
                <c:formatCode>General</c:formatCode>
                <c:ptCount val="103"/>
                <c:pt idx="0">
                  <c:v>0.1022167487684729</c:v>
                </c:pt>
                <c:pt idx="1">
                  <c:v>0.0859375</c:v>
                </c:pt>
                <c:pt idx="2">
                  <c:v>0.0959349593495935</c:v>
                </c:pt>
                <c:pt idx="3">
                  <c:v>0.10305343511450382</c:v>
                </c:pt>
                <c:pt idx="4">
                  <c:v>0.1102514506769826</c:v>
                </c:pt>
                <c:pt idx="5">
                  <c:v>0.10620915032679738</c:v>
                </c:pt>
                <c:pt idx="6">
                  <c:v>0.11532385466034756</c:v>
                </c:pt>
                <c:pt idx="7">
                  <c:v>0.10579710144927536</c:v>
                </c:pt>
                <c:pt idx="8">
                  <c:v>0.13098591549295774</c:v>
                </c:pt>
                <c:pt idx="9">
                  <c:v>0.11583421891604676</c:v>
                </c:pt>
                <c:pt idx="10">
                  <c:v>0.11087420042643924</c:v>
                </c:pt>
                <c:pt idx="11">
                  <c:v>0.10250569476082004</c:v>
                </c:pt>
                <c:pt idx="12">
                  <c:v>0.10236220472440945</c:v>
                </c:pt>
                <c:pt idx="13">
                  <c:v>0.07907542579075426</c:v>
                </c:pt>
                <c:pt idx="14">
                  <c:v>0.08633093525179857</c:v>
                </c:pt>
                <c:pt idx="15">
                  <c:v>0.10263929618768329</c:v>
                </c:pt>
                <c:pt idx="16">
                  <c:v>0.1400359066427289</c:v>
                </c:pt>
                <c:pt idx="17">
                  <c:v>0.11752577319587629</c:v>
                </c:pt>
                <c:pt idx="18">
                  <c:v>0.14716312056737588</c:v>
                </c:pt>
                <c:pt idx="19">
                  <c:v>0.09046454767726161</c:v>
                </c:pt>
                <c:pt idx="20">
                  <c:v>0.08847736625514403</c:v>
                </c:pt>
                <c:pt idx="21">
                  <c:v>0.0982367758186398</c:v>
                </c:pt>
                <c:pt idx="22">
                  <c:v>0.07555555555555556</c:v>
                </c:pt>
                <c:pt idx="23">
                  <c:v>0.08312958435207823</c:v>
                </c:pt>
                <c:pt idx="24">
                  <c:v>0.08516483516483517</c:v>
                </c:pt>
                <c:pt idx="25">
                  <c:v>0.07803468208092486</c:v>
                </c:pt>
                <c:pt idx="26">
                  <c:v>0.06666666666666667</c:v>
                </c:pt>
                <c:pt idx="27">
                  <c:v>0.0627062706270627</c:v>
                </c:pt>
                <c:pt idx="28">
                  <c:v>0.07526881720430108</c:v>
                </c:pt>
                <c:pt idx="29">
                  <c:v>0.06028368794326241</c:v>
                </c:pt>
                <c:pt idx="30">
                  <c:v>0.08108108108108109</c:v>
                </c:pt>
                <c:pt idx="31">
                  <c:v>0.043137254901960784</c:v>
                </c:pt>
                <c:pt idx="32">
                  <c:v>0.03875968992248062</c:v>
                </c:pt>
                <c:pt idx="33">
                  <c:v>0.037383177570093455</c:v>
                </c:pt>
                <c:pt idx="34">
                  <c:v>0.0392156862745098</c:v>
                </c:pt>
                <c:pt idx="35">
                  <c:v>0.0379746835443038</c:v>
                </c:pt>
                <c:pt idx="36">
                  <c:v>0.03374233128834356</c:v>
                </c:pt>
                <c:pt idx="37">
                  <c:v>0.03065134099616858</c:v>
                </c:pt>
                <c:pt idx="38">
                  <c:v>0.03829787234042553</c:v>
                </c:pt>
                <c:pt idx="39">
                  <c:v>0.040498442367601244</c:v>
                </c:pt>
                <c:pt idx="40">
                  <c:v>0.059375</c:v>
                </c:pt>
                <c:pt idx="41">
                  <c:v>0.0486322188449848</c:v>
                </c:pt>
                <c:pt idx="42">
                  <c:v>0.039473684210526314</c:v>
                </c:pt>
                <c:pt idx="43">
                  <c:v>0.06153846153846154</c:v>
                </c:pt>
                <c:pt idx="44">
                  <c:v>0.08214849921011058</c:v>
                </c:pt>
                <c:pt idx="45">
                  <c:v>0.08626560726447219</c:v>
                </c:pt>
                <c:pt idx="46">
                  <c:v>0.08233890214797136</c:v>
                </c:pt>
                <c:pt idx="47">
                  <c:v>0.0924006908462867</c:v>
                </c:pt>
                <c:pt idx="48">
                  <c:v>0.10545621274644658</c:v>
                </c:pt>
                <c:pt idx="49">
                  <c:v>0.0967098703888335</c:v>
                </c:pt>
                <c:pt idx="50">
                  <c:v>0.08488372093023255</c:v>
                </c:pt>
                <c:pt idx="51">
                  <c:v>0.08926673751328375</c:v>
                </c:pt>
                <c:pt idx="52">
                  <c:v>0.07244318181818182</c:v>
                </c:pt>
                <c:pt idx="53">
                  <c:v>0.07060518731988473</c:v>
                </c:pt>
                <c:pt idx="54">
                  <c:v>0.07142857142857142</c:v>
                </c:pt>
                <c:pt idx="55">
                  <c:v>0.07514450867052024</c:v>
                </c:pt>
                <c:pt idx="56">
                  <c:v>0.06998654104979811</c:v>
                </c:pt>
                <c:pt idx="57">
                  <c:v>0.06182795698924731</c:v>
                </c:pt>
                <c:pt idx="58">
                  <c:v>0.06447963800904978</c:v>
                </c:pt>
                <c:pt idx="59">
                  <c:v>0.09278350515463918</c:v>
                </c:pt>
                <c:pt idx="60">
                  <c:v>0.1069182389937107</c:v>
                </c:pt>
                <c:pt idx="61">
                  <c:v>0.09779179810725552</c:v>
                </c:pt>
                <c:pt idx="62">
                  <c:v>0.12086874409820586</c:v>
                </c:pt>
                <c:pt idx="63">
                  <c:v>0.11101000909918107</c:v>
                </c:pt>
                <c:pt idx="64">
                  <c:v>0.09728718428437792</c:v>
                </c:pt>
                <c:pt idx="65">
                  <c:v>0.08051235132662397</c:v>
                </c:pt>
                <c:pt idx="66">
                  <c:v>0.08447488584474885</c:v>
                </c:pt>
                <c:pt idx="67">
                  <c:v>0.06580829756795423</c:v>
                </c:pt>
                <c:pt idx="68">
                  <c:v>0.057971014492753624</c:v>
                </c:pt>
                <c:pt idx="69">
                  <c:v>0.06493506493506493</c:v>
                </c:pt>
                <c:pt idx="70">
                  <c:v>0.07933579335793357</c:v>
                </c:pt>
                <c:pt idx="71">
                  <c:v>0.06701030927835051</c:v>
                </c:pt>
                <c:pt idx="72">
                  <c:v>0.05543710021321962</c:v>
                </c:pt>
                <c:pt idx="73">
                  <c:v>0.07317073170731707</c:v>
                </c:pt>
                <c:pt idx="74">
                  <c:v>0.06950672645739911</c:v>
                </c:pt>
                <c:pt idx="75">
                  <c:v>0.06607929515418502</c:v>
                </c:pt>
                <c:pt idx="76">
                  <c:v>0.060109289617486336</c:v>
                </c:pt>
                <c:pt idx="77">
                  <c:v>0.050746268656716415</c:v>
                </c:pt>
                <c:pt idx="78">
                  <c:v>0.05454545454545454</c:v>
                </c:pt>
                <c:pt idx="79">
                  <c:v>0.03724928366762178</c:v>
                </c:pt>
                <c:pt idx="80">
                  <c:v>0.04316546762589928</c:v>
                </c:pt>
                <c:pt idx="81">
                  <c:v>0.054380664652567974</c:v>
                </c:pt>
                <c:pt idx="82">
                  <c:v>0.03257328990228013</c:v>
                </c:pt>
                <c:pt idx="83">
                  <c:v>0.03503184713375796</c:v>
                </c:pt>
                <c:pt idx="84">
                  <c:v>0.04229607250755287</c:v>
                </c:pt>
                <c:pt idx="85">
                  <c:v>0.04473684210526316</c:v>
                </c:pt>
                <c:pt idx="86">
                  <c:v>0.0498812351543943</c:v>
                </c:pt>
                <c:pt idx="87">
                  <c:v>0.03858520900321544</c:v>
                </c:pt>
                <c:pt idx="88">
                  <c:v>0.044444444444444446</c:v>
                </c:pt>
                <c:pt idx="89">
                  <c:v>0.05555555555555555</c:v>
                </c:pt>
                <c:pt idx="90">
                  <c:v>0.041379310344827586</c:v>
                </c:pt>
                <c:pt idx="91">
                  <c:v>0.060209424083769635</c:v>
                </c:pt>
                <c:pt idx="92">
                  <c:v>0.05187319884726225</c:v>
                </c:pt>
                <c:pt idx="93">
                  <c:v>0.04885057471264368</c:v>
                </c:pt>
                <c:pt idx="94">
                  <c:v>0.058712121212121215</c:v>
                </c:pt>
                <c:pt idx="95">
                  <c:v>0.059233449477351915</c:v>
                </c:pt>
                <c:pt idx="96">
                  <c:v>0.0697350069735007</c:v>
                </c:pt>
                <c:pt idx="97">
                  <c:v>0.08588351431391905</c:v>
                </c:pt>
                <c:pt idx="98">
                  <c:v>0.07899571341090018</c:v>
                </c:pt>
                <c:pt idx="99">
                  <c:v>0.0825</c:v>
                </c:pt>
                <c:pt idx="100">
                  <c:v>0.06838905775075987</c:v>
                </c:pt>
                <c:pt idx="101">
                  <c:v>0.1295215869311552</c:v>
                </c:pt>
                <c:pt idx="102">
                  <c:v>0.1220159151193634</c:v>
                </c:pt>
              </c:numCache>
            </c:numRef>
          </c:yVal>
          <c:smooth val="0"/>
          <c:extLst>
            <c:ext xmlns:c16="http://schemas.microsoft.com/office/drawing/2014/chart" uri="{C3380CC4-5D6E-409C-BE32-E72D297353CC}">
              <c16:uniqueId val="{00000000-F32D-48B7-BC20-E66FC6253BAD}"/>
            </c:ext>
          </c:extLst>
        </c:ser>
        <c:ser>
          <c:idx val="1"/>
          <c:order val="1"/>
          <c:tx>
            <c:strRef>
              <c:f>Sheet1!$B$10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7:$A$158</c:f>
              <c:numCache>
                <c:formatCode>General</c:formatCode>
                <c:ptCount val="52"/>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numCache>
            </c:numRef>
          </c:xVal>
          <c:yVal>
            <c:numRef>
              <c:f>Sheet1!$B$107:$B$158</c:f>
              <c:numCache>
                <c:formatCode>General</c:formatCode>
                <c:ptCount val="52"/>
                <c:pt idx="0">
                  <c:v>0.08192457737321196</c:v>
                </c:pt>
                <c:pt idx="1">
                  <c:v>0.1123076923076923</c:v>
                </c:pt>
                <c:pt idx="2">
                  <c:v>0.12545676004872108</c:v>
                </c:pt>
                <c:pt idx="3">
                  <c:v>0.12813738441215325</c:v>
                </c:pt>
                <c:pt idx="4">
                  <c:v>0.12242562929061784</c:v>
                </c:pt>
                <c:pt idx="5">
                  <c:v>0.11148272017837235</c:v>
                </c:pt>
                <c:pt idx="6">
                  <c:v>0.10291060291060292</c:v>
                </c:pt>
                <c:pt idx="7">
                  <c:v>0.10606060606060606</c:v>
                </c:pt>
                <c:pt idx="8">
                  <c:v>0.09041394335511982</c:v>
                </c:pt>
                <c:pt idx="9">
                  <c:v>0.09656453110492108</c:v>
                </c:pt>
                <c:pt idx="10">
                  <c:v>0.09683794466403162</c:v>
                </c:pt>
                <c:pt idx="11">
                  <c:v>0.08724279835390947</c:v>
                </c:pt>
                <c:pt idx="12">
                  <c:v>0.09865470852017937</c:v>
                </c:pt>
                <c:pt idx="13">
                  <c:v>0.07833163784333673</c:v>
                </c:pt>
                <c:pt idx="14">
                  <c:v>0.07378854625550661</c:v>
                </c:pt>
                <c:pt idx="15">
                  <c:v>0.07444168734491315</c:v>
                </c:pt>
                <c:pt idx="16">
                  <c:v>0.07342143906020558</c:v>
                </c:pt>
                <c:pt idx="17">
                  <c:v>0.05663430420711974</c:v>
                </c:pt>
                <c:pt idx="18">
                  <c:v>0.05902192242833052</c:v>
                </c:pt>
                <c:pt idx="19">
                  <c:v>0.05737704918032787</c:v>
                </c:pt>
                <c:pt idx="20">
                  <c:v>0.06005221932114883</c:v>
                </c:pt>
                <c:pt idx="21">
                  <c:v>0.07107843137254902</c:v>
                </c:pt>
                <c:pt idx="22">
                  <c:v>0.062360801781737196</c:v>
                </c:pt>
                <c:pt idx="23">
                  <c:v>0.07746478873239436</c:v>
                </c:pt>
                <c:pt idx="24">
                  <c:v>0.07209302325581396</c:v>
                </c:pt>
                <c:pt idx="25">
                  <c:v>0.06855791962174941</c:v>
                </c:pt>
                <c:pt idx="26">
                  <c:v>0.04935064935064935</c:v>
                </c:pt>
                <c:pt idx="27">
                  <c:v>0.0547112462006079</c:v>
                </c:pt>
                <c:pt idx="28">
                  <c:v>0.06646525679758308</c:v>
                </c:pt>
                <c:pt idx="29">
                  <c:v>0.06825938566552901</c:v>
                </c:pt>
                <c:pt idx="30">
                  <c:v>0.0706713780918728</c:v>
                </c:pt>
                <c:pt idx="31">
                  <c:v>0.07723577235772358</c:v>
                </c:pt>
                <c:pt idx="32">
                  <c:v>0.06854838709677419</c:v>
                </c:pt>
                <c:pt idx="33">
                  <c:v>0.08450704225352113</c:v>
                </c:pt>
                <c:pt idx="34">
                  <c:v>0.08977556109725686</c:v>
                </c:pt>
                <c:pt idx="35">
                  <c:v>0.09971509971509972</c:v>
                </c:pt>
                <c:pt idx="36">
                  <c:v>0.0830188679245283</c:v>
                </c:pt>
                <c:pt idx="37">
                  <c:v>0.06716417910447761</c:v>
                </c:pt>
                <c:pt idx="38">
                  <c:v>0.06859205776173286</c:v>
                </c:pt>
                <c:pt idx="39">
                  <c:v>0.08108108108108109</c:v>
                </c:pt>
                <c:pt idx="40">
                  <c:v>0.07102272727272728</c:v>
                </c:pt>
                <c:pt idx="41">
                  <c:v>0.08928571428571429</c:v>
                </c:pt>
                <c:pt idx="42">
                  <c:v>0.08991825613079019</c:v>
                </c:pt>
                <c:pt idx="43">
                  <c:v>0.07423580786026202</c:v>
                </c:pt>
                <c:pt idx="44">
                  <c:v>0.07575757575757576</c:v>
                </c:pt>
                <c:pt idx="45">
                  <c:v>0.07945736434108527</c:v>
                </c:pt>
                <c:pt idx="46">
                  <c:v>0.07119205298013245</c:v>
                </c:pt>
                <c:pt idx="47">
                  <c:v>0.08146067415730338</c:v>
                </c:pt>
                <c:pt idx="48">
                  <c:v>0.06827309236947791</c:v>
                </c:pt>
                <c:pt idx="49">
                  <c:v>0.07531760435571688</c:v>
                </c:pt>
                <c:pt idx="50">
                  <c:v>0.09780334728033473</c:v>
                </c:pt>
                <c:pt idx="51">
                  <c:v>0.09167671893848009</c:v>
                </c:pt>
              </c:numCache>
            </c:numRef>
          </c:yVal>
          <c:smooth val="0"/>
          <c:extLst>
            <c:ext xmlns:c16="http://schemas.microsoft.com/office/drawing/2014/chart" uri="{C3380CC4-5D6E-409C-BE32-E72D297353CC}">
              <c16:uniqueId val="{00000002-F32D-48B7-BC20-E66FC6253BAD}"/>
            </c:ext>
          </c:extLst>
        </c:ser>
        <c:ser>
          <c:idx val="2"/>
          <c:order val="2"/>
          <c:tx>
            <c:strRef>
              <c:f>Sheet1!$B$160</c:f>
              <c:strCache>
                <c:ptCount val="1"/>
                <c:pt idx="0">
                  <c:v>Custom Linep3yQ</c:v>
                </c:pt>
              </c:strCache>
            </c:strRef>
          </c:tx>
          <c:spPr>
            <a:ln w="19050" cap="rnd">
              <a:solidFill>
                <a:srgbClr val="C00000"/>
              </a:solidFill>
              <a:prstDash val="sysDot"/>
              <a:round/>
            </a:ln>
            <a:effectLst/>
          </c:spPr>
          <c:marker>
            <c:symbol val="none"/>
          </c:marker>
          <c:xVal>
            <c:numRef>
              <c:f>Sheet1!$A$161:$A$162</c:f>
              <c:numCache>
                <c:formatCode>General</c:formatCode>
                <c:ptCount val="2"/>
                <c:pt idx="0">
                  <c:v>0</c:v>
                </c:pt>
                <c:pt idx="1">
                  <c:v>954.7641125645739</c:v>
                </c:pt>
              </c:numCache>
            </c:numRef>
          </c:xVal>
          <c:yVal>
            <c:numRef>
              <c:f>Sheet1!$B$161:$B$162</c:f>
              <c:numCache>
                <c:formatCode>General</c:formatCode>
                <c:ptCount val="2"/>
                <c:pt idx="0">
                  <c:v>0.10642665197987508</c:v>
                </c:pt>
                <c:pt idx="1">
                  <c:v>0.10642665197987508</c:v>
                </c:pt>
              </c:numCache>
            </c:numRef>
          </c:yVal>
          <c:smooth val="0"/>
          <c:extLst>
            <c:ext xmlns:c16="http://schemas.microsoft.com/office/drawing/2014/chart" uri="{C3380CC4-5D6E-409C-BE32-E72D297353CC}">
              <c16:uniqueId val="{00000003-F32D-48B7-BC20-E66FC6253BAD}"/>
            </c:ext>
          </c:extLst>
        </c:ser>
        <c:ser>
          <c:idx val="3"/>
          <c:order val="3"/>
          <c:tx>
            <c:strRef>
              <c:f>Sheet1!$B$16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5:$A$166</c:f>
              <c:numCache>
                <c:formatCode>General</c:formatCode>
                <c:ptCount val="2"/>
                <c:pt idx="0">
                  <c:v>954.7641125645739</c:v>
                </c:pt>
                <c:pt idx="1">
                  <c:v>954.7641125645739</c:v>
                </c:pt>
              </c:numCache>
            </c:numRef>
          </c:xVal>
          <c:yVal>
            <c:numRef>
              <c:f>Sheet1!$B$165:$B$166</c:f>
              <c:numCache>
                <c:formatCode>General</c:formatCode>
                <c:ptCount val="2"/>
                <c:pt idx="0">
                  <c:v>0.106426651979875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9:$A$170</c:f>
              <c:numCache>
                <c:formatCode>General</c:formatCode>
                <c:ptCount val="2"/>
                <c:pt idx="0">
                  <c:v>0</c:v>
                </c:pt>
                <c:pt idx="1">
                  <c:v>933.9182748527312</c:v>
                </c:pt>
              </c:numCache>
            </c:numRef>
          </c:xVal>
          <c:yVal>
            <c:numRef>
              <c:f>Sheet1!$B$169:$B$170</c:f>
              <c:numCache>
                <c:formatCode>General</c:formatCode>
                <c:ptCount val="2"/>
                <c:pt idx="0">
                  <c:v>0.10901332399301084</c:v>
                </c:pt>
                <c:pt idx="1">
                  <c:v>0.10901332399301084</c:v>
                </c:pt>
              </c:numCache>
            </c:numRef>
          </c:yVal>
          <c:smooth val="0"/>
          <c:extLst>
            <c:ext xmlns:c16="http://schemas.microsoft.com/office/drawing/2014/chart" uri="{C3380CC4-5D6E-409C-BE32-E72D297353CC}">
              <c16:uniqueId val="{0000000A-F32D-48B7-BC20-E66FC6253BAD}"/>
            </c:ext>
          </c:extLst>
        </c:ser>
        <c:ser>
          <c:idx val="5"/>
          <c:order val="5"/>
          <c:tx>
            <c:strRef>
              <c:f>Sheet1!$B$17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3:$A$174</c:f>
              <c:numCache>
                <c:formatCode>General</c:formatCode>
                <c:ptCount val="2"/>
                <c:pt idx="0">
                  <c:v>933.9182748527312</c:v>
                </c:pt>
                <c:pt idx="1">
                  <c:v>933.9182748527312</c:v>
                </c:pt>
              </c:numCache>
            </c:numRef>
          </c:xVal>
          <c:yVal>
            <c:numRef>
              <c:f>Sheet1!$B$173:$B$174</c:f>
              <c:numCache>
                <c:formatCode>General</c:formatCode>
                <c:ptCount val="2"/>
                <c:pt idx="0">
                  <c:v>0.109013323993010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7:$A$178</c:f>
              <c:numCache>
                <c:formatCode>General</c:formatCode>
                <c:ptCount val="2"/>
                <c:pt idx="0">
                  <c:v>0</c:v>
                </c:pt>
                <c:pt idx="1">
                  <c:v>1163.7166250402145</c:v>
                </c:pt>
              </c:numCache>
            </c:numRef>
          </c:xVal>
          <c:yVal>
            <c:numRef>
              <c:f>Sheet1!$B$177:$B$178</c:f>
              <c:numCache>
                <c:formatCode>General</c:formatCode>
                <c:ptCount val="2"/>
                <c:pt idx="0">
                  <c:v>0.0804986166777447</c:v>
                </c:pt>
                <c:pt idx="1">
                  <c:v>0.0804986166777447</c:v>
                </c:pt>
              </c:numCache>
            </c:numRef>
          </c:yVal>
          <c:smooth val="0"/>
          <c:extLst>
            <c:ext xmlns:c16="http://schemas.microsoft.com/office/drawing/2014/chart" uri="{C3380CC4-5D6E-409C-BE32-E72D297353CC}">
              <c16:uniqueId val="{00000011-F32D-48B7-BC20-E66FC6253BAD}"/>
            </c:ext>
          </c:extLst>
        </c:ser>
        <c:ser>
          <c:idx val="7"/>
          <c:order val="7"/>
          <c:tx>
            <c:strRef>
              <c:f>Sheet1!$B$18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1:$A$182</c:f>
              <c:numCache>
                <c:formatCode>General</c:formatCode>
                <c:ptCount val="2"/>
                <c:pt idx="0">
                  <c:v>1163.7166250402145</c:v>
                </c:pt>
                <c:pt idx="1">
                  <c:v>1163.7166250402145</c:v>
                </c:pt>
              </c:numCache>
            </c:numRef>
          </c:xVal>
          <c:yVal>
            <c:numRef>
              <c:f>Sheet1!$B$181:$B$182</c:f>
              <c:numCache>
                <c:formatCode>General</c:formatCode>
                <c:ptCount val="2"/>
                <c:pt idx="0">
                  <c:v>0.08049861667774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5:$A$239</c:f>
              <c:numCache>
                <c:formatCode>General</c:formatCode>
                <c:ptCount val="55"/>
                <c:pt idx="0">
                  <c:v>1127.2857</c:v>
                </c:pt>
                <c:pt idx="1">
                  <c:v>978.6712</c:v>
                </c:pt>
                <c:pt idx="2">
                  <c:v>942.2718</c:v>
                </c:pt>
                <c:pt idx="3">
                  <c:v>969.4433</c:v>
                </c:pt>
                <c:pt idx="4">
                  <c:v>991.0374</c:v>
                </c:pt>
                <c:pt idx="5">
                  <c:v>985.46</c:v>
                </c:pt>
                <c:pt idx="6">
                  <c:v>980.7879</c:v>
                </c:pt>
                <c:pt idx="7">
                  <c:v>1087.4286</c:v>
                </c:pt>
                <c:pt idx="8">
                  <c:v>1193.2048</c:v>
                </c:pt>
                <c:pt idx="9">
                  <c:v>1154.3558</c:v>
                </c:pt>
                <c:pt idx="10">
                  <c:v>1143.2755</c:v>
                </c:pt>
                <c:pt idx="11">
                  <c:v>1087.9151</c:v>
                </c:pt>
                <c:pt idx="12">
                  <c:v>1088.7818</c:v>
                </c:pt>
                <c:pt idx="13">
                  <c:v>1164.3377</c:v>
                </c:pt>
                <c:pt idx="14">
                  <c:v>1126.6418</c:v>
                </c:pt>
                <c:pt idx="15">
                  <c:v>1129.35</c:v>
                </c:pt>
                <c:pt idx="16">
                  <c:v>1194.46</c:v>
                </c:pt>
                <c:pt idx="17">
                  <c:v>1216.4857</c:v>
                </c:pt>
                <c:pt idx="18">
                  <c:v>1339.1143</c:v>
                </c:pt>
                <c:pt idx="19">
                  <c:v>1356.7143</c:v>
                </c:pt>
                <c:pt idx="20">
                  <c:v>1338.913</c:v>
                </c:pt>
                <c:pt idx="21">
                  <c:v>1198.3103</c:v>
                </c:pt>
                <c:pt idx="22">
                  <c:v>1149.3929</c:v>
                </c:pt>
                <c:pt idx="23">
                  <c:v>1161.5758</c:v>
                </c:pt>
                <c:pt idx="24">
                  <c:v>1149.8387</c:v>
                </c:pt>
                <c:pt idx="25">
                  <c:v>1042.2759</c:v>
                </c:pt>
                <c:pt idx="26">
                  <c:v>1228.4737</c:v>
                </c:pt>
                <c:pt idx="27">
                  <c:v>1227.7222</c:v>
                </c:pt>
                <c:pt idx="28">
                  <c:v>1251.8636</c:v>
                </c:pt>
                <c:pt idx="29">
                  <c:v>1311.4</c:v>
                </c:pt>
                <c:pt idx="30">
                  <c:v>1251.4</c:v>
                </c:pt>
                <c:pt idx="31">
                  <c:v>1145.7895</c:v>
                </c:pt>
                <c:pt idx="32">
                  <c:v>1132.7647</c:v>
                </c:pt>
                <c:pt idx="33">
                  <c:v>1157.6</c:v>
                </c:pt>
                <c:pt idx="34">
                  <c:v>1146.8056</c:v>
                </c:pt>
                <c:pt idx="35">
                  <c:v>1092.7429</c:v>
                </c:pt>
                <c:pt idx="36">
                  <c:v>1203.6818</c:v>
                </c:pt>
                <c:pt idx="37">
                  <c:v>1322.2222</c:v>
                </c:pt>
                <c:pt idx="38">
                  <c:v>1323.8947</c:v>
                </c:pt>
                <c:pt idx="39">
                  <c:v>1302.125</c:v>
                </c:pt>
                <c:pt idx="40">
                  <c:v>1190.56</c:v>
                </c:pt>
                <c:pt idx="41">
                  <c:v>1227.3333</c:v>
                </c:pt>
                <c:pt idx="42">
                  <c:v>1198.8788</c:v>
                </c:pt>
                <c:pt idx="43">
                  <c:v>1285.9412</c:v>
                </c:pt>
                <c:pt idx="44">
                  <c:v>1166.2667</c:v>
                </c:pt>
                <c:pt idx="45">
                  <c:v>1209.0</c:v>
                </c:pt>
                <c:pt idx="46">
                  <c:v>1165.9535</c:v>
                </c:pt>
                <c:pt idx="47">
                  <c:v>1109.1724</c:v>
                </c:pt>
                <c:pt idx="48">
                  <c:v>1142.7451</c:v>
                </c:pt>
                <c:pt idx="49">
                  <c:v>1111.6867</c:v>
                </c:pt>
                <c:pt idx="50">
                  <c:v>955.9305</c:v>
                </c:pt>
                <c:pt idx="51">
                  <c:v>921.9211</c:v>
                </c:pt>
                <c:pt idx="52">
                  <c:v>933.9182748527312</c:v>
                </c:pt>
                <c:pt idx="53">
                  <c:v>954.7641125645739</c:v>
                </c:pt>
                <c:pt idx="54">
                  <c:v>1163.7166250402145</c:v>
                </c:pt>
              </c:numCache>
            </c:numRef>
          </c:xVal>
          <c:yVal>
            <c:numRef>
              <c:f>Sheet1!$B$185:$B$239</c:f>
              <c:numCache>
                <c:formatCode>General</c:formatCode>
                <c:ptCount val="55"/>
                <c:pt idx="0">
                  <c:v>0.08501917639411599</c:v>
                </c:pt>
                <c:pt idx="1">
                  <c:v>0.10346012240981735</c:v>
                </c:pt>
                <c:pt idx="2">
                  <c:v>0.10797677031701294</c:v>
                </c:pt>
                <c:pt idx="3">
                  <c:v>0.10460517357062797</c:v>
                </c:pt>
                <c:pt idx="4">
                  <c:v>0.10192565284850692</c:v>
                </c:pt>
                <c:pt idx="5">
                  <c:v>0.10261772887277086</c:v>
                </c:pt>
                <c:pt idx="6">
                  <c:v>0.10319747004122992</c:v>
                </c:pt>
                <c:pt idx="7">
                  <c:v>0.08996487569965084</c:v>
                </c:pt>
                <c:pt idx="8">
                  <c:v>0.07683955351409</c:v>
                </c:pt>
                <c:pt idx="9">
                  <c:v>0.08166016194573011</c:v>
                </c:pt>
                <c:pt idx="10">
                  <c:v>0.08303506960371623</c:v>
                </c:pt>
                <c:pt idx="11">
                  <c:v>0.08990450796812641</c:v>
                </c:pt>
                <c:pt idx="12">
                  <c:v>0.08979696282339417</c:v>
                </c:pt>
                <c:pt idx="13">
                  <c:v>0.08042155010749005</c:v>
                </c:pt>
                <c:pt idx="14">
                  <c:v>0.08509907522726823</c:v>
                </c:pt>
                <c:pt idx="15">
                  <c:v>0.08476302612035258</c:v>
                </c:pt>
                <c:pt idx="16">
                  <c:v>0.07668380104418357</c:v>
                </c:pt>
                <c:pt idx="17">
                  <c:v>0.0739507248998098</c:v>
                </c:pt>
                <c:pt idx="18">
                  <c:v>0.05873425953081124</c:v>
                </c:pt>
                <c:pt idx="19">
                  <c:v>0.0565503498189302</c:v>
                </c:pt>
                <c:pt idx="20">
                  <c:v>0.05875923799814087</c:v>
                </c:pt>
                <c:pt idx="21">
                  <c:v>0.07620603356897585</c:v>
                </c:pt>
                <c:pt idx="22">
                  <c:v>0.08227598725874685</c:v>
                </c:pt>
                <c:pt idx="23">
                  <c:v>0.08076426262074254</c:v>
                </c:pt>
                <c:pt idx="24">
                  <c:v>0.08222066981843112</c:v>
                </c:pt>
                <c:pt idx="25">
                  <c:v>0.09556768365690371</c:v>
                </c:pt>
                <c:pt idx="26">
                  <c:v>0.07246318458014903</c:v>
                </c:pt>
                <c:pt idx="27">
                  <c:v>0.07255643504313078</c:v>
                </c:pt>
                <c:pt idx="28">
                  <c:v>0.06956083061594867</c:v>
                </c:pt>
                <c:pt idx="29">
                  <c:v>0.06217321003808307</c:v>
                </c:pt>
                <c:pt idx="30">
                  <c:v>0.06961835678313205</c:v>
                </c:pt>
                <c:pt idx="31">
                  <c:v>0.08272311795509865</c:v>
                </c:pt>
                <c:pt idx="32">
                  <c:v>0.08433931041051393</c:v>
                </c:pt>
                <c:pt idx="33">
                  <c:v>0.08125760286122533</c:v>
                </c:pt>
                <c:pt idx="34">
                  <c:v>0.08259703439497129</c:v>
                </c:pt>
                <c:pt idx="35">
                  <c:v>0.08930544664386394</c:v>
                </c:pt>
                <c:pt idx="36">
                  <c:v>0.07553950680662536</c:v>
                </c:pt>
                <c:pt idx="37">
                  <c:v>0.0608303289196786</c:v>
                </c:pt>
                <c:pt idx="38">
                  <c:v>0.060622795454160355</c:v>
                </c:pt>
                <c:pt idx="39">
                  <c:v>0.06332410563908858</c:v>
                </c:pt>
                <c:pt idx="40">
                  <c:v>0.07716773558261175</c:v>
                </c:pt>
                <c:pt idx="41">
                  <c:v>0.07260469200261657</c:v>
                </c:pt>
                <c:pt idx="42">
                  <c:v>0.07613549080356652</c:v>
                </c:pt>
                <c:pt idx="43">
                  <c:v>0.06533228507063066</c:v>
                </c:pt>
                <c:pt idx="44">
                  <c:v>0.08018218863963675</c:v>
                </c:pt>
                <c:pt idx="45">
                  <c:v>0.07487959381630002</c:v>
                </c:pt>
                <c:pt idx="46">
                  <c:v>0.08022105230564586</c:v>
                </c:pt>
                <c:pt idx="47">
                  <c:v>0.0872667793364009</c:v>
                </c:pt>
                <c:pt idx="48">
                  <c:v>0.08310088470094246</c:v>
                </c:pt>
                <c:pt idx="49">
                  <c:v>0.08695479046204962</c:v>
                </c:pt>
                <c:pt idx="50">
                  <c:v>0.10628191988623627</c:v>
                </c:pt>
                <c:pt idx="51">
                  <c:v>0.11050200278142075</c:v>
                </c:pt>
                <c:pt idx="52">
                  <c:v>0.10901332399301084</c:v>
                </c:pt>
                <c:pt idx="53">
                  <c:v>0.10642665197987508</c:v>
                </c:pt>
                <c:pt idx="54">
                  <c:v>0.0804986166777446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5.0"/>
          <c:min val="4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7659574468085104"/>
          <c:min val="0.0245210727969348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5</c:f>
              <c:numCache>
                <c:formatCode>General</c:formatCode>
                <c:ptCount val="84"/>
                <c:pt idx="0">
                  <c:v>0.0</c:v>
                </c:pt>
                <c:pt idx="1">
                  <c:v>0.0</c:v>
                </c:pt>
                <c:pt idx="2">
                  <c:v>0.0</c:v>
                </c:pt>
                <c:pt idx="3">
                  <c:v>0.0</c:v>
                </c:pt>
                <c:pt idx="4">
                  <c:v>0.0</c:v>
                </c:pt>
                <c:pt idx="5">
                  <c:v>0.43454715219421103</c:v>
                </c:pt>
                <c:pt idx="6">
                  <c:v>0.0</c:v>
                </c:pt>
                <c:pt idx="7">
                  <c:v>0.7765527379639838</c:v>
                </c:pt>
                <c:pt idx="8">
                  <c:v>0.6310053380782918</c:v>
                </c:pt>
                <c:pt idx="9">
                  <c:v>0.0</c:v>
                </c:pt>
                <c:pt idx="10">
                  <c:v>0.46084396467124633</c:v>
                </c:pt>
                <c:pt idx="11">
                  <c:v>0.4756277695716396</c:v>
                </c:pt>
                <c:pt idx="12">
                  <c:v>0.5967177831584611</c:v>
                </c:pt>
                <c:pt idx="13">
                  <c:v>0.0</c:v>
                </c:pt>
                <c:pt idx="14">
                  <c:v>0.560159607120933</c:v>
                </c:pt>
                <c:pt idx="15">
                  <c:v>0.0</c:v>
                </c:pt>
                <c:pt idx="16">
                  <c:v>0.46830985915492956</c:v>
                </c:pt>
                <c:pt idx="17">
                  <c:v>0.0</c:v>
                </c:pt>
                <c:pt idx="18">
                  <c:v>0.0</c:v>
                </c:pt>
                <c:pt idx="19">
                  <c:v>0.0</c:v>
                </c:pt>
                <c:pt idx="20">
                  <c:v>0.0</c:v>
                </c:pt>
                <c:pt idx="21">
                  <c:v>1.4080104200586128</c:v>
                </c:pt>
                <c:pt idx="22">
                  <c:v>0.0</c:v>
                </c:pt>
                <c:pt idx="23">
                  <c:v>0.0</c:v>
                </c:pt>
                <c:pt idx="24">
                  <c:v>0.0</c:v>
                </c:pt>
                <c:pt idx="25">
                  <c:v>0.0</c:v>
                </c:pt>
                <c:pt idx="26">
                  <c:v>0.614949503030303</c:v>
                </c:pt>
                <c:pt idx="27">
                  <c:v>0.0</c:v>
                </c:pt>
                <c:pt idx="28">
                  <c:v>1.0433656957928803</c:v>
                </c:pt>
                <c:pt idx="29">
                  <c:v>0.0</c:v>
                </c:pt>
                <c:pt idx="30">
                  <c:v>0.0</c:v>
                </c:pt>
                <c:pt idx="31">
                  <c:v>0.0</c:v>
                </c:pt>
                <c:pt idx="32">
                  <c:v>0.7174788562223117</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8582903871477483</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numCache>
            </c:numRef>
          </c:xVal>
          <c:yVal>
            <c:numRef>
              <c:f>Sheet1!$B$2:$B$85</c:f>
              <c:numCache>
                <c:formatCode>General</c:formatCode>
                <c:ptCount val="84"/>
                <c:pt idx="0">
                  <c:v>0.0</c:v>
                </c:pt>
                <c:pt idx="1">
                  <c:v>0.0</c:v>
                </c:pt>
                <c:pt idx="2">
                  <c:v>0.0</c:v>
                </c:pt>
                <c:pt idx="3">
                  <c:v>0.0</c:v>
                </c:pt>
                <c:pt idx="4">
                  <c:v>0.0013440860215053765</c:v>
                </c:pt>
                <c:pt idx="5">
                  <c:v>0.0011312217194570137</c:v>
                </c:pt>
                <c:pt idx="6">
                  <c:v>0.0</c:v>
                </c:pt>
                <c:pt idx="7">
                  <c:v>0.0010482180293501049</c:v>
                </c:pt>
                <c:pt idx="8">
                  <c:v>0.0010515247108307045</c:v>
                </c:pt>
                <c:pt idx="9">
                  <c:v>0.0009442870632672333</c:v>
                </c:pt>
                <c:pt idx="10">
                  <c:v>0.0009099181073703367</c:v>
                </c:pt>
                <c:pt idx="11">
                  <c:v>0.0009354536950420954</c:v>
                </c:pt>
                <c:pt idx="12">
                  <c:v>0.0009149130832570906</c:v>
                </c:pt>
                <c:pt idx="13">
                  <c:v>0.00228310502283105</c:v>
                </c:pt>
                <c:pt idx="14">
                  <c:v>0.001430615164520744</c:v>
                </c:pt>
                <c:pt idx="15">
                  <c:v>0.002898550724637681</c:v>
                </c:pt>
                <c:pt idx="16">
                  <c:v>0.0016233766233766235</c:v>
                </c:pt>
                <c:pt idx="17">
                  <c:v>0.0018450184501845018</c:v>
                </c:pt>
                <c:pt idx="18">
                  <c:v>0.001718213058419244</c:v>
                </c:pt>
                <c:pt idx="19">
                  <c:v>0.006396588486140725</c:v>
                </c:pt>
                <c:pt idx="20">
                  <c:v>0.0040650406504065045</c:v>
                </c:pt>
                <c:pt idx="21">
                  <c:v>0.002242152466367713</c:v>
                </c:pt>
                <c:pt idx="22">
                  <c:v>0.011013215859030838</c:v>
                </c:pt>
                <c:pt idx="23">
                  <c:v>0.00273224043715847</c:v>
                </c:pt>
                <c:pt idx="24">
                  <c:v>0.01791044776119403</c:v>
                </c:pt>
                <c:pt idx="25">
                  <c:v>0.0025974025974025974</c:v>
                </c:pt>
                <c:pt idx="26">
                  <c:v>0.008595988538681949</c:v>
                </c:pt>
                <c:pt idx="27">
                  <c:v>0.014388489208633094</c:v>
                </c:pt>
                <c:pt idx="28">
                  <c:v>0.006042296072507553</c:v>
                </c:pt>
                <c:pt idx="29">
                  <c:v>0.009771986970684038</c:v>
                </c:pt>
                <c:pt idx="30">
                  <c:v>0.01592356687898089</c:v>
                </c:pt>
                <c:pt idx="31">
                  <c:v>0.015105740181268883</c:v>
                </c:pt>
                <c:pt idx="32">
                  <c:v>0.007894736842105263</c:v>
                </c:pt>
                <c:pt idx="33">
                  <c:v>0.007125890736342043</c:v>
                </c:pt>
                <c:pt idx="34">
                  <c:v>0.01929260450160772</c:v>
                </c:pt>
                <c:pt idx="35">
                  <c:v>0.014814814814814815</c:v>
                </c:pt>
                <c:pt idx="36">
                  <c:v>0.010416666666666666</c:v>
                </c:pt>
                <c:pt idx="37">
                  <c:v>0.027586206896551724</c:v>
                </c:pt>
                <c:pt idx="38">
                  <c:v>0.013089005235602094</c:v>
                </c:pt>
                <c:pt idx="39">
                  <c:v>0.011527377521613832</c:v>
                </c:pt>
                <c:pt idx="40">
                  <c:v>0.014367816091954023</c:v>
                </c:pt>
                <c:pt idx="41">
                  <c:v>0.00946969696969697</c:v>
                </c:pt>
                <c:pt idx="42">
                  <c:v>0.017421602787456445</c:v>
                </c:pt>
                <c:pt idx="43">
                  <c:v>0.019525801952580194</c:v>
                </c:pt>
                <c:pt idx="44">
                  <c:v>0.013820335636722606</c:v>
                </c:pt>
                <c:pt idx="45">
                  <c:v>0.010410287813839559</c:v>
                </c:pt>
                <c:pt idx="46">
                  <c:v>0.0175</c:v>
                </c:pt>
                <c:pt idx="47">
                  <c:v>0.0121580547112462</c:v>
                </c:pt>
                <c:pt idx="48">
                  <c:v>0.010501750291715286</c:v>
                </c:pt>
                <c:pt idx="49">
                  <c:v>0.009283819628647215</c:v>
                </c:pt>
                <c:pt idx="50">
                  <c:v>0.006501950585175552</c:v>
                </c:pt>
                <c:pt idx="51">
                  <c:v>0.012307692307692308</c:v>
                </c:pt>
                <c:pt idx="52">
                  <c:v>0.0097442143727162</c:v>
                </c:pt>
                <c:pt idx="53">
                  <c:v>0.010568031704095112</c:v>
                </c:pt>
                <c:pt idx="54">
                  <c:v>0.006864988558352402</c:v>
                </c:pt>
                <c:pt idx="55">
                  <c:v>0.006688963210702341</c:v>
                </c:pt>
                <c:pt idx="56">
                  <c:v>0.008316008316008316</c:v>
                </c:pt>
                <c:pt idx="57">
                  <c:v>0.00974025974025974</c:v>
                </c:pt>
                <c:pt idx="58">
                  <c:v>0.015259409969481181</c:v>
                </c:pt>
                <c:pt idx="59">
                  <c:v>0.010279001468428781</c:v>
                </c:pt>
                <c:pt idx="60">
                  <c:v>0.012944983818770227</c:v>
                </c:pt>
                <c:pt idx="61">
                  <c:v>0.010245901639344262</c:v>
                </c:pt>
                <c:pt idx="62">
                  <c:v>0.014705882352941176</c:v>
                </c:pt>
                <c:pt idx="63">
                  <c:v>0.011737089201877934</c:v>
                </c:pt>
                <c:pt idx="64">
                  <c:v>0.011627906976744186</c:v>
                </c:pt>
                <c:pt idx="65">
                  <c:v>0.01182033096926714</c:v>
                </c:pt>
                <c:pt idx="66">
                  <c:v>0.012987012987012988</c:v>
                </c:pt>
                <c:pt idx="67">
                  <c:v>0.015197568389057751</c:v>
                </c:pt>
                <c:pt idx="68">
                  <c:v>0.015105740181268883</c:v>
                </c:pt>
                <c:pt idx="69">
                  <c:v>0.020477815699658702</c:v>
                </c:pt>
                <c:pt idx="70">
                  <c:v>0.016260162601626018</c:v>
                </c:pt>
                <c:pt idx="71">
                  <c:v>0.020161290322580645</c:v>
                </c:pt>
                <c:pt idx="72">
                  <c:v>0.014245014245014245</c:v>
                </c:pt>
                <c:pt idx="73">
                  <c:v>0.021660649819494584</c:v>
                </c:pt>
                <c:pt idx="74">
                  <c:v>0.02027027027027027</c:v>
                </c:pt>
                <c:pt idx="75">
                  <c:v>0.017857142857142856</c:v>
                </c:pt>
                <c:pt idx="76">
                  <c:v>0.01634877384196185</c:v>
                </c:pt>
                <c:pt idx="77">
                  <c:v>0.015283842794759825</c:v>
                </c:pt>
                <c:pt idx="78">
                  <c:v>0.010101010101010102</c:v>
                </c:pt>
                <c:pt idx="79">
                  <c:v>0.009689922480620155</c:v>
                </c:pt>
                <c:pt idx="80">
                  <c:v>0.009933774834437087</c:v>
                </c:pt>
                <c:pt idx="81">
                  <c:v>0.008426966292134831</c:v>
                </c:pt>
                <c:pt idx="82">
                  <c:v>0.008032128514056224</c:v>
                </c:pt>
                <c:pt idx="83">
                  <c:v>0.007237635705669481</c:v>
                </c:pt>
              </c:numCache>
            </c:numRef>
          </c:yVal>
          <c:smooth val="0"/>
          <c:extLst>
            <c:ext xmlns:c16="http://schemas.microsoft.com/office/drawing/2014/chart" uri="{C3380CC4-5D6E-409C-BE32-E72D297353CC}">
              <c16:uniqueId val="{00000000-096C-4121-9522-6AB7243CCAAE}"/>
            </c:ext>
          </c:extLst>
        </c:ser>
        <c:ser>
          <c:idx val="1"/>
          <c:order val="1"/>
          <c:tx>
            <c:strRef>
              <c:f>Sheet1!$B$8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8:$A$105</c:f>
              <c:numCache>
                <c:formatCode>General</c:formatCode>
                <c:ptCount val="18"/>
                <c:pt idx="0">
                  <c:v>0.958987878077374</c:v>
                </c:pt>
                <c:pt idx="1">
                  <c:v>0.7270710059171598</c:v>
                </c:pt>
                <c:pt idx="2">
                  <c:v>0.6894720592775547</c:v>
                </c:pt>
                <c:pt idx="3">
                  <c:v>0.9223153119963159</c:v>
                </c:pt>
                <c:pt idx="4">
                  <c:v>0.9460548607594937</c:v>
                </c:pt>
                <c:pt idx="5">
                  <c:v>1.0240986132511556</c:v>
                </c:pt>
                <c:pt idx="6">
                  <c:v>0.759751934322987</c:v>
                </c:pt>
                <c:pt idx="7">
                  <c:v>1.1853365384615384</c:v>
                </c:pt>
                <c:pt idx="8">
                  <c:v>1.3507237256135936</c:v>
                </c:pt>
                <c:pt idx="9">
                  <c:v>1.3159720424540513</c:v>
                </c:pt>
                <c:pt idx="10">
                  <c:v>1.4007367196587825</c:v>
                </c:pt>
                <c:pt idx="11">
                  <c:v>0.7726994676945668</c:v>
                </c:pt>
                <c:pt idx="12">
                  <c:v>1.8583100836986848</c:v>
                </c:pt>
                <c:pt idx="13">
                  <c:v>1.5480975482315114</c:v>
                </c:pt>
                <c:pt idx="14">
                  <c:v>1.4266765712160654</c:v>
                </c:pt>
                <c:pt idx="15">
                  <c:v>1.517157712305026</c:v>
                </c:pt>
                <c:pt idx="16">
                  <c:v>1.112636593687802</c:v>
                </c:pt>
                <c:pt idx="17">
                  <c:v>1.9318830409356724</c:v>
                </c:pt>
              </c:numCache>
            </c:numRef>
          </c:xVal>
          <c:yVal>
            <c:numRef>
              <c:f>Sheet1!$B$88:$B$105</c:f>
              <c:numCache>
                <c:formatCode>General</c:formatCode>
                <c:ptCount val="18"/>
                <c:pt idx="0">
                  <c:v>0.013071895424836602</c:v>
                </c:pt>
                <c:pt idx="1">
                  <c:v>0.011142061281337047</c:v>
                </c:pt>
                <c:pt idx="2">
                  <c:v>0.009881422924901186</c:v>
                </c:pt>
                <c:pt idx="3">
                  <c:v>0.010699588477366255</c:v>
                </c:pt>
                <c:pt idx="4">
                  <c:v>0.010762331838565023</c:v>
                </c:pt>
                <c:pt idx="5">
                  <c:v>0.016519823788546256</c:v>
                </c:pt>
                <c:pt idx="6">
                  <c:v>0.017369727047146403</c:v>
                </c:pt>
                <c:pt idx="7">
                  <c:v>0.01011804384485666</c:v>
                </c:pt>
                <c:pt idx="8">
                  <c:v>0.013054830287206266</c:v>
                </c:pt>
                <c:pt idx="9">
                  <c:v>0.011135857461024499</c:v>
                </c:pt>
                <c:pt idx="10">
                  <c:v>0.014134275618374558</c:v>
                </c:pt>
                <c:pt idx="11">
                  <c:v>0.016901408450704224</c:v>
                </c:pt>
                <c:pt idx="12">
                  <c:v>0.014962593516209476</c:v>
                </c:pt>
                <c:pt idx="13">
                  <c:v>0.022641509433962263</c:v>
                </c:pt>
                <c:pt idx="14">
                  <c:v>0.022388059701492536</c:v>
                </c:pt>
                <c:pt idx="15">
                  <c:v>0.014204545454545454</c:v>
                </c:pt>
                <c:pt idx="16">
                  <c:v>0.006352087114337568</c:v>
                </c:pt>
                <c:pt idx="17">
                  <c:v>0.005230125523012552</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4.553380313494745</c:v>
                </c:pt>
              </c:numCache>
            </c:numRef>
          </c:xVal>
          <c:yVal>
            <c:numRef>
              <c:f>Sheet1!$B$108:$B$109</c:f>
              <c:numCache>
                <c:formatCode>General</c:formatCode>
                <c:ptCount val="2"/>
                <c:pt idx="0">
                  <c:v>0.015619344778988159</c:v>
                </c:pt>
                <c:pt idx="1">
                  <c:v>0.015619344778988159</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4.553380313494745</c:v>
                </c:pt>
                <c:pt idx="1">
                  <c:v>4.553380313494745</c:v>
                </c:pt>
              </c:numCache>
            </c:numRef>
          </c:xVal>
          <c:yVal>
            <c:numRef>
              <c:f>Sheet1!$B$112:$B$113</c:f>
              <c:numCache>
                <c:formatCode>General</c:formatCode>
                <c:ptCount val="2"/>
                <c:pt idx="0">
                  <c:v>0.01561934477898815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4.553380313494745</c:v>
                </c:pt>
              </c:numCache>
            </c:numRef>
          </c:xVal>
          <c:yVal>
            <c:numRef>
              <c:f>Sheet1!$B$116:$B$117</c:f>
              <c:numCache>
                <c:formatCode>General</c:formatCode>
                <c:ptCount val="2"/>
                <c:pt idx="0">
                  <c:v>0.015619344778988159</c:v>
                </c:pt>
                <c:pt idx="1">
                  <c:v>0.015619344778988159</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4.553380313494745</c:v>
                </c:pt>
                <c:pt idx="1">
                  <c:v>4.553380313494745</c:v>
                </c:pt>
              </c:numCache>
            </c:numRef>
          </c:xVal>
          <c:yVal>
            <c:numRef>
              <c:f>Sheet1!$B$120:$B$121</c:f>
              <c:numCache>
                <c:formatCode>General</c:formatCode>
                <c:ptCount val="2"/>
                <c:pt idx="0">
                  <c:v>0.0156193447789881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1.650684817086321</c:v>
                </c:pt>
              </c:numCache>
            </c:numRef>
          </c:xVal>
          <c:yVal>
            <c:numRef>
              <c:f>Sheet1!$B$124:$B$125</c:f>
              <c:numCache>
                <c:formatCode>General</c:formatCode>
                <c:ptCount val="2"/>
                <c:pt idx="0">
                  <c:v>0.011459094291073713</c:v>
                </c:pt>
                <c:pt idx="1">
                  <c:v>0.01145909429107371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1.650684817086321</c:v>
                </c:pt>
                <c:pt idx="1">
                  <c:v>-1.650684817086321</c:v>
                </c:pt>
              </c:numCache>
            </c:numRef>
          </c:xVal>
          <c:yVal>
            <c:numRef>
              <c:f>Sheet1!$B$128:$B$129</c:f>
              <c:numCache>
                <c:formatCode>General</c:formatCode>
                <c:ptCount val="2"/>
                <c:pt idx="0">
                  <c:v>0.0114590942910737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52</c:f>
              <c:numCache>
                <c:formatCode>General</c:formatCode>
                <c:ptCount val="21"/>
                <c:pt idx="0">
                  <c:v>0.958987878077374</c:v>
                </c:pt>
                <c:pt idx="1">
                  <c:v>0.7270710059171598</c:v>
                </c:pt>
                <c:pt idx="2">
                  <c:v>0.6894720592775547</c:v>
                </c:pt>
                <c:pt idx="3">
                  <c:v>0.9223153119963159</c:v>
                </c:pt>
                <c:pt idx="4">
                  <c:v>0.9460548607594937</c:v>
                </c:pt>
                <c:pt idx="5">
                  <c:v>1.0240986132511556</c:v>
                </c:pt>
                <c:pt idx="6">
                  <c:v>0.759751934322987</c:v>
                </c:pt>
                <c:pt idx="7">
                  <c:v>1.1853365384615384</c:v>
                </c:pt>
                <c:pt idx="8">
                  <c:v>1.3507237256135936</c:v>
                </c:pt>
                <c:pt idx="9">
                  <c:v>1.3159720424540513</c:v>
                </c:pt>
                <c:pt idx="10">
                  <c:v>1.4007367196587825</c:v>
                </c:pt>
                <c:pt idx="11">
                  <c:v>0.7726994676945668</c:v>
                </c:pt>
                <c:pt idx="12">
                  <c:v>1.8583100836986848</c:v>
                </c:pt>
                <c:pt idx="13">
                  <c:v>1.5480975482315114</c:v>
                </c:pt>
                <c:pt idx="14">
                  <c:v>1.4266765712160654</c:v>
                </c:pt>
                <c:pt idx="15">
                  <c:v>1.517157712305026</c:v>
                </c:pt>
                <c:pt idx="16">
                  <c:v>1.112636593687802</c:v>
                </c:pt>
                <c:pt idx="17">
                  <c:v>1.9318830409356724</c:v>
                </c:pt>
                <c:pt idx="18">
                  <c:v>4.553380313494745</c:v>
                </c:pt>
                <c:pt idx="19">
                  <c:v>4.553380313494745</c:v>
                </c:pt>
                <c:pt idx="20">
                  <c:v>-1.650684817086321</c:v>
                </c:pt>
              </c:numCache>
            </c:numRef>
          </c:xVal>
          <c:yVal>
            <c:numRef>
              <c:f>Sheet1!$B$132:$B$152</c:f>
              <c:numCache>
                <c:formatCode>General</c:formatCode>
                <c:ptCount val="21"/>
                <c:pt idx="0">
                  <c:v>0.013209058528205267</c:v>
                </c:pt>
                <c:pt idx="1">
                  <c:v>0.01305354238511962</c:v>
                </c:pt>
                <c:pt idx="2">
                  <c:v>0.013028329716843225</c:v>
                </c:pt>
                <c:pt idx="3">
                  <c:v>0.013184467061526466</c:v>
                </c:pt>
                <c:pt idx="4">
                  <c:v>0.013200386054516733</c:v>
                </c:pt>
                <c:pt idx="5">
                  <c:v>0.013252719734539157</c:v>
                </c:pt>
                <c:pt idx="6">
                  <c:v>0.013075457185413327</c:v>
                </c:pt>
                <c:pt idx="7">
                  <c:v>0.013360840804016708</c:v>
                </c:pt>
                <c:pt idx="8">
                  <c:v>0.013471744237743184</c:v>
                </c:pt>
                <c:pt idx="9">
                  <c:v>0.013448440854594014</c:v>
                </c:pt>
                <c:pt idx="10">
                  <c:v>0.013505281374845914</c:v>
                </c:pt>
                <c:pt idx="11">
                  <c:v>0.013084139393109841</c:v>
                </c:pt>
                <c:pt idx="12">
                  <c:v>0.013812115647365127</c:v>
                </c:pt>
                <c:pt idx="13">
                  <c:v>0.013604096900806028</c:v>
                </c:pt>
                <c:pt idx="14">
                  <c:v>0.013522675821523411</c:v>
                </c:pt>
                <c:pt idx="15">
                  <c:v>0.013583349622239482</c:v>
                </c:pt>
                <c:pt idx="16">
                  <c:v>0.013312090512981649</c:v>
                </c:pt>
                <c:pt idx="17">
                  <c:v>0.01386145135303555</c:v>
                </c:pt>
                <c:pt idx="18">
                  <c:v>0.015619344778988159</c:v>
                </c:pt>
                <c:pt idx="19">
                  <c:v>0.015619344778988159</c:v>
                </c:pt>
                <c:pt idx="20">
                  <c:v>0.0114590942910737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taph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103448275862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5064.2</c:v>
                </c:pt>
                <c:pt idx="42">
                  <c:v>3994.9</c:v>
                </c:pt>
                <c:pt idx="43">
                  <c:v>3549.5714</c:v>
                </c:pt>
                <c:pt idx="44">
                  <c:v>3867.7857</c:v>
                </c:pt>
                <c:pt idx="45">
                  <c:v>3951.8824</c:v>
                </c:pt>
                <c:pt idx="46">
                  <c:v>3258.9286</c:v>
                </c:pt>
                <c:pt idx="47">
                  <c:v>3554.125</c:v>
                </c:pt>
                <c:pt idx="48">
                  <c:v>3640.1111</c:v>
                </c:pt>
                <c:pt idx="49">
                  <c:v>4005.1429</c:v>
                </c:pt>
              </c:numCache>
            </c:numRef>
          </c:xVal>
          <c:yVal>
            <c:numRef>
              <c:f>Sheet1!$B$2:$B$51</c:f>
              <c:numCache>
                <c:formatCode>General</c:formatCode>
                <c:ptCount val="50"/>
                <c:pt idx="0">
                  <c:v>0.0</c:v>
                </c:pt>
                <c:pt idx="1">
                  <c:v>0.0</c:v>
                </c:pt>
                <c:pt idx="2">
                  <c:v>0.0</c:v>
                </c:pt>
                <c:pt idx="3">
                  <c:v>0.0</c:v>
                </c:pt>
                <c:pt idx="4">
                  <c:v>0.0013440860215053765</c:v>
                </c:pt>
                <c:pt idx="5">
                  <c:v>0.0011312217194570137</c:v>
                </c:pt>
                <c:pt idx="6">
                  <c:v>0.0</c:v>
                </c:pt>
                <c:pt idx="7">
                  <c:v>0.0010482180293501049</c:v>
                </c:pt>
                <c:pt idx="8">
                  <c:v>0.0010515247108307045</c:v>
                </c:pt>
                <c:pt idx="9">
                  <c:v>0.0009442870632672333</c:v>
                </c:pt>
                <c:pt idx="10">
                  <c:v>0.0009099181073703367</c:v>
                </c:pt>
                <c:pt idx="11">
                  <c:v>0.0009354536950420954</c:v>
                </c:pt>
                <c:pt idx="12">
                  <c:v>0.0009149130832570906</c:v>
                </c:pt>
                <c:pt idx="13">
                  <c:v>0.00228310502283105</c:v>
                </c:pt>
                <c:pt idx="14">
                  <c:v>0.001430615164520744</c:v>
                </c:pt>
                <c:pt idx="15">
                  <c:v>0.002898550724637681</c:v>
                </c:pt>
                <c:pt idx="16">
                  <c:v>0.0016233766233766235</c:v>
                </c:pt>
                <c:pt idx="17">
                  <c:v>0.0018450184501845018</c:v>
                </c:pt>
                <c:pt idx="18">
                  <c:v>0.001718213058419244</c:v>
                </c:pt>
                <c:pt idx="19">
                  <c:v>0.006396588486140725</c:v>
                </c:pt>
                <c:pt idx="20">
                  <c:v>0.0040650406504065045</c:v>
                </c:pt>
                <c:pt idx="21">
                  <c:v>0.002242152466367713</c:v>
                </c:pt>
                <c:pt idx="22">
                  <c:v>0.011013215859030838</c:v>
                </c:pt>
                <c:pt idx="23">
                  <c:v>0.00273224043715847</c:v>
                </c:pt>
                <c:pt idx="24">
                  <c:v>0.01791044776119403</c:v>
                </c:pt>
                <c:pt idx="25">
                  <c:v>0.0025974025974025974</c:v>
                </c:pt>
                <c:pt idx="26">
                  <c:v>0.008595988538681949</c:v>
                </c:pt>
                <c:pt idx="27">
                  <c:v>0.014388489208633094</c:v>
                </c:pt>
                <c:pt idx="28">
                  <c:v>0.006042296072507553</c:v>
                </c:pt>
                <c:pt idx="29">
                  <c:v>0.009771986970684038</c:v>
                </c:pt>
                <c:pt idx="30">
                  <c:v>0.01592356687898089</c:v>
                </c:pt>
                <c:pt idx="31">
                  <c:v>0.015105740181268883</c:v>
                </c:pt>
                <c:pt idx="32">
                  <c:v>0.007894736842105263</c:v>
                </c:pt>
                <c:pt idx="33">
                  <c:v>0.007125890736342043</c:v>
                </c:pt>
                <c:pt idx="34">
                  <c:v>0.01929260450160772</c:v>
                </c:pt>
                <c:pt idx="35">
                  <c:v>0.014814814814814815</c:v>
                </c:pt>
                <c:pt idx="36">
                  <c:v>0.010416666666666666</c:v>
                </c:pt>
                <c:pt idx="37">
                  <c:v>0.027586206896551724</c:v>
                </c:pt>
                <c:pt idx="38">
                  <c:v>0.013089005235602094</c:v>
                </c:pt>
                <c:pt idx="39">
                  <c:v>0.011527377521613832</c:v>
                </c:pt>
                <c:pt idx="40">
                  <c:v>0.014367816091954023</c:v>
                </c:pt>
                <c:pt idx="41">
                  <c:v>0.00946969696969697</c:v>
                </c:pt>
                <c:pt idx="42">
                  <c:v>0.017421602787456445</c:v>
                </c:pt>
                <c:pt idx="43">
                  <c:v>0.019525801952580194</c:v>
                </c:pt>
                <c:pt idx="44">
                  <c:v>0.013820335636722606</c:v>
                </c:pt>
                <c:pt idx="45">
                  <c:v>0.010410287813839559</c:v>
                </c:pt>
                <c:pt idx="46">
                  <c:v>0.0175</c:v>
                </c:pt>
                <c:pt idx="47">
                  <c:v>0.0121580547112462</c:v>
                </c:pt>
                <c:pt idx="48">
                  <c:v>0.010501750291715286</c:v>
                </c:pt>
                <c:pt idx="49">
                  <c:v>0.009283819628647215</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4:$B$105</c:f>
              <c:numCache>
                <c:formatCode>General</c:formatCode>
                <c:ptCount val="52"/>
                <c:pt idx="0">
                  <c:v>0.006501950585175552</c:v>
                </c:pt>
                <c:pt idx="1">
                  <c:v>0.012307692307692308</c:v>
                </c:pt>
                <c:pt idx="2">
                  <c:v>0.0097442143727162</c:v>
                </c:pt>
                <c:pt idx="3">
                  <c:v>0.010568031704095112</c:v>
                </c:pt>
                <c:pt idx="4">
                  <c:v>0.006864988558352402</c:v>
                </c:pt>
                <c:pt idx="5">
                  <c:v>0.006688963210702341</c:v>
                </c:pt>
                <c:pt idx="6">
                  <c:v>0.008316008316008316</c:v>
                </c:pt>
                <c:pt idx="7">
                  <c:v>0.00974025974025974</c:v>
                </c:pt>
                <c:pt idx="8">
                  <c:v>0.013071895424836602</c:v>
                </c:pt>
                <c:pt idx="9">
                  <c:v>0.011142061281337047</c:v>
                </c:pt>
                <c:pt idx="10">
                  <c:v>0.009881422924901186</c:v>
                </c:pt>
                <c:pt idx="11">
                  <c:v>0.010699588477366255</c:v>
                </c:pt>
                <c:pt idx="12">
                  <c:v>0.010762331838565023</c:v>
                </c:pt>
                <c:pt idx="13">
                  <c:v>0.015259409969481181</c:v>
                </c:pt>
                <c:pt idx="14">
                  <c:v>0.016519823788546256</c:v>
                </c:pt>
                <c:pt idx="15">
                  <c:v>0.017369727047146403</c:v>
                </c:pt>
                <c:pt idx="16">
                  <c:v>0.010279001468428781</c:v>
                </c:pt>
                <c:pt idx="17">
                  <c:v>0.012944983818770227</c:v>
                </c:pt>
                <c:pt idx="18">
                  <c:v>0.01011804384485666</c:v>
                </c:pt>
                <c:pt idx="19">
                  <c:v>0.010245901639344262</c:v>
                </c:pt>
                <c:pt idx="20">
                  <c:v>0.013054830287206266</c:v>
                </c:pt>
                <c:pt idx="21">
                  <c:v>0.014705882352941176</c:v>
                </c:pt>
                <c:pt idx="22">
                  <c:v>0.011135857461024499</c:v>
                </c:pt>
                <c:pt idx="23">
                  <c:v>0.011737089201877934</c:v>
                </c:pt>
                <c:pt idx="24">
                  <c:v>0.011627906976744186</c:v>
                </c:pt>
                <c:pt idx="25">
                  <c:v>0.01182033096926714</c:v>
                </c:pt>
                <c:pt idx="26">
                  <c:v>0.012987012987012988</c:v>
                </c:pt>
                <c:pt idx="27">
                  <c:v>0.015197568389057751</c:v>
                </c:pt>
                <c:pt idx="28">
                  <c:v>0.015105740181268883</c:v>
                </c:pt>
                <c:pt idx="29">
                  <c:v>0.020477815699658702</c:v>
                </c:pt>
                <c:pt idx="30">
                  <c:v>0.014134275618374558</c:v>
                </c:pt>
                <c:pt idx="31">
                  <c:v>0.016260162601626018</c:v>
                </c:pt>
                <c:pt idx="32">
                  <c:v>0.020161290322580645</c:v>
                </c:pt>
                <c:pt idx="33">
                  <c:v>0.016901408450704224</c:v>
                </c:pt>
                <c:pt idx="34">
                  <c:v>0.014962593516209476</c:v>
                </c:pt>
                <c:pt idx="35">
                  <c:v>0.014245014245014245</c:v>
                </c:pt>
                <c:pt idx="36">
                  <c:v>0.022641509433962263</c:v>
                </c:pt>
                <c:pt idx="37">
                  <c:v>0.022388059701492536</c:v>
                </c:pt>
                <c:pt idx="38">
                  <c:v>0.021660649819494584</c:v>
                </c:pt>
                <c:pt idx="39">
                  <c:v>0.02027027027027027</c:v>
                </c:pt>
                <c:pt idx="40">
                  <c:v>0.014204545454545454</c:v>
                </c:pt>
                <c:pt idx="41">
                  <c:v>0.017857142857142856</c:v>
                </c:pt>
                <c:pt idx="42">
                  <c:v>0.01634877384196185</c:v>
                </c:pt>
                <c:pt idx="43">
                  <c:v>0.015283842794759825</c:v>
                </c:pt>
                <c:pt idx="44">
                  <c:v>0.010101010101010102</c:v>
                </c:pt>
                <c:pt idx="45">
                  <c:v>0.009689922480620155</c:v>
                </c:pt>
                <c:pt idx="46">
                  <c:v>0.009933774834437087</c:v>
                </c:pt>
                <c:pt idx="47">
                  <c:v>0.008426966292134831</c:v>
                </c:pt>
                <c:pt idx="48">
                  <c:v>0.008032128514056224</c:v>
                </c:pt>
                <c:pt idx="49">
                  <c:v>0.006352087114337568</c:v>
                </c:pt>
                <c:pt idx="50">
                  <c:v>0.005230125523012552</c:v>
                </c:pt>
                <c:pt idx="51">
                  <c:v>0.007237635705669481</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04.9698253320958</c:v>
                </c:pt>
              </c:numCache>
            </c:numRef>
          </c:xVal>
          <c:yVal>
            <c:numRef>
              <c:f>Sheet1!$B$108:$B$109</c:f>
              <c:numCache>
                <c:formatCode>General</c:formatCode>
                <c:ptCount val="2"/>
                <c:pt idx="0">
                  <c:v>0.015619344778988159</c:v>
                </c:pt>
                <c:pt idx="1">
                  <c:v>0.015619344778988159</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04.9698253320958</c:v>
                </c:pt>
                <c:pt idx="1">
                  <c:v>3304.9698253320958</c:v>
                </c:pt>
              </c:numCache>
            </c:numRef>
          </c:xVal>
          <c:yVal>
            <c:numRef>
              <c:f>Sheet1!$B$112:$B$113</c:f>
              <c:numCache>
                <c:formatCode>General</c:formatCode>
                <c:ptCount val="2"/>
                <c:pt idx="0">
                  <c:v>0.01561934477898815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04.9698253320958</c:v>
                </c:pt>
              </c:numCache>
            </c:numRef>
          </c:xVal>
          <c:yVal>
            <c:numRef>
              <c:f>Sheet1!$B$116:$B$117</c:f>
              <c:numCache>
                <c:formatCode>General</c:formatCode>
                <c:ptCount val="2"/>
                <c:pt idx="0">
                  <c:v>0.015619344778988159</c:v>
                </c:pt>
                <c:pt idx="1">
                  <c:v>0.015619344778988159</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04.9698253320958</c:v>
                </c:pt>
                <c:pt idx="1">
                  <c:v>3304.9698253320958</c:v>
                </c:pt>
              </c:numCache>
            </c:numRef>
          </c:xVal>
          <c:yVal>
            <c:numRef>
              <c:f>Sheet1!$B$120:$B$121</c:f>
              <c:numCache>
                <c:formatCode>General</c:formatCode>
                <c:ptCount val="2"/>
                <c:pt idx="0">
                  <c:v>0.0156193447789881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569.779444457996</c:v>
                </c:pt>
              </c:numCache>
            </c:numRef>
          </c:xVal>
          <c:yVal>
            <c:numRef>
              <c:f>Sheet1!$B$124:$B$125</c:f>
              <c:numCache>
                <c:formatCode>General</c:formatCode>
                <c:ptCount val="2"/>
                <c:pt idx="0">
                  <c:v>0.011459094291073713</c:v>
                </c:pt>
                <c:pt idx="1">
                  <c:v>0.01145909429107371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569.779444457996</c:v>
                </c:pt>
                <c:pt idx="1">
                  <c:v>4569.779444457996</c:v>
                </c:pt>
              </c:numCache>
            </c:numRef>
          </c:xVal>
          <c:yVal>
            <c:numRef>
              <c:f>Sheet1!$B$128:$B$129</c:f>
              <c:numCache>
                <c:formatCode>General</c:formatCode>
                <c:ptCount val="2"/>
                <c:pt idx="0">
                  <c:v>0.0114590942910737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304.9698253320958</c:v>
                </c:pt>
                <c:pt idx="53">
                  <c:v>3304.9698253320958</c:v>
                </c:pt>
                <c:pt idx="54">
                  <c:v>4569.779444457996</c:v>
                </c:pt>
              </c:numCache>
            </c:numRef>
          </c:xVal>
          <c:yVal>
            <c:numRef>
              <c:f>Sheet1!$B$132:$B$186</c:f>
              <c:numCache>
                <c:formatCode>General</c:formatCode>
                <c:ptCount val="55"/>
                <c:pt idx="0">
                  <c:v>0.007601417044910994</c:v>
                </c:pt>
                <c:pt idx="1">
                  <c:v>0.017654868108033073</c:v>
                </c:pt>
                <c:pt idx="2">
                  <c:v>0.014423199054787932</c:v>
                </c:pt>
                <c:pt idx="3">
                  <c:v>0.015333082466344102</c:v>
                </c:pt>
                <c:pt idx="4">
                  <c:v>0.009511692639359144</c:v>
                </c:pt>
                <c:pt idx="5">
                  <c:v>0.010588915657107522</c:v>
                </c:pt>
                <c:pt idx="6">
                  <c:v>0.012791329529046207</c:v>
                </c:pt>
                <c:pt idx="7">
                  <c:v>0.013100425763759046</c:v>
                </c:pt>
                <c:pt idx="8">
                  <c:v>0.013036925522631896</c:v>
                </c:pt>
                <c:pt idx="9">
                  <c:v>0.01355689794852998</c:v>
                </c:pt>
                <c:pt idx="10">
                  <c:v>0.011799133122011708</c:v>
                </c:pt>
                <c:pt idx="11">
                  <c:v>0.013314759923062029</c:v>
                </c:pt>
                <c:pt idx="12">
                  <c:v>0.014198571906204216</c:v>
                </c:pt>
                <c:pt idx="13">
                  <c:v>0.014473277590498525</c:v>
                </c:pt>
                <c:pt idx="14">
                  <c:v>0.015559381530835976</c:v>
                </c:pt>
                <c:pt idx="15">
                  <c:v>0.01537960172563483</c:v>
                </c:pt>
                <c:pt idx="16">
                  <c:v>0.00917094380976968</c:v>
                </c:pt>
                <c:pt idx="17">
                  <c:v>0.011705883434826465</c:v>
                </c:pt>
                <c:pt idx="18">
                  <c:v>0.010270956590573851</c:v>
                </c:pt>
                <c:pt idx="19">
                  <c:v>0.011663616821763666</c:v>
                </c:pt>
                <c:pt idx="20">
                  <c:v>0.01237080139830077</c:v>
                </c:pt>
                <c:pt idx="21">
                  <c:v>0.014417031747434412</c:v>
                </c:pt>
                <c:pt idx="22">
                  <c:v>0.009769020002761933</c:v>
                </c:pt>
                <c:pt idx="23">
                  <c:v>0.014061465920812732</c:v>
                </c:pt>
                <c:pt idx="24">
                  <c:v>0.012247126328171492</c:v>
                </c:pt>
                <c:pt idx="25">
                  <c:v>0.013838456086909404</c:v>
                </c:pt>
                <c:pt idx="26">
                  <c:v>0.01170966605000329</c:v>
                </c:pt>
                <c:pt idx="27">
                  <c:v>0.012554998311259271</c:v>
                </c:pt>
                <c:pt idx="28">
                  <c:v>0.014205534220590989</c:v>
                </c:pt>
                <c:pt idx="29">
                  <c:v>0.01479638956567221</c:v>
                </c:pt>
                <c:pt idx="30">
                  <c:v>0.014607807121570003</c:v>
                </c:pt>
                <c:pt idx="31">
                  <c:v>0.013090649512603773</c:v>
                </c:pt>
                <c:pt idx="32">
                  <c:v>0.014928507103953107</c:v>
                </c:pt>
                <c:pt idx="33">
                  <c:v>0.012643588145469724</c:v>
                </c:pt>
                <c:pt idx="34">
                  <c:v>0.011154115003598097</c:v>
                </c:pt>
                <c:pt idx="35">
                  <c:v>0.012999702286830513</c:v>
                </c:pt>
                <c:pt idx="36">
                  <c:v>0.013821132696168715</c:v>
                </c:pt>
                <c:pt idx="37">
                  <c:v>0.013871567784475108</c:v>
                </c:pt>
                <c:pt idx="38">
                  <c:v>0.01293084783615133</c:v>
                </c:pt>
                <c:pt idx="39">
                  <c:v>0.012914401683208607</c:v>
                </c:pt>
                <c:pt idx="40">
                  <c:v>0.012093190336627601</c:v>
                </c:pt>
                <c:pt idx="41">
                  <c:v>0.017191497748871843</c:v>
                </c:pt>
                <c:pt idx="42">
                  <c:v>0.013920906243303277</c:v>
                </c:pt>
                <c:pt idx="43">
                  <c:v>0.01398355819186164</c:v>
                </c:pt>
                <c:pt idx="44">
                  <c:v>0.007694666732096237</c:v>
                </c:pt>
                <c:pt idx="45">
                  <c:v>0.011185362694189271</c:v>
                </c:pt>
                <c:pt idx="46">
                  <c:v>0.013347483491418281</c:v>
                </c:pt>
                <c:pt idx="47">
                  <c:v>0.010786817478236257</c:v>
                </c:pt>
                <c:pt idx="48">
                  <c:v>0.012660582613151556</c:v>
                </c:pt>
                <c:pt idx="49">
                  <c:v>0.013618923298661226</c:v>
                </c:pt>
                <c:pt idx="50">
                  <c:v>0.012907603830351262</c:v>
                </c:pt>
                <c:pt idx="51">
                  <c:v>0.01174124266365332</c:v>
                </c:pt>
                <c:pt idx="52">
                  <c:v>0.015619344778988159</c:v>
                </c:pt>
                <c:pt idx="53">
                  <c:v>0.015619344778988159</c:v>
                </c:pt>
                <c:pt idx="54">
                  <c:v>0.0114590942910737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103448275862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40858182430683</c:v>
                </c:pt>
                <c:pt idx="1">
                  <c:v>0.5636597951057764</c:v>
                </c:pt>
                <c:pt idx="2">
                  <c:v>0.5011116783140238</c:v>
                </c:pt>
                <c:pt idx="3">
                  <c:v>0.46541794909265366</c:v>
                </c:pt>
                <c:pt idx="4">
                  <c:v>0.465680376048547</c:v>
                </c:pt>
                <c:pt idx="5">
                  <c:v>0.4915512894088153</c:v>
                </c:pt>
                <c:pt idx="6">
                  <c:v>0.4613065770702718</c:v>
                </c:pt>
                <c:pt idx="7">
                  <c:v>0.4423239404497252</c:v>
                </c:pt>
                <c:pt idx="8">
                  <c:v>0.4844257098553208</c:v>
                </c:pt>
                <c:pt idx="9">
                  <c:v>0.5096836203622015</c:v>
                </c:pt>
                <c:pt idx="10">
                  <c:v>0.48948806103140674</c:v>
                </c:pt>
                <c:pt idx="11">
                  <c:v>0.49695707044941895</c:v>
                </c:pt>
                <c:pt idx="12">
                  <c:v>0.5097681642173213</c:v>
                </c:pt>
                <c:pt idx="13">
                  <c:v>0.5220509764549242</c:v>
                </c:pt>
                <c:pt idx="14">
                  <c:v>0.4892006858456541</c:v>
                </c:pt>
                <c:pt idx="15">
                  <c:v>0.466723562385888</c:v>
                </c:pt>
                <c:pt idx="16">
                  <c:v>0.4863547775061125</c:v>
                </c:pt>
                <c:pt idx="17">
                  <c:v>0.5078861604738398</c:v>
                </c:pt>
                <c:pt idx="18">
                  <c:v>0.4857830885288239</c:v>
                </c:pt>
                <c:pt idx="19">
                  <c:v>0.4752839535974865</c:v>
                </c:pt>
                <c:pt idx="20">
                  <c:v>0.4628383194316452</c:v>
                </c:pt>
                <c:pt idx="21">
                  <c:v>0.4464685667851506</c:v>
                </c:pt>
                <c:pt idx="22">
                  <c:v>0.41657316284141244</c:v>
                </c:pt>
                <c:pt idx="23">
                  <c:v>0.3882484765306</c:v>
                </c:pt>
                <c:pt idx="24">
                  <c:v>0.3976965734519632</c:v>
                </c:pt>
                <c:pt idx="25">
                  <c:v>0.36924619970655653</c:v>
                </c:pt>
                <c:pt idx="26">
                  <c:v>0.3999342852549891</c:v>
                </c:pt>
                <c:pt idx="27">
                  <c:v>0.41256730385928536</c:v>
                </c:pt>
                <c:pt idx="28">
                  <c:v>0.4302321523789977</c:v>
                </c:pt>
                <c:pt idx="29">
                  <c:v>0.4433175206626687</c:v>
                </c:pt>
                <c:pt idx="30">
                  <c:v>0.42882619144489065</c:v>
                </c:pt>
                <c:pt idx="31">
                  <c:v>0.4502674505755203</c:v>
                </c:pt>
                <c:pt idx="32">
                  <c:v>0.45498250761932035</c:v>
                </c:pt>
                <c:pt idx="33">
                  <c:v>0.4059253223750007</c:v>
                </c:pt>
                <c:pt idx="34">
                  <c:v>0.4512669965859873</c:v>
                </c:pt>
                <c:pt idx="35">
                  <c:v>0.462182011540996</c:v>
                </c:pt>
                <c:pt idx="36">
                  <c:v>0.4274443667759668</c:v>
                </c:pt>
                <c:pt idx="37">
                  <c:v>0.46849515724420027</c:v>
                </c:pt>
                <c:pt idx="38">
                  <c:v>0.4647010743874498</c:v>
                </c:pt>
                <c:pt idx="39">
                  <c:v>0.4910845547348353</c:v>
                </c:pt>
                <c:pt idx="40">
                  <c:v>0.4769658918212619</c:v>
                </c:pt>
                <c:pt idx="41">
                  <c:v>0.40877908366625604</c:v>
                </c:pt>
                <c:pt idx="42">
                  <c:v>0.4845121761354957</c:v>
                </c:pt>
                <c:pt idx="43">
                  <c:v>0.488167194541379</c:v>
                </c:pt>
                <c:pt idx="44">
                  <c:v>0.49059575320015053</c:v>
                </c:pt>
                <c:pt idx="45">
                  <c:v>0.5015645643187523</c:v>
                </c:pt>
                <c:pt idx="46">
                  <c:v>0.47131920757739304</c:v>
                </c:pt>
                <c:pt idx="47">
                  <c:v>0.5029281155777152</c:v>
                </c:pt>
                <c:pt idx="48">
                  <c:v>0.478214467579334</c:v>
                </c:pt>
                <c:pt idx="49">
                  <c:v>0.44633755149445936</c:v>
                </c:pt>
                <c:pt idx="50">
                  <c:v>0.46515051834012994</c:v>
                </c:pt>
                <c:pt idx="51">
                  <c:v>0.4717615726364885</c:v>
                </c:pt>
                <c:pt idx="52">
                  <c:v>0.4717129447549442</c:v>
                </c:pt>
                <c:pt idx="53">
                  <c:v>0.4311685116653925</c:v>
                </c:pt>
                <c:pt idx="54">
                  <c:v>0.4387055609376666</c:v>
                </c:pt>
                <c:pt idx="55">
                  <c:v>0.44312602743010215</c:v>
                </c:pt>
                <c:pt idx="56">
                  <c:v>0.4115575680254952</c:v>
                </c:pt>
                <c:pt idx="57">
                  <c:v>0.42973951122467197</c:v>
                </c:pt>
                <c:pt idx="58">
                  <c:v>0.38199340778956786</c:v>
                </c:pt>
                <c:pt idx="59">
                  <c:v>0.4256980169533739</c:v>
                </c:pt>
                <c:pt idx="60">
                  <c:v>0.3916035391072986</c:v>
                </c:pt>
                <c:pt idx="61">
                  <c:v>0.4527408480951093</c:v>
                </c:pt>
                <c:pt idx="62">
                  <c:v>0.4393458574147996</c:v>
                </c:pt>
                <c:pt idx="63">
                  <c:v>0.46286894391669015</c:v>
                </c:pt>
                <c:pt idx="64">
                  <c:v>0.4643597773141064</c:v>
                </c:pt>
                <c:pt idx="65">
                  <c:v>0.48153710262995114</c:v>
                </c:pt>
                <c:pt idx="66">
                  <c:v>0.45908340411293364</c:v>
                </c:pt>
                <c:pt idx="67">
                  <c:v>0.48722868594455415</c:v>
                </c:pt>
                <c:pt idx="68">
                  <c:v>0.46699133090550565</c:v>
                </c:pt>
                <c:pt idx="69">
                  <c:v>0.47862787050070377</c:v>
                </c:pt>
                <c:pt idx="70">
                  <c:v>0.44292461574088804</c:v>
                </c:pt>
                <c:pt idx="71">
                  <c:v>0.4432249221148465</c:v>
                </c:pt>
                <c:pt idx="72">
                  <c:v>0.5050845631524092</c:v>
                </c:pt>
                <c:pt idx="73">
                  <c:v>0.5072658209755226</c:v>
                </c:pt>
                <c:pt idx="74">
                  <c:v>0.46883149626569187</c:v>
                </c:pt>
                <c:pt idx="75">
                  <c:v>0.4392464192154594</c:v>
                </c:pt>
                <c:pt idx="76">
                  <c:v>0.4795991700815318</c:v>
                </c:pt>
                <c:pt idx="77">
                  <c:v>0.47060637610726036</c:v>
                </c:pt>
                <c:pt idx="78">
                  <c:v>0.4889632559135538</c:v>
                </c:pt>
                <c:pt idx="79">
                  <c:v>0.45947011167068097</c:v>
                </c:pt>
                <c:pt idx="80">
                  <c:v>0.5403781577690338</c:v>
                </c:pt>
                <c:pt idx="81">
                  <c:v>0.5384771933495155</c:v>
                </c:pt>
                <c:pt idx="82">
                  <c:v>0.5479252833211821</c:v>
                </c:pt>
                <c:pt idx="83">
                  <c:v>0.5142075653725039</c:v>
                </c:pt>
                <c:pt idx="84">
                  <c:v>0.5496458660613697</c:v>
                </c:pt>
                <c:pt idx="85">
                  <c:v>0.5456457776520101</c:v>
                </c:pt>
                <c:pt idx="86">
                  <c:v>0.5030652634721189</c:v>
                </c:pt>
                <c:pt idx="87">
                  <c:v>0.4889951483208794</c:v>
                </c:pt>
                <c:pt idx="88">
                  <c:v>0.5229726272793785</c:v>
                </c:pt>
                <c:pt idx="89">
                  <c:v>0.5019957940082298</c:v>
                </c:pt>
                <c:pt idx="90">
                  <c:v>0.5052202650363544</c:v>
                </c:pt>
                <c:pt idx="91">
                  <c:v>0.4877761948079885</c:v>
                </c:pt>
                <c:pt idx="92">
                  <c:v>0.4908480261329779</c:v>
                </c:pt>
                <c:pt idx="93">
                  <c:v>0.517451906612482</c:v>
                </c:pt>
                <c:pt idx="94">
                  <c:v>0.49574013335951234</c:v>
                </c:pt>
                <c:pt idx="95">
                  <c:v>0.5048307401233522</c:v>
                </c:pt>
                <c:pt idx="96">
                  <c:v>0.5518112612879454</c:v>
                </c:pt>
                <c:pt idx="97">
                  <c:v>0.5586819348850476</c:v>
                </c:pt>
                <c:pt idx="98">
                  <c:v>0.5414932447918407</c:v>
                </c:pt>
                <c:pt idx="99">
                  <c:v>0.5380976087161224</c:v>
                </c:pt>
                <c:pt idx="100">
                  <c:v>0.5279805965528541</c:v>
                </c:pt>
                <c:pt idx="101">
                  <c:v>0.5229174588379548</c:v>
                </c:pt>
                <c:pt idx="102">
                  <c:v>0.5146036968317909</c:v>
                </c:pt>
                <c:pt idx="103">
                  <c:v>0.5285383900288518</c:v>
                </c:pt>
                <c:pt idx="104">
                  <c:v>0.5032963224818657</c:v>
                </c:pt>
              </c:numCache>
            </c:numRef>
          </c:xVal>
          <c:yVal>
            <c:numRef>
              <c:f>Sheet1!$B$2:$B$106</c:f>
              <c:numCache>
                <c:formatCode>General</c:formatCode>
                <c:ptCount val="105"/>
                <c:pt idx="0">
                  <c:v>0.13230769230769232</c:v>
                </c:pt>
                <c:pt idx="1">
                  <c:v>0.14671814671814673</c:v>
                </c:pt>
                <c:pt idx="2">
                  <c:v>0.2288135593220339</c:v>
                </c:pt>
                <c:pt idx="3">
                  <c:v>0.17768595041322313</c:v>
                </c:pt>
                <c:pt idx="4">
                  <c:v>0.21951219512195122</c:v>
                </c:pt>
                <c:pt idx="5">
                  <c:v>0.18352059925093633</c:v>
                </c:pt>
                <c:pt idx="6">
                  <c:v>0.21245421245421245</c:v>
                </c:pt>
                <c:pt idx="7">
                  <c:v>0.203125</c:v>
                </c:pt>
                <c:pt idx="8">
                  <c:v>0.20440251572327045</c:v>
                </c:pt>
                <c:pt idx="9">
                  <c:v>0.20892018779342722</c:v>
                </c:pt>
                <c:pt idx="10">
                  <c:v>0.2275711159737418</c:v>
                </c:pt>
                <c:pt idx="11">
                  <c:v>0.2036082474226804</c:v>
                </c:pt>
                <c:pt idx="12">
                  <c:v>0.2111111111111111</c:v>
                </c:pt>
                <c:pt idx="13">
                  <c:v>0.21428571428571427</c:v>
                </c:pt>
                <c:pt idx="14">
                  <c:v>0.23300970873786409</c:v>
                </c:pt>
                <c:pt idx="15">
                  <c:v>0.24232081911262798</c:v>
                </c:pt>
                <c:pt idx="16">
                  <c:v>0.16423357664233576</c:v>
                </c:pt>
                <c:pt idx="17">
                  <c:v>0.17110266159695817</c:v>
                </c:pt>
                <c:pt idx="18">
                  <c:v>0.13703703703703704</c:v>
                </c:pt>
                <c:pt idx="19">
                  <c:v>0.14444444444444443</c:v>
                </c:pt>
                <c:pt idx="20">
                  <c:v>0.19148936170212766</c:v>
                </c:pt>
                <c:pt idx="21">
                  <c:v>0.1951219512195122</c:v>
                </c:pt>
                <c:pt idx="22">
                  <c:v>0.2268041237113402</c:v>
                </c:pt>
                <c:pt idx="23">
                  <c:v>0.20994475138121546</c:v>
                </c:pt>
                <c:pt idx="24">
                  <c:v>0.21830985915492956</c:v>
                </c:pt>
                <c:pt idx="25">
                  <c:v>0.21428571428571427</c:v>
                </c:pt>
                <c:pt idx="26">
                  <c:v>0.1875</c:v>
                </c:pt>
                <c:pt idx="27">
                  <c:v>0.1652892561983471</c:v>
                </c:pt>
                <c:pt idx="28">
                  <c:v>0.19090909090909092</c:v>
                </c:pt>
                <c:pt idx="29">
                  <c:v>0.1875</c:v>
                </c:pt>
                <c:pt idx="30">
                  <c:v>0.1588785046728972</c:v>
                </c:pt>
                <c:pt idx="31">
                  <c:v>0.14736842105263157</c:v>
                </c:pt>
                <c:pt idx="32">
                  <c:v>0.125</c:v>
                </c:pt>
                <c:pt idx="33">
                  <c:v>0.18811881188118812</c:v>
                </c:pt>
                <c:pt idx="34">
                  <c:v>0.140625</c:v>
                </c:pt>
                <c:pt idx="35">
                  <c:v>0.18064516129032257</c:v>
                </c:pt>
                <c:pt idx="36">
                  <c:v>0.17647058823529413</c:v>
                </c:pt>
                <c:pt idx="37">
                  <c:v>0.13953488372093023</c:v>
                </c:pt>
                <c:pt idx="38">
                  <c:v>0.14912280701754385</c:v>
                </c:pt>
                <c:pt idx="39">
                  <c:v>0.21212121212121213</c:v>
                </c:pt>
                <c:pt idx="40">
                  <c:v>0.20279720279720279</c:v>
                </c:pt>
                <c:pt idx="41">
                  <c:v>0.20714285714285716</c:v>
                </c:pt>
                <c:pt idx="42">
                  <c:v>0.1830065359477124</c:v>
                </c:pt>
                <c:pt idx="43">
                  <c:v>0.2934131736526946</c:v>
                </c:pt>
                <c:pt idx="44">
                  <c:v>0.22169811320754718</c:v>
                </c:pt>
                <c:pt idx="45">
                  <c:v>0.20180722891566266</c:v>
                </c:pt>
                <c:pt idx="46">
                  <c:v>0.22966507177033493</c:v>
                </c:pt>
                <c:pt idx="47">
                  <c:v>0.2800982800982801</c:v>
                </c:pt>
                <c:pt idx="48">
                  <c:v>0.26373626373626374</c:v>
                </c:pt>
                <c:pt idx="49">
                  <c:v>0.20588235294117646</c:v>
                </c:pt>
                <c:pt idx="50">
                  <c:v>0.2074468085106383</c:v>
                </c:pt>
                <c:pt idx="51">
                  <c:v>0.19658119658119658</c:v>
                </c:pt>
                <c:pt idx="52">
                  <c:v>0.14733542319749215</c:v>
                </c:pt>
                <c:pt idx="53">
                  <c:v>0.18930041152263374</c:v>
                </c:pt>
                <c:pt idx="54">
                  <c:v>0.17040358744394618</c:v>
                </c:pt>
                <c:pt idx="55">
                  <c:v>0.17338709677419356</c:v>
                </c:pt>
                <c:pt idx="56">
                  <c:v>0.19548872180451127</c:v>
                </c:pt>
                <c:pt idx="57">
                  <c:v>0.20522388059701493</c:v>
                </c:pt>
                <c:pt idx="58">
                  <c:v>0.25</c:v>
                </c:pt>
                <c:pt idx="59">
                  <c:v>0.2052980132450331</c:v>
                </c:pt>
                <c:pt idx="60">
                  <c:v>0.1935483870967742</c:v>
                </c:pt>
                <c:pt idx="61">
                  <c:v>0.13573407202216067</c:v>
                </c:pt>
                <c:pt idx="62">
                  <c:v>0.17400881057268722</c:v>
                </c:pt>
                <c:pt idx="63">
                  <c:v>0.169921875</c:v>
                </c:pt>
                <c:pt idx="64">
                  <c:v>0.16377649325626203</c:v>
                </c:pt>
                <c:pt idx="65">
                  <c:v>0.13468634686346864</c:v>
                </c:pt>
                <c:pt idx="66">
                  <c:v>0.14736842105263157</c:v>
                </c:pt>
                <c:pt idx="67">
                  <c:v>0.11188811188811189</c:v>
                </c:pt>
                <c:pt idx="68">
                  <c:v>0.11490683229813664</c:v>
                </c:pt>
                <c:pt idx="69">
                  <c:v>0.12333333333333334</c:v>
                </c:pt>
                <c:pt idx="70">
                  <c:v>0.1111111111111111</c:v>
                </c:pt>
                <c:pt idx="71">
                  <c:v>0.1276595744680851</c:v>
                </c:pt>
                <c:pt idx="72">
                  <c:v>0.09090909090909091</c:v>
                </c:pt>
                <c:pt idx="73">
                  <c:v>0.11822660098522167</c:v>
                </c:pt>
                <c:pt idx="74">
                  <c:v>0.12562814070351758</c:v>
                </c:pt>
                <c:pt idx="75">
                  <c:v>0.08609271523178808</c:v>
                </c:pt>
                <c:pt idx="76">
                  <c:v>0.11728395061728394</c:v>
                </c:pt>
                <c:pt idx="77">
                  <c:v>0.061224489795918366</c:v>
                </c:pt>
                <c:pt idx="78">
                  <c:v>0.10714285714285714</c:v>
                </c:pt>
                <c:pt idx="79">
                  <c:v>0.08823529411764706</c:v>
                </c:pt>
                <c:pt idx="80">
                  <c:v>0.07913669064748201</c:v>
                </c:pt>
                <c:pt idx="81">
                  <c:v>0.11904761904761904</c:v>
                </c:pt>
                <c:pt idx="82">
                  <c:v>0.06716417910447761</c:v>
                </c:pt>
                <c:pt idx="83">
                  <c:v>0.06422018348623854</c:v>
                </c:pt>
                <c:pt idx="84">
                  <c:v>0.05454545454545454</c:v>
                </c:pt>
                <c:pt idx="85">
                  <c:v>0.07258064516129033</c:v>
                </c:pt>
                <c:pt idx="86">
                  <c:v>0.07692307692307693</c:v>
                </c:pt>
                <c:pt idx="87">
                  <c:v>0.08670520231213873</c:v>
                </c:pt>
                <c:pt idx="88">
                  <c:v>0.1016949152542373</c:v>
                </c:pt>
                <c:pt idx="89">
                  <c:v>0.09183673469387756</c:v>
                </c:pt>
                <c:pt idx="90">
                  <c:v>0.08737864077669903</c:v>
                </c:pt>
                <c:pt idx="91">
                  <c:v>0.10185185185185185</c:v>
                </c:pt>
                <c:pt idx="92">
                  <c:v>0.136</c:v>
                </c:pt>
                <c:pt idx="93">
                  <c:v>0.104</c:v>
                </c:pt>
                <c:pt idx="94">
                  <c:v>0.13008130081300814</c:v>
                </c:pt>
                <c:pt idx="95">
                  <c:v>0.19047619047619047</c:v>
                </c:pt>
                <c:pt idx="96">
                  <c:v>0.12556053811659193</c:v>
                </c:pt>
                <c:pt idx="97">
                  <c:v>0.12195121951219512</c:v>
                </c:pt>
                <c:pt idx="98">
                  <c:v>0.15946843853820597</c:v>
                </c:pt>
                <c:pt idx="99">
                  <c:v>0.17040358744394618</c:v>
                </c:pt>
                <c:pt idx="100">
                  <c:v>0.12256267409470752</c:v>
                </c:pt>
                <c:pt idx="101">
                  <c:v>0.1642651296829971</c:v>
                </c:pt>
                <c:pt idx="102">
                  <c:v>0.13553113553113552</c:v>
                </c:pt>
                <c:pt idx="103">
                  <c:v>0.15</c:v>
                </c:pt>
                <c:pt idx="104">
                  <c:v>0.129370629370629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757151088005238</c:v>
                </c:pt>
                <c:pt idx="1">
                  <c:v>0.45135132723268684</c:v>
                </c:pt>
                <c:pt idx="2">
                  <c:v>0.4748281541400981</c:v>
                </c:pt>
                <c:pt idx="3">
                  <c:v>0.4298268252673832</c:v>
                </c:pt>
                <c:pt idx="4">
                  <c:v>0.43657148527519346</c:v>
                </c:pt>
                <c:pt idx="5">
                  <c:v>0.4761291401962477</c:v>
                </c:pt>
                <c:pt idx="6">
                  <c:v>0.4851453862830574</c:v>
                </c:pt>
                <c:pt idx="7">
                  <c:v>0.453909602600883</c:v>
                </c:pt>
                <c:pt idx="8">
                  <c:v>0.4501751737514227</c:v>
                </c:pt>
                <c:pt idx="9">
                  <c:v>0.4762527901228102</c:v>
                </c:pt>
                <c:pt idx="10">
                  <c:v>0.46926489426173557</c:v>
                </c:pt>
                <c:pt idx="11">
                  <c:v>0.5118716718463452</c:v>
                </c:pt>
                <c:pt idx="12">
                  <c:v>0.47392853243395255</c:v>
                </c:pt>
                <c:pt idx="13">
                  <c:v>0.459000018220945</c:v>
                </c:pt>
                <c:pt idx="14">
                  <c:v>0.4845214557359713</c:v>
                </c:pt>
                <c:pt idx="15">
                  <c:v>0.47401226702158317</c:v>
                </c:pt>
                <c:pt idx="16">
                  <c:v>0.4837788558500046</c:v>
                </c:pt>
                <c:pt idx="17">
                  <c:v>0.4827438077399317</c:v>
                </c:pt>
                <c:pt idx="18">
                  <c:v>0.5080917763970408</c:v>
                </c:pt>
                <c:pt idx="19">
                  <c:v>0.45117567740708175</c:v>
                </c:pt>
                <c:pt idx="20">
                  <c:v>0.45478817988746</c:v>
                </c:pt>
                <c:pt idx="21">
                  <c:v>0.4451039788332933</c:v>
                </c:pt>
                <c:pt idx="22">
                  <c:v>0.4595899954150408</c:v>
                </c:pt>
                <c:pt idx="23">
                  <c:v>0.4663110765175983</c:v>
                </c:pt>
                <c:pt idx="24">
                  <c:v>0.43577660424613407</c:v>
                </c:pt>
                <c:pt idx="25">
                  <c:v>0.4653418937385151</c:v>
                </c:pt>
                <c:pt idx="26">
                  <c:v>0.5062163336838416</c:v>
                </c:pt>
                <c:pt idx="27">
                  <c:v>0.4960858291670142</c:v>
                </c:pt>
                <c:pt idx="28">
                  <c:v>0.4825485897560929</c:v>
                </c:pt>
                <c:pt idx="29">
                  <c:v>0.4827185282981286</c:v>
                </c:pt>
                <c:pt idx="30">
                  <c:v>0.4983850129198966</c:v>
                </c:pt>
                <c:pt idx="31">
                  <c:v>0.4986030580024708</c:v>
                </c:pt>
                <c:pt idx="32">
                  <c:v>0.48907386157116406</c:v>
                </c:pt>
                <c:pt idx="33">
                  <c:v>0.4488766569214074</c:v>
                </c:pt>
                <c:pt idx="34">
                  <c:v>0.47623987429047876</c:v>
                </c:pt>
                <c:pt idx="35">
                  <c:v>0.44899244332493704</c:v>
                </c:pt>
                <c:pt idx="36">
                  <c:v>0.45376607470912433</c:v>
                </c:pt>
                <c:pt idx="37">
                  <c:v>0.451123595505618</c:v>
                </c:pt>
                <c:pt idx="38">
                  <c:v>0.3884441087429885</c:v>
                </c:pt>
                <c:pt idx="39">
                  <c:v>0.45240392053306044</c:v>
                </c:pt>
                <c:pt idx="40">
                  <c:v>0.48757415303663393</c:v>
                </c:pt>
                <c:pt idx="41">
                  <c:v>0.48628926777833864</c:v>
                </c:pt>
                <c:pt idx="42">
                  <c:v>0.42834596955237064</c:v>
                </c:pt>
                <c:pt idx="43">
                  <c:v>0.4826333123610587</c:v>
                </c:pt>
                <c:pt idx="44">
                  <c:v>0.5201140999782236</c:v>
                </c:pt>
                <c:pt idx="45">
                  <c:v>0.5407758548806577</c:v>
                </c:pt>
                <c:pt idx="46">
                  <c:v>0.5274001875262306</c:v>
                </c:pt>
                <c:pt idx="47">
                  <c:v>0.5466764553633404</c:v>
                </c:pt>
                <c:pt idx="48">
                  <c:v>0.5875903602720979</c:v>
                </c:pt>
                <c:pt idx="49">
                  <c:v>0.5999108308267112</c:v>
                </c:pt>
                <c:pt idx="50">
                  <c:v>0.5743235789063044</c:v>
                </c:pt>
                <c:pt idx="51">
                  <c:v>0.5473082043288545</c:v>
                </c:pt>
              </c:numCache>
            </c:numRef>
          </c:xVal>
          <c:yVal>
            <c:numRef>
              <c:f>Sheet1!$B$109:$B$160</c:f>
              <c:numCache>
                <c:formatCode>General</c:formatCode>
                <c:ptCount val="52"/>
                <c:pt idx="0">
                  <c:v>0.1103202846975089</c:v>
                </c:pt>
                <c:pt idx="1">
                  <c:v>0.15625</c:v>
                </c:pt>
                <c:pt idx="2">
                  <c:v>0.15827338129496402</c:v>
                </c:pt>
                <c:pt idx="3">
                  <c:v>0.18315018315018314</c:v>
                </c:pt>
                <c:pt idx="4">
                  <c:v>0.14420062695924765</c:v>
                </c:pt>
                <c:pt idx="5">
                  <c:v>0.14241486068111456</c:v>
                </c:pt>
                <c:pt idx="6">
                  <c:v>0.1569767441860465</c:v>
                </c:pt>
                <c:pt idx="7">
                  <c:v>0.15451895043731778</c:v>
                </c:pt>
                <c:pt idx="8">
                  <c:v>0.15926892950391644</c:v>
                </c:pt>
                <c:pt idx="9">
                  <c:v>0.1590909090909091</c:v>
                </c:pt>
                <c:pt idx="10">
                  <c:v>0.1718377088305489</c:v>
                </c:pt>
                <c:pt idx="11">
                  <c:v>0.15384615384615385</c:v>
                </c:pt>
                <c:pt idx="12">
                  <c:v>0.15086206896551724</c:v>
                </c:pt>
                <c:pt idx="13">
                  <c:v>0.14058355437665782</c:v>
                </c:pt>
                <c:pt idx="14">
                  <c:v>0.1353135313531353</c:v>
                </c:pt>
                <c:pt idx="15">
                  <c:v>0.12203389830508475</c:v>
                </c:pt>
                <c:pt idx="16">
                  <c:v>0.13839285714285715</c:v>
                </c:pt>
                <c:pt idx="17">
                  <c:v>0.13636363636363635</c:v>
                </c:pt>
                <c:pt idx="18">
                  <c:v>0.11467889908256881</c:v>
                </c:pt>
                <c:pt idx="19">
                  <c:v>0.12025316455696203</c:v>
                </c:pt>
                <c:pt idx="20">
                  <c:v>0.125</c:v>
                </c:pt>
                <c:pt idx="21">
                  <c:v>0.12781954887218044</c:v>
                </c:pt>
                <c:pt idx="22">
                  <c:v>0.1292517006802721</c:v>
                </c:pt>
                <c:pt idx="23">
                  <c:v>0.15789473684210525</c:v>
                </c:pt>
                <c:pt idx="24">
                  <c:v>0.128</c:v>
                </c:pt>
                <c:pt idx="25">
                  <c:v>0.13934426229508196</c:v>
                </c:pt>
                <c:pt idx="26">
                  <c:v>0.136</c:v>
                </c:pt>
                <c:pt idx="27">
                  <c:v>0.14285714285714285</c:v>
                </c:pt>
                <c:pt idx="28">
                  <c:v>0.10909090909090909</c:v>
                </c:pt>
                <c:pt idx="29">
                  <c:v>0.1276595744680851</c:v>
                </c:pt>
                <c:pt idx="30">
                  <c:v>0.11627906976744186</c:v>
                </c:pt>
                <c:pt idx="31">
                  <c:v>0.0625</c:v>
                </c:pt>
                <c:pt idx="32">
                  <c:v>0.12195121951219512</c:v>
                </c:pt>
                <c:pt idx="33">
                  <c:v>0.06299212598425197</c:v>
                </c:pt>
                <c:pt idx="34">
                  <c:v>0.1349206349206349</c:v>
                </c:pt>
                <c:pt idx="35">
                  <c:v>0.1415929203539823</c:v>
                </c:pt>
                <c:pt idx="36">
                  <c:v>0.13253012048192772</c:v>
                </c:pt>
                <c:pt idx="37">
                  <c:v>0.1282051282051282</c:v>
                </c:pt>
                <c:pt idx="38">
                  <c:v>0.4158415841584158</c:v>
                </c:pt>
                <c:pt idx="39">
                  <c:v>0.11702127659574468</c:v>
                </c:pt>
                <c:pt idx="40">
                  <c:v>0.1111111111111111</c:v>
                </c:pt>
                <c:pt idx="41">
                  <c:v>0.13793103448275862</c:v>
                </c:pt>
                <c:pt idx="42">
                  <c:v>0.13114754098360656</c:v>
                </c:pt>
                <c:pt idx="43">
                  <c:v>0.09420289855072464</c:v>
                </c:pt>
                <c:pt idx="44">
                  <c:v>0.13559322033898305</c:v>
                </c:pt>
                <c:pt idx="45">
                  <c:v>0.17786561264822134</c:v>
                </c:pt>
                <c:pt idx="46">
                  <c:v>0.17479674796747968</c:v>
                </c:pt>
                <c:pt idx="47">
                  <c:v>0.16666666666666666</c:v>
                </c:pt>
                <c:pt idx="48">
                  <c:v>0.1461038961038961</c:v>
                </c:pt>
                <c:pt idx="49">
                  <c:v>0.10570824524312897</c:v>
                </c:pt>
                <c:pt idx="50">
                  <c:v>0.08470290771175727</c:v>
                </c:pt>
                <c:pt idx="51">
                  <c:v>0.108262108262108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509874559480005</c:v>
                </c:pt>
              </c:numCache>
            </c:numRef>
          </c:xVal>
          <c:yVal>
            <c:numRef>
              <c:f>Sheet1!$B$163:$B$164</c:f>
              <c:numCache>
                <c:formatCode>General</c:formatCode>
                <c:ptCount val="2"/>
                <c:pt idx="0">
                  <c:v>0.20596331660904574</c:v>
                </c:pt>
                <c:pt idx="1">
                  <c:v>0.2059633166090457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509874559480005</c:v>
                </c:pt>
                <c:pt idx="1">
                  <c:v>0.30509874559480005</c:v>
                </c:pt>
              </c:numCache>
            </c:numRef>
          </c:xVal>
          <c:yVal>
            <c:numRef>
              <c:f>Sheet1!$B$167:$B$168</c:f>
              <c:numCache>
                <c:formatCode>General</c:formatCode>
                <c:ptCount val="2"/>
                <c:pt idx="0">
                  <c:v>0.205963316609045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972507567825385</c:v>
                </c:pt>
              </c:numCache>
            </c:numRef>
          </c:xVal>
          <c:yVal>
            <c:numRef>
              <c:f>Sheet1!$B$171:$B$172</c:f>
              <c:numCache>
                <c:formatCode>General</c:formatCode>
                <c:ptCount val="2"/>
                <c:pt idx="0">
                  <c:v>0.1588081432726731</c:v>
                </c:pt>
                <c:pt idx="1">
                  <c:v>0.158808143272673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972507567825385</c:v>
                </c:pt>
                <c:pt idx="1">
                  <c:v>0.42972507567825385</c:v>
                </c:pt>
              </c:numCache>
            </c:numRef>
          </c:xVal>
          <c:yVal>
            <c:numRef>
              <c:f>Sheet1!$B$175:$B$176</c:f>
              <c:numCache>
                <c:formatCode>General</c:formatCode>
                <c:ptCount val="2"/>
                <c:pt idx="0">
                  <c:v>0.158808143272673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056357431980416</c:v>
                </c:pt>
              </c:numCache>
            </c:numRef>
          </c:xVal>
          <c:yVal>
            <c:numRef>
              <c:f>Sheet1!$B$179:$B$180</c:f>
              <c:numCache>
                <c:formatCode>General</c:formatCode>
                <c:ptCount val="2"/>
                <c:pt idx="0">
                  <c:v>0.130085635897399</c:v>
                </c:pt>
                <c:pt idx="1">
                  <c:v>0.13008563589739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056357431980416</c:v>
                </c:pt>
                <c:pt idx="1">
                  <c:v>0.5056357431980416</c:v>
                </c:pt>
              </c:numCache>
            </c:numRef>
          </c:xVal>
          <c:yVal>
            <c:numRef>
              <c:f>Sheet1!$B$183:$B$184</c:f>
              <c:numCache>
                <c:formatCode>General</c:formatCode>
                <c:ptCount val="2"/>
                <c:pt idx="0">
                  <c:v>0.1300856358973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757151088005238</c:v>
                </c:pt>
                <c:pt idx="1">
                  <c:v>0.45135132723268684</c:v>
                </c:pt>
                <c:pt idx="2">
                  <c:v>0.4748281541400981</c:v>
                </c:pt>
                <c:pt idx="3">
                  <c:v>0.4298268252673832</c:v>
                </c:pt>
                <c:pt idx="4">
                  <c:v>0.43657148527519346</c:v>
                </c:pt>
                <c:pt idx="5">
                  <c:v>0.4761291401962477</c:v>
                </c:pt>
                <c:pt idx="6">
                  <c:v>0.4851453862830574</c:v>
                </c:pt>
                <c:pt idx="7">
                  <c:v>0.453909602600883</c:v>
                </c:pt>
                <c:pt idx="8">
                  <c:v>0.4501751737514227</c:v>
                </c:pt>
                <c:pt idx="9">
                  <c:v>0.4762527901228102</c:v>
                </c:pt>
                <c:pt idx="10">
                  <c:v>0.46926489426173557</c:v>
                </c:pt>
                <c:pt idx="11">
                  <c:v>0.5118716718463452</c:v>
                </c:pt>
                <c:pt idx="12">
                  <c:v>0.47392853243395255</c:v>
                </c:pt>
                <c:pt idx="13">
                  <c:v>0.459000018220945</c:v>
                </c:pt>
                <c:pt idx="14">
                  <c:v>0.4845214557359713</c:v>
                </c:pt>
                <c:pt idx="15">
                  <c:v>0.47401226702158317</c:v>
                </c:pt>
                <c:pt idx="16">
                  <c:v>0.4837788558500046</c:v>
                </c:pt>
                <c:pt idx="17">
                  <c:v>0.4827438077399317</c:v>
                </c:pt>
                <c:pt idx="18">
                  <c:v>0.5080917763970408</c:v>
                </c:pt>
                <c:pt idx="19">
                  <c:v>0.45117567740708175</c:v>
                </c:pt>
                <c:pt idx="20">
                  <c:v>0.45478817988746</c:v>
                </c:pt>
                <c:pt idx="21">
                  <c:v>0.4451039788332933</c:v>
                </c:pt>
                <c:pt idx="22">
                  <c:v>0.4595899954150408</c:v>
                </c:pt>
                <c:pt idx="23">
                  <c:v>0.4663110765175983</c:v>
                </c:pt>
                <c:pt idx="24">
                  <c:v>0.43577660424613407</c:v>
                </c:pt>
                <c:pt idx="25">
                  <c:v>0.4653418937385151</c:v>
                </c:pt>
                <c:pt idx="26">
                  <c:v>0.5062163336838416</c:v>
                </c:pt>
                <c:pt idx="27">
                  <c:v>0.4960858291670142</c:v>
                </c:pt>
                <c:pt idx="28">
                  <c:v>0.4825485897560929</c:v>
                </c:pt>
                <c:pt idx="29">
                  <c:v>0.4827185282981286</c:v>
                </c:pt>
                <c:pt idx="30">
                  <c:v>0.4983850129198966</c:v>
                </c:pt>
                <c:pt idx="31">
                  <c:v>0.4986030580024708</c:v>
                </c:pt>
                <c:pt idx="32">
                  <c:v>0.48907386157116406</c:v>
                </c:pt>
                <c:pt idx="33">
                  <c:v>0.4488766569214074</c:v>
                </c:pt>
                <c:pt idx="34">
                  <c:v>0.47623987429047876</c:v>
                </c:pt>
                <c:pt idx="35">
                  <c:v>0.44899244332493704</c:v>
                </c:pt>
                <c:pt idx="36">
                  <c:v>0.45376607470912433</c:v>
                </c:pt>
                <c:pt idx="37">
                  <c:v>0.451123595505618</c:v>
                </c:pt>
                <c:pt idx="38">
                  <c:v>0.3884441087429885</c:v>
                </c:pt>
                <c:pt idx="39">
                  <c:v>0.45240392053306044</c:v>
                </c:pt>
                <c:pt idx="40">
                  <c:v>0.48757415303663393</c:v>
                </c:pt>
                <c:pt idx="41">
                  <c:v>0.48628926777833864</c:v>
                </c:pt>
                <c:pt idx="42">
                  <c:v>0.42834596955237064</c:v>
                </c:pt>
                <c:pt idx="43">
                  <c:v>0.4826333123610587</c:v>
                </c:pt>
                <c:pt idx="44">
                  <c:v>0.5201140999782236</c:v>
                </c:pt>
                <c:pt idx="45">
                  <c:v>0.5407758548806577</c:v>
                </c:pt>
                <c:pt idx="46">
                  <c:v>0.5274001875262306</c:v>
                </c:pt>
                <c:pt idx="47">
                  <c:v>0.5466764553633404</c:v>
                </c:pt>
                <c:pt idx="48">
                  <c:v>0.5875903602720979</c:v>
                </c:pt>
                <c:pt idx="49">
                  <c:v>0.5999108308267112</c:v>
                </c:pt>
                <c:pt idx="50">
                  <c:v>0.5743235789063044</c:v>
                </c:pt>
                <c:pt idx="51">
                  <c:v>0.5473082043288545</c:v>
                </c:pt>
                <c:pt idx="52">
                  <c:v>0.42972507567825385</c:v>
                </c:pt>
                <c:pt idx="53">
                  <c:v>0.30509874559480005</c:v>
                </c:pt>
                <c:pt idx="54">
                  <c:v>0.5056357431980416</c:v>
                </c:pt>
              </c:numCache>
            </c:numRef>
          </c:xVal>
          <c:yVal>
            <c:numRef>
              <c:f>Sheet1!$B$187:$B$241</c:f>
              <c:numCache>
                <c:formatCode>General</c:formatCode>
                <c:ptCount val="55"/>
                <c:pt idx="0">
                  <c:v>0.14140678047739583</c:v>
                </c:pt>
                <c:pt idx="1">
                  <c:v>0.15062536488240516</c:v>
                </c:pt>
                <c:pt idx="2">
                  <c:v>0.14174237971012513</c:v>
                </c:pt>
                <c:pt idx="3">
                  <c:v>0.15876964402849986</c:v>
                </c:pt>
                <c:pt idx="4">
                  <c:v>0.1562176503081502</c:v>
                </c:pt>
                <c:pt idx="5">
                  <c:v>0.14125012239223045</c:v>
                </c:pt>
                <c:pt idx="6">
                  <c:v>0.1378386230182041</c:v>
                </c:pt>
                <c:pt idx="7">
                  <c:v>0.14965738389196212</c:v>
                </c:pt>
                <c:pt idx="8">
                  <c:v>0.15107038898960665</c:v>
                </c:pt>
                <c:pt idx="9">
                  <c:v>0.14120333666311383</c:v>
                </c:pt>
                <c:pt idx="10">
                  <c:v>0.14384736413599888</c:v>
                </c:pt>
                <c:pt idx="11">
                  <c:v>0.12772613212217673</c:v>
                </c:pt>
                <c:pt idx="12">
                  <c:v>0.14208277180433226</c:v>
                </c:pt>
                <c:pt idx="13">
                  <c:v>0.14773131071980447</c:v>
                </c:pt>
                <c:pt idx="14">
                  <c:v>0.13807470116539822</c:v>
                </c:pt>
                <c:pt idx="15">
                  <c:v>0.1420510889409171</c:v>
                </c:pt>
                <c:pt idx="16">
                  <c:v>0.13835568052440592</c:v>
                </c:pt>
                <c:pt idx="17">
                  <c:v>0.13874731424265221</c:v>
                </c:pt>
                <c:pt idx="18">
                  <c:v>0.12915634052987002</c:v>
                </c:pt>
                <c:pt idx="19">
                  <c:v>0.15069182594217773</c:v>
                </c:pt>
                <c:pt idx="20">
                  <c:v>0.14932495442693497</c:v>
                </c:pt>
                <c:pt idx="21">
                  <c:v>0.15298918957714536</c:v>
                </c:pt>
                <c:pt idx="22">
                  <c:v>0.14750807958691736</c:v>
                </c:pt>
                <c:pt idx="23">
                  <c:v>0.1449650074753765</c:v>
                </c:pt>
                <c:pt idx="24">
                  <c:v>0.156518411412822</c:v>
                </c:pt>
                <c:pt idx="25">
                  <c:v>0.14533171956512264</c:v>
                </c:pt>
                <c:pt idx="26">
                  <c:v>0.12986595643658996</c:v>
                </c:pt>
                <c:pt idx="27">
                  <c:v>0.1336990605339024</c:v>
                </c:pt>
                <c:pt idx="28">
                  <c:v>0.13882117935494534</c:v>
                </c:pt>
                <c:pt idx="29">
                  <c:v>0.13875687928768943</c:v>
                </c:pt>
                <c:pt idx="30">
                  <c:v>0.13282911267997183</c:v>
                </c:pt>
                <c:pt idx="31">
                  <c:v>0.1327466104217649</c:v>
                </c:pt>
                <c:pt idx="32">
                  <c:v>0.13635219608872398</c:v>
                </c:pt>
                <c:pt idx="33">
                  <c:v>0.1515617120202902</c:v>
                </c:pt>
                <c:pt idx="34">
                  <c:v>0.14120822365859836</c:v>
                </c:pt>
                <c:pt idx="35">
                  <c:v>0.1515179016318692</c:v>
                </c:pt>
                <c:pt idx="36">
                  <c:v>0.1497116908960274</c:v>
                </c:pt>
                <c:pt idx="37">
                  <c:v>0.15071153230029294</c:v>
                </c:pt>
                <c:pt idx="38">
                  <c:v>0.17442772502575843</c:v>
                </c:pt>
                <c:pt idx="39">
                  <c:v>0.15022709254702798</c:v>
                </c:pt>
                <c:pt idx="40">
                  <c:v>0.13691964452319566</c:v>
                </c:pt>
                <c:pt idx="41">
                  <c:v>0.1374058097423086</c:v>
                </c:pt>
                <c:pt idx="42">
                  <c:v>0.15932995907493358</c:v>
                </c:pt>
                <c:pt idx="43">
                  <c:v>0.13878912265296273</c:v>
                </c:pt>
                <c:pt idx="44">
                  <c:v>0.12460742416527026</c:v>
                </c:pt>
                <c:pt idx="45">
                  <c:v>0.11678958476323137</c:v>
                </c:pt>
                <c:pt idx="46">
                  <c:v>0.12185056916488479</c:v>
                </c:pt>
                <c:pt idx="47">
                  <c:v>0.11455695993697462</c:v>
                </c:pt>
                <c:pt idx="48">
                  <c:v>0.09907626435243483</c:v>
                </c:pt>
                <c:pt idx="49">
                  <c:v>0.09441453737869318</c:v>
                </c:pt>
                <c:pt idx="50">
                  <c:v>0.10409604929275065</c:v>
                </c:pt>
                <c:pt idx="51">
                  <c:v>0.11431792351542597</c:v>
                </c:pt>
                <c:pt idx="52">
                  <c:v>0.1588081432726731</c:v>
                </c:pt>
                <c:pt idx="53">
                  <c:v>0.20596331660904574</c:v>
                </c:pt>
                <c:pt idx="54">
                  <c:v>0.130085635897399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900990099009895"/>
          <c:min val="0.043636363636363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46.7209</c:v>
                </c:pt>
                <c:pt idx="1">
                  <c:v>641.2368</c:v>
                </c:pt>
                <c:pt idx="2">
                  <c:v>664.2778</c:v>
                </c:pt>
                <c:pt idx="3">
                  <c:v>662.7674</c:v>
                </c:pt>
                <c:pt idx="4">
                  <c:v>650.9074</c:v>
                </c:pt>
                <c:pt idx="5">
                  <c:v>660.4694</c:v>
                </c:pt>
                <c:pt idx="6">
                  <c:v>636.8621</c:v>
                </c:pt>
                <c:pt idx="7">
                  <c:v>634.1923</c:v>
                </c:pt>
                <c:pt idx="8">
                  <c:v>663.0154</c:v>
                </c:pt>
                <c:pt idx="9">
                  <c:v>642.5955</c:v>
                </c:pt>
                <c:pt idx="10">
                  <c:v>611.1442</c:v>
                </c:pt>
                <c:pt idx="11">
                  <c:v>633.1899</c:v>
                </c:pt>
                <c:pt idx="12">
                  <c:v>647.0132</c:v>
                </c:pt>
                <c:pt idx="13">
                  <c:v>640.92</c:v>
                </c:pt>
                <c:pt idx="14">
                  <c:v>632.1667</c:v>
                </c:pt>
                <c:pt idx="15">
                  <c:v>626.7746</c:v>
                </c:pt>
                <c:pt idx="16">
                  <c:v>621.6222</c:v>
                </c:pt>
                <c:pt idx="17">
                  <c:v>638.8667</c:v>
                </c:pt>
                <c:pt idx="18">
                  <c:v>610.2703</c:v>
                </c:pt>
                <c:pt idx="19">
                  <c:v>611.5385</c:v>
                </c:pt>
                <c:pt idx="20">
                  <c:v>573.7111</c:v>
                </c:pt>
                <c:pt idx="21">
                  <c:v>596.025</c:v>
                </c:pt>
                <c:pt idx="22">
                  <c:v>568.0682</c:v>
                </c:pt>
                <c:pt idx="23">
                  <c:v>572.7895</c:v>
                </c:pt>
                <c:pt idx="24">
                  <c:v>585.0323</c:v>
                </c:pt>
                <c:pt idx="25">
                  <c:v>545.6333</c:v>
                </c:pt>
                <c:pt idx="26">
                  <c:v>588.6296</c:v>
                </c:pt>
                <c:pt idx="27">
                  <c:v>601.1</c:v>
                </c:pt>
                <c:pt idx="28">
                  <c:v>623.8571</c:v>
                </c:pt>
                <c:pt idx="29">
                  <c:v>639.8095</c:v>
                </c:pt>
                <c:pt idx="30">
                  <c:v>620.1765</c:v>
                </c:pt>
                <c:pt idx="31">
                  <c:v>635.7857</c:v>
                </c:pt>
                <c:pt idx="32">
                  <c:v>614.9231</c:v>
                </c:pt>
                <c:pt idx="33">
                  <c:v>534.2632</c:v>
                </c:pt>
                <c:pt idx="34">
                  <c:v>630.2778</c:v>
                </c:pt>
                <c:pt idx="35">
                  <c:v>646.6786</c:v>
                </c:pt>
                <c:pt idx="36">
                  <c:v>594.25</c:v>
                </c:pt>
                <c:pt idx="37">
                  <c:v>634.1111</c:v>
                </c:pt>
                <c:pt idx="38">
                  <c:v>621.5882</c:v>
                </c:pt>
                <c:pt idx="39">
                  <c:v>646.9048</c:v>
                </c:pt>
                <c:pt idx="40">
                  <c:v>667.9655</c:v>
                </c:pt>
                <c:pt idx="41">
                  <c:v>585.8276</c:v>
                </c:pt>
                <c:pt idx="42">
                  <c:v>661.0</c:v>
                </c:pt>
                <c:pt idx="43">
                  <c:v>658.6735</c:v>
                </c:pt>
                <c:pt idx="44">
                  <c:v>659.4255</c:v>
                </c:pt>
                <c:pt idx="45">
                  <c:v>659.9254</c:v>
                </c:pt>
                <c:pt idx="46">
                  <c:v>626.8438</c:v>
                </c:pt>
                <c:pt idx="47">
                  <c:v>630.8596</c:v>
                </c:pt>
                <c:pt idx="48">
                  <c:v>629.1083</c:v>
                </c:pt>
                <c:pt idx="49">
                  <c:v>603.2381</c:v>
                </c:pt>
                <c:pt idx="50">
                  <c:v>629.8205</c:v>
                </c:pt>
                <c:pt idx="51">
                  <c:v>608.6957</c:v>
                </c:pt>
                <c:pt idx="52">
                  <c:v>641.9149</c:v>
                </c:pt>
                <c:pt idx="53">
                  <c:v>645.3043</c:v>
                </c:pt>
                <c:pt idx="54">
                  <c:v>661.9211</c:v>
                </c:pt>
                <c:pt idx="55">
                  <c:v>654.3023</c:v>
                </c:pt>
                <c:pt idx="56">
                  <c:v>630.3077</c:v>
                </c:pt>
                <c:pt idx="57">
                  <c:v>657.1091</c:v>
                </c:pt>
                <c:pt idx="58">
                  <c:v>584.5147</c:v>
                </c:pt>
                <c:pt idx="59">
                  <c:v>644.371</c:v>
                </c:pt>
                <c:pt idx="60">
                  <c:v>615.1364</c:v>
                </c:pt>
                <c:pt idx="61">
                  <c:v>655.1429</c:v>
                </c:pt>
                <c:pt idx="62">
                  <c:v>626.1772</c:v>
                </c:pt>
                <c:pt idx="63">
                  <c:v>640.9655</c:v>
                </c:pt>
                <c:pt idx="64">
                  <c:v>626.1059</c:v>
                </c:pt>
                <c:pt idx="65">
                  <c:v>625.3562</c:v>
                </c:pt>
                <c:pt idx="66">
                  <c:v>600.6667</c:v>
                </c:pt>
                <c:pt idx="67">
                  <c:v>612.4792</c:v>
                </c:pt>
                <c:pt idx="68">
                  <c:v>574.4324</c:v>
                </c:pt>
                <c:pt idx="69">
                  <c:v>595.0541</c:v>
                </c:pt>
                <c:pt idx="70">
                  <c:v>569.3939</c:v>
                </c:pt>
                <c:pt idx="71">
                  <c:v>625.2</c:v>
                </c:pt>
                <c:pt idx="72">
                  <c:v>709.7619</c:v>
                </c:pt>
                <c:pt idx="73">
                  <c:v>709.7917</c:v>
                </c:pt>
                <c:pt idx="74">
                  <c:v>662.92</c:v>
                </c:pt>
                <c:pt idx="75">
                  <c:v>645.5385</c:v>
                </c:pt>
                <c:pt idx="76">
                  <c:v>683.8947</c:v>
                </c:pt>
                <c:pt idx="77">
                  <c:v>688.2222</c:v>
                </c:pt>
                <c:pt idx="78">
                  <c:v>632.2667</c:v>
                </c:pt>
                <c:pt idx="79">
                  <c:v>655.75</c:v>
                </c:pt>
                <c:pt idx="80">
                  <c:v>667.0</c:v>
                </c:pt>
                <c:pt idx="81">
                  <c:v>707.25</c:v>
                </c:pt>
                <c:pt idx="82">
                  <c:v>755.8889</c:v>
                </c:pt>
                <c:pt idx="83">
                  <c:v>690.7143</c:v>
                </c:pt>
                <c:pt idx="84">
                  <c:v>712.5</c:v>
                </c:pt>
                <c:pt idx="85">
                  <c:v>700.3333</c:v>
                </c:pt>
                <c:pt idx="86">
                  <c:v>657.9167</c:v>
                </c:pt>
                <c:pt idx="87">
                  <c:v>675.4667</c:v>
                </c:pt>
                <c:pt idx="88">
                  <c:v>745.1667</c:v>
                </c:pt>
                <c:pt idx="89">
                  <c:v>742.4444</c:v>
                </c:pt>
                <c:pt idx="90">
                  <c:v>755.1111</c:v>
                </c:pt>
                <c:pt idx="91">
                  <c:v>728.5455</c:v>
                </c:pt>
                <c:pt idx="92">
                  <c:v>717.5294</c:v>
                </c:pt>
                <c:pt idx="93">
                  <c:v>714.8462</c:v>
                </c:pt>
                <c:pt idx="94">
                  <c:v>697.875</c:v>
                </c:pt>
                <c:pt idx="95">
                  <c:v>710.025</c:v>
                </c:pt>
                <c:pt idx="96">
                  <c:v>725.6429</c:v>
                </c:pt>
                <c:pt idx="97">
                  <c:v>712.9667</c:v>
                </c:pt>
                <c:pt idx="98">
                  <c:v>698.625</c:v>
                </c:pt>
                <c:pt idx="99">
                  <c:v>697.1711</c:v>
                </c:pt>
                <c:pt idx="100">
                  <c:v>700.25</c:v>
                </c:pt>
                <c:pt idx="101">
                  <c:v>713.0526</c:v>
                </c:pt>
                <c:pt idx="102">
                  <c:v>678.4865</c:v>
                </c:pt>
                <c:pt idx="103">
                  <c:v>704.6042</c:v>
                </c:pt>
                <c:pt idx="104">
                  <c:v>704.6757</c:v>
                </c:pt>
              </c:numCache>
            </c:numRef>
          </c:xVal>
          <c:yVal>
            <c:numRef>
              <c:f>Sheet1!$B$2:$B$106</c:f>
              <c:numCache>
                <c:formatCode>General</c:formatCode>
                <c:ptCount val="105"/>
                <c:pt idx="0">
                  <c:v>0.13230769230769232</c:v>
                </c:pt>
                <c:pt idx="1">
                  <c:v>0.14671814671814673</c:v>
                </c:pt>
                <c:pt idx="2">
                  <c:v>0.2288135593220339</c:v>
                </c:pt>
                <c:pt idx="3">
                  <c:v>0.17768595041322313</c:v>
                </c:pt>
                <c:pt idx="4">
                  <c:v>0.21951219512195122</c:v>
                </c:pt>
                <c:pt idx="5">
                  <c:v>0.18352059925093633</c:v>
                </c:pt>
                <c:pt idx="6">
                  <c:v>0.21245421245421245</c:v>
                </c:pt>
                <c:pt idx="7">
                  <c:v>0.203125</c:v>
                </c:pt>
                <c:pt idx="8">
                  <c:v>0.20440251572327045</c:v>
                </c:pt>
                <c:pt idx="9">
                  <c:v>0.20892018779342722</c:v>
                </c:pt>
                <c:pt idx="10">
                  <c:v>0.2275711159737418</c:v>
                </c:pt>
                <c:pt idx="11">
                  <c:v>0.2036082474226804</c:v>
                </c:pt>
                <c:pt idx="12">
                  <c:v>0.2111111111111111</c:v>
                </c:pt>
                <c:pt idx="13">
                  <c:v>0.21428571428571427</c:v>
                </c:pt>
                <c:pt idx="14">
                  <c:v>0.23300970873786409</c:v>
                </c:pt>
                <c:pt idx="15">
                  <c:v>0.24232081911262798</c:v>
                </c:pt>
                <c:pt idx="16">
                  <c:v>0.16423357664233576</c:v>
                </c:pt>
                <c:pt idx="17">
                  <c:v>0.17110266159695817</c:v>
                </c:pt>
                <c:pt idx="18">
                  <c:v>0.13703703703703704</c:v>
                </c:pt>
                <c:pt idx="19">
                  <c:v>0.14444444444444443</c:v>
                </c:pt>
                <c:pt idx="20">
                  <c:v>0.19148936170212766</c:v>
                </c:pt>
                <c:pt idx="21">
                  <c:v>0.1951219512195122</c:v>
                </c:pt>
                <c:pt idx="22">
                  <c:v>0.2268041237113402</c:v>
                </c:pt>
                <c:pt idx="23">
                  <c:v>0.20994475138121546</c:v>
                </c:pt>
                <c:pt idx="24">
                  <c:v>0.21830985915492956</c:v>
                </c:pt>
                <c:pt idx="25">
                  <c:v>0.21428571428571427</c:v>
                </c:pt>
                <c:pt idx="26">
                  <c:v>0.1875</c:v>
                </c:pt>
                <c:pt idx="27">
                  <c:v>0.1652892561983471</c:v>
                </c:pt>
                <c:pt idx="28">
                  <c:v>0.19090909090909092</c:v>
                </c:pt>
                <c:pt idx="29">
                  <c:v>0.1875</c:v>
                </c:pt>
                <c:pt idx="30">
                  <c:v>0.1588785046728972</c:v>
                </c:pt>
                <c:pt idx="31">
                  <c:v>0.14736842105263157</c:v>
                </c:pt>
                <c:pt idx="32">
                  <c:v>0.125</c:v>
                </c:pt>
                <c:pt idx="33">
                  <c:v>0.18811881188118812</c:v>
                </c:pt>
                <c:pt idx="34">
                  <c:v>0.140625</c:v>
                </c:pt>
                <c:pt idx="35">
                  <c:v>0.18064516129032257</c:v>
                </c:pt>
                <c:pt idx="36">
                  <c:v>0.17647058823529413</c:v>
                </c:pt>
                <c:pt idx="37">
                  <c:v>0.13953488372093023</c:v>
                </c:pt>
                <c:pt idx="38">
                  <c:v>0.14912280701754385</c:v>
                </c:pt>
                <c:pt idx="39">
                  <c:v>0.21212121212121213</c:v>
                </c:pt>
                <c:pt idx="40">
                  <c:v>0.20279720279720279</c:v>
                </c:pt>
                <c:pt idx="41">
                  <c:v>0.20714285714285716</c:v>
                </c:pt>
                <c:pt idx="42">
                  <c:v>0.1830065359477124</c:v>
                </c:pt>
                <c:pt idx="43">
                  <c:v>0.2934131736526946</c:v>
                </c:pt>
                <c:pt idx="44">
                  <c:v>0.22169811320754718</c:v>
                </c:pt>
                <c:pt idx="45">
                  <c:v>0.20180722891566266</c:v>
                </c:pt>
                <c:pt idx="46">
                  <c:v>0.22966507177033493</c:v>
                </c:pt>
                <c:pt idx="47">
                  <c:v>0.2800982800982801</c:v>
                </c:pt>
                <c:pt idx="48">
                  <c:v>0.26373626373626374</c:v>
                </c:pt>
                <c:pt idx="49">
                  <c:v>0.20588235294117646</c:v>
                </c:pt>
                <c:pt idx="50">
                  <c:v>0.2074468085106383</c:v>
                </c:pt>
                <c:pt idx="51">
                  <c:v>0.19658119658119658</c:v>
                </c:pt>
                <c:pt idx="52">
                  <c:v>0.14733542319749215</c:v>
                </c:pt>
                <c:pt idx="53">
                  <c:v>0.18930041152263374</c:v>
                </c:pt>
                <c:pt idx="54">
                  <c:v>0.17040358744394618</c:v>
                </c:pt>
                <c:pt idx="55">
                  <c:v>0.17338709677419356</c:v>
                </c:pt>
                <c:pt idx="56">
                  <c:v>0.19548872180451127</c:v>
                </c:pt>
                <c:pt idx="57">
                  <c:v>0.20522388059701493</c:v>
                </c:pt>
                <c:pt idx="58">
                  <c:v>0.25</c:v>
                </c:pt>
                <c:pt idx="59">
                  <c:v>0.2052980132450331</c:v>
                </c:pt>
                <c:pt idx="60">
                  <c:v>0.1935483870967742</c:v>
                </c:pt>
                <c:pt idx="61">
                  <c:v>0.13573407202216067</c:v>
                </c:pt>
                <c:pt idx="62">
                  <c:v>0.17400881057268722</c:v>
                </c:pt>
                <c:pt idx="63">
                  <c:v>0.169921875</c:v>
                </c:pt>
                <c:pt idx="64">
                  <c:v>0.16377649325626203</c:v>
                </c:pt>
                <c:pt idx="65">
                  <c:v>0.13468634686346864</c:v>
                </c:pt>
                <c:pt idx="66">
                  <c:v>0.14736842105263157</c:v>
                </c:pt>
                <c:pt idx="67">
                  <c:v>0.11188811188811189</c:v>
                </c:pt>
                <c:pt idx="68">
                  <c:v>0.11490683229813664</c:v>
                </c:pt>
                <c:pt idx="69">
                  <c:v>0.12333333333333334</c:v>
                </c:pt>
                <c:pt idx="70">
                  <c:v>0.1111111111111111</c:v>
                </c:pt>
                <c:pt idx="71">
                  <c:v>0.1276595744680851</c:v>
                </c:pt>
                <c:pt idx="72">
                  <c:v>0.09090909090909091</c:v>
                </c:pt>
                <c:pt idx="73">
                  <c:v>0.11822660098522167</c:v>
                </c:pt>
                <c:pt idx="74">
                  <c:v>0.12562814070351758</c:v>
                </c:pt>
                <c:pt idx="75">
                  <c:v>0.08609271523178808</c:v>
                </c:pt>
                <c:pt idx="76">
                  <c:v>0.11728395061728394</c:v>
                </c:pt>
                <c:pt idx="77">
                  <c:v>0.061224489795918366</c:v>
                </c:pt>
                <c:pt idx="78">
                  <c:v>0.10714285714285714</c:v>
                </c:pt>
                <c:pt idx="79">
                  <c:v>0.08823529411764706</c:v>
                </c:pt>
                <c:pt idx="80">
                  <c:v>0.07913669064748201</c:v>
                </c:pt>
                <c:pt idx="81">
                  <c:v>0.11904761904761904</c:v>
                </c:pt>
                <c:pt idx="82">
                  <c:v>0.06716417910447761</c:v>
                </c:pt>
                <c:pt idx="83">
                  <c:v>0.06422018348623854</c:v>
                </c:pt>
                <c:pt idx="84">
                  <c:v>0.05454545454545454</c:v>
                </c:pt>
                <c:pt idx="85">
                  <c:v>0.07258064516129033</c:v>
                </c:pt>
                <c:pt idx="86">
                  <c:v>0.07692307692307693</c:v>
                </c:pt>
                <c:pt idx="87">
                  <c:v>0.08670520231213873</c:v>
                </c:pt>
                <c:pt idx="88">
                  <c:v>0.1016949152542373</c:v>
                </c:pt>
                <c:pt idx="89">
                  <c:v>0.09183673469387756</c:v>
                </c:pt>
                <c:pt idx="90">
                  <c:v>0.08737864077669903</c:v>
                </c:pt>
                <c:pt idx="91">
                  <c:v>0.10185185185185185</c:v>
                </c:pt>
                <c:pt idx="92">
                  <c:v>0.136</c:v>
                </c:pt>
                <c:pt idx="93">
                  <c:v>0.104</c:v>
                </c:pt>
                <c:pt idx="94">
                  <c:v>0.13008130081300814</c:v>
                </c:pt>
                <c:pt idx="95">
                  <c:v>0.19047619047619047</c:v>
                </c:pt>
                <c:pt idx="96">
                  <c:v>0.12556053811659193</c:v>
                </c:pt>
                <c:pt idx="97">
                  <c:v>0.12195121951219512</c:v>
                </c:pt>
                <c:pt idx="98">
                  <c:v>0.15946843853820597</c:v>
                </c:pt>
                <c:pt idx="99">
                  <c:v>0.17040358744394618</c:v>
                </c:pt>
                <c:pt idx="100">
                  <c:v>0.12256267409470752</c:v>
                </c:pt>
                <c:pt idx="101">
                  <c:v>0.1642651296829971</c:v>
                </c:pt>
                <c:pt idx="102">
                  <c:v>0.13553113553113552</c:v>
                </c:pt>
                <c:pt idx="103">
                  <c:v>0.15</c:v>
                </c:pt>
                <c:pt idx="104">
                  <c:v>0.129370629370629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25.3333</c:v>
                </c:pt>
                <c:pt idx="21">
                  <c:v>694.8824</c:v>
                </c:pt>
                <c:pt idx="22">
                  <c:v>711.8947</c:v>
                </c:pt>
                <c:pt idx="23">
                  <c:v>710.2917</c:v>
                </c:pt>
                <c:pt idx="24">
                  <c:v>661.1875</c:v>
                </c:pt>
                <c:pt idx="25">
                  <c:v>671.7059</c:v>
                </c:pt>
                <c:pt idx="26">
                  <c:v>722.1176</c:v>
                </c:pt>
                <c:pt idx="27">
                  <c:v>732.2143</c:v>
                </c:pt>
                <c:pt idx="28">
                  <c:v>729.3333</c:v>
                </c:pt>
                <c:pt idx="29">
                  <c:v>755.1667</c:v>
                </c:pt>
                <c:pt idx="30">
                  <c:v>771.5</c:v>
                </c:pt>
                <c:pt idx="31">
                  <c:v>759.5</c:v>
                </c:pt>
                <c:pt idx="32">
                  <c:v>771.0</c:v>
                </c:pt>
                <c:pt idx="33">
                  <c:v>733.875</c:v>
                </c:pt>
                <c:pt idx="34">
                  <c:v>742.5294</c:v>
                </c:pt>
                <c:pt idx="35">
                  <c:v>713.0</c:v>
                </c:pt>
                <c:pt idx="36">
                  <c:v>741.0</c:v>
                </c:pt>
                <c:pt idx="37">
                  <c:v>722.7</c:v>
                </c:pt>
                <c:pt idx="38">
                  <c:v>639.8571</c:v>
                </c:pt>
                <c:pt idx="39">
                  <c:v>688.3636</c:v>
                </c:pt>
                <c:pt idx="40">
                  <c:v>733.5833</c:v>
                </c:pt>
                <c:pt idx="41">
                  <c:v>759.5</c:v>
                </c:pt>
                <c:pt idx="42">
                  <c:v>689.875</c:v>
                </c:pt>
                <c:pt idx="43">
                  <c:v>719.1538</c:v>
                </c:pt>
                <c:pt idx="44">
                  <c:v>692.1667</c:v>
                </c:pt>
                <c:pt idx="45">
                  <c:v>722.4667</c:v>
                </c:pt>
                <c:pt idx="46">
                  <c:v>713.3953</c:v>
                </c:pt>
                <c:pt idx="47">
                  <c:v>727.9565</c:v>
                </c:pt>
                <c:pt idx="48">
                  <c:v>729.8444</c:v>
                </c:pt>
                <c:pt idx="49">
                  <c:v>743.42</c:v>
                </c:pt>
                <c:pt idx="50">
                  <c:v>742.8806</c:v>
                </c:pt>
                <c:pt idx="51">
                  <c:v>662.6053</c:v>
                </c:pt>
              </c:numCache>
            </c:numRef>
          </c:xVal>
          <c:yVal>
            <c:numRef>
              <c:f>Sheet1!$B$109:$B$160</c:f>
              <c:numCache>
                <c:formatCode>General</c:formatCode>
                <c:ptCount val="52"/>
                <c:pt idx="0">
                  <c:v>0.1103202846975089</c:v>
                </c:pt>
                <c:pt idx="1">
                  <c:v>0.15625</c:v>
                </c:pt>
                <c:pt idx="2">
                  <c:v>0.15827338129496402</c:v>
                </c:pt>
                <c:pt idx="3">
                  <c:v>0.18315018315018314</c:v>
                </c:pt>
                <c:pt idx="4">
                  <c:v>0.14420062695924765</c:v>
                </c:pt>
                <c:pt idx="5">
                  <c:v>0.14241486068111456</c:v>
                </c:pt>
                <c:pt idx="6">
                  <c:v>0.1569767441860465</c:v>
                </c:pt>
                <c:pt idx="7">
                  <c:v>0.15451895043731778</c:v>
                </c:pt>
                <c:pt idx="8">
                  <c:v>0.15926892950391644</c:v>
                </c:pt>
                <c:pt idx="9">
                  <c:v>0.1590909090909091</c:v>
                </c:pt>
                <c:pt idx="10">
                  <c:v>0.1718377088305489</c:v>
                </c:pt>
                <c:pt idx="11">
                  <c:v>0.15384615384615385</c:v>
                </c:pt>
                <c:pt idx="12">
                  <c:v>0.15086206896551724</c:v>
                </c:pt>
                <c:pt idx="13">
                  <c:v>0.14058355437665782</c:v>
                </c:pt>
                <c:pt idx="14">
                  <c:v>0.1353135313531353</c:v>
                </c:pt>
                <c:pt idx="15">
                  <c:v>0.12203389830508475</c:v>
                </c:pt>
                <c:pt idx="16">
                  <c:v>0.13839285714285715</c:v>
                </c:pt>
                <c:pt idx="17">
                  <c:v>0.13636363636363635</c:v>
                </c:pt>
                <c:pt idx="18">
                  <c:v>0.11467889908256881</c:v>
                </c:pt>
                <c:pt idx="19">
                  <c:v>0.12025316455696203</c:v>
                </c:pt>
                <c:pt idx="20">
                  <c:v>0.125</c:v>
                </c:pt>
                <c:pt idx="21">
                  <c:v>0.12781954887218044</c:v>
                </c:pt>
                <c:pt idx="22">
                  <c:v>0.1292517006802721</c:v>
                </c:pt>
                <c:pt idx="23">
                  <c:v>0.15789473684210525</c:v>
                </c:pt>
                <c:pt idx="24">
                  <c:v>0.128</c:v>
                </c:pt>
                <c:pt idx="25">
                  <c:v>0.13934426229508196</c:v>
                </c:pt>
                <c:pt idx="26">
                  <c:v>0.136</c:v>
                </c:pt>
                <c:pt idx="27">
                  <c:v>0.14285714285714285</c:v>
                </c:pt>
                <c:pt idx="28">
                  <c:v>0.10909090909090909</c:v>
                </c:pt>
                <c:pt idx="29">
                  <c:v>0.1276595744680851</c:v>
                </c:pt>
                <c:pt idx="30">
                  <c:v>0.11627906976744186</c:v>
                </c:pt>
                <c:pt idx="31">
                  <c:v>0.0625</c:v>
                </c:pt>
                <c:pt idx="32">
                  <c:v>0.12195121951219512</c:v>
                </c:pt>
                <c:pt idx="33">
                  <c:v>0.06299212598425197</c:v>
                </c:pt>
                <c:pt idx="34">
                  <c:v>0.1349206349206349</c:v>
                </c:pt>
                <c:pt idx="35">
                  <c:v>0.1415929203539823</c:v>
                </c:pt>
                <c:pt idx="36">
                  <c:v>0.13253012048192772</c:v>
                </c:pt>
                <c:pt idx="37">
                  <c:v>0.1282051282051282</c:v>
                </c:pt>
                <c:pt idx="38">
                  <c:v>0.4158415841584158</c:v>
                </c:pt>
                <c:pt idx="39">
                  <c:v>0.11702127659574468</c:v>
                </c:pt>
                <c:pt idx="40">
                  <c:v>0.1111111111111111</c:v>
                </c:pt>
                <c:pt idx="41">
                  <c:v>0.13793103448275862</c:v>
                </c:pt>
                <c:pt idx="42">
                  <c:v>0.13114754098360656</c:v>
                </c:pt>
                <c:pt idx="43">
                  <c:v>0.09420289855072464</c:v>
                </c:pt>
                <c:pt idx="44">
                  <c:v>0.13559322033898305</c:v>
                </c:pt>
                <c:pt idx="45">
                  <c:v>0.17786561264822134</c:v>
                </c:pt>
                <c:pt idx="46">
                  <c:v>0.17479674796747968</c:v>
                </c:pt>
                <c:pt idx="47">
                  <c:v>0.16666666666666666</c:v>
                </c:pt>
                <c:pt idx="48">
                  <c:v>0.1461038961038961</c:v>
                </c:pt>
                <c:pt idx="49">
                  <c:v>0.10570824524312897</c:v>
                </c:pt>
                <c:pt idx="50">
                  <c:v>0.08470290771175727</c:v>
                </c:pt>
                <c:pt idx="51">
                  <c:v>0.108262108262108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22.1923835531277</c:v>
                </c:pt>
              </c:numCache>
            </c:numRef>
          </c:xVal>
          <c:yVal>
            <c:numRef>
              <c:f>Sheet1!$B$163:$B$164</c:f>
              <c:numCache>
                <c:formatCode>General</c:formatCode>
                <c:ptCount val="2"/>
                <c:pt idx="0">
                  <c:v>0.20596331660904574</c:v>
                </c:pt>
                <c:pt idx="1">
                  <c:v>0.2059633166090457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22.1923835531277</c:v>
                </c:pt>
                <c:pt idx="1">
                  <c:v>622.1923835531277</c:v>
                </c:pt>
              </c:numCache>
            </c:numRef>
          </c:xVal>
          <c:yVal>
            <c:numRef>
              <c:f>Sheet1!$B$167:$B$168</c:f>
              <c:numCache>
                <c:formatCode>General</c:formatCode>
                <c:ptCount val="2"/>
                <c:pt idx="0">
                  <c:v>0.205963316609045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85.5464626840518</c:v>
                </c:pt>
              </c:numCache>
            </c:numRef>
          </c:xVal>
          <c:yVal>
            <c:numRef>
              <c:f>Sheet1!$B$171:$B$172</c:f>
              <c:numCache>
                <c:formatCode>General</c:formatCode>
                <c:ptCount val="2"/>
                <c:pt idx="0">
                  <c:v>0.1588081432726731</c:v>
                </c:pt>
                <c:pt idx="1">
                  <c:v>0.158808143272673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85.5464626840518</c:v>
                </c:pt>
                <c:pt idx="1">
                  <c:v>685.5464626840518</c:v>
                </c:pt>
              </c:numCache>
            </c:numRef>
          </c:xVal>
          <c:yVal>
            <c:numRef>
              <c:f>Sheet1!$B$175:$B$176</c:f>
              <c:numCache>
                <c:formatCode>General</c:formatCode>
                <c:ptCount val="2"/>
                <c:pt idx="0">
                  <c:v>0.158808143272673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24.1358236458124</c:v>
                </c:pt>
              </c:numCache>
            </c:numRef>
          </c:xVal>
          <c:yVal>
            <c:numRef>
              <c:f>Sheet1!$B$179:$B$180</c:f>
              <c:numCache>
                <c:formatCode>General</c:formatCode>
                <c:ptCount val="2"/>
                <c:pt idx="0">
                  <c:v>0.130085635897399</c:v>
                </c:pt>
                <c:pt idx="1">
                  <c:v>0.13008563589739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24.1358236458124</c:v>
                </c:pt>
                <c:pt idx="1">
                  <c:v>724.1358236458124</c:v>
                </c:pt>
              </c:numCache>
            </c:numRef>
          </c:xVal>
          <c:yVal>
            <c:numRef>
              <c:f>Sheet1!$B$183:$B$184</c:f>
              <c:numCache>
                <c:formatCode>General</c:formatCode>
                <c:ptCount val="2"/>
                <c:pt idx="0">
                  <c:v>0.1300856358973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25.3333</c:v>
                </c:pt>
                <c:pt idx="21">
                  <c:v>694.8824</c:v>
                </c:pt>
                <c:pt idx="22">
                  <c:v>711.8947</c:v>
                </c:pt>
                <c:pt idx="23">
                  <c:v>710.2917</c:v>
                </c:pt>
                <c:pt idx="24">
                  <c:v>661.1875</c:v>
                </c:pt>
                <c:pt idx="25">
                  <c:v>671.7059</c:v>
                </c:pt>
                <c:pt idx="26">
                  <c:v>722.1176</c:v>
                </c:pt>
                <c:pt idx="27">
                  <c:v>732.2143</c:v>
                </c:pt>
                <c:pt idx="28">
                  <c:v>729.3333</c:v>
                </c:pt>
                <c:pt idx="29">
                  <c:v>755.1667</c:v>
                </c:pt>
                <c:pt idx="30">
                  <c:v>771.5</c:v>
                </c:pt>
                <c:pt idx="31">
                  <c:v>759.5</c:v>
                </c:pt>
                <c:pt idx="32">
                  <c:v>771.0</c:v>
                </c:pt>
                <c:pt idx="33">
                  <c:v>733.875</c:v>
                </c:pt>
                <c:pt idx="34">
                  <c:v>742.5294</c:v>
                </c:pt>
                <c:pt idx="35">
                  <c:v>713.0</c:v>
                </c:pt>
                <c:pt idx="36">
                  <c:v>741.0</c:v>
                </c:pt>
                <c:pt idx="37">
                  <c:v>722.7</c:v>
                </c:pt>
                <c:pt idx="38">
                  <c:v>639.8571</c:v>
                </c:pt>
                <c:pt idx="39">
                  <c:v>688.3636</c:v>
                </c:pt>
                <c:pt idx="40">
                  <c:v>733.5833</c:v>
                </c:pt>
                <c:pt idx="41">
                  <c:v>759.5</c:v>
                </c:pt>
                <c:pt idx="42">
                  <c:v>689.875</c:v>
                </c:pt>
                <c:pt idx="43">
                  <c:v>719.1538</c:v>
                </c:pt>
                <c:pt idx="44">
                  <c:v>692.1667</c:v>
                </c:pt>
                <c:pt idx="45">
                  <c:v>722.4667</c:v>
                </c:pt>
                <c:pt idx="46">
                  <c:v>713.3953</c:v>
                </c:pt>
                <c:pt idx="47">
                  <c:v>727.9565</c:v>
                </c:pt>
                <c:pt idx="48">
                  <c:v>729.8444</c:v>
                </c:pt>
                <c:pt idx="49">
                  <c:v>743.42</c:v>
                </c:pt>
                <c:pt idx="50">
                  <c:v>742.8806</c:v>
                </c:pt>
                <c:pt idx="51">
                  <c:v>662.6053</c:v>
                </c:pt>
                <c:pt idx="52">
                  <c:v>685.5464626840518</c:v>
                </c:pt>
                <c:pt idx="53">
                  <c:v>622.1923835531277</c:v>
                </c:pt>
                <c:pt idx="54">
                  <c:v>724.1358236458124</c:v>
                </c:pt>
              </c:numCache>
            </c:numRef>
          </c:xVal>
          <c:yVal>
            <c:numRef>
              <c:f>Sheet1!$B$187:$B$241</c:f>
              <c:numCache>
                <c:formatCode>General</c:formatCode>
                <c:ptCount val="55"/>
                <c:pt idx="0">
                  <c:v>0.16089561169322875</c:v>
                </c:pt>
                <c:pt idx="1">
                  <c:v>0.16085236719171558</c:v>
                </c:pt>
                <c:pt idx="2">
                  <c:v>0.13203061402916239</c:v>
                </c:pt>
                <c:pt idx="3">
                  <c:v>0.14160447030478296</c:v>
                </c:pt>
                <c:pt idx="4">
                  <c:v>0.14578489616964985</c:v>
                </c:pt>
                <c:pt idx="5">
                  <c:v>0.13654575680161052</c:v>
                </c:pt>
                <c:pt idx="6">
                  <c:v>0.14373595531310113</c:v>
                </c:pt>
                <c:pt idx="7">
                  <c:v>0.1613635603696717</c:v>
                </c:pt>
                <c:pt idx="8">
                  <c:v>0.1531506033464899</c:v>
                </c:pt>
                <c:pt idx="9">
                  <c:v>0.15468135449643827</c:v>
                </c:pt>
                <c:pt idx="10">
                  <c:v>0.15820179930292766</c:v>
                </c:pt>
                <c:pt idx="11">
                  <c:v>0.1462873809023787</c:v>
                </c:pt>
                <c:pt idx="12">
                  <c:v>0.15699259074598604</c:v>
                </c:pt>
                <c:pt idx="13">
                  <c:v>0.1665737412748738</c:v>
                </c:pt>
                <c:pt idx="14">
                  <c:v>0.16026778489415183</c:v>
                </c:pt>
                <c:pt idx="15">
                  <c:v>0.1555967088503265</c:v>
                </c:pt>
                <c:pt idx="16">
                  <c:v>0.13955061699195226</c:v>
                </c:pt>
                <c:pt idx="17">
                  <c:v>0.14044170678905332</c:v>
                </c:pt>
                <c:pt idx="18">
                  <c:v>0.11482414045204381</c:v>
                </c:pt>
                <c:pt idx="19">
                  <c:v>0.14460285498457093</c:v>
                </c:pt>
                <c:pt idx="20">
                  <c:v>0.12919434040668187</c:v>
                </c:pt>
                <c:pt idx="21">
                  <c:v>0.15185929722471347</c:v>
                </c:pt>
                <c:pt idx="22">
                  <c:v>0.139196845708489</c:v>
                </c:pt>
                <c:pt idx="23">
                  <c:v>0.14038997713578028</c:v>
                </c:pt>
                <c:pt idx="24">
                  <c:v>0.17693880073652724</c:v>
                </c:pt>
                <c:pt idx="25">
                  <c:v>0.16910983404605884</c:v>
                </c:pt>
                <c:pt idx="26">
                  <c:v>0.1315878230833759</c:v>
                </c:pt>
                <c:pt idx="27">
                  <c:v>0.12407273257686813</c:v>
                </c:pt>
                <c:pt idx="28">
                  <c:v>0.1262170941751377</c:v>
                </c:pt>
                <c:pt idx="29">
                  <c:v>0.10698899597564493</c:v>
                </c:pt>
                <c:pt idx="30">
                  <c:v>0.09483193200722517</c:v>
                </c:pt>
                <c:pt idx="31">
                  <c:v>0.10376367070185744</c:v>
                </c:pt>
                <c:pt idx="32">
                  <c:v>0.09520408778616818</c:v>
                </c:pt>
                <c:pt idx="33">
                  <c:v>0.12283665437268676</c:v>
                </c:pt>
                <c:pt idx="34">
                  <c:v>0.11639508442611801</c:v>
                </c:pt>
                <c:pt idx="35">
                  <c:v>0.13837415814355758</c:v>
                </c:pt>
                <c:pt idx="36">
                  <c:v>0.11753343452274889</c:v>
                </c:pt>
                <c:pt idx="37">
                  <c:v>0.13115433603206306</c:v>
                </c:pt>
                <c:pt idx="38">
                  <c:v>0.19281526399085935</c:v>
                </c:pt>
                <c:pt idx="39">
                  <c:v>0.15671131540826078</c:v>
                </c:pt>
                <c:pt idx="40">
                  <c:v>0.12305377005412221</c:v>
                </c:pt>
                <c:pt idx="41">
                  <c:v>0.10376367070185744</c:v>
                </c:pt>
                <c:pt idx="42">
                  <c:v>0.15558636291967187</c:v>
                </c:pt>
                <c:pt idx="43">
                  <c:v>0.13379381367863852</c:v>
                </c:pt>
                <c:pt idx="44">
                  <c:v>0.1538806241224645</c:v>
                </c:pt>
                <c:pt idx="45">
                  <c:v>0.13132798391851797</c:v>
                </c:pt>
                <c:pt idx="46">
                  <c:v>0.13807993178472522</c:v>
                </c:pt>
                <c:pt idx="47">
                  <c:v>0.12724186232803525</c:v>
                </c:pt>
                <c:pt idx="48">
                  <c:v>0.12583667653790231</c:v>
                </c:pt>
                <c:pt idx="49">
                  <c:v>0.11573220055266475</c:v>
                </c:pt>
                <c:pt idx="50">
                  <c:v>0.1161336822069885</c:v>
                </c:pt>
                <c:pt idx="51">
                  <c:v>0.17588351580975642</c:v>
                </c:pt>
                <c:pt idx="52">
                  <c:v>0.15880814327267312</c:v>
                </c:pt>
                <c:pt idx="53">
                  <c:v>0.2059633166090457</c:v>
                </c:pt>
                <c:pt idx="54">
                  <c:v>0.130085635897398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26.0"/>
          <c:min val="4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900990099009895"/>
          <c:min val="0.043636363636363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7.32937017137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7.329370171379</c:v>
                </c:pt>
                <c:pt idx="1">
                  <c:v>3507.32937017137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7.32937017137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7.329370171379</c:v>
                </c:pt>
                <c:pt idx="1">
                  <c:v>3507.32937017137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1.422271084922</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1.422271084922</c:v>
                </c:pt>
                <c:pt idx="1">
                  <c:v>4251.422271084922</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7.329370171379</c:v>
                </c:pt>
                <c:pt idx="53">
                  <c:v>3507.329370171379</c:v>
                </c:pt>
                <c:pt idx="54">
                  <c:v>4251.422271084922</c:v>
                </c:pt>
              </c:numCache>
            </c:numRef>
          </c:xVal>
          <c:yVal>
            <c:numRef>
              <c:f>Sheet1!$B$136:$B$190</c:f>
              <c:numCache>
                <c:formatCode>General</c:formatCode>
                <c:ptCount val="55"/>
                <c:pt idx="0">
                  <c:v>0.002503580264801966</c:v>
                </c:pt>
                <c:pt idx="1">
                  <c:v>0.00367349519197689</c:v>
                </c:pt>
                <c:pt idx="2">
                  <c:v>0.002628251162475396</c:v>
                </c:pt>
                <c:pt idx="3">
                  <c:v>0.0038078366422677114</c:v>
                </c:pt>
                <c:pt idx="4">
                  <c:v>0.0024316670684189122</c:v>
                </c:pt>
                <c:pt idx="5">
                  <c:v>0.0018260996131803566</c:v>
                </c:pt>
                <c:pt idx="6">
                  <c:v>0.002373048446164489</c:v>
                </c:pt>
                <c:pt idx="7">
                  <c:v>0.0028887718405446183</c:v>
                </c:pt>
                <c:pt idx="8">
                  <c:v>0.003095578363637456</c:v>
                </c:pt>
                <c:pt idx="9">
                  <c:v>0.003093070810249678</c:v>
                </c:pt>
                <c:pt idx="10">
                  <c:v>0.0027556454431235545</c:v>
                </c:pt>
                <c:pt idx="11">
                  <c:v>0.0032272253293297677</c:v>
                </c:pt>
                <c:pt idx="12">
                  <c:v>0.003536460743289763</c:v>
                </c:pt>
                <c:pt idx="13">
                  <c:v>0.004195888826988729</c:v>
                </c:pt>
                <c:pt idx="14">
                  <c:v>0.004213271117716706</c:v>
                </c:pt>
                <c:pt idx="15">
                  <c:v>0.0038444348669780526</c:v>
                </c:pt>
                <c:pt idx="16">
                  <c:v>0.0036363006699149988</c:v>
                </c:pt>
                <c:pt idx="17">
                  <c:v>0.00499658918239692</c:v>
                </c:pt>
                <c:pt idx="18">
                  <c:v>0.003061091701993925</c:v>
                </c:pt>
                <c:pt idx="19">
                  <c:v>0.0026530337493851242</c:v>
                </c:pt>
                <c:pt idx="20">
                  <c:v>0.003031294503709374</c:v>
                </c:pt>
                <c:pt idx="21">
                  <c:v>0.0035920747600854683</c:v>
                </c:pt>
                <c:pt idx="22">
                  <c:v>0.003227121625442542</c:v>
                </c:pt>
                <c:pt idx="23">
                  <c:v>0.004745974207160709</c:v>
                </c:pt>
                <c:pt idx="24">
                  <c:v>0.003240101950371506</c:v>
                </c:pt>
                <c:pt idx="25">
                  <c:v>0.0037084668509401383</c:v>
                </c:pt>
                <c:pt idx="26">
                  <c:v>0.003284542038452202</c:v>
                </c:pt>
                <c:pt idx="27">
                  <c:v>0.0037451852928955445</c:v>
                </c:pt>
                <c:pt idx="28">
                  <c:v>0.003495147129248633</c:v>
                </c:pt>
                <c:pt idx="29">
                  <c:v>0.003785149765601268</c:v>
                </c:pt>
                <c:pt idx="30">
                  <c:v>0.00390878362440244</c:v>
                </c:pt>
                <c:pt idx="31">
                  <c:v>0.0036564595166299427</c:v>
                </c:pt>
                <c:pt idx="32">
                  <c:v>0.002854073312520019</c:v>
                </c:pt>
                <c:pt idx="33">
                  <c:v>0.0021684793179251914</c:v>
                </c:pt>
                <c:pt idx="34">
                  <c:v>0.0020821453364089195</c:v>
                </c:pt>
                <c:pt idx="35">
                  <c:v>0.003347343989647855</c:v>
                </c:pt>
                <c:pt idx="36">
                  <c:v>0.002844175866365926</c:v>
                </c:pt>
                <c:pt idx="37">
                  <c:v>0.0029715148272653263</c:v>
                </c:pt>
                <c:pt idx="38">
                  <c:v>0.00388982992254255</c:v>
                </c:pt>
                <c:pt idx="39">
                  <c:v>0.0045642494930216325</c:v>
                </c:pt>
                <c:pt idx="40">
                  <c:v>0.004492973877384725</c:v>
                </c:pt>
                <c:pt idx="41">
                  <c:v>0.004156047543932481</c:v>
                </c:pt>
                <c:pt idx="42">
                  <c:v>0.0044144381639741135</c:v>
                </c:pt>
                <c:pt idx="43">
                  <c:v>0.004126585731945631</c:v>
                </c:pt>
                <c:pt idx="44">
                  <c:v>0.0030946129927382163</c:v>
                </c:pt>
                <c:pt idx="45">
                  <c:v>0.0029311330620070243</c:v>
                </c:pt>
                <c:pt idx="46">
                  <c:v>0.0030410416783071366</c:v>
                </c:pt>
                <c:pt idx="47">
                  <c:v>0.003103698972488124</c:v>
                </c:pt>
                <c:pt idx="48">
                  <c:v>0.0038486383422158465</c:v>
                </c:pt>
                <c:pt idx="49">
                  <c:v>0.003549531231152526</c:v>
                </c:pt>
                <c:pt idx="50">
                  <c:v>0.0030463677316107923</c:v>
                </c:pt>
                <c:pt idx="51">
                  <c:v>0.0028625431788889717</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28736477050553953</c:v>
                </c:pt>
                <c:pt idx="1">
                  <c:v>0.026425395987328407</c:v>
                </c:pt>
                <c:pt idx="2">
                  <c:v>0.02709080351114112</c:v>
                </c:pt>
                <c:pt idx="3">
                  <c:v>0.026382083524552544</c:v>
                </c:pt>
                <c:pt idx="4">
                  <c:v>0.03331298351470747</c:v>
                </c:pt>
                <c:pt idx="5">
                  <c:v>0.03335289855072464</c:v>
                </c:pt>
                <c:pt idx="6">
                  <c:v>0.03804813295433983</c:v>
                </c:pt>
                <c:pt idx="7">
                  <c:v>0.02865597959656851</c:v>
                </c:pt>
                <c:pt idx="8">
                  <c:v>0.04033950593269792</c:v>
                </c:pt>
                <c:pt idx="9">
                  <c:v>0.03187193597321755</c:v>
                </c:pt>
                <c:pt idx="10">
                  <c:v>0.025286971773535647</c:v>
                </c:pt>
                <c:pt idx="11">
                  <c:v>0.0311064236366309</c:v>
                </c:pt>
                <c:pt idx="12">
                  <c:v>0.044359907218668726</c:v>
                </c:pt>
                <c:pt idx="13">
                  <c:v>0.03156307660940925</c:v>
                </c:pt>
                <c:pt idx="14">
                  <c:v>0.031821788154897494</c:v>
                </c:pt>
                <c:pt idx="15">
                  <c:v>0.039224283374283374</c:v>
                </c:pt>
                <c:pt idx="16">
                  <c:v>0.03505405530487099</c:v>
                </c:pt>
                <c:pt idx="17">
                  <c:v>0.02944136915715863</c:v>
                </c:pt>
                <c:pt idx="18">
                  <c:v>0.027968949335187277</c:v>
                </c:pt>
                <c:pt idx="19">
                  <c:v>0.029958035971914976</c:v>
                </c:pt>
                <c:pt idx="20">
                  <c:v>0.02809413557367597</c:v>
                </c:pt>
                <c:pt idx="21">
                  <c:v>0.021332251301819167</c:v>
                </c:pt>
                <c:pt idx="22">
                  <c:v>0.02826335566083973</c:v>
                </c:pt>
                <c:pt idx="23">
                  <c:v>0.03799323581041545</c:v>
                </c:pt>
                <c:pt idx="24">
                  <c:v>0.039758392406584166</c:v>
                </c:pt>
                <c:pt idx="25">
                  <c:v>0.030407405130007024</c:v>
                </c:pt>
                <c:pt idx="26">
                  <c:v>0.03431698946312092</c:v>
                </c:pt>
                <c:pt idx="27">
                  <c:v>0.02299102820628671</c:v>
                </c:pt>
                <c:pt idx="28">
                  <c:v>0.0335346463022508</c:v>
                </c:pt>
                <c:pt idx="29">
                  <c:v>0.04705685172171469</c:v>
                </c:pt>
                <c:pt idx="30">
                  <c:v>0.0477447706935123</c:v>
                </c:pt>
                <c:pt idx="31">
                  <c:v>0.03832222344645218</c:v>
                </c:pt>
                <c:pt idx="32">
                  <c:v>0.023429876396324937</c:v>
                </c:pt>
                <c:pt idx="33">
                  <c:v>0.020428287230011367</c:v>
                </c:pt>
                <c:pt idx="34">
                  <c:v>0.028438361698470003</c:v>
                </c:pt>
                <c:pt idx="35">
                  <c:v>0.02650974512743628</c:v>
                </c:pt>
                <c:pt idx="36">
                  <c:v>0.025836195298919205</c:v>
                </c:pt>
                <c:pt idx="37">
                  <c:v>0.03119391706810239</c:v>
                </c:pt>
                <c:pt idx="38">
                  <c:v>0.027154585473220836</c:v>
                </c:pt>
                <c:pt idx="39">
                  <c:v>0.021942653962026205</c:v>
                </c:pt>
                <c:pt idx="40">
                  <c:v>0.024018111380145278</c:v>
                </c:pt>
                <c:pt idx="41">
                  <c:v>0.026620379660472766</c:v>
                </c:pt>
                <c:pt idx="42">
                  <c:v>0.02822878228782288</c:v>
                </c:pt>
                <c:pt idx="43">
                  <c:v>0.02504446816079687</c:v>
                </c:pt>
                <c:pt idx="44">
                  <c:v>0.03311697002403964</c:v>
                </c:pt>
                <c:pt idx="45">
                  <c:v>0.03199362928797924</c:v>
                </c:pt>
                <c:pt idx="46">
                  <c:v>0.03210042161747796</c:v>
                </c:pt>
                <c:pt idx="47">
                  <c:v>0.036146388322421376</c:v>
                </c:pt>
                <c:pt idx="48">
                  <c:v>0.03521657822883932</c:v>
                </c:pt>
                <c:pt idx="49">
                  <c:v>0.03663764933397576</c:v>
                </c:pt>
                <c:pt idx="50">
                  <c:v>0.03268766179346308</c:v>
                </c:pt>
                <c:pt idx="51">
                  <c:v>0.033106812114517166</c:v>
                </c:pt>
                <c:pt idx="52">
                  <c:v>0.03467485172004745</c:v>
                </c:pt>
                <c:pt idx="53">
                  <c:v>0.03134476369495166</c:v>
                </c:pt>
                <c:pt idx="54">
                  <c:v>0.02809292207534437</c:v>
                </c:pt>
                <c:pt idx="55">
                  <c:v>0.03603813197969543</c:v>
                </c:pt>
                <c:pt idx="56">
                  <c:v>0.02943294295729764</c:v>
                </c:pt>
                <c:pt idx="57">
                  <c:v>0.03452532623906525</c:v>
                </c:pt>
                <c:pt idx="58">
                  <c:v>0.036025646782125297</c:v>
                </c:pt>
                <c:pt idx="59">
                  <c:v>0.03926023697838577</c:v>
                </c:pt>
                <c:pt idx="60">
                  <c:v>0.03459940998909368</c:v>
                </c:pt>
                <c:pt idx="61">
                  <c:v>0.03167258536585366</c:v>
                </c:pt>
                <c:pt idx="62">
                  <c:v>0.03216757582962096</c:v>
                </c:pt>
                <c:pt idx="63">
                  <c:v>0.032382533470779504</c:v>
                </c:pt>
                <c:pt idx="64">
                  <c:v>0.0403675142196712</c:v>
                </c:pt>
                <c:pt idx="65">
                  <c:v>0.03311399008781845</c:v>
                </c:pt>
                <c:pt idx="66">
                  <c:v>0.03028321548195013</c:v>
                </c:pt>
                <c:pt idx="67">
                  <c:v>0.02908463234440877</c:v>
                </c:pt>
                <c:pt idx="68">
                  <c:v>0.037225516979700245</c:v>
                </c:pt>
                <c:pt idx="69">
                  <c:v>0.028755447833544633</c:v>
                </c:pt>
                <c:pt idx="70">
                  <c:v>0.04278197140216387</c:v>
                </c:pt>
                <c:pt idx="71">
                  <c:v>0.029006866159641764</c:v>
                </c:pt>
                <c:pt idx="72">
                  <c:v>0.042588269326683297</c:v>
                </c:pt>
                <c:pt idx="73">
                  <c:v>0.044463667820069205</c:v>
                </c:pt>
                <c:pt idx="74">
                  <c:v>0.032696491228070175</c:v>
                </c:pt>
                <c:pt idx="75">
                  <c:v>0.0443138694188421</c:v>
                </c:pt>
                <c:pt idx="76">
                  <c:v>0.03555847342502972</c:v>
                </c:pt>
                <c:pt idx="77">
                  <c:v>0.023881154742693207</c:v>
                </c:pt>
                <c:pt idx="78">
                  <c:v>0.02621272788429196</c:v>
                </c:pt>
                <c:pt idx="79">
                  <c:v>0.04559189948576579</c:v>
                </c:pt>
                <c:pt idx="80">
                  <c:v>0.03128374496152437</c:v>
                </c:pt>
                <c:pt idx="81">
                  <c:v>0.046237736246380626</c:v>
                </c:pt>
                <c:pt idx="82">
                  <c:v>0.05998876226197346</c:v>
                </c:pt>
                <c:pt idx="83">
                  <c:v>0.04169052598881756</c:v>
                </c:pt>
                <c:pt idx="84">
                  <c:v>0.031061667952584696</c:v>
                </c:pt>
                <c:pt idx="85">
                  <c:v>0.02114942971200456</c:v>
                </c:pt>
                <c:pt idx="86">
                  <c:v>0.02325563349680303</c:v>
                </c:pt>
                <c:pt idx="87">
                  <c:v>0.027445807916016456</c:v>
                </c:pt>
                <c:pt idx="88">
                  <c:v>0.02332995647248226</c:v>
                </c:pt>
                <c:pt idx="89">
                  <c:v>0.024498618386589836</c:v>
                </c:pt>
                <c:pt idx="90">
                  <c:v>0.021039667431834722</c:v>
                </c:pt>
                <c:pt idx="91">
                  <c:v>0.027453348778433025</c:v>
                </c:pt>
                <c:pt idx="92">
                  <c:v>0.03559603457537725</c:v>
                </c:pt>
                <c:pt idx="93">
                  <c:v>0.03240476268278735</c:v>
                </c:pt>
                <c:pt idx="94">
                  <c:v>0.050955892214081706</c:v>
                </c:pt>
                <c:pt idx="95">
                  <c:v>0.029588276662074968</c:v>
                </c:pt>
                <c:pt idx="96">
                  <c:v>0.03861828138547894</c:v>
                </c:pt>
                <c:pt idx="97">
                  <c:v>0.03448532496561211</c:v>
                </c:pt>
                <c:pt idx="98">
                  <c:v>0.029780645931111287</c:v>
                </c:pt>
                <c:pt idx="99">
                  <c:v>0.025383232160555005</c:v>
                </c:pt>
                <c:pt idx="100">
                  <c:v>0.0335954323817462</c:v>
                </c:pt>
                <c:pt idx="101">
                  <c:v>0.046897799223255265</c:v>
                </c:pt>
                <c:pt idx="102">
                  <c:v>0.025929501865549518</c:v>
                </c:pt>
                <c:pt idx="103">
                  <c:v>0.027145156045108837</c:v>
                </c:pt>
                <c:pt idx="104">
                  <c:v>0.036378911103580706</c:v>
                </c:pt>
              </c:numCache>
            </c:numRef>
          </c:xVal>
          <c:yVal>
            <c:numRef>
              <c:f>Sheet1!$B$2:$B$106</c:f>
              <c:numCache>
                <c:formatCode>General</c:formatCode>
                <c:ptCount val="105"/>
                <c:pt idx="0">
                  <c:v>0.12615384615384614</c:v>
                </c:pt>
                <c:pt idx="1">
                  <c:v>0.22007722007722008</c:v>
                </c:pt>
                <c:pt idx="2">
                  <c:v>0.1906779661016949</c:v>
                </c:pt>
                <c:pt idx="3">
                  <c:v>0.2768595041322314</c:v>
                </c:pt>
                <c:pt idx="4">
                  <c:v>0.18292682926829268</c:v>
                </c:pt>
                <c:pt idx="5">
                  <c:v>0.22846441947565543</c:v>
                </c:pt>
                <c:pt idx="6">
                  <c:v>0.23809523809523808</c:v>
                </c:pt>
                <c:pt idx="7">
                  <c:v>0.23046875</c:v>
                </c:pt>
                <c:pt idx="8">
                  <c:v>0.20125786163522014</c:v>
                </c:pt>
                <c:pt idx="9">
                  <c:v>0.16666666666666666</c:v>
                </c:pt>
                <c:pt idx="10">
                  <c:v>0.20350109409190373</c:v>
                </c:pt>
                <c:pt idx="11">
                  <c:v>0.2422680412371134</c:v>
                </c:pt>
                <c:pt idx="12">
                  <c:v>0.23055555555555557</c:v>
                </c:pt>
                <c:pt idx="13">
                  <c:v>0.2542857142857143</c:v>
                </c:pt>
                <c:pt idx="14">
                  <c:v>0.2783171521035599</c:v>
                </c:pt>
                <c:pt idx="15">
                  <c:v>0.19112627986348124</c:v>
                </c:pt>
                <c:pt idx="16">
                  <c:v>0.13138686131386862</c:v>
                </c:pt>
                <c:pt idx="17">
                  <c:v>0.12167300380228137</c:v>
                </c:pt>
                <c:pt idx="18">
                  <c:v>0.11481481481481481</c:v>
                </c:pt>
                <c:pt idx="19">
                  <c:v>0.10555555555555556</c:v>
                </c:pt>
                <c:pt idx="20">
                  <c:v>0.09361702127659574</c:v>
                </c:pt>
                <c:pt idx="21">
                  <c:v>0.12195121951219512</c:v>
                </c:pt>
                <c:pt idx="22">
                  <c:v>0.13402061855670103</c:v>
                </c:pt>
                <c:pt idx="23">
                  <c:v>0.1270718232044199</c:v>
                </c:pt>
                <c:pt idx="24">
                  <c:v>0.15492957746478872</c:v>
                </c:pt>
                <c:pt idx="25">
                  <c:v>0.1357142857142857</c:v>
                </c:pt>
                <c:pt idx="26">
                  <c:v>0.2222222222222222</c:v>
                </c:pt>
                <c:pt idx="27">
                  <c:v>0.12396694214876033</c:v>
                </c:pt>
                <c:pt idx="28">
                  <c:v>0.17272727272727273</c:v>
                </c:pt>
                <c:pt idx="29">
                  <c:v>0.1875</c:v>
                </c:pt>
                <c:pt idx="30">
                  <c:v>0.1588785046728972</c:v>
                </c:pt>
                <c:pt idx="31">
                  <c:v>0.16842105263157894</c:v>
                </c:pt>
                <c:pt idx="32">
                  <c:v>0.16346153846153846</c:v>
                </c:pt>
                <c:pt idx="33">
                  <c:v>0.12871287128712872</c:v>
                </c:pt>
                <c:pt idx="34">
                  <c:v>0.2109375</c:v>
                </c:pt>
                <c:pt idx="35">
                  <c:v>0.16129032258064516</c:v>
                </c:pt>
                <c:pt idx="36">
                  <c:v>0.22794117647058823</c:v>
                </c:pt>
                <c:pt idx="37">
                  <c:v>0.15503875968992248</c:v>
                </c:pt>
                <c:pt idx="38">
                  <c:v>0.16666666666666666</c:v>
                </c:pt>
                <c:pt idx="39">
                  <c:v>0.16161616161616163</c:v>
                </c:pt>
                <c:pt idx="40">
                  <c:v>0.15384615384615385</c:v>
                </c:pt>
                <c:pt idx="41">
                  <c:v>0.14285714285714285</c:v>
                </c:pt>
                <c:pt idx="42">
                  <c:v>0.19607843137254902</c:v>
                </c:pt>
                <c:pt idx="43">
                  <c:v>0.18562874251497005</c:v>
                </c:pt>
                <c:pt idx="44">
                  <c:v>0.2028301886792453</c:v>
                </c:pt>
                <c:pt idx="45">
                  <c:v>0.21385542168674698</c:v>
                </c:pt>
                <c:pt idx="46">
                  <c:v>0.19617224880382775</c:v>
                </c:pt>
                <c:pt idx="47">
                  <c:v>0.14250614250614252</c:v>
                </c:pt>
                <c:pt idx="48">
                  <c:v>0.16043956043956045</c:v>
                </c:pt>
                <c:pt idx="49">
                  <c:v>0.1568627450980392</c:v>
                </c:pt>
                <c:pt idx="50">
                  <c:v>0.1622340425531915</c:v>
                </c:pt>
                <c:pt idx="51">
                  <c:v>0.1737891737891738</c:v>
                </c:pt>
                <c:pt idx="52">
                  <c:v>0.15047021943573669</c:v>
                </c:pt>
                <c:pt idx="53">
                  <c:v>0.20164609053497942</c:v>
                </c:pt>
                <c:pt idx="54">
                  <c:v>0.20179372197309417</c:v>
                </c:pt>
                <c:pt idx="55">
                  <c:v>0.16532258064516128</c:v>
                </c:pt>
                <c:pt idx="56">
                  <c:v>0.19548872180451127</c:v>
                </c:pt>
                <c:pt idx="57">
                  <c:v>0.17164179104477612</c:v>
                </c:pt>
                <c:pt idx="58">
                  <c:v>0.22794117647058823</c:v>
                </c:pt>
                <c:pt idx="59">
                  <c:v>0.16556291390728478</c:v>
                </c:pt>
                <c:pt idx="60">
                  <c:v>0.18475073313782991</c:v>
                </c:pt>
                <c:pt idx="61">
                  <c:v>0.2299168975069252</c:v>
                </c:pt>
                <c:pt idx="62">
                  <c:v>0.2621145374449339</c:v>
                </c:pt>
                <c:pt idx="63">
                  <c:v>0.216796875</c:v>
                </c:pt>
                <c:pt idx="64">
                  <c:v>0.2138728323699422</c:v>
                </c:pt>
                <c:pt idx="65">
                  <c:v>0.2011070110701107</c:v>
                </c:pt>
                <c:pt idx="66">
                  <c:v>0.20701754385964913</c:v>
                </c:pt>
                <c:pt idx="67">
                  <c:v>0.1864801864801865</c:v>
                </c:pt>
                <c:pt idx="68">
                  <c:v>0.15838509316770186</c:v>
                </c:pt>
                <c:pt idx="69">
                  <c:v>0.18333333333333332</c:v>
                </c:pt>
                <c:pt idx="70">
                  <c:v>0.15151515151515152</c:v>
                </c:pt>
                <c:pt idx="71">
                  <c:v>0.17446808510638298</c:v>
                </c:pt>
                <c:pt idx="72">
                  <c:v>0.1645021645021645</c:v>
                </c:pt>
                <c:pt idx="73">
                  <c:v>0.19704433497536947</c:v>
                </c:pt>
                <c:pt idx="74">
                  <c:v>0.18592964824120603</c:v>
                </c:pt>
                <c:pt idx="75">
                  <c:v>0.17218543046357615</c:v>
                </c:pt>
                <c:pt idx="76">
                  <c:v>0.16049382716049382</c:v>
                </c:pt>
                <c:pt idx="77">
                  <c:v>0.1836734693877551</c:v>
                </c:pt>
                <c:pt idx="78">
                  <c:v>0.16428571428571428</c:v>
                </c:pt>
                <c:pt idx="79">
                  <c:v>0.11764705882352941</c:v>
                </c:pt>
                <c:pt idx="80">
                  <c:v>0.1079136690647482</c:v>
                </c:pt>
                <c:pt idx="81">
                  <c:v>0.125</c:v>
                </c:pt>
                <c:pt idx="82">
                  <c:v>0.1417910447761194</c:v>
                </c:pt>
                <c:pt idx="83">
                  <c:v>0.1559633027522936</c:v>
                </c:pt>
                <c:pt idx="84">
                  <c:v>0.11818181818181818</c:v>
                </c:pt>
                <c:pt idx="85">
                  <c:v>0.1532258064516129</c:v>
                </c:pt>
                <c:pt idx="86">
                  <c:v>0.10256410256410256</c:v>
                </c:pt>
                <c:pt idx="87">
                  <c:v>0.1676300578034682</c:v>
                </c:pt>
                <c:pt idx="88">
                  <c:v>0.1271186440677966</c:v>
                </c:pt>
                <c:pt idx="89">
                  <c:v>0.14285714285714285</c:v>
                </c:pt>
                <c:pt idx="90">
                  <c:v>0.18446601941747573</c:v>
                </c:pt>
                <c:pt idx="91">
                  <c:v>0.2037037037037037</c:v>
                </c:pt>
                <c:pt idx="92">
                  <c:v>0.16</c:v>
                </c:pt>
                <c:pt idx="93">
                  <c:v>0.216</c:v>
                </c:pt>
                <c:pt idx="94">
                  <c:v>0.18699186991869918</c:v>
                </c:pt>
                <c:pt idx="95">
                  <c:v>0.2571428571428571</c:v>
                </c:pt>
                <c:pt idx="96">
                  <c:v>0.14798206278026907</c:v>
                </c:pt>
                <c:pt idx="97">
                  <c:v>0.18292682926829268</c:v>
                </c:pt>
                <c:pt idx="98">
                  <c:v>0.16943521594684385</c:v>
                </c:pt>
                <c:pt idx="99">
                  <c:v>0.1367713004484305</c:v>
                </c:pt>
                <c:pt idx="100">
                  <c:v>0.13649025069637882</c:v>
                </c:pt>
                <c:pt idx="101">
                  <c:v>0.15273775216138327</c:v>
                </c:pt>
                <c:pt idx="102">
                  <c:v>0.14652014652014653</c:v>
                </c:pt>
                <c:pt idx="103">
                  <c:v>0.209375</c:v>
                </c:pt>
                <c:pt idx="104">
                  <c:v>0.167832167832167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478868375675365</c:v>
                </c:pt>
                <c:pt idx="1">
                  <c:v>0.04326860572483841</c:v>
                </c:pt>
                <c:pt idx="2">
                  <c:v>0.03183513439573216</c:v>
                </c:pt>
                <c:pt idx="3">
                  <c:v>0.038728253796095444</c:v>
                </c:pt>
                <c:pt idx="4">
                  <c:v>0.04073723378212974</c:v>
                </c:pt>
                <c:pt idx="5">
                  <c:v>0.039792182410423454</c:v>
                </c:pt>
                <c:pt idx="6">
                  <c:v>0.026150812933308794</c:v>
                </c:pt>
                <c:pt idx="7">
                  <c:v>0.0350548482515499</c:v>
                </c:pt>
                <c:pt idx="8">
                  <c:v>0.03073043300514428</c:v>
                </c:pt>
                <c:pt idx="9">
                  <c:v>0.04777157571772956</c:v>
                </c:pt>
                <c:pt idx="10">
                  <c:v>0.039662181491156696</c:v>
                </c:pt>
                <c:pt idx="11">
                  <c:v>0.04078635744758101</c:v>
                </c:pt>
                <c:pt idx="12">
                  <c:v>0.036046255322701844</c:v>
                </c:pt>
                <c:pt idx="13">
                  <c:v>0.05029669921460412</c:v>
                </c:pt>
                <c:pt idx="14">
                  <c:v>0.05700914312235308</c:v>
                </c:pt>
                <c:pt idx="15">
                  <c:v>0.04504666355576295</c:v>
                </c:pt>
                <c:pt idx="16">
                  <c:v>0.04592639194715319</c:v>
                </c:pt>
                <c:pt idx="17">
                  <c:v>0.0292490891535243</c:v>
                </c:pt>
                <c:pt idx="18">
                  <c:v>0.032381491023267046</c:v>
                </c:pt>
                <c:pt idx="19">
                  <c:v>0.02583815835984447</c:v>
                </c:pt>
                <c:pt idx="20">
                  <c:v>0.044695930498399636</c:v>
                </c:pt>
                <c:pt idx="21">
                  <c:v>0.03705675517702071</c:v>
                </c:pt>
                <c:pt idx="22">
                  <c:v>0.028877421196169213</c:v>
                </c:pt>
                <c:pt idx="23">
                  <c:v>0.029501975889863755</c:v>
                </c:pt>
                <c:pt idx="24">
                  <c:v>0.029650414409710894</c:v>
                </c:pt>
                <c:pt idx="25">
                  <c:v>0.04222985763377516</c:v>
                </c:pt>
                <c:pt idx="26">
                  <c:v>0.028218924211763172</c:v>
                </c:pt>
                <c:pt idx="27">
                  <c:v>0.056069794093570935</c:v>
                </c:pt>
                <c:pt idx="28">
                  <c:v>0.04121731776077326</c:v>
                </c:pt>
                <c:pt idx="29">
                  <c:v>0.05932838296015308</c:v>
                </c:pt>
                <c:pt idx="30">
                  <c:v>0.03296545991872922</c:v>
                </c:pt>
                <c:pt idx="31">
                  <c:v>0.03387091940399594</c:v>
                </c:pt>
                <c:pt idx="32">
                  <c:v>0.05306983189733084</c:v>
                </c:pt>
                <c:pt idx="33">
                  <c:v>0.04716057915276285</c:v>
                </c:pt>
                <c:pt idx="34">
                  <c:v>0.042615927620851084</c:v>
                </c:pt>
                <c:pt idx="35">
                  <c:v>0.03287958790988535</c:v>
                </c:pt>
                <c:pt idx="36">
                  <c:v>0.05245824511879558</c:v>
                </c:pt>
                <c:pt idx="37">
                  <c:v>0.04698209739577251</c:v>
                </c:pt>
                <c:pt idx="38">
                  <c:v>0.06365727432670186</c:v>
                </c:pt>
                <c:pt idx="39">
                  <c:v>0.03312421185372005</c:v>
                </c:pt>
                <c:pt idx="40">
                  <c:v>0.029373558998458036</c:v>
                </c:pt>
                <c:pt idx="41">
                  <c:v>0.053366018237082063</c:v>
                </c:pt>
                <c:pt idx="42">
                  <c:v>0.03175661997665499</c:v>
                </c:pt>
                <c:pt idx="43">
                  <c:v>0.03599596176264864</c:v>
                </c:pt>
                <c:pt idx="44">
                  <c:v>0.030770591218663962</c:v>
                </c:pt>
                <c:pt idx="45">
                  <c:v>0.03163570651329084</c:v>
                </c:pt>
                <c:pt idx="46">
                  <c:v>0.028121276886309318</c:v>
                </c:pt>
                <c:pt idx="47">
                  <c:v>0.029360453418865725</c:v>
                </c:pt>
                <c:pt idx="48">
                  <c:v>0.02928262539866628</c:v>
                </c:pt>
                <c:pt idx="49">
                  <c:v>0.04401601855943438</c:v>
                </c:pt>
                <c:pt idx="50">
                  <c:v>0.03693390843330188</c:v>
                </c:pt>
                <c:pt idx="51">
                  <c:v>0.026097110713372538</c:v>
                </c:pt>
              </c:numCache>
            </c:numRef>
          </c:xVal>
          <c:yVal>
            <c:numRef>
              <c:f>Sheet1!$B$109:$B$160</c:f>
              <c:numCache>
                <c:formatCode>General</c:formatCode>
                <c:ptCount val="52"/>
                <c:pt idx="0">
                  <c:v>0.13167259786476868</c:v>
                </c:pt>
                <c:pt idx="1">
                  <c:v>0.10267857142857142</c:v>
                </c:pt>
                <c:pt idx="2">
                  <c:v>0.14028776978417265</c:v>
                </c:pt>
                <c:pt idx="3">
                  <c:v>0.17216117216117216</c:v>
                </c:pt>
                <c:pt idx="4">
                  <c:v>0.21630094043887146</c:v>
                </c:pt>
                <c:pt idx="5">
                  <c:v>0.14241486068111456</c:v>
                </c:pt>
                <c:pt idx="6">
                  <c:v>0.16279069767441862</c:v>
                </c:pt>
                <c:pt idx="7">
                  <c:v>0.17201166180758018</c:v>
                </c:pt>
                <c:pt idx="8">
                  <c:v>0.17232375979112272</c:v>
                </c:pt>
                <c:pt idx="9">
                  <c:v>0.16942148760330578</c:v>
                </c:pt>
                <c:pt idx="10">
                  <c:v>0.1575178997613365</c:v>
                </c:pt>
                <c:pt idx="11">
                  <c:v>0.13562753036437247</c:v>
                </c:pt>
                <c:pt idx="12">
                  <c:v>0.15732758620689655</c:v>
                </c:pt>
                <c:pt idx="13">
                  <c:v>0.17771883289124668</c:v>
                </c:pt>
                <c:pt idx="14">
                  <c:v>0.13861386138613863</c:v>
                </c:pt>
                <c:pt idx="15">
                  <c:v>0.13559322033898305</c:v>
                </c:pt>
                <c:pt idx="16">
                  <c:v>0.10267857142857142</c:v>
                </c:pt>
                <c:pt idx="17">
                  <c:v>0.13131313131313133</c:v>
                </c:pt>
                <c:pt idx="18">
                  <c:v>0.1743119266055046</c:v>
                </c:pt>
                <c:pt idx="19">
                  <c:v>0.16455696202531644</c:v>
                </c:pt>
                <c:pt idx="20">
                  <c:v>0.16666666666666666</c:v>
                </c:pt>
                <c:pt idx="21">
                  <c:v>0.18045112781954886</c:v>
                </c:pt>
                <c:pt idx="22">
                  <c:v>0.19727891156462585</c:v>
                </c:pt>
                <c:pt idx="23">
                  <c:v>0.2236842105263158</c:v>
                </c:pt>
                <c:pt idx="24">
                  <c:v>0.168</c:v>
                </c:pt>
                <c:pt idx="25">
                  <c:v>0.14754098360655737</c:v>
                </c:pt>
                <c:pt idx="26">
                  <c:v>0.168</c:v>
                </c:pt>
                <c:pt idx="27">
                  <c:v>0.1836734693877551</c:v>
                </c:pt>
                <c:pt idx="28">
                  <c:v>0.24545454545454545</c:v>
                </c:pt>
                <c:pt idx="29">
                  <c:v>0.19148936170212766</c:v>
                </c:pt>
                <c:pt idx="30">
                  <c:v>0.18604651162790697</c:v>
                </c:pt>
                <c:pt idx="31">
                  <c:v>0.1875</c:v>
                </c:pt>
                <c:pt idx="32">
                  <c:v>0.18292682926829268</c:v>
                </c:pt>
                <c:pt idx="33">
                  <c:v>0.2047244094488189</c:v>
                </c:pt>
                <c:pt idx="34">
                  <c:v>0.2777777777777778</c:v>
                </c:pt>
                <c:pt idx="35">
                  <c:v>0.24778761061946902</c:v>
                </c:pt>
                <c:pt idx="36">
                  <c:v>0.1927710843373494</c:v>
                </c:pt>
                <c:pt idx="37">
                  <c:v>0.16666666666666666</c:v>
                </c:pt>
                <c:pt idx="38">
                  <c:v>0.10891089108910891</c:v>
                </c:pt>
                <c:pt idx="39">
                  <c:v>0.26595744680851063</c:v>
                </c:pt>
                <c:pt idx="40">
                  <c:v>0.24074074074074073</c:v>
                </c:pt>
                <c:pt idx="41">
                  <c:v>0.2672413793103448</c:v>
                </c:pt>
                <c:pt idx="42">
                  <c:v>0.22131147540983606</c:v>
                </c:pt>
                <c:pt idx="43">
                  <c:v>0.21739130434782608</c:v>
                </c:pt>
                <c:pt idx="44">
                  <c:v>0.2598870056497175</c:v>
                </c:pt>
                <c:pt idx="45">
                  <c:v>0.31620553359683795</c:v>
                </c:pt>
                <c:pt idx="46">
                  <c:v>0.24796747967479674</c:v>
                </c:pt>
                <c:pt idx="47">
                  <c:v>0.21739130434782608</c:v>
                </c:pt>
                <c:pt idx="48">
                  <c:v>0.19155844155844157</c:v>
                </c:pt>
                <c:pt idx="49">
                  <c:v>0.20507399577167018</c:v>
                </c:pt>
                <c:pt idx="50">
                  <c:v>0.1997471554993679</c:v>
                </c:pt>
                <c:pt idx="51">
                  <c:v>0.2165242165242165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0800163170619152</c:v>
                </c:pt>
              </c:numCache>
            </c:numRef>
          </c:xVal>
          <c:yVal>
            <c:numRef>
              <c:f>Sheet1!$B$163:$B$164</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0800163170619152</c:v>
                </c:pt>
                <c:pt idx="1">
                  <c:v>0.00800163170619152</c:v>
                </c:pt>
              </c:numCache>
            </c:numRef>
          </c:xVal>
          <c:yVal>
            <c:numRef>
              <c:f>Sheet1!$B$167:$B$168</c:f>
              <c:numCache>
                <c:formatCode>General</c:formatCode>
                <c:ptCount val="2"/>
                <c:pt idx="0">
                  <c:v>0.228479224815310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0800163170619152</c:v>
                </c:pt>
              </c:numCache>
            </c:numRef>
          </c:xVal>
          <c:yVal>
            <c:numRef>
              <c:f>Sheet1!$B$171:$B$172</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0800163170619152</c:v>
                </c:pt>
                <c:pt idx="1">
                  <c:v>0.00800163170619152</c:v>
                </c:pt>
              </c:numCache>
            </c:numRef>
          </c:xVal>
          <c:yVal>
            <c:numRef>
              <c:f>Sheet1!$B$175:$B$176</c:f>
              <c:numCache>
                <c:formatCode>General</c:formatCode>
                <c:ptCount val="2"/>
                <c:pt idx="0">
                  <c:v>0.228479224815310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023716297440124208</c:v>
                </c:pt>
              </c:numCache>
            </c:numRef>
          </c:xVal>
          <c:yVal>
            <c:numRef>
              <c:f>Sheet1!$B$179:$B$180</c:f>
              <c:numCache>
                <c:formatCode>General</c:formatCode>
                <c:ptCount val="2"/>
                <c:pt idx="0">
                  <c:v>0.23592288301847175</c:v>
                </c:pt>
                <c:pt idx="1">
                  <c:v>0.235922883018471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023716297440124208</c:v>
                </c:pt>
                <c:pt idx="1">
                  <c:v>0.0023716297440124208</c:v>
                </c:pt>
              </c:numCache>
            </c:numRef>
          </c:xVal>
          <c:yVal>
            <c:numRef>
              <c:f>Sheet1!$B$183:$B$184</c:f>
              <c:numCache>
                <c:formatCode>General</c:formatCode>
                <c:ptCount val="2"/>
                <c:pt idx="0">
                  <c:v>0.235922883018471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478868375675365</c:v>
                </c:pt>
                <c:pt idx="1">
                  <c:v>0.04326860572483841</c:v>
                </c:pt>
                <c:pt idx="2">
                  <c:v>0.03183513439573216</c:v>
                </c:pt>
                <c:pt idx="3">
                  <c:v>0.038728253796095444</c:v>
                </c:pt>
                <c:pt idx="4">
                  <c:v>0.04073723378212974</c:v>
                </c:pt>
                <c:pt idx="5">
                  <c:v>0.039792182410423454</c:v>
                </c:pt>
                <c:pt idx="6">
                  <c:v>0.026150812933308794</c:v>
                </c:pt>
                <c:pt idx="7">
                  <c:v>0.0350548482515499</c:v>
                </c:pt>
                <c:pt idx="8">
                  <c:v>0.03073043300514428</c:v>
                </c:pt>
                <c:pt idx="9">
                  <c:v>0.04777157571772956</c:v>
                </c:pt>
                <c:pt idx="10">
                  <c:v>0.039662181491156696</c:v>
                </c:pt>
                <c:pt idx="11">
                  <c:v>0.04078635744758101</c:v>
                </c:pt>
                <c:pt idx="12">
                  <c:v>0.036046255322701844</c:v>
                </c:pt>
                <c:pt idx="13">
                  <c:v>0.05029669921460412</c:v>
                </c:pt>
                <c:pt idx="14">
                  <c:v>0.05700914312235308</c:v>
                </c:pt>
                <c:pt idx="15">
                  <c:v>0.04504666355576295</c:v>
                </c:pt>
                <c:pt idx="16">
                  <c:v>0.04592639194715319</c:v>
                </c:pt>
                <c:pt idx="17">
                  <c:v>0.0292490891535243</c:v>
                </c:pt>
                <c:pt idx="18">
                  <c:v>0.032381491023267046</c:v>
                </c:pt>
                <c:pt idx="19">
                  <c:v>0.02583815835984447</c:v>
                </c:pt>
                <c:pt idx="20">
                  <c:v>0.044695930498399636</c:v>
                </c:pt>
                <c:pt idx="21">
                  <c:v>0.03705675517702071</c:v>
                </c:pt>
                <c:pt idx="22">
                  <c:v>0.028877421196169213</c:v>
                </c:pt>
                <c:pt idx="23">
                  <c:v>0.029501975889863755</c:v>
                </c:pt>
                <c:pt idx="24">
                  <c:v>0.029650414409710894</c:v>
                </c:pt>
                <c:pt idx="25">
                  <c:v>0.04222985763377516</c:v>
                </c:pt>
                <c:pt idx="26">
                  <c:v>0.028218924211763172</c:v>
                </c:pt>
                <c:pt idx="27">
                  <c:v>0.056069794093570935</c:v>
                </c:pt>
                <c:pt idx="28">
                  <c:v>0.04121731776077326</c:v>
                </c:pt>
                <c:pt idx="29">
                  <c:v>0.05932838296015308</c:v>
                </c:pt>
                <c:pt idx="30">
                  <c:v>0.03296545991872922</c:v>
                </c:pt>
                <c:pt idx="31">
                  <c:v>0.03387091940399594</c:v>
                </c:pt>
                <c:pt idx="32">
                  <c:v>0.05306983189733084</c:v>
                </c:pt>
                <c:pt idx="33">
                  <c:v>0.04716057915276285</c:v>
                </c:pt>
                <c:pt idx="34">
                  <c:v>0.042615927620851084</c:v>
                </c:pt>
                <c:pt idx="35">
                  <c:v>0.03287958790988535</c:v>
                </c:pt>
                <c:pt idx="36">
                  <c:v>0.05245824511879558</c:v>
                </c:pt>
                <c:pt idx="37">
                  <c:v>0.04698209739577251</c:v>
                </c:pt>
                <c:pt idx="38">
                  <c:v>0.06365727432670186</c:v>
                </c:pt>
                <c:pt idx="39">
                  <c:v>0.03312421185372005</c:v>
                </c:pt>
                <c:pt idx="40">
                  <c:v>0.029373558998458036</c:v>
                </c:pt>
                <c:pt idx="41">
                  <c:v>0.053366018237082063</c:v>
                </c:pt>
                <c:pt idx="42">
                  <c:v>0.03175661997665499</c:v>
                </c:pt>
                <c:pt idx="43">
                  <c:v>0.03599596176264864</c:v>
                </c:pt>
                <c:pt idx="44">
                  <c:v>0.030770591218663962</c:v>
                </c:pt>
                <c:pt idx="45">
                  <c:v>0.03163570651329084</c:v>
                </c:pt>
                <c:pt idx="46">
                  <c:v>0.028121276886309318</c:v>
                </c:pt>
                <c:pt idx="47">
                  <c:v>0.029360453418865725</c:v>
                </c:pt>
                <c:pt idx="48">
                  <c:v>0.02928262539866628</c:v>
                </c:pt>
                <c:pt idx="49">
                  <c:v>0.04401601855943438</c:v>
                </c:pt>
                <c:pt idx="50">
                  <c:v>0.03693390843330188</c:v>
                </c:pt>
                <c:pt idx="51">
                  <c:v>0.026097110713372538</c:v>
                </c:pt>
                <c:pt idx="52">
                  <c:v>0.00800163170619152</c:v>
                </c:pt>
                <c:pt idx="53">
                  <c:v>0.00800163170619152</c:v>
                </c:pt>
                <c:pt idx="54">
                  <c:v>0.0023716297440124208</c:v>
                </c:pt>
              </c:numCache>
            </c:numRef>
          </c:xVal>
          <c:yVal>
            <c:numRef>
              <c:f>Sheet1!$B$187:$B$241</c:f>
              <c:numCache>
                <c:formatCode>General</c:formatCode>
                <c:ptCount val="55"/>
                <c:pt idx="0">
                  <c:v>0.17574534625025157</c:v>
                </c:pt>
                <c:pt idx="1">
                  <c:v>0.18185130137618843</c:v>
                </c:pt>
                <c:pt idx="2">
                  <c:v>0.1969679662053025</c:v>
                </c:pt>
                <c:pt idx="3">
                  <c:v>0.18785428825020145</c:v>
                </c:pt>
                <c:pt idx="4">
                  <c:v>0.18519813280771846</c:v>
                </c:pt>
                <c:pt idx="5">
                  <c:v>0.18644762427196088</c:v>
                </c:pt>
                <c:pt idx="6">
                  <c:v>0.20448344246399972</c:v>
                </c:pt>
                <c:pt idx="7">
                  <c:v>0.19271104949094048</c:v>
                </c:pt>
                <c:pt idx="8">
                  <c:v>0.19842853755560286</c:v>
                </c:pt>
                <c:pt idx="9">
                  <c:v>0.17589773870403586</c:v>
                </c:pt>
                <c:pt idx="10">
                  <c:v>0.1866195038584369</c:v>
                </c:pt>
                <c:pt idx="11">
                  <c:v>0.1851331843800337</c:v>
                </c:pt>
                <c:pt idx="12">
                  <c:v>0.19140026924123052</c:v>
                </c:pt>
                <c:pt idx="13">
                  <c:v>0.1725591686009037</c:v>
                </c:pt>
                <c:pt idx="14">
                  <c:v>0.1636843691793704</c:v>
                </c:pt>
                <c:pt idx="15">
                  <c:v>0.17950045765574776</c:v>
                </c:pt>
                <c:pt idx="16">
                  <c:v>0.1783373324026632</c:v>
                </c:pt>
                <c:pt idx="17">
                  <c:v>0.20038708346498052</c:v>
                </c:pt>
                <c:pt idx="18">
                  <c:v>0.19624560553478723</c:v>
                </c:pt>
                <c:pt idx="19">
                  <c:v>0.20489681599320234</c:v>
                </c:pt>
                <c:pt idx="20">
                  <c:v>0.17996417632176256</c:v>
                </c:pt>
                <c:pt idx="21">
                  <c:v>0.1900642456340588</c:v>
                </c:pt>
                <c:pt idx="22">
                  <c:v>0.20087848102722006</c:v>
                </c:pt>
                <c:pt idx="23">
                  <c:v>0.20005273146260655</c:v>
                </c:pt>
                <c:pt idx="24">
                  <c:v>0.19985647476263596</c:v>
                </c:pt>
                <c:pt idx="25">
                  <c:v>0.18322467314426305</c:v>
                </c:pt>
                <c:pt idx="26">
                  <c:v>0.2017491070967417</c:v>
                </c:pt>
                <c:pt idx="27">
                  <c:v>0.164926321340435</c:v>
                </c:pt>
                <c:pt idx="28">
                  <c:v>0.18456339394442095</c:v>
                </c:pt>
                <c:pt idx="29">
                  <c:v>0.16061800636818277</c:v>
                </c:pt>
                <c:pt idx="30">
                  <c:v>0.19547351613085817</c:v>
                </c:pt>
                <c:pt idx="31">
                  <c:v>0.19427637073545453</c:v>
                </c:pt>
                <c:pt idx="32">
                  <c:v>0.16889269530641748</c:v>
                </c:pt>
                <c:pt idx="33">
                  <c:v>0.1767055625064911</c:v>
                </c:pt>
                <c:pt idx="34">
                  <c:v>0.18271423406349585</c:v>
                </c:pt>
                <c:pt idx="35">
                  <c:v>0.1955870510616356</c:v>
                </c:pt>
                <c:pt idx="36">
                  <c:v>0.16970129945461698</c:v>
                </c:pt>
                <c:pt idx="37">
                  <c:v>0.1769415406115541</c:v>
                </c:pt>
                <c:pt idx="38">
                  <c:v>0.1548946002401439</c:v>
                </c:pt>
                <c:pt idx="39">
                  <c:v>0.1952636236386174</c:v>
                </c:pt>
                <c:pt idx="40">
                  <c:v>0.20022251674040187</c:v>
                </c:pt>
                <c:pt idx="41">
                  <c:v>0.16850109510940792</c:v>
                </c:pt>
                <c:pt idx="42">
                  <c:v>0.1970717733626634</c:v>
                </c:pt>
                <c:pt idx="43">
                  <c:v>0.19146676443490382</c:v>
                </c:pt>
                <c:pt idx="44">
                  <c:v>0.19837544272233312</c:v>
                </c:pt>
                <c:pt idx="45">
                  <c:v>0.19723163804823357</c:v>
                </c:pt>
                <c:pt idx="46">
                  <c:v>0.20187821066011774</c:v>
                </c:pt>
                <c:pt idx="47">
                  <c:v>0.20023984416865054</c:v>
                </c:pt>
                <c:pt idx="48">
                  <c:v>0.20034274380969597</c:v>
                </c:pt>
                <c:pt idx="49">
                  <c:v>0.1808631159874865</c:v>
                </c:pt>
                <c:pt idx="50">
                  <c:v>0.19022666638946123</c:v>
                </c:pt>
                <c:pt idx="51">
                  <c:v>0.20455444438773648</c:v>
                </c:pt>
                <c:pt idx="52">
                  <c:v>0.22847922481531005</c:v>
                </c:pt>
                <c:pt idx="53">
                  <c:v>0.22847922481531005</c:v>
                </c:pt>
                <c:pt idx="54">
                  <c:v>0.235922883018471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4466403162055"/>
          <c:min val="0.07489361702127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08.6585</c:v>
                </c:pt>
                <c:pt idx="1">
                  <c:v>300.2982</c:v>
                </c:pt>
                <c:pt idx="2">
                  <c:v>300.9111</c:v>
                </c:pt>
                <c:pt idx="3">
                  <c:v>287.4328</c:v>
                </c:pt>
                <c:pt idx="4">
                  <c:v>309.1778</c:v>
                </c:pt>
                <c:pt idx="5">
                  <c:v>312.9836</c:v>
                </c:pt>
                <c:pt idx="6">
                  <c:v>296.8769</c:v>
                </c:pt>
                <c:pt idx="7">
                  <c:v>308.9831</c:v>
                </c:pt>
                <c:pt idx="8">
                  <c:v>311.0781</c:v>
                </c:pt>
                <c:pt idx="9">
                  <c:v>304.6479</c:v>
                </c:pt>
                <c:pt idx="10">
                  <c:v>309.9677</c:v>
                </c:pt>
                <c:pt idx="11">
                  <c:v>317.4255</c:v>
                </c:pt>
                <c:pt idx="12">
                  <c:v>315.5542</c:v>
                </c:pt>
                <c:pt idx="13">
                  <c:v>309.618</c:v>
                </c:pt>
                <c:pt idx="14">
                  <c:v>279.3953</c:v>
                </c:pt>
                <c:pt idx="15">
                  <c:v>287.3571</c:v>
                </c:pt>
                <c:pt idx="16">
                  <c:v>302.9722</c:v>
                </c:pt>
                <c:pt idx="17">
                  <c:v>319.9688</c:v>
                </c:pt>
                <c:pt idx="18">
                  <c:v>321.8387</c:v>
                </c:pt>
                <c:pt idx="19">
                  <c:v>311.4737</c:v>
                </c:pt>
                <c:pt idx="20">
                  <c:v>341.0909</c:v>
                </c:pt>
                <c:pt idx="21">
                  <c:v>315.44</c:v>
                </c:pt>
                <c:pt idx="22">
                  <c:v>346.0</c:v>
                </c:pt>
                <c:pt idx="23">
                  <c:v>324.6522</c:v>
                </c:pt>
                <c:pt idx="24">
                  <c:v>330.9091</c:v>
                </c:pt>
                <c:pt idx="25">
                  <c:v>346.1579</c:v>
                </c:pt>
                <c:pt idx="26">
                  <c:v>341.9688</c:v>
                </c:pt>
                <c:pt idx="27">
                  <c:v>356.2</c:v>
                </c:pt>
                <c:pt idx="28">
                  <c:v>333.7368</c:v>
                </c:pt>
                <c:pt idx="29">
                  <c:v>334.8095</c:v>
                </c:pt>
                <c:pt idx="30">
                  <c:v>341.4706</c:v>
                </c:pt>
                <c:pt idx="31">
                  <c:v>347.8125</c:v>
                </c:pt>
                <c:pt idx="32">
                  <c:v>354.4706</c:v>
                </c:pt>
                <c:pt idx="33">
                  <c:v>323.4615</c:v>
                </c:pt>
                <c:pt idx="34">
                  <c:v>330.8519</c:v>
                </c:pt>
                <c:pt idx="35">
                  <c:v>353.64</c:v>
                </c:pt>
                <c:pt idx="36">
                  <c:v>341.8387</c:v>
                </c:pt>
                <c:pt idx="37">
                  <c:v>330.25</c:v>
                </c:pt>
                <c:pt idx="38">
                  <c:v>333.1053</c:v>
                </c:pt>
                <c:pt idx="39">
                  <c:v>313.1875</c:v>
                </c:pt>
                <c:pt idx="40">
                  <c:v>347.1818</c:v>
                </c:pt>
                <c:pt idx="41">
                  <c:v>331.65</c:v>
                </c:pt>
                <c:pt idx="42">
                  <c:v>336.6</c:v>
                </c:pt>
                <c:pt idx="43">
                  <c:v>352.0</c:v>
                </c:pt>
                <c:pt idx="44">
                  <c:v>337.5116</c:v>
                </c:pt>
                <c:pt idx="45">
                  <c:v>332.9577</c:v>
                </c:pt>
                <c:pt idx="46">
                  <c:v>335.0</c:v>
                </c:pt>
                <c:pt idx="47">
                  <c:v>336.7759</c:v>
                </c:pt>
                <c:pt idx="48">
                  <c:v>341.7945</c:v>
                </c:pt>
                <c:pt idx="49">
                  <c:v>333.9766</c:v>
                </c:pt>
                <c:pt idx="50">
                  <c:v>351.0328</c:v>
                </c:pt>
                <c:pt idx="51">
                  <c:v>359.6393</c:v>
                </c:pt>
                <c:pt idx="52">
                  <c:v>350.7708</c:v>
                </c:pt>
                <c:pt idx="53">
                  <c:v>350.1837</c:v>
                </c:pt>
                <c:pt idx="54">
                  <c:v>353.8444</c:v>
                </c:pt>
                <c:pt idx="55">
                  <c:v>354.9756</c:v>
                </c:pt>
                <c:pt idx="56">
                  <c:v>369.4423</c:v>
                </c:pt>
                <c:pt idx="57">
                  <c:v>347.3478</c:v>
                </c:pt>
                <c:pt idx="58">
                  <c:v>336.9839</c:v>
                </c:pt>
                <c:pt idx="59">
                  <c:v>366.9</c:v>
                </c:pt>
                <c:pt idx="60">
                  <c:v>359.6032</c:v>
                </c:pt>
                <c:pt idx="61">
                  <c:v>357.1084</c:v>
                </c:pt>
                <c:pt idx="62">
                  <c:v>378.1513</c:v>
                </c:pt>
                <c:pt idx="63">
                  <c:v>369.4955</c:v>
                </c:pt>
                <c:pt idx="64">
                  <c:v>388.5676</c:v>
                </c:pt>
                <c:pt idx="65">
                  <c:v>380.844</c:v>
                </c:pt>
                <c:pt idx="66">
                  <c:v>366.1695</c:v>
                </c:pt>
                <c:pt idx="67">
                  <c:v>375.9625</c:v>
                </c:pt>
                <c:pt idx="68">
                  <c:v>392.4314</c:v>
                </c:pt>
                <c:pt idx="69">
                  <c:v>385.5818</c:v>
                </c:pt>
                <c:pt idx="70">
                  <c:v>393.4444</c:v>
                </c:pt>
                <c:pt idx="71">
                  <c:v>408.0976</c:v>
                </c:pt>
                <c:pt idx="72">
                  <c:v>426.9474</c:v>
                </c:pt>
                <c:pt idx="73">
                  <c:v>398.35</c:v>
                </c:pt>
                <c:pt idx="74">
                  <c:v>432.3784</c:v>
                </c:pt>
                <c:pt idx="75">
                  <c:v>401.4615</c:v>
                </c:pt>
                <c:pt idx="76">
                  <c:v>418.8077</c:v>
                </c:pt>
                <c:pt idx="77">
                  <c:v>399.5556</c:v>
                </c:pt>
                <c:pt idx="78">
                  <c:v>389.6522</c:v>
                </c:pt>
                <c:pt idx="79">
                  <c:v>430.0</c:v>
                </c:pt>
                <c:pt idx="80">
                  <c:v>426.8667</c:v>
                </c:pt>
                <c:pt idx="81">
                  <c:v>439.1429</c:v>
                </c:pt>
                <c:pt idx="82">
                  <c:v>415.8421</c:v>
                </c:pt>
                <c:pt idx="83">
                  <c:v>402.6471</c:v>
                </c:pt>
                <c:pt idx="84">
                  <c:v>442.8462</c:v>
                </c:pt>
                <c:pt idx="85">
                  <c:v>296.6842</c:v>
                </c:pt>
                <c:pt idx="86">
                  <c:v>374.625</c:v>
                </c:pt>
                <c:pt idx="87">
                  <c:v>386.931</c:v>
                </c:pt>
                <c:pt idx="88">
                  <c:v>391.2667</c:v>
                </c:pt>
                <c:pt idx="89">
                  <c:v>374.1429</c:v>
                </c:pt>
                <c:pt idx="90">
                  <c:v>375.7895</c:v>
                </c:pt>
                <c:pt idx="91">
                  <c:v>391.0455</c:v>
                </c:pt>
                <c:pt idx="92">
                  <c:v>364.45</c:v>
                </c:pt>
                <c:pt idx="93">
                  <c:v>396.6667</c:v>
                </c:pt>
                <c:pt idx="94">
                  <c:v>410.3478</c:v>
                </c:pt>
                <c:pt idx="95">
                  <c:v>408.1111</c:v>
                </c:pt>
                <c:pt idx="96">
                  <c:v>423.1212</c:v>
                </c:pt>
                <c:pt idx="97">
                  <c:v>401.1333</c:v>
                </c:pt>
                <c:pt idx="98">
                  <c:v>374.3725</c:v>
                </c:pt>
                <c:pt idx="99">
                  <c:v>409.7869</c:v>
                </c:pt>
                <c:pt idx="100">
                  <c:v>403.0612</c:v>
                </c:pt>
                <c:pt idx="101">
                  <c:v>398.4906</c:v>
                </c:pt>
                <c:pt idx="102">
                  <c:v>396.125</c:v>
                </c:pt>
                <c:pt idx="103">
                  <c:v>258.7612</c:v>
                </c:pt>
                <c:pt idx="104">
                  <c:v>322.0625</c:v>
                </c:pt>
              </c:numCache>
            </c:numRef>
          </c:xVal>
          <c:yVal>
            <c:numRef>
              <c:f>Sheet1!$B$2:$B$106</c:f>
              <c:numCache>
                <c:formatCode>General</c:formatCode>
                <c:ptCount val="105"/>
                <c:pt idx="0">
                  <c:v>0.12615384615384614</c:v>
                </c:pt>
                <c:pt idx="1">
                  <c:v>0.22007722007722008</c:v>
                </c:pt>
                <c:pt idx="2">
                  <c:v>0.1906779661016949</c:v>
                </c:pt>
                <c:pt idx="3">
                  <c:v>0.2768595041322314</c:v>
                </c:pt>
                <c:pt idx="4">
                  <c:v>0.18292682926829268</c:v>
                </c:pt>
                <c:pt idx="5">
                  <c:v>0.22846441947565543</c:v>
                </c:pt>
                <c:pt idx="6">
                  <c:v>0.23809523809523808</c:v>
                </c:pt>
                <c:pt idx="7">
                  <c:v>0.23046875</c:v>
                </c:pt>
                <c:pt idx="8">
                  <c:v>0.20125786163522014</c:v>
                </c:pt>
                <c:pt idx="9">
                  <c:v>0.16666666666666666</c:v>
                </c:pt>
                <c:pt idx="10">
                  <c:v>0.20350109409190373</c:v>
                </c:pt>
                <c:pt idx="11">
                  <c:v>0.2422680412371134</c:v>
                </c:pt>
                <c:pt idx="12">
                  <c:v>0.23055555555555557</c:v>
                </c:pt>
                <c:pt idx="13">
                  <c:v>0.2542857142857143</c:v>
                </c:pt>
                <c:pt idx="14">
                  <c:v>0.2783171521035599</c:v>
                </c:pt>
                <c:pt idx="15">
                  <c:v>0.19112627986348124</c:v>
                </c:pt>
                <c:pt idx="16">
                  <c:v>0.13138686131386862</c:v>
                </c:pt>
                <c:pt idx="17">
                  <c:v>0.12167300380228137</c:v>
                </c:pt>
                <c:pt idx="18">
                  <c:v>0.11481481481481481</c:v>
                </c:pt>
                <c:pt idx="19">
                  <c:v>0.10555555555555556</c:v>
                </c:pt>
                <c:pt idx="20">
                  <c:v>0.09361702127659574</c:v>
                </c:pt>
                <c:pt idx="21">
                  <c:v>0.12195121951219512</c:v>
                </c:pt>
                <c:pt idx="22">
                  <c:v>0.13402061855670103</c:v>
                </c:pt>
                <c:pt idx="23">
                  <c:v>0.1270718232044199</c:v>
                </c:pt>
                <c:pt idx="24">
                  <c:v>0.15492957746478872</c:v>
                </c:pt>
                <c:pt idx="25">
                  <c:v>0.1357142857142857</c:v>
                </c:pt>
                <c:pt idx="26">
                  <c:v>0.2222222222222222</c:v>
                </c:pt>
                <c:pt idx="27">
                  <c:v>0.12396694214876033</c:v>
                </c:pt>
                <c:pt idx="28">
                  <c:v>0.17272727272727273</c:v>
                </c:pt>
                <c:pt idx="29">
                  <c:v>0.1875</c:v>
                </c:pt>
                <c:pt idx="30">
                  <c:v>0.1588785046728972</c:v>
                </c:pt>
                <c:pt idx="31">
                  <c:v>0.16842105263157894</c:v>
                </c:pt>
                <c:pt idx="32">
                  <c:v>0.16346153846153846</c:v>
                </c:pt>
                <c:pt idx="33">
                  <c:v>0.12871287128712872</c:v>
                </c:pt>
                <c:pt idx="34">
                  <c:v>0.2109375</c:v>
                </c:pt>
                <c:pt idx="35">
                  <c:v>0.16129032258064516</c:v>
                </c:pt>
                <c:pt idx="36">
                  <c:v>0.22794117647058823</c:v>
                </c:pt>
                <c:pt idx="37">
                  <c:v>0.15503875968992248</c:v>
                </c:pt>
                <c:pt idx="38">
                  <c:v>0.16666666666666666</c:v>
                </c:pt>
                <c:pt idx="39">
                  <c:v>0.16161616161616163</c:v>
                </c:pt>
                <c:pt idx="40">
                  <c:v>0.15384615384615385</c:v>
                </c:pt>
                <c:pt idx="41">
                  <c:v>0.14285714285714285</c:v>
                </c:pt>
                <c:pt idx="42">
                  <c:v>0.19607843137254902</c:v>
                </c:pt>
                <c:pt idx="43">
                  <c:v>0.18562874251497005</c:v>
                </c:pt>
                <c:pt idx="44">
                  <c:v>0.2028301886792453</c:v>
                </c:pt>
                <c:pt idx="45">
                  <c:v>0.21385542168674698</c:v>
                </c:pt>
                <c:pt idx="46">
                  <c:v>0.19617224880382775</c:v>
                </c:pt>
                <c:pt idx="47">
                  <c:v>0.14250614250614252</c:v>
                </c:pt>
                <c:pt idx="48">
                  <c:v>0.16043956043956045</c:v>
                </c:pt>
                <c:pt idx="49">
                  <c:v>0.1568627450980392</c:v>
                </c:pt>
                <c:pt idx="50">
                  <c:v>0.1622340425531915</c:v>
                </c:pt>
                <c:pt idx="51">
                  <c:v>0.1737891737891738</c:v>
                </c:pt>
                <c:pt idx="52">
                  <c:v>0.15047021943573669</c:v>
                </c:pt>
                <c:pt idx="53">
                  <c:v>0.20164609053497942</c:v>
                </c:pt>
                <c:pt idx="54">
                  <c:v>0.20179372197309417</c:v>
                </c:pt>
                <c:pt idx="55">
                  <c:v>0.16532258064516128</c:v>
                </c:pt>
                <c:pt idx="56">
                  <c:v>0.19548872180451127</c:v>
                </c:pt>
                <c:pt idx="57">
                  <c:v>0.17164179104477612</c:v>
                </c:pt>
                <c:pt idx="58">
                  <c:v>0.22794117647058823</c:v>
                </c:pt>
                <c:pt idx="59">
                  <c:v>0.16556291390728478</c:v>
                </c:pt>
                <c:pt idx="60">
                  <c:v>0.18475073313782991</c:v>
                </c:pt>
                <c:pt idx="61">
                  <c:v>0.2299168975069252</c:v>
                </c:pt>
                <c:pt idx="62">
                  <c:v>0.2621145374449339</c:v>
                </c:pt>
                <c:pt idx="63">
                  <c:v>0.216796875</c:v>
                </c:pt>
                <c:pt idx="64">
                  <c:v>0.2138728323699422</c:v>
                </c:pt>
                <c:pt idx="65">
                  <c:v>0.2011070110701107</c:v>
                </c:pt>
                <c:pt idx="66">
                  <c:v>0.20701754385964913</c:v>
                </c:pt>
                <c:pt idx="67">
                  <c:v>0.1864801864801865</c:v>
                </c:pt>
                <c:pt idx="68">
                  <c:v>0.15838509316770186</c:v>
                </c:pt>
                <c:pt idx="69">
                  <c:v>0.18333333333333332</c:v>
                </c:pt>
                <c:pt idx="70">
                  <c:v>0.15151515151515152</c:v>
                </c:pt>
                <c:pt idx="71">
                  <c:v>0.17446808510638298</c:v>
                </c:pt>
                <c:pt idx="72">
                  <c:v>0.1645021645021645</c:v>
                </c:pt>
                <c:pt idx="73">
                  <c:v>0.19704433497536947</c:v>
                </c:pt>
                <c:pt idx="74">
                  <c:v>0.18592964824120603</c:v>
                </c:pt>
                <c:pt idx="75">
                  <c:v>0.17218543046357615</c:v>
                </c:pt>
                <c:pt idx="76">
                  <c:v>0.16049382716049382</c:v>
                </c:pt>
                <c:pt idx="77">
                  <c:v>0.1836734693877551</c:v>
                </c:pt>
                <c:pt idx="78">
                  <c:v>0.16428571428571428</c:v>
                </c:pt>
                <c:pt idx="79">
                  <c:v>0.11764705882352941</c:v>
                </c:pt>
                <c:pt idx="80">
                  <c:v>0.1079136690647482</c:v>
                </c:pt>
                <c:pt idx="81">
                  <c:v>0.125</c:v>
                </c:pt>
                <c:pt idx="82">
                  <c:v>0.1417910447761194</c:v>
                </c:pt>
                <c:pt idx="83">
                  <c:v>0.1559633027522936</c:v>
                </c:pt>
                <c:pt idx="84">
                  <c:v>0.11818181818181818</c:v>
                </c:pt>
                <c:pt idx="85">
                  <c:v>0.1532258064516129</c:v>
                </c:pt>
                <c:pt idx="86">
                  <c:v>0.10256410256410256</c:v>
                </c:pt>
                <c:pt idx="87">
                  <c:v>0.1676300578034682</c:v>
                </c:pt>
                <c:pt idx="88">
                  <c:v>0.1271186440677966</c:v>
                </c:pt>
                <c:pt idx="89">
                  <c:v>0.14285714285714285</c:v>
                </c:pt>
                <c:pt idx="90">
                  <c:v>0.18446601941747573</c:v>
                </c:pt>
                <c:pt idx="91">
                  <c:v>0.2037037037037037</c:v>
                </c:pt>
                <c:pt idx="92">
                  <c:v>0.16</c:v>
                </c:pt>
                <c:pt idx="93">
                  <c:v>0.216</c:v>
                </c:pt>
                <c:pt idx="94">
                  <c:v>0.18699186991869918</c:v>
                </c:pt>
                <c:pt idx="95">
                  <c:v>0.2571428571428571</c:v>
                </c:pt>
                <c:pt idx="96">
                  <c:v>0.14798206278026907</c:v>
                </c:pt>
                <c:pt idx="97">
                  <c:v>0.18292682926829268</c:v>
                </c:pt>
                <c:pt idx="98">
                  <c:v>0.16943521594684385</c:v>
                </c:pt>
                <c:pt idx="99">
                  <c:v>0.1367713004484305</c:v>
                </c:pt>
                <c:pt idx="100">
                  <c:v>0.13649025069637882</c:v>
                </c:pt>
                <c:pt idx="101">
                  <c:v>0.15273775216138327</c:v>
                </c:pt>
                <c:pt idx="102">
                  <c:v>0.14652014652014653</c:v>
                </c:pt>
                <c:pt idx="103">
                  <c:v>0.209375</c:v>
                </c:pt>
                <c:pt idx="104">
                  <c:v>0.167832167832167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numCache>
            </c:numRef>
          </c:xVal>
          <c:yVal>
            <c:numRef>
              <c:f>Sheet1!$B$109:$B$160</c:f>
              <c:numCache>
                <c:formatCode>General</c:formatCode>
                <c:ptCount val="52"/>
                <c:pt idx="0">
                  <c:v>0.13167259786476868</c:v>
                </c:pt>
                <c:pt idx="1">
                  <c:v>0.10267857142857142</c:v>
                </c:pt>
                <c:pt idx="2">
                  <c:v>0.14028776978417265</c:v>
                </c:pt>
                <c:pt idx="3">
                  <c:v>0.17216117216117216</c:v>
                </c:pt>
                <c:pt idx="4">
                  <c:v>0.21630094043887146</c:v>
                </c:pt>
                <c:pt idx="5">
                  <c:v>0.14241486068111456</c:v>
                </c:pt>
                <c:pt idx="6">
                  <c:v>0.16279069767441862</c:v>
                </c:pt>
                <c:pt idx="7">
                  <c:v>0.17201166180758018</c:v>
                </c:pt>
                <c:pt idx="8">
                  <c:v>0.17232375979112272</c:v>
                </c:pt>
                <c:pt idx="9">
                  <c:v>0.16942148760330578</c:v>
                </c:pt>
                <c:pt idx="10">
                  <c:v>0.1575178997613365</c:v>
                </c:pt>
                <c:pt idx="11">
                  <c:v>0.13562753036437247</c:v>
                </c:pt>
                <c:pt idx="12">
                  <c:v>0.15732758620689655</c:v>
                </c:pt>
                <c:pt idx="13">
                  <c:v>0.17771883289124668</c:v>
                </c:pt>
                <c:pt idx="14">
                  <c:v>0.13861386138613863</c:v>
                </c:pt>
                <c:pt idx="15">
                  <c:v>0.13559322033898305</c:v>
                </c:pt>
                <c:pt idx="16">
                  <c:v>0.10267857142857142</c:v>
                </c:pt>
                <c:pt idx="17">
                  <c:v>0.13131313131313133</c:v>
                </c:pt>
                <c:pt idx="18">
                  <c:v>0.1743119266055046</c:v>
                </c:pt>
                <c:pt idx="19">
                  <c:v>0.16455696202531644</c:v>
                </c:pt>
                <c:pt idx="20">
                  <c:v>0.16666666666666666</c:v>
                </c:pt>
                <c:pt idx="21">
                  <c:v>0.18045112781954886</c:v>
                </c:pt>
                <c:pt idx="22">
                  <c:v>0.19727891156462585</c:v>
                </c:pt>
                <c:pt idx="23">
                  <c:v>0.2236842105263158</c:v>
                </c:pt>
                <c:pt idx="24">
                  <c:v>0.168</c:v>
                </c:pt>
                <c:pt idx="25">
                  <c:v>0.14754098360655737</c:v>
                </c:pt>
                <c:pt idx="26">
                  <c:v>0.168</c:v>
                </c:pt>
                <c:pt idx="27">
                  <c:v>0.1836734693877551</c:v>
                </c:pt>
                <c:pt idx="28">
                  <c:v>0.24545454545454545</c:v>
                </c:pt>
                <c:pt idx="29">
                  <c:v>0.19148936170212766</c:v>
                </c:pt>
                <c:pt idx="30">
                  <c:v>0.18604651162790697</c:v>
                </c:pt>
                <c:pt idx="31">
                  <c:v>0.1875</c:v>
                </c:pt>
                <c:pt idx="32">
                  <c:v>0.18292682926829268</c:v>
                </c:pt>
                <c:pt idx="33">
                  <c:v>0.2047244094488189</c:v>
                </c:pt>
                <c:pt idx="34">
                  <c:v>0.2777777777777778</c:v>
                </c:pt>
                <c:pt idx="35">
                  <c:v>0.24778761061946902</c:v>
                </c:pt>
                <c:pt idx="36">
                  <c:v>0.1927710843373494</c:v>
                </c:pt>
                <c:pt idx="37">
                  <c:v>0.16666666666666666</c:v>
                </c:pt>
                <c:pt idx="38">
                  <c:v>0.10891089108910891</c:v>
                </c:pt>
                <c:pt idx="39">
                  <c:v>0.26595744680851063</c:v>
                </c:pt>
                <c:pt idx="40">
                  <c:v>0.24074074074074073</c:v>
                </c:pt>
                <c:pt idx="41">
                  <c:v>0.2672413793103448</c:v>
                </c:pt>
                <c:pt idx="42">
                  <c:v>0.22131147540983606</c:v>
                </c:pt>
                <c:pt idx="43">
                  <c:v>0.21739130434782608</c:v>
                </c:pt>
                <c:pt idx="44">
                  <c:v>0.2598870056497175</c:v>
                </c:pt>
                <c:pt idx="45">
                  <c:v>0.31620553359683795</c:v>
                </c:pt>
                <c:pt idx="46">
                  <c:v>0.24796747967479674</c:v>
                </c:pt>
                <c:pt idx="47">
                  <c:v>0.21739130434782608</c:v>
                </c:pt>
                <c:pt idx="48">
                  <c:v>0.19155844155844157</c:v>
                </c:pt>
                <c:pt idx="49">
                  <c:v>0.20507399577167018</c:v>
                </c:pt>
                <c:pt idx="50">
                  <c:v>0.1997471554993679</c:v>
                </c:pt>
                <c:pt idx="51">
                  <c:v>0.2165242165242165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89.6908455356285</c:v>
                </c:pt>
              </c:numCache>
            </c:numRef>
          </c:xVal>
          <c:yVal>
            <c:numRef>
              <c:f>Sheet1!$B$163:$B$164</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89.6908455356285</c:v>
                </c:pt>
                <c:pt idx="1">
                  <c:v>389.6908455356285</c:v>
                </c:pt>
              </c:numCache>
            </c:numRef>
          </c:xVal>
          <c:yVal>
            <c:numRef>
              <c:f>Sheet1!$B$167:$B$168</c:f>
              <c:numCache>
                <c:formatCode>General</c:formatCode>
                <c:ptCount val="2"/>
                <c:pt idx="0">
                  <c:v>0.228479224815310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9.6908455356285</c:v>
                </c:pt>
              </c:numCache>
            </c:numRef>
          </c:xVal>
          <c:yVal>
            <c:numRef>
              <c:f>Sheet1!$B$171:$B$172</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9.6908455356285</c:v>
                </c:pt>
                <c:pt idx="1">
                  <c:v>389.6908455356285</c:v>
                </c:pt>
              </c:numCache>
            </c:numRef>
          </c:xVal>
          <c:yVal>
            <c:numRef>
              <c:f>Sheet1!$B$175:$B$176</c:f>
              <c:numCache>
                <c:formatCode>General</c:formatCode>
                <c:ptCount val="2"/>
                <c:pt idx="0">
                  <c:v>0.228479224815310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81.9284222147501</c:v>
                </c:pt>
              </c:numCache>
            </c:numRef>
          </c:xVal>
          <c:yVal>
            <c:numRef>
              <c:f>Sheet1!$B$179:$B$180</c:f>
              <c:numCache>
                <c:formatCode>General</c:formatCode>
                <c:ptCount val="2"/>
                <c:pt idx="0">
                  <c:v>0.23592288301847175</c:v>
                </c:pt>
                <c:pt idx="1">
                  <c:v>0.235922883018471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81.9284222147501</c:v>
                </c:pt>
                <c:pt idx="1">
                  <c:v>381.9284222147501</c:v>
                </c:pt>
              </c:numCache>
            </c:numRef>
          </c:xVal>
          <c:yVal>
            <c:numRef>
              <c:f>Sheet1!$B$183:$B$184</c:f>
              <c:numCache>
                <c:formatCode>General</c:formatCode>
                <c:ptCount val="2"/>
                <c:pt idx="0">
                  <c:v>0.235922883018471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pt idx="52">
                  <c:v>389.6908455356285</c:v>
                </c:pt>
                <c:pt idx="53">
                  <c:v>389.6908455356285</c:v>
                </c:pt>
                <c:pt idx="54">
                  <c:v>381.9284222147501</c:v>
                </c:pt>
              </c:numCache>
            </c:numRef>
          </c:xVal>
          <c:yVal>
            <c:numRef>
              <c:f>Sheet1!$B$187:$B$241</c:f>
              <c:numCache>
                <c:formatCode>General</c:formatCode>
                <c:ptCount val="55"/>
                <c:pt idx="0">
                  <c:v>0.2027061684419243</c:v>
                </c:pt>
                <c:pt idx="1">
                  <c:v>0.1977470368915859</c:v>
                </c:pt>
                <c:pt idx="2">
                  <c:v>0.15582010402945362</c:v>
                </c:pt>
                <c:pt idx="3">
                  <c:v>0.19127393900813827</c:v>
                </c:pt>
                <c:pt idx="4">
                  <c:v>0.203222650749381</c:v>
                </c:pt>
                <c:pt idx="5">
                  <c:v>0.1745866507308813</c:v>
                </c:pt>
                <c:pt idx="6">
                  <c:v>0.19343854263350402</c:v>
                </c:pt>
                <c:pt idx="7">
                  <c:v>0.18737117008292847</c:v>
                </c:pt>
                <c:pt idx="8">
                  <c:v>0.16967316447915953</c:v>
                </c:pt>
                <c:pt idx="9">
                  <c:v>0.18410685997744514</c:v>
                </c:pt>
                <c:pt idx="10">
                  <c:v>0.15810783488890295</c:v>
                </c:pt>
                <c:pt idx="11">
                  <c:v>0.1712764076463278</c:v>
                </c:pt>
                <c:pt idx="12">
                  <c:v>0.18817025048917368</c:v>
                </c:pt>
                <c:pt idx="13">
                  <c:v>0.14773244754766796</c:v>
                </c:pt>
                <c:pt idx="14">
                  <c:v>0.1310107335094795</c:v>
                </c:pt>
                <c:pt idx="15">
                  <c:v>0.13931347907697356</c:v>
                </c:pt>
                <c:pt idx="16">
                  <c:v>0.11215164959552015</c:v>
                </c:pt>
                <c:pt idx="17">
                  <c:v>0.1664421294127938</c:v>
                </c:pt>
                <c:pt idx="18">
                  <c:v>0.21647369190346621</c:v>
                </c:pt>
                <c:pt idx="19">
                  <c:v>0.18160068376033023</c:v>
                </c:pt>
                <c:pt idx="20">
                  <c:v>0.13348794989427876</c:v>
                </c:pt>
                <c:pt idx="21">
                  <c:v>0.1766000303312082</c:v>
                </c:pt>
                <c:pt idx="22">
                  <c:v>0.16555444342688097</c:v>
                </c:pt>
                <c:pt idx="23">
                  <c:v>0.20556321891878376</c:v>
                </c:pt>
                <c:pt idx="24">
                  <c:v>0.16649132277033657</c:v>
                </c:pt>
                <c:pt idx="25">
                  <c:v>0.18971883437018333</c:v>
                </c:pt>
                <c:pt idx="26">
                  <c:v>0.1876335346564898</c:v>
                </c:pt>
                <c:pt idx="27">
                  <c:v>0.17522827403559588</c:v>
                </c:pt>
                <c:pt idx="28">
                  <c:v>0.20960781430755243</c:v>
                </c:pt>
                <c:pt idx="29">
                  <c:v>0.1784780083314369</c:v>
                </c:pt>
                <c:pt idx="30">
                  <c:v>0.17430261422982546</c:v>
                </c:pt>
                <c:pt idx="31">
                  <c:v>0.21851353810551205</c:v>
                </c:pt>
                <c:pt idx="32">
                  <c:v>0.17985244964461494</c:v>
                </c:pt>
                <c:pt idx="33">
                  <c:v>0.20236526710456665</c:v>
                </c:pt>
                <c:pt idx="34">
                  <c:v>0.2137165624374442</c:v>
                </c:pt>
                <c:pt idx="35">
                  <c:v>0.20890136700732342</c:v>
                </c:pt>
                <c:pt idx="36">
                  <c:v>0.17448241451324198</c:v>
                </c:pt>
                <c:pt idx="37">
                  <c:v>0.2163804834365431</c:v>
                </c:pt>
                <c:pt idx="38">
                  <c:v>0.15111930952632802</c:v>
                </c:pt>
                <c:pt idx="39">
                  <c:v>0.19914621872376204</c:v>
                </c:pt>
                <c:pt idx="40">
                  <c:v>0.21855649838656305</c:v>
                </c:pt>
                <c:pt idx="41">
                  <c:v>0.18125680972495345</c:v>
                </c:pt>
                <c:pt idx="42">
                  <c:v>0.2369197170922308</c:v>
                </c:pt>
                <c:pt idx="43">
                  <c:v>0.23205043773685835</c:v>
                </c:pt>
                <c:pt idx="44">
                  <c:v>0.19491185012919</c:v>
                </c:pt>
                <c:pt idx="45">
                  <c:v>0.21185690009275288</c:v>
                </c:pt>
                <c:pt idx="46">
                  <c:v>0.20724336866051207</c:v>
                </c:pt>
                <c:pt idx="47">
                  <c:v>0.21594033234273952</c:v>
                </c:pt>
                <c:pt idx="48">
                  <c:v>0.21477388399741776</c:v>
                </c:pt>
                <c:pt idx="49">
                  <c:v>0.22009606828003075</c:v>
                </c:pt>
                <c:pt idx="50">
                  <c:v>0.20802691432227005</c:v>
                </c:pt>
                <c:pt idx="51">
                  <c:v>0.21066954696781248</c:v>
                </c:pt>
                <c:pt idx="52">
                  <c:v>0.22847922481531002</c:v>
                </c:pt>
                <c:pt idx="53">
                  <c:v>0.22847922481531002</c:v>
                </c:pt>
                <c:pt idx="54">
                  <c:v>0.235922883018471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0"/>
          <c:min val="2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4466403162055"/>
          <c:min val="0.07489361702127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788158567774938</c:v>
                </c:pt>
                <c:pt idx="1">
                  <c:v>0.13121480381018966</c:v>
                </c:pt>
                <c:pt idx="2">
                  <c:v>0.14414902994011974</c:v>
                </c:pt>
                <c:pt idx="3">
                  <c:v>0.1207802336330784</c:v>
                </c:pt>
                <c:pt idx="4">
                  <c:v>0.13706714737598422</c:v>
                </c:pt>
                <c:pt idx="5">
                  <c:v>0.13031209925888917</c:v>
                </c:pt>
                <c:pt idx="6">
                  <c:v>0.1383783443646872</c:v>
                </c:pt>
                <c:pt idx="7">
                  <c:v>0.13806215370866845</c:v>
                </c:pt>
                <c:pt idx="8">
                  <c:v>0.13533540876737613</c:v>
                </c:pt>
                <c:pt idx="9">
                  <c:v>0.142026993006993</c:v>
                </c:pt>
                <c:pt idx="10">
                  <c:v>0.12231543410305247</c:v>
                </c:pt>
                <c:pt idx="11">
                  <c:v>0.13820470574036375</c:v>
                </c:pt>
                <c:pt idx="12">
                  <c:v>0.13496036353916063</c:v>
                </c:pt>
                <c:pt idx="13">
                  <c:v>0.1369317942846771</c:v>
                </c:pt>
                <c:pt idx="14">
                  <c:v>0.1082088690937258</c:v>
                </c:pt>
                <c:pt idx="15">
                  <c:v>0.11671016332967515</c:v>
                </c:pt>
                <c:pt idx="16">
                  <c:v>0.12094698602794411</c:v>
                </c:pt>
                <c:pt idx="17">
                  <c:v>0.138858128573206</c:v>
                </c:pt>
                <c:pt idx="18">
                  <c:v>0.16102669844852072</c:v>
                </c:pt>
                <c:pt idx="19">
                  <c:v>0.15393580112681624</c:v>
                </c:pt>
                <c:pt idx="20">
                  <c:v>0.16299341887554283</c:v>
                </c:pt>
                <c:pt idx="21">
                  <c:v>0.1602574116893719</c:v>
                </c:pt>
                <c:pt idx="22">
                  <c:v>0.17052735337604732</c:v>
                </c:pt>
                <c:pt idx="23">
                  <c:v>0.15865715332926084</c:v>
                </c:pt>
                <c:pt idx="24">
                  <c:v>0.1542699766899767</c:v>
                </c:pt>
                <c:pt idx="25">
                  <c:v>0.16555977944296182</c:v>
                </c:pt>
                <c:pt idx="26">
                  <c:v>0.16460592057761733</c:v>
                </c:pt>
                <c:pt idx="27">
                  <c:v>0.1376352395672334</c:v>
                </c:pt>
                <c:pt idx="28">
                  <c:v>0.177834881388368</c:v>
                </c:pt>
                <c:pt idx="29">
                  <c:v>0.11466078767123287</c:v>
                </c:pt>
                <c:pt idx="30">
                  <c:v>0.1883975724137931</c:v>
                </c:pt>
                <c:pt idx="31">
                  <c:v>0.19831936366746494</c:v>
                </c:pt>
                <c:pt idx="32">
                  <c:v>0.1859924475031473</c:v>
                </c:pt>
                <c:pt idx="33">
                  <c:v>0.1542251295967122</c:v>
                </c:pt>
                <c:pt idx="34">
                  <c:v>0.15321473557469667</c:v>
                </c:pt>
                <c:pt idx="35">
                  <c:v>0.16090218058307793</c:v>
                </c:pt>
                <c:pt idx="36">
                  <c:v>0.1337789648762352</c:v>
                </c:pt>
                <c:pt idx="37">
                  <c:v>0.16342941976988742</c:v>
                </c:pt>
                <c:pt idx="38">
                  <c:v>0.14683945338329293</c:v>
                </c:pt>
                <c:pt idx="39">
                  <c:v>0.12071208325303527</c:v>
                </c:pt>
                <c:pt idx="40">
                  <c:v>0.10332791666666667</c:v>
                </c:pt>
                <c:pt idx="41">
                  <c:v>0.14722550832753017</c:v>
                </c:pt>
                <c:pt idx="42">
                  <c:v>0.14673060156931125</c:v>
                </c:pt>
                <c:pt idx="43">
                  <c:v>0.13510747358121128</c:v>
                </c:pt>
                <c:pt idx="44">
                  <c:v>0.16929755216693418</c:v>
                </c:pt>
                <c:pt idx="45">
                  <c:v>0.16418032544378697</c:v>
                </c:pt>
                <c:pt idx="46">
                  <c:v>0.1607228556008773</c:v>
                </c:pt>
                <c:pt idx="47">
                  <c:v>0.1553609355538128</c:v>
                </c:pt>
                <c:pt idx="48">
                  <c:v>0.1616899071658875</c:v>
                </c:pt>
                <c:pt idx="49">
                  <c:v>0.16195807649379454</c:v>
                </c:pt>
                <c:pt idx="50">
                  <c:v>0.16150046876766966</c:v>
                </c:pt>
                <c:pt idx="51">
                  <c:v>0.16742334899209915</c:v>
                </c:pt>
                <c:pt idx="52">
                  <c:v>0.16933493574464215</c:v>
                </c:pt>
                <c:pt idx="53">
                  <c:v>0.1713134379046227</c:v>
                </c:pt>
                <c:pt idx="54">
                  <c:v>0.16839932492622625</c:v>
                </c:pt>
                <c:pt idx="55">
                  <c:v>0.15802445701178897</c:v>
                </c:pt>
                <c:pt idx="56">
                  <c:v>0.16278177983390227</c:v>
                </c:pt>
                <c:pt idx="57">
                  <c:v>0.1601501118844769</c:v>
                </c:pt>
                <c:pt idx="58">
                  <c:v>0.1525567077432023</c:v>
                </c:pt>
                <c:pt idx="59">
                  <c:v>0.16175720257120324</c:v>
                </c:pt>
                <c:pt idx="60">
                  <c:v>0.15061012683261807</c:v>
                </c:pt>
                <c:pt idx="61">
                  <c:v>0.1481721706015321</c:v>
                </c:pt>
                <c:pt idx="62">
                  <c:v>0.1894925335738625</c:v>
                </c:pt>
                <c:pt idx="63">
                  <c:v>0.17354376456000603</c:v>
                </c:pt>
                <c:pt idx="64">
                  <c:v>0.16474035945816337</c:v>
                </c:pt>
                <c:pt idx="65">
                  <c:v>0.16815129430851994</c:v>
                </c:pt>
                <c:pt idx="66">
                  <c:v>0.15963518012441857</c:v>
                </c:pt>
                <c:pt idx="67">
                  <c:v>0.16260884688145028</c:v>
                </c:pt>
                <c:pt idx="68">
                  <c:v>0.1673798650797618</c:v>
                </c:pt>
                <c:pt idx="69">
                  <c:v>0.1563401857032802</c:v>
                </c:pt>
                <c:pt idx="70">
                  <c:v>0.1708770466883822</c:v>
                </c:pt>
                <c:pt idx="71">
                  <c:v>0.17724536583815012</c:v>
                </c:pt>
                <c:pt idx="72">
                  <c:v>0.17323895313451004</c:v>
                </c:pt>
                <c:pt idx="73">
                  <c:v>0.1678588359230972</c:v>
                </c:pt>
                <c:pt idx="74">
                  <c:v>0.17580645685939658</c:v>
                </c:pt>
                <c:pt idx="75">
                  <c:v>0.15664752756256134</c:v>
                </c:pt>
                <c:pt idx="76">
                  <c:v>0.1885459538548115</c:v>
                </c:pt>
                <c:pt idx="77">
                  <c:v>0.18415124977514322</c:v>
                </c:pt>
                <c:pt idx="78">
                  <c:v>0.18725776831810603</c:v>
                </c:pt>
                <c:pt idx="79">
                  <c:v>0.19224321001453</c:v>
                </c:pt>
                <c:pt idx="80">
                  <c:v>0.18757187740305392</c:v>
                </c:pt>
                <c:pt idx="81">
                  <c:v>0.18527002884082708</c:v>
                </c:pt>
                <c:pt idx="82">
                  <c:v>0.17036724517793359</c:v>
                </c:pt>
                <c:pt idx="83">
                  <c:v>0.1510021001312582</c:v>
                </c:pt>
                <c:pt idx="84">
                  <c:v>0.19671561833688703</c:v>
                </c:pt>
                <c:pt idx="85">
                  <c:v>0.12749643317576279</c:v>
                </c:pt>
                <c:pt idx="86">
                  <c:v>0.165293095930752</c:v>
                </c:pt>
                <c:pt idx="87">
                  <c:v>0.16354667934696465</c:v>
                </c:pt>
                <c:pt idx="88">
                  <c:v>0.18778397965060473</c:v>
                </c:pt>
                <c:pt idx="89">
                  <c:v>0.15773309443507588</c:v>
                </c:pt>
                <c:pt idx="90">
                  <c:v>0.1663705589374654</c:v>
                </c:pt>
                <c:pt idx="91">
                  <c:v>0.18502271114265437</c:v>
                </c:pt>
                <c:pt idx="92">
                  <c:v>0.14269772905246672</c:v>
                </c:pt>
                <c:pt idx="93">
                  <c:v>0.1572358339114062</c:v>
                </c:pt>
                <c:pt idx="94">
                  <c:v>0.1427296695652174</c:v>
                </c:pt>
                <c:pt idx="95">
                  <c:v>0.16167389451994282</c:v>
                </c:pt>
                <c:pt idx="96">
                  <c:v>0.16973343558280976</c:v>
                </c:pt>
                <c:pt idx="97">
                  <c:v>0.18528096997690532</c:v>
                </c:pt>
                <c:pt idx="98">
                  <c:v>0.13801751152073732</c:v>
                </c:pt>
                <c:pt idx="99">
                  <c:v>0.16971036910493348</c:v>
                </c:pt>
                <c:pt idx="100">
                  <c:v>0.16751265027198178</c:v>
                </c:pt>
                <c:pt idx="101">
                  <c:v>0.18768691125383605</c:v>
                </c:pt>
                <c:pt idx="102">
                  <c:v>0.1928956548576787</c:v>
                </c:pt>
                <c:pt idx="103">
                  <c:v>0.11332607464709597</c:v>
                </c:pt>
                <c:pt idx="104">
                  <c:v>0.13674528702445654</c:v>
                </c:pt>
              </c:numCache>
            </c:numRef>
          </c:xVal>
          <c:yVal>
            <c:numRef>
              <c:f>Sheet1!$B$2:$B$106</c:f>
              <c:numCache>
                <c:formatCode>General</c:formatCode>
                <c:ptCount val="105"/>
                <c:pt idx="0">
                  <c:v>0.12615384615384614</c:v>
                </c:pt>
                <c:pt idx="1">
                  <c:v>0.22007722007722008</c:v>
                </c:pt>
                <c:pt idx="2">
                  <c:v>0.1906779661016949</c:v>
                </c:pt>
                <c:pt idx="3">
                  <c:v>0.2768595041322314</c:v>
                </c:pt>
                <c:pt idx="4">
                  <c:v>0.18292682926829268</c:v>
                </c:pt>
                <c:pt idx="5">
                  <c:v>0.22846441947565543</c:v>
                </c:pt>
                <c:pt idx="6">
                  <c:v>0.23809523809523808</c:v>
                </c:pt>
                <c:pt idx="7">
                  <c:v>0.23046875</c:v>
                </c:pt>
                <c:pt idx="8">
                  <c:v>0.20125786163522014</c:v>
                </c:pt>
                <c:pt idx="9">
                  <c:v>0.16666666666666666</c:v>
                </c:pt>
                <c:pt idx="10">
                  <c:v>0.20350109409190373</c:v>
                </c:pt>
                <c:pt idx="11">
                  <c:v>0.2422680412371134</c:v>
                </c:pt>
                <c:pt idx="12">
                  <c:v>0.23055555555555557</c:v>
                </c:pt>
                <c:pt idx="13">
                  <c:v>0.2542857142857143</c:v>
                </c:pt>
                <c:pt idx="14">
                  <c:v>0.2783171521035599</c:v>
                </c:pt>
                <c:pt idx="15">
                  <c:v>0.19112627986348124</c:v>
                </c:pt>
                <c:pt idx="16">
                  <c:v>0.13138686131386862</c:v>
                </c:pt>
                <c:pt idx="17">
                  <c:v>0.12167300380228137</c:v>
                </c:pt>
                <c:pt idx="18">
                  <c:v>0.11481481481481481</c:v>
                </c:pt>
                <c:pt idx="19">
                  <c:v>0.10555555555555556</c:v>
                </c:pt>
                <c:pt idx="20">
                  <c:v>0.09361702127659574</c:v>
                </c:pt>
                <c:pt idx="21">
                  <c:v>0.12195121951219512</c:v>
                </c:pt>
                <c:pt idx="22">
                  <c:v>0.13402061855670103</c:v>
                </c:pt>
                <c:pt idx="23">
                  <c:v>0.1270718232044199</c:v>
                </c:pt>
                <c:pt idx="24">
                  <c:v>0.15492957746478872</c:v>
                </c:pt>
                <c:pt idx="25">
                  <c:v>0.1357142857142857</c:v>
                </c:pt>
                <c:pt idx="26">
                  <c:v>0.2222222222222222</c:v>
                </c:pt>
                <c:pt idx="27">
                  <c:v>0.12396694214876033</c:v>
                </c:pt>
                <c:pt idx="28">
                  <c:v>0.17272727272727273</c:v>
                </c:pt>
                <c:pt idx="29">
                  <c:v>0.1875</c:v>
                </c:pt>
                <c:pt idx="30">
                  <c:v>0.1588785046728972</c:v>
                </c:pt>
                <c:pt idx="31">
                  <c:v>0.16842105263157894</c:v>
                </c:pt>
                <c:pt idx="32">
                  <c:v>0.16346153846153846</c:v>
                </c:pt>
                <c:pt idx="33">
                  <c:v>0.12871287128712872</c:v>
                </c:pt>
                <c:pt idx="34">
                  <c:v>0.2109375</c:v>
                </c:pt>
                <c:pt idx="35">
                  <c:v>0.16129032258064516</c:v>
                </c:pt>
                <c:pt idx="36">
                  <c:v>0.22794117647058823</c:v>
                </c:pt>
                <c:pt idx="37">
                  <c:v>0.15503875968992248</c:v>
                </c:pt>
                <c:pt idx="38">
                  <c:v>0.16666666666666666</c:v>
                </c:pt>
                <c:pt idx="39">
                  <c:v>0.16161616161616163</c:v>
                </c:pt>
                <c:pt idx="40">
                  <c:v>0.15384615384615385</c:v>
                </c:pt>
                <c:pt idx="41">
                  <c:v>0.14285714285714285</c:v>
                </c:pt>
                <c:pt idx="42">
                  <c:v>0.19607843137254902</c:v>
                </c:pt>
                <c:pt idx="43">
                  <c:v>0.18562874251497005</c:v>
                </c:pt>
                <c:pt idx="44">
                  <c:v>0.2028301886792453</c:v>
                </c:pt>
                <c:pt idx="45">
                  <c:v>0.21385542168674698</c:v>
                </c:pt>
                <c:pt idx="46">
                  <c:v>0.19617224880382775</c:v>
                </c:pt>
                <c:pt idx="47">
                  <c:v>0.14250614250614252</c:v>
                </c:pt>
                <c:pt idx="48">
                  <c:v>0.16043956043956045</c:v>
                </c:pt>
                <c:pt idx="49">
                  <c:v>0.1568627450980392</c:v>
                </c:pt>
                <c:pt idx="50">
                  <c:v>0.1622340425531915</c:v>
                </c:pt>
                <c:pt idx="51">
                  <c:v>0.1737891737891738</c:v>
                </c:pt>
                <c:pt idx="52">
                  <c:v>0.15047021943573669</c:v>
                </c:pt>
                <c:pt idx="53">
                  <c:v>0.20164609053497942</c:v>
                </c:pt>
                <c:pt idx="54">
                  <c:v>0.20179372197309417</c:v>
                </c:pt>
                <c:pt idx="55">
                  <c:v>0.16532258064516128</c:v>
                </c:pt>
                <c:pt idx="56">
                  <c:v>0.19548872180451127</c:v>
                </c:pt>
                <c:pt idx="57">
                  <c:v>0.17164179104477612</c:v>
                </c:pt>
                <c:pt idx="58">
                  <c:v>0.22794117647058823</c:v>
                </c:pt>
                <c:pt idx="59">
                  <c:v>0.16556291390728478</c:v>
                </c:pt>
                <c:pt idx="60">
                  <c:v>0.18475073313782991</c:v>
                </c:pt>
                <c:pt idx="61">
                  <c:v>0.2299168975069252</c:v>
                </c:pt>
                <c:pt idx="62">
                  <c:v>0.2621145374449339</c:v>
                </c:pt>
                <c:pt idx="63">
                  <c:v>0.216796875</c:v>
                </c:pt>
                <c:pt idx="64">
                  <c:v>0.2138728323699422</c:v>
                </c:pt>
                <c:pt idx="65">
                  <c:v>0.2011070110701107</c:v>
                </c:pt>
                <c:pt idx="66">
                  <c:v>0.20701754385964913</c:v>
                </c:pt>
                <c:pt idx="67">
                  <c:v>0.1864801864801865</c:v>
                </c:pt>
                <c:pt idx="68">
                  <c:v>0.15838509316770186</c:v>
                </c:pt>
                <c:pt idx="69">
                  <c:v>0.18333333333333332</c:v>
                </c:pt>
                <c:pt idx="70">
                  <c:v>0.15151515151515152</c:v>
                </c:pt>
                <c:pt idx="71">
                  <c:v>0.17446808510638298</c:v>
                </c:pt>
                <c:pt idx="72">
                  <c:v>0.1645021645021645</c:v>
                </c:pt>
                <c:pt idx="73">
                  <c:v>0.19704433497536947</c:v>
                </c:pt>
                <c:pt idx="74">
                  <c:v>0.18592964824120603</c:v>
                </c:pt>
                <c:pt idx="75">
                  <c:v>0.17218543046357615</c:v>
                </c:pt>
                <c:pt idx="76">
                  <c:v>0.16049382716049382</c:v>
                </c:pt>
                <c:pt idx="77">
                  <c:v>0.1836734693877551</c:v>
                </c:pt>
                <c:pt idx="78">
                  <c:v>0.16428571428571428</c:v>
                </c:pt>
                <c:pt idx="79">
                  <c:v>0.11764705882352941</c:v>
                </c:pt>
                <c:pt idx="80">
                  <c:v>0.1079136690647482</c:v>
                </c:pt>
                <c:pt idx="81">
                  <c:v>0.125</c:v>
                </c:pt>
                <c:pt idx="82">
                  <c:v>0.1417910447761194</c:v>
                </c:pt>
                <c:pt idx="83">
                  <c:v>0.1559633027522936</c:v>
                </c:pt>
                <c:pt idx="84">
                  <c:v>0.11818181818181818</c:v>
                </c:pt>
                <c:pt idx="85">
                  <c:v>0.1532258064516129</c:v>
                </c:pt>
                <c:pt idx="86">
                  <c:v>0.10256410256410256</c:v>
                </c:pt>
                <c:pt idx="87">
                  <c:v>0.1676300578034682</c:v>
                </c:pt>
                <c:pt idx="88">
                  <c:v>0.1271186440677966</c:v>
                </c:pt>
                <c:pt idx="89">
                  <c:v>0.14285714285714285</c:v>
                </c:pt>
                <c:pt idx="90">
                  <c:v>0.18446601941747573</c:v>
                </c:pt>
                <c:pt idx="91">
                  <c:v>0.2037037037037037</c:v>
                </c:pt>
                <c:pt idx="92">
                  <c:v>0.16</c:v>
                </c:pt>
                <c:pt idx="93">
                  <c:v>0.216</c:v>
                </c:pt>
                <c:pt idx="94">
                  <c:v>0.18699186991869918</c:v>
                </c:pt>
                <c:pt idx="95">
                  <c:v>0.2571428571428571</c:v>
                </c:pt>
                <c:pt idx="96">
                  <c:v>0.14798206278026907</c:v>
                </c:pt>
                <c:pt idx="97">
                  <c:v>0.18292682926829268</c:v>
                </c:pt>
                <c:pt idx="98">
                  <c:v>0.16943521594684385</c:v>
                </c:pt>
                <c:pt idx="99">
                  <c:v>0.1367713004484305</c:v>
                </c:pt>
                <c:pt idx="100">
                  <c:v>0.13649025069637882</c:v>
                </c:pt>
                <c:pt idx="101">
                  <c:v>0.15273775216138327</c:v>
                </c:pt>
                <c:pt idx="102">
                  <c:v>0.14652014652014653</c:v>
                </c:pt>
                <c:pt idx="103">
                  <c:v>0.209375</c:v>
                </c:pt>
                <c:pt idx="104">
                  <c:v>0.1678321678321678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6521445639779883</c:v>
                </c:pt>
                <c:pt idx="1">
                  <c:v>0.20285670995670996</c:v>
                </c:pt>
                <c:pt idx="2">
                  <c:v>0.19949062466516662</c:v>
                </c:pt>
                <c:pt idx="3">
                  <c:v>0.18611631745357737</c:v>
                </c:pt>
                <c:pt idx="4">
                  <c:v>0.15620435752745138</c:v>
                </c:pt>
                <c:pt idx="5">
                  <c:v>0.19414202983523554</c:v>
                </c:pt>
                <c:pt idx="6">
                  <c:v>0.18547225438297502</c:v>
                </c:pt>
                <c:pt idx="7">
                  <c:v>0.17255781390246336</c:v>
                </c:pt>
                <c:pt idx="8">
                  <c:v>0.21473506133526524</c:v>
                </c:pt>
                <c:pt idx="9">
                  <c:v>0.1952967606461909</c:v>
                </c:pt>
                <c:pt idx="10">
                  <c:v>0.19505319910703003</c:v>
                </c:pt>
                <c:pt idx="11">
                  <c:v>0.18607532852402775</c:v>
                </c:pt>
                <c:pt idx="12">
                  <c:v>0.18183405644906173</c:v>
                </c:pt>
                <c:pt idx="13">
                  <c:v>0.1908855878361183</c:v>
                </c:pt>
                <c:pt idx="14">
                  <c:v>0.1862219428640214</c:v>
                </c:pt>
                <c:pt idx="15">
                  <c:v>0.19219551042755464</c:v>
                </c:pt>
                <c:pt idx="16">
                  <c:v>0.17833876428965525</c:v>
                </c:pt>
                <c:pt idx="17">
                  <c:v>0.20436212793160974</c:v>
                </c:pt>
                <c:pt idx="18">
                  <c:v>0.1558955426356589</c:v>
                </c:pt>
                <c:pt idx="19">
                  <c:v>0.20164455172413795</c:v>
                </c:pt>
                <c:pt idx="20">
                  <c:v>0.1852027283061766</c:v>
                </c:pt>
                <c:pt idx="21">
                  <c:v>0.18949261315115284</c:v>
                </c:pt>
                <c:pt idx="22">
                  <c:v>0.1795741668309998</c:v>
                </c:pt>
                <c:pt idx="23">
                  <c:v>0.17073287526410477</c:v>
                </c:pt>
                <c:pt idx="24">
                  <c:v>0.1725698604121166</c:v>
                </c:pt>
                <c:pt idx="25">
                  <c:v>0.1861751325614111</c:v>
                </c:pt>
                <c:pt idx="26">
                  <c:v>0.18928351869690865</c:v>
                </c:pt>
                <c:pt idx="27">
                  <c:v>0.20320502053856687</c:v>
                </c:pt>
                <c:pt idx="28">
                  <c:v>0.1721671327936074</c:v>
                </c:pt>
                <c:pt idx="29">
                  <c:v>0.18893068502522878</c:v>
                </c:pt>
                <c:pt idx="30">
                  <c:v>0.17907190395890427</c:v>
                </c:pt>
                <c:pt idx="31">
                  <c:v>0.21988639736191262</c:v>
                </c:pt>
                <c:pt idx="32">
                  <c:v>0.13311168203113194</c:v>
                </c:pt>
                <c:pt idx="33">
                  <c:v>0.15301053288314737</c:v>
                </c:pt>
                <c:pt idx="34">
                  <c:v>0.16530254943806166</c:v>
                </c:pt>
                <c:pt idx="35">
                  <c:v>0.13903113823205357</c:v>
                </c:pt>
                <c:pt idx="36">
                  <c:v>0.18854364827731981</c:v>
                </c:pt>
                <c:pt idx="37">
                  <c:v>0.18378606669712197</c:v>
                </c:pt>
                <c:pt idx="38">
                  <c:v>0.19705219941348975</c:v>
                </c:pt>
                <c:pt idx="39">
                  <c:v>0.12301478120883945</c:v>
                </c:pt>
                <c:pt idx="40">
                  <c:v>0.14991137343076635</c:v>
                </c:pt>
                <c:pt idx="41">
                  <c:v>0.2084874162205101</c:v>
                </c:pt>
                <c:pt idx="42">
                  <c:v>0.1410177341725287</c:v>
                </c:pt>
                <c:pt idx="43">
                  <c:v>0.1530298136122406</c:v>
                </c:pt>
                <c:pt idx="44">
                  <c:v>0.1699632616308154</c:v>
                </c:pt>
                <c:pt idx="45">
                  <c:v>0.13964319409897932</c:v>
                </c:pt>
                <c:pt idx="46">
                  <c:v>0.16802778457772338</c:v>
                </c:pt>
                <c:pt idx="47">
                  <c:v>0.1339207647547797</c:v>
                </c:pt>
                <c:pt idx="48">
                  <c:v>0.14493187199540788</c:v>
                </c:pt>
                <c:pt idx="49">
                  <c:v>0.1571816415213307</c:v>
                </c:pt>
                <c:pt idx="50">
                  <c:v>0.1692698772232375</c:v>
                </c:pt>
                <c:pt idx="51">
                  <c:v>0.16926334991708125</c:v>
                </c:pt>
              </c:numCache>
            </c:numRef>
          </c:xVal>
          <c:yVal>
            <c:numRef>
              <c:f>Sheet1!$B$109:$B$160</c:f>
              <c:numCache>
                <c:formatCode>General</c:formatCode>
                <c:ptCount val="52"/>
                <c:pt idx="0">
                  <c:v>0.13167259786476868</c:v>
                </c:pt>
                <c:pt idx="1">
                  <c:v>0.10267857142857142</c:v>
                </c:pt>
                <c:pt idx="2">
                  <c:v>0.14028776978417265</c:v>
                </c:pt>
                <c:pt idx="3">
                  <c:v>0.17216117216117216</c:v>
                </c:pt>
                <c:pt idx="4">
                  <c:v>0.21630094043887146</c:v>
                </c:pt>
                <c:pt idx="5">
                  <c:v>0.14241486068111456</c:v>
                </c:pt>
                <c:pt idx="6">
                  <c:v>0.16279069767441862</c:v>
                </c:pt>
                <c:pt idx="7">
                  <c:v>0.17201166180758018</c:v>
                </c:pt>
                <c:pt idx="8">
                  <c:v>0.17232375979112272</c:v>
                </c:pt>
                <c:pt idx="9">
                  <c:v>0.16942148760330578</c:v>
                </c:pt>
                <c:pt idx="10">
                  <c:v>0.1575178997613365</c:v>
                </c:pt>
                <c:pt idx="11">
                  <c:v>0.13562753036437247</c:v>
                </c:pt>
                <c:pt idx="12">
                  <c:v>0.15732758620689655</c:v>
                </c:pt>
                <c:pt idx="13">
                  <c:v>0.17771883289124668</c:v>
                </c:pt>
                <c:pt idx="14">
                  <c:v>0.13861386138613863</c:v>
                </c:pt>
                <c:pt idx="15">
                  <c:v>0.13559322033898305</c:v>
                </c:pt>
                <c:pt idx="16">
                  <c:v>0.10267857142857142</c:v>
                </c:pt>
                <c:pt idx="17">
                  <c:v>0.13131313131313133</c:v>
                </c:pt>
                <c:pt idx="18">
                  <c:v>0.1743119266055046</c:v>
                </c:pt>
                <c:pt idx="19">
                  <c:v>0.16455696202531644</c:v>
                </c:pt>
                <c:pt idx="20">
                  <c:v>0.16666666666666666</c:v>
                </c:pt>
                <c:pt idx="21">
                  <c:v>0.18045112781954886</c:v>
                </c:pt>
                <c:pt idx="22">
                  <c:v>0.19727891156462585</c:v>
                </c:pt>
                <c:pt idx="23">
                  <c:v>0.2236842105263158</c:v>
                </c:pt>
                <c:pt idx="24">
                  <c:v>0.168</c:v>
                </c:pt>
                <c:pt idx="25">
                  <c:v>0.14754098360655737</c:v>
                </c:pt>
                <c:pt idx="26">
                  <c:v>0.168</c:v>
                </c:pt>
                <c:pt idx="27">
                  <c:v>0.1836734693877551</c:v>
                </c:pt>
                <c:pt idx="28">
                  <c:v>0.24545454545454545</c:v>
                </c:pt>
                <c:pt idx="29">
                  <c:v>0.19148936170212766</c:v>
                </c:pt>
                <c:pt idx="30">
                  <c:v>0.18604651162790697</c:v>
                </c:pt>
                <c:pt idx="31">
                  <c:v>0.1875</c:v>
                </c:pt>
                <c:pt idx="32">
                  <c:v>0.18292682926829268</c:v>
                </c:pt>
                <c:pt idx="33">
                  <c:v>0.2047244094488189</c:v>
                </c:pt>
                <c:pt idx="34">
                  <c:v>0.2777777777777778</c:v>
                </c:pt>
                <c:pt idx="35">
                  <c:v>0.24778761061946902</c:v>
                </c:pt>
                <c:pt idx="36">
                  <c:v>0.1927710843373494</c:v>
                </c:pt>
                <c:pt idx="37">
                  <c:v>0.16666666666666666</c:v>
                </c:pt>
                <c:pt idx="38">
                  <c:v>0.10891089108910891</c:v>
                </c:pt>
                <c:pt idx="39">
                  <c:v>0.26595744680851063</c:v>
                </c:pt>
                <c:pt idx="40">
                  <c:v>0.24074074074074073</c:v>
                </c:pt>
                <c:pt idx="41">
                  <c:v>0.2672413793103448</c:v>
                </c:pt>
                <c:pt idx="42">
                  <c:v>0.22131147540983606</c:v>
                </c:pt>
                <c:pt idx="43">
                  <c:v>0.21739130434782608</c:v>
                </c:pt>
                <c:pt idx="44">
                  <c:v>0.2598870056497175</c:v>
                </c:pt>
                <c:pt idx="45">
                  <c:v>0.31620553359683795</c:v>
                </c:pt>
                <c:pt idx="46">
                  <c:v>0.24796747967479674</c:v>
                </c:pt>
                <c:pt idx="47">
                  <c:v>0.21739130434782608</c:v>
                </c:pt>
                <c:pt idx="48">
                  <c:v>0.19155844155844157</c:v>
                </c:pt>
                <c:pt idx="49">
                  <c:v>0.20507399577167018</c:v>
                </c:pt>
                <c:pt idx="50">
                  <c:v>0.1997471554993679</c:v>
                </c:pt>
                <c:pt idx="51">
                  <c:v>0.2165242165242165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984665864298962</c:v>
                </c:pt>
              </c:numCache>
            </c:numRef>
          </c:xVal>
          <c:yVal>
            <c:numRef>
              <c:f>Sheet1!$B$163:$B$164</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984665864298962</c:v>
                </c:pt>
                <c:pt idx="1">
                  <c:v>0.13984665864298962</c:v>
                </c:pt>
              </c:numCache>
            </c:numRef>
          </c:xVal>
          <c:yVal>
            <c:numRef>
              <c:f>Sheet1!$B$167:$B$168</c:f>
              <c:numCache>
                <c:formatCode>General</c:formatCode>
                <c:ptCount val="2"/>
                <c:pt idx="0">
                  <c:v>0.228479224815310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3984665864298962</c:v>
                </c:pt>
              </c:numCache>
            </c:numRef>
          </c:xVal>
          <c:yVal>
            <c:numRef>
              <c:f>Sheet1!$B$171:$B$172</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3984665864298962</c:v>
                </c:pt>
                <c:pt idx="1">
                  <c:v>0.13984665864298962</c:v>
                </c:pt>
              </c:numCache>
            </c:numRef>
          </c:xVal>
          <c:yVal>
            <c:numRef>
              <c:f>Sheet1!$B$175:$B$176</c:f>
              <c:numCache>
                <c:formatCode>General</c:formatCode>
                <c:ptCount val="2"/>
                <c:pt idx="0">
                  <c:v>0.228479224815310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321715801987272</c:v>
                </c:pt>
              </c:numCache>
            </c:numRef>
          </c:xVal>
          <c:yVal>
            <c:numRef>
              <c:f>Sheet1!$B$179:$B$180</c:f>
              <c:numCache>
                <c:formatCode>General</c:formatCode>
                <c:ptCount val="2"/>
                <c:pt idx="0">
                  <c:v>0.23592288301847175</c:v>
                </c:pt>
                <c:pt idx="1">
                  <c:v>0.2359228830184717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321715801987272</c:v>
                </c:pt>
                <c:pt idx="1">
                  <c:v>0.13321715801987272</c:v>
                </c:pt>
              </c:numCache>
            </c:numRef>
          </c:xVal>
          <c:yVal>
            <c:numRef>
              <c:f>Sheet1!$B$183:$B$184</c:f>
              <c:numCache>
                <c:formatCode>General</c:formatCode>
                <c:ptCount val="2"/>
                <c:pt idx="0">
                  <c:v>0.2359228830184717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6521445639779883</c:v>
                </c:pt>
                <c:pt idx="1">
                  <c:v>0.20285670995670996</c:v>
                </c:pt>
                <c:pt idx="2">
                  <c:v>0.19949062466516662</c:v>
                </c:pt>
                <c:pt idx="3">
                  <c:v>0.18611631745357737</c:v>
                </c:pt>
                <c:pt idx="4">
                  <c:v>0.15620435752745138</c:v>
                </c:pt>
                <c:pt idx="5">
                  <c:v>0.19414202983523554</c:v>
                </c:pt>
                <c:pt idx="6">
                  <c:v>0.18547225438297502</c:v>
                </c:pt>
                <c:pt idx="7">
                  <c:v>0.17255781390246336</c:v>
                </c:pt>
                <c:pt idx="8">
                  <c:v>0.21473506133526524</c:v>
                </c:pt>
                <c:pt idx="9">
                  <c:v>0.1952967606461909</c:v>
                </c:pt>
                <c:pt idx="10">
                  <c:v>0.19505319910703003</c:v>
                </c:pt>
                <c:pt idx="11">
                  <c:v>0.18607532852402775</c:v>
                </c:pt>
                <c:pt idx="12">
                  <c:v>0.18183405644906173</c:v>
                </c:pt>
                <c:pt idx="13">
                  <c:v>0.1908855878361183</c:v>
                </c:pt>
                <c:pt idx="14">
                  <c:v>0.1862219428640214</c:v>
                </c:pt>
                <c:pt idx="15">
                  <c:v>0.19219551042755464</c:v>
                </c:pt>
                <c:pt idx="16">
                  <c:v>0.17833876428965525</c:v>
                </c:pt>
                <c:pt idx="17">
                  <c:v>0.20436212793160974</c:v>
                </c:pt>
                <c:pt idx="18">
                  <c:v>0.1558955426356589</c:v>
                </c:pt>
                <c:pt idx="19">
                  <c:v>0.20164455172413795</c:v>
                </c:pt>
                <c:pt idx="20">
                  <c:v>0.1852027283061766</c:v>
                </c:pt>
                <c:pt idx="21">
                  <c:v>0.18949261315115284</c:v>
                </c:pt>
                <c:pt idx="22">
                  <c:v>0.1795741668309998</c:v>
                </c:pt>
                <c:pt idx="23">
                  <c:v>0.17073287526410477</c:v>
                </c:pt>
                <c:pt idx="24">
                  <c:v>0.1725698604121166</c:v>
                </c:pt>
                <c:pt idx="25">
                  <c:v>0.1861751325614111</c:v>
                </c:pt>
                <c:pt idx="26">
                  <c:v>0.18928351869690865</c:v>
                </c:pt>
                <c:pt idx="27">
                  <c:v>0.20320502053856687</c:v>
                </c:pt>
                <c:pt idx="28">
                  <c:v>0.1721671327936074</c:v>
                </c:pt>
                <c:pt idx="29">
                  <c:v>0.18893068502522878</c:v>
                </c:pt>
                <c:pt idx="30">
                  <c:v>0.17907190395890427</c:v>
                </c:pt>
                <c:pt idx="31">
                  <c:v>0.21988639736191262</c:v>
                </c:pt>
                <c:pt idx="32">
                  <c:v>0.13311168203113194</c:v>
                </c:pt>
                <c:pt idx="33">
                  <c:v>0.15301053288314737</c:v>
                </c:pt>
                <c:pt idx="34">
                  <c:v>0.16530254943806166</c:v>
                </c:pt>
                <c:pt idx="35">
                  <c:v>0.13903113823205357</c:v>
                </c:pt>
                <c:pt idx="36">
                  <c:v>0.18854364827731981</c:v>
                </c:pt>
                <c:pt idx="37">
                  <c:v>0.18378606669712197</c:v>
                </c:pt>
                <c:pt idx="38">
                  <c:v>0.19705219941348975</c:v>
                </c:pt>
                <c:pt idx="39">
                  <c:v>0.12301478120883945</c:v>
                </c:pt>
                <c:pt idx="40">
                  <c:v>0.14991137343076635</c:v>
                </c:pt>
                <c:pt idx="41">
                  <c:v>0.2084874162205101</c:v>
                </c:pt>
                <c:pt idx="42">
                  <c:v>0.1410177341725287</c:v>
                </c:pt>
                <c:pt idx="43">
                  <c:v>0.1530298136122406</c:v>
                </c:pt>
                <c:pt idx="44">
                  <c:v>0.1699632616308154</c:v>
                </c:pt>
                <c:pt idx="45">
                  <c:v>0.13964319409897932</c:v>
                </c:pt>
                <c:pt idx="46">
                  <c:v>0.16802778457772338</c:v>
                </c:pt>
                <c:pt idx="47">
                  <c:v>0.1339207647547797</c:v>
                </c:pt>
                <c:pt idx="48">
                  <c:v>0.14493187199540788</c:v>
                </c:pt>
                <c:pt idx="49">
                  <c:v>0.1571816415213307</c:v>
                </c:pt>
                <c:pt idx="50">
                  <c:v>0.1692698772232375</c:v>
                </c:pt>
                <c:pt idx="51">
                  <c:v>0.16926334991708125</c:v>
                </c:pt>
                <c:pt idx="52">
                  <c:v>0.13984665864298962</c:v>
                </c:pt>
                <c:pt idx="53">
                  <c:v>0.13984665864298962</c:v>
                </c:pt>
                <c:pt idx="54">
                  <c:v>0.13321715801987272</c:v>
                </c:pt>
              </c:numCache>
            </c:numRef>
          </c:xVal>
          <c:yVal>
            <c:numRef>
              <c:f>Sheet1!$B$187:$B$241</c:f>
              <c:numCache>
                <c:formatCode>General</c:formatCode>
                <c:ptCount val="55"/>
                <c:pt idx="0">
                  <c:v>0.19999605140775498</c:v>
                </c:pt>
                <c:pt idx="1">
                  <c:v>0.1577310173700108</c:v>
                </c:pt>
                <c:pt idx="2">
                  <c:v>0.16151048581225952</c:v>
                </c:pt>
                <c:pt idx="3">
                  <c:v>0.1765272687114133</c:v>
                </c:pt>
                <c:pt idx="4">
                  <c:v>0.21011266503830434</c:v>
                </c:pt>
                <c:pt idx="5">
                  <c:v>0.16751593238275647</c:v>
                </c:pt>
                <c:pt idx="6">
                  <c:v>0.17725042806102184</c:v>
                </c:pt>
                <c:pt idx="7">
                  <c:v>0.19175086878604405</c:v>
                </c:pt>
                <c:pt idx="8">
                  <c:v>0.14439390606924288</c:v>
                </c:pt>
                <c:pt idx="9">
                  <c:v>0.16621939106508327</c:v>
                </c:pt>
                <c:pt idx="10">
                  <c:v>0.16649286397835633</c:v>
                </c:pt>
                <c:pt idx="11">
                  <c:v>0.17657329142096956</c:v>
                </c:pt>
                <c:pt idx="12">
                  <c:v>0.18133542683167844</c:v>
                </c:pt>
                <c:pt idx="13">
                  <c:v>0.17117229242823645</c:v>
                </c:pt>
                <c:pt idx="14">
                  <c:v>0.17640867162580892</c:v>
                </c:pt>
                <c:pt idx="15">
                  <c:v>0.16970150049418764</c:v>
                </c:pt>
                <c:pt idx="16">
                  <c:v>0.18525996981521622</c:v>
                </c:pt>
                <c:pt idx="17">
                  <c:v>0.15604072160037538</c:v>
                </c:pt>
                <c:pt idx="18">
                  <c:v>0.2104594049563208</c:v>
                </c:pt>
                <c:pt idx="19">
                  <c:v>0.15909203867227178</c:v>
                </c:pt>
                <c:pt idx="20">
                  <c:v>0.17755305417218487</c:v>
                </c:pt>
                <c:pt idx="21">
                  <c:v>0.1727363359407122</c:v>
                </c:pt>
                <c:pt idx="22">
                  <c:v>0.18387284961056308</c:v>
                </c:pt>
                <c:pt idx="23">
                  <c:v>0.19379992500278484</c:v>
                </c:pt>
                <c:pt idx="24">
                  <c:v>0.19173734286523983</c:v>
                </c:pt>
                <c:pt idx="25">
                  <c:v>0.17646123062124858</c:v>
                </c:pt>
                <c:pt idx="26">
                  <c:v>0.1729711089255948</c:v>
                </c:pt>
                <c:pt idx="27">
                  <c:v>0.1573399313640986</c:v>
                </c:pt>
                <c:pt idx="28">
                  <c:v>0.19218952877057072</c:v>
                </c:pt>
                <c:pt idx="29">
                  <c:v>0.1733672734942191</c:v>
                </c:pt>
                <c:pt idx="30">
                  <c:v>0.18443679452294168</c:v>
                </c:pt>
                <c:pt idx="31">
                  <c:v>0.1386099433167108</c:v>
                </c:pt>
                <c:pt idx="32">
                  <c:v>0.23604131233215025</c:v>
                </c:pt>
                <c:pt idx="33">
                  <c:v>0.21369871779922198</c:v>
                </c:pt>
                <c:pt idx="34">
                  <c:v>0.19989713981258786</c:v>
                </c:pt>
                <c:pt idx="35">
                  <c:v>0.22939489788660328</c:v>
                </c:pt>
                <c:pt idx="36">
                  <c:v>0.17380184156009298</c:v>
                </c:pt>
                <c:pt idx="37">
                  <c:v>0.17914369355919585</c:v>
                </c:pt>
                <c:pt idx="38">
                  <c:v>0.16424836987914532</c:v>
                </c:pt>
                <c:pt idx="39">
                  <c:v>0.2473781961949097</c:v>
                </c:pt>
                <c:pt idx="40">
                  <c:v>0.21717847969865992</c:v>
                </c:pt>
                <c:pt idx="41">
                  <c:v>0.1514088137452038</c:v>
                </c:pt>
                <c:pt idx="42">
                  <c:v>0.227164331512249</c:v>
                </c:pt>
                <c:pt idx="43">
                  <c:v>0.2136770692369189</c:v>
                </c:pt>
                <c:pt idx="44">
                  <c:v>0.1946640535639503</c:v>
                </c:pt>
                <c:pt idx="45">
                  <c:v>0.22870767649035684</c:v>
                </c:pt>
                <c:pt idx="46">
                  <c:v>0.19683722322819963</c:v>
                </c:pt>
                <c:pt idx="47">
                  <c:v>0.23513286754945928</c:v>
                </c:pt>
                <c:pt idx="48">
                  <c:v>0.22276950514901048</c:v>
                </c:pt>
                <c:pt idx="49">
                  <c:v>0.20901536247640515</c:v>
                </c:pt>
                <c:pt idx="50">
                  <c:v>0.19544259131917946</c:v>
                </c:pt>
                <c:pt idx="51">
                  <c:v>0.19544992023258886</c:v>
                </c:pt>
                <c:pt idx="52">
                  <c:v>0.22847922481531002</c:v>
                </c:pt>
                <c:pt idx="53">
                  <c:v>0.22847922481531002</c:v>
                </c:pt>
                <c:pt idx="54">
                  <c:v>0.2359228830184717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4466403162055"/>
          <c:min val="0.07489361702127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08.6585</c:v>
                </c:pt>
                <c:pt idx="1">
                  <c:v>300.2982</c:v>
                </c:pt>
                <c:pt idx="2">
                  <c:v>300.9111</c:v>
                </c:pt>
                <c:pt idx="3">
                  <c:v>287.4328</c:v>
                </c:pt>
                <c:pt idx="4">
                  <c:v>309.1778</c:v>
                </c:pt>
                <c:pt idx="5">
                  <c:v>312.9836</c:v>
                </c:pt>
                <c:pt idx="6">
                  <c:v>296.8769</c:v>
                </c:pt>
                <c:pt idx="7">
                  <c:v>308.9831</c:v>
                </c:pt>
                <c:pt idx="8">
                  <c:v>311.0781</c:v>
                </c:pt>
                <c:pt idx="9">
                  <c:v>304.6479</c:v>
                </c:pt>
                <c:pt idx="10">
                  <c:v>309.9677</c:v>
                </c:pt>
                <c:pt idx="11">
                  <c:v>317.4255</c:v>
                </c:pt>
                <c:pt idx="12">
                  <c:v>315.5542</c:v>
                </c:pt>
                <c:pt idx="13">
                  <c:v>309.618</c:v>
                </c:pt>
                <c:pt idx="14">
                  <c:v>279.3953</c:v>
                </c:pt>
                <c:pt idx="15">
                  <c:v>287.3571</c:v>
                </c:pt>
                <c:pt idx="16">
                  <c:v>302.9722</c:v>
                </c:pt>
                <c:pt idx="17">
                  <c:v>319.9688</c:v>
                </c:pt>
                <c:pt idx="18">
                  <c:v>321.8387</c:v>
                </c:pt>
                <c:pt idx="19">
                  <c:v>311.4737</c:v>
                </c:pt>
                <c:pt idx="20">
                  <c:v>341.0909</c:v>
                </c:pt>
                <c:pt idx="21">
                  <c:v>315.44</c:v>
                </c:pt>
                <c:pt idx="22">
                  <c:v>346.0</c:v>
                </c:pt>
                <c:pt idx="23">
                  <c:v>324.6522</c:v>
                </c:pt>
                <c:pt idx="24">
                  <c:v>330.9091</c:v>
                </c:pt>
                <c:pt idx="25">
                  <c:v>346.1579</c:v>
                </c:pt>
                <c:pt idx="26">
                  <c:v>341.9688</c:v>
                </c:pt>
                <c:pt idx="27">
                  <c:v>356.2</c:v>
                </c:pt>
                <c:pt idx="28">
                  <c:v>333.7368</c:v>
                </c:pt>
                <c:pt idx="29">
                  <c:v>334.8095</c:v>
                </c:pt>
                <c:pt idx="30">
                  <c:v>341.4706</c:v>
                </c:pt>
                <c:pt idx="31">
                  <c:v>347.8125</c:v>
                </c:pt>
                <c:pt idx="32">
                  <c:v>354.4706</c:v>
                </c:pt>
                <c:pt idx="33">
                  <c:v>323.4615</c:v>
                </c:pt>
                <c:pt idx="34">
                  <c:v>330.8519</c:v>
                </c:pt>
                <c:pt idx="35">
                  <c:v>353.64</c:v>
                </c:pt>
                <c:pt idx="36">
                  <c:v>341.8387</c:v>
                </c:pt>
                <c:pt idx="37">
                  <c:v>330.25</c:v>
                </c:pt>
                <c:pt idx="38">
                  <c:v>333.1053</c:v>
                </c:pt>
                <c:pt idx="39">
                  <c:v>313.1875</c:v>
                </c:pt>
                <c:pt idx="40">
                  <c:v>347.1818</c:v>
                </c:pt>
                <c:pt idx="41">
                  <c:v>331.65</c:v>
                </c:pt>
                <c:pt idx="42">
                  <c:v>336.6</c:v>
                </c:pt>
                <c:pt idx="43">
                  <c:v>352.0</c:v>
                </c:pt>
                <c:pt idx="44">
                  <c:v>337.5116</c:v>
                </c:pt>
                <c:pt idx="45">
                  <c:v>332.9577</c:v>
                </c:pt>
                <c:pt idx="46">
                  <c:v>335.0</c:v>
                </c:pt>
                <c:pt idx="47">
                  <c:v>336.7759</c:v>
                </c:pt>
                <c:pt idx="48">
                  <c:v>341.7945</c:v>
                </c:pt>
                <c:pt idx="49">
                  <c:v>333.9766</c:v>
                </c:pt>
                <c:pt idx="50">
                  <c:v>351.0328</c:v>
                </c:pt>
                <c:pt idx="51">
                  <c:v>359.6393</c:v>
                </c:pt>
                <c:pt idx="52">
                  <c:v>350.7708</c:v>
                </c:pt>
                <c:pt idx="53">
                  <c:v>350.1837</c:v>
                </c:pt>
                <c:pt idx="54">
                  <c:v>353.8444</c:v>
                </c:pt>
                <c:pt idx="55">
                  <c:v>354.9756</c:v>
                </c:pt>
                <c:pt idx="56">
                  <c:v>369.4423</c:v>
                </c:pt>
                <c:pt idx="57">
                  <c:v>347.3478</c:v>
                </c:pt>
                <c:pt idx="58">
                  <c:v>336.9839</c:v>
                </c:pt>
                <c:pt idx="59">
                  <c:v>366.9</c:v>
                </c:pt>
                <c:pt idx="60">
                  <c:v>359.6032</c:v>
                </c:pt>
                <c:pt idx="61">
                  <c:v>357.1084</c:v>
                </c:pt>
                <c:pt idx="62">
                  <c:v>378.1513</c:v>
                </c:pt>
                <c:pt idx="63">
                  <c:v>369.4955</c:v>
                </c:pt>
                <c:pt idx="64">
                  <c:v>388.5676</c:v>
                </c:pt>
                <c:pt idx="65">
                  <c:v>380.844</c:v>
                </c:pt>
                <c:pt idx="66">
                  <c:v>366.1695</c:v>
                </c:pt>
                <c:pt idx="67">
                  <c:v>375.9625</c:v>
                </c:pt>
                <c:pt idx="68">
                  <c:v>392.4314</c:v>
                </c:pt>
                <c:pt idx="69">
                  <c:v>385.5818</c:v>
                </c:pt>
                <c:pt idx="70">
                  <c:v>393.4444</c:v>
                </c:pt>
                <c:pt idx="71">
                  <c:v>408.0976</c:v>
                </c:pt>
                <c:pt idx="72">
                  <c:v>426.9474</c:v>
                </c:pt>
                <c:pt idx="73">
                  <c:v>398.35</c:v>
                </c:pt>
                <c:pt idx="74">
                  <c:v>432.3784</c:v>
                </c:pt>
                <c:pt idx="75">
                  <c:v>401.4615</c:v>
                </c:pt>
                <c:pt idx="76">
                  <c:v>418.8077</c:v>
                </c:pt>
                <c:pt idx="77">
                  <c:v>399.5556</c:v>
                </c:pt>
                <c:pt idx="78">
                  <c:v>389.6522</c:v>
                </c:pt>
                <c:pt idx="79">
                  <c:v>430.0</c:v>
                </c:pt>
                <c:pt idx="80">
                  <c:v>426.8667</c:v>
                </c:pt>
                <c:pt idx="81">
                  <c:v>439.1429</c:v>
                </c:pt>
                <c:pt idx="82">
                  <c:v>415.8421</c:v>
                </c:pt>
                <c:pt idx="83">
                  <c:v>402.6471</c:v>
                </c:pt>
                <c:pt idx="84">
                  <c:v>442.8462</c:v>
                </c:pt>
                <c:pt idx="85">
                  <c:v>296.6842</c:v>
                </c:pt>
                <c:pt idx="86">
                  <c:v>374.625</c:v>
                </c:pt>
                <c:pt idx="87">
                  <c:v>386.931</c:v>
                </c:pt>
                <c:pt idx="88">
                  <c:v>391.2667</c:v>
                </c:pt>
                <c:pt idx="89">
                  <c:v>374.1429</c:v>
                </c:pt>
                <c:pt idx="90">
                  <c:v>375.7895</c:v>
                </c:pt>
                <c:pt idx="91">
                  <c:v>391.0455</c:v>
                </c:pt>
                <c:pt idx="92">
                  <c:v>364.45</c:v>
                </c:pt>
                <c:pt idx="93">
                  <c:v>396.6667</c:v>
                </c:pt>
                <c:pt idx="94">
                  <c:v>410.3478</c:v>
                </c:pt>
                <c:pt idx="95">
                  <c:v>408.1111</c:v>
                </c:pt>
                <c:pt idx="96">
                  <c:v>423.1212</c:v>
                </c:pt>
                <c:pt idx="97">
                  <c:v>401.1333</c:v>
                </c:pt>
                <c:pt idx="98">
                  <c:v>374.3725</c:v>
                </c:pt>
                <c:pt idx="99">
                  <c:v>409.7869</c:v>
                </c:pt>
                <c:pt idx="100">
                  <c:v>403.0612</c:v>
                </c:pt>
                <c:pt idx="101">
                  <c:v>398.4906</c:v>
                </c:pt>
                <c:pt idx="102">
                  <c:v>396.125</c:v>
                </c:pt>
                <c:pt idx="103">
                  <c:v>258.7612</c:v>
                </c:pt>
                <c:pt idx="104">
                  <c:v>322.0625</c:v>
                </c:pt>
              </c:numCache>
            </c:numRef>
          </c:xVal>
          <c:yVal>
            <c:numRef>
              <c:f>Sheet1!$B$2:$B$106</c:f>
              <c:numCache>
                <c:formatCode>General</c:formatCode>
                <c:ptCount val="105"/>
                <c:pt idx="0">
                  <c:v>0.12615384615384614</c:v>
                </c:pt>
                <c:pt idx="1">
                  <c:v>0.22007722007722008</c:v>
                </c:pt>
                <c:pt idx="2">
                  <c:v>0.1906779661016949</c:v>
                </c:pt>
                <c:pt idx="3">
                  <c:v>0.2768595041322314</c:v>
                </c:pt>
                <c:pt idx="4">
                  <c:v>0.18292682926829268</c:v>
                </c:pt>
                <c:pt idx="5">
                  <c:v>0.22846441947565543</c:v>
                </c:pt>
                <c:pt idx="6">
                  <c:v>0.23809523809523808</c:v>
                </c:pt>
                <c:pt idx="7">
                  <c:v>0.23046875</c:v>
                </c:pt>
                <c:pt idx="8">
                  <c:v>0.20125786163522014</c:v>
                </c:pt>
                <c:pt idx="9">
                  <c:v>0.16666666666666666</c:v>
                </c:pt>
                <c:pt idx="10">
                  <c:v>0.20350109409190373</c:v>
                </c:pt>
                <c:pt idx="11">
                  <c:v>0.2422680412371134</c:v>
                </c:pt>
                <c:pt idx="12">
                  <c:v>0.23055555555555557</c:v>
                </c:pt>
                <c:pt idx="13">
                  <c:v>0.2542857142857143</c:v>
                </c:pt>
                <c:pt idx="14">
                  <c:v>0.2783171521035599</c:v>
                </c:pt>
                <c:pt idx="15">
                  <c:v>0.19112627986348124</c:v>
                </c:pt>
                <c:pt idx="16">
                  <c:v>0.13138686131386862</c:v>
                </c:pt>
                <c:pt idx="17">
                  <c:v>0.12167300380228137</c:v>
                </c:pt>
                <c:pt idx="18">
                  <c:v>0.11481481481481481</c:v>
                </c:pt>
                <c:pt idx="19">
                  <c:v>0.10555555555555556</c:v>
                </c:pt>
                <c:pt idx="20">
                  <c:v>0.09361702127659574</c:v>
                </c:pt>
                <c:pt idx="21">
                  <c:v>0.12195121951219512</c:v>
                </c:pt>
                <c:pt idx="22">
                  <c:v>0.13402061855670103</c:v>
                </c:pt>
                <c:pt idx="23">
                  <c:v>0.1270718232044199</c:v>
                </c:pt>
                <c:pt idx="24">
                  <c:v>0.15492957746478872</c:v>
                </c:pt>
                <c:pt idx="25">
                  <c:v>0.1357142857142857</c:v>
                </c:pt>
                <c:pt idx="26">
                  <c:v>0.2222222222222222</c:v>
                </c:pt>
                <c:pt idx="27">
                  <c:v>0.12396694214876033</c:v>
                </c:pt>
                <c:pt idx="28">
                  <c:v>0.17272727272727273</c:v>
                </c:pt>
                <c:pt idx="29">
                  <c:v>0.1875</c:v>
                </c:pt>
                <c:pt idx="30">
                  <c:v>0.1588785046728972</c:v>
                </c:pt>
                <c:pt idx="31">
                  <c:v>0.16842105263157894</c:v>
                </c:pt>
                <c:pt idx="32">
                  <c:v>0.16346153846153846</c:v>
                </c:pt>
                <c:pt idx="33">
                  <c:v>0.12871287128712872</c:v>
                </c:pt>
                <c:pt idx="34">
                  <c:v>0.2109375</c:v>
                </c:pt>
                <c:pt idx="35">
                  <c:v>0.16129032258064516</c:v>
                </c:pt>
                <c:pt idx="36">
                  <c:v>0.22794117647058823</c:v>
                </c:pt>
                <c:pt idx="37">
                  <c:v>0.15503875968992248</c:v>
                </c:pt>
                <c:pt idx="38">
                  <c:v>0.16666666666666666</c:v>
                </c:pt>
                <c:pt idx="39">
                  <c:v>0.16161616161616163</c:v>
                </c:pt>
                <c:pt idx="40">
                  <c:v>0.15384615384615385</c:v>
                </c:pt>
                <c:pt idx="41">
                  <c:v>0.14285714285714285</c:v>
                </c:pt>
                <c:pt idx="42">
                  <c:v>0.19607843137254902</c:v>
                </c:pt>
                <c:pt idx="43">
                  <c:v>0.18562874251497005</c:v>
                </c:pt>
                <c:pt idx="44">
                  <c:v>0.2028301886792453</c:v>
                </c:pt>
                <c:pt idx="45">
                  <c:v>0.21385542168674698</c:v>
                </c:pt>
                <c:pt idx="46">
                  <c:v>0.19617224880382775</c:v>
                </c:pt>
                <c:pt idx="47">
                  <c:v>0.14250614250614252</c:v>
                </c:pt>
                <c:pt idx="48">
                  <c:v>0.16043956043956045</c:v>
                </c:pt>
                <c:pt idx="49">
                  <c:v>0.1568627450980392</c:v>
                </c:pt>
                <c:pt idx="50">
                  <c:v>0.1622340425531915</c:v>
                </c:pt>
                <c:pt idx="51">
                  <c:v>0.1737891737891738</c:v>
                </c:pt>
                <c:pt idx="52">
                  <c:v>0.15047021943573669</c:v>
                </c:pt>
                <c:pt idx="53">
                  <c:v>0.20164609053497942</c:v>
                </c:pt>
                <c:pt idx="54">
                  <c:v>0.20179372197309417</c:v>
                </c:pt>
                <c:pt idx="55">
                  <c:v>0.16532258064516128</c:v>
                </c:pt>
                <c:pt idx="56">
                  <c:v>0.19548872180451127</c:v>
                </c:pt>
                <c:pt idx="57">
                  <c:v>0.17164179104477612</c:v>
                </c:pt>
                <c:pt idx="58">
                  <c:v>0.22794117647058823</c:v>
                </c:pt>
                <c:pt idx="59">
                  <c:v>0.16556291390728478</c:v>
                </c:pt>
                <c:pt idx="60">
                  <c:v>0.18475073313782991</c:v>
                </c:pt>
                <c:pt idx="61">
                  <c:v>0.2299168975069252</c:v>
                </c:pt>
                <c:pt idx="62">
                  <c:v>0.2621145374449339</c:v>
                </c:pt>
                <c:pt idx="63">
                  <c:v>0.216796875</c:v>
                </c:pt>
                <c:pt idx="64">
                  <c:v>0.2138728323699422</c:v>
                </c:pt>
                <c:pt idx="65">
                  <c:v>0.2011070110701107</c:v>
                </c:pt>
                <c:pt idx="66">
                  <c:v>0.20701754385964913</c:v>
                </c:pt>
                <c:pt idx="67">
                  <c:v>0.1864801864801865</c:v>
                </c:pt>
                <c:pt idx="68">
                  <c:v>0.15838509316770186</c:v>
                </c:pt>
                <c:pt idx="69">
                  <c:v>0.18333333333333332</c:v>
                </c:pt>
                <c:pt idx="70">
                  <c:v>0.15151515151515152</c:v>
                </c:pt>
                <c:pt idx="71">
                  <c:v>0.17446808510638298</c:v>
                </c:pt>
                <c:pt idx="72">
                  <c:v>0.1645021645021645</c:v>
                </c:pt>
                <c:pt idx="73">
                  <c:v>0.19704433497536947</c:v>
                </c:pt>
                <c:pt idx="74">
                  <c:v>0.18592964824120603</c:v>
                </c:pt>
                <c:pt idx="75">
                  <c:v>0.17218543046357615</c:v>
                </c:pt>
                <c:pt idx="76">
                  <c:v>0.16049382716049382</c:v>
                </c:pt>
                <c:pt idx="77">
                  <c:v>0.1836734693877551</c:v>
                </c:pt>
                <c:pt idx="78">
                  <c:v>0.16428571428571428</c:v>
                </c:pt>
                <c:pt idx="79">
                  <c:v>0.11764705882352941</c:v>
                </c:pt>
                <c:pt idx="80">
                  <c:v>0.1079136690647482</c:v>
                </c:pt>
                <c:pt idx="81">
                  <c:v>0.125</c:v>
                </c:pt>
                <c:pt idx="82">
                  <c:v>0.1417910447761194</c:v>
                </c:pt>
                <c:pt idx="83">
                  <c:v>0.1559633027522936</c:v>
                </c:pt>
                <c:pt idx="84">
                  <c:v>0.11818181818181818</c:v>
                </c:pt>
                <c:pt idx="85">
                  <c:v>0.1532258064516129</c:v>
                </c:pt>
                <c:pt idx="86">
                  <c:v>0.10256410256410256</c:v>
                </c:pt>
                <c:pt idx="87">
                  <c:v>0.1676300578034682</c:v>
                </c:pt>
                <c:pt idx="88">
                  <c:v>0.1271186440677966</c:v>
                </c:pt>
                <c:pt idx="89">
                  <c:v>0.14285714285714285</c:v>
                </c:pt>
                <c:pt idx="90">
                  <c:v>0.18446601941747573</c:v>
                </c:pt>
                <c:pt idx="91">
                  <c:v>0.2037037037037037</c:v>
                </c:pt>
                <c:pt idx="92">
                  <c:v>0.16</c:v>
                </c:pt>
                <c:pt idx="93">
                  <c:v>0.216</c:v>
                </c:pt>
                <c:pt idx="94">
                  <c:v>0.18699186991869918</c:v>
                </c:pt>
                <c:pt idx="95">
                  <c:v>0.2571428571428571</c:v>
                </c:pt>
                <c:pt idx="96">
                  <c:v>0.14798206278026907</c:v>
                </c:pt>
                <c:pt idx="97">
                  <c:v>0.18292682926829268</c:v>
                </c:pt>
                <c:pt idx="98">
                  <c:v>0.16943521594684385</c:v>
                </c:pt>
                <c:pt idx="99">
                  <c:v>0.1367713004484305</c:v>
                </c:pt>
                <c:pt idx="100">
                  <c:v>0.13649025069637882</c:v>
                </c:pt>
                <c:pt idx="101">
                  <c:v>0.15273775216138327</c:v>
                </c:pt>
                <c:pt idx="102">
                  <c:v>0.14652014652014653</c:v>
                </c:pt>
                <c:pt idx="103">
                  <c:v>0.209375</c:v>
                </c:pt>
                <c:pt idx="104">
                  <c:v>0.1678321678321678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numCache>
            </c:numRef>
          </c:xVal>
          <c:yVal>
            <c:numRef>
              <c:f>Sheet1!$B$109:$B$160</c:f>
              <c:numCache>
                <c:formatCode>General</c:formatCode>
                <c:ptCount val="52"/>
                <c:pt idx="0">
                  <c:v>0.13167259786476868</c:v>
                </c:pt>
                <c:pt idx="1">
                  <c:v>0.10267857142857142</c:v>
                </c:pt>
                <c:pt idx="2">
                  <c:v>0.14028776978417265</c:v>
                </c:pt>
                <c:pt idx="3">
                  <c:v>0.17216117216117216</c:v>
                </c:pt>
                <c:pt idx="4">
                  <c:v>0.21630094043887146</c:v>
                </c:pt>
                <c:pt idx="5">
                  <c:v>0.14241486068111456</c:v>
                </c:pt>
                <c:pt idx="6">
                  <c:v>0.16279069767441862</c:v>
                </c:pt>
                <c:pt idx="7">
                  <c:v>0.17201166180758018</c:v>
                </c:pt>
                <c:pt idx="8">
                  <c:v>0.17232375979112272</c:v>
                </c:pt>
                <c:pt idx="9">
                  <c:v>0.16942148760330578</c:v>
                </c:pt>
                <c:pt idx="10">
                  <c:v>0.1575178997613365</c:v>
                </c:pt>
                <c:pt idx="11">
                  <c:v>0.13562753036437247</c:v>
                </c:pt>
                <c:pt idx="12">
                  <c:v>0.15732758620689655</c:v>
                </c:pt>
                <c:pt idx="13">
                  <c:v>0.17771883289124668</c:v>
                </c:pt>
                <c:pt idx="14">
                  <c:v>0.13861386138613863</c:v>
                </c:pt>
                <c:pt idx="15">
                  <c:v>0.13559322033898305</c:v>
                </c:pt>
                <c:pt idx="16">
                  <c:v>0.10267857142857142</c:v>
                </c:pt>
                <c:pt idx="17">
                  <c:v>0.13131313131313133</c:v>
                </c:pt>
                <c:pt idx="18">
                  <c:v>0.1743119266055046</c:v>
                </c:pt>
                <c:pt idx="19">
                  <c:v>0.16455696202531644</c:v>
                </c:pt>
                <c:pt idx="20">
                  <c:v>0.16666666666666666</c:v>
                </c:pt>
                <c:pt idx="21">
                  <c:v>0.18045112781954886</c:v>
                </c:pt>
                <c:pt idx="22">
                  <c:v>0.19727891156462585</c:v>
                </c:pt>
                <c:pt idx="23">
                  <c:v>0.2236842105263158</c:v>
                </c:pt>
                <c:pt idx="24">
                  <c:v>0.168</c:v>
                </c:pt>
                <c:pt idx="25">
                  <c:v>0.14754098360655737</c:v>
                </c:pt>
                <c:pt idx="26">
                  <c:v>0.168</c:v>
                </c:pt>
                <c:pt idx="27">
                  <c:v>0.1836734693877551</c:v>
                </c:pt>
                <c:pt idx="28">
                  <c:v>0.24545454545454545</c:v>
                </c:pt>
                <c:pt idx="29">
                  <c:v>0.19148936170212766</c:v>
                </c:pt>
                <c:pt idx="30">
                  <c:v>0.18604651162790697</c:v>
                </c:pt>
                <c:pt idx="31">
                  <c:v>0.1875</c:v>
                </c:pt>
                <c:pt idx="32">
                  <c:v>0.18292682926829268</c:v>
                </c:pt>
                <c:pt idx="33">
                  <c:v>0.2047244094488189</c:v>
                </c:pt>
                <c:pt idx="34">
                  <c:v>0.2777777777777778</c:v>
                </c:pt>
                <c:pt idx="35">
                  <c:v>0.24778761061946902</c:v>
                </c:pt>
                <c:pt idx="36">
                  <c:v>0.1927710843373494</c:v>
                </c:pt>
                <c:pt idx="37">
                  <c:v>0.16666666666666666</c:v>
                </c:pt>
                <c:pt idx="38">
                  <c:v>0.10891089108910891</c:v>
                </c:pt>
                <c:pt idx="39">
                  <c:v>0.26595744680851063</c:v>
                </c:pt>
                <c:pt idx="40">
                  <c:v>0.24074074074074073</c:v>
                </c:pt>
                <c:pt idx="41">
                  <c:v>0.2672413793103448</c:v>
                </c:pt>
                <c:pt idx="42">
                  <c:v>0.22131147540983606</c:v>
                </c:pt>
                <c:pt idx="43">
                  <c:v>0.21739130434782608</c:v>
                </c:pt>
                <c:pt idx="44">
                  <c:v>0.2598870056497175</c:v>
                </c:pt>
                <c:pt idx="45">
                  <c:v>0.31620553359683795</c:v>
                </c:pt>
                <c:pt idx="46">
                  <c:v>0.24796747967479674</c:v>
                </c:pt>
                <c:pt idx="47">
                  <c:v>0.21739130434782608</c:v>
                </c:pt>
                <c:pt idx="48">
                  <c:v>0.19155844155844157</c:v>
                </c:pt>
                <c:pt idx="49">
                  <c:v>0.20507399577167018</c:v>
                </c:pt>
                <c:pt idx="50">
                  <c:v>0.1997471554993679</c:v>
                </c:pt>
                <c:pt idx="51">
                  <c:v>0.2165242165242165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89.6908455356285</c:v>
                </c:pt>
              </c:numCache>
            </c:numRef>
          </c:xVal>
          <c:yVal>
            <c:numRef>
              <c:f>Sheet1!$B$163:$B$164</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89.6908455356285</c:v>
                </c:pt>
                <c:pt idx="1">
                  <c:v>389.6908455356285</c:v>
                </c:pt>
              </c:numCache>
            </c:numRef>
          </c:xVal>
          <c:yVal>
            <c:numRef>
              <c:f>Sheet1!$B$167:$B$168</c:f>
              <c:numCache>
                <c:formatCode>General</c:formatCode>
                <c:ptCount val="2"/>
                <c:pt idx="0">
                  <c:v>0.228479224815310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9.6908455356285</c:v>
                </c:pt>
              </c:numCache>
            </c:numRef>
          </c:xVal>
          <c:yVal>
            <c:numRef>
              <c:f>Sheet1!$B$171:$B$172</c:f>
              <c:numCache>
                <c:formatCode>General</c:formatCode>
                <c:ptCount val="2"/>
                <c:pt idx="0">
                  <c:v>0.22847922481531005</c:v>
                </c:pt>
                <c:pt idx="1">
                  <c:v>0.228479224815310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9.6908455356285</c:v>
                </c:pt>
                <c:pt idx="1">
                  <c:v>389.6908455356285</c:v>
                </c:pt>
              </c:numCache>
            </c:numRef>
          </c:xVal>
          <c:yVal>
            <c:numRef>
              <c:f>Sheet1!$B$175:$B$176</c:f>
              <c:numCache>
                <c:formatCode>General</c:formatCode>
                <c:ptCount val="2"/>
                <c:pt idx="0">
                  <c:v>0.228479224815310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81.9284222147501</c:v>
                </c:pt>
              </c:numCache>
            </c:numRef>
          </c:xVal>
          <c:yVal>
            <c:numRef>
              <c:f>Sheet1!$B$179:$B$180</c:f>
              <c:numCache>
                <c:formatCode>General</c:formatCode>
                <c:ptCount val="2"/>
                <c:pt idx="0">
                  <c:v>0.23592288301847175</c:v>
                </c:pt>
                <c:pt idx="1">
                  <c:v>0.2359228830184717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81.9284222147501</c:v>
                </c:pt>
                <c:pt idx="1">
                  <c:v>381.9284222147501</c:v>
                </c:pt>
              </c:numCache>
            </c:numRef>
          </c:xVal>
          <c:yVal>
            <c:numRef>
              <c:f>Sheet1!$B$183:$B$184</c:f>
              <c:numCache>
                <c:formatCode>General</c:formatCode>
                <c:ptCount val="2"/>
                <c:pt idx="0">
                  <c:v>0.2359228830184717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pt idx="52">
                  <c:v>389.6908455356285</c:v>
                </c:pt>
                <c:pt idx="53">
                  <c:v>389.6908455356285</c:v>
                </c:pt>
                <c:pt idx="54">
                  <c:v>381.9284222147501</c:v>
                </c:pt>
              </c:numCache>
            </c:numRef>
          </c:xVal>
          <c:yVal>
            <c:numRef>
              <c:f>Sheet1!$B$187:$B$241</c:f>
              <c:numCache>
                <c:formatCode>General</c:formatCode>
                <c:ptCount val="55"/>
                <c:pt idx="0">
                  <c:v>0.2027061684419243</c:v>
                </c:pt>
                <c:pt idx="1">
                  <c:v>0.1977470368915859</c:v>
                </c:pt>
                <c:pt idx="2">
                  <c:v>0.15582010402945362</c:v>
                </c:pt>
                <c:pt idx="3">
                  <c:v>0.19127393900813827</c:v>
                </c:pt>
                <c:pt idx="4">
                  <c:v>0.203222650749381</c:v>
                </c:pt>
                <c:pt idx="5">
                  <c:v>0.1745866507308813</c:v>
                </c:pt>
                <c:pt idx="6">
                  <c:v>0.19343854263350402</c:v>
                </c:pt>
                <c:pt idx="7">
                  <c:v>0.18737117008292847</c:v>
                </c:pt>
                <c:pt idx="8">
                  <c:v>0.16967316447915953</c:v>
                </c:pt>
                <c:pt idx="9">
                  <c:v>0.18410685997744514</c:v>
                </c:pt>
                <c:pt idx="10">
                  <c:v>0.15810783488890295</c:v>
                </c:pt>
                <c:pt idx="11">
                  <c:v>0.1712764076463278</c:v>
                </c:pt>
                <c:pt idx="12">
                  <c:v>0.18817025048917368</c:v>
                </c:pt>
                <c:pt idx="13">
                  <c:v>0.14773244754766796</c:v>
                </c:pt>
                <c:pt idx="14">
                  <c:v>0.1310107335094795</c:v>
                </c:pt>
                <c:pt idx="15">
                  <c:v>0.13931347907697356</c:v>
                </c:pt>
                <c:pt idx="16">
                  <c:v>0.11215164959552015</c:v>
                </c:pt>
                <c:pt idx="17">
                  <c:v>0.1664421294127938</c:v>
                </c:pt>
                <c:pt idx="18">
                  <c:v>0.21647369190346621</c:v>
                </c:pt>
                <c:pt idx="19">
                  <c:v>0.18160068376033023</c:v>
                </c:pt>
                <c:pt idx="20">
                  <c:v>0.13348794989427876</c:v>
                </c:pt>
                <c:pt idx="21">
                  <c:v>0.1766000303312082</c:v>
                </c:pt>
                <c:pt idx="22">
                  <c:v>0.16555444342688097</c:v>
                </c:pt>
                <c:pt idx="23">
                  <c:v>0.20556321891878376</c:v>
                </c:pt>
                <c:pt idx="24">
                  <c:v>0.16649132277033657</c:v>
                </c:pt>
                <c:pt idx="25">
                  <c:v>0.18971883437018333</c:v>
                </c:pt>
                <c:pt idx="26">
                  <c:v>0.1876335346564898</c:v>
                </c:pt>
                <c:pt idx="27">
                  <c:v>0.17522827403559588</c:v>
                </c:pt>
                <c:pt idx="28">
                  <c:v>0.20960781430755243</c:v>
                </c:pt>
                <c:pt idx="29">
                  <c:v>0.1784780083314369</c:v>
                </c:pt>
                <c:pt idx="30">
                  <c:v>0.17430261422982546</c:v>
                </c:pt>
                <c:pt idx="31">
                  <c:v>0.21851353810551205</c:v>
                </c:pt>
                <c:pt idx="32">
                  <c:v>0.17985244964461494</c:v>
                </c:pt>
                <c:pt idx="33">
                  <c:v>0.20236526710456665</c:v>
                </c:pt>
                <c:pt idx="34">
                  <c:v>0.2137165624374442</c:v>
                </c:pt>
                <c:pt idx="35">
                  <c:v>0.20890136700732342</c:v>
                </c:pt>
                <c:pt idx="36">
                  <c:v>0.17448241451324198</c:v>
                </c:pt>
                <c:pt idx="37">
                  <c:v>0.2163804834365431</c:v>
                </c:pt>
                <c:pt idx="38">
                  <c:v>0.15111930952632802</c:v>
                </c:pt>
                <c:pt idx="39">
                  <c:v>0.19914621872376204</c:v>
                </c:pt>
                <c:pt idx="40">
                  <c:v>0.21855649838656305</c:v>
                </c:pt>
                <c:pt idx="41">
                  <c:v>0.18125680972495345</c:v>
                </c:pt>
                <c:pt idx="42">
                  <c:v>0.2369197170922308</c:v>
                </c:pt>
                <c:pt idx="43">
                  <c:v>0.23205043773685835</c:v>
                </c:pt>
                <c:pt idx="44">
                  <c:v>0.19491185012919</c:v>
                </c:pt>
                <c:pt idx="45">
                  <c:v>0.21185690009275288</c:v>
                </c:pt>
                <c:pt idx="46">
                  <c:v>0.20724336866051207</c:v>
                </c:pt>
                <c:pt idx="47">
                  <c:v>0.21594033234273952</c:v>
                </c:pt>
                <c:pt idx="48">
                  <c:v>0.21477388399741776</c:v>
                </c:pt>
                <c:pt idx="49">
                  <c:v>0.22009606828003075</c:v>
                </c:pt>
                <c:pt idx="50">
                  <c:v>0.20802691432227005</c:v>
                </c:pt>
                <c:pt idx="51">
                  <c:v>0.21066954696781248</c:v>
                </c:pt>
                <c:pt idx="52">
                  <c:v>0.22847922481531002</c:v>
                </c:pt>
                <c:pt idx="53">
                  <c:v>0.22847922481531002</c:v>
                </c:pt>
                <c:pt idx="54">
                  <c:v>0.235922883018471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0"/>
          <c:min val="2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4466403162055"/>
          <c:min val="0.07489361702127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c:f>
              <c:numCache>
                <c:formatCode>General</c:formatCode>
                <c:ptCount val="5"/>
                <c:pt idx="0">
                  <c:v>0.0</c:v>
                </c:pt>
                <c:pt idx="1">
                  <c:v>0.0</c:v>
                </c:pt>
                <c:pt idx="2">
                  <c:v>0.0</c:v>
                </c:pt>
                <c:pt idx="3">
                  <c:v>0.0</c:v>
                </c:pt>
                <c:pt idx="4">
                  <c:v>0.0</c:v>
                </c:pt>
              </c:numCache>
            </c:numRef>
          </c:xVal>
          <c:yVal>
            <c:numRef>
              <c:f>Sheet1!$B$2:$B$6</c:f>
              <c:numCache>
                <c:formatCode>General</c:formatCode>
                <c:ptCount val="5"/>
                <c:pt idx="0">
                  <c:v>0.08333333333333333</c:v>
                </c:pt>
                <c:pt idx="1">
                  <c:v>0.06666666666666667</c:v>
                </c:pt>
                <c:pt idx="2">
                  <c:v>0.1</c:v>
                </c:pt>
                <c:pt idx="3">
                  <c:v>0.10526315789473684</c:v>
                </c:pt>
                <c:pt idx="4">
                  <c:v>0.08333333333333333</c:v>
                </c:pt>
              </c:numCache>
            </c:numRef>
          </c:yVal>
          <c:smooth val="0"/>
          <c:extLst>
            <c:ext xmlns:c16="http://schemas.microsoft.com/office/drawing/2014/chart" uri="{C3380CC4-5D6E-409C-BE32-E72D297353CC}">
              <c16:uniqueId val="{00000000-096C-4121-9522-6AB7243CCAAE}"/>
            </c:ext>
          </c:extLst>
        </c:ser>
        <c:ser>
          <c:idx val="1"/>
          <c:order val="1"/>
          <c:tx>
            <c:strRef>
              <c:f>Sheet1!$B$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A$20</c:f>
              <c:numCache>
                <c:formatCode>General</c:formatCode>
                <c:ptCount val="12"/>
                <c:pt idx="0">
                  <c:v>0.0</c:v>
                </c:pt>
                <c:pt idx="1">
                  <c:v>0.0</c:v>
                </c:pt>
                <c:pt idx="2">
                  <c:v>0.0</c:v>
                </c:pt>
                <c:pt idx="3">
                  <c:v>0.0</c:v>
                </c:pt>
                <c:pt idx="4">
                  <c:v>0.0</c:v>
                </c:pt>
                <c:pt idx="5">
                  <c:v>0.0</c:v>
                </c:pt>
                <c:pt idx="6">
                  <c:v>0.0</c:v>
                </c:pt>
                <c:pt idx="7">
                  <c:v>0.4901145696035689</c:v>
                </c:pt>
                <c:pt idx="8">
                  <c:v>0.0</c:v>
                </c:pt>
                <c:pt idx="9">
                  <c:v>0.21601139970205324</c:v>
                </c:pt>
                <c:pt idx="10">
                  <c:v>0.0</c:v>
                </c:pt>
                <c:pt idx="11">
                  <c:v>0.22548908954100827</c:v>
                </c:pt>
              </c:numCache>
            </c:numRef>
          </c:xVal>
          <c:yVal>
            <c:numRef>
              <c:f>Sheet1!$B$9:$B$20</c:f>
              <c:numCache>
                <c:formatCode>General</c:formatCode>
                <c:ptCount val="12"/>
                <c:pt idx="0">
                  <c:v>0.0</c:v>
                </c:pt>
                <c:pt idx="1">
                  <c:v>0.0</c:v>
                </c:pt>
                <c:pt idx="2">
                  <c:v>0.0</c:v>
                </c:pt>
                <c:pt idx="3">
                  <c:v>0.0</c:v>
                </c:pt>
                <c:pt idx="4">
                  <c:v>0.0</c:v>
                </c:pt>
                <c:pt idx="5">
                  <c:v>0.0</c:v>
                </c:pt>
                <c:pt idx="6">
                  <c:v>0.0</c:v>
                </c:pt>
                <c:pt idx="7">
                  <c:v>0.08333333333333333</c:v>
                </c:pt>
                <c:pt idx="8">
                  <c:v>0.0</c:v>
                </c:pt>
                <c:pt idx="9">
                  <c:v>0.058823529411764705</c:v>
                </c:pt>
                <c:pt idx="10">
                  <c:v>0.0</c:v>
                </c:pt>
                <c:pt idx="11">
                  <c:v>0.10526315789473684</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43336949056159274</c:v>
                </c:pt>
              </c:numCache>
            </c:numRef>
          </c:xVal>
          <c:yVal>
            <c:numRef>
              <c:f>Sheet1!$B$23:$B$24</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43336949056159274</c:v>
                </c:pt>
                <c:pt idx="1">
                  <c:v>0.43336949056159274</c:v>
                </c:pt>
              </c:numCache>
            </c:numRef>
          </c:xVal>
          <c:yVal>
            <c:numRef>
              <c:f>Sheet1!$B$27:$B$28</c:f>
              <c:numCache>
                <c:formatCode>General</c:formatCode>
                <c:ptCount val="2"/>
                <c:pt idx="0">
                  <c:v>0.098464912280701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43336949056159274</c:v>
                </c:pt>
              </c:numCache>
            </c:numRef>
          </c:xVal>
          <c:yVal>
            <c:numRef>
              <c:f>Sheet1!$B$31:$B$32</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43336949056159274</c:v>
                </c:pt>
                <c:pt idx="1">
                  <c:v>0.43336949056159274</c:v>
                </c:pt>
              </c:numCache>
            </c:numRef>
          </c:xVal>
          <c:yVal>
            <c:numRef>
              <c:f>Sheet1!$B$35:$B$36</c:f>
              <c:numCache>
                <c:formatCode>General</c:formatCode>
                <c:ptCount val="2"/>
                <c:pt idx="0">
                  <c:v>0.098464912280701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22456009208014693</c:v>
                </c:pt>
              </c:numCache>
            </c:numRef>
          </c:xVal>
          <c:yVal>
            <c:numRef>
              <c:f>Sheet1!$B$39:$B$40</c:f>
              <c:numCache>
                <c:formatCode>General</c:formatCode>
                <c:ptCount val="2"/>
                <c:pt idx="0">
                  <c:v>0.05277050091291577</c:v>
                </c:pt>
                <c:pt idx="1">
                  <c:v>0.0527705009129157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22456009208014693</c:v>
                </c:pt>
                <c:pt idx="1">
                  <c:v>0.22456009208014693</c:v>
                </c:pt>
              </c:numCache>
            </c:numRef>
          </c:xVal>
          <c:yVal>
            <c:numRef>
              <c:f>Sheet1!$B$43:$B$44</c:f>
              <c:numCache>
                <c:formatCode>General</c:formatCode>
                <c:ptCount val="2"/>
                <c:pt idx="0">
                  <c:v>0.052770500912915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1</c:f>
              <c:numCache>
                <c:formatCode>General</c:formatCode>
                <c:ptCount val="15"/>
                <c:pt idx="0">
                  <c:v>0.0</c:v>
                </c:pt>
                <c:pt idx="1">
                  <c:v>0.0</c:v>
                </c:pt>
                <c:pt idx="2">
                  <c:v>0.0</c:v>
                </c:pt>
                <c:pt idx="3">
                  <c:v>0.0</c:v>
                </c:pt>
                <c:pt idx="4">
                  <c:v>0.0</c:v>
                </c:pt>
                <c:pt idx="5">
                  <c:v>0.0</c:v>
                </c:pt>
                <c:pt idx="6">
                  <c:v>0.0</c:v>
                </c:pt>
                <c:pt idx="7">
                  <c:v>0.4901145696035689</c:v>
                </c:pt>
                <c:pt idx="8">
                  <c:v>0.0</c:v>
                </c:pt>
                <c:pt idx="9">
                  <c:v>0.21601139970205324</c:v>
                </c:pt>
                <c:pt idx="10">
                  <c:v>0.0</c:v>
                </c:pt>
                <c:pt idx="11">
                  <c:v>0.22548908954100827</c:v>
                </c:pt>
                <c:pt idx="12">
                  <c:v>0.43336949056159274</c:v>
                </c:pt>
                <c:pt idx="13">
                  <c:v>0.43336949056159274</c:v>
                </c:pt>
                <c:pt idx="14">
                  <c:v>0.22456009208014693</c:v>
                </c:pt>
              </c:numCache>
            </c:numRef>
          </c:xVal>
          <c:yVal>
            <c:numRef>
              <c:f>Sheet1!$B$47:$B$61</c:f>
              <c:numCache>
                <c:formatCode>General</c:formatCode>
                <c:ptCount val="15"/>
                <c:pt idx="0">
                  <c:v>0.003629316182143662</c:v>
                </c:pt>
                <c:pt idx="1">
                  <c:v>0.003629316182143662</c:v>
                </c:pt>
                <c:pt idx="2">
                  <c:v>0.003629316182143662</c:v>
                </c:pt>
                <c:pt idx="3">
                  <c:v>0.003629316182143662</c:v>
                </c:pt>
                <c:pt idx="4">
                  <c:v>0.003629316182143662</c:v>
                </c:pt>
                <c:pt idx="5">
                  <c:v>0.003629316182143662</c:v>
                </c:pt>
                <c:pt idx="6">
                  <c:v>0.003629316182143662</c:v>
                </c:pt>
                <c:pt idx="7">
                  <c:v>0.11088261475816946</c:v>
                </c:pt>
                <c:pt idx="8">
                  <c:v>0.003629316182143662</c:v>
                </c:pt>
                <c:pt idx="9">
                  <c:v>0.05089976392012672</c:v>
                </c:pt>
                <c:pt idx="10">
                  <c:v>0.003629316182143662</c:v>
                </c:pt>
                <c:pt idx="11">
                  <c:v>0.05297379632224572</c:v>
                </c:pt>
                <c:pt idx="12">
                  <c:v>0.09846491228070176</c:v>
                </c:pt>
                <c:pt idx="13">
                  <c:v>0.09846491228070176</c:v>
                </c:pt>
                <c:pt idx="14">
                  <c:v>0.052770500912915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6315789473684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0</c:v>
                </c:pt>
                <c:pt idx="5">
                  <c:v>0.0</c:v>
                </c:pt>
                <c:pt idx="6">
                  <c:v>0.0</c:v>
                </c:pt>
                <c:pt idx="7">
                  <c:v>4834.0</c:v>
                </c:pt>
                <c:pt idx="8">
                  <c:v>0.0</c:v>
                </c:pt>
                <c:pt idx="9">
                  <c:v>3942.0</c:v>
                </c:pt>
                <c:pt idx="10">
                  <c:v>3335.0</c:v>
                </c:pt>
                <c:pt idx="11">
                  <c:v>0.0</c:v>
                </c:pt>
                <c:pt idx="12">
                  <c:v>4736.0</c:v>
                </c:pt>
                <c:pt idx="13">
                  <c:v>3762.0</c:v>
                </c:pt>
                <c:pt idx="14">
                  <c:v>5070.5</c:v>
                </c:pt>
                <c:pt idx="15">
                  <c:v>5993.5</c:v>
                </c:pt>
                <c:pt idx="16">
                  <c:v>3183.0</c:v>
                </c:pt>
              </c:numCache>
            </c:numRef>
          </c:xVal>
          <c:yVal>
            <c:numRef>
              <c:f>Sheet1!$B$4:$B$20</c:f>
              <c:numCache>
                <c:formatCode>General</c:formatCode>
                <c:ptCount val="17"/>
                <c:pt idx="0">
                  <c:v>0.0</c:v>
                </c:pt>
                <c:pt idx="1">
                  <c:v>0.0</c:v>
                </c:pt>
                <c:pt idx="2">
                  <c:v>0.0</c:v>
                </c:pt>
                <c:pt idx="3">
                  <c:v>0.0</c:v>
                </c:pt>
                <c:pt idx="4">
                  <c:v>0.0</c:v>
                </c:pt>
                <c:pt idx="5">
                  <c:v>0.0</c:v>
                </c:pt>
                <c:pt idx="6">
                  <c:v>0.0</c:v>
                </c:pt>
                <c:pt idx="7">
                  <c:v>0.08333333333333333</c:v>
                </c:pt>
                <c:pt idx="8">
                  <c:v>0.0</c:v>
                </c:pt>
                <c:pt idx="9">
                  <c:v>0.08333333333333333</c:v>
                </c:pt>
                <c:pt idx="10">
                  <c:v>0.058823529411764705</c:v>
                </c:pt>
                <c:pt idx="11">
                  <c:v>0.0</c:v>
                </c:pt>
                <c:pt idx="12">
                  <c:v>0.06666666666666667</c:v>
                </c:pt>
                <c:pt idx="13">
                  <c:v>0.1</c:v>
                </c:pt>
                <c:pt idx="14">
                  <c:v>0.10526315789473684</c:v>
                </c:pt>
                <c:pt idx="15">
                  <c:v>0.10526315789473684</c:v>
                </c:pt>
                <c:pt idx="16">
                  <c:v>0.08333333333333333</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5124.653910092885</c:v>
                </c:pt>
              </c:numCache>
            </c:numRef>
          </c:xVal>
          <c:yVal>
            <c:numRef>
              <c:f>Sheet1!$B$23:$B$24</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5124.653910092885</c:v>
                </c:pt>
                <c:pt idx="1">
                  <c:v>5124.653910092885</c:v>
                </c:pt>
              </c:numCache>
            </c:numRef>
          </c:xVal>
          <c:yVal>
            <c:numRef>
              <c:f>Sheet1!$B$27:$B$28</c:f>
              <c:numCache>
                <c:formatCode>General</c:formatCode>
                <c:ptCount val="2"/>
                <c:pt idx="0">
                  <c:v>0.098464912280701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5124.653910092885</c:v>
                </c:pt>
              </c:numCache>
            </c:numRef>
          </c:xVal>
          <c:yVal>
            <c:numRef>
              <c:f>Sheet1!$B$31:$B$32</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5124.653910092885</c:v>
                </c:pt>
                <c:pt idx="1">
                  <c:v>5124.653910092885</c:v>
                </c:pt>
              </c:numCache>
            </c:numRef>
          </c:xVal>
          <c:yVal>
            <c:numRef>
              <c:f>Sheet1!$B$35:$B$36</c:f>
              <c:numCache>
                <c:formatCode>General</c:formatCode>
                <c:ptCount val="2"/>
                <c:pt idx="0">
                  <c:v>0.098464912280701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07.2394174443334</c:v>
                </c:pt>
              </c:numCache>
            </c:numRef>
          </c:xVal>
          <c:yVal>
            <c:numRef>
              <c:f>Sheet1!$B$39:$B$40</c:f>
              <c:numCache>
                <c:formatCode>General</c:formatCode>
                <c:ptCount val="2"/>
                <c:pt idx="0">
                  <c:v>0.05277050091291577</c:v>
                </c:pt>
                <c:pt idx="1">
                  <c:v>0.0527705009129157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07.2394174443334</c:v>
                </c:pt>
                <c:pt idx="1">
                  <c:v>2707.2394174443334</c:v>
                </c:pt>
              </c:numCache>
            </c:numRef>
          </c:xVal>
          <c:yVal>
            <c:numRef>
              <c:f>Sheet1!$B$43:$B$44</c:f>
              <c:numCache>
                <c:formatCode>General</c:formatCode>
                <c:ptCount val="2"/>
                <c:pt idx="0">
                  <c:v>0.052770500912915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0.0</c:v>
                </c:pt>
                <c:pt idx="5">
                  <c:v>0.0</c:v>
                </c:pt>
                <c:pt idx="6">
                  <c:v>0.0</c:v>
                </c:pt>
                <c:pt idx="7">
                  <c:v>4834.0</c:v>
                </c:pt>
                <c:pt idx="8">
                  <c:v>0.0</c:v>
                </c:pt>
                <c:pt idx="9">
                  <c:v>3942.0</c:v>
                </c:pt>
                <c:pt idx="10">
                  <c:v>3335.0</c:v>
                </c:pt>
                <c:pt idx="11">
                  <c:v>0.0</c:v>
                </c:pt>
                <c:pt idx="12">
                  <c:v>4736.0</c:v>
                </c:pt>
                <c:pt idx="13">
                  <c:v>3762.0</c:v>
                </c:pt>
                <c:pt idx="14">
                  <c:v>5070.5</c:v>
                </c:pt>
                <c:pt idx="15">
                  <c:v>5993.5</c:v>
                </c:pt>
                <c:pt idx="16">
                  <c:v>3183.0</c:v>
                </c:pt>
                <c:pt idx="17">
                  <c:v>5124.653910092885</c:v>
                </c:pt>
                <c:pt idx="18">
                  <c:v>5124.653910092885</c:v>
                </c:pt>
                <c:pt idx="19">
                  <c:v>2707.2394174443334</c:v>
                </c:pt>
              </c:numCache>
            </c:numRef>
          </c:xVal>
          <c:yVal>
            <c:numRef>
              <c:f>Sheet1!$B$47:$B$66</c:f>
              <c:numCache>
                <c:formatCode>General</c:formatCode>
                <c:ptCount val="20"/>
                <c:pt idx="0">
                  <c:v>0.0015977657497981675</c:v>
                </c:pt>
                <c:pt idx="1">
                  <c:v>0.0015977657497981675</c:v>
                </c:pt>
                <c:pt idx="2">
                  <c:v>0.0015977657497981675</c:v>
                </c:pt>
                <c:pt idx="3">
                  <c:v>0.0015977657497981675</c:v>
                </c:pt>
                <c:pt idx="4">
                  <c:v>0.0015977657497981675</c:v>
                </c:pt>
                <c:pt idx="5">
                  <c:v>0.0015977657497981675</c:v>
                </c:pt>
                <c:pt idx="6">
                  <c:v>0.0015977657497981675</c:v>
                </c:pt>
                <c:pt idx="7">
                  <c:v>0.09297091885349737</c:v>
                </c:pt>
                <c:pt idx="8">
                  <c:v>0.0015977657497981675</c:v>
                </c:pt>
                <c:pt idx="9">
                  <c:v>0.0761101715286112</c:v>
                </c:pt>
                <c:pt idx="10">
                  <c:v>0.06463654638712478</c:v>
                </c:pt>
                <c:pt idx="11">
                  <c:v>0.0015977657497981675</c:v>
                </c:pt>
                <c:pt idx="12">
                  <c:v>0.09111850490973185</c:v>
                </c:pt>
                <c:pt idx="13">
                  <c:v>0.07270777857067454</c:v>
                </c:pt>
                <c:pt idx="14">
                  <c:v>0.09744128515656415</c:v>
                </c:pt>
                <c:pt idx="15">
                  <c:v>0.1148880001575394</c:v>
                </c:pt>
                <c:pt idx="16">
                  <c:v>0.06176341455597826</c:v>
                </c:pt>
                <c:pt idx="17">
                  <c:v>0.09846491228070174</c:v>
                </c:pt>
                <c:pt idx="18">
                  <c:v>0.09846491228070174</c:v>
                </c:pt>
                <c:pt idx="19">
                  <c:v>0.052770500912915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19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6315789473684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0992239394467</c:v>
                </c:pt>
                <c:pt idx="2">
                  <c:v>0.0</c:v>
                </c:pt>
                <c:pt idx="3">
                  <c:v>0.6982950421227607</c:v>
                </c:pt>
                <c:pt idx="4">
                  <c:v>0.6722223638683953</c:v>
                </c:pt>
                <c:pt idx="5">
                  <c:v>0.49655842984119813</c:v>
                </c:pt>
                <c:pt idx="6">
                  <c:v>0.33875117535234217</c:v>
                </c:pt>
                <c:pt idx="7">
                  <c:v>0.42828827825261145</c:v>
                </c:pt>
                <c:pt idx="8">
                  <c:v>0.5625420532379053</c:v>
                </c:pt>
                <c:pt idx="9">
                  <c:v>0.4516468980059454</c:v>
                </c:pt>
                <c:pt idx="10">
                  <c:v>0.43317466846027813</c:v>
                </c:pt>
                <c:pt idx="11">
                  <c:v>0.6059665039942542</c:v>
                </c:pt>
                <c:pt idx="12">
                  <c:v>0.46892109463790765</c:v>
                </c:pt>
                <c:pt idx="13">
                  <c:v>0.4707102034325302</c:v>
                </c:pt>
                <c:pt idx="14">
                  <c:v>0.3894375229498673</c:v>
                </c:pt>
                <c:pt idx="15">
                  <c:v>0.37490534164385153</c:v>
                </c:pt>
                <c:pt idx="16">
                  <c:v>0.4003537323113037</c:v>
                </c:pt>
                <c:pt idx="17">
                  <c:v>0.2858206559468825</c:v>
                </c:pt>
                <c:pt idx="18">
                  <c:v>0.1868970178940955</c:v>
                </c:pt>
                <c:pt idx="19">
                  <c:v>0.22129348058116702</c:v>
                </c:pt>
                <c:pt idx="20">
                  <c:v>0.2346676816415719</c:v>
                </c:pt>
                <c:pt idx="21">
                  <c:v>0.2319650479378721</c:v>
                </c:pt>
                <c:pt idx="22">
                  <c:v>0.10715093162022274</c:v>
                </c:pt>
                <c:pt idx="23">
                  <c:v>0.15393025025486273</c:v>
                </c:pt>
                <c:pt idx="24">
                  <c:v>0.5543393518109309</c:v>
                </c:pt>
                <c:pt idx="25">
                  <c:v>0.5422870450127838</c:v>
                </c:pt>
                <c:pt idx="26">
                  <c:v>0.5739810679908147</c:v>
                </c:pt>
                <c:pt idx="27">
                  <c:v>0.41187603694362523</c:v>
                </c:pt>
                <c:pt idx="28">
                  <c:v>0.5646656500413118</c:v>
                </c:pt>
                <c:pt idx="29">
                  <c:v>0.5123968856658114</c:v>
                </c:pt>
                <c:pt idx="30">
                  <c:v>0.509860460368835</c:v>
                </c:pt>
                <c:pt idx="31">
                  <c:v>0.5564867314383096</c:v>
                </c:pt>
                <c:pt idx="32">
                  <c:v>0.5554922032343248</c:v>
                </c:pt>
                <c:pt idx="33">
                  <c:v>0.4706344207254132</c:v>
                </c:pt>
                <c:pt idx="34">
                  <c:v>0.47182082656552243</c:v>
                </c:pt>
                <c:pt idx="35">
                  <c:v>0.7034483537502453</c:v>
                </c:pt>
                <c:pt idx="36">
                  <c:v>0.7420189319425182</c:v>
                </c:pt>
                <c:pt idx="37">
                  <c:v>0.5315371930209274</c:v>
                </c:pt>
                <c:pt idx="38">
                  <c:v>0.4769213290829619</c:v>
                </c:pt>
                <c:pt idx="39">
                  <c:v>0.5596616547283598</c:v>
                </c:pt>
                <c:pt idx="40">
                  <c:v>0.5169254008814211</c:v>
                </c:pt>
                <c:pt idx="41">
                  <c:v>0.6360328964677966</c:v>
                </c:pt>
                <c:pt idx="42">
                  <c:v>0.5767067632638548</c:v>
                </c:pt>
                <c:pt idx="43">
                  <c:v>0.6485529720912829</c:v>
                </c:pt>
                <c:pt idx="44">
                  <c:v>0.6257443219861059</c:v>
                </c:pt>
                <c:pt idx="45">
                  <c:v>0.5372693386306497</c:v>
                </c:pt>
                <c:pt idx="46">
                  <c:v>0.5754239909209489</c:v>
                </c:pt>
                <c:pt idx="47">
                  <c:v>0.5724830463500764</c:v>
                </c:pt>
                <c:pt idx="48">
                  <c:v>0.658123404269236</c:v>
                </c:pt>
                <c:pt idx="49">
                  <c:v>0.777776198336495</c:v>
                </c:pt>
                <c:pt idx="50">
                  <c:v>0.6902993240515874</c:v>
                </c:pt>
                <c:pt idx="51">
                  <c:v>0.6695404430213577</c:v>
                </c:pt>
                <c:pt idx="52">
                  <c:v>0.6964784889999195</c:v>
                </c:pt>
                <c:pt idx="53">
                  <c:v>0.7309858375622816</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7828613109395524</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7828613109395524</c:v>
                </c:pt>
                <c:pt idx="1">
                  <c:v>0.47828613109395524</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7828613109395524</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7828613109395524</c:v>
                </c:pt>
                <c:pt idx="1">
                  <c:v>0.47828613109395524</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15377495736039</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15377495736039</c:v>
                </c:pt>
                <c:pt idx="1">
                  <c:v>0.7015377495736039</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pt idx="52">
                  <c:v>0.47828613109395524</c:v>
                </c:pt>
                <c:pt idx="53">
                  <c:v>0.47828613109395524</c:v>
                </c:pt>
                <c:pt idx="54">
                  <c:v>0.7015377495736039</c:v>
                </c:pt>
              </c:numCache>
            </c:numRef>
          </c:xVal>
          <c:yVal>
            <c:numRef>
              <c:f>Sheet1!$B$136:$B$190</c:f>
              <c:numCache>
                <c:formatCode>General</c:formatCode>
                <c:ptCount val="55"/>
                <c:pt idx="0">
                  <c:v>0.0023145928688281378</c:v>
                </c:pt>
                <c:pt idx="1">
                  <c:v>0.002928992270292889</c:v>
                </c:pt>
                <c:pt idx="2">
                  <c:v>0.0023379008497743017</c:v>
                </c:pt>
                <c:pt idx="3">
                  <c:v>0.0032024054860413003</c:v>
                </c:pt>
                <c:pt idx="4">
                  <c:v>0.00270748987637504</c:v>
                </c:pt>
                <c:pt idx="5">
                  <c:v>0.0018871828539288073</c:v>
                </c:pt>
                <c:pt idx="6">
                  <c:v>0.00216755750477425</c:v>
                </c:pt>
                <c:pt idx="7">
                  <c:v>0.003064768688585473</c:v>
                </c:pt>
                <c:pt idx="8">
                  <c:v>0.00253431985448616</c:v>
                </c:pt>
                <c:pt idx="9">
                  <c:v>0.0026661316499636293</c:v>
                </c:pt>
                <c:pt idx="10">
                  <c:v>0.002634914570865201</c:v>
                </c:pt>
                <c:pt idx="11">
                  <c:v>0.00278977619495001</c:v>
                </c:pt>
                <c:pt idx="12">
                  <c:v>0.0031250228838907036</c:v>
                </c:pt>
                <c:pt idx="13">
                  <c:v>0.003619971679532668</c:v>
                </c:pt>
                <c:pt idx="14">
                  <c:v>0.0036459745298623634</c:v>
                </c:pt>
                <c:pt idx="15">
                  <c:v>0.003577944303995076</c:v>
                </c:pt>
                <c:pt idx="16">
                  <c:v>0.003779796929511923</c:v>
                </c:pt>
                <c:pt idx="17">
                  <c:v>0.004615092748621522</c:v>
                </c:pt>
                <c:pt idx="18">
                  <c:v>0.0038150233686246463</c:v>
                </c:pt>
                <c:pt idx="19">
                  <c:v>0.0034170033920076464</c:v>
                </c:pt>
                <c:pt idx="20">
                  <c:v>0.0039376355358149515</c:v>
                </c:pt>
                <c:pt idx="21">
                  <c:v>0.004272906671850192</c:v>
                </c:pt>
                <c:pt idx="22">
                  <c:v>0.0041480466785638135</c:v>
                </c:pt>
                <c:pt idx="23">
                  <c:v>0.004579070763808475</c:v>
                </c:pt>
                <c:pt idx="24">
                  <c:v>0.004036049612544154</c:v>
                </c:pt>
                <c:pt idx="25">
                  <c:v>0.004261400761768006</c:v>
                </c:pt>
                <c:pt idx="26">
                  <c:v>0.00401827839902253</c:v>
                </c:pt>
                <c:pt idx="27">
                  <c:v>0.004207473953674906</c:v>
                </c:pt>
                <c:pt idx="28">
                  <c:v>0.003843833602617414</c:v>
                </c:pt>
                <c:pt idx="29">
                  <c:v>0.004333120855428205</c:v>
                </c:pt>
                <c:pt idx="30">
                  <c:v>0.004399808500881954</c:v>
                </c:pt>
                <c:pt idx="31">
                  <c:v>0.004320544320358369</c:v>
                </c:pt>
                <c:pt idx="32">
                  <c:v>0.0037022815132977294</c:v>
                </c:pt>
                <c:pt idx="33">
                  <c:v>0.00317186304993132</c:v>
                </c:pt>
                <c:pt idx="34">
                  <c:v>0.002733089339053422</c:v>
                </c:pt>
                <c:pt idx="35">
                  <c:v>0.004227226166328403</c:v>
                </c:pt>
                <c:pt idx="36">
                  <c:v>0.004492855650305003</c:v>
                </c:pt>
                <c:pt idx="37">
                  <c:v>0.004446183604963062</c:v>
                </c:pt>
                <c:pt idx="38">
                  <c:v>0.004773725536601088</c:v>
                </c:pt>
                <c:pt idx="39">
                  <c:v>0.004846423457999677</c:v>
                </c:pt>
                <c:pt idx="40">
                  <c:v>0.004665035963071107</c:v>
                </c:pt>
                <c:pt idx="41">
                  <c:v>0.004514528999455376</c:v>
                </c:pt>
                <c:pt idx="42">
                  <c:v>0.004675028661839803</c:v>
                </c:pt>
                <c:pt idx="43">
                  <c:v>0.004272297830974368</c:v>
                </c:pt>
                <c:pt idx="44">
                  <c:v>0.0035926789269497793</c:v>
                </c:pt>
                <c:pt idx="45">
                  <c:v>0.0033179186706544126</c:v>
                </c:pt>
                <c:pt idx="46">
                  <c:v>0.00357506571304362</c:v>
                </c:pt>
                <c:pt idx="47">
                  <c:v>0.003769046163652456</c:v>
                </c:pt>
                <c:pt idx="48">
                  <c:v>0.004054821415778344</c:v>
                </c:pt>
                <c:pt idx="49">
                  <c:v>0.0033104283511942185</c:v>
                </c:pt>
                <c:pt idx="50">
                  <c:v>0.00254315811431554</c:v>
                </c:pt>
                <c:pt idx="51">
                  <c:v>0.003089782078040725</c:v>
                </c:pt>
                <c:pt idx="52">
                  <c:v>0.004361161800028936</c:v>
                </c:pt>
                <c:pt idx="53">
                  <c:v>0.004361161800028936</c:v>
                </c:pt>
                <c:pt idx="54">
                  <c:v>0.003024263331337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0</c:v>
                </c:pt>
                <c:pt idx="5">
                  <c:v>0.0</c:v>
                </c:pt>
                <c:pt idx="6">
                  <c:v>0.0</c:v>
                </c:pt>
                <c:pt idx="7">
                  <c:v>0.7496665736174436</c:v>
                </c:pt>
                <c:pt idx="8">
                  <c:v>0.0</c:v>
                </c:pt>
                <c:pt idx="9">
                  <c:v>0.7348822035280684</c:v>
                </c:pt>
                <c:pt idx="10">
                  <c:v>0.6347544727826417</c:v>
                </c:pt>
                <c:pt idx="11">
                  <c:v>0.0</c:v>
                </c:pt>
                <c:pt idx="12">
                  <c:v>0.9426282529730805</c:v>
                </c:pt>
                <c:pt idx="13">
                  <c:v>0.8510349507974211</c:v>
                </c:pt>
                <c:pt idx="14">
                  <c:v>1.0850341045874015</c:v>
                </c:pt>
                <c:pt idx="15">
                  <c:v>1.1296007199289253</c:v>
                </c:pt>
                <c:pt idx="16">
                  <c:v>0.5841536244383303</c:v>
                </c:pt>
              </c:numCache>
            </c:numRef>
          </c:xVal>
          <c:yVal>
            <c:numRef>
              <c:f>Sheet1!$B$4:$B$20</c:f>
              <c:numCache>
                <c:formatCode>General</c:formatCode>
                <c:ptCount val="17"/>
                <c:pt idx="0">
                  <c:v>0.0</c:v>
                </c:pt>
                <c:pt idx="1">
                  <c:v>0.0</c:v>
                </c:pt>
                <c:pt idx="2">
                  <c:v>0.0</c:v>
                </c:pt>
                <c:pt idx="3">
                  <c:v>0.0</c:v>
                </c:pt>
                <c:pt idx="4">
                  <c:v>0.0</c:v>
                </c:pt>
                <c:pt idx="5">
                  <c:v>0.0</c:v>
                </c:pt>
                <c:pt idx="6">
                  <c:v>0.0</c:v>
                </c:pt>
                <c:pt idx="7">
                  <c:v>0.08333333333333333</c:v>
                </c:pt>
                <c:pt idx="8">
                  <c:v>0.0</c:v>
                </c:pt>
                <c:pt idx="9">
                  <c:v>0.08333333333333333</c:v>
                </c:pt>
                <c:pt idx="10">
                  <c:v>0.058823529411764705</c:v>
                </c:pt>
                <c:pt idx="11">
                  <c:v>0.0</c:v>
                </c:pt>
                <c:pt idx="12">
                  <c:v>0.06666666666666667</c:v>
                </c:pt>
                <c:pt idx="13">
                  <c:v>0.1</c:v>
                </c:pt>
                <c:pt idx="14">
                  <c:v>0.10526315789473684</c:v>
                </c:pt>
                <c:pt idx="15">
                  <c:v>0.10526315789473684</c:v>
                </c:pt>
                <c:pt idx="16">
                  <c:v>0.08333333333333333</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9873519868078318</c:v>
                </c:pt>
              </c:numCache>
            </c:numRef>
          </c:xVal>
          <c:yVal>
            <c:numRef>
              <c:f>Sheet1!$B$23:$B$24</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9873519868078318</c:v>
                </c:pt>
                <c:pt idx="1">
                  <c:v>0.9873519868078318</c:v>
                </c:pt>
              </c:numCache>
            </c:numRef>
          </c:xVal>
          <c:yVal>
            <c:numRef>
              <c:f>Sheet1!$B$27:$B$28</c:f>
              <c:numCache>
                <c:formatCode>General</c:formatCode>
                <c:ptCount val="2"/>
                <c:pt idx="0">
                  <c:v>0.098464912280701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9873519868078318</c:v>
                </c:pt>
              </c:numCache>
            </c:numRef>
          </c:xVal>
          <c:yVal>
            <c:numRef>
              <c:f>Sheet1!$B$31:$B$32</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9873519868078318</c:v>
                </c:pt>
                <c:pt idx="1">
                  <c:v>0.9873519868078318</c:v>
                </c:pt>
              </c:numCache>
            </c:numRef>
          </c:xVal>
          <c:yVal>
            <c:numRef>
              <c:f>Sheet1!$B$35:$B$36</c:f>
              <c:numCache>
                <c:formatCode>General</c:formatCode>
                <c:ptCount val="2"/>
                <c:pt idx="0">
                  <c:v>0.098464912280701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5214178613755813</c:v>
                </c:pt>
              </c:numCache>
            </c:numRef>
          </c:xVal>
          <c:yVal>
            <c:numRef>
              <c:f>Sheet1!$B$39:$B$40</c:f>
              <c:numCache>
                <c:formatCode>General</c:formatCode>
                <c:ptCount val="2"/>
                <c:pt idx="0">
                  <c:v>0.05277050091291577</c:v>
                </c:pt>
                <c:pt idx="1">
                  <c:v>0.05277050091291577</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5214178613755813</c:v>
                </c:pt>
                <c:pt idx="1">
                  <c:v>0.5214178613755813</c:v>
                </c:pt>
              </c:numCache>
            </c:numRef>
          </c:xVal>
          <c:yVal>
            <c:numRef>
              <c:f>Sheet1!$B$43:$B$44</c:f>
              <c:numCache>
                <c:formatCode>General</c:formatCode>
                <c:ptCount val="2"/>
                <c:pt idx="0">
                  <c:v>0.052770500912915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0.0</c:v>
                </c:pt>
                <c:pt idx="2">
                  <c:v>0.0</c:v>
                </c:pt>
                <c:pt idx="3">
                  <c:v>0.0</c:v>
                </c:pt>
                <c:pt idx="4">
                  <c:v>0.0</c:v>
                </c:pt>
                <c:pt idx="5">
                  <c:v>0.0</c:v>
                </c:pt>
                <c:pt idx="6">
                  <c:v>0.0</c:v>
                </c:pt>
                <c:pt idx="7">
                  <c:v>0.7496665736174436</c:v>
                </c:pt>
                <c:pt idx="8">
                  <c:v>0.0</c:v>
                </c:pt>
                <c:pt idx="9">
                  <c:v>0.7348822035280684</c:v>
                </c:pt>
                <c:pt idx="10">
                  <c:v>0.6347544727826417</c:v>
                </c:pt>
                <c:pt idx="11">
                  <c:v>0.0</c:v>
                </c:pt>
                <c:pt idx="12">
                  <c:v>0.9426282529730805</c:v>
                </c:pt>
                <c:pt idx="13">
                  <c:v>0.8510349507974211</c:v>
                </c:pt>
                <c:pt idx="14">
                  <c:v>1.0850341045874015</c:v>
                </c:pt>
                <c:pt idx="15">
                  <c:v>1.1296007199289253</c:v>
                </c:pt>
                <c:pt idx="16">
                  <c:v>0.5841536244383303</c:v>
                </c:pt>
                <c:pt idx="17">
                  <c:v>0.9873519868078318</c:v>
                </c:pt>
                <c:pt idx="18">
                  <c:v>0.9873519868078318</c:v>
                </c:pt>
                <c:pt idx="19">
                  <c:v>0.5214178613755813</c:v>
                </c:pt>
              </c:numCache>
            </c:numRef>
          </c:xVal>
          <c:yVal>
            <c:numRef>
              <c:f>Sheet1!$B$47:$B$66</c:f>
              <c:numCache>
                <c:formatCode>General</c:formatCode>
                <c:ptCount val="20"/>
                <c:pt idx="0">
                  <c:v>0.0016347695901594039</c:v>
                </c:pt>
                <c:pt idx="1">
                  <c:v>0.0016347695901594039</c:v>
                </c:pt>
                <c:pt idx="2">
                  <c:v>0.0016347695901594039</c:v>
                </c:pt>
                <c:pt idx="3">
                  <c:v>0.0016347695901594039</c:v>
                </c:pt>
                <c:pt idx="4">
                  <c:v>0.0016347695901594039</c:v>
                </c:pt>
                <c:pt idx="5">
                  <c:v>0.0016347695901594039</c:v>
                </c:pt>
                <c:pt idx="6">
                  <c:v>0.0016347695901594039</c:v>
                </c:pt>
                <c:pt idx="7">
                  <c:v>0.07515497541705594</c:v>
                </c:pt>
                <c:pt idx="8">
                  <c:v>0.0016347695901594039</c:v>
                </c:pt>
                <c:pt idx="9">
                  <c:v>0.07370506425622227</c:v>
                </c:pt>
                <c:pt idx="10">
                  <c:v>0.06388548361537541</c:v>
                </c:pt>
                <c:pt idx="11">
                  <c:v>0.0016347695901594039</c:v>
                </c:pt>
                <c:pt idx="12">
                  <c:v>0.09407883154481961</c:v>
                </c:pt>
                <c:pt idx="13">
                  <c:v>0.0850962269239072</c:v>
                </c:pt>
                <c:pt idx="14">
                  <c:v>0.10804465033692448</c:v>
                </c:pt>
                <c:pt idx="15">
                  <c:v>0.1124153223773041</c:v>
                </c:pt>
                <c:pt idx="16">
                  <c:v>0.05892303108486179</c:v>
                </c:pt>
                <c:pt idx="17">
                  <c:v>0.09846491228070176</c:v>
                </c:pt>
                <c:pt idx="18">
                  <c:v>0.09846491228070176</c:v>
                </c:pt>
                <c:pt idx="19">
                  <c:v>0.052770500912915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6315789473684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0.0</c:v>
                </c:pt>
                <c:pt idx="2">
                  <c:v>0.0</c:v>
                </c:pt>
                <c:pt idx="3">
                  <c:v>0.0</c:v>
                </c:pt>
                <c:pt idx="4">
                  <c:v>0.0</c:v>
                </c:pt>
                <c:pt idx="5">
                  <c:v>0.0</c:v>
                </c:pt>
                <c:pt idx="6">
                  <c:v>0.0</c:v>
                </c:pt>
                <c:pt idx="7">
                  <c:v>4834.0</c:v>
                </c:pt>
                <c:pt idx="8">
                  <c:v>0.0</c:v>
                </c:pt>
                <c:pt idx="9">
                  <c:v>3942.0</c:v>
                </c:pt>
                <c:pt idx="10">
                  <c:v>3335.0</c:v>
                </c:pt>
                <c:pt idx="11">
                  <c:v>0.0</c:v>
                </c:pt>
                <c:pt idx="12">
                  <c:v>4736.0</c:v>
                </c:pt>
                <c:pt idx="13">
                  <c:v>3762.0</c:v>
                </c:pt>
                <c:pt idx="14">
                  <c:v>5070.5</c:v>
                </c:pt>
                <c:pt idx="15">
                  <c:v>5993.5</c:v>
                </c:pt>
                <c:pt idx="16">
                  <c:v>3183.0</c:v>
                </c:pt>
              </c:numCache>
            </c:numRef>
          </c:xVal>
          <c:yVal>
            <c:numRef>
              <c:f>Sheet1!$B$4:$B$20</c:f>
              <c:numCache>
                <c:formatCode>General</c:formatCode>
                <c:ptCount val="17"/>
                <c:pt idx="0">
                  <c:v>0.0</c:v>
                </c:pt>
                <c:pt idx="1">
                  <c:v>0.0</c:v>
                </c:pt>
                <c:pt idx="2">
                  <c:v>0.0</c:v>
                </c:pt>
                <c:pt idx="3">
                  <c:v>0.0</c:v>
                </c:pt>
                <c:pt idx="4">
                  <c:v>0.0</c:v>
                </c:pt>
                <c:pt idx="5">
                  <c:v>0.0</c:v>
                </c:pt>
                <c:pt idx="6">
                  <c:v>0.0</c:v>
                </c:pt>
                <c:pt idx="7">
                  <c:v>0.08333333333333333</c:v>
                </c:pt>
                <c:pt idx="8">
                  <c:v>0.0</c:v>
                </c:pt>
                <c:pt idx="9">
                  <c:v>0.08333333333333333</c:v>
                </c:pt>
                <c:pt idx="10">
                  <c:v>0.058823529411764705</c:v>
                </c:pt>
                <c:pt idx="11">
                  <c:v>0.0</c:v>
                </c:pt>
                <c:pt idx="12">
                  <c:v>0.06666666666666667</c:v>
                </c:pt>
                <c:pt idx="13">
                  <c:v>0.1</c:v>
                </c:pt>
                <c:pt idx="14">
                  <c:v>0.10526315789473684</c:v>
                </c:pt>
                <c:pt idx="15">
                  <c:v>0.10526315789473684</c:v>
                </c:pt>
                <c:pt idx="16">
                  <c:v>0.08333333333333333</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5124.653910092885</c:v>
                </c:pt>
              </c:numCache>
            </c:numRef>
          </c:xVal>
          <c:yVal>
            <c:numRef>
              <c:f>Sheet1!$B$23:$B$24</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5124.653910092885</c:v>
                </c:pt>
                <c:pt idx="1">
                  <c:v>5124.653910092885</c:v>
                </c:pt>
              </c:numCache>
            </c:numRef>
          </c:xVal>
          <c:yVal>
            <c:numRef>
              <c:f>Sheet1!$B$27:$B$28</c:f>
              <c:numCache>
                <c:formatCode>General</c:formatCode>
                <c:ptCount val="2"/>
                <c:pt idx="0">
                  <c:v>0.098464912280701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5124.653910092885</c:v>
                </c:pt>
              </c:numCache>
            </c:numRef>
          </c:xVal>
          <c:yVal>
            <c:numRef>
              <c:f>Sheet1!$B$31:$B$32</c:f>
              <c:numCache>
                <c:formatCode>General</c:formatCode>
                <c:ptCount val="2"/>
                <c:pt idx="0">
                  <c:v>0.09846491228070176</c:v>
                </c:pt>
                <c:pt idx="1">
                  <c:v>0.0984649122807017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5124.653910092885</c:v>
                </c:pt>
                <c:pt idx="1">
                  <c:v>5124.653910092885</c:v>
                </c:pt>
              </c:numCache>
            </c:numRef>
          </c:xVal>
          <c:yVal>
            <c:numRef>
              <c:f>Sheet1!$B$35:$B$36</c:f>
              <c:numCache>
                <c:formatCode>General</c:formatCode>
                <c:ptCount val="2"/>
                <c:pt idx="0">
                  <c:v>0.098464912280701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2707.2394174443334</c:v>
                </c:pt>
              </c:numCache>
            </c:numRef>
          </c:xVal>
          <c:yVal>
            <c:numRef>
              <c:f>Sheet1!$B$39:$B$40</c:f>
              <c:numCache>
                <c:formatCode>General</c:formatCode>
                <c:ptCount val="2"/>
                <c:pt idx="0">
                  <c:v>0.05277050091291577</c:v>
                </c:pt>
                <c:pt idx="1">
                  <c:v>0.05277050091291577</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2707.2394174443334</c:v>
                </c:pt>
                <c:pt idx="1">
                  <c:v>2707.2394174443334</c:v>
                </c:pt>
              </c:numCache>
            </c:numRef>
          </c:xVal>
          <c:yVal>
            <c:numRef>
              <c:f>Sheet1!$B$43:$B$44</c:f>
              <c:numCache>
                <c:formatCode>General</c:formatCode>
                <c:ptCount val="2"/>
                <c:pt idx="0">
                  <c:v>0.052770500912915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0.0</c:v>
                </c:pt>
                <c:pt idx="2">
                  <c:v>0.0</c:v>
                </c:pt>
                <c:pt idx="3">
                  <c:v>0.0</c:v>
                </c:pt>
                <c:pt idx="4">
                  <c:v>0.0</c:v>
                </c:pt>
                <c:pt idx="5">
                  <c:v>0.0</c:v>
                </c:pt>
                <c:pt idx="6">
                  <c:v>0.0</c:v>
                </c:pt>
                <c:pt idx="7">
                  <c:v>4834.0</c:v>
                </c:pt>
                <c:pt idx="8">
                  <c:v>0.0</c:v>
                </c:pt>
                <c:pt idx="9">
                  <c:v>3942.0</c:v>
                </c:pt>
                <c:pt idx="10">
                  <c:v>3335.0</c:v>
                </c:pt>
                <c:pt idx="11">
                  <c:v>0.0</c:v>
                </c:pt>
                <c:pt idx="12">
                  <c:v>4736.0</c:v>
                </c:pt>
                <c:pt idx="13">
                  <c:v>3762.0</c:v>
                </c:pt>
                <c:pt idx="14">
                  <c:v>5070.5</c:v>
                </c:pt>
                <c:pt idx="15">
                  <c:v>5993.5</c:v>
                </c:pt>
                <c:pt idx="16">
                  <c:v>3183.0</c:v>
                </c:pt>
                <c:pt idx="17">
                  <c:v>5124.653910092885</c:v>
                </c:pt>
                <c:pt idx="18">
                  <c:v>5124.653910092885</c:v>
                </c:pt>
                <c:pt idx="19">
                  <c:v>2707.2394174443334</c:v>
                </c:pt>
              </c:numCache>
            </c:numRef>
          </c:xVal>
          <c:yVal>
            <c:numRef>
              <c:f>Sheet1!$B$47:$B$66</c:f>
              <c:numCache>
                <c:formatCode>General</c:formatCode>
                <c:ptCount val="20"/>
                <c:pt idx="0">
                  <c:v>0.0015977657497981675</c:v>
                </c:pt>
                <c:pt idx="1">
                  <c:v>0.0015977657497981675</c:v>
                </c:pt>
                <c:pt idx="2">
                  <c:v>0.0015977657497981675</c:v>
                </c:pt>
                <c:pt idx="3">
                  <c:v>0.0015977657497981675</c:v>
                </c:pt>
                <c:pt idx="4">
                  <c:v>0.0015977657497981675</c:v>
                </c:pt>
                <c:pt idx="5">
                  <c:v>0.0015977657497981675</c:v>
                </c:pt>
                <c:pt idx="6">
                  <c:v>0.0015977657497981675</c:v>
                </c:pt>
                <c:pt idx="7">
                  <c:v>0.09297091885349737</c:v>
                </c:pt>
                <c:pt idx="8">
                  <c:v>0.0015977657497981675</c:v>
                </c:pt>
                <c:pt idx="9">
                  <c:v>0.0761101715286112</c:v>
                </c:pt>
                <c:pt idx="10">
                  <c:v>0.06463654638712478</c:v>
                </c:pt>
                <c:pt idx="11">
                  <c:v>0.0015977657497981675</c:v>
                </c:pt>
                <c:pt idx="12">
                  <c:v>0.09111850490973185</c:v>
                </c:pt>
                <c:pt idx="13">
                  <c:v>0.07270777857067454</c:v>
                </c:pt>
                <c:pt idx="14">
                  <c:v>0.09744128515656415</c:v>
                </c:pt>
                <c:pt idx="15">
                  <c:v>0.1148880001575394</c:v>
                </c:pt>
                <c:pt idx="16">
                  <c:v>0.06176341455597826</c:v>
                </c:pt>
                <c:pt idx="17">
                  <c:v>0.09846491228070174</c:v>
                </c:pt>
                <c:pt idx="18">
                  <c:v>0.09846491228070174</c:v>
                </c:pt>
                <c:pt idx="19">
                  <c:v>0.052770500912915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19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26315789473684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848353541799617</c:v>
                </c:pt>
                <c:pt idx="1">
                  <c:v>1.8399550163322445</c:v>
                </c:pt>
                <c:pt idx="2">
                  <c:v>1.250021769499418</c:v>
                </c:pt>
                <c:pt idx="3">
                  <c:v>1.214249624927871</c:v>
                </c:pt>
                <c:pt idx="4">
                  <c:v>1.3161941176470588</c:v>
                </c:pt>
                <c:pt idx="5">
                  <c:v>1.4986365819209038</c:v>
                </c:pt>
                <c:pt idx="6">
                  <c:v>1.3133990813648295</c:v>
                </c:pt>
                <c:pt idx="7">
                  <c:v>1.2386248793436294</c:v>
                </c:pt>
                <c:pt idx="8">
                  <c:v>1.2173400476758045</c:v>
                </c:pt>
                <c:pt idx="9">
                  <c:v>1.0234253474821553</c:v>
                </c:pt>
                <c:pt idx="10">
                  <c:v>1.3515300623840836</c:v>
                </c:pt>
                <c:pt idx="11">
                  <c:v>1.270824996972266</c:v>
                </c:pt>
                <c:pt idx="12">
                  <c:v>1.4628034107694372</c:v>
                </c:pt>
                <c:pt idx="13">
                  <c:v>1.0682753275293242</c:v>
                </c:pt>
                <c:pt idx="14">
                  <c:v>1.2529207967121725</c:v>
                </c:pt>
                <c:pt idx="15">
                  <c:v>1.2926035516739447</c:v>
                </c:pt>
                <c:pt idx="16">
                  <c:v>1.412911439588689</c:v>
                </c:pt>
                <c:pt idx="17">
                  <c:v>1.4669460463900947</c:v>
                </c:pt>
                <c:pt idx="18">
                  <c:v>1.4494451849587282</c:v>
                </c:pt>
                <c:pt idx="19">
                  <c:v>1.484717924687602</c:v>
                </c:pt>
                <c:pt idx="20">
                  <c:v>1.608951916011813</c:v>
                </c:pt>
                <c:pt idx="21">
                  <c:v>1.6696496704821369</c:v>
                </c:pt>
                <c:pt idx="22">
                  <c:v>1.4334168517147792</c:v>
                </c:pt>
                <c:pt idx="23">
                  <c:v>1.4528841439048508</c:v>
                </c:pt>
                <c:pt idx="24">
                  <c:v>1.3304634860296085</c:v>
                </c:pt>
                <c:pt idx="25">
                  <c:v>1.5553468474397787</c:v>
                </c:pt>
                <c:pt idx="26">
                  <c:v>1.652128060783975</c:v>
                </c:pt>
                <c:pt idx="27">
                  <c:v>1.067084507144647</c:v>
                </c:pt>
                <c:pt idx="28">
                  <c:v>1.1465260103626944</c:v>
                </c:pt>
                <c:pt idx="29">
                  <c:v>1.302413361676283</c:v>
                </c:pt>
                <c:pt idx="30">
                  <c:v>1.0509202562198292</c:v>
                </c:pt>
                <c:pt idx="31">
                  <c:v>1.156592102335929</c:v>
                </c:pt>
                <c:pt idx="32">
                  <c:v>0.9687176231097325</c:v>
                </c:pt>
                <c:pt idx="33">
                  <c:v>0.7404504863582361</c:v>
                </c:pt>
                <c:pt idx="34">
                  <c:v>0.7013358341206734</c:v>
                </c:pt>
                <c:pt idx="35">
                  <c:v>1.2960451030927835</c:v>
                </c:pt>
                <c:pt idx="36">
                  <c:v>0.9009141109654871</c:v>
                </c:pt>
                <c:pt idx="37">
                  <c:v>1.096177988989666</c:v>
                </c:pt>
                <c:pt idx="38">
                  <c:v>0.8805210244648319</c:v>
                </c:pt>
                <c:pt idx="39">
                  <c:v>0.6035582406471183</c:v>
                </c:pt>
                <c:pt idx="40">
                  <c:v>0.8678414168937328</c:v>
                </c:pt>
                <c:pt idx="41">
                  <c:v>0.7228468591842812</c:v>
                </c:pt>
                <c:pt idx="42">
                  <c:v>1.186583948792983</c:v>
                </c:pt>
                <c:pt idx="43">
                  <c:v>1.0656505170494124</c:v>
                </c:pt>
                <c:pt idx="44">
                  <c:v>1.6106691738594328</c:v>
                </c:pt>
                <c:pt idx="45">
                  <c:v>1.5402838670139423</c:v>
                </c:pt>
                <c:pt idx="46">
                  <c:v>1.581001139241149</c:v>
                </c:pt>
                <c:pt idx="47">
                  <c:v>1.439611984052533</c:v>
                </c:pt>
                <c:pt idx="48">
                  <c:v>1.2609133389974512</c:v>
                </c:pt>
                <c:pt idx="49">
                  <c:v>0.8254022788280726</c:v>
                </c:pt>
                <c:pt idx="50">
                  <c:v>1.1547799696509864</c:v>
                </c:pt>
                <c:pt idx="51">
                  <c:v>1.0132287225386494</c:v>
                </c:pt>
                <c:pt idx="52">
                  <c:v>1.0195039134054953</c:v>
                </c:pt>
                <c:pt idx="53">
                  <c:v>1.257640184197955</c:v>
                </c:pt>
                <c:pt idx="54">
                  <c:v>1.366413993220339</c:v>
                </c:pt>
                <c:pt idx="55">
                  <c:v>1.0481984989477133</c:v>
                </c:pt>
                <c:pt idx="56">
                  <c:v>1.0513861955628596</c:v>
                </c:pt>
                <c:pt idx="57">
                  <c:v>1.2204197926484448</c:v>
                </c:pt>
                <c:pt idx="58">
                  <c:v>1.0214955811238953</c:v>
                </c:pt>
                <c:pt idx="59">
                  <c:v>1.0153335964635302</c:v>
                </c:pt>
                <c:pt idx="60">
                  <c:v>0.8733147676419967</c:v>
                </c:pt>
                <c:pt idx="61">
                  <c:v>1.0537897984011122</c:v>
                </c:pt>
                <c:pt idx="62">
                  <c:v>1.2429089979550103</c:v>
                </c:pt>
                <c:pt idx="63">
                  <c:v>1.3792121822033898</c:v>
                </c:pt>
                <c:pt idx="64">
                  <c:v>1.1126498797154927</c:v>
                </c:pt>
                <c:pt idx="65">
                  <c:v>1.2364569776558212</c:v>
                </c:pt>
                <c:pt idx="66">
                  <c:v>1.0002814702146892</c:v>
                </c:pt>
                <c:pt idx="67">
                  <c:v>1.4624574416379903</c:v>
                </c:pt>
                <c:pt idx="68">
                  <c:v>1.1221059657142858</c:v>
                </c:pt>
                <c:pt idx="69">
                  <c:v>1.5309298785198446</c:v>
                </c:pt>
                <c:pt idx="70">
                  <c:v>1.719469023063333</c:v>
                </c:pt>
                <c:pt idx="71">
                  <c:v>1.6298567949342424</c:v>
                </c:pt>
                <c:pt idx="72">
                  <c:v>2.211035408325061</c:v>
                </c:pt>
                <c:pt idx="73">
                  <c:v>2.325591959798995</c:v>
                </c:pt>
                <c:pt idx="74">
                  <c:v>2.2337664822603647</c:v>
                </c:pt>
                <c:pt idx="75">
                  <c:v>3.5424902852418354</c:v>
                </c:pt>
                <c:pt idx="76">
                  <c:v>1.6650333937354387</c:v>
                </c:pt>
                <c:pt idx="77">
                  <c:v>2.7071681774349083</c:v>
                </c:pt>
                <c:pt idx="78">
                  <c:v>1.4365864646464648</c:v>
                </c:pt>
                <c:pt idx="79">
                  <c:v>1.792326423165515</c:v>
                </c:pt>
                <c:pt idx="80">
                  <c:v>1.3340930009587728</c:v>
                </c:pt>
                <c:pt idx="81">
                  <c:v>1.0473125892521609</c:v>
                </c:pt>
                <c:pt idx="82">
                  <c:v>0.9899518317011244</c:v>
                </c:pt>
                <c:pt idx="83">
                  <c:v>2.4082247551202136</c:v>
                </c:pt>
                <c:pt idx="84">
                  <c:v>2.340314917127072</c:v>
                </c:pt>
                <c:pt idx="85">
                  <c:v>1.492445054945055</c:v>
                </c:pt>
                <c:pt idx="86">
                  <c:v>0.8740540751240254</c:v>
                </c:pt>
                <c:pt idx="87">
                  <c:v>1.3485762144053601</c:v>
                </c:pt>
                <c:pt idx="88">
                  <c:v>2.158510315723664</c:v>
                </c:pt>
                <c:pt idx="89">
                  <c:v>1.6426942340498123</c:v>
                </c:pt>
                <c:pt idx="90">
                  <c:v>1.0197411080976364</c:v>
                </c:pt>
                <c:pt idx="91">
                  <c:v>1.050889876226644</c:v>
                </c:pt>
                <c:pt idx="92">
                  <c:v>1.5111554216867469</c:v>
                </c:pt>
                <c:pt idx="93">
                  <c:v>2.2823137917787166</c:v>
                </c:pt>
                <c:pt idx="94">
                  <c:v>0.7457459146020032</c:v>
                </c:pt>
                <c:pt idx="95">
                  <c:v>1.891650065876153</c:v>
                </c:pt>
                <c:pt idx="96">
                  <c:v>1.9629223988128983</c:v>
                </c:pt>
                <c:pt idx="97">
                  <c:v>1.6701264540337712</c:v>
                </c:pt>
                <c:pt idx="98">
                  <c:v>1.5304215536490775</c:v>
                </c:pt>
                <c:pt idx="99">
                  <c:v>1.428663806728381</c:v>
                </c:pt>
                <c:pt idx="100">
                  <c:v>1.0897276555517361</c:v>
                </c:pt>
                <c:pt idx="101">
                  <c:v>1.273932708334179</c:v>
                </c:pt>
                <c:pt idx="102">
                  <c:v>1.5797915228464925</c:v>
                </c:pt>
                <c:pt idx="103">
                  <c:v>1.2819769895498392</c:v>
                </c:pt>
                <c:pt idx="104">
                  <c:v>1.4702480141218006</c:v>
                </c:pt>
              </c:numCache>
            </c:numRef>
          </c:xVal>
          <c:yVal>
            <c:numRef>
              <c:f>Sheet1!$B$2:$B$106</c:f>
              <c:numCache>
                <c:formatCode>General</c:formatCode>
                <c:ptCount val="105"/>
                <c:pt idx="0">
                  <c:v>0.3250517598343685</c:v>
                </c:pt>
                <c:pt idx="1">
                  <c:v>0.3175</c:v>
                </c:pt>
                <c:pt idx="2">
                  <c:v>0.3145539906103286</c:v>
                </c:pt>
                <c:pt idx="3">
                  <c:v>0.3664772727272727</c:v>
                </c:pt>
                <c:pt idx="4">
                  <c:v>0.3575268817204301</c:v>
                </c:pt>
                <c:pt idx="5">
                  <c:v>0.3819628647214854</c:v>
                </c:pt>
                <c:pt idx="6">
                  <c:v>0.37089201877934275</c:v>
                </c:pt>
                <c:pt idx="7">
                  <c:v>0.36323851203501095</c:v>
                </c:pt>
                <c:pt idx="8">
                  <c:v>0.37083333333333335</c:v>
                </c:pt>
                <c:pt idx="9">
                  <c:v>0.36317567567567566</c:v>
                </c:pt>
                <c:pt idx="10">
                  <c:v>0.3509933774834437</c:v>
                </c:pt>
                <c:pt idx="11">
                  <c:v>0.3371212121212121</c:v>
                </c:pt>
                <c:pt idx="12">
                  <c:v>0.32620320855614976</c:v>
                </c:pt>
                <c:pt idx="13">
                  <c:v>0.3327239488117002</c:v>
                </c:pt>
                <c:pt idx="14">
                  <c:v>0.34303534303534305</c:v>
                </c:pt>
                <c:pt idx="15">
                  <c:v>0.32169576059850374</c:v>
                </c:pt>
                <c:pt idx="16">
                  <c:v>0.3434343434343434</c:v>
                </c:pt>
                <c:pt idx="17">
                  <c:v>0.34615384615384615</c:v>
                </c:pt>
                <c:pt idx="18">
                  <c:v>0.2924901185770751</c:v>
                </c:pt>
                <c:pt idx="19">
                  <c:v>0.32786885245901637</c:v>
                </c:pt>
                <c:pt idx="20">
                  <c:v>0.31785714285714284</c:v>
                </c:pt>
                <c:pt idx="21">
                  <c:v>0.35353535353535354</c:v>
                </c:pt>
                <c:pt idx="22">
                  <c:v>0.32806324110671936</c:v>
                </c:pt>
                <c:pt idx="23">
                  <c:v>0.35909090909090907</c:v>
                </c:pt>
                <c:pt idx="24">
                  <c:v>0.375</c:v>
                </c:pt>
                <c:pt idx="25">
                  <c:v>0.3175355450236967</c:v>
                </c:pt>
                <c:pt idx="26">
                  <c:v>0.40425531914893614</c:v>
                </c:pt>
                <c:pt idx="27">
                  <c:v>0.33495145631067963</c:v>
                </c:pt>
                <c:pt idx="28">
                  <c:v>0.4213197969543147</c:v>
                </c:pt>
                <c:pt idx="29">
                  <c:v>0.4146341463414634</c:v>
                </c:pt>
                <c:pt idx="30">
                  <c:v>0.37681159420289856</c:v>
                </c:pt>
                <c:pt idx="31">
                  <c:v>0.4198895027624309</c:v>
                </c:pt>
                <c:pt idx="32">
                  <c:v>0.395</c:v>
                </c:pt>
                <c:pt idx="33">
                  <c:v>0.4623115577889447</c:v>
                </c:pt>
                <c:pt idx="34">
                  <c:v>0.4119496855345912</c:v>
                </c:pt>
                <c:pt idx="35">
                  <c:v>0.36069651741293535</c:v>
                </c:pt>
                <c:pt idx="36">
                  <c:v>0.35986159169550175</c:v>
                </c:pt>
                <c:pt idx="37">
                  <c:v>0.3392226148409894</c:v>
                </c:pt>
                <c:pt idx="38">
                  <c:v>0.42021276595744683</c:v>
                </c:pt>
                <c:pt idx="39">
                  <c:v>0.40718562874251496</c:v>
                </c:pt>
                <c:pt idx="40">
                  <c:v>0.4024896265560166</c:v>
                </c:pt>
                <c:pt idx="41">
                  <c:v>0.4292237442922374</c:v>
                </c:pt>
                <c:pt idx="42">
                  <c:v>0.4155251141552511</c:v>
                </c:pt>
                <c:pt idx="43">
                  <c:v>0.41452991452991456</c:v>
                </c:pt>
                <c:pt idx="44">
                  <c:v>0.32971014492753625</c:v>
                </c:pt>
                <c:pt idx="45">
                  <c:v>0.32923832923832924</c:v>
                </c:pt>
                <c:pt idx="46">
                  <c:v>0.3102866779089376</c:v>
                </c:pt>
                <c:pt idx="47">
                  <c:v>0.33515482695810567</c:v>
                </c:pt>
                <c:pt idx="48">
                  <c:v>0.3310344827586207</c:v>
                </c:pt>
                <c:pt idx="49">
                  <c:v>0.27087198515769945</c:v>
                </c:pt>
                <c:pt idx="50">
                  <c:v>0.3267504488330341</c:v>
                </c:pt>
                <c:pt idx="51">
                  <c:v>0.2973621103117506</c:v>
                </c:pt>
                <c:pt idx="52">
                  <c:v>0.275</c:v>
                </c:pt>
                <c:pt idx="53">
                  <c:v>0.2927536231884058</c:v>
                </c:pt>
                <c:pt idx="54">
                  <c:v>0.2680722891566265</c:v>
                </c:pt>
                <c:pt idx="55">
                  <c:v>0.2735294117647059</c:v>
                </c:pt>
                <c:pt idx="56">
                  <c:v>0.2926829268292683</c:v>
                </c:pt>
                <c:pt idx="57">
                  <c:v>0.2803234501347709</c:v>
                </c:pt>
                <c:pt idx="58">
                  <c:v>0.31919642857142855</c:v>
                </c:pt>
                <c:pt idx="59">
                  <c:v>0.2980561555075594</c:v>
                </c:pt>
                <c:pt idx="60">
                  <c:v>0.28431372549019607</c:v>
                </c:pt>
                <c:pt idx="61">
                  <c:v>0.28</c:v>
                </c:pt>
                <c:pt idx="62">
                  <c:v>0.3007518796992481</c:v>
                </c:pt>
                <c:pt idx="63">
                  <c:v>0.23119015047879618</c:v>
                </c:pt>
                <c:pt idx="64">
                  <c:v>0.23869346733668342</c:v>
                </c:pt>
                <c:pt idx="65">
                  <c:v>0.24233576642335766</c:v>
                </c:pt>
                <c:pt idx="66">
                  <c:v>0.25391849529780564</c:v>
                </c:pt>
                <c:pt idx="67">
                  <c:v>0.28716904276985744</c:v>
                </c:pt>
                <c:pt idx="68">
                  <c:v>0.25722543352601157</c:v>
                </c:pt>
                <c:pt idx="69">
                  <c:v>0.27405247813411077</c:v>
                </c:pt>
                <c:pt idx="70">
                  <c:v>0.292358803986711</c:v>
                </c:pt>
                <c:pt idx="71">
                  <c:v>0.28515625</c:v>
                </c:pt>
                <c:pt idx="72">
                  <c:v>0.25193798449612403</c:v>
                </c:pt>
                <c:pt idx="73">
                  <c:v>0.2868217054263566</c:v>
                </c:pt>
                <c:pt idx="74">
                  <c:v>0.24414715719063546</c:v>
                </c:pt>
                <c:pt idx="75">
                  <c:v>0.35526315789473684</c:v>
                </c:pt>
                <c:pt idx="76">
                  <c:v>0.3574468085106383</c:v>
                </c:pt>
                <c:pt idx="77">
                  <c:v>0.3221476510067114</c:v>
                </c:pt>
                <c:pt idx="78">
                  <c:v>0.37988826815642457</c:v>
                </c:pt>
                <c:pt idx="79">
                  <c:v>0.3694581280788177</c:v>
                </c:pt>
                <c:pt idx="80">
                  <c:v>0.33516483516483514</c:v>
                </c:pt>
                <c:pt idx="81">
                  <c:v>0.35039370078740156</c:v>
                </c:pt>
                <c:pt idx="82">
                  <c:v>0.37373737373737376</c:v>
                </c:pt>
                <c:pt idx="83">
                  <c:v>0.36666666666666664</c:v>
                </c:pt>
                <c:pt idx="84">
                  <c:v>0.39644970414201186</c:v>
                </c:pt>
                <c:pt idx="85">
                  <c:v>0.35555555555555557</c:v>
                </c:pt>
                <c:pt idx="86">
                  <c:v>0.38589211618257263</c:v>
                </c:pt>
                <c:pt idx="87">
                  <c:v>0.39344262295081966</c:v>
                </c:pt>
                <c:pt idx="88">
                  <c:v>0.40119760479041916</c:v>
                </c:pt>
                <c:pt idx="89">
                  <c:v>0.4523809523809524</c:v>
                </c:pt>
                <c:pt idx="90">
                  <c:v>0.4853801169590643</c:v>
                </c:pt>
                <c:pt idx="91">
                  <c:v>0.43795620437956206</c:v>
                </c:pt>
                <c:pt idx="92">
                  <c:v>0.4124293785310734</c:v>
                </c:pt>
                <c:pt idx="93">
                  <c:v>0.3227848101265823</c:v>
                </c:pt>
                <c:pt idx="94">
                  <c:v>0.42134831460674155</c:v>
                </c:pt>
                <c:pt idx="95">
                  <c:v>0.33554817275747506</c:v>
                </c:pt>
                <c:pt idx="96">
                  <c:v>0.33212996389891697</c:v>
                </c:pt>
                <c:pt idx="97">
                  <c:v>0.31054131054131057</c:v>
                </c:pt>
                <c:pt idx="98">
                  <c:v>0.319634703196347</c:v>
                </c:pt>
                <c:pt idx="99">
                  <c:v>0.3047619047619048</c:v>
                </c:pt>
                <c:pt idx="100">
                  <c:v>0.3051948051948052</c:v>
                </c:pt>
                <c:pt idx="101">
                  <c:v>0.3425742574257426</c:v>
                </c:pt>
                <c:pt idx="102">
                  <c:v>0.3314447592067989</c:v>
                </c:pt>
                <c:pt idx="103">
                  <c:v>0.3460559796437659</c:v>
                </c:pt>
                <c:pt idx="104">
                  <c:v>0.3565459610027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343854112393004</c:v>
                </c:pt>
                <c:pt idx="1">
                  <c:v>1.1226387694343367</c:v>
                </c:pt>
                <c:pt idx="2">
                  <c:v>1.842675784190715</c:v>
                </c:pt>
                <c:pt idx="3">
                  <c:v>1.2083762792542643</c:v>
                </c:pt>
                <c:pt idx="4">
                  <c:v>1.6838048166392994</c:v>
                </c:pt>
                <c:pt idx="5">
                  <c:v>1.2733422813214212</c:v>
                </c:pt>
                <c:pt idx="6">
                  <c:v>1.1870087625561017</c:v>
                </c:pt>
                <c:pt idx="7">
                  <c:v>1.0788303361753862</c:v>
                </c:pt>
                <c:pt idx="8">
                  <c:v>1.3097598696461825</c:v>
                </c:pt>
                <c:pt idx="9">
                  <c:v>1.2464672116886832</c:v>
                </c:pt>
                <c:pt idx="10">
                  <c:v>1.2228549738219896</c:v>
                </c:pt>
                <c:pt idx="11">
                  <c:v>1.130038037953236</c:v>
                </c:pt>
                <c:pt idx="12">
                  <c:v>1.1468077709611453</c:v>
                </c:pt>
                <c:pt idx="13">
                  <c:v>1.5494022898631667</c:v>
                </c:pt>
                <c:pt idx="14">
                  <c:v>1.3458913352269215</c:v>
                </c:pt>
                <c:pt idx="15">
                  <c:v>1.044648157994683</c:v>
                </c:pt>
                <c:pt idx="16">
                  <c:v>1.4065015533980583</c:v>
                </c:pt>
                <c:pt idx="17">
                  <c:v>0.9185513779527559</c:v>
                </c:pt>
                <c:pt idx="18">
                  <c:v>0.8117971246889687</c:v>
                </c:pt>
                <c:pt idx="19">
                  <c:v>1.4922279792746114</c:v>
                </c:pt>
                <c:pt idx="20">
                  <c:v>1.731456074766355</c:v>
                </c:pt>
                <c:pt idx="21">
                  <c:v>1.2225532347504622</c:v>
                </c:pt>
                <c:pt idx="22">
                  <c:v>1.4874999517607332</c:v>
                </c:pt>
                <c:pt idx="23">
                  <c:v>1.0872323561346364</c:v>
                </c:pt>
                <c:pt idx="24">
                  <c:v>1.8775747035532568</c:v>
                </c:pt>
                <c:pt idx="25">
                  <c:v>0.9527044092511838</c:v>
                </c:pt>
                <c:pt idx="26">
                  <c:v>1.8007936904761905</c:v>
                </c:pt>
                <c:pt idx="27">
                  <c:v>1.5072136511919698</c:v>
                </c:pt>
                <c:pt idx="28">
                  <c:v>1.9484957275171797</c:v>
                </c:pt>
                <c:pt idx="29">
                  <c:v>1.7447501351895354</c:v>
                </c:pt>
                <c:pt idx="30">
                  <c:v>0.9587686333534016</c:v>
                </c:pt>
                <c:pt idx="31">
                  <c:v>1.901986823813841</c:v>
                </c:pt>
                <c:pt idx="32">
                  <c:v>1.3002232292124944</c:v>
                </c:pt>
                <c:pt idx="33">
                  <c:v>1.5233770465456102</c:v>
                </c:pt>
                <c:pt idx="34">
                  <c:v>1.793393216080402</c:v>
                </c:pt>
                <c:pt idx="35">
                  <c:v>1.787022101939558</c:v>
                </c:pt>
                <c:pt idx="36">
                  <c:v>1.2479638195004028</c:v>
                </c:pt>
                <c:pt idx="37">
                  <c:v>1.144887912942091</c:v>
                </c:pt>
                <c:pt idx="38">
                  <c:v>1.2787023660500383</c:v>
                </c:pt>
                <c:pt idx="39">
                  <c:v>0.7834036505867015</c:v>
                </c:pt>
                <c:pt idx="40">
                  <c:v>1.3279114335971856</c:v>
                </c:pt>
                <c:pt idx="41">
                  <c:v>1.151203848829904</c:v>
                </c:pt>
                <c:pt idx="42">
                  <c:v>1.1767459681945744</c:v>
                </c:pt>
                <c:pt idx="43">
                  <c:v>1.62319795038852</c:v>
                </c:pt>
                <c:pt idx="44">
                  <c:v>1.1333505837851583</c:v>
                </c:pt>
                <c:pt idx="45">
                  <c:v>1.0709011202219239</c:v>
                </c:pt>
                <c:pt idx="46">
                  <c:v>0.9282928476821192</c:v>
                </c:pt>
                <c:pt idx="47">
                  <c:v>1.1522145614398305</c:v>
                </c:pt>
                <c:pt idx="48">
                  <c:v>1.2338498513800424</c:v>
                </c:pt>
                <c:pt idx="49">
                  <c:v>1.1633859691033603</c:v>
                </c:pt>
                <c:pt idx="50">
                  <c:v>1.1807353940023197</c:v>
                </c:pt>
                <c:pt idx="51">
                  <c:v>1.0745105981387815</c:v>
                </c:pt>
              </c:numCache>
            </c:numRef>
          </c:xVal>
          <c:yVal>
            <c:numRef>
              <c:f>Sheet1!$B$109:$B$160</c:f>
              <c:numCache>
                <c:formatCode>General</c:formatCode>
                <c:ptCount val="52"/>
                <c:pt idx="0">
                  <c:v>0.34831460674157305</c:v>
                </c:pt>
                <c:pt idx="1">
                  <c:v>0.32441471571906355</c:v>
                </c:pt>
                <c:pt idx="2">
                  <c:v>0.31896551724137934</c:v>
                </c:pt>
                <c:pt idx="3">
                  <c:v>0.297029702970297</c:v>
                </c:pt>
                <c:pt idx="4">
                  <c:v>0.3128205128205128</c:v>
                </c:pt>
                <c:pt idx="5">
                  <c:v>0.30978260869565216</c:v>
                </c:pt>
                <c:pt idx="6">
                  <c:v>0.3219178082191781</c:v>
                </c:pt>
                <c:pt idx="7">
                  <c:v>0.3235294117647059</c:v>
                </c:pt>
                <c:pt idx="8">
                  <c:v>0.296078431372549</c:v>
                </c:pt>
                <c:pt idx="9">
                  <c:v>0.2944078947368421</c:v>
                </c:pt>
                <c:pt idx="10">
                  <c:v>0.30590339892665475</c:v>
                </c:pt>
                <c:pt idx="11">
                  <c:v>0.2823871906841339</c:v>
                </c:pt>
                <c:pt idx="12">
                  <c:v>0.2676470588235294</c:v>
                </c:pt>
                <c:pt idx="13">
                  <c:v>0.31086142322097376</c:v>
                </c:pt>
                <c:pt idx="14">
                  <c:v>0.31524008350730687</c:v>
                </c:pt>
                <c:pt idx="15">
                  <c:v>0.2860824742268041</c:v>
                </c:pt>
                <c:pt idx="16">
                  <c:v>0.2976588628762542</c:v>
                </c:pt>
                <c:pt idx="17">
                  <c:v>0.3298245614035088</c:v>
                </c:pt>
                <c:pt idx="18">
                  <c:v>0.2824427480916031</c:v>
                </c:pt>
                <c:pt idx="19">
                  <c:v>0.3248730964467005</c:v>
                </c:pt>
                <c:pt idx="20">
                  <c:v>0.34394904458598724</c:v>
                </c:pt>
                <c:pt idx="21">
                  <c:v>0.4</c:v>
                </c:pt>
                <c:pt idx="22">
                  <c:v>0.2703862660944206</c:v>
                </c:pt>
                <c:pt idx="23">
                  <c:v>0.31636363636363635</c:v>
                </c:pt>
                <c:pt idx="24">
                  <c:v>0.2816326530612245</c:v>
                </c:pt>
                <c:pt idx="25">
                  <c:v>0.3389830508474576</c:v>
                </c:pt>
                <c:pt idx="26">
                  <c:v>0.3694581280788177</c:v>
                </c:pt>
                <c:pt idx="27">
                  <c:v>0.37823834196891193</c:v>
                </c:pt>
                <c:pt idx="28">
                  <c:v>0.2988505747126437</c:v>
                </c:pt>
                <c:pt idx="29">
                  <c:v>0.39226519337016574</c:v>
                </c:pt>
                <c:pt idx="30">
                  <c:v>0.4146341463414634</c:v>
                </c:pt>
                <c:pt idx="31">
                  <c:v>0.3644067796610169</c:v>
                </c:pt>
                <c:pt idx="32">
                  <c:v>0.36486486486486486</c:v>
                </c:pt>
                <c:pt idx="33">
                  <c:v>0.31877729257641924</c:v>
                </c:pt>
                <c:pt idx="34">
                  <c:v>0.34173669467787116</c:v>
                </c:pt>
                <c:pt idx="35">
                  <c:v>0.34065934065934067</c:v>
                </c:pt>
                <c:pt idx="36">
                  <c:v>0.3693181818181818</c:v>
                </c:pt>
                <c:pt idx="37">
                  <c:v>0.37341772151898733</c:v>
                </c:pt>
                <c:pt idx="38">
                  <c:v>0.40131578947368424</c:v>
                </c:pt>
                <c:pt idx="39">
                  <c:v>0.3469387755102041</c:v>
                </c:pt>
                <c:pt idx="40">
                  <c:v>0.3617021276595745</c:v>
                </c:pt>
                <c:pt idx="41">
                  <c:v>0.40707964601769914</c:v>
                </c:pt>
                <c:pt idx="42">
                  <c:v>0.3886255924170616</c:v>
                </c:pt>
                <c:pt idx="43">
                  <c:v>0.326271186440678</c:v>
                </c:pt>
                <c:pt idx="44">
                  <c:v>0.3448275862068966</c:v>
                </c:pt>
                <c:pt idx="45">
                  <c:v>0.3732193732193732</c:v>
                </c:pt>
                <c:pt idx="46">
                  <c:v>0.34615384615384615</c:v>
                </c:pt>
                <c:pt idx="47">
                  <c:v>0.35185185185185186</c:v>
                </c:pt>
                <c:pt idx="48">
                  <c:v>0.33668341708542715</c:v>
                </c:pt>
                <c:pt idx="49">
                  <c:v>0.3158995815899582</c:v>
                </c:pt>
                <c:pt idx="50">
                  <c:v>0.2665036674816626</c:v>
                </c:pt>
                <c:pt idx="51">
                  <c:v>0.3351498637602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1305690971366</c:v>
                </c:pt>
              </c:numCache>
            </c:numRef>
          </c:xVal>
          <c:yVal>
            <c:numRef>
              <c:f>Sheet1!$B$163:$B$164</c:f>
              <c:numCache>
                <c:formatCode>General</c:formatCode>
                <c:ptCount val="2"/>
                <c:pt idx="0">
                  <c:v>0.38621636571273726</c:v>
                </c:pt>
                <c:pt idx="1">
                  <c:v>0.386216365712737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1305690971366</c:v>
                </c:pt>
                <c:pt idx="1">
                  <c:v>-10.1305690971366</c:v>
                </c:pt>
              </c:numCache>
            </c:numRef>
          </c:xVal>
          <c:yVal>
            <c:numRef>
              <c:f>Sheet1!$B$167:$B$168</c:f>
              <c:numCache>
                <c:formatCode>General</c:formatCode>
                <c:ptCount val="2"/>
                <c:pt idx="0">
                  <c:v>0.386216365712737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5.318197307833292</c:v>
                </c:pt>
              </c:numCache>
            </c:numRef>
          </c:xVal>
          <c:yVal>
            <c:numRef>
              <c:f>Sheet1!$B$171:$B$172</c:f>
              <c:numCache>
                <c:formatCode>General</c:formatCode>
                <c:ptCount val="2"/>
                <c:pt idx="0">
                  <c:v>0.36395238607287533</c:v>
                </c:pt>
                <c:pt idx="1">
                  <c:v>0.3639523860728753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5.318197307833292</c:v>
                </c:pt>
                <c:pt idx="1">
                  <c:v>-5.318197307833292</c:v>
                </c:pt>
              </c:numCache>
            </c:numRef>
          </c:xVal>
          <c:yVal>
            <c:numRef>
              <c:f>Sheet1!$B$175:$B$176</c:f>
              <c:numCache>
                <c:formatCode>General</c:formatCode>
                <c:ptCount val="2"/>
                <c:pt idx="0">
                  <c:v>0.363952386072875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861054405320093</c:v>
                </c:pt>
              </c:numCache>
            </c:numRef>
          </c:xVal>
          <c:yVal>
            <c:numRef>
              <c:f>Sheet1!$B$179:$B$180</c:f>
              <c:numCache>
                <c:formatCode>General</c:formatCode>
                <c:ptCount val="2"/>
                <c:pt idx="0">
                  <c:v>0.34622357810726556</c:v>
                </c:pt>
                <c:pt idx="1">
                  <c:v>0.346223578107265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861054405320093</c:v>
                </c:pt>
                <c:pt idx="1">
                  <c:v>-1.4861054405320093</c:v>
                </c:pt>
              </c:numCache>
            </c:numRef>
          </c:xVal>
          <c:yVal>
            <c:numRef>
              <c:f>Sheet1!$B$183:$B$184</c:f>
              <c:numCache>
                <c:formatCode>General</c:formatCode>
                <c:ptCount val="2"/>
                <c:pt idx="0">
                  <c:v>0.346223578107265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343854112393004</c:v>
                </c:pt>
                <c:pt idx="1">
                  <c:v>1.1226387694343367</c:v>
                </c:pt>
                <c:pt idx="2">
                  <c:v>1.842675784190715</c:v>
                </c:pt>
                <c:pt idx="3">
                  <c:v>1.2083762792542643</c:v>
                </c:pt>
                <c:pt idx="4">
                  <c:v>1.6838048166392994</c:v>
                </c:pt>
                <c:pt idx="5">
                  <c:v>1.2733422813214212</c:v>
                </c:pt>
                <c:pt idx="6">
                  <c:v>1.1870087625561017</c:v>
                </c:pt>
                <c:pt idx="7">
                  <c:v>1.0788303361753862</c:v>
                </c:pt>
                <c:pt idx="8">
                  <c:v>1.3097598696461825</c:v>
                </c:pt>
                <c:pt idx="9">
                  <c:v>1.2464672116886832</c:v>
                </c:pt>
                <c:pt idx="10">
                  <c:v>1.2228549738219896</c:v>
                </c:pt>
                <c:pt idx="11">
                  <c:v>1.130038037953236</c:v>
                </c:pt>
                <c:pt idx="12">
                  <c:v>1.1468077709611453</c:v>
                </c:pt>
                <c:pt idx="13">
                  <c:v>1.5494022898631667</c:v>
                </c:pt>
                <c:pt idx="14">
                  <c:v>1.3458913352269215</c:v>
                </c:pt>
                <c:pt idx="15">
                  <c:v>1.044648157994683</c:v>
                </c:pt>
                <c:pt idx="16">
                  <c:v>1.4065015533980583</c:v>
                </c:pt>
                <c:pt idx="17">
                  <c:v>0.9185513779527559</c:v>
                </c:pt>
                <c:pt idx="18">
                  <c:v>0.8117971246889687</c:v>
                </c:pt>
                <c:pt idx="19">
                  <c:v>1.4922279792746114</c:v>
                </c:pt>
                <c:pt idx="20">
                  <c:v>1.731456074766355</c:v>
                </c:pt>
                <c:pt idx="21">
                  <c:v>1.2225532347504622</c:v>
                </c:pt>
                <c:pt idx="22">
                  <c:v>1.4874999517607332</c:v>
                </c:pt>
                <c:pt idx="23">
                  <c:v>1.0872323561346364</c:v>
                </c:pt>
                <c:pt idx="24">
                  <c:v>1.8775747035532568</c:v>
                </c:pt>
                <c:pt idx="25">
                  <c:v>0.9527044092511838</c:v>
                </c:pt>
                <c:pt idx="26">
                  <c:v>1.8007936904761905</c:v>
                </c:pt>
                <c:pt idx="27">
                  <c:v>1.5072136511919698</c:v>
                </c:pt>
                <c:pt idx="28">
                  <c:v>1.9484957275171797</c:v>
                </c:pt>
                <c:pt idx="29">
                  <c:v>1.7447501351895354</c:v>
                </c:pt>
                <c:pt idx="30">
                  <c:v>0.9587686333534016</c:v>
                </c:pt>
                <c:pt idx="31">
                  <c:v>1.901986823813841</c:v>
                </c:pt>
                <c:pt idx="32">
                  <c:v>1.3002232292124944</c:v>
                </c:pt>
                <c:pt idx="33">
                  <c:v>1.5233770465456102</c:v>
                </c:pt>
                <c:pt idx="34">
                  <c:v>1.793393216080402</c:v>
                </c:pt>
                <c:pt idx="35">
                  <c:v>1.787022101939558</c:v>
                </c:pt>
                <c:pt idx="36">
                  <c:v>1.2479638195004028</c:v>
                </c:pt>
                <c:pt idx="37">
                  <c:v>1.144887912942091</c:v>
                </c:pt>
                <c:pt idx="38">
                  <c:v>1.2787023660500383</c:v>
                </c:pt>
                <c:pt idx="39">
                  <c:v>0.7834036505867015</c:v>
                </c:pt>
                <c:pt idx="40">
                  <c:v>1.3279114335971856</c:v>
                </c:pt>
                <c:pt idx="41">
                  <c:v>1.151203848829904</c:v>
                </c:pt>
                <c:pt idx="42">
                  <c:v>1.1767459681945744</c:v>
                </c:pt>
                <c:pt idx="43">
                  <c:v>1.62319795038852</c:v>
                </c:pt>
                <c:pt idx="44">
                  <c:v>1.1333505837851583</c:v>
                </c:pt>
                <c:pt idx="45">
                  <c:v>1.0709011202219239</c:v>
                </c:pt>
                <c:pt idx="46">
                  <c:v>0.9282928476821192</c:v>
                </c:pt>
                <c:pt idx="47">
                  <c:v>1.1522145614398305</c:v>
                </c:pt>
                <c:pt idx="48">
                  <c:v>1.2338498513800424</c:v>
                </c:pt>
                <c:pt idx="49">
                  <c:v>1.1633859691033603</c:v>
                </c:pt>
                <c:pt idx="50">
                  <c:v>1.1807353940023197</c:v>
                </c:pt>
                <c:pt idx="51">
                  <c:v>1.0745105981387815</c:v>
                </c:pt>
                <c:pt idx="52">
                  <c:v>-5.318197307833292</c:v>
                </c:pt>
                <c:pt idx="53">
                  <c:v>-10.1305690971366</c:v>
                </c:pt>
                <c:pt idx="54">
                  <c:v>-1.4861054405320093</c:v>
                </c:pt>
              </c:numCache>
            </c:numRef>
          </c:xVal>
          <c:yVal>
            <c:numRef>
              <c:f>Sheet1!$B$187:$B$241</c:f>
              <c:numCache>
                <c:formatCode>General</c:formatCode>
                <c:ptCount val="55"/>
                <c:pt idx="0">
                  <c:v>0.3350254077659607</c:v>
                </c:pt>
                <c:pt idx="1">
                  <c:v>0.334154471537944</c:v>
                </c:pt>
                <c:pt idx="2">
                  <c:v>0.33082328888241525</c:v>
                </c:pt>
                <c:pt idx="3">
                  <c:v>0.33375781511641683</c:v>
                </c:pt>
                <c:pt idx="4">
                  <c:v>0.33155829027918843</c:v>
                </c:pt>
                <c:pt idx="5">
                  <c:v>0.33345725609674143</c:v>
                </c:pt>
                <c:pt idx="6">
                  <c:v>0.33385666989687657</c:v>
                </c:pt>
                <c:pt idx="7">
                  <c:v>0.3343571470810721</c:v>
                </c:pt>
                <c:pt idx="8">
                  <c:v>0.33328877359362363</c:v>
                </c:pt>
                <c:pt idx="9">
                  <c:v>0.3335815910461843</c:v>
                </c:pt>
                <c:pt idx="10">
                  <c:v>0.3336908308152903</c:v>
                </c:pt>
                <c:pt idx="11">
                  <c:v>0.33412023952702147</c:v>
                </c:pt>
                <c:pt idx="12">
                  <c:v>0.3340426559548037</c:v>
                </c:pt>
                <c:pt idx="13">
                  <c:v>0.33218009076566396</c:v>
                </c:pt>
                <c:pt idx="14">
                  <c:v>0.333121614810124</c:v>
                </c:pt>
                <c:pt idx="15">
                  <c:v>0.3345152876721114</c:v>
                </c:pt>
                <c:pt idx="16">
                  <c:v>0.33284120740969636</c:v>
                </c:pt>
                <c:pt idx="17">
                  <c:v>0.3350986624125556</c:v>
                </c:pt>
                <c:pt idx="18">
                  <c:v>0.3355925507954973</c:v>
                </c:pt>
                <c:pt idx="19">
                  <c:v>0.3324446022669773</c:v>
                </c:pt>
                <c:pt idx="20">
                  <c:v>0.33133783627288893</c:v>
                </c:pt>
                <c:pt idx="21">
                  <c:v>0.33369222678236</c:v>
                </c:pt>
                <c:pt idx="22">
                  <c:v>0.3324664760358619</c:v>
                </c:pt>
                <c:pt idx="23">
                  <c:v>0.3343182759361364</c:v>
                </c:pt>
                <c:pt idx="24">
                  <c:v>0.3306618323565774</c:v>
                </c:pt>
                <c:pt idx="25">
                  <c:v>0.33494065666679046</c:v>
                </c:pt>
                <c:pt idx="26">
                  <c:v>0.3310170523991509</c:v>
                </c:pt>
                <c:pt idx="27">
                  <c:v>0.3323752724834391</c:v>
                </c:pt>
                <c:pt idx="28">
                  <c:v>0.3303337229953929</c:v>
                </c:pt>
                <c:pt idx="29">
                  <c:v>0.33127633256877975</c:v>
                </c:pt>
                <c:pt idx="30">
                  <c:v>0.33491260111168075</c:v>
                </c:pt>
                <c:pt idx="31">
                  <c:v>0.3305488920077757</c:v>
                </c:pt>
                <c:pt idx="32">
                  <c:v>0.3333328939520964</c:v>
                </c:pt>
                <c:pt idx="33">
                  <c:v>0.33230049407461704</c:v>
                </c:pt>
                <c:pt idx="34">
                  <c:v>0.331051289988948</c:v>
                </c:pt>
                <c:pt idx="35">
                  <c:v>0.331080765341586</c:v>
                </c:pt>
                <c:pt idx="36">
                  <c:v>0.33357466713271544</c:v>
                </c:pt>
                <c:pt idx="37">
                  <c:v>0.3340515379950365</c:v>
                </c:pt>
                <c:pt idx="38">
                  <c:v>0.3334324581753649</c:v>
                </c:pt>
                <c:pt idx="39">
                  <c:v>0.3357239104985699</c:v>
                </c:pt>
                <c:pt idx="40">
                  <c:v>0.3332047971121857</c:v>
                </c:pt>
                <c:pt idx="41">
                  <c:v>0.3340223179193296</c:v>
                </c:pt>
                <c:pt idx="42">
                  <c:v>0.3339041497373205</c:v>
                </c:pt>
                <c:pt idx="43">
                  <c:v>0.33183868217227586</c:v>
                </c:pt>
                <c:pt idx="44">
                  <c:v>0.33410491434929473</c:v>
                </c:pt>
                <c:pt idx="45">
                  <c:v>0.334393830843316</c:v>
                </c:pt>
                <c:pt idx="46">
                  <c:v>0.33505359443085914</c:v>
                </c:pt>
                <c:pt idx="47">
                  <c:v>0.33401764195372385</c:v>
                </c:pt>
                <c:pt idx="48">
                  <c:v>0.3336399640616784</c:v>
                </c:pt>
                <c:pt idx="49">
                  <c:v>0.33396595850039584</c:v>
                </c:pt>
                <c:pt idx="50">
                  <c:v>0.3338856930388676</c:v>
                </c:pt>
                <c:pt idx="51">
                  <c:v>0.3343771319375851</c:v>
                </c:pt>
                <c:pt idx="52">
                  <c:v>0.36395238607287533</c:v>
                </c:pt>
                <c:pt idx="53">
                  <c:v>0.38621636571273726</c:v>
                </c:pt>
                <c:pt idx="54">
                  <c:v>0.346223578107265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24561403508771"/>
          <c:min val="0.1849521203830369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8.3185</c:v>
                </c:pt>
                <c:pt idx="1">
                  <c:v>985.7559</c:v>
                </c:pt>
                <c:pt idx="2">
                  <c:v>1073.7687</c:v>
                </c:pt>
                <c:pt idx="3">
                  <c:v>1052.1473</c:v>
                </c:pt>
                <c:pt idx="4">
                  <c:v>1051.6391</c:v>
                </c:pt>
                <c:pt idx="5">
                  <c:v>1061.0347</c:v>
                </c:pt>
                <c:pt idx="6">
                  <c:v>1000.8101</c:v>
                </c:pt>
                <c:pt idx="7">
                  <c:v>1026.5723</c:v>
                </c:pt>
                <c:pt idx="8">
                  <c:v>1021.3483</c:v>
                </c:pt>
                <c:pt idx="9">
                  <c:v>1023.2791</c:v>
                </c:pt>
                <c:pt idx="10">
                  <c:v>1001.9906</c:v>
                </c:pt>
                <c:pt idx="11">
                  <c:v>1049.3202</c:v>
                </c:pt>
                <c:pt idx="12">
                  <c:v>1089.3497</c:v>
                </c:pt>
                <c:pt idx="13">
                  <c:v>1059.3407</c:v>
                </c:pt>
                <c:pt idx="14">
                  <c:v>1065.6788</c:v>
                </c:pt>
                <c:pt idx="15">
                  <c:v>1110.0233</c:v>
                </c:pt>
                <c:pt idx="16">
                  <c:v>1099.2451</c:v>
                </c:pt>
                <c:pt idx="17">
                  <c:v>1135.1717</c:v>
                </c:pt>
                <c:pt idx="18">
                  <c:v>1185.2838</c:v>
                </c:pt>
                <c:pt idx="19">
                  <c:v>1114.0333</c:v>
                </c:pt>
                <c:pt idx="20">
                  <c:v>1143.6966</c:v>
                </c:pt>
                <c:pt idx="21">
                  <c:v>1203.4</c:v>
                </c:pt>
                <c:pt idx="22">
                  <c:v>1161.9277</c:v>
                </c:pt>
                <c:pt idx="23">
                  <c:v>1168.9114</c:v>
                </c:pt>
                <c:pt idx="24">
                  <c:v>1141.8333</c:v>
                </c:pt>
                <c:pt idx="25">
                  <c:v>1181.597</c:v>
                </c:pt>
                <c:pt idx="26">
                  <c:v>1195.9342</c:v>
                </c:pt>
                <c:pt idx="27">
                  <c:v>1159.5652</c:v>
                </c:pt>
                <c:pt idx="28">
                  <c:v>1106.3976</c:v>
                </c:pt>
                <c:pt idx="29">
                  <c:v>1072.2118</c:v>
                </c:pt>
                <c:pt idx="30">
                  <c:v>1132.0513</c:v>
                </c:pt>
                <c:pt idx="31">
                  <c:v>1039.7763</c:v>
                </c:pt>
                <c:pt idx="32">
                  <c:v>999.3291</c:v>
                </c:pt>
                <c:pt idx="33">
                  <c:v>849.5435</c:v>
                </c:pt>
                <c:pt idx="34">
                  <c:v>950.0763</c:v>
                </c:pt>
                <c:pt idx="35">
                  <c:v>1005.731</c:v>
                </c:pt>
                <c:pt idx="36">
                  <c:v>1031.0962</c:v>
                </c:pt>
                <c:pt idx="37">
                  <c:v>982.9063</c:v>
                </c:pt>
                <c:pt idx="38">
                  <c:v>1151.7215</c:v>
                </c:pt>
                <c:pt idx="39">
                  <c:v>1193.8382</c:v>
                </c:pt>
                <c:pt idx="40">
                  <c:v>1114.7423</c:v>
                </c:pt>
                <c:pt idx="41">
                  <c:v>1214.0213</c:v>
                </c:pt>
                <c:pt idx="42">
                  <c:v>1308.011</c:v>
                </c:pt>
                <c:pt idx="43">
                  <c:v>1300.8041</c:v>
                </c:pt>
                <c:pt idx="44">
                  <c:v>1306.2527</c:v>
                </c:pt>
                <c:pt idx="45">
                  <c:v>1256.6791</c:v>
                </c:pt>
                <c:pt idx="46">
                  <c:v>1214.4348</c:v>
                </c:pt>
                <c:pt idx="47">
                  <c:v>1227.7011</c:v>
                </c:pt>
                <c:pt idx="48">
                  <c:v>1187.276</c:v>
                </c:pt>
                <c:pt idx="49">
                  <c:v>1197.3836</c:v>
                </c:pt>
                <c:pt idx="50">
                  <c:v>1141.5</c:v>
                </c:pt>
                <c:pt idx="51">
                  <c:v>1245.2581</c:v>
                </c:pt>
                <c:pt idx="52">
                  <c:v>1224.4242</c:v>
                </c:pt>
                <c:pt idx="53">
                  <c:v>1287.6139</c:v>
                </c:pt>
                <c:pt idx="54">
                  <c:v>1259.6629</c:v>
                </c:pt>
                <c:pt idx="55">
                  <c:v>1306.3548</c:v>
                </c:pt>
                <c:pt idx="56">
                  <c:v>1279.537</c:v>
                </c:pt>
                <c:pt idx="57">
                  <c:v>1294.8654</c:v>
                </c:pt>
                <c:pt idx="58">
                  <c:v>1225.1818</c:v>
                </c:pt>
                <c:pt idx="59">
                  <c:v>1286.2246</c:v>
                </c:pt>
                <c:pt idx="60">
                  <c:v>1268.4897</c:v>
                </c:pt>
                <c:pt idx="61">
                  <c:v>1212.7013</c:v>
                </c:pt>
                <c:pt idx="62">
                  <c:v>1215.565</c:v>
                </c:pt>
                <c:pt idx="63">
                  <c:v>1301.9763</c:v>
                </c:pt>
                <c:pt idx="64">
                  <c:v>1244.9316</c:v>
                </c:pt>
                <c:pt idx="65">
                  <c:v>1261.6807</c:v>
                </c:pt>
                <c:pt idx="66">
                  <c:v>1206.5062</c:v>
                </c:pt>
                <c:pt idx="67">
                  <c:v>1185.844</c:v>
                </c:pt>
                <c:pt idx="68">
                  <c:v>1227.3034</c:v>
                </c:pt>
                <c:pt idx="69">
                  <c:v>1273.2234</c:v>
                </c:pt>
                <c:pt idx="70">
                  <c:v>1266.1023</c:v>
                </c:pt>
                <c:pt idx="71">
                  <c:v>1338.4384</c:v>
                </c:pt>
                <c:pt idx="72">
                  <c:v>1540.7231</c:v>
                </c:pt>
                <c:pt idx="73">
                  <c:v>1388.3784</c:v>
                </c:pt>
                <c:pt idx="74">
                  <c:v>1459.2877</c:v>
                </c:pt>
                <c:pt idx="75">
                  <c:v>1071.1605</c:v>
                </c:pt>
                <c:pt idx="76">
                  <c:v>1286.4048</c:v>
                </c:pt>
                <c:pt idx="77">
                  <c:v>1403.6667</c:v>
                </c:pt>
                <c:pt idx="78">
                  <c:v>1422.2206</c:v>
                </c:pt>
                <c:pt idx="79">
                  <c:v>1361.72</c:v>
                </c:pt>
                <c:pt idx="80">
                  <c:v>1391.459</c:v>
                </c:pt>
                <c:pt idx="81">
                  <c:v>1393.4494</c:v>
                </c:pt>
                <c:pt idx="82">
                  <c:v>1364.6486</c:v>
                </c:pt>
                <c:pt idx="83">
                  <c:v>1352.2182</c:v>
                </c:pt>
                <c:pt idx="84">
                  <c:v>1270.791</c:v>
                </c:pt>
                <c:pt idx="85">
                  <c:v>1358.125</c:v>
                </c:pt>
                <c:pt idx="86">
                  <c:v>1233.2903</c:v>
                </c:pt>
                <c:pt idx="87">
                  <c:v>1207.65</c:v>
                </c:pt>
                <c:pt idx="88">
                  <c:v>1381.0149</c:v>
                </c:pt>
                <c:pt idx="89">
                  <c:v>1203.6842</c:v>
                </c:pt>
                <c:pt idx="90">
                  <c:v>1315.9759</c:v>
                </c:pt>
                <c:pt idx="91">
                  <c:v>1259.6667</c:v>
                </c:pt>
                <c:pt idx="92">
                  <c:v>1379.6849</c:v>
                </c:pt>
                <c:pt idx="93">
                  <c:v>1485.2157</c:v>
                </c:pt>
                <c:pt idx="94">
                  <c:v>1414.68</c:v>
                </c:pt>
                <c:pt idx="95">
                  <c:v>1435.7624</c:v>
                </c:pt>
                <c:pt idx="96">
                  <c:v>1340.9565</c:v>
                </c:pt>
                <c:pt idx="97">
                  <c:v>1335.2661</c:v>
                </c:pt>
                <c:pt idx="98">
                  <c:v>1302.2357</c:v>
                </c:pt>
                <c:pt idx="99">
                  <c:v>1265.5104</c:v>
                </c:pt>
                <c:pt idx="100">
                  <c:v>1268.0071</c:v>
                </c:pt>
                <c:pt idx="101">
                  <c:v>1286.8844</c:v>
                </c:pt>
                <c:pt idx="102">
                  <c:v>1313.3333</c:v>
                </c:pt>
                <c:pt idx="103">
                  <c:v>1275.8235</c:v>
                </c:pt>
                <c:pt idx="104">
                  <c:v>1332.6328</c:v>
                </c:pt>
              </c:numCache>
            </c:numRef>
          </c:xVal>
          <c:yVal>
            <c:numRef>
              <c:f>Sheet1!$B$2:$B$106</c:f>
              <c:numCache>
                <c:formatCode>General</c:formatCode>
                <c:ptCount val="105"/>
                <c:pt idx="0">
                  <c:v>0.3250517598343685</c:v>
                </c:pt>
                <c:pt idx="1">
                  <c:v>0.3175</c:v>
                </c:pt>
                <c:pt idx="2">
                  <c:v>0.3145539906103286</c:v>
                </c:pt>
                <c:pt idx="3">
                  <c:v>0.3664772727272727</c:v>
                </c:pt>
                <c:pt idx="4">
                  <c:v>0.3575268817204301</c:v>
                </c:pt>
                <c:pt idx="5">
                  <c:v>0.3819628647214854</c:v>
                </c:pt>
                <c:pt idx="6">
                  <c:v>0.37089201877934275</c:v>
                </c:pt>
                <c:pt idx="7">
                  <c:v>0.36323851203501095</c:v>
                </c:pt>
                <c:pt idx="8">
                  <c:v>0.37083333333333335</c:v>
                </c:pt>
                <c:pt idx="9">
                  <c:v>0.36317567567567566</c:v>
                </c:pt>
                <c:pt idx="10">
                  <c:v>0.3509933774834437</c:v>
                </c:pt>
                <c:pt idx="11">
                  <c:v>0.3371212121212121</c:v>
                </c:pt>
                <c:pt idx="12">
                  <c:v>0.32620320855614976</c:v>
                </c:pt>
                <c:pt idx="13">
                  <c:v>0.3327239488117002</c:v>
                </c:pt>
                <c:pt idx="14">
                  <c:v>0.34303534303534305</c:v>
                </c:pt>
                <c:pt idx="15">
                  <c:v>0.32169576059850374</c:v>
                </c:pt>
                <c:pt idx="16">
                  <c:v>0.3434343434343434</c:v>
                </c:pt>
                <c:pt idx="17">
                  <c:v>0.34615384615384615</c:v>
                </c:pt>
                <c:pt idx="18">
                  <c:v>0.2924901185770751</c:v>
                </c:pt>
                <c:pt idx="19">
                  <c:v>0.32786885245901637</c:v>
                </c:pt>
                <c:pt idx="20">
                  <c:v>0.31785714285714284</c:v>
                </c:pt>
                <c:pt idx="21">
                  <c:v>0.35353535353535354</c:v>
                </c:pt>
                <c:pt idx="22">
                  <c:v>0.32806324110671936</c:v>
                </c:pt>
                <c:pt idx="23">
                  <c:v>0.35909090909090907</c:v>
                </c:pt>
                <c:pt idx="24">
                  <c:v>0.375</c:v>
                </c:pt>
                <c:pt idx="25">
                  <c:v>0.3175355450236967</c:v>
                </c:pt>
                <c:pt idx="26">
                  <c:v>0.40425531914893614</c:v>
                </c:pt>
                <c:pt idx="27">
                  <c:v>0.33495145631067963</c:v>
                </c:pt>
                <c:pt idx="28">
                  <c:v>0.4213197969543147</c:v>
                </c:pt>
                <c:pt idx="29">
                  <c:v>0.4146341463414634</c:v>
                </c:pt>
                <c:pt idx="30">
                  <c:v>0.37681159420289856</c:v>
                </c:pt>
                <c:pt idx="31">
                  <c:v>0.4198895027624309</c:v>
                </c:pt>
                <c:pt idx="32">
                  <c:v>0.395</c:v>
                </c:pt>
                <c:pt idx="33">
                  <c:v>0.4623115577889447</c:v>
                </c:pt>
                <c:pt idx="34">
                  <c:v>0.4119496855345912</c:v>
                </c:pt>
                <c:pt idx="35">
                  <c:v>0.36069651741293535</c:v>
                </c:pt>
                <c:pt idx="36">
                  <c:v>0.35986159169550175</c:v>
                </c:pt>
                <c:pt idx="37">
                  <c:v>0.3392226148409894</c:v>
                </c:pt>
                <c:pt idx="38">
                  <c:v>0.42021276595744683</c:v>
                </c:pt>
                <c:pt idx="39">
                  <c:v>0.40718562874251496</c:v>
                </c:pt>
                <c:pt idx="40">
                  <c:v>0.4024896265560166</c:v>
                </c:pt>
                <c:pt idx="41">
                  <c:v>0.4292237442922374</c:v>
                </c:pt>
                <c:pt idx="42">
                  <c:v>0.4155251141552511</c:v>
                </c:pt>
                <c:pt idx="43">
                  <c:v>0.41452991452991456</c:v>
                </c:pt>
                <c:pt idx="44">
                  <c:v>0.32971014492753625</c:v>
                </c:pt>
                <c:pt idx="45">
                  <c:v>0.32923832923832924</c:v>
                </c:pt>
                <c:pt idx="46">
                  <c:v>0.3102866779089376</c:v>
                </c:pt>
                <c:pt idx="47">
                  <c:v>0.33515482695810567</c:v>
                </c:pt>
                <c:pt idx="48">
                  <c:v>0.3310344827586207</c:v>
                </c:pt>
                <c:pt idx="49">
                  <c:v>0.27087198515769945</c:v>
                </c:pt>
                <c:pt idx="50">
                  <c:v>0.3267504488330341</c:v>
                </c:pt>
                <c:pt idx="51">
                  <c:v>0.2973621103117506</c:v>
                </c:pt>
                <c:pt idx="52">
                  <c:v>0.275</c:v>
                </c:pt>
                <c:pt idx="53">
                  <c:v>0.2927536231884058</c:v>
                </c:pt>
                <c:pt idx="54">
                  <c:v>0.2680722891566265</c:v>
                </c:pt>
                <c:pt idx="55">
                  <c:v>0.2735294117647059</c:v>
                </c:pt>
                <c:pt idx="56">
                  <c:v>0.2926829268292683</c:v>
                </c:pt>
                <c:pt idx="57">
                  <c:v>0.2803234501347709</c:v>
                </c:pt>
                <c:pt idx="58">
                  <c:v>0.31919642857142855</c:v>
                </c:pt>
                <c:pt idx="59">
                  <c:v>0.2980561555075594</c:v>
                </c:pt>
                <c:pt idx="60">
                  <c:v>0.28431372549019607</c:v>
                </c:pt>
                <c:pt idx="61">
                  <c:v>0.28</c:v>
                </c:pt>
                <c:pt idx="62">
                  <c:v>0.3007518796992481</c:v>
                </c:pt>
                <c:pt idx="63">
                  <c:v>0.23119015047879618</c:v>
                </c:pt>
                <c:pt idx="64">
                  <c:v>0.23869346733668342</c:v>
                </c:pt>
                <c:pt idx="65">
                  <c:v>0.24233576642335766</c:v>
                </c:pt>
                <c:pt idx="66">
                  <c:v>0.25391849529780564</c:v>
                </c:pt>
                <c:pt idx="67">
                  <c:v>0.28716904276985744</c:v>
                </c:pt>
                <c:pt idx="68">
                  <c:v>0.25722543352601157</c:v>
                </c:pt>
                <c:pt idx="69">
                  <c:v>0.27405247813411077</c:v>
                </c:pt>
                <c:pt idx="70">
                  <c:v>0.292358803986711</c:v>
                </c:pt>
                <c:pt idx="71">
                  <c:v>0.28515625</c:v>
                </c:pt>
                <c:pt idx="72">
                  <c:v>0.25193798449612403</c:v>
                </c:pt>
                <c:pt idx="73">
                  <c:v>0.2868217054263566</c:v>
                </c:pt>
                <c:pt idx="74">
                  <c:v>0.24414715719063546</c:v>
                </c:pt>
                <c:pt idx="75">
                  <c:v>0.35526315789473684</c:v>
                </c:pt>
                <c:pt idx="76">
                  <c:v>0.3574468085106383</c:v>
                </c:pt>
                <c:pt idx="77">
                  <c:v>0.3221476510067114</c:v>
                </c:pt>
                <c:pt idx="78">
                  <c:v>0.37988826815642457</c:v>
                </c:pt>
                <c:pt idx="79">
                  <c:v>0.3694581280788177</c:v>
                </c:pt>
                <c:pt idx="80">
                  <c:v>0.33516483516483514</c:v>
                </c:pt>
                <c:pt idx="81">
                  <c:v>0.35039370078740156</c:v>
                </c:pt>
                <c:pt idx="82">
                  <c:v>0.37373737373737376</c:v>
                </c:pt>
                <c:pt idx="83">
                  <c:v>0.36666666666666664</c:v>
                </c:pt>
                <c:pt idx="84">
                  <c:v>0.39644970414201186</c:v>
                </c:pt>
                <c:pt idx="85">
                  <c:v>0.35555555555555557</c:v>
                </c:pt>
                <c:pt idx="86">
                  <c:v>0.38589211618257263</c:v>
                </c:pt>
                <c:pt idx="87">
                  <c:v>0.39344262295081966</c:v>
                </c:pt>
                <c:pt idx="88">
                  <c:v>0.40119760479041916</c:v>
                </c:pt>
                <c:pt idx="89">
                  <c:v>0.4523809523809524</c:v>
                </c:pt>
                <c:pt idx="90">
                  <c:v>0.4853801169590643</c:v>
                </c:pt>
                <c:pt idx="91">
                  <c:v>0.43795620437956206</c:v>
                </c:pt>
                <c:pt idx="92">
                  <c:v>0.4124293785310734</c:v>
                </c:pt>
                <c:pt idx="93">
                  <c:v>0.3227848101265823</c:v>
                </c:pt>
                <c:pt idx="94">
                  <c:v>0.42134831460674155</c:v>
                </c:pt>
                <c:pt idx="95">
                  <c:v>0.33554817275747506</c:v>
                </c:pt>
                <c:pt idx="96">
                  <c:v>0.33212996389891697</c:v>
                </c:pt>
                <c:pt idx="97">
                  <c:v>0.31054131054131057</c:v>
                </c:pt>
                <c:pt idx="98">
                  <c:v>0.319634703196347</c:v>
                </c:pt>
                <c:pt idx="99">
                  <c:v>0.3047619047619048</c:v>
                </c:pt>
                <c:pt idx="100">
                  <c:v>0.3051948051948052</c:v>
                </c:pt>
                <c:pt idx="101">
                  <c:v>0.3425742574257426</c:v>
                </c:pt>
                <c:pt idx="102">
                  <c:v>0.3314447592067989</c:v>
                </c:pt>
                <c:pt idx="103">
                  <c:v>0.3460559796437659</c:v>
                </c:pt>
                <c:pt idx="104">
                  <c:v>0.3565459610027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5.3468</c:v>
                </c:pt>
                <c:pt idx="1">
                  <c:v>1357.4948</c:v>
                </c:pt>
                <c:pt idx="2">
                  <c:v>1468.6126</c:v>
                </c:pt>
                <c:pt idx="3">
                  <c:v>1523.1583</c:v>
                </c:pt>
                <c:pt idx="4">
                  <c:v>1538.1557</c:v>
                </c:pt>
                <c:pt idx="5">
                  <c:v>1532.1491</c:v>
                </c:pt>
                <c:pt idx="6">
                  <c:v>1388.5035</c:v>
                </c:pt>
                <c:pt idx="7">
                  <c:v>1334.8727</c:v>
                </c:pt>
                <c:pt idx="8">
                  <c:v>1406.6821</c:v>
                </c:pt>
                <c:pt idx="9">
                  <c:v>1416.4022</c:v>
                </c:pt>
                <c:pt idx="10">
                  <c:v>1401.3918</c:v>
                </c:pt>
                <c:pt idx="11">
                  <c:v>1333.8969</c:v>
                </c:pt>
                <c:pt idx="12">
                  <c:v>1401.9725</c:v>
                </c:pt>
                <c:pt idx="13">
                  <c:v>1387.1024</c:v>
                </c:pt>
                <c:pt idx="14">
                  <c:v>1360.9205</c:v>
                </c:pt>
                <c:pt idx="15">
                  <c:v>1375.2793</c:v>
                </c:pt>
                <c:pt idx="16">
                  <c:v>1448.6966</c:v>
                </c:pt>
                <c:pt idx="17">
                  <c:v>1399.8723</c:v>
                </c:pt>
                <c:pt idx="18">
                  <c:v>1468.1351</c:v>
                </c:pt>
                <c:pt idx="19">
                  <c:v>1512.0</c:v>
                </c:pt>
                <c:pt idx="20">
                  <c:v>1574.7593</c:v>
                </c:pt>
                <c:pt idx="21">
                  <c:v>1322.8026</c:v>
                </c:pt>
                <c:pt idx="22">
                  <c:v>1541.7937</c:v>
                </c:pt>
                <c:pt idx="23">
                  <c:v>1502.0115</c:v>
                </c:pt>
                <c:pt idx="24">
                  <c:v>1610.3333</c:v>
                </c:pt>
                <c:pt idx="25">
                  <c:v>1526.55</c:v>
                </c:pt>
                <c:pt idx="26">
                  <c:v>1512.6667</c:v>
                </c:pt>
                <c:pt idx="27">
                  <c:v>1501.5616</c:v>
                </c:pt>
                <c:pt idx="28">
                  <c:v>1630.4038</c:v>
                </c:pt>
                <c:pt idx="29">
                  <c:v>1610.9859</c:v>
                </c:pt>
                <c:pt idx="30">
                  <c:v>1592.5147</c:v>
                </c:pt>
                <c:pt idx="31">
                  <c:v>1573.4186</c:v>
                </c:pt>
                <c:pt idx="32">
                  <c:v>1477.7037</c:v>
                </c:pt>
                <c:pt idx="33">
                  <c:v>1556.3836</c:v>
                </c:pt>
                <c:pt idx="34">
                  <c:v>1570.2951</c:v>
                </c:pt>
                <c:pt idx="35">
                  <c:v>1584.7312</c:v>
                </c:pt>
                <c:pt idx="36">
                  <c:v>1548.7231</c:v>
                </c:pt>
                <c:pt idx="37">
                  <c:v>1472.8983</c:v>
                </c:pt>
                <c:pt idx="38">
                  <c:v>1518.2459</c:v>
                </c:pt>
                <c:pt idx="39">
                  <c:v>1502.1765</c:v>
                </c:pt>
                <c:pt idx="40">
                  <c:v>1509.8353</c:v>
                </c:pt>
                <c:pt idx="41">
                  <c:v>1616.6739</c:v>
                </c:pt>
                <c:pt idx="42">
                  <c:v>1572.4268</c:v>
                </c:pt>
                <c:pt idx="43">
                  <c:v>1573.961</c:v>
                </c:pt>
                <c:pt idx="44">
                  <c:v>1464.6667</c:v>
                </c:pt>
                <c:pt idx="45">
                  <c:v>1463.5649</c:v>
                </c:pt>
                <c:pt idx="46">
                  <c:v>1401.7222</c:v>
                </c:pt>
                <c:pt idx="47">
                  <c:v>1414.1513</c:v>
                </c:pt>
                <c:pt idx="48">
                  <c:v>1452.8582</c:v>
                </c:pt>
                <c:pt idx="49">
                  <c:v>1460.9801</c:v>
                </c:pt>
                <c:pt idx="50">
                  <c:v>1435.3807</c:v>
                </c:pt>
                <c:pt idx="51">
                  <c:v>1375.7317</c:v>
                </c:pt>
              </c:numCache>
            </c:numRef>
          </c:xVal>
          <c:yVal>
            <c:numRef>
              <c:f>Sheet1!$B$109:$B$160</c:f>
              <c:numCache>
                <c:formatCode>General</c:formatCode>
                <c:ptCount val="52"/>
                <c:pt idx="0">
                  <c:v>0.34831460674157305</c:v>
                </c:pt>
                <c:pt idx="1">
                  <c:v>0.32441471571906355</c:v>
                </c:pt>
                <c:pt idx="2">
                  <c:v>0.31896551724137934</c:v>
                </c:pt>
                <c:pt idx="3">
                  <c:v>0.297029702970297</c:v>
                </c:pt>
                <c:pt idx="4">
                  <c:v>0.3128205128205128</c:v>
                </c:pt>
                <c:pt idx="5">
                  <c:v>0.30978260869565216</c:v>
                </c:pt>
                <c:pt idx="6">
                  <c:v>0.3219178082191781</c:v>
                </c:pt>
                <c:pt idx="7">
                  <c:v>0.3235294117647059</c:v>
                </c:pt>
                <c:pt idx="8">
                  <c:v>0.296078431372549</c:v>
                </c:pt>
                <c:pt idx="9">
                  <c:v>0.2944078947368421</c:v>
                </c:pt>
                <c:pt idx="10">
                  <c:v>0.30590339892665475</c:v>
                </c:pt>
                <c:pt idx="11">
                  <c:v>0.2823871906841339</c:v>
                </c:pt>
                <c:pt idx="12">
                  <c:v>0.2676470588235294</c:v>
                </c:pt>
                <c:pt idx="13">
                  <c:v>0.31086142322097376</c:v>
                </c:pt>
                <c:pt idx="14">
                  <c:v>0.31524008350730687</c:v>
                </c:pt>
                <c:pt idx="15">
                  <c:v>0.2860824742268041</c:v>
                </c:pt>
                <c:pt idx="16">
                  <c:v>0.2976588628762542</c:v>
                </c:pt>
                <c:pt idx="17">
                  <c:v>0.3298245614035088</c:v>
                </c:pt>
                <c:pt idx="18">
                  <c:v>0.2824427480916031</c:v>
                </c:pt>
                <c:pt idx="19">
                  <c:v>0.3248730964467005</c:v>
                </c:pt>
                <c:pt idx="20">
                  <c:v>0.34394904458598724</c:v>
                </c:pt>
                <c:pt idx="21">
                  <c:v>0.4</c:v>
                </c:pt>
                <c:pt idx="22">
                  <c:v>0.2703862660944206</c:v>
                </c:pt>
                <c:pt idx="23">
                  <c:v>0.31636363636363635</c:v>
                </c:pt>
                <c:pt idx="24">
                  <c:v>0.2816326530612245</c:v>
                </c:pt>
                <c:pt idx="25">
                  <c:v>0.3389830508474576</c:v>
                </c:pt>
                <c:pt idx="26">
                  <c:v>0.3694581280788177</c:v>
                </c:pt>
                <c:pt idx="27">
                  <c:v>0.37823834196891193</c:v>
                </c:pt>
                <c:pt idx="28">
                  <c:v>0.2988505747126437</c:v>
                </c:pt>
                <c:pt idx="29">
                  <c:v>0.39226519337016574</c:v>
                </c:pt>
                <c:pt idx="30">
                  <c:v>0.4146341463414634</c:v>
                </c:pt>
                <c:pt idx="31">
                  <c:v>0.3644067796610169</c:v>
                </c:pt>
                <c:pt idx="32">
                  <c:v>0.36486486486486486</c:v>
                </c:pt>
                <c:pt idx="33">
                  <c:v>0.31877729257641924</c:v>
                </c:pt>
                <c:pt idx="34">
                  <c:v>0.34173669467787116</c:v>
                </c:pt>
                <c:pt idx="35">
                  <c:v>0.34065934065934067</c:v>
                </c:pt>
                <c:pt idx="36">
                  <c:v>0.3693181818181818</c:v>
                </c:pt>
                <c:pt idx="37">
                  <c:v>0.37341772151898733</c:v>
                </c:pt>
                <c:pt idx="38">
                  <c:v>0.40131578947368424</c:v>
                </c:pt>
                <c:pt idx="39">
                  <c:v>0.3469387755102041</c:v>
                </c:pt>
                <c:pt idx="40">
                  <c:v>0.3617021276595745</c:v>
                </c:pt>
                <c:pt idx="41">
                  <c:v>0.40707964601769914</c:v>
                </c:pt>
                <c:pt idx="42">
                  <c:v>0.3886255924170616</c:v>
                </c:pt>
                <c:pt idx="43">
                  <c:v>0.326271186440678</c:v>
                </c:pt>
                <c:pt idx="44">
                  <c:v>0.3448275862068966</c:v>
                </c:pt>
                <c:pt idx="45">
                  <c:v>0.3732193732193732</c:v>
                </c:pt>
                <c:pt idx="46">
                  <c:v>0.34615384615384615</c:v>
                </c:pt>
                <c:pt idx="47">
                  <c:v>0.35185185185185186</c:v>
                </c:pt>
                <c:pt idx="48">
                  <c:v>0.33668341708542715</c:v>
                </c:pt>
                <c:pt idx="49">
                  <c:v>0.3158995815899582</c:v>
                </c:pt>
                <c:pt idx="50">
                  <c:v>0.2665036674816626</c:v>
                </c:pt>
                <c:pt idx="51">
                  <c:v>0.3351498637602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953.726175834656</c:v>
                </c:pt>
              </c:numCache>
            </c:numRef>
          </c:xVal>
          <c:yVal>
            <c:numRef>
              <c:f>Sheet1!$B$163:$B$164</c:f>
              <c:numCache>
                <c:formatCode>General</c:formatCode>
                <c:ptCount val="2"/>
                <c:pt idx="0">
                  <c:v>0.38621636571273726</c:v>
                </c:pt>
                <c:pt idx="1">
                  <c:v>0.386216365712737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953.726175834656</c:v>
                </c:pt>
                <c:pt idx="1">
                  <c:v>1953.726175834656</c:v>
                </c:pt>
              </c:numCache>
            </c:numRef>
          </c:xVal>
          <c:yVal>
            <c:numRef>
              <c:f>Sheet1!$B$167:$B$168</c:f>
              <c:numCache>
                <c:formatCode>General</c:formatCode>
                <c:ptCount val="2"/>
                <c:pt idx="0">
                  <c:v>0.386216365712737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753.0748858763468</c:v>
                </c:pt>
              </c:numCache>
            </c:numRef>
          </c:xVal>
          <c:yVal>
            <c:numRef>
              <c:f>Sheet1!$B$171:$B$172</c:f>
              <c:numCache>
                <c:formatCode>General</c:formatCode>
                <c:ptCount val="2"/>
                <c:pt idx="0">
                  <c:v>0.36395238607287533</c:v>
                </c:pt>
                <c:pt idx="1">
                  <c:v>0.3639523860728753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753.0748858763468</c:v>
                </c:pt>
                <c:pt idx="1">
                  <c:v>1753.0748858763468</c:v>
                </c:pt>
              </c:numCache>
            </c:numRef>
          </c:xVal>
          <c:yVal>
            <c:numRef>
              <c:f>Sheet1!$B$175:$B$176</c:f>
              <c:numCache>
                <c:formatCode>General</c:formatCode>
                <c:ptCount val="2"/>
                <c:pt idx="0">
                  <c:v>0.363952386072875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593.2962548649502</c:v>
                </c:pt>
              </c:numCache>
            </c:numRef>
          </c:xVal>
          <c:yVal>
            <c:numRef>
              <c:f>Sheet1!$B$179:$B$180</c:f>
              <c:numCache>
                <c:formatCode>General</c:formatCode>
                <c:ptCount val="2"/>
                <c:pt idx="0">
                  <c:v>0.34622357810726556</c:v>
                </c:pt>
                <c:pt idx="1">
                  <c:v>0.346223578107265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593.2962548649502</c:v>
                </c:pt>
                <c:pt idx="1">
                  <c:v>1593.2962548649502</c:v>
                </c:pt>
              </c:numCache>
            </c:numRef>
          </c:xVal>
          <c:yVal>
            <c:numRef>
              <c:f>Sheet1!$B$183:$B$184</c:f>
              <c:numCache>
                <c:formatCode>General</c:formatCode>
                <c:ptCount val="2"/>
                <c:pt idx="0">
                  <c:v>0.346223578107265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5.3468</c:v>
                </c:pt>
                <c:pt idx="1">
                  <c:v>1357.4948</c:v>
                </c:pt>
                <c:pt idx="2">
                  <c:v>1468.6126</c:v>
                </c:pt>
                <c:pt idx="3">
                  <c:v>1523.1583</c:v>
                </c:pt>
                <c:pt idx="4">
                  <c:v>1538.1557</c:v>
                </c:pt>
                <c:pt idx="5">
                  <c:v>1532.1491</c:v>
                </c:pt>
                <c:pt idx="6">
                  <c:v>1388.5035</c:v>
                </c:pt>
                <c:pt idx="7">
                  <c:v>1334.8727</c:v>
                </c:pt>
                <c:pt idx="8">
                  <c:v>1406.6821</c:v>
                </c:pt>
                <c:pt idx="9">
                  <c:v>1416.4022</c:v>
                </c:pt>
                <c:pt idx="10">
                  <c:v>1401.3918</c:v>
                </c:pt>
                <c:pt idx="11">
                  <c:v>1333.8969</c:v>
                </c:pt>
                <c:pt idx="12">
                  <c:v>1401.9725</c:v>
                </c:pt>
                <c:pt idx="13">
                  <c:v>1387.1024</c:v>
                </c:pt>
                <c:pt idx="14">
                  <c:v>1360.9205</c:v>
                </c:pt>
                <c:pt idx="15">
                  <c:v>1375.2793</c:v>
                </c:pt>
                <c:pt idx="16">
                  <c:v>1448.6966</c:v>
                </c:pt>
                <c:pt idx="17">
                  <c:v>1399.8723</c:v>
                </c:pt>
                <c:pt idx="18">
                  <c:v>1468.1351</c:v>
                </c:pt>
                <c:pt idx="19">
                  <c:v>1512.0</c:v>
                </c:pt>
                <c:pt idx="20">
                  <c:v>1574.7593</c:v>
                </c:pt>
                <c:pt idx="21">
                  <c:v>1322.8026</c:v>
                </c:pt>
                <c:pt idx="22">
                  <c:v>1541.7937</c:v>
                </c:pt>
                <c:pt idx="23">
                  <c:v>1502.0115</c:v>
                </c:pt>
                <c:pt idx="24">
                  <c:v>1610.3333</c:v>
                </c:pt>
                <c:pt idx="25">
                  <c:v>1526.55</c:v>
                </c:pt>
                <c:pt idx="26">
                  <c:v>1512.6667</c:v>
                </c:pt>
                <c:pt idx="27">
                  <c:v>1501.5616</c:v>
                </c:pt>
                <c:pt idx="28">
                  <c:v>1630.4038</c:v>
                </c:pt>
                <c:pt idx="29">
                  <c:v>1610.9859</c:v>
                </c:pt>
                <c:pt idx="30">
                  <c:v>1592.5147</c:v>
                </c:pt>
                <c:pt idx="31">
                  <c:v>1573.4186</c:v>
                </c:pt>
                <c:pt idx="32">
                  <c:v>1477.7037</c:v>
                </c:pt>
                <c:pt idx="33">
                  <c:v>1556.3836</c:v>
                </c:pt>
                <c:pt idx="34">
                  <c:v>1570.2951</c:v>
                </c:pt>
                <c:pt idx="35">
                  <c:v>1584.7312</c:v>
                </c:pt>
                <c:pt idx="36">
                  <c:v>1548.7231</c:v>
                </c:pt>
                <c:pt idx="37">
                  <c:v>1472.8983</c:v>
                </c:pt>
                <c:pt idx="38">
                  <c:v>1518.2459</c:v>
                </c:pt>
                <c:pt idx="39">
                  <c:v>1502.1765</c:v>
                </c:pt>
                <c:pt idx="40">
                  <c:v>1509.8353</c:v>
                </c:pt>
                <c:pt idx="41">
                  <c:v>1616.6739</c:v>
                </c:pt>
                <c:pt idx="42">
                  <c:v>1572.4268</c:v>
                </c:pt>
                <c:pt idx="43">
                  <c:v>1573.961</c:v>
                </c:pt>
                <c:pt idx="44">
                  <c:v>1464.6667</c:v>
                </c:pt>
                <c:pt idx="45">
                  <c:v>1463.5649</c:v>
                </c:pt>
                <c:pt idx="46">
                  <c:v>1401.7222</c:v>
                </c:pt>
                <c:pt idx="47">
                  <c:v>1414.1513</c:v>
                </c:pt>
                <c:pt idx="48">
                  <c:v>1452.8582</c:v>
                </c:pt>
                <c:pt idx="49">
                  <c:v>1460.9801</c:v>
                </c:pt>
                <c:pt idx="50">
                  <c:v>1435.3807</c:v>
                </c:pt>
                <c:pt idx="51">
                  <c:v>1375.7317</c:v>
                </c:pt>
                <c:pt idx="52">
                  <c:v>1753.0748858763468</c:v>
                </c:pt>
                <c:pt idx="53">
                  <c:v>1953.726175834656</c:v>
                </c:pt>
                <c:pt idx="54">
                  <c:v>1593.2962548649502</c:v>
                </c:pt>
              </c:numCache>
            </c:numRef>
          </c:xVal>
          <c:yVal>
            <c:numRef>
              <c:f>Sheet1!$B$187:$B$241</c:f>
              <c:numCache>
                <c:formatCode>General</c:formatCode>
                <c:ptCount val="55"/>
                <c:pt idx="0">
                  <c:v>0.3087251908106824</c:v>
                </c:pt>
                <c:pt idx="1">
                  <c:v>0.3200593865326493</c:v>
                </c:pt>
                <c:pt idx="2">
                  <c:v>0.3323888584106536</c:v>
                </c:pt>
                <c:pt idx="3">
                  <c:v>0.33844117112937244</c:v>
                </c:pt>
                <c:pt idx="4">
                  <c:v>0.34010526114504214</c:v>
                </c:pt>
                <c:pt idx="5">
                  <c:v>0.33943877741532086</c:v>
                </c:pt>
                <c:pt idx="6">
                  <c:v>0.32350006745526905</c:v>
                </c:pt>
                <c:pt idx="7">
                  <c:v>0.31754927072967803</c:v>
                </c:pt>
                <c:pt idx="8">
                  <c:v>0.3255171388649035</c:v>
                </c:pt>
                <c:pt idx="9">
                  <c:v>0.3265956672339082</c:v>
                </c:pt>
                <c:pt idx="10">
                  <c:v>0.324930134756865</c:v>
                </c:pt>
                <c:pt idx="11">
                  <c:v>0.3174409973598079</c:v>
                </c:pt>
                <c:pt idx="12">
                  <c:v>0.3249945683968359</c:v>
                </c:pt>
                <c:pt idx="13">
                  <c:v>0.3233446034067703</c:v>
                </c:pt>
                <c:pt idx="14">
                  <c:v>0.3204394972962936</c:v>
                </c:pt>
                <c:pt idx="15">
                  <c:v>0.32203272917095177</c:v>
                </c:pt>
                <c:pt idx="16">
                  <c:v>0.3301790075863722</c:v>
                </c:pt>
                <c:pt idx="17">
                  <c:v>0.32476153321401025</c:v>
                </c:pt>
                <c:pt idx="18">
                  <c:v>0.3323358756948174</c:v>
                </c:pt>
                <c:pt idx="19">
                  <c:v>0.337203062149026</c:v>
                </c:pt>
                <c:pt idx="20">
                  <c:v>0.3441667441552683</c:v>
                </c:pt>
                <c:pt idx="21">
                  <c:v>0.31620998972776204</c:v>
                </c:pt>
                <c:pt idx="22">
                  <c:v>0.34050892841250224</c:v>
                </c:pt>
                <c:pt idx="23">
                  <c:v>0.33609475250058585</c:v>
                </c:pt>
                <c:pt idx="24">
                  <c:v>0.3481139842247093</c:v>
                </c:pt>
                <c:pt idx="25">
                  <c:v>0.33881750930173204</c:v>
                </c:pt>
                <c:pt idx="26">
                  <c:v>0.3372770382257758</c:v>
                </c:pt>
                <c:pt idx="27">
                  <c:v>0.33604483224120424</c:v>
                </c:pt>
                <c:pt idx="28">
                  <c:v>0.35034097814762244</c:v>
                </c:pt>
                <c:pt idx="29">
                  <c:v>0.3481863957856616</c:v>
                </c:pt>
                <c:pt idx="30">
                  <c:v>0.3461368578992654</c:v>
                </c:pt>
                <c:pt idx="31">
                  <c:v>0.3440179820042283</c:v>
                </c:pt>
                <c:pt idx="32">
                  <c:v>0.3333975938408918</c:v>
                </c:pt>
                <c:pt idx="33">
                  <c:v>0.34212780281203936</c:v>
                </c:pt>
                <c:pt idx="34">
                  <c:v>0.34367140291959064</c:v>
                </c:pt>
                <c:pt idx="35">
                  <c:v>0.34527321189149307</c:v>
                </c:pt>
                <c:pt idx="36">
                  <c:v>0.3412778047080322</c:v>
                </c:pt>
                <c:pt idx="37">
                  <c:v>0.33286439354208675</c:v>
                </c:pt>
                <c:pt idx="38">
                  <c:v>0.33789609826387734</c:v>
                </c:pt>
                <c:pt idx="39">
                  <c:v>0.33611306066417324</c:v>
                </c:pt>
                <c:pt idx="40">
                  <c:v>0.3369628701386162</c:v>
                </c:pt>
                <c:pt idx="41">
                  <c:v>0.3488175281158741</c:v>
                </c:pt>
                <c:pt idx="42">
                  <c:v>0.343907933297283</c:v>
                </c:pt>
                <c:pt idx="43">
                  <c:v>0.34407816593107554</c:v>
                </c:pt>
                <c:pt idx="44">
                  <c:v>0.3319510270003537</c:v>
                </c:pt>
                <c:pt idx="45">
                  <c:v>0.33182877285101686</c:v>
                </c:pt>
                <c:pt idx="46">
                  <c:v>0.32496679546746665</c:v>
                </c:pt>
                <c:pt idx="47">
                  <c:v>0.32634591059500606</c:v>
                </c:pt>
                <c:pt idx="48">
                  <c:v>0.3306407727596163</c:v>
                </c:pt>
                <c:pt idx="49">
                  <c:v>0.33154196714652784</c:v>
                </c:pt>
                <c:pt idx="50">
                  <c:v>0.3287014944014431</c:v>
                </c:pt>
                <c:pt idx="51">
                  <c:v>0.32208292682675144</c:v>
                </c:pt>
                <c:pt idx="52">
                  <c:v>0.36395238607287533</c:v>
                </c:pt>
                <c:pt idx="53">
                  <c:v>0.38621636571273726</c:v>
                </c:pt>
                <c:pt idx="54">
                  <c:v>0.346223578107265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44.0"/>
          <c:min val="6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24561403508771"/>
          <c:min val="0.1849521203830369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1</c:f>
              <c:numCache>
                <c:formatCode>General</c:formatCode>
                <c:ptCount val="120"/>
                <c:pt idx="0">
                  <c:v>0.0</c:v>
                </c:pt>
                <c:pt idx="1">
                  <c:v>0.0</c:v>
                </c:pt>
                <c:pt idx="2">
                  <c:v>0.17721879848159763</c:v>
                </c:pt>
                <c:pt idx="3">
                  <c:v>0.0</c:v>
                </c:pt>
                <c:pt idx="4">
                  <c:v>0.20119362923282955</c:v>
                </c:pt>
                <c:pt idx="5">
                  <c:v>0.16417061736035896</c:v>
                </c:pt>
                <c:pt idx="6">
                  <c:v>0.0</c:v>
                </c:pt>
                <c:pt idx="7">
                  <c:v>0.27455798341802623</c:v>
                </c:pt>
                <c:pt idx="8">
                  <c:v>0.0</c:v>
                </c:pt>
                <c:pt idx="9">
                  <c:v>0.19854076445479238</c:v>
                </c:pt>
                <c:pt idx="10">
                  <c:v>0.3420930693069307</c:v>
                </c:pt>
                <c:pt idx="11">
                  <c:v>0.2764278714436249</c:v>
                </c:pt>
                <c:pt idx="12">
                  <c:v>0.3015918327796235</c:v>
                </c:pt>
                <c:pt idx="13">
                  <c:v>0.0</c:v>
                </c:pt>
                <c:pt idx="14">
                  <c:v>0.1838328100741763</c:v>
                </c:pt>
                <c:pt idx="15">
                  <c:v>0.3432354050711194</c:v>
                </c:pt>
                <c:pt idx="16">
                  <c:v>0.0</c:v>
                </c:pt>
                <c:pt idx="17">
                  <c:v>0.20438813467770978</c:v>
                </c:pt>
                <c:pt idx="18">
                  <c:v>0.27928459000942507</c:v>
                </c:pt>
                <c:pt idx="19">
                  <c:v>0.0</c:v>
                </c:pt>
                <c:pt idx="20">
                  <c:v>0.2632819060773481</c:v>
                </c:pt>
                <c:pt idx="21">
                  <c:v>0.38385964912280707</c:v>
                </c:pt>
                <c:pt idx="22">
                  <c:v>0.0</c:v>
                </c:pt>
                <c:pt idx="23">
                  <c:v>0.30448330294347487</c:v>
                </c:pt>
                <c:pt idx="24">
                  <c:v>0.0</c:v>
                </c:pt>
                <c:pt idx="25">
                  <c:v>0.29997385123127696</c:v>
                </c:pt>
                <c:pt idx="26">
                  <c:v>0.39482806206668863</c:v>
                </c:pt>
                <c:pt idx="27">
                  <c:v>0.1793881806930693</c:v>
                </c:pt>
                <c:pt idx="28">
                  <c:v>0.0</c:v>
                </c:pt>
                <c:pt idx="29">
                  <c:v>0.0</c:v>
                </c:pt>
                <c:pt idx="30">
                  <c:v>0.0</c:v>
                </c:pt>
                <c:pt idx="31">
                  <c:v>0.0</c:v>
                </c:pt>
                <c:pt idx="32">
                  <c:v>0.0</c:v>
                </c:pt>
                <c:pt idx="33">
                  <c:v>0.0</c:v>
                </c:pt>
                <c:pt idx="34">
                  <c:v>0.0</c:v>
                </c:pt>
                <c:pt idx="35">
                  <c:v>0.1844024569123579</c:v>
                </c:pt>
                <c:pt idx="36">
                  <c:v>0.0</c:v>
                </c:pt>
                <c:pt idx="37">
                  <c:v>0.0</c:v>
                </c:pt>
                <c:pt idx="38">
                  <c:v>0.0</c:v>
                </c:pt>
                <c:pt idx="39">
                  <c:v>0.0</c:v>
                </c:pt>
                <c:pt idx="40">
                  <c:v>0.3195935493119266</c:v>
                </c:pt>
                <c:pt idx="41">
                  <c:v>0.400667095709571</c:v>
                </c:pt>
                <c:pt idx="42">
                  <c:v>0.0</c:v>
                </c:pt>
                <c:pt idx="43">
                  <c:v>0.3388393071112269</c:v>
                </c:pt>
                <c:pt idx="44">
                  <c:v>0.0</c:v>
                </c:pt>
                <c:pt idx="45">
                  <c:v>0.2604516269430052</c:v>
                </c:pt>
                <c:pt idx="46">
                  <c:v>0.4177622291021672</c:v>
                </c:pt>
                <c:pt idx="47">
                  <c:v>0.2762603735373537</c:v>
                </c:pt>
                <c:pt idx="48">
                  <c:v>0.4196804524566985</c:v>
                </c:pt>
                <c:pt idx="49">
                  <c:v>0.22410323788134004</c:v>
                </c:pt>
                <c:pt idx="50">
                  <c:v>0.0</c:v>
                </c:pt>
                <c:pt idx="51">
                  <c:v>0.0</c:v>
                </c:pt>
                <c:pt idx="52">
                  <c:v>0.0</c:v>
                </c:pt>
                <c:pt idx="53">
                  <c:v>0.0</c:v>
                </c:pt>
                <c:pt idx="54">
                  <c:v>0.0</c:v>
                </c:pt>
                <c:pt idx="55">
                  <c:v>0.29589010192525483</c:v>
                </c:pt>
                <c:pt idx="56">
                  <c:v>0.0</c:v>
                </c:pt>
                <c:pt idx="57">
                  <c:v>0.2273688147497805</c:v>
                </c:pt>
                <c:pt idx="58">
                  <c:v>0.19754624314737182</c:v>
                </c:pt>
                <c:pt idx="59">
                  <c:v>0.3261218559837728</c:v>
                </c:pt>
                <c:pt idx="60">
                  <c:v>0.3388512621877922</c:v>
                </c:pt>
                <c:pt idx="61">
                  <c:v>0.24718738279657562</c:v>
                </c:pt>
                <c:pt idx="62">
                  <c:v>0.2936501992994323</c:v>
                </c:pt>
                <c:pt idx="63">
                  <c:v>0.0</c:v>
                </c:pt>
                <c:pt idx="64">
                  <c:v>0.19307251861042182</c:v>
                </c:pt>
                <c:pt idx="65">
                  <c:v>0.33106289687745993</c:v>
                </c:pt>
                <c:pt idx="66">
                  <c:v>0.23336676982591878</c:v>
                </c:pt>
                <c:pt idx="67">
                  <c:v>0.30181827437006875</c:v>
                </c:pt>
                <c:pt idx="68">
                  <c:v>0.3912347465731591</c:v>
                </c:pt>
                <c:pt idx="69">
                  <c:v>0.29148887362637366</c:v>
                </c:pt>
                <c:pt idx="70">
                  <c:v>0.1662860914105595</c:v>
                </c:pt>
                <c:pt idx="71">
                  <c:v>0.2939039086517347</c:v>
                </c:pt>
                <c:pt idx="72">
                  <c:v>0.24983348467650396</c:v>
                </c:pt>
                <c:pt idx="73">
                  <c:v>0.4498957874270901</c:v>
                </c:pt>
                <c:pt idx="74">
                  <c:v>0.21517070185785905</c:v>
                </c:pt>
                <c:pt idx="75">
                  <c:v>0.3031014431239389</c:v>
                </c:pt>
                <c:pt idx="76">
                  <c:v>0.2874005361930295</c:v>
                </c:pt>
                <c:pt idx="77">
                  <c:v>0.3298864159811986</c:v>
                </c:pt>
                <c:pt idx="78">
                  <c:v>0.3735804045179932</c:v>
                </c:pt>
                <c:pt idx="79">
                  <c:v>0.20078442937186672</c:v>
                </c:pt>
                <c:pt idx="80">
                  <c:v>0.42880092449922963</c:v>
                </c:pt>
                <c:pt idx="81">
                  <c:v>0.0</c:v>
                </c:pt>
                <c:pt idx="82">
                  <c:v>0.3712845140032949</c:v>
                </c:pt>
                <c:pt idx="83">
                  <c:v>0.3146301064619955</c:v>
                </c:pt>
                <c:pt idx="84">
                  <c:v>0.0</c:v>
                </c:pt>
                <c:pt idx="85">
                  <c:v>0.0</c:v>
                </c:pt>
                <c:pt idx="86">
                  <c:v>0.3353651763399056</c:v>
                </c:pt>
                <c:pt idx="87">
                  <c:v>0.0</c:v>
                </c:pt>
                <c:pt idx="88">
                  <c:v>0.28604662547528514</c:v>
                </c:pt>
                <c:pt idx="89">
                  <c:v>0.0</c:v>
                </c:pt>
                <c:pt idx="90">
                  <c:v>0.0</c:v>
                </c:pt>
                <c:pt idx="91">
                  <c:v>0.45549187850775835</c:v>
                </c:pt>
                <c:pt idx="92">
                  <c:v>0.0</c:v>
                </c:pt>
                <c:pt idx="93">
                  <c:v>0.0</c:v>
                </c:pt>
                <c:pt idx="94">
                  <c:v>0.4214154388024655</c:v>
                </c:pt>
                <c:pt idx="95">
                  <c:v>0.38599784110535407</c:v>
                </c:pt>
                <c:pt idx="96">
                  <c:v>0.2816422906559798</c:v>
                </c:pt>
                <c:pt idx="97">
                  <c:v>0.26302478287214703</c:v>
                </c:pt>
                <c:pt idx="98">
                  <c:v>0.20756280137772673</c:v>
                </c:pt>
                <c:pt idx="99">
                  <c:v>0.3656306516724337</c:v>
                </c:pt>
                <c:pt idx="100">
                  <c:v>0.0</c:v>
                </c:pt>
                <c:pt idx="101">
                  <c:v>0.0</c:v>
                </c:pt>
                <c:pt idx="102">
                  <c:v>0.0</c:v>
                </c:pt>
                <c:pt idx="103">
                  <c:v>0.28144304118268215</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numCache>
            </c:numRef>
          </c:xVal>
          <c:yVal>
            <c:numRef>
              <c:f>Sheet1!$B$2:$B$121</c:f>
              <c:numCache>
                <c:formatCode>General</c:formatCode>
                <c:ptCount val="120"/>
                <c:pt idx="0">
                  <c:v>0.3250517598343685</c:v>
                </c:pt>
                <c:pt idx="1">
                  <c:v>0.3175</c:v>
                </c:pt>
                <c:pt idx="2">
                  <c:v>0.3145539906103286</c:v>
                </c:pt>
                <c:pt idx="3">
                  <c:v>0.3664772727272727</c:v>
                </c:pt>
                <c:pt idx="4">
                  <c:v>0.3575268817204301</c:v>
                </c:pt>
                <c:pt idx="5">
                  <c:v>0.3819628647214854</c:v>
                </c:pt>
                <c:pt idx="6">
                  <c:v>0.37089201877934275</c:v>
                </c:pt>
                <c:pt idx="7">
                  <c:v>0.36323851203501095</c:v>
                </c:pt>
                <c:pt idx="8">
                  <c:v>0.37083333333333335</c:v>
                </c:pt>
                <c:pt idx="9">
                  <c:v>0.36317567567567566</c:v>
                </c:pt>
                <c:pt idx="10">
                  <c:v>0.3509933774834437</c:v>
                </c:pt>
                <c:pt idx="11">
                  <c:v>0.3371212121212121</c:v>
                </c:pt>
                <c:pt idx="12">
                  <c:v>0.32620320855614976</c:v>
                </c:pt>
                <c:pt idx="13">
                  <c:v>0.3327239488117002</c:v>
                </c:pt>
                <c:pt idx="14">
                  <c:v>0.34303534303534305</c:v>
                </c:pt>
                <c:pt idx="15">
                  <c:v>0.32169576059850374</c:v>
                </c:pt>
                <c:pt idx="16">
                  <c:v>0.3434343434343434</c:v>
                </c:pt>
                <c:pt idx="17">
                  <c:v>0.34615384615384615</c:v>
                </c:pt>
                <c:pt idx="18">
                  <c:v>0.2924901185770751</c:v>
                </c:pt>
                <c:pt idx="19">
                  <c:v>0.32786885245901637</c:v>
                </c:pt>
                <c:pt idx="20">
                  <c:v>0.31785714285714284</c:v>
                </c:pt>
                <c:pt idx="21">
                  <c:v>0.35353535353535354</c:v>
                </c:pt>
                <c:pt idx="22">
                  <c:v>0.32806324110671936</c:v>
                </c:pt>
                <c:pt idx="23">
                  <c:v>0.35909090909090907</c:v>
                </c:pt>
                <c:pt idx="24">
                  <c:v>0.375</c:v>
                </c:pt>
                <c:pt idx="25">
                  <c:v>0.3175355450236967</c:v>
                </c:pt>
                <c:pt idx="26">
                  <c:v>0.40425531914893614</c:v>
                </c:pt>
                <c:pt idx="27">
                  <c:v>0.33495145631067963</c:v>
                </c:pt>
                <c:pt idx="28">
                  <c:v>0.4213197969543147</c:v>
                </c:pt>
                <c:pt idx="29">
                  <c:v>0.4146341463414634</c:v>
                </c:pt>
                <c:pt idx="30">
                  <c:v>0.37681159420289856</c:v>
                </c:pt>
                <c:pt idx="31">
                  <c:v>0.4198895027624309</c:v>
                </c:pt>
                <c:pt idx="32">
                  <c:v>0.395</c:v>
                </c:pt>
                <c:pt idx="33">
                  <c:v>0.4623115577889447</c:v>
                </c:pt>
                <c:pt idx="34">
                  <c:v>0.4119496855345912</c:v>
                </c:pt>
                <c:pt idx="35">
                  <c:v>0.36069651741293535</c:v>
                </c:pt>
                <c:pt idx="36">
                  <c:v>0.35986159169550175</c:v>
                </c:pt>
                <c:pt idx="37">
                  <c:v>0.3392226148409894</c:v>
                </c:pt>
                <c:pt idx="38">
                  <c:v>0.42021276595744683</c:v>
                </c:pt>
                <c:pt idx="39">
                  <c:v>0.40718562874251496</c:v>
                </c:pt>
                <c:pt idx="40">
                  <c:v>0.4024896265560166</c:v>
                </c:pt>
                <c:pt idx="41">
                  <c:v>0.4292237442922374</c:v>
                </c:pt>
                <c:pt idx="42">
                  <c:v>0.4155251141552511</c:v>
                </c:pt>
                <c:pt idx="43">
                  <c:v>0.41452991452991456</c:v>
                </c:pt>
                <c:pt idx="44">
                  <c:v>0.32971014492753625</c:v>
                </c:pt>
                <c:pt idx="45">
                  <c:v>0.32923832923832924</c:v>
                </c:pt>
                <c:pt idx="46">
                  <c:v>0.3102866779089376</c:v>
                </c:pt>
                <c:pt idx="47">
                  <c:v>0.33515482695810567</c:v>
                </c:pt>
                <c:pt idx="48">
                  <c:v>0.3310344827586207</c:v>
                </c:pt>
                <c:pt idx="49">
                  <c:v>0.27087198515769945</c:v>
                </c:pt>
                <c:pt idx="50">
                  <c:v>0.3267504488330341</c:v>
                </c:pt>
                <c:pt idx="51">
                  <c:v>0.2973621103117506</c:v>
                </c:pt>
                <c:pt idx="52">
                  <c:v>0.275</c:v>
                </c:pt>
                <c:pt idx="53">
                  <c:v>0.2927536231884058</c:v>
                </c:pt>
                <c:pt idx="54">
                  <c:v>0.2680722891566265</c:v>
                </c:pt>
                <c:pt idx="55">
                  <c:v>0.2735294117647059</c:v>
                </c:pt>
                <c:pt idx="56">
                  <c:v>0.2926829268292683</c:v>
                </c:pt>
                <c:pt idx="57">
                  <c:v>0.2803234501347709</c:v>
                </c:pt>
                <c:pt idx="58">
                  <c:v>0.31919642857142855</c:v>
                </c:pt>
                <c:pt idx="59">
                  <c:v>0.2980561555075594</c:v>
                </c:pt>
                <c:pt idx="60">
                  <c:v>0.28431372549019607</c:v>
                </c:pt>
                <c:pt idx="61">
                  <c:v>0.28</c:v>
                </c:pt>
                <c:pt idx="62">
                  <c:v>0.3007518796992481</c:v>
                </c:pt>
                <c:pt idx="63">
                  <c:v>0.23119015047879618</c:v>
                </c:pt>
                <c:pt idx="64">
                  <c:v>0.23869346733668342</c:v>
                </c:pt>
                <c:pt idx="65">
                  <c:v>0.24233576642335766</c:v>
                </c:pt>
                <c:pt idx="66">
                  <c:v>0.25391849529780564</c:v>
                </c:pt>
                <c:pt idx="67">
                  <c:v>0.28716904276985744</c:v>
                </c:pt>
                <c:pt idx="68">
                  <c:v>0.25722543352601157</c:v>
                </c:pt>
                <c:pt idx="69">
                  <c:v>0.27405247813411077</c:v>
                </c:pt>
                <c:pt idx="70">
                  <c:v>0.292358803986711</c:v>
                </c:pt>
                <c:pt idx="71">
                  <c:v>0.28515625</c:v>
                </c:pt>
                <c:pt idx="72">
                  <c:v>0.25193798449612403</c:v>
                </c:pt>
                <c:pt idx="73">
                  <c:v>0.2868217054263566</c:v>
                </c:pt>
                <c:pt idx="74">
                  <c:v>0.24414715719063546</c:v>
                </c:pt>
                <c:pt idx="75">
                  <c:v>0.35526315789473684</c:v>
                </c:pt>
                <c:pt idx="76">
                  <c:v>0.3574468085106383</c:v>
                </c:pt>
                <c:pt idx="77">
                  <c:v>0.3221476510067114</c:v>
                </c:pt>
                <c:pt idx="78">
                  <c:v>0.37988826815642457</c:v>
                </c:pt>
                <c:pt idx="79">
                  <c:v>0.3694581280788177</c:v>
                </c:pt>
                <c:pt idx="80">
                  <c:v>0.33516483516483514</c:v>
                </c:pt>
                <c:pt idx="81">
                  <c:v>0.35039370078740156</c:v>
                </c:pt>
                <c:pt idx="82">
                  <c:v>0.36666666666666664</c:v>
                </c:pt>
                <c:pt idx="83">
                  <c:v>0.39644970414201186</c:v>
                </c:pt>
                <c:pt idx="84">
                  <c:v>0.35555555555555557</c:v>
                </c:pt>
                <c:pt idx="85">
                  <c:v>0.38589211618257263</c:v>
                </c:pt>
                <c:pt idx="86">
                  <c:v>0.39344262295081966</c:v>
                </c:pt>
                <c:pt idx="87">
                  <c:v>0.40119760479041916</c:v>
                </c:pt>
                <c:pt idx="88">
                  <c:v>0.4523809523809524</c:v>
                </c:pt>
                <c:pt idx="89">
                  <c:v>0.4853801169590643</c:v>
                </c:pt>
                <c:pt idx="90">
                  <c:v>0.43795620437956206</c:v>
                </c:pt>
                <c:pt idx="91">
                  <c:v>0.4124293785310734</c:v>
                </c:pt>
                <c:pt idx="92">
                  <c:v>0.3227848101265823</c:v>
                </c:pt>
                <c:pt idx="93">
                  <c:v>0.42134831460674155</c:v>
                </c:pt>
                <c:pt idx="94">
                  <c:v>0.33554817275747506</c:v>
                </c:pt>
                <c:pt idx="95">
                  <c:v>0.33212996389891697</c:v>
                </c:pt>
                <c:pt idx="96">
                  <c:v>0.31054131054131057</c:v>
                </c:pt>
                <c:pt idx="97">
                  <c:v>0.319634703196347</c:v>
                </c:pt>
                <c:pt idx="98">
                  <c:v>0.3047619047619048</c:v>
                </c:pt>
                <c:pt idx="99">
                  <c:v>0.3051948051948052</c:v>
                </c:pt>
                <c:pt idx="100">
                  <c:v>0.3425742574257426</c:v>
                </c:pt>
                <c:pt idx="101">
                  <c:v>0.3314447592067989</c:v>
                </c:pt>
                <c:pt idx="102">
                  <c:v>0.3460559796437659</c:v>
                </c:pt>
                <c:pt idx="103">
                  <c:v>0.3565459610027855</c:v>
                </c:pt>
                <c:pt idx="104">
                  <c:v>0.34831460674157305</c:v>
                </c:pt>
                <c:pt idx="105">
                  <c:v>0.30978260869565216</c:v>
                </c:pt>
                <c:pt idx="106">
                  <c:v>0.2976588628762542</c:v>
                </c:pt>
                <c:pt idx="107">
                  <c:v>0.3248730964467005</c:v>
                </c:pt>
                <c:pt idx="108">
                  <c:v>0.4</c:v>
                </c:pt>
                <c:pt idx="109">
                  <c:v>0.2703862660944206</c:v>
                </c:pt>
                <c:pt idx="110">
                  <c:v>0.37823834196891193</c:v>
                </c:pt>
                <c:pt idx="111">
                  <c:v>0.3644067796610169</c:v>
                </c:pt>
                <c:pt idx="112">
                  <c:v>0.36486486486486486</c:v>
                </c:pt>
                <c:pt idx="113">
                  <c:v>0.3693181818181818</c:v>
                </c:pt>
                <c:pt idx="114">
                  <c:v>0.40131578947368424</c:v>
                </c:pt>
                <c:pt idx="115">
                  <c:v>0.3469387755102041</c:v>
                </c:pt>
                <c:pt idx="116">
                  <c:v>0.40707964601769914</c:v>
                </c:pt>
                <c:pt idx="117">
                  <c:v>0.3448275862068966</c:v>
                </c:pt>
                <c:pt idx="118">
                  <c:v>0.35185185185185186</c:v>
                </c:pt>
                <c:pt idx="119">
                  <c:v>0.33668341708542715</c:v>
                </c:pt>
              </c:numCache>
            </c:numRef>
          </c:yVal>
          <c:smooth val="0"/>
          <c:extLst>
            <c:ext xmlns:c16="http://schemas.microsoft.com/office/drawing/2014/chart" uri="{C3380CC4-5D6E-409C-BE32-E72D297353CC}">
              <c16:uniqueId val="{00000000-096C-4121-9522-6AB7243CCAAE}"/>
            </c:ext>
          </c:extLst>
        </c:ser>
        <c:ser>
          <c:idx val="1"/>
          <c:order val="1"/>
          <c:tx>
            <c:strRef>
              <c:f>Sheet1!$B$12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4:$A$159</c:f>
              <c:numCache>
                <c:formatCode>General</c:formatCode>
                <c:ptCount val="36"/>
                <c:pt idx="0">
                  <c:v>0.28222345114345115</c:v>
                </c:pt>
                <c:pt idx="1">
                  <c:v>0.31029211916332133</c:v>
                </c:pt>
                <c:pt idx="2">
                  <c:v>0.29538607582662657</c:v>
                </c:pt>
                <c:pt idx="3">
                  <c:v>0.42631809866962306</c:v>
                </c:pt>
                <c:pt idx="4">
                  <c:v>0.2219829736211031</c:v>
                </c:pt>
                <c:pt idx="5">
                  <c:v>0.3068320193081255</c:v>
                </c:pt>
                <c:pt idx="6">
                  <c:v>0.4633340250329381</c:v>
                </c:pt>
                <c:pt idx="7">
                  <c:v>0.20159439225732992</c:v>
                </c:pt>
                <c:pt idx="8">
                  <c:v>0.34466104279390064</c:v>
                </c:pt>
                <c:pt idx="9">
                  <c:v>0.16524986372646183</c:v>
                </c:pt>
                <c:pt idx="10">
                  <c:v>0.2351119402985075</c:v>
                </c:pt>
                <c:pt idx="11">
                  <c:v>0.19666842478377994</c:v>
                </c:pt>
                <c:pt idx="12">
                  <c:v>0.32698714560307546</c:v>
                </c:pt>
                <c:pt idx="13">
                  <c:v>0.2533209246638423</c:v>
                </c:pt>
                <c:pt idx="14">
                  <c:v>0.1901742018747453</c:v>
                </c:pt>
                <c:pt idx="15">
                  <c:v>0.20768639128589617</c:v>
                </c:pt>
                <c:pt idx="16">
                  <c:v>0.3592060447080292</c:v>
                </c:pt>
                <c:pt idx="17">
                  <c:v>0.4192049958135641</c:v>
                </c:pt>
                <c:pt idx="18">
                  <c:v>0.3086703661107916</c:v>
                </c:pt>
                <c:pt idx="19">
                  <c:v>0.2554040488539401</c:v>
                </c:pt>
                <c:pt idx="20">
                  <c:v>0.32572495693367787</c:v>
                </c:pt>
                <c:pt idx="21">
                  <c:v>0.4858175804529202</c:v>
                </c:pt>
                <c:pt idx="22">
                  <c:v>0.2502308014911463</c:v>
                </c:pt>
                <c:pt idx="23">
                  <c:v>0.2238249754040759</c:v>
                </c:pt>
                <c:pt idx="24">
                  <c:v>0.32458469238790405</c:v>
                </c:pt>
                <c:pt idx="25">
                  <c:v>0.2941178310545046</c:v>
                </c:pt>
                <c:pt idx="26">
                  <c:v>0.20246980963332056</c:v>
                </c:pt>
                <c:pt idx="27">
                  <c:v>0.42070788346186805</c:v>
                </c:pt>
                <c:pt idx="28">
                  <c:v>0.36285395337659215</c:v>
                </c:pt>
                <c:pt idx="29">
                  <c:v>0.23911599756690996</c:v>
                </c:pt>
                <c:pt idx="30">
                  <c:v>0.28954396615158207</c:v>
                </c:pt>
                <c:pt idx="31">
                  <c:v>0.34203433045104</c:v>
                </c:pt>
                <c:pt idx="32">
                  <c:v>0.409620748100526</c:v>
                </c:pt>
                <c:pt idx="33">
                  <c:v>0.3391318709377902</c:v>
                </c:pt>
                <c:pt idx="34">
                  <c:v>0.20799604405158673</c:v>
                </c:pt>
                <c:pt idx="35">
                  <c:v>0.33868333333333334</c:v>
                </c:pt>
              </c:numCache>
            </c:numRef>
          </c:xVal>
          <c:yVal>
            <c:numRef>
              <c:f>Sheet1!$B$124:$B$159</c:f>
              <c:numCache>
                <c:formatCode>General</c:formatCode>
                <c:ptCount val="36"/>
                <c:pt idx="0">
                  <c:v>0.32441471571906355</c:v>
                </c:pt>
                <c:pt idx="1">
                  <c:v>0.31896551724137934</c:v>
                </c:pt>
                <c:pt idx="2">
                  <c:v>0.297029702970297</c:v>
                </c:pt>
                <c:pt idx="3">
                  <c:v>0.3128205128205128</c:v>
                </c:pt>
                <c:pt idx="4">
                  <c:v>0.3219178082191781</c:v>
                </c:pt>
                <c:pt idx="5">
                  <c:v>0.3235294117647059</c:v>
                </c:pt>
                <c:pt idx="6">
                  <c:v>0.296078431372549</c:v>
                </c:pt>
                <c:pt idx="7">
                  <c:v>0.2944078947368421</c:v>
                </c:pt>
                <c:pt idx="8">
                  <c:v>0.30590339892665475</c:v>
                </c:pt>
                <c:pt idx="9">
                  <c:v>0.2823871906841339</c:v>
                </c:pt>
                <c:pt idx="10">
                  <c:v>0.2676470588235294</c:v>
                </c:pt>
                <c:pt idx="11">
                  <c:v>0.31086142322097376</c:v>
                </c:pt>
                <c:pt idx="12">
                  <c:v>0.31524008350730687</c:v>
                </c:pt>
                <c:pt idx="13">
                  <c:v>0.2860824742268041</c:v>
                </c:pt>
                <c:pt idx="14">
                  <c:v>0.3298245614035088</c:v>
                </c:pt>
                <c:pt idx="15">
                  <c:v>0.2824427480916031</c:v>
                </c:pt>
                <c:pt idx="16">
                  <c:v>0.34394904458598724</c:v>
                </c:pt>
                <c:pt idx="17">
                  <c:v>0.31636363636363635</c:v>
                </c:pt>
                <c:pt idx="18">
                  <c:v>0.2816326530612245</c:v>
                </c:pt>
                <c:pt idx="19">
                  <c:v>0.3389830508474576</c:v>
                </c:pt>
                <c:pt idx="20">
                  <c:v>0.3694581280788177</c:v>
                </c:pt>
                <c:pt idx="21">
                  <c:v>0.2988505747126437</c:v>
                </c:pt>
                <c:pt idx="22">
                  <c:v>0.39226519337016574</c:v>
                </c:pt>
                <c:pt idx="23">
                  <c:v>0.4146341463414634</c:v>
                </c:pt>
                <c:pt idx="24">
                  <c:v>0.31877729257641924</c:v>
                </c:pt>
                <c:pt idx="25">
                  <c:v>0.34173669467787116</c:v>
                </c:pt>
                <c:pt idx="26">
                  <c:v>0.34065934065934067</c:v>
                </c:pt>
                <c:pt idx="27">
                  <c:v>0.37341772151898733</c:v>
                </c:pt>
                <c:pt idx="28">
                  <c:v>0.3617021276595745</c:v>
                </c:pt>
                <c:pt idx="29">
                  <c:v>0.3886255924170616</c:v>
                </c:pt>
                <c:pt idx="30">
                  <c:v>0.326271186440678</c:v>
                </c:pt>
                <c:pt idx="31">
                  <c:v>0.3732193732193732</c:v>
                </c:pt>
                <c:pt idx="32">
                  <c:v>0.34615384615384615</c:v>
                </c:pt>
                <c:pt idx="33">
                  <c:v>0.3158995815899582</c:v>
                </c:pt>
                <c:pt idx="34">
                  <c:v>0.2665036674816626</c:v>
                </c:pt>
                <c:pt idx="35">
                  <c:v>0.335149863760218</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8241134886182762</c:v>
                </c:pt>
              </c:numCache>
            </c:numRef>
          </c:xVal>
          <c:yVal>
            <c:numRef>
              <c:f>Sheet1!$B$162:$B$163</c:f>
              <c:numCache>
                <c:formatCode>General</c:formatCode>
                <c:ptCount val="2"/>
                <c:pt idx="0">
                  <c:v>0.38621636571273726</c:v>
                </c:pt>
                <c:pt idx="1">
                  <c:v>0.38621636571273726</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8241134886182762</c:v>
                </c:pt>
                <c:pt idx="1">
                  <c:v>1.8241134886182762</c:v>
                </c:pt>
              </c:numCache>
            </c:numRef>
          </c:xVal>
          <c:yVal>
            <c:numRef>
              <c:f>Sheet1!$B$166:$B$167</c:f>
              <c:numCache>
                <c:formatCode>General</c:formatCode>
                <c:ptCount val="2"/>
                <c:pt idx="0">
                  <c:v>0.386216365712737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2665814413521328</c:v>
                </c:pt>
              </c:numCache>
            </c:numRef>
          </c:xVal>
          <c:yVal>
            <c:numRef>
              <c:f>Sheet1!$B$170:$B$171</c:f>
              <c:numCache>
                <c:formatCode>General</c:formatCode>
                <c:ptCount val="2"/>
                <c:pt idx="0">
                  <c:v>0.36395238607287533</c:v>
                </c:pt>
                <c:pt idx="1">
                  <c:v>0.36395238607287533</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2665814413521328</c:v>
                </c:pt>
                <c:pt idx="1">
                  <c:v>1.2665814413521328</c:v>
                </c:pt>
              </c:numCache>
            </c:numRef>
          </c:xVal>
          <c:yVal>
            <c:numRef>
              <c:f>Sheet1!$B$174:$B$175</c:f>
              <c:numCache>
                <c:formatCode>General</c:formatCode>
                <c:ptCount val="2"/>
                <c:pt idx="0">
                  <c:v>0.363952386072875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226186476134288</c:v>
                </c:pt>
              </c:numCache>
            </c:numRef>
          </c:xVal>
          <c:yVal>
            <c:numRef>
              <c:f>Sheet1!$B$178:$B$179</c:f>
              <c:numCache>
                <c:formatCode>General</c:formatCode>
                <c:ptCount val="2"/>
                <c:pt idx="0">
                  <c:v>0.34622357810726556</c:v>
                </c:pt>
                <c:pt idx="1">
                  <c:v>0.3462235781072655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226186476134288</c:v>
                </c:pt>
                <c:pt idx="1">
                  <c:v>0.8226186476134288</c:v>
                </c:pt>
              </c:numCache>
            </c:numRef>
          </c:xVal>
          <c:yVal>
            <c:numRef>
              <c:f>Sheet1!$B$182:$B$183</c:f>
              <c:numCache>
                <c:formatCode>General</c:formatCode>
                <c:ptCount val="2"/>
                <c:pt idx="0">
                  <c:v>0.346223578107265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24</c:f>
              <c:numCache>
                <c:formatCode>General</c:formatCode>
                <c:ptCount val="39"/>
                <c:pt idx="0">
                  <c:v>0.28222345114345115</c:v>
                </c:pt>
                <c:pt idx="1">
                  <c:v>0.31029211916332133</c:v>
                </c:pt>
                <c:pt idx="2">
                  <c:v>0.29538607582662657</c:v>
                </c:pt>
                <c:pt idx="3">
                  <c:v>0.42631809866962306</c:v>
                </c:pt>
                <c:pt idx="4">
                  <c:v>0.2219829736211031</c:v>
                </c:pt>
                <c:pt idx="5">
                  <c:v>0.3068320193081255</c:v>
                </c:pt>
                <c:pt idx="6">
                  <c:v>0.4633340250329381</c:v>
                </c:pt>
                <c:pt idx="7">
                  <c:v>0.20159439225732992</c:v>
                </c:pt>
                <c:pt idx="8">
                  <c:v>0.34466104279390064</c:v>
                </c:pt>
                <c:pt idx="9">
                  <c:v>0.16524986372646183</c:v>
                </c:pt>
                <c:pt idx="10">
                  <c:v>0.2351119402985075</c:v>
                </c:pt>
                <c:pt idx="11">
                  <c:v>0.19666842478377994</c:v>
                </c:pt>
                <c:pt idx="12">
                  <c:v>0.32698714560307546</c:v>
                </c:pt>
                <c:pt idx="13">
                  <c:v>0.2533209246638423</c:v>
                </c:pt>
                <c:pt idx="14">
                  <c:v>0.1901742018747453</c:v>
                </c:pt>
                <c:pt idx="15">
                  <c:v>0.20768639128589617</c:v>
                </c:pt>
                <c:pt idx="16">
                  <c:v>0.3592060447080292</c:v>
                </c:pt>
                <c:pt idx="17">
                  <c:v>0.4192049958135641</c:v>
                </c:pt>
                <c:pt idx="18">
                  <c:v>0.3086703661107916</c:v>
                </c:pt>
                <c:pt idx="19">
                  <c:v>0.2554040488539401</c:v>
                </c:pt>
                <c:pt idx="20">
                  <c:v>0.32572495693367787</c:v>
                </c:pt>
                <c:pt idx="21">
                  <c:v>0.4858175804529202</c:v>
                </c:pt>
                <c:pt idx="22">
                  <c:v>0.2502308014911463</c:v>
                </c:pt>
                <c:pt idx="23">
                  <c:v>0.2238249754040759</c:v>
                </c:pt>
                <c:pt idx="24">
                  <c:v>0.32458469238790405</c:v>
                </c:pt>
                <c:pt idx="25">
                  <c:v>0.2941178310545046</c:v>
                </c:pt>
                <c:pt idx="26">
                  <c:v>0.20246980963332056</c:v>
                </c:pt>
                <c:pt idx="27">
                  <c:v>0.42070788346186805</c:v>
                </c:pt>
                <c:pt idx="28">
                  <c:v>0.36285395337659215</c:v>
                </c:pt>
                <c:pt idx="29">
                  <c:v>0.23911599756690996</c:v>
                </c:pt>
                <c:pt idx="30">
                  <c:v>0.28954396615158207</c:v>
                </c:pt>
                <c:pt idx="31">
                  <c:v>0.34203433045104</c:v>
                </c:pt>
                <c:pt idx="32">
                  <c:v>0.409620748100526</c:v>
                </c:pt>
                <c:pt idx="33">
                  <c:v>0.3391318709377902</c:v>
                </c:pt>
                <c:pt idx="34">
                  <c:v>0.20799604405158673</c:v>
                </c:pt>
                <c:pt idx="35">
                  <c:v>0.33868333333333334</c:v>
                </c:pt>
                <c:pt idx="36">
                  <c:v>1.2665814413521328</c:v>
                </c:pt>
                <c:pt idx="37">
                  <c:v>1.8241134886182762</c:v>
                </c:pt>
                <c:pt idx="38">
                  <c:v>0.8226186476134288</c:v>
                </c:pt>
              </c:numCache>
            </c:numRef>
          </c:xVal>
          <c:yVal>
            <c:numRef>
              <c:f>Sheet1!$B$186:$B$224</c:f>
              <c:numCache>
                <c:formatCode>General</c:formatCode>
                <c:ptCount val="39"/>
                <c:pt idx="0">
                  <c:v>0.3246439259407534</c:v>
                </c:pt>
                <c:pt idx="1">
                  <c:v>0.3257647946986602</c:v>
                </c:pt>
                <c:pt idx="2">
                  <c:v>0.3251695502692388</c:v>
                </c:pt>
                <c:pt idx="3">
                  <c:v>0.3303980710423073</c:v>
                </c:pt>
                <c:pt idx="4">
                  <c:v>0.32223833729050516</c:v>
                </c:pt>
                <c:pt idx="5">
                  <c:v>0.3256266222059655</c:v>
                </c:pt>
                <c:pt idx="6">
                  <c:v>0.33187623150849854</c:v>
                </c:pt>
                <c:pt idx="7">
                  <c:v>0.32142415815480424</c:v>
                </c:pt>
                <c:pt idx="8">
                  <c:v>0.32713725215596207</c:v>
                </c:pt>
                <c:pt idx="9">
                  <c:v>0.3199728086813535</c:v>
                </c:pt>
                <c:pt idx="10">
                  <c:v>0.322762617550683</c:v>
                </c:pt>
                <c:pt idx="11">
                  <c:v>0.32122744903274475</c:v>
                </c:pt>
                <c:pt idx="12">
                  <c:v>0.3264314787584632</c:v>
                </c:pt>
                <c:pt idx="13">
                  <c:v>0.3234897586346086</c:v>
                </c:pt>
                <c:pt idx="14">
                  <c:v>0.3209681146189968</c:v>
                </c:pt>
                <c:pt idx="15">
                  <c:v>0.32166743052453284</c:v>
                </c:pt>
                <c:pt idx="16">
                  <c:v>0.32771807908432576</c:v>
                </c:pt>
                <c:pt idx="17">
                  <c:v>0.330114022837473</c:v>
                </c:pt>
                <c:pt idx="18">
                  <c:v>0.3257000330816026</c:v>
                </c:pt>
                <c:pt idx="19">
                  <c:v>0.323572944228662</c:v>
                </c:pt>
                <c:pt idx="20">
                  <c:v>0.3263810756597087</c:v>
                </c:pt>
                <c:pt idx="21">
                  <c:v>0.3327740694400699</c:v>
                </c:pt>
                <c:pt idx="22">
                  <c:v>0.32336636045554623</c:v>
                </c:pt>
                <c:pt idx="23">
                  <c:v>0.32231189412081435</c:v>
                </c:pt>
                <c:pt idx="24">
                  <c:v>0.32633554136844123</c:v>
                </c:pt>
                <c:pt idx="25">
                  <c:v>0.3251189053315651</c:v>
                </c:pt>
                <c:pt idx="26">
                  <c:v>0.32145911627915064</c:v>
                </c:pt>
                <c:pt idx="27">
                  <c:v>0.3301740377911728</c:v>
                </c:pt>
                <c:pt idx="28">
                  <c:v>0.3278637513640148</c:v>
                </c:pt>
                <c:pt idx="29">
                  <c:v>0.32292251194587995</c:v>
                </c:pt>
                <c:pt idx="30">
                  <c:v>0.32493625675454885</c:v>
                </c:pt>
                <c:pt idx="31">
                  <c:v>0.32703235940511843</c:v>
                </c:pt>
                <c:pt idx="32">
                  <c:v>0.32973129417282887</c:v>
                </c:pt>
                <c:pt idx="33">
                  <c:v>0.3269164552166052</c:v>
                </c:pt>
                <c:pt idx="34">
                  <c:v>0.32167979591752605</c:v>
                </c:pt>
                <c:pt idx="35">
                  <c:v>0.32689854372229327</c:v>
                </c:pt>
                <c:pt idx="36">
                  <c:v>0.36395238607287533</c:v>
                </c:pt>
                <c:pt idx="37">
                  <c:v>0.38621636571273726</c:v>
                </c:pt>
                <c:pt idx="38">
                  <c:v>0.346223578107265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24561403508771"/>
          <c:min val="0.1849521203830369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928.3185</c:v>
                </c:pt>
                <c:pt idx="1">
                  <c:v>985.7559</c:v>
                </c:pt>
                <c:pt idx="2">
                  <c:v>1073.7687</c:v>
                </c:pt>
                <c:pt idx="3">
                  <c:v>1052.1473</c:v>
                </c:pt>
                <c:pt idx="4">
                  <c:v>1051.6391</c:v>
                </c:pt>
                <c:pt idx="5">
                  <c:v>1061.0347</c:v>
                </c:pt>
                <c:pt idx="6">
                  <c:v>1000.8101</c:v>
                </c:pt>
                <c:pt idx="7">
                  <c:v>1026.5723</c:v>
                </c:pt>
                <c:pt idx="8">
                  <c:v>1021.3483</c:v>
                </c:pt>
                <c:pt idx="9">
                  <c:v>1023.2791</c:v>
                </c:pt>
                <c:pt idx="10">
                  <c:v>1001.9906</c:v>
                </c:pt>
                <c:pt idx="11">
                  <c:v>1049.3202</c:v>
                </c:pt>
                <c:pt idx="12">
                  <c:v>1089.3497</c:v>
                </c:pt>
                <c:pt idx="13">
                  <c:v>1059.3407</c:v>
                </c:pt>
                <c:pt idx="14">
                  <c:v>1065.6788</c:v>
                </c:pt>
                <c:pt idx="15">
                  <c:v>1110.0233</c:v>
                </c:pt>
                <c:pt idx="16">
                  <c:v>1099.2451</c:v>
                </c:pt>
                <c:pt idx="17">
                  <c:v>1135.1717</c:v>
                </c:pt>
                <c:pt idx="18">
                  <c:v>1185.2838</c:v>
                </c:pt>
                <c:pt idx="19">
                  <c:v>1114.0333</c:v>
                </c:pt>
                <c:pt idx="20">
                  <c:v>1143.6966</c:v>
                </c:pt>
                <c:pt idx="21">
                  <c:v>1203.4</c:v>
                </c:pt>
                <c:pt idx="22">
                  <c:v>1161.9277</c:v>
                </c:pt>
                <c:pt idx="23">
                  <c:v>1168.9114</c:v>
                </c:pt>
                <c:pt idx="24">
                  <c:v>1141.8333</c:v>
                </c:pt>
                <c:pt idx="25">
                  <c:v>1181.597</c:v>
                </c:pt>
                <c:pt idx="26">
                  <c:v>1195.9342</c:v>
                </c:pt>
                <c:pt idx="27">
                  <c:v>1159.5652</c:v>
                </c:pt>
                <c:pt idx="28">
                  <c:v>1106.3976</c:v>
                </c:pt>
                <c:pt idx="29">
                  <c:v>1072.2118</c:v>
                </c:pt>
                <c:pt idx="30">
                  <c:v>1132.0513</c:v>
                </c:pt>
                <c:pt idx="31">
                  <c:v>1039.7763</c:v>
                </c:pt>
                <c:pt idx="32">
                  <c:v>999.3291</c:v>
                </c:pt>
                <c:pt idx="33">
                  <c:v>849.5435</c:v>
                </c:pt>
                <c:pt idx="34">
                  <c:v>950.0763</c:v>
                </c:pt>
                <c:pt idx="35">
                  <c:v>1005.731</c:v>
                </c:pt>
                <c:pt idx="36">
                  <c:v>1031.0962</c:v>
                </c:pt>
                <c:pt idx="37">
                  <c:v>982.9063</c:v>
                </c:pt>
                <c:pt idx="38">
                  <c:v>1151.7215</c:v>
                </c:pt>
                <c:pt idx="39">
                  <c:v>1193.8382</c:v>
                </c:pt>
                <c:pt idx="40">
                  <c:v>1114.7423</c:v>
                </c:pt>
                <c:pt idx="41">
                  <c:v>1214.0213</c:v>
                </c:pt>
                <c:pt idx="42">
                  <c:v>1308.011</c:v>
                </c:pt>
                <c:pt idx="43">
                  <c:v>1300.8041</c:v>
                </c:pt>
                <c:pt idx="44">
                  <c:v>1306.2527</c:v>
                </c:pt>
                <c:pt idx="45">
                  <c:v>1256.6791</c:v>
                </c:pt>
                <c:pt idx="46">
                  <c:v>1214.4348</c:v>
                </c:pt>
                <c:pt idx="47">
                  <c:v>1227.7011</c:v>
                </c:pt>
                <c:pt idx="48">
                  <c:v>1187.276</c:v>
                </c:pt>
                <c:pt idx="49">
                  <c:v>1197.3836</c:v>
                </c:pt>
                <c:pt idx="50">
                  <c:v>1141.5</c:v>
                </c:pt>
                <c:pt idx="51">
                  <c:v>1245.2581</c:v>
                </c:pt>
                <c:pt idx="52">
                  <c:v>1224.4242</c:v>
                </c:pt>
                <c:pt idx="53">
                  <c:v>1287.6139</c:v>
                </c:pt>
                <c:pt idx="54">
                  <c:v>1259.6629</c:v>
                </c:pt>
                <c:pt idx="55">
                  <c:v>1306.3548</c:v>
                </c:pt>
                <c:pt idx="56">
                  <c:v>1279.537</c:v>
                </c:pt>
                <c:pt idx="57">
                  <c:v>1294.8654</c:v>
                </c:pt>
                <c:pt idx="58">
                  <c:v>1225.1818</c:v>
                </c:pt>
                <c:pt idx="59">
                  <c:v>1286.2246</c:v>
                </c:pt>
                <c:pt idx="60">
                  <c:v>1268.4897</c:v>
                </c:pt>
                <c:pt idx="61">
                  <c:v>1212.7013</c:v>
                </c:pt>
                <c:pt idx="62">
                  <c:v>1215.565</c:v>
                </c:pt>
                <c:pt idx="63">
                  <c:v>1301.9763</c:v>
                </c:pt>
                <c:pt idx="64">
                  <c:v>1244.9316</c:v>
                </c:pt>
                <c:pt idx="65">
                  <c:v>1261.6807</c:v>
                </c:pt>
                <c:pt idx="66">
                  <c:v>1206.5062</c:v>
                </c:pt>
                <c:pt idx="67">
                  <c:v>1185.844</c:v>
                </c:pt>
                <c:pt idx="68">
                  <c:v>1227.3034</c:v>
                </c:pt>
                <c:pt idx="69">
                  <c:v>1273.2234</c:v>
                </c:pt>
                <c:pt idx="70">
                  <c:v>1266.1023</c:v>
                </c:pt>
                <c:pt idx="71">
                  <c:v>1338.4384</c:v>
                </c:pt>
                <c:pt idx="72">
                  <c:v>1540.7231</c:v>
                </c:pt>
                <c:pt idx="73">
                  <c:v>1388.3784</c:v>
                </c:pt>
                <c:pt idx="74">
                  <c:v>1459.2877</c:v>
                </c:pt>
                <c:pt idx="75">
                  <c:v>1071.1605</c:v>
                </c:pt>
                <c:pt idx="76">
                  <c:v>1286.4048</c:v>
                </c:pt>
                <c:pt idx="77">
                  <c:v>1403.6667</c:v>
                </c:pt>
                <c:pt idx="78">
                  <c:v>1422.2206</c:v>
                </c:pt>
                <c:pt idx="79">
                  <c:v>1361.72</c:v>
                </c:pt>
                <c:pt idx="80">
                  <c:v>1391.459</c:v>
                </c:pt>
                <c:pt idx="81">
                  <c:v>1393.4494</c:v>
                </c:pt>
                <c:pt idx="82">
                  <c:v>1352.2182</c:v>
                </c:pt>
                <c:pt idx="83">
                  <c:v>1270.791</c:v>
                </c:pt>
                <c:pt idx="84">
                  <c:v>1358.125</c:v>
                </c:pt>
                <c:pt idx="85">
                  <c:v>1233.2903</c:v>
                </c:pt>
                <c:pt idx="86">
                  <c:v>1207.65</c:v>
                </c:pt>
                <c:pt idx="87">
                  <c:v>1381.0149</c:v>
                </c:pt>
                <c:pt idx="88">
                  <c:v>1203.6842</c:v>
                </c:pt>
                <c:pt idx="89">
                  <c:v>1315.9759</c:v>
                </c:pt>
                <c:pt idx="90">
                  <c:v>1259.6667</c:v>
                </c:pt>
                <c:pt idx="91">
                  <c:v>1379.6849</c:v>
                </c:pt>
                <c:pt idx="92">
                  <c:v>1485.2157</c:v>
                </c:pt>
                <c:pt idx="93">
                  <c:v>1414.68</c:v>
                </c:pt>
                <c:pt idx="94">
                  <c:v>1435.7624</c:v>
                </c:pt>
                <c:pt idx="95">
                  <c:v>1340.9565</c:v>
                </c:pt>
                <c:pt idx="96">
                  <c:v>1335.2661</c:v>
                </c:pt>
                <c:pt idx="97">
                  <c:v>1302.2357</c:v>
                </c:pt>
                <c:pt idx="98">
                  <c:v>1265.5104</c:v>
                </c:pt>
                <c:pt idx="99">
                  <c:v>1268.0071</c:v>
                </c:pt>
                <c:pt idx="100">
                  <c:v>1286.8844</c:v>
                </c:pt>
                <c:pt idx="101">
                  <c:v>1313.3333</c:v>
                </c:pt>
                <c:pt idx="102">
                  <c:v>1275.8235</c:v>
                </c:pt>
                <c:pt idx="103">
                  <c:v>1332.6328</c:v>
                </c:pt>
              </c:numCache>
            </c:numRef>
          </c:xVal>
          <c:yVal>
            <c:numRef>
              <c:f>Sheet1!$B$2:$B$105</c:f>
              <c:numCache>
                <c:formatCode>General</c:formatCode>
                <c:ptCount val="104"/>
                <c:pt idx="0">
                  <c:v>0.3250517598343685</c:v>
                </c:pt>
                <c:pt idx="1">
                  <c:v>0.3175</c:v>
                </c:pt>
                <c:pt idx="2">
                  <c:v>0.3145539906103286</c:v>
                </c:pt>
                <c:pt idx="3">
                  <c:v>0.3664772727272727</c:v>
                </c:pt>
                <c:pt idx="4">
                  <c:v>0.3575268817204301</c:v>
                </c:pt>
                <c:pt idx="5">
                  <c:v>0.3819628647214854</c:v>
                </c:pt>
                <c:pt idx="6">
                  <c:v>0.37089201877934275</c:v>
                </c:pt>
                <c:pt idx="7">
                  <c:v>0.36323851203501095</c:v>
                </c:pt>
                <c:pt idx="8">
                  <c:v>0.37083333333333335</c:v>
                </c:pt>
                <c:pt idx="9">
                  <c:v>0.36317567567567566</c:v>
                </c:pt>
                <c:pt idx="10">
                  <c:v>0.3509933774834437</c:v>
                </c:pt>
                <c:pt idx="11">
                  <c:v>0.3371212121212121</c:v>
                </c:pt>
                <c:pt idx="12">
                  <c:v>0.32620320855614976</c:v>
                </c:pt>
                <c:pt idx="13">
                  <c:v>0.3327239488117002</c:v>
                </c:pt>
                <c:pt idx="14">
                  <c:v>0.34303534303534305</c:v>
                </c:pt>
                <c:pt idx="15">
                  <c:v>0.32169576059850374</c:v>
                </c:pt>
                <c:pt idx="16">
                  <c:v>0.3434343434343434</c:v>
                </c:pt>
                <c:pt idx="17">
                  <c:v>0.34615384615384615</c:v>
                </c:pt>
                <c:pt idx="18">
                  <c:v>0.2924901185770751</c:v>
                </c:pt>
                <c:pt idx="19">
                  <c:v>0.32786885245901637</c:v>
                </c:pt>
                <c:pt idx="20">
                  <c:v>0.31785714285714284</c:v>
                </c:pt>
                <c:pt idx="21">
                  <c:v>0.35353535353535354</c:v>
                </c:pt>
                <c:pt idx="22">
                  <c:v>0.32806324110671936</c:v>
                </c:pt>
                <c:pt idx="23">
                  <c:v>0.35909090909090907</c:v>
                </c:pt>
                <c:pt idx="24">
                  <c:v>0.375</c:v>
                </c:pt>
                <c:pt idx="25">
                  <c:v>0.3175355450236967</c:v>
                </c:pt>
                <c:pt idx="26">
                  <c:v>0.40425531914893614</c:v>
                </c:pt>
                <c:pt idx="27">
                  <c:v>0.33495145631067963</c:v>
                </c:pt>
                <c:pt idx="28">
                  <c:v>0.4213197969543147</c:v>
                </c:pt>
                <c:pt idx="29">
                  <c:v>0.4146341463414634</c:v>
                </c:pt>
                <c:pt idx="30">
                  <c:v>0.37681159420289856</c:v>
                </c:pt>
                <c:pt idx="31">
                  <c:v>0.4198895027624309</c:v>
                </c:pt>
                <c:pt idx="32">
                  <c:v>0.395</c:v>
                </c:pt>
                <c:pt idx="33">
                  <c:v>0.4623115577889447</c:v>
                </c:pt>
                <c:pt idx="34">
                  <c:v>0.4119496855345912</c:v>
                </c:pt>
                <c:pt idx="35">
                  <c:v>0.36069651741293535</c:v>
                </c:pt>
                <c:pt idx="36">
                  <c:v>0.35986159169550175</c:v>
                </c:pt>
                <c:pt idx="37">
                  <c:v>0.3392226148409894</c:v>
                </c:pt>
                <c:pt idx="38">
                  <c:v>0.42021276595744683</c:v>
                </c:pt>
                <c:pt idx="39">
                  <c:v>0.40718562874251496</c:v>
                </c:pt>
                <c:pt idx="40">
                  <c:v>0.4024896265560166</c:v>
                </c:pt>
                <c:pt idx="41">
                  <c:v>0.4292237442922374</c:v>
                </c:pt>
                <c:pt idx="42">
                  <c:v>0.4155251141552511</c:v>
                </c:pt>
                <c:pt idx="43">
                  <c:v>0.41452991452991456</c:v>
                </c:pt>
                <c:pt idx="44">
                  <c:v>0.32971014492753625</c:v>
                </c:pt>
                <c:pt idx="45">
                  <c:v>0.32923832923832924</c:v>
                </c:pt>
                <c:pt idx="46">
                  <c:v>0.3102866779089376</c:v>
                </c:pt>
                <c:pt idx="47">
                  <c:v>0.33515482695810567</c:v>
                </c:pt>
                <c:pt idx="48">
                  <c:v>0.3310344827586207</c:v>
                </c:pt>
                <c:pt idx="49">
                  <c:v>0.27087198515769945</c:v>
                </c:pt>
                <c:pt idx="50">
                  <c:v>0.3267504488330341</c:v>
                </c:pt>
                <c:pt idx="51">
                  <c:v>0.2973621103117506</c:v>
                </c:pt>
                <c:pt idx="52">
                  <c:v>0.275</c:v>
                </c:pt>
                <c:pt idx="53">
                  <c:v>0.2927536231884058</c:v>
                </c:pt>
                <c:pt idx="54">
                  <c:v>0.2680722891566265</c:v>
                </c:pt>
                <c:pt idx="55">
                  <c:v>0.2735294117647059</c:v>
                </c:pt>
                <c:pt idx="56">
                  <c:v>0.2926829268292683</c:v>
                </c:pt>
                <c:pt idx="57">
                  <c:v>0.2803234501347709</c:v>
                </c:pt>
                <c:pt idx="58">
                  <c:v>0.31919642857142855</c:v>
                </c:pt>
                <c:pt idx="59">
                  <c:v>0.2980561555075594</c:v>
                </c:pt>
                <c:pt idx="60">
                  <c:v>0.28431372549019607</c:v>
                </c:pt>
                <c:pt idx="61">
                  <c:v>0.28</c:v>
                </c:pt>
                <c:pt idx="62">
                  <c:v>0.3007518796992481</c:v>
                </c:pt>
                <c:pt idx="63">
                  <c:v>0.23119015047879618</c:v>
                </c:pt>
                <c:pt idx="64">
                  <c:v>0.23869346733668342</c:v>
                </c:pt>
                <c:pt idx="65">
                  <c:v>0.24233576642335766</c:v>
                </c:pt>
                <c:pt idx="66">
                  <c:v>0.25391849529780564</c:v>
                </c:pt>
                <c:pt idx="67">
                  <c:v>0.28716904276985744</c:v>
                </c:pt>
                <c:pt idx="68">
                  <c:v>0.25722543352601157</c:v>
                </c:pt>
                <c:pt idx="69">
                  <c:v>0.27405247813411077</c:v>
                </c:pt>
                <c:pt idx="70">
                  <c:v>0.292358803986711</c:v>
                </c:pt>
                <c:pt idx="71">
                  <c:v>0.28515625</c:v>
                </c:pt>
                <c:pt idx="72">
                  <c:v>0.25193798449612403</c:v>
                </c:pt>
                <c:pt idx="73">
                  <c:v>0.2868217054263566</c:v>
                </c:pt>
                <c:pt idx="74">
                  <c:v>0.24414715719063546</c:v>
                </c:pt>
                <c:pt idx="75">
                  <c:v>0.35526315789473684</c:v>
                </c:pt>
                <c:pt idx="76">
                  <c:v>0.3574468085106383</c:v>
                </c:pt>
                <c:pt idx="77">
                  <c:v>0.3221476510067114</c:v>
                </c:pt>
                <c:pt idx="78">
                  <c:v>0.37988826815642457</c:v>
                </c:pt>
                <c:pt idx="79">
                  <c:v>0.3694581280788177</c:v>
                </c:pt>
                <c:pt idx="80">
                  <c:v>0.33516483516483514</c:v>
                </c:pt>
                <c:pt idx="81">
                  <c:v>0.35039370078740156</c:v>
                </c:pt>
                <c:pt idx="82">
                  <c:v>0.36666666666666664</c:v>
                </c:pt>
                <c:pt idx="83">
                  <c:v>0.39644970414201186</c:v>
                </c:pt>
                <c:pt idx="84">
                  <c:v>0.35555555555555557</c:v>
                </c:pt>
                <c:pt idx="85">
                  <c:v>0.38589211618257263</c:v>
                </c:pt>
                <c:pt idx="86">
                  <c:v>0.39344262295081966</c:v>
                </c:pt>
                <c:pt idx="87">
                  <c:v>0.40119760479041916</c:v>
                </c:pt>
                <c:pt idx="88">
                  <c:v>0.4523809523809524</c:v>
                </c:pt>
                <c:pt idx="89">
                  <c:v>0.4853801169590643</c:v>
                </c:pt>
                <c:pt idx="90">
                  <c:v>0.43795620437956206</c:v>
                </c:pt>
                <c:pt idx="91">
                  <c:v>0.4124293785310734</c:v>
                </c:pt>
                <c:pt idx="92">
                  <c:v>0.3227848101265823</c:v>
                </c:pt>
                <c:pt idx="93">
                  <c:v>0.42134831460674155</c:v>
                </c:pt>
                <c:pt idx="94">
                  <c:v>0.33554817275747506</c:v>
                </c:pt>
                <c:pt idx="95">
                  <c:v>0.33212996389891697</c:v>
                </c:pt>
                <c:pt idx="96">
                  <c:v>0.31054131054131057</c:v>
                </c:pt>
                <c:pt idx="97">
                  <c:v>0.319634703196347</c:v>
                </c:pt>
                <c:pt idx="98">
                  <c:v>0.3047619047619048</c:v>
                </c:pt>
                <c:pt idx="99">
                  <c:v>0.3051948051948052</c:v>
                </c:pt>
                <c:pt idx="100">
                  <c:v>0.3425742574257426</c:v>
                </c:pt>
                <c:pt idx="101">
                  <c:v>0.3314447592067989</c:v>
                </c:pt>
                <c:pt idx="102">
                  <c:v>0.3460559796437659</c:v>
                </c:pt>
                <c:pt idx="103">
                  <c:v>0.3565459610027855</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255.3468</c:v>
                </c:pt>
                <c:pt idx="1">
                  <c:v>1357.4948</c:v>
                </c:pt>
                <c:pt idx="2">
                  <c:v>1468.6126</c:v>
                </c:pt>
                <c:pt idx="3">
                  <c:v>1523.1583</c:v>
                </c:pt>
                <c:pt idx="4">
                  <c:v>1538.1557</c:v>
                </c:pt>
                <c:pt idx="5">
                  <c:v>1532.1491</c:v>
                </c:pt>
                <c:pt idx="6">
                  <c:v>1388.5035</c:v>
                </c:pt>
                <c:pt idx="7">
                  <c:v>1334.8727</c:v>
                </c:pt>
                <c:pt idx="8">
                  <c:v>1406.6821</c:v>
                </c:pt>
                <c:pt idx="9">
                  <c:v>1416.4022</c:v>
                </c:pt>
                <c:pt idx="10">
                  <c:v>1401.3918</c:v>
                </c:pt>
                <c:pt idx="11">
                  <c:v>1333.8969</c:v>
                </c:pt>
                <c:pt idx="12">
                  <c:v>1401.9725</c:v>
                </c:pt>
                <c:pt idx="13">
                  <c:v>1387.1024</c:v>
                </c:pt>
                <c:pt idx="14">
                  <c:v>1360.9205</c:v>
                </c:pt>
                <c:pt idx="15">
                  <c:v>1375.2793</c:v>
                </c:pt>
                <c:pt idx="16">
                  <c:v>1448.6966</c:v>
                </c:pt>
                <c:pt idx="17">
                  <c:v>1399.8723</c:v>
                </c:pt>
                <c:pt idx="18">
                  <c:v>1468.1351</c:v>
                </c:pt>
                <c:pt idx="19">
                  <c:v>1512.0</c:v>
                </c:pt>
                <c:pt idx="20">
                  <c:v>1574.7593</c:v>
                </c:pt>
                <c:pt idx="21">
                  <c:v>1322.8026</c:v>
                </c:pt>
                <c:pt idx="22">
                  <c:v>1541.7937</c:v>
                </c:pt>
                <c:pt idx="23">
                  <c:v>1502.0115</c:v>
                </c:pt>
                <c:pt idx="24">
                  <c:v>1610.3333</c:v>
                </c:pt>
                <c:pt idx="25">
                  <c:v>1526.55</c:v>
                </c:pt>
                <c:pt idx="26">
                  <c:v>1512.6667</c:v>
                </c:pt>
                <c:pt idx="27">
                  <c:v>1501.5616</c:v>
                </c:pt>
                <c:pt idx="28">
                  <c:v>1630.4038</c:v>
                </c:pt>
                <c:pt idx="29">
                  <c:v>1610.9859</c:v>
                </c:pt>
                <c:pt idx="30">
                  <c:v>1592.5147</c:v>
                </c:pt>
                <c:pt idx="31">
                  <c:v>1573.4186</c:v>
                </c:pt>
                <c:pt idx="32">
                  <c:v>1477.7037</c:v>
                </c:pt>
                <c:pt idx="33">
                  <c:v>1556.3836</c:v>
                </c:pt>
                <c:pt idx="34">
                  <c:v>1570.2951</c:v>
                </c:pt>
                <c:pt idx="35">
                  <c:v>1584.7312</c:v>
                </c:pt>
                <c:pt idx="36">
                  <c:v>1548.7231</c:v>
                </c:pt>
                <c:pt idx="37">
                  <c:v>1472.8983</c:v>
                </c:pt>
                <c:pt idx="38">
                  <c:v>1518.2459</c:v>
                </c:pt>
                <c:pt idx="39">
                  <c:v>1502.1765</c:v>
                </c:pt>
                <c:pt idx="40">
                  <c:v>1509.8353</c:v>
                </c:pt>
                <c:pt idx="41">
                  <c:v>1616.6739</c:v>
                </c:pt>
                <c:pt idx="42">
                  <c:v>1572.4268</c:v>
                </c:pt>
                <c:pt idx="43">
                  <c:v>1573.961</c:v>
                </c:pt>
                <c:pt idx="44">
                  <c:v>1464.6667</c:v>
                </c:pt>
                <c:pt idx="45">
                  <c:v>1463.5649</c:v>
                </c:pt>
                <c:pt idx="46">
                  <c:v>1401.7222</c:v>
                </c:pt>
                <c:pt idx="47">
                  <c:v>1414.1513</c:v>
                </c:pt>
                <c:pt idx="48">
                  <c:v>1452.8582</c:v>
                </c:pt>
                <c:pt idx="49">
                  <c:v>1460.9801</c:v>
                </c:pt>
                <c:pt idx="50">
                  <c:v>1435.3807</c:v>
                </c:pt>
                <c:pt idx="51">
                  <c:v>1375.7317</c:v>
                </c:pt>
              </c:numCache>
            </c:numRef>
          </c:xVal>
          <c:yVal>
            <c:numRef>
              <c:f>Sheet1!$B$108:$B$159</c:f>
              <c:numCache>
                <c:formatCode>General</c:formatCode>
                <c:ptCount val="52"/>
                <c:pt idx="0">
                  <c:v>0.34831460674157305</c:v>
                </c:pt>
                <c:pt idx="1">
                  <c:v>0.32441471571906355</c:v>
                </c:pt>
                <c:pt idx="2">
                  <c:v>0.31896551724137934</c:v>
                </c:pt>
                <c:pt idx="3">
                  <c:v>0.297029702970297</c:v>
                </c:pt>
                <c:pt idx="4">
                  <c:v>0.3128205128205128</c:v>
                </c:pt>
                <c:pt idx="5">
                  <c:v>0.30978260869565216</c:v>
                </c:pt>
                <c:pt idx="6">
                  <c:v>0.3219178082191781</c:v>
                </c:pt>
                <c:pt idx="7">
                  <c:v>0.3235294117647059</c:v>
                </c:pt>
                <c:pt idx="8">
                  <c:v>0.296078431372549</c:v>
                </c:pt>
                <c:pt idx="9">
                  <c:v>0.2944078947368421</c:v>
                </c:pt>
                <c:pt idx="10">
                  <c:v>0.30590339892665475</c:v>
                </c:pt>
                <c:pt idx="11">
                  <c:v>0.2823871906841339</c:v>
                </c:pt>
                <c:pt idx="12">
                  <c:v>0.2676470588235294</c:v>
                </c:pt>
                <c:pt idx="13">
                  <c:v>0.31086142322097376</c:v>
                </c:pt>
                <c:pt idx="14">
                  <c:v>0.31524008350730687</c:v>
                </c:pt>
                <c:pt idx="15">
                  <c:v>0.2860824742268041</c:v>
                </c:pt>
                <c:pt idx="16">
                  <c:v>0.2976588628762542</c:v>
                </c:pt>
                <c:pt idx="17">
                  <c:v>0.3298245614035088</c:v>
                </c:pt>
                <c:pt idx="18">
                  <c:v>0.2824427480916031</c:v>
                </c:pt>
                <c:pt idx="19">
                  <c:v>0.3248730964467005</c:v>
                </c:pt>
                <c:pt idx="20">
                  <c:v>0.34394904458598724</c:v>
                </c:pt>
                <c:pt idx="21">
                  <c:v>0.4</c:v>
                </c:pt>
                <c:pt idx="22">
                  <c:v>0.2703862660944206</c:v>
                </c:pt>
                <c:pt idx="23">
                  <c:v>0.31636363636363635</c:v>
                </c:pt>
                <c:pt idx="24">
                  <c:v>0.2816326530612245</c:v>
                </c:pt>
                <c:pt idx="25">
                  <c:v>0.3389830508474576</c:v>
                </c:pt>
                <c:pt idx="26">
                  <c:v>0.3694581280788177</c:v>
                </c:pt>
                <c:pt idx="27">
                  <c:v>0.37823834196891193</c:v>
                </c:pt>
                <c:pt idx="28">
                  <c:v>0.2988505747126437</c:v>
                </c:pt>
                <c:pt idx="29">
                  <c:v>0.39226519337016574</c:v>
                </c:pt>
                <c:pt idx="30">
                  <c:v>0.4146341463414634</c:v>
                </c:pt>
                <c:pt idx="31">
                  <c:v>0.3644067796610169</c:v>
                </c:pt>
                <c:pt idx="32">
                  <c:v>0.36486486486486486</c:v>
                </c:pt>
                <c:pt idx="33">
                  <c:v>0.31877729257641924</c:v>
                </c:pt>
                <c:pt idx="34">
                  <c:v>0.34173669467787116</c:v>
                </c:pt>
                <c:pt idx="35">
                  <c:v>0.34065934065934067</c:v>
                </c:pt>
                <c:pt idx="36">
                  <c:v>0.3693181818181818</c:v>
                </c:pt>
                <c:pt idx="37">
                  <c:v>0.37341772151898733</c:v>
                </c:pt>
                <c:pt idx="38">
                  <c:v>0.40131578947368424</c:v>
                </c:pt>
                <c:pt idx="39">
                  <c:v>0.3469387755102041</c:v>
                </c:pt>
                <c:pt idx="40">
                  <c:v>0.3617021276595745</c:v>
                </c:pt>
                <c:pt idx="41">
                  <c:v>0.40707964601769914</c:v>
                </c:pt>
                <c:pt idx="42">
                  <c:v>0.3886255924170616</c:v>
                </c:pt>
                <c:pt idx="43">
                  <c:v>0.326271186440678</c:v>
                </c:pt>
                <c:pt idx="44">
                  <c:v>0.3448275862068966</c:v>
                </c:pt>
                <c:pt idx="45">
                  <c:v>0.3732193732193732</c:v>
                </c:pt>
                <c:pt idx="46">
                  <c:v>0.34615384615384615</c:v>
                </c:pt>
                <c:pt idx="47">
                  <c:v>0.35185185185185186</c:v>
                </c:pt>
                <c:pt idx="48">
                  <c:v>0.33668341708542715</c:v>
                </c:pt>
                <c:pt idx="49">
                  <c:v>0.3158995815899582</c:v>
                </c:pt>
                <c:pt idx="50">
                  <c:v>0.2665036674816626</c:v>
                </c:pt>
                <c:pt idx="51">
                  <c:v>0.335149863760218</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953.726175834656</c:v>
                </c:pt>
              </c:numCache>
            </c:numRef>
          </c:xVal>
          <c:yVal>
            <c:numRef>
              <c:f>Sheet1!$B$162:$B$163</c:f>
              <c:numCache>
                <c:formatCode>General</c:formatCode>
                <c:ptCount val="2"/>
                <c:pt idx="0">
                  <c:v>0.38621636571273726</c:v>
                </c:pt>
                <c:pt idx="1">
                  <c:v>0.38621636571273726</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953.726175834656</c:v>
                </c:pt>
                <c:pt idx="1">
                  <c:v>1953.726175834656</c:v>
                </c:pt>
              </c:numCache>
            </c:numRef>
          </c:xVal>
          <c:yVal>
            <c:numRef>
              <c:f>Sheet1!$B$166:$B$167</c:f>
              <c:numCache>
                <c:formatCode>General</c:formatCode>
                <c:ptCount val="2"/>
                <c:pt idx="0">
                  <c:v>0.386216365712737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753.0748858763468</c:v>
                </c:pt>
              </c:numCache>
            </c:numRef>
          </c:xVal>
          <c:yVal>
            <c:numRef>
              <c:f>Sheet1!$B$170:$B$171</c:f>
              <c:numCache>
                <c:formatCode>General</c:formatCode>
                <c:ptCount val="2"/>
                <c:pt idx="0">
                  <c:v>0.36395238607287533</c:v>
                </c:pt>
                <c:pt idx="1">
                  <c:v>0.36395238607287533</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753.0748858763468</c:v>
                </c:pt>
                <c:pt idx="1">
                  <c:v>1753.0748858763468</c:v>
                </c:pt>
              </c:numCache>
            </c:numRef>
          </c:xVal>
          <c:yVal>
            <c:numRef>
              <c:f>Sheet1!$B$174:$B$175</c:f>
              <c:numCache>
                <c:formatCode>General</c:formatCode>
                <c:ptCount val="2"/>
                <c:pt idx="0">
                  <c:v>0.363952386072875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593.2962548649502</c:v>
                </c:pt>
              </c:numCache>
            </c:numRef>
          </c:xVal>
          <c:yVal>
            <c:numRef>
              <c:f>Sheet1!$B$178:$B$179</c:f>
              <c:numCache>
                <c:formatCode>General</c:formatCode>
                <c:ptCount val="2"/>
                <c:pt idx="0">
                  <c:v>0.34622357810726556</c:v>
                </c:pt>
                <c:pt idx="1">
                  <c:v>0.3462235781072655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593.2962548649502</c:v>
                </c:pt>
                <c:pt idx="1">
                  <c:v>1593.2962548649502</c:v>
                </c:pt>
              </c:numCache>
            </c:numRef>
          </c:xVal>
          <c:yVal>
            <c:numRef>
              <c:f>Sheet1!$B$182:$B$183</c:f>
              <c:numCache>
                <c:formatCode>General</c:formatCode>
                <c:ptCount val="2"/>
                <c:pt idx="0">
                  <c:v>0.346223578107265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255.3468</c:v>
                </c:pt>
                <c:pt idx="1">
                  <c:v>1357.4948</c:v>
                </c:pt>
                <c:pt idx="2">
                  <c:v>1468.6126</c:v>
                </c:pt>
                <c:pt idx="3">
                  <c:v>1523.1583</c:v>
                </c:pt>
                <c:pt idx="4">
                  <c:v>1538.1557</c:v>
                </c:pt>
                <c:pt idx="5">
                  <c:v>1532.1491</c:v>
                </c:pt>
                <c:pt idx="6">
                  <c:v>1388.5035</c:v>
                </c:pt>
                <c:pt idx="7">
                  <c:v>1334.8727</c:v>
                </c:pt>
                <c:pt idx="8">
                  <c:v>1406.6821</c:v>
                </c:pt>
                <c:pt idx="9">
                  <c:v>1416.4022</c:v>
                </c:pt>
                <c:pt idx="10">
                  <c:v>1401.3918</c:v>
                </c:pt>
                <c:pt idx="11">
                  <c:v>1333.8969</c:v>
                </c:pt>
                <c:pt idx="12">
                  <c:v>1401.9725</c:v>
                </c:pt>
                <c:pt idx="13">
                  <c:v>1387.1024</c:v>
                </c:pt>
                <c:pt idx="14">
                  <c:v>1360.9205</c:v>
                </c:pt>
                <c:pt idx="15">
                  <c:v>1375.2793</c:v>
                </c:pt>
                <c:pt idx="16">
                  <c:v>1448.6966</c:v>
                </c:pt>
                <c:pt idx="17">
                  <c:v>1399.8723</c:v>
                </c:pt>
                <c:pt idx="18">
                  <c:v>1468.1351</c:v>
                </c:pt>
                <c:pt idx="19">
                  <c:v>1512.0</c:v>
                </c:pt>
                <c:pt idx="20">
                  <c:v>1574.7593</c:v>
                </c:pt>
                <c:pt idx="21">
                  <c:v>1322.8026</c:v>
                </c:pt>
                <c:pt idx="22">
                  <c:v>1541.7937</c:v>
                </c:pt>
                <c:pt idx="23">
                  <c:v>1502.0115</c:v>
                </c:pt>
                <c:pt idx="24">
                  <c:v>1610.3333</c:v>
                </c:pt>
                <c:pt idx="25">
                  <c:v>1526.55</c:v>
                </c:pt>
                <c:pt idx="26">
                  <c:v>1512.6667</c:v>
                </c:pt>
                <c:pt idx="27">
                  <c:v>1501.5616</c:v>
                </c:pt>
                <c:pt idx="28">
                  <c:v>1630.4038</c:v>
                </c:pt>
                <c:pt idx="29">
                  <c:v>1610.9859</c:v>
                </c:pt>
                <c:pt idx="30">
                  <c:v>1592.5147</c:v>
                </c:pt>
                <c:pt idx="31">
                  <c:v>1573.4186</c:v>
                </c:pt>
                <c:pt idx="32">
                  <c:v>1477.7037</c:v>
                </c:pt>
                <c:pt idx="33">
                  <c:v>1556.3836</c:v>
                </c:pt>
                <c:pt idx="34">
                  <c:v>1570.2951</c:v>
                </c:pt>
                <c:pt idx="35">
                  <c:v>1584.7312</c:v>
                </c:pt>
                <c:pt idx="36">
                  <c:v>1548.7231</c:v>
                </c:pt>
                <c:pt idx="37">
                  <c:v>1472.8983</c:v>
                </c:pt>
                <c:pt idx="38">
                  <c:v>1518.2459</c:v>
                </c:pt>
                <c:pt idx="39">
                  <c:v>1502.1765</c:v>
                </c:pt>
                <c:pt idx="40">
                  <c:v>1509.8353</c:v>
                </c:pt>
                <c:pt idx="41">
                  <c:v>1616.6739</c:v>
                </c:pt>
                <c:pt idx="42">
                  <c:v>1572.4268</c:v>
                </c:pt>
                <c:pt idx="43">
                  <c:v>1573.961</c:v>
                </c:pt>
                <c:pt idx="44">
                  <c:v>1464.6667</c:v>
                </c:pt>
                <c:pt idx="45">
                  <c:v>1463.5649</c:v>
                </c:pt>
                <c:pt idx="46">
                  <c:v>1401.7222</c:v>
                </c:pt>
                <c:pt idx="47">
                  <c:v>1414.1513</c:v>
                </c:pt>
                <c:pt idx="48">
                  <c:v>1452.8582</c:v>
                </c:pt>
                <c:pt idx="49">
                  <c:v>1460.9801</c:v>
                </c:pt>
                <c:pt idx="50">
                  <c:v>1435.3807</c:v>
                </c:pt>
                <c:pt idx="51">
                  <c:v>1375.7317</c:v>
                </c:pt>
                <c:pt idx="52">
                  <c:v>1753.0748858763468</c:v>
                </c:pt>
                <c:pt idx="53">
                  <c:v>1953.726175834656</c:v>
                </c:pt>
                <c:pt idx="54">
                  <c:v>1593.2962548649502</c:v>
                </c:pt>
              </c:numCache>
            </c:numRef>
          </c:xVal>
          <c:yVal>
            <c:numRef>
              <c:f>Sheet1!$B$186:$B$240</c:f>
              <c:numCache>
                <c:formatCode>General</c:formatCode>
                <c:ptCount val="55"/>
                <c:pt idx="0">
                  <c:v>0.3087251908106824</c:v>
                </c:pt>
                <c:pt idx="1">
                  <c:v>0.3200593865326493</c:v>
                </c:pt>
                <c:pt idx="2">
                  <c:v>0.3323888584106536</c:v>
                </c:pt>
                <c:pt idx="3">
                  <c:v>0.33844117112937244</c:v>
                </c:pt>
                <c:pt idx="4">
                  <c:v>0.34010526114504214</c:v>
                </c:pt>
                <c:pt idx="5">
                  <c:v>0.33943877741532086</c:v>
                </c:pt>
                <c:pt idx="6">
                  <c:v>0.32350006745526905</c:v>
                </c:pt>
                <c:pt idx="7">
                  <c:v>0.31754927072967803</c:v>
                </c:pt>
                <c:pt idx="8">
                  <c:v>0.3255171388649035</c:v>
                </c:pt>
                <c:pt idx="9">
                  <c:v>0.3265956672339082</c:v>
                </c:pt>
                <c:pt idx="10">
                  <c:v>0.324930134756865</c:v>
                </c:pt>
                <c:pt idx="11">
                  <c:v>0.3174409973598079</c:v>
                </c:pt>
                <c:pt idx="12">
                  <c:v>0.3249945683968359</c:v>
                </c:pt>
                <c:pt idx="13">
                  <c:v>0.3233446034067703</c:v>
                </c:pt>
                <c:pt idx="14">
                  <c:v>0.3204394972962936</c:v>
                </c:pt>
                <c:pt idx="15">
                  <c:v>0.32203272917095177</c:v>
                </c:pt>
                <c:pt idx="16">
                  <c:v>0.3301790075863722</c:v>
                </c:pt>
                <c:pt idx="17">
                  <c:v>0.32476153321401025</c:v>
                </c:pt>
                <c:pt idx="18">
                  <c:v>0.3323358756948174</c:v>
                </c:pt>
                <c:pt idx="19">
                  <c:v>0.337203062149026</c:v>
                </c:pt>
                <c:pt idx="20">
                  <c:v>0.3441667441552683</c:v>
                </c:pt>
                <c:pt idx="21">
                  <c:v>0.31620998972776204</c:v>
                </c:pt>
                <c:pt idx="22">
                  <c:v>0.34050892841250224</c:v>
                </c:pt>
                <c:pt idx="23">
                  <c:v>0.33609475250058585</c:v>
                </c:pt>
                <c:pt idx="24">
                  <c:v>0.3481139842247093</c:v>
                </c:pt>
                <c:pt idx="25">
                  <c:v>0.33881750930173204</c:v>
                </c:pt>
                <c:pt idx="26">
                  <c:v>0.3372770382257758</c:v>
                </c:pt>
                <c:pt idx="27">
                  <c:v>0.33604483224120424</c:v>
                </c:pt>
                <c:pt idx="28">
                  <c:v>0.35034097814762244</c:v>
                </c:pt>
                <c:pt idx="29">
                  <c:v>0.3481863957856616</c:v>
                </c:pt>
                <c:pt idx="30">
                  <c:v>0.3461368578992654</c:v>
                </c:pt>
                <c:pt idx="31">
                  <c:v>0.3440179820042283</c:v>
                </c:pt>
                <c:pt idx="32">
                  <c:v>0.3333975938408918</c:v>
                </c:pt>
                <c:pt idx="33">
                  <c:v>0.34212780281203936</c:v>
                </c:pt>
                <c:pt idx="34">
                  <c:v>0.34367140291959064</c:v>
                </c:pt>
                <c:pt idx="35">
                  <c:v>0.34527321189149307</c:v>
                </c:pt>
                <c:pt idx="36">
                  <c:v>0.3412778047080322</c:v>
                </c:pt>
                <c:pt idx="37">
                  <c:v>0.33286439354208675</c:v>
                </c:pt>
                <c:pt idx="38">
                  <c:v>0.33789609826387734</c:v>
                </c:pt>
                <c:pt idx="39">
                  <c:v>0.33611306066417324</c:v>
                </c:pt>
                <c:pt idx="40">
                  <c:v>0.3369628701386162</c:v>
                </c:pt>
                <c:pt idx="41">
                  <c:v>0.3488175281158741</c:v>
                </c:pt>
                <c:pt idx="42">
                  <c:v>0.343907933297283</c:v>
                </c:pt>
                <c:pt idx="43">
                  <c:v>0.34407816593107554</c:v>
                </c:pt>
                <c:pt idx="44">
                  <c:v>0.3319510270003537</c:v>
                </c:pt>
                <c:pt idx="45">
                  <c:v>0.33182877285101686</c:v>
                </c:pt>
                <c:pt idx="46">
                  <c:v>0.32496679546746665</c:v>
                </c:pt>
                <c:pt idx="47">
                  <c:v>0.32634591059500606</c:v>
                </c:pt>
                <c:pt idx="48">
                  <c:v>0.3306407727596163</c:v>
                </c:pt>
                <c:pt idx="49">
                  <c:v>0.33154196714652784</c:v>
                </c:pt>
                <c:pt idx="50">
                  <c:v>0.3287014944014431</c:v>
                </c:pt>
                <c:pt idx="51">
                  <c:v>0.32208292682675144</c:v>
                </c:pt>
                <c:pt idx="52">
                  <c:v>0.36395238607287533</c:v>
                </c:pt>
                <c:pt idx="53">
                  <c:v>0.38621636571273726</c:v>
                </c:pt>
                <c:pt idx="54">
                  <c:v>0.346223578107265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44.0"/>
          <c:min val="6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24561403508771"/>
          <c:min val="0.1849521203830369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7.134574446532</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7.134574446532</c:v>
                </c:pt>
                <c:pt idx="1">
                  <c:v>3497.134574446532</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7.134574446532</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7.134574446532</c:v>
                </c:pt>
                <c:pt idx="1">
                  <c:v>3497.134574446532</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8.2359572606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8.23595726061</c:v>
                </c:pt>
                <c:pt idx="1">
                  <c:v>4248.2359572606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7.134574446532</c:v>
                </c:pt>
                <c:pt idx="53">
                  <c:v>3497.134574446532</c:v>
                </c:pt>
                <c:pt idx="54">
                  <c:v>4248.23595726061</c:v>
                </c:pt>
              </c:numCache>
            </c:numRef>
          </c:xVal>
          <c:yVal>
            <c:numRef>
              <c:f>Sheet1!$B$136:$B$190</c:f>
              <c:numCache>
                <c:formatCode>General</c:formatCode>
                <c:ptCount val="55"/>
                <c:pt idx="0">
                  <c:v>0.002699799786814415</c:v>
                </c:pt>
                <c:pt idx="1">
                  <c:v>0.003960810437056742</c:v>
                </c:pt>
                <c:pt idx="2">
                  <c:v>0.002834178215612734</c:v>
                </c:pt>
                <c:pt idx="3">
                  <c:v>0.00410561241850919</c:v>
                </c:pt>
                <c:pt idx="4">
                  <c:v>0.0026222870511226175</c:v>
                </c:pt>
                <c:pt idx="5">
                  <c:v>0.0019695669321136682</c:v>
                </c:pt>
                <c:pt idx="6">
                  <c:v>0.002559104074951985</c:v>
                </c:pt>
                <c:pt idx="7">
                  <c:v>0.0031149844024753468</c:v>
                </c:pt>
                <c:pt idx="8">
                  <c:v>0.003337893968036145</c:v>
                </c:pt>
                <c:pt idx="9">
                  <c:v>0.0033351911633666843</c:v>
                </c:pt>
                <c:pt idx="10">
                  <c:v>0.0029714920842930917</c:v>
                </c:pt>
                <c:pt idx="11">
                  <c:v>0.0034797916581621804</c:v>
                </c:pt>
                <c:pt idx="12">
                  <c:v>0.003813105766203597</c:v>
                </c:pt>
                <c:pt idx="13">
                  <c:v>0.004523880385193439</c:v>
                </c:pt>
                <c:pt idx="14">
                  <c:v>0.004542616152405606</c:v>
                </c:pt>
                <c:pt idx="15">
                  <c:v>0.004145060373285821</c:v>
                </c:pt>
                <c:pt idx="16">
                  <c:v>0.003920719754083769</c:v>
                </c:pt>
                <c:pt idx="17">
                  <c:v>0.005386927477224924</c:v>
                </c:pt>
                <c:pt idx="18">
                  <c:v>0.003300721993721046</c:v>
                </c:pt>
                <c:pt idx="19">
                  <c:v>0.0028608905049491793</c:v>
                </c:pt>
                <c:pt idx="20">
                  <c:v>0.0032686046290209183</c:v>
                </c:pt>
                <c:pt idx="21">
                  <c:v>0.00387305018254803</c:v>
                </c:pt>
                <c:pt idx="22">
                  <c:v>0.003479679879345425</c:v>
                </c:pt>
                <c:pt idx="23">
                  <c:v>0.005116798303263349</c:v>
                </c:pt>
                <c:pt idx="24">
                  <c:v>0.0034936709205731463</c:v>
                </c:pt>
                <c:pt idx="25">
                  <c:v>0.00399850517313109</c:v>
                </c:pt>
                <c:pt idx="26">
                  <c:v>0.0035415713474039982</c:v>
                </c:pt>
                <c:pt idx="27">
                  <c:v>0.00403808270589912</c:v>
                </c:pt>
                <c:pt idx="28">
                  <c:v>0.0037685752571078052</c:v>
                </c:pt>
                <c:pt idx="29">
                  <c:v>0.0040811590224266205</c:v>
                </c:pt>
                <c:pt idx="30">
                  <c:v>0.004214419663057393</c:v>
                </c:pt>
                <c:pt idx="31">
                  <c:v>0.003942448274520321</c:v>
                </c:pt>
                <c:pt idx="32">
                  <c:v>0.0030775840647495863</c:v>
                </c:pt>
                <c:pt idx="33">
                  <c:v>0.002338606119563498</c:v>
                </c:pt>
                <c:pt idx="34">
                  <c:v>0.0022455497206399153</c:v>
                </c:pt>
                <c:pt idx="35">
                  <c:v>0.0036092633884868084</c:v>
                </c:pt>
                <c:pt idx="36">
                  <c:v>0.0030669159514358684</c:v>
                </c:pt>
                <c:pt idx="37">
                  <c:v>0.0032041701928811755</c:v>
                </c:pt>
                <c:pt idx="38">
                  <c:v>0.0041939901263862486</c:v>
                </c:pt>
                <c:pt idx="39">
                  <c:v>0.0049209235480835185</c:v>
                </c:pt>
                <c:pt idx="40">
                  <c:v>0.004844098038524668</c:v>
                </c:pt>
                <c:pt idx="41">
                  <c:v>0.004480936850508771</c:v>
                </c:pt>
                <c:pt idx="42">
                  <c:v>0.00475944712183425</c:v>
                </c:pt>
                <c:pt idx="43">
                  <c:v>0.0044491809870456315</c:v>
                </c:pt>
                <c:pt idx="44">
                  <c:v>0.003336853428286545</c:v>
                </c:pt>
                <c:pt idx="45">
                  <c:v>0.003160644091210459</c:v>
                </c:pt>
                <c:pt idx="46">
                  <c:v>0.003279110769845388</c:v>
                </c:pt>
                <c:pt idx="47">
                  <c:v>0.0033466468901583307</c:v>
                </c:pt>
                <c:pt idx="48">
                  <c:v>0.004149591153191065</c:v>
                </c:pt>
                <c:pt idx="49">
                  <c:v>0.003827193990924865</c:v>
                </c:pt>
                <c:pt idx="50">
                  <c:v>0.003284851537642827</c:v>
                </c:pt>
                <c:pt idx="51">
                  <c:v>0.0030867134394154594</c:v>
                </c:pt>
                <c:pt idx="52">
                  <c:v>0.004361161800028936</c:v>
                </c:pt>
                <c:pt idx="53">
                  <c:v>0.004361161800028936</c:v>
                </c:pt>
                <c:pt idx="54">
                  <c:v>0.0030242633313374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891761327377155</c:v>
                </c:pt>
                <c:pt idx="1">
                  <c:v>1.96217676154923</c:v>
                </c:pt>
                <c:pt idx="2">
                  <c:v>1.3148733410942957</c:v>
                </c:pt>
                <c:pt idx="3">
                  <c:v>1.3337614541257936</c:v>
                </c:pt>
                <c:pt idx="4">
                  <c:v>1.4305182728410513</c:v>
                </c:pt>
                <c:pt idx="5">
                  <c:v>1.618035451977401</c:v>
                </c:pt>
                <c:pt idx="6">
                  <c:v>1.4322494750656167</c:v>
                </c:pt>
                <c:pt idx="7">
                  <c:v>1.3506903957528957</c:v>
                </c:pt>
                <c:pt idx="8">
                  <c:v>1.32397568533969</c:v>
                </c:pt>
                <c:pt idx="9">
                  <c:v>1.1314585854318584</c:v>
                </c:pt>
                <c:pt idx="10">
                  <c:v>1.5313769684707468</c:v>
                </c:pt>
                <c:pt idx="11">
                  <c:v>1.4309657260506234</c:v>
                </c:pt>
                <c:pt idx="12">
                  <c:v>1.5820456559688465</c:v>
                </c:pt>
                <c:pt idx="13">
                  <c:v>1.1723568235292694</c:v>
                </c:pt>
                <c:pt idx="14">
                  <c:v>1.3551553831401497</c:v>
                </c:pt>
                <c:pt idx="15">
                  <c:v>1.386654905385735</c:v>
                </c:pt>
                <c:pt idx="16">
                  <c:v>1.5636330334190232</c:v>
                </c:pt>
                <c:pt idx="17">
                  <c:v>1.6176724366862993</c:v>
                </c:pt>
                <c:pt idx="18">
                  <c:v>1.5700572302048301</c:v>
                </c:pt>
                <c:pt idx="19">
                  <c:v>1.753717048143805</c:v>
                </c:pt>
                <c:pt idx="20">
                  <c:v>1.743925052470108</c:v>
                </c:pt>
                <c:pt idx="21">
                  <c:v>1.8757724592438432</c:v>
                </c:pt>
                <c:pt idx="22">
                  <c:v>1.555124969158648</c:v>
                </c:pt>
                <c:pt idx="23">
                  <c:v>1.6097673779792443</c:v>
                </c:pt>
                <c:pt idx="24">
                  <c:v>1.4598091263544568</c:v>
                </c:pt>
                <c:pt idx="25">
                  <c:v>1.6654783467158087</c:v>
                </c:pt>
                <c:pt idx="26">
                  <c:v>1.7851272664479365</c:v>
                </c:pt>
                <c:pt idx="27">
                  <c:v>1.14645318569162</c:v>
                </c:pt>
                <c:pt idx="28">
                  <c:v>1.2631959585492227</c:v>
                </c:pt>
                <c:pt idx="29">
                  <c:v>1.5344250227755847</c:v>
                </c:pt>
                <c:pt idx="30">
                  <c:v>1.1510279428147048</c:v>
                </c:pt>
                <c:pt idx="31">
                  <c:v>1.263233704115684</c:v>
                </c:pt>
                <c:pt idx="32">
                  <c:v>1.0806059519193485</c:v>
                </c:pt>
                <c:pt idx="33">
                  <c:v>0.9731635088077718</c:v>
                </c:pt>
                <c:pt idx="34">
                  <c:v>0.865361789730271</c:v>
                </c:pt>
                <c:pt idx="35">
                  <c:v>1.6203951030927835</c:v>
                </c:pt>
                <c:pt idx="36">
                  <c:v>1.124659501965924</c:v>
                </c:pt>
                <c:pt idx="37">
                  <c:v>1.3760976068365203</c:v>
                </c:pt>
                <c:pt idx="38">
                  <c:v>1.0286850152905198</c:v>
                </c:pt>
                <c:pt idx="39">
                  <c:v>0.6722929726996967</c:v>
                </c:pt>
                <c:pt idx="40">
                  <c:v>1.1274929544569872</c:v>
                </c:pt>
                <c:pt idx="41">
                  <c:v>0.842159452217922</c:v>
                </c:pt>
                <c:pt idx="42">
                  <c:v>1.323219211467167</c:v>
                </c:pt>
                <c:pt idx="43">
                  <c:v>1.2646178518673443</c:v>
                </c:pt>
                <c:pt idx="44">
                  <c:v>1.7156076448828608</c:v>
                </c:pt>
                <c:pt idx="45">
                  <c:v>1.6063553853225065</c:v>
                </c:pt>
                <c:pt idx="46">
                  <c:v>1.6947401323373552</c:v>
                </c:pt>
                <c:pt idx="47">
                  <c:v>1.462264305816135</c:v>
                </c:pt>
                <c:pt idx="48">
                  <c:v>1.3588134027187764</c:v>
                </c:pt>
                <c:pt idx="49">
                  <c:v>0.8170120676238035</c:v>
                </c:pt>
                <c:pt idx="50">
                  <c:v>1.1800955993930198</c:v>
                </c:pt>
                <c:pt idx="51">
                  <c:v>0.9925460537021968</c:v>
                </c:pt>
                <c:pt idx="52">
                  <c:v>1.0010616153205663</c:v>
                </c:pt>
                <c:pt idx="53">
                  <c:v>1.2109564125331733</c:v>
                </c:pt>
                <c:pt idx="54">
                  <c:v>1.3700413830508475</c:v>
                </c:pt>
                <c:pt idx="55">
                  <c:v>1.0310962406132078</c:v>
                </c:pt>
                <c:pt idx="56">
                  <c:v>1.0923317173377156</c:v>
                </c:pt>
                <c:pt idx="57">
                  <c:v>1.2636388312912348</c:v>
                </c:pt>
                <c:pt idx="58">
                  <c:v>1.0370853760213439</c:v>
                </c:pt>
                <c:pt idx="59">
                  <c:v>0.9631997158193875</c:v>
                </c:pt>
                <c:pt idx="60">
                  <c:v>0.8397056798623063</c:v>
                </c:pt>
                <c:pt idx="61">
                  <c:v>1.0769861835245047</c:v>
                </c:pt>
                <c:pt idx="62">
                  <c:v>1.214222290388548</c:v>
                </c:pt>
                <c:pt idx="63">
                  <c:v>1.2446026483050847</c:v>
                </c:pt>
                <c:pt idx="64">
                  <c:v>1.0738160866552524</c:v>
                </c:pt>
                <c:pt idx="65">
                  <c:v>1.1724914739317915</c:v>
                </c:pt>
                <c:pt idx="66">
                  <c:v>0.9735442041303246</c:v>
                </c:pt>
                <c:pt idx="67">
                  <c:v>1.483976153134751</c:v>
                </c:pt>
                <c:pt idx="68">
                  <c:v>1.1027887542857142</c:v>
                </c:pt>
                <c:pt idx="69">
                  <c:v>1.4755057524847393</c:v>
                </c:pt>
                <c:pt idx="70">
                  <c:v>1.6506686577939635</c:v>
                </c:pt>
                <c:pt idx="71">
                  <c:v>1.4846047247929859</c:v>
                </c:pt>
                <c:pt idx="72">
                  <c:v>1.70834574065275</c:v>
                </c:pt>
                <c:pt idx="73">
                  <c:v>1.8098040201005026</c:v>
                </c:pt>
                <c:pt idx="74">
                  <c:v>1.1971452918684735</c:v>
                </c:pt>
                <c:pt idx="75">
                  <c:v>3.7653251756924346</c:v>
                </c:pt>
                <c:pt idx="76">
                  <c:v>1.5336298213823452</c:v>
                </c:pt>
                <c:pt idx="77">
                  <c:v>2.348498360655738</c:v>
                </c:pt>
                <c:pt idx="78">
                  <c:v>1.5379558585858586</c:v>
                </c:pt>
                <c:pt idx="79">
                  <c:v>1.9219563014149392</c:v>
                </c:pt>
                <c:pt idx="80">
                  <c:v>1.4281372962607861</c:v>
                </c:pt>
                <c:pt idx="81">
                  <c:v>1.1348940248027057</c:v>
                </c:pt>
                <c:pt idx="82">
                  <c:v>1.0977456655785274</c:v>
                </c:pt>
                <c:pt idx="83">
                  <c:v>2.6114685663401604</c:v>
                </c:pt>
                <c:pt idx="84">
                  <c:v>2.576204972375691</c:v>
                </c:pt>
                <c:pt idx="85">
                  <c:v>1.5454626373626374</c:v>
                </c:pt>
                <c:pt idx="86">
                  <c:v>0.9873489723600284</c:v>
                </c:pt>
                <c:pt idx="87">
                  <c:v>1.54613847012842</c:v>
                </c:pt>
                <c:pt idx="88">
                  <c:v>2.247354016880275</c:v>
                </c:pt>
                <c:pt idx="89">
                  <c:v>2.0174754008870694</c:v>
                </c:pt>
                <c:pt idx="90">
                  <c:v>1.1261554436265013</c:v>
                </c:pt>
                <c:pt idx="91">
                  <c:v>1.2708112271743262</c:v>
                </c:pt>
                <c:pt idx="92">
                  <c:v>1.6602086527929902</c:v>
                </c:pt>
                <c:pt idx="93">
                  <c:v>2.2651299270072993</c:v>
                </c:pt>
                <c:pt idx="94">
                  <c:v>0.8299664733790195</c:v>
                </c:pt>
                <c:pt idx="95">
                  <c:v>1.900241370223979</c:v>
                </c:pt>
                <c:pt idx="96">
                  <c:v>2.1136974416333683</c:v>
                </c:pt>
                <c:pt idx="97">
                  <c:v>1.716072545340838</c:v>
                </c:pt>
                <c:pt idx="98">
                  <c:v>1.6253463391702903</c:v>
                </c:pt>
                <c:pt idx="99">
                  <c:v>1.4554639873560624</c:v>
                </c:pt>
                <c:pt idx="100">
                  <c:v>1.1249082158817463</c:v>
                </c:pt>
                <c:pt idx="101">
                  <c:v>1.3500415327490007</c:v>
                </c:pt>
                <c:pt idx="102">
                  <c:v>1.6671901630789963</c:v>
                </c:pt>
                <c:pt idx="103">
                  <c:v>1.3158043609324757</c:v>
                </c:pt>
                <c:pt idx="104">
                  <c:v>1.4710006619593998</c:v>
                </c:pt>
              </c:numCache>
            </c:numRef>
          </c:xVal>
          <c:yVal>
            <c:numRef>
              <c:f>Sheet1!$B$2:$B$106</c:f>
              <c:numCache>
                <c:formatCode>General</c:formatCode>
                <c:ptCount val="105"/>
                <c:pt idx="0">
                  <c:v>0.33954451345755693</c:v>
                </c:pt>
                <c:pt idx="1">
                  <c:v>0.3175</c:v>
                </c:pt>
                <c:pt idx="2">
                  <c:v>0.34507042253521125</c:v>
                </c:pt>
                <c:pt idx="3">
                  <c:v>0.32670454545454547</c:v>
                </c:pt>
                <c:pt idx="4">
                  <c:v>0.3387096774193548</c:v>
                </c:pt>
                <c:pt idx="5">
                  <c:v>0.32625994694960214</c:v>
                </c:pt>
                <c:pt idx="6">
                  <c:v>0.34507042253521125</c:v>
                </c:pt>
                <c:pt idx="7">
                  <c:v>0.3435448577680525</c:v>
                </c:pt>
                <c:pt idx="8">
                  <c:v>0.3729166666666667</c:v>
                </c:pt>
                <c:pt idx="9">
                  <c:v>0.32432432432432434</c:v>
                </c:pt>
                <c:pt idx="10">
                  <c:v>0.3162251655629139</c:v>
                </c:pt>
                <c:pt idx="11">
                  <c:v>0.2935606060606061</c:v>
                </c:pt>
                <c:pt idx="12">
                  <c:v>0.31016042780748665</c:v>
                </c:pt>
                <c:pt idx="13">
                  <c:v>0.3180987202925046</c:v>
                </c:pt>
                <c:pt idx="14">
                  <c:v>0.28482328482328484</c:v>
                </c:pt>
                <c:pt idx="15">
                  <c:v>0.2967581047381546</c:v>
                </c:pt>
                <c:pt idx="16">
                  <c:v>0.25925925925925924</c:v>
                </c:pt>
                <c:pt idx="17">
                  <c:v>0.23776223776223776</c:v>
                </c:pt>
                <c:pt idx="18">
                  <c:v>0.2766798418972332</c:v>
                </c:pt>
                <c:pt idx="19">
                  <c:v>0.2568306010928962</c:v>
                </c:pt>
                <c:pt idx="20">
                  <c:v>0.26785714285714285</c:v>
                </c:pt>
                <c:pt idx="21">
                  <c:v>0.2727272727272727</c:v>
                </c:pt>
                <c:pt idx="22">
                  <c:v>0.35177865612648224</c:v>
                </c:pt>
                <c:pt idx="23">
                  <c:v>0.2772727272727273</c:v>
                </c:pt>
                <c:pt idx="24">
                  <c:v>0.3317307692307692</c:v>
                </c:pt>
                <c:pt idx="25">
                  <c:v>0.3412322274881517</c:v>
                </c:pt>
                <c:pt idx="26">
                  <c:v>0.35638297872340424</c:v>
                </c:pt>
                <c:pt idx="27">
                  <c:v>0.3883495145631068</c:v>
                </c:pt>
                <c:pt idx="28">
                  <c:v>0.3197969543147208</c:v>
                </c:pt>
                <c:pt idx="29">
                  <c:v>0.3170731707317073</c:v>
                </c:pt>
                <c:pt idx="30">
                  <c:v>0.34299516908212563</c:v>
                </c:pt>
                <c:pt idx="31">
                  <c:v>0.3756906077348066</c:v>
                </c:pt>
                <c:pt idx="32">
                  <c:v>0.405</c:v>
                </c:pt>
                <c:pt idx="33">
                  <c:v>0.35175879396984927</c:v>
                </c:pt>
                <c:pt idx="34">
                  <c:v>0.3522012578616352</c:v>
                </c:pt>
                <c:pt idx="35">
                  <c:v>0.35572139303482586</c:v>
                </c:pt>
                <c:pt idx="36">
                  <c:v>0.28027681660899656</c:v>
                </c:pt>
                <c:pt idx="37">
                  <c:v>0.392226148409894</c:v>
                </c:pt>
                <c:pt idx="38">
                  <c:v>0.26595744680851063</c:v>
                </c:pt>
                <c:pt idx="39">
                  <c:v>0.2634730538922156</c:v>
                </c:pt>
                <c:pt idx="40">
                  <c:v>0.2821576763485477</c:v>
                </c:pt>
                <c:pt idx="41">
                  <c:v>0.2694063926940639</c:v>
                </c:pt>
                <c:pt idx="42">
                  <c:v>0.319634703196347</c:v>
                </c:pt>
                <c:pt idx="43">
                  <c:v>0.2777777777777778</c:v>
                </c:pt>
                <c:pt idx="44">
                  <c:v>0.39492753623188404</c:v>
                </c:pt>
                <c:pt idx="45">
                  <c:v>0.3316953316953317</c:v>
                </c:pt>
                <c:pt idx="46">
                  <c:v>0.3844856661045531</c:v>
                </c:pt>
                <c:pt idx="47">
                  <c:v>0.3843351548269581</c:v>
                </c:pt>
                <c:pt idx="48">
                  <c:v>0.3758620689655172</c:v>
                </c:pt>
                <c:pt idx="49">
                  <c:v>0.4109461966604824</c:v>
                </c:pt>
                <c:pt idx="50">
                  <c:v>0.36624775583482944</c:v>
                </c:pt>
                <c:pt idx="51">
                  <c:v>0.4172661870503597</c:v>
                </c:pt>
                <c:pt idx="52">
                  <c:v>0.4166666666666667</c:v>
                </c:pt>
                <c:pt idx="53">
                  <c:v>0.39710144927536234</c:v>
                </c:pt>
                <c:pt idx="54">
                  <c:v>0.43373493975903615</c:v>
                </c:pt>
                <c:pt idx="55">
                  <c:v>0.43529411764705883</c:v>
                </c:pt>
                <c:pt idx="56">
                  <c:v>0.42005420054200543</c:v>
                </c:pt>
                <c:pt idx="57">
                  <c:v>0.41509433962264153</c:v>
                </c:pt>
                <c:pt idx="58">
                  <c:v>0.42857142857142855</c:v>
                </c:pt>
                <c:pt idx="59">
                  <c:v>0.4406047516198704</c:v>
                </c:pt>
                <c:pt idx="60">
                  <c:v>0.44901960784313727</c:v>
                </c:pt>
                <c:pt idx="61">
                  <c:v>0.41818181818181815</c:v>
                </c:pt>
                <c:pt idx="62">
                  <c:v>0.39849624060150374</c:v>
                </c:pt>
                <c:pt idx="63">
                  <c:v>0.44596443228454175</c:v>
                </c:pt>
                <c:pt idx="64">
                  <c:v>0.3944723618090452</c:v>
                </c:pt>
                <c:pt idx="65">
                  <c:v>0.39854014598540144</c:v>
                </c:pt>
                <c:pt idx="66">
                  <c:v>0.4153605015673981</c:v>
                </c:pt>
                <c:pt idx="67">
                  <c:v>0.38289205702647655</c:v>
                </c:pt>
                <c:pt idx="68">
                  <c:v>0.3959537572254335</c:v>
                </c:pt>
                <c:pt idx="69">
                  <c:v>0.36151603498542273</c:v>
                </c:pt>
                <c:pt idx="70">
                  <c:v>0.34551495016611294</c:v>
                </c:pt>
                <c:pt idx="71">
                  <c:v>0.421875</c:v>
                </c:pt>
                <c:pt idx="72">
                  <c:v>0.4573643410852713</c:v>
                </c:pt>
                <c:pt idx="73">
                  <c:v>0.45348837209302323</c:v>
                </c:pt>
                <c:pt idx="74">
                  <c:v>0.5150501672240803</c:v>
                </c:pt>
                <c:pt idx="75">
                  <c:v>0.3815789473684211</c:v>
                </c:pt>
                <c:pt idx="76">
                  <c:v>0.3617021276595745</c:v>
                </c:pt>
                <c:pt idx="77">
                  <c:v>0.37583892617449666</c:v>
                </c:pt>
                <c:pt idx="78">
                  <c:v>0.329608938547486</c:v>
                </c:pt>
                <c:pt idx="79">
                  <c:v>0.3103448275862069</c:v>
                </c:pt>
                <c:pt idx="80">
                  <c:v>0.29120879120879123</c:v>
                </c:pt>
                <c:pt idx="81">
                  <c:v>0.3346456692913386</c:v>
                </c:pt>
                <c:pt idx="82">
                  <c:v>0.3333333333333333</c:v>
                </c:pt>
                <c:pt idx="83">
                  <c:v>0.35333333333333333</c:v>
                </c:pt>
                <c:pt idx="84">
                  <c:v>0.3431952662721893</c:v>
                </c:pt>
                <c:pt idx="85">
                  <c:v>0.34444444444444444</c:v>
                </c:pt>
                <c:pt idx="86">
                  <c:v>0.36099585062240663</c:v>
                </c:pt>
                <c:pt idx="87">
                  <c:v>0.3180327868852459</c:v>
                </c:pt>
                <c:pt idx="88">
                  <c:v>0.33532934131736525</c:v>
                </c:pt>
                <c:pt idx="89">
                  <c:v>0.35119047619047616</c:v>
                </c:pt>
                <c:pt idx="90">
                  <c:v>0.32748538011695905</c:v>
                </c:pt>
                <c:pt idx="91">
                  <c:v>0.31386861313868614</c:v>
                </c:pt>
                <c:pt idx="92">
                  <c:v>0.3446327683615819</c:v>
                </c:pt>
                <c:pt idx="93">
                  <c:v>0.379746835443038</c:v>
                </c:pt>
                <c:pt idx="94">
                  <c:v>0.3146067415730337</c:v>
                </c:pt>
                <c:pt idx="95">
                  <c:v>0.3754152823920266</c:v>
                </c:pt>
                <c:pt idx="96">
                  <c:v>0.33935018050541516</c:v>
                </c:pt>
                <c:pt idx="97">
                  <c:v>0.33903133903133903</c:v>
                </c:pt>
                <c:pt idx="98">
                  <c:v>0.317351598173516</c:v>
                </c:pt>
                <c:pt idx="99">
                  <c:v>0.31746031746031744</c:v>
                </c:pt>
                <c:pt idx="100">
                  <c:v>0.3430735930735931</c:v>
                </c:pt>
                <c:pt idx="101">
                  <c:v>0.3485148514851485</c:v>
                </c:pt>
                <c:pt idx="102">
                  <c:v>0.3059490084985836</c:v>
                </c:pt>
                <c:pt idx="103">
                  <c:v>0.3333333333333333</c:v>
                </c:pt>
                <c:pt idx="104">
                  <c:v>0.353760445682451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35355414960923</c:v>
                </c:pt>
                <c:pt idx="1">
                  <c:v>1.1939450876612636</c:v>
                </c:pt>
                <c:pt idx="2">
                  <c:v>1.726248808030113</c:v>
                </c:pt>
                <c:pt idx="3">
                  <c:v>1.2073184450614836</c:v>
                </c:pt>
                <c:pt idx="4">
                  <c:v>1.62459978106185</c:v>
                </c:pt>
                <c:pt idx="5">
                  <c:v>1.2259869520049864</c:v>
                </c:pt>
                <c:pt idx="6">
                  <c:v>1.2054530455225476</c:v>
                </c:pt>
                <c:pt idx="7">
                  <c:v>1.0645160038932113</c:v>
                </c:pt>
                <c:pt idx="8">
                  <c:v>1.2672716945996276</c:v>
                </c:pt>
                <c:pt idx="9">
                  <c:v>1.1984210090472573</c:v>
                </c:pt>
                <c:pt idx="10">
                  <c:v>1.1678841186736475</c:v>
                </c:pt>
                <c:pt idx="11">
                  <c:v>1.0133423415791256</c:v>
                </c:pt>
                <c:pt idx="12">
                  <c:v>0.9576930879345603</c:v>
                </c:pt>
                <c:pt idx="13">
                  <c:v>1.4509744764032393</c:v>
                </c:pt>
                <c:pt idx="14">
                  <c:v>1.276207572895745</c:v>
                </c:pt>
                <c:pt idx="15">
                  <c:v>1.0118593239650588</c:v>
                </c:pt>
                <c:pt idx="16">
                  <c:v>1.2939223300970875</c:v>
                </c:pt>
                <c:pt idx="17">
                  <c:v>0.9053864829396325</c:v>
                </c:pt>
                <c:pt idx="18">
                  <c:v>0.7683766657450927</c:v>
                </c:pt>
                <c:pt idx="19">
                  <c:v>1.5600015790772266</c:v>
                </c:pt>
                <c:pt idx="20">
                  <c:v>1.783551841671248</c:v>
                </c:pt>
                <c:pt idx="21">
                  <c:v>1.5241251386321626</c:v>
                </c:pt>
                <c:pt idx="22">
                  <c:v>1.1500241196333816</c:v>
                </c:pt>
                <c:pt idx="23">
                  <c:v>0.8579429605501266</c:v>
                </c:pt>
                <c:pt idx="24">
                  <c:v>1.5135074032838165</c:v>
                </c:pt>
                <c:pt idx="25">
                  <c:v>0.8356049268900546</c:v>
                </c:pt>
                <c:pt idx="26">
                  <c:v>1.8717086904761906</c:v>
                </c:pt>
                <c:pt idx="27">
                  <c:v>1.5417816813048935</c:v>
                </c:pt>
                <c:pt idx="28">
                  <c:v>1.8071905587092918</c:v>
                </c:pt>
                <c:pt idx="29">
                  <c:v>1.748370171421306</c:v>
                </c:pt>
                <c:pt idx="30">
                  <c:v>1.0101521372667068</c:v>
                </c:pt>
                <c:pt idx="31">
                  <c:v>1.8318406769416742</c:v>
                </c:pt>
                <c:pt idx="32">
                  <c:v>1.2689837219533657</c:v>
                </c:pt>
                <c:pt idx="33">
                  <c:v>1.5062904565647486</c:v>
                </c:pt>
                <c:pt idx="34">
                  <c:v>1.7993164687071723</c:v>
                </c:pt>
                <c:pt idx="35">
                  <c:v>1.697124154262517</c:v>
                </c:pt>
                <c:pt idx="36">
                  <c:v>1.294239081385979</c:v>
                </c:pt>
                <c:pt idx="37">
                  <c:v>1.174801243684415</c:v>
                </c:pt>
                <c:pt idx="38">
                  <c:v>1.1835669899934584</c:v>
                </c:pt>
                <c:pt idx="39">
                  <c:v>0.6364085006518905</c:v>
                </c:pt>
                <c:pt idx="40">
                  <c:v>1.1890430079155674</c:v>
                </c:pt>
                <c:pt idx="41">
                  <c:v>1.0783228596801058</c:v>
                </c:pt>
                <c:pt idx="42">
                  <c:v>1.1354804115996258</c:v>
                </c:pt>
                <c:pt idx="43">
                  <c:v>1.536731745041879</c:v>
                </c:pt>
                <c:pt idx="44">
                  <c:v>1.1237099593425317</c:v>
                </c:pt>
                <c:pt idx="45">
                  <c:v>1.0192256092871803</c:v>
                </c:pt>
                <c:pt idx="46">
                  <c:v>0.8861887417218542</c:v>
                </c:pt>
                <c:pt idx="47">
                  <c:v>1.0832042119284142</c:v>
                </c:pt>
                <c:pt idx="48">
                  <c:v>1.1031454777070064</c:v>
                </c:pt>
                <c:pt idx="49">
                  <c:v>1.0465822583213888</c:v>
                </c:pt>
                <c:pt idx="50">
                  <c:v>1.0369366044163257</c:v>
                </c:pt>
                <c:pt idx="51">
                  <c:v>1.0156295239684854</c:v>
                </c:pt>
              </c:numCache>
            </c:numRef>
          </c:xVal>
          <c:yVal>
            <c:numRef>
              <c:f>Sheet1!$B$109:$B$160</c:f>
              <c:numCache>
                <c:formatCode>General</c:formatCode>
                <c:ptCount val="52"/>
                <c:pt idx="0">
                  <c:v>0.351123595505618</c:v>
                </c:pt>
                <c:pt idx="1">
                  <c:v>0.34448160535117056</c:v>
                </c:pt>
                <c:pt idx="2">
                  <c:v>0.367816091954023</c:v>
                </c:pt>
                <c:pt idx="3">
                  <c:v>0.4381188118811881</c:v>
                </c:pt>
                <c:pt idx="4">
                  <c:v>0.4282051282051282</c:v>
                </c:pt>
                <c:pt idx="5">
                  <c:v>0.41847826086956524</c:v>
                </c:pt>
                <c:pt idx="6">
                  <c:v>0.4063926940639269</c:v>
                </c:pt>
                <c:pt idx="7">
                  <c:v>0.4137254901960784</c:v>
                </c:pt>
                <c:pt idx="8">
                  <c:v>0.3941176470588235</c:v>
                </c:pt>
                <c:pt idx="9">
                  <c:v>0.40625</c:v>
                </c:pt>
                <c:pt idx="10">
                  <c:v>0.3756708407871199</c:v>
                </c:pt>
                <c:pt idx="11">
                  <c:v>0.3901018922852984</c:v>
                </c:pt>
                <c:pt idx="12">
                  <c:v>0.4073529411764706</c:v>
                </c:pt>
                <c:pt idx="13">
                  <c:v>0.37265917602996257</c:v>
                </c:pt>
                <c:pt idx="14">
                  <c:v>0.3778705636743215</c:v>
                </c:pt>
                <c:pt idx="15">
                  <c:v>0.3427835051546392</c:v>
                </c:pt>
                <c:pt idx="16">
                  <c:v>0.33444816053511706</c:v>
                </c:pt>
                <c:pt idx="17">
                  <c:v>0.312280701754386</c:v>
                </c:pt>
                <c:pt idx="18">
                  <c:v>0.3320610687022901</c:v>
                </c:pt>
                <c:pt idx="19">
                  <c:v>0.3401015228426396</c:v>
                </c:pt>
                <c:pt idx="20">
                  <c:v>0.3630573248407643</c:v>
                </c:pt>
                <c:pt idx="21">
                  <c:v>0.30526315789473685</c:v>
                </c:pt>
                <c:pt idx="22">
                  <c:v>0.5150214592274678</c:v>
                </c:pt>
                <c:pt idx="23">
                  <c:v>0.49818181818181817</c:v>
                </c:pt>
                <c:pt idx="24">
                  <c:v>0.4326530612244898</c:v>
                </c:pt>
                <c:pt idx="25">
                  <c:v>0.3601694915254237</c:v>
                </c:pt>
                <c:pt idx="26">
                  <c:v>0.33497536945812806</c:v>
                </c:pt>
                <c:pt idx="27">
                  <c:v>0.3316062176165803</c:v>
                </c:pt>
                <c:pt idx="28">
                  <c:v>0.3103448275862069</c:v>
                </c:pt>
                <c:pt idx="29">
                  <c:v>0.3701657458563536</c:v>
                </c:pt>
                <c:pt idx="30">
                  <c:v>0.31097560975609756</c:v>
                </c:pt>
                <c:pt idx="31">
                  <c:v>0.3474576271186441</c:v>
                </c:pt>
                <c:pt idx="32">
                  <c:v>0.30405405405405406</c:v>
                </c:pt>
                <c:pt idx="33">
                  <c:v>0.35807860262008734</c:v>
                </c:pt>
                <c:pt idx="34">
                  <c:v>0.37815126050420167</c:v>
                </c:pt>
                <c:pt idx="35">
                  <c:v>0.3772893772893773</c:v>
                </c:pt>
                <c:pt idx="36">
                  <c:v>0.4147727272727273</c:v>
                </c:pt>
                <c:pt idx="37">
                  <c:v>0.34810126582278483</c:v>
                </c:pt>
                <c:pt idx="38">
                  <c:v>0.34210526315789475</c:v>
                </c:pt>
                <c:pt idx="39">
                  <c:v>0.42346938775510207</c:v>
                </c:pt>
                <c:pt idx="40">
                  <c:v>0.3659574468085106</c:v>
                </c:pt>
                <c:pt idx="41">
                  <c:v>0.3407079646017699</c:v>
                </c:pt>
                <c:pt idx="42">
                  <c:v>0.33175355450236965</c:v>
                </c:pt>
                <c:pt idx="43">
                  <c:v>0.3601694915254237</c:v>
                </c:pt>
                <c:pt idx="44">
                  <c:v>0.2950191570881226</c:v>
                </c:pt>
                <c:pt idx="45">
                  <c:v>0.2934472934472934</c:v>
                </c:pt>
                <c:pt idx="46">
                  <c:v>0.31490384615384615</c:v>
                </c:pt>
                <c:pt idx="47">
                  <c:v>0.31712962962962965</c:v>
                </c:pt>
                <c:pt idx="48">
                  <c:v>0.32663316582914576</c:v>
                </c:pt>
                <c:pt idx="49">
                  <c:v>0.3158995815899582</c:v>
                </c:pt>
                <c:pt idx="50">
                  <c:v>0.3264058679706601</c:v>
                </c:pt>
                <c:pt idx="51">
                  <c:v>0.332425068119891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264476759809234</c:v>
                </c:pt>
              </c:numCache>
            </c:numRef>
          </c:xVal>
          <c:yVal>
            <c:numRef>
              <c:f>Sheet1!$B$163:$B$164</c:f>
              <c:numCache>
                <c:formatCode>General</c:formatCode>
                <c:ptCount val="2"/>
                <c:pt idx="0">
                  <c:v>0.4158818238506458</c:v>
                </c:pt>
                <c:pt idx="1">
                  <c:v>0.415881823850645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264476759809234</c:v>
                </c:pt>
                <c:pt idx="1">
                  <c:v>-9.264476759809234</c:v>
                </c:pt>
              </c:numCache>
            </c:numRef>
          </c:xVal>
          <c:yVal>
            <c:numRef>
              <c:f>Sheet1!$B$167:$B$168</c:f>
              <c:numCache>
                <c:formatCode>General</c:formatCode>
                <c:ptCount val="2"/>
                <c:pt idx="0">
                  <c:v>0.41588182385064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5.238391348244456</c:v>
                </c:pt>
              </c:numCache>
            </c:numRef>
          </c:xVal>
          <c:yVal>
            <c:numRef>
              <c:f>Sheet1!$B$171:$B$172</c:f>
              <c:numCache>
                <c:formatCode>General</c:formatCode>
                <c:ptCount val="2"/>
                <c:pt idx="0">
                  <c:v>0.39582881389839136</c:v>
                </c:pt>
                <c:pt idx="1">
                  <c:v>0.395828813898391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5.238391348244456</c:v>
                </c:pt>
                <c:pt idx="1">
                  <c:v>-5.238391348244456</c:v>
                </c:pt>
              </c:numCache>
            </c:numRef>
          </c:xVal>
          <c:yVal>
            <c:numRef>
              <c:f>Sheet1!$B$175:$B$176</c:f>
              <c:numCache>
                <c:formatCode>General</c:formatCode>
                <c:ptCount val="2"/>
                <c:pt idx="0">
                  <c:v>0.395828813898391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7.14543600624967</c:v>
                </c:pt>
              </c:numCache>
            </c:numRef>
          </c:xVal>
          <c:yVal>
            <c:numRef>
              <c:f>Sheet1!$B$179:$B$180</c:f>
              <c:numCache>
                <c:formatCode>General</c:formatCode>
                <c:ptCount val="2"/>
                <c:pt idx="0">
                  <c:v>0.3341478042324403</c:v>
                </c:pt>
                <c:pt idx="1">
                  <c:v>0.334147804232440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7.14543600624967</c:v>
                </c:pt>
                <c:pt idx="1">
                  <c:v>7.14543600624967</c:v>
                </c:pt>
              </c:numCache>
            </c:numRef>
          </c:xVal>
          <c:yVal>
            <c:numRef>
              <c:f>Sheet1!$B$183:$B$184</c:f>
              <c:numCache>
                <c:formatCode>General</c:formatCode>
                <c:ptCount val="2"/>
                <c:pt idx="0">
                  <c:v>0.33414780423244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35355414960923</c:v>
                </c:pt>
                <c:pt idx="1">
                  <c:v>1.1939450876612636</c:v>
                </c:pt>
                <c:pt idx="2">
                  <c:v>1.726248808030113</c:v>
                </c:pt>
                <c:pt idx="3">
                  <c:v>1.2073184450614836</c:v>
                </c:pt>
                <c:pt idx="4">
                  <c:v>1.62459978106185</c:v>
                </c:pt>
                <c:pt idx="5">
                  <c:v>1.2259869520049864</c:v>
                </c:pt>
                <c:pt idx="6">
                  <c:v>1.2054530455225476</c:v>
                </c:pt>
                <c:pt idx="7">
                  <c:v>1.0645160038932113</c:v>
                </c:pt>
                <c:pt idx="8">
                  <c:v>1.2672716945996276</c:v>
                </c:pt>
                <c:pt idx="9">
                  <c:v>1.1984210090472573</c:v>
                </c:pt>
                <c:pt idx="10">
                  <c:v>1.1678841186736475</c:v>
                </c:pt>
                <c:pt idx="11">
                  <c:v>1.0133423415791256</c:v>
                </c:pt>
                <c:pt idx="12">
                  <c:v>0.9576930879345603</c:v>
                </c:pt>
                <c:pt idx="13">
                  <c:v>1.4509744764032393</c:v>
                </c:pt>
                <c:pt idx="14">
                  <c:v>1.276207572895745</c:v>
                </c:pt>
                <c:pt idx="15">
                  <c:v>1.0118593239650588</c:v>
                </c:pt>
                <c:pt idx="16">
                  <c:v>1.2939223300970875</c:v>
                </c:pt>
                <c:pt idx="17">
                  <c:v>0.9053864829396325</c:v>
                </c:pt>
                <c:pt idx="18">
                  <c:v>0.7683766657450927</c:v>
                </c:pt>
                <c:pt idx="19">
                  <c:v>1.5600015790772266</c:v>
                </c:pt>
                <c:pt idx="20">
                  <c:v>1.783551841671248</c:v>
                </c:pt>
                <c:pt idx="21">
                  <c:v>1.5241251386321626</c:v>
                </c:pt>
                <c:pt idx="22">
                  <c:v>1.1500241196333816</c:v>
                </c:pt>
                <c:pt idx="23">
                  <c:v>0.8579429605501266</c:v>
                </c:pt>
                <c:pt idx="24">
                  <c:v>1.5135074032838165</c:v>
                </c:pt>
                <c:pt idx="25">
                  <c:v>0.8356049268900546</c:v>
                </c:pt>
                <c:pt idx="26">
                  <c:v>1.8717086904761906</c:v>
                </c:pt>
                <c:pt idx="27">
                  <c:v>1.5417816813048935</c:v>
                </c:pt>
                <c:pt idx="28">
                  <c:v>1.8071905587092918</c:v>
                </c:pt>
                <c:pt idx="29">
                  <c:v>1.748370171421306</c:v>
                </c:pt>
                <c:pt idx="30">
                  <c:v>1.0101521372667068</c:v>
                </c:pt>
                <c:pt idx="31">
                  <c:v>1.8318406769416742</c:v>
                </c:pt>
                <c:pt idx="32">
                  <c:v>1.2689837219533657</c:v>
                </c:pt>
                <c:pt idx="33">
                  <c:v>1.5062904565647486</c:v>
                </c:pt>
                <c:pt idx="34">
                  <c:v>1.7993164687071723</c:v>
                </c:pt>
                <c:pt idx="35">
                  <c:v>1.697124154262517</c:v>
                </c:pt>
                <c:pt idx="36">
                  <c:v>1.294239081385979</c:v>
                </c:pt>
                <c:pt idx="37">
                  <c:v>1.174801243684415</c:v>
                </c:pt>
                <c:pt idx="38">
                  <c:v>1.1835669899934584</c:v>
                </c:pt>
                <c:pt idx="39">
                  <c:v>0.6364085006518905</c:v>
                </c:pt>
                <c:pt idx="40">
                  <c:v>1.1890430079155674</c:v>
                </c:pt>
                <c:pt idx="41">
                  <c:v>1.0783228596801058</c:v>
                </c:pt>
                <c:pt idx="42">
                  <c:v>1.1354804115996258</c:v>
                </c:pt>
                <c:pt idx="43">
                  <c:v>1.536731745041879</c:v>
                </c:pt>
                <c:pt idx="44">
                  <c:v>1.1237099593425317</c:v>
                </c:pt>
                <c:pt idx="45">
                  <c:v>1.0192256092871803</c:v>
                </c:pt>
                <c:pt idx="46">
                  <c:v>0.8861887417218542</c:v>
                </c:pt>
                <c:pt idx="47">
                  <c:v>1.0832042119284142</c:v>
                </c:pt>
                <c:pt idx="48">
                  <c:v>1.1031454777070064</c:v>
                </c:pt>
                <c:pt idx="49">
                  <c:v>1.0465822583213888</c:v>
                </c:pt>
                <c:pt idx="50">
                  <c:v>1.0369366044163257</c:v>
                </c:pt>
                <c:pt idx="51">
                  <c:v>1.0156295239684854</c:v>
                </c:pt>
                <c:pt idx="52">
                  <c:v>-5.238391348244456</c:v>
                </c:pt>
                <c:pt idx="53">
                  <c:v>-9.264476759809234</c:v>
                </c:pt>
                <c:pt idx="54">
                  <c:v>7.14543600624967</c:v>
                </c:pt>
              </c:numCache>
            </c:numRef>
          </c:xVal>
          <c:yVal>
            <c:numRef>
              <c:f>Sheet1!$B$187:$B$241</c:f>
              <c:numCache>
                <c:formatCode>General</c:formatCode>
                <c:ptCount val="55"/>
                <c:pt idx="0">
                  <c:v>0.3645807171940581</c:v>
                </c:pt>
                <c:pt idx="1">
                  <c:v>0.36379081833203947</c:v>
                </c:pt>
                <c:pt idx="2">
                  <c:v>0.3611395353335424</c:v>
                </c:pt>
                <c:pt idx="3">
                  <c:v>0.3637242086996975</c:v>
                </c:pt>
                <c:pt idx="4">
                  <c:v>0.36164582587163596</c:v>
                </c:pt>
                <c:pt idx="5">
                  <c:v>0.3636312251394242</c:v>
                </c:pt>
                <c:pt idx="6">
                  <c:v>0.36373349982785186</c:v>
                </c:pt>
                <c:pt idx="7">
                  <c:v>0.36443547497480633</c:v>
                </c:pt>
                <c:pt idx="8">
                  <c:v>0.3634255952857334</c:v>
                </c:pt>
                <c:pt idx="9">
                  <c:v>0.3637685247920562</c:v>
                </c:pt>
                <c:pt idx="10">
                  <c:v>0.3639206220537819</c:v>
                </c:pt>
                <c:pt idx="11">
                  <c:v>0.3646903592742626</c:v>
                </c:pt>
                <c:pt idx="12">
                  <c:v>0.3649675354697711</c:v>
                </c:pt>
                <c:pt idx="13">
                  <c:v>0.36251061377511196</c:v>
                </c:pt>
                <c:pt idx="14">
                  <c:v>0.36338108772116723</c:v>
                </c:pt>
                <c:pt idx="15">
                  <c:v>0.36469774584556797</c:v>
                </c:pt>
                <c:pt idx="16">
                  <c:v>0.3632928545700672</c:v>
                </c:pt>
                <c:pt idx="17">
                  <c:v>0.36522806269741487</c:v>
                </c:pt>
                <c:pt idx="18">
                  <c:v>0.3659104772383152</c:v>
                </c:pt>
                <c:pt idx="19">
                  <c:v>0.3619675747306081</c:v>
                </c:pt>
                <c:pt idx="20">
                  <c:v>0.360854122038385</c:v>
                </c:pt>
                <c:pt idx="21">
                  <c:v>0.3621462670691337</c:v>
                </c:pt>
                <c:pt idx="22">
                  <c:v>0.36400957862123895</c:v>
                </c:pt>
                <c:pt idx="23">
                  <c:v>0.36546436802365406</c:v>
                </c:pt>
                <c:pt idx="24">
                  <c:v>0.36219915157873683</c:v>
                </c:pt>
                <c:pt idx="25">
                  <c:v>0.36557562865662835</c:v>
                </c:pt>
                <c:pt idx="26">
                  <c:v>0.360415032951659</c:v>
                </c:pt>
                <c:pt idx="27">
                  <c:v>0.3620583238712767</c:v>
                </c:pt>
                <c:pt idx="28">
                  <c:v>0.36073638299920296</c:v>
                </c:pt>
                <c:pt idx="29">
                  <c:v>0.3610293538855864</c:v>
                </c:pt>
                <c:pt idx="30">
                  <c:v>0.36470624895177484</c:v>
                </c:pt>
                <c:pt idx="31">
                  <c:v>0.3606136064021595</c:v>
                </c:pt>
                <c:pt idx="32">
                  <c:v>0.36341706806933</c:v>
                </c:pt>
                <c:pt idx="33">
                  <c:v>0.3622350975385435</c:v>
                </c:pt>
                <c:pt idx="34">
                  <c:v>0.3607756020392968</c:v>
                </c:pt>
                <c:pt idx="35">
                  <c:v>0.36128459856796363</c:v>
                </c:pt>
                <c:pt idx="36">
                  <c:v>0.36329127690439467</c:v>
                </c:pt>
                <c:pt idx="37">
                  <c:v>0.3638861694372817</c:v>
                </c:pt>
                <c:pt idx="38">
                  <c:v>0.3638425092612036</c:v>
                </c:pt>
                <c:pt idx="39">
                  <c:v>0.36656778046402255</c:v>
                </c:pt>
                <c:pt idx="40">
                  <c:v>0.3638152344692741</c:v>
                </c:pt>
                <c:pt idx="41">
                  <c:v>0.36436670618621864</c:v>
                </c:pt>
                <c:pt idx="42">
                  <c:v>0.36408201750221897</c:v>
                </c:pt>
                <c:pt idx="43">
                  <c:v>0.36208347644798294</c:v>
                </c:pt>
                <c:pt idx="44">
                  <c:v>0.3641406434309129</c:v>
                </c:pt>
                <c:pt idx="45">
                  <c:v>0.36466105606435983</c:v>
                </c:pt>
                <c:pt idx="46">
                  <c:v>0.36532368225247824</c:v>
                </c:pt>
                <c:pt idx="47">
                  <c:v>0.3643423932879044</c:v>
                </c:pt>
                <c:pt idx="48">
                  <c:v>0.36424307040718007</c:v>
                </c:pt>
                <c:pt idx="49">
                  <c:v>0.36452479885685807</c:v>
                </c:pt>
                <c:pt idx="50">
                  <c:v>0.36457284165128034</c:v>
                </c:pt>
                <c:pt idx="51">
                  <c:v>0.3646789673422671</c:v>
                </c:pt>
                <c:pt idx="52">
                  <c:v>0.39582881389839136</c:v>
                </c:pt>
                <c:pt idx="53">
                  <c:v>0.4158818238506458</c:v>
                </c:pt>
                <c:pt idx="54">
                  <c:v>0.33414780423244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80602006688963"/>
          <c:min val="0.190209790209790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1.7195</c:v>
                </c:pt>
                <c:pt idx="1">
                  <c:v>1051.2362</c:v>
                </c:pt>
                <c:pt idx="2">
                  <c:v>1129.4762</c:v>
                </c:pt>
                <c:pt idx="3">
                  <c:v>1155.7043</c:v>
                </c:pt>
                <c:pt idx="4">
                  <c:v>1142.9841</c:v>
                </c:pt>
                <c:pt idx="5">
                  <c:v>1145.5691</c:v>
                </c:pt>
                <c:pt idx="6">
                  <c:v>1091.3741</c:v>
                </c:pt>
                <c:pt idx="7">
                  <c:v>1119.4522</c:v>
                </c:pt>
                <c:pt idx="8">
                  <c:v>1110.8156</c:v>
                </c:pt>
                <c:pt idx="9">
                  <c:v>1131.2969</c:v>
                </c:pt>
                <c:pt idx="10">
                  <c:v>1135.3246</c:v>
                </c:pt>
                <c:pt idx="11">
                  <c:v>1181.5484</c:v>
                </c:pt>
                <c:pt idx="12">
                  <c:v>1178.1494</c:v>
                </c:pt>
                <c:pt idx="13">
                  <c:v>1162.5517</c:v>
                </c:pt>
                <c:pt idx="14">
                  <c:v>1152.635</c:v>
                </c:pt>
                <c:pt idx="15">
                  <c:v>1190.7899</c:v>
                </c:pt>
                <c:pt idx="16">
                  <c:v>1216.5065</c:v>
                </c:pt>
                <c:pt idx="17">
                  <c:v>1251.8088</c:v>
                </c:pt>
                <c:pt idx="18">
                  <c:v>1283.9143</c:v>
                </c:pt>
                <c:pt idx="19">
                  <c:v>1315.8723</c:v>
                </c:pt>
                <c:pt idx="20">
                  <c:v>1239.64</c:v>
                </c:pt>
                <c:pt idx="21">
                  <c:v>1351.963</c:v>
                </c:pt>
                <c:pt idx="22">
                  <c:v>1260.5843</c:v>
                </c:pt>
                <c:pt idx="23">
                  <c:v>1295.1311</c:v>
                </c:pt>
                <c:pt idx="24">
                  <c:v>1252.8406</c:v>
                </c:pt>
                <c:pt idx="25">
                  <c:v>1265.2639</c:v>
                </c:pt>
                <c:pt idx="26">
                  <c:v>1292.209</c:v>
                </c:pt>
                <c:pt idx="27">
                  <c:v>1245.8125</c:v>
                </c:pt>
                <c:pt idx="28">
                  <c:v>1218.9841</c:v>
                </c:pt>
                <c:pt idx="29">
                  <c:v>1263.2154</c:v>
                </c:pt>
                <c:pt idx="30">
                  <c:v>1239.8873</c:v>
                </c:pt>
                <c:pt idx="31">
                  <c:v>1135.6471</c:v>
                </c:pt>
                <c:pt idx="32">
                  <c:v>1114.7531</c:v>
                </c:pt>
                <c:pt idx="33">
                  <c:v>1116.5429</c:v>
                </c:pt>
                <c:pt idx="34">
                  <c:v>1172.2768</c:v>
                </c:pt>
                <c:pt idx="35">
                  <c:v>1257.4266</c:v>
                </c:pt>
                <c:pt idx="36">
                  <c:v>1287.1728</c:v>
                </c:pt>
                <c:pt idx="37">
                  <c:v>1233.9009</c:v>
                </c:pt>
                <c:pt idx="38">
                  <c:v>1345.52</c:v>
                </c:pt>
                <c:pt idx="39">
                  <c:v>1329.7955</c:v>
                </c:pt>
                <c:pt idx="40">
                  <c:v>1448.2647</c:v>
                </c:pt>
                <c:pt idx="41">
                  <c:v>1414.4068</c:v>
                </c:pt>
                <c:pt idx="42">
                  <c:v>1458.6286</c:v>
                </c:pt>
                <c:pt idx="43">
                  <c:v>1543.6769</c:v>
                </c:pt>
                <c:pt idx="44">
                  <c:v>1391.3578</c:v>
                </c:pt>
                <c:pt idx="45">
                  <c:v>1310.5852</c:v>
                </c:pt>
                <c:pt idx="46">
                  <c:v>1301.8026</c:v>
                </c:pt>
                <c:pt idx="47">
                  <c:v>1247.019</c:v>
                </c:pt>
                <c:pt idx="48">
                  <c:v>1279.4587</c:v>
                </c:pt>
                <c:pt idx="49">
                  <c:v>1185.2122</c:v>
                </c:pt>
                <c:pt idx="50">
                  <c:v>1166.5245</c:v>
                </c:pt>
                <c:pt idx="51">
                  <c:v>1219.8391</c:v>
                </c:pt>
                <c:pt idx="52">
                  <c:v>1202.275</c:v>
                </c:pt>
                <c:pt idx="53">
                  <c:v>1239.8175</c:v>
                </c:pt>
                <c:pt idx="54">
                  <c:v>1263.0069</c:v>
                </c:pt>
                <c:pt idx="55">
                  <c:v>1285.0405</c:v>
                </c:pt>
                <c:pt idx="56">
                  <c:v>1329.3677</c:v>
                </c:pt>
                <c:pt idx="57">
                  <c:v>1340.7208</c:v>
                </c:pt>
                <c:pt idx="58">
                  <c:v>1243.8802</c:v>
                </c:pt>
                <c:pt idx="59">
                  <c:v>1220.1814</c:v>
                </c:pt>
                <c:pt idx="60">
                  <c:v>1219.6725</c:v>
                </c:pt>
                <c:pt idx="61">
                  <c:v>1239.3957</c:v>
                </c:pt>
                <c:pt idx="62">
                  <c:v>1187.5094</c:v>
                </c:pt>
                <c:pt idx="63">
                  <c:v>1174.9049</c:v>
                </c:pt>
                <c:pt idx="64">
                  <c:v>1201.4809</c:v>
                </c:pt>
                <c:pt idx="65">
                  <c:v>1196.4103</c:v>
                </c:pt>
                <c:pt idx="66">
                  <c:v>1174.2566</c:v>
                </c:pt>
                <c:pt idx="67">
                  <c:v>1203.2926</c:v>
                </c:pt>
                <c:pt idx="68">
                  <c:v>1206.1752</c:v>
                </c:pt>
                <c:pt idx="69">
                  <c:v>1227.129</c:v>
                </c:pt>
                <c:pt idx="70">
                  <c:v>1215.4423</c:v>
                </c:pt>
                <c:pt idx="71">
                  <c:v>1219.1574</c:v>
                </c:pt>
                <c:pt idx="72">
                  <c:v>1190.4322</c:v>
                </c:pt>
                <c:pt idx="73">
                  <c:v>1080.453</c:v>
                </c:pt>
                <c:pt idx="74">
                  <c:v>782.0779</c:v>
                </c:pt>
                <c:pt idx="75">
                  <c:v>1138.5402</c:v>
                </c:pt>
                <c:pt idx="76">
                  <c:v>1184.8824</c:v>
                </c:pt>
                <c:pt idx="77">
                  <c:v>1217.6964</c:v>
                </c:pt>
                <c:pt idx="78">
                  <c:v>1522.5763</c:v>
                </c:pt>
                <c:pt idx="79">
                  <c:v>1460.2063</c:v>
                </c:pt>
                <c:pt idx="80">
                  <c:v>1489.5472</c:v>
                </c:pt>
                <c:pt idx="81">
                  <c:v>1509.9765</c:v>
                </c:pt>
                <c:pt idx="82">
                  <c:v>1513.2424</c:v>
                </c:pt>
                <c:pt idx="83">
                  <c:v>1466.3396</c:v>
                </c:pt>
                <c:pt idx="84">
                  <c:v>1398.8793</c:v>
                </c:pt>
                <c:pt idx="85">
                  <c:v>1406.371</c:v>
                </c:pt>
                <c:pt idx="86">
                  <c:v>1393.1494</c:v>
                </c:pt>
                <c:pt idx="87">
                  <c:v>1384.567</c:v>
                </c:pt>
                <c:pt idx="88">
                  <c:v>1437.8571</c:v>
                </c:pt>
                <c:pt idx="89">
                  <c:v>1478.3051</c:v>
                </c:pt>
                <c:pt idx="90">
                  <c:v>1453.3036</c:v>
                </c:pt>
                <c:pt idx="91">
                  <c:v>1523.2791</c:v>
                </c:pt>
                <c:pt idx="92">
                  <c:v>1515.7705</c:v>
                </c:pt>
                <c:pt idx="93">
                  <c:v>1474.0333</c:v>
                </c:pt>
                <c:pt idx="94">
                  <c:v>1574.4464</c:v>
                </c:pt>
                <c:pt idx="95">
                  <c:v>1442.2832</c:v>
                </c:pt>
                <c:pt idx="96">
                  <c:v>1443.9574</c:v>
                </c:pt>
                <c:pt idx="97">
                  <c:v>1372.0</c:v>
                </c:pt>
                <c:pt idx="98">
                  <c:v>1383.0072</c:v>
                </c:pt>
                <c:pt idx="99">
                  <c:v>1289.25</c:v>
                </c:pt>
                <c:pt idx="100">
                  <c:v>1308.9432</c:v>
                </c:pt>
                <c:pt idx="101">
                  <c:v>1363.767</c:v>
                </c:pt>
                <c:pt idx="102">
                  <c:v>1385.9907</c:v>
                </c:pt>
                <c:pt idx="103">
                  <c:v>1309.4885</c:v>
                </c:pt>
                <c:pt idx="104">
                  <c:v>1333.315</c:v>
                </c:pt>
              </c:numCache>
            </c:numRef>
          </c:xVal>
          <c:yVal>
            <c:numRef>
              <c:f>Sheet1!$B$2:$B$106</c:f>
              <c:numCache>
                <c:formatCode>General</c:formatCode>
                <c:ptCount val="105"/>
                <c:pt idx="0">
                  <c:v>0.33954451345755693</c:v>
                </c:pt>
                <c:pt idx="1">
                  <c:v>0.3175</c:v>
                </c:pt>
                <c:pt idx="2">
                  <c:v>0.34507042253521125</c:v>
                </c:pt>
                <c:pt idx="3">
                  <c:v>0.32670454545454547</c:v>
                </c:pt>
                <c:pt idx="4">
                  <c:v>0.3387096774193548</c:v>
                </c:pt>
                <c:pt idx="5">
                  <c:v>0.32625994694960214</c:v>
                </c:pt>
                <c:pt idx="6">
                  <c:v>0.34507042253521125</c:v>
                </c:pt>
                <c:pt idx="7">
                  <c:v>0.3435448577680525</c:v>
                </c:pt>
                <c:pt idx="8">
                  <c:v>0.3729166666666667</c:v>
                </c:pt>
                <c:pt idx="9">
                  <c:v>0.32432432432432434</c:v>
                </c:pt>
                <c:pt idx="10">
                  <c:v>0.3162251655629139</c:v>
                </c:pt>
                <c:pt idx="11">
                  <c:v>0.2935606060606061</c:v>
                </c:pt>
                <c:pt idx="12">
                  <c:v>0.31016042780748665</c:v>
                </c:pt>
                <c:pt idx="13">
                  <c:v>0.3180987202925046</c:v>
                </c:pt>
                <c:pt idx="14">
                  <c:v>0.28482328482328484</c:v>
                </c:pt>
                <c:pt idx="15">
                  <c:v>0.2967581047381546</c:v>
                </c:pt>
                <c:pt idx="16">
                  <c:v>0.25925925925925924</c:v>
                </c:pt>
                <c:pt idx="17">
                  <c:v>0.23776223776223776</c:v>
                </c:pt>
                <c:pt idx="18">
                  <c:v>0.2766798418972332</c:v>
                </c:pt>
                <c:pt idx="19">
                  <c:v>0.2568306010928962</c:v>
                </c:pt>
                <c:pt idx="20">
                  <c:v>0.26785714285714285</c:v>
                </c:pt>
                <c:pt idx="21">
                  <c:v>0.2727272727272727</c:v>
                </c:pt>
                <c:pt idx="22">
                  <c:v>0.35177865612648224</c:v>
                </c:pt>
                <c:pt idx="23">
                  <c:v>0.2772727272727273</c:v>
                </c:pt>
                <c:pt idx="24">
                  <c:v>0.3317307692307692</c:v>
                </c:pt>
                <c:pt idx="25">
                  <c:v>0.3412322274881517</c:v>
                </c:pt>
                <c:pt idx="26">
                  <c:v>0.35638297872340424</c:v>
                </c:pt>
                <c:pt idx="27">
                  <c:v>0.3883495145631068</c:v>
                </c:pt>
                <c:pt idx="28">
                  <c:v>0.3197969543147208</c:v>
                </c:pt>
                <c:pt idx="29">
                  <c:v>0.3170731707317073</c:v>
                </c:pt>
                <c:pt idx="30">
                  <c:v>0.34299516908212563</c:v>
                </c:pt>
                <c:pt idx="31">
                  <c:v>0.3756906077348066</c:v>
                </c:pt>
                <c:pt idx="32">
                  <c:v>0.405</c:v>
                </c:pt>
                <c:pt idx="33">
                  <c:v>0.35175879396984927</c:v>
                </c:pt>
                <c:pt idx="34">
                  <c:v>0.3522012578616352</c:v>
                </c:pt>
                <c:pt idx="35">
                  <c:v>0.35572139303482586</c:v>
                </c:pt>
                <c:pt idx="36">
                  <c:v>0.28027681660899656</c:v>
                </c:pt>
                <c:pt idx="37">
                  <c:v>0.392226148409894</c:v>
                </c:pt>
                <c:pt idx="38">
                  <c:v>0.26595744680851063</c:v>
                </c:pt>
                <c:pt idx="39">
                  <c:v>0.2634730538922156</c:v>
                </c:pt>
                <c:pt idx="40">
                  <c:v>0.2821576763485477</c:v>
                </c:pt>
                <c:pt idx="41">
                  <c:v>0.2694063926940639</c:v>
                </c:pt>
                <c:pt idx="42">
                  <c:v>0.319634703196347</c:v>
                </c:pt>
                <c:pt idx="43">
                  <c:v>0.2777777777777778</c:v>
                </c:pt>
                <c:pt idx="44">
                  <c:v>0.39492753623188404</c:v>
                </c:pt>
                <c:pt idx="45">
                  <c:v>0.3316953316953317</c:v>
                </c:pt>
                <c:pt idx="46">
                  <c:v>0.3844856661045531</c:v>
                </c:pt>
                <c:pt idx="47">
                  <c:v>0.3843351548269581</c:v>
                </c:pt>
                <c:pt idx="48">
                  <c:v>0.3758620689655172</c:v>
                </c:pt>
                <c:pt idx="49">
                  <c:v>0.4109461966604824</c:v>
                </c:pt>
                <c:pt idx="50">
                  <c:v>0.36624775583482944</c:v>
                </c:pt>
                <c:pt idx="51">
                  <c:v>0.4172661870503597</c:v>
                </c:pt>
                <c:pt idx="52">
                  <c:v>0.4166666666666667</c:v>
                </c:pt>
                <c:pt idx="53">
                  <c:v>0.39710144927536234</c:v>
                </c:pt>
                <c:pt idx="54">
                  <c:v>0.43373493975903615</c:v>
                </c:pt>
                <c:pt idx="55">
                  <c:v>0.43529411764705883</c:v>
                </c:pt>
                <c:pt idx="56">
                  <c:v>0.42005420054200543</c:v>
                </c:pt>
                <c:pt idx="57">
                  <c:v>0.41509433962264153</c:v>
                </c:pt>
                <c:pt idx="58">
                  <c:v>0.42857142857142855</c:v>
                </c:pt>
                <c:pt idx="59">
                  <c:v>0.4406047516198704</c:v>
                </c:pt>
                <c:pt idx="60">
                  <c:v>0.44901960784313727</c:v>
                </c:pt>
                <c:pt idx="61">
                  <c:v>0.41818181818181815</c:v>
                </c:pt>
                <c:pt idx="62">
                  <c:v>0.39849624060150374</c:v>
                </c:pt>
                <c:pt idx="63">
                  <c:v>0.44596443228454175</c:v>
                </c:pt>
                <c:pt idx="64">
                  <c:v>0.3944723618090452</c:v>
                </c:pt>
                <c:pt idx="65">
                  <c:v>0.39854014598540144</c:v>
                </c:pt>
                <c:pt idx="66">
                  <c:v>0.4153605015673981</c:v>
                </c:pt>
                <c:pt idx="67">
                  <c:v>0.38289205702647655</c:v>
                </c:pt>
                <c:pt idx="68">
                  <c:v>0.3959537572254335</c:v>
                </c:pt>
                <c:pt idx="69">
                  <c:v>0.36151603498542273</c:v>
                </c:pt>
                <c:pt idx="70">
                  <c:v>0.34551495016611294</c:v>
                </c:pt>
                <c:pt idx="71">
                  <c:v>0.421875</c:v>
                </c:pt>
                <c:pt idx="72">
                  <c:v>0.4573643410852713</c:v>
                </c:pt>
                <c:pt idx="73">
                  <c:v>0.45348837209302323</c:v>
                </c:pt>
                <c:pt idx="74">
                  <c:v>0.5150501672240803</c:v>
                </c:pt>
                <c:pt idx="75">
                  <c:v>0.3815789473684211</c:v>
                </c:pt>
                <c:pt idx="76">
                  <c:v>0.3617021276595745</c:v>
                </c:pt>
                <c:pt idx="77">
                  <c:v>0.37583892617449666</c:v>
                </c:pt>
                <c:pt idx="78">
                  <c:v>0.329608938547486</c:v>
                </c:pt>
                <c:pt idx="79">
                  <c:v>0.3103448275862069</c:v>
                </c:pt>
                <c:pt idx="80">
                  <c:v>0.29120879120879123</c:v>
                </c:pt>
                <c:pt idx="81">
                  <c:v>0.3346456692913386</c:v>
                </c:pt>
                <c:pt idx="82">
                  <c:v>0.3333333333333333</c:v>
                </c:pt>
                <c:pt idx="83">
                  <c:v>0.35333333333333333</c:v>
                </c:pt>
                <c:pt idx="84">
                  <c:v>0.3431952662721893</c:v>
                </c:pt>
                <c:pt idx="85">
                  <c:v>0.34444444444444444</c:v>
                </c:pt>
                <c:pt idx="86">
                  <c:v>0.36099585062240663</c:v>
                </c:pt>
                <c:pt idx="87">
                  <c:v>0.3180327868852459</c:v>
                </c:pt>
                <c:pt idx="88">
                  <c:v>0.33532934131736525</c:v>
                </c:pt>
                <c:pt idx="89">
                  <c:v>0.35119047619047616</c:v>
                </c:pt>
                <c:pt idx="90">
                  <c:v>0.32748538011695905</c:v>
                </c:pt>
                <c:pt idx="91">
                  <c:v>0.31386861313868614</c:v>
                </c:pt>
                <c:pt idx="92">
                  <c:v>0.3446327683615819</c:v>
                </c:pt>
                <c:pt idx="93">
                  <c:v>0.379746835443038</c:v>
                </c:pt>
                <c:pt idx="94">
                  <c:v>0.3146067415730337</c:v>
                </c:pt>
                <c:pt idx="95">
                  <c:v>0.3754152823920266</c:v>
                </c:pt>
                <c:pt idx="96">
                  <c:v>0.33935018050541516</c:v>
                </c:pt>
                <c:pt idx="97">
                  <c:v>0.33903133903133903</c:v>
                </c:pt>
                <c:pt idx="98">
                  <c:v>0.317351598173516</c:v>
                </c:pt>
                <c:pt idx="99">
                  <c:v>0.31746031746031744</c:v>
                </c:pt>
                <c:pt idx="100">
                  <c:v>0.3430735930735931</c:v>
                </c:pt>
                <c:pt idx="101">
                  <c:v>0.3485148514851485</c:v>
                </c:pt>
                <c:pt idx="102">
                  <c:v>0.3059490084985836</c:v>
                </c:pt>
                <c:pt idx="103">
                  <c:v>0.3333333333333333</c:v>
                </c:pt>
                <c:pt idx="104">
                  <c:v>0.353760445682451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1.0</c:v>
                </c:pt>
                <c:pt idx="1">
                  <c:v>1443.7184</c:v>
                </c:pt>
                <c:pt idx="2">
                  <c:v>1375.8203</c:v>
                </c:pt>
                <c:pt idx="3">
                  <c:v>1521.8249</c:v>
                </c:pt>
                <c:pt idx="4">
                  <c:v>1484.0719</c:v>
                </c:pt>
                <c:pt idx="5">
                  <c:v>1475.1688</c:v>
                </c:pt>
                <c:pt idx="6">
                  <c:v>1410.0787</c:v>
                </c:pt>
                <c:pt idx="7">
                  <c:v>1317.1611</c:v>
                </c:pt>
                <c:pt idx="8">
                  <c:v>1361.0498</c:v>
                </c:pt>
                <c:pt idx="9">
                  <c:v>1361.8057</c:v>
                </c:pt>
                <c:pt idx="10">
                  <c:v>1338.3952</c:v>
                </c:pt>
                <c:pt idx="11">
                  <c:v>1196.1493</c:v>
                </c:pt>
                <c:pt idx="12">
                  <c:v>1170.7798</c:v>
                </c:pt>
                <c:pt idx="13">
                  <c:v>1298.9849</c:v>
                </c:pt>
                <c:pt idx="14">
                  <c:v>1290.4586</c:v>
                </c:pt>
                <c:pt idx="15">
                  <c:v>1332.1128</c:v>
                </c:pt>
                <c:pt idx="16">
                  <c:v>1332.74</c:v>
                </c:pt>
                <c:pt idx="17">
                  <c:v>1379.809</c:v>
                </c:pt>
                <c:pt idx="18">
                  <c:v>1389.6092</c:v>
                </c:pt>
                <c:pt idx="19">
                  <c:v>1580.6716</c:v>
                </c:pt>
                <c:pt idx="20">
                  <c:v>1622.1404</c:v>
                </c:pt>
                <c:pt idx="21">
                  <c:v>1649.1034</c:v>
                </c:pt>
                <c:pt idx="22">
                  <c:v>1192.0</c:v>
                </c:pt>
                <c:pt idx="23">
                  <c:v>1185.2482</c:v>
                </c:pt>
                <c:pt idx="24">
                  <c:v>1298.0849</c:v>
                </c:pt>
                <c:pt idx="25">
                  <c:v>1338.9176</c:v>
                </c:pt>
                <c:pt idx="26">
                  <c:v>1572.2353</c:v>
                </c:pt>
                <c:pt idx="27">
                  <c:v>1536.0</c:v>
                </c:pt>
                <c:pt idx="28">
                  <c:v>1512.1667</c:v>
                </c:pt>
                <c:pt idx="29">
                  <c:v>1614.3284</c:v>
                </c:pt>
                <c:pt idx="30">
                  <c:v>1677.8627</c:v>
                </c:pt>
                <c:pt idx="31">
                  <c:v>1515.3902</c:v>
                </c:pt>
                <c:pt idx="32">
                  <c:v>1442.2</c:v>
                </c:pt>
                <c:pt idx="33">
                  <c:v>1538.9268</c:v>
                </c:pt>
                <c:pt idx="34">
                  <c:v>1575.4815</c:v>
                </c:pt>
                <c:pt idx="35">
                  <c:v>1505.0097</c:v>
                </c:pt>
                <c:pt idx="36">
                  <c:v>1606.1507</c:v>
                </c:pt>
                <c:pt idx="37">
                  <c:v>1511.3818</c:v>
                </c:pt>
                <c:pt idx="38">
                  <c:v>1405.2885</c:v>
                </c:pt>
                <c:pt idx="39">
                  <c:v>1220.3133</c:v>
                </c:pt>
                <c:pt idx="40">
                  <c:v>1351.9419</c:v>
                </c:pt>
                <c:pt idx="41">
                  <c:v>1514.3247</c:v>
                </c:pt>
                <c:pt idx="42">
                  <c:v>1517.2857</c:v>
                </c:pt>
                <c:pt idx="43">
                  <c:v>1490.1176</c:v>
                </c:pt>
                <c:pt idx="44">
                  <c:v>1452.2078</c:v>
                </c:pt>
                <c:pt idx="45">
                  <c:v>1392.9417</c:v>
                </c:pt>
                <c:pt idx="46">
                  <c:v>1338.145</c:v>
                </c:pt>
                <c:pt idx="47">
                  <c:v>1329.4526</c:v>
                </c:pt>
                <c:pt idx="48">
                  <c:v>1298.9538</c:v>
                </c:pt>
                <c:pt idx="49">
                  <c:v>1314.298</c:v>
                </c:pt>
                <c:pt idx="50">
                  <c:v>1260.5693</c:v>
                </c:pt>
                <c:pt idx="51">
                  <c:v>1300.3443</c:v>
                </c:pt>
              </c:numCache>
            </c:numRef>
          </c:xVal>
          <c:yVal>
            <c:numRef>
              <c:f>Sheet1!$B$109:$B$160</c:f>
              <c:numCache>
                <c:formatCode>General</c:formatCode>
                <c:ptCount val="52"/>
                <c:pt idx="0">
                  <c:v>0.351123595505618</c:v>
                </c:pt>
                <c:pt idx="1">
                  <c:v>0.34448160535117056</c:v>
                </c:pt>
                <c:pt idx="2">
                  <c:v>0.367816091954023</c:v>
                </c:pt>
                <c:pt idx="3">
                  <c:v>0.4381188118811881</c:v>
                </c:pt>
                <c:pt idx="4">
                  <c:v>0.4282051282051282</c:v>
                </c:pt>
                <c:pt idx="5">
                  <c:v>0.41847826086956524</c:v>
                </c:pt>
                <c:pt idx="6">
                  <c:v>0.4063926940639269</c:v>
                </c:pt>
                <c:pt idx="7">
                  <c:v>0.4137254901960784</c:v>
                </c:pt>
                <c:pt idx="8">
                  <c:v>0.3941176470588235</c:v>
                </c:pt>
                <c:pt idx="9">
                  <c:v>0.40625</c:v>
                </c:pt>
                <c:pt idx="10">
                  <c:v>0.3756708407871199</c:v>
                </c:pt>
                <c:pt idx="11">
                  <c:v>0.3901018922852984</c:v>
                </c:pt>
                <c:pt idx="12">
                  <c:v>0.4073529411764706</c:v>
                </c:pt>
                <c:pt idx="13">
                  <c:v>0.37265917602996257</c:v>
                </c:pt>
                <c:pt idx="14">
                  <c:v>0.3778705636743215</c:v>
                </c:pt>
                <c:pt idx="15">
                  <c:v>0.3427835051546392</c:v>
                </c:pt>
                <c:pt idx="16">
                  <c:v>0.33444816053511706</c:v>
                </c:pt>
                <c:pt idx="17">
                  <c:v>0.312280701754386</c:v>
                </c:pt>
                <c:pt idx="18">
                  <c:v>0.3320610687022901</c:v>
                </c:pt>
                <c:pt idx="19">
                  <c:v>0.3401015228426396</c:v>
                </c:pt>
                <c:pt idx="20">
                  <c:v>0.3630573248407643</c:v>
                </c:pt>
                <c:pt idx="21">
                  <c:v>0.30526315789473685</c:v>
                </c:pt>
                <c:pt idx="22">
                  <c:v>0.5150214592274678</c:v>
                </c:pt>
                <c:pt idx="23">
                  <c:v>0.49818181818181817</c:v>
                </c:pt>
                <c:pt idx="24">
                  <c:v>0.4326530612244898</c:v>
                </c:pt>
                <c:pt idx="25">
                  <c:v>0.3601694915254237</c:v>
                </c:pt>
                <c:pt idx="26">
                  <c:v>0.33497536945812806</c:v>
                </c:pt>
                <c:pt idx="27">
                  <c:v>0.3316062176165803</c:v>
                </c:pt>
                <c:pt idx="28">
                  <c:v>0.3103448275862069</c:v>
                </c:pt>
                <c:pt idx="29">
                  <c:v>0.3701657458563536</c:v>
                </c:pt>
                <c:pt idx="30">
                  <c:v>0.31097560975609756</c:v>
                </c:pt>
                <c:pt idx="31">
                  <c:v>0.3474576271186441</c:v>
                </c:pt>
                <c:pt idx="32">
                  <c:v>0.30405405405405406</c:v>
                </c:pt>
                <c:pt idx="33">
                  <c:v>0.35807860262008734</c:v>
                </c:pt>
                <c:pt idx="34">
                  <c:v>0.37815126050420167</c:v>
                </c:pt>
                <c:pt idx="35">
                  <c:v>0.3772893772893773</c:v>
                </c:pt>
                <c:pt idx="36">
                  <c:v>0.4147727272727273</c:v>
                </c:pt>
                <c:pt idx="37">
                  <c:v>0.34810126582278483</c:v>
                </c:pt>
                <c:pt idx="38">
                  <c:v>0.34210526315789475</c:v>
                </c:pt>
                <c:pt idx="39">
                  <c:v>0.42346938775510207</c:v>
                </c:pt>
                <c:pt idx="40">
                  <c:v>0.3659574468085106</c:v>
                </c:pt>
                <c:pt idx="41">
                  <c:v>0.3407079646017699</c:v>
                </c:pt>
                <c:pt idx="42">
                  <c:v>0.33175355450236965</c:v>
                </c:pt>
                <c:pt idx="43">
                  <c:v>0.3601694915254237</c:v>
                </c:pt>
                <c:pt idx="44">
                  <c:v>0.2950191570881226</c:v>
                </c:pt>
                <c:pt idx="45">
                  <c:v>0.2934472934472934</c:v>
                </c:pt>
                <c:pt idx="46">
                  <c:v>0.31490384615384615</c:v>
                </c:pt>
                <c:pt idx="47">
                  <c:v>0.31712962962962965</c:v>
                </c:pt>
                <c:pt idx="48">
                  <c:v>0.32663316582914576</c:v>
                </c:pt>
                <c:pt idx="49">
                  <c:v>0.3158995815899582</c:v>
                </c:pt>
                <c:pt idx="50">
                  <c:v>0.3264058679706601</c:v>
                </c:pt>
                <c:pt idx="51">
                  <c:v>0.332425068119891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0.6589587501783</c:v>
                </c:pt>
              </c:numCache>
            </c:numRef>
          </c:xVal>
          <c:yVal>
            <c:numRef>
              <c:f>Sheet1!$B$163:$B$164</c:f>
              <c:numCache>
                <c:formatCode>General</c:formatCode>
                <c:ptCount val="2"/>
                <c:pt idx="0">
                  <c:v>0.4158818238506458</c:v>
                </c:pt>
                <c:pt idx="1">
                  <c:v>0.415881823850645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0.6589587501783</c:v>
                </c:pt>
                <c:pt idx="1">
                  <c:v>1000.6589587501783</c:v>
                </c:pt>
              </c:numCache>
            </c:numRef>
          </c:xVal>
          <c:yVal>
            <c:numRef>
              <c:f>Sheet1!$B$167:$B$168</c:f>
              <c:numCache>
                <c:formatCode>General</c:formatCode>
                <c:ptCount val="2"/>
                <c:pt idx="0">
                  <c:v>0.41588182385064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8.8183673258927</c:v>
                </c:pt>
              </c:numCache>
            </c:numRef>
          </c:xVal>
          <c:yVal>
            <c:numRef>
              <c:f>Sheet1!$B$171:$B$172</c:f>
              <c:numCache>
                <c:formatCode>General</c:formatCode>
                <c:ptCount val="2"/>
                <c:pt idx="0">
                  <c:v>0.39582881389839136</c:v>
                </c:pt>
                <c:pt idx="1">
                  <c:v>0.395828813898391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8.8183673258927</c:v>
                </c:pt>
                <c:pt idx="1">
                  <c:v>1158.8183673258927</c:v>
                </c:pt>
              </c:numCache>
            </c:numRef>
          </c:xVal>
          <c:yVal>
            <c:numRef>
              <c:f>Sheet1!$B$175:$B$176</c:f>
              <c:numCache>
                <c:formatCode>General</c:formatCode>
                <c:ptCount val="2"/>
                <c:pt idx="0">
                  <c:v>0.395828813898391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645.3005479235737</c:v>
                </c:pt>
              </c:numCache>
            </c:numRef>
          </c:xVal>
          <c:yVal>
            <c:numRef>
              <c:f>Sheet1!$B$179:$B$180</c:f>
              <c:numCache>
                <c:formatCode>General</c:formatCode>
                <c:ptCount val="2"/>
                <c:pt idx="0">
                  <c:v>0.3341478042324403</c:v>
                </c:pt>
                <c:pt idx="1">
                  <c:v>0.334147804232440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645.3005479235737</c:v>
                </c:pt>
                <c:pt idx="1">
                  <c:v>1645.3005479235737</c:v>
                </c:pt>
              </c:numCache>
            </c:numRef>
          </c:xVal>
          <c:yVal>
            <c:numRef>
              <c:f>Sheet1!$B$183:$B$184</c:f>
              <c:numCache>
                <c:formatCode>General</c:formatCode>
                <c:ptCount val="2"/>
                <c:pt idx="0">
                  <c:v>0.33414780423244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1.0</c:v>
                </c:pt>
                <c:pt idx="1">
                  <c:v>1443.7184</c:v>
                </c:pt>
                <c:pt idx="2">
                  <c:v>1375.8203</c:v>
                </c:pt>
                <c:pt idx="3">
                  <c:v>1521.8249</c:v>
                </c:pt>
                <c:pt idx="4">
                  <c:v>1484.0719</c:v>
                </c:pt>
                <c:pt idx="5">
                  <c:v>1475.1688</c:v>
                </c:pt>
                <c:pt idx="6">
                  <c:v>1410.0787</c:v>
                </c:pt>
                <c:pt idx="7">
                  <c:v>1317.1611</c:v>
                </c:pt>
                <c:pt idx="8">
                  <c:v>1361.0498</c:v>
                </c:pt>
                <c:pt idx="9">
                  <c:v>1361.8057</c:v>
                </c:pt>
                <c:pt idx="10">
                  <c:v>1338.3952</c:v>
                </c:pt>
                <c:pt idx="11">
                  <c:v>1196.1493</c:v>
                </c:pt>
                <c:pt idx="12">
                  <c:v>1170.7798</c:v>
                </c:pt>
                <c:pt idx="13">
                  <c:v>1298.9849</c:v>
                </c:pt>
                <c:pt idx="14">
                  <c:v>1290.4586</c:v>
                </c:pt>
                <c:pt idx="15">
                  <c:v>1332.1128</c:v>
                </c:pt>
                <c:pt idx="16">
                  <c:v>1332.74</c:v>
                </c:pt>
                <c:pt idx="17">
                  <c:v>1379.809</c:v>
                </c:pt>
                <c:pt idx="18">
                  <c:v>1389.6092</c:v>
                </c:pt>
                <c:pt idx="19">
                  <c:v>1580.6716</c:v>
                </c:pt>
                <c:pt idx="20">
                  <c:v>1622.1404</c:v>
                </c:pt>
                <c:pt idx="21">
                  <c:v>1649.1034</c:v>
                </c:pt>
                <c:pt idx="22">
                  <c:v>1192.0</c:v>
                </c:pt>
                <c:pt idx="23">
                  <c:v>1185.2482</c:v>
                </c:pt>
                <c:pt idx="24">
                  <c:v>1298.0849</c:v>
                </c:pt>
                <c:pt idx="25">
                  <c:v>1338.9176</c:v>
                </c:pt>
                <c:pt idx="26">
                  <c:v>1572.2353</c:v>
                </c:pt>
                <c:pt idx="27">
                  <c:v>1536.0</c:v>
                </c:pt>
                <c:pt idx="28">
                  <c:v>1512.1667</c:v>
                </c:pt>
                <c:pt idx="29">
                  <c:v>1614.3284</c:v>
                </c:pt>
                <c:pt idx="30">
                  <c:v>1677.8627</c:v>
                </c:pt>
                <c:pt idx="31">
                  <c:v>1515.3902</c:v>
                </c:pt>
                <c:pt idx="32">
                  <c:v>1442.2</c:v>
                </c:pt>
                <c:pt idx="33">
                  <c:v>1538.9268</c:v>
                </c:pt>
                <c:pt idx="34">
                  <c:v>1575.4815</c:v>
                </c:pt>
                <c:pt idx="35">
                  <c:v>1505.0097</c:v>
                </c:pt>
                <c:pt idx="36">
                  <c:v>1606.1507</c:v>
                </c:pt>
                <c:pt idx="37">
                  <c:v>1511.3818</c:v>
                </c:pt>
                <c:pt idx="38">
                  <c:v>1405.2885</c:v>
                </c:pt>
                <c:pt idx="39">
                  <c:v>1220.3133</c:v>
                </c:pt>
                <c:pt idx="40">
                  <c:v>1351.9419</c:v>
                </c:pt>
                <c:pt idx="41">
                  <c:v>1514.3247</c:v>
                </c:pt>
                <c:pt idx="42">
                  <c:v>1517.2857</c:v>
                </c:pt>
                <c:pt idx="43">
                  <c:v>1490.1176</c:v>
                </c:pt>
                <c:pt idx="44">
                  <c:v>1452.2078</c:v>
                </c:pt>
                <c:pt idx="45">
                  <c:v>1392.9417</c:v>
                </c:pt>
                <c:pt idx="46">
                  <c:v>1338.145</c:v>
                </c:pt>
                <c:pt idx="47">
                  <c:v>1329.4526</c:v>
                </c:pt>
                <c:pt idx="48">
                  <c:v>1298.9538</c:v>
                </c:pt>
                <c:pt idx="49">
                  <c:v>1314.298</c:v>
                </c:pt>
                <c:pt idx="50">
                  <c:v>1260.5693</c:v>
                </c:pt>
                <c:pt idx="51">
                  <c:v>1300.3443</c:v>
                </c:pt>
                <c:pt idx="52">
                  <c:v>1158.8183673258927</c:v>
                </c:pt>
                <c:pt idx="53">
                  <c:v>1000.6589587501783</c:v>
                </c:pt>
                <c:pt idx="54">
                  <c:v>1645.3005479235737</c:v>
                </c:pt>
              </c:numCache>
            </c:numRef>
          </c:xVal>
          <c:yVal>
            <c:numRef>
              <c:f>Sheet1!$B$187:$B$241</c:f>
              <c:numCache>
                <c:formatCode>General</c:formatCode>
                <c:ptCount val="55"/>
                <c:pt idx="0">
                  <c:v>0.36639053619696926</c:v>
                </c:pt>
                <c:pt idx="1">
                  <c:v>0.35970637741446565</c:v>
                </c:pt>
                <c:pt idx="2">
                  <c:v>0.3683151683001964</c:v>
                </c:pt>
                <c:pt idx="3">
                  <c:v>0.3498032648779392</c:v>
                </c:pt>
                <c:pt idx="4">
                  <c:v>0.35458996262513676</c:v>
                </c:pt>
                <c:pt idx="5">
                  <c:v>0.35571878546605207</c:v>
                </c:pt>
                <c:pt idx="6">
                  <c:v>0.36397155041280754</c:v>
                </c:pt>
                <c:pt idx="7">
                  <c:v>0.3757525603085774</c:v>
                </c:pt>
                <c:pt idx="8">
                  <c:v>0.37018791799094897</c:v>
                </c:pt>
                <c:pt idx="9">
                  <c:v>0.37009207753251894</c:v>
                </c:pt>
                <c:pt idx="10">
                  <c:v>0.3730602916508875</c:v>
                </c:pt>
                <c:pt idx="11">
                  <c:v>0.39109563001017233</c:v>
                </c:pt>
                <c:pt idx="12">
                  <c:v>0.3943122254727191</c:v>
                </c:pt>
                <c:pt idx="13">
                  <c:v>0.3780571182402017</c:v>
                </c:pt>
                <c:pt idx="14">
                  <c:v>0.3791381666602459</c:v>
                </c:pt>
                <c:pt idx="15">
                  <c:v>0.37385683629441235</c:v>
                </c:pt>
                <c:pt idx="16">
                  <c:v>0.37377731369151873</c:v>
                </c:pt>
                <c:pt idx="17">
                  <c:v>0.3678094415684334</c:v>
                </c:pt>
                <c:pt idx="18">
                  <c:v>0.36656687554024797</c:v>
                </c:pt>
                <c:pt idx="19">
                  <c:v>0.34234209977000063</c:v>
                </c:pt>
                <c:pt idx="20">
                  <c:v>0.33708427624500964</c:v>
                </c:pt>
                <c:pt idx="21">
                  <c:v>0.333665641133689</c:v>
                </c:pt>
                <c:pt idx="22">
                  <c:v>0.3916217191941431</c:v>
                </c:pt>
                <c:pt idx="23">
                  <c:v>0.3924777789999738</c:v>
                </c:pt>
                <c:pt idx="24">
                  <c:v>0.3781712291180783</c:v>
                </c:pt>
                <c:pt idx="25">
                  <c:v>0.37299405662577334</c:v>
                </c:pt>
                <c:pt idx="26">
                  <c:v>0.34341173710225714</c:v>
                </c:pt>
                <c:pt idx="27">
                  <c:v>0.34800600587239533</c:v>
                </c:pt>
                <c:pt idx="28">
                  <c:v>0.351027826745393</c:v>
                </c:pt>
                <c:pt idx="29">
                  <c:v>0.3380747586649791</c:v>
                </c:pt>
                <c:pt idx="30">
                  <c:v>0.3300192533891131</c:v>
                </c:pt>
                <c:pt idx="31">
                  <c:v>0.3506191196177981</c:v>
                </c:pt>
                <c:pt idx="32">
                  <c:v>0.3598988951444301</c:v>
                </c:pt>
                <c:pt idx="33">
                  <c:v>0.3476349172975404</c:v>
                </c:pt>
                <c:pt idx="34">
                  <c:v>0.3430001518447425</c:v>
                </c:pt>
                <c:pt idx="35">
                  <c:v>0.3519352618042412</c:v>
                </c:pt>
                <c:pt idx="36">
                  <c:v>0.3391116081383258</c:v>
                </c:pt>
                <c:pt idx="37">
                  <c:v>0.3511273441098879</c:v>
                </c:pt>
                <c:pt idx="38">
                  <c:v>0.3645788992208129</c:v>
                </c:pt>
                <c:pt idx="39">
                  <c:v>0.3880318797290482</c:v>
                </c:pt>
                <c:pt idx="40">
                  <c:v>0.37134270739607433</c:v>
                </c:pt>
                <c:pt idx="41">
                  <c:v>0.3507542142182177</c:v>
                </c:pt>
                <c:pt idx="42">
                  <c:v>0.35037878943000345</c:v>
                </c:pt>
                <c:pt idx="43">
                  <c:v>0.3538234291424935</c:v>
                </c:pt>
                <c:pt idx="44">
                  <c:v>0.3586300075404144</c:v>
                </c:pt>
                <c:pt idx="45">
                  <c:v>0.3661443483174436</c:v>
                </c:pt>
                <c:pt idx="46">
                  <c:v>0.37309201447493723</c:v>
                </c:pt>
                <c:pt idx="47">
                  <c:v>0.3741941226914429</c:v>
                </c:pt>
                <c:pt idx="48">
                  <c:v>0.37806106140498164</c:v>
                </c:pt>
                <c:pt idx="49">
                  <c:v>0.3761155723690759</c:v>
                </c:pt>
                <c:pt idx="50">
                  <c:v>0.38292782695148925</c:v>
                </c:pt>
                <c:pt idx="51">
                  <c:v>0.3778847600986622</c:v>
                </c:pt>
                <c:pt idx="52">
                  <c:v>0.39582881389839136</c:v>
                </c:pt>
                <c:pt idx="53">
                  <c:v>0.4158818238506458</c:v>
                </c:pt>
                <c:pt idx="54">
                  <c:v>0.334147804232440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13.0"/>
          <c:min val="6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80602006688963"/>
          <c:min val="0.190209790209790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6505179369885354</c:v>
                </c:pt>
                <c:pt idx="2">
                  <c:v>0.0</c:v>
                </c:pt>
                <c:pt idx="3">
                  <c:v>0.7468137719387239</c:v>
                </c:pt>
                <c:pt idx="4">
                  <c:v>0.9446115083445435</c:v>
                </c:pt>
                <c:pt idx="5">
                  <c:v>0.8740833307163486</c:v>
                </c:pt>
                <c:pt idx="6">
                  <c:v>0.8258474190097183</c:v>
                </c:pt>
                <c:pt idx="7">
                  <c:v>0.9047598486654961</c:v>
                </c:pt>
                <c:pt idx="8">
                  <c:v>0.9366734679852323</c:v>
                </c:pt>
                <c:pt idx="9">
                  <c:v>0.7012802239234842</c:v>
                </c:pt>
                <c:pt idx="10">
                  <c:v>0.6490826726195741</c:v>
                </c:pt>
                <c:pt idx="11">
                  <c:v>0.9916147320348305</c:v>
                </c:pt>
                <c:pt idx="12">
                  <c:v>0.7734213867612915</c:v>
                </c:pt>
                <c:pt idx="13">
                  <c:v>0.7696351835070553</c:v>
                </c:pt>
                <c:pt idx="14">
                  <c:v>0.6828666326725689</c:v>
                </c:pt>
                <c:pt idx="15">
                  <c:v>0.6742512835498331</c:v>
                </c:pt>
                <c:pt idx="16">
                  <c:v>0.6983416572852118</c:v>
                </c:pt>
                <c:pt idx="17">
                  <c:v>0.524027242611899</c:v>
                </c:pt>
                <c:pt idx="18">
                  <c:v>0.3975099947166612</c:v>
                </c:pt>
                <c:pt idx="19">
                  <c:v>0.4918949995192061</c:v>
                </c:pt>
                <c:pt idx="20">
                  <c:v>0.4688176967376702</c:v>
                </c:pt>
                <c:pt idx="21">
                  <c:v>0.4443093800217104</c:v>
                </c:pt>
                <c:pt idx="22">
                  <c:v>0.20961570822297768</c:v>
                </c:pt>
                <c:pt idx="23">
                  <c:v>0.2855289740113074</c:v>
                </c:pt>
                <c:pt idx="24">
                  <c:v>1.0208662692235573</c:v>
                </c:pt>
                <c:pt idx="25">
                  <c:v>1.1436161102620965</c:v>
                </c:pt>
                <c:pt idx="26">
                  <c:v>1.1552015050564335</c:v>
                </c:pt>
                <c:pt idx="27">
                  <c:v>0.9011699833316614</c:v>
                </c:pt>
                <c:pt idx="28">
                  <c:v>1.2398761186454534</c:v>
                </c:pt>
                <c:pt idx="29">
                  <c:v>1.1601362220007105</c:v>
                </c:pt>
                <c:pt idx="30">
                  <c:v>1.0653935878052079</c:v>
                </c:pt>
                <c:pt idx="31">
                  <c:v>1.2297503200435826</c:v>
                </c:pt>
                <c:pt idx="32">
                  <c:v>1.2053081296188122</c:v>
                </c:pt>
                <c:pt idx="33">
                  <c:v>1.036986909256904</c:v>
                </c:pt>
                <c:pt idx="34">
                  <c:v>0.8935745271725687</c:v>
                </c:pt>
                <c:pt idx="35">
                  <c:v>1.2088909168034419</c:v>
                </c:pt>
                <c:pt idx="36">
                  <c:v>1.191699039231385</c:v>
                </c:pt>
                <c:pt idx="37">
                  <c:v>0.964677477011002</c:v>
                </c:pt>
                <c:pt idx="38">
                  <c:v>0.9042050888129866</c:v>
                </c:pt>
                <c:pt idx="39">
                  <c:v>0.9689376029479678</c:v>
                </c:pt>
                <c:pt idx="40">
                  <c:v>0.8716188383203244</c:v>
                </c:pt>
                <c:pt idx="41">
                  <c:v>1.0348665181107068</c:v>
                </c:pt>
                <c:pt idx="42">
                  <c:v>1.0694809104173288</c:v>
                </c:pt>
                <c:pt idx="43">
                  <c:v>1.1412786685873577</c:v>
                </c:pt>
                <c:pt idx="44">
                  <c:v>1.4771860121109213</c:v>
                </c:pt>
                <c:pt idx="45">
                  <c:v>1.0984201942395833</c:v>
                </c:pt>
                <c:pt idx="46">
                  <c:v>1.0820881387502848</c:v>
                </c:pt>
                <c:pt idx="47">
                  <c:v>1.149912943844034</c:v>
                </c:pt>
                <c:pt idx="48">
                  <c:v>1.374597483322082</c:v>
                </c:pt>
                <c:pt idx="49">
                  <c:v>1.4878122206754407</c:v>
                </c:pt>
                <c:pt idx="50">
                  <c:v>1.267452497579682</c:v>
                </c:pt>
                <c:pt idx="51">
                  <c:v>1.2958911789517982</c:v>
                </c:pt>
                <c:pt idx="52">
                  <c:v>1.3068676186945258</c:v>
                </c:pt>
                <c:pt idx="53">
                  <c:v>1.275567883766766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985798944253113</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985798944253113</c:v>
                </c:pt>
                <c:pt idx="1">
                  <c:v>0.985798944253113</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985798944253113</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985798944253113</c:v>
                </c:pt>
                <c:pt idx="1">
                  <c:v>0.985798944253113</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1.36566865152414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1.365668651524141</c:v>
                </c:pt>
                <c:pt idx="1">
                  <c:v>1.36566865152414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pt idx="52">
                  <c:v>0.985798944253113</c:v>
                </c:pt>
                <c:pt idx="53">
                  <c:v>0.985798944253113</c:v>
                </c:pt>
                <c:pt idx="54">
                  <c:v>1.365668651524141</c:v>
                </c:pt>
              </c:numCache>
            </c:numRef>
          </c:xVal>
          <c:yVal>
            <c:numRef>
              <c:f>Sheet1!$B$136:$B$190</c:f>
              <c:numCache>
                <c:formatCode>General</c:formatCode>
                <c:ptCount val="55"/>
                <c:pt idx="0">
                  <c:v>0.0031889420404884504</c:v>
                </c:pt>
                <c:pt idx="1">
                  <c:v>0.0036834653712892983</c:v>
                </c:pt>
                <c:pt idx="2">
                  <c:v>0.0030459319893542443</c:v>
                </c:pt>
                <c:pt idx="3">
                  <c:v>0.003641673104256768</c:v>
                </c:pt>
                <c:pt idx="4">
                  <c:v>0.003009528673110373</c:v>
                </c:pt>
                <c:pt idx="5">
                  <c:v>0.003045325646839803</c:v>
                </c:pt>
                <c:pt idx="6">
                  <c:v>0.002459227809268073</c:v>
                </c:pt>
                <c:pt idx="7">
                  <c:v>0.0027027062001957584</c:v>
                </c:pt>
                <c:pt idx="8">
                  <c:v>0.0033504251508726076</c:v>
                </c:pt>
                <c:pt idx="9">
                  <c:v>0.003300363570342497</c:v>
                </c:pt>
                <c:pt idx="10">
                  <c:v>0.002773187368418439</c:v>
                </c:pt>
                <c:pt idx="11">
                  <c:v>0.002624770419177874</c:v>
                </c:pt>
                <c:pt idx="12">
                  <c:v>0.002619722059890163</c:v>
                </c:pt>
                <c:pt idx="13">
                  <c:v>0.0030845788483463074</c:v>
                </c:pt>
                <c:pt idx="14">
                  <c:v>0.0030406994495182534</c:v>
                </c:pt>
                <c:pt idx="15">
                  <c:v>0.003324048914541294</c:v>
                </c:pt>
                <c:pt idx="16">
                  <c:v>0.003396782466949434</c:v>
                </c:pt>
                <c:pt idx="17">
                  <c:v>0.0046035582660906935</c:v>
                </c:pt>
                <c:pt idx="18">
                  <c:v>0.003593923694933717</c:v>
                </c:pt>
                <c:pt idx="19">
                  <c:v>0.0034237078129934102</c:v>
                </c:pt>
                <c:pt idx="20">
                  <c:v>0.003719042500732828</c:v>
                </c:pt>
                <c:pt idx="21">
                  <c:v>0.004172275132527695</c:v>
                </c:pt>
                <c:pt idx="22">
                  <c:v>0.003910229989649594</c:v>
                </c:pt>
                <c:pt idx="23">
                  <c:v>0.004822782784013924</c:v>
                </c:pt>
                <c:pt idx="24">
                  <c:v>0.003868273549640644</c:v>
                </c:pt>
                <c:pt idx="25">
                  <c:v>0.00417703106539526</c:v>
                </c:pt>
                <c:pt idx="26">
                  <c:v>0.004023170731862759</c:v>
                </c:pt>
                <c:pt idx="27">
                  <c:v>0.004189965345300514</c:v>
                </c:pt>
                <c:pt idx="28">
                  <c:v>0.003506166847514358</c:v>
                </c:pt>
                <c:pt idx="29">
                  <c:v>0.0037150371990906502</c:v>
                </c:pt>
                <c:pt idx="30">
                  <c:v>0.003873927740943771</c:v>
                </c:pt>
                <c:pt idx="31">
                  <c:v>0.004483597731725573</c:v>
                </c:pt>
                <c:pt idx="32">
                  <c:v>0.0041893903256374244</c:v>
                </c:pt>
                <c:pt idx="33">
                  <c:v>0.004022195711707343</c:v>
                </c:pt>
                <c:pt idx="34">
                  <c:v>0.0037792932358266286</c:v>
                </c:pt>
                <c:pt idx="35">
                  <c:v>0.004435199617458239</c:v>
                </c:pt>
                <c:pt idx="36">
                  <c:v>0.004199555092391222</c:v>
                </c:pt>
                <c:pt idx="37">
                  <c:v>0.004311948028565939</c:v>
                </c:pt>
                <c:pt idx="38">
                  <c:v>0.004680272083856059</c:v>
                </c:pt>
                <c:pt idx="39">
                  <c:v>0.004872359884130154</c:v>
                </c:pt>
                <c:pt idx="40">
                  <c:v>0.004888234993841023</c:v>
                </c:pt>
                <c:pt idx="41">
                  <c:v>0.004691867324954102</c:v>
                </c:pt>
                <c:pt idx="42">
                  <c:v>0.0049440343635032405</c:v>
                </c:pt>
                <c:pt idx="43">
                  <c:v>0.004466942266677302</c:v>
                </c:pt>
                <c:pt idx="44">
                  <c:v>0.003291946824180927</c:v>
                </c:pt>
                <c:pt idx="45">
                  <c:v>0.0028420102008915645</c:v>
                </c:pt>
                <c:pt idx="46">
                  <c:v>0.0032790510116209697</c:v>
                </c:pt>
                <c:pt idx="47">
                  <c:v>0.0028606771074735212</c:v>
                </c:pt>
                <c:pt idx="48">
                  <c:v>0.0032876087884178683</c:v>
                </c:pt>
                <c:pt idx="49">
                  <c:v>0.0027834672300526865</c:v>
                </c:pt>
                <c:pt idx="50">
                  <c:v>0.0020813308702285413</c:v>
                </c:pt>
                <c:pt idx="51">
                  <c:v>0.002682016932004274</c:v>
                </c:pt>
                <c:pt idx="52">
                  <c:v>0.004361161800028936</c:v>
                </c:pt>
                <c:pt idx="53">
                  <c:v>0.004361161800028936</c:v>
                </c:pt>
                <c:pt idx="54">
                  <c:v>0.00302426333133744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53188054883</c:v>
                </c:pt>
                <c:pt idx="1">
                  <c:v>0.0027724461505651524</c:v>
                </c:pt>
                <c:pt idx="2">
                  <c:v>0.002474041308992765</c:v>
                </c:pt>
                <c:pt idx="3">
                  <c:v>0.0027802448160018536</c:v>
                </c:pt>
                <c:pt idx="4">
                  <c:v>0.0026056060007895775</c:v>
                </c:pt>
                <c:pt idx="5">
                  <c:v>0.002304147465437788</c:v>
                </c:pt>
                <c:pt idx="6">
                  <c:v>0.0023851280252542967</c:v>
                </c:pt>
                <c:pt idx="7">
                  <c:v>0.0028896166441918707</c:v>
                </c:pt>
                <c:pt idx="8">
                  <c:v>0.0035228442902823696</c:v>
                </c:pt>
                <c:pt idx="9">
                  <c:v>0.003538676236044657</c:v>
                </c:pt>
                <c:pt idx="10">
                  <c:v>0.003357500851540071</c:v>
                </c:pt>
                <c:pt idx="11">
                  <c:v>0.0033273874862788143</c:v>
                </c:pt>
                <c:pt idx="12">
                  <c:v>0.003576654202568688</c:v>
                </c:pt>
                <c:pt idx="13">
                  <c:v>0.005383638989801725</c:v>
                </c:pt>
                <c:pt idx="14">
                  <c:v>0.005304659498207885</c:v>
                </c:pt>
                <c:pt idx="15">
                  <c:v>0.005114957375355205</c:v>
                </c:pt>
                <c:pt idx="16">
                  <c:v>0.004994822440153499</c:v>
                </c:pt>
                <c:pt idx="17">
                  <c:v>0.0066212393931601955</c:v>
                </c:pt>
                <c:pt idx="18">
                  <c:v>0.0035177007709003816</c:v>
                </c:pt>
                <c:pt idx="19">
                  <c:v>0.0032291207984735063</c:v>
                </c:pt>
                <c:pt idx="20">
                  <c:v>0.00398665690342527</c:v>
                </c:pt>
                <c:pt idx="21">
                  <c:v>0.004742088454466273</c:v>
                </c:pt>
                <c:pt idx="22">
                  <c:v>0.004075056861258529</c:v>
                </c:pt>
                <c:pt idx="23">
                  <c:v>0.004474050507059057</c:v>
                </c:pt>
                <c:pt idx="24">
                  <c:v>0.00392156862745098</c:v>
                </c:pt>
                <c:pt idx="25">
                  <c:v>0.004148576941630487</c:v>
                </c:pt>
                <c:pt idx="26">
                  <c:v>0.00398406374501992</c:v>
                </c:pt>
                <c:pt idx="27">
                  <c:v>0.004326229770870053</c:v>
                </c:pt>
                <c:pt idx="28">
                  <c:v>0.0033920323325635103</c:v>
                </c:pt>
                <c:pt idx="29">
                  <c:v>0.004102295539844637</c:v>
                </c:pt>
                <c:pt idx="30">
                  <c:v>0.004041311180960934</c:v>
                </c:pt>
                <c:pt idx="31">
                  <c:v>0.004301691998852882</c:v>
                </c:pt>
                <c:pt idx="32">
                  <c:v>0.0035637328029172882</c:v>
                </c:pt>
                <c:pt idx="33">
                  <c:v>0.002848633950537356</c:v>
                </c:pt>
                <c:pt idx="34">
                  <c:v>0.0028331640562356338</c:v>
                </c:pt>
                <c:pt idx="35">
                  <c:v>0.003877523733119401</c:v>
                </c:pt>
                <c:pt idx="36">
                  <c:v>0.0046267087276551</c:v>
                </c:pt>
                <c:pt idx="37">
                  <c:v>0.004762358319839985</c:v>
                </c:pt>
                <c:pt idx="38">
                  <c:v>0.0057203389830508475</c:v>
                </c:pt>
                <c:pt idx="39">
                  <c:v>0.005291417010349389</c:v>
                </c:pt>
                <c:pt idx="40">
                  <c:v>0.004725118127953199</c:v>
                </c:pt>
                <c:pt idx="41">
                  <c:v>0.004050596930073906</c:v>
                </c:pt>
                <c:pt idx="42">
                  <c:v>0.004612770089827628</c:v>
                </c:pt>
                <c:pt idx="43">
                  <c:v>0.0035323207347227126</c:v>
                </c:pt>
                <c:pt idx="44">
                  <c:v>0.002512320030920862</c:v>
                </c:pt>
                <c:pt idx="45">
                  <c:v>0.00202242407039455</c:v>
                </c:pt>
                <c:pt idx="46">
                  <c:v>0.002218965878166213</c:v>
                </c:pt>
                <c:pt idx="47">
                  <c:v>0.0020577729461096444</c:v>
                </c:pt>
                <c:pt idx="48">
                  <c:v>0.0023189152629714323</c:v>
                </c:pt>
                <c:pt idx="49">
                  <c:v>0.002085096095733108</c:v>
                </c:pt>
                <c:pt idx="50">
                  <c:v>0.0016871633296066673</c:v>
                </c:pt>
                <c:pt idx="51">
                  <c:v>0.00220054280055747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7.134574446532</c:v>
                </c:pt>
              </c:numCache>
            </c:numRef>
          </c:xVal>
          <c:yVal>
            <c:numRef>
              <c:f>Sheet1!$B$112:$B$113</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7.134574446532</c:v>
                </c:pt>
                <c:pt idx="1">
                  <c:v>3497.134574446532</c:v>
                </c:pt>
              </c:numCache>
            </c:numRef>
          </c:xVal>
          <c:yVal>
            <c:numRef>
              <c:f>Sheet1!$B$116:$B$117</c:f>
              <c:numCache>
                <c:formatCode>General</c:formatCode>
                <c:ptCount val="2"/>
                <c:pt idx="0">
                  <c:v>0.004361161800028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7.134574446532</c:v>
                </c:pt>
              </c:numCache>
            </c:numRef>
          </c:xVal>
          <c:yVal>
            <c:numRef>
              <c:f>Sheet1!$B$120:$B$121</c:f>
              <c:numCache>
                <c:formatCode>General</c:formatCode>
                <c:ptCount val="2"/>
                <c:pt idx="0">
                  <c:v>0.004361161800028936</c:v>
                </c:pt>
                <c:pt idx="1">
                  <c:v>0.004361161800028936</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7.134574446532</c:v>
                </c:pt>
                <c:pt idx="1">
                  <c:v>3497.134574446532</c:v>
                </c:pt>
              </c:numCache>
            </c:numRef>
          </c:xVal>
          <c:yVal>
            <c:numRef>
              <c:f>Sheet1!$B$124:$B$125</c:f>
              <c:numCache>
                <c:formatCode>General</c:formatCode>
                <c:ptCount val="2"/>
                <c:pt idx="0">
                  <c:v>0.0043611618000289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8.23595726061</c:v>
                </c:pt>
              </c:numCache>
            </c:numRef>
          </c:xVal>
          <c:yVal>
            <c:numRef>
              <c:f>Sheet1!$B$128:$B$129</c:f>
              <c:numCache>
                <c:formatCode>General</c:formatCode>
                <c:ptCount val="2"/>
                <c:pt idx="0">
                  <c:v>0.003024263331337445</c:v>
                </c:pt>
                <c:pt idx="1">
                  <c:v>0.00302426333133744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8.23595726061</c:v>
                </c:pt>
                <c:pt idx="1">
                  <c:v>4248.23595726061</c:v>
                </c:pt>
              </c:numCache>
            </c:numRef>
          </c:xVal>
          <c:yVal>
            <c:numRef>
              <c:f>Sheet1!$B$132:$B$133</c:f>
              <c:numCache>
                <c:formatCode>General</c:formatCode>
                <c:ptCount val="2"/>
                <c:pt idx="0">
                  <c:v>0.003024263331337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7.134574446532</c:v>
                </c:pt>
                <c:pt idx="53">
                  <c:v>3497.134574446532</c:v>
                </c:pt>
                <c:pt idx="54">
                  <c:v>4248.23595726061</c:v>
                </c:pt>
              </c:numCache>
            </c:numRef>
          </c:xVal>
          <c:yVal>
            <c:numRef>
              <c:f>Sheet1!$B$136:$B$190</c:f>
              <c:numCache>
                <c:formatCode>General</c:formatCode>
                <c:ptCount val="55"/>
                <c:pt idx="0">
                  <c:v>0.002699799786814415</c:v>
                </c:pt>
                <c:pt idx="1">
                  <c:v>0.003960810437056742</c:v>
                </c:pt>
                <c:pt idx="2">
                  <c:v>0.002834178215612734</c:v>
                </c:pt>
                <c:pt idx="3">
                  <c:v>0.00410561241850919</c:v>
                </c:pt>
                <c:pt idx="4">
                  <c:v>0.0026222870511226175</c:v>
                </c:pt>
                <c:pt idx="5">
                  <c:v>0.0019695669321136682</c:v>
                </c:pt>
                <c:pt idx="6">
                  <c:v>0.002559104074951985</c:v>
                </c:pt>
                <c:pt idx="7">
                  <c:v>0.0031149844024753468</c:v>
                </c:pt>
                <c:pt idx="8">
                  <c:v>0.003337893968036145</c:v>
                </c:pt>
                <c:pt idx="9">
                  <c:v>0.0033351911633666843</c:v>
                </c:pt>
                <c:pt idx="10">
                  <c:v>0.0029714920842930917</c:v>
                </c:pt>
                <c:pt idx="11">
                  <c:v>0.0034797916581621804</c:v>
                </c:pt>
                <c:pt idx="12">
                  <c:v>0.003813105766203597</c:v>
                </c:pt>
                <c:pt idx="13">
                  <c:v>0.004523880385193439</c:v>
                </c:pt>
                <c:pt idx="14">
                  <c:v>0.004542616152405606</c:v>
                </c:pt>
                <c:pt idx="15">
                  <c:v>0.004145060373285821</c:v>
                </c:pt>
                <c:pt idx="16">
                  <c:v>0.003920719754083769</c:v>
                </c:pt>
                <c:pt idx="17">
                  <c:v>0.005386927477224924</c:v>
                </c:pt>
                <c:pt idx="18">
                  <c:v>0.003300721993721046</c:v>
                </c:pt>
                <c:pt idx="19">
                  <c:v>0.0028608905049491793</c:v>
                </c:pt>
                <c:pt idx="20">
                  <c:v>0.0032686046290209183</c:v>
                </c:pt>
                <c:pt idx="21">
                  <c:v>0.00387305018254803</c:v>
                </c:pt>
                <c:pt idx="22">
                  <c:v>0.003479679879345425</c:v>
                </c:pt>
                <c:pt idx="23">
                  <c:v>0.005116798303263349</c:v>
                </c:pt>
                <c:pt idx="24">
                  <c:v>0.0034936709205731463</c:v>
                </c:pt>
                <c:pt idx="25">
                  <c:v>0.00399850517313109</c:v>
                </c:pt>
                <c:pt idx="26">
                  <c:v>0.0035415713474039982</c:v>
                </c:pt>
                <c:pt idx="27">
                  <c:v>0.00403808270589912</c:v>
                </c:pt>
                <c:pt idx="28">
                  <c:v>0.0037685752571078052</c:v>
                </c:pt>
                <c:pt idx="29">
                  <c:v>0.0040811590224266205</c:v>
                </c:pt>
                <c:pt idx="30">
                  <c:v>0.004214419663057393</c:v>
                </c:pt>
                <c:pt idx="31">
                  <c:v>0.003942448274520321</c:v>
                </c:pt>
                <c:pt idx="32">
                  <c:v>0.0030775840647495863</c:v>
                </c:pt>
                <c:pt idx="33">
                  <c:v>0.002338606119563498</c:v>
                </c:pt>
                <c:pt idx="34">
                  <c:v>0.0022455497206399153</c:v>
                </c:pt>
                <c:pt idx="35">
                  <c:v>0.0036092633884868084</c:v>
                </c:pt>
                <c:pt idx="36">
                  <c:v>0.0030669159514358684</c:v>
                </c:pt>
                <c:pt idx="37">
                  <c:v>0.0032041701928811755</c:v>
                </c:pt>
                <c:pt idx="38">
                  <c:v>0.0041939901263862486</c:v>
                </c:pt>
                <c:pt idx="39">
                  <c:v>0.0049209235480835185</c:v>
                </c:pt>
                <c:pt idx="40">
                  <c:v>0.004844098038524668</c:v>
                </c:pt>
                <c:pt idx="41">
                  <c:v>0.004480936850508771</c:v>
                </c:pt>
                <c:pt idx="42">
                  <c:v>0.00475944712183425</c:v>
                </c:pt>
                <c:pt idx="43">
                  <c:v>0.0044491809870456315</c:v>
                </c:pt>
                <c:pt idx="44">
                  <c:v>0.003336853428286545</c:v>
                </c:pt>
                <c:pt idx="45">
                  <c:v>0.003160644091210459</c:v>
                </c:pt>
                <c:pt idx="46">
                  <c:v>0.003279110769845388</c:v>
                </c:pt>
                <c:pt idx="47">
                  <c:v>0.0033466468901583307</c:v>
                </c:pt>
                <c:pt idx="48">
                  <c:v>0.004149591153191065</c:v>
                </c:pt>
                <c:pt idx="49">
                  <c:v>0.003827193990924865</c:v>
                </c:pt>
                <c:pt idx="50">
                  <c:v>0.003284851537642827</c:v>
                </c:pt>
                <c:pt idx="51">
                  <c:v>0.0030867134394154594</c:v>
                </c:pt>
                <c:pt idx="52">
                  <c:v>0.004361161800028936</c:v>
                </c:pt>
                <c:pt idx="53">
                  <c:v>0.004361161800028936</c:v>
                </c:pt>
                <c:pt idx="54">
                  <c:v>0.0030242633313374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4548727179223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6</c:f>
              <c:numCache>
                <c:formatCode>General</c:formatCode>
                <c:ptCount val="35"/>
                <c:pt idx="0">
                  <c:v>0.00824015274134132</c:v>
                </c:pt>
                <c:pt idx="1">
                  <c:v>0.00768752060564396</c:v>
                </c:pt>
                <c:pt idx="2">
                  <c:v>0.0007472751120120023</c:v>
                </c:pt>
                <c:pt idx="3">
                  <c:v>0.0</c:v>
                </c:pt>
                <c:pt idx="4">
                  <c:v>0.0</c:v>
                </c:pt>
                <c:pt idx="5">
                  <c:v>0.10952776212015261</c:v>
                </c:pt>
                <c:pt idx="6">
                  <c:v>0.08990239099517425</c:v>
                </c:pt>
                <c:pt idx="7">
                  <c:v>0.06972753293102092</c:v>
                </c:pt>
                <c:pt idx="8">
                  <c:v>0.14214038994962383</c:v>
                </c:pt>
                <c:pt idx="9">
                  <c:v>0.13313987609043537</c:v>
                </c:pt>
                <c:pt idx="10">
                  <c:v>0.07051503808881357</c:v>
                </c:pt>
                <c:pt idx="11">
                  <c:v>0.030178222125624866</c:v>
                </c:pt>
                <c:pt idx="12">
                  <c:v>0.0029245513731451797</c:v>
                </c:pt>
                <c:pt idx="13">
                  <c:v>0.00267389275716029</c:v>
                </c:pt>
                <c:pt idx="14">
                  <c:v>0.0035824609576111206</c:v>
                </c:pt>
                <c:pt idx="15">
                  <c:v>0.002459655648209251</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numCache>
            </c:numRef>
          </c:xVal>
          <c:yVal>
            <c:numRef>
              <c:f>Sheet1!$B$2:$B$36</c:f>
              <c:numCache>
                <c:formatCode>General</c:formatCode>
                <c:ptCount val="35"/>
                <c:pt idx="0">
                  <c:v>0.005747126436781609</c:v>
                </c:pt>
                <c:pt idx="1">
                  <c:v>0.002849002849002849</c:v>
                </c:pt>
                <c:pt idx="2">
                  <c:v>0.0035714285714285713</c:v>
                </c:pt>
                <c:pt idx="3">
                  <c:v>0.0</c:v>
                </c:pt>
                <c:pt idx="4">
                  <c:v>0.0</c:v>
                </c:pt>
                <c:pt idx="5">
                  <c:v>0.010362694300518135</c:v>
                </c:pt>
                <c:pt idx="6">
                  <c:v>0.01951219512195122</c:v>
                </c:pt>
                <c:pt idx="7">
                  <c:v>0.027149321266968326</c:v>
                </c:pt>
                <c:pt idx="8">
                  <c:v>0.021367521367521368</c:v>
                </c:pt>
                <c:pt idx="9">
                  <c:v>0.017241379310344827</c:v>
                </c:pt>
                <c:pt idx="10">
                  <c:v>0.022222222222222223</c:v>
                </c:pt>
                <c:pt idx="11">
                  <c:v>0.044444444444444446</c:v>
                </c:pt>
                <c:pt idx="12">
                  <c:v>0.41895261845386533</c:v>
                </c:pt>
                <c:pt idx="13">
                  <c:v>0.03076923076923077</c:v>
                </c:pt>
                <c:pt idx="14">
                  <c:v>0.017857142857142856</c:v>
                </c:pt>
                <c:pt idx="15">
                  <c:v>0.0038022813688212928</c:v>
                </c:pt>
                <c:pt idx="16">
                  <c:v>0.010752688172043012</c:v>
                </c:pt>
                <c:pt idx="17">
                  <c:v>0.0</c:v>
                </c:pt>
                <c:pt idx="18">
                  <c:v>0.0</c:v>
                </c:pt>
                <c:pt idx="19">
                  <c:v>0.005291005291005291</c:v>
                </c:pt>
                <c:pt idx="20">
                  <c:v>0.0</c:v>
                </c:pt>
                <c:pt idx="21">
                  <c:v>0.004784688995215311</c:v>
                </c:pt>
                <c:pt idx="22">
                  <c:v>0.0</c:v>
                </c:pt>
                <c:pt idx="23">
                  <c:v>0.0</c:v>
                </c:pt>
                <c:pt idx="24">
                  <c:v>0.008849557522123894</c:v>
                </c:pt>
                <c:pt idx="25">
                  <c:v>0.0</c:v>
                </c:pt>
                <c:pt idx="26">
                  <c:v>0.0</c:v>
                </c:pt>
                <c:pt idx="27">
                  <c:v>0.0</c:v>
                </c:pt>
                <c:pt idx="28">
                  <c:v>0.0</c:v>
                </c:pt>
                <c:pt idx="29">
                  <c:v>0.0</c:v>
                </c:pt>
                <c:pt idx="30">
                  <c:v>0.015267175572519083</c:v>
                </c:pt>
                <c:pt idx="31">
                  <c:v>0.0</c:v>
                </c:pt>
                <c:pt idx="32">
                  <c:v>0.0</c:v>
                </c:pt>
                <c:pt idx="33">
                  <c:v>0.0</c:v>
                </c:pt>
                <c:pt idx="34">
                  <c:v>0.0</c:v>
                </c:pt>
              </c:numCache>
            </c:numRef>
          </c:yVal>
          <c:smooth val="0"/>
          <c:extLst>
            <c:ext xmlns:c16="http://schemas.microsoft.com/office/drawing/2014/chart" uri="{C3380CC4-5D6E-409C-BE32-E72D297353CC}">
              <c16:uniqueId val="{00000000-096C-4121-9522-6AB7243CCAAE}"/>
            </c:ext>
          </c:extLst>
        </c:ser>
        <c:ser>
          <c:idx val="1"/>
          <c:order val="1"/>
          <c:tx>
            <c:strRef>
              <c:f>Sheet1!$B$3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9:$A$38</c:f>
              <c:numCache>
                <c:formatCode>General</c:formatCode>
                <c:ptCount val="0"/>
              </c:numCache>
            </c:numRef>
          </c:xVal>
          <c:yVal>
            <c:numRef>
              <c:f>Sheet1!$B$39:$B$38</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1:$A$42</c:f>
              <c:numCache>
                <c:formatCode>General</c:formatCode>
                <c:ptCount val="2"/>
                <c:pt idx="0">
                  <c:v>0</c:v>
                </c:pt>
                <c:pt idx="1">
                  <c:v>0.04957182612731337</c:v>
                </c:pt>
              </c:numCache>
            </c:numRef>
          </c:xVal>
          <c:yVal>
            <c:numRef>
              <c:f>Sheet1!$B$41:$B$42</c:f>
              <c:numCache>
                <c:formatCode>General</c:formatCode>
                <c:ptCount val="2"/>
                <c:pt idx="0">
                  <c:v>0.04957182612731337</c:v>
                </c:pt>
                <c:pt idx="1">
                  <c:v>0.04957182612731337</c:v>
                </c:pt>
              </c:numCache>
            </c:numRef>
          </c:yVal>
          <c:smooth val="0"/>
          <c:extLst>
            <c:ext xmlns:c16="http://schemas.microsoft.com/office/drawing/2014/chart" uri="{C3380CC4-5D6E-409C-BE32-E72D297353CC}">
              <c16:uniqueId val="{00000005-096C-4121-9522-6AB7243CCAAE}"/>
            </c:ext>
          </c:extLst>
        </c:ser>
        <c:ser>
          <c:idx val="3"/>
          <c:order val="3"/>
          <c:tx>
            <c:strRef>
              <c:f>Sheet1!$B$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5:$A$46</c:f>
              <c:numCache>
                <c:formatCode>General</c:formatCode>
                <c:ptCount val="2"/>
                <c:pt idx="0">
                  <c:v>0.04957182612731337</c:v>
                </c:pt>
                <c:pt idx="1">
                  <c:v>0.04957182612731337</c:v>
                </c:pt>
              </c:numCache>
            </c:numRef>
          </c:xVal>
          <c:yVal>
            <c:numRef>
              <c:f>Sheet1!$B$45:$B$46</c:f>
              <c:numCache>
                <c:formatCode>General</c:formatCode>
                <c:ptCount val="2"/>
                <c:pt idx="0">
                  <c:v>0.049571826127313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8</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9:$A$51</c:f>
              <c:numCache>
                <c:formatCode>General</c:formatCode>
                <c:ptCount val="3"/>
                <c:pt idx="0">
                  <c:v>0</c:v>
                </c:pt>
                <c:pt idx="1">
                  <c:v>0.04957182612731337</c:v>
                </c:pt>
                <c:pt idx="2">
                  <c:v>0</c:v>
                </c:pt>
              </c:numCache>
            </c:numRef>
          </c:xVal>
          <c:yVal>
            <c:numRef>
              <c:f>Sheet1!$B$49:$B$51</c:f>
              <c:numCache>
                <c:formatCode>General</c:formatCode>
                <c:ptCount val="3"/>
                <c:pt idx="0">
                  <c:v>0</c:v>
                </c:pt>
                <c:pt idx="1">
                  <c:v>0.0495718261273133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43142144638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6</c:f>
              <c:numCache>
                <c:formatCode>General</c:formatCode>
                <c:ptCount val="35"/>
                <c:pt idx="0">
                  <c:v>141.0</c:v>
                </c:pt>
                <c:pt idx="1">
                  <c:v>140.0</c:v>
                </c:pt>
                <c:pt idx="2">
                  <c:v>7.0</c:v>
                </c:pt>
                <c:pt idx="3">
                  <c:v>0.0</c:v>
                </c:pt>
                <c:pt idx="4">
                  <c:v>0.0</c:v>
                </c:pt>
                <c:pt idx="5">
                  <c:v>1106.5</c:v>
                </c:pt>
                <c:pt idx="6">
                  <c:v>924.5</c:v>
                </c:pt>
                <c:pt idx="7">
                  <c:v>700.1667</c:v>
                </c:pt>
                <c:pt idx="8">
                  <c:v>1155.4</c:v>
                </c:pt>
                <c:pt idx="9">
                  <c:v>1208.2</c:v>
                </c:pt>
                <c:pt idx="10">
                  <c:v>857.1667</c:v>
                </c:pt>
                <c:pt idx="11">
                  <c:v>694.25</c:v>
                </c:pt>
                <c:pt idx="12">
                  <c:v>88.494</c:v>
                </c:pt>
                <c:pt idx="13">
                  <c:v>74.5</c:v>
                </c:pt>
                <c:pt idx="14">
                  <c:v>83.5</c:v>
                </c:pt>
                <c:pt idx="15">
                  <c:v>82.0</c:v>
                </c:pt>
                <c:pt idx="16">
                  <c:v>105.0</c:v>
                </c:pt>
                <c:pt idx="17">
                  <c:v>0.0</c:v>
                </c:pt>
                <c:pt idx="18">
                  <c:v>0.0</c:v>
                </c:pt>
                <c:pt idx="19">
                  <c:v>69.0</c:v>
                </c:pt>
                <c:pt idx="20">
                  <c:v>0.0</c:v>
                </c:pt>
                <c:pt idx="21">
                  <c:v>123.0</c:v>
                </c:pt>
                <c:pt idx="22">
                  <c:v>0.0</c:v>
                </c:pt>
                <c:pt idx="23">
                  <c:v>0.0</c:v>
                </c:pt>
                <c:pt idx="24">
                  <c:v>69.0</c:v>
                </c:pt>
                <c:pt idx="25">
                  <c:v>0.0</c:v>
                </c:pt>
                <c:pt idx="26">
                  <c:v>0.0</c:v>
                </c:pt>
                <c:pt idx="27">
                  <c:v>0.0</c:v>
                </c:pt>
                <c:pt idx="28">
                  <c:v>0.0</c:v>
                </c:pt>
                <c:pt idx="29">
                  <c:v>0.0</c:v>
                </c:pt>
                <c:pt idx="30">
                  <c:v>61.5</c:v>
                </c:pt>
                <c:pt idx="31">
                  <c:v>0.0</c:v>
                </c:pt>
                <c:pt idx="32">
                  <c:v>0.0</c:v>
                </c:pt>
                <c:pt idx="33">
                  <c:v>0.0</c:v>
                </c:pt>
                <c:pt idx="34">
                  <c:v>0.0</c:v>
                </c:pt>
              </c:numCache>
            </c:numRef>
          </c:xVal>
          <c:yVal>
            <c:numRef>
              <c:f>Sheet1!$B$2:$B$36</c:f>
              <c:numCache>
                <c:formatCode>General</c:formatCode>
                <c:ptCount val="35"/>
                <c:pt idx="0">
                  <c:v>0.005747126436781609</c:v>
                </c:pt>
                <c:pt idx="1">
                  <c:v>0.002849002849002849</c:v>
                </c:pt>
                <c:pt idx="2">
                  <c:v>0.0035714285714285713</c:v>
                </c:pt>
                <c:pt idx="3">
                  <c:v>0.0</c:v>
                </c:pt>
                <c:pt idx="4">
                  <c:v>0.0</c:v>
                </c:pt>
                <c:pt idx="5">
                  <c:v>0.010362694300518135</c:v>
                </c:pt>
                <c:pt idx="6">
                  <c:v>0.01951219512195122</c:v>
                </c:pt>
                <c:pt idx="7">
                  <c:v>0.027149321266968326</c:v>
                </c:pt>
                <c:pt idx="8">
                  <c:v>0.021367521367521368</c:v>
                </c:pt>
                <c:pt idx="9">
                  <c:v>0.017241379310344827</c:v>
                </c:pt>
                <c:pt idx="10">
                  <c:v>0.022222222222222223</c:v>
                </c:pt>
                <c:pt idx="11">
                  <c:v>0.044444444444444446</c:v>
                </c:pt>
                <c:pt idx="12">
                  <c:v>0.41895261845386533</c:v>
                </c:pt>
                <c:pt idx="13">
                  <c:v>0.03076923076923077</c:v>
                </c:pt>
                <c:pt idx="14">
                  <c:v>0.017857142857142856</c:v>
                </c:pt>
                <c:pt idx="15">
                  <c:v>0.0038022813688212928</c:v>
                </c:pt>
                <c:pt idx="16">
                  <c:v>0.010752688172043012</c:v>
                </c:pt>
                <c:pt idx="17">
                  <c:v>0.0</c:v>
                </c:pt>
                <c:pt idx="18">
                  <c:v>0.0</c:v>
                </c:pt>
                <c:pt idx="19">
                  <c:v>0.005291005291005291</c:v>
                </c:pt>
                <c:pt idx="20">
                  <c:v>0.0</c:v>
                </c:pt>
                <c:pt idx="21">
                  <c:v>0.004784688995215311</c:v>
                </c:pt>
                <c:pt idx="22">
                  <c:v>0.0</c:v>
                </c:pt>
                <c:pt idx="23">
                  <c:v>0.0</c:v>
                </c:pt>
                <c:pt idx="24">
                  <c:v>0.008849557522123894</c:v>
                </c:pt>
                <c:pt idx="25">
                  <c:v>0.0</c:v>
                </c:pt>
                <c:pt idx="26">
                  <c:v>0.0</c:v>
                </c:pt>
                <c:pt idx="27">
                  <c:v>0.0</c:v>
                </c:pt>
                <c:pt idx="28">
                  <c:v>0.0</c:v>
                </c:pt>
                <c:pt idx="29">
                  <c:v>0.0</c:v>
                </c:pt>
                <c:pt idx="30">
                  <c:v>0.015267175572519083</c:v>
                </c:pt>
                <c:pt idx="31">
                  <c:v>0.0</c:v>
                </c:pt>
                <c:pt idx="32">
                  <c:v>0.0</c:v>
                </c:pt>
                <c:pt idx="33">
                  <c:v>0.0</c:v>
                </c:pt>
                <c:pt idx="34">
                  <c:v>0.0</c:v>
                </c:pt>
              </c:numCache>
            </c:numRef>
          </c:yVal>
          <c:smooth val="0"/>
          <c:extLst>
            <c:ext xmlns:c16="http://schemas.microsoft.com/office/drawing/2014/chart" uri="{C3380CC4-5D6E-409C-BE32-E72D297353CC}">
              <c16:uniqueId val="{00000000-F32D-48B7-BC20-E66FC6253BAD}"/>
            </c:ext>
          </c:extLst>
        </c:ser>
        <c:ser>
          <c:idx val="1"/>
          <c:order val="1"/>
          <c:tx>
            <c:strRef>
              <c:f>Sheet1!$B$3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9:$A$38</c:f>
              <c:numCache>
                <c:formatCode>General</c:formatCode>
                <c:ptCount val="0"/>
              </c:numCache>
            </c:numRef>
          </c:xVal>
          <c:yVal>
            <c:numRef>
              <c:f>Sheet1!$B$39:$B$38</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40</c:f>
              <c:strCache>
                <c:ptCount val="1"/>
                <c:pt idx="0">
                  <c:v>Custom Linep3yQ</c:v>
                </c:pt>
              </c:strCache>
            </c:strRef>
          </c:tx>
          <c:spPr>
            <a:ln w="19050" cap="rnd">
              <a:solidFill>
                <a:srgbClr val="C00000"/>
              </a:solidFill>
              <a:prstDash val="sysDot"/>
              <a:round/>
            </a:ln>
            <a:effectLst/>
          </c:spPr>
          <c:marker>
            <c:symbol val="none"/>
          </c:marker>
          <c:xVal>
            <c:numRef>
              <c:f>Sheet1!$A$41:$A$42</c:f>
              <c:numCache>
                <c:formatCode>General</c:formatCode>
                <c:ptCount val="2"/>
                <c:pt idx="0">
                  <c:v>0</c:v>
                </c:pt>
                <c:pt idx="1">
                  <c:v>0.04957182612731337</c:v>
                </c:pt>
              </c:numCache>
            </c:numRef>
          </c:xVal>
          <c:yVal>
            <c:numRef>
              <c:f>Sheet1!$B$41:$B$42</c:f>
              <c:numCache>
                <c:formatCode>General</c:formatCode>
                <c:ptCount val="2"/>
                <c:pt idx="0">
                  <c:v>0.04957182612731337</c:v>
                </c:pt>
                <c:pt idx="1">
                  <c:v>0.04957182612731337</c:v>
                </c:pt>
              </c:numCache>
            </c:numRef>
          </c:yVal>
          <c:smooth val="0"/>
          <c:extLst>
            <c:ext xmlns:c16="http://schemas.microsoft.com/office/drawing/2014/chart" uri="{C3380CC4-5D6E-409C-BE32-E72D297353CC}">
              <c16:uniqueId val="{00000003-F32D-48B7-BC20-E66FC6253BAD}"/>
            </c:ext>
          </c:extLst>
        </c:ser>
        <c:ser>
          <c:idx val="3"/>
          <c:order val="3"/>
          <c:tx>
            <c:strRef>
              <c:f>Sheet1!$B$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5:$A$46</c:f>
              <c:numCache>
                <c:formatCode>General</c:formatCode>
                <c:ptCount val="2"/>
                <c:pt idx="0">
                  <c:v>0.04957182612731337</c:v>
                </c:pt>
                <c:pt idx="1">
                  <c:v>0.04957182612731337</c:v>
                </c:pt>
              </c:numCache>
            </c:numRef>
          </c:xVal>
          <c:yVal>
            <c:numRef>
              <c:f>Sheet1!$B$45:$B$46</c:f>
              <c:numCache>
                <c:formatCode>General</c:formatCode>
                <c:ptCount val="2"/>
                <c:pt idx="0">
                  <c:v>0.049571826127313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8</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9:$A$51</c:f>
              <c:numCache>
                <c:formatCode>General</c:formatCode>
                <c:ptCount val="3"/>
                <c:pt idx="0">
                  <c:v>0</c:v>
                </c:pt>
                <c:pt idx="1">
                  <c:v>0.04957182612731337</c:v>
                </c:pt>
                <c:pt idx="2">
                  <c:v>0</c:v>
                </c:pt>
              </c:numCache>
            </c:numRef>
          </c:xVal>
          <c:yVal>
            <c:numRef>
              <c:f>Sheet1!$B$49:$B$51</c:f>
              <c:numCache>
                <c:formatCode>General</c:formatCode>
                <c:ptCount val="3"/>
                <c:pt idx="0">
                  <c:v>0</c:v>
                </c:pt>
                <c:pt idx="1">
                  <c:v>0.0495718261273133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43142144638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6</c:f>
              <c:numCache>
                <c:formatCode>General</c:formatCode>
                <c:ptCount val="35"/>
                <c:pt idx="0">
                  <c:v>0.019626948775055678</c:v>
                </c:pt>
                <c:pt idx="1">
                  <c:v>0.03285420944558522</c:v>
                </c:pt>
                <c:pt idx="2">
                  <c:v>0.0006719268943538943</c:v>
                </c:pt>
                <c:pt idx="3">
                  <c:v>0.0</c:v>
                </c:pt>
                <c:pt idx="4">
                  <c:v>0.0</c:v>
                </c:pt>
                <c:pt idx="5">
                  <c:v>0.10433265758332941</c:v>
                </c:pt>
                <c:pt idx="6">
                  <c:v>0.05752836501530432</c:v>
                </c:pt>
                <c:pt idx="7">
                  <c:v>0.049620847722994604</c:v>
                </c:pt>
                <c:pt idx="8">
                  <c:v>0.03935152072477096</c:v>
                </c:pt>
                <c:pt idx="9">
                  <c:v>0.0658509333696689</c:v>
                </c:pt>
                <c:pt idx="10">
                  <c:v>0.0524148775491485</c:v>
                </c:pt>
                <c:pt idx="11">
                  <c:v>0.06306204014896903</c:v>
                </c:pt>
                <c:pt idx="12">
                  <c:v>0.004285631265436583</c:v>
                </c:pt>
                <c:pt idx="13">
                  <c:v>0.0</c:v>
                </c:pt>
                <c:pt idx="14">
                  <c:v>0.006903108465608466</c:v>
                </c:pt>
                <c:pt idx="15">
                  <c:v>0.004383854584335739</c:v>
                </c:pt>
                <c:pt idx="16">
                  <c:v>0.005974395448079659</c:v>
                </c:pt>
                <c:pt idx="17">
                  <c:v>0.0</c:v>
                </c:pt>
                <c:pt idx="18">
                  <c:v>0.0</c:v>
                </c:pt>
                <c:pt idx="19">
                  <c:v>0.007358822588385858</c:v>
                </c:pt>
                <c:pt idx="20">
                  <c:v>0.0</c:v>
                </c:pt>
                <c:pt idx="21">
                  <c:v>0.009126660235957557</c:v>
                </c:pt>
                <c:pt idx="22">
                  <c:v>0.0</c:v>
                </c:pt>
                <c:pt idx="23">
                  <c:v>0.0</c:v>
                </c:pt>
                <c:pt idx="24">
                  <c:v>0.004804010304253986</c:v>
                </c:pt>
                <c:pt idx="25">
                  <c:v>0.0</c:v>
                </c:pt>
                <c:pt idx="26">
                  <c:v>0.0</c:v>
                </c:pt>
                <c:pt idx="27">
                  <c:v>0.0</c:v>
                </c:pt>
                <c:pt idx="28">
                  <c:v>0.0</c:v>
                </c:pt>
                <c:pt idx="29">
                  <c:v>0.0</c:v>
                </c:pt>
                <c:pt idx="30">
                  <c:v>0.0</c:v>
                </c:pt>
                <c:pt idx="31">
                  <c:v>0.0</c:v>
                </c:pt>
                <c:pt idx="32">
                  <c:v>0.0</c:v>
                </c:pt>
                <c:pt idx="33">
                  <c:v>0.0</c:v>
                </c:pt>
                <c:pt idx="34">
                  <c:v>0.0</c:v>
                </c:pt>
              </c:numCache>
            </c:numRef>
          </c:xVal>
          <c:yVal>
            <c:numRef>
              <c:f>Sheet1!$B$2:$B$36</c:f>
              <c:numCache>
                <c:formatCode>General</c:formatCode>
                <c:ptCount val="35"/>
                <c:pt idx="0">
                  <c:v>0.005747126436781609</c:v>
                </c:pt>
                <c:pt idx="1">
                  <c:v>0.002849002849002849</c:v>
                </c:pt>
                <c:pt idx="2">
                  <c:v>0.0035714285714285713</c:v>
                </c:pt>
                <c:pt idx="3">
                  <c:v>0.0</c:v>
                </c:pt>
                <c:pt idx="4">
                  <c:v>0.0</c:v>
                </c:pt>
                <c:pt idx="5">
                  <c:v>0.010362694300518135</c:v>
                </c:pt>
                <c:pt idx="6">
                  <c:v>0.01951219512195122</c:v>
                </c:pt>
                <c:pt idx="7">
                  <c:v>0.027149321266968326</c:v>
                </c:pt>
                <c:pt idx="8">
                  <c:v>0.021367521367521368</c:v>
                </c:pt>
                <c:pt idx="9">
                  <c:v>0.017241379310344827</c:v>
                </c:pt>
                <c:pt idx="10">
                  <c:v>0.022222222222222223</c:v>
                </c:pt>
                <c:pt idx="11">
                  <c:v>0.044444444444444446</c:v>
                </c:pt>
                <c:pt idx="12">
                  <c:v>0.41895261845386533</c:v>
                </c:pt>
                <c:pt idx="13">
                  <c:v>0.03076923076923077</c:v>
                </c:pt>
                <c:pt idx="14">
                  <c:v>0.017857142857142856</c:v>
                </c:pt>
                <c:pt idx="15">
                  <c:v>0.0038022813688212928</c:v>
                </c:pt>
                <c:pt idx="16">
                  <c:v>0.010752688172043012</c:v>
                </c:pt>
                <c:pt idx="17">
                  <c:v>0.0</c:v>
                </c:pt>
                <c:pt idx="18">
                  <c:v>0.0</c:v>
                </c:pt>
                <c:pt idx="19">
                  <c:v>0.005291005291005291</c:v>
                </c:pt>
                <c:pt idx="20">
                  <c:v>0.0</c:v>
                </c:pt>
                <c:pt idx="21">
                  <c:v>0.004784688995215311</c:v>
                </c:pt>
                <c:pt idx="22">
                  <c:v>0.0</c:v>
                </c:pt>
                <c:pt idx="23">
                  <c:v>0.0</c:v>
                </c:pt>
                <c:pt idx="24">
                  <c:v>0.008849557522123894</c:v>
                </c:pt>
                <c:pt idx="25">
                  <c:v>0.0</c:v>
                </c:pt>
                <c:pt idx="26">
                  <c:v>0.0</c:v>
                </c:pt>
                <c:pt idx="27">
                  <c:v>0.0</c:v>
                </c:pt>
                <c:pt idx="28">
                  <c:v>0.0</c:v>
                </c:pt>
                <c:pt idx="29">
                  <c:v>0.0</c:v>
                </c:pt>
                <c:pt idx="30">
                  <c:v>0.015267175572519083</c:v>
                </c:pt>
                <c:pt idx="31">
                  <c:v>0.0</c:v>
                </c:pt>
                <c:pt idx="32">
                  <c:v>0.0</c:v>
                </c:pt>
                <c:pt idx="33">
                  <c:v>0.0</c:v>
                </c:pt>
                <c:pt idx="34">
                  <c:v>0.0</c:v>
                </c:pt>
              </c:numCache>
            </c:numRef>
          </c:yVal>
          <c:smooth val="0"/>
          <c:extLst>
            <c:ext xmlns:c16="http://schemas.microsoft.com/office/drawing/2014/chart" uri="{C3380CC4-5D6E-409C-BE32-E72D297353CC}">
              <c16:uniqueId val="{00000000-096C-4121-9522-6AB7243CCAAE}"/>
            </c:ext>
          </c:extLst>
        </c:ser>
        <c:ser>
          <c:idx val="1"/>
          <c:order val="1"/>
          <c:tx>
            <c:strRef>
              <c:f>Sheet1!$B$3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9:$A$38</c:f>
              <c:numCache>
                <c:formatCode>General</c:formatCode>
                <c:ptCount val="0"/>
              </c:numCache>
            </c:numRef>
          </c:xVal>
          <c:yVal>
            <c:numRef>
              <c:f>Sheet1!$B$39:$B$38</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1:$A$42</c:f>
              <c:numCache>
                <c:formatCode>General</c:formatCode>
                <c:ptCount val="2"/>
                <c:pt idx="0">
                  <c:v>0</c:v>
                </c:pt>
                <c:pt idx="1">
                  <c:v>0.04957182612731337</c:v>
                </c:pt>
              </c:numCache>
            </c:numRef>
          </c:xVal>
          <c:yVal>
            <c:numRef>
              <c:f>Sheet1!$B$41:$B$42</c:f>
              <c:numCache>
                <c:formatCode>General</c:formatCode>
                <c:ptCount val="2"/>
                <c:pt idx="0">
                  <c:v>0.04957182612731337</c:v>
                </c:pt>
                <c:pt idx="1">
                  <c:v>0.04957182612731337</c:v>
                </c:pt>
              </c:numCache>
            </c:numRef>
          </c:yVal>
          <c:smooth val="0"/>
          <c:extLst>
            <c:ext xmlns:c16="http://schemas.microsoft.com/office/drawing/2014/chart" uri="{C3380CC4-5D6E-409C-BE32-E72D297353CC}">
              <c16:uniqueId val="{00000005-096C-4121-9522-6AB7243CCAAE}"/>
            </c:ext>
          </c:extLst>
        </c:ser>
        <c:ser>
          <c:idx val="3"/>
          <c:order val="3"/>
          <c:tx>
            <c:strRef>
              <c:f>Sheet1!$B$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5:$A$46</c:f>
              <c:numCache>
                <c:formatCode>General</c:formatCode>
                <c:ptCount val="2"/>
                <c:pt idx="0">
                  <c:v>0.04957182612731337</c:v>
                </c:pt>
                <c:pt idx="1">
                  <c:v>0.04957182612731337</c:v>
                </c:pt>
              </c:numCache>
            </c:numRef>
          </c:xVal>
          <c:yVal>
            <c:numRef>
              <c:f>Sheet1!$B$45:$B$46</c:f>
              <c:numCache>
                <c:formatCode>General</c:formatCode>
                <c:ptCount val="2"/>
                <c:pt idx="0">
                  <c:v>0.049571826127313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8</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9:$A$51</c:f>
              <c:numCache>
                <c:formatCode>General</c:formatCode>
                <c:ptCount val="3"/>
                <c:pt idx="0">
                  <c:v>0</c:v>
                </c:pt>
                <c:pt idx="1">
                  <c:v>0.04957182612731337</c:v>
                </c:pt>
                <c:pt idx="2">
                  <c:v>0</c:v>
                </c:pt>
              </c:numCache>
            </c:numRef>
          </c:xVal>
          <c:yVal>
            <c:numRef>
              <c:f>Sheet1!$B$49:$B$51</c:f>
              <c:numCache>
                <c:formatCode>General</c:formatCode>
                <c:ptCount val="3"/>
                <c:pt idx="0">
                  <c:v>0</c:v>
                </c:pt>
                <c:pt idx="1">
                  <c:v>0.0495718261273133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Vich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43142144638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6</c:f>
              <c:numCache>
                <c:formatCode>General</c:formatCode>
                <c:ptCount val="35"/>
                <c:pt idx="0">
                  <c:v>141.0</c:v>
                </c:pt>
                <c:pt idx="1">
                  <c:v>140.0</c:v>
                </c:pt>
                <c:pt idx="2">
                  <c:v>7.0</c:v>
                </c:pt>
                <c:pt idx="3">
                  <c:v>0.0</c:v>
                </c:pt>
                <c:pt idx="4">
                  <c:v>0.0</c:v>
                </c:pt>
                <c:pt idx="5">
                  <c:v>1106.5</c:v>
                </c:pt>
                <c:pt idx="6">
                  <c:v>924.5</c:v>
                </c:pt>
                <c:pt idx="7">
                  <c:v>700.1667</c:v>
                </c:pt>
                <c:pt idx="8">
                  <c:v>1155.4</c:v>
                </c:pt>
                <c:pt idx="9">
                  <c:v>1208.2</c:v>
                </c:pt>
                <c:pt idx="10">
                  <c:v>857.1667</c:v>
                </c:pt>
                <c:pt idx="11">
                  <c:v>694.25</c:v>
                </c:pt>
                <c:pt idx="12">
                  <c:v>88.494</c:v>
                </c:pt>
                <c:pt idx="13">
                  <c:v>74.5</c:v>
                </c:pt>
                <c:pt idx="14">
                  <c:v>83.5</c:v>
                </c:pt>
                <c:pt idx="15">
                  <c:v>82.0</c:v>
                </c:pt>
                <c:pt idx="16">
                  <c:v>105.0</c:v>
                </c:pt>
                <c:pt idx="17">
                  <c:v>0.0</c:v>
                </c:pt>
                <c:pt idx="18">
                  <c:v>0.0</c:v>
                </c:pt>
                <c:pt idx="19">
                  <c:v>69.0</c:v>
                </c:pt>
                <c:pt idx="20">
                  <c:v>0.0</c:v>
                </c:pt>
                <c:pt idx="21">
                  <c:v>123.0</c:v>
                </c:pt>
                <c:pt idx="22">
                  <c:v>0.0</c:v>
                </c:pt>
                <c:pt idx="23">
                  <c:v>0.0</c:v>
                </c:pt>
                <c:pt idx="24">
                  <c:v>69.0</c:v>
                </c:pt>
                <c:pt idx="25">
                  <c:v>0.0</c:v>
                </c:pt>
                <c:pt idx="26">
                  <c:v>0.0</c:v>
                </c:pt>
                <c:pt idx="27">
                  <c:v>0.0</c:v>
                </c:pt>
                <c:pt idx="28">
                  <c:v>0.0</c:v>
                </c:pt>
                <c:pt idx="29">
                  <c:v>0.0</c:v>
                </c:pt>
                <c:pt idx="30">
                  <c:v>61.5</c:v>
                </c:pt>
                <c:pt idx="31">
                  <c:v>0.0</c:v>
                </c:pt>
                <c:pt idx="32">
                  <c:v>0.0</c:v>
                </c:pt>
                <c:pt idx="33">
                  <c:v>0.0</c:v>
                </c:pt>
                <c:pt idx="34">
                  <c:v>0.0</c:v>
                </c:pt>
              </c:numCache>
            </c:numRef>
          </c:xVal>
          <c:yVal>
            <c:numRef>
              <c:f>Sheet1!$B$2:$B$36</c:f>
              <c:numCache>
                <c:formatCode>General</c:formatCode>
                <c:ptCount val="35"/>
                <c:pt idx="0">
                  <c:v>0.005747126436781609</c:v>
                </c:pt>
                <c:pt idx="1">
                  <c:v>0.002849002849002849</c:v>
                </c:pt>
                <c:pt idx="2">
                  <c:v>0.0035714285714285713</c:v>
                </c:pt>
                <c:pt idx="3">
                  <c:v>0.0</c:v>
                </c:pt>
                <c:pt idx="4">
                  <c:v>0.0</c:v>
                </c:pt>
                <c:pt idx="5">
                  <c:v>0.010362694300518135</c:v>
                </c:pt>
                <c:pt idx="6">
                  <c:v>0.01951219512195122</c:v>
                </c:pt>
                <c:pt idx="7">
                  <c:v>0.027149321266968326</c:v>
                </c:pt>
                <c:pt idx="8">
                  <c:v>0.021367521367521368</c:v>
                </c:pt>
                <c:pt idx="9">
                  <c:v>0.017241379310344827</c:v>
                </c:pt>
                <c:pt idx="10">
                  <c:v>0.022222222222222223</c:v>
                </c:pt>
                <c:pt idx="11">
                  <c:v>0.044444444444444446</c:v>
                </c:pt>
                <c:pt idx="12">
                  <c:v>0.41895261845386533</c:v>
                </c:pt>
                <c:pt idx="13">
                  <c:v>0.03076923076923077</c:v>
                </c:pt>
                <c:pt idx="14">
                  <c:v>0.017857142857142856</c:v>
                </c:pt>
                <c:pt idx="15">
                  <c:v>0.0038022813688212928</c:v>
                </c:pt>
                <c:pt idx="16">
                  <c:v>0.010752688172043012</c:v>
                </c:pt>
                <c:pt idx="17">
                  <c:v>0.0</c:v>
                </c:pt>
                <c:pt idx="18">
                  <c:v>0.0</c:v>
                </c:pt>
                <c:pt idx="19">
                  <c:v>0.005291005291005291</c:v>
                </c:pt>
                <c:pt idx="20">
                  <c:v>0.0</c:v>
                </c:pt>
                <c:pt idx="21">
                  <c:v>0.004784688995215311</c:v>
                </c:pt>
                <c:pt idx="22">
                  <c:v>0.0</c:v>
                </c:pt>
                <c:pt idx="23">
                  <c:v>0.0</c:v>
                </c:pt>
                <c:pt idx="24">
                  <c:v>0.008849557522123894</c:v>
                </c:pt>
                <c:pt idx="25">
                  <c:v>0.0</c:v>
                </c:pt>
                <c:pt idx="26">
                  <c:v>0.0</c:v>
                </c:pt>
                <c:pt idx="27">
                  <c:v>0.0</c:v>
                </c:pt>
                <c:pt idx="28">
                  <c:v>0.0</c:v>
                </c:pt>
                <c:pt idx="29">
                  <c:v>0.0</c:v>
                </c:pt>
                <c:pt idx="30">
                  <c:v>0.015267175572519083</c:v>
                </c:pt>
                <c:pt idx="31">
                  <c:v>0.0</c:v>
                </c:pt>
                <c:pt idx="32">
                  <c:v>0.0</c:v>
                </c:pt>
                <c:pt idx="33">
                  <c:v>0.0</c:v>
                </c:pt>
                <c:pt idx="34">
                  <c:v>0.0</c:v>
                </c:pt>
              </c:numCache>
            </c:numRef>
          </c:yVal>
          <c:smooth val="0"/>
          <c:extLst>
            <c:ext xmlns:c16="http://schemas.microsoft.com/office/drawing/2014/chart" uri="{C3380CC4-5D6E-409C-BE32-E72D297353CC}">
              <c16:uniqueId val="{00000000-F32D-48B7-BC20-E66FC6253BAD}"/>
            </c:ext>
          </c:extLst>
        </c:ser>
        <c:ser>
          <c:idx val="1"/>
          <c:order val="1"/>
          <c:tx>
            <c:strRef>
              <c:f>Sheet1!$B$3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9:$A$38</c:f>
              <c:numCache>
                <c:formatCode>General</c:formatCode>
                <c:ptCount val="0"/>
              </c:numCache>
            </c:numRef>
          </c:xVal>
          <c:yVal>
            <c:numRef>
              <c:f>Sheet1!$B$39:$B$38</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40</c:f>
              <c:strCache>
                <c:ptCount val="1"/>
                <c:pt idx="0">
                  <c:v>Custom Linep3yQ</c:v>
                </c:pt>
              </c:strCache>
            </c:strRef>
          </c:tx>
          <c:spPr>
            <a:ln w="19050" cap="rnd">
              <a:solidFill>
                <a:srgbClr val="C00000"/>
              </a:solidFill>
              <a:prstDash val="sysDot"/>
              <a:round/>
            </a:ln>
            <a:effectLst/>
          </c:spPr>
          <c:marker>
            <c:symbol val="none"/>
          </c:marker>
          <c:xVal>
            <c:numRef>
              <c:f>Sheet1!$A$41:$A$42</c:f>
              <c:numCache>
                <c:formatCode>General</c:formatCode>
                <c:ptCount val="2"/>
                <c:pt idx="0">
                  <c:v>0</c:v>
                </c:pt>
                <c:pt idx="1">
                  <c:v>0.04957182612731337</c:v>
                </c:pt>
              </c:numCache>
            </c:numRef>
          </c:xVal>
          <c:yVal>
            <c:numRef>
              <c:f>Sheet1!$B$41:$B$42</c:f>
              <c:numCache>
                <c:formatCode>General</c:formatCode>
                <c:ptCount val="2"/>
                <c:pt idx="0">
                  <c:v>0.04957182612731337</c:v>
                </c:pt>
                <c:pt idx="1">
                  <c:v>0.04957182612731337</c:v>
                </c:pt>
              </c:numCache>
            </c:numRef>
          </c:yVal>
          <c:smooth val="0"/>
          <c:extLst>
            <c:ext xmlns:c16="http://schemas.microsoft.com/office/drawing/2014/chart" uri="{C3380CC4-5D6E-409C-BE32-E72D297353CC}">
              <c16:uniqueId val="{00000003-F32D-48B7-BC20-E66FC6253BAD}"/>
            </c:ext>
          </c:extLst>
        </c:ser>
        <c:ser>
          <c:idx val="3"/>
          <c:order val="3"/>
          <c:tx>
            <c:strRef>
              <c:f>Sheet1!$B$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5:$A$46</c:f>
              <c:numCache>
                <c:formatCode>General</c:formatCode>
                <c:ptCount val="2"/>
                <c:pt idx="0">
                  <c:v>0.04957182612731337</c:v>
                </c:pt>
                <c:pt idx="1">
                  <c:v>0.04957182612731337</c:v>
                </c:pt>
              </c:numCache>
            </c:numRef>
          </c:xVal>
          <c:yVal>
            <c:numRef>
              <c:f>Sheet1!$B$45:$B$46</c:f>
              <c:numCache>
                <c:formatCode>General</c:formatCode>
                <c:ptCount val="2"/>
                <c:pt idx="0">
                  <c:v>0.049571826127313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8</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9:$A$51</c:f>
              <c:numCache>
                <c:formatCode>General</c:formatCode>
                <c:ptCount val="3"/>
                <c:pt idx="0">
                  <c:v>0</c:v>
                </c:pt>
                <c:pt idx="1">
                  <c:v>0.04957182612731337</c:v>
                </c:pt>
                <c:pt idx="2">
                  <c:v>0</c:v>
                </c:pt>
              </c:numCache>
            </c:numRef>
          </c:xVal>
          <c:yVal>
            <c:numRef>
              <c:f>Sheet1!$B$49:$B$51</c:f>
              <c:numCache>
                <c:formatCode>General</c:formatCode>
                <c:ptCount val="3"/>
                <c:pt idx="0">
                  <c:v>0</c:v>
                </c:pt>
                <c:pt idx="1">
                  <c:v>0.0495718261273133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2743142144638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0.003688752783964365</c:v>
                </c:pt>
                <c:pt idx="1">
                  <c:v>0.24058608855631317</c:v>
                </c:pt>
                <c:pt idx="2">
                  <c:v>0.26907306724663266</c:v>
                </c:pt>
                <c:pt idx="3">
                  <c:v>0.23550795309711955</c:v>
                </c:pt>
                <c:pt idx="4">
                  <c:v>0.25440245609406315</c:v>
                </c:pt>
                <c:pt idx="5">
                  <c:v>0.2756312001750365</c:v>
                </c:pt>
                <c:pt idx="6">
                  <c:v>0.2850158373560234</c:v>
                </c:pt>
                <c:pt idx="7">
                  <c:v>0.2866936807041256</c:v>
                </c:pt>
                <c:pt idx="8">
                  <c:v>0.25389100625640465</c:v>
                </c:pt>
                <c:pt idx="9">
                  <c:v>0.242651780468728</c:v>
                </c:pt>
                <c:pt idx="10">
                  <c:v>0.25710635426530215</c:v>
                </c:pt>
                <c:pt idx="11">
                  <c:v>0.2668477265242277</c:v>
                </c:pt>
                <c:pt idx="12">
                  <c:v>0.21211262121852503</c:v>
                </c:pt>
                <c:pt idx="13">
                  <c:v>0.16614123764950597</c:v>
                </c:pt>
                <c:pt idx="14">
                  <c:v>0.11233364211826463</c:v>
                </c:pt>
                <c:pt idx="15">
                  <c:v>0.25103305288461536</c:v>
                </c:pt>
                <c:pt idx="16">
                  <c:v>0.25439532831103995</c:v>
                </c:pt>
                <c:pt idx="17">
                  <c:v>0.1741184821825864</c:v>
                </c:pt>
                <c:pt idx="18">
                  <c:v>0.25784923923110303</c:v>
                </c:pt>
                <c:pt idx="19">
                  <c:v>0.18492453584195134</c:v>
                </c:pt>
                <c:pt idx="20">
                  <c:v>0.2147856538581415</c:v>
                </c:pt>
                <c:pt idx="21">
                  <c:v>0.1561919761234568</c:v>
                </c:pt>
                <c:pt idx="22">
                  <c:v>0.14067451156748115</c:v>
                </c:pt>
                <c:pt idx="23">
                  <c:v>0.09562434115798071</c:v>
                </c:pt>
                <c:pt idx="24">
                  <c:v>0.11707277772804582</c:v>
                </c:pt>
                <c:pt idx="25">
                  <c:v>0.0946175828162984</c:v>
                </c:pt>
                <c:pt idx="26">
                  <c:v>0.05423659739441766</c:v>
                </c:pt>
                <c:pt idx="27">
                  <c:v>0.05306939525014283</c:v>
                </c:pt>
                <c:pt idx="28">
                  <c:v>0.0825921143509204</c:v>
                </c:pt>
                <c:pt idx="29">
                  <c:v>0.06985244348179234</c:v>
                </c:pt>
                <c:pt idx="30">
                  <c:v>0.06420505613246036</c:v>
                </c:pt>
                <c:pt idx="31">
                  <c:v>0.039793732636295744</c:v>
                </c:pt>
                <c:pt idx="32">
                  <c:v>0.02364864864864865</c:v>
                </c:pt>
                <c:pt idx="33">
                  <c:v>0.03381302322804084</c:v>
                </c:pt>
                <c:pt idx="34">
                  <c:v>0.0</c:v>
                </c:pt>
                <c:pt idx="35">
                  <c:v>0.04378762104161214</c:v>
                </c:pt>
                <c:pt idx="36">
                  <c:v>0.0</c:v>
                </c:pt>
                <c:pt idx="37">
                  <c:v>0.017686345646437996</c:v>
                </c:pt>
                <c:pt idx="38">
                  <c:v>0.023926034665723385</c:v>
                </c:pt>
                <c:pt idx="39">
                  <c:v>0.023723886386583026</c:v>
                </c:pt>
                <c:pt idx="40">
                  <c:v>0.025500230974237488</c:v>
                </c:pt>
                <c:pt idx="41">
                  <c:v>0.0</c:v>
                </c:pt>
                <c:pt idx="42">
                  <c:v>0.030409395092507546</c:v>
                </c:pt>
                <c:pt idx="43">
                  <c:v>0.02566508277594504</c:v>
                </c:pt>
                <c:pt idx="44">
                  <c:v>0.0</c:v>
                </c:pt>
                <c:pt idx="45">
                  <c:v>0.0340522133938706</c:v>
                </c:pt>
                <c:pt idx="46">
                  <c:v>0.0</c:v>
                </c:pt>
                <c:pt idx="47">
                  <c:v>0.0</c:v>
                </c:pt>
                <c:pt idx="48">
                  <c:v>0.0</c:v>
                </c:pt>
                <c:pt idx="49">
                  <c:v>0.018377472978952026</c:v>
                </c:pt>
                <c:pt idx="50">
                  <c:v>0.07266932536835255</c:v>
                </c:pt>
                <c:pt idx="51">
                  <c:v>0.025177671141347262</c:v>
                </c:pt>
                <c:pt idx="52">
                  <c:v>0.21484180276243553</c:v>
                </c:pt>
                <c:pt idx="53">
                  <c:v>0.18590439069569575</c:v>
                </c:pt>
                <c:pt idx="54">
                  <c:v>0.2845190927626099</c:v>
                </c:pt>
                <c:pt idx="55">
                  <c:v>0.24956188905482432</c:v>
                </c:pt>
                <c:pt idx="56">
                  <c:v>0.22822465564406796</c:v>
                </c:pt>
                <c:pt idx="57">
                  <c:v>0.22774574419530896</c:v>
                </c:pt>
                <c:pt idx="58">
                  <c:v>0.18563389117654197</c:v>
                </c:pt>
                <c:pt idx="59">
                  <c:v>0.37705489554560323</c:v>
                </c:pt>
                <c:pt idx="60">
                  <c:v>0.2215777714737151</c:v>
                </c:pt>
              </c:numCache>
            </c:numRef>
          </c:xVal>
          <c:yVal>
            <c:numRef>
              <c:f>Sheet1!$B$2:$B$62</c:f>
              <c:numCache>
                <c:formatCode>General</c:formatCode>
                <c:ptCount val="61"/>
                <c:pt idx="0">
                  <c:v>0.011494252873563218</c:v>
                </c:pt>
                <c:pt idx="1">
                  <c:v>0.07341772151898734</c:v>
                </c:pt>
                <c:pt idx="2">
                  <c:v>0.13559322033898305</c:v>
                </c:pt>
                <c:pt idx="3">
                  <c:v>0.17706237424547283</c:v>
                </c:pt>
                <c:pt idx="4">
                  <c:v>0.15236051502145923</c:v>
                </c:pt>
                <c:pt idx="5">
                  <c:v>0.1919191919191919</c:v>
                </c:pt>
                <c:pt idx="6">
                  <c:v>0.24428399518652227</c:v>
                </c:pt>
                <c:pt idx="7">
                  <c:v>0.2182741116751269</c:v>
                </c:pt>
                <c:pt idx="8">
                  <c:v>0.15120274914089346</c:v>
                </c:pt>
                <c:pt idx="9">
                  <c:v>0.1305732484076433</c:v>
                </c:pt>
                <c:pt idx="10">
                  <c:v>0.15666666666666668</c:v>
                </c:pt>
                <c:pt idx="11">
                  <c:v>0.14855072463768115</c:v>
                </c:pt>
                <c:pt idx="12">
                  <c:v>0.13934426229508196</c:v>
                </c:pt>
                <c:pt idx="13">
                  <c:v>0.12749003984063745</c:v>
                </c:pt>
                <c:pt idx="14">
                  <c:v>0.14</c:v>
                </c:pt>
                <c:pt idx="15">
                  <c:v>0.14588859416445624</c:v>
                </c:pt>
                <c:pt idx="16">
                  <c:v>0.14285714285714285</c:v>
                </c:pt>
                <c:pt idx="17">
                  <c:v>0.16422287390029325</c:v>
                </c:pt>
                <c:pt idx="18">
                  <c:v>0.1596244131455399</c:v>
                </c:pt>
                <c:pt idx="19">
                  <c:v>0.09571788413098237</c:v>
                </c:pt>
                <c:pt idx="20">
                  <c:v>0.08179419525065963</c:v>
                </c:pt>
                <c:pt idx="21">
                  <c:v>0.12339331619537275</c:v>
                </c:pt>
                <c:pt idx="22">
                  <c:v>0.12806539509536785</c:v>
                </c:pt>
                <c:pt idx="23">
                  <c:v>0.26763990267639903</c:v>
                </c:pt>
                <c:pt idx="24">
                  <c:v>0.2680965147453083</c:v>
                </c:pt>
                <c:pt idx="25">
                  <c:v>0.17437722419928825</c:v>
                </c:pt>
                <c:pt idx="26">
                  <c:v>0.17194570135746606</c:v>
                </c:pt>
                <c:pt idx="27">
                  <c:v>0.13043478260869565</c:v>
                </c:pt>
                <c:pt idx="28">
                  <c:v>0.09569377990430622</c:v>
                </c:pt>
                <c:pt idx="29">
                  <c:v>0.10476190476190476</c:v>
                </c:pt>
                <c:pt idx="30">
                  <c:v>0.08542713567839195</c:v>
                </c:pt>
                <c:pt idx="31">
                  <c:v>0.1065989847715736</c:v>
                </c:pt>
                <c:pt idx="32">
                  <c:v>0.08247422680412371</c:v>
                </c:pt>
                <c:pt idx="33">
                  <c:v>0.07211538461538461</c:v>
                </c:pt>
                <c:pt idx="34">
                  <c:v>0.023696682464454975</c:v>
                </c:pt>
                <c:pt idx="35">
                  <c:v>0.022598870056497175</c:v>
                </c:pt>
                <c:pt idx="36">
                  <c:v>0.15976331360946747</c:v>
                </c:pt>
                <c:pt idx="37">
                  <c:v>0.12413793103448276</c:v>
                </c:pt>
                <c:pt idx="38">
                  <c:v>0.06338028169014084</c:v>
                </c:pt>
                <c:pt idx="39">
                  <c:v>0.14678899082568808</c:v>
                </c:pt>
                <c:pt idx="40">
                  <c:v>0.08974358974358974</c:v>
                </c:pt>
                <c:pt idx="41">
                  <c:v>0.08823529411764706</c:v>
                </c:pt>
                <c:pt idx="42">
                  <c:v>0.0547945205479452</c:v>
                </c:pt>
                <c:pt idx="43">
                  <c:v>0.043010752688172046</c:v>
                </c:pt>
                <c:pt idx="44">
                  <c:v>0.03488372093023256</c:v>
                </c:pt>
                <c:pt idx="45">
                  <c:v>0.056338028169014086</c:v>
                </c:pt>
                <c:pt idx="46">
                  <c:v>0.11764705882352941</c:v>
                </c:pt>
                <c:pt idx="47">
                  <c:v>0.0641025641025641</c:v>
                </c:pt>
                <c:pt idx="48">
                  <c:v>0.029411764705882353</c:v>
                </c:pt>
                <c:pt idx="49">
                  <c:v>0.0380952380952381</c:v>
                </c:pt>
                <c:pt idx="50">
                  <c:v>0.011363636363636364</c:v>
                </c:pt>
                <c:pt idx="51">
                  <c:v>0.016129032258064516</c:v>
                </c:pt>
                <c:pt idx="52">
                  <c:v>0.02185792349726776</c:v>
                </c:pt>
                <c:pt idx="53">
                  <c:v>0.034482758620689655</c:v>
                </c:pt>
                <c:pt idx="54">
                  <c:v>0.008771929824561403</c:v>
                </c:pt>
                <c:pt idx="55">
                  <c:v>0.018518518518518517</c:v>
                </c:pt>
                <c:pt idx="56">
                  <c:v>0.03383458646616541</c:v>
                </c:pt>
                <c:pt idx="57">
                  <c:v>0.032467532467532464</c:v>
                </c:pt>
                <c:pt idx="58">
                  <c:v>0.01834862385321101</c:v>
                </c:pt>
                <c:pt idx="59">
                  <c:v>0.010416666666666666</c:v>
                </c:pt>
                <c:pt idx="60">
                  <c:v>0.029411764705882353</c:v>
                </c:pt>
              </c:numCache>
            </c:numRef>
          </c:yVal>
          <c:smooth val="0"/>
          <c:extLst>
            <c:ext xmlns:c16="http://schemas.microsoft.com/office/drawing/2014/chart" uri="{C3380CC4-5D6E-409C-BE32-E72D297353CC}">
              <c16:uniqueId val="{00000000-096C-4121-9522-6AB7243CCAAE}"/>
            </c:ext>
          </c:extLst>
        </c:ser>
        <c:ser>
          <c:idx val="1"/>
          <c:order val="1"/>
          <c:tx>
            <c:strRef>
              <c:f>Sheet1!$B$6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5:$A$102</c:f>
              <c:numCache>
                <c:formatCode>General</c:formatCode>
                <c:ptCount val="38"/>
                <c:pt idx="0">
                  <c:v>0.0</c:v>
                </c:pt>
                <c:pt idx="1">
                  <c:v>0.0</c:v>
                </c:pt>
                <c:pt idx="2">
                  <c:v>0.2004420033319596</c:v>
                </c:pt>
                <c:pt idx="3">
                  <c:v>0.2671522517918591</c:v>
                </c:pt>
                <c:pt idx="4">
                  <c:v>0.11656896757985405</c:v>
                </c:pt>
                <c:pt idx="5">
                  <c:v>0.12995476873692913</c:v>
                </c:pt>
                <c:pt idx="6">
                  <c:v>0.1585002848205635</c:v>
                </c:pt>
                <c:pt idx="7">
                  <c:v>0.27281827618778687</c:v>
                </c:pt>
                <c:pt idx="8">
                  <c:v>0.32851033261185647</c:v>
                </c:pt>
                <c:pt idx="9">
                  <c:v>0.13258535318880627</c:v>
                </c:pt>
                <c:pt idx="10">
                  <c:v>0.23360208114095193</c:v>
                </c:pt>
                <c:pt idx="11">
                  <c:v>0.2537887981373973</c:v>
                </c:pt>
                <c:pt idx="12">
                  <c:v>0.26206059288449296</c:v>
                </c:pt>
                <c:pt idx="13">
                  <c:v>0.21359270311240555</c:v>
                </c:pt>
                <c:pt idx="14">
                  <c:v>0.15271111886688188</c:v>
                </c:pt>
                <c:pt idx="15">
                  <c:v>0.1395748589902874</c:v>
                </c:pt>
                <c:pt idx="16">
                  <c:v>0.0</c:v>
                </c:pt>
                <c:pt idx="17">
                  <c:v>0.21718117828784125</c:v>
                </c:pt>
                <c:pt idx="18">
                  <c:v>0.272454219552369</c:v>
                </c:pt>
                <c:pt idx="19">
                  <c:v>0.0992545321059468</c:v>
                </c:pt>
                <c:pt idx="20">
                  <c:v>0.0</c:v>
                </c:pt>
                <c:pt idx="21">
                  <c:v>0.0</c:v>
                </c:pt>
                <c:pt idx="22">
                  <c:v>0.014902280069616124</c:v>
                </c:pt>
                <c:pt idx="23">
                  <c:v>0.0</c:v>
                </c:pt>
                <c:pt idx="24">
                  <c:v>0.08404166167843888</c:v>
                </c:pt>
                <c:pt idx="25">
                  <c:v>0.05120815783639991</c:v>
                </c:pt>
                <c:pt idx="26">
                  <c:v>0.09092869465209891</c:v>
                </c:pt>
                <c:pt idx="27">
                  <c:v>0.0</c:v>
                </c:pt>
                <c:pt idx="28">
                  <c:v>0.0</c:v>
                </c:pt>
                <c:pt idx="29">
                  <c:v>0.0</c:v>
                </c:pt>
                <c:pt idx="30">
                  <c:v>0.0</c:v>
                </c:pt>
                <c:pt idx="31">
                  <c:v>0.09977826965906303</c:v>
                </c:pt>
                <c:pt idx="32">
                  <c:v>0.0</c:v>
                </c:pt>
                <c:pt idx="33">
                  <c:v>0.0</c:v>
                </c:pt>
                <c:pt idx="34">
                  <c:v>0.634466032238913</c:v>
                </c:pt>
                <c:pt idx="35">
                  <c:v>0.0</c:v>
                </c:pt>
                <c:pt idx="36">
                  <c:v>0.5169190327309083</c:v>
                </c:pt>
                <c:pt idx="37">
                  <c:v>0.37438083170141684</c:v>
                </c:pt>
              </c:numCache>
            </c:numRef>
          </c:xVal>
          <c:yVal>
            <c:numRef>
              <c:f>Sheet1!$B$65:$B$102</c:f>
              <c:numCache>
                <c:formatCode>General</c:formatCode>
                <c:ptCount val="38"/>
                <c:pt idx="0">
                  <c:v>0.0</c:v>
                </c:pt>
                <c:pt idx="1">
                  <c:v>0.0</c:v>
                </c:pt>
                <c:pt idx="2">
                  <c:v>0.022222222222222223</c:v>
                </c:pt>
                <c:pt idx="3">
                  <c:v>0.01</c:v>
                </c:pt>
                <c:pt idx="4">
                  <c:v>0.0547945205479452</c:v>
                </c:pt>
                <c:pt idx="5">
                  <c:v>0.05405405405405406</c:v>
                </c:pt>
                <c:pt idx="6">
                  <c:v>0.023809523809523808</c:v>
                </c:pt>
                <c:pt idx="7">
                  <c:v>0.0196078431372549</c:v>
                </c:pt>
                <c:pt idx="8">
                  <c:v>0.00966183574879227</c:v>
                </c:pt>
                <c:pt idx="9">
                  <c:v>0.05223880597014925</c:v>
                </c:pt>
                <c:pt idx="10">
                  <c:v>0.00510204081632653</c:v>
                </c:pt>
                <c:pt idx="11">
                  <c:v>0.005952380952380952</c:v>
                </c:pt>
                <c:pt idx="12">
                  <c:v>0.008264462809917356</c:v>
                </c:pt>
                <c:pt idx="13">
                  <c:v>0.0196078431372549</c:v>
                </c:pt>
                <c:pt idx="14">
                  <c:v>0.03571428571428571</c:v>
                </c:pt>
                <c:pt idx="15">
                  <c:v>0.012345679012345678</c:v>
                </c:pt>
                <c:pt idx="16">
                  <c:v>0.0</c:v>
                </c:pt>
                <c:pt idx="17">
                  <c:v>0.014705882352941176</c:v>
                </c:pt>
                <c:pt idx="18">
                  <c:v>0.019230769230769232</c:v>
                </c:pt>
                <c:pt idx="19">
                  <c:v>0.017857142857142856</c:v>
                </c:pt>
                <c:pt idx="20">
                  <c:v>0.0</c:v>
                </c:pt>
                <c:pt idx="21">
                  <c:v>0.0</c:v>
                </c:pt>
                <c:pt idx="22">
                  <c:v>0.017543859649122806</c:v>
                </c:pt>
                <c:pt idx="23">
                  <c:v>0.0</c:v>
                </c:pt>
                <c:pt idx="24">
                  <c:v>0.017241379310344827</c:v>
                </c:pt>
                <c:pt idx="25">
                  <c:v>0.02702702702702703</c:v>
                </c:pt>
                <c:pt idx="26">
                  <c:v>0.04597701149425287</c:v>
                </c:pt>
                <c:pt idx="27">
                  <c:v>0.0</c:v>
                </c:pt>
                <c:pt idx="28">
                  <c:v>0.0</c:v>
                </c:pt>
                <c:pt idx="29">
                  <c:v>0.0</c:v>
                </c:pt>
                <c:pt idx="30">
                  <c:v>0.0</c:v>
                </c:pt>
                <c:pt idx="31">
                  <c:v>0.01639344262295082</c:v>
                </c:pt>
                <c:pt idx="32">
                  <c:v>0.0</c:v>
                </c:pt>
                <c:pt idx="33">
                  <c:v>0.0</c:v>
                </c:pt>
                <c:pt idx="34">
                  <c:v>0.005154639175257732</c:v>
                </c:pt>
                <c:pt idx="35">
                  <c:v>0.0</c:v>
                </c:pt>
                <c:pt idx="36">
                  <c:v>0.029556650246305417</c:v>
                </c:pt>
                <c:pt idx="37">
                  <c:v>0.011764705882352941</c:v>
                </c:pt>
              </c:numCache>
            </c:numRef>
          </c:yVal>
          <c:smooth val="0"/>
          <c:extLst>
            <c:ext xmlns:c16="http://schemas.microsoft.com/office/drawing/2014/chart" uri="{C3380CC4-5D6E-409C-BE32-E72D297353CC}">
              <c16:uniqueId val="{00000002-096C-4121-9522-6AB7243CCAAE}"/>
            </c:ext>
          </c:extLst>
        </c:ser>
        <c:ser>
          <c:idx val="2"/>
          <c:order val="2"/>
          <c:tx>
            <c:strRef>
              <c:f>Sheet1!$B$10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5:$A$106</c:f>
              <c:numCache>
                <c:formatCode>General</c:formatCode>
                <c:ptCount val="2"/>
                <c:pt idx="0">
                  <c:v>0</c:v>
                </c:pt>
                <c:pt idx="1">
                  <c:v>6.432701434012464</c:v>
                </c:pt>
              </c:numCache>
            </c:numRef>
          </c:xVal>
          <c:yVal>
            <c:numRef>
              <c:f>Sheet1!$B$105:$B$106</c:f>
              <c:numCache>
                <c:formatCode>General</c:formatCode>
                <c:ptCount val="2"/>
                <c:pt idx="0">
                  <c:v>0.16163643082241058</c:v>
                </c:pt>
                <c:pt idx="1">
                  <c:v>0.16163643082241058</c:v>
                </c:pt>
              </c:numCache>
            </c:numRef>
          </c:yVal>
          <c:smooth val="0"/>
          <c:extLst>
            <c:ext xmlns:c16="http://schemas.microsoft.com/office/drawing/2014/chart" uri="{C3380CC4-5D6E-409C-BE32-E72D297353CC}">
              <c16:uniqueId val="{00000005-096C-4121-9522-6AB7243CCAAE}"/>
            </c:ext>
          </c:extLst>
        </c:ser>
        <c:ser>
          <c:idx val="3"/>
          <c:order val="3"/>
          <c:tx>
            <c:strRef>
              <c:f>Sheet1!$B$10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9:$A$110</c:f>
              <c:numCache>
                <c:formatCode>General</c:formatCode>
                <c:ptCount val="2"/>
                <c:pt idx="0">
                  <c:v>6.432701434012464</c:v>
                </c:pt>
                <c:pt idx="1">
                  <c:v>6.432701434012464</c:v>
                </c:pt>
              </c:numCache>
            </c:numRef>
          </c:xVal>
          <c:yVal>
            <c:numRef>
              <c:f>Sheet1!$B$109:$B$110</c:f>
              <c:numCache>
                <c:formatCode>General</c:formatCode>
                <c:ptCount val="2"/>
                <c:pt idx="0">
                  <c:v>0.161636430822410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3:$A$114</c:f>
              <c:numCache>
                <c:formatCode>General</c:formatCode>
                <c:ptCount val="2"/>
                <c:pt idx="0">
                  <c:v>0</c:v>
                </c:pt>
                <c:pt idx="1">
                  <c:v>0.709941475240127</c:v>
                </c:pt>
              </c:numCache>
            </c:numRef>
          </c:xVal>
          <c:yVal>
            <c:numRef>
              <c:f>Sheet1!$B$113:$B$114</c:f>
              <c:numCache>
                <c:formatCode>General</c:formatCode>
                <c:ptCount val="2"/>
                <c:pt idx="0">
                  <c:v>0.027943427367363136</c:v>
                </c:pt>
                <c:pt idx="1">
                  <c:v>0.027943427367363136</c:v>
                </c:pt>
              </c:numCache>
            </c:numRef>
          </c:yVal>
          <c:smooth val="0"/>
          <c:extLst>
            <c:ext xmlns:c16="http://schemas.microsoft.com/office/drawing/2014/chart" uri="{C3380CC4-5D6E-409C-BE32-E72D297353CC}">
              <c16:uniqueId val="{0000000D-096C-4121-9522-6AB7243CCAAE}"/>
            </c:ext>
          </c:extLst>
        </c:ser>
        <c:ser>
          <c:idx val="5"/>
          <c:order val="5"/>
          <c:tx>
            <c:strRef>
              <c:f>Sheet1!$B$11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7:$A$118</c:f>
              <c:numCache>
                <c:formatCode>General</c:formatCode>
                <c:ptCount val="2"/>
                <c:pt idx="0">
                  <c:v>0.709941475240127</c:v>
                </c:pt>
                <c:pt idx="1">
                  <c:v>0.709941475240127</c:v>
                </c:pt>
              </c:numCache>
            </c:numRef>
          </c:xVal>
          <c:yVal>
            <c:numRef>
              <c:f>Sheet1!$B$117:$B$118</c:f>
              <c:numCache>
                <c:formatCode>General</c:formatCode>
                <c:ptCount val="2"/>
                <c:pt idx="0">
                  <c:v>0.0279434273673631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1:$A$122</c:f>
              <c:numCache>
                <c:formatCode>General</c:formatCode>
                <c:ptCount val="2"/>
                <c:pt idx="0">
                  <c:v>0</c:v>
                </c:pt>
                <c:pt idx="1">
                  <c:v>-0.14979079592286187</c:v>
                </c:pt>
              </c:numCache>
            </c:numRef>
          </c:xVal>
          <c:yVal>
            <c:numRef>
              <c:f>Sheet1!$B$121:$B$122</c:f>
              <c:numCache>
                <c:formatCode>General</c:formatCode>
                <c:ptCount val="2"/>
                <c:pt idx="0">
                  <c:v>0.007858679740858365</c:v>
                </c:pt>
                <c:pt idx="1">
                  <c:v>0.007858679740858365</c:v>
                </c:pt>
              </c:numCache>
            </c:numRef>
          </c:yVal>
          <c:smooth val="0"/>
          <c:extLst>
            <c:ext xmlns:c16="http://schemas.microsoft.com/office/drawing/2014/chart" uri="{C3380CC4-5D6E-409C-BE32-E72D297353CC}">
              <c16:uniqueId val="{00000015-096C-4121-9522-6AB7243CCAAE}"/>
            </c:ext>
          </c:extLst>
        </c:ser>
        <c:ser>
          <c:idx val="7"/>
          <c:order val="7"/>
          <c:tx>
            <c:strRef>
              <c:f>Sheet1!$B$12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5:$A$126</c:f>
              <c:numCache>
                <c:formatCode>General</c:formatCode>
                <c:ptCount val="2"/>
                <c:pt idx="0">
                  <c:v>-0.14979079592286187</c:v>
                </c:pt>
                <c:pt idx="1">
                  <c:v>-0.14979079592286187</c:v>
                </c:pt>
              </c:numCache>
            </c:numRef>
          </c:xVal>
          <c:yVal>
            <c:numRef>
              <c:f>Sheet1!$B$125:$B$126</c:f>
              <c:numCache>
                <c:formatCode>General</c:formatCode>
                <c:ptCount val="2"/>
                <c:pt idx="0">
                  <c:v>0.0078586797408583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9:$A$169</c:f>
              <c:numCache>
                <c:formatCode>General</c:formatCode>
                <c:ptCount val="41"/>
                <c:pt idx="0">
                  <c:v>0.0</c:v>
                </c:pt>
                <c:pt idx="1">
                  <c:v>0.0</c:v>
                </c:pt>
                <c:pt idx="2">
                  <c:v>0.2004420033319596</c:v>
                </c:pt>
                <c:pt idx="3">
                  <c:v>0.2671522517918591</c:v>
                </c:pt>
                <c:pt idx="4">
                  <c:v>0.11656896757985405</c:v>
                </c:pt>
                <c:pt idx="5">
                  <c:v>0.12995476873692913</c:v>
                </c:pt>
                <c:pt idx="6">
                  <c:v>0.1585002848205635</c:v>
                </c:pt>
                <c:pt idx="7">
                  <c:v>0.27281827618778687</c:v>
                </c:pt>
                <c:pt idx="8">
                  <c:v>0.32851033261185647</c:v>
                </c:pt>
                <c:pt idx="9">
                  <c:v>0.13258535318880627</c:v>
                </c:pt>
                <c:pt idx="10">
                  <c:v>0.23360208114095193</c:v>
                </c:pt>
                <c:pt idx="11">
                  <c:v>0.2537887981373973</c:v>
                </c:pt>
                <c:pt idx="12">
                  <c:v>0.26206059288449296</c:v>
                </c:pt>
                <c:pt idx="13">
                  <c:v>0.21359270311240555</c:v>
                </c:pt>
                <c:pt idx="14">
                  <c:v>0.15271111886688188</c:v>
                </c:pt>
                <c:pt idx="15">
                  <c:v>0.1395748589902874</c:v>
                </c:pt>
                <c:pt idx="16">
                  <c:v>0.0</c:v>
                </c:pt>
                <c:pt idx="17">
                  <c:v>0.21718117828784125</c:v>
                </c:pt>
                <c:pt idx="18">
                  <c:v>0.272454219552369</c:v>
                </c:pt>
                <c:pt idx="19">
                  <c:v>0.0992545321059468</c:v>
                </c:pt>
                <c:pt idx="20">
                  <c:v>0.0</c:v>
                </c:pt>
                <c:pt idx="21">
                  <c:v>0.0</c:v>
                </c:pt>
                <c:pt idx="22">
                  <c:v>0.014902280069616124</c:v>
                </c:pt>
                <c:pt idx="23">
                  <c:v>0.0</c:v>
                </c:pt>
                <c:pt idx="24">
                  <c:v>0.08404166167843888</c:v>
                </c:pt>
                <c:pt idx="25">
                  <c:v>0.05120815783639991</c:v>
                </c:pt>
                <c:pt idx="26">
                  <c:v>0.09092869465209891</c:v>
                </c:pt>
                <c:pt idx="27">
                  <c:v>0.0</c:v>
                </c:pt>
                <c:pt idx="28">
                  <c:v>0.0</c:v>
                </c:pt>
                <c:pt idx="29">
                  <c:v>0.0</c:v>
                </c:pt>
                <c:pt idx="30">
                  <c:v>0.0</c:v>
                </c:pt>
                <c:pt idx="31">
                  <c:v>0.09977826965906303</c:v>
                </c:pt>
                <c:pt idx="32">
                  <c:v>0.0</c:v>
                </c:pt>
                <c:pt idx="33">
                  <c:v>0.0</c:v>
                </c:pt>
                <c:pt idx="34">
                  <c:v>0.634466032238913</c:v>
                </c:pt>
                <c:pt idx="35">
                  <c:v>0.0</c:v>
                </c:pt>
                <c:pt idx="36">
                  <c:v>0.5169190327309083</c:v>
                </c:pt>
                <c:pt idx="37">
                  <c:v>0.37438083170141684</c:v>
                </c:pt>
                <c:pt idx="38">
                  <c:v>0.709941475240127</c:v>
                </c:pt>
                <c:pt idx="39">
                  <c:v>6.432701434012464</c:v>
                </c:pt>
                <c:pt idx="40">
                  <c:v>-0.14979079592286187</c:v>
                </c:pt>
              </c:numCache>
            </c:numRef>
          </c:xVal>
          <c:yVal>
            <c:numRef>
              <c:f>Sheet1!$B$129:$B$169</c:f>
              <c:numCache>
                <c:formatCode>General</c:formatCode>
                <c:ptCount val="41"/>
                <c:pt idx="0">
                  <c:v>0.011358036963792718</c:v>
                </c:pt>
                <c:pt idx="1">
                  <c:v>0.011358036963792718</c:v>
                </c:pt>
                <c:pt idx="2">
                  <c:v>0.01604068897734057</c:v>
                </c:pt>
                <c:pt idx="3">
                  <c:v>0.01759914915076879</c:v>
                </c:pt>
                <c:pt idx="4">
                  <c:v>0.01408127810926756</c:v>
                </c:pt>
                <c:pt idx="5">
                  <c:v>0.014393992249513505</c:v>
                </c:pt>
                <c:pt idx="6">
                  <c:v>0.015060862047982938</c:v>
                </c:pt>
                <c:pt idx="7">
                  <c:v>0.017731516718969862</c:v>
                </c:pt>
                <c:pt idx="8">
                  <c:v>0.019032573961552356</c:v>
                </c:pt>
                <c:pt idx="9">
                  <c:v>0.014455446991412038</c:v>
                </c:pt>
                <c:pt idx="10">
                  <c:v>0.016815362461642766</c:v>
                </c:pt>
                <c:pt idx="11">
                  <c:v>0.01728695708462094</c:v>
                </c:pt>
                <c:pt idx="12">
                  <c:v>0.017480199696869196</c:v>
                </c:pt>
                <c:pt idx="13">
                  <c:v>0.0163479107661015</c:v>
                </c:pt>
                <c:pt idx="14">
                  <c:v>0.014925617692213483</c:v>
                </c:pt>
                <c:pt idx="15">
                  <c:v>0.014618733243150429</c:v>
                </c:pt>
                <c:pt idx="16">
                  <c:v>0.011358036963792718</c:v>
                </c:pt>
                <c:pt idx="17">
                  <c:v>0.016431743397119416</c:v>
                </c:pt>
                <c:pt idx="18">
                  <c:v>0.01772301176238119</c:v>
                </c:pt>
                <c:pt idx="19">
                  <c:v>0.013676784665839634</c:v>
                </c:pt>
                <c:pt idx="20">
                  <c:v>0.011358036963792718</c:v>
                </c:pt>
                <c:pt idx="21">
                  <c:v>0.011358036963792718</c:v>
                </c:pt>
                <c:pt idx="22">
                  <c:v>0.011706178524016864</c:v>
                </c:pt>
                <c:pt idx="23">
                  <c:v>0.011358036963792718</c:v>
                </c:pt>
                <c:pt idx="24">
                  <c:v>0.013321387208445263</c:v>
                </c:pt>
                <c:pt idx="25">
                  <c:v>0.012554343024481848</c:v>
                </c:pt>
                <c:pt idx="26">
                  <c:v>0.01348227952784635</c:v>
                </c:pt>
                <c:pt idx="27">
                  <c:v>0.011358036963792718</c:v>
                </c:pt>
                <c:pt idx="28">
                  <c:v>0.011358036963792718</c:v>
                </c:pt>
                <c:pt idx="29">
                  <c:v>0.011358036963792718</c:v>
                </c:pt>
                <c:pt idx="30">
                  <c:v>0.011358036963792718</c:v>
                </c:pt>
                <c:pt idx="31">
                  <c:v>0.013689020029021514</c:v>
                </c:pt>
                <c:pt idx="32">
                  <c:v>0.011358036963792718</c:v>
                </c:pt>
                <c:pt idx="33">
                  <c:v>0.011358036963792718</c:v>
                </c:pt>
                <c:pt idx="34">
                  <c:v>0.026180197958017584</c:v>
                </c:pt>
                <c:pt idx="35">
                  <c:v>0.011358036963792718</c:v>
                </c:pt>
                <c:pt idx="36">
                  <c:v>0.02343410839204435</c:v>
                </c:pt>
                <c:pt idx="37">
                  <c:v>0.02010418361099516</c:v>
                </c:pt>
                <c:pt idx="38">
                  <c:v>0.027943427367363136</c:v>
                </c:pt>
                <c:pt idx="39">
                  <c:v>0.16163643082241058</c:v>
                </c:pt>
                <c:pt idx="40">
                  <c:v>0.0078586797408583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Vich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7158176943699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26.5</c:v>
                </c:pt>
                <c:pt idx="1">
                  <c:v>969.0345</c:v>
                </c:pt>
                <c:pt idx="2">
                  <c:v>946.7969</c:v>
                </c:pt>
                <c:pt idx="3">
                  <c:v>923.8977</c:v>
                </c:pt>
                <c:pt idx="4">
                  <c:v>1002.6056</c:v>
                </c:pt>
                <c:pt idx="5">
                  <c:v>916.3534</c:v>
                </c:pt>
                <c:pt idx="6">
                  <c:v>896.798</c:v>
                </c:pt>
                <c:pt idx="7">
                  <c:v>965.5</c:v>
                </c:pt>
                <c:pt idx="8">
                  <c:v>1005.6818</c:v>
                </c:pt>
                <c:pt idx="9">
                  <c:v>1004.5122</c:v>
                </c:pt>
                <c:pt idx="10">
                  <c:v>1007.9787</c:v>
                </c:pt>
                <c:pt idx="11">
                  <c:v>1010.4634</c:v>
                </c:pt>
                <c:pt idx="12">
                  <c:v>1000.5588</c:v>
                </c:pt>
                <c:pt idx="13">
                  <c:v>958.4688</c:v>
                </c:pt>
                <c:pt idx="14">
                  <c:v>873.102</c:v>
                </c:pt>
                <c:pt idx="15">
                  <c:v>918.9818</c:v>
                </c:pt>
                <c:pt idx="16">
                  <c:v>887.62</c:v>
                </c:pt>
                <c:pt idx="17">
                  <c:v>868.4643</c:v>
                </c:pt>
                <c:pt idx="18">
                  <c:v>915.4412</c:v>
                </c:pt>
                <c:pt idx="19">
                  <c:v>945.9474</c:v>
                </c:pt>
                <c:pt idx="20">
                  <c:v>964.7742</c:v>
                </c:pt>
                <c:pt idx="21">
                  <c:v>938.1458</c:v>
                </c:pt>
                <c:pt idx="22">
                  <c:v>844.5957</c:v>
                </c:pt>
                <c:pt idx="23">
                  <c:v>650.2182</c:v>
                </c:pt>
                <c:pt idx="24">
                  <c:v>653.91</c:v>
                </c:pt>
                <c:pt idx="25">
                  <c:v>651.9388</c:v>
                </c:pt>
                <c:pt idx="26">
                  <c:v>642.3421</c:v>
                </c:pt>
                <c:pt idx="27">
                  <c:v>650.2593</c:v>
                </c:pt>
                <c:pt idx="28">
                  <c:v>687.6</c:v>
                </c:pt>
                <c:pt idx="29">
                  <c:v>645.0</c:v>
                </c:pt>
                <c:pt idx="30">
                  <c:v>617.1176</c:v>
                </c:pt>
                <c:pt idx="31">
                  <c:v>666.0476</c:v>
                </c:pt>
                <c:pt idx="32">
                  <c:v>603.75</c:v>
                </c:pt>
                <c:pt idx="33">
                  <c:v>566.2667</c:v>
                </c:pt>
                <c:pt idx="34">
                  <c:v>627.0</c:v>
                </c:pt>
                <c:pt idx="35">
                  <c:v>669.25</c:v>
                </c:pt>
                <c:pt idx="36">
                  <c:v>256.7037</c:v>
                </c:pt>
                <c:pt idx="37">
                  <c:v>214.5</c:v>
                </c:pt>
                <c:pt idx="38">
                  <c:v>270.5556</c:v>
                </c:pt>
                <c:pt idx="39">
                  <c:v>200.625</c:v>
                </c:pt>
                <c:pt idx="40">
                  <c:v>215.2857</c:v>
                </c:pt>
                <c:pt idx="41">
                  <c:v>174.3333</c:v>
                </c:pt>
                <c:pt idx="42">
                  <c:v>231.75</c:v>
                </c:pt>
                <c:pt idx="43">
                  <c:v>424.0</c:v>
                </c:pt>
                <c:pt idx="44">
                  <c:v>325.3333</c:v>
                </c:pt>
                <c:pt idx="45">
                  <c:v>480.0</c:v>
                </c:pt>
                <c:pt idx="46">
                  <c:v>319.5</c:v>
                </c:pt>
                <c:pt idx="47">
                  <c:v>287.8</c:v>
                </c:pt>
                <c:pt idx="48">
                  <c:v>507.0</c:v>
                </c:pt>
                <c:pt idx="49">
                  <c:v>290.75</c:v>
                </c:pt>
                <c:pt idx="50">
                  <c:v>871.0</c:v>
                </c:pt>
                <c:pt idx="51">
                  <c:v>829.0</c:v>
                </c:pt>
                <c:pt idx="52">
                  <c:v>861.75</c:v>
                </c:pt>
                <c:pt idx="53">
                  <c:v>673.1429</c:v>
                </c:pt>
                <c:pt idx="54">
                  <c:v>1012.5</c:v>
                </c:pt>
                <c:pt idx="55">
                  <c:v>865.0</c:v>
                </c:pt>
                <c:pt idx="56">
                  <c:v>711.2222</c:v>
                </c:pt>
                <c:pt idx="57">
                  <c:v>719.4</c:v>
                </c:pt>
                <c:pt idx="58">
                  <c:v>625.0</c:v>
                </c:pt>
                <c:pt idx="59">
                  <c:v>1406.0</c:v>
                </c:pt>
                <c:pt idx="60">
                  <c:v>910.5</c:v>
                </c:pt>
              </c:numCache>
            </c:numRef>
          </c:xVal>
          <c:yVal>
            <c:numRef>
              <c:f>Sheet1!$B$2:$B$62</c:f>
              <c:numCache>
                <c:formatCode>General</c:formatCode>
                <c:ptCount val="61"/>
                <c:pt idx="0">
                  <c:v>0.011494252873563218</c:v>
                </c:pt>
                <c:pt idx="1">
                  <c:v>0.07341772151898734</c:v>
                </c:pt>
                <c:pt idx="2">
                  <c:v>0.13559322033898305</c:v>
                </c:pt>
                <c:pt idx="3">
                  <c:v>0.17706237424547283</c:v>
                </c:pt>
                <c:pt idx="4">
                  <c:v>0.15236051502145923</c:v>
                </c:pt>
                <c:pt idx="5">
                  <c:v>0.1919191919191919</c:v>
                </c:pt>
                <c:pt idx="6">
                  <c:v>0.24428399518652227</c:v>
                </c:pt>
                <c:pt idx="7">
                  <c:v>0.2182741116751269</c:v>
                </c:pt>
                <c:pt idx="8">
                  <c:v>0.15120274914089346</c:v>
                </c:pt>
                <c:pt idx="9">
                  <c:v>0.1305732484076433</c:v>
                </c:pt>
                <c:pt idx="10">
                  <c:v>0.15666666666666668</c:v>
                </c:pt>
                <c:pt idx="11">
                  <c:v>0.14855072463768115</c:v>
                </c:pt>
                <c:pt idx="12">
                  <c:v>0.13934426229508196</c:v>
                </c:pt>
                <c:pt idx="13">
                  <c:v>0.12749003984063745</c:v>
                </c:pt>
                <c:pt idx="14">
                  <c:v>0.14</c:v>
                </c:pt>
                <c:pt idx="15">
                  <c:v>0.14588859416445624</c:v>
                </c:pt>
                <c:pt idx="16">
                  <c:v>0.14285714285714285</c:v>
                </c:pt>
                <c:pt idx="17">
                  <c:v>0.16422287390029325</c:v>
                </c:pt>
                <c:pt idx="18">
                  <c:v>0.1596244131455399</c:v>
                </c:pt>
                <c:pt idx="19">
                  <c:v>0.09571788413098237</c:v>
                </c:pt>
                <c:pt idx="20">
                  <c:v>0.08179419525065963</c:v>
                </c:pt>
                <c:pt idx="21">
                  <c:v>0.12339331619537275</c:v>
                </c:pt>
                <c:pt idx="22">
                  <c:v>0.12806539509536785</c:v>
                </c:pt>
                <c:pt idx="23">
                  <c:v>0.26763990267639903</c:v>
                </c:pt>
                <c:pt idx="24">
                  <c:v>0.2680965147453083</c:v>
                </c:pt>
                <c:pt idx="25">
                  <c:v>0.17437722419928825</c:v>
                </c:pt>
                <c:pt idx="26">
                  <c:v>0.17194570135746606</c:v>
                </c:pt>
                <c:pt idx="27">
                  <c:v>0.13043478260869565</c:v>
                </c:pt>
                <c:pt idx="28">
                  <c:v>0.09569377990430622</c:v>
                </c:pt>
                <c:pt idx="29">
                  <c:v>0.10476190476190476</c:v>
                </c:pt>
                <c:pt idx="30">
                  <c:v>0.08542713567839195</c:v>
                </c:pt>
                <c:pt idx="31">
                  <c:v>0.1065989847715736</c:v>
                </c:pt>
                <c:pt idx="32">
                  <c:v>0.08247422680412371</c:v>
                </c:pt>
                <c:pt idx="33">
                  <c:v>0.07211538461538461</c:v>
                </c:pt>
                <c:pt idx="34">
                  <c:v>0.023696682464454975</c:v>
                </c:pt>
                <c:pt idx="35">
                  <c:v>0.022598870056497175</c:v>
                </c:pt>
                <c:pt idx="36">
                  <c:v>0.15976331360946747</c:v>
                </c:pt>
                <c:pt idx="37">
                  <c:v>0.12413793103448276</c:v>
                </c:pt>
                <c:pt idx="38">
                  <c:v>0.06338028169014084</c:v>
                </c:pt>
                <c:pt idx="39">
                  <c:v>0.14678899082568808</c:v>
                </c:pt>
                <c:pt idx="40">
                  <c:v>0.08974358974358974</c:v>
                </c:pt>
                <c:pt idx="41">
                  <c:v>0.08823529411764706</c:v>
                </c:pt>
                <c:pt idx="42">
                  <c:v>0.0547945205479452</c:v>
                </c:pt>
                <c:pt idx="43">
                  <c:v>0.043010752688172046</c:v>
                </c:pt>
                <c:pt idx="44">
                  <c:v>0.03488372093023256</c:v>
                </c:pt>
                <c:pt idx="45">
                  <c:v>0.056338028169014086</c:v>
                </c:pt>
                <c:pt idx="46">
                  <c:v>0.11764705882352941</c:v>
                </c:pt>
                <c:pt idx="47">
                  <c:v>0.0641025641025641</c:v>
                </c:pt>
                <c:pt idx="48">
                  <c:v>0.029411764705882353</c:v>
                </c:pt>
                <c:pt idx="49">
                  <c:v>0.0380952380952381</c:v>
                </c:pt>
                <c:pt idx="50">
                  <c:v>0.011363636363636364</c:v>
                </c:pt>
                <c:pt idx="51">
                  <c:v>0.016129032258064516</c:v>
                </c:pt>
                <c:pt idx="52">
                  <c:v>0.02185792349726776</c:v>
                </c:pt>
                <c:pt idx="53">
                  <c:v>0.034482758620689655</c:v>
                </c:pt>
                <c:pt idx="54">
                  <c:v>0.008771929824561403</c:v>
                </c:pt>
                <c:pt idx="55">
                  <c:v>0.018518518518518517</c:v>
                </c:pt>
                <c:pt idx="56">
                  <c:v>0.03383458646616541</c:v>
                </c:pt>
                <c:pt idx="57">
                  <c:v>0.032467532467532464</c:v>
                </c:pt>
                <c:pt idx="58">
                  <c:v>0.01834862385321101</c:v>
                </c:pt>
                <c:pt idx="59">
                  <c:v>0.010416666666666666</c:v>
                </c:pt>
                <c:pt idx="60">
                  <c:v>0.029411764705882353</c:v>
                </c:pt>
              </c:numCache>
            </c:numRef>
          </c:yVal>
          <c:smooth val="0"/>
          <c:extLst>
            <c:ext xmlns:c16="http://schemas.microsoft.com/office/drawing/2014/chart" uri="{C3380CC4-5D6E-409C-BE32-E72D297353CC}">
              <c16:uniqueId val="{00000000-F32D-48B7-BC20-E66FC6253BAD}"/>
            </c:ext>
          </c:extLst>
        </c:ser>
        <c:ser>
          <c:idx val="1"/>
          <c:order val="1"/>
          <c:tx>
            <c:strRef>
              <c:f>Sheet1!$B$6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5:$A$102</c:f>
              <c:numCache>
                <c:formatCode>General</c:formatCode>
                <c:ptCount val="38"/>
                <c:pt idx="0">
                  <c:v>0.0</c:v>
                </c:pt>
                <c:pt idx="1">
                  <c:v>0.0</c:v>
                </c:pt>
                <c:pt idx="2">
                  <c:v>715.5</c:v>
                </c:pt>
                <c:pt idx="3">
                  <c:v>1054.0</c:v>
                </c:pt>
                <c:pt idx="4">
                  <c:v>609.0</c:v>
                </c:pt>
                <c:pt idx="5">
                  <c:v>668.0</c:v>
                </c:pt>
                <c:pt idx="6">
                  <c:v>677.0</c:v>
                </c:pt>
                <c:pt idx="7">
                  <c:v>865.0</c:v>
                </c:pt>
                <c:pt idx="8">
                  <c:v>896.5</c:v>
                </c:pt>
                <c:pt idx="9">
                  <c:v>468.2857</c:v>
                </c:pt>
                <c:pt idx="10">
                  <c:v>783.0</c:v>
                </c:pt>
                <c:pt idx="11">
                  <c:v>907.0</c:v>
                </c:pt>
                <c:pt idx="12">
                  <c:v>1054.0</c:v>
                </c:pt>
                <c:pt idx="13">
                  <c:v>914.0</c:v>
                </c:pt>
                <c:pt idx="14">
                  <c:v>656.3333</c:v>
                </c:pt>
                <c:pt idx="15">
                  <c:v>696.0</c:v>
                </c:pt>
                <c:pt idx="16">
                  <c:v>0.0</c:v>
                </c:pt>
                <c:pt idx="17">
                  <c:v>1054.0</c:v>
                </c:pt>
                <c:pt idx="18">
                  <c:v>1406.0</c:v>
                </c:pt>
                <c:pt idx="19">
                  <c:v>703.0</c:v>
                </c:pt>
                <c:pt idx="20">
                  <c:v>0.0</c:v>
                </c:pt>
                <c:pt idx="21">
                  <c:v>0.0</c:v>
                </c:pt>
                <c:pt idx="22">
                  <c:v>122.0</c:v>
                </c:pt>
                <c:pt idx="23">
                  <c:v>0.0</c:v>
                </c:pt>
                <c:pt idx="24">
                  <c:v>351.0</c:v>
                </c:pt>
                <c:pt idx="25">
                  <c:v>231.0</c:v>
                </c:pt>
                <c:pt idx="26">
                  <c:v>316.25</c:v>
                </c:pt>
                <c:pt idx="27">
                  <c:v>0.0</c:v>
                </c:pt>
                <c:pt idx="28">
                  <c:v>0.0</c:v>
                </c:pt>
                <c:pt idx="29">
                  <c:v>0.0</c:v>
                </c:pt>
                <c:pt idx="30">
                  <c:v>0.0</c:v>
                </c:pt>
                <c:pt idx="31">
                  <c:v>260.0</c:v>
                </c:pt>
                <c:pt idx="32">
                  <c:v>0.0</c:v>
                </c:pt>
                <c:pt idx="33">
                  <c:v>0.0</c:v>
                </c:pt>
                <c:pt idx="34">
                  <c:v>1326.0</c:v>
                </c:pt>
                <c:pt idx="35">
                  <c:v>0.0</c:v>
                </c:pt>
                <c:pt idx="36">
                  <c:v>1220.1667</c:v>
                </c:pt>
                <c:pt idx="37">
                  <c:v>975.0</c:v>
                </c:pt>
              </c:numCache>
            </c:numRef>
          </c:xVal>
          <c:yVal>
            <c:numRef>
              <c:f>Sheet1!$B$65:$B$102</c:f>
              <c:numCache>
                <c:formatCode>General</c:formatCode>
                <c:ptCount val="38"/>
                <c:pt idx="0">
                  <c:v>0.0</c:v>
                </c:pt>
                <c:pt idx="1">
                  <c:v>0.0</c:v>
                </c:pt>
                <c:pt idx="2">
                  <c:v>0.022222222222222223</c:v>
                </c:pt>
                <c:pt idx="3">
                  <c:v>0.01</c:v>
                </c:pt>
                <c:pt idx="4">
                  <c:v>0.0547945205479452</c:v>
                </c:pt>
                <c:pt idx="5">
                  <c:v>0.05405405405405406</c:v>
                </c:pt>
                <c:pt idx="6">
                  <c:v>0.023809523809523808</c:v>
                </c:pt>
                <c:pt idx="7">
                  <c:v>0.0196078431372549</c:v>
                </c:pt>
                <c:pt idx="8">
                  <c:v>0.00966183574879227</c:v>
                </c:pt>
                <c:pt idx="9">
                  <c:v>0.05223880597014925</c:v>
                </c:pt>
                <c:pt idx="10">
                  <c:v>0.00510204081632653</c:v>
                </c:pt>
                <c:pt idx="11">
                  <c:v>0.005952380952380952</c:v>
                </c:pt>
                <c:pt idx="12">
                  <c:v>0.008264462809917356</c:v>
                </c:pt>
                <c:pt idx="13">
                  <c:v>0.0196078431372549</c:v>
                </c:pt>
                <c:pt idx="14">
                  <c:v>0.03571428571428571</c:v>
                </c:pt>
                <c:pt idx="15">
                  <c:v>0.012345679012345678</c:v>
                </c:pt>
                <c:pt idx="16">
                  <c:v>0.0</c:v>
                </c:pt>
                <c:pt idx="17">
                  <c:v>0.014705882352941176</c:v>
                </c:pt>
                <c:pt idx="18">
                  <c:v>0.019230769230769232</c:v>
                </c:pt>
                <c:pt idx="19">
                  <c:v>0.017857142857142856</c:v>
                </c:pt>
                <c:pt idx="20">
                  <c:v>0.0</c:v>
                </c:pt>
                <c:pt idx="21">
                  <c:v>0.0</c:v>
                </c:pt>
                <c:pt idx="22">
                  <c:v>0.017543859649122806</c:v>
                </c:pt>
                <c:pt idx="23">
                  <c:v>0.0</c:v>
                </c:pt>
                <c:pt idx="24">
                  <c:v>0.017241379310344827</c:v>
                </c:pt>
                <c:pt idx="25">
                  <c:v>0.02702702702702703</c:v>
                </c:pt>
                <c:pt idx="26">
                  <c:v>0.04597701149425287</c:v>
                </c:pt>
                <c:pt idx="27">
                  <c:v>0.0</c:v>
                </c:pt>
                <c:pt idx="28">
                  <c:v>0.0</c:v>
                </c:pt>
                <c:pt idx="29">
                  <c:v>0.0</c:v>
                </c:pt>
                <c:pt idx="30">
                  <c:v>0.0</c:v>
                </c:pt>
                <c:pt idx="31">
                  <c:v>0.01639344262295082</c:v>
                </c:pt>
                <c:pt idx="32">
                  <c:v>0.0</c:v>
                </c:pt>
                <c:pt idx="33">
                  <c:v>0.0</c:v>
                </c:pt>
                <c:pt idx="34">
                  <c:v>0.005154639175257732</c:v>
                </c:pt>
                <c:pt idx="35">
                  <c:v>0.0</c:v>
                </c:pt>
                <c:pt idx="36">
                  <c:v>0.029556650246305417</c:v>
                </c:pt>
                <c:pt idx="37">
                  <c:v>0.011764705882352941</c:v>
                </c:pt>
              </c:numCache>
            </c:numRef>
          </c:yVal>
          <c:smooth val="0"/>
          <c:extLst>
            <c:ext xmlns:c16="http://schemas.microsoft.com/office/drawing/2014/chart" uri="{C3380CC4-5D6E-409C-BE32-E72D297353CC}">
              <c16:uniqueId val="{00000002-F32D-48B7-BC20-E66FC6253BAD}"/>
            </c:ext>
          </c:extLst>
        </c:ser>
        <c:ser>
          <c:idx val="2"/>
          <c:order val="2"/>
          <c:tx>
            <c:strRef>
              <c:f>Sheet1!$B$104</c:f>
              <c:strCache>
                <c:ptCount val="1"/>
                <c:pt idx="0">
                  <c:v>Custom Linep3yQ</c:v>
                </c:pt>
              </c:strCache>
            </c:strRef>
          </c:tx>
          <c:spPr>
            <a:ln w="19050" cap="rnd">
              <a:solidFill>
                <a:srgbClr val="C00000"/>
              </a:solidFill>
              <a:prstDash val="sysDot"/>
              <a:round/>
            </a:ln>
            <a:effectLst/>
          </c:spPr>
          <c:marker>
            <c:symbol val="none"/>
          </c:marker>
          <c:xVal>
            <c:numRef>
              <c:f>Sheet1!$A$105:$A$106</c:f>
              <c:numCache>
                <c:formatCode>General</c:formatCode>
                <c:ptCount val="2"/>
                <c:pt idx="0">
                  <c:v>0</c:v>
                </c:pt>
                <c:pt idx="1">
                  <c:v>12252.346528583043</c:v>
                </c:pt>
              </c:numCache>
            </c:numRef>
          </c:xVal>
          <c:yVal>
            <c:numRef>
              <c:f>Sheet1!$B$105:$B$106</c:f>
              <c:numCache>
                <c:formatCode>General</c:formatCode>
                <c:ptCount val="2"/>
                <c:pt idx="0">
                  <c:v>0.16163643082241058</c:v>
                </c:pt>
                <c:pt idx="1">
                  <c:v>0.16163643082241058</c:v>
                </c:pt>
              </c:numCache>
            </c:numRef>
          </c:yVal>
          <c:smooth val="0"/>
          <c:extLst>
            <c:ext xmlns:c16="http://schemas.microsoft.com/office/drawing/2014/chart" uri="{C3380CC4-5D6E-409C-BE32-E72D297353CC}">
              <c16:uniqueId val="{00000003-F32D-48B7-BC20-E66FC6253BAD}"/>
            </c:ext>
          </c:extLst>
        </c:ser>
        <c:ser>
          <c:idx val="3"/>
          <c:order val="3"/>
          <c:tx>
            <c:strRef>
              <c:f>Sheet1!$B$10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9:$A$110</c:f>
              <c:numCache>
                <c:formatCode>General</c:formatCode>
                <c:ptCount val="2"/>
                <c:pt idx="0">
                  <c:v>12252.346528583043</c:v>
                </c:pt>
                <c:pt idx="1">
                  <c:v>12252.346528583043</c:v>
                </c:pt>
              </c:numCache>
            </c:numRef>
          </c:xVal>
          <c:yVal>
            <c:numRef>
              <c:f>Sheet1!$B$109:$B$110</c:f>
              <c:numCache>
                <c:formatCode>General</c:formatCode>
                <c:ptCount val="2"/>
                <c:pt idx="0">
                  <c:v>0.161636430822410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3:$A$114</c:f>
              <c:numCache>
                <c:formatCode>General</c:formatCode>
                <c:ptCount val="2"/>
                <c:pt idx="0">
                  <c:v>0</c:v>
                </c:pt>
                <c:pt idx="1">
                  <c:v>1562.8264854618078</c:v>
                </c:pt>
              </c:numCache>
            </c:numRef>
          </c:xVal>
          <c:yVal>
            <c:numRef>
              <c:f>Sheet1!$B$113:$B$114</c:f>
              <c:numCache>
                <c:formatCode>General</c:formatCode>
                <c:ptCount val="2"/>
                <c:pt idx="0">
                  <c:v>0.027943427367363136</c:v>
                </c:pt>
                <c:pt idx="1">
                  <c:v>0.027943427367363136</c:v>
                </c:pt>
              </c:numCache>
            </c:numRef>
          </c:yVal>
          <c:smooth val="0"/>
          <c:extLst>
            <c:ext xmlns:c16="http://schemas.microsoft.com/office/drawing/2014/chart" uri="{C3380CC4-5D6E-409C-BE32-E72D297353CC}">
              <c16:uniqueId val="{0000000A-F32D-48B7-BC20-E66FC6253BAD}"/>
            </c:ext>
          </c:extLst>
        </c:ser>
        <c:ser>
          <c:idx val="5"/>
          <c:order val="5"/>
          <c:tx>
            <c:strRef>
              <c:f>Sheet1!$B$11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7:$A$118</c:f>
              <c:numCache>
                <c:formatCode>General</c:formatCode>
                <c:ptCount val="2"/>
                <c:pt idx="0">
                  <c:v>1562.8264854618078</c:v>
                </c:pt>
                <c:pt idx="1">
                  <c:v>1562.8264854618078</c:v>
                </c:pt>
              </c:numCache>
            </c:numRef>
          </c:xVal>
          <c:yVal>
            <c:numRef>
              <c:f>Sheet1!$B$117:$B$118</c:f>
              <c:numCache>
                <c:formatCode>General</c:formatCode>
                <c:ptCount val="2"/>
                <c:pt idx="0">
                  <c:v>0.0279434273673631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1:$A$122</c:f>
              <c:numCache>
                <c:formatCode>General</c:formatCode>
                <c:ptCount val="2"/>
                <c:pt idx="0">
                  <c:v>0</c:v>
                </c:pt>
                <c:pt idx="1">
                  <c:v>-43.063925899496596</c:v>
                </c:pt>
              </c:numCache>
            </c:numRef>
          </c:xVal>
          <c:yVal>
            <c:numRef>
              <c:f>Sheet1!$B$121:$B$122</c:f>
              <c:numCache>
                <c:formatCode>General</c:formatCode>
                <c:ptCount val="2"/>
                <c:pt idx="0">
                  <c:v>0.007858679740858365</c:v>
                </c:pt>
                <c:pt idx="1">
                  <c:v>0.007858679740858365</c:v>
                </c:pt>
              </c:numCache>
            </c:numRef>
          </c:yVal>
          <c:smooth val="0"/>
          <c:extLst>
            <c:ext xmlns:c16="http://schemas.microsoft.com/office/drawing/2014/chart" uri="{C3380CC4-5D6E-409C-BE32-E72D297353CC}">
              <c16:uniqueId val="{00000011-F32D-48B7-BC20-E66FC6253BAD}"/>
            </c:ext>
          </c:extLst>
        </c:ser>
        <c:ser>
          <c:idx val="7"/>
          <c:order val="7"/>
          <c:tx>
            <c:strRef>
              <c:f>Sheet1!$B$12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5:$A$126</c:f>
              <c:numCache>
                <c:formatCode>General</c:formatCode>
                <c:ptCount val="2"/>
                <c:pt idx="0">
                  <c:v>-43.063925899496596</c:v>
                </c:pt>
                <c:pt idx="1">
                  <c:v>-43.063925899496596</c:v>
                </c:pt>
              </c:numCache>
            </c:numRef>
          </c:xVal>
          <c:yVal>
            <c:numRef>
              <c:f>Sheet1!$B$125:$B$126</c:f>
              <c:numCache>
                <c:formatCode>General</c:formatCode>
                <c:ptCount val="2"/>
                <c:pt idx="0">
                  <c:v>0.0078586797408583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9:$A$169</c:f>
              <c:numCache>
                <c:formatCode>General</c:formatCode>
                <c:ptCount val="41"/>
                <c:pt idx="0">
                  <c:v>0.0</c:v>
                </c:pt>
                <c:pt idx="1">
                  <c:v>0.0</c:v>
                </c:pt>
                <c:pt idx="2">
                  <c:v>715.5</c:v>
                </c:pt>
                <c:pt idx="3">
                  <c:v>1054.0</c:v>
                </c:pt>
                <c:pt idx="4">
                  <c:v>609.0</c:v>
                </c:pt>
                <c:pt idx="5">
                  <c:v>668.0</c:v>
                </c:pt>
                <c:pt idx="6">
                  <c:v>677.0</c:v>
                </c:pt>
                <c:pt idx="7">
                  <c:v>865.0</c:v>
                </c:pt>
                <c:pt idx="8">
                  <c:v>896.5</c:v>
                </c:pt>
                <c:pt idx="9">
                  <c:v>468.2857</c:v>
                </c:pt>
                <c:pt idx="10">
                  <c:v>783.0</c:v>
                </c:pt>
                <c:pt idx="11">
                  <c:v>907.0</c:v>
                </c:pt>
                <c:pt idx="12">
                  <c:v>1054.0</c:v>
                </c:pt>
                <c:pt idx="13">
                  <c:v>914.0</c:v>
                </c:pt>
                <c:pt idx="14">
                  <c:v>656.3333</c:v>
                </c:pt>
                <c:pt idx="15">
                  <c:v>696.0</c:v>
                </c:pt>
                <c:pt idx="16">
                  <c:v>0.0</c:v>
                </c:pt>
                <c:pt idx="17">
                  <c:v>1054.0</c:v>
                </c:pt>
                <c:pt idx="18">
                  <c:v>1406.0</c:v>
                </c:pt>
                <c:pt idx="19">
                  <c:v>703.0</c:v>
                </c:pt>
                <c:pt idx="20">
                  <c:v>0.0</c:v>
                </c:pt>
                <c:pt idx="21">
                  <c:v>0.0</c:v>
                </c:pt>
                <c:pt idx="22">
                  <c:v>122.0</c:v>
                </c:pt>
                <c:pt idx="23">
                  <c:v>0.0</c:v>
                </c:pt>
                <c:pt idx="24">
                  <c:v>351.0</c:v>
                </c:pt>
                <c:pt idx="25">
                  <c:v>231.0</c:v>
                </c:pt>
                <c:pt idx="26">
                  <c:v>316.25</c:v>
                </c:pt>
                <c:pt idx="27">
                  <c:v>0.0</c:v>
                </c:pt>
                <c:pt idx="28">
                  <c:v>0.0</c:v>
                </c:pt>
                <c:pt idx="29">
                  <c:v>0.0</c:v>
                </c:pt>
                <c:pt idx="30">
                  <c:v>0.0</c:v>
                </c:pt>
                <c:pt idx="31">
                  <c:v>260.0</c:v>
                </c:pt>
                <c:pt idx="32">
                  <c:v>0.0</c:v>
                </c:pt>
                <c:pt idx="33">
                  <c:v>0.0</c:v>
                </c:pt>
                <c:pt idx="34">
                  <c:v>1326.0</c:v>
                </c:pt>
                <c:pt idx="35">
                  <c:v>0.0</c:v>
                </c:pt>
                <c:pt idx="36">
                  <c:v>1220.1667</c:v>
                </c:pt>
                <c:pt idx="37">
                  <c:v>975.0</c:v>
                </c:pt>
                <c:pt idx="38">
                  <c:v>1562.8264854618078</c:v>
                </c:pt>
                <c:pt idx="39">
                  <c:v>12252.346528583043</c:v>
                </c:pt>
                <c:pt idx="40">
                  <c:v>-43.063925899496596</c:v>
                </c:pt>
              </c:numCache>
            </c:numRef>
          </c:xVal>
          <c:yVal>
            <c:numRef>
              <c:f>Sheet1!$B$129:$B$169</c:f>
              <c:numCache>
                <c:formatCode>General</c:formatCode>
                <c:ptCount val="41"/>
                <c:pt idx="0">
                  <c:v>0.008397276943618108</c:v>
                </c:pt>
                <c:pt idx="1">
                  <c:v>0.008397276943618108</c:v>
                </c:pt>
                <c:pt idx="2">
                  <c:v>0.01734598030786714</c:v>
                </c:pt>
                <c:pt idx="3">
                  <c:v>0.021579573723378386</c:v>
                </c:pt>
                <c:pt idx="4">
                  <c:v>0.016013993014656065</c:v>
                </c:pt>
                <c:pt idx="5">
                  <c:v>0.01675190146817206</c:v>
                </c:pt>
                <c:pt idx="6">
                  <c:v>0.0168644637746406</c:v>
                </c:pt>
                <c:pt idx="7">
                  <c:v>0.01921576528753902</c:v>
                </c:pt>
                <c:pt idx="8">
                  <c:v>0.01960973336017891</c:v>
                </c:pt>
                <c:pt idx="9">
                  <c:v>0.014254090107866484</c:v>
                </c:pt>
                <c:pt idx="10">
                  <c:v>0.0181901976063812</c:v>
                </c:pt>
                <c:pt idx="11">
                  <c:v>0.01974105605105888</c:v>
                </c:pt>
                <c:pt idx="12">
                  <c:v>0.021579573723378386</c:v>
                </c:pt>
                <c:pt idx="13">
                  <c:v>0.01982860451164552</c:v>
                </c:pt>
                <c:pt idx="14">
                  <c:v>0.01660598695029689</c:v>
                </c:pt>
                <c:pt idx="15">
                  <c:v>0.017102095310518633</c:v>
                </c:pt>
                <c:pt idx="16">
                  <c:v>0.008397276943618108</c:v>
                </c:pt>
                <c:pt idx="17">
                  <c:v>0.021579573723378386</c:v>
                </c:pt>
                <c:pt idx="18">
                  <c:v>0.025982010598592446</c:v>
                </c:pt>
                <c:pt idx="19">
                  <c:v>0.017189643771105274</c:v>
                </c:pt>
                <c:pt idx="20">
                  <c:v>0.008397276943618108</c:v>
                </c:pt>
                <c:pt idx="21">
                  <c:v>0.008397276943618108</c:v>
                </c:pt>
                <c:pt idx="22">
                  <c:v>0.00992312154241389</c:v>
                </c:pt>
                <c:pt idx="23">
                  <c:v>0.008397276943618108</c:v>
                </c:pt>
                <c:pt idx="24">
                  <c:v>0.012787206895891218</c:v>
                </c:pt>
                <c:pt idx="25">
                  <c:v>0.011286376142977334</c:v>
                </c:pt>
                <c:pt idx="26">
                  <c:v>0.012352591323693238</c:v>
                </c:pt>
                <c:pt idx="27">
                  <c:v>0.008397276943618108</c:v>
                </c:pt>
                <c:pt idx="28">
                  <c:v>0.008397276943618108</c:v>
                </c:pt>
                <c:pt idx="29">
                  <c:v>0.008397276943618108</c:v>
                </c:pt>
                <c:pt idx="30">
                  <c:v>0.008397276943618108</c:v>
                </c:pt>
                <c:pt idx="31">
                  <c:v>0.011649076908264855</c:v>
                </c:pt>
                <c:pt idx="32">
                  <c:v>0.008397276943618108</c:v>
                </c:pt>
                <c:pt idx="33">
                  <c:v>0.008397276943618108</c:v>
                </c:pt>
                <c:pt idx="34">
                  <c:v>0.02498145676331652</c:v>
                </c:pt>
                <c:pt idx="35">
                  <c:v>0.008397276943618108</c:v>
                </c:pt>
                <c:pt idx="36">
                  <c:v>0.02365780783563018</c:v>
                </c:pt>
                <c:pt idx="37">
                  <c:v>0.020591526811043412</c:v>
                </c:pt>
                <c:pt idx="38">
                  <c:v>0.02794342736736314</c:v>
                </c:pt>
                <c:pt idx="39">
                  <c:v>0.16163643082241058</c:v>
                </c:pt>
                <c:pt idx="40">
                  <c:v>0.0078586797408583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0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7158176943699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102468427166956</c:v>
                </c:pt>
                <c:pt idx="1">
                  <c:v>1.2444724820548616</c:v>
                </c:pt>
                <c:pt idx="2">
                  <c:v>1.1922636864507907</c:v>
                </c:pt>
                <c:pt idx="3">
                  <c:v>1.0383085963031846</c:v>
                </c:pt>
                <c:pt idx="4">
                  <c:v>0.9505336890254866</c:v>
                </c:pt>
                <c:pt idx="5">
                  <c:v>1.0203236512645424</c:v>
                </c:pt>
                <c:pt idx="6">
                  <c:v>1.0060980975332285</c:v>
                </c:pt>
                <c:pt idx="7">
                  <c:v>0.90736617471977</c:v>
                </c:pt>
                <c:pt idx="8">
                  <c:v>0.8369414385844036</c:v>
                </c:pt>
                <c:pt idx="9">
                  <c:v>0.7915921114766675</c:v>
                </c:pt>
                <c:pt idx="10">
                  <c:v>0.8442695428723869</c:v>
                </c:pt>
                <c:pt idx="11">
                  <c:v>0.858495025808206</c:v>
                </c:pt>
                <c:pt idx="12">
                  <c:v>0.8333968698708123</c:v>
                </c:pt>
                <c:pt idx="13">
                  <c:v>0.8842837381019164</c:v>
                </c:pt>
                <c:pt idx="14">
                  <c:v>0.8106229067886221</c:v>
                </c:pt>
                <c:pt idx="15">
                  <c:v>0.8512137135539569</c:v>
                </c:pt>
                <c:pt idx="16">
                  <c:v>0.8412816322283934</c:v>
                </c:pt>
                <c:pt idx="17">
                  <c:v>0.7820415333128962</c:v>
                </c:pt>
                <c:pt idx="18">
                  <c:v>0.9069659925810185</c:v>
                </c:pt>
                <c:pt idx="19">
                  <c:v>0.8687690594736847</c:v>
                </c:pt>
                <c:pt idx="20">
                  <c:v>0.9672993459891243</c:v>
                </c:pt>
                <c:pt idx="21">
                  <c:v>0.88656640997745</c:v>
                </c:pt>
                <c:pt idx="22">
                  <c:v>0.9587229769210651</c:v>
                </c:pt>
                <c:pt idx="23">
                  <c:v>0.8994834217468385</c:v>
                </c:pt>
                <c:pt idx="24">
                  <c:v>0.957588321997379</c:v>
                </c:pt>
                <c:pt idx="25">
                  <c:v>0.9296253963203436</c:v>
                </c:pt>
                <c:pt idx="26">
                  <c:v>0.9496522926667392</c:v>
                </c:pt>
                <c:pt idx="27">
                  <c:v>0.8923676522158068</c:v>
                </c:pt>
                <c:pt idx="28">
                  <c:v>0.8598034198063159</c:v>
                </c:pt>
                <c:pt idx="29">
                  <c:v>0.8056107438401037</c:v>
                </c:pt>
                <c:pt idx="30">
                  <c:v>0.7905765412400567</c:v>
                </c:pt>
                <c:pt idx="31">
                  <c:v>0.8173259473904588</c:v>
                </c:pt>
                <c:pt idx="32">
                  <c:v>0.8074093813120503</c:v>
                </c:pt>
                <c:pt idx="33">
                  <c:v>0.6482196367285369</c:v>
                </c:pt>
                <c:pt idx="34">
                  <c:v>0.755405163636834</c:v>
                </c:pt>
                <c:pt idx="35">
                  <c:v>0.7666078300382687</c:v>
                </c:pt>
                <c:pt idx="36">
                  <c:v>0.7326282267549689</c:v>
                </c:pt>
                <c:pt idx="37">
                  <c:v>0.831707714987715</c:v>
                </c:pt>
                <c:pt idx="38">
                  <c:v>0.8712175765598061</c:v>
                </c:pt>
                <c:pt idx="39">
                  <c:v>0.8744629598028438</c:v>
                </c:pt>
                <c:pt idx="40">
                  <c:v>0.8907074246201762</c:v>
                </c:pt>
                <c:pt idx="41">
                  <c:v>0.904414462148967</c:v>
                </c:pt>
                <c:pt idx="42">
                  <c:v>0.943133037166836</c:v>
                </c:pt>
                <c:pt idx="43">
                  <c:v>0.9565224083589813</c:v>
                </c:pt>
                <c:pt idx="44">
                  <c:v>0.9975796025104603</c:v>
                </c:pt>
                <c:pt idx="45">
                  <c:v>1.0419602446256495</c:v>
                </c:pt>
                <c:pt idx="46">
                  <c:v>1.0265778281806883</c:v>
                </c:pt>
                <c:pt idx="47">
                  <c:v>0.9745732206070304</c:v>
                </c:pt>
                <c:pt idx="48">
                  <c:v>0.9517837420857138</c:v>
                </c:pt>
                <c:pt idx="49">
                  <c:v>0.9146058965944456</c:v>
                </c:pt>
                <c:pt idx="50">
                  <c:v>0.9155200374468295</c:v>
                </c:pt>
                <c:pt idx="51">
                  <c:v>0.874029614861238</c:v>
                </c:pt>
                <c:pt idx="52">
                  <c:v>0.9044733569792142</c:v>
                </c:pt>
                <c:pt idx="53">
                  <c:v>0.9055656474405785</c:v>
                </c:pt>
                <c:pt idx="54">
                  <c:v>0.8940942747391339</c:v>
                </c:pt>
                <c:pt idx="55">
                  <c:v>0.8888419365073822</c:v>
                </c:pt>
                <c:pt idx="56">
                  <c:v>0.9081659332428366</c:v>
                </c:pt>
                <c:pt idx="57">
                  <c:v>0.8906853017247659</c:v>
                </c:pt>
                <c:pt idx="58">
                  <c:v>0.8802650815251861</c:v>
                </c:pt>
                <c:pt idx="59">
                  <c:v>0.8928593631240638</c:v>
                </c:pt>
                <c:pt idx="60">
                  <c:v>0.8980282802781681</c:v>
                </c:pt>
                <c:pt idx="61">
                  <c:v>0.8877898265969134</c:v>
                </c:pt>
                <c:pt idx="62">
                  <c:v>0.8724815660922461</c:v>
                </c:pt>
                <c:pt idx="63">
                  <c:v>0.902935132699734</c:v>
                </c:pt>
                <c:pt idx="64">
                  <c:v>0.9002975167034742</c:v>
                </c:pt>
                <c:pt idx="65">
                  <c:v>0.8936116142842953</c:v>
                </c:pt>
                <c:pt idx="66">
                  <c:v>0.9151170279091064</c:v>
                </c:pt>
                <c:pt idx="67">
                  <c:v>0.9204305011909422</c:v>
                </c:pt>
                <c:pt idx="68">
                  <c:v>1.0053356906341615</c:v>
                </c:pt>
                <c:pt idx="69">
                  <c:v>1.0258661284465824</c:v>
                </c:pt>
                <c:pt idx="70">
                  <c:v>1.067705903086097</c:v>
                </c:pt>
                <c:pt idx="71">
                  <c:v>1.0634557551761108</c:v>
                </c:pt>
                <c:pt idx="72">
                  <c:v>1.2291712078640764</c:v>
                </c:pt>
                <c:pt idx="73">
                  <c:v>1.2610517831956476</c:v>
                </c:pt>
                <c:pt idx="74">
                  <c:v>1.1932816396308743</c:v>
                </c:pt>
                <c:pt idx="75">
                  <c:v>1.5011428657191148</c:v>
                </c:pt>
                <c:pt idx="76">
                  <c:v>1.1830218006286004</c:v>
                </c:pt>
                <c:pt idx="77">
                  <c:v>1.086658219221495</c:v>
                </c:pt>
                <c:pt idx="78">
                  <c:v>1.1766691090843093</c:v>
                </c:pt>
                <c:pt idx="79">
                  <c:v>1.1859659210856566</c:v>
                </c:pt>
                <c:pt idx="80">
                  <c:v>1.1090330866399156</c:v>
                </c:pt>
                <c:pt idx="81">
                  <c:v>1.2271767714662225</c:v>
                </c:pt>
                <c:pt idx="82">
                  <c:v>1.1681471099273157</c:v>
                </c:pt>
                <c:pt idx="83">
                  <c:v>1.0940430317491978</c:v>
                </c:pt>
                <c:pt idx="84">
                  <c:v>1.0775412623526355</c:v>
                </c:pt>
                <c:pt idx="85">
                  <c:v>1.1544504808363147</c:v>
                </c:pt>
                <c:pt idx="86">
                  <c:v>1.0946734042511128</c:v>
                </c:pt>
                <c:pt idx="87">
                  <c:v>1.0546463397018924</c:v>
                </c:pt>
                <c:pt idx="88">
                  <c:v>1.0151299379022152</c:v>
                </c:pt>
                <c:pt idx="89">
                  <c:v>1.1418502701716033</c:v>
                </c:pt>
                <c:pt idx="90">
                  <c:v>1.130327287020797</c:v>
                </c:pt>
                <c:pt idx="91">
                  <c:v>1.1591322596067724</c:v>
                </c:pt>
                <c:pt idx="92">
                  <c:v>1.1148903274430482</c:v>
                </c:pt>
                <c:pt idx="93">
                  <c:v>1.1293505643133461</c:v>
                </c:pt>
                <c:pt idx="94">
                  <c:v>1.1278218003966174</c:v>
                </c:pt>
                <c:pt idx="95">
                  <c:v>1.0870967185201759</c:v>
                </c:pt>
                <c:pt idx="96">
                  <c:v>1.1510102483817382</c:v>
                </c:pt>
                <c:pt idx="97">
                  <c:v>1.1745680428261422</c:v>
                </c:pt>
                <c:pt idx="98">
                  <c:v>1.1849559154129654</c:v>
                </c:pt>
                <c:pt idx="99">
                  <c:v>1.123648618523313</c:v>
                </c:pt>
                <c:pt idx="100">
                  <c:v>1.2023727700894449</c:v>
                </c:pt>
                <c:pt idx="101">
                  <c:v>1.0763800618243793</c:v>
                </c:pt>
                <c:pt idx="102">
                  <c:v>1.0571344089830013</c:v>
                </c:pt>
                <c:pt idx="103">
                  <c:v>1.077548931406927</c:v>
                </c:pt>
                <c:pt idx="104">
                  <c:v>1.0641698635321812</c:v>
                </c:pt>
              </c:numCache>
            </c:numRef>
          </c:xVal>
          <c:yVal>
            <c:numRef>
              <c:f>Sheet1!$B$2:$B$106</c:f>
              <c:numCache>
                <c:formatCode>General</c:formatCode>
                <c:ptCount val="105"/>
                <c:pt idx="0">
                  <c:v>0.5498519249753209</c:v>
                </c:pt>
                <c:pt idx="1">
                  <c:v>0.562955254942768</c:v>
                </c:pt>
                <c:pt idx="2">
                  <c:v>0.5627572016460906</c:v>
                </c:pt>
                <c:pt idx="3">
                  <c:v>0.5461215932914046</c:v>
                </c:pt>
                <c:pt idx="4">
                  <c:v>0.5749086479902558</c:v>
                </c:pt>
                <c:pt idx="5">
                  <c:v>0.5625</c:v>
                </c:pt>
                <c:pt idx="6">
                  <c:v>0.5294771968854283</c:v>
                </c:pt>
                <c:pt idx="7">
                  <c:v>0.5384615384615384</c:v>
                </c:pt>
                <c:pt idx="8">
                  <c:v>0.5623376623376624</c:v>
                </c:pt>
                <c:pt idx="9">
                  <c:v>0.5526315789473685</c:v>
                </c:pt>
                <c:pt idx="10">
                  <c:v>0.5369003690036901</c:v>
                </c:pt>
                <c:pt idx="11">
                  <c:v>0.5346901017576319</c:v>
                </c:pt>
                <c:pt idx="12">
                  <c:v>0.5321585903083701</c:v>
                </c:pt>
                <c:pt idx="13">
                  <c:v>0.5022461814914645</c:v>
                </c:pt>
                <c:pt idx="14">
                  <c:v>0.5343511450381679</c:v>
                </c:pt>
                <c:pt idx="15">
                  <c:v>0.5362997658079626</c:v>
                </c:pt>
                <c:pt idx="16">
                  <c:v>0.5205091937765205</c:v>
                </c:pt>
                <c:pt idx="17">
                  <c:v>0.5279503105590062</c:v>
                </c:pt>
                <c:pt idx="18">
                  <c:v>0.5115864527629234</c:v>
                </c:pt>
                <c:pt idx="19">
                  <c:v>0.49056603773584906</c:v>
                </c:pt>
                <c:pt idx="20">
                  <c:v>0.4961948249619482</c:v>
                </c:pt>
                <c:pt idx="21">
                  <c:v>0.48878923766816146</c:v>
                </c:pt>
                <c:pt idx="22">
                  <c:v>0.47578947368421054</c:v>
                </c:pt>
                <c:pt idx="23">
                  <c:v>0.4711934156378601</c:v>
                </c:pt>
                <c:pt idx="24">
                  <c:v>0.5010224948875256</c:v>
                </c:pt>
                <c:pt idx="25">
                  <c:v>0.481651376146789</c:v>
                </c:pt>
                <c:pt idx="26">
                  <c:v>0.4614003590664273</c:v>
                </c:pt>
                <c:pt idx="27">
                  <c:v>0.42857142857142855</c:v>
                </c:pt>
                <c:pt idx="28">
                  <c:v>0.4523364485981308</c:v>
                </c:pt>
                <c:pt idx="29">
                  <c:v>0.4719626168224299</c:v>
                </c:pt>
                <c:pt idx="30">
                  <c:v>0.463265306122449</c:v>
                </c:pt>
                <c:pt idx="31">
                  <c:v>0.462</c:v>
                </c:pt>
                <c:pt idx="32">
                  <c:v>0.4448742746615087</c:v>
                </c:pt>
                <c:pt idx="33">
                  <c:v>0.546916890080429</c:v>
                </c:pt>
                <c:pt idx="34">
                  <c:v>0.5038335158817087</c:v>
                </c:pt>
                <c:pt idx="35">
                  <c:v>0.479020979020979</c:v>
                </c:pt>
                <c:pt idx="36">
                  <c:v>0.4762550881953867</c:v>
                </c:pt>
                <c:pt idx="37">
                  <c:v>0.4602649006622517</c:v>
                </c:pt>
                <c:pt idx="38">
                  <c:v>0.47160068846815834</c:v>
                </c:pt>
                <c:pt idx="39">
                  <c:v>0.4517304189435337</c:v>
                </c:pt>
                <c:pt idx="40">
                  <c:v>0.4428191489361702</c:v>
                </c:pt>
                <c:pt idx="41">
                  <c:v>0.4573643410852713</c:v>
                </c:pt>
                <c:pt idx="42">
                  <c:v>0.42219020172910665</c:v>
                </c:pt>
                <c:pt idx="43">
                  <c:v>0.3981358189081225</c:v>
                </c:pt>
                <c:pt idx="44">
                  <c:v>0.4144805876180483</c:v>
                </c:pt>
                <c:pt idx="45">
                  <c:v>0.43209876543209874</c:v>
                </c:pt>
                <c:pt idx="46">
                  <c:v>0.46687451286048326</c:v>
                </c:pt>
                <c:pt idx="47">
                  <c:v>0.45495495495495497</c:v>
                </c:pt>
                <c:pt idx="48">
                  <c:v>0.46772151898734177</c:v>
                </c:pt>
                <c:pt idx="49">
                  <c:v>0.489086859688196</c:v>
                </c:pt>
                <c:pt idx="50">
                  <c:v>0.4380242311276794</c:v>
                </c:pt>
                <c:pt idx="51">
                  <c:v>0.4172494172494173</c:v>
                </c:pt>
                <c:pt idx="52">
                  <c:v>0.4395491803278688</c:v>
                </c:pt>
                <c:pt idx="53">
                  <c:v>0.4176470588235294</c:v>
                </c:pt>
                <c:pt idx="54">
                  <c:v>0.423956931359354</c:v>
                </c:pt>
                <c:pt idx="55">
                  <c:v>0.40869565217391307</c:v>
                </c:pt>
                <c:pt idx="56">
                  <c:v>0.39154929577464787</c:v>
                </c:pt>
                <c:pt idx="57">
                  <c:v>0.41635220125786165</c:v>
                </c:pt>
                <c:pt idx="58">
                  <c:v>0.42681564245810055</c:v>
                </c:pt>
                <c:pt idx="59">
                  <c:v>0.43333333333333335</c:v>
                </c:pt>
                <c:pt idx="60">
                  <c:v>0.4444444444444444</c:v>
                </c:pt>
                <c:pt idx="61">
                  <c:v>0.44146341463414634</c:v>
                </c:pt>
                <c:pt idx="62">
                  <c:v>0.4774396642182581</c:v>
                </c:pt>
                <c:pt idx="63">
                  <c:v>0.4332706766917293</c:v>
                </c:pt>
                <c:pt idx="64">
                  <c:v>0.44692737430167595</c:v>
                </c:pt>
                <c:pt idx="65">
                  <c:v>0.46741344195519346</c:v>
                </c:pt>
                <c:pt idx="66">
                  <c:v>0.470076169749728</c:v>
                </c:pt>
                <c:pt idx="67">
                  <c:v>0.43884892086330934</c:v>
                </c:pt>
                <c:pt idx="68">
                  <c:v>0.4058192955589586</c:v>
                </c:pt>
                <c:pt idx="69">
                  <c:v>0.3870967741935484</c:v>
                </c:pt>
                <c:pt idx="70">
                  <c:v>0.3867924528301887</c:v>
                </c:pt>
                <c:pt idx="71">
                  <c:v>0.40117416829745595</c:v>
                </c:pt>
                <c:pt idx="72">
                  <c:v>0.30071942446043165</c:v>
                </c:pt>
                <c:pt idx="73">
                  <c:v>0.3321100917431193</c:v>
                </c:pt>
                <c:pt idx="74">
                  <c:v>0.37424547283702214</c:v>
                </c:pt>
                <c:pt idx="75">
                  <c:v>0.29333333333333333</c:v>
                </c:pt>
                <c:pt idx="76">
                  <c:v>0.33856502242152464</c:v>
                </c:pt>
                <c:pt idx="77">
                  <c:v>0.3641025641025641</c:v>
                </c:pt>
                <c:pt idx="78">
                  <c:v>0.38858695652173914</c:v>
                </c:pt>
                <c:pt idx="79">
                  <c:v>0.3569553805774278</c:v>
                </c:pt>
                <c:pt idx="80">
                  <c:v>0.3538011695906433</c:v>
                </c:pt>
                <c:pt idx="81">
                  <c:v>0.3916083916083916</c:v>
                </c:pt>
                <c:pt idx="82">
                  <c:v>0.37960339943342775</c:v>
                </c:pt>
                <c:pt idx="83">
                  <c:v>0.3522012578616352</c:v>
                </c:pt>
                <c:pt idx="84">
                  <c:v>0.37575757575757573</c:v>
                </c:pt>
                <c:pt idx="85">
                  <c:v>0.3953488372093023</c:v>
                </c:pt>
                <c:pt idx="86">
                  <c:v>0.4388984509466437</c:v>
                </c:pt>
                <c:pt idx="87">
                  <c:v>0.4369747899159664</c:v>
                </c:pt>
                <c:pt idx="88">
                  <c:v>0.3995584988962472</c:v>
                </c:pt>
                <c:pt idx="89">
                  <c:v>0.36082474226804123</c:v>
                </c:pt>
                <c:pt idx="90">
                  <c:v>0.3687002652519894</c:v>
                </c:pt>
                <c:pt idx="91">
                  <c:v>0.35802469135802467</c:v>
                </c:pt>
                <c:pt idx="92">
                  <c:v>0.41505791505791506</c:v>
                </c:pt>
                <c:pt idx="93">
                  <c:v>0.3982494529540481</c:v>
                </c:pt>
                <c:pt idx="94">
                  <c:v>0.38963963963963966</c:v>
                </c:pt>
                <c:pt idx="95">
                  <c:v>0.40476190476190477</c:v>
                </c:pt>
                <c:pt idx="96">
                  <c:v>0.41492146596858637</c:v>
                </c:pt>
                <c:pt idx="97">
                  <c:v>0.3970037453183521</c:v>
                </c:pt>
                <c:pt idx="98">
                  <c:v>0.4236760124610592</c:v>
                </c:pt>
                <c:pt idx="99">
                  <c:v>0.4484848484848485</c:v>
                </c:pt>
                <c:pt idx="100">
                  <c:v>0.459748427672956</c:v>
                </c:pt>
                <c:pt idx="101">
                  <c:v>0.4272300469483568</c:v>
                </c:pt>
                <c:pt idx="102">
                  <c:v>0.41679873217115687</c:v>
                </c:pt>
                <c:pt idx="103">
                  <c:v>0.39969135802469136</c:v>
                </c:pt>
                <c:pt idx="104">
                  <c:v>0.38387096774193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535588261190544</c:v>
                </c:pt>
                <c:pt idx="1">
                  <c:v>1.1351572602131144</c:v>
                </c:pt>
                <c:pt idx="2">
                  <c:v>1.2547600660351383</c:v>
                </c:pt>
                <c:pt idx="3">
                  <c:v>1.1413822152255138</c:v>
                </c:pt>
                <c:pt idx="4">
                  <c:v>1.1425424567041702</c:v>
                </c:pt>
                <c:pt idx="5">
                  <c:v>1.125287348063994</c:v>
                </c:pt>
                <c:pt idx="6">
                  <c:v>1.1154662098387085</c:v>
                </c:pt>
                <c:pt idx="7">
                  <c:v>1.1542472830782855</c:v>
                </c:pt>
                <c:pt idx="8">
                  <c:v>1.0910803770263973</c:v>
                </c:pt>
                <c:pt idx="9">
                  <c:v>1.0614656768989428</c:v>
                </c:pt>
                <c:pt idx="10">
                  <c:v>1.0880188360869567</c:v>
                </c:pt>
                <c:pt idx="11">
                  <c:v>1.0262160344652496</c:v>
                </c:pt>
                <c:pt idx="12">
                  <c:v>0.9502956225386349</c:v>
                </c:pt>
                <c:pt idx="13">
                  <c:v>0.9693052365282837</c:v>
                </c:pt>
                <c:pt idx="14">
                  <c:v>0.9573710390922483</c:v>
                </c:pt>
                <c:pt idx="15">
                  <c:v>0.9959806546866168</c:v>
                </c:pt>
                <c:pt idx="16">
                  <c:v>1.0311724569390166</c:v>
                </c:pt>
                <c:pt idx="17">
                  <c:v>0.9883913962385685</c:v>
                </c:pt>
                <c:pt idx="18">
                  <c:v>1.0119553869850786</c:v>
                </c:pt>
                <c:pt idx="19">
                  <c:v>0.9797883392796898</c:v>
                </c:pt>
                <c:pt idx="20">
                  <c:v>0.9403106262925263</c:v>
                </c:pt>
                <c:pt idx="21">
                  <c:v>0.9339908022253117</c:v>
                </c:pt>
                <c:pt idx="22">
                  <c:v>1.0218461271057722</c:v>
                </c:pt>
                <c:pt idx="23">
                  <c:v>1.1777611363746905</c:v>
                </c:pt>
                <c:pt idx="24">
                  <c:v>1.2227399373959853</c:v>
                </c:pt>
                <c:pt idx="25">
                  <c:v>1.220334180798255</c:v>
                </c:pt>
                <c:pt idx="26">
                  <c:v>1.172231295937284</c:v>
                </c:pt>
                <c:pt idx="27">
                  <c:v>1.1277244366226118</c:v>
                </c:pt>
                <c:pt idx="28">
                  <c:v>1.2107564191119125</c:v>
                </c:pt>
                <c:pt idx="29">
                  <c:v>1.275988843669595</c:v>
                </c:pt>
                <c:pt idx="30">
                  <c:v>1.27707545141499</c:v>
                </c:pt>
                <c:pt idx="31">
                  <c:v>1.3117403964622394</c:v>
                </c:pt>
                <c:pt idx="32">
                  <c:v>1.1986566252587991</c:v>
                </c:pt>
                <c:pt idx="33">
                  <c:v>1.2342225260304773</c:v>
                </c:pt>
                <c:pt idx="34">
                  <c:v>1.2452766849055017</c:v>
                </c:pt>
                <c:pt idx="35">
                  <c:v>1.165286452853796</c:v>
                </c:pt>
                <c:pt idx="36">
                  <c:v>1.1738465523709531</c:v>
                </c:pt>
                <c:pt idx="37">
                  <c:v>1.0729332570601937</c:v>
                </c:pt>
                <c:pt idx="38">
                  <c:v>1.0646821159675368</c:v>
                </c:pt>
                <c:pt idx="39">
                  <c:v>1.1659287223109704</c:v>
                </c:pt>
                <c:pt idx="40">
                  <c:v>1.1626248174303007</c:v>
                </c:pt>
                <c:pt idx="41">
                  <c:v>1.137207564331069</c:v>
                </c:pt>
                <c:pt idx="42">
                  <c:v>1.05078293962359</c:v>
                </c:pt>
                <c:pt idx="43">
                  <c:v>1.0465993700088982</c:v>
                </c:pt>
                <c:pt idx="44">
                  <c:v>1.0609533223797314</c:v>
                </c:pt>
                <c:pt idx="45">
                  <c:v>1.0518674698412953</c:v>
                </c:pt>
                <c:pt idx="46">
                  <c:v>1.0338105376523716</c:v>
                </c:pt>
                <c:pt idx="47">
                  <c:v>0.9857801919670204</c:v>
                </c:pt>
                <c:pt idx="48">
                  <c:v>1.02818608312929</c:v>
                </c:pt>
                <c:pt idx="49">
                  <c:v>1.0458449383627748</c:v>
                </c:pt>
                <c:pt idx="50">
                  <c:v>0.9631353855451195</c:v>
                </c:pt>
                <c:pt idx="51">
                  <c:v>0.937952816877313</c:v>
                </c:pt>
              </c:numCache>
            </c:numRef>
          </c:xVal>
          <c:yVal>
            <c:numRef>
              <c:f>Sheet1!$B$109:$B$160</c:f>
              <c:numCache>
                <c:formatCode>General</c:formatCode>
                <c:ptCount val="52"/>
                <c:pt idx="0">
                  <c:v>0.4107142857142857</c:v>
                </c:pt>
                <c:pt idx="1">
                  <c:v>0.3996710526315789</c:v>
                </c:pt>
                <c:pt idx="2">
                  <c:v>0.3857566765578635</c:v>
                </c:pt>
                <c:pt idx="3">
                  <c:v>0.38763197586727</c:v>
                </c:pt>
                <c:pt idx="4">
                  <c:v>0.4012539184952978</c:v>
                </c:pt>
                <c:pt idx="5">
                  <c:v>0.4148606811145511</c:v>
                </c:pt>
                <c:pt idx="6">
                  <c:v>0.41750358680057387</c:v>
                </c:pt>
                <c:pt idx="7">
                  <c:v>0.3848684210526316</c:v>
                </c:pt>
                <c:pt idx="8">
                  <c:v>0.41154562383612664</c:v>
                </c:pt>
                <c:pt idx="9">
                  <c:v>0.44880546075085326</c:v>
                </c:pt>
                <c:pt idx="10">
                  <c:v>0.425531914893617</c:v>
                </c:pt>
                <c:pt idx="11">
                  <c:v>0.4541176470588235</c:v>
                </c:pt>
                <c:pt idx="12">
                  <c:v>0.4770408163265306</c:v>
                </c:pt>
                <c:pt idx="13">
                  <c:v>0.4575342465753425</c:v>
                </c:pt>
                <c:pt idx="14">
                  <c:v>0.4603174603174603</c:v>
                </c:pt>
                <c:pt idx="15">
                  <c:v>0.44076655052264807</c:v>
                </c:pt>
                <c:pt idx="16">
                  <c:v>0.4054621848739496</c:v>
                </c:pt>
                <c:pt idx="17">
                  <c:v>0.41686746987951806</c:v>
                </c:pt>
                <c:pt idx="18">
                  <c:v>0.40153452685422</c:v>
                </c:pt>
                <c:pt idx="19">
                  <c:v>0.4642857142857143</c:v>
                </c:pt>
                <c:pt idx="20">
                  <c:v>0.3954154727793696</c:v>
                </c:pt>
                <c:pt idx="21">
                  <c:v>0.402555910543131</c:v>
                </c:pt>
                <c:pt idx="22">
                  <c:v>0.40924092409240925</c:v>
                </c:pt>
                <c:pt idx="23">
                  <c:v>0.4006514657980456</c:v>
                </c:pt>
                <c:pt idx="24">
                  <c:v>0.3821656050955414</c:v>
                </c:pt>
                <c:pt idx="25">
                  <c:v>0.3664383561643836</c:v>
                </c:pt>
                <c:pt idx="26">
                  <c:v>0.3968253968253968</c:v>
                </c:pt>
                <c:pt idx="27">
                  <c:v>0.3817663817663818</c:v>
                </c:pt>
                <c:pt idx="28">
                  <c:v>0.3910891089108911</c:v>
                </c:pt>
                <c:pt idx="29">
                  <c:v>0.35942028985507246</c:v>
                </c:pt>
                <c:pt idx="30">
                  <c:v>0.3693181818181818</c:v>
                </c:pt>
                <c:pt idx="31">
                  <c:v>0.3719512195121951</c:v>
                </c:pt>
                <c:pt idx="32">
                  <c:v>0.33585858585858586</c:v>
                </c:pt>
                <c:pt idx="33">
                  <c:v>0.40159045725646125</c:v>
                </c:pt>
                <c:pt idx="34">
                  <c:v>0.44136191677175285</c:v>
                </c:pt>
                <c:pt idx="35">
                  <c:v>0.4336917562724014</c:v>
                </c:pt>
                <c:pt idx="36">
                  <c:v>0.35714285714285715</c:v>
                </c:pt>
                <c:pt idx="37">
                  <c:v>0.36227544910179643</c:v>
                </c:pt>
                <c:pt idx="38">
                  <c:v>0.38368580060422963</c:v>
                </c:pt>
                <c:pt idx="39">
                  <c:v>0.4018348623853211</c:v>
                </c:pt>
                <c:pt idx="40">
                  <c:v>0.34439834024896265</c:v>
                </c:pt>
                <c:pt idx="41">
                  <c:v>0.34355828220858897</c:v>
                </c:pt>
                <c:pt idx="42">
                  <c:v>0.3347457627118644</c:v>
                </c:pt>
                <c:pt idx="43">
                  <c:v>0.3378839590443686</c:v>
                </c:pt>
                <c:pt idx="44">
                  <c:v>0.3704318936877076</c:v>
                </c:pt>
                <c:pt idx="45">
                  <c:v>0.42545871559633025</c:v>
                </c:pt>
                <c:pt idx="46">
                  <c:v>0.4031563845050215</c:v>
                </c:pt>
                <c:pt idx="47">
                  <c:v>0.40198863636363635</c:v>
                </c:pt>
                <c:pt idx="48">
                  <c:v>0.3662714097496706</c:v>
                </c:pt>
                <c:pt idx="49">
                  <c:v>0.41651865008880995</c:v>
                </c:pt>
                <c:pt idx="50">
                  <c:v>0.43915343915343913</c:v>
                </c:pt>
                <c:pt idx="51">
                  <c:v>0.388758782201405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658003977967494</c:v>
                </c:pt>
              </c:numCache>
            </c:numRef>
          </c:xVal>
          <c:yVal>
            <c:numRef>
              <c:f>Sheet1!$B$163:$B$164</c:f>
              <c:numCache>
                <c:formatCode>General</c:formatCode>
                <c:ptCount val="2"/>
                <c:pt idx="0">
                  <c:v>0.5543745578367187</c:v>
                </c:pt>
                <c:pt idx="1">
                  <c:v>0.55437455783671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658003977967494</c:v>
                </c:pt>
                <c:pt idx="1">
                  <c:v>0.06658003977967494</c:v>
                </c:pt>
              </c:numCache>
            </c:numRef>
          </c:xVal>
          <c:yVal>
            <c:numRef>
              <c:f>Sheet1!$B$167:$B$168</c:f>
              <c:numCache>
                <c:formatCode>General</c:formatCode>
                <c:ptCount val="2"/>
                <c:pt idx="0">
                  <c:v>0.55437455783671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648142563891171</c:v>
                </c:pt>
              </c:numCache>
            </c:numRef>
          </c:xVal>
          <c:yVal>
            <c:numRef>
              <c:f>Sheet1!$B$171:$B$172</c:f>
              <c:numCache>
                <c:formatCode>General</c:formatCode>
                <c:ptCount val="2"/>
                <c:pt idx="0">
                  <c:v>0.4346334904354752</c:v>
                </c:pt>
                <c:pt idx="1">
                  <c:v>0.43463349043547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648142563891171</c:v>
                </c:pt>
                <c:pt idx="1">
                  <c:v>0.8648142563891171</c:v>
                </c:pt>
              </c:numCache>
            </c:numRef>
          </c:xVal>
          <c:yVal>
            <c:numRef>
              <c:f>Sheet1!$B$175:$B$176</c:f>
              <c:numCache>
                <c:formatCode>General</c:formatCode>
                <c:ptCount val="2"/>
                <c:pt idx="0">
                  <c:v>0.43463349043547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115028452678511</c:v>
                </c:pt>
              </c:numCache>
            </c:numRef>
          </c:xVal>
          <c:yVal>
            <c:numRef>
              <c:f>Sheet1!$B$179:$B$180</c:f>
              <c:numCache>
                <c:formatCode>General</c:formatCode>
                <c:ptCount val="2"/>
                <c:pt idx="0">
                  <c:v>0.38262762445731735</c:v>
                </c:pt>
                <c:pt idx="1">
                  <c:v>0.382627624457317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115028452678511</c:v>
                </c:pt>
                <c:pt idx="1">
                  <c:v>1.2115028452678511</c:v>
                </c:pt>
              </c:numCache>
            </c:numRef>
          </c:xVal>
          <c:yVal>
            <c:numRef>
              <c:f>Sheet1!$B$183:$B$184</c:f>
              <c:numCache>
                <c:formatCode>General</c:formatCode>
                <c:ptCount val="2"/>
                <c:pt idx="0">
                  <c:v>0.382627624457317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535588261190544</c:v>
                </c:pt>
                <c:pt idx="1">
                  <c:v>1.1351572602131144</c:v>
                </c:pt>
                <c:pt idx="2">
                  <c:v>1.2547600660351383</c:v>
                </c:pt>
                <c:pt idx="3">
                  <c:v>1.1413822152255138</c:v>
                </c:pt>
                <c:pt idx="4">
                  <c:v>1.1425424567041702</c:v>
                </c:pt>
                <c:pt idx="5">
                  <c:v>1.125287348063994</c:v>
                </c:pt>
                <c:pt idx="6">
                  <c:v>1.1154662098387085</c:v>
                </c:pt>
                <c:pt idx="7">
                  <c:v>1.1542472830782855</c:v>
                </c:pt>
                <c:pt idx="8">
                  <c:v>1.0910803770263973</c:v>
                </c:pt>
                <c:pt idx="9">
                  <c:v>1.0614656768989428</c:v>
                </c:pt>
                <c:pt idx="10">
                  <c:v>1.0880188360869567</c:v>
                </c:pt>
                <c:pt idx="11">
                  <c:v>1.0262160344652496</c:v>
                </c:pt>
                <c:pt idx="12">
                  <c:v>0.9502956225386349</c:v>
                </c:pt>
                <c:pt idx="13">
                  <c:v>0.9693052365282837</c:v>
                </c:pt>
                <c:pt idx="14">
                  <c:v>0.9573710390922483</c:v>
                </c:pt>
                <c:pt idx="15">
                  <c:v>0.9959806546866168</c:v>
                </c:pt>
                <c:pt idx="16">
                  <c:v>1.0311724569390166</c:v>
                </c:pt>
                <c:pt idx="17">
                  <c:v>0.9883913962385685</c:v>
                </c:pt>
                <c:pt idx="18">
                  <c:v>1.0119553869850786</c:v>
                </c:pt>
                <c:pt idx="19">
                  <c:v>0.9797883392796898</c:v>
                </c:pt>
                <c:pt idx="20">
                  <c:v>0.9403106262925263</c:v>
                </c:pt>
                <c:pt idx="21">
                  <c:v>0.9339908022253117</c:v>
                </c:pt>
                <c:pt idx="22">
                  <c:v>1.0218461271057722</c:v>
                </c:pt>
                <c:pt idx="23">
                  <c:v>1.1777611363746905</c:v>
                </c:pt>
                <c:pt idx="24">
                  <c:v>1.2227399373959853</c:v>
                </c:pt>
                <c:pt idx="25">
                  <c:v>1.220334180798255</c:v>
                </c:pt>
                <c:pt idx="26">
                  <c:v>1.172231295937284</c:v>
                </c:pt>
                <c:pt idx="27">
                  <c:v>1.1277244366226118</c:v>
                </c:pt>
                <c:pt idx="28">
                  <c:v>1.2107564191119125</c:v>
                </c:pt>
                <c:pt idx="29">
                  <c:v>1.275988843669595</c:v>
                </c:pt>
                <c:pt idx="30">
                  <c:v>1.27707545141499</c:v>
                </c:pt>
                <c:pt idx="31">
                  <c:v>1.3117403964622394</c:v>
                </c:pt>
                <c:pt idx="32">
                  <c:v>1.1986566252587991</c:v>
                </c:pt>
                <c:pt idx="33">
                  <c:v>1.2342225260304773</c:v>
                </c:pt>
                <c:pt idx="34">
                  <c:v>1.2452766849055017</c:v>
                </c:pt>
                <c:pt idx="35">
                  <c:v>1.165286452853796</c:v>
                </c:pt>
                <c:pt idx="36">
                  <c:v>1.1738465523709531</c:v>
                </c:pt>
                <c:pt idx="37">
                  <c:v>1.0729332570601937</c:v>
                </c:pt>
                <c:pt idx="38">
                  <c:v>1.0646821159675368</c:v>
                </c:pt>
                <c:pt idx="39">
                  <c:v>1.1659287223109704</c:v>
                </c:pt>
                <c:pt idx="40">
                  <c:v>1.1626248174303007</c:v>
                </c:pt>
                <c:pt idx="41">
                  <c:v>1.137207564331069</c:v>
                </c:pt>
                <c:pt idx="42">
                  <c:v>1.05078293962359</c:v>
                </c:pt>
                <c:pt idx="43">
                  <c:v>1.0465993700088982</c:v>
                </c:pt>
                <c:pt idx="44">
                  <c:v>1.0609533223797314</c:v>
                </c:pt>
                <c:pt idx="45">
                  <c:v>1.0518674698412953</c:v>
                </c:pt>
                <c:pt idx="46">
                  <c:v>1.0338105376523716</c:v>
                </c:pt>
                <c:pt idx="47">
                  <c:v>0.9857801919670204</c:v>
                </c:pt>
                <c:pt idx="48">
                  <c:v>1.02818608312929</c:v>
                </c:pt>
                <c:pt idx="49">
                  <c:v>1.0458449383627748</c:v>
                </c:pt>
                <c:pt idx="50">
                  <c:v>0.9631353855451195</c:v>
                </c:pt>
                <c:pt idx="51">
                  <c:v>0.937952816877313</c:v>
                </c:pt>
                <c:pt idx="52">
                  <c:v>0.8648142563891171</c:v>
                </c:pt>
                <c:pt idx="53">
                  <c:v>0.06658003977967494</c:v>
                </c:pt>
                <c:pt idx="54">
                  <c:v>1.2115028452678511</c:v>
                </c:pt>
              </c:numCache>
            </c:numRef>
          </c:xVal>
          <c:yVal>
            <c:numRef>
              <c:f>Sheet1!$B$187:$B$241</c:f>
              <c:numCache>
                <c:formatCode>General</c:formatCode>
                <c:ptCount val="55"/>
                <c:pt idx="0">
                  <c:v>0.3913196581462086</c:v>
                </c:pt>
                <c:pt idx="1">
                  <c:v>0.394080029848628</c:v>
                </c:pt>
                <c:pt idx="2">
                  <c:v>0.3761387197227055</c:v>
                </c:pt>
                <c:pt idx="3">
                  <c:v>0.39314624031392786</c:v>
                </c:pt>
                <c:pt idx="4">
                  <c:v>0.3929721954656782</c:v>
                </c:pt>
                <c:pt idx="5">
                  <c:v>0.395560590054268</c:v>
                </c:pt>
                <c:pt idx="6">
                  <c:v>0.39703383380869633</c:v>
                </c:pt>
                <c:pt idx="7">
                  <c:v>0.39121638448361334</c:v>
                </c:pt>
                <c:pt idx="8">
                  <c:v>0.40069189004038386</c:v>
                </c:pt>
                <c:pt idx="9">
                  <c:v>0.4051343152462231</c:v>
                </c:pt>
                <c:pt idx="10">
                  <c:v>0.40115114394400425</c:v>
                </c:pt>
                <c:pt idx="11">
                  <c:v>0.41042202369406555</c:v>
                </c:pt>
                <c:pt idx="12">
                  <c:v>0.4218106499549752</c:v>
                </c:pt>
                <c:pt idx="13">
                  <c:v>0.41895906651913273</c:v>
                </c:pt>
                <c:pt idx="14">
                  <c:v>0.4207492848658705</c:v>
                </c:pt>
                <c:pt idx="15">
                  <c:v>0.4149575554623646</c:v>
                </c:pt>
                <c:pt idx="16">
                  <c:v>0.4096785234717608</c:v>
                </c:pt>
                <c:pt idx="17">
                  <c:v>0.4160960006560738</c:v>
                </c:pt>
                <c:pt idx="18">
                  <c:v>0.4125612268446917</c:v>
                </c:pt>
                <c:pt idx="19">
                  <c:v>0.41738652316404823</c:v>
                </c:pt>
                <c:pt idx="20">
                  <c:v>0.42330847363081925</c:v>
                </c:pt>
                <c:pt idx="21">
                  <c:v>0.4242564942290976</c:v>
                </c:pt>
                <c:pt idx="22">
                  <c:v>0.4110775422884587</c:v>
                </c:pt>
                <c:pt idx="23">
                  <c:v>0.3876891316625214</c:v>
                </c:pt>
                <c:pt idx="24">
                  <c:v>0.3809419770897763</c:v>
                </c:pt>
                <c:pt idx="25">
                  <c:v>0.3813028584663519</c:v>
                </c:pt>
                <c:pt idx="26">
                  <c:v>0.3885186488427622</c:v>
                </c:pt>
                <c:pt idx="27">
                  <c:v>0.3951950086506046</c:v>
                </c:pt>
                <c:pt idx="28">
                  <c:v>0.38273959393042256</c:v>
                </c:pt>
                <c:pt idx="29">
                  <c:v>0.3729542452405533</c:v>
                </c:pt>
                <c:pt idx="30">
                  <c:v>0.3727912459997632</c:v>
                </c:pt>
                <c:pt idx="31">
                  <c:v>0.3675912465071406</c:v>
                </c:pt>
                <c:pt idx="32">
                  <c:v>0.3845546529709393</c:v>
                </c:pt>
                <c:pt idx="33">
                  <c:v>0.37921950342100325</c:v>
                </c:pt>
                <c:pt idx="34">
                  <c:v>0.3775612974015462</c:v>
                </c:pt>
                <c:pt idx="35">
                  <c:v>0.38956042694052806</c:v>
                </c:pt>
                <c:pt idx="36">
                  <c:v>0.38827634836820246</c:v>
                </c:pt>
                <c:pt idx="37">
                  <c:v>0.40341409296002495</c:v>
                </c:pt>
                <c:pt idx="38">
                  <c:v>0.40465182547155476</c:v>
                </c:pt>
                <c:pt idx="39">
                  <c:v>0.3894640817466476</c:v>
                </c:pt>
                <c:pt idx="40">
                  <c:v>0.38995969204343983</c:v>
                </c:pt>
                <c:pt idx="41">
                  <c:v>0.39377246898682494</c:v>
                </c:pt>
                <c:pt idx="42">
                  <c:v>0.406736805264192</c:v>
                </c:pt>
                <c:pt idx="43">
                  <c:v>0.40736437181143725</c:v>
                </c:pt>
                <c:pt idx="44">
                  <c:v>0.40521117223348535</c:v>
                </c:pt>
                <c:pt idx="45">
                  <c:v>0.4065741176680018</c:v>
                </c:pt>
                <c:pt idx="46">
                  <c:v>0.4092827917505004</c:v>
                </c:pt>
                <c:pt idx="47">
                  <c:v>0.4164877007112354</c:v>
                </c:pt>
                <c:pt idx="48">
                  <c:v>0.41012650174705284</c:v>
                </c:pt>
                <c:pt idx="49">
                  <c:v>0.40747754216759136</c:v>
                </c:pt>
                <c:pt idx="50">
                  <c:v>0.41988459003974643</c:v>
                </c:pt>
                <c:pt idx="51">
                  <c:v>0.42366216257352773</c:v>
                </c:pt>
                <c:pt idx="52">
                  <c:v>0.4346334904354752</c:v>
                </c:pt>
                <c:pt idx="53">
                  <c:v>0.5543745578367187</c:v>
                </c:pt>
                <c:pt idx="54">
                  <c:v>0.382627624457317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98903775883068"/>
          <c:min val="0.23466666666666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5.1041</c:v>
                </c:pt>
                <c:pt idx="1">
                  <c:v>802.9889</c:v>
                </c:pt>
                <c:pt idx="2">
                  <c:v>819.7806</c:v>
                </c:pt>
                <c:pt idx="3">
                  <c:v>822.2399</c:v>
                </c:pt>
                <c:pt idx="4">
                  <c:v>819.4492</c:v>
                </c:pt>
                <c:pt idx="5">
                  <c:v>802.8133</c:v>
                </c:pt>
                <c:pt idx="6">
                  <c:v>780.9097</c:v>
                </c:pt>
                <c:pt idx="7">
                  <c:v>807.8644</c:v>
                </c:pt>
                <c:pt idx="8">
                  <c:v>779.8545</c:v>
                </c:pt>
                <c:pt idx="9">
                  <c:v>751.9867</c:v>
                </c:pt>
                <c:pt idx="10">
                  <c:v>752.579</c:v>
                </c:pt>
                <c:pt idx="11">
                  <c:v>803.7682</c:v>
                </c:pt>
                <c:pt idx="12">
                  <c:v>790.7252</c:v>
                </c:pt>
                <c:pt idx="13">
                  <c:v>776.8086</c:v>
                </c:pt>
                <c:pt idx="14">
                  <c:v>778.1804</c:v>
                </c:pt>
                <c:pt idx="15">
                  <c:v>806.6943</c:v>
                </c:pt>
                <c:pt idx="16">
                  <c:v>816.6712</c:v>
                </c:pt>
                <c:pt idx="17">
                  <c:v>809.1912</c:v>
                </c:pt>
                <c:pt idx="18">
                  <c:v>845.7213</c:v>
                </c:pt>
                <c:pt idx="19">
                  <c:v>860.5598</c:v>
                </c:pt>
                <c:pt idx="20">
                  <c:v>877.5951</c:v>
                </c:pt>
                <c:pt idx="21">
                  <c:v>881.8028</c:v>
                </c:pt>
                <c:pt idx="22">
                  <c:v>892.2434</c:v>
                </c:pt>
                <c:pt idx="23">
                  <c:v>888.952</c:v>
                </c:pt>
                <c:pt idx="24">
                  <c:v>890.5061</c:v>
                </c:pt>
                <c:pt idx="25">
                  <c:v>874.1619</c:v>
                </c:pt>
                <c:pt idx="26">
                  <c:v>833.3385</c:v>
                </c:pt>
                <c:pt idx="27">
                  <c:v>837.2113</c:v>
                </c:pt>
                <c:pt idx="28">
                  <c:v>860.9835</c:v>
                </c:pt>
                <c:pt idx="29">
                  <c:v>793.0495</c:v>
                </c:pt>
                <c:pt idx="30">
                  <c:v>791.3921</c:v>
                </c:pt>
                <c:pt idx="31">
                  <c:v>814.5584</c:v>
                </c:pt>
                <c:pt idx="32">
                  <c:v>796.8739</c:v>
                </c:pt>
                <c:pt idx="33">
                  <c:v>621.9436</c:v>
                </c:pt>
                <c:pt idx="34">
                  <c:v>735.9457</c:v>
                </c:pt>
                <c:pt idx="35">
                  <c:v>790.1916</c:v>
                </c:pt>
                <c:pt idx="36">
                  <c:v>786.0969</c:v>
                </c:pt>
                <c:pt idx="37">
                  <c:v>846.2626</c:v>
                </c:pt>
                <c:pt idx="38">
                  <c:v>874.719</c:v>
                </c:pt>
                <c:pt idx="39">
                  <c:v>881.3992</c:v>
                </c:pt>
                <c:pt idx="40">
                  <c:v>883.1471</c:v>
                </c:pt>
                <c:pt idx="41">
                  <c:v>909.9559</c:v>
                </c:pt>
                <c:pt idx="42">
                  <c:v>957.1877</c:v>
                </c:pt>
                <c:pt idx="43">
                  <c:v>950.7893</c:v>
                </c:pt>
                <c:pt idx="44">
                  <c:v>953.6861</c:v>
                </c:pt>
                <c:pt idx="45">
                  <c:v>941.789</c:v>
                </c:pt>
                <c:pt idx="46">
                  <c:v>917.7112</c:v>
                </c:pt>
                <c:pt idx="47">
                  <c:v>916.7208</c:v>
                </c:pt>
                <c:pt idx="48">
                  <c:v>930.2977</c:v>
                </c:pt>
                <c:pt idx="49">
                  <c:v>914.8115</c:v>
                </c:pt>
                <c:pt idx="50">
                  <c:v>949.7766</c:v>
                </c:pt>
                <c:pt idx="51">
                  <c:v>941.4832</c:v>
                </c:pt>
                <c:pt idx="52">
                  <c:v>948.0583</c:v>
                </c:pt>
                <c:pt idx="53">
                  <c:v>972.8451</c:v>
                </c:pt>
                <c:pt idx="54">
                  <c:v>976.1175</c:v>
                </c:pt>
                <c:pt idx="55">
                  <c:v>987.7624</c:v>
                </c:pt>
                <c:pt idx="56">
                  <c:v>981.2554</c:v>
                </c:pt>
                <c:pt idx="57">
                  <c:v>929.2477</c:v>
                </c:pt>
                <c:pt idx="58">
                  <c:v>909.0707</c:v>
                </c:pt>
                <c:pt idx="59">
                  <c:v>927.7957</c:v>
                </c:pt>
                <c:pt idx="60">
                  <c:v>912.6075</c:v>
                </c:pt>
                <c:pt idx="61">
                  <c:v>931.2514</c:v>
                </c:pt>
                <c:pt idx="62">
                  <c:v>892.4593</c:v>
                </c:pt>
                <c:pt idx="63">
                  <c:v>927.2863</c:v>
                </c:pt>
                <c:pt idx="64">
                  <c:v>918.9479</c:v>
                </c:pt>
                <c:pt idx="65">
                  <c:v>914.9608</c:v>
                </c:pt>
                <c:pt idx="66">
                  <c:v>917.5301</c:v>
                </c:pt>
                <c:pt idx="67">
                  <c:v>926.6967</c:v>
                </c:pt>
                <c:pt idx="68">
                  <c:v>968.5019</c:v>
                </c:pt>
                <c:pt idx="69">
                  <c:v>959.4216</c:v>
                </c:pt>
                <c:pt idx="70">
                  <c:v>957.8537</c:v>
                </c:pt>
                <c:pt idx="71">
                  <c:v>1017.0927</c:v>
                </c:pt>
                <c:pt idx="72">
                  <c:v>1106.3684</c:v>
                </c:pt>
                <c:pt idx="73">
                  <c:v>1132.8066</c:v>
                </c:pt>
                <c:pt idx="74">
                  <c:v>1083.4409</c:v>
                </c:pt>
                <c:pt idx="75">
                  <c:v>1080.2143</c:v>
                </c:pt>
                <c:pt idx="76">
                  <c:v>1050.8675</c:v>
                </c:pt>
                <c:pt idx="77">
                  <c:v>1002.9437</c:v>
                </c:pt>
                <c:pt idx="78">
                  <c:v>1046.3916</c:v>
                </c:pt>
                <c:pt idx="79">
                  <c:v>1094.3529</c:v>
                </c:pt>
                <c:pt idx="80">
                  <c:v>1138.314</c:v>
                </c:pt>
                <c:pt idx="81">
                  <c:v>1157.8095</c:v>
                </c:pt>
                <c:pt idx="82">
                  <c:v>1114.1418</c:v>
                </c:pt>
                <c:pt idx="83">
                  <c:v>1053.6607</c:v>
                </c:pt>
                <c:pt idx="84">
                  <c:v>1099.4355</c:v>
                </c:pt>
                <c:pt idx="85">
                  <c:v>1116.1046</c:v>
                </c:pt>
                <c:pt idx="86">
                  <c:v>1052.0431</c:v>
                </c:pt>
                <c:pt idx="87">
                  <c:v>1063.8109</c:v>
                </c:pt>
                <c:pt idx="88">
                  <c:v>1133.6022</c:v>
                </c:pt>
                <c:pt idx="89">
                  <c:v>1096.6</c:v>
                </c:pt>
                <c:pt idx="90">
                  <c:v>1137.5971</c:v>
                </c:pt>
                <c:pt idx="91">
                  <c:v>1156.9517</c:v>
                </c:pt>
                <c:pt idx="92">
                  <c:v>1121.8837</c:v>
                </c:pt>
                <c:pt idx="93">
                  <c:v>1114.8846</c:v>
                </c:pt>
                <c:pt idx="94">
                  <c:v>1144.948</c:v>
                </c:pt>
                <c:pt idx="95">
                  <c:v>1064.5</c:v>
                </c:pt>
                <c:pt idx="96">
                  <c:v>926.5804</c:v>
                </c:pt>
                <c:pt idx="97">
                  <c:v>990.9497</c:v>
                </c:pt>
                <c:pt idx="98">
                  <c:v>999.7966</c:v>
                </c:pt>
                <c:pt idx="99">
                  <c:v>1025.7259</c:v>
                </c:pt>
                <c:pt idx="100">
                  <c:v>1048.7551</c:v>
                </c:pt>
                <c:pt idx="101">
                  <c:v>1037.5137</c:v>
                </c:pt>
                <c:pt idx="102">
                  <c:v>1071.4867</c:v>
                </c:pt>
                <c:pt idx="103">
                  <c:v>1100.4865</c:v>
                </c:pt>
                <c:pt idx="104">
                  <c:v>1076.2815</c:v>
                </c:pt>
              </c:numCache>
            </c:numRef>
          </c:xVal>
          <c:yVal>
            <c:numRef>
              <c:f>Sheet1!$B$2:$B$106</c:f>
              <c:numCache>
                <c:formatCode>General</c:formatCode>
                <c:ptCount val="105"/>
                <c:pt idx="0">
                  <c:v>0.5498519249753209</c:v>
                </c:pt>
                <c:pt idx="1">
                  <c:v>0.562955254942768</c:v>
                </c:pt>
                <c:pt idx="2">
                  <c:v>0.5627572016460906</c:v>
                </c:pt>
                <c:pt idx="3">
                  <c:v>0.5461215932914046</c:v>
                </c:pt>
                <c:pt idx="4">
                  <c:v>0.5749086479902558</c:v>
                </c:pt>
                <c:pt idx="5">
                  <c:v>0.5625</c:v>
                </c:pt>
                <c:pt idx="6">
                  <c:v>0.5294771968854283</c:v>
                </c:pt>
                <c:pt idx="7">
                  <c:v>0.5384615384615384</c:v>
                </c:pt>
                <c:pt idx="8">
                  <c:v>0.5623376623376624</c:v>
                </c:pt>
                <c:pt idx="9">
                  <c:v>0.5526315789473685</c:v>
                </c:pt>
                <c:pt idx="10">
                  <c:v>0.5369003690036901</c:v>
                </c:pt>
                <c:pt idx="11">
                  <c:v>0.5346901017576319</c:v>
                </c:pt>
                <c:pt idx="12">
                  <c:v>0.5321585903083701</c:v>
                </c:pt>
                <c:pt idx="13">
                  <c:v>0.5022461814914645</c:v>
                </c:pt>
                <c:pt idx="14">
                  <c:v>0.5343511450381679</c:v>
                </c:pt>
                <c:pt idx="15">
                  <c:v>0.5362997658079626</c:v>
                </c:pt>
                <c:pt idx="16">
                  <c:v>0.5205091937765205</c:v>
                </c:pt>
                <c:pt idx="17">
                  <c:v>0.5279503105590062</c:v>
                </c:pt>
                <c:pt idx="18">
                  <c:v>0.5115864527629234</c:v>
                </c:pt>
                <c:pt idx="19">
                  <c:v>0.49056603773584906</c:v>
                </c:pt>
                <c:pt idx="20">
                  <c:v>0.4961948249619482</c:v>
                </c:pt>
                <c:pt idx="21">
                  <c:v>0.48878923766816146</c:v>
                </c:pt>
                <c:pt idx="22">
                  <c:v>0.47578947368421054</c:v>
                </c:pt>
                <c:pt idx="23">
                  <c:v>0.4711934156378601</c:v>
                </c:pt>
                <c:pt idx="24">
                  <c:v>0.5010224948875256</c:v>
                </c:pt>
                <c:pt idx="25">
                  <c:v>0.481651376146789</c:v>
                </c:pt>
                <c:pt idx="26">
                  <c:v>0.4614003590664273</c:v>
                </c:pt>
                <c:pt idx="27">
                  <c:v>0.42857142857142855</c:v>
                </c:pt>
                <c:pt idx="28">
                  <c:v>0.4523364485981308</c:v>
                </c:pt>
                <c:pt idx="29">
                  <c:v>0.4719626168224299</c:v>
                </c:pt>
                <c:pt idx="30">
                  <c:v>0.463265306122449</c:v>
                </c:pt>
                <c:pt idx="31">
                  <c:v>0.462</c:v>
                </c:pt>
                <c:pt idx="32">
                  <c:v>0.4448742746615087</c:v>
                </c:pt>
                <c:pt idx="33">
                  <c:v>0.546916890080429</c:v>
                </c:pt>
                <c:pt idx="34">
                  <c:v>0.5038335158817087</c:v>
                </c:pt>
                <c:pt idx="35">
                  <c:v>0.479020979020979</c:v>
                </c:pt>
                <c:pt idx="36">
                  <c:v>0.4762550881953867</c:v>
                </c:pt>
                <c:pt idx="37">
                  <c:v>0.4602649006622517</c:v>
                </c:pt>
                <c:pt idx="38">
                  <c:v>0.47160068846815834</c:v>
                </c:pt>
                <c:pt idx="39">
                  <c:v>0.4517304189435337</c:v>
                </c:pt>
                <c:pt idx="40">
                  <c:v>0.4428191489361702</c:v>
                </c:pt>
                <c:pt idx="41">
                  <c:v>0.4573643410852713</c:v>
                </c:pt>
                <c:pt idx="42">
                  <c:v>0.42219020172910665</c:v>
                </c:pt>
                <c:pt idx="43">
                  <c:v>0.3981358189081225</c:v>
                </c:pt>
                <c:pt idx="44">
                  <c:v>0.4144805876180483</c:v>
                </c:pt>
                <c:pt idx="45">
                  <c:v>0.43209876543209874</c:v>
                </c:pt>
                <c:pt idx="46">
                  <c:v>0.46687451286048326</c:v>
                </c:pt>
                <c:pt idx="47">
                  <c:v>0.45495495495495497</c:v>
                </c:pt>
                <c:pt idx="48">
                  <c:v>0.46772151898734177</c:v>
                </c:pt>
                <c:pt idx="49">
                  <c:v>0.489086859688196</c:v>
                </c:pt>
                <c:pt idx="50">
                  <c:v>0.4380242311276794</c:v>
                </c:pt>
                <c:pt idx="51">
                  <c:v>0.4172494172494173</c:v>
                </c:pt>
                <c:pt idx="52">
                  <c:v>0.4395491803278688</c:v>
                </c:pt>
                <c:pt idx="53">
                  <c:v>0.4176470588235294</c:v>
                </c:pt>
                <c:pt idx="54">
                  <c:v>0.423956931359354</c:v>
                </c:pt>
                <c:pt idx="55">
                  <c:v>0.40869565217391307</c:v>
                </c:pt>
                <c:pt idx="56">
                  <c:v>0.39154929577464787</c:v>
                </c:pt>
                <c:pt idx="57">
                  <c:v>0.41635220125786165</c:v>
                </c:pt>
                <c:pt idx="58">
                  <c:v>0.42681564245810055</c:v>
                </c:pt>
                <c:pt idx="59">
                  <c:v>0.43333333333333335</c:v>
                </c:pt>
                <c:pt idx="60">
                  <c:v>0.4444444444444444</c:v>
                </c:pt>
                <c:pt idx="61">
                  <c:v>0.44146341463414634</c:v>
                </c:pt>
                <c:pt idx="62">
                  <c:v>0.4774396642182581</c:v>
                </c:pt>
                <c:pt idx="63">
                  <c:v>0.4332706766917293</c:v>
                </c:pt>
                <c:pt idx="64">
                  <c:v>0.44692737430167595</c:v>
                </c:pt>
                <c:pt idx="65">
                  <c:v>0.46741344195519346</c:v>
                </c:pt>
                <c:pt idx="66">
                  <c:v>0.470076169749728</c:v>
                </c:pt>
                <c:pt idx="67">
                  <c:v>0.43884892086330934</c:v>
                </c:pt>
                <c:pt idx="68">
                  <c:v>0.4058192955589586</c:v>
                </c:pt>
                <c:pt idx="69">
                  <c:v>0.3870967741935484</c:v>
                </c:pt>
                <c:pt idx="70">
                  <c:v>0.3867924528301887</c:v>
                </c:pt>
                <c:pt idx="71">
                  <c:v>0.40117416829745595</c:v>
                </c:pt>
                <c:pt idx="72">
                  <c:v>0.30071942446043165</c:v>
                </c:pt>
                <c:pt idx="73">
                  <c:v>0.3321100917431193</c:v>
                </c:pt>
                <c:pt idx="74">
                  <c:v>0.37424547283702214</c:v>
                </c:pt>
                <c:pt idx="75">
                  <c:v>0.29333333333333333</c:v>
                </c:pt>
                <c:pt idx="76">
                  <c:v>0.33856502242152464</c:v>
                </c:pt>
                <c:pt idx="77">
                  <c:v>0.3641025641025641</c:v>
                </c:pt>
                <c:pt idx="78">
                  <c:v>0.38858695652173914</c:v>
                </c:pt>
                <c:pt idx="79">
                  <c:v>0.3569553805774278</c:v>
                </c:pt>
                <c:pt idx="80">
                  <c:v>0.3538011695906433</c:v>
                </c:pt>
                <c:pt idx="81">
                  <c:v>0.3916083916083916</c:v>
                </c:pt>
                <c:pt idx="82">
                  <c:v>0.37960339943342775</c:v>
                </c:pt>
                <c:pt idx="83">
                  <c:v>0.3522012578616352</c:v>
                </c:pt>
                <c:pt idx="84">
                  <c:v>0.37575757575757573</c:v>
                </c:pt>
                <c:pt idx="85">
                  <c:v>0.3953488372093023</c:v>
                </c:pt>
                <c:pt idx="86">
                  <c:v>0.4388984509466437</c:v>
                </c:pt>
                <c:pt idx="87">
                  <c:v>0.4369747899159664</c:v>
                </c:pt>
                <c:pt idx="88">
                  <c:v>0.3995584988962472</c:v>
                </c:pt>
                <c:pt idx="89">
                  <c:v>0.36082474226804123</c:v>
                </c:pt>
                <c:pt idx="90">
                  <c:v>0.3687002652519894</c:v>
                </c:pt>
                <c:pt idx="91">
                  <c:v>0.35802469135802467</c:v>
                </c:pt>
                <c:pt idx="92">
                  <c:v>0.41505791505791506</c:v>
                </c:pt>
                <c:pt idx="93">
                  <c:v>0.3982494529540481</c:v>
                </c:pt>
                <c:pt idx="94">
                  <c:v>0.38963963963963966</c:v>
                </c:pt>
                <c:pt idx="95">
                  <c:v>0.40476190476190477</c:v>
                </c:pt>
                <c:pt idx="96">
                  <c:v>0.41492146596858637</c:v>
                </c:pt>
                <c:pt idx="97">
                  <c:v>0.3970037453183521</c:v>
                </c:pt>
                <c:pt idx="98">
                  <c:v>0.4236760124610592</c:v>
                </c:pt>
                <c:pt idx="99">
                  <c:v>0.4484848484848485</c:v>
                </c:pt>
                <c:pt idx="100">
                  <c:v>0.459748427672956</c:v>
                </c:pt>
                <c:pt idx="101">
                  <c:v>0.4272300469483568</c:v>
                </c:pt>
                <c:pt idx="102">
                  <c:v>0.41679873217115687</c:v>
                </c:pt>
                <c:pt idx="103">
                  <c:v>0.39969135802469136</c:v>
                </c:pt>
                <c:pt idx="104">
                  <c:v>0.38387096774193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4.1087</c:v>
                </c:pt>
                <c:pt idx="1">
                  <c:v>1105.8601</c:v>
                </c:pt>
                <c:pt idx="2">
                  <c:v>1136.2077</c:v>
                </c:pt>
                <c:pt idx="3">
                  <c:v>1134.4514</c:v>
                </c:pt>
                <c:pt idx="4">
                  <c:v>1024.5938</c:v>
                </c:pt>
                <c:pt idx="5">
                  <c:v>1127.7425</c:v>
                </c:pt>
                <c:pt idx="6">
                  <c:v>1076.2646</c:v>
                </c:pt>
                <c:pt idx="7">
                  <c:v>1089.3974</c:v>
                </c:pt>
                <c:pt idx="8">
                  <c:v>1130.1991</c:v>
                </c:pt>
                <c:pt idx="9">
                  <c:v>1114.2357</c:v>
                </c:pt>
                <c:pt idx="10">
                  <c:v>1110.6567</c:v>
                </c:pt>
                <c:pt idx="11">
                  <c:v>994.3549</c:v>
                </c:pt>
                <c:pt idx="12">
                  <c:v>982.5134</c:v>
                </c:pt>
                <c:pt idx="13">
                  <c:v>1007.5389</c:v>
                </c:pt>
                <c:pt idx="14">
                  <c:v>998.4862</c:v>
                </c:pt>
                <c:pt idx="15">
                  <c:v>1037.4506</c:v>
                </c:pt>
                <c:pt idx="16">
                  <c:v>1100.3731</c:v>
                </c:pt>
                <c:pt idx="17">
                  <c:v>1085.1561</c:v>
                </c:pt>
                <c:pt idx="18">
                  <c:v>1104.2611</c:v>
                </c:pt>
                <c:pt idx="19">
                  <c:v>1031.8248</c:v>
                </c:pt>
                <c:pt idx="20">
                  <c:v>1083.6087</c:v>
                </c:pt>
                <c:pt idx="21">
                  <c:v>1036.2698</c:v>
                </c:pt>
                <c:pt idx="22">
                  <c:v>1079.3871</c:v>
                </c:pt>
                <c:pt idx="23">
                  <c:v>1172.0</c:v>
                </c:pt>
                <c:pt idx="24">
                  <c:v>1200.0833</c:v>
                </c:pt>
                <c:pt idx="25">
                  <c:v>1171.9533</c:v>
                </c:pt>
                <c:pt idx="26">
                  <c:v>1143.832</c:v>
                </c:pt>
                <c:pt idx="27">
                  <c:v>1108.8134</c:v>
                </c:pt>
                <c:pt idx="28">
                  <c:v>1216.1392</c:v>
                </c:pt>
                <c:pt idx="29">
                  <c:v>1237.4758</c:v>
                </c:pt>
                <c:pt idx="30">
                  <c:v>1206.3846</c:v>
                </c:pt>
                <c:pt idx="31">
                  <c:v>1157.2869</c:v>
                </c:pt>
                <c:pt idx="32">
                  <c:v>1157.9023</c:v>
                </c:pt>
                <c:pt idx="33">
                  <c:v>1233.7376</c:v>
                </c:pt>
                <c:pt idx="34">
                  <c:v>1247.1314</c:v>
                </c:pt>
                <c:pt idx="35">
                  <c:v>1237.7562</c:v>
                </c:pt>
                <c:pt idx="36">
                  <c:v>1194.9583</c:v>
                </c:pt>
                <c:pt idx="37">
                  <c:v>1115.7934</c:v>
                </c:pt>
                <c:pt idx="38">
                  <c:v>1088.8504</c:v>
                </c:pt>
                <c:pt idx="39">
                  <c:v>1121.3562</c:v>
                </c:pt>
                <c:pt idx="40">
                  <c:v>1130.8976</c:v>
                </c:pt>
                <c:pt idx="41">
                  <c:v>1160.2798</c:v>
                </c:pt>
                <c:pt idx="42">
                  <c:v>1179.4304</c:v>
                </c:pt>
                <c:pt idx="43">
                  <c:v>1178.0556</c:v>
                </c:pt>
                <c:pt idx="44">
                  <c:v>1182.13</c:v>
                </c:pt>
                <c:pt idx="45">
                  <c:v>1160.4609</c:v>
                </c:pt>
                <c:pt idx="46">
                  <c:v>1163.4235</c:v>
                </c:pt>
                <c:pt idx="47">
                  <c:v>1143.2085</c:v>
                </c:pt>
                <c:pt idx="48">
                  <c:v>1148.2338</c:v>
                </c:pt>
                <c:pt idx="49">
                  <c:v>1162.435</c:v>
                </c:pt>
                <c:pt idx="50">
                  <c:v>1080.2304</c:v>
                </c:pt>
                <c:pt idx="51">
                  <c:v>1033.4729</c:v>
                </c:pt>
              </c:numCache>
            </c:numRef>
          </c:xVal>
          <c:yVal>
            <c:numRef>
              <c:f>Sheet1!$B$109:$B$160</c:f>
              <c:numCache>
                <c:formatCode>General</c:formatCode>
                <c:ptCount val="52"/>
                <c:pt idx="0">
                  <c:v>0.4107142857142857</c:v>
                </c:pt>
                <c:pt idx="1">
                  <c:v>0.3996710526315789</c:v>
                </c:pt>
                <c:pt idx="2">
                  <c:v>0.3857566765578635</c:v>
                </c:pt>
                <c:pt idx="3">
                  <c:v>0.38763197586727</c:v>
                </c:pt>
                <c:pt idx="4">
                  <c:v>0.4012539184952978</c:v>
                </c:pt>
                <c:pt idx="5">
                  <c:v>0.4148606811145511</c:v>
                </c:pt>
                <c:pt idx="6">
                  <c:v>0.41750358680057387</c:v>
                </c:pt>
                <c:pt idx="7">
                  <c:v>0.3848684210526316</c:v>
                </c:pt>
                <c:pt idx="8">
                  <c:v>0.41154562383612664</c:v>
                </c:pt>
                <c:pt idx="9">
                  <c:v>0.44880546075085326</c:v>
                </c:pt>
                <c:pt idx="10">
                  <c:v>0.425531914893617</c:v>
                </c:pt>
                <c:pt idx="11">
                  <c:v>0.4541176470588235</c:v>
                </c:pt>
                <c:pt idx="12">
                  <c:v>0.4770408163265306</c:v>
                </c:pt>
                <c:pt idx="13">
                  <c:v>0.4575342465753425</c:v>
                </c:pt>
                <c:pt idx="14">
                  <c:v>0.4603174603174603</c:v>
                </c:pt>
                <c:pt idx="15">
                  <c:v>0.44076655052264807</c:v>
                </c:pt>
                <c:pt idx="16">
                  <c:v>0.4054621848739496</c:v>
                </c:pt>
                <c:pt idx="17">
                  <c:v>0.41686746987951806</c:v>
                </c:pt>
                <c:pt idx="18">
                  <c:v>0.40153452685422</c:v>
                </c:pt>
                <c:pt idx="19">
                  <c:v>0.4642857142857143</c:v>
                </c:pt>
                <c:pt idx="20">
                  <c:v>0.3954154727793696</c:v>
                </c:pt>
                <c:pt idx="21">
                  <c:v>0.402555910543131</c:v>
                </c:pt>
                <c:pt idx="22">
                  <c:v>0.40924092409240925</c:v>
                </c:pt>
                <c:pt idx="23">
                  <c:v>0.4006514657980456</c:v>
                </c:pt>
                <c:pt idx="24">
                  <c:v>0.3821656050955414</c:v>
                </c:pt>
                <c:pt idx="25">
                  <c:v>0.3664383561643836</c:v>
                </c:pt>
                <c:pt idx="26">
                  <c:v>0.3968253968253968</c:v>
                </c:pt>
                <c:pt idx="27">
                  <c:v>0.3817663817663818</c:v>
                </c:pt>
                <c:pt idx="28">
                  <c:v>0.3910891089108911</c:v>
                </c:pt>
                <c:pt idx="29">
                  <c:v>0.35942028985507246</c:v>
                </c:pt>
                <c:pt idx="30">
                  <c:v>0.3693181818181818</c:v>
                </c:pt>
                <c:pt idx="31">
                  <c:v>0.3719512195121951</c:v>
                </c:pt>
                <c:pt idx="32">
                  <c:v>0.33585858585858586</c:v>
                </c:pt>
                <c:pt idx="33">
                  <c:v>0.40159045725646125</c:v>
                </c:pt>
                <c:pt idx="34">
                  <c:v>0.44136191677175285</c:v>
                </c:pt>
                <c:pt idx="35">
                  <c:v>0.4336917562724014</c:v>
                </c:pt>
                <c:pt idx="36">
                  <c:v>0.35714285714285715</c:v>
                </c:pt>
                <c:pt idx="37">
                  <c:v>0.36227544910179643</c:v>
                </c:pt>
                <c:pt idx="38">
                  <c:v>0.38368580060422963</c:v>
                </c:pt>
                <c:pt idx="39">
                  <c:v>0.4018348623853211</c:v>
                </c:pt>
                <c:pt idx="40">
                  <c:v>0.34439834024896265</c:v>
                </c:pt>
                <c:pt idx="41">
                  <c:v>0.34355828220858897</c:v>
                </c:pt>
                <c:pt idx="42">
                  <c:v>0.3347457627118644</c:v>
                </c:pt>
                <c:pt idx="43">
                  <c:v>0.3378839590443686</c:v>
                </c:pt>
                <c:pt idx="44">
                  <c:v>0.3704318936877076</c:v>
                </c:pt>
                <c:pt idx="45">
                  <c:v>0.42545871559633025</c:v>
                </c:pt>
                <c:pt idx="46">
                  <c:v>0.4031563845050215</c:v>
                </c:pt>
                <c:pt idx="47">
                  <c:v>0.40198863636363635</c:v>
                </c:pt>
                <c:pt idx="48">
                  <c:v>0.3662714097496706</c:v>
                </c:pt>
                <c:pt idx="49">
                  <c:v>0.41651865008880995</c:v>
                </c:pt>
                <c:pt idx="50">
                  <c:v>0.43915343915343913</c:v>
                </c:pt>
                <c:pt idx="51">
                  <c:v>0.388758782201405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65.2162856600878</c:v>
                </c:pt>
              </c:numCache>
            </c:numRef>
          </c:xVal>
          <c:yVal>
            <c:numRef>
              <c:f>Sheet1!$B$163:$B$164</c:f>
              <c:numCache>
                <c:formatCode>General</c:formatCode>
                <c:ptCount val="2"/>
                <c:pt idx="0">
                  <c:v>0.5543745578367187</c:v>
                </c:pt>
                <c:pt idx="1">
                  <c:v>0.55437455783671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65.2162856600878</c:v>
                </c:pt>
                <c:pt idx="1">
                  <c:v>565.2162856600878</c:v>
                </c:pt>
              </c:numCache>
            </c:numRef>
          </c:xVal>
          <c:yVal>
            <c:numRef>
              <c:f>Sheet1!$B$167:$B$168</c:f>
              <c:numCache>
                <c:formatCode>General</c:formatCode>
                <c:ptCount val="2"/>
                <c:pt idx="0">
                  <c:v>0.55437455783671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7.7147916693226</c:v>
                </c:pt>
              </c:numCache>
            </c:numRef>
          </c:xVal>
          <c:yVal>
            <c:numRef>
              <c:f>Sheet1!$B$171:$B$172</c:f>
              <c:numCache>
                <c:formatCode>General</c:formatCode>
                <c:ptCount val="2"/>
                <c:pt idx="0">
                  <c:v>0.4346334904354752</c:v>
                </c:pt>
                <c:pt idx="1">
                  <c:v>0.43463349043547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7.7147916693226</c:v>
                </c:pt>
                <c:pt idx="1">
                  <c:v>997.7147916693226</c:v>
                </c:pt>
              </c:numCache>
            </c:numRef>
          </c:xVal>
          <c:yVal>
            <c:numRef>
              <c:f>Sheet1!$B$175:$B$176</c:f>
              <c:numCache>
                <c:formatCode>General</c:formatCode>
                <c:ptCount val="2"/>
                <c:pt idx="0">
                  <c:v>0.43463349043547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5.5572740141574</c:v>
                </c:pt>
              </c:numCache>
            </c:numRef>
          </c:xVal>
          <c:yVal>
            <c:numRef>
              <c:f>Sheet1!$B$179:$B$180</c:f>
              <c:numCache>
                <c:formatCode>General</c:formatCode>
                <c:ptCount val="2"/>
                <c:pt idx="0">
                  <c:v>0.38262762445731735</c:v>
                </c:pt>
                <c:pt idx="1">
                  <c:v>0.382627624457317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5.5572740141574</c:v>
                </c:pt>
                <c:pt idx="1">
                  <c:v>1185.5572740141574</c:v>
                </c:pt>
              </c:numCache>
            </c:numRef>
          </c:xVal>
          <c:yVal>
            <c:numRef>
              <c:f>Sheet1!$B$183:$B$184</c:f>
              <c:numCache>
                <c:formatCode>General</c:formatCode>
                <c:ptCount val="2"/>
                <c:pt idx="0">
                  <c:v>0.382627624457317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4.1087</c:v>
                </c:pt>
                <c:pt idx="1">
                  <c:v>1105.8601</c:v>
                </c:pt>
                <c:pt idx="2">
                  <c:v>1136.2077</c:v>
                </c:pt>
                <c:pt idx="3">
                  <c:v>1134.4514</c:v>
                </c:pt>
                <c:pt idx="4">
                  <c:v>1024.5938</c:v>
                </c:pt>
                <c:pt idx="5">
                  <c:v>1127.7425</c:v>
                </c:pt>
                <c:pt idx="6">
                  <c:v>1076.2646</c:v>
                </c:pt>
                <c:pt idx="7">
                  <c:v>1089.3974</c:v>
                </c:pt>
                <c:pt idx="8">
                  <c:v>1130.1991</c:v>
                </c:pt>
                <c:pt idx="9">
                  <c:v>1114.2357</c:v>
                </c:pt>
                <c:pt idx="10">
                  <c:v>1110.6567</c:v>
                </c:pt>
                <c:pt idx="11">
                  <c:v>994.3549</c:v>
                </c:pt>
                <c:pt idx="12">
                  <c:v>982.5134</c:v>
                </c:pt>
                <c:pt idx="13">
                  <c:v>1007.5389</c:v>
                </c:pt>
                <c:pt idx="14">
                  <c:v>998.4862</c:v>
                </c:pt>
                <c:pt idx="15">
                  <c:v>1037.4506</c:v>
                </c:pt>
                <c:pt idx="16">
                  <c:v>1100.3731</c:v>
                </c:pt>
                <c:pt idx="17">
                  <c:v>1085.1561</c:v>
                </c:pt>
                <c:pt idx="18">
                  <c:v>1104.2611</c:v>
                </c:pt>
                <c:pt idx="19">
                  <c:v>1031.8248</c:v>
                </c:pt>
                <c:pt idx="20">
                  <c:v>1083.6087</c:v>
                </c:pt>
                <c:pt idx="21">
                  <c:v>1036.2698</c:v>
                </c:pt>
                <c:pt idx="22">
                  <c:v>1079.3871</c:v>
                </c:pt>
                <c:pt idx="23">
                  <c:v>1172.0</c:v>
                </c:pt>
                <c:pt idx="24">
                  <c:v>1200.0833</c:v>
                </c:pt>
                <c:pt idx="25">
                  <c:v>1171.9533</c:v>
                </c:pt>
                <c:pt idx="26">
                  <c:v>1143.832</c:v>
                </c:pt>
                <c:pt idx="27">
                  <c:v>1108.8134</c:v>
                </c:pt>
                <c:pt idx="28">
                  <c:v>1216.1392</c:v>
                </c:pt>
                <c:pt idx="29">
                  <c:v>1237.4758</c:v>
                </c:pt>
                <c:pt idx="30">
                  <c:v>1206.3846</c:v>
                </c:pt>
                <c:pt idx="31">
                  <c:v>1157.2869</c:v>
                </c:pt>
                <c:pt idx="32">
                  <c:v>1157.9023</c:v>
                </c:pt>
                <c:pt idx="33">
                  <c:v>1233.7376</c:v>
                </c:pt>
                <c:pt idx="34">
                  <c:v>1247.1314</c:v>
                </c:pt>
                <c:pt idx="35">
                  <c:v>1237.7562</c:v>
                </c:pt>
                <c:pt idx="36">
                  <c:v>1194.9583</c:v>
                </c:pt>
                <c:pt idx="37">
                  <c:v>1115.7934</c:v>
                </c:pt>
                <c:pt idx="38">
                  <c:v>1088.8504</c:v>
                </c:pt>
                <c:pt idx="39">
                  <c:v>1121.3562</c:v>
                </c:pt>
                <c:pt idx="40">
                  <c:v>1130.8976</c:v>
                </c:pt>
                <c:pt idx="41">
                  <c:v>1160.2798</c:v>
                </c:pt>
                <c:pt idx="42">
                  <c:v>1179.4304</c:v>
                </c:pt>
                <c:pt idx="43">
                  <c:v>1178.0556</c:v>
                </c:pt>
                <c:pt idx="44">
                  <c:v>1182.13</c:v>
                </c:pt>
                <c:pt idx="45">
                  <c:v>1160.4609</c:v>
                </c:pt>
                <c:pt idx="46">
                  <c:v>1163.4235</c:v>
                </c:pt>
                <c:pt idx="47">
                  <c:v>1143.2085</c:v>
                </c:pt>
                <c:pt idx="48">
                  <c:v>1148.2338</c:v>
                </c:pt>
                <c:pt idx="49">
                  <c:v>1162.435</c:v>
                </c:pt>
                <c:pt idx="50">
                  <c:v>1080.2304</c:v>
                </c:pt>
                <c:pt idx="51">
                  <c:v>1033.4729</c:v>
                </c:pt>
                <c:pt idx="52">
                  <c:v>997.7147916693226</c:v>
                </c:pt>
                <c:pt idx="53">
                  <c:v>565.2162856600878</c:v>
                </c:pt>
                <c:pt idx="54">
                  <c:v>1185.5572740141574</c:v>
                </c:pt>
              </c:numCache>
            </c:numRef>
          </c:xVal>
          <c:yVal>
            <c:numRef>
              <c:f>Sheet1!$B$187:$B$241</c:f>
              <c:numCache>
                <c:formatCode>General</c:formatCode>
                <c:ptCount val="55"/>
                <c:pt idx="0">
                  <c:v>0.3996402100281503</c:v>
                </c:pt>
                <c:pt idx="1">
                  <c:v>0.40469249763658816</c:v>
                </c:pt>
                <c:pt idx="2">
                  <c:v>0.3962904940074973</c:v>
                </c:pt>
                <c:pt idx="3">
                  <c:v>0.396776741321083</c:v>
                </c:pt>
                <c:pt idx="4">
                  <c:v>0.42719179733484397</c:v>
                </c:pt>
                <c:pt idx="5">
                  <c:v>0.39863416010040015</c:v>
                </c:pt>
                <c:pt idx="6">
                  <c:v>0.412886275675206</c:v>
                </c:pt>
                <c:pt idx="7">
                  <c:v>0.4092503429075366</c:v>
                </c:pt>
                <c:pt idx="8">
                  <c:v>0.397954028488173</c:v>
                </c:pt>
                <c:pt idx="9">
                  <c:v>0.402373638102529</c:v>
                </c:pt>
                <c:pt idx="10">
                  <c:v>0.4033645161617006</c:v>
                </c:pt>
                <c:pt idx="11">
                  <c:v>0.4355637063998019</c:v>
                </c:pt>
                <c:pt idx="12">
                  <c:v>0.43884213124967075</c:v>
                </c:pt>
                <c:pt idx="13">
                  <c:v>0.4319135984556503</c:v>
                </c:pt>
                <c:pt idx="14">
                  <c:v>0.4344199191615075</c:v>
                </c:pt>
                <c:pt idx="15">
                  <c:v>0.4236322776278986</c:v>
                </c:pt>
                <c:pt idx="16">
                  <c:v>0.4062116225068521</c:v>
                </c:pt>
                <c:pt idx="17">
                  <c:v>0.41042458462655435</c:v>
                </c:pt>
                <c:pt idx="18">
                  <c:v>0.4051351950427395</c:v>
                </c:pt>
                <c:pt idx="19">
                  <c:v>0.42518983051565706</c:v>
                </c:pt>
                <c:pt idx="20">
                  <c:v>0.4108529961126572</c:v>
                </c:pt>
                <c:pt idx="21">
                  <c:v>0.423959192635518</c:v>
                </c:pt>
                <c:pt idx="22">
                  <c:v>0.41202178371103637</c:v>
                </c:pt>
                <c:pt idx="23">
                  <c:v>0.38638107664027516</c:v>
                </c:pt>
                <c:pt idx="24">
                  <c:v>0.3786059646539287</c:v>
                </c:pt>
                <c:pt idx="25">
                  <c:v>0.3863940059516368</c:v>
                </c:pt>
                <c:pt idx="26">
                  <c:v>0.39417963857677857</c:v>
                </c:pt>
                <c:pt idx="27">
                  <c:v>0.4038748502009493</c:v>
                </c:pt>
                <c:pt idx="28">
                  <c:v>0.3741607455898735</c:v>
                </c:pt>
                <c:pt idx="29">
                  <c:v>0.36825351764985653</c:v>
                </c:pt>
                <c:pt idx="30">
                  <c:v>0.37686139356863724</c:v>
                </c:pt>
                <c:pt idx="31">
                  <c:v>0.39045452955237286</c:v>
                </c:pt>
                <c:pt idx="32">
                  <c:v>0.39028415057567156</c:v>
                </c:pt>
                <c:pt idx="33">
                  <c:v>0.3692884716484023</c:v>
                </c:pt>
                <c:pt idx="34">
                  <c:v>0.3655802787037438</c:v>
                </c:pt>
                <c:pt idx="35">
                  <c:v>0.3681758864099035</c:v>
                </c:pt>
                <c:pt idx="36">
                  <c:v>0.38002486659672124</c:v>
                </c:pt>
                <c:pt idx="37">
                  <c:v>0.4019423749695948</c:v>
                </c:pt>
                <c:pt idx="38">
                  <c:v>0.40940178473440636</c:v>
                </c:pt>
                <c:pt idx="39">
                  <c:v>0.4004022641935233</c:v>
                </c:pt>
                <c:pt idx="40">
                  <c:v>0.39776064253557974</c:v>
                </c:pt>
                <c:pt idx="41">
                  <c:v>0.3896259185036736</c:v>
                </c:pt>
                <c:pt idx="42">
                  <c:v>0.3843239041533043</c:v>
                </c:pt>
                <c:pt idx="43">
                  <c:v>0.3847045297905631</c:v>
                </c:pt>
                <c:pt idx="44">
                  <c:v>0.3835764958245701</c:v>
                </c:pt>
                <c:pt idx="45">
                  <c:v>0.38957577935404636</c:v>
                </c:pt>
                <c:pt idx="46">
                  <c:v>0.38875555713049176</c:v>
                </c:pt>
                <c:pt idx="47">
                  <c:v>0.3943522601106969</c:v>
                </c:pt>
                <c:pt idx="48">
                  <c:v>0.39296096100179634</c:v>
                </c:pt>
                <c:pt idx="49">
                  <c:v>0.38902923216862845</c:v>
                </c:pt>
                <c:pt idx="50">
                  <c:v>0.4117883085874545</c:v>
                </c:pt>
                <c:pt idx="51">
                  <c:v>0.4247335393367466</c:v>
                </c:pt>
                <c:pt idx="52">
                  <c:v>0.4346334904354752</c:v>
                </c:pt>
                <c:pt idx="53">
                  <c:v>0.5543745578367187</c:v>
                </c:pt>
                <c:pt idx="54">
                  <c:v>0.382627624457317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97.0"/>
          <c:min val="4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98903775883068"/>
          <c:min val="0.23466666666666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870397349067587</c:v>
                </c:pt>
                <c:pt idx="1">
                  <c:v>0.6630128923327997</c:v>
                </c:pt>
                <c:pt idx="2">
                  <c:v>0.669081051650471</c:v>
                </c:pt>
                <c:pt idx="3">
                  <c:v>0.6770551923945796</c:v>
                </c:pt>
                <c:pt idx="4">
                  <c:v>0.6744683913281441</c:v>
                </c:pt>
                <c:pt idx="5">
                  <c:v>0.6877160727824109</c:v>
                </c:pt>
                <c:pt idx="6">
                  <c:v>0.6819690205360672</c:v>
                </c:pt>
                <c:pt idx="7">
                  <c:v>0.6760392020896584</c:v>
                </c:pt>
                <c:pt idx="8">
                  <c:v>0.6652966000644792</c:v>
                </c:pt>
                <c:pt idx="9">
                  <c:v>0.6689057504759877</c:v>
                </c:pt>
                <c:pt idx="10">
                  <c:v>0.6838654095039555</c:v>
                </c:pt>
                <c:pt idx="11">
                  <c:v>0.6987193450730385</c:v>
                </c:pt>
                <c:pt idx="12">
                  <c:v>0.7040697702096058</c:v>
                </c:pt>
                <c:pt idx="13">
                  <c:v>0.6887320619136537</c:v>
                </c:pt>
                <c:pt idx="14">
                  <c:v>0.6610316279077619</c:v>
                </c:pt>
                <c:pt idx="15">
                  <c:v>0.689177280751531</c:v>
                </c:pt>
                <c:pt idx="16">
                  <c:v>0.6922710605921715</c:v>
                </c:pt>
                <c:pt idx="17">
                  <c:v>0.6425843017804377</c:v>
                </c:pt>
                <c:pt idx="18">
                  <c:v>0.7169220952772984</c:v>
                </c:pt>
                <c:pt idx="19">
                  <c:v>0.6997444066632514</c:v>
                </c:pt>
                <c:pt idx="20">
                  <c:v>0.7222469319986654</c:v>
                </c:pt>
                <c:pt idx="21">
                  <c:v>0.6667265254116569</c:v>
                </c:pt>
                <c:pt idx="22">
                  <c:v>0.6783809698310013</c:v>
                </c:pt>
                <c:pt idx="23">
                  <c:v>0.8087968669505109</c:v>
                </c:pt>
                <c:pt idx="24">
                  <c:v>0.6837048056678346</c:v>
                </c:pt>
                <c:pt idx="25">
                  <c:v>0.6357134478326104</c:v>
                </c:pt>
                <c:pt idx="26">
                  <c:v>0.6096460330048596</c:v>
                </c:pt>
                <c:pt idx="27">
                  <c:v>0.6681638302043723</c:v>
                </c:pt>
                <c:pt idx="28">
                  <c:v>0.6163887533117315</c:v>
                </c:pt>
                <c:pt idx="29">
                  <c:v>0.6497314649681529</c:v>
                </c:pt>
                <c:pt idx="30">
                  <c:v>0.6449397946141082</c:v>
                </c:pt>
                <c:pt idx="31">
                  <c:v>0.6544108336443368</c:v>
                </c:pt>
                <c:pt idx="32">
                  <c:v>0.695262014090164</c:v>
                </c:pt>
                <c:pt idx="33">
                  <c:v>0.6701710963383776</c:v>
                </c:pt>
                <c:pt idx="34">
                  <c:v>0.640545839919559</c:v>
                </c:pt>
                <c:pt idx="35">
                  <c:v>0.681965239087635</c:v>
                </c:pt>
                <c:pt idx="36">
                  <c:v>0.7097586537569215</c:v>
                </c:pt>
                <c:pt idx="37">
                  <c:v>0.7384981607746653</c:v>
                </c:pt>
                <c:pt idx="38">
                  <c:v>0.7375245273254725</c:v>
                </c:pt>
                <c:pt idx="39">
                  <c:v>0.7297527305589396</c:v>
                </c:pt>
                <c:pt idx="40">
                  <c:v>0.7319889324143203</c:v>
                </c:pt>
                <c:pt idx="41">
                  <c:v>0.7411614804090417</c:v>
                </c:pt>
                <c:pt idx="42">
                  <c:v>0.7508345479336124</c:v>
                </c:pt>
                <c:pt idx="43">
                  <c:v>0.7215322422283001</c:v>
                </c:pt>
                <c:pt idx="44">
                  <c:v>0.7063754164350721</c:v>
                </c:pt>
                <c:pt idx="45">
                  <c:v>0.7504533663291112</c:v>
                </c:pt>
                <c:pt idx="46">
                  <c:v>0.7480265451607998</c:v>
                </c:pt>
                <c:pt idx="47">
                  <c:v>0.7369510986156752</c:v>
                </c:pt>
                <c:pt idx="48">
                  <c:v>0.7488414366732348</c:v>
                </c:pt>
                <c:pt idx="49">
                  <c:v>0.7443887747392722</c:v>
                </c:pt>
                <c:pt idx="50">
                  <c:v>0.7549492980357204</c:v>
                </c:pt>
                <c:pt idx="51">
                  <c:v>0.704787439178945</c:v>
                </c:pt>
                <c:pt idx="52">
                  <c:v>0.6850292716364021</c:v>
                </c:pt>
                <c:pt idx="53">
                  <c:v>0.697745542054568</c:v>
                </c:pt>
                <c:pt idx="54">
                  <c:v>0.6972138426416888</c:v>
                </c:pt>
                <c:pt idx="55">
                  <c:v>0.6896583662780756</c:v>
                </c:pt>
                <c:pt idx="56">
                  <c:v>0.6838651457212227</c:v>
                </c:pt>
                <c:pt idx="57">
                  <c:v>0.6936790183198202</c:v>
                </c:pt>
                <c:pt idx="58">
                  <c:v>0.6908158079491413</c:v>
                </c:pt>
                <c:pt idx="59">
                  <c:v>0.6772256745095423</c:v>
                </c:pt>
                <c:pt idx="60">
                  <c:v>0.681954590564733</c:v>
                </c:pt>
                <c:pt idx="61">
                  <c:v>0.6802174678734366</c:v>
                </c:pt>
                <c:pt idx="62">
                  <c:v>0.7049281986116508</c:v>
                </c:pt>
                <c:pt idx="63">
                  <c:v>0.6608245955194105</c:v>
                </c:pt>
                <c:pt idx="64">
                  <c:v>0.6374765837204236</c:v>
                </c:pt>
                <c:pt idx="65">
                  <c:v>0.6251446707392625</c:v>
                </c:pt>
                <c:pt idx="66">
                  <c:v>0.6488484339055428</c:v>
                </c:pt>
                <c:pt idx="67">
                  <c:v>0.6032896686119312</c:v>
                </c:pt>
                <c:pt idx="68">
                  <c:v>0.5303518272264847</c:v>
                </c:pt>
                <c:pt idx="69">
                  <c:v>0.5123937642109818</c:v>
                </c:pt>
                <c:pt idx="70">
                  <c:v>0.5568116563916871</c:v>
                </c:pt>
                <c:pt idx="71">
                  <c:v>0.7404436848141852</c:v>
                </c:pt>
                <c:pt idx="72">
                  <c:v>0.23312909466932727</c:v>
                </c:pt>
                <c:pt idx="73">
                  <c:v>0.34509657684025585</c:v>
                </c:pt>
                <c:pt idx="74">
                  <c:v>0.8244586822443848</c:v>
                </c:pt>
                <c:pt idx="75">
                  <c:v>1.3521199594541458</c:v>
                </c:pt>
                <c:pt idx="76">
                  <c:v>1.2205938499677436</c:v>
                </c:pt>
                <c:pt idx="77">
                  <c:v>0.7812320578289973</c:v>
                </c:pt>
                <c:pt idx="78">
                  <c:v>0.7103812005742645</c:v>
                </c:pt>
                <c:pt idx="79">
                  <c:v>1.0178327205243571</c:v>
                </c:pt>
                <c:pt idx="80">
                  <c:v>0.8758108684423958</c:v>
                </c:pt>
                <c:pt idx="81">
                  <c:v>0.8480170195326204</c:v>
                </c:pt>
                <c:pt idx="82">
                  <c:v>0.6983223774857892</c:v>
                </c:pt>
                <c:pt idx="83">
                  <c:v>0.6244416783381167</c:v>
                </c:pt>
                <c:pt idx="84">
                  <c:v>0.6830758784445092</c:v>
                </c:pt>
                <c:pt idx="85">
                  <c:v>0.6771263454246385</c:v>
                </c:pt>
                <c:pt idx="86">
                  <c:v>0.6272203252671603</c:v>
                </c:pt>
                <c:pt idx="87">
                  <c:v>0.6735761205852869</c:v>
                </c:pt>
                <c:pt idx="88">
                  <c:v>0.5112451164754072</c:v>
                </c:pt>
                <c:pt idx="89">
                  <c:v>0.43401744936124925</c:v>
                </c:pt>
                <c:pt idx="90">
                  <c:v>0.46177838921570297</c:v>
                </c:pt>
                <c:pt idx="91">
                  <c:v>0.42061163364657056</c:v>
                </c:pt>
                <c:pt idx="92">
                  <c:v>0.584717355411388</c:v>
                </c:pt>
                <c:pt idx="93">
                  <c:v>0.5695024888003981</c:v>
                </c:pt>
                <c:pt idx="94">
                  <c:v>0.4881259140216955</c:v>
                </c:pt>
                <c:pt idx="95">
                  <c:v>0.5691328295650605</c:v>
                </c:pt>
                <c:pt idx="96">
                  <c:v>0.6889124319049629</c:v>
                </c:pt>
                <c:pt idx="97">
                  <c:v>0.7012428613722393</c:v>
                </c:pt>
                <c:pt idx="98">
                  <c:v>0.7560808788913581</c:v>
                </c:pt>
                <c:pt idx="99">
                  <c:v>0.7805655470570216</c:v>
                </c:pt>
                <c:pt idx="100">
                  <c:v>0.7191436209447851</c:v>
                </c:pt>
                <c:pt idx="101">
                  <c:v>0.7351627644177927</c:v>
                </c:pt>
                <c:pt idx="102">
                  <c:v>0.6487844802918722</c:v>
                </c:pt>
                <c:pt idx="103">
                  <c:v>0.6610510519524377</c:v>
                </c:pt>
                <c:pt idx="104">
                  <c:v>0.6986424487698285</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24584167275104</c:v>
                </c:pt>
                <c:pt idx="1">
                  <c:v>0.6398497205975159</c:v>
                </c:pt>
                <c:pt idx="2">
                  <c:v>0.6617354943500247</c:v>
                </c:pt>
                <c:pt idx="3">
                  <c:v>0.6674545271857479</c:v>
                </c:pt>
                <c:pt idx="4">
                  <c:v>0.7406389087505197</c:v>
                </c:pt>
                <c:pt idx="5">
                  <c:v>0.6482989180970375</c:v>
                </c:pt>
                <c:pt idx="6">
                  <c:v>0.6369012111041452</c:v>
                </c:pt>
                <c:pt idx="7">
                  <c:v>0.6562658159592905</c:v>
                </c:pt>
                <c:pt idx="8">
                  <c:v>0.6861474413157492</c:v>
                </c:pt>
                <c:pt idx="9">
                  <c:v>0.6723182207253006</c:v>
                </c:pt>
                <c:pt idx="10">
                  <c:v>0.7247667075258579</c:v>
                </c:pt>
                <c:pt idx="11">
                  <c:v>0.6893400242356813</c:v>
                </c:pt>
                <c:pt idx="12">
                  <c:v>0.7428982494250533</c:v>
                </c:pt>
                <c:pt idx="13">
                  <c:v>0.6184220981188858</c:v>
                </c:pt>
                <c:pt idx="14">
                  <c:v>0.6795874114540915</c:v>
                </c:pt>
                <c:pt idx="15">
                  <c:v>0.6289332685160282</c:v>
                </c:pt>
                <c:pt idx="16">
                  <c:v>0.730041200317981</c:v>
                </c:pt>
                <c:pt idx="17">
                  <c:v>0.6962744349203324</c:v>
                </c:pt>
                <c:pt idx="18">
                  <c:v>0.582108130116294</c:v>
                </c:pt>
                <c:pt idx="19">
                  <c:v>0.683943304040567</c:v>
                </c:pt>
                <c:pt idx="20">
                  <c:v>0.6718263111631996</c:v>
                </c:pt>
                <c:pt idx="21">
                  <c:v>0.7992898189235017</c:v>
                </c:pt>
                <c:pt idx="22">
                  <c:v>0.6669170501224936</c:v>
                </c:pt>
                <c:pt idx="23">
                  <c:v>0.6552611179457897</c:v>
                </c:pt>
                <c:pt idx="24">
                  <c:v>0.6769250011539016</c:v>
                </c:pt>
                <c:pt idx="25">
                  <c:v>0.740008325059192</c:v>
                </c:pt>
                <c:pt idx="26">
                  <c:v>0.726458551146679</c:v>
                </c:pt>
                <c:pt idx="27">
                  <c:v>0.7939763460334729</c:v>
                </c:pt>
                <c:pt idx="28">
                  <c:v>0.7861459088758462</c:v>
                </c:pt>
                <c:pt idx="29">
                  <c:v>0.7634217361543537</c:v>
                </c:pt>
                <c:pt idx="30">
                  <c:v>0.8607416051968422</c:v>
                </c:pt>
                <c:pt idx="31">
                  <c:v>0.7882554784006626</c:v>
                </c:pt>
                <c:pt idx="32">
                  <c:v>0.8144592164921212</c:v>
                </c:pt>
                <c:pt idx="33">
                  <c:v>0.8032015856891673</c:v>
                </c:pt>
                <c:pt idx="34">
                  <c:v>0.8024586933206038</c:v>
                </c:pt>
                <c:pt idx="35">
                  <c:v>0.8232760843695047</c:v>
                </c:pt>
                <c:pt idx="36">
                  <c:v>0.7889709920435114</c:v>
                </c:pt>
                <c:pt idx="37">
                  <c:v>0.7400129290360224</c:v>
                </c:pt>
                <c:pt idx="38">
                  <c:v>0.8070811611883546</c:v>
                </c:pt>
                <c:pt idx="39">
                  <c:v>0.7606399613590257</c:v>
                </c:pt>
                <c:pt idx="40">
                  <c:v>0.881990937169265</c:v>
                </c:pt>
                <c:pt idx="41">
                  <c:v>0.8838951272234354</c:v>
                </c:pt>
                <c:pt idx="42">
                  <c:v>0.9038651267151644</c:v>
                </c:pt>
                <c:pt idx="43">
                  <c:v>0.7619793820811308</c:v>
                </c:pt>
                <c:pt idx="44">
                  <c:v>0.8100979292961326</c:v>
                </c:pt>
                <c:pt idx="45">
                  <c:v>0.8967430362040736</c:v>
                </c:pt>
                <c:pt idx="46">
                  <c:v>0.8317933471664721</c:v>
                </c:pt>
                <c:pt idx="47">
                  <c:v>0.8132254233380649</c:v>
                </c:pt>
                <c:pt idx="48">
                  <c:v>0.8618649897449159</c:v>
                </c:pt>
                <c:pt idx="49">
                  <c:v>0.849225147025924</c:v>
                </c:pt>
                <c:pt idx="50">
                  <c:v>0.8307339580572863</c:v>
                </c:pt>
                <c:pt idx="51">
                  <c:v>0.9139678084058304</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2198865303350724</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2198865303350724</c:v>
                </c:pt>
                <c:pt idx="1">
                  <c:v>-0.42198865303350724</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37766686539014</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37766686539014</c:v>
                </c:pt>
                <c:pt idx="1">
                  <c:v>0.637766686539014</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124719675283547</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124719675283547</c:v>
                </c:pt>
                <c:pt idx="1">
                  <c:v>0.8124719675283547</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24584167275104</c:v>
                </c:pt>
                <c:pt idx="1">
                  <c:v>0.6398497205975159</c:v>
                </c:pt>
                <c:pt idx="2">
                  <c:v>0.6617354943500247</c:v>
                </c:pt>
                <c:pt idx="3">
                  <c:v>0.6674545271857479</c:v>
                </c:pt>
                <c:pt idx="4">
                  <c:v>0.7406389087505197</c:v>
                </c:pt>
                <c:pt idx="5">
                  <c:v>0.6482989180970375</c:v>
                </c:pt>
                <c:pt idx="6">
                  <c:v>0.6369012111041452</c:v>
                </c:pt>
                <c:pt idx="7">
                  <c:v>0.6562658159592905</c:v>
                </c:pt>
                <c:pt idx="8">
                  <c:v>0.6861474413157492</c:v>
                </c:pt>
                <c:pt idx="9">
                  <c:v>0.6723182207253006</c:v>
                </c:pt>
                <c:pt idx="10">
                  <c:v>0.7247667075258579</c:v>
                </c:pt>
                <c:pt idx="11">
                  <c:v>0.6893400242356813</c:v>
                </c:pt>
                <c:pt idx="12">
                  <c:v>0.7428982494250533</c:v>
                </c:pt>
                <c:pt idx="13">
                  <c:v>0.6184220981188858</c:v>
                </c:pt>
                <c:pt idx="14">
                  <c:v>0.6795874114540915</c:v>
                </c:pt>
                <c:pt idx="15">
                  <c:v>0.6289332685160282</c:v>
                </c:pt>
                <c:pt idx="16">
                  <c:v>0.730041200317981</c:v>
                </c:pt>
                <c:pt idx="17">
                  <c:v>0.6962744349203324</c:v>
                </c:pt>
                <c:pt idx="18">
                  <c:v>0.582108130116294</c:v>
                </c:pt>
                <c:pt idx="19">
                  <c:v>0.683943304040567</c:v>
                </c:pt>
                <c:pt idx="20">
                  <c:v>0.6718263111631996</c:v>
                </c:pt>
                <c:pt idx="21">
                  <c:v>0.7992898189235017</c:v>
                </c:pt>
                <c:pt idx="22">
                  <c:v>0.6669170501224936</c:v>
                </c:pt>
                <c:pt idx="23">
                  <c:v>0.6552611179457897</c:v>
                </c:pt>
                <c:pt idx="24">
                  <c:v>0.6769250011539016</c:v>
                </c:pt>
                <c:pt idx="25">
                  <c:v>0.740008325059192</c:v>
                </c:pt>
                <c:pt idx="26">
                  <c:v>0.726458551146679</c:v>
                </c:pt>
                <c:pt idx="27">
                  <c:v>0.7939763460334729</c:v>
                </c:pt>
                <c:pt idx="28">
                  <c:v>0.7861459088758462</c:v>
                </c:pt>
                <c:pt idx="29">
                  <c:v>0.7634217361543537</c:v>
                </c:pt>
                <c:pt idx="30">
                  <c:v>0.8607416051968422</c:v>
                </c:pt>
                <c:pt idx="31">
                  <c:v>0.7882554784006626</c:v>
                </c:pt>
                <c:pt idx="32">
                  <c:v>0.8144592164921212</c:v>
                </c:pt>
                <c:pt idx="33">
                  <c:v>0.8032015856891673</c:v>
                </c:pt>
                <c:pt idx="34">
                  <c:v>0.8024586933206038</c:v>
                </c:pt>
                <c:pt idx="35">
                  <c:v>0.8232760843695047</c:v>
                </c:pt>
                <c:pt idx="36">
                  <c:v>0.7889709920435114</c:v>
                </c:pt>
                <c:pt idx="37">
                  <c:v>0.7400129290360224</c:v>
                </c:pt>
                <c:pt idx="38">
                  <c:v>0.8070811611883546</c:v>
                </c:pt>
                <c:pt idx="39">
                  <c:v>0.7606399613590257</c:v>
                </c:pt>
                <c:pt idx="40">
                  <c:v>0.881990937169265</c:v>
                </c:pt>
                <c:pt idx="41">
                  <c:v>0.8838951272234354</c:v>
                </c:pt>
                <c:pt idx="42">
                  <c:v>0.9038651267151644</c:v>
                </c:pt>
                <c:pt idx="43">
                  <c:v>0.7619793820811308</c:v>
                </c:pt>
                <c:pt idx="44">
                  <c:v>0.8100979292961326</c:v>
                </c:pt>
                <c:pt idx="45">
                  <c:v>0.8967430362040736</c:v>
                </c:pt>
                <c:pt idx="46">
                  <c:v>0.8317933471664721</c:v>
                </c:pt>
                <c:pt idx="47">
                  <c:v>0.8132254233380649</c:v>
                </c:pt>
                <c:pt idx="48">
                  <c:v>0.8618649897449159</c:v>
                </c:pt>
                <c:pt idx="49">
                  <c:v>0.849225147025924</c:v>
                </c:pt>
                <c:pt idx="50">
                  <c:v>0.8307339580572863</c:v>
                </c:pt>
                <c:pt idx="51">
                  <c:v>0.9139678084058304</c:v>
                </c:pt>
                <c:pt idx="52">
                  <c:v>0.637766686539014</c:v>
                </c:pt>
                <c:pt idx="53">
                  <c:v>-0.42198865303350724</c:v>
                </c:pt>
                <c:pt idx="54">
                  <c:v>0.8124719675283547</c:v>
                </c:pt>
              </c:numCache>
            </c:numRef>
          </c:xVal>
          <c:yVal>
            <c:numRef>
              <c:f>Sheet1!$B$187:$B$241</c:f>
              <c:numCache>
                <c:formatCode>General</c:formatCode>
                <c:ptCount val="55"/>
                <c:pt idx="0">
                  <c:v>0.10990758584664512</c:v>
                </c:pt>
                <c:pt idx="1">
                  <c:v>0.11564227816026978</c:v>
                </c:pt>
                <c:pt idx="2">
                  <c:v>0.11325658553245567</c:v>
                </c:pt>
                <c:pt idx="3">
                  <c:v>0.11263317351016663</c:v>
                </c:pt>
                <c:pt idx="4">
                  <c:v>0.10465559677266623</c:v>
                </c:pt>
                <c:pt idx="5">
                  <c:v>0.1147212603149106</c:v>
                </c:pt>
                <c:pt idx="6">
                  <c:v>0.11596368499929315</c:v>
                </c:pt>
                <c:pt idx="7">
                  <c:v>0.1138528162876874</c:v>
                </c:pt>
                <c:pt idx="8">
                  <c:v>0.11059552348524146</c:v>
                </c:pt>
                <c:pt idx="9">
                  <c:v>0.11210299907116936</c:v>
                </c:pt>
                <c:pt idx="10">
                  <c:v>0.10638577062336306</c:v>
                </c:pt>
                <c:pt idx="11">
                  <c:v>0.11024751104474485</c:v>
                </c:pt>
                <c:pt idx="12">
                  <c:v>0.10440931384696718</c:v>
                </c:pt>
                <c:pt idx="13">
                  <c:v>0.11797802929965967</c:v>
                </c:pt>
                <c:pt idx="14">
                  <c:v>0.11131060968946593</c:v>
                </c:pt>
                <c:pt idx="15">
                  <c:v>0.1168322429084755</c:v>
                </c:pt>
                <c:pt idx="16">
                  <c:v>0.10581081637628352</c:v>
                </c:pt>
                <c:pt idx="17">
                  <c:v>0.10949161487969786</c:v>
                </c:pt>
                <c:pt idx="18">
                  <c:v>0.12193648956385435</c:v>
                </c:pt>
                <c:pt idx="19">
                  <c:v>0.11083578887898791</c:v>
                </c:pt>
                <c:pt idx="20">
                  <c:v>0.11215662043402938</c:v>
                </c:pt>
                <c:pt idx="21">
                  <c:v>0.09826226356925452</c:v>
                </c:pt>
                <c:pt idx="22">
                  <c:v>0.11269176202898828</c:v>
                </c:pt>
                <c:pt idx="23">
                  <c:v>0.1139623349490376</c:v>
                </c:pt>
                <c:pt idx="24">
                  <c:v>0.1116008298433068</c:v>
                </c:pt>
                <c:pt idx="25">
                  <c:v>0.10472433452352815</c:v>
                </c:pt>
                <c:pt idx="26">
                  <c:v>0.10620134859199007</c:v>
                </c:pt>
                <c:pt idx="27">
                  <c:v>0.09884146690221317</c:v>
                </c:pt>
                <c:pt idx="28">
                  <c:v>0.09969503581920748</c:v>
                </c:pt>
                <c:pt idx="29">
                  <c:v>0.10217211942373962</c:v>
                </c:pt>
                <c:pt idx="30">
                  <c:v>0.09156361653323133</c:v>
                </c:pt>
                <c:pt idx="31">
                  <c:v>0.09946507892939732</c:v>
                </c:pt>
                <c:pt idx="32">
                  <c:v>0.09660869991840629</c:v>
                </c:pt>
                <c:pt idx="33">
                  <c:v>0.09783585538098989</c:v>
                </c:pt>
                <c:pt idx="34">
                  <c:v>0.09791683551296892</c:v>
                </c:pt>
                <c:pt idx="35">
                  <c:v>0.09564760359467801</c:v>
                </c:pt>
                <c:pt idx="36">
                  <c:v>0.099387083257773</c:v>
                </c:pt>
                <c:pt idx="37">
                  <c:v>0.10472383265991084</c:v>
                </c:pt>
                <c:pt idx="38">
                  <c:v>0.0974129562515315</c:v>
                </c:pt>
                <c:pt idx="39">
                  <c:v>0.10247535108904424</c:v>
                </c:pt>
                <c:pt idx="40">
                  <c:v>0.0892473002263074</c:v>
                </c:pt>
                <c:pt idx="41">
                  <c:v>0.08903973104344173</c:v>
                </c:pt>
                <c:pt idx="42">
                  <c:v>0.0868628703528569</c:v>
                </c:pt>
                <c:pt idx="43">
                  <c:v>0.10232934546098635</c:v>
                </c:pt>
                <c:pt idx="44">
                  <c:v>0.0970841087766404</c:v>
                </c:pt>
                <c:pt idx="45">
                  <c:v>0.0876392248477482</c:v>
                </c:pt>
                <c:pt idx="46">
                  <c:v>0.09471916618626555</c:v>
                </c:pt>
                <c:pt idx="47">
                  <c:v>0.09674319144999045</c:v>
                </c:pt>
                <c:pt idx="48">
                  <c:v>0.09144116026255768</c:v>
                </c:pt>
                <c:pt idx="49">
                  <c:v>0.09281898587349693</c:v>
                </c:pt>
                <c:pt idx="50">
                  <c:v>0.09483464653511461</c:v>
                </c:pt>
                <c:pt idx="51">
                  <c:v>0.0857616119051033</c:v>
                </c:pt>
                <c:pt idx="52">
                  <c:v>0.11586934251052078</c:v>
                </c:pt>
                <c:pt idx="53">
                  <c:v>0.23138961286947898</c:v>
                </c:pt>
                <c:pt idx="54">
                  <c:v>0.09682532306621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2.251</c:v>
                </c:pt>
                <c:pt idx="1">
                  <c:v>728.3491</c:v>
                </c:pt>
                <c:pt idx="2">
                  <c:v>725.0363</c:v>
                </c:pt>
                <c:pt idx="3">
                  <c:v>731.432</c:v>
                </c:pt>
                <c:pt idx="4">
                  <c:v>736.6823</c:v>
                </c:pt>
                <c:pt idx="5">
                  <c:v>725.678</c:v>
                </c:pt>
                <c:pt idx="6">
                  <c:v>715.1685</c:v>
                </c:pt>
                <c:pt idx="7">
                  <c:v>718.1292</c:v>
                </c:pt>
                <c:pt idx="8">
                  <c:v>716.6887</c:v>
                </c:pt>
                <c:pt idx="9">
                  <c:v>716.8087</c:v>
                </c:pt>
                <c:pt idx="10">
                  <c:v>714.0872</c:v>
                </c:pt>
                <c:pt idx="11">
                  <c:v>743.2045</c:v>
                </c:pt>
                <c:pt idx="12">
                  <c:v>739.488</c:v>
                </c:pt>
                <c:pt idx="13">
                  <c:v>719.5407</c:v>
                </c:pt>
                <c:pt idx="14">
                  <c:v>704.8844</c:v>
                </c:pt>
                <c:pt idx="15">
                  <c:v>739.758</c:v>
                </c:pt>
                <c:pt idx="16">
                  <c:v>755.1985</c:v>
                </c:pt>
                <c:pt idx="17">
                  <c:v>705.875</c:v>
                </c:pt>
                <c:pt idx="18">
                  <c:v>785.8315</c:v>
                </c:pt>
                <c:pt idx="19">
                  <c:v>791.4217</c:v>
                </c:pt>
                <c:pt idx="20">
                  <c:v>807.213</c:v>
                </c:pt>
                <c:pt idx="21">
                  <c:v>802.7024</c:v>
                </c:pt>
                <c:pt idx="22">
                  <c:v>794.1728</c:v>
                </c:pt>
                <c:pt idx="23">
                  <c:v>824.0769</c:v>
                </c:pt>
                <c:pt idx="24">
                  <c:v>806.9882</c:v>
                </c:pt>
                <c:pt idx="25">
                  <c:v>777.141</c:v>
                </c:pt>
                <c:pt idx="26">
                  <c:v>751.5053</c:v>
                </c:pt>
                <c:pt idx="27">
                  <c:v>759.3118</c:v>
                </c:pt>
                <c:pt idx="28">
                  <c:v>734.3708</c:v>
                </c:pt>
                <c:pt idx="29">
                  <c:v>765.0588</c:v>
                </c:pt>
                <c:pt idx="30">
                  <c:v>772.7123</c:v>
                </c:pt>
                <c:pt idx="31">
                  <c:v>785.0385</c:v>
                </c:pt>
                <c:pt idx="32">
                  <c:v>800.6029</c:v>
                </c:pt>
                <c:pt idx="33">
                  <c:v>764.266</c:v>
                </c:pt>
                <c:pt idx="34">
                  <c:v>758.3893</c:v>
                </c:pt>
                <c:pt idx="35">
                  <c:v>814.2875</c:v>
                </c:pt>
                <c:pt idx="36">
                  <c:v>860.4138</c:v>
                </c:pt>
                <c:pt idx="37">
                  <c:v>880.1667</c:v>
                </c:pt>
                <c:pt idx="38">
                  <c:v>889.3056</c:v>
                </c:pt>
                <c:pt idx="39">
                  <c:v>882.4459</c:v>
                </c:pt>
                <c:pt idx="40">
                  <c:v>870.3243</c:v>
                </c:pt>
                <c:pt idx="41">
                  <c:v>887.8824</c:v>
                </c:pt>
                <c:pt idx="42">
                  <c:v>903.8737</c:v>
                </c:pt>
                <c:pt idx="43">
                  <c:v>870.8252</c:v>
                </c:pt>
                <c:pt idx="44">
                  <c:v>852.2353</c:v>
                </c:pt>
                <c:pt idx="45">
                  <c:v>864.269</c:v>
                </c:pt>
                <c:pt idx="46">
                  <c:v>856.9241</c:v>
                </c:pt>
                <c:pt idx="47">
                  <c:v>840.8374</c:v>
                </c:pt>
                <c:pt idx="48">
                  <c:v>848.6298</c:v>
                </c:pt>
                <c:pt idx="49">
                  <c:v>826.4493</c:v>
                </c:pt>
                <c:pt idx="50">
                  <c:v>821.4632</c:v>
                </c:pt>
                <c:pt idx="51">
                  <c:v>835.1679</c:v>
                </c:pt>
                <c:pt idx="52">
                  <c:v>825.0783</c:v>
                </c:pt>
                <c:pt idx="53">
                  <c:v>863.4472</c:v>
                </c:pt>
                <c:pt idx="54">
                  <c:v>861.4609</c:v>
                </c:pt>
                <c:pt idx="55">
                  <c:v>861.4953</c:v>
                </c:pt>
                <c:pt idx="56">
                  <c:v>851.5603</c:v>
                </c:pt>
                <c:pt idx="57">
                  <c:v>839.4583</c:v>
                </c:pt>
                <c:pt idx="58">
                  <c:v>829.5882</c:v>
                </c:pt>
                <c:pt idx="59">
                  <c:v>833.5255</c:v>
                </c:pt>
                <c:pt idx="60">
                  <c:v>839.5039</c:v>
                </c:pt>
                <c:pt idx="61">
                  <c:v>862.2991</c:v>
                </c:pt>
                <c:pt idx="62">
                  <c:v>839.0496</c:v>
                </c:pt>
                <c:pt idx="63">
                  <c:v>779.4551</c:v>
                </c:pt>
                <c:pt idx="64">
                  <c:v>773.2197</c:v>
                </c:pt>
                <c:pt idx="65">
                  <c:v>744.589</c:v>
                </c:pt>
                <c:pt idx="66">
                  <c:v>728.8519</c:v>
                </c:pt>
                <c:pt idx="67">
                  <c:v>661.5435</c:v>
                </c:pt>
                <c:pt idx="68">
                  <c:v>587.6757</c:v>
                </c:pt>
                <c:pt idx="69">
                  <c:v>565.9694</c:v>
                </c:pt>
                <c:pt idx="70">
                  <c:v>591.9737</c:v>
                </c:pt>
                <c:pt idx="71">
                  <c:v>762.8116</c:v>
                </c:pt>
                <c:pt idx="72">
                  <c:v>256.5837</c:v>
                </c:pt>
                <c:pt idx="73">
                  <c:v>396.4524</c:v>
                </c:pt>
                <c:pt idx="74">
                  <c:v>881.5273</c:v>
                </c:pt>
                <c:pt idx="75">
                  <c:v>853.44</c:v>
                </c:pt>
                <c:pt idx="76">
                  <c:v>897.3878</c:v>
                </c:pt>
                <c:pt idx="77">
                  <c:v>905.6667</c:v>
                </c:pt>
                <c:pt idx="78">
                  <c:v>755.9231</c:v>
                </c:pt>
                <c:pt idx="79">
                  <c:v>984.1563</c:v>
                </c:pt>
                <c:pt idx="80">
                  <c:v>959.2414</c:v>
                </c:pt>
                <c:pt idx="81">
                  <c:v>936.093</c:v>
                </c:pt>
                <c:pt idx="82">
                  <c:v>844.1154</c:v>
                </c:pt>
                <c:pt idx="83">
                  <c:v>704.4828</c:v>
                </c:pt>
                <c:pt idx="84">
                  <c:v>819.0741</c:v>
                </c:pt>
                <c:pt idx="85">
                  <c:v>817.0952</c:v>
                </c:pt>
                <c:pt idx="86">
                  <c:v>736.4769</c:v>
                </c:pt>
                <c:pt idx="87">
                  <c:v>806.7857</c:v>
                </c:pt>
                <c:pt idx="88">
                  <c:v>651.3409</c:v>
                </c:pt>
                <c:pt idx="89">
                  <c:v>555.5179</c:v>
                </c:pt>
                <c:pt idx="90">
                  <c:v>563.6727</c:v>
                </c:pt>
                <c:pt idx="91">
                  <c:v>513.25</c:v>
                </c:pt>
                <c:pt idx="92">
                  <c:v>631.4727</c:v>
                </c:pt>
                <c:pt idx="93">
                  <c:v>686.4783</c:v>
                </c:pt>
                <c:pt idx="94">
                  <c:v>607.4727</c:v>
                </c:pt>
                <c:pt idx="95">
                  <c:v>689.3968</c:v>
                </c:pt>
                <c:pt idx="96">
                  <c:v>799.1739</c:v>
                </c:pt>
                <c:pt idx="97">
                  <c:v>777.8514</c:v>
                </c:pt>
                <c:pt idx="98">
                  <c:v>800.4471</c:v>
                </c:pt>
                <c:pt idx="99">
                  <c:v>773.8729</c:v>
                </c:pt>
                <c:pt idx="100">
                  <c:v>796.5357</c:v>
                </c:pt>
                <c:pt idx="101">
                  <c:v>867.8556</c:v>
                </c:pt>
                <c:pt idx="102">
                  <c:v>795.3846</c:v>
                </c:pt>
                <c:pt idx="103">
                  <c:v>808.25</c:v>
                </c:pt>
                <c:pt idx="104">
                  <c:v>873.0308</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37.8863900164594</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37.8863900164594</c:v>
                </c:pt>
                <c:pt idx="1">
                  <c:v>-337.8863900164594</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2.1535253153726</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2.1535253153726</c:v>
                </c:pt>
                <c:pt idx="1">
                  <c:v>812.1535253153726</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01.7426116398167</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01.7426116398167</c:v>
                </c:pt>
                <c:pt idx="1">
                  <c:v>1001.7426116398167</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pt idx="52">
                  <c:v>812.1535253153726</c:v>
                </c:pt>
                <c:pt idx="53">
                  <c:v>-337.8863900164594</c:v>
                </c:pt>
                <c:pt idx="54">
                  <c:v>1001.7426116398167</c:v>
                </c:pt>
              </c:numCache>
            </c:numRef>
          </c:xVal>
          <c:yVal>
            <c:numRef>
              <c:f>Sheet1!$B$187:$B$241</c:f>
              <c:numCache>
                <c:formatCode>General</c:formatCode>
                <c:ptCount val="55"/>
                <c:pt idx="0">
                  <c:v>0.11026102054150125</c:v>
                </c:pt>
                <c:pt idx="1">
                  <c:v>0.11600441871954571</c:v>
                </c:pt>
                <c:pt idx="2">
                  <c:v>0.11767655175329574</c:v>
                </c:pt>
                <c:pt idx="3">
                  <c:v>0.11290759852780047</c:v>
                </c:pt>
                <c:pt idx="4">
                  <c:v>0.10994478724359945</c:v>
                </c:pt>
                <c:pt idx="5">
                  <c:v>0.11188944824905946</c:v>
                </c:pt>
                <c:pt idx="6">
                  <c:v>0.11788335599499582</c:v>
                </c:pt>
                <c:pt idx="7">
                  <c:v>0.11859560916996315</c:v>
                </c:pt>
                <c:pt idx="8">
                  <c:v>0.11285089511103356</c:v>
                </c:pt>
                <c:pt idx="9">
                  <c:v>0.1102349540461053</c:v>
                </c:pt>
                <c:pt idx="10">
                  <c:v>0.10761794822259822</c:v>
                </c:pt>
                <c:pt idx="11">
                  <c:v>0.11340520240021831</c:v>
                </c:pt>
                <c:pt idx="12">
                  <c:v>0.10644256524542457</c:v>
                </c:pt>
                <c:pt idx="13">
                  <c:v>0.1173925525146331</c:v>
                </c:pt>
                <c:pt idx="14">
                  <c:v>0.10427700701443386</c:v>
                </c:pt>
                <c:pt idx="15">
                  <c:v>0.11110626808989528</c:v>
                </c:pt>
                <c:pt idx="16">
                  <c:v>0.10274869674795903</c:v>
                </c:pt>
                <c:pt idx="17">
                  <c:v>0.10784183882602028</c:v>
                </c:pt>
                <c:pt idx="18">
                  <c:v>0.12531260852960757</c:v>
                </c:pt>
                <c:pt idx="19">
                  <c:v>0.10967588547799274</c:v>
                </c:pt>
                <c:pt idx="20">
                  <c:v>0.11107791135906571</c:v>
                </c:pt>
                <c:pt idx="21">
                  <c:v>0.09788614521645243</c:v>
                </c:pt>
                <c:pt idx="22">
                  <c:v>0.10549989228707088</c:v>
                </c:pt>
                <c:pt idx="23">
                  <c:v>0.10389589375747142</c:v>
                </c:pt>
                <c:pt idx="24">
                  <c:v>0.10301817107242416</c:v>
                </c:pt>
                <c:pt idx="25">
                  <c:v>0.10012504120578063</c:v>
                </c:pt>
                <c:pt idx="26">
                  <c:v>0.09746654997726961</c:v>
                </c:pt>
                <c:pt idx="27">
                  <c:v>0.09819319748283518</c:v>
                </c:pt>
                <c:pt idx="28">
                  <c:v>0.09632366222653367</c:v>
                </c:pt>
                <c:pt idx="29">
                  <c:v>0.09819005343156006</c:v>
                </c:pt>
                <c:pt idx="30">
                  <c:v>0.09074934971978012</c:v>
                </c:pt>
                <c:pt idx="31">
                  <c:v>0.10276613468090984</c:v>
                </c:pt>
                <c:pt idx="32">
                  <c:v>0.09193360233681298</c:v>
                </c:pt>
                <c:pt idx="33">
                  <c:v>0.09093391457003257</c:v>
                </c:pt>
                <c:pt idx="34">
                  <c:v>0.09126937379170616</c:v>
                </c:pt>
                <c:pt idx="35">
                  <c:v>0.09386478309686976</c:v>
                </c:pt>
                <c:pt idx="36">
                  <c:v>0.09193082994655122</c:v>
                </c:pt>
                <c:pt idx="37">
                  <c:v>0.09864102891414053</c:v>
                </c:pt>
                <c:pt idx="38">
                  <c:v>0.10076002906953964</c:v>
                </c:pt>
                <c:pt idx="39">
                  <c:v>0.09994382130464836</c:v>
                </c:pt>
                <c:pt idx="40">
                  <c:v>0.0896219411480057</c:v>
                </c:pt>
                <c:pt idx="41">
                  <c:v>0.09414359917112995</c:v>
                </c:pt>
                <c:pt idx="42">
                  <c:v>0.09920187542818183</c:v>
                </c:pt>
                <c:pt idx="43">
                  <c:v>0.10045937539952192</c:v>
                </c:pt>
                <c:pt idx="44">
                  <c:v>0.10199411439703851</c:v>
                </c:pt>
                <c:pt idx="45">
                  <c:v>0.09297859256765341</c:v>
                </c:pt>
                <c:pt idx="46">
                  <c:v>0.09713626387510621</c:v>
                </c:pt>
                <c:pt idx="47">
                  <c:v>0.10160328772926763</c:v>
                </c:pt>
                <c:pt idx="48">
                  <c:v>0.10186475627460731</c:v>
                </c:pt>
                <c:pt idx="49">
                  <c:v>0.10139940655121313</c:v>
                </c:pt>
                <c:pt idx="50">
                  <c:v>0.10221521252041428</c:v>
                </c:pt>
                <c:pt idx="51">
                  <c:v>0.09927904029046764</c:v>
                </c:pt>
                <c:pt idx="52">
                  <c:v>0.11586934251052078</c:v>
                </c:pt>
                <c:pt idx="53">
                  <c:v>0.23138961286947898</c:v>
                </c:pt>
                <c:pt idx="54">
                  <c:v>0.09682532306621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283534189889653</c:v>
                </c:pt>
                <c:pt idx="1">
                  <c:v>1.1287956935387582</c:v>
                </c:pt>
                <c:pt idx="2">
                  <c:v>1.0544704910663187</c:v>
                </c:pt>
                <c:pt idx="3">
                  <c:v>0.923638141631452</c:v>
                </c:pt>
                <c:pt idx="4">
                  <c:v>0.8545268507904825</c:v>
                </c:pt>
                <c:pt idx="5">
                  <c:v>0.9222896862849066</c:v>
                </c:pt>
                <c:pt idx="6">
                  <c:v>0.9213993209018825</c:v>
                </c:pt>
                <c:pt idx="7">
                  <c:v>0.8065786104184918</c:v>
                </c:pt>
                <c:pt idx="8">
                  <c:v>0.7691517733053872</c:v>
                </c:pt>
                <c:pt idx="9">
                  <c:v>0.7545613670532273</c:v>
                </c:pt>
                <c:pt idx="10">
                  <c:v>0.8010880903068287</c:v>
                </c:pt>
                <c:pt idx="11">
                  <c:v>0.7938076754072566</c:v>
                </c:pt>
                <c:pt idx="12">
                  <c:v>0.7793946424206883</c:v>
                </c:pt>
                <c:pt idx="13">
                  <c:v>0.8190925537030225</c:v>
                </c:pt>
                <c:pt idx="14">
                  <c:v>0.7342711809214855</c:v>
                </c:pt>
                <c:pt idx="15">
                  <c:v>0.7805833688315984</c:v>
                </c:pt>
                <c:pt idx="16">
                  <c:v>0.7779564489802435</c:v>
                </c:pt>
                <c:pt idx="17">
                  <c:v>0.682191758050805</c:v>
                </c:pt>
                <c:pt idx="18">
                  <c:v>0.842739146334532</c:v>
                </c:pt>
                <c:pt idx="19">
                  <c:v>0.7989714206451017</c:v>
                </c:pt>
                <c:pt idx="20">
                  <c:v>0.8897230704386555</c:v>
                </c:pt>
                <c:pt idx="21">
                  <c:v>0.8070386996370197</c:v>
                </c:pt>
                <c:pt idx="22">
                  <c:v>0.8533452990582365</c:v>
                </c:pt>
                <c:pt idx="23">
                  <c:v>0.8338397458968845</c:v>
                </c:pt>
                <c:pt idx="24">
                  <c:v>0.8677789813115097</c:v>
                </c:pt>
                <c:pt idx="25">
                  <c:v>0.8264487506510958</c:v>
                </c:pt>
                <c:pt idx="26">
                  <c:v>0.8563971676530074</c:v>
                </c:pt>
                <c:pt idx="27">
                  <c:v>0.8093360520405759</c:v>
                </c:pt>
                <c:pt idx="28">
                  <c:v>0.7333642575565038</c:v>
                </c:pt>
                <c:pt idx="29">
                  <c:v>0.7771766944552858</c:v>
                </c:pt>
                <c:pt idx="30">
                  <c:v>0.7719159914632066</c:v>
                </c:pt>
                <c:pt idx="31">
                  <c:v>0.7877057504415702</c:v>
                </c:pt>
                <c:pt idx="32">
                  <c:v>0.811187682474772</c:v>
                </c:pt>
                <c:pt idx="33">
                  <c:v>0.7965549109018438</c:v>
                </c:pt>
                <c:pt idx="34">
                  <c:v>0.7784422047264139</c:v>
                </c:pt>
                <c:pt idx="35">
                  <c:v>0.7899845726052855</c:v>
                </c:pt>
                <c:pt idx="36">
                  <c:v>0.8018902460619097</c:v>
                </c:pt>
                <c:pt idx="37">
                  <c:v>0.8650286977886977</c:v>
                </c:pt>
                <c:pt idx="38">
                  <c:v>0.8857457876793169</c:v>
                </c:pt>
                <c:pt idx="39">
                  <c:v>0.8755014227150245</c:v>
                </c:pt>
                <c:pt idx="40">
                  <c:v>0.8777748529518554</c:v>
                </c:pt>
                <c:pt idx="41">
                  <c:v>0.8824753850681488</c:v>
                </c:pt>
                <c:pt idx="42">
                  <c:v>0.890601861992403</c:v>
                </c:pt>
                <c:pt idx="43">
                  <c:v>0.8760761375456071</c:v>
                </c:pt>
                <c:pt idx="44">
                  <c:v>0.891459518828452</c:v>
                </c:pt>
                <c:pt idx="45">
                  <c:v>0.9561950061663126</c:v>
                </c:pt>
                <c:pt idx="46">
                  <c:v>0.9585796506501076</c:v>
                </c:pt>
                <c:pt idx="47">
                  <c:v>0.8939009706388705</c:v>
                </c:pt>
                <c:pt idx="48">
                  <c:v>0.8682296502393277</c:v>
                </c:pt>
                <c:pt idx="49">
                  <c:v>0.8262635559526219</c:v>
                </c:pt>
                <c:pt idx="50">
                  <c:v>0.7918346478795039</c:v>
                </c:pt>
                <c:pt idx="51">
                  <c:v>0.7753313898553569</c:v>
                </c:pt>
                <c:pt idx="52">
                  <c:v>0.7871470982024029</c:v>
                </c:pt>
                <c:pt idx="53">
                  <c:v>0.8037334234388955</c:v>
                </c:pt>
                <c:pt idx="54">
                  <c:v>0.7890722772633639</c:v>
                </c:pt>
                <c:pt idx="55">
                  <c:v>0.7752199828055899</c:v>
                </c:pt>
                <c:pt idx="56">
                  <c:v>0.7881312597740098</c:v>
                </c:pt>
                <c:pt idx="57">
                  <c:v>0.8046220283578416</c:v>
                </c:pt>
                <c:pt idx="58">
                  <c:v>0.8033011343400821</c:v>
                </c:pt>
                <c:pt idx="59">
                  <c:v>0.8021389267892347</c:v>
                </c:pt>
                <c:pt idx="60">
                  <c:v>0.8260925355136959</c:v>
                </c:pt>
                <c:pt idx="61">
                  <c:v>0.8220555356627378</c:v>
                </c:pt>
                <c:pt idx="62">
                  <c:v>0.8202674441703647</c:v>
                </c:pt>
                <c:pt idx="63">
                  <c:v>0.7589860802990236</c:v>
                </c:pt>
                <c:pt idx="64">
                  <c:v>0.7575269237529193</c:v>
                </c:pt>
                <c:pt idx="65">
                  <c:v>0.7272151749761621</c:v>
                </c:pt>
                <c:pt idx="66">
                  <c:v>0.7269350449798926</c:v>
                </c:pt>
                <c:pt idx="67">
                  <c:v>0.6570702315704913</c:v>
                </c:pt>
                <c:pt idx="68">
                  <c:v>0.610026016188935</c:v>
                </c:pt>
                <c:pt idx="69">
                  <c:v>0.6051654842847347</c:v>
                </c:pt>
                <c:pt idx="70">
                  <c:v>0.6598646682282672</c:v>
                </c:pt>
                <c:pt idx="71">
                  <c:v>0.7975835301296503</c:v>
                </c:pt>
                <c:pt idx="72">
                  <c:v>0.2850635434338452</c:v>
                </c:pt>
                <c:pt idx="73">
                  <c:v>0.4413348280034688</c:v>
                </c:pt>
                <c:pt idx="74">
                  <c:v>0.9708977590963914</c:v>
                </c:pt>
                <c:pt idx="75">
                  <c:v>1.1860011178516348</c:v>
                </c:pt>
                <c:pt idx="76">
                  <c:v>1.0102409019387681</c:v>
                </c:pt>
                <c:pt idx="77">
                  <c:v>0.9812616235888496</c:v>
                </c:pt>
                <c:pt idx="78">
                  <c:v>0.8500367936948742</c:v>
                </c:pt>
                <c:pt idx="79">
                  <c:v>1.066544286419629</c:v>
                </c:pt>
                <c:pt idx="80">
                  <c:v>0.934566780936362</c:v>
                </c:pt>
                <c:pt idx="81">
                  <c:v>0.9921766797837905</c:v>
                </c:pt>
                <c:pt idx="82">
                  <c:v>0.8850318379178844</c:v>
                </c:pt>
                <c:pt idx="83">
                  <c:v>0.7314826284468651</c:v>
                </c:pt>
                <c:pt idx="84">
                  <c:v>0.8027629994432132</c:v>
                </c:pt>
                <c:pt idx="85">
                  <c:v>0.8451680483433585</c:v>
                </c:pt>
                <c:pt idx="86">
                  <c:v>0.7663200065427989</c:v>
                </c:pt>
                <c:pt idx="87">
                  <c:v>0.7998353705802687</c:v>
                </c:pt>
                <c:pt idx="88">
                  <c:v>0.5832695520264277</c:v>
                </c:pt>
                <c:pt idx="89">
                  <c:v>0.5784408756156866</c:v>
                </c:pt>
                <c:pt idx="90">
                  <c:v>0.5600705502490184</c:v>
                </c:pt>
                <c:pt idx="91">
                  <c:v>0.5142173456706757</c:v>
                </c:pt>
                <c:pt idx="92">
                  <c:v>0.6275363527202915</c:v>
                </c:pt>
                <c:pt idx="93">
                  <c:v>0.6953855632178132</c:v>
                </c:pt>
                <c:pt idx="94">
                  <c:v>0.5983860875828372</c:v>
                </c:pt>
                <c:pt idx="95">
                  <c:v>0.7040309995662847</c:v>
                </c:pt>
                <c:pt idx="96">
                  <c:v>0.9927442336781592</c:v>
                </c:pt>
                <c:pt idx="97">
                  <c:v>0.9219836249080804</c:v>
                </c:pt>
                <c:pt idx="98">
                  <c:v>0.9486874891554476</c:v>
                </c:pt>
                <c:pt idx="99">
                  <c:v>0.847752031022742</c:v>
                </c:pt>
                <c:pt idx="100">
                  <c:v>0.9132092288124605</c:v>
                </c:pt>
                <c:pt idx="101">
                  <c:v>0.9003663897475608</c:v>
                </c:pt>
                <c:pt idx="102">
                  <c:v>0.7847306261805965</c:v>
                </c:pt>
                <c:pt idx="103">
                  <c:v>0.791403550892854</c:v>
                </c:pt>
                <c:pt idx="104">
                  <c:v>0.863206389123469</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907261607384197</c:v>
                </c:pt>
                <c:pt idx="1">
                  <c:v>0.8322892705548224</c:v>
                </c:pt>
                <c:pt idx="2">
                  <c:v>0.8770254017065813</c:v>
                </c:pt>
                <c:pt idx="3">
                  <c:v>0.8467805052621031</c:v>
                </c:pt>
                <c:pt idx="4">
                  <c:v>0.9714170857185233</c:v>
                </c:pt>
                <c:pt idx="5">
                  <c:v>0.8499202440116155</c:v>
                </c:pt>
                <c:pt idx="6">
                  <c:v>0.8209547888115566</c:v>
                </c:pt>
                <c:pt idx="7">
                  <c:v>0.8317431050936501</c:v>
                </c:pt>
                <c:pt idx="8">
                  <c:v>0.8130525638188886</c:v>
                </c:pt>
                <c:pt idx="9">
                  <c:v>0.8271256283733582</c:v>
                </c:pt>
                <c:pt idx="10">
                  <c:v>0.8760707342674641</c:v>
                </c:pt>
                <c:pt idx="11">
                  <c:v>0.8634938667807142</c:v>
                </c:pt>
                <c:pt idx="12">
                  <c:v>0.876291187499329</c:v>
                </c:pt>
                <c:pt idx="13">
                  <c:v>0.7667456768250422</c:v>
                </c:pt>
                <c:pt idx="14">
                  <c:v>0.8893642517795027</c:v>
                </c:pt>
                <c:pt idx="15">
                  <c:v>0.8252118083713016</c:v>
                </c:pt>
                <c:pt idx="16">
                  <c:v>0.8834841286553095</c:v>
                </c:pt>
                <c:pt idx="17">
                  <c:v>0.8125228390314174</c:v>
                </c:pt>
                <c:pt idx="18">
                  <c:v>0.6581129918278265</c:v>
                </c:pt>
                <c:pt idx="19">
                  <c:v>0.8297436953161299</c:v>
                </c:pt>
                <c:pt idx="20">
                  <c:v>0.7461453301057347</c:v>
                </c:pt>
                <c:pt idx="21">
                  <c:v>0.8933529516474652</c:v>
                </c:pt>
                <c:pt idx="22">
                  <c:v>0.8665864251316941</c:v>
                </c:pt>
                <c:pt idx="23">
                  <c:v>0.9359311005715558</c:v>
                </c:pt>
                <c:pt idx="24">
                  <c:v>0.9578390835140655</c:v>
                </c:pt>
                <c:pt idx="25">
                  <c:v>1.008890988576717</c:v>
                </c:pt>
                <c:pt idx="26">
                  <c:v>1.0200719777841842</c:v>
                </c:pt>
                <c:pt idx="27">
                  <c:v>1.004977671570093</c:v>
                </c:pt>
                <c:pt idx="28">
                  <c:v>1.002280859753707</c:v>
                </c:pt>
                <c:pt idx="29">
                  <c:v>1.0189099573517522</c:v>
                </c:pt>
                <c:pt idx="30">
                  <c:v>1.124474631404368</c:v>
                </c:pt>
                <c:pt idx="31">
                  <c:v>1.068401014221544</c:v>
                </c:pt>
                <c:pt idx="32">
                  <c:v>1.0874132505175984</c:v>
                </c:pt>
                <c:pt idx="33">
                  <c:v>1.0608101923245643</c:v>
                </c:pt>
                <c:pt idx="34">
                  <c:v>1.055481765458526</c:v>
                </c:pt>
                <c:pt idx="35">
                  <c:v>0.9708387525589808</c:v>
                </c:pt>
                <c:pt idx="36">
                  <c:v>1.0319097990726978</c:v>
                </c:pt>
                <c:pt idx="37">
                  <c:v>0.9458818418290091</c:v>
                </c:pt>
                <c:pt idx="38">
                  <c:v>0.9412060232717316</c:v>
                </c:pt>
                <c:pt idx="39">
                  <c:v>1.0092810054121002</c:v>
                </c:pt>
                <c:pt idx="40">
                  <c:v>1.1035701570878167</c:v>
                </c:pt>
                <c:pt idx="41">
                  <c:v>1.0079894069177493</c:v>
                </c:pt>
                <c:pt idx="42">
                  <c:v>0.87139796055006</c:v>
                </c:pt>
                <c:pt idx="43">
                  <c:v>0.8578196117423973</c:v>
                </c:pt>
                <c:pt idx="44">
                  <c:v>0.8528747012806955</c:v>
                </c:pt>
                <c:pt idx="45">
                  <c:v>0.942713485304676</c:v>
                </c:pt>
                <c:pt idx="46">
                  <c:v>0.8873913028024462</c:v>
                </c:pt>
                <c:pt idx="47">
                  <c:v>0.8227793034607594</c:v>
                </c:pt>
                <c:pt idx="48">
                  <c:v>0.8520865957565693</c:v>
                </c:pt>
                <c:pt idx="49">
                  <c:v>0.8603005022225785</c:v>
                </c:pt>
                <c:pt idx="50">
                  <c:v>0.8453139503853905</c:v>
                </c:pt>
                <c:pt idx="51">
                  <c:v>0.8869854749183388</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604371249156959</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604371249156959</c:v>
                </c:pt>
                <c:pt idx="1">
                  <c:v>-0.9604371249156959</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323521729668335</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323521729668335</c:v>
                </c:pt>
                <c:pt idx="1">
                  <c:v>0.7323521729668335</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11415857667502</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11415857667502</c:v>
                </c:pt>
                <c:pt idx="1">
                  <c:v>1.011415857667502</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907261607384197</c:v>
                </c:pt>
                <c:pt idx="1">
                  <c:v>0.8322892705548224</c:v>
                </c:pt>
                <c:pt idx="2">
                  <c:v>0.8770254017065813</c:v>
                </c:pt>
                <c:pt idx="3">
                  <c:v>0.8467805052621031</c:v>
                </c:pt>
                <c:pt idx="4">
                  <c:v>0.9714170857185233</c:v>
                </c:pt>
                <c:pt idx="5">
                  <c:v>0.8499202440116155</c:v>
                </c:pt>
                <c:pt idx="6">
                  <c:v>0.8209547888115566</c:v>
                </c:pt>
                <c:pt idx="7">
                  <c:v>0.8317431050936501</c:v>
                </c:pt>
                <c:pt idx="8">
                  <c:v>0.8130525638188886</c:v>
                </c:pt>
                <c:pt idx="9">
                  <c:v>0.8271256283733582</c:v>
                </c:pt>
                <c:pt idx="10">
                  <c:v>0.8760707342674641</c:v>
                </c:pt>
                <c:pt idx="11">
                  <c:v>0.8634938667807142</c:v>
                </c:pt>
                <c:pt idx="12">
                  <c:v>0.876291187499329</c:v>
                </c:pt>
                <c:pt idx="13">
                  <c:v>0.7667456768250422</c:v>
                </c:pt>
                <c:pt idx="14">
                  <c:v>0.8893642517795027</c:v>
                </c:pt>
                <c:pt idx="15">
                  <c:v>0.8252118083713016</c:v>
                </c:pt>
                <c:pt idx="16">
                  <c:v>0.8834841286553095</c:v>
                </c:pt>
                <c:pt idx="17">
                  <c:v>0.8125228390314174</c:v>
                </c:pt>
                <c:pt idx="18">
                  <c:v>0.6581129918278265</c:v>
                </c:pt>
                <c:pt idx="19">
                  <c:v>0.8297436953161299</c:v>
                </c:pt>
                <c:pt idx="20">
                  <c:v>0.7461453301057347</c:v>
                </c:pt>
                <c:pt idx="21">
                  <c:v>0.8933529516474652</c:v>
                </c:pt>
                <c:pt idx="22">
                  <c:v>0.8665864251316941</c:v>
                </c:pt>
                <c:pt idx="23">
                  <c:v>0.9359311005715558</c:v>
                </c:pt>
                <c:pt idx="24">
                  <c:v>0.9578390835140655</c:v>
                </c:pt>
                <c:pt idx="25">
                  <c:v>1.008890988576717</c:v>
                </c:pt>
                <c:pt idx="26">
                  <c:v>1.0200719777841842</c:v>
                </c:pt>
                <c:pt idx="27">
                  <c:v>1.004977671570093</c:v>
                </c:pt>
                <c:pt idx="28">
                  <c:v>1.002280859753707</c:v>
                </c:pt>
                <c:pt idx="29">
                  <c:v>1.0189099573517522</c:v>
                </c:pt>
                <c:pt idx="30">
                  <c:v>1.124474631404368</c:v>
                </c:pt>
                <c:pt idx="31">
                  <c:v>1.068401014221544</c:v>
                </c:pt>
                <c:pt idx="32">
                  <c:v>1.0874132505175984</c:v>
                </c:pt>
                <c:pt idx="33">
                  <c:v>1.0608101923245643</c:v>
                </c:pt>
                <c:pt idx="34">
                  <c:v>1.055481765458526</c:v>
                </c:pt>
                <c:pt idx="35">
                  <c:v>0.9708387525589808</c:v>
                </c:pt>
                <c:pt idx="36">
                  <c:v>1.0319097990726978</c:v>
                </c:pt>
                <c:pt idx="37">
                  <c:v>0.9458818418290091</c:v>
                </c:pt>
                <c:pt idx="38">
                  <c:v>0.9412060232717316</c:v>
                </c:pt>
                <c:pt idx="39">
                  <c:v>1.0092810054121002</c:v>
                </c:pt>
                <c:pt idx="40">
                  <c:v>1.1035701570878167</c:v>
                </c:pt>
                <c:pt idx="41">
                  <c:v>1.0079894069177493</c:v>
                </c:pt>
                <c:pt idx="42">
                  <c:v>0.87139796055006</c:v>
                </c:pt>
                <c:pt idx="43">
                  <c:v>0.8578196117423973</c:v>
                </c:pt>
                <c:pt idx="44">
                  <c:v>0.8528747012806955</c:v>
                </c:pt>
                <c:pt idx="45">
                  <c:v>0.942713485304676</c:v>
                </c:pt>
                <c:pt idx="46">
                  <c:v>0.8873913028024462</c:v>
                </c:pt>
                <c:pt idx="47">
                  <c:v>0.8227793034607594</c:v>
                </c:pt>
                <c:pt idx="48">
                  <c:v>0.8520865957565693</c:v>
                </c:pt>
                <c:pt idx="49">
                  <c:v>0.8603005022225785</c:v>
                </c:pt>
                <c:pt idx="50">
                  <c:v>0.8453139503853905</c:v>
                </c:pt>
                <c:pt idx="51">
                  <c:v>0.8869854749183388</c:v>
                </c:pt>
                <c:pt idx="52">
                  <c:v>0.7323521729668335</c:v>
                </c:pt>
                <c:pt idx="53">
                  <c:v>-0.9604371249156959</c:v>
                </c:pt>
                <c:pt idx="54">
                  <c:v>1.011415857667502</c:v>
                </c:pt>
              </c:numCache>
            </c:numRef>
          </c:xVal>
          <c:yVal>
            <c:numRef>
              <c:f>Sheet1!$B$187:$B$241</c:f>
              <c:numCache>
                <c:formatCode>General</c:formatCode>
                <c:ptCount val="55"/>
                <c:pt idx="0">
                  <c:v>0.10506149660312683</c:v>
                </c:pt>
                <c:pt idx="1">
                  <c:v>0.1090493794196062</c:v>
                </c:pt>
                <c:pt idx="2">
                  <c:v>0.10599647143399367</c:v>
                </c:pt>
                <c:pt idx="3">
                  <c:v>0.10806046050730317</c:v>
                </c:pt>
                <c:pt idx="4">
                  <c:v>0.09955494154581641</c:v>
                </c:pt>
                <c:pt idx="5">
                  <c:v>0.10784619670633641</c:v>
                </c:pt>
                <c:pt idx="6">
                  <c:v>0.10982287343743735</c:v>
                </c:pt>
                <c:pt idx="7">
                  <c:v>0.10908665114728919</c:v>
                </c:pt>
                <c:pt idx="8">
                  <c:v>0.11036214147790299</c:v>
                </c:pt>
                <c:pt idx="9">
                  <c:v>0.10940175956614057</c:v>
                </c:pt>
                <c:pt idx="10">
                  <c:v>0.10606162038124166</c:v>
                </c:pt>
                <c:pt idx="11">
                  <c:v>0.10691989797914207</c:v>
                </c:pt>
                <c:pt idx="12">
                  <c:v>0.10604657608897303</c:v>
                </c:pt>
                <c:pt idx="13">
                  <c:v>0.11352224185879639</c:v>
                </c:pt>
                <c:pt idx="14">
                  <c:v>0.10515443675305286</c:v>
                </c:pt>
                <c:pt idx="15">
                  <c:v>0.1095323635369552</c:v>
                </c:pt>
                <c:pt idx="16">
                  <c:v>0.10555571139124939</c:v>
                </c:pt>
                <c:pt idx="17">
                  <c:v>0.11039829125197179</c:v>
                </c:pt>
                <c:pt idx="18">
                  <c:v>0.12093561407020836</c:v>
                </c:pt>
                <c:pt idx="19">
                  <c:v>0.10922309598324507</c:v>
                </c:pt>
                <c:pt idx="20">
                  <c:v>0.1149280621965546</c:v>
                </c:pt>
                <c:pt idx="21">
                  <c:v>0.10488223767446456</c:v>
                </c:pt>
                <c:pt idx="22">
                  <c:v>0.10670885388921728</c:v>
                </c:pt>
                <c:pt idx="23">
                  <c:v>0.10197659591429538</c:v>
                </c:pt>
                <c:pt idx="24">
                  <c:v>0.10048153913687842</c:v>
                </c:pt>
                <c:pt idx="25">
                  <c:v>0.0969976265893721</c:v>
                </c:pt>
                <c:pt idx="26">
                  <c:v>0.09623460729468322</c:v>
                </c:pt>
                <c:pt idx="27">
                  <c:v>0.09726468134873936</c:v>
                </c:pt>
                <c:pt idx="28">
                  <c:v>0.09744871868317068</c:v>
                </c:pt>
                <c:pt idx="29">
                  <c:v>0.09631390654042225</c:v>
                </c:pt>
                <c:pt idx="30">
                  <c:v>0.08910990324115295</c:v>
                </c:pt>
                <c:pt idx="31">
                  <c:v>0.0929365102648784</c:v>
                </c:pt>
                <c:pt idx="32">
                  <c:v>0.09163906664339763</c:v>
                </c:pt>
                <c:pt idx="33">
                  <c:v>0.09345452736179807</c:v>
                </c:pt>
                <c:pt idx="34">
                  <c:v>0.0938181528365826</c:v>
                </c:pt>
                <c:pt idx="35">
                  <c:v>0.09959440847949297</c:v>
                </c:pt>
                <c:pt idx="36">
                  <c:v>0.09542676409918292</c:v>
                </c:pt>
                <c:pt idx="37">
                  <c:v>0.10129753188561151</c:v>
                </c:pt>
                <c:pt idx="38">
                  <c:v>0.10161662170060608</c:v>
                </c:pt>
                <c:pt idx="39">
                  <c:v>0.0969710108432043</c:v>
                </c:pt>
                <c:pt idx="40">
                  <c:v>0.09053647802383893</c:v>
                </c:pt>
                <c:pt idx="41">
                  <c:v>0.09705915282723579</c:v>
                </c:pt>
                <c:pt idx="42">
                  <c:v>0.10638050240857724</c:v>
                </c:pt>
                <c:pt idx="43">
                  <c:v>0.10730712365272825</c:v>
                </c:pt>
                <c:pt idx="44">
                  <c:v>0.107644576987382</c:v>
                </c:pt>
                <c:pt idx="45">
                  <c:v>0.10151374863671123</c:v>
                </c:pt>
                <c:pt idx="46">
                  <c:v>0.10528907583632158</c:v>
                </c:pt>
                <c:pt idx="47">
                  <c:v>0.10969836389226628</c:v>
                </c:pt>
                <c:pt idx="48">
                  <c:v>0.1076983593236316</c:v>
                </c:pt>
                <c:pt idx="49">
                  <c:v>0.10713782134241712</c:v>
                </c:pt>
                <c:pt idx="50">
                  <c:v>0.10816054196225212</c:v>
                </c:pt>
                <c:pt idx="51">
                  <c:v>0.10531677056888512</c:v>
                </c:pt>
                <c:pt idx="52">
                  <c:v>0.11586934251052078</c:v>
                </c:pt>
                <c:pt idx="53">
                  <c:v>0.23138961286947898</c:v>
                </c:pt>
                <c:pt idx="54">
                  <c:v>0.09682532306621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2.251</c:v>
                </c:pt>
                <c:pt idx="1">
                  <c:v>728.3491</c:v>
                </c:pt>
                <c:pt idx="2">
                  <c:v>725.0363</c:v>
                </c:pt>
                <c:pt idx="3">
                  <c:v>731.432</c:v>
                </c:pt>
                <c:pt idx="4">
                  <c:v>736.6823</c:v>
                </c:pt>
                <c:pt idx="5">
                  <c:v>725.678</c:v>
                </c:pt>
                <c:pt idx="6">
                  <c:v>715.1685</c:v>
                </c:pt>
                <c:pt idx="7">
                  <c:v>718.1292</c:v>
                </c:pt>
                <c:pt idx="8">
                  <c:v>716.6887</c:v>
                </c:pt>
                <c:pt idx="9">
                  <c:v>716.8087</c:v>
                </c:pt>
                <c:pt idx="10">
                  <c:v>714.0872</c:v>
                </c:pt>
                <c:pt idx="11">
                  <c:v>743.2045</c:v>
                </c:pt>
                <c:pt idx="12">
                  <c:v>739.488</c:v>
                </c:pt>
                <c:pt idx="13">
                  <c:v>719.5407</c:v>
                </c:pt>
                <c:pt idx="14">
                  <c:v>704.8844</c:v>
                </c:pt>
                <c:pt idx="15">
                  <c:v>739.758</c:v>
                </c:pt>
                <c:pt idx="16">
                  <c:v>755.1985</c:v>
                </c:pt>
                <c:pt idx="17">
                  <c:v>705.875</c:v>
                </c:pt>
                <c:pt idx="18">
                  <c:v>785.8315</c:v>
                </c:pt>
                <c:pt idx="19">
                  <c:v>791.4217</c:v>
                </c:pt>
                <c:pt idx="20">
                  <c:v>807.213</c:v>
                </c:pt>
                <c:pt idx="21">
                  <c:v>802.7024</c:v>
                </c:pt>
                <c:pt idx="22">
                  <c:v>794.1728</c:v>
                </c:pt>
                <c:pt idx="23">
                  <c:v>824.0769</c:v>
                </c:pt>
                <c:pt idx="24">
                  <c:v>806.9882</c:v>
                </c:pt>
                <c:pt idx="25">
                  <c:v>777.141</c:v>
                </c:pt>
                <c:pt idx="26">
                  <c:v>751.5053</c:v>
                </c:pt>
                <c:pt idx="27">
                  <c:v>759.3118</c:v>
                </c:pt>
                <c:pt idx="28">
                  <c:v>734.3708</c:v>
                </c:pt>
                <c:pt idx="29">
                  <c:v>765.0588</c:v>
                </c:pt>
                <c:pt idx="30">
                  <c:v>772.7123</c:v>
                </c:pt>
                <c:pt idx="31">
                  <c:v>785.0385</c:v>
                </c:pt>
                <c:pt idx="32">
                  <c:v>800.6029</c:v>
                </c:pt>
                <c:pt idx="33">
                  <c:v>764.266</c:v>
                </c:pt>
                <c:pt idx="34">
                  <c:v>758.3893</c:v>
                </c:pt>
                <c:pt idx="35">
                  <c:v>814.2875</c:v>
                </c:pt>
                <c:pt idx="36">
                  <c:v>860.4138</c:v>
                </c:pt>
                <c:pt idx="37">
                  <c:v>880.1667</c:v>
                </c:pt>
                <c:pt idx="38">
                  <c:v>889.3056</c:v>
                </c:pt>
                <c:pt idx="39">
                  <c:v>882.4459</c:v>
                </c:pt>
                <c:pt idx="40">
                  <c:v>870.3243</c:v>
                </c:pt>
                <c:pt idx="41">
                  <c:v>887.8824</c:v>
                </c:pt>
                <c:pt idx="42">
                  <c:v>903.8737</c:v>
                </c:pt>
                <c:pt idx="43">
                  <c:v>870.8252</c:v>
                </c:pt>
                <c:pt idx="44">
                  <c:v>852.2353</c:v>
                </c:pt>
                <c:pt idx="45">
                  <c:v>864.269</c:v>
                </c:pt>
                <c:pt idx="46">
                  <c:v>856.9241</c:v>
                </c:pt>
                <c:pt idx="47">
                  <c:v>840.8374</c:v>
                </c:pt>
                <c:pt idx="48">
                  <c:v>848.6298</c:v>
                </c:pt>
                <c:pt idx="49">
                  <c:v>826.4493</c:v>
                </c:pt>
                <c:pt idx="50">
                  <c:v>821.4632</c:v>
                </c:pt>
                <c:pt idx="51">
                  <c:v>835.1679</c:v>
                </c:pt>
                <c:pt idx="52">
                  <c:v>825.0783</c:v>
                </c:pt>
                <c:pt idx="53">
                  <c:v>863.4472</c:v>
                </c:pt>
                <c:pt idx="54">
                  <c:v>861.4609</c:v>
                </c:pt>
                <c:pt idx="55">
                  <c:v>861.4953</c:v>
                </c:pt>
                <c:pt idx="56">
                  <c:v>851.5603</c:v>
                </c:pt>
                <c:pt idx="57">
                  <c:v>839.4583</c:v>
                </c:pt>
                <c:pt idx="58">
                  <c:v>829.5882</c:v>
                </c:pt>
                <c:pt idx="59">
                  <c:v>833.5255</c:v>
                </c:pt>
                <c:pt idx="60">
                  <c:v>839.5039</c:v>
                </c:pt>
                <c:pt idx="61">
                  <c:v>862.2991</c:v>
                </c:pt>
                <c:pt idx="62">
                  <c:v>839.0496</c:v>
                </c:pt>
                <c:pt idx="63">
                  <c:v>779.4551</c:v>
                </c:pt>
                <c:pt idx="64">
                  <c:v>773.2197</c:v>
                </c:pt>
                <c:pt idx="65">
                  <c:v>744.589</c:v>
                </c:pt>
                <c:pt idx="66">
                  <c:v>728.8519</c:v>
                </c:pt>
                <c:pt idx="67">
                  <c:v>661.5435</c:v>
                </c:pt>
                <c:pt idx="68">
                  <c:v>587.6757</c:v>
                </c:pt>
                <c:pt idx="69">
                  <c:v>565.9694</c:v>
                </c:pt>
                <c:pt idx="70">
                  <c:v>591.9737</c:v>
                </c:pt>
                <c:pt idx="71">
                  <c:v>762.8116</c:v>
                </c:pt>
                <c:pt idx="72">
                  <c:v>256.5837</c:v>
                </c:pt>
                <c:pt idx="73">
                  <c:v>396.4524</c:v>
                </c:pt>
                <c:pt idx="74">
                  <c:v>881.5273</c:v>
                </c:pt>
                <c:pt idx="75">
                  <c:v>853.44</c:v>
                </c:pt>
                <c:pt idx="76">
                  <c:v>897.3878</c:v>
                </c:pt>
                <c:pt idx="77">
                  <c:v>905.6667</c:v>
                </c:pt>
                <c:pt idx="78">
                  <c:v>755.9231</c:v>
                </c:pt>
                <c:pt idx="79">
                  <c:v>984.1563</c:v>
                </c:pt>
                <c:pt idx="80">
                  <c:v>959.2414</c:v>
                </c:pt>
                <c:pt idx="81">
                  <c:v>936.093</c:v>
                </c:pt>
                <c:pt idx="82">
                  <c:v>844.1154</c:v>
                </c:pt>
                <c:pt idx="83">
                  <c:v>704.4828</c:v>
                </c:pt>
                <c:pt idx="84">
                  <c:v>819.0741</c:v>
                </c:pt>
                <c:pt idx="85">
                  <c:v>817.0952</c:v>
                </c:pt>
                <c:pt idx="86">
                  <c:v>736.4769</c:v>
                </c:pt>
                <c:pt idx="87">
                  <c:v>806.7857</c:v>
                </c:pt>
                <c:pt idx="88">
                  <c:v>651.3409</c:v>
                </c:pt>
                <c:pt idx="89">
                  <c:v>555.5179</c:v>
                </c:pt>
                <c:pt idx="90">
                  <c:v>563.6727</c:v>
                </c:pt>
                <c:pt idx="91">
                  <c:v>513.25</c:v>
                </c:pt>
                <c:pt idx="92">
                  <c:v>631.4727</c:v>
                </c:pt>
                <c:pt idx="93">
                  <c:v>686.4783</c:v>
                </c:pt>
                <c:pt idx="94">
                  <c:v>607.4727</c:v>
                </c:pt>
                <c:pt idx="95">
                  <c:v>689.3968</c:v>
                </c:pt>
                <c:pt idx="96">
                  <c:v>799.1739</c:v>
                </c:pt>
                <c:pt idx="97">
                  <c:v>777.8514</c:v>
                </c:pt>
                <c:pt idx="98">
                  <c:v>800.4471</c:v>
                </c:pt>
                <c:pt idx="99">
                  <c:v>773.8729</c:v>
                </c:pt>
                <c:pt idx="100">
                  <c:v>796.5357</c:v>
                </c:pt>
                <c:pt idx="101">
                  <c:v>867.8556</c:v>
                </c:pt>
                <c:pt idx="102">
                  <c:v>795.3846</c:v>
                </c:pt>
                <c:pt idx="103">
                  <c:v>808.25</c:v>
                </c:pt>
                <c:pt idx="104">
                  <c:v>873.0308</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37.8863900164594</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37.8863900164594</c:v>
                </c:pt>
                <c:pt idx="1">
                  <c:v>-337.8863900164594</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2.1535253153726</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2.1535253153726</c:v>
                </c:pt>
                <c:pt idx="1">
                  <c:v>812.1535253153726</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01.7426116398167</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01.7426116398167</c:v>
                </c:pt>
                <c:pt idx="1">
                  <c:v>1001.7426116398167</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pt idx="52">
                  <c:v>812.1535253153726</c:v>
                </c:pt>
                <c:pt idx="53">
                  <c:v>-337.8863900164594</c:v>
                </c:pt>
                <c:pt idx="54">
                  <c:v>1001.7426116398167</c:v>
                </c:pt>
              </c:numCache>
            </c:numRef>
          </c:xVal>
          <c:yVal>
            <c:numRef>
              <c:f>Sheet1!$B$187:$B$241</c:f>
              <c:numCache>
                <c:formatCode>General</c:formatCode>
                <c:ptCount val="55"/>
                <c:pt idx="0">
                  <c:v>0.11026102054150125</c:v>
                </c:pt>
                <c:pt idx="1">
                  <c:v>0.11600441871954571</c:v>
                </c:pt>
                <c:pt idx="2">
                  <c:v>0.11767655175329574</c:v>
                </c:pt>
                <c:pt idx="3">
                  <c:v>0.11290759852780047</c:v>
                </c:pt>
                <c:pt idx="4">
                  <c:v>0.10994478724359945</c:v>
                </c:pt>
                <c:pt idx="5">
                  <c:v>0.11188944824905946</c:v>
                </c:pt>
                <c:pt idx="6">
                  <c:v>0.11788335599499582</c:v>
                </c:pt>
                <c:pt idx="7">
                  <c:v>0.11859560916996315</c:v>
                </c:pt>
                <c:pt idx="8">
                  <c:v>0.11285089511103356</c:v>
                </c:pt>
                <c:pt idx="9">
                  <c:v>0.1102349540461053</c:v>
                </c:pt>
                <c:pt idx="10">
                  <c:v>0.10761794822259822</c:v>
                </c:pt>
                <c:pt idx="11">
                  <c:v>0.11340520240021831</c:v>
                </c:pt>
                <c:pt idx="12">
                  <c:v>0.10644256524542457</c:v>
                </c:pt>
                <c:pt idx="13">
                  <c:v>0.1173925525146331</c:v>
                </c:pt>
                <c:pt idx="14">
                  <c:v>0.10427700701443386</c:v>
                </c:pt>
                <c:pt idx="15">
                  <c:v>0.11110626808989528</c:v>
                </c:pt>
                <c:pt idx="16">
                  <c:v>0.10274869674795903</c:v>
                </c:pt>
                <c:pt idx="17">
                  <c:v>0.10784183882602028</c:v>
                </c:pt>
                <c:pt idx="18">
                  <c:v>0.12531260852960757</c:v>
                </c:pt>
                <c:pt idx="19">
                  <c:v>0.10967588547799274</c:v>
                </c:pt>
                <c:pt idx="20">
                  <c:v>0.11107791135906571</c:v>
                </c:pt>
                <c:pt idx="21">
                  <c:v>0.09788614521645243</c:v>
                </c:pt>
                <c:pt idx="22">
                  <c:v>0.10549989228707088</c:v>
                </c:pt>
                <c:pt idx="23">
                  <c:v>0.10389589375747142</c:v>
                </c:pt>
                <c:pt idx="24">
                  <c:v>0.10301817107242416</c:v>
                </c:pt>
                <c:pt idx="25">
                  <c:v>0.10012504120578063</c:v>
                </c:pt>
                <c:pt idx="26">
                  <c:v>0.09746654997726961</c:v>
                </c:pt>
                <c:pt idx="27">
                  <c:v>0.09819319748283518</c:v>
                </c:pt>
                <c:pt idx="28">
                  <c:v>0.09632366222653367</c:v>
                </c:pt>
                <c:pt idx="29">
                  <c:v>0.09819005343156006</c:v>
                </c:pt>
                <c:pt idx="30">
                  <c:v>0.09074934971978012</c:v>
                </c:pt>
                <c:pt idx="31">
                  <c:v>0.10276613468090984</c:v>
                </c:pt>
                <c:pt idx="32">
                  <c:v>0.09193360233681298</c:v>
                </c:pt>
                <c:pt idx="33">
                  <c:v>0.09093391457003257</c:v>
                </c:pt>
                <c:pt idx="34">
                  <c:v>0.09126937379170616</c:v>
                </c:pt>
                <c:pt idx="35">
                  <c:v>0.09386478309686976</c:v>
                </c:pt>
                <c:pt idx="36">
                  <c:v>0.09193082994655122</c:v>
                </c:pt>
                <c:pt idx="37">
                  <c:v>0.09864102891414053</c:v>
                </c:pt>
                <c:pt idx="38">
                  <c:v>0.10076002906953964</c:v>
                </c:pt>
                <c:pt idx="39">
                  <c:v>0.09994382130464836</c:v>
                </c:pt>
                <c:pt idx="40">
                  <c:v>0.0896219411480057</c:v>
                </c:pt>
                <c:pt idx="41">
                  <c:v>0.09414359917112995</c:v>
                </c:pt>
                <c:pt idx="42">
                  <c:v>0.09920187542818183</c:v>
                </c:pt>
                <c:pt idx="43">
                  <c:v>0.10045937539952192</c:v>
                </c:pt>
                <c:pt idx="44">
                  <c:v>0.10199411439703851</c:v>
                </c:pt>
                <c:pt idx="45">
                  <c:v>0.09297859256765341</c:v>
                </c:pt>
                <c:pt idx="46">
                  <c:v>0.09713626387510621</c:v>
                </c:pt>
                <c:pt idx="47">
                  <c:v>0.10160328772926763</c:v>
                </c:pt>
                <c:pt idx="48">
                  <c:v>0.10186475627460731</c:v>
                </c:pt>
                <c:pt idx="49">
                  <c:v>0.10139940655121313</c:v>
                </c:pt>
                <c:pt idx="50">
                  <c:v>0.10221521252041428</c:v>
                </c:pt>
                <c:pt idx="51">
                  <c:v>0.09927904029046764</c:v>
                </c:pt>
                <c:pt idx="52">
                  <c:v>0.11586934251052078</c:v>
                </c:pt>
                <c:pt idx="53">
                  <c:v>0.23138961286947898</c:v>
                </c:pt>
                <c:pt idx="54">
                  <c:v>0.09682532306621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042721202133463</c:v>
                </c:pt>
                <c:pt idx="1">
                  <c:v>0.42935618598482056</c:v>
                </c:pt>
                <c:pt idx="2">
                  <c:v>0.4275560023144659</c:v>
                </c:pt>
                <c:pt idx="3">
                  <c:v>0.432624006506229</c:v>
                </c:pt>
                <c:pt idx="4">
                  <c:v>0.5844576698325882</c:v>
                </c:pt>
                <c:pt idx="5">
                  <c:v>0.3853498471484229</c:v>
                </c:pt>
                <c:pt idx="6">
                  <c:v>0.5011224249339568</c:v>
                </c:pt>
                <c:pt idx="7">
                  <c:v>0.4776581667013095</c:v>
                </c:pt>
                <c:pt idx="8">
                  <c:v>0.5370667316122747</c:v>
                </c:pt>
                <c:pt idx="9">
                  <c:v>0.4993064614333976</c:v>
                </c:pt>
                <c:pt idx="10">
                  <c:v>0.5089313312395576</c:v>
                </c:pt>
                <c:pt idx="11">
                  <c:v>0.5264803788425593</c:v>
                </c:pt>
                <c:pt idx="12">
                  <c:v>0.550799756348154</c:v>
                </c:pt>
                <c:pt idx="13">
                  <c:v>0.5733539596278056</c:v>
                </c:pt>
                <c:pt idx="14">
                  <c:v>0.5324828527510688</c:v>
                </c:pt>
                <c:pt idx="15">
                  <c:v>0.5872366185919763</c:v>
                </c:pt>
                <c:pt idx="16">
                  <c:v>0.5817049874831504</c:v>
                </c:pt>
                <c:pt idx="17">
                  <c:v>0.5652598786045603</c:v>
                </c:pt>
                <c:pt idx="18">
                  <c:v>0.6001659134853281</c:v>
                </c:pt>
                <c:pt idx="19">
                  <c:v>0.6937869375090786</c:v>
                </c:pt>
                <c:pt idx="20">
                  <c:v>0.6352370016761267</c:v>
                </c:pt>
                <c:pt idx="21">
                  <c:v>0.5964419265544187</c:v>
                </c:pt>
                <c:pt idx="22">
                  <c:v>0.6955532899037009</c:v>
                </c:pt>
                <c:pt idx="23">
                  <c:v>0.7624458831903125</c:v>
                </c:pt>
                <c:pt idx="24">
                  <c:v>0.6551748242266895</c:v>
                </c:pt>
                <c:pt idx="25">
                  <c:v>0.5823098490742391</c:v>
                </c:pt>
                <c:pt idx="26">
                  <c:v>0.7001474538336832</c:v>
                </c:pt>
                <c:pt idx="27">
                  <c:v>0.6902834545454545</c:v>
                </c:pt>
                <c:pt idx="28">
                  <c:v>0.7908743429041837</c:v>
                </c:pt>
                <c:pt idx="29">
                  <c:v>0.6877138884247053</c:v>
                </c:pt>
                <c:pt idx="30">
                  <c:v>0.5491133456509381</c:v>
                </c:pt>
                <c:pt idx="31">
                  <c:v>0.5994621599097231</c:v>
                </c:pt>
                <c:pt idx="32">
                  <c:v>0.6939483777433549</c:v>
                </c:pt>
                <c:pt idx="33">
                  <c:v>0.6434840447924559</c:v>
                </c:pt>
                <c:pt idx="34">
                  <c:v>0.6413851306493897</c:v>
                </c:pt>
                <c:pt idx="35">
                  <c:v>0.6900891239674352</c:v>
                </c:pt>
                <c:pt idx="36">
                  <c:v>0.6892763411453003</c:v>
                </c:pt>
                <c:pt idx="37">
                  <c:v>0.7047997058338836</c:v>
                </c:pt>
                <c:pt idx="38">
                  <c:v>0.7375089306187846</c:v>
                </c:pt>
                <c:pt idx="39">
                  <c:v>0.8502771109772639</c:v>
                </c:pt>
                <c:pt idx="40">
                  <c:v>0.7502103038590144</c:v>
                </c:pt>
                <c:pt idx="41">
                  <c:v>0.7783637416096747</c:v>
                </c:pt>
                <c:pt idx="42">
                  <c:v>0.7793200430927637</c:v>
                </c:pt>
                <c:pt idx="43">
                  <c:v>0.705047175585671</c:v>
                </c:pt>
                <c:pt idx="44">
                  <c:v>0.7076687035310641</c:v>
                </c:pt>
                <c:pt idx="45">
                  <c:v>0.7165419174646424</c:v>
                </c:pt>
                <c:pt idx="46">
                  <c:v>0.754826760723299</c:v>
                </c:pt>
                <c:pt idx="47">
                  <c:v>0.6827195518025333</c:v>
                </c:pt>
                <c:pt idx="48">
                  <c:v>0.6952074559405423</c:v>
                </c:pt>
                <c:pt idx="49">
                  <c:v>0.6950113290012088</c:v>
                </c:pt>
                <c:pt idx="50">
                  <c:v>0.6919968807780432</c:v>
                </c:pt>
                <c:pt idx="51">
                  <c:v>0.7465664400838633</c:v>
                </c:pt>
                <c:pt idx="52">
                  <c:v>0.7160149090530409</c:v>
                </c:pt>
                <c:pt idx="53">
                  <c:v>0.7981283738815351</c:v>
                </c:pt>
                <c:pt idx="54">
                  <c:v>0.743921329879102</c:v>
                </c:pt>
                <c:pt idx="55">
                  <c:v>0.836132637856119</c:v>
                </c:pt>
                <c:pt idx="56">
                  <c:v>0.7736661948984711</c:v>
                </c:pt>
                <c:pt idx="57">
                  <c:v>0.829697161800565</c:v>
                </c:pt>
                <c:pt idx="58">
                  <c:v>0.7292281727282717</c:v>
                </c:pt>
                <c:pt idx="59">
                  <c:v>0.7013411403214055</c:v>
                </c:pt>
                <c:pt idx="60">
                  <c:v>0.7906329036435341</c:v>
                </c:pt>
                <c:pt idx="61">
                  <c:v>0.7529835793871075</c:v>
                </c:pt>
                <c:pt idx="62">
                  <c:v>0.8105889309852826</c:v>
                </c:pt>
                <c:pt idx="63">
                  <c:v>0.7204369084590357</c:v>
                </c:pt>
                <c:pt idx="64">
                  <c:v>0.7139609418282549</c:v>
                </c:pt>
                <c:pt idx="65">
                  <c:v>0.6623278776018502</c:v>
                </c:pt>
                <c:pt idx="66">
                  <c:v>0.6497585464845155</c:v>
                </c:pt>
                <c:pt idx="67">
                  <c:v>0.5664823757641978</c:v>
                </c:pt>
                <c:pt idx="68">
                  <c:v>0.5352661822931325</c:v>
                </c:pt>
                <c:pt idx="69">
                  <c:v>0.622628602860286</c:v>
                </c:pt>
                <c:pt idx="70">
                  <c:v>0.5270618672583793</c:v>
                </c:pt>
                <c:pt idx="71">
                  <c:v>0.6794639940776724</c:v>
                </c:pt>
                <c:pt idx="72">
                  <c:v>0.2326426538687549</c:v>
                </c:pt>
                <c:pt idx="73">
                  <c:v>0.35835885383711474</c:v>
                </c:pt>
                <c:pt idx="74">
                  <c:v>0.8524439580179275</c:v>
                </c:pt>
                <c:pt idx="75">
                  <c:v>0.8021052631578948</c:v>
                </c:pt>
                <c:pt idx="76">
                  <c:v>0.8446002823529412</c:v>
                </c:pt>
                <c:pt idx="77">
                  <c:v>0.8287868564963694</c:v>
                </c:pt>
                <c:pt idx="78">
                  <c:v>0.6528960960442218</c:v>
                </c:pt>
                <c:pt idx="79">
                  <c:v>0.8304115056505</c:v>
                </c:pt>
                <c:pt idx="80">
                  <c:v>0.8350911539439596</c:v>
                </c:pt>
                <c:pt idx="81">
                  <c:v>0.8225116289041587</c:v>
                </c:pt>
                <c:pt idx="82">
                  <c:v>0.7423785776722174</c:v>
                </c:pt>
                <c:pt idx="83">
                  <c:v>0.6201433098591549</c:v>
                </c:pt>
                <c:pt idx="84">
                  <c:v>0.716757033471888</c:v>
                </c:pt>
                <c:pt idx="85">
                  <c:v>0.681874279869853</c:v>
                </c:pt>
                <c:pt idx="86">
                  <c:v>0.6729995796476351</c:v>
                </c:pt>
                <c:pt idx="87">
                  <c:v>0.7265067086897794</c:v>
                </c:pt>
                <c:pt idx="88">
                  <c:v>0.5770962037729603</c:v>
                </c:pt>
                <c:pt idx="89">
                  <c:v>0.47127711558854724</c:v>
                </c:pt>
                <c:pt idx="90">
                  <c:v>0.46456542485069846</c:v>
                </c:pt>
                <c:pt idx="91">
                  <c:v>0.47029628803592816</c:v>
                </c:pt>
                <c:pt idx="92">
                  <c:v>0.5451338549233801</c:v>
                </c:pt>
                <c:pt idx="93">
                  <c:v>0.6223737987307344</c:v>
                </c:pt>
                <c:pt idx="94">
                  <c:v>0.4879952199222177</c:v>
                </c:pt>
                <c:pt idx="95">
                  <c:v>0.5011753758469278</c:v>
                </c:pt>
                <c:pt idx="96">
                  <c:v>0.5856720245339516</c:v>
                </c:pt>
                <c:pt idx="97">
                  <c:v>0.5655792237752689</c:v>
                </c:pt>
                <c:pt idx="98">
                  <c:v>0.704618926056338</c:v>
                </c:pt>
                <c:pt idx="99">
                  <c:v>0.6865444464158977</c:v>
                </c:pt>
                <c:pt idx="100">
                  <c:v>0.716063740750696</c:v>
                </c:pt>
                <c:pt idx="101">
                  <c:v>0.7550948014818678</c:v>
                </c:pt>
                <c:pt idx="102">
                  <c:v>0.726631458068972</c:v>
                </c:pt>
                <c:pt idx="103">
                  <c:v>0.6866137627895352</c:v>
                </c:pt>
                <c:pt idx="104">
                  <c:v>0.8003425675367205</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929420631440472</c:v>
                </c:pt>
                <c:pt idx="1">
                  <c:v>0.7492952560920703</c:v>
                </c:pt>
                <c:pt idx="2">
                  <c:v>0.7156456396029139</c:v>
                </c:pt>
                <c:pt idx="3">
                  <c:v>0.6951478083571336</c:v>
                </c:pt>
                <c:pt idx="4">
                  <c:v>0.7055861496405792</c:v>
                </c:pt>
                <c:pt idx="5">
                  <c:v>0.7601736724676483</c:v>
                </c:pt>
                <c:pt idx="6">
                  <c:v>0.6525635768931368</c:v>
                </c:pt>
                <c:pt idx="7">
                  <c:v>0.6368754664935908</c:v>
                </c:pt>
                <c:pt idx="8">
                  <c:v>0.669853696124081</c:v>
                </c:pt>
                <c:pt idx="9">
                  <c:v>0.7863793426224835</c:v>
                </c:pt>
                <c:pt idx="10">
                  <c:v>0.8110522926793876</c:v>
                </c:pt>
                <c:pt idx="11">
                  <c:v>0.7236050803586386</c:v>
                </c:pt>
                <c:pt idx="12">
                  <c:v>0.7967700735271033</c:v>
                </c:pt>
                <c:pt idx="13">
                  <c:v>0.6531362425732432</c:v>
                </c:pt>
                <c:pt idx="14">
                  <c:v>0.8597985093753808</c:v>
                </c:pt>
                <c:pt idx="15">
                  <c:v>0.7946198857007203</c:v>
                </c:pt>
                <c:pt idx="16">
                  <c:v>0.8551030483354456</c:v>
                </c:pt>
                <c:pt idx="17">
                  <c:v>0.796668720696584</c:v>
                </c:pt>
                <c:pt idx="18">
                  <c:v>0.5790038230029533</c:v>
                </c:pt>
                <c:pt idx="19">
                  <c:v>0.7632372966481057</c:v>
                </c:pt>
                <c:pt idx="20">
                  <c:v>0.7317488445549516</c:v>
                </c:pt>
                <c:pt idx="21">
                  <c:v>0.9287685532233882</c:v>
                </c:pt>
                <c:pt idx="22">
                  <c:v>0.7977704233622903</c:v>
                </c:pt>
                <c:pt idx="23">
                  <c:v>0.6996078122065728</c:v>
                </c:pt>
                <c:pt idx="24">
                  <c:v>0.828821600176328</c:v>
                </c:pt>
                <c:pt idx="25">
                  <c:v>0.7642618024058372</c:v>
                </c:pt>
                <c:pt idx="26">
                  <c:v>0.7510883835178735</c:v>
                </c:pt>
                <c:pt idx="27">
                  <c:v>0.9644164608187543</c:v>
                </c:pt>
                <c:pt idx="28">
                  <c:v>0.9262953652605102</c:v>
                </c:pt>
                <c:pt idx="29">
                  <c:v>0.8224127454478373</c:v>
                </c:pt>
                <c:pt idx="30">
                  <c:v>1.0066630022744503</c:v>
                </c:pt>
                <c:pt idx="31">
                  <c:v>0.8129366106080207</c:v>
                </c:pt>
                <c:pt idx="32">
                  <c:v>1.064276798378926</c:v>
                </c:pt>
                <c:pt idx="33">
                  <c:v>0.9586068040533662</c:v>
                </c:pt>
                <c:pt idx="34">
                  <c:v>0.9573715989565271</c:v>
                </c:pt>
                <c:pt idx="35">
                  <c:v>0.8942838510162439</c:v>
                </c:pt>
                <c:pt idx="36">
                  <c:v>0.9282140110666189</c:v>
                </c:pt>
                <c:pt idx="37">
                  <c:v>0.8222466843621057</c:v>
                </c:pt>
                <c:pt idx="38">
                  <c:v>0.8563802491103203</c:v>
                </c:pt>
                <c:pt idx="39">
                  <c:v>0.8110576568775177</c:v>
                </c:pt>
                <c:pt idx="40">
                  <c:v>0.9290809826847797</c:v>
                </c:pt>
                <c:pt idx="41">
                  <c:v>0.8565085077452125</c:v>
                </c:pt>
                <c:pt idx="42">
                  <c:v>0.8307977331856147</c:v>
                </c:pt>
                <c:pt idx="43">
                  <c:v>0.8078962039447299</c:v>
                </c:pt>
                <c:pt idx="44">
                  <c:v>0.7868192096069728</c:v>
                </c:pt>
                <c:pt idx="45">
                  <c:v>0.8587055734147864</c:v>
                </c:pt>
                <c:pt idx="46">
                  <c:v>0.8215854188876098</c:v>
                </c:pt>
                <c:pt idx="47">
                  <c:v>0.7961699626929031</c:v>
                </c:pt>
                <c:pt idx="48">
                  <c:v>0.772096251829175</c:v>
                </c:pt>
                <c:pt idx="49">
                  <c:v>0.7619639801036414</c:v>
                </c:pt>
                <c:pt idx="50">
                  <c:v>0.7625958860657931</c:v>
                </c:pt>
                <c:pt idx="51">
                  <c:v>0.8141869615300314</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706040076849871</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706040076849871</c:v>
                </c:pt>
                <c:pt idx="1">
                  <c:v>-0.6706040076849871</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50715370416078</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50715370416078</c:v>
                </c:pt>
                <c:pt idx="1">
                  <c:v>0.6650715370416078</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852634649692159</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852634649692159</c:v>
                </c:pt>
                <c:pt idx="1">
                  <c:v>0.8852634649692159</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929420631440472</c:v>
                </c:pt>
                <c:pt idx="1">
                  <c:v>0.7492952560920703</c:v>
                </c:pt>
                <c:pt idx="2">
                  <c:v>0.7156456396029139</c:v>
                </c:pt>
                <c:pt idx="3">
                  <c:v>0.6951478083571336</c:v>
                </c:pt>
                <c:pt idx="4">
                  <c:v>0.7055861496405792</c:v>
                </c:pt>
                <c:pt idx="5">
                  <c:v>0.7601736724676483</c:v>
                </c:pt>
                <c:pt idx="6">
                  <c:v>0.6525635768931368</c:v>
                </c:pt>
                <c:pt idx="7">
                  <c:v>0.6368754664935908</c:v>
                </c:pt>
                <c:pt idx="8">
                  <c:v>0.669853696124081</c:v>
                </c:pt>
                <c:pt idx="9">
                  <c:v>0.7863793426224835</c:v>
                </c:pt>
                <c:pt idx="10">
                  <c:v>0.8110522926793876</c:v>
                </c:pt>
                <c:pt idx="11">
                  <c:v>0.7236050803586386</c:v>
                </c:pt>
                <c:pt idx="12">
                  <c:v>0.7967700735271033</c:v>
                </c:pt>
                <c:pt idx="13">
                  <c:v>0.6531362425732432</c:v>
                </c:pt>
                <c:pt idx="14">
                  <c:v>0.8597985093753808</c:v>
                </c:pt>
                <c:pt idx="15">
                  <c:v>0.7946198857007203</c:v>
                </c:pt>
                <c:pt idx="16">
                  <c:v>0.8551030483354456</c:v>
                </c:pt>
                <c:pt idx="17">
                  <c:v>0.796668720696584</c:v>
                </c:pt>
                <c:pt idx="18">
                  <c:v>0.5790038230029533</c:v>
                </c:pt>
                <c:pt idx="19">
                  <c:v>0.7632372966481057</c:v>
                </c:pt>
                <c:pt idx="20">
                  <c:v>0.7317488445549516</c:v>
                </c:pt>
                <c:pt idx="21">
                  <c:v>0.9287685532233882</c:v>
                </c:pt>
                <c:pt idx="22">
                  <c:v>0.7977704233622903</c:v>
                </c:pt>
                <c:pt idx="23">
                  <c:v>0.6996078122065728</c:v>
                </c:pt>
                <c:pt idx="24">
                  <c:v>0.828821600176328</c:v>
                </c:pt>
                <c:pt idx="25">
                  <c:v>0.7642618024058372</c:v>
                </c:pt>
                <c:pt idx="26">
                  <c:v>0.7510883835178735</c:v>
                </c:pt>
                <c:pt idx="27">
                  <c:v>0.9644164608187543</c:v>
                </c:pt>
                <c:pt idx="28">
                  <c:v>0.9262953652605102</c:v>
                </c:pt>
                <c:pt idx="29">
                  <c:v>0.8224127454478373</c:v>
                </c:pt>
                <c:pt idx="30">
                  <c:v>1.0066630022744503</c:v>
                </c:pt>
                <c:pt idx="31">
                  <c:v>0.8129366106080207</c:v>
                </c:pt>
                <c:pt idx="32">
                  <c:v>1.064276798378926</c:v>
                </c:pt>
                <c:pt idx="33">
                  <c:v>0.9586068040533662</c:v>
                </c:pt>
                <c:pt idx="34">
                  <c:v>0.9573715989565271</c:v>
                </c:pt>
                <c:pt idx="35">
                  <c:v>0.8942838510162439</c:v>
                </c:pt>
                <c:pt idx="36">
                  <c:v>0.9282140110666189</c:v>
                </c:pt>
                <c:pt idx="37">
                  <c:v>0.8222466843621057</c:v>
                </c:pt>
                <c:pt idx="38">
                  <c:v>0.8563802491103203</c:v>
                </c:pt>
                <c:pt idx="39">
                  <c:v>0.8110576568775177</c:v>
                </c:pt>
                <c:pt idx="40">
                  <c:v>0.9290809826847797</c:v>
                </c:pt>
                <c:pt idx="41">
                  <c:v>0.8565085077452125</c:v>
                </c:pt>
                <c:pt idx="42">
                  <c:v>0.8307977331856147</c:v>
                </c:pt>
                <c:pt idx="43">
                  <c:v>0.8078962039447299</c:v>
                </c:pt>
                <c:pt idx="44">
                  <c:v>0.7868192096069728</c:v>
                </c:pt>
                <c:pt idx="45">
                  <c:v>0.8587055734147864</c:v>
                </c:pt>
                <c:pt idx="46">
                  <c:v>0.8215854188876098</c:v>
                </c:pt>
                <c:pt idx="47">
                  <c:v>0.7961699626929031</c:v>
                </c:pt>
                <c:pt idx="48">
                  <c:v>0.772096251829175</c:v>
                </c:pt>
                <c:pt idx="49">
                  <c:v>0.7619639801036414</c:v>
                </c:pt>
                <c:pt idx="50">
                  <c:v>0.7625958860657931</c:v>
                </c:pt>
                <c:pt idx="51">
                  <c:v>0.8141869615300314</c:v>
                </c:pt>
                <c:pt idx="52">
                  <c:v>0.6650715370416078</c:v>
                </c:pt>
                <c:pt idx="53">
                  <c:v>-0.6706040076849871</c:v>
                </c:pt>
                <c:pt idx="54">
                  <c:v>0.8852634649692159</c:v>
                </c:pt>
              </c:numCache>
            </c:numRef>
          </c:xVal>
          <c:yVal>
            <c:numRef>
              <c:f>Sheet1!$B$187:$B$241</c:f>
              <c:numCache>
                <c:formatCode>General</c:formatCode>
                <c:ptCount val="55"/>
                <c:pt idx="0">
                  <c:v>0.10481004161621586</c:v>
                </c:pt>
                <c:pt idx="1">
                  <c:v>0.10858497855419938</c:v>
                </c:pt>
                <c:pt idx="2">
                  <c:v>0.11149527575148638</c:v>
                </c:pt>
                <c:pt idx="3">
                  <c:v>0.11326809776401303</c:v>
                </c:pt>
                <c:pt idx="4">
                  <c:v>0.11236530365961882</c:v>
                </c:pt>
                <c:pt idx="5">
                  <c:v>0.10764412311535751</c:v>
                </c:pt>
                <c:pt idx="6">
                  <c:v>0.11695113437509086</c:v>
                </c:pt>
                <c:pt idx="7">
                  <c:v>0.11830797194086938</c:v>
                </c:pt>
                <c:pt idx="8">
                  <c:v>0.11545574183310482</c:v>
                </c:pt>
                <c:pt idx="9">
                  <c:v>0.10537763997641232</c:v>
                </c:pt>
                <c:pt idx="10">
                  <c:v>0.10324371915081987</c:v>
                </c:pt>
                <c:pt idx="11">
                  <c:v>0.1108068774712022</c:v>
                </c:pt>
                <c:pt idx="12">
                  <c:v>0.10447896361143137</c:v>
                </c:pt>
                <c:pt idx="13">
                  <c:v>0.11690160550975198</c:v>
                </c:pt>
                <c:pt idx="14">
                  <c:v>0.09902774308243256</c:v>
                </c:pt>
                <c:pt idx="15">
                  <c:v>0.10466492964188463</c:v>
                </c:pt>
                <c:pt idx="16">
                  <c:v>0.0994338453959284</c:v>
                </c:pt>
                <c:pt idx="17">
                  <c:v>0.10448772944264649</c:v>
                </c:pt>
                <c:pt idx="18">
                  <c:v>0.12331319040769709</c:v>
                </c:pt>
                <c:pt idx="19">
                  <c:v>0.1073791555526871</c:v>
                </c:pt>
                <c:pt idx="20">
                  <c:v>0.11010253737497752</c:v>
                </c:pt>
                <c:pt idx="21">
                  <c:v>0.09306264314222074</c:v>
                </c:pt>
                <c:pt idx="22">
                  <c:v>0.10439244508238396</c:v>
                </c:pt>
                <c:pt idx="23">
                  <c:v>0.1128823597361489</c:v>
                </c:pt>
                <c:pt idx="24">
                  <c:v>0.10170688244355036</c:v>
                </c:pt>
                <c:pt idx="25">
                  <c:v>0.10729054781963043</c:v>
                </c:pt>
                <c:pt idx="26">
                  <c:v>0.108429894060937</c:v>
                </c:pt>
                <c:pt idx="27">
                  <c:v>0.08997951719939246</c:v>
                </c:pt>
                <c:pt idx="28">
                  <c:v>0.0932765448964665</c:v>
                </c:pt>
                <c:pt idx="29">
                  <c:v>0.10226117321712148</c:v>
                </c:pt>
                <c:pt idx="30">
                  <c:v>0.0863256868137415</c:v>
                </c:pt>
                <c:pt idx="31">
                  <c:v>0.10308074774850788</c:v>
                </c:pt>
                <c:pt idx="32">
                  <c:v>0.08134276912188745</c:v>
                </c:pt>
                <c:pt idx="33">
                  <c:v>0.09048198437630538</c:v>
                </c:pt>
                <c:pt idx="34">
                  <c:v>0.09058881513119864</c:v>
                </c:pt>
                <c:pt idx="35">
                  <c:v>0.09604516546056782</c:v>
                </c:pt>
                <c:pt idx="36">
                  <c:v>0.09311060453533626</c:v>
                </c:pt>
                <c:pt idx="37">
                  <c:v>0.10227553555354035</c:v>
                </c:pt>
                <c:pt idx="38">
                  <c:v>0.0993233825073933</c:v>
                </c:pt>
                <c:pt idx="39">
                  <c:v>0.10324325521059075</c:v>
                </c:pt>
                <c:pt idx="40">
                  <c:v>0.0930356216578561</c:v>
                </c:pt>
                <c:pt idx="41">
                  <c:v>0.09931228963964026</c:v>
                </c:pt>
                <c:pt idx="42">
                  <c:v>0.10153597011353178</c:v>
                </c:pt>
                <c:pt idx="43">
                  <c:v>0.1035166838130419</c:v>
                </c:pt>
                <c:pt idx="44">
                  <c:v>0.10533959664083521</c:v>
                </c:pt>
                <c:pt idx="45">
                  <c:v>0.09912226922551527</c:v>
                </c:pt>
                <c:pt idx="46">
                  <c:v>0.10233272726203153</c:v>
                </c:pt>
                <c:pt idx="47">
                  <c:v>0.10453086616073375</c:v>
                </c:pt>
                <c:pt idx="48">
                  <c:v>0.10661295982375017</c:v>
                </c:pt>
                <c:pt idx="49">
                  <c:v>0.10748928250084437</c:v>
                </c:pt>
                <c:pt idx="50">
                  <c:v>0.10743463004585453</c:v>
                </c:pt>
                <c:pt idx="51">
                  <c:v>0.10297260705736135</c:v>
                </c:pt>
                <c:pt idx="52">
                  <c:v>0.11586934251052078</c:v>
                </c:pt>
                <c:pt idx="53">
                  <c:v>0.23138961286947898</c:v>
                </c:pt>
                <c:pt idx="54">
                  <c:v>0.09682532306621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2.251</c:v>
                </c:pt>
                <c:pt idx="1">
                  <c:v>728.3491</c:v>
                </c:pt>
                <c:pt idx="2">
                  <c:v>725.0363</c:v>
                </c:pt>
                <c:pt idx="3">
                  <c:v>731.432</c:v>
                </c:pt>
                <c:pt idx="4">
                  <c:v>736.6823</c:v>
                </c:pt>
                <c:pt idx="5">
                  <c:v>725.678</c:v>
                </c:pt>
                <c:pt idx="6">
                  <c:v>715.1685</c:v>
                </c:pt>
                <c:pt idx="7">
                  <c:v>718.1292</c:v>
                </c:pt>
                <c:pt idx="8">
                  <c:v>716.6887</c:v>
                </c:pt>
                <c:pt idx="9">
                  <c:v>716.8087</c:v>
                </c:pt>
                <c:pt idx="10">
                  <c:v>714.0872</c:v>
                </c:pt>
                <c:pt idx="11">
                  <c:v>743.2045</c:v>
                </c:pt>
                <c:pt idx="12">
                  <c:v>739.488</c:v>
                </c:pt>
                <c:pt idx="13">
                  <c:v>719.5407</c:v>
                </c:pt>
                <c:pt idx="14">
                  <c:v>704.8844</c:v>
                </c:pt>
                <c:pt idx="15">
                  <c:v>739.758</c:v>
                </c:pt>
                <c:pt idx="16">
                  <c:v>755.1985</c:v>
                </c:pt>
                <c:pt idx="17">
                  <c:v>705.875</c:v>
                </c:pt>
                <c:pt idx="18">
                  <c:v>785.8315</c:v>
                </c:pt>
                <c:pt idx="19">
                  <c:v>791.4217</c:v>
                </c:pt>
                <c:pt idx="20">
                  <c:v>807.213</c:v>
                </c:pt>
                <c:pt idx="21">
                  <c:v>802.7024</c:v>
                </c:pt>
                <c:pt idx="22">
                  <c:v>794.1728</c:v>
                </c:pt>
                <c:pt idx="23">
                  <c:v>824.0769</c:v>
                </c:pt>
                <c:pt idx="24">
                  <c:v>806.9882</c:v>
                </c:pt>
                <c:pt idx="25">
                  <c:v>777.141</c:v>
                </c:pt>
                <c:pt idx="26">
                  <c:v>751.5053</c:v>
                </c:pt>
                <c:pt idx="27">
                  <c:v>759.3118</c:v>
                </c:pt>
                <c:pt idx="28">
                  <c:v>734.3708</c:v>
                </c:pt>
                <c:pt idx="29">
                  <c:v>765.0588</c:v>
                </c:pt>
                <c:pt idx="30">
                  <c:v>772.7123</c:v>
                </c:pt>
                <c:pt idx="31">
                  <c:v>785.0385</c:v>
                </c:pt>
                <c:pt idx="32">
                  <c:v>800.6029</c:v>
                </c:pt>
                <c:pt idx="33">
                  <c:v>764.266</c:v>
                </c:pt>
                <c:pt idx="34">
                  <c:v>758.3893</c:v>
                </c:pt>
                <c:pt idx="35">
                  <c:v>814.2875</c:v>
                </c:pt>
                <c:pt idx="36">
                  <c:v>860.4138</c:v>
                </c:pt>
                <c:pt idx="37">
                  <c:v>880.1667</c:v>
                </c:pt>
                <c:pt idx="38">
                  <c:v>889.3056</c:v>
                </c:pt>
                <c:pt idx="39">
                  <c:v>882.4459</c:v>
                </c:pt>
                <c:pt idx="40">
                  <c:v>870.3243</c:v>
                </c:pt>
                <c:pt idx="41">
                  <c:v>887.8824</c:v>
                </c:pt>
                <c:pt idx="42">
                  <c:v>903.8737</c:v>
                </c:pt>
                <c:pt idx="43">
                  <c:v>870.8252</c:v>
                </c:pt>
                <c:pt idx="44">
                  <c:v>852.2353</c:v>
                </c:pt>
                <c:pt idx="45">
                  <c:v>864.269</c:v>
                </c:pt>
                <c:pt idx="46">
                  <c:v>856.9241</c:v>
                </c:pt>
                <c:pt idx="47">
                  <c:v>840.8374</c:v>
                </c:pt>
                <c:pt idx="48">
                  <c:v>848.6298</c:v>
                </c:pt>
                <c:pt idx="49">
                  <c:v>826.4493</c:v>
                </c:pt>
                <c:pt idx="50">
                  <c:v>821.4632</c:v>
                </c:pt>
                <c:pt idx="51">
                  <c:v>835.1679</c:v>
                </c:pt>
                <c:pt idx="52">
                  <c:v>825.0783</c:v>
                </c:pt>
                <c:pt idx="53">
                  <c:v>863.4472</c:v>
                </c:pt>
                <c:pt idx="54">
                  <c:v>861.4609</c:v>
                </c:pt>
                <c:pt idx="55">
                  <c:v>861.4953</c:v>
                </c:pt>
                <c:pt idx="56">
                  <c:v>851.5603</c:v>
                </c:pt>
                <c:pt idx="57">
                  <c:v>839.4583</c:v>
                </c:pt>
                <c:pt idx="58">
                  <c:v>829.5882</c:v>
                </c:pt>
                <c:pt idx="59">
                  <c:v>833.5255</c:v>
                </c:pt>
                <c:pt idx="60">
                  <c:v>839.5039</c:v>
                </c:pt>
                <c:pt idx="61">
                  <c:v>862.2991</c:v>
                </c:pt>
                <c:pt idx="62">
                  <c:v>839.0496</c:v>
                </c:pt>
                <c:pt idx="63">
                  <c:v>779.4551</c:v>
                </c:pt>
                <c:pt idx="64">
                  <c:v>773.2197</c:v>
                </c:pt>
                <c:pt idx="65">
                  <c:v>744.589</c:v>
                </c:pt>
                <c:pt idx="66">
                  <c:v>728.8519</c:v>
                </c:pt>
                <c:pt idx="67">
                  <c:v>661.5435</c:v>
                </c:pt>
                <c:pt idx="68">
                  <c:v>587.6757</c:v>
                </c:pt>
                <c:pt idx="69">
                  <c:v>565.9694</c:v>
                </c:pt>
                <c:pt idx="70">
                  <c:v>591.9737</c:v>
                </c:pt>
                <c:pt idx="71">
                  <c:v>762.8116</c:v>
                </c:pt>
                <c:pt idx="72">
                  <c:v>256.5837</c:v>
                </c:pt>
                <c:pt idx="73">
                  <c:v>396.4524</c:v>
                </c:pt>
                <c:pt idx="74">
                  <c:v>881.5273</c:v>
                </c:pt>
                <c:pt idx="75">
                  <c:v>853.44</c:v>
                </c:pt>
                <c:pt idx="76">
                  <c:v>897.3878</c:v>
                </c:pt>
                <c:pt idx="77">
                  <c:v>905.6667</c:v>
                </c:pt>
                <c:pt idx="78">
                  <c:v>755.9231</c:v>
                </c:pt>
                <c:pt idx="79">
                  <c:v>984.1563</c:v>
                </c:pt>
                <c:pt idx="80">
                  <c:v>959.2414</c:v>
                </c:pt>
                <c:pt idx="81">
                  <c:v>936.093</c:v>
                </c:pt>
                <c:pt idx="82">
                  <c:v>844.1154</c:v>
                </c:pt>
                <c:pt idx="83">
                  <c:v>704.4828</c:v>
                </c:pt>
                <c:pt idx="84">
                  <c:v>819.0741</c:v>
                </c:pt>
                <c:pt idx="85">
                  <c:v>817.0952</c:v>
                </c:pt>
                <c:pt idx="86">
                  <c:v>736.4769</c:v>
                </c:pt>
                <c:pt idx="87">
                  <c:v>806.7857</c:v>
                </c:pt>
                <c:pt idx="88">
                  <c:v>651.3409</c:v>
                </c:pt>
                <c:pt idx="89">
                  <c:v>555.5179</c:v>
                </c:pt>
                <c:pt idx="90">
                  <c:v>563.6727</c:v>
                </c:pt>
                <c:pt idx="91">
                  <c:v>513.25</c:v>
                </c:pt>
                <c:pt idx="92">
                  <c:v>631.4727</c:v>
                </c:pt>
                <c:pt idx="93">
                  <c:v>686.4783</c:v>
                </c:pt>
                <c:pt idx="94">
                  <c:v>607.4727</c:v>
                </c:pt>
                <c:pt idx="95">
                  <c:v>689.3968</c:v>
                </c:pt>
                <c:pt idx="96">
                  <c:v>799.1739</c:v>
                </c:pt>
                <c:pt idx="97">
                  <c:v>777.8514</c:v>
                </c:pt>
                <c:pt idx="98">
                  <c:v>800.4471</c:v>
                </c:pt>
                <c:pt idx="99">
                  <c:v>773.8729</c:v>
                </c:pt>
                <c:pt idx="100">
                  <c:v>796.5357</c:v>
                </c:pt>
                <c:pt idx="101">
                  <c:v>867.8556</c:v>
                </c:pt>
                <c:pt idx="102">
                  <c:v>795.3846</c:v>
                </c:pt>
                <c:pt idx="103">
                  <c:v>808.25</c:v>
                </c:pt>
                <c:pt idx="104">
                  <c:v>873.0308</c:v>
                </c:pt>
              </c:numCache>
            </c:numRef>
          </c:xVal>
          <c:yVal>
            <c:numRef>
              <c:f>Sheet1!$B$2:$B$106</c:f>
              <c:numCache>
                <c:formatCode>General</c:formatCode>
                <c:ptCount val="105"/>
                <c:pt idx="0">
                  <c:v>0.23593287265547877</c:v>
                </c:pt>
                <c:pt idx="1">
                  <c:v>0.24141519250780438</c:v>
                </c:pt>
                <c:pt idx="2">
                  <c:v>0.2551440329218107</c:v>
                </c:pt>
                <c:pt idx="3">
                  <c:v>0.2620545073375262</c:v>
                </c:pt>
                <c:pt idx="4">
                  <c:v>0.23386114494518878</c:v>
                </c:pt>
                <c:pt idx="5">
                  <c:v>0.22125</c:v>
                </c:pt>
                <c:pt idx="6">
                  <c:v>0.20467185761957732</c:v>
                </c:pt>
                <c:pt idx="7">
                  <c:v>0.2320730117340287</c:v>
                </c:pt>
                <c:pt idx="8">
                  <c:v>0.1961038961038961</c:v>
                </c:pt>
                <c:pt idx="9">
                  <c:v>0.19263157894736843</c:v>
                </c:pt>
                <c:pt idx="10">
                  <c:v>0.17988929889298894</c:v>
                </c:pt>
                <c:pt idx="11">
                  <c:v>0.20351526364477335</c:v>
                </c:pt>
                <c:pt idx="12">
                  <c:v>0.22026431718061673</c:v>
                </c:pt>
                <c:pt idx="13">
                  <c:v>0.2210242587601078</c:v>
                </c:pt>
                <c:pt idx="14">
                  <c:v>0.1898854961832061</c:v>
                </c:pt>
                <c:pt idx="15">
                  <c:v>0.18384074941451992</c:v>
                </c:pt>
                <c:pt idx="16">
                  <c:v>0.18528995756718528</c:v>
                </c:pt>
                <c:pt idx="17">
                  <c:v>0.18633540372670807</c:v>
                </c:pt>
                <c:pt idx="18">
                  <c:v>0.1586452762923351</c:v>
                </c:pt>
                <c:pt idx="19">
                  <c:v>0.1740041928721174</c:v>
                </c:pt>
                <c:pt idx="20">
                  <c:v>0.1643835616438356</c:v>
                </c:pt>
                <c:pt idx="21">
                  <c:v>0.18834080717488788</c:v>
                </c:pt>
                <c:pt idx="22">
                  <c:v>0.1705263157894737</c:v>
                </c:pt>
                <c:pt idx="23">
                  <c:v>0.16049382716049382</c:v>
                </c:pt>
                <c:pt idx="24">
                  <c:v>0.1738241308793456</c:v>
                </c:pt>
                <c:pt idx="25">
                  <c:v>0.17889908256880735</c:v>
                </c:pt>
                <c:pt idx="26">
                  <c:v>0.17055655296229802</c:v>
                </c:pt>
                <c:pt idx="27">
                  <c:v>0.18712273641851107</c:v>
                </c:pt>
                <c:pt idx="28">
                  <c:v>0.16635514018691588</c:v>
                </c:pt>
                <c:pt idx="29">
                  <c:v>0.1588785046728972</c:v>
                </c:pt>
                <c:pt idx="30">
                  <c:v>0.1489795918367347</c:v>
                </c:pt>
                <c:pt idx="31">
                  <c:v>0.156</c:v>
                </c:pt>
                <c:pt idx="32">
                  <c:v>0.13152804642166344</c:v>
                </c:pt>
                <c:pt idx="33">
                  <c:v>0.1260053619302949</c:v>
                </c:pt>
                <c:pt idx="34">
                  <c:v>0.14348302300109528</c:v>
                </c:pt>
                <c:pt idx="35">
                  <c:v>0.13986013986013987</c:v>
                </c:pt>
                <c:pt idx="36">
                  <c:v>0.11804613297150611</c:v>
                </c:pt>
                <c:pt idx="37">
                  <c:v>0.1291390728476821</c:v>
                </c:pt>
                <c:pt idx="38">
                  <c:v>0.12392426850258176</c:v>
                </c:pt>
                <c:pt idx="39">
                  <c:v>0.13479052823315119</c:v>
                </c:pt>
                <c:pt idx="40">
                  <c:v>0.14760638297872342</c:v>
                </c:pt>
                <c:pt idx="41">
                  <c:v>0.13178294573643412</c:v>
                </c:pt>
                <c:pt idx="42">
                  <c:v>0.13688760806916425</c:v>
                </c:pt>
                <c:pt idx="43">
                  <c:v>0.13715046604527298</c:v>
                </c:pt>
                <c:pt idx="44">
                  <c:v>0.1783840503672613</c:v>
                </c:pt>
                <c:pt idx="45">
                  <c:v>0.18708452041785376</c:v>
                </c:pt>
                <c:pt idx="46">
                  <c:v>0.17459080280592362</c:v>
                </c:pt>
                <c:pt idx="47">
                  <c:v>0.18288288288288287</c:v>
                </c:pt>
                <c:pt idx="48">
                  <c:v>0.1829113924050633</c:v>
                </c:pt>
                <c:pt idx="49">
                  <c:v>0.1933184855233853</c:v>
                </c:pt>
                <c:pt idx="50">
                  <c:v>0.17707362534948742</c:v>
                </c:pt>
                <c:pt idx="51">
                  <c:v>0.15967365967365968</c:v>
                </c:pt>
                <c:pt idx="52">
                  <c:v>0.17008196721311475</c:v>
                </c:pt>
                <c:pt idx="53">
                  <c:v>0.14470588235294118</c:v>
                </c:pt>
                <c:pt idx="54">
                  <c:v>0.15477792732166892</c:v>
                </c:pt>
                <c:pt idx="55">
                  <c:v>0.15507246376811595</c:v>
                </c:pt>
                <c:pt idx="56">
                  <c:v>0.16338028169014085</c:v>
                </c:pt>
                <c:pt idx="57">
                  <c:v>0.1509433962264151</c:v>
                </c:pt>
                <c:pt idx="58">
                  <c:v>0.15195530726256984</c:v>
                </c:pt>
                <c:pt idx="59">
                  <c:v>0.14270833333333333</c:v>
                </c:pt>
                <c:pt idx="60">
                  <c:v>0.13395638629283488</c:v>
                </c:pt>
                <c:pt idx="61">
                  <c:v>0.13048780487804879</c:v>
                </c:pt>
                <c:pt idx="62">
                  <c:v>0.12696747114375656</c:v>
                </c:pt>
                <c:pt idx="63">
                  <c:v>0.15695488721804512</c:v>
                </c:pt>
                <c:pt idx="64">
                  <c:v>0.1610800744878957</c:v>
                </c:pt>
                <c:pt idx="65">
                  <c:v>0.14867617107942974</c:v>
                </c:pt>
                <c:pt idx="66">
                  <c:v>0.14689880304678998</c:v>
                </c:pt>
                <c:pt idx="67">
                  <c:v>0.16546762589928057</c:v>
                </c:pt>
                <c:pt idx="68">
                  <c:v>0.16998468606431852</c:v>
                </c:pt>
                <c:pt idx="69">
                  <c:v>0.1859582542694497</c:v>
                </c:pt>
                <c:pt idx="70">
                  <c:v>0.14339622641509434</c:v>
                </c:pt>
                <c:pt idx="71">
                  <c:v>0.1350293542074364</c:v>
                </c:pt>
                <c:pt idx="72">
                  <c:v>0.31798561151079136</c:v>
                </c:pt>
                <c:pt idx="73">
                  <c:v>0.23119266055045873</c:v>
                </c:pt>
                <c:pt idx="74">
                  <c:v>0.11066398390342053</c:v>
                </c:pt>
                <c:pt idx="75">
                  <c:v>0.09523809523809523</c:v>
                </c:pt>
                <c:pt idx="76">
                  <c:v>0.10986547085201794</c:v>
                </c:pt>
                <c:pt idx="77">
                  <c:v>0.1</c:v>
                </c:pt>
                <c:pt idx="78">
                  <c:v>0.10597826086956522</c:v>
                </c:pt>
                <c:pt idx="79">
                  <c:v>0.08398950131233596</c:v>
                </c:pt>
                <c:pt idx="80">
                  <c:v>0.0847953216374269</c:v>
                </c:pt>
                <c:pt idx="81">
                  <c:v>0.10023310023310024</c:v>
                </c:pt>
                <c:pt idx="82">
                  <c:v>0.07365439093484419</c:v>
                </c:pt>
                <c:pt idx="83">
                  <c:v>0.09119496855345911</c:v>
                </c:pt>
                <c:pt idx="84">
                  <c:v>0.08181818181818182</c:v>
                </c:pt>
                <c:pt idx="85">
                  <c:v>0.10852713178294573</c:v>
                </c:pt>
                <c:pt idx="86">
                  <c:v>0.11187607573149742</c:v>
                </c:pt>
                <c:pt idx="87">
                  <c:v>0.09803921568627451</c:v>
                </c:pt>
                <c:pt idx="88">
                  <c:v>0.09713024282560706</c:v>
                </c:pt>
                <c:pt idx="89">
                  <c:v>0.14432989690721648</c:v>
                </c:pt>
                <c:pt idx="90">
                  <c:v>0.14588859416445624</c:v>
                </c:pt>
                <c:pt idx="91">
                  <c:v>0.12839506172839507</c:v>
                </c:pt>
                <c:pt idx="92">
                  <c:v>0.10617760617760617</c:v>
                </c:pt>
                <c:pt idx="93">
                  <c:v>0.10065645514223195</c:v>
                </c:pt>
                <c:pt idx="94">
                  <c:v>0.12387387387387387</c:v>
                </c:pt>
                <c:pt idx="95">
                  <c:v>0.10714285714285714</c:v>
                </c:pt>
                <c:pt idx="96">
                  <c:v>0.09031413612565445</c:v>
                </c:pt>
                <c:pt idx="97">
                  <c:v>0.09238451935081149</c:v>
                </c:pt>
                <c:pt idx="98">
                  <c:v>0.08826583592938733</c:v>
                </c:pt>
                <c:pt idx="99">
                  <c:v>0.10216450216450217</c:v>
                </c:pt>
                <c:pt idx="100">
                  <c:v>0.12327044025157233</c:v>
                </c:pt>
                <c:pt idx="101">
                  <c:v>0.1056338028169014</c:v>
                </c:pt>
                <c:pt idx="102">
                  <c:v>0.10301109350237718</c:v>
                </c:pt>
                <c:pt idx="103">
                  <c:v>0.11728395061728394</c:v>
                </c:pt>
                <c:pt idx="104">
                  <c:v>0.104838709677419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numCache>
            </c:numRef>
          </c:xVal>
          <c:yVal>
            <c:numRef>
              <c:f>Sheet1!$B$109:$B$160</c:f>
              <c:numCache>
                <c:formatCode>General</c:formatCode>
                <c:ptCount val="52"/>
                <c:pt idx="0">
                  <c:v>0.10714285714285714</c:v>
                </c:pt>
                <c:pt idx="1">
                  <c:v>0.1118421052631579</c:v>
                </c:pt>
                <c:pt idx="2">
                  <c:v>0.10979228486646884</c:v>
                </c:pt>
                <c:pt idx="3">
                  <c:v>0.12518853695324283</c:v>
                </c:pt>
                <c:pt idx="4">
                  <c:v>0.10501567398119123</c:v>
                </c:pt>
                <c:pt idx="5">
                  <c:v>0.10990712074303406</c:v>
                </c:pt>
                <c:pt idx="6">
                  <c:v>0.12482065997130559</c:v>
                </c:pt>
                <c:pt idx="7">
                  <c:v>0.1299342105263158</c:v>
                </c:pt>
                <c:pt idx="8">
                  <c:v>0.1191806331471136</c:v>
                </c:pt>
                <c:pt idx="9">
                  <c:v>0.09726962457337884</c:v>
                </c:pt>
                <c:pt idx="10">
                  <c:v>0.10921985815602837</c:v>
                </c:pt>
                <c:pt idx="11">
                  <c:v>0.10823529411764705</c:v>
                </c:pt>
                <c:pt idx="12">
                  <c:v>0.10841836734693877</c:v>
                </c:pt>
                <c:pt idx="13">
                  <c:v>0.13013698630136986</c:v>
                </c:pt>
                <c:pt idx="14">
                  <c:v>0.10793650793650794</c:v>
                </c:pt>
                <c:pt idx="15">
                  <c:v>0.0975609756097561</c:v>
                </c:pt>
                <c:pt idx="16">
                  <c:v>0.11134453781512606</c:v>
                </c:pt>
                <c:pt idx="17">
                  <c:v>0.10361445783132531</c:v>
                </c:pt>
                <c:pt idx="18">
                  <c:v>0.1432225063938619</c:v>
                </c:pt>
                <c:pt idx="19">
                  <c:v>0.10515873015873016</c:v>
                </c:pt>
                <c:pt idx="20">
                  <c:v>0.1174785100286533</c:v>
                </c:pt>
                <c:pt idx="21">
                  <c:v>0.10543130990415335</c:v>
                </c:pt>
                <c:pt idx="22">
                  <c:v>0.0858085808580858</c:v>
                </c:pt>
                <c:pt idx="23">
                  <c:v>0.11074918566775244</c:v>
                </c:pt>
                <c:pt idx="24">
                  <c:v>0.10509554140127389</c:v>
                </c:pt>
                <c:pt idx="25">
                  <c:v>0.0958904109589041</c:v>
                </c:pt>
                <c:pt idx="26">
                  <c:v>0.12380952380952381</c:v>
                </c:pt>
                <c:pt idx="27">
                  <c:v>0.09116809116809117</c:v>
                </c:pt>
                <c:pt idx="28">
                  <c:v>0.09405940594059406</c:v>
                </c:pt>
                <c:pt idx="29">
                  <c:v>0.0927536231884058</c:v>
                </c:pt>
                <c:pt idx="30">
                  <c:v>0.07386363636363637</c:v>
                </c:pt>
                <c:pt idx="31">
                  <c:v>0.07621951219512195</c:v>
                </c:pt>
                <c:pt idx="32">
                  <c:v>0.08585858585858586</c:v>
                </c:pt>
                <c:pt idx="33">
                  <c:v>0.12127236580516898</c:v>
                </c:pt>
                <c:pt idx="34">
                  <c:v>0.11727616645649433</c:v>
                </c:pt>
                <c:pt idx="35">
                  <c:v>0.0913978494623656</c:v>
                </c:pt>
                <c:pt idx="36">
                  <c:v>0.09523809523809523</c:v>
                </c:pt>
                <c:pt idx="37">
                  <c:v>0.09880239520958084</c:v>
                </c:pt>
                <c:pt idx="38">
                  <c:v>0.08459214501510574</c:v>
                </c:pt>
                <c:pt idx="39">
                  <c:v>0.12110091743119267</c:v>
                </c:pt>
                <c:pt idx="40">
                  <c:v>0.0912863070539419</c:v>
                </c:pt>
                <c:pt idx="41">
                  <c:v>0.10224948875255624</c:v>
                </c:pt>
                <c:pt idx="42">
                  <c:v>0.1016949152542373</c:v>
                </c:pt>
                <c:pt idx="43">
                  <c:v>0.10580204778156997</c:v>
                </c:pt>
                <c:pt idx="44">
                  <c:v>0.10465116279069768</c:v>
                </c:pt>
                <c:pt idx="45">
                  <c:v>0.09059633027522936</c:v>
                </c:pt>
                <c:pt idx="46">
                  <c:v>0.0975609756097561</c:v>
                </c:pt>
                <c:pt idx="47">
                  <c:v>0.09659090909090909</c:v>
                </c:pt>
                <c:pt idx="48">
                  <c:v>0.08959156785243742</c:v>
                </c:pt>
                <c:pt idx="49">
                  <c:v>0.08614564831261101</c:v>
                </c:pt>
                <c:pt idx="50">
                  <c:v>0.08597883597883597</c:v>
                </c:pt>
                <c:pt idx="51">
                  <c:v>0.0854800936768149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37.8863900164594</c:v>
                </c:pt>
              </c:numCache>
            </c:numRef>
          </c:xVal>
          <c:yVal>
            <c:numRef>
              <c:f>Sheet1!$B$163:$B$164</c:f>
              <c:numCache>
                <c:formatCode>General</c:formatCode>
                <c:ptCount val="2"/>
                <c:pt idx="0">
                  <c:v>0.23138961286947898</c:v>
                </c:pt>
                <c:pt idx="1">
                  <c:v>0.231389612869478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37.8863900164594</c:v>
                </c:pt>
                <c:pt idx="1">
                  <c:v>-337.8863900164594</c:v>
                </c:pt>
              </c:numCache>
            </c:numRef>
          </c:xVal>
          <c:yVal>
            <c:numRef>
              <c:f>Sheet1!$B$167:$B$168</c:f>
              <c:numCache>
                <c:formatCode>General</c:formatCode>
                <c:ptCount val="2"/>
                <c:pt idx="0">
                  <c:v>0.23138961286947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2.1535253153726</c:v>
                </c:pt>
              </c:numCache>
            </c:numRef>
          </c:xVal>
          <c:yVal>
            <c:numRef>
              <c:f>Sheet1!$B$171:$B$172</c:f>
              <c:numCache>
                <c:formatCode>General</c:formatCode>
                <c:ptCount val="2"/>
                <c:pt idx="0">
                  <c:v>0.11586934251052078</c:v>
                </c:pt>
                <c:pt idx="1">
                  <c:v>0.115869342510520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2.1535253153726</c:v>
                </c:pt>
                <c:pt idx="1">
                  <c:v>812.1535253153726</c:v>
                </c:pt>
              </c:numCache>
            </c:numRef>
          </c:xVal>
          <c:yVal>
            <c:numRef>
              <c:f>Sheet1!$B$175:$B$176</c:f>
              <c:numCache>
                <c:formatCode>General</c:formatCode>
                <c:ptCount val="2"/>
                <c:pt idx="0">
                  <c:v>0.115869342510520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01.7426116398167</c:v>
                </c:pt>
              </c:numCache>
            </c:numRef>
          </c:xVal>
          <c:yVal>
            <c:numRef>
              <c:f>Sheet1!$B$179:$B$180</c:f>
              <c:numCache>
                <c:formatCode>General</c:formatCode>
                <c:ptCount val="2"/>
                <c:pt idx="0">
                  <c:v>0.0968253230662146</c:v>
                </c:pt>
                <c:pt idx="1">
                  <c:v>0.09682532306621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01.7426116398167</c:v>
                </c:pt>
                <c:pt idx="1">
                  <c:v>1001.7426116398167</c:v>
                </c:pt>
              </c:numCache>
            </c:numRef>
          </c:xVal>
          <c:yVal>
            <c:numRef>
              <c:f>Sheet1!$B$183:$B$184</c:f>
              <c:numCache>
                <c:formatCode>General</c:formatCode>
                <c:ptCount val="2"/>
                <c:pt idx="0">
                  <c:v>0.09682532306621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67.9861</c:v>
                </c:pt>
                <c:pt idx="1">
                  <c:v>810.8088</c:v>
                </c:pt>
                <c:pt idx="2">
                  <c:v>794.1622</c:v>
                </c:pt>
                <c:pt idx="3">
                  <c:v>841.6386</c:v>
                </c:pt>
                <c:pt idx="4">
                  <c:v>871.1343</c:v>
                </c:pt>
                <c:pt idx="5">
                  <c:v>851.7746</c:v>
                </c:pt>
                <c:pt idx="6">
                  <c:v>792.1034</c:v>
                </c:pt>
                <c:pt idx="7">
                  <c:v>785.0127</c:v>
                </c:pt>
                <c:pt idx="8">
                  <c:v>842.2031</c:v>
                </c:pt>
                <c:pt idx="9">
                  <c:v>868.2456</c:v>
                </c:pt>
                <c:pt idx="10">
                  <c:v>894.2987</c:v>
                </c:pt>
                <c:pt idx="11">
                  <c:v>836.6848</c:v>
                </c:pt>
                <c:pt idx="12">
                  <c:v>906.0</c:v>
                </c:pt>
                <c:pt idx="13">
                  <c:v>796.9895</c:v>
                </c:pt>
                <c:pt idx="14">
                  <c:v>927.5588</c:v>
                </c:pt>
                <c:pt idx="15">
                  <c:v>859.5714</c:v>
                </c:pt>
                <c:pt idx="16">
                  <c:v>942.7736</c:v>
                </c:pt>
                <c:pt idx="17">
                  <c:v>892.0698</c:v>
                </c:pt>
                <c:pt idx="18">
                  <c:v>718.1429</c:v>
                </c:pt>
                <c:pt idx="19">
                  <c:v>873.8113</c:v>
                </c:pt>
                <c:pt idx="20">
                  <c:v>859.8537</c:v>
                </c:pt>
                <c:pt idx="21">
                  <c:v>991.1818</c:v>
                </c:pt>
                <c:pt idx="22">
                  <c:v>915.3846</c:v>
                </c:pt>
                <c:pt idx="23">
                  <c:v>931.3529</c:v>
                </c:pt>
                <c:pt idx="24">
                  <c:v>940.0909</c:v>
                </c:pt>
                <c:pt idx="25">
                  <c:v>968.8929</c:v>
                </c:pt>
                <c:pt idx="26">
                  <c:v>995.359</c:v>
                </c:pt>
                <c:pt idx="27">
                  <c:v>988.125</c:v>
                </c:pt>
                <c:pt idx="28">
                  <c:v>1006.7368</c:v>
                </c:pt>
                <c:pt idx="29">
                  <c:v>988.1563</c:v>
                </c:pt>
                <c:pt idx="30">
                  <c:v>1062.2308</c:v>
                </c:pt>
                <c:pt idx="31">
                  <c:v>942.6</c:v>
                </c:pt>
                <c:pt idx="32">
                  <c:v>1050.4412</c:v>
                </c:pt>
                <c:pt idx="33">
                  <c:v>1060.3934</c:v>
                </c:pt>
                <c:pt idx="34">
                  <c:v>1057.0538</c:v>
                </c:pt>
                <c:pt idx="35">
                  <c:v>1031.2157</c:v>
                </c:pt>
                <c:pt idx="36">
                  <c:v>1050.4688</c:v>
                </c:pt>
                <c:pt idx="37">
                  <c:v>983.6667</c:v>
                </c:pt>
                <c:pt idx="38">
                  <c:v>962.5714</c:v>
                </c:pt>
                <c:pt idx="39">
                  <c:v>970.697</c:v>
                </c:pt>
                <c:pt idx="40">
                  <c:v>1073.4545</c:v>
                </c:pt>
                <c:pt idx="41">
                  <c:v>1028.44</c:v>
                </c:pt>
                <c:pt idx="42">
                  <c:v>978.0833</c:v>
                </c:pt>
                <c:pt idx="43">
                  <c:v>965.5645</c:v>
                </c:pt>
                <c:pt idx="44">
                  <c:v>950.2857</c:v>
                </c:pt>
                <c:pt idx="45">
                  <c:v>1040.038</c:v>
                </c:pt>
                <c:pt idx="46">
                  <c:v>998.6471</c:v>
                </c:pt>
                <c:pt idx="47">
                  <c:v>954.1765</c:v>
                </c:pt>
                <c:pt idx="48">
                  <c:v>951.5735</c:v>
                </c:pt>
                <c:pt idx="49">
                  <c:v>956.2062</c:v>
                </c:pt>
                <c:pt idx="50">
                  <c:v>948.0846</c:v>
                </c:pt>
                <c:pt idx="51">
                  <c:v>977.3151</c:v>
                </c:pt>
                <c:pt idx="52">
                  <c:v>812.1535253153726</c:v>
                </c:pt>
                <c:pt idx="53">
                  <c:v>-337.8863900164594</c:v>
                </c:pt>
                <c:pt idx="54">
                  <c:v>1001.7426116398167</c:v>
                </c:pt>
              </c:numCache>
            </c:numRef>
          </c:xVal>
          <c:yVal>
            <c:numRef>
              <c:f>Sheet1!$B$187:$B$241</c:f>
              <c:numCache>
                <c:formatCode>General</c:formatCode>
                <c:ptCount val="55"/>
                <c:pt idx="0">
                  <c:v>0.11026102054150125</c:v>
                </c:pt>
                <c:pt idx="1">
                  <c:v>0.11600441871954571</c:v>
                </c:pt>
                <c:pt idx="2">
                  <c:v>0.11767655175329574</c:v>
                </c:pt>
                <c:pt idx="3">
                  <c:v>0.11290759852780047</c:v>
                </c:pt>
                <c:pt idx="4">
                  <c:v>0.10994478724359945</c:v>
                </c:pt>
                <c:pt idx="5">
                  <c:v>0.11188944824905946</c:v>
                </c:pt>
                <c:pt idx="6">
                  <c:v>0.11788335599499582</c:v>
                </c:pt>
                <c:pt idx="7">
                  <c:v>0.11859560916996315</c:v>
                </c:pt>
                <c:pt idx="8">
                  <c:v>0.11285089511103356</c:v>
                </c:pt>
                <c:pt idx="9">
                  <c:v>0.1102349540461053</c:v>
                </c:pt>
                <c:pt idx="10">
                  <c:v>0.10761794822259822</c:v>
                </c:pt>
                <c:pt idx="11">
                  <c:v>0.11340520240021831</c:v>
                </c:pt>
                <c:pt idx="12">
                  <c:v>0.10644256524542457</c:v>
                </c:pt>
                <c:pt idx="13">
                  <c:v>0.1173925525146331</c:v>
                </c:pt>
                <c:pt idx="14">
                  <c:v>0.10427700701443386</c:v>
                </c:pt>
                <c:pt idx="15">
                  <c:v>0.11110626808989528</c:v>
                </c:pt>
                <c:pt idx="16">
                  <c:v>0.10274869674795903</c:v>
                </c:pt>
                <c:pt idx="17">
                  <c:v>0.10784183882602028</c:v>
                </c:pt>
                <c:pt idx="18">
                  <c:v>0.12531260852960757</c:v>
                </c:pt>
                <c:pt idx="19">
                  <c:v>0.10967588547799274</c:v>
                </c:pt>
                <c:pt idx="20">
                  <c:v>0.11107791135906571</c:v>
                </c:pt>
                <c:pt idx="21">
                  <c:v>0.09788614521645243</c:v>
                </c:pt>
                <c:pt idx="22">
                  <c:v>0.10549989228707088</c:v>
                </c:pt>
                <c:pt idx="23">
                  <c:v>0.10389589375747142</c:v>
                </c:pt>
                <c:pt idx="24">
                  <c:v>0.10301817107242416</c:v>
                </c:pt>
                <c:pt idx="25">
                  <c:v>0.10012504120578063</c:v>
                </c:pt>
                <c:pt idx="26">
                  <c:v>0.09746654997726961</c:v>
                </c:pt>
                <c:pt idx="27">
                  <c:v>0.09819319748283518</c:v>
                </c:pt>
                <c:pt idx="28">
                  <c:v>0.09632366222653367</c:v>
                </c:pt>
                <c:pt idx="29">
                  <c:v>0.09819005343156006</c:v>
                </c:pt>
                <c:pt idx="30">
                  <c:v>0.09074934971978012</c:v>
                </c:pt>
                <c:pt idx="31">
                  <c:v>0.10276613468090984</c:v>
                </c:pt>
                <c:pt idx="32">
                  <c:v>0.09193360233681298</c:v>
                </c:pt>
                <c:pt idx="33">
                  <c:v>0.09093391457003257</c:v>
                </c:pt>
                <c:pt idx="34">
                  <c:v>0.09126937379170616</c:v>
                </c:pt>
                <c:pt idx="35">
                  <c:v>0.09386478309686976</c:v>
                </c:pt>
                <c:pt idx="36">
                  <c:v>0.09193082994655122</c:v>
                </c:pt>
                <c:pt idx="37">
                  <c:v>0.09864102891414053</c:v>
                </c:pt>
                <c:pt idx="38">
                  <c:v>0.10076002906953964</c:v>
                </c:pt>
                <c:pt idx="39">
                  <c:v>0.09994382130464836</c:v>
                </c:pt>
                <c:pt idx="40">
                  <c:v>0.0896219411480057</c:v>
                </c:pt>
                <c:pt idx="41">
                  <c:v>0.09414359917112995</c:v>
                </c:pt>
                <c:pt idx="42">
                  <c:v>0.09920187542818183</c:v>
                </c:pt>
                <c:pt idx="43">
                  <c:v>0.10045937539952192</c:v>
                </c:pt>
                <c:pt idx="44">
                  <c:v>0.10199411439703851</c:v>
                </c:pt>
                <c:pt idx="45">
                  <c:v>0.09297859256765341</c:v>
                </c:pt>
                <c:pt idx="46">
                  <c:v>0.09713626387510621</c:v>
                </c:pt>
                <c:pt idx="47">
                  <c:v>0.10160328772926763</c:v>
                </c:pt>
                <c:pt idx="48">
                  <c:v>0.10186475627460731</c:v>
                </c:pt>
                <c:pt idx="49">
                  <c:v>0.10139940655121313</c:v>
                </c:pt>
                <c:pt idx="50">
                  <c:v>0.10221521252041428</c:v>
                </c:pt>
                <c:pt idx="51">
                  <c:v>0.09927904029046764</c:v>
                </c:pt>
                <c:pt idx="52">
                  <c:v>0.11586934251052078</c:v>
                </c:pt>
                <c:pt idx="53">
                  <c:v>0.23138961286947898</c:v>
                </c:pt>
                <c:pt idx="54">
                  <c:v>0.09682532306621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15827338129496"/>
          <c:min val="0.0589235127478753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5.178030127921491</c:v>
                </c:pt>
                <c:pt idx="2">
                  <c:v>0.0</c:v>
                </c:pt>
                <c:pt idx="3">
                  <c:v>7.6409557791693326</c:v>
                </c:pt>
                <c:pt idx="4">
                  <c:v>8.401673028803126</c:v>
                </c:pt>
                <c:pt idx="5">
                  <c:v>6.03359120125573</c:v>
                </c:pt>
                <c:pt idx="6">
                  <c:v>4.045336122746196</c:v>
                </c:pt>
                <c:pt idx="7">
                  <c:v>4.772449995432002</c:v>
                </c:pt>
                <c:pt idx="8">
                  <c:v>5.744280208541266</c:v>
                </c:pt>
                <c:pt idx="9">
                  <c:v>4.90587717461615</c:v>
                </c:pt>
                <c:pt idx="10">
                  <c:v>4.694573500105056</c:v>
                </c:pt>
                <c:pt idx="11">
                  <c:v>5.706215861238456</c:v>
                </c:pt>
                <c:pt idx="12">
                  <c:v>4.679737916233335</c:v>
                </c:pt>
                <c:pt idx="13">
                  <c:v>4.57194054142145</c:v>
                </c:pt>
                <c:pt idx="14">
                  <c:v>4.297344773536449</c:v>
                </c:pt>
                <c:pt idx="15">
                  <c:v>4.157798218874009</c:v>
                </c:pt>
                <c:pt idx="16">
                  <c:v>3.9619493336928473</c:v>
                </c:pt>
                <c:pt idx="17">
                  <c:v>3.2204717790823376</c:v>
                </c:pt>
                <c:pt idx="18">
                  <c:v>2.448225376929022</c:v>
                </c:pt>
                <c:pt idx="19">
                  <c:v>3.0678807817018594</c:v>
                </c:pt>
                <c:pt idx="20">
                  <c:v>3.072766306766055</c:v>
                </c:pt>
                <c:pt idx="21">
                  <c:v>2.848040279003972</c:v>
                </c:pt>
                <c:pt idx="22">
                  <c:v>1.393541980994871</c:v>
                </c:pt>
                <c:pt idx="23">
                  <c:v>1.940004227530402</c:v>
                </c:pt>
                <c:pt idx="24">
                  <c:v>7.352888705002659</c:v>
                </c:pt>
                <c:pt idx="25">
                  <c:v>8.407584971081555</c:v>
                </c:pt>
                <c:pt idx="26">
                  <c:v>8.649406477800355</c:v>
                </c:pt>
                <c:pt idx="27">
                  <c:v>6.359292359330298</c:v>
                </c:pt>
                <c:pt idx="28">
                  <c:v>9.246110025770559</c:v>
                </c:pt>
                <c:pt idx="29">
                  <c:v>8.395079756689706</c:v>
                </c:pt>
                <c:pt idx="30">
                  <c:v>7.115533972709748</c:v>
                </c:pt>
                <c:pt idx="31">
                  <c:v>7.693289672480953</c:v>
                </c:pt>
                <c:pt idx="32">
                  <c:v>8.460996607992678</c:v>
                </c:pt>
                <c:pt idx="33">
                  <c:v>7.831317823663764</c:v>
                </c:pt>
                <c:pt idx="34">
                  <c:v>6.906659378542208</c:v>
                </c:pt>
                <c:pt idx="35">
                  <c:v>9.612997241169143</c:v>
                </c:pt>
                <c:pt idx="36">
                  <c:v>9.766320045457945</c:v>
                </c:pt>
                <c:pt idx="37">
                  <c:v>8.591039356189581</c:v>
                </c:pt>
                <c:pt idx="38">
                  <c:v>7.928613890496009</c:v>
                </c:pt>
                <c:pt idx="39">
                  <c:v>8.907777057052405</c:v>
                </c:pt>
                <c:pt idx="40">
                  <c:v>7.737090339214486</c:v>
                </c:pt>
                <c:pt idx="41">
                  <c:v>8.664709630717693</c:v>
                </c:pt>
                <c:pt idx="42">
                  <c:v>7.757452047282135</c:v>
                </c:pt>
                <c:pt idx="43">
                  <c:v>8.113693009585514</c:v>
                </c:pt>
                <c:pt idx="44">
                  <c:v>8.042194792227406</c:v>
                </c:pt>
                <c:pt idx="45">
                  <c:v>6.046893327039474</c:v>
                </c:pt>
                <c:pt idx="46">
                  <c:v>6.168763744106363</c:v>
                </c:pt>
                <c:pt idx="47">
                  <c:v>6.1606218871575</c:v>
                </c:pt>
                <c:pt idx="48">
                  <c:v>7.207281879592925</c:v>
                </c:pt>
                <c:pt idx="49">
                  <c:v>7.123453160229834</c:v>
                </c:pt>
                <c:pt idx="50">
                  <c:v>6.091919268286862</c:v>
                </c:pt>
                <c:pt idx="51">
                  <c:v>6.295681751991446</c:v>
                </c:pt>
                <c:pt idx="52">
                  <c:v>6.660088901301545</c:v>
                </c:pt>
                <c:pt idx="53">
                  <c:v>6.93741532641267</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5.29816480840435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5.298164808404359</c:v>
                </c:pt>
                <c:pt idx="1">
                  <c:v>5.29816480840435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5.29816480840435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5.298164808404359</c:v>
                </c:pt>
                <c:pt idx="1">
                  <c:v>5.29816480840435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6.475208754968264</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6.475208754968264</c:v>
                </c:pt>
                <c:pt idx="1">
                  <c:v>6.475208754968264</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pt idx="52">
                  <c:v>5.298164808404359</c:v>
                </c:pt>
                <c:pt idx="53">
                  <c:v>5.298164808404359</c:v>
                </c:pt>
                <c:pt idx="54">
                  <c:v>6.475208754968264</c:v>
                </c:pt>
              </c:numCache>
            </c:numRef>
          </c:xVal>
          <c:yVal>
            <c:numRef>
              <c:f>Sheet1!$B$136:$B$190</c:f>
              <c:numCache>
                <c:formatCode>General</c:formatCode>
                <c:ptCount val="55"/>
                <c:pt idx="0">
                  <c:v>0.002293232302325066</c:v>
                </c:pt>
                <c:pt idx="1">
                  <c:v>0.0035041927267804836</c:v>
                </c:pt>
                <c:pt idx="2">
                  <c:v>0.0026280541063463036</c:v>
                </c:pt>
                <c:pt idx="3">
                  <c:v>0.0037335035594466158</c:v>
                </c:pt>
                <c:pt idx="4">
                  <c:v>0.002463326698424675</c:v>
                </c:pt>
                <c:pt idx="5">
                  <c:v>0.002064347805625276</c:v>
                </c:pt>
                <c:pt idx="6">
                  <c:v>0.002078651526165919</c:v>
                </c:pt>
                <c:pt idx="7">
                  <c:v>0.0029864335804477464</c:v>
                </c:pt>
                <c:pt idx="8">
                  <c:v>0.003161341172091655</c:v>
                </c:pt>
                <c:pt idx="9">
                  <c:v>0.0029284460847567107</c:v>
                </c:pt>
                <c:pt idx="10">
                  <c:v>0.002800826270977398</c:v>
                </c:pt>
                <c:pt idx="11">
                  <c:v>0.0021990456303416462</c:v>
                </c:pt>
                <c:pt idx="12">
                  <c:v>0.0027785645774740216</c:v>
                </c:pt>
                <c:pt idx="13">
                  <c:v>0.0039779808359105715</c:v>
                </c:pt>
                <c:pt idx="14">
                  <c:v>0.004023356865713446</c:v>
                </c:pt>
                <c:pt idx="15">
                  <c:v>0.00341225295758931</c:v>
                </c:pt>
                <c:pt idx="16">
                  <c:v>0.003546353476853767</c:v>
                </c:pt>
                <c:pt idx="17">
                  <c:v>0.004602556546899056</c:v>
                </c:pt>
                <c:pt idx="18">
                  <c:v>0.002856642523021604</c:v>
                </c:pt>
                <c:pt idx="19">
                  <c:v>0.002534217094476162</c:v>
                </c:pt>
                <c:pt idx="20">
                  <c:v>0.003127879033817875</c:v>
                </c:pt>
                <c:pt idx="21">
                  <c:v>0.0035542800483966443</c:v>
                </c:pt>
                <c:pt idx="22">
                  <c:v>0.0033147390491752157</c:v>
                </c:pt>
                <c:pt idx="23">
                  <c:v>0.0048051676779817315</c:v>
                </c:pt>
                <c:pt idx="24">
                  <c:v>0.003399492352618624</c:v>
                </c:pt>
                <c:pt idx="25">
                  <c:v>0.003602477784065186</c:v>
                </c:pt>
                <c:pt idx="26">
                  <c:v>0.003378399829014324</c:v>
                </c:pt>
                <c:pt idx="27">
                  <c:v>0.0039012409958323717</c:v>
                </c:pt>
                <c:pt idx="28">
                  <c:v>0.0036463264273898484</c:v>
                </c:pt>
                <c:pt idx="29">
                  <c:v>0.0038518973863637604</c:v>
                </c:pt>
                <c:pt idx="30">
                  <c:v>0.004008009351926036</c:v>
                </c:pt>
                <c:pt idx="31">
                  <c:v>0.0038991705969112734</c:v>
                </c:pt>
                <c:pt idx="32">
                  <c:v>0.0032207457337999745</c:v>
                </c:pt>
                <c:pt idx="33">
                  <c:v>0.002678029772111472</c:v>
                </c:pt>
                <c:pt idx="34">
                  <c:v>0.0025092039831127897</c:v>
                </c:pt>
                <c:pt idx="35">
                  <c:v>0.003906775844475683</c:v>
                </c:pt>
                <c:pt idx="36">
                  <c:v>0.003407609890326021</c:v>
                </c:pt>
                <c:pt idx="37">
                  <c:v>0.0033270183746066453</c:v>
                </c:pt>
                <c:pt idx="38">
                  <c:v>0.004239268535647645</c:v>
                </c:pt>
                <c:pt idx="39">
                  <c:v>0.004602929504238796</c:v>
                </c:pt>
                <c:pt idx="40">
                  <c:v>0.004757314812367939</c:v>
                </c:pt>
                <c:pt idx="41">
                  <c:v>0.004485309698250722</c:v>
                </c:pt>
                <c:pt idx="42">
                  <c:v>0.004643286338400371</c:v>
                </c:pt>
                <c:pt idx="43">
                  <c:v>0.004333072601034487</c:v>
                </c:pt>
                <c:pt idx="44">
                  <c:v>0.0032961599070715913</c:v>
                </c:pt>
                <c:pt idx="45">
                  <c:v>0.002878869940205706</c:v>
                </c:pt>
                <c:pt idx="46">
                  <c:v>0.0030539001639191387</c:v>
                </c:pt>
                <c:pt idx="47">
                  <c:v>0.0028950367396155694</c:v>
                </c:pt>
                <c:pt idx="48">
                  <c:v>0.0037161688921403587</c:v>
                </c:pt>
                <c:pt idx="49">
                  <c:v>0.003316915367972636</c:v>
                </c:pt>
                <c:pt idx="50">
                  <c:v>0.0026734119515482964</c:v>
                </c:pt>
                <c:pt idx="51">
                  <c:v>0.002247631946111689</c:v>
                </c:pt>
                <c:pt idx="52">
                  <c:v>0.00402809004190552</c:v>
                </c:pt>
                <c:pt idx="53">
                  <c:v>0.00402809004190552</c:v>
                </c:pt>
                <c:pt idx="54">
                  <c:v>0.0027993428081171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263682690275462</c:v>
                </c:pt>
                <c:pt idx="1">
                  <c:v>0.6267798454975211</c:v>
                </c:pt>
                <c:pt idx="2">
                  <c:v>0.605715045045045</c:v>
                </c:pt>
                <c:pt idx="3">
                  <c:v>0.5981822143174744</c:v>
                </c:pt>
                <c:pt idx="4">
                  <c:v>0.5750619443732374</c:v>
                </c:pt>
                <c:pt idx="5">
                  <c:v>0.5584434719516879</c:v>
                </c:pt>
                <c:pt idx="6">
                  <c:v>0.5863415578519998</c:v>
                </c:pt>
                <c:pt idx="7">
                  <c:v>0.578613391030856</c:v>
                </c:pt>
                <c:pt idx="8">
                  <c:v>0.5714134793068582</c:v>
                </c:pt>
                <c:pt idx="9">
                  <c:v>0.5879783356964283</c:v>
                </c:pt>
                <c:pt idx="10">
                  <c:v>0.558520185262997</c:v>
                </c:pt>
                <c:pt idx="11">
                  <c:v>0.5675168686190695</c:v>
                </c:pt>
                <c:pt idx="12">
                  <c:v>0.580266270905951</c:v>
                </c:pt>
                <c:pt idx="13">
                  <c:v>0.5323097707040734</c:v>
                </c:pt>
                <c:pt idx="14">
                  <c:v>0.46577102092587813</c:v>
                </c:pt>
                <c:pt idx="15">
                  <c:v>0.46701911995616247</c:v>
                </c:pt>
                <c:pt idx="16">
                  <c:v>0.4565551779759539</c:v>
                </c:pt>
                <c:pt idx="17">
                  <c:v>0.4629103823874518</c:v>
                </c:pt>
                <c:pt idx="18">
                  <c:v>0.41414893259622315</c:v>
                </c:pt>
                <c:pt idx="19">
                  <c:v>0.4945648023757335</c:v>
                </c:pt>
                <c:pt idx="20">
                  <c:v>0.5342097434419912</c:v>
                </c:pt>
                <c:pt idx="21">
                  <c:v>0.5440647117406219</c:v>
                </c:pt>
                <c:pt idx="22">
                  <c:v>0.49607174534535003</c:v>
                </c:pt>
                <c:pt idx="23">
                  <c:v>0.49112476767676766</c:v>
                </c:pt>
                <c:pt idx="24">
                  <c:v>0.5244224682559765</c:v>
                </c:pt>
                <c:pt idx="25">
                  <c:v>0.5438254060614424</c:v>
                </c:pt>
                <c:pt idx="26">
                  <c:v>0.533866364124812</c:v>
                </c:pt>
                <c:pt idx="27">
                  <c:v>0.5560656551019826</c:v>
                </c:pt>
                <c:pt idx="28">
                  <c:v>0.6367772872352627</c:v>
                </c:pt>
                <c:pt idx="29">
                  <c:v>0.6568080127877458</c:v>
                </c:pt>
                <c:pt idx="30">
                  <c:v>0.5042791691514228</c:v>
                </c:pt>
                <c:pt idx="31">
                  <c:v>0.5226194125153774</c:v>
                </c:pt>
                <c:pt idx="32">
                  <c:v>0.472737330681853</c:v>
                </c:pt>
                <c:pt idx="33">
                  <c:v>0.48634545749546393</c:v>
                </c:pt>
                <c:pt idx="34">
                  <c:v>0.5163866197911282</c:v>
                </c:pt>
                <c:pt idx="35">
                  <c:v>0.6407190232816996</c:v>
                </c:pt>
                <c:pt idx="36">
                  <c:v>0.5600366844383663</c:v>
                </c:pt>
                <c:pt idx="37">
                  <c:v>0.5387923412248602</c:v>
                </c:pt>
                <c:pt idx="38">
                  <c:v>0.5500590421949202</c:v>
                </c:pt>
                <c:pt idx="39">
                  <c:v>0.5408398180594344</c:v>
                </c:pt>
                <c:pt idx="40">
                  <c:v>0.5587597065759344</c:v>
                </c:pt>
                <c:pt idx="41">
                  <c:v>0.5280626791714133</c:v>
                </c:pt>
                <c:pt idx="42">
                  <c:v>0.5437395485846471</c:v>
                </c:pt>
                <c:pt idx="43">
                  <c:v>0.5595802857890633</c:v>
                </c:pt>
                <c:pt idx="44">
                  <c:v>0.5708433939446492</c:v>
                </c:pt>
                <c:pt idx="45">
                  <c:v>0.5619127857744034</c:v>
                </c:pt>
                <c:pt idx="46">
                  <c:v>0.5402569514466871</c:v>
                </c:pt>
                <c:pt idx="47">
                  <c:v>0.5409489341881183</c:v>
                </c:pt>
                <c:pt idx="48">
                  <c:v>0.5218708164850406</c:v>
                </c:pt>
                <c:pt idx="49">
                  <c:v>0.5593483808493595</c:v>
                </c:pt>
                <c:pt idx="50">
                  <c:v>0.5586584130569257</c:v>
                </c:pt>
                <c:pt idx="51">
                  <c:v>0.554586061980267</c:v>
                </c:pt>
                <c:pt idx="52">
                  <c:v>0.6111998771867521</c:v>
                </c:pt>
                <c:pt idx="53">
                  <c:v>0.6402075543468042</c:v>
                </c:pt>
                <c:pt idx="54">
                  <c:v>0.5916770880324198</c:v>
                </c:pt>
                <c:pt idx="55">
                  <c:v>0.5528158437935844</c:v>
                </c:pt>
                <c:pt idx="56">
                  <c:v>0.577389351791469</c:v>
                </c:pt>
                <c:pt idx="57">
                  <c:v>0.6112399329133674</c:v>
                </c:pt>
                <c:pt idx="58">
                  <c:v>0.5254589973385476</c:v>
                </c:pt>
                <c:pt idx="59">
                  <c:v>0.5466507228190424</c:v>
                </c:pt>
                <c:pt idx="60">
                  <c:v>0.5436166231546419</c:v>
                </c:pt>
                <c:pt idx="61">
                  <c:v>0.5067114093959731</c:v>
                </c:pt>
                <c:pt idx="62">
                  <c:v>0.5720275174540164</c:v>
                </c:pt>
                <c:pt idx="63">
                  <c:v>0.5518470751621611</c:v>
                </c:pt>
                <c:pt idx="64">
                  <c:v>0.4897268460424161</c:v>
                </c:pt>
                <c:pt idx="65">
                  <c:v>0.5228339087611069</c:v>
                </c:pt>
                <c:pt idx="66">
                  <c:v>0.4841465343404414</c:v>
                </c:pt>
                <c:pt idx="67">
                  <c:v>0.4679124018033533</c:v>
                </c:pt>
                <c:pt idx="68">
                  <c:v>0.48743083378969454</c:v>
                </c:pt>
                <c:pt idx="69">
                  <c:v>0.4763961217227054</c:v>
                </c:pt>
                <c:pt idx="70">
                  <c:v>0.4724636238726043</c:v>
                </c:pt>
                <c:pt idx="71">
                  <c:v>0.4726797869192068</c:v>
                </c:pt>
                <c:pt idx="72">
                  <c:v>0.5696250516290331</c:v>
                </c:pt>
                <c:pt idx="73">
                  <c:v>0.599890157413347</c:v>
                </c:pt>
                <c:pt idx="74">
                  <c:v>0.6667226144980061</c:v>
                </c:pt>
                <c:pt idx="75">
                  <c:v>0.5377994984290568</c:v>
                </c:pt>
                <c:pt idx="76">
                  <c:v>0.5807953963264187</c:v>
                </c:pt>
                <c:pt idx="77">
                  <c:v>0.5350699714646162</c:v>
                </c:pt>
                <c:pt idx="78">
                  <c:v>0.5445240564771567</c:v>
                </c:pt>
                <c:pt idx="79">
                  <c:v>0.5250761932253709</c:v>
                </c:pt>
                <c:pt idx="80">
                  <c:v>0.5721607656383503</c:v>
                </c:pt>
                <c:pt idx="81">
                  <c:v>0.5296633831500638</c:v>
                </c:pt>
                <c:pt idx="82">
                  <c:v>0.5539951289553823</c:v>
                </c:pt>
                <c:pt idx="83">
                  <c:v>0.6468774140251663</c:v>
                </c:pt>
                <c:pt idx="84">
                  <c:v>0.7639319143715881</c:v>
                </c:pt>
                <c:pt idx="85">
                  <c:v>0.56291678895123</c:v>
                </c:pt>
                <c:pt idx="86">
                  <c:v>0.5204125754781237</c:v>
                </c:pt>
                <c:pt idx="87">
                  <c:v>0.5424105555022403</c:v>
                </c:pt>
                <c:pt idx="88">
                  <c:v>0.5710303438754631</c:v>
                </c:pt>
                <c:pt idx="89">
                  <c:v>0.5480101674311625</c:v>
                </c:pt>
                <c:pt idx="90">
                  <c:v>0.5402341285521676</c:v>
                </c:pt>
                <c:pt idx="91">
                  <c:v>0.5424985647981309</c:v>
                </c:pt>
                <c:pt idx="92">
                  <c:v>0.6054030081207037</c:v>
                </c:pt>
                <c:pt idx="93">
                  <c:v>0.5134119002123381</c:v>
                </c:pt>
                <c:pt idx="94">
                  <c:v>0.5479885475945945</c:v>
                </c:pt>
                <c:pt idx="95">
                  <c:v>0.5180986406362116</c:v>
                </c:pt>
                <c:pt idx="96">
                  <c:v>0.44783644004596096</c:v>
                </c:pt>
                <c:pt idx="97">
                  <c:v>0.5163524886144233</c:v>
                </c:pt>
                <c:pt idx="98">
                  <c:v>0.529752519533748</c:v>
                </c:pt>
                <c:pt idx="99">
                  <c:v>0.6004416771623451</c:v>
                </c:pt>
                <c:pt idx="100">
                  <c:v>0.5654460528292337</c:v>
                </c:pt>
                <c:pt idx="101">
                  <c:v>0.5478953615124716</c:v>
                </c:pt>
                <c:pt idx="102">
                  <c:v>0.5604652551816358</c:v>
                </c:pt>
                <c:pt idx="103">
                  <c:v>0.512775670775782</c:v>
                </c:pt>
                <c:pt idx="104">
                  <c:v>0.5456660418789712</c:v>
                </c:pt>
              </c:numCache>
            </c:numRef>
          </c:xVal>
          <c:yVal>
            <c:numRef>
              <c:f>Sheet1!$B$2:$B$106</c:f>
              <c:numCache>
                <c:formatCode>General</c:formatCode>
                <c:ptCount val="105"/>
                <c:pt idx="0">
                  <c:v>0.3313008130081301</c:v>
                </c:pt>
                <c:pt idx="1">
                  <c:v>0.3425196850393701</c:v>
                </c:pt>
                <c:pt idx="2">
                  <c:v>0.3713509843856076</c:v>
                </c:pt>
                <c:pt idx="3">
                  <c:v>0.3820572312451663</c:v>
                </c:pt>
                <c:pt idx="4">
                  <c:v>0.3963210702341137</c:v>
                </c:pt>
                <c:pt idx="5">
                  <c:v>0.390154968094804</c:v>
                </c:pt>
                <c:pt idx="6">
                  <c:v>0.4055299539170507</c:v>
                </c:pt>
                <c:pt idx="7">
                  <c:v>0.3687821612349914</c:v>
                </c:pt>
                <c:pt idx="8">
                  <c:v>0.3938294010889292</c:v>
                </c:pt>
                <c:pt idx="9">
                  <c:v>0.41013185287994447</c:v>
                </c:pt>
                <c:pt idx="10">
                  <c:v>0.40401505646173147</c:v>
                </c:pt>
                <c:pt idx="11">
                  <c:v>0.39455351488283724</c:v>
                </c:pt>
                <c:pt idx="12">
                  <c:v>0.3795662100456621</c:v>
                </c:pt>
                <c:pt idx="13">
                  <c:v>0.3628715647784633</c:v>
                </c:pt>
                <c:pt idx="14">
                  <c:v>0.3714141922496225</c:v>
                </c:pt>
                <c:pt idx="15">
                  <c:v>0.3689942344650865</c:v>
                </c:pt>
                <c:pt idx="16">
                  <c:v>0.33206686930091184</c:v>
                </c:pt>
                <c:pt idx="17">
                  <c:v>0.32275132275132273</c:v>
                </c:pt>
                <c:pt idx="18">
                  <c:v>0.24142661179698216</c:v>
                </c:pt>
                <c:pt idx="19">
                  <c:v>0.2591170825335892</c:v>
                </c:pt>
                <c:pt idx="20">
                  <c:v>0.2935278030993619</c:v>
                </c:pt>
                <c:pt idx="21">
                  <c:v>0.29021372328458944</c:v>
                </c:pt>
                <c:pt idx="22">
                  <c:v>0.2564901349948079</c:v>
                </c:pt>
                <c:pt idx="23">
                  <c:v>0.2222222222222222</c:v>
                </c:pt>
                <c:pt idx="24">
                  <c:v>0.2563256325632563</c:v>
                </c:pt>
                <c:pt idx="25">
                  <c:v>0.28936742934051146</c:v>
                </c:pt>
                <c:pt idx="26">
                  <c:v>0.3640287769784173</c:v>
                </c:pt>
                <c:pt idx="27">
                  <c:v>0.3161875945537065</c:v>
                </c:pt>
                <c:pt idx="28">
                  <c:v>0.3322422258592471</c:v>
                </c:pt>
                <c:pt idx="29">
                  <c:v>0.35968992248062015</c:v>
                </c:pt>
                <c:pt idx="30">
                  <c:v>0.3376865671641791</c:v>
                </c:pt>
                <c:pt idx="31">
                  <c:v>0.33858267716535434</c:v>
                </c:pt>
                <c:pt idx="32">
                  <c:v>0.34210526315789475</c:v>
                </c:pt>
                <c:pt idx="33">
                  <c:v>0.3275167785234899</c:v>
                </c:pt>
                <c:pt idx="34">
                  <c:v>0.3550446998722861</c:v>
                </c:pt>
                <c:pt idx="35">
                  <c:v>0.3446502057613169</c:v>
                </c:pt>
                <c:pt idx="36">
                  <c:v>0.33414634146341465</c:v>
                </c:pt>
                <c:pt idx="37">
                  <c:v>0.3102918586789555</c:v>
                </c:pt>
                <c:pt idx="38">
                  <c:v>0.30701754385964913</c:v>
                </c:pt>
                <c:pt idx="39">
                  <c:v>0.2848</c:v>
                </c:pt>
                <c:pt idx="40">
                  <c:v>0.2849673202614379</c:v>
                </c:pt>
                <c:pt idx="41">
                  <c:v>0.3107932379713914</c:v>
                </c:pt>
                <c:pt idx="42">
                  <c:v>0.31624863685932386</c:v>
                </c:pt>
                <c:pt idx="43">
                  <c:v>0.312984496124031</c:v>
                </c:pt>
                <c:pt idx="44">
                  <c:v>0.2913816689466484</c:v>
                </c:pt>
                <c:pt idx="45">
                  <c:v>0.34015927189988626</c:v>
                </c:pt>
                <c:pt idx="46">
                  <c:v>0.3611111111111111</c:v>
                </c:pt>
                <c:pt idx="47">
                  <c:v>0.360447381799695</c:v>
                </c:pt>
                <c:pt idx="48">
                  <c:v>0.3472374679839005</c:v>
                </c:pt>
                <c:pt idx="49">
                  <c:v>0.3573998560805949</c:v>
                </c:pt>
                <c:pt idx="50">
                  <c:v>0.3527093596059113</c:v>
                </c:pt>
                <c:pt idx="51">
                  <c:v>0.34893048128342247</c:v>
                </c:pt>
                <c:pt idx="52">
                  <c:v>0.3300186451211933</c:v>
                </c:pt>
                <c:pt idx="53">
                  <c:v>0.33198106828938473</c:v>
                </c:pt>
                <c:pt idx="54">
                  <c:v>0.32</c:v>
                </c:pt>
                <c:pt idx="55">
                  <c:v>0.3196384552177486</c:v>
                </c:pt>
                <c:pt idx="56">
                  <c:v>0.3236449332285939</c:v>
                </c:pt>
                <c:pt idx="57">
                  <c:v>0.3100944081336238</c:v>
                </c:pt>
                <c:pt idx="58">
                  <c:v>0.33022636484687085</c:v>
                </c:pt>
                <c:pt idx="59">
                  <c:v>0.33298097251585623</c:v>
                </c:pt>
                <c:pt idx="60">
                  <c:v>0.32314657611771364</c:v>
                </c:pt>
                <c:pt idx="61">
                  <c:v>0.31997282608695654</c:v>
                </c:pt>
                <c:pt idx="62">
                  <c:v>0.3228346456692913</c:v>
                </c:pt>
                <c:pt idx="63">
                  <c:v>0.33149476006618867</c:v>
                </c:pt>
                <c:pt idx="64">
                  <c:v>0.32989690721649484</c:v>
                </c:pt>
                <c:pt idx="65">
                  <c:v>0.3123140987507436</c:v>
                </c:pt>
                <c:pt idx="66">
                  <c:v>0.3118724158298878</c:v>
                </c:pt>
                <c:pt idx="67">
                  <c:v>0.30632411067193677</c:v>
                </c:pt>
                <c:pt idx="68">
                  <c:v>0.32521008403361346</c:v>
                </c:pt>
                <c:pt idx="69">
                  <c:v>0.33083645443196</c:v>
                </c:pt>
                <c:pt idx="70">
                  <c:v>0.324905183312263</c:v>
                </c:pt>
                <c:pt idx="71">
                  <c:v>0.2962962962962963</c:v>
                </c:pt>
                <c:pt idx="72">
                  <c:v>0.27399165507649514</c:v>
                </c:pt>
                <c:pt idx="73">
                  <c:v>0.28041543026706234</c:v>
                </c:pt>
                <c:pt idx="74">
                  <c:v>0.2914285714285714</c:v>
                </c:pt>
                <c:pt idx="75">
                  <c:v>0.30618892508143325</c:v>
                </c:pt>
                <c:pt idx="76">
                  <c:v>0.297339593114241</c:v>
                </c:pt>
                <c:pt idx="77">
                  <c:v>0.2646502835538752</c:v>
                </c:pt>
                <c:pt idx="78">
                  <c:v>0.30357142857142855</c:v>
                </c:pt>
                <c:pt idx="79">
                  <c:v>0.29528985507246375</c:v>
                </c:pt>
                <c:pt idx="80">
                  <c:v>0.2857142857142857</c:v>
                </c:pt>
                <c:pt idx="81">
                  <c:v>0.2786259541984733</c:v>
                </c:pt>
                <c:pt idx="82">
                  <c:v>0.2536231884057971</c:v>
                </c:pt>
                <c:pt idx="83">
                  <c:v>0.24929971988795518</c:v>
                </c:pt>
                <c:pt idx="84">
                  <c:v>0.23670212765957446</c:v>
                </c:pt>
                <c:pt idx="85">
                  <c:v>0.2839506172839506</c:v>
                </c:pt>
                <c:pt idx="86">
                  <c:v>0.30892857142857144</c:v>
                </c:pt>
                <c:pt idx="87">
                  <c:v>0.3145539906103286</c:v>
                </c:pt>
                <c:pt idx="88">
                  <c:v>0.30245746691871456</c:v>
                </c:pt>
                <c:pt idx="89">
                  <c:v>0.2702702702702703</c:v>
                </c:pt>
                <c:pt idx="90">
                  <c:v>0.26450116009280744</c:v>
                </c:pt>
                <c:pt idx="91">
                  <c:v>0.2702702702702703</c:v>
                </c:pt>
                <c:pt idx="92">
                  <c:v>0.2936936936936937</c:v>
                </c:pt>
                <c:pt idx="93">
                  <c:v>0.2508532423208191</c:v>
                </c:pt>
                <c:pt idx="94">
                  <c:v>0.29901960784313725</c:v>
                </c:pt>
                <c:pt idx="95">
                  <c:v>0.32276330690826727</c:v>
                </c:pt>
                <c:pt idx="96">
                  <c:v>0.338567222767419</c:v>
                </c:pt>
                <c:pt idx="97">
                  <c:v>0.34549878345498786</c:v>
                </c:pt>
                <c:pt idx="98">
                  <c:v>0.3315858453473132</c:v>
                </c:pt>
                <c:pt idx="99">
                  <c:v>0.31012987012987014</c:v>
                </c:pt>
                <c:pt idx="100">
                  <c:v>0.29706115965051627</c:v>
                </c:pt>
                <c:pt idx="101">
                  <c:v>0.3198061780738946</c:v>
                </c:pt>
                <c:pt idx="102">
                  <c:v>0.29411764705882354</c:v>
                </c:pt>
                <c:pt idx="103">
                  <c:v>0.29278183292781834</c:v>
                </c:pt>
                <c:pt idx="104">
                  <c:v>0.2948979591836734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662459342962177</c:v>
                </c:pt>
                <c:pt idx="1">
                  <c:v>0.5563254590135871</c:v>
                </c:pt>
                <c:pt idx="2">
                  <c:v>0.624113560134164</c:v>
                </c:pt>
                <c:pt idx="3">
                  <c:v>0.5624698529424386</c:v>
                </c:pt>
                <c:pt idx="4">
                  <c:v>0.625325330092669</c:v>
                </c:pt>
                <c:pt idx="5">
                  <c:v>0.5572857693468682</c:v>
                </c:pt>
                <c:pt idx="6">
                  <c:v>0.4959882436881189</c:v>
                </c:pt>
                <c:pt idx="7">
                  <c:v>0.4810924100201614</c:v>
                </c:pt>
                <c:pt idx="8">
                  <c:v>0.5939391706304616</c:v>
                </c:pt>
                <c:pt idx="9">
                  <c:v>0.5628963141371469</c:v>
                </c:pt>
                <c:pt idx="10">
                  <c:v>0.5856624048519522</c:v>
                </c:pt>
                <c:pt idx="11">
                  <c:v>0.5485015490387471</c:v>
                </c:pt>
                <c:pt idx="12">
                  <c:v>0.5738573142691418</c:v>
                </c:pt>
                <c:pt idx="13">
                  <c:v>0.7396581743602944</c:v>
                </c:pt>
                <c:pt idx="14">
                  <c:v>0.6551262502016314</c:v>
                </c:pt>
                <c:pt idx="15">
                  <c:v>0.6621564029350837</c:v>
                </c:pt>
                <c:pt idx="16">
                  <c:v>0.7337149827046694</c:v>
                </c:pt>
                <c:pt idx="17">
                  <c:v>1.005178209065457</c:v>
                </c:pt>
                <c:pt idx="18">
                  <c:v>0.5943826226751748</c:v>
                </c:pt>
                <c:pt idx="19">
                  <c:v>0.6250938901655897</c:v>
                </c:pt>
                <c:pt idx="20">
                  <c:v>0.5540104464434661</c:v>
                </c:pt>
                <c:pt idx="21">
                  <c:v>1.0037172011661808</c:v>
                </c:pt>
                <c:pt idx="22">
                  <c:v>0.7293533842136977</c:v>
                </c:pt>
                <c:pt idx="23">
                  <c:v>0.6015468755891997</c:v>
                </c:pt>
                <c:pt idx="24">
                  <c:v>0.7039045050153561</c:v>
                </c:pt>
                <c:pt idx="25">
                  <c:v>0.7790518434115314</c:v>
                </c:pt>
                <c:pt idx="26">
                  <c:v>0.6591042743719823</c:v>
                </c:pt>
                <c:pt idx="27">
                  <c:v>0.6809818331504075</c:v>
                </c:pt>
                <c:pt idx="28">
                  <c:v>0.5986886743665191</c:v>
                </c:pt>
                <c:pt idx="29">
                  <c:v>0.7336526645768026</c:v>
                </c:pt>
                <c:pt idx="30">
                  <c:v>0.6407900718536763</c:v>
                </c:pt>
                <c:pt idx="31">
                  <c:v>1.0706582090693737</c:v>
                </c:pt>
                <c:pt idx="32">
                  <c:v>0.735181756580662</c:v>
                </c:pt>
                <c:pt idx="33">
                  <c:v>0.7297554654629805</c:v>
                </c:pt>
                <c:pt idx="34">
                  <c:v>0.7845005843039496</c:v>
                </c:pt>
                <c:pt idx="35">
                  <c:v>0.8918823772561415</c:v>
                </c:pt>
                <c:pt idx="36">
                  <c:v>0.6077024032877608</c:v>
                </c:pt>
                <c:pt idx="37">
                  <c:v>0.8784096011947546</c:v>
                </c:pt>
                <c:pt idx="38">
                  <c:v>0.4594517719633285</c:v>
                </c:pt>
                <c:pt idx="39">
                  <c:v>0.5425585687080557</c:v>
                </c:pt>
                <c:pt idx="40">
                  <c:v>0.499704562984289</c:v>
                </c:pt>
                <c:pt idx="41">
                  <c:v>0.5123641028623104</c:v>
                </c:pt>
                <c:pt idx="42">
                  <c:v>0.5624168603628857</c:v>
                </c:pt>
                <c:pt idx="43">
                  <c:v>0.5700495209478045</c:v>
                </c:pt>
                <c:pt idx="44">
                  <c:v>0.5710286724589853</c:v>
                </c:pt>
                <c:pt idx="45">
                  <c:v>0.5694360459034278</c:v>
                </c:pt>
                <c:pt idx="46">
                  <c:v>0.5540550648710039</c:v>
                </c:pt>
                <c:pt idx="47">
                  <c:v>0.5352395251465445</c:v>
                </c:pt>
                <c:pt idx="48">
                  <c:v>0.533917800892163</c:v>
                </c:pt>
                <c:pt idx="49">
                  <c:v>0.6459932361208713</c:v>
                </c:pt>
                <c:pt idx="50">
                  <c:v>0.6714930426534926</c:v>
                </c:pt>
                <c:pt idx="51">
                  <c:v>0.6127882965773157</c:v>
                </c:pt>
              </c:numCache>
            </c:numRef>
          </c:xVal>
          <c:yVal>
            <c:numRef>
              <c:f>Sheet1!$B$109:$B$160</c:f>
              <c:numCache>
                <c:formatCode>General</c:formatCode>
                <c:ptCount val="52"/>
                <c:pt idx="0">
                  <c:v>0.2641860465116279</c:v>
                </c:pt>
                <c:pt idx="1">
                  <c:v>0.29545454545454547</c:v>
                </c:pt>
                <c:pt idx="2">
                  <c:v>0.29815303430079154</c:v>
                </c:pt>
                <c:pt idx="3">
                  <c:v>0.2988599348534202</c:v>
                </c:pt>
                <c:pt idx="4">
                  <c:v>0.2863070539419087</c:v>
                </c:pt>
                <c:pt idx="5">
                  <c:v>0.30857142857142855</c:v>
                </c:pt>
                <c:pt idx="6">
                  <c:v>0.3365553602811951</c:v>
                </c:pt>
                <c:pt idx="7">
                  <c:v>0.29445727482678985</c:v>
                </c:pt>
                <c:pt idx="8">
                  <c:v>0.32632743362831856</c:v>
                </c:pt>
                <c:pt idx="9">
                  <c:v>0.33166833166833165</c:v>
                </c:pt>
                <c:pt idx="10">
                  <c:v>0.3360287511230907</c:v>
                </c:pt>
                <c:pt idx="11">
                  <c:v>0.3601147776183644</c:v>
                </c:pt>
                <c:pt idx="12">
                  <c:v>0.3612403100775194</c:v>
                </c:pt>
                <c:pt idx="13">
                  <c:v>0.33088235294117646</c:v>
                </c:pt>
                <c:pt idx="14">
                  <c:v>0.33955223880597013</c:v>
                </c:pt>
                <c:pt idx="15">
                  <c:v>0.3305870236869207</c:v>
                </c:pt>
                <c:pt idx="16">
                  <c:v>0.3559556786703601</c:v>
                </c:pt>
                <c:pt idx="17">
                  <c:v>0.3270440251572327</c:v>
                </c:pt>
                <c:pt idx="18">
                  <c:v>0.33037037037037037</c:v>
                </c:pt>
                <c:pt idx="19">
                  <c:v>0.3507246376811594</c:v>
                </c:pt>
                <c:pt idx="20">
                  <c:v>0.3154471544715447</c:v>
                </c:pt>
                <c:pt idx="21">
                  <c:v>0.30837004405286345</c:v>
                </c:pt>
                <c:pt idx="22">
                  <c:v>0.3075117370892019</c:v>
                </c:pt>
                <c:pt idx="23">
                  <c:v>0.31806615776081426</c:v>
                </c:pt>
                <c:pt idx="24">
                  <c:v>0.3075117370892019</c:v>
                </c:pt>
                <c:pt idx="25">
                  <c:v>0.3111587982832618</c:v>
                </c:pt>
                <c:pt idx="26">
                  <c:v>0.31630170316301703</c:v>
                </c:pt>
                <c:pt idx="27">
                  <c:v>0.32323232323232326</c:v>
                </c:pt>
                <c:pt idx="28">
                  <c:v>0.32196162046908317</c:v>
                </c:pt>
                <c:pt idx="29">
                  <c:v>0.2703962703962704</c:v>
                </c:pt>
                <c:pt idx="30">
                  <c:v>0.3370473537604457</c:v>
                </c:pt>
                <c:pt idx="31">
                  <c:v>0.2919254658385093</c:v>
                </c:pt>
                <c:pt idx="32">
                  <c:v>0.3110539845758355</c:v>
                </c:pt>
                <c:pt idx="33">
                  <c:v>0.3167259786476868</c:v>
                </c:pt>
                <c:pt idx="34">
                  <c:v>0.3606789250353607</c:v>
                </c:pt>
                <c:pt idx="35">
                  <c:v>0.31605351170568563</c:v>
                </c:pt>
                <c:pt idx="36">
                  <c:v>0.3284457478005865</c:v>
                </c:pt>
                <c:pt idx="37">
                  <c:v>0.34177215189873417</c:v>
                </c:pt>
                <c:pt idx="38">
                  <c:v>0.36009732360097324</c:v>
                </c:pt>
                <c:pt idx="39">
                  <c:v>0.3587360594795539</c:v>
                </c:pt>
                <c:pt idx="40">
                  <c:v>0.3299595141700405</c:v>
                </c:pt>
                <c:pt idx="41">
                  <c:v>0.3197969543147208</c:v>
                </c:pt>
                <c:pt idx="42">
                  <c:v>0.2849557522123894</c:v>
                </c:pt>
                <c:pt idx="43">
                  <c:v>0.2753846153846154</c:v>
                </c:pt>
                <c:pt idx="44">
                  <c:v>0.293007769145394</c:v>
                </c:pt>
                <c:pt idx="45">
                  <c:v>0.32122093023255816</c:v>
                </c:pt>
                <c:pt idx="46">
                  <c:v>0.31394354148845166</c:v>
                </c:pt>
                <c:pt idx="47">
                  <c:v>0.3149405772495755</c:v>
                </c:pt>
                <c:pt idx="48">
                  <c:v>0.29112081513828236</c:v>
                </c:pt>
                <c:pt idx="49">
                  <c:v>0.2895408163265306</c:v>
                </c:pt>
                <c:pt idx="50">
                  <c:v>0.2824493316084519</c:v>
                </c:pt>
                <c:pt idx="51">
                  <c:v>0.30516759776536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7.60321924671456</c:v>
                </c:pt>
              </c:numCache>
            </c:numRef>
          </c:xVal>
          <c:yVal>
            <c:numRef>
              <c:f>Sheet1!$B$163:$B$164</c:f>
              <c:numCache>
                <c:formatCode>General</c:formatCode>
                <c:ptCount val="2"/>
                <c:pt idx="0">
                  <c:v>0.37576069647201815</c:v>
                </c:pt>
                <c:pt idx="1">
                  <c:v>0.3757606964720181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7.60321924671456</c:v>
                </c:pt>
                <c:pt idx="1">
                  <c:v>-7.60321924671456</c:v>
                </c:pt>
              </c:numCache>
            </c:numRef>
          </c:xVal>
          <c:yVal>
            <c:numRef>
              <c:f>Sheet1!$B$167:$B$168</c:f>
              <c:numCache>
                <c:formatCode>General</c:formatCode>
                <c:ptCount val="2"/>
                <c:pt idx="0">
                  <c:v>0.375760696472018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878755665755526</c:v>
                </c:pt>
              </c:numCache>
            </c:numRef>
          </c:xVal>
          <c:yVal>
            <c:numRef>
              <c:f>Sheet1!$B$171:$B$172</c:f>
              <c:numCache>
                <c:formatCode>General</c:formatCode>
                <c:ptCount val="2"/>
                <c:pt idx="0">
                  <c:v>0.3367681304865311</c:v>
                </c:pt>
                <c:pt idx="1">
                  <c:v>0.336768130486531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878755665755526</c:v>
                </c:pt>
                <c:pt idx="1">
                  <c:v>-2.0878755665755526</c:v>
                </c:pt>
              </c:numCache>
            </c:numRef>
          </c:xVal>
          <c:yVal>
            <c:numRef>
              <c:f>Sheet1!$B$175:$B$176</c:f>
              <c:numCache>
                <c:formatCode>General</c:formatCode>
                <c:ptCount val="2"/>
                <c:pt idx="0">
                  <c:v>0.33676813048653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2399532200583088</c:v>
                </c:pt>
              </c:numCache>
            </c:numRef>
          </c:xVal>
          <c:yVal>
            <c:numRef>
              <c:f>Sheet1!$B$179:$B$180</c:f>
              <c:numCache>
                <c:formatCode>General</c:formatCode>
                <c:ptCount val="2"/>
                <c:pt idx="0">
                  <c:v>0.30617109803968673</c:v>
                </c:pt>
                <c:pt idx="1">
                  <c:v>0.3061710980396867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2399532200583088</c:v>
                </c:pt>
                <c:pt idx="1">
                  <c:v>2.2399532200583088</c:v>
                </c:pt>
              </c:numCache>
            </c:numRef>
          </c:xVal>
          <c:yVal>
            <c:numRef>
              <c:f>Sheet1!$B$183:$B$184</c:f>
              <c:numCache>
                <c:formatCode>General</c:formatCode>
                <c:ptCount val="2"/>
                <c:pt idx="0">
                  <c:v>0.306171098039686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662459342962177</c:v>
                </c:pt>
                <c:pt idx="1">
                  <c:v>0.5563254590135871</c:v>
                </c:pt>
                <c:pt idx="2">
                  <c:v>0.624113560134164</c:v>
                </c:pt>
                <c:pt idx="3">
                  <c:v>0.5624698529424386</c:v>
                </c:pt>
                <c:pt idx="4">
                  <c:v>0.625325330092669</c:v>
                </c:pt>
                <c:pt idx="5">
                  <c:v>0.5572857693468682</c:v>
                </c:pt>
                <c:pt idx="6">
                  <c:v>0.4959882436881189</c:v>
                </c:pt>
                <c:pt idx="7">
                  <c:v>0.4810924100201614</c:v>
                </c:pt>
                <c:pt idx="8">
                  <c:v>0.5939391706304616</c:v>
                </c:pt>
                <c:pt idx="9">
                  <c:v>0.5628963141371469</c:v>
                </c:pt>
                <c:pt idx="10">
                  <c:v>0.5856624048519522</c:v>
                </c:pt>
                <c:pt idx="11">
                  <c:v>0.5485015490387471</c:v>
                </c:pt>
                <c:pt idx="12">
                  <c:v>0.5738573142691418</c:v>
                </c:pt>
                <c:pt idx="13">
                  <c:v>0.7396581743602944</c:v>
                </c:pt>
                <c:pt idx="14">
                  <c:v>0.6551262502016314</c:v>
                </c:pt>
                <c:pt idx="15">
                  <c:v>0.6621564029350837</c:v>
                </c:pt>
                <c:pt idx="16">
                  <c:v>0.7337149827046694</c:v>
                </c:pt>
                <c:pt idx="17">
                  <c:v>1.005178209065457</c:v>
                </c:pt>
                <c:pt idx="18">
                  <c:v>0.5943826226751748</c:v>
                </c:pt>
                <c:pt idx="19">
                  <c:v>0.6250938901655897</c:v>
                </c:pt>
                <c:pt idx="20">
                  <c:v>0.5540104464434661</c:v>
                </c:pt>
                <c:pt idx="21">
                  <c:v>1.0037172011661808</c:v>
                </c:pt>
                <c:pt idx="22">
                  <c:v>0.7293533842136977</c:v>
                </c:pt>
                <c:pt idx="23">
                  <c:v>0.6015468755891997</c:v>
                </c:pt>
                <c:pt idx="24">
                  <c:v>0.7039045050153561</c:v>
                </c:pt>
                <c:pt idx="25">
                  <c:v>0.7790518434115314</c:v>
                </c:pt>
                <c:pt idx="26">
                  <c:v>0.6591042743719823</c:v>
                </c:pt>
                <c:pt idx="27">
                  <c:v>0.6809818331504075</c:v>
                </c:pt>
                <c:pt idx="28">
                  <c:v>0.5986886743665191</c:v>
                </c:pt>
                <c:pt idx="29">
                  <c:v>0.7336526645768026</c:v>
                </c:pt>
                <c:pt idx="30">
                  <c:v>0.6407900718536763</c:v>
                </c:pt>
                <c:pt idx="31">
                  <c:v>1.0706582090693737</c:v>
                </c:pt>
                <c:pt idx="32">
                  <c:v>0.735181756580662</c:v>
                </c:pt>
                <c:pt idx="33">
                  <c:v>0.7297554654629805</c:v>
                </c:pt>
                <c:pt idx="34">
                  <c:v>0.7845005843039496</c:v>
                </c:pt>
                <c:pt idx="35">
                  <c:v>0.8918823772561415</c:v>
                </c:pt>
                <c:pt idx="36">
                  <c:v>0.6077024032877608</c:v>
                </c:pt>
                <c:pt idx="37">
                  <c:v>0.8784096011947546</c:v>
                </c:pt>
                <c:pt idx="38">
                  <c:v>0.4594517719633285</c:v>
                </c:pt>
                <c:pt idx="39">
                  <c:v>0.5425585687080557</c:v>
                </c:pt>
                <c:pt idx="40">
                  <c:v>0.499704562984289</c:v>
                </c:pt>
                <c:pt idx="41">
                  <c:v>0.5123641028623104</c:v>
                </c:pt>
                <c:pt idx="42">
                  <c:v>0.5624168603628857</c:v>
                </c:pt>
                <c:pt idx="43">
                  <c:v>0.5700495209478045</c:v>
                </c:pt>
                <c:pt idx="44">
                  <c:v>0.5710286724589853</c:v>
                </c:pt>
                <c:pt idx="45">
                  <c:v>0.5694360459034278</c:v>
                </c:pt>
                <c:pt idx="46">
                  <c:v>0.5540550648710039</c:v>
                </c:pt>
                <c:pt idx="47">
                  <c:v>0.5352395251465445</c:v>
                </c:pt>
                <c:pt idx="48">
                  <c:v>0.533917800892163</c:v>
                </c:pt>
                <c:pt idx="49">
                  <c:v>0.6459932361208713</c:v>
                </c:pt>
                <c:pt idx="50">
                  <c:v>0.6714930426534926</c:v>
                </c:pt>
                <c:pt idx="51">
                  <c:v>0.6127882965773157</c:v>
                </c:pt>
                <c:pt idx="52">
                  <c:v>-2.0878755665755526</c:v>
                </c:pt>
                <c:pt idx="53">
                  <c:v>-7.60321924671456</c:v>
                </c:pt>
                <c:pt idx="54">
                  <c:v>2.2399532200583088</c:v>
                </c:pt>
              </c:numCache>
            </c:numRef>
          </c:xVal>
          <c:yVal>
            <c:numRef>
              <c:f>Sheet1!$B$187:$B$241</c:f>
              <c:numCache>
                <c:formatCode>General</c:formatCode>
                <c:ptCount val="55"/>
                <c:pt idx="0">
                  <c:v>0.3180039312347387</c:v>
                </c:pt>
                <c:pt idx="1">
                  <c:v>0.31807406735127086</c:v>
                </c:pt>
                <c:pt idx="2">
                  <c:v>0.31759481670810724</c:v>
                </c:pt>
                <c:pt idx="3">
                  <c:v>0.3180306275042538</c:v>
                </c:pt>
                <c:pt idx="4">
                  <c:v>0.3175862496952779</c:v>
                </c:pt>
                <c:pt idx="5">
                  <c:v>0.3180672781163277</c:v>
                </c:pt>
                <c:pt idx="6">
                  <c:v>0.3185006414663947</c:v>
                </c:pt>
                <c:pt idx="7">
                  <c:v>0.31860595254234775</c:v>
                </c:pt>
                <c:pt idx="8">
                  <c:v>0.3178081446423268</c:v>
                </c:pt>
                <c:pt idx="9">
                  <c:v>0.3180276124942673</c:v>
                </c:pt>
                <c:pt idx="10">
                  <c:v>0.31786666000500985</c:v>
                </c:pt>
                <c:pt idx="11">
                  <c:v>0.3181293810984553</c:v>
                </c:pt>
                <c:pt idx="12">
                  <c:v>0.31795012003945383</c:v>
                </c:pt>
                <c:pt idx="13">
                  <c:v>0.3167779354300277</c:v>
                </c:pt>
                <c:pt idx="14">
                  <c:v>0.31737556212779927</c:v>
                </c:pt>
                <c:pt idx="15">
                  <c:v>0.3173258601127944</c:v>
                </c:pt>
                <c:pt idx="16">
                  <c:v>0.31681995281031006</c:v>
                </c:pt>
                <c:pt idx="17">
                  <c:v>0.3149007527784746</c:v>
                </c:pt>
                <c:pt idx="18">
                  <c:v>0.3178050095098459</c:v>
                </c:pt>
                <c:pt idx="19">
                  <c:v>0.3175878859372152</c:v>
                </c:pt>
                <c:pt idx="20">
                  <c:v>0.31809043410656895</c:v>
                </c:pt>
                <c:pt idx="21">
                  <c:v>0.3149110818622492</c:v>
                </c:pt>
                <c:pt idx="22">
                  <c:v>0.3168507885889713</c:v>
                </c:pt>
                <c:pt idx="23">
                  <c:v>0.3177543594287834</c:v>
                </c:pt>
                <c:pt idx="24">
                  <c:v>0.31703070794829813</c:v>
                </c:pt>
                <c:pt idx="25">
                  <c:v>0.3164994287169425</c:v>
                </c:pt>
                <c:pt idx="26">
                  <c:v>0.31734743815603067</c:v>
                </c:pt>
                <c:pt idx="27">
                  <c:v>0.3171927674403433</c:v>
                </c:pt>
                <c:pt idx="28">
                  <c:v>0.31777456643785457</c:v>
                </c:pt>
                <c:pt idx="29">
                  <c:v>0.31682039338914864</c:v>
                </c:pt>
                <c:pt idx="30">
                  <c:v>0.31747691653336885</c:v>
                </c:pt>
                <c:pt idx="31">
                  <c:v>0.31443782002777826</c:v>
                </c:pt>
                <c:pt idx="32">
                  <c:v>0.31680958296203543</c:v>
                </c:pt>
                <c:pt idx="33">
                  <c:v>0.3168479459411594</c:v>
                </c:pt>
                <c:pt idx="34">
                  <c:v>0.3164609070216308</c:v>
                </c:pt>
                <c:pt idx="35">
                  <c:v>0.31570173553746633</c:v>
                </c:pt>
                <c:pt idx="36">
                  <c:v>0.3177108408678592</c:v>
                </c:pt>
                <c:pt idx="37">
                  <c:v>0.31579698583192634</c:v>
                </c:pt>
                <c:pt idx="38">
                  <c:v>0.3187589482677887</c:v>
                </c:pt>
                <c:pt idx="39">
                  <c:v>0.3181713969847054</c:v>
                </c:pt>
                <c:pt idx="40">
                  <c:v>0.31847436770472487</c:v>
                </c:pt>
                <c:pt idx="41">
                  <c:v>0.31838486685533673</c:v>
                </c:pt>
                <c:pt idx="42">
                  <c:v>0.318031002153011</c:v>
                </c:pt>
                <c:pt idx="43">
                  <c:v>0.31797704050732534</c:v>
                </c:pt>
                <c:pt idx="44">
                  <c:v>0.31797011806837616</c:v>
                </c:pt>
                <c:pt idx="45">
                  <c:v>0.31798137767424284</c:v>
                </c:pt>
                <c:pt idx="46">
                  <c:v>0.3180901186616791</c:v>
                </c:pt>
                <c:pt idx="47">
                  <c:v>0.3182231414099985</c:v>
                </c:pt>
                <c:pt idx="48">
                  <c:v>0.3182324857814815</c:v>
                </c:pt>
                <c:pt idx="49">
                  <c:v>0.3174401310241081</c:v>
                </c:pt>
                <c:pt idx="50">
                  <c:v>0.317259851616966</c:v>
                </c:pt>
                <c:pt idx="51">
                  <c:v>0.3176748844449799</c:v>
                </c:pt>
                <c:pt idx="52">
                  <c:v>0.3367681304865311</c:v>
                </c:pt>
                <c:pt idx="53">
                  <c:v>0.37576069647201815</c:v>
                </c:pt>
                <c:pt idx="54">
                  <c:v>0.306171098039686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215822345593335"/>
          <c:min val="0.1777777777777777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6.816</c:v>
                </c:pt>
                <c:pt idx="1">
                  <c:v>679.5077</c:v>
                </c:pt>
                <c:pt idx="2">
                  <c:v>672.3437</c:v>
                </c:pt>
                <c:pt idx="3">
                  <c:v>672.6559</c:v>
                </c:pt>
                <c:pt idx="4">
                  <c:v>667.1603</c:v>
                </c:pt>
                <c:pt idx="5">
                  <c:v>661.3832</c:v>
                </c:pt>
                <c:pt idx="6">
                  <c:v>638.4451</c:v>
                </c:pt>
                <c:pt idx="7">
                  <c:v>653.4233</c:v>
                </c:pt>
                <c:pt idx="8">
                  <c:v>655.5484</c:v>
                </c:pt>
                <c:pt idx="9">
                  <c:v>630.9171</c:v>
                </c:pt>
                <c:pt idx="10">
                  <c:v>607.9891</c:v>
                </c:pt>
                <c:pt idx="11">
                  <c:v>626.5233</c:v>
                </c:pt>
                <c:pt idx="12">
                  <c:v>616.6662</c:v>
                </c:pt>
                <c:pt idx="13">
                  <c:v>616.6476</c:v>
                </c:pt>
                <c:pt idx="14">
                  <c:v>551.6612</c:v>
                </c:pt>
                <c:pt idx="15">
                  <c:v>570.1701</c:v>
                </c:pt>
                <c:pt idx="16">
                  <c:v>574.6613</c:v>
                </c:pt>
                <c:pt idx="17">
                  <c:v>594.0628</c:v>
                </c:pt>
                <c:pt idx="18">
                  <c:v>499.2642</c:v>
                </c:pt>
                <c:pt idx="19">
                  <c:v>559.5704</c:v>
                </c:pt>
                <c:pt idx="20">
                  <c:v>638.1957</c:v>
                </c:pt>
                <c:pt idx="21">
                  <c:v>614.5891</c:v>
                </c:pt>
                <c:pt idx="22">
                  <c:v>617.9595</c:v>
                </c:pt>
                <c:pt idx="23">
                  <c:v>607.7669</c:v>
                </c:pt>
                <c:pt idx="24">
                  <c:v>619.4678</c:v>
                </c:pt>
                <c:pt idx="25">
                  <c:v>599.0884</c:v>
                </c:pt>
                <c:pt idx="26">
                  <c:v>602.0356</c:v>
                </c:pt>
                <c:pt idx="27">
                  <c:v>598.0718</c:v>
                </c:pt>
                <c:pt idx="28">
                  <c:v>621.8227</c:v>
                </c:pt>
                <c:pt idx="29">
                  <c:v>618.6897</c:v>
                </c:pt>
                <c:pt idx="30">
                  <c:v>592.6961</c:v>
                </c:pt>
                <c:pt idx="31">
                  <c:v>568.6337</c:v>
                </c:pt>
                <c:pt idx="32">
                  <c:v>590.7641</c:v>
                </c:pt>
                <c:pt idx="33">
                  <c:v>567.4262</c:v>
                </c:pt>
                <c:pt idx="34">
                  <c:v>599.277</c:v>
                </c:pt>
                <c:pt idx="35">
                  <c:v>608.3194</c:v>
                </c:pt>
                <c:pt idx="36">
                  <c:v>606.3175</c:v>
                </c:pt>
                <c:pt idx="37">
                  <c:v>601.1436</c:v>
                </c:pt>
                <c:pt idx="38">
                  <c:v>619.3524</c:v>
                </c:pt>
                <c:pt idx="39">
                  <c:v>641.3483</c:v>
                </c:pt>
                <c:pt idx="40">
                  <c:v>621.1055</c:v>
                </c:pt>
                <c:pt idx="41">
                  <c:v>617.3933</c:v>
                </c:pt>
                <c:pt idx="42">
                  <c:v>633.8</c:v>
                </c:pt>
                <c:pt idx="43">
                  <c:v>650.8297</c:v>
                </c:pt>
                <c:pt idx="44">
                  <c:v>650.4108</c:v>
                </c:pt>
                <c:pt idx="45">
                  <c:v>653.9482</c:v>
                </c:pt>
                <c:pt idx="46">
                  <c:v>632.2411</c:v>
                </c:pt>
                <c:pt idx="47">
                  <c:v>619.4654</c:v>
                </c:pt>
                <c:pt idx="48">
                  <c:v>616.745</c:v>
                </c:pt>
                <c:pt idx="49">
                  <c:v>601.8913</c:v>
                </c:pt>
                <c:pt idx="50">
                  <c:v>621.6243</c:v>
                </c:pt>
                <c:pt idx="51">
                  <c:v>623.3295</c:v>
                </c:pt>
                <c:pt idx="52">
                  <c:v>622.6798</c:v>
                </c:pt>
                <c:pt idx="53">
                  <c:v>619.7067</c:v>
                </c:pt>
                <c:pt idx="54">
                  <c:v>619.4668</c:v>
                </c:pt>
                <c:pt idx="55">
                  <c:v>619.3265</c:v>
                </c:pt>
                <c:pt idx="56">
                  <c:v>616.6699</c:v>
                </c:pt>
                <c:pt idx="57">
                  <c:v>608.7377</c:v>
                </c:pt>
                <c:pt idx="58">
                  <c:v>604.6391</c:v>
                </c:pt>
                <c:pt idx="59">
                  <c:v>613.5365</c:v>
                </c:pt>
                <c:pt idx="60">
                  <c:v>609.3695</c:v>
                </c:pt>
                <c:pt idx="61">
                  <c:v>604.0</c:v>
                </c:pt>
                <c:pt idx="62">
                  <c:v>609.8311</c:v>
                </c:pt>
                <c:pt idx="63">
                  <c:v>617.1398</c:v>
                </c:pt>
                <c:pt idx="64">
                  <c:v>591.4556</c:v>
                </c:pt>
                <c:pt idx="65">
                  <c:v>596.6476</c:v>
                </c:pt>
                <c:pt idx="66">
                  <c:v>589.8807</c:v>
                </c:pt>
                <c:pt idx="67">
                  <c:v>582.1527</c:v>
                </c:pt>
                <c:pt idx="68">
                  <c:v>563.0568</c:v>
                </c:pt>
                <c:pt idx="69">
                  <c:v>554.2604</c:v>
                </c:pt>
                <c:pt idx="70">
                  <c:v>536.4163</c:v>
                </c:pt>
                <c:pt idx="71">
                  <c:v>574.9866</c:v>
                </c:pt>
                <c:pt idx="72">
                  <c:v>682.8071</c:v>
                </c:pt>
                <c:pt idx="73">
                  <c:v>685.9471</c:v>
                </c:pt>
                <c:pt idx="74">
                  <c:v>664.5637</c:v>
                </c:pt>
                <c:pt idx="75">
                  <c:v>642.9521</c:v>
                </c:pt>
                <c:pt idx="76">
                  <c:v>646.7421</c:v>
                </c:pt>
                <c:pt idx="77">
                  <c:v>636.45</c:v>
                </c:pt>
                <c:pt idx="78">
                  <c:v>633.9281</c:v>
                </c:pt>
                <c:pt idx="79">
                  <c:v>582.8037</c:v>
                </c:pt>
                <c:pt idx="80">
                  <c:v>631.3421</c:v>
                </c:pt>
                <c:pt idx="81">
                  <c:v>648.0137</c:v>
                </c:pt>
                <c:pt idx="82">
                  <c:v>638.8571</c:v>
                </c:pt>
                <c:pt idx="83">
                  <c:v>637.0899</c:v>
                </c:pt>
                <c:pt idx="84">
                  <c:v>622.7191</c:v>
                </c:pt>
                <c:pt idx="85">
                  <c:v>652.1391</c:v>
                </c:pt>
                <c:pt idx="86">
                  <c:v>625.6069</c:v>
                </c:pt>
                <c:pt idx="87">
                  <c:v>629.0697</c:v>
                </c:pt>
                <c:pt idx="88">
                  <c:v>639.3688</c:v>
                </c:pt>
                <c:pt idx="89">
                  <c:v>627.6167</c:v>
                </c:pt>
                <c:pt idx="90">
                  <c:v>642.9825</c:v>
                </c:pt>
                <c:pt idx="91">
                  <c:v>637.6769</c:v>
                </c:pt>
                <c:pt idx="92">
                  <c:v>616.1902</c:v>
                </c:pt>
                <c:pt idx="93">
                  <c:v>641.517</c:v>
                </c:pt>
                <c:pt idx="94">
                  <c:v>661.1421</c:v>
                </c:pt>
                <c:pt idx="95">
                  <c:v>616.4105</c:v>
                </c:pt>
                <c:pt idx="96">
                  <c:v>531.5072</c:v>
                </c:pt>
                <c:pt idx="97">
                  <c:v>578.061</c:v>
                </c:pt>
                <c:pt idx="98">
                  <c:v>586.4941</c:v>
                </c:pt>
                <c:pt idx="99">
                  <c:v>618.8526</c:v>
                </c:pt>
                <c:pt idx="100">
                  <c:v>637.2754</c:v>
                </c:pt>
                <c:pt idx="101">
                  <c:v>620.3371</c:v>
                </c:pt>
                <c:pt idx="102">
                  <c:v>628.7019</c:v>
                </c:pt>
                <c:pt idx="103">
                  <c:v>638.9612</c:v>
                </c:pt>
                <c:pt idx="104">
                  <c:v>651.7612</c:v>
                </c:pt>
              </c:numCache>
            </c:numRef>
          </c:xVal>
          <c:yVal>
            <c:numRef>
              <c:f>Sheet1!$B$2:$B$106</c:f>
              <c:numCache>
                <c:formatCode>General</c:formatCode>
                <c:ptCount val="105"/>
                <c:pt idx="0">
                  <c:v>0.3313008130081301</c:v>
                </c:pt>
                <c:pt idx="1">
                  <c:v>0.3425196850393701</c:v>
                </c:pt>
                <c:pt idx="2">
                  <c:v>0.3713509843856076</c:v>
                </c:pt>
                <c:pt idx="3">
                  <c:v>0.3820572312451663</c:v>
                </c:pt>
                <c:pt idx="4">
                  <c:v>0.3963210702341137</c:v>
                </c:pt>
                <c:pt idx="5">
                  <c:v>0.390154968094804</c:v>
                </c:pt>
                <c:pt idx="6">
                  <c:v>0.4055299539170507</c:v>
                </c:pt>
                <c:pt idx="7">
                  <c:v>0.3687821612349914</c:v>
                </c:pt>
                <c:pt idx="8">
                  <c:v>0.3938294010889292</c:v>
                </c:pt>
                <c:pt idx="9">
                  <c:v>0.41013185287994447</c:v>
                </c:pt>
                <c:pt idx="10">
                  <c:v>0.40401505646173147</c:v>
                </c:pt>
                <c:pt idx="11">
                  <c:v>0.39455351488283724</c:v>
                </c:pt>
                <c:pt idx="12">
                  <c:v>0.3795662100456621</c:v>
                </c:pt>
                <c:pt idx="13">
                  <c:v>0.3628715647784633</c:v>
                </c:pt>
                <c:pt idx="14">
                  <c:v>0.3714141922496225</c:v>
                </c:pt>
                <c:pt idx="15">
                  <c:v>0.3689942344650865</c:v>
                </c:pt>
                <c:pt idx="16">
                  <c:v>0.33206686930091184</c:v>
                </c:pt>
                <c:pt idx="17">
                  <c:v>0.32275132275132273</c:v>
                </c:pt>
                <c:pt idx="18">
                  <c:v>0.24142661179698216</c:v>
                </c:pt>
                <c:pt idx="19">
                  <c:v>0.2591170825335892</c:v>
                </c:pt>
                <c:pt idx="20">
                  <c:v>0.2935278030993619</c:v>
                </c:pt>
                <c:pt idx="21">
                  <c:v>0.29021372328458944</c:v>
                </c:pt>
                <c:pt idx="22">
                  <c:v>0.2564901349948079</c:v>
                </c:pt>
                <c:pt idx="23">
                  <c:v>0.2222222222222222</c:v>
                </c:pt>
                <c:pt idx="24">
                  <c:v>0.2563256325632563</c:v>
                </c:pt>
                <c:pt idx="25">
                  <c:v>0.28936742934051146</c:v>
                </c:pt>
                <c:pt idx="26">
                  <c:v>0.3640287769784173</c:v>
                </c:pt>
                <c:pt idx="27">
                  <c:v>0.3161875945537065</c:v>
                </c:pt>
                <c:pt idx="28">
                  <c:v>0.3322422258592471</c:v>
                </c:pt>
                <c:pt idx="29">
                  <c:v>0.35968992248062015</c:v>
                </c:pt>
                <c:pt idx="30">
                  <c:v>0.3376865671641791</c:v>
                </c:pt>
                <c:pt idx="31">
                  <c:v>0.33858267716535434</c:v>
                </c:pt>
                <c:pt idx="32">
                  <c:v>0.34210526315789475</c:v>
                </c:pt>
                <c:pt idx="33">
                  <c:v>0.3275167785234899</c:v>
                </c:pt>
                <c:pt idx="34">
                  <c:v>0.3550446998722861</c:v>
                </c:pt>
                <c:pt idx="35">
                  <c:v>0.3446502057613169</c:v>
                </c:pt>
                <c:pt idx="36">
                  <c:v>0.33414634146341465</c:v>
                </c:pt>
                <c:pt idx="37">
                  <c:v>0.3102918586789555</c:v>
                </c:pt>
                <c:pt idx="38">
                  <c:v>0.30701754385964913</c:v>
                </c:pt>
                <c:pt idx="39">
                  <c:v>0.2848</c:v>
                </c:pt>
                <c:pt idx="40">
                  <c:v>0.2849673202614379</c:v>
                </c:pt>
                <c:pt idx="41">
                  <c:v>0.3107932379713914</c:v>
                </c:pt>
                <c:pt idx="42">
                  <c:v>0.31624863685932386</c:v>
                </c:pt>
                <c:pt idx="43">
                  <c:v>0.312984496124031</c:v>
                </c:pt>
                <c:pt idx="44">
                  <c:v>0.2913816689466484</c:v>
                </c:pt>
                <c:pt idx="45">
                  <c:v>0.34015927189988626</c:v>
                </c:pt>
                <c:pt idx="46">
                  <c:v>0.3611111111111111</c:v>
                </c:pt>
                <c:pt idx="47">
                  <c:v>0.360447381799695</c:v>
                </c:pt>
                <c:pt idx="48">
                  <c:v>0.3472374679839005</c:v>
                </c:pt>
                <c:pt idx="49">
                  <c:v>0.3573998560805949</c:v>
                </c:pt>
                <c:pt idx="50">
                  <c:v>0.3527093596059113</c:v>
                </c:pt>
                <c:pt idx="51">
                  <c:v>0.34893048128342247</c:v>
                </c:pt>
                <c:pt idx="52">
                  <c:v>0.3300186451211933</c:v>
                </c:pt>
                <c:pt idx="53">
                  <c:v>0.33198106828938473</c:v>
                </c:pt>
                <c:pt idx="54">
                  <c:v>0.32</c:v>
                </c:pt>
                <c:pt idx="55">
                  <c:v>0.3196384552177486</c:v>
                </c:pt>
                <c:pt idx="56">
                  <c:v>0.3236449332285939</c:v>
                </c:pt>
                <c:pt idx="57">
                  <c:v>0.3100944081336238</c:v>
                </c:pt>
                <c:pt idx="58">
                  <c:v>0.33022636484687085</c:v>
                </c:pt>
                <c:pt idx="59">
                  <c:v>0.33298097251585623</c:v>
                </c:pt>
                <c:pt idx="60">
                  <c:v>0.32314657611771364</c:v>
                </c:pt>
                <c:pt idx="61">
                  <c:v>0.31997282608695654</c:v>
                </c:pt>
                <c:pt idx="62">
                  <c:v>0.3228346456692913</c:v>
                </c:pt>
                <c:pt idx="63">
                  <c:v>0.33149476006618867</c:v>
                </c:pt>
                <c:pt idx="64">
                  <c:v>0.32989690721649484</c:v>
                </c:pt>
                <c:pt idx="65">
                  <c:v>0.3123140987507436</c:v>
                </c:pt>
                <c:pt idx="66">
                  <c:v>0.3118724158298878</c:v>
                </c:pt>
                <c:pt idx="67">
                  <c:v>0.30632411067193677</c:v>
                </c:pt>
                <c:pt idx="68">
                  <c:v>0.32521008403361346</c:v>
                </c:pt>
                <c:pt idx="69">
                  <c:v>0.33083645443196</c:v>
                </c:pt>
                <c:pt idx="70">
                  <c:v>0.324905183312263</c:v>
                </c:pt>
                <c:pt idx="71">
                  <c:v>0.2962962962962963</c:v>
                </c:pt>
                <c:pt idx="72">
                  <c:v>0.27399165507649514</c:v>
                </c:pt>
                <c:pt idx="73">
                  <c:v>0.28041543026706234</c:v>
                </c:pt>
                <c:pt idx="74">
                  <c:v>0.2914285714285714</c:v>
                </c:pt>
                <c:pt idx="75">
                  <c:v>0.30618892508143325</c:v>
                </c:pt>
                <c:pt idx="76">
                  <c:v>0.297339593114241</c:v>
                </c:pt>
                <c:pt idx="77">
                  <c:v>0.2646502835538752</c:v>
                </c:pt>
                <c:pt idx="78">
                  <c:v>0.30357142857142855</c:v>
                </c:pt>
                <c:pt idx="79">
                  <c:v>0.29528985507246375</c:v>
                </c:pt>
                <c:pt idx="80">
                  <c:v>0.2857142857142857</c:v>
                </c:pt>
                <c:pt idx="81">
                  <c:v>0.2786259541984733</c:v>
                </c:pt>
                <c:pt idx="82">
                  <c:v>0.2536231884057971</c:v>
                </c:pt>
                <c:pt idx="83">
                  <c:v>0.24929971988795518</c:v>
                </c:pt>
                <c:pt idx="84">
                  <c:v>0.23670212765957446</c:v>
                </c:pt>
                <c:pt idx="85">
                  <c:v>0.2839506172839506</c:v>
                </c:pt>
                <c:pt idx="86">
                  <c:v>0.30892857142857144</c:v>
                </c:pt>
                <c:pt idx="87">
                  <c:v>0.3145539906103286</c:v>
                </c:pt>
                <c:pt idx="88">
                  <c:v>0.30245746691871456</c:v>
                </c:pt>
                <c:pt idx="89">
                  <c:v>0.2702702702702703</c:v>
                </c:pt>
                <c:pt idx="90">
                  <c:v>0.26450116009280744</c:v>
                </c:pt>
                <c:pt idx="91">
                  <c:v>0.2702702702702703</c:v>
                </c:pt>
                <c:pt idx="92">
                  <c:v>0.2936936936936937</c:v>
                </c:pt>
                <c:pt idx="93">
                  <c:v>0.2508532423208191</c:v>
                </c:pt>
                <c:pt idx="94">
                  <c:v>0.29901960784313725</c:v>
                </c:pt>
                <c:pt idx="95">
                  <c:v>0.32276330690826727</c:v>
                </c:pt>
                <c:pt idx="96">
                  <c:v>0.338567222767419</c:v>
                </c:pt>
                <c:pt idx="97">
                  <c:v>0.34549878345498786</c:v>
                </c:pt>
                <c:pt idx="98">
                  <c:v>0.3315858453473132</c:v>
                </c:pt>
                <c:pt idx="99">
                  <c:v>0.31012987012987014</c:v>
                </c:pt>
                <c:pt idx="100">
                  <c:v>0.29706115965051627</c:v>
                </c:pt>
                <c:pt idx="101">
                  <c:v>0.3198061780738946</c:v>
                </c:pt>
                <c:pt idx="102">
                  <c:v>0.29411764705882354</c:v>
                </c:pt>
                <c:pt idx="103">
                  <c:v>0.29278183292781834</c:v>
                </c:pt>
                <c:pt idx="104">
                  <c:v>0.2948979591836734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8.2324</c:v>
                </c:pt>
                <c:pt idx="1">
                  <c:v>634.0256</c:v>
                </c:pt>
                <c:pt idx="2">
                  <c:v>651.2625</c:v>
                </c:pt>
                <c:pt idx="3">
                  <c:v>655.346</c:v>
                </c:pt>
                <c:pt idx="4">
                  <c:v>670.942</c:v>
                </c:pt>
                <c:pt idx="5">
                  <c:v>654.8426</c:v>
                </c:pt>
                <c:pt idx="6">
                  <c:v>629.3264</c:v>
                </c:pt>
                <c:pt idx="7">
                  <c:v>652.4353</c:v>
                </c:pt>
                <c:pt idx="8">
                  <c:v>659.2881</c:v>
                </c:pt>
                <c:pt idx="9">
                  <c:v>654.4608</c:v>
                </c:pt>
                <c:pt idx="10">
                  <c:v>660.738</c:v>
                </c:pt>
                <c:pt idx="11">
                  <c:v>646.2171</c:v>
                </c:pt>
                <c:pt idx="12">
                  <c:v>666.0258</c:v>
                </c:pt>
                <c:pt idx="13">
                  <c:v>680.4691</c:v>
                </c:pt>
                <c:pt idx="14">
                  <c:v>663.228</c:v>
                </c:pt>
                <c:pt idx="15">
                  <c:v>677.8754</c:v>
                </c:pt>
                <c:pt idx="16">
                  <c:v>713.0623</c:v>
                </c:pt>
                <c:pt idx="17">
                  <c:v>692.7452</c:v>
                </c:pt>
                <c:pt idx="18">
                  <c:v>605.7534</c:v>
                </c:pt>
                <c:pt idx="19">
                  <c:v>679.6694</c:v>
                </c:pt>
                <c:pt idx="20">
                  <c:v>695.0876</c:v>
                </c:pt>
                <c:pt idx="21">
                  <c:v>688.55</c:v>
                </c:pt>
                <c:pt idx="22">
                  <c:v>726.2901</c:v>
                </c:pt>
                <c:pt idx="23">
                  <c:v>708.288</c:v>
                </c:pt>
                <c:pt idx="24">
                  <c:v>681.5038</c:v>
                </c:pt>
                <c:pt idx="25">
                  <c:v>619.7172</c:v>
                </c:pt>
                <c:pt idx="26">
                  <c:v>674.1538</c:v>
                </c:pt>
                <c:pt idx="27">
                  <c:v>640.5563</c:v>
                </c:pt>
                <c:pt idx="28">
                  <c:v>676.7748</c:v>
                </c:pt>
                <c:pt idx="29">
                  <c:v>716.7328</c:v>
                </c:pt>
                <c:pt idx="30">
                  <c:v>693.9174</c:v>
                </c:pt>
                <c:pt idx="31">
                  <c:v>641.1596</c:v>
                </c:pt>
                <c:pt idx="32">
                  <c:v>705.2231</c:v>
                </c:pt>
                <c:pt idx="33">
                  <c:v>689.6573</c:v>
                </c:pt>
                <c:pt idx="34">
                  <c:v>697.6275</c:v>
                </c:pt>
                <c:pt idx="35">
                  <c:v>658.9524</c:v>
                </c:pt>
                <c:pt idx="36">
                  <c:v>660.1518</c:v>
                </c:pt>
                <c:pt idx="37">
                  <c:v>638.2901</c:v>
                </c:pt>
                <c:pt idx="38">
                  <c:v>671.6419</c:v>
                </c:pt>
                <c:pt idx="39">
                  <c:v>604.1088</c:v>
                </c:pt>
                <c:pt idx="40">
                  <c:v>655.2515</c:v>
                </c:pt>
                <c:pt idx="41">
                  <c:v>647.6085</c:v>
                </c:pt>
                <c:pt idx="42">
                  <c:v>672.3292</c:v>
                </c:pt>
                <c:pt idx="43">
                  <c:v>697.6872</c:v>
                </c:pt>
                <c:pt idx="44">
                  <c:v>675.3712</c:v>
                </c:pt>
                <c:pt idx="45">
                  <c:v>657.0181</c:v>
                </c:pt>
                <c:pt idx="46">
                  <c:v>670.3433</c:v>
                </c:pt>
                <c:pt idx="47">
                  <c:v>679.1186</c:v>
                </c:pt>
                <c:pt idx="48">
                  <c:v>692.3625</c:v>
                </c:pt>
                <c:pt idx="49">
                  <c:v>735.3987</c:v>
                </c:pt>
                <c:pt idx="50">
                  <c:v>727.0092</c:v>
                </c:pt>
                <c:pt idx="51">
                  <c:v>704.4439</c:v>
                </c:pt>
              </c:numCache>
            </c:numRef>
          </c:xVal>
          <c:yVal>
            <c:numRef>
              <c:f>Sheet1!$B$109:$B$160</c:f>
              <c:numCache>
                <c:formatCode>General</c:formatCode>
                <c:ptCount val="52"/>
                <c:pt idx="0">
                  <c:v>0.2641860465116279</c:v>
                </c:pt>
                <c:pt idx="1">
                  <c:v>0.29545454545454547</c:v>
                </c:pt>
                <c:pt idx="2">
                  <c:v>0.29815303430079154</c:v>
                </c:pt>
                <c:pt idx="3">
                  <c:v>0.2988599348534202</c:v>
                </c:pt>
                <c:pt idx="4">
                  <c:v>0.2863070539419087</c:v>
                </c:pt>
                <c:pt idx="5">
                  <c:v>0.30857142857142855</c:v>
                </c:pt>
                <c:pt idx="6">
                  <c:v>0.3365553602811951</c:v>
                </c:pt>
                <c:pt idx="7">
                  <c:v>0.29445727482678985</c:v>
                </c:pt>
                <c:pt idx="8">
                  <c:v>0.32632743362831856</c:v>
                </c:pt>
                <c:pt idx="9">
                  <c:v>0.33166833166833165</c:v>
                </c:pt>
                <c:pt idx="10">
                  <c:v>0.3360287511230907</c:v>
                </c:pt>
                <c:pt idx="11">
                  <c:v>0.3601147776183644</c:v>
                </c:pt>
                <c:pt idx="12">
                  <c:v>0.3612403100775194</c:v>
                </c:pt>
                <c:pt idx="13">
                  <c:v>0.33088235294117646</c:v>
                </c:pt>
                <c:pt idx="14">
                  <c:v>0.33955223880597013</c:v>
                </c:pt>
                <c:pt idx="15">
                  <c:v>0.3305870236869207</c:v>
                </c:pt>
                <c:pt idx="16">
                  <c:v>0.3559556786703601</c:v>
                </c:pt>
                <c:pt idx="17">
                  <c:v>0.3270440251572327</c:v>
                </c:pt>
                <c:pt idx="18">
                  <c:v>0.33037037037037037</c:v>
                </c:pt>
                <c:pt idx="19">
                  <c:v>0.3507246376811594</c:v>
                </c:pt>
                <c:pt idx="20">
                  <c:v>0.3154471544715447</c:v>
                </c:pt>
                <c:pt idx="21">
                  <c:v>0.30837004405286345</c:v>
                </c:pt>
                <c:pt idx="22">
                  <c:v>0.3075117370892019</c:v>
                </c:pt>
                <c:pt idx="23">
                  <c:v>0.31806615776081426</c:v>
                </c:pt>
                <c:pt idx="24">
                  <c:v>0.3075117370892019</c:v>
                </c:pt>
                <c:pt idx="25">
                  <c:v>0.3111587982832618</c:v>
                </c:pt>
                <c:pt idx="26">
                  <c:v>0.31630170316301703</c:v>
                </c:pt>
                <c:pt idx="27">
                  <c:v>0.32323232323232326</c:v>
                </c:pt>
                <c:pt idx="28">
                  <c:v>0.32196162046908317</c:v>
                </c:pt>
                <c:pt idx="29">
                  <c:v>0.2703962703962704</c:v>
                </c:pt>
                <c:pt idx="30">
                  <c:v>0.3370473537604457</c:v>
                </c:pt>
                <c:pt idx="31">
                  <c:v>0.2919254658385093</c:v>
                </c:pt>
                <c:pt idx="32">
                  <c:v>0.3110539845758355</c:v>
                </c:pt>
                <c:pt idx="33">
                  <c:v>0.3167259786476868</c:v>
                </c:pt>
                <c:pt idx="34">
                  <c:v>0.3606789250353607</c:v>
                </c:pt>
                <c:pt idx="35">
                  <c:v>0.31605351170568563</c:v>
                </c:pt>
                <c:pt idx="36">
                  <c:v>0.3284457478005865</c:v>
                </c:pt>
                <c:pt idx="37">
                  <c:v>0.34177215189873417</c:v>
                </c:pt>
                <c:pt idx="38">
                  <c:v>0.36009732360097324</c:v>
                </c:pt>
                <c:pt idx="39">
                  <c:v>0.3587360594795539</c:v>
                </c:pt>
                <c:pt idx="40">
                  <c:v>0.3299595141700405</c:v>
                </c:pt>
                <c:pt idx="41">
                  <c:v>0.3197969543147208</c:v>
                </c:pt>
                <c:pt idx="42">
                  <c:v>0.2849557522123894</c:v>
                </c:pt>
                <c:pt idx="43">
                  <c:v>0.2753846153846154</c:v>
                </c:pt>
                <c:pt idx="44">
                  <c:v>0.293007769145394</c:v>
                </c:pt>
                <c:pt idx="45">
                  <c:v>0.32122093023255816</c:v>
                </c:pt>
                <c:pt idx="46">
                  <c:v>0.31394354148845166</c:v>
                </c:pt>
                <c:pt idx="47">
                  <c:v>0.3149405772495755</c:v>
                </c:pt>
                <c:pt idx="48">
                  <c:v>0.29112081513828236</c:v>
                </c:pt>
                <c:pt idx="49">
                  <c:v>0.2895408163265306</c:v>
                </c:pt>
                <c:pt idx="50">
                  <c:v>0.2824493316084519</c:v>
                </c:pt>
                <c:pt idx="51">
                  <c:v>0.30516759776536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74.71217135024796</c:v>
                </c:pt>
              </c:numCache>
            </c:numRef>
          </c:xVal>
          <c:yVal>
            <c:numRef>
              <c:f>Sheet1!$B$163:$B$164</c:f>
              <c:numCache>
                <c:formatCode>General</c:formatCode>
                <c:ptCount val="2"/>
                <c:pt idx="0">
                  <c:v>0.37576069647201815</c:v>
                </c:pt>
                <c:pt idx="1">
                  <c:v>0.3757606964720181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74.71217135024796</c:v>
                </c:pt>
                <c:pt idx="1">
                  <c:v>374.71217135024796</c:v>
                </c:pt>
              </c:numCache>
            </c:numRef>
          </c:xVal>
          <c:yVal>
            <c:numRef>
              <c:f>Sheet1!$B$167:$B$168</c:f>
              <c:numCache>
                <c:formatCode>General</c:formatCode>
                <c:ptCount val="2"/>
                <c:pt idx="0">
                  <c:v>0.375760696472018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72.8968765741604</c:v>
                </c:pt>
              </c:numCache>
            </c:numRef>
          </c:xVal>
          <c:yVal>
            <c:numRef>
              <c:f>Sheet1!$B$171:$B$172</c:f>
              <c:numCache>
                <c:formatCode>General</c:formatCode>
                <c:ptCount val="2"/>
                <c:pt idx="0">
                  <c:v>0.3367681304865311</c:v>
                </c:pt>
                <c:pt idx="1">
                  <c:v>0.336768130486531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72.8968765741604</c:v>
                </c:pt>
                <c:pt idx="1">
                  <c:v>572.8968765741604</c:v>
                </c:pt>
              </c:numCache>
            </c:numRef>
          </c:xVal>
          <c:yVal>
            <c:numRef>
              <c:f>Sheet1!$B$175:$B$176</c:f>
              <c:numCache>
                <c:formatCode>General</c:formatCode>
                <c:ptCount val="2"/>
                <c:pt idx="0">
                  <c:v>0.33676813048653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28.4102084862302</c:v>
                </c:pt>
              </c:numCache>
            </c:numRef>
          </c:xVal>
          <c:yVal>
            <c:numRef>
              <c:f>Sheet1!$B$179:$B$180</c:f>
              <c:numCache>
                <c:formatCode>General</c:formatCode>
                <c:ptCount val="2"/>
                <c:pt idx="0">
                  <c:v>0.30617109803968673</c:v>
                </c:pt>
                <c:pt idx="1">
                  <c:v>0.3061710980396867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28.4102084862302</c:v>
                </c:pt>
                <c:pt idx="1">
                  <c:v>728.4102084862302</c:v>
                </c:pt>
              </c:numCache>
            </c:numRef>
          </c:xVal>
          <c:yVal>
            <c:numRef>
              <c:f>Sheet1!$B$183:$B$184</c:f>
              <c:numCache>
                <c:formatCode>General</c:formatCode>
                <c:ptCount val="2"/>
                <c:pt idx="0">
                  <c:v>0.306171098039686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8.2324</c:v>
                </c:pt>
                <c:pt idx="1">
                  <c:v>634.0256</c:v>
                </c:pt>
                <c:pt idx="2">
                  <c:v>651.2625</c:v>
                </c:pt>
                <c:pt idx="3">
                  <c:v>655.346</c:v>
                </c:pt>
                <c:pt idx="4">
                  <c:v>670.942</c:v>
                </c:pt>
                <c:pt idx="5">
                  <c:v>654.8426</c:v>
                </c:pt>
                <c:pt idx="6">
                  <c:v>629.3264</c:v>
                </c:pt>
                <c:pt idx="7">
                  <c:v>652.4353</c:v>
                </c:pt>
                <c:pt idx="8">
                  <c:v>659.2881</c:v>
                </c:pt>
                <c:pt idx="9">
                  <c:v>654.4608</c:v>
                </c:pt>
                <c:pt idx="10">
                  <c:v>660.738</c:v>
                </c:pt>
                <c:pt idx="11">
                  <c:v>646.2171</c:v>
                </c:pt>
                <c:pt idx="12">
                  <c:v>666.0258</c:v>
                </c:pt>
                <c:pt idx="13">
                  <c:v>680.4691</c:v>
                </c:pt>
                <c:pt idx="14">
                  <c:v>663.228</c:v>
                </c:pt>
                <c:pt idx="15">
                  <c:v>677.8754</c:v>
                </c:pt>
                <c:pt idx="16">
                  <c:v>713.0623</c:v>
                </c:pt>
                <c:pt idx="17">
                  <c:v>692.7452</c:v>
                </c:pt>
                <c:pt idx="18">
                  <c:v>605.7534</c:v>
                </c:pt>
                <c:pt idx="19">
                  <c:v>679.6694</c:v>
                </c:pt>
                <c:pt idx="20">
                  <c:v>695.0876</c:v>
                </c:pt>
                <c:pt idx="21">
                  <c:v>688.55</c:v>
                </c:pt>
                <c:pt idx="22">
                  <c:v>726.2901</c:v>
                </c:pt>
                <c:pt idx="23">
                  <c:v>708.288</c:v>
                </c:pt>
                <c:pt idx="24">
                  <c:v>681.5038</c:v>
                </c:pt>
                <c:pt idx="25">
                  <c:v>619.7172</c:v>
                </c:pt>
                <c:pt idx="26">
                  <c:v>674.1538</c:v>
                </c:pt>
                <c:pt idx="27">
                  <c:v>640.5563</c:v>
                </c:pt>
                <c:pt idx="28">
                  <c:v>676.7748</c:v>
                </c:pt>
                <c:pt idx="29">
                  <c:v>716.7328</c:v>
                </c:pt>
                <c:pt idx="30">
                  <c:v>693.9174</c:v>
                </c:pt>
                <c:pt idx="31">
                  <c:v>641.1596</c:v>
                </c:pt>
                <c:pt idx="32">
                  <c:v>705.2231</c:v>
                </c:pt>
                <c:pt idx="33">
                  <c:v>689.6573</c:v>
                </c:pt>
                <c:pt idx="34">
                  <c:v>697.6275</c:v>
                </c:pt>
                <c:pt idx="35">
                  <c:v>658.9524</c:v>
                </c:pt>
                <c:pt idx="36">
                  <c:v>660.1518</c:v>
                </c:pt>
                <c:pt idx="37">
                  <c:v>638.2901</c:v>
                </c:pt>
                <c:pt idx="38">
                  <c:v>671.6419</c:v>
                </c:pt>
                <c:pt idx="39">
                  <c:v>604.1088</c:v>
                </c:pt>
                <c:pt idx="40">
                  <c:v>655.2515</c:v>
                </c:pt>
                <c:pt idx="41">
                  <c:v>647.6085</c:v>
                </c:pt>
                <c:pt idx="42">
                  <c:v>672.3292</c:v>
                </c:pt>
                <c:pt idx="43">
                  <c:v>697.6872</c:v>
                </c:pt>
                <c:pt idx="44">
                  <c:v>675.3712</c:v>
                </c:pt>
                <c:pt idx="45">
                  <c:v>657.0181</c:v>
                </c:pt>
                <c:pt idx="46">
                  <c:v>670.3433</c:v>
                </c:pt>
                <c:pt idx="47">
                  <c:v>679.1186</c:v>
                </c:pt>
                <c:pt idx="48">
                  <c:v>692.3625</c:v>
                </c:pt>
                <c:pt idx="49">
                  <c:v>735.3987</c:v>
                </c:pt>
                <c:pt idx="50">
                  <c:v>727.0092</c:v>
                </c:pt>
                <c:pt idx="51">
                  <c:v>704.4439</c:v>
                </c:pt>
                <c:pt idx="52">
                  <c:v>572.8968765741604</c:v>
                </c:pt>
                <c:pt idx="53">
                  <c:v>374.71217135024796</c:v>
                </c:pt>
                <c:pt idx="54">
                  <c:v>728.4102084862302</c:v>
                </c:pt>
              </c:numCache>
            </c:numRef>
          </c:xVal>
          <c:yVal>
            <c:numRef>
              <c:f>Sheet1!$B$187:$B$241</c:f>
              <c:numCache>
                <c:formatCode>General</c:formatCode>
                <c:ptCount val="55"/>
                <c:pt idx="0">
                  <c:v>0.32194597069920344</c:v>
                </c:pt>
                <c:pt idx="1">
                  <c:v>0.32474113890260614</c:v>
                </c:pt>
                <c:pt idx="2">
                  <c:v>0.32134980272519587</c:v>
                </c:pt>
                <c:pt idx="3">
                  <c:v>0.3205463797616436</c:v>
                </c:pt>
                <c:pt idx="4">
                  <c:v>0.31747788838425606</c:v>
                </c:pt>
                <c:pt idx="5">
                  <c:v>0.32064542301371957</c:v>
                </c:pt>
                <c:pt idx="6">
                  <c:v>0.3256656999875394</c:v>
                </c:pt>
                <c:pt idx="7">
                  <c:v>0.3211190559511897</c:v>
                </c:pt>
                <c:pt idx="8">
                  <c:v>0.3197707770520514</c:v>
                </c:pt>
                <c:pt idx="9">
                  <c:v>0.32072054163438424</c:v>
                </c:pt>
                <c:pt idx="10">
                  <c:v>0.31948551123722235</c:v>
                </c:pt>
                <c:pt idx="11">
                  <c:v>0.32234247818015044</c:v>
                </c:pt>
                <c:pt idx="12">
                  <c:v>0.3184451439183361</c:v>
                </c:pt>
                <c:pt idx="13">
                  <c:v>0.31560344466782186</c:v>
                </c:pt>
                <c:pt idx="14">
                  <c:v>0.31899560718940917</c:v>
                </c:pt>
                <c:pt idx="15">
                  <c:v>0.3161137515468633</c:v>
                </c:pt>
                <c:pt idx="16">
                  <c:v>0.30919077775569914</c:v>
                </c:pt>
                <c:pt idx="17">
                  <c:v>0.3131881390126573</c:v>
                </c:pt>
                <c:pt idx="18">
                  <c:v>0.3303036550554514</c:v>
                </c:pt>
                <c:pt idx="19">
                  <c:v>0.3157607845341015</c:v>
                </c:pt>
                <c:pt idx="20">
                  <c:v>0.3127272750602085</c:v>
                </c:pt>
                <c:pt idx="21">
                  <c:v>0.31401353879634647</c:v>
                </c:pt>
                <c:pt idx="22">
                  <c:v>0.30658822644499084</c:v>
                </c:pt>
                <c:pt idx="23">
                  <c:v>0.31013011466151225</c:v>
                </c:pt>
                <c:pt idx="24">
                  <c:v>0.31539986887735105</c:v>
                </c:pt>
                <c:pt idx="25">
                  <c:v>0.3275562967651485</c:v>
                </c:pt>
                <c:pt idx="26">
                  <c:v>0.3168459711871611</c:v>
                </c:pt>
                <c:pt idx="27">
                  <c:v>0.3234562327319018</c:v>
                </c:pt>
                <c:pt idx="28">
                  <c:v>0.316330293070969</c:v>
                </c:pt>
                <c:pt idx="29">
                  <c:v>0.3084686119695552</c:v>
                </c:pt>
                <c:pt idx="30">
                  <c:v>0.31295751028781926</c:v>
                </c:pt>
                <c:pt idx="31">
                  <c:v>0.3233375342933293</c:v>
                </c:pt>
                <c:pt idx="32">
                  <c:v>0.3107331294872724</c:v>
                </c:pt>
                <c:pt idx="33">
                  <c:v>0.3137956790565298</c:v>
                </c:pt>
                <c:pt idx="34">
                  <c:v>0.3122275532565776</c:v>
                </c:pt>
                <c:pt idx="35">
                  <c:v>0.31983682556163007</c:v>
                </c:pt>
                <c:pt idx="36">
                  <c:v>0.3196008452745027</c:v>
                </c:pt>
                <c:pt idx="37">
                  <c:v>0.3239021044399959</c:v>
                </c:pt>
                <c:pt idx="38">
                  <c:v>0.3173401840296117</c:v>
                </c:pt>
                <c:pt idx="39">
                  <c:v>0.3306272278253444</c:v>
                </c:pt>
                <c:pt idx="40">
                  <c:v>0.3205649725056269</c:v>
                </c:pt>
                <c:pt idx="41">
                  <c:v>0.3220687221592158</c:v>
                </c:pt>
                <c:pt idx="42">
                  <c:v>0.3172049587074985</c:v>
                </c:pt>
                <c:pt idx="43">
                  <c:v>0.31221580736434695</c:v>
                </c:pt>
                <c:pt idx="44">
                  <c:v>0.3166064494249893</c:v>
                </c:pt>
                <c:pt idx="45">
                  <c:v>0.3202173964048771</c:v>
                </c:pt>
                <c:pt idx="46">
                  <c:v>0.3175956817792062</c:v>
                </c:pt>
                <c:pt idx="47">
                  <c:v>0.3158691536704611</c:v>
                </c:pt>
                <c:pt idx="48">
                  <c:v>0.3132634347070742</c:v>
                </c:pt>
                <c:pt idx="49">
                  <c:v>0.3047961220233397</c:v>
                </c:pt>
                <c:pt idx="50">
                  <c:v>0.3064467445169658</c:v>
                </c:pt>
                <c:pt idx="51">
                  <c:v>0.31088643600697363</c:v>
                </c:pt>
                <c:pt idx="52">
                  <c:v>0.3367681304865311</c:v>
                </c:pt>
                <c:pt idx="53">
                  <c:v>0.37576069647201815</c:v>
                </c:pt>
                <c:pt idx="54">
                  <c:v>0.306171098039686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2.0"/>
          <c:min val="30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215822345593335"/>
          <c:min val="0.1777777777777777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0467491722048706</c:v>
                </c:pt>
                <c:pt idx="1">
                  <c:v>0.2988242130750606</c:v>
                </c:pt>
                <c:pt idx="2">
                  <c:v>0.29727747747747746</c:v>
                </c:pt>
                <c:pt idx="3">
                  <c:v>0.2887568697198755</c:v>
                </c:pt>
                <c:pt idx="4">
                  <c:v>0.2730055273705952</c:v>
                </c:pt>
                <c:pt idx="5">
                  <c:v>0.2729783921468728</c:v>
                </c:pt>
                <c:pt idx="6">
                  <c:v>0.2959847716253509</c:v>
                </c:pt>
                <c:pt idx="7">
                  <c:v>0.288746034350558</c:v>
                </c:pt>
                <c:pt idx="8">
                  <c:v>0.28142725149053377</c:v>
                </c:pt>
                <c:pt idx="9">
                  <c:v>0.3027071619206883</c:v>
                </c:pt>
                <c:pt idx="10">
                  <c:v>0.30402075601104345</c:v>
                </c:pt>
                <c:pt idx="11">
                  <c:v>0.3049920604942331</c:v>
                </c:pt>
                <c:pt idx="12">
                  <c:v>0.31351546870290725</c:v>
                </c:pt>
                <c:pt idx="13">
                  <c:v>0.27751794982465605</c:v>
                </c:pt>
                <c:pt idx="14">
                  <c:v>0.27375702705571064</c:v>
                </c:pt>
                <c:pt idx="15">
                  <c:v>0.2734745112300972</c:v>
                </c:pt>
                <c:pt idx="16">
                  <c:v>0.2651872816628276</c:v>
                </c:pt>
                <c:pt idx="17">
                  <c:v>0.2631735900297463</c:v>
                </c:pt>
                <c:pt idx="18">
                  <c:v>0.2795477630579705</c:v>
                </c:pt>
                <c:pt idx="19">
                  <c:v>0.30941428621933115</c:v>
                </c:pt>
                <c:pt idx="20">
                  <c:v>0.2931409082698268</c:v>
                </c:pt>
                <c:pt idx="21">
                  <c:v>0.29998778355649</c:v>
                </c:pt>
                <c:pt idx="22">
                  <c:v>0.2770639522538988</c:v>
                </c:pt>
                <c:pt idx="23">
                  <c:v>0.27414327272727274</c:v>
                </c:pt>
                <c:pt idx="24">
                  <c:v>0.30266683744792855</c:v>
                </c:pt>
                <c:pt idx="25">
                  <c:v>0.32644634851069204</c:v>
                </c:pt>
                <c:pt idx="26">
                  <c:v>0.3186835882246686</c:v>
                </c:pt>
                <c:pt idx="27">
                  <c:v>0.33033242690636727</c:v>
                </c:pt>
                <c:pt idx="28">
                  <c:v>0.36610858694263027</c:v>
                </c:pt>
                <c:pt idx="29">
                  <c:v>0.37675833362262245</c:v>
                </c:pt>
                <c:pt idx="30">
                  <c:v>0.3007853176626579</c:v>
                </c:pt>
                <c:pt idx="31">
                  <c:v>0.3350233974590217</c:v>
                </c:pt>
                <c:pt idx="32">
                  <c:v>0.2969721446526502</c:v>
                </c:pt>
                <c:pt idx="33">
                  <c:v>0.3071717729010435</c:v>
                </c:pt>
                <c:pt idx="34">
                  <c:v>0.31519215524075417</c:v>
                </c:pt>
                <c:pt idx="35">
                  <c:v>0.39154351589433856</c:v>
                </c:pt>
                <c:pt idx="36">
                  <c:v>0.3373638246325714</c:v>
                </c:pt>
                <c:pt idx="37">
                  <c:v>0.3296821319894408</c:v>
                </c:pt>
                <c:pt idx="38">
                  <c:v>0.33228233252905215</c:v>
                </c:pt>
                <c:pt idx="39">
                  <c:v>0.316928166735788</c:v>
                </c:pt>
                <c:pt idx="40">
                  <c:v>0.3341428125344949</c:v>
                </c:pt>
                <c:pt idx="41">
                  <c:v>0.31142967037976704</c:v>
                </c:pt>
                <c:pt idx="42">
                  <c:v>0.3203809848669168</c:v>
                </c:pt>
                <c:pt idx="43">
                  <c:v>0.3271692892141437</c:v>
                </c:pt>
                <c:pt idx="44">
                  <c:v>0.3155587260749367</c:v>
                </c:pt>
                <c:pt idx="45">
                  <c:v>0.30125044090877257</c:v>
                </c:pt>
                <c:pt idx="46">
                  <c:v>0.30220779997607367</c:v>
                </c:pt>
                <c:pt idx="47">
                  <c:v>0.3100619152600481</c:v>
                </c:pt>
                <c:pt idx="48">
                  <c:v>0.3027822138214513</c:v>
                </c:pt>
                <c:pt idx="49">
                  <c:v>0.3325851394627427</c:v>
                </c:pt>
                <c:pt idx="50">
                  <c:v>0.3318262607899944</c:v>
                </c:pt>
                <c:pt idx="51">
                  <c:v>0.3378491744995015</c:v>
                </c:pt>
                <c:pt idx="52">
                  <c:v>0.3706578812790874</c:v>
                </c:pt>
                <c:pt idx="53">
                  <c:v>0.3914738540491321</c:v>
                </c:pt>
                <c:pt idx="54">
                  <c:v>0.3610093224461462</c:v>
                </c:pt>
                <c:pt idx="55">
                  <c:v>0.330896870292887</c:v>
                </c:pt>
                <c:pt idx="56">
                  <c:v>0.3445916800378415</c:v>
                </c:pt>
                <c:pt idx="57">
                  <c:v>0.34492692736254404</c:v>
                </c:pt>
                <c:pt idx="58">
                  <c:v>0.3036898375970887</c:v>
                </c:pt>
                <c:pt idx="59">
                  <c:v>0.3307819731999377</c:v>
                </c:pt>
                <c:pt idx="60">
                  <c:v>0.32651824851053274</c:v>
                </c:pt>
                <c:pt idx="61">
                  <c:v>0.31586904362416107</c:v>
                </c:pt>
                <c:pt idx="62">
                  <c:v>0.35538562987823696</c:v>
                </c:pt>
                <c:pt idx="63">
                  <c:v>0.36145029399990175</c:v>
                </c:pt>
                <c:pt idx="64">
                  <c:v>0.337919585203757</c:v>
                </c:pt>
                <c:pt idx="65">
                  <c:v>0.3542432394538986</c:v>
                </c:pt>
                <c:pt idx="66">
                  <c:v>0.32016691824123394</c:v>
                </c:pt>
                <c:pt idx="67">
                  <c:v>0.31500393562217516</c:v>
                </c:pt>
                <c:pt idx="68">
                  <c:v>0.3520630441598951</c:v>
                </c:pt>
                <c:pt idx="69">
                  <c:v>0.35295154628790165</c:v>
                </c:pt>
                <c:pt idx="70">
                  <c:v>0.35580644024802704</c:v>
                </c:pt>
                <c:pt idx="71">
                  <c:v>0.34439544901515895</c:v>
                </c:pt>
                <c:pt idx="72">
                  <c:v>0.3713341092322263</c:v>
                </c:pt>
                <c:pt idx="73">
                  <c:v>0.3793425973661392</c:v>
                </c:pt>
                <c:pt idx="74">
                  <c:v>0.43298043394315133</c:v>
                </c:pt>
                <c:pt idx="75">
                  <c:v>0.35239223175649037</c:v>
                </c:pt>
                <c:pt idx="76">
                  <c:v>0.37536328780458456</c:v>
                </c:pt>
                <c:pt idx="77">
                  <c:v>0.35661133616921675</c:v>
                </c:pt>
                <c:pt idx="78">
                  <c:v>0.36111210608256833</c:v>
                </c:pt>
                <c:pt idx="79">
                  <c:v>0.38849544462355307</c:v>
                </c:pt>
                <c:pt idx="80">
                  <c:v>0.4094152187333588</c:v>
                </c:pt>
                <c:pt idx="81">
                  <c:v>0.3524853274901581</c:v>
                </c:pt>
                <c:pt idx="82">
                  <c:v>0.3847820872649915</c:v>
                </c:pt>
                <c:pt idx="83">
                  <c:v>0.42940547662350426</c:v>
                </c:pt>
                <c:pt idx="84">
                  <c:v>0.5323023983315954</c:v>
                </c:pt>
                <c:pt idx="85">
                  <c:v>0.35646914113077255</c:v>
                </c:pt>
                <c:pt idx="86">
                  <c:v>0.36027068143016044</c:v>
                </c:pt>
                <c:pt idx="87">
                  <c:v>0.37377638106008737</c:v>
                </c:pt>
                <c:pt idx="88">
                  <c:v>0.3831667508725964</c:v>
                </c:pt>
                <c:pt idx="89">
                  <c:v>0.3691733448171414</c:v>
                </c:pt>
                <c:pt idx="90">
                  <c:v>0.36898541521399525</c:v>
                </c:pt>
                <c:pt idx="91">
                  <c:v>0.3724807400503163</c:v>
                </c:pt>
                <c:pt idx="92">
                  <c:v>0.4144254838437748</c:v>
                </c:pt>
                <c:pt idx="93">
                  <c:v>0.3471141493690523</c:v>
                </c:pt>
                <c:pt idx="94">
                  <c:v>0.36444346897845475</c:v>
                </c:pt>
                <c:pt idx="95">
                  <c:v>0.3665776259332698</c:v>
                </c:pt>
                <c:pt idx="96">
                  <c:v>0.37340172372986163</c:v>
                </c:pt>
                <c:pt idx="97">
                  <c:v>0.3846889058903975</c:v>
                </c:pt>
                <c:pt idx="98">
                  <c:v>0.38065607957875175</c:v>
                </c:pt>
                <c:pt idx="99">
                  <c:v>0.41103822270398366</c:v>
                </c:pt>
                <c:pt idx="100">
                  <c:v>0.3794924772719267</c:v>
                </c:pt>
                <c:pt idx="101">
                  <c:v>0.3758094508637999</c:v>
                </c:pt>
                <c:pt idx="102">
                  <c:v>0.38833982616447515</c:v>
                </c:pt>
                <c:pt idx="103">
                  <c:v>0.2734353313297755</c:v>
                </c:pt>
                <c:pt idx="104">
                  <c:v>0.30751995675937793</c:v>
                </c:pt>
              </c:numCache>
            </c:numRef>
          </c:xVal>
          <c:yVal>
            <c:numRef>
              <c:f>Sheet1!$B$2:$B$106</c:f>
              <c:numCache>
                <c:formatCode>General</c:formatCode>
                <c:ptCount val="105"/>
                <c:pt idx="0">
                  <c:v>0.3258807588075881</c:v>
                </c:pt>
                <c:pt idx="1">
                  <c:v>0.31758530183727035</c:v>
                </c:pt>
                <c:pt idx="2">
                  <c:v>0.30821452817379497</c:v>
                </c:pt>
                <c:pt idx="3">
                  <c:v>0.3379737045630317</c:v>
                </c:pt>
                <c:pt idx="4">
                  <c:v>0.34782608695652173</c:v>
                </c:pt>
                <c:pt idx="5">
                  <c:v>0.38012762078395623</c:v>
                </c:pt>
                <c:pt idx="6">
                  <c:v>0.3617511520737327</c:v>
                </c:pt>
                <c:pt idx="7">
                  <c:v>0.33876500857632935</c:v>
                </c:pt>
                <c:pt idx="8">
                  <c:v>0.31488203266787657</c:v>
                </c:pt>
                <c:pt idx="9">
                  <c:v>0.32685634975711314</c:v>
                </c:pt>
                <c:pt idx="10">
                  <c:v>0.34002509410288584</c:v>
                </c:pt>
                <c:pt idx="11">
                  <c:v>0.3134895503483217</c:v>
                </c:pt>
                <c:pt idx="12">
                  <c:v>0.3070776255707763</c:v>
                </c:pt>
                <c:pt idx="13">
                  <c:v>0.32922041503084687</c:v>
                </c:pt>
                <c:pt idx="14">
                  <c:v>0.27377956718671365</c:v>
                </c:pt>
                <c:pt idx="15">
                  <c:v>0.2709801409352979</c:v>
                </c:pt>
                <c:pt idx="16">
                  <c:v>0.2765957446808511</c:v>
                </c:pt>
                <c:pt idx="17">
                  <c:v>0.25749559082892415</c:v>
                </c:pt>
                <c:pt idx="18">
                  <c:v>0.19272976680384088</c:v>
                </c:pt>
                <c:pt idx="19">
                  <c:v>0.1948176583493282</c:v>
                </c:pt>
                <c:pt idx="20">
                  <c:v>0.19416590701914313</c:v>
                </c:pt>
                <c:pt idx="21">
                  <c:v>0.21372328458942633</c:v>
                </c:pt>
                <c:pt idx="22">
                  <c:v>0.2222222222222222</c:v>
                </c:pt>
                <c:pt idx="23">
                  <c:v>0.20903954802259886</c:v>
                </c:pt>
                <c:pt idx="24">
                  <c:v>0.28052805280528054</c:v>
                </c:pt>
                <c:pt idx="25">
                  <c:v>0.2759084791386272</c:v>
                </c:pt>
                <c:pt idx="26">
                  <c:v>0.302158273381295</c:v>
                </c:pt>
                <c:pt idx="27">
                  <c:v>0.3434190620272315</c:v>
                </c:pt>
                <c:pt idx="28">
                  <c:v>0.3076923076923077</c:v>
                </c:pt>
                <c:pt idx="29">
                  <c:v>0.30387596899224806</c:v>
                </c:pt>
                <c:pt idx="30">
                  <c:v>0.3246268656716418</c:v>
                </c:pt>
                <c:pt idx="31">
                  <c:v>0.33267716535433073</c:v>
                </c:pt>
                <c:pt idx="32">
                  <c:v>0.3473684210526316</c:v>
                </c:pt>
                <c:pt idx="33">
                  <c:v>0.32348993288590605</c:v>
                </c:pt>
                <c:pt idx="34">
                  <c:v>0.32950191570881227</c:v>
                </c:pt>
                <c:pt idx="35">
                  <c:v>0.3055555555555556</c:v>
                </c:pt>
                <c:pt idx="36">
                  <c:v>0.31585365853658537</c:v>
                </c:pt>
                <c:pt idx="37">
                  <c:v>0.2780337941628264</c:v>
                </c:pt>
                <c:pt idx="38">
                  <c:v>0.27923976608187134</c:v>
                </c:pt>
                <c:pt idx="39">
                  <c:v>0.3024</c:v>
                </c:pt>
                <c:pt idx="40">
                  <c:v>0.3006535947712418</c:v>
                </c:pt>
                <c:pt idx="41">
                  <c:v>0.2756827048114434</c:v>
                </c:pt>
                <c:pt idx="42">
                  <c:v>0.2737186477644493</c:v>
                </c:pt>
                <c:pt idx="43">
                  <c:v>0.26647286821705424</c:v>
                </c:pt>
                <c:pt idx="44">
                  <c:v>0.3652530779753762</c:v>
                </c:pt>
                <c:pt idx="45">
                  <c:v>0.37372013651877134</c:v>
                </c:pt>
                <c:pt idx="46">
                  <c:v>0.35844017094017094</c:v>
                </c:pt>
                <c:pt idx="47">
                  <c:v>0.3462125063548551</c:v>
                </c:pt>
                <c:pt idx="48">
                  <c:v>0.3508964507866813</c:v>
                </c:pt>
                <c:pt idx="49">
                  <c:v>0.3482849604221636</c:v>
                </c:pt>
                <c:pt idx="50">
                  <c:v>0.3399014778325123</c:v>
                </c:pt>
                <c:pt idx="51">
                  <c:v>0.32085561497326204</c:v>
                </c:pt>
                <c:pt idx="52">
                  <c:v>0.326911124922312</c:v>
                </c:pt>
                <c:pt idx="53">
                  <c:v>0.32724814063556457</c:v>
                </c:pt>
                <c:pt idx="54">
                  <c:v>0.3273469387755102</c:v>
                </c:pt>
                <c:pt idx="55">
                  <c:v>0.3319638455217749</c:v>
                </c:pt>
                <c:pt idx="56">
                  <c:v>0.33935585231736054</c:v>
                </c:pt>
                <c:pt idx="57">
                  <c:v>0.36528685548293394</c:v>
                </c:pt>
                <c:pt idx="58">
                  <c:v>0.38881491344873503</c:v>
                </c:pt>
                <c:pt idx="59">
                  <c:v>0.3440803382663848</c:v>
                </c:pt>
                <c:pt idx="60">
                  <c:v>0.32767402376910015</c:v>
                </c:pt>
                <c:pt idx="61">
                  <c:v>0.3423913043478261</c:v>
                </c:pt>
                <c:pt idx="62">
                  <c:v>0.37855844942459116</c:v>
                </c:pt>
                <c:pt idx="63">
                  <c:v>0.3601765030336459</c:v>
                </c:pt>
                <c:pt idx="64">
                  <c:v>0.3613673358654368</c:v>
                </c:pt>
                <c:pt idx="65">
                  <c:v>0.36585365853658536</c:v>
                </c:pt>
                <c:pt idx="66">
                  <c:v>0.3845245126993503</c:v>
                </c:pt>
                <c:pt idx="67">
                  <c:v>0.380764163372859</c:v>
                </c:pt>
                <c:pt idx="68">
                  <c:v>0.3697478991596639</c:v>
                </c:pt>
                <c:pt idx="69">
                  <c:v>0.36704119850187267</c:v>
                </c:pt>
                <c:pt idx="70">
                  <c:v>0.36030341340075855</c:v>
                </c:pt>
                <c:pt idx="71">
                  <c:v>0.37433862433862436</c:v>
                </c:pt>
                <c:pt idx="72">
                  <c:v>0.39360222531293465</c:v>
                </c:pt>
                <c:pt idx="73">
                  <c:v>0.4035608308605341</c:v>
                </c:pt>
                <c:pt idx="74">
                  <c:v>0.38285714285714284</c:v>
                </c:pt>
                <c:pt idx="75">
                  <c:v>0.36644951140065146</c:v>
                </c:pt>
                <c:pt idx="76">
                  <c:v>0.39280125195618154</c:v>
                </c:pt>
                <c:pt idx="77">
                  <c:v>0.391304347826087</c:v>
                </c:pt>
                <c:pt idx="78">
                  <c:v>0.36507936507936506</c:v>
                </c:pt>
                <c:pt idx="79">
                  <c:v>0.3061594202898551</c:v>
                </c:pt>
                <c:pt idx="80">
                  <c:v>0.325187969924812</c:v>
                </c:pt>
                <c:pt idx="81">
                  <c:v>0.3797709923664122</c:v>
                </c:pt>
                <c:pt idx="82">
                  <c:v>0.3671497584541063</c:v>
                </c:pt>
                <c:pt idx="83">
                  <c:v>0.36694677871148457</c:v>
                </c:pt>
                <c:pt idx="84">
                  <c:v>0.3404255319148936</c:v>
                </c:pt>
                <c:pt idx="85">
                  <c:v>0.4049382716049383</c:v>
                </c:pt>
                <c:pt idx="86">
                  <c:v>0.35892857142857143</c:v>
                </c:pt>
                <c:pt idx="87">
                  <c:v>0.35524256651017216</c:v>
                </c:pt>
                <c:pt idx="88">
                  <c:v>0.33648393194706994</c:v>
                </c:pt>
                <c:pt idx="89">
                  <c:v>0.3738738738738739</c:v>
                </c:pt>
                <c:pt idx="90">
                  <c:v>0.382830626450116</c:v>
                </c:pt>
                <c:pt idx="91">
                  <c:v>0.35550935550935553</c:v>
                </c:pt>
                <c:pt idx="92">
                  <c:v>0.36936936936936937</c:v>
                </c:pt>
                <c:pt idx="93">
                  <c:v>0.36006825938566556</c:v>
                </c:pt>
                <c:pt idx="94">
                  <c:v>0.3235294117647059</c:v>
                </c:pt>
                <c:pt idx="95">
                  <c:v>0.33748584371460927</c:v>
                </c:pt>
                <c:pt idx="96">
                  <c:v>0.3140333660451423</c:v>
                </c:pt>
                <c:pt idx="97">
                  <c:v>0.32684509326845096</c:v>
                </c:pt>
                <c:pt idx="98">
                  <c:v>0.31389252948885976</c:v>
                </c:pt>
                <c:pt idx="99">
                  <c:v>0.34493506493506493</c:v>
                </c:pt>
                <c:pt idx="100">
                  <c:v>0.3745035742652899</c:v>
                </c:pt>
                <c:pt idx="101">
                  <c:v>0.3513022410660206</c:v>
                </c:pt>
                <c:pt idx="102">
                  <c:v>0.37402885682574916</c:v>
                </c:pt>
                <c:pt idx="103">
                  <c:v>0.41605839416058393</c:v>
                </c:pt>
                <c:pt idx="104">
                  <c:v>0.379591836734693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5852067126751247</c:v>
                </c:pt>
                <c:pt idx="1">
                  <c:v>0.3888335071999559</c:v>
                </c:pt>
                <c:pt idx="2">
                  <c:v>0.4270555821753713</c:v>
                </c:pt>
                <c:pt idx="3">
                  <c:v>0.3821189540666127</c:v>
                </c:pt>
                <c:pt idx="4">
                  <c:v>0.4147848820731131</c:v>
                </c:pt>
                <c:pt idx="5">
                  <c:v>0.3801121664640808</c:v>
                </c:pt>
                <c:pt idx="6">
                  <c:v>0.34424947705896436</c:v>
                </c:pt>
                <c:pt idx="7">
                  <c:v>0.3074505266290593</c:v>
                </c:pt>
                <c:pt idx="8">
                  <c:v>0.4035605282505469</c:v>
                </c:pt>
                <c:pt idx="9">
                  <c:v>0.39183284427084736</c:v>
                </c:pt>
                <c:pt idx="10">
                  <c:v>0.40407043428531314</c:v>
                </c:pt>
                <c:pt idx="11">
                  <c:v>0.38395798497644607</c:v>
                </c:pt>
                <c:pt idx="12">
                  <c:v>0.39236904454390537</c:v>
                </c:pt>
                <c:pt idx="13">
                  <c:v>0.5111582040349235</c:v>
                </c:pt>
                <c:pt idx="14">
                  <c:v>0.4722034021861841</c:v>
                </c:pt>
                <c:pt idx="15">
                  <c:v>0.47919572477010985</c:v>
                </c:pt>
                <c:pt idx="16">
                  <c:v>0.5245072834657215</c:v>
                </c:pt>
                <c:pt idx="17">
                  <c:v>0.6771413418768631</c:v>
                </c:pt>
                <c:pt idx="18">
                  <c:v>0.44280417893529617</c:v>
                </c:pt>
                <c:pt idx="19">
                  <c:v>0.4150874678805273</c:v>
                </c:pt>
                <c:pt idx="20">
                  <c:v>0.34227473207406295</c:v>
                </c:pt>
                <c:pt idx="21">
                  <c:v>0.6598963556851312</c:v>
                </c:pt>
                <c:pt idx="22">
                  <c:v>0.4620006025306287</c:v>
                </c:pt>
                <c:pt idx="23">
                  <c:v>0.3770087148064061</c:v>
                </c:pt>
                <c:pt idx="24">
                  <c:v>0.4621621161017645</c:v>
                </c:pt>
                <c:pt idx="25">
                  <c:v>0.42886097660747113</c:v>
                </c:pt>
                <c:pt idx="26">
                  <c:v>0.4182722639163195</c:v>
                </c:pt>
                <c:pt idx="27">
                  <c:v>0.47001997796385514</c:v>
                </c:pt>
                <c:pt idx="28">
                  <c:v>0.37849741239738627</c:v>
                </c:pt>
                <c:pt idx="29">
                  <c:v>0.41096385388011003</c:v>
                </c:pt>
                <c:pt idx="30">
                  <c:v>0.4169325015368326</c:v>
                </c:pt>
                <c:pt idx="31">
                  <c:v>0.6860567872017891</c:v>
                </c:pt>
                <c:pt idx="32">
                  <c:v>0.4470281991138911</c:v>
                </c:pt>
                <c:pt idx="33">
                  <c:v>0.4526599895074624</c:v>
                </c:pt>
                <c:pt idx="34">
                  <c:v>0.5179948973487265</c:v>
                </c:pt>
                <c:pt idx="35">
                  <c:v>0.5969046062217281</c:v>
                </c:pt>
                <c:pt idx="36">
                  <c:v>0.43494564201284774</c:v>
                </c:pt>
                <c:pt idx="37">
                  <c:v>0.6257233092073148</c:v>
                </c:pt>
                <c:pt idx="38">
                  <c:v>0.30630626624800517</c:v>
                </c:pt>
                <c:pt idx="39">
                  <c:v>0.4060262012184892</c:v>
                </c:pt>
                <c:pt idx="40">
                  <c:v>0.34354749237728266</c:v>
                </c:pt>
                <c:pt idx="41">
                  <c:v>0.3761328964529379</c:v>
                </c:pt>
                <c:pt idx="42">
                  <c:v>0.35448767078184346</c:v>
                </c:pt>
                <c:pt idx="43">
                  <c:v>0.3510241756252092</c:v>
                </c:pt>
                <c:pt idx="44">
                  <c:v>0.3725253488272402</c:v>
                </c:pt>
                <c:pt idx="45">
                  <c:v>0.3568366714337926</c:v>
                </c:pt>
                <c:pt idx="46">
                  <c:v>0.3284301153406475</c:v>
                </c:pt>
                <c:pt idx="47">
                  <c:v>0.316449593616078</c:v>
                </c:pt>
                <c:pt idx="48">
                  <c:v>0.30994720220093397</c:v>
                </c:pt>
                <c:pt idx="49">
                  <c:v>0.3641339599437807</c:v>
                </c:pt>
                <c:pt idx="50">
                  <c:v>0.39451508886733117</c:v>
                </c:pt>
                <c:pt idx="51">
                  <c:v>0.3775912483556915</c:v>
                </c:pt>
              </c:numCache>
            </c:numRef>
          </c:xVal>
          <c:yVal>
            <c:numRef>
              <c:f>Sheet1!$B$109:$B$160</c:f>
              <c:numCache>
                <c:formatCode>General</c:formatCode>
                <c:ptCount val="52"/>
                <c:pt idx="0">
                  <c:v>0.3758139534883721</c:v>
                </c:pt>
                <c:pt idx="1">
                  <c:v>0.35700757575757575</c:v>
                </c:pt>
                <c:pt idx="2">
                  <c:v>0.3685136323658751</c:v>
                </c:pt>
                <c:pt idx="3">
                  <c:v>0.38599348534201955</c:v>
                </c:pt>
                <c:pt idx="4">
                  <c:v>0.3867219917012448</c:v>
                </c:pt>
                <c:pt idx="5">
                  <c:v>0.38476190476190475</c:v>
                </c:pt>
                <c:pt idx="6">
                  <c:v>0.4033391915641476</c:v>
                </c:pt>
                <c:pt idx="7">
                  <c:v>0.46420323325635104</c:v>
                </c:pt>
                <c:pt idx="8">
                  <c:v>0.3860619469026549</c:v>
                </c:pt>
                <c:pt idx="9">
                  <c:v>0.3726273726273726</c:v>
                </c:pt>
                <c:pt idx="10">
                  <c:v>0.38095238095238093</c:v>
                </c:pt>
                <c:pt idx="11">
                  <c:v>0.33070301291248205</c:v>
                </c:pt>
                <c:pt idx="12">
                  <c:v>0.3054263565891473</c:v>
                </c:pt>
                <c:pt idx="13">
                  <c:v>0.34395424836601307</c:v>
                </c:pt>
                <c:pt idx="14">
                  <c:v>0.3255597014925373</c:v>
                </c:pt>
                <c:pt idx="15">
                  <c:v>0.309989701338826</c:v>
                </c:pt>
                <c:pt idx="16">
                  <c:v>0.31301939058171746</c:v>
                </c:pt>
                <c:pt idx="17">
                  <c:v>0.3238993710691824</c:v>
                </c:pt>
                <c:pt idx="18">
                  <c:v>0.32296296296296295</c:v>
                </c:pt>
                <c:pt idx="19">
                  <c:v>0.3492753623188406</c:v>
                </c:pt>
                <c:pt idx="20">
                  <c:v>0.3821138211382114</c:v>
                </c:pt>
                <c:pt idx="21">
                  <c:v>0.3964757709251101</c:v>
                </c:pt>
                <c:pt idx="22">
                  <c:v>0.38967136150234744</c:v>
                </c:pt>
                <c:pt idx="23">
                  <c:v>0.40966921119592875</c:v>
                </c:pt>
                <c:pt idx="24">
                  <c:v>0.4131455399061033</c:v>
                </c:pt>
                <c:pt idx="25">
                  <c:v>0.4184549356223176</c:v>
                </c:pt>
                <c:pt idx="26">
                  <c:v>0.3844282238442822</c:v>
                </c:pt>
                <c:pt idx="27">
                  <c:v>0.3939393939393939</c:v>
                </c:pt>
                <c:pt idx="28">
                  <c:v>0.42430703624733473</c:v>
                </c:pt>
                <c:pt idx="29">
                  <c:v>0.4172494172494173</c:v>
                </c:pt>
                <c:pt idx="30">
                  <c:v>0.3955431754874652</c:v>
                </c:pt>
                <c:pt idx="31">
                  <c:v>0.453416149068323</c:v>
                </c:pt>
                <c:pt idx="32">
                  <c:v>0.4370179948586118</c:v>
                </c:pt>
                <c:pt idx="33">
                  <c:v>0.42704626334519574</c:v>
                </c:pt>
                <c:pt idx="34">
                  <c:v>0.4016973125884017</c:v>
                </c:pt>
                <c:pt idx="35">
                  <c:v>0.38461538461538464</c:v>
                </c:pt>
                <c:pt idx="36">
                  <c:v>0.3870967741935484</c:v>
                </c:pt>
                <c:pt idx="37">
                  <c:v>0.3270042194092827</c:v>
                </c:pt>
                <c:pt idx="38">
                  <c:v>0.35766423357664234</c:v>
                </c:pt>
                <c:pt idx="39">
                  <c:v>0.36059479553903345</c:v>
                </c:pt>
                <c:pt idx="40">
                  <c:v>0.36639676113360325</c:v>
                </c:pt>
                <c:pt idx="41">
                  <c:v>0.34856175972927245</c:v>
                </c:pt>
                <c:pt idx="42">
                  <c:v>0.36106194690265486</c:v>
                </c:pt>
                <c:pt idx="43">
                  <c:v>0.3569230769230769</c:v>
                </c:pt>
                <c:pt idx="44">
                  <c:v>0.38179800221975585</c:v>
                </c:pt>
                <c:pt idx="45">
                  <c:v>0.40988372093023256</c:v>
                </c:pt>
                <c:pt idx="46">
                  <c:v>0.4431137724550898</c:v>
                </c:pt>
                <c:pt idx="47">
                  <c:v>0.41850594227504245</c:v>
                </c:pt>
                <c:pt idx="48">
                  <c:v>0.4468704512372635</c:v>
                </c:pt>
                <c:pt idx="49">
                  <c:v>0.4451530612244898</c:v>
                </c:pt>
                <c:pt idx="50">
                  <c:v>0.44803794739111685</c:v>
                </c:pt>
                <c:pt idx="51">
                  <c:v>0.43086592178770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6845097208401186</c:v>
                </c:pt>
              </c:numCache>
            </c:numRef>
          </c:xVal>
          <c:yVal>
            <c:numRef>
              <c:f>Sheet1!$B$163:$B$164</c:f>
              <c:numCache>
                <c:formatCode>General</c:formatCode>
                <c:ptCount val="2"/>
                <c:pt idx="0">
                  <c:v>0.4427318454101449</c:v>
                </c:pt>
                <c:pt idx="1">
                  <c:v>0.442731845410144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6845097208401186</c:v>
                </c:pt>
                <c:pt idx="1">
                  <c:v>-0.16845097208401186</c:v>
                </c:pt>
              </c:numCache>
            </c:numRef>
          </c:xVal>
          <c:yVal>
            <c:numRef>
              <c:f>Sheet1!$B$167:$B$168</c:f>
              <c:numCache>
                <c:formatCode>General</c:formatCode>
                <c:ptCount val="2"/>
                <c:pt idx="0">
                  <c:v>0.44273184541014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845097208401186</c:v>
                </c:pt>
              </c:numCache>
            </c:numRef>
          </c:xVal>
          <c:yVal>
            <c:numRef>
              <c:f>Sheet1!$B$171:$B$172</c:f>
              <c:numCache>
                <c:formatCode>General</c:formatCode>
                <c:ptCount val="2"/>
                <c:pt idx="0">
                  <c:v>0.4427318454101449</c:v>
                </c:pt>
                <c:pt idx="1">
                  <c:v>0.442731845410144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845097208401186</c:v>
                </c:pt>
                <c:pt idx="1">
                  <c:v>-0.16845097208401186</c:v>
                </c:pt>
              </c:numCache>
            </c:numRef>
          </c:xVal>
          <c:yVal>
            <c:numRef>
              <c:f>Sheet1!$B$175:$B$176</c:f>
              <c:numCache>
                <c:formatCode>General</c:formatCode>
                <c:ptCount val="2"/>
                <c:pt idx="0">
                  <c:v>0.442731845410144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544973062210252</c:v>
                </c:pt>
              </c:numCache>
            </c:numRef>
          </c:xVal>
          <c:yVal>
            <c:numRef>
              <c:f>Sheet1!$B$179:$B$180</c:f>
              <c:numCache>
                <c:formatCode>General</c:formatCode>
                <c:ptCount val="2"/>
                <c:pt idx="0">
                  <c:v>0.40136670459602625</c:v>
                </c:pt>
                <c:pt idx="1">
                  <c:v>0.401366704596026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544973062210252</c:v>
                </c:pt>
                <c:pt idx="1">
                  <c:v>0.2544973062210252</c:v>
                </c:pt>
              </c:numCache>
            </c:numRef>
          </c:xVal>
          <c:yVal>
            <c:numRef>
              <c:f>Sheet1!$B$183:$B$184</c:f>
              <c:numCache>
                <c:formatCode>General</c:formatCode>
                <c:ptCount val="2"/>
                <c:pt idx="0">
                  <c:v>0.40136670459602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5852067126751247</c:v>
                </c:pt>
                <c:pt idx="1">
                  <c:v>0.3888335071999559</c:v>
                </c:pt>
                <c:pt idx="2">
                  <c:v>0.4270555821753713</c:v>
                </c:pt>
                <c:pt idx="3">
                  <c:v>0.3821189540666127</c:v>
                </c:pt>
                <c:pt idx="4">
                  <c:v>0.4147848820731131</c:v>
                </c:pt>
                <c:pt idx="5">
                  <c:v>0.3801121664640808</c:v>
                </c:pt>
                <c:pt idx="6">
                  <c:v>0.34424947705896436</c:v>
                </c:pt>
                <c:pt idx="7">
                  <c:v>0.3074505266290593</c:v>
                </c:pt>
                <c:pt idx="8">
                  <c:v>0.4035605282505469</c:v>
                </c:pt>
                <c:pt idx="9">
                  <c:v>0.39183284427084736</c:v>
                </c:pt>
                <c:pt idx="10">
                  <c:v>0.40407043428531314</c:v>
                </c:pt>
                <c:pt idx="11">
                  <c:v>0.38395798497644607</c:v>
                </c:pt>
                <c:pt idx="12">
                  <c:v>0.39236904454390537</c:v>
                </c:pt>
                <c:pt idx="13">
                  <c:v>0.5111582040349235</c:v>
                </c:pt>
                <c:pt idx="14">
                  <c:v>0.4722034021861841</c:v>
                </c:pt>
                <c:pt idx="15">
                  <c:v>0.47919572477010985</c:v>
                </c:pt>
                <c:pt idx="16">
                  <c:v>0.5245072834657215</c:v>
                </c:pt>
                <c:pt idx="17">
                  <c:v>0.6771413418768631</c:v>
                </c:pt>
                <c:pt idx="18">
                  <c:v>0.44280417893529617</c:v>
                </c:pt>
                <c:pt idx="19">
                  <c:v>0.4150874678805273</c:v>
                </c:pt>
                <c:pt idx="20">
                  <c:v>0.34227473207406295</c:v>
                </c:pt>
                <c:pt idx="21">
                  <c:v>0.6598963556851312</c:v>
                </c:pt>
                <c:pt idx="22">
                  <c:v>0.4620006025306287</c:v>
                </c:pt>
                <c:pt idx="23">
                  <c:v>0.3770087148064061</c:v>
                </c:pt>
                <c:pt idx="24">
                  <c:v>0.4621621161017645</c:v>
                </c:pt>
                <c:pt idx="25">
                  <c:v>0.42886097660747113</c:v>
                </c:pt>
                <c:pt idx="26">
                  <c:v>0.4182722639163195</c:v>
                </c:pt>
                <c:pt idx="27">
                  <c:v>0.47001997796385514</c:v>
                </c:pt>
                <c:pt idx="28">
                  <c:v>0.37849741239738627</c:v>
                </c:pt>
                <c:pt idx="29">
                  <c:v>0.41096385388011003</c:v>
                </c:pt>
                <c:pt idx="30">
                  <c:v>0.4169325015368326</c:v>
                </c:pt>
                <c:pt idx="31">
                  <c:v>0.6860567872017891</c:v>
                </c:pt>
                <c:pt idx="32">
                  <c:v>0.4470281991138911</c:v>
                </c:pt>
                <c:pt idx="33">
                  <c:v>0.4526599895074624</c:v>
                </c:pt>
                <c:pt idx="34">
                  <c:v>0.5179948973487265</c:v>
                </c:pt>
                <c:pt idx="35">
                  <c:v>0.5969046062217281</c:v>
                </c:pt>
                <c:pt idx="36">
                  <c:v>0.43494564201284774</c:v>
                </c:pt>
                <c:pt idx="37">
                  <c:v>0.6257233092073148</c:v>
                </c:pt>
                <c:pt idx="38">
                  <c:v>0.30630626624800517</c:v>
                </c:pt>
                <c:pt idx="39">
                  <c:v>0.4060262012184892</c:v>
                </c:pt>
                <c:pt idx="40">
                  <c:v>0.34354749237728266</c:v>
                </c:pt>
                <c:pt idx="41">
                  <c:v>0.3761328964529379</c:v>
                </c:pt>
                <c:pt idx="42">
                  <c:v>0.35448767078184346</c:v>
                </c:pt>
                <c:pt idx="43">
                  <c:v>0.3510241756252092</c:v>
                </c:pt>
                <c:pt idx="44">
                  <c:v>0.3725253488272402</c:v>
                </c:pt>
                <c:pt idx="45">
                  <c:v>0.3568366714337926</c:v>
                </c:pt>
                <c:pt idx="46">
                  <c:v>0.3284301153406475</c:v>
                </c:pt>
                <c:pt idx="47">
                  <c:v>0.316449593616078</c:v>
                </c:pt>
                <c:pt idx="48">
                  <c:v>0.30994720220093397</c:v>
                </c:pt>
                <c:pt idx="49">
                  <c:v>0.3641339599437807</c:v>
                </c:pt>
                <c:pt idx="50">
                  <c:v>0.39451508886733117</c:v>
                </c:pt>
                <c:pt idx="51">
                  <c:v>0.3775912483556915</c:v>
                </c:pt>
                <c:pt idx="52">
                  <c:v>-0.16845097208401186</c:v>
                </c:pt>
                <c:pt idx="53">
                  <c:v>-0.16845097208401186</c:v>
                </c:pt>
                <c:pt idx="54">
                  <c:v>0.2544973062210252</c:v>
                </c:pt>
              </c:numCache>
            </c:numRef>
          </c:xVal>
          <c:yVal>
            <c:numRef>
              <c:f>Sheet1!$B$187:$B$241</c:f>
              <c:numCache>
                <c:formatCode>General</c:formatCode>
                <c:ptCount val="55"/>
                <c:pt idx="0">
                  <c:v>0.3911930229336953</c:v>
                </c:pt>
                <c:pt idx="1">
                  <c:v>0.38822837030088214</c:v>
                </c:pt>
                <c:pt idx="2">
                  <c:v>0.38449017914450256</c:v>
                </c:pt>
                <c:pt idx="3">
                  <c:v>0.3888850662850287</c:v>
                </c:pt>
                <c:pt idx="4">
                  <c:v>0.38569027680101003</c:v>
                </c:pt>
                <c:pt idx="5">
                  <c:v>0.38908133390454813</c:v>
                </c:pt>
                <c:pt idx="6">
                  <c:v>0.3925887726938976</c:v>
                </c:pt>
                <c:pt idx="7">
                  <c:v>0.39618777958061424</c:v>
                </c:pt>
                <c:pt idx="8">
                  <c:v>0.3867880398142054</c:v>
                </c:pt>
                <c:pt idx="9">
                  <c:v>0.3879350294678526</c:v>
                </c:pt>
                <c:pt idx="10">
                  <c:v>0.3867381700404955</c:v>
                </c:pt>
                <c:pt idx="11">
                  <c:v>0.38870520558704547</c:v>
                </c:pt>
                <c:pt idx="12">
                  <c:v>0.38788258806795256</c:v>
                </c:pt>
                <c:pt idx="13">
                  <c:v>0.37626478380775197</c:v>
                </c:pt>
                <c:pt idx="14">
                  <c:v>0.3800746370368909</c:v>
                </c:pt>
                <c:pt idx="15">
                  <c:v>0.37939077467560894</c:v>
                </c:pt>
                <c:pt idx="16">
                  <c:v>0.3749592186152261</c:v>
                </c:pt>
                <c:pt idx="17">
                  <c:v>0.360031319287891</c:v>
                </c:pt>
                <c:pt idx="18">
                  <c:v>0.3829499366231009</c:v>
                </c:pt>
                <c:pt idx="19">
                  <c:v>0.3856606833372839</c:v>
                </c:pt>
                <c:pt idx="20">
                  <c:v>0.3927819064848655</c:v>
                </c:pt>
                <c:pt idx="21">
                  <c:v>0.36171791152327554</c:v>
                </c:pt>
                <c:pt idx="22">
                  <c:v>0.38107249012224126</c:v>
                </c:pt>
                <c:pt idx="23">
                  <c:v>0.3893848573408983</c:v>
                </c:pt>
                <c:pt idx="24">
                  <c:v>0.38105669378979085</c:v>
                </c:pt>
                <c:pt idx="25">
                  <c:v>0.3843136081576006</c:v>
                </c:pt>
                <c:pt idx="26">
                  <c:v>0.3853492042670469</c:v>
                </c:pt>
                <c:pt idx="27">
                  <c:v>0.38028818005159604</c:v>
                </c:pt>
                <c:pt idx="28">
                  <c:v>0.38923925990348274</c:v>
                </c:pt>
                <c:pt idx="29">
                  <c:v>0.3860639805784357</c:v>
                </c:pt>
                <c:pt idx="30">
                  <c:v>0.38548023555935296</c:v>
                </c:pt>
                <c:pt idx="31">
                  <c:v>0.35915937188863917</c:v>
                </c:pt>
                <c:pt idx="32">
                  <c:v>0.38253681946799745</c:v>
                </c:pt>
                <c:pt idx="33">
                  <c:v>0.3819860197257707</c:v>
                </c:pt>
                <c:pt idx="34">
                  <c:v>0.37559614228316246</c:v>
                </c:pt>
                <c:pt idx="35">
                  <c:v>0.3678786236489367</c:v>
                </c:pt>
                <c:pt idx="36">
                  <c:v>0.38371851638347426</c:v>
                </c:pt>
                <c:pt idx="37">
                  <c:v>0.36506010004161443</c:v>
                </c:pt>
                <c:pt idx="38">
                  <c:v>0.39629969040805635</c:v>
                </c:pt>
                <c:pt idx="39">
                  <c:v>0.38654689233884687</c:v>
                </c:pt>
                <c:pt idx="40">
                  <c:v>0.3926574281222244</c:v>
                </c:pt>
                <c:pt idx="41">
                  <c:v>0.38947051403079896</c:v>
                </c:pt>
                <c:pt idx="42">
                  <c:v>0.39158745800188294</c:v>
                </c:pt>
                <c:pt idx="43">
                  <c:v>0.39192619437276344</c:v>
                </c:pt>
                <c:pt idx="44">
                  <c:v>0.38982333900535293</c:v>
                </c:pt>
                <c:pt idx="45">
                  <c:v>0.3913577212994906</c:v>
                </c:pt>
                <c:pt idx="46">
                  <c:v>0.39413593616194625</c:v>
                </c:pt>
                <c:pt idx="47">
                  <c:v>0.3953076538247996</c:v>
                </c:pt>
                <c:pt idx="48">
                  <c:v>0.3959435999920091</c:v>
                </c:pt>
                <c:pt idx="49">
                  <c:v>0.39064403269438125</c:v>
                </c:pt>
                <c:pt idx="50">
                  <c:v>0.3876727008779926</c:v>
                </c:pt>
                <c:pt idx="51">
                  <c:v>0.38932788445903266</c:v>
                </c:pt>
                <c:pt idx="52">
                  <c:v>0.4427318454101449</c:v>
                </c:pt>
                <c:pt idx="53">
                  <c:v>0.4427318454101449</c:v>
                </c:pt>
                <c:pt idx="54">
                  <c:v>0.40136670459602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70438799076213"/>
          <c:min val="0.154183813443072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4.3493</c:v>
                </c:pt>
                <c:pt idx="1">
                  <c:v>323.9628</c:v>
                </c:pt>
                <c:pt idx="2">
                  <c:v>329.978</c:v>
                </c:pt>
                <c:pt idx="3">
                  <c:v>324.7071</c:v>
                </c:pt>
                <c:pt idx="4">
                  <c:v>316.7284</c:v>
                </c:pt>
                <c:pt idx="5">
                  <c:v>323.2974</c:v>
                </c:pt>
                <c:pt idx="6">
                  <c:v>322.2866</c:v>
                </c:pt>
                <c:pt idx="7">
                  <c:v>326.0785</c:v>
                </c:pt>
                <c:pt idx="8">
                  <c:v>322.8646</c:v>
                </c:pt>
                <c:pt idx="9">
                  <c:v>324.8132</c:v>
                </c:pt>
                <c:pt idx="10">
                  <c:v>330.9483</c:v>
                </c:pt>
                <c:pt idx="11">
                  <c:v>336.703</c:v>
                </c:pt>
                <c:pt idx="12">
                  <c:v>333.1822</c:v>
                </c:pt>
                <c:pt idx="13">
                  <c:v>321.4872</c:v>
                </c:pt>
                <c:pt idx="14">
                  <c:v>324.239</c:v>
                </c:pt>
                <c:pt idx="15">
                  <c:v>333.8771</c:v>
                </c:pt>
                <c:pt idx="16">
                  <c:v>333.7885</c:v>
                </c:pt>
                <c:pt idx="17">
                  <c:v>337.7363</c:v>
                </c:pt>
                <c:pt idx="18">
                  <c:v>337.0</c:v>
                </c:pt>
                <c:pt idx="19">
                  <c:v>350.0837</c:v>
                </c:pt>
                <c:pt idx="20">
                  <c:v>350.2019</c:v>
                </c:pt>
                <c:pt idx="21">
                  <c:v>338.8737</c:v>
                </c:pt>
                <c:pt idx="22">
                  <c:v>345.1402</c:v>
                </c:pt>
                <c:pt idx="23">
                  <c:v>339.2523</c:v>
                </c:pt>
                <c:pt idx="24">
                  <c:v>357.5216</c:v>
                </c:pt>
                <c:pt idx="25">
                  <c:v>359.6195</c:v>
                </c:pt>
                <c:pt idx="26">
                  <c:v>359.3762</c:v>
                </c:pt>
                <c:pt idx="27">
                  <c:v>355.2863</c:v>
                </c:pt>
                <c:pt idx="28">
                  <c:v>357.5106</c:v>
                </c:pt>
                <c:pt idx="29">
                  <c:v>354.8929</c:v>
                </c:pt>
                <c:pt idx="30">
                  <c:v>353.523</c:v>
                </c:pt>
                <c:pt idx="31">
                  <c:v>364.5207</c:v>
                </c:pt>
                <c:pt idx="32">
                  <c:v>371.1162</c:v>
                </c:pt>
                <c:pt idx="33">
                  <c:v>358.3817</c:v>
                </c:pt>
                <c:pt idx="34">
                  <c:v>365.7868</c:v>
                </c:pt>
                <c:pt idx="35">
                  <c:v>371.7441</c:v>
                </c:pt>
                <c:pt idx="36">
                  <c:v>365.2432</c:v>
                </c:pt>
                <c:pt idx="37">
                  <c:v>367.8343</c:v>
                </c:pt>
                <c:pt idx="38">
                  <c:v>374.1414</c:v>
                </c:pt>
                <c:pt idx="39">
                  <c:v>375.8254</c:v>
                </c:pt>
                <c:pt idx="40">
                  <c:v>371.4261</c:v>
                </c:pt>
                <c:pt idx="41">
                  <c:v>364.1132</c:v>
                </c:pt>
                <c:pt idx="42">
                  <c:v>373.4462</c:v>
                </c:pt>
                <c:pt idx="43">
                  <c:v>380.52</c:v>
                </c:pt>
                <c:pt idx="44">
                  <c:v>359.5431</c:v>
                </c:pt>
                <c:pt idx="45">
                  <c:v>350.5921</c:v>
                </c:pt>
                <c:pt idx="46">
                  <c:v>353.6617</c:v>
                </c:pt>
                <c:pt idx="47">
                  <c:v>355.0661</c:v>
                </c:pt>
                <c:pt idx="48">
                  <c:v>357.8269</c:v>
                </c:pt>
                <c:pt idx="49">
                  <c:v>357.8809</c:v>
                </c:pt>
                <c:pt idx="50">
                  <c:v>369.2261</c:v>
                </c:pt>
                <c:pt idx="51">
                  <c:v>379.7271</c:v>
                </c:pt>
                <c:pt idx="52">
                  <c:v>377.6198</c:v>
                </c:pt>
                <c:pt idx="53">
                  <c:v>378.938</c:v>
                </c:pt>
                <c:pt idx="54">
                  <c:v>377.9651</c:v>
                </c:pt>
                <c:pt idx="55">
                  <c:v>370.7079</c:v>
                </c:pt>
                <c:pt idx="56">
                  <c:v>368.0347</c:v>
                </c:pt>
                <c:pt idx="57">
                  <c:v>343.5149</c:v>
                </c:pt>
                <c:pt idx="58">
                  <c:v>349.4521</c:v>
                </c:pt>
                <c:pt idx="59">
                  <c:v>371.255</c:v>
                </c:pt>
                <c:pt idx="60">
                  <c:v>366.0121</c:v>
                </c:pt>
                <c:pt idx="61">
                  <c:v>376.5159</c:v>
                </c:pt>
                <c:pt idx="62">
                  <c:v>378.872</c:v>
                </c:pt>
                <c:pt idx="63">
                  <c:v>404.2159</c:v>
                </c:pt>
                <c:pt idx="64">
                  <c:v>408.1141</c:v>
                </c:pt>
                <c:pt idx="65">
                  <c:v>404.2553</c:v>
                </c:pt>
                <c:pt idx="66">
                  <c:v>390.0891</c:v>
                </c:pt>
                <c:pt idx="67">
                  <c:v>391.9118</c:v>
                </c:pt>
                <c:pt idx="68">
                  <c:v>406.6864</c:v>
                </c:pt>
                <c:pt idx="69">
                  <c:v>410.6395</c:v>
                </c:pt>
                <c:pt idx="70">
                  <c:v>403.9684</c:v>
                </c:pt>
                <c:pt idx="71">
                  <c:v>418.9364</c:v>
                </c:pt>
                <c:pt idx="72">
                  <c:v>445.1166</c:v>
                </c:pt>
                <c:pt idx="73">
                  <c:v>433.761</c:v>
                </c:pt>
                <c:pt idx="74">
                  <c:v>431.5784</c:v>
                </c:pt>
                <c:pt idx="75">
                  <c:v>421.2933</c:v>
                </c:pt>
                <c:pt idx="76">
                  <c:v>417.9841</c:v>
                </c:pt>
                <c:pt idx="77">
                  <c:v>424.1787</c:v>
                </c:pt>
                <c:pt idx="78">
                  <c:v>420.4022</c:v>
                </c:pt>
                <c:pt idx="79">
                  <c:v>431.2071</c:v>
                </c:pt>
                <c:pt idx="80">
                  <c:v>451.763</c:v>
                </c:pt>
                <c:pt idx="81">
                  <c:v>431.2462</c:v>
                </c:pt>
                <c:pt idx="82">
                  <c:v>443.7237</c:v>
                </c:pt>
                <c:pt idx="83">
                  <c:v>422.9084</c:v>
                </c:pt>
                <c:pt idx="84">
                  <c:v>433.9063</c:v>
                </c:pt>
                <c:pt idx="85">
                  <c:v>412.9695</c:v>
                </c:pt>
                <c:pt idx="86">
                  <c:v>433.0945</c:v>
                </c:pt>
                <c:pt idx="87">
                  <c:v>433.4934</c:v>
                </c:pt>
                <c:pt idx="88">
                  <c:v>429.0225</c:v>
                </c:pt>
                <c:pt idx="89">
                  <c:v>422.8012</c:v>
                </c:pt>
                <c:pt idx="90">
                  <c:v>439.1636</c:v>
                </c:pt>
                <c:pt idx="91">
                  <c:v>437.8304</c:v>
                </c:pt>
                <c:pt idx="92">
                  <c:v>421.8098</c:v>
                </c:pt>
                <c:pt idx="93">
                  <c:v>433.7251</c:v>
                </c:pt>
                <c:pt idx="94">
                  <c:v>439.697</c:v>
                </c:pt>
                <c:pt idx="95">
                  <c:v>436.1376</c:v>
                </c:pt>
                <c:pt idx="96">
                  <c:v>443.1656</c:v>
                </c:pt>
                <c:pt idx="97">
                  <c:v>430.6625</c:v>
                </c:pt>
                <c:pt idx="98">
                  <c:v>421.428</c:v>
                </c:pt>
                <c:pt idx="99">
                  <c:v>423.6416</c:v>
                </c:pt>
                <c:pt idx="100">
                  <c:v>427.6999</c:v>
                </c:pt>
                <c:pt idx="101">
                  <c:v>425.4983</c:v>
                </c:pt>
                <c:pt idx="102">
                  <c:v>435.6202</c:v>
                </c:pt>
                <c:pt idx="103">
                  <c:v>340.7232</c:v>
                </c:pt>
                <c:pt idx="104">
                  <c:v>367.3118</c:v>
                </c:pt>
              </c:numCache>
            </c:numRef>
          </c:xVal>
          <c:yVal>
            <c:numRef>
              <c:f>Sheet1!$B$2:$B$106</c:f>
              <c:numCache>
                <c:formatCode>General</c:formatCode>
                <c:ptCount val="105"/>
                <c:pt idx="0">
                  <c:v>0.3258807588075881</c:v>
                </c:pt>
                <c:pt idx="1">
                  <c:v>0.31758530183727035</c:v>
                </c:pt>
                <c:pt idx="2">
                  <c:v>0.30821452817379497</c:v>
                </c:pt>
                <c:pt idx="3">
                  <c:v>0.3379737045630317</c:v>
                </c:pt>
                <c:pt idx="4">
                  <c:v>0.34782608695652173</c:v>
                </c:pt>
                <c:pt idx="5">
                  <c:v>0.38012762078395623</c:v>
                </c:pt>
                <c:pt idx="6">
                  <c:v>0.3617511520737327</c:v>
                </c:pt>
                <c:pt idx="7">
                  <c:v>0.33876500857632935</c:v>
                </c:pt>
                <c:pt idx="8">
                  <c:v>0.31488203266787657</c:v>
                </c:pt>
                <c:pt idx="9">
                  <c:v>0.32685634975711314</c:v>
                </c:pt>
                <c:pt idx="10">
                  <c:v>0.34002509410288584</c:v>
                </c:pt>
                <c:pt idx="11">
                  <c:v>0.3134895503483217</c:v>
                </c:pt>
                <c:pt idx="12">
                  <c:v>0.3070776255707763</c:v>
                </c:pt>
                <c:pt idx="13">
                  <c:v>0.32922041503084687</c:v>
                </c:pt>
                <c:pt idx="14">
                  <c:v>0.27377956718671365</c:v>
                </c:pt>
                <c:pt idx="15">
                  <c:v>0.2709801409352979</c:v>
                </c:pt>
                <c:pt idx="16">
                  <c:v>0.2765957446808511</c:v>
                </c:pt>
                <c:pt idx="17">
                  <c:v>0.25749559082892415</c:v>
                </c:pt>
                <c:pt idx="18">
                  <c:v>0.19272976680384088</c:v>
                </c:pt>
                <c:pt idx="19">
                  <c:v>0.1948176583493282</c:v>
                </c:pt>
                <c:pt idx="20">
                  <c:v>0.19416590701914313</c:v>
                </c:pt>
                <c:pt idx="21">
                  <c:v>0.21372328458942633</c:v>
                </c:pt>
                <c:pt idx="22">
                  <c:v>0.2222222222222222</c:v>
                </c:pt>
                <c:pt idx="23">
                  <c:v>0.20903954802259886</c:v>
                </c:pt>
                <c:pt idx="24">
                  <c:v>0.28052805280528054</c:v>
                </c:pt>
                <c:pt idx="25">
                  <c:v>0.2759084791386272</c:v>
                </c:pt>
                <c:pt idx="26">
                  <c:v>0.302158273381295</c:v>
                </c:pt>
                <c:pt idx="27">
                  <c:v>0.3434190620272315</c:v>
                </c:pt>
                <c:pt idx="28">
                  <c:v>0.3076923076923077</c:v>
                </c:pt>
                <c:pt idx="29">
                  <c:v>0.30387596899224806</c:v>
                </c:pt>
                <c:pt idx="30">
                  <c:v>0.3246268656716418</c:v>
                </c:pt>
                <c:pt idx="31">
                  <c:v>0.33267716535433073</c:v>
                </c:pt>
                <c:pt idx="32">
                  <c:v>0.3473684210526316</c:v>
                </c:pt>
                <c:pt idx="33">
                  <c:v>0.32348993288590605</c:v>
                </c:pt>
                <c:pt idx="34">
                  <c:v>0.32950191570881227</c:v>
                </c:pt>
                <c:pt idx="35">
                  <c:v>0.3055555555555556</c:v>
                </c:pt>
                <c:pt idx="36">
                  <c:v>0.31585365853658537</c:v>
                </c:pt>
                <c:pt idx="37">
                  <c:v>0.2780337941628264</c:v>
                </c:pt>
                <c:pt idx="38">
                  <c:v>0.27923976608187134</c:v>
                </c:pt>
                <c:pt idx="39">
                  <c:v>0.3024</c:v>
                </c:pt>
                <c:pt idx="40">
                  <c:v>0.3006535947712418</c:v>
                </c:pt>
                <c:pt idx="41">
                  <c:v>0.2756827048114434</c:v>
                </c:pt>
                <c:pt idx="42">
                  <c:v>0.2737186477644493</c:v>
                </c:pt>
                <c:pt idx="43">
                  <c:v>0.26647286821705424</c:v>
                </c:pt>
                <c:pt idx="44">
                  <c:v>0.3652530779753762</c:v>
                </c:pt>
                <c:pt idx="45">
                  <c:v>0.37372013651877134</c:v>
                </c:pt>
                <c:pt idx="46">
                  <c:v>0.35844017094017094</c:v>
                </c:pt>
                <c:pt idx="47">
                  <c:v>0.3462125063548551</c:v>
                </c:pt>
                <c:pt idx="48">
                  <c:v>0.3508964507866813</c:v>
                </c:pt>
                <c:pt idx="49">
                  <c:v>0.3482849604221636</c:v>
                </c:pt>
                <c:pt idx="50">
                  <c:v>0.3399014778325123</c:v>
                </c:pt>
                <c:pt idx="51">
                  <c:v>0.32085561497326204</c:v>
                </c:pt>
                <c:pt idx="52">
                  <c:v>0.326911124922312</c:v>
                </c:pt>
                <c:pt idx="53">
                  <c:v>0.32724814063556457</c:v>
                </c:pt>
                <c:pt idx="54">
                  <c:v>0.3273469387755102</c:v>
                </c:pt>
                <c:pt idx="55">
                  <c:v>0.3319638455217749</c:v>
                </c:pt>
                <c:pt idx="56">
                  <c:v>0.33935585231736054</c:v>
                </c:pt>
                <c:pt idx="57">
                  <c:v>0.36528685548293394</c:v>
                </c:pt>
                <c:pt idx="58">
                  <c:v>0.38881491344873503</c:v>
                </c:pt>
                <c:pt idx="59">
                  <c:v>0.3440803382663848</c:v>
                </c:pt>
                <c:pt idx="60">
                  <c:v>0.32767402376910015</c:v>
                </c:pt>
                <c:pt idx="61">
                  <c:v>0.3423913043478261</c:v>
                </c:pt>
                <c:pt idx="62">
                  <c:v>0.37855844942459116</c:v>
                </c:pt>
                <c:pt idx="63">
                  <c:v>0.3601765030336459</c:v>
                </c:pt>
                <c:pt idx="64">
                  <c:v>0.3613673358654368</c:v>
                </c:pt>
                <c:pt idx="65">
                  <c:v>0.36585365853658536</c:v>
                </c:pt>
                <c:pt idx="66">
                  <c:v>0.3845245126993503</c:v>
                </c:pt>
                <c:pt idx="67">
                  <c:v>0.380764163372859</c:v>
                </c:pt>
                <c:pt idx="68">
                  <c:v>0.3697478991596639</c:v>
                </c:pt>
                <c:pt idx="69">
                  <c:v>0.36704119850187267</c:v>
                </c:pt>
                <c:pt idx="70">
                  <c:v>0.36030341340075855</c:v>
                </c:pt>
                <c:pt idx="71">
                  <c:v>0.37433862433862436</c:v>
                </c:pt>
                <c:pt idx="72">
                  <c:v>0.39360222531293465</c:v>
                </c:pt>
                <c:pt idx="73">
                  <c:v>0.4035608308605341</c:v>
                </c:pt>
                <c:pt idx="74">
                  <c:v>0.38285714285714284</c:v>
                </c:pt>
                <c:pt idx="75">
                  <c:v>0.36644951140065146</c:v>
                </c:pt>
                <c:pt idx="76">
                  <c:v>0.39280125195618154</c:v>
                </c:pt>
                <c:pt idx="77">
                  <c:v>0.391304347826087</c:v>
                </c:pt>
                <c:pt idx="78">
                  <c:v>0.36507936507936506</c:v>
                </c:pt>
                <c:pt idx="79">
                  <c:v>0.3061594202898551</c:v>
                </c:pt>
                <c:pt idx="80">
                  <c:v>0.325187969924812</c:v>
                </c:pt>
                <c:pt idx="81">
                  <c:v>0.3797709923664122</c:v>
                </c:pt>
                <c:pt idx="82">
                  <c:v>0.3671497584541063</c:v>
                </c:pt>
                <c:pt idx="83">
                  <c:v>0.36694677871148457</c:v>
                </c:pt>
                <c:pt idx="84">
                  <c:v>0.3404255319148936</c:v>
                </c:pt>
                <c:pt idx="85">
                  <c:v>0.4049382716049383</c:v>
                </c:pt>
                <c:pt idx="86">
                  <c:v>0.35892857142857143</c:v>
                </c:pt>
                <c:pt idx="87">
                  <c:v>0.35524256651017216</c:v>
                </c:pt>
                <c:pt idx="88">
                  <c:v>0.33648393194706994</c:v>
                </c:pt>
                <c:pt idx="89">
                  <c:v>0.3738738738738739</c:v>
                </c:pt>
                <c:pt idx="90">
                  <c:v>0.382830626450116</c:v>
                </c:pt>
                <c:pt idx="91">
                  <c:v>0.35550935550935553</c:v>
                </c:pt>
                <c:pt idx="92">
                  <c:v>0.36936936936936937</c:v>
                </c:pt>
                <c:pt idx="93">
                  <c:v>0.36006825938566556</c:v>
                </c:pt>
                <c:pt idx="94">
                  <c:v>0.3235294117647059</c:v>
                </c:pt>
                <c:pt idx="95">
                  <c:v>0.33748584371460927</c:v>
                </c:pt>
                <c:pt idx="96">
                  <c:v>0.3140333660451423</c:v>
                </c:pt>
                <c:pt idx="97">
                  <c:v>0.32684509326845096</c:v>
                </c:pt>
                <c:pt idx="98">
                  <c:v>0.31389252948885976</c:v>
                </c:pt>
                <c:pt idx="99">
                  <c:v>0.34493506493506493</c:v>
                </c:pt>
                <c:pt idx="100">
                  <c:v>0.3745035742652899</c:v>
                </c:pt>
                <c:pt idx="101">
                  <c:v>0.3513022410660206</c:v>
                </c:pt>
                <c:pt idx="102">
                  <c:v>0.37402885682574916</c:v>
                </c:pt>
                <c:pt idx="103">
                  <c:v>0.41605839416058393</c:v>
                </c:pt>
                <c:pt idx="104">
                  <c:v>0.379591836734693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numCache>
            </c:numRef>
          </c:xVal>
          <c:yVal>
            <c:numRef>
              <c:f>Sheet1!$B$109:$B$160</c:f>
              <c:numCache>
                <c:formatCode>General</c:formatCode>
                <c:ptCount val="52"/>
                <c:pt idx="0">
                  <c:v>0.3758139534883721</c:v>
                </c:pt>
                <c:pt idx="1">
                  <c:v>0.35700757575757575</c:v>
                </c:pt>
                <c:pt idx="2">
                  <c:v>0.3685136323658751</c:v>
                </c:pt>
                <c:pt idx="3">
                  <c:v>0.38599348534201955</c:v>
                </c:pt>
                <c:pt idx="4">
                  <c:v>0.3867219917012448</c:v>
                </c:pt>
                <c:pt idx="5">
                  <c:v>0.38476190476190475</c:v>
                </c:pt>
                <c:pt idx="6">
                  <c:v>0.4033391915641476</c:v>
                </c:pt>
                <c:pt idx="7">
                  <c:v>0.46420323325635104</c:v>
                </c:pt>
                <c:pt idx="8">
                  <c:v>0.3860619469026549</c:v>
                </c:pt>
                <c:pt idx="9">
                  <c:v>0.3726273726273726</c:v>
                </c:pt>
                <c:pt idx="10">
                  <c:v>0.38095238095238093</c:v>
                </c:pt>
                <c:pt idx="11">
                  <c:v>0.33070301291248205</c:v>
                </c:pt>
                <c:pt idx="12">
                  <c:v>0.3054263565891473</c:v>
                </c:pt>
                <c:pt idx="13">
                  <c:v>0.34395424836601307</c:v>
                </c:pt>
                <c:pt idx="14">
                  <c:v>0.3255597014925373</c:v>
                </c:pt>
                <c:pt idx="15">
                  <c:v>0.309989701338826</c:v>
                </c:pt>
                <c:pt idx="16">
                  <c:v>0.31301939058171746</c:v>
                </c:pt>
                <c:pt idx="17">
                  <c:v>0.3238993710691824</c:v>
                </c:pt>
                <c:pt idx="18">
                  <c:v>0.32296296296296295</c:v>
                </c:pt>
                <c:pt idx="19">
                  <c:v>0.3492753623188406</c:v>
                </c:pt>
                <c:pt idx="20">
                  <c:v>0.3821138211382114</c:v>
                </c:pt>
                <c:pt idx="21">
                  <c:v>0.3964757709251101</c:v>
                </c:pt>
                <c:pt idx="22">
                  <c:v>0.38967136150234744</c:v>
                </c:pt>
                <c:pt idx="23">
                  <c:v>0.40966921119592875</c:v>
                </c:pt>
                <c:pt idx="24">
                  <c:v>0.4131455399061033</c:v>
                </c:pt>
                <c:pt idx="25">
                  <c:v>0.4184549356223176</c:v>
                </c:pt>
                <c:pt idx="26">
                  <c:v>0.3844282238442822</c:v>
                </c:pt>
                <c:pt idx="27">
                  <c:v>0.3939393939393939</c:v>
                </c:pt>
                <c:pt idx="28">
                  <c:v>0.42430703624733473</c:v>
                </c:pt>
                <c:pt idx="29">
                  <c:v>0.4172494172494173</c:v>
                </c:pt>
                <c:pt idx="30">
                  <c:v>0.3955431754874652</c:v>
                </c:pt>
                <c:pt idx="31">
                  <c:v>0.453416149068323</c:v>
                </c:pt>
                <c:pt idx="32">
                  <c:v>0.4370179948586118</c:v>
                </c:pt>
                <c:pt idx="33">
                  <c:v>0.42704626334519574</c:v>
                </c:pt>
                <c:pt idx="34">
                  <c:v>0.4016973125884017</c:v>
                </c:pt>
                <c:pt idx="35">
                  <c:v>0.38461538461538464</c:v>
                </c:pt>
                <c:pt idx="36">
                  <c:v>0.3870967741935484</c:v>
                </c:pt>
                <c:pt idx="37">
                  <c:v>0.3270042194092827</c:v>
                </c:pt>
                <c:pt idx="38">
                  <c:v>0.35766423357664234</c:v>
                </c:pt>
                <c:pt idx="39">
                  <c:v>0.36059479553903345</c:v>
                </c:pt>
                <c:pt idx="40">
                  <c:v>0.36639676113360325</c:v>
                </c:pt>
                <c:pt idx="41">
                  <c:v>0.34856175972927245</c:v>
                </c:pt>
                <c:pt idx="42">
                  <c:v>0.36106194690265486</c:v>
                </c:pt>
                <c:pt idx="43">
                  <c:v>0.3569230769230769</c:v>
                </c:pt>
                <c:pt idx="44">
                  <c:v>0.38179800221975585</c:v>
                </c:pt>
                <c:pt idx="45">
                  <c:v>0.40988372093023256</c:v>
                </c:pt>
                <c:pt idx="46">
                  <c:v>0.4431137724550898</c:v>
                </c:pt>
                <c:pt idx="47">
                  <c:v>0.41850594227504245</c:v>
                </c:pt>
                <c:pt idx="48">
                  <c:v>0.4468704512372635</c:v>
                </c:pt>
                <c:pt idx="49">
                  <c:v>0.4451530612244898</c:v>
                </c:pt>
                <c:pt idx="50">
                  <c:v>0.44803794739111685</c:v>
                </c:pt>
                <c:pt idx="51">
                  <c:v>0.43086592178770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83.64813942346564</c:v>
                </c:pt>
              </c:numCache>
            </c:numRef>
          </c:xVal>
          <c:yVal>
            <c:numRef>
              <c:f>Sheet1!$B$163:$B$164</c:f>
              <c:numCache>
                <c:formatCode>General</c:formatCode>
                <c:ptCount val="2"/>
                <c:pt idx="0">
                  <c:v>0.4427318454101449</c:v>
                </c:pt>
                <c:pt idx="1">
                  <c:v>0.442731845410144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83.64813942346564</c:v>
                </c:pt>
                <c:pt idx="1">
                  <c:v>383.64813942346564</c:v>
                </c:pt>
              </c:numCache>
            </c:numRef>
          </c:xVal>
          <c:yVal>
            <c:numRef>
              <c:f>Sheet1!$B$167:$B$168</c:f>
              <c:numCache>
                <c:formatCode>General</c:formatCode>
                <c:ptCount val="2"/>
                <c:pt idx="0">
                  <c:v>0.44273184541014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3.64813942346564</c:v>
                </c:pt>
              </c:numCache>
            </c:numRef>
          </c:xVal>
          <c:yVal>
            <c:numRef>
              <c:f>Sheet1!$B$171:$B$172</c:f>
              <c:numCache>
                <c:formatCode>General</c:formatCode>
                <c:ptCount val="2"/>
                <c:pt idx="0">
                  <c:v>0.4427318454101449</c:v>
                </c:pt>
                <c:pt idx="1">
                  <c:v>0.442731845410144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3.64813942346564</c:v>
                </c:pt>
                <c:pt idx="1">
                  <c:v>383.64813942346564</c:v>
                </c:pt>
              </c:numCache>
            </c:numRef>
          </c:xVal>
          <c:yVal>
            <c:numRef>
              <c:f>Sheet1!$B$175:$B$176</c:f>
              <c:numCache>
                <c:formatCode>General</c:formatCode>
                <c:ptCount val="2"/>
                <c:pt idx="0">
                  <c:v>0.442731845410144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2166848236499</c:v>
                </c:pt>
              </c:numCache>
            </c:numRef>
          </c:xVal>
          <c:yVal>
            <c:numRef>
              <c:f>Sheet1!$B$179:$B$180</c:f>
              <c:numCache>
                <c:formatCode>General</c:formatCode>
                <c:ptCount val="2"/>
                <c:pt idx="0">
                  <c:v>0.40136670459602625</c:v>
                </c:pt>
                <c:pt idx="1">
                  <c:v>0.401366704596026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2166848236499</c:v>
                </c:pt>
                <c:pt idx="1">
                  <c:v>424.2166848236499</c:v>
                </c:pt>
              </c:numCache>
            </c:numRef>
          </c:xVal>
          <c:yVal>
            <c:numRef>
              <c:f>Sheet1!$B$183:$B$184</c:f>
              <c:numCache>
                <c:formatCode>General</c:formatCode>
                <c:ptCount val="2"/>
                <c:pt idx="0">
                  <c:v>0.40136670459602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0.4307</c:v>
                </c:pt>
                <c:pt idx="1">
                  <c:v>443.1406</c:v>
                </c:pt>
                <c:pt idx="2">
                  <c:v>445.6325</c:v>
                </c:pt>
                <c:pt idx="3">
                  <c:v>445.2152</c:v>
                </c:pt>
                <c:pt idx="4">
                  <c:v>445.0429</c:v>
                </c:pt>
                <c:pt idx="5">
                  <c:v>446.6535</c:v>
                </c:pt>
                <c:pt idx="6">
                  <c:v>436.7952</c:v>
                </c:pt>
                <c:pt idx="7">
                  <c:v>416.9502</c:v>
                </c:pt>
                <c:pt idx="8">
                  <c:v>447.9628</c:v>
                </c:pt>
                <c:pt idx="9">
                  <c:v>455.571</c:v>
                </c:pt>
                <c:pt idx="10">
                  <c:v>455.8679</c:v>
                </c:pt>
                <c:pt idx="11">
                  <c:v>452.3601</c:v>
                </c:pt>
                <c:pt idx="12">
                  <c:v>455.3883</c:v>
                </c:pt>
                <c:pt idx="13">
                  <c:v>470.2542</c:v>
                </c:pt>
                <c:pt idx="14">
                  <c:v>478.043</c:v>
                </c:pt>
                <c:pt idx="15">
                  <c:v>490.5714</c:v>
                </c:pt>
                <c:pt idx="16">
                  <c:v>509.7434</c:v>
                </c:pt>
                <c:pt idx="17">
                  <c:v>466.6699</c:v>
                </c:pt>
                <c:pt idx="18">
                  <c:v>451.2752</c:v>
                </c:pt>
                <c:pt idx="19">
                  <c:v>451.3278</c:v>
                </c:pt>
                <c:pt idx="20">
                  <c:v>429.434</c:v>
                </c:pt>
                <c:pt idx="21">
                  <c:v>452.6889</c:v>
                </c:pt>
                <c:pt idx="22">
                  <c:v>460.0602</c:v>
                </c:pt>
                <c:pt idx="23">
                  <c:v>443.9068</c:v>
                </c:pt>
                <c:pt idx="24">
                  <c:v>447.4545</c:v>
                </c:pt>
                <c:pt idx="25">
                  <c:v>341.1487</c:v>
                </c:pt>
                <c:pt idx="26">
                  <c:v>427.8228</c:v>
                </c:pt>
                <c:pt idx="27">
                  <c:v>442.1179</c:v>
                </c:pt>
                <c:pt idx="28">
                  <c:v>427.8643</c:v>
                </c:pt>
                <c:pt idx="29">
                  <c:v>401.486</c:v>
                </c:pt>
                <c:pt idx="30">
                  <c:v>451.5</c:v>
                </c:pt>
                <c:pt idx="31">
                  <c:v>410.8425</c:v>
                </c:pt>
                <c:pt idx="32">
                  <c:v>428.8118</c:v>
                </c:pt>
                <c:pt idx="33">
                  <c:v>427.7875</c:v>
                </c:pt>
                <c:pt idx="34">
                  <c:v>460.6338</c:v>
                </c:pt>
                <c:pt idx="35">
                  <c:v>441.013</c:v>
                </c:pt>
                <c:pt idx="36">
                  <c:v>472.4848</c:v>
                </c:pt>
                <c:pt idx="37">
                  <c:v>454.6774</c:v>
                </c:pt>
                <c:pt idx="38">
                  <c:v>447.7687</c:v>
                </c:pt>
                <c:pt idx="39">
                  <c:v>452.0876</c:v>
                </c:pt>
                <c:pt idx="40">
                  <c:v>450.4862</c:v>
                </c:pt>
                <c:pt idx="41">
                  <c:v>475.4175</c:v>
                </c:pt>
                <c:pt idx="42">
                  <c:v>423.7647</c:v>
                </c:pt>
                <c:pt idx="43">
                  <c:v>429.6207</c:v>
                </c:pt>
                <c:pt idx="44">
                  <c:v>440.5959</c:v>
                </c:pt>
                <c:pt idx="45">
                  <c:v>411.7199</c:v>
                </c:pt>
                <c:pt idx="46">
                  <c:v>397.3629</c:v>
                </c:pt>
                <c:pt idx="47">
                  <c:v>401.5152</c:v>
                </c:pt>
                <c:pt idx="48">
                  <c:v>401.9267</c:v>
                </c:pt>
                <c:pt idx="49">
                  <c:v>414.5301</c:v>
                </c:pt>
                <c:pt idx="50">
                  <c:v>427.1319</c:v>
                </c:pt>
                <c:pt idx="51">
                  <c:v>434.0681</c:v>
                </c:pt>
                <c:pt idx="52">
                  <c:v>383.64813942346564</c:v>
                </c:pt>
                <c:pt idx="53">
                  <c:v>383.64813942346564</c:v>
                </c:pt>
                <c:pt idx="54">
                  <c:v>424.2166848236499</c:v>
                </c:pt>
              </c:numCache>
            </c:numRef>
          </c:xVal>
          <c:yVal>
            <c:numRef>
              <c:f>Sheet1!$B$187:$B$241</c:f>
              <c:numCache>
                <c:formatCode>General</c:formatCode>
                <c:ptCount val="55"/>
                <c:pt idx="0">
                  <c:v>0.4154233881144102</c:v>
                </c:pt>
                <c:pt idx="1">
                  <c:v>0.3820712034065603</c:v>
                </c:pt>
                <c:pt idx="2">
                  <c:v>0.3795303729829427</c:v>
                </c:pt>
                <c:pt idx="3">
                  <c:v>0.37995586699786127</c:v>
                </c:pt>
                <c:pt idx="4">
                  <c:v>0.3801315502443757</c:v>
                </c:pt>
                <c:pt idx="5">
                  <c:v>0.3784893248419604</c:v>
                </c:pt>
                <c:pt idx="6">
                  <c:v>0.3885412003446491</c:v>
                </c:pt>
                <c:pt idx="7">
                  <c:v>0.40877587258538606</c:v>
                </c:pt>
                <c:pt idx="8">
                  <c:v>0.3771543157028928</c:v>
                </c:pt>
                <c:pt idx="9">
                  <c:v>0.3693967226899437</c:v>
                </c:pt>
                <c:pt idx="10">
                  <c:v>0.36909399282406946</c:v>
                </c:pt>
                <c:pt idx="11">
                  <c:v>0.3726706712461434</c:v>
                </c:pt>
                <c:pt idx="12">
                  <c:v>0.36958301014866796</c:v>
                </c:pt>
                <c:pt idx="13">
                  <c:v>0.35442520646695613</c:v>
                </c:pt>
                <c:pt idx="14">
                  <c:v>0.34648346723044054</c:v>
                </c:pt>
                <c:pt idx="15">
                  <c:v>0.33370906220646235</c:v>
                </c:pt>
                <c:pt idx="16">
                  <c:v>0.3141606048519947</c:v>
                </c:pt>
                <c:pt idx="17">
                  <c:v>0.35807988702691956</c:v>
                </c:pt>
                <c:pt idx="18">
                  <c:v>0.3737768741140686</c:v>
                </c:pt>
                <c:pt idx="19">
                  <c:v>0.3737232412715459</c:v>
                </c:pt>
                <c:pt idx="20">
                  <c:v>0.3960469433176152</c:v>
                </c:pt>
                <c:pt idx="21">
                  <c:v>0.37233541499858713</c:v>
                </c:pt>
                <c:pt idx="22">
                  <c:v>0.364819373704148</c:v>
                </c:pt>
                <c:pt idx="23">
                  <c:v>0.3812899584647184</c:v>
                </c:pt>
                <c:pt idx="24">
                  <c:v>0.37767259657464725</c:v>
                </c:pt>
                <c:pt idx="25">
                  <c:v>0.4860657948759489</c:v>
                </c:pt>
                <c:pt idx="26">
                  <c:v>0.39768978050150416</c:v>
                </c:pt>
                <c:pt idx="27">
                  <c:v>0.3831139849283845</c:v>
                </c:pt>
                <c:pt idx="28">
                  <c:v>0.3976474656162438</c:v>
                </c:pt>
                <c:pt idx="29">
                  <c:v>0.42454372435989873</c:v>
                </c:pt>
                <c:pt idx="30">
                  <c:v>0.3735476599886104</c:v>
                </c:pt>
                <c:pt idx="31">
                  <c:v>0.41500350209633335</c:v>
                </c:pt>
                <c:pt idx="32">
                  <c:v>0.39668136070578286</c:v>
                </c:pt>
                <c:pt idx="33">
                  <c:v>0.3977257736448701</c:v>
                </c:pt>
                <c:pt idx="34">
                  <c:v>0.36423451061534545</c:v>
                </c:pt>
                <c:pt idx="35">
                  <c:v>0.38424058051209786</c:v>
                </c:pt>
                <c:pt idx="36">
                  <c:v>0.35215080687510997</c:v>
                </c:pt>
                <c:pt idx="37">
                  <c:v>0.37030786923135584</c:v>
                </c:pt>
                <c:pt idx="38">
                  <c:v>0.37735222700961624</c:v>
                </c:pt>
                <c:pt idx="39">
                  <c:v>0.37294852199875617</c:v>
                </c:pt>
                <c:pt idx="40">
                  <c:v>0.3745813667519089</c:v>
                </c:pt>
                <c:pt idx="41">
                  <c:v>0.3491605209955227</c:v>
                </c:pt>
                <c:pt idx="42">
                  <c:v>0.4018275644984875</c:v>
                </c:pt>
                <c:pt idx="43">
                  <c:v>0.39585657731573337</c:v>
                </c:pt>
                <c:pt idx="44">
                  <c:v>0.3846658705998586</c:v>
                </c:pt>
                <c:pt idx="45">
                  <c:v>0.4141088736547096</c:v>
                </c:pt>
                <c:pt idx="46">
                  <c:v>0.42874778468319336</c:v>
                </c:pt>
                <c:pt idx="47">
                  <c:v>0.4245139509948481</c:v>
                </c:pt>
                <c:pt idx="48">
                  <c:v>0.42409437086750806</c:v>
                </c:pt>
                <c:pt idx="49">
                  <c:v>0.41124349315932446</c:v>
                </c:pt>
                <c:pt idx="50">
                  <c:v>0.3983942468684039</c:v>
                </c:pt>
                <c:pt idx="51">
                  <c:v>0.39132184910593476</c:v>
                </c:pt>
                <c:pt idx="52">
                  <c:v>0.4427318454101449</c:v>
                </c:pt>
                <c:pt idx="53">
                  <c:v>0.4427318454101449</c:v>
                </c:pt>
                <c:pt idx="54">
                  <c:v>0.40136670459602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2.0"/>
          <c:min val="25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70438799076213"/>
          <c:min val="0.154183813443072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348574219484</c:v>
                </c:pt>
                <c:pt idx="1">
                  <c:v>0.00257844420643421</c:v>
                </c:pt>
                <c:pt idx="2">
                  <c:v>0.0023108434578621197</c:v>
                </c:pt>
                <c:pt idx="3">
                  <c:v>0.0025841648122891395</c:v>
                </c:pt>
                <c:pt idx="4">
                  <c:v>0.002413957060824403</c:v>
                </c:pt>
                <c:pt idx="5">
                  <c:v>0.00214390491593636</c:v>
                </c:pt>
                <c:pt idx="6">
                  <c:v>0.0022257135375752814</c:v>
                </c:pt>
                <c:pt idx="7">
                  <c:v>0.0026819238333631325</c:v>
                </c:pt>
                <c:pt idx="8">
                  <c:v>0.0032357626443647947</c:v>
                </c:pt>
                <c:pt idx="9">
                  <c:v>0.003254044639992667</c:v>
                </c:pt>
                <c:pt idx="10">
                  <c:v>0.0030680302356602936</c:v>
                </c:pt>
                <c:pt idx="11">
                  <c:v>0.003079560607022668</c:v>
                </c:pt>
                <c:pt idx="12">
                  <c:v>0.003288244525820193</c:v>
                </c:pt>
                <c:pt idx="13">
                  <c:v>0.004943332529539426</c:v>
                </c:pt>
                <c:pt idx="14">
                  <c:v>0.004891591750396615</c:v>
                </c:pt>
                <c:pt idx="15">
                  <c:v>0.004721480351011064</c:v>
                </c:pt>
                <c:pt idx="16">
                  <c:v>0.004641421859964906</c:v>
                </c:pt>
                <c:pt idx="17">
                  <c:v>0.006181359899177819</c:v>
                </c:pt>
                <c:pt idx="18">
                  <c:v>0.0032485485208736523</c:v>
                </c:pt>
                <c:pt idx="19">
                  <c:v>0.0029625639644492324</c:v>
                </c:pt>
                <c:pt idx="20">
                  <c:v>0.0036864279265723743</c:v>
                </c:pt>
                <c:pt idx="21">
                  <c:v>0.004398563734290844</c:v>
                </c:pt>
                <c:pt idx="22">
                  <c:v>0.003797580146604257</c:v>
                </c:pt>
                <c:pt idx="23">
                  <c:v>0.004160887656033287</c:v>
                </c:pt>
                <c:pt idx="24">
                  <c:v>0.0036592630414432814</c:v>
                </c:pt>
                <c:pt idx="25">
                  <c:v>0.003847530422333572</c:v>
                </c:pt>
                <c:pt idx="26">
                  <c:v>0.0037254739630764137</c:v>
                </c:pt>
                <c:pt idx="27">
                  <c:v>0.004029249365766304</c:v>
                </c:pt>
                <c:pt idx="28">
                  <c:v>0.003172246220302376</c:v>
                </c:pt>
                <c:pt idx="29">
                  <c:v>0.003813387423935091</c:v>
                </c:pt>
                <c:pt idx="30">
                  <c:v>0.003781512605042017</c:v>
                </c:pt>
                <c:pt idx="31">
                  <c:v>0.004042400287459576</c:v>
                </c:pt>
                <c:pt idx="32">
                  <c:v>0.003339027799347725</c:v>
                </c:pt>
                <c:pt idx="33">
                  <c:v>0.002659896022246403</c:v>
                </c:pt>
                <c:pt idx="34">
                  <c:v>0.002619224116629602</c:v>
                </c:pt>
                <c:pt idx="35">
                  <c:v>0.0035957842529448234</c:v>
                </c:pt>
                <c:pt idx="36">
                  <c:v>0.004312457120454768</c:v>
                </c:pt>
                <c:pt idx="37">
                  <c:v>0.004406451044328898</c:v>
                </c:pt>
                <c:pt idx="38">
                  <c:v>0.005291005291005291</c:v>
                </c:pt>
                <c:pt idx="39">
                  <c:v>0.004871060171919771</c:v>
                </c:pt>
                <c:pt idx="40">
                  <c:v>0.004396678065461651</c:v>
                </c:pt>
                <c:pt idx="41">
                  <c:v>0.0037574159525379036</c:v>
                </c:pt>
                <c:pt idx="42">
                  <c:v>0.004251827539907504</c:v>
                </c:pt>
                <c:pt idx="43">
                  <c:v>0.003289473684210526</c:v>
                </c:pt>
                <c:pt idx="44">
                  <c:v>0.002335818884197287</c:v>
                </c:pt>
                <c:pt idx="45">
                  <c:v>0.001866649200943149</c:v>
                </c:pt>
                <c:pt idx="46">
                  <c:v>0.0020526723470178157</c:v>
                </c:pt>
                <c:pt idx="47">
                  <c:v>0.0019118389726570954</c:v>
                </c:pt>
                <c:pt idx="48">
                  <c:v>0.0021572387344199425</c:v>
                </c:pt>
                <c:pt idx="49">
                  <c:v>0.0019169861643607267</c:v>
                </c:pt>
                <c:pt idx="50">
                  <c:v>0.0015593003813710571</c:v>
                </c:pt>
                <c:pt idx="51">
                  <c:v>0.00202449640651887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7.329370171379</c:v>
                </c:pt>
              </c:numCache>
            </c:numRef>
          </c:xVal>
          <c:yVal>
            <c:numRef>
              <c:f>Sheet1!$B$112:$B$113</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7.329370171379</c:v>
                </c:pt>
                <c:pt idx="1">
                  <c:v>3507.329370171379</c:v>
                </c:pt>
              </c:numCache>
            </c:numRef>
          </c:xVal>
          <c:yVal>
            <c:numRef>
              <c:f>Sheet1!$B$116:$B$117</c:f>
              <c:numCache>
                <c:formatCode>General</c:formatCode>
                <c:ptCount val="2"/>
                <c:pt idx="0">
                  <c:v>0.00402809004190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7.329370171379</c:v>
                </c:pt>
              </c:numCache>
            </c:numRef>
          </c:xVal>
          <c:yVal>
            <c:numRef>
              <c:f>Sheet1!$B$120:$B$121</c:f>
              <c:numCache>
                <c:formatCode>General</c:formatCode>
                <c:ptCount val="2"/>
                <c:pt idx="0">
                  <c:v>0.00402809004190552</c:v>
                </c:pt>
                <c:pt idx="1">
                  <c:v>0.00402809004190552</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7.329370171379</c:v>
                </c:pt>
                <c:pt idx="1">
                  <c:v>3507.329370171379</c:v>
                </c:pt>
              </c:numCache>
            </c:numRef>
          </c:xVal>
          <c:yVal>
            <c:numRef>
              <c:f>Sheet1!$B$124:$B$125</c:f>
              <c:numCache>
                <c:formatCode>General</c:formatCode>
                <c:ptCount val="2"/>
                <c:pt idx="0">
                  <c:v>0.004028090041905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1.422271084922</c:v>
                </c:pt>
              </c:numCache>
            </c:numRef>
          </c:xVal>
          <c:yVal>
            <c:numRef>
              <c:f>Sheet1!$B$128:$B$129</c:f>
              <c:numCache>
                <c:formatCode>General</c:formatCode>
                <c:ptCount val="2"/>
                <c:pt idx="0">
                  <c:v>0.0027993428081171776</c:v>
                </c:pt>
                <c:pt idx="1">
                  <c:v>0.0027993428081171776</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1.422271084922</c:v>
                </c:pt>
                <c:pt idx="1">
                  <c:v>4251.422271084922</c:v>
                </c:pt>
              </c:numCache>
            </c:numRef>
          </c:xVal>
          <c:yVal>
            <c:numRef>
              <c:f>Sheet1!$B$132:$B$133</c:f>
              <c:numCache>
                <c:formatCode>General</c:formatCode>
                <c:ptCount val="2"/>
                <c:pt idx="0">
                  <c:v>0.0027993428081171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7.329370171379</c:v>
                </c:pt>
                <c:pt idx="53">
                  <c:v>3507.329370171379</c:v>
                </c:pt>
                <c:pt idx="54">
                  <c:v>4251.422271084922</c:v>
                </c:pt>
              </c:numCache>
            </c:numRef>
          </c:xVal>
          <c:yVal>
            <c:numRef>
              <c:f>Sheet1!$B$136:$B$190</c:f>
              <c:numCache>
                <c:formatCode>General</c:formatCode>
                <c:ptCount val="55"/>
                <c:pt idx="0">
                  <c:v>0.002503580264801966</c:v>
                </c:pt>
                <c:pt idx="1">
                  <c:v>0.00367349519197689</c:v>
                </c:pt>
                <c:pt idx="2">
                  <c:v>0.002628251162475396</c:v>
                </c:pt>
                <c:pt idx="3">
                  <c:v>0.0038078366422677114</c:v>
                </c:pt>
                <c:pt idx="4">
                  <c:v>0.0024316670684189122</c:v>
                </c:pt>
                <c:pt idx="5">
                  <c:v>0.0018260996131803566</c:v>
                </c:pt>
                <c:pt idx="6">
                  <c:v>0.002373048446164489</c:v>
                </c:pt>
                <c:pt idx="7">
                  <c:v>0.0028887718405446183</c:v>
                </c:pt>
                <c:pt idx="8">
                  <c:v>0.003095578363637456</c:v>
                </c:pt>
                <c:pt idx="9">
                  <c:v>0.003093070810249678</c:v>
                </c:pt>
                <c:pt idx="10">
                  <c:v>0.0027556454431235545</c:v>
                </c:pt>
                <c:pt idx="11">
                  <c:v>0.0032272253293297677</c:v>
                </c:pt>
                <c:pt idx="12">
                  <c:v>0.003536460743289763</c:v>
                </c:pt>
                <c:pt idx="13">
                  <c:v>0.004195888826988729</c:v>
                </c:pt>
                <c:pt idx="14">
                  <c:v>0.004213271117716706</c:v>
                </c:pt>
                <c:pt idx="15">
                  <c:v>0.0038444348669780526</c:v>
                </c:pt>
                <c:pt idx="16">
                  <c:v>0.0036363006699149988</c:v>
                </c:pt>
                <c:pt idx="17">
                  <c:v>0.00499658918239692</c:v>
                </c:pt>
                <c:pt idx="18">
                  <c:v>0.003061091701993925</c:v>
                </c:pt>
                <c:pt idx="19">
                  <c:v>0.0026530337493851242</c:v>
                </c:pt>
                <c:pt idx="20">
                  <c:v>0.003031294503709374</c:v>
                </c:pt>
                <c:pt idx="21">
                  <c:v>0.0035920747600854683</c:v>
                </c:pt>
                <c:pt idx="22">
                  <c:v>0.003227121625442542</c:v>
                </c:pt>
                <c:pt idx="23">
                  <c:v>0.004745974207160709</c:v>
                </c:pt>
                <c:pt idx="24">
                  <c:v>0.003240101950371506</c:v>
                </c:pt>
                <c:pt idx="25">
                  <c:v>0.0037084668509401383</c:v>
                </c:pt>
                <c:pt idx="26">
                  <c:v>0.003284542038452202</c:v>
                </c:pt>
                <c:pt idx="27">
                  <c:v>0.0037451852928955445</c:v>
                </c:pt>
                <c:pt idx="28">
                  <c:v>0.003495147129248633</c:v>
                </c:pt>
                <c:pt idx="29">
                  <c:v>0.003785149765601268</c:v>
                </c:pt>
                <c:pt idx="30">
                  <c:v>0.00390878362440244</c:v>
                </c:pt>
                <c:pt idx="31">
                  <c:v>0.0036564595166299427</c:v>
                </c:pt>
                <c:pt idx="32">
                  <c:v>0.002854073312520019</c:v>
                </c:pt>
                <c:pt idx="33">
                  <c:v>0.0021684793179251914</c:v>
                </c:pt>
                <c:pt idx="34">
                  <c:v>0.0020821453364089195</c:v>
                </c:pt>
                <c:pt idx="35">
                  <c:v>0.003347343989647855</c:v>
                </c:pt>
                <c:pt idx="36">
                  <c:v>0.002844175866365926</c:v>
                </c:pt>
                <c:pt idx="37">
                  <c:v>0.0029715148272653263</c:v>
                </c:pt>
                <c:pt idx="38">
                  <c:v>0.00388982992254255</c:v>
                </c:pt>
                <c:pt idx="39">
                  <c:v>0.0045642494930216325</c:v>
                </c:pt>
                <c:pt idx="40">
                  <c:v>0.004492973877384725</c:v>
                </c:pt>
                <c:pt idx="41">
                  <c:v>0.004156047543932481</c:v>
                </c:pt>
                <c:pt idx="42">
                  <c:v>0.0044144381639741135</c:v>
                </c:pt>
                <c:pt idx="43">
                  <c:v>0.004126585731945631</c:v>
                </c:pt>
                <c:pt idx="44">
                  <c:v>0.0030946129927382163</c:v>
                </c:pt>
                <c:pt idx="45">
                  <c:v>0.0029311330620070243</c:v>
                </c:pt>
                <c:pt idx="46">
                  <c:v>0.0030410416783071366</c:v>
                </c:pt>
                <c:pt idx="47">
                  <c:v>0.003103698972488124</c:v>
                </c:pt>
                <c:pt idx="48">
                  <c:v>0.0038486383422158465</c:v>
                </c:pt>
                <c:pt idx="49">
                  <c:v>0.003549531231152526</c:v>
                </c:pt>
                <c:pt idx="50">
                  <c:v>0.0030463677316107923</c:v>
                </c:pt>
                <c:pt idx="51">
                  <c:v>0.0028625431788889717</c:v>
                </c:pt>
                <c:pt idx="52">
                  <c:v>0.00402809004190552</c:v>
                </c:pt>
                <c:pt idx="53">
                  <c:v>0.00402809004190552</c:v>
                </c:pt>
                <c:pt idx="54">
                  <c:v>0.0027993428081171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1763187901338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97891403928652</c:v>
                </c:pt>
                <c:pt idx="1">
                  <c:v>0.6163378548316896</c:v>
                </c:pt>
                <c:pt idx="2">
                  <c:v>0.6324845361547817</c:v>
                </c:pt>
                <c:pt idx="3">
                  <c:v>0.6425057363621656</c:v>
                </c:pt>
                <c:pt idx="4">
                  <c:v>0.6369091601366198</c:v>
                </c:pt>
                <c:pt idx="5">
                  <c:v>0.6675668667782578</c:v>
                </c:pt>
                <c:pt idx="6">
                  <c:v>0.6191294663549516</c:v>
                </c:pt>
                <c:pt idx="7">
                  <c:v>0.5726266885798976</c:v>
                </c:pt>
                <c:pt idx="8">
                  <c:v>0.5951944757102263</c:v>
                </c:pt>
                <c:pt idx="9">
                  <c:v>0.6245889139745164</c:v>
                </c:pt>
                <c:pt idx="10">
                  <c:v>0.6291860782998107</c:v>
                </c:pt>
                <c:pt idx="11">
                  <c:v>0.679701026321331</c:v>
                </c:pt>
                <c:pt idx="12">
                  <c:v>0.7074125044833921</c:v>
                </c:pt>
                <c:pt idx="13">
                  <c:v>0.7332518360273601</c:v>
                </c:pt>
                <c:pt idx="14">
                  <c:v>0.7223993727670249</c:v>
                </c:pt>
                <c:pt idx="15">
                  <c:v>0.7347276087458623</c:v>
                </c:pt>
                <c:pt idx="16">
                  <c:v>0.7525501691357523</c:v>
                </c:pt>
                <c:pt idx="17">
                  <c:v>0.771661661017356</c:v>
                </c:pt>
                <c:pt idx="18">
                  <c:v>0.7910734875962642</c:v>
                </c:pt>
                <c:pt idx="19">
                  <c:v>0.7906946407094054</c:v>
                </c:pt>
                <c:pt idx="20">
                  <c:v>0.8224292244167776</c:v>
                </c:pt>
                <c:pt idx="21">
                  <c:v>0.6737505966902612</c:v>
                </c:pt>
                <c:pt idx="22">
                  <c:v>0.6288139185915416</c:v>
                </c:pt>
                <c:pt idx="23">
                  <c:v>0.6147311579121969</c:v>
                </c:pt>
                <c:pt idx="24">
                  <c:v>0.6077173202387661</c:v>
                </c:pt>
                <c:pt idx="25">
                  <c:v>0.5815913618884474</c:v>
                </c:pt>
                <c:pt idx="26">
                  <c:v>0.5849130703995475</c:v>
                </c:pt>
                <c:pt idx="27">
                  <c:v>0.6038559211571649</c:v>
                </c:pt>
                <c:pt idx="28">
                  <c:v>0.5917053584979813</c:v>
                </c:pt>
                <c:pt idx="29">
                  <c:v>0.5953763071181861</c:v>
                </c:pt>
                <c:pt idx="30">
                  <c:v>0.5638291732168927</c:v>
                </c:pt>
                <c:pt idx="31">
                  <c:v>0.5681358249644217</c:v>
                </c:pt>
                <c:pt idx="32">
                  <c:v>0.5482218349893073</c:v>
                </c:pt>
                <c:pt idx="33">
                  <c:v>0.5551155797480706</c:v>
                </c:pt>
                <c:pt idx="34">
                  <c:v>0.596205127926908</c:v>
                </c:pt>
                <c:pt idx="35">
                  <c:v>0.6181343535515145</c:v>
                </c:pt>
                <c:pt idx="36">
                  <c:v>0.6675017610750758</c:v>
                </c:pt>
                <c:pt idx="37">
                  <c:v>0.6557244990610601</c:v>
                </c:pt>
                <c:pt idx="38">
                  <c:v>0.7218403185472289</c:v>
                </c:pt>
                <c:pt idx="39">
                  <c:v>0.740306019584102</c:v>
                </c:pt>
                <c:pt idx="40">
                  <c:v>0.709507400711726</c:v>
                </c:pt>
                <c:pt idx="41">
                  <c:v>0.6926611187863824</c:v>
                </c:pt>
                <c:pt idx="42">
                  <c:v>0.7045478208901111</c:v>
                </c:pt>
                <c:pt idx="43">
                  <c:v>0.7093225569091447</c:v>
                </c:pt>
                <c:pt idx="44">
                  <c:v>0.7265303521850857</c:v>
                </c:pt>
                <c:pt idx="45">
                  <c:v>0.7319866592461768</c:v>
                </c:pt>
                <c:pt idx="46">
                  <c:v>0.7159351401675804</c:v>
                </c:pt>
                <c:pt idx="47">
                  <c:v>0.7166264550654843</c:v>
                </c:pt>
                <c:pt idx="48">
                  <c:v>0.7337640259094633</c:v>
                </c:pt>
                <c:pt idx="49">
                  <c:v>0.7311554064070944</c:v>
                </c:pt>
                <c:pt idx="50">
                  <c:v>0.6947141330789015</c:v>
                </c:pt>
                <c:pt idx="51">
                  <c:v>0.6943081693504788</c:v>
                </c:pt>
                <c:pt idx="52">
                  <c:v>0.7067939169937951</c:v>
                </c:pt>
                <c:pt idx="53">
                  <c:v>0.6751599786164545</c:v>
                </c:pt>
                <c:pt idx="54">
                  <c:v>0.6557536494953748</c:v>
                </c:pt>
                <c:pt idx="55">
                  <c:v>0.6734294319199122</c:v>
                </c:pt>
                <c:pt idx="56">
                  <c:v>0.6718339033103818</c:v>
                </c:pt>
                <c:pt idx="57">
                  <c:v>0.6837880260508162</c:v>
                </c:pt>
                <c:pt idx="58">
                  <c:v>0.6433500728320991</c:v>
                </c:pt>
                <c:pt idx="59">
                  <c:v>0.6458858521293401</c:v>
                </c:pt>
                <c:pt idx="60">
                  <c:v>0.6537110035889354</c:v>
                </c:pt>
                <c:pt idx="61">
                  <c:v>0.69747414246219</c:v>
                </c:pt>
                <c:pt idx="62">
                  <c:v>0.6939906157707234</c:v>
                </c:pt>
                <c:pt idx="63">
                  <c:v>0.7004901505627684</c:v>
                </c:pt>
                <c:pt idx="64">
                  <c:v>0.7985565702318841</c:v>
                </c:pt>
                <c:pt idx="65">
                  <c:v>0.8042513327678394</c:v>
                </c:pt>
                <c:pt idx="66">
                  <c:v>0.7701172439845424</c:v>
                </c:pt>
                <c:pt idx="67">
                  <c:v>0.8224906651428076</c:v>
                </c:pt>
                <c:pt idx="68">
                  <c:v>0.8593038218093146</c:v>
                </c:pt>
                <c:pt idx="69">
                  <c:v>0.8520410463500779</c:v>
                </c:pt>
                <c:pt idx="70">
                  <c:v>0.8442291386382997</c:v>
                </c:pt>
                <c:pt idx="71">
                  <c:v>0.7749068636963812</c:v>
                </c:pt>
                <c:pt idx="72">
                  <c:v>0.8446811412089973</c:v>
                </c:pt>
                <c:pt idx="73">
                  <c:v>0.7750759749200323</c:v>
                </c:pt>
                <c:pt idx="74">
                  <c:v>0.758482711865028</c:v>
                </c:pt>
                <c:pt idx="75">
                  <c:v>0.7262784953028187</c:v>
                </c:pt>
                <c:pt idx="76">
                  <c:v>0.7060141904684258</c:v>
                </c:pt>
                <c:pt idx="77">
                  <c:v>0.7503045438510179</c:v>
                </c:pt>
                <c:pt idx="78">
                  <c:v>0.7563091101919068</c:v>
                </c:pt>
                <c:pt idx="79">
                  <c:v>0.7296563667266985</c:v>
                </c:pt>
                <c:pt idx="80">
                  <c:v>0.7565868531789984</c:v>
                </c:pt>
                <c:pt idx="81">
                  <c:v>0.7419528987598203</c:v>
                </c:pt>
                <c:pt idx="82">
                  <c:v>0.7230776823841039</c:v>
                </c:pt>
                <c:pt idx="83">
                  <c:v>0.6801273653028465</c:v>
                </c:pt>
                <c:pt idx="84">
                  <c:v>0.7035477722850507</c:v>
                </c:pt>
                <c:pt idx="85">
                  <c:v>0.695651985650357</c:v>
                </c:pt>
                <c:pt idx="86">
                  <c:v>0.7226996674418826</c:v>
                </c:pt>
                <c:pt idx="87">
                  <c:v>0.7251641499849404</c:v>
                </c:pt>
                <c:pt idx="88">
                  <c:v>0.6401028969011028</c:v>
                </c:pt>
                <c:pt idx="89">
                  <c:v>0.6406908726997598</c:v>
                </c:pt>
                <c:pt idx="90">
                  <c:v>0.7214804165447763</c:v>
                </c:pt>
                <c:pt idx="91">
                  <c:v>0.7496427160425196</c:v>
                </c:pt>
                <c:pt idx="92">
                  <c:v>0.7410723054351303</c:v>
                </c:pt>
                <c:pt idx="93">
                  <c:v>0.7684715970095943</c:v>
                </c:pt>
                <c:pt idx="94">
                  <c:v>0.7584600787563551</c:v>
                </c:pt>
                <c:pt idx="95">
                  <c:v>0.7862262961749104</c:v>
                </c:pt>
                <c:pt idx="96">
                  <c:v>0.7917264248467994</c:v>
                </c:pt>
                <c:pt idx="97">
                  <c:v>0.796109273246087</c:v>
                </c:pt>
                <c:pt idx="98">
                  <c:v>0.8020475897243724</c:v>
                </c:pt>
                <c:pt idx="99">
                  <c:v>0.7866942785538215</c:v>
                </c:pt>
                <c:pt idx="100">
                  <c:v>0.7759953603650431</c:v>
                </c:pt>
                <c:pt idx="101">
                  <c:v>0.7280907628416375</c:v>
                </c:pt>
                <c:pt idx="102">
                  <c:v>0.7396919240579749</c:v>
                </c:pt>
                <c:pt idx="103">
                  <c:v>0.7655338263749659</c:v>
                </c:pt>
                <c:pt idx="104">
                  <c:v>0.7515714518237812</c:v>
                </c:pt>
              </c:numCache>
            </c:numRef>
          </c:xVal>
          <c:yVal>
            <c:numRef>
              <c:f>Sheet1!$B$2:$B$106</c:f>
              <c:numCache>
                <c:formatCode>General</c:formatCode>
                <c:ptCount val="105"/>
                <c:pt idx="0">
                  <c:v>0.23612879752592322</c:v>
                </c:pt>
                <c:pt idx="1">
                  <c:v>0.24167987321711568</c:v>
                </c:pt>
                <c:pt idx="2">
                  <c:v>0.2422490803993694</c:v>
                </c:pt>
                <c:pt idx="3">
                  <c:v>0.23685666851134476</c:v>
                </c:pt>
                <c:pt idx="4">
                  <c:v>0.22893446277307178</c:v>
                </c:pt>
                <c:pt idx="5">
                  <c:v>0.2405354528341351</c:v>
                </c:pt>
                <c:pt idx="6">
                  <c:v>0.2739507299270073</c:v>
                </c:pt>
                <c:pt idx="7">
                  <c:v>0.2805259862241703</c:v>
                </c:pt>
                <c:pt idx="8">
                  <c:v>0.27825120414968507</c:v>
                </c:pt>
                <c:pt idx="9">
                  <c:v>0.2602111060119321</c:v>
                </c:pt>
                <c:pt idx="10">
                  <c:v>0.2573701450631727</c:v>
                </c:pt>
                <c:pt idx="11">
                  <c:v>0.21774604793472718</c:v>
                </c:pt>
                <c:pt idx="12">
                  <c:v>0.20642893018583627</c:v>
                </c:pt>
                <c:pt idx="13">
                  <c:v>0.18620849779428836</c:v>
                </c:pt>
                <c:pt idx="14">
                  <c:v>0.1787734781624802</c:v>
                </c:pt>
                <c:pt idx="15">
                  <c:v>0.18282773564463706</c:v>
                </c:pt>
                <c:pt idx="16">
                  <c:v>0.17517776341305752</c:v>
                </c:pt>
                <c:pt idx="17">
                  <c:v>0.16576770945702984</c:v>
                </c:pt>
                <c:pt idx="18">
                  <c:v>0.1684931506849315</c:v>
                </c:pt>
                <c:pt idx="19">
                  <c:v>0.1638506876227898</c:v>
                </c:pt>
                <c:pt idx="20">
                  <c:v>0.16</c:v>
                </c:pt>
                <c:pt idx="21">
                  <c:v>0.1891089108910891</c:v>
                </c:pt>
                <c:pt idx="22">
                  <c:v>0.1993891797556719</c:v>
                </c:pt>
                <c:pt idx="23">
                  <c:v>0.20202952029520296</c:v>
                </c:pt>
                <c:pt idx="24">
                  <c:v>0.21371610845295055</c:v>
                </c:pt>
                <c:pt idx="25">
                  <c:v>0.21739130434782608</c:v>
                </c:pt>
                <c:pt idx="26">
                  <c:v>0.23745019920318725</c:v>
                </c:pt>
                <c:pt idx="27">
                  <c:v>0.2344256391789701</c:v>
                </c:pt>
                <c:pt idx="28">
                  <c:v>0.2416496250852079</c:v>
                </c:pt>
                <c:pt idx="29">
                  <c:v>0.23185840707964603</c:v>
                </c:pt>
                <c:pt idx="30">
                  <c:v>0.24938067712634188</c:v>
                </c:pt>
                <c:pt idx="31">
                  <c:v>0.25833021340321977</c:v>
                </c:pt>
                <c:pt idx="32">
                  <c:v>0.2581687612208258</c:v>
                </c:pt>
                <c:pt idx="33">
                  <c:v>0.2513144058885384</c:v>
                </c:pt>
                <c:pt idx="34">
                  <c:v>0.24232511323603423</c:v>
                </c:pt>
                <c:pt idx="35">
                  <c:v>0.23970671178793007</c:v>
                </c:pt>
                <c:pt idx="36">
                  <c:v>0.2225402504472272</c:v>
                </c:pt>
                <c:pt idx="37">
                  <c:v>0.21852646638054363</c:v>
                </c:pt>
                <c:pt idx="38">
                  <c:v>0.20874822190611664</c:v>
                </c:pt>
                <c:pt idx="39">
                  <c:v>0.19508958195089582</c:v>
                </c:pt>
                <c:pt idx="40">
                  <c:v>0.20054869684499313</c:v>
                </c:pt>
                <c:pt idx="41">
                  <c:v>0.19090041361756283</c:v>
                </c:pt>
                <c:pt idx="42">
                  <c:v>0.18859540854110096</c:v>
                </c:pt>
                <c:pt idx="43">
                  <c:v>0.18716577540106952</c:v>
                </c:pt>
                <c:pt idx="44">
                  <c:v>0.19545793000744602</c:v>
                </c:pt>
                <c:pt idx="45">
                  <c:v>0.2029252562478406</c:v>
                </c:pt>
                <c:pt idx="46">
                  <c:v>0.21307223447023732</c:v>
                </c:pt>
                <c:pt idx="47">
                  <c:v>0.2093479968578162</c:v>
                </c:pt>
                <c:pt idx="48">
                  <c:v>0.20285953022003528</c:v>
                </c:pt>
                <c:pt idx="49">
                  <c:v>0.2184250708936232</c:v>
                </c:pt>
                <c:pt idx="50">
                  <c:v>0.2165446071904128</c:v>
                </c:pt>
                <c:pt idx="51">
                  <c:v>0.20537699615928845</c:v>
                </c:pt>
                <c:pt idx="52">
                  <c:v>0.21331245105716523</c:v>
                </c:pt>
                <c:pt idx="53">
                  <c:v>0.20791683326669333</c:v>
                </c:pt>
                <c:pt idx="54">
                  <c:v>0.2007620862110026</c:v>
                </c:pt>
                <c:pt idx="55">
                  <c:v>0.20152635344621989</c:v>
                </c:pt>
                <c:pt idx="56">
                  <c:v>0.2007289768289508</c:v>
                </c:pt>
                <c:pt idx="57">
                  <c:v>0.19501302567919612</c:v>
                </c:pt>
                <c:pt idx="58">
                  <c:v>0.22518277822908206</c:v>
                </c:pt>
                <c:pt idx="59">
                  <c:v>0.2326747272191094</c:v>
                </c:pt>
                <c:pt idx="60">
                  <c:v>0.21842661622343384</c:v>
                </c:pt>
                <c:pt idx="61">
                  <c:v>0.21376221498371337</c:v>
                </c:pt>
                <c:pt idx="62">
                  <c:v>0.23259762308998302</c:v>
                </c:pt>
                <c:pt idx="63">
                  <c:v>0.24800416522040958</c:v>
                </c:pt>
                <c:pt idx="64">
                  <c:v>0.21366734205194327</c:v>
                </c:pt>
                <c:pt idx="65">
                  <c:v>0.20564599216979187</c:v>
                </c:pt>
                <c:pt idx="66">
                  <c:v>0.2205020920502092</c:v>
                </c:pt>
                <c:pt idx="67">
                  <c:v>0.19995825506157378</c:v>
                </c:pt>
                <c:pt idx="68">
                  <c:v>0.18031430934656742</c:v>
                </c:pt>
                <c:pt idx="69">
                  <c:v>0.17101035344519813</c:v>
                </c:pt>
                <c:pt idx="70">
                  <c:v>0.17040910489080283</c:v>
                </c:pt>
                <c:pt idx="71">
                  <c:v>0.17469470827679784</c:v>
                </c:pt>
                <c:pt idx="72">
                  <c:v>0.1852922286448298</c:v>
                </c:pt>
                <c:pt idx="73">
                  <c:v>0.19035202086049544</c:v>
                </c:pt>
                <c:pt idx="74">
                  <c:v>0.20358443013161578</c:v>
                </c:pt>
                <c:pt idx="75">
                  <c:v>0.20554123711340205</c:v>
                </c:pt>
                <c:pt idx="76">
                  <c:v>0.20664476086162833</c:v>
                </c:pt>
                <c:pt idx="77">
                  <c:v>0.19514047076689445</c:v>
                </c:pt>
                <c:pt idx="78">
                  <c:v>0.20194647201946472</c:v>
                </c:pt>
                <c:pt idx="79">
                  <c:v>0.17735470941883769</c:v>
                </c:pt>
                <c:pt idx="80">
                  <c:v>0.17702265372168285</c:v>
                </c:pt>
                <c:pt idx="81">
                  <c:v>0.18693946188340807</c:v>
                </c:pt>
                <c:pt idx="82">
                  <c:v>0.19316843345111898</c:v>
                </c:pt>
                <c:pt idx="83">
                  <c:v>0.19390459363957596</c:v>
                </c:pt>
                <c:pt idx="84">
                  <c:v>0.1879135421261579</c:v>
                </c:pt>
                <c:pt idx="85">
                  <c:v>0.2</c:v>
                </c:pt>
                <c:pt idx="86">
                  <c:v>0.21820337978061075</c:v>
                </c:pt>
                <c:pt idx="87">
                  <c:v>0.20762317942361327</c:v>
                </c:pt>
                <c:pt idx="88">
                  <c:v>0.20630252100840335</c:v>
                </c:pt>
                <c:pt idx="89">
                  <c:v>0.22679983354140656</c:v>
                </c:pt>
                <c:pt idx="90">
                  <c:v>0.1864202490960225</c:v>
                </c:pt>
                <c:pt idx="91">
                  <c:v>0.17729643000401124</c:v>
                </c:pt>
                <c:pt idx="92">
                  <c:v>0.18478260869565216</c:v>
                </c:pt>
                <c:pt idx="93">
                  <c:v>0.18654173764906304</c:v>
                </c:pt>
                <c:pt idx="94">
                  <c:v>0.17819572840293274</c:v>
                </c:pt>
                <c:pt idx="95">
                  <c:v>0.17806603773584906</c:v>
                </c:pt>
                <c:pt idx="96">
                  <c:v>0.1903627959097913</c:v>
                </c:pt>
                <c:pt idx="97">
                  <c:v>0.2037057220708447</c:v>
                </c:pt>
                <c:pt idx="98">
                  <c:v>0.20579450418160095</c:v>
                </c:pt>
                <c:pt idx="99">
                  <c:v>0.21083638311166653</c:v>
                </c:pt>
                <c:pt idx="100">
                  <c:v>0.21344523985847116</c:v>
                </c:pt>
                <c:pt idx="101">
                  <c:v>0.20886713689362316</c:v>
                </c:pt>
                <c:pt idx="102">
                  <c:v>0.197678916827853</c:v>
                </c:pt>
                <c:pt idx="103">
                  <c:v>0.196597685022799</c:v>
                </c:pt>
                <c:pt idx="104">
                  <c:v>0.196954568147778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68839363853197</c:v>
                </c:pt>
                <c:pt idx="1">
                  <c:v>0.7008426089154988</c:v>
                </c:pt>
                <c:pt idx="2">
                  <c:v>0.7055367760853628</c:v>
                </c:pt>
                <c:pt idx="3">
                  <c:v>0.6690783911776633</c:v>
                </c:pt>
                <c:pt idx="4">
                  <c:v>0.704000361920146</c:v>
                </c:pt>
                <c:pt idx="5">
                  <c:v>0.7033605967846058</c:v>
                </c:pt>
                <c:pt idx="6">
                  <c:v>0.7107349895878098</c:v>
                </c:pt>
                <c:pt idx="7">
                  <c:v>0.6906049084029426</c:v>
                </c:pt>
                <c:pt idx="8">
                  <c:v>0.6980113942235667</c:v>
                </c:pt>
                <c:pt idx="9">
                  <c:v>0.6925424784406204</c:v>
                </c:pt>
                <c:pt idx="10">
                  <c:v>0.6990527810942716</c:v>
                </c:pt>
                <c:pt idx="11">
                  <c:v>0.678410832542619</c:v>
                </c:pt>
                <c:pt idx="12">
                  <c:v>0.6725916594874407</c:v>
                </c:pt>
                <c:pt idx="13">
                  <c:v>0.6668732521685645</c:v>
                </c:pt>
                <c:pt idx="14">
                  <c:v>0.6389057299520768</c:v>
                </c:pt>
                <c:pt idx="15">
                  <c:v>0.6568729981309689</c:v>
                </c:pt>
                <c:pt idx="16">
                  <c:v>0.66850898843043</c:v>
                </c:pt>
                <c:pt idx="17">
                  <c:v>0.6501013268739229</c:v>
                </c:pt>
                <c:pt idx="18">
                  <c:v>0.6328153744707298</c:v>
                </c:pt>
                <c:pt idx="19">
                  <c:v>0.6652140665515403</c:v>
                </c:pt>
                <c:pt idx="20">
                  <c:v>0.6595698912094471</c:v>
                </c:pt>
                <c:pt idx="21">
                  <c:v>0.5995114068312449</c:v>
                </c:pt>
                <c:pt idx="22">
                  <c:v>0.6100349269981236</c:v>
                </c:pt>
                <c:pt idx="23">
                  <c:v>0.6593583961360385</c:v>
                </c:pt>
                <c:pt idx="24">
                  <c:v>0.6578081861004379</c:v>
                </c:pt>
                <c:pt idx="25">
                  <c:v>0.6953926716794194</c:v>
                </c:pt>
                <c:pt idx="26">
                  <c:v>0.644613716948388</c:v>
                </c:pt>
                <c:pt idx="27">
                  <c:v>0.6807041344380924</c:v>
                </c:pt>
                <c:pt idx="28">
                  <c:v>0.6940791179804835</c:v>
                </c:pt>
                <c:pt idx="29">
                  <c:v>0.6535442899996535</c:v>
                </c:pt>
                <c:pt idx="30">
                  <c:v>0.6444928653657754</c:v>
                </c:pt>
                <c:pt idx="31">
                  <c:v>0.6832855665297306</c:v>
                </c:pt>
                <c:pt idx="32">
                  <c:v>0.6877033875582482</c:v>
                </c:pt>
                <c:pt idx="33">
                  <c:v>0.6842844237208474</c:v>
                </c:pt>
                <c:pt idx="34">
                  <c:v>0.7015473856560865</c:v>
                </c:pt>
                <c:pt idx="35">
                  <c:v>0.6689639391548962</c:v>
                </c:pt>
                <c:pt idx="36">
                  <c:v>0.649051332911454</c:v>
                </c:pt>
                <c:pt idx="37">
                  <c:v>0.6531242793746521</c:v>
                </c:pt>
                <c:pt idx="38">
                  <c:v>0.6572141906498475</c:v>
                </c:pt>
                <c:pt idx="39">
                  <c:v>0.6944180922264467</c:v>
                </c:pt>
                <c:pt idx="40">
                  <c:v>0.6931271827544562</c:v>
                </c:pt>
                <c:pt idx="41">
                  <c:v>0.7116557489956097</c:v>
                </c:pt>
                <c:pt idx="42">
                  <c:v>0.6857244256830557</c:v>
                </c:pt>
                <c:pt idx="43">
                  <c:v>0.7768284000957425</c:v>
                </c:pt>
                <c:pt idx="44">
                  <c:v>0.8246719457798223</c:v>
                </c:pt>
                <c:pt idx="45">
                  <c:v>0.8126992670710775</c:v>
                </c:pt>
                <c:pt idx="46">
                  <c:v>0.7673155008051922</c:v>
                </c:pt>
                <c:pt idx="47">
                  <c:v>0.7756353647747729</c:v>
                </c:pt>
                <c:pt idx="48">
                  <c:v>0.8455085773880471</c:v>
                </c:pt>
                <c:pt idx="49">
                  <c:v>0.872939477888261</c:v>
                </c:pt>
                <c:pt idx="50">
                  <c:v>0.8260851055367496</c:v>
                </c:pt>
                <c:pt idx="51">
                  <c:v>0.7983233057239671</c:v>
                </c:pt>
              </c:numCache>
            </c:numRef>
          </c:xVal>
          <c:yVal>
            <c:numRef>
              <c:f>Sheet1!$B$109:$B$160</c:f>
              <c:numCache>
                <c:formatCode>General</c:formatCode>
                <c:ptCount val="52"/>
                <c:pt idx="0">
                  <c:v>0.1923158116951657</c:v>
                </c:pt>
                <c:pt idx="1">
                  <c:v>0.20268872802481902</c:v>
                </c:pt>
                <c:pt idx="2">
                  <c:v>0.2132860938883968</c:v>
                </c:pt>
                <c:pt idx="3">
                  <c:v>0.23139577934098482</c:v>
                </c:pt>
                <c:pt idx="4">
                  <c:v>0.2016245487364621</c:v>
                </c:pt>
                <c:pt idx="5">
                  <c:v>0.21380171184022825</c:v>
                </c:pt>
                <c:pt idx="6">
                  <c:v>0.24233596892772924</c:v>
                </c:pt>
                <c:pt idx="7">
                  <c:v>0.2378266591464561</c:v>
                </c:pt>
                <c:pt idx="8">
                  <c:v>0.22140112326337572</c:v>
                </c:pt>
                <c:pt idx="9">
                  <c:v>0.23265196342119418</c:v>
                </c:pt>
                <c:pt idx="10">
                  <c:v>0.22355081881985964</c:v>
                </c:pt>
                <c:pt idx="11">
                  <c:v>0.23149693934335003</c:v>
                </c:pt>
                <c:pt idx="12">
                  <c:v>0.2287813529262731</c:v>
                </c:pt>
                <c:pt idx="13">
                  <c:v>0.2328070644902328</c:v>
                </c:pt>
                <c:pt idx="14">
                  <c:v>0.24238148984198646</c:v>
                </c:pt>
                <c:pt idx="15">
                  <c:v>0.22684194435952307</c:v>
                </c:pt>
                <c:pt idx="16">
                  <c:v>0.23249200142196944</c:v>
                </c:pt>
                <c:pt idx="17">
                  <c:v>0.23990250696378831</c:v>
                </c:pt>
                <c:pt idx="18">
                  <c:v>0.24926578560939794</c:v>
                </c:pt>
                <c:pt idx="19">
                  <c:v>0.22308636921817437</c:v>
                </c:pt>
                <c:pt idx="20">
                  <c:v>0.20043290043290043</c:v>
                </c:pt>
                <c:pt idx="21">
                  <c:v>0.22063854047890535</c:v>
                </c:pt>
                <c:pt idx="22">
                  <c:v>0.21518987341772153</c:v>
                </c:pt>
                <c:pt idx="23">
                  <c:v>0.21428571428571427</c:v>
                </c:pt>
                <c:pt idx="24">
                  <c:v>0.2177570093457944</c:v>
                </c:pt>
                <c:pt idx="25">
                  <c:v>0.20618034447821681</c:v>
                </c:pt>
                <c:pt idx="26">
                  <c:v>0.21006054960409873</c:v>
                </c:pt>
                <c:pt idx="27">
                  <c:v>0.21926671459381739</c:v>
                </c:pt>
                <c:pt idx="28">
                  <c:v>0.2174846625766871</c:v>
                </c:pt>
                <c:pt idx="29">
                  <c:v>0.20666402221340738</c:v>
                </c:pt>
                <c:pt idx="30">
                  <c:v>0.20531113753468094</c:v>
                </c:pt>
                <c:pt idx="31">
                  <c:v>0.19078201737816397</c:v>
                </c:pt>
                <c:pt idx="32">
                  <c:v>0.19462875197472354</c:v>
                </c:pt>
                <c:pt idx="33">
                  <c:v>0.2076271186440678</c:v>
                </c:pt>
                <c:pt idx="34">
                  <c:v>0.21478696741854636</c:v>
                </c:pt>
                <c:pt idx="35">
                  <c:v>0.21279761904761904</c:v>
                </c:pt>
                <c:pt idx="36">
                  <c:v>0.19208211143695014</c:v>
                </c:pt>
                <c:pt idx="37">
                  <c:v>0.19832893579595426</c:v>
                </c:pt>
                <c:pt idx="38">
                  <c:v>0.20606060606060606</c:v>
                </c:pt>
                <c:pt idx="39">
                  <c:v>0.20914363698396451</c:v>
                </c:pt>
                <c:pt idx="40">
                  <c:v>0.19425735554767812</c:v>
                </c:pt>
                <c:pt idx="41">
                  <c:v>0.1972630173564753</c:v>
                </c:pt>
                <c:pt idx="42">
                  <c:v>0.20808323329331732</c:v>
                </c:pt>
                <c:pt idx="43">
                  <c:v>0.19221476510067115</c:v>
                </c:pt>
                <c:pt idx="44">
                  <c:v>0.1855727901326855</c:v>
                </c:pt>
                <c:pt idx="45">
                  <c:v>0.20180520005388658</c:v>
                </c:pt>
                <c:pt idx="46">
                  <c:v>0.22570321711302005</c:v>
                </c:pt>
                <c:pt idx="47">
                  <c:v>0.23031006466589288</c:v>
                </c:pt>
                <c:pt idx="48">
                  <c:v>0.21723224422858584</c:v>
                </c:pt>
                <c:pt idx="49">
                  <c:v>0.22429459588713535</c:v>
                </c:pt>
                <c:pt idx="50">
                  <c:v>0.22335477486392874</c:v>
                </c:pt>
                <c:pt idx="51">
                  <c:v>0.215199258572752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923431206919226</c:v>
                </c:pt>
              </c:numCache>
            </c:numRef>
          </c:xVal>
          <c:yVal>
            <c:numRef>
              <c:f>Sheet1!$B$163:$B$164</c:f>
              <c:numCache>
                <c:formatCode>General</c:formatCode>
                <c:ptCount val="2"/>
                <c:pt idx="0">
                  <c:v>0.25101247284020256</c:v>
                </c:pt>
                <c:pt idx="1">
                  <c:v>0.251012472840202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923431206919226</c:v>
                </c:pt>
                <c:pt idx="1">
                  <c:v>-0.1923431206919226</c:v>
                </c:pt>
              </c:numCache>
            </c:numRef>
          </c:xVal>
          <c:yVal>
            <c:numRef>
              <c:f>Sheet1!$B$167:$B$168</c:f>
              <c:numCache>
                <c:formatCode>General</c:formatCode>
                <c:ptCount val="2"/>
                <c:pt idx="0">
                  <c:v>0.25101247284020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42420269284727</c:v>
                </c:pt>
              </c:numCache>
            </c:numRef>
          </c:xVal>
          <c:yVal>
            <c:numRef>
              <c:f>Sheet1!$B$171:$B$172</c:f>
              <c:numCache>
                <c:formatCode>General</c:formatCode>
                <c:ptCount val="2"/>
                <c:pt idx="0">
                  <c:v>0.22956382133288886</c:v>
                </c:pt>
                <c:pt idx="1">
                  <c:v>0.2295638213328888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42420269284727</c:v>
                </c:pt>
                <c:pt idx="1">
                  <c:v>0.342420269284727</c:v>
                </c:pt>
              </c:numCache>
            </c:numRef>
          </c:xVal>
          <c:yVal>
            <c:numRef>
              <c:f>Sheet1!$B$175:$B$176</c:f>
              <c:numCache>
                <c:formatCode>General</c:formatCode>
                <c:ptCount val="2"/>
                <c:pt idx="0">
                  <c:v>0.229563821332888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408651290357673</c:v>
                </c:pt>
              </c:numCache>
            </c:numRef>
          </c:xVal>
          <c:yVal>
            <c:numRef>
              <c:f>Sheet1!$B$179:$B$180</c:f>
              <c:numCache>
                <c:formatCode>General</c:formatCode>
                <c:ptCount val="2"/>
                <c:pt idx="0">
                  <c:v>0.2095718579846149</c:v>
                </c:pt>
                <c:pt idx="1">
                  <c:v>0.209571857984614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408651290357673</c:v>
                </c:pt>
                <c:pt idx="1">
                  <c:v>0.8408651290357673</c:v>
                </c:pt>
              </c:numCache>
            </c:numRef>
          </c:xVal>
          <c:yVal>
            <c:numRef>
              <c:f>Sheet1!$B$183:$B$184</c:f>
              <c:numCache>
                <c:formatCode>General</c:formatCode>
                <c:ptCount val="2"/>
                <c:pt idx="0">
                  <c:v>0.20957185798461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68839363853197</c:v>
                </c:pt>
                <c:pt idx="1">
                  <c:v>0.7008426089154988</c:v>
                </c:pt>
                <c:pt idx="2">
                  <c:v>0.7055367760853628</c:v>
                </c:pt>
                <c:pt idx="3">
                  <c:v>0.6690783911776633</c:v>
                </c:pt>
                <c:pt idx="4">
                  <c:v>0.704000361920146</c:v>
                </c:pt>
                <c:pt idx="5">
                  <c:v>0.7033605967846058</c:v>
                </c:pt>
                <c:pt idx="6">
                  <c:v>0.7107349895878098</c:v>
                </c:pt>
                <c:pt idx="7">
                  <c:v>0.6906049084029426</c:v>
                </c:pt>
                <c:pt idx="8">
                  <c:v>0.6980113942235667</c:v>
                </c:pt>
                <c:pt idx="9">
                  <c:v>0.6925424784406204</c:v>
                </c:pt>
                <c:pt idx="10">
                  <c:v>0.6990527810942716</c:v>
                </c:pt>
                <c:pt idx="11">
                  <c:v>0.678410832542619</c:v>
                </c:pt>
                <c:pt idx="12">
                  <c:v>0.6725916594874407</c:v>
                </c:pt>
                <c:pt idx="13">
                  <c:v>0.6668732521685645</c:v>
                </c:pt>
                <c:pt idx="14">
                  <c:v>0.6389057299520768</c:v>
                </c:pt>
                <c:pt idx="15">
                  <c:v>0.6568729981309689</c:v>
                </c:pt>
                <c:pt idx="16">
                  <c:v>0.66850898843043</c:v>
                </c:pt>
                <c:pt idx="17">
                  <c:v>0.6501013268739229</c:v>
                </c:pt>
                <c:pt idx="18">
                  <c:v>0.6328153744707298</c:v>
                </c:pt>
                <c:pt idx="19">
                  <c:v>0.6652140665515403</c:v>
                </c:pt>
                <c:pt idx="20">
                  <c:v>0.6595698912094471</c:v>
                </c:pt>
                <c:pt idx="21">
                  <c:v>0.5995114068312449</c:v>
                </c:pt>
                <c:pt idx="22">
                  <c:v>0.6100349269981236</c:v>
                </c:pt>
                <c:pt idx="23">
                  <c:v>0.6593583961360385</c:v>
                </c:pt>
                <c:pt idx="24">
                  <c:v>0.6578081861004379</c:v>
                </c:pt>
                <c:pt idx="25">
                  <c:v>0.6953926716794194</c:v>
                </c:pt>
                <c:pt idx="26">
                  <c:v>0.644613716948388</c:v>
                </c:pt>
                <c:pt idx="27">
                  <c:v>0.6807041344380924</c:v>
                </c:pt>
                <c:pt idx="28">
                  <c:v>0.6940791179804835</c:v>
                </c:pt>
                <c:pt idx="29">
                  <c:v>0.6535442899996535</c:v>
                </c:pt>
                <c:pt idx="30">
                  <c:v>0.6444928653657754</c:v>
                </c:pt>
                <c:pt idx="31">
                  <c:v>0.6832855665297306</c:v>
                </c:pt>
                <c:pt idx="32">
                  <c:v>0.6877033875582482</c:v>
                </c:pt>
                <c:pt idx="33">
                  <c:v>0.6842844237208474</c:v>
                </c:pt>
                <c:pt idx="34">
                  <c:v>0.7015473856560865</c:v>
                </c:pt>
                <c:pt idx="35">
                  <c:v>0.6689639391548962</c:v>
                </c:pt>
                <c:pt idx="36">
                  <c:v>0.649051332911454</c:v>
                </c:pt>
                <c:pt idx="37">
                  <c:v>0.6531242793746521</c:v>
                </c:pt>
                <c:pt idx="38">
                  <c:v>0.6572141906498475</c:v>
                </c:pt>
                <c:pt idx="39">
                  <c:v>0.6944180922264467</c:v>
                </c:pt>
                <c:pt idx="40">
                  <c:v>0.6931271827544562</c:v>
                </c:pt>
                <c:pt idx="41">
                  <c:v>0.7116557489956097</c:v>
                </c:pt>
                <c:pt idx="42">
                  <c:v>0.6857244256830557</c:v>
                </c:pt>
                <c:pt idx="43">
                  <c:v>0.7768284000957425</c:v>
                </c:pt>
                <c:pt idx="44">
                  <c:v>0.8246719457798223</c:v>
                </c:pt>
                <c:pt idx="45">
                  <c:v>0.8126992670710775</c:v>
                </c:pt>
                <c:pt idx="46">
                  <c:v>0.7673155008051922</c:v>
                </c:pt>
                <c:pt idx="47">
                  <c:v>0.7756353647747729</c:v>
                </c:pt>
                <c:pt idx="48">
                  <c:v>0.8455085773880471</c:v>
                </c:pt>
                <c:pt idx="49">
                  <c:v>0.872939477888261</c:v>
                </c:pt>
                <c:pt idx="50">
                  <c:v>0.8260851055367496</c:v>
                </c:pt>
                <c:pt idx="51">
                  <c:v>0.7983233057239671</c:v>
                </c:pt>
                <c:pt idx="52">
                  <c:v>0.342420269284727</c:v>
                </c:pt>
                <c:pt idx="53">
                  <c:v>-0.1923431206919226</c:v>
                </c:pt>
                <c:pt idx="54">
                  <c:v>0.8408651290357673</c:v>
                </c:pt>
              </c:numCache>
            </c:numRef>
          </c:xVal>
          <c:yVal>
            <c:numRef>
              <c:f>Sheet1!$B$187:$B$241</c:f>
              <c:numCache>
                <c:formatCode>General</c:formatCode>
                <c:ptCount val="55"/>
                <c:pt idx="0">
                  <c:v>0.21334131918406085</c:v>
                </c:pt>
                <c:pt idx="1">
                  <c:v>0.21518797586689287</c:v>
                </c:pt>
                <c:pt idx="2">
                  <c:v>0.21499969903711985</c:v>
                </c:pt>
                <c:pt idx="3">
                  <c:v>0.21646199658228069</c:v>
                </c:pt>
                <c:pt idx="4">
                  <c:v>0.21506132257496538</c:v>
                </c:pt>
                <c:pt idx="5">
                  <c:v>0.2150869827074575</c:v>
                </c:pt>
                <c:pt idx="6">
                  <c:v>0.21479120557634</c:v>
                </c:pt>
                <c:pt idx="7">
                  <c:v>0.21559859647901006</c:v>
                </c:pt>
                <c:pt idx="8">
                  <c:v>0.21530153213945724</c:v>
                </c:pt>
                <c:pt idx="9">
                  <c:v>0.21552088311027892</c:v>
                </c:pt>
                <c:pt idx="10">
                  <c:v>0.21525976349094333</c:v>
                </c:pt>
                <c:pt idx="11">
                  <c:v>0.21608768471594647</c:v>
                </c:pt>
                <c:pt idx="12">
                  <c:v>0.2163210840421919</c:v>
                </c:pt>
                <c:pt idx="13">
                  <c:v>0.21655044178817523</c:v>
                </c:pt>
                <c:pt idx="14">
                  <c:v>0.2176721820732959</c:v>
                </c:pt>
                <c:pt idx="15">
                  <c:v>0.21695153873657771</c:v>
                </c:pt>
                <c:pt idx="16">
                  <c:v>0.2164848345725426</c:v>
                </c:pt>
                <c:pt idx="17">
                  <c:v>0.21722314150452487</c:v>
                </c:pt>
                <c:pt idx="18">
                  <c:v>0.21791645816759017</c:v>
                </c:pt>
                <c:pt idx="19">
                  <c:v>0.21661698952639466</c:v>
                </c:pt>
                <c:pt idx="20">
                  <c:v>0.2168433699260776</c:v>
                </c:pt>
                <c:pt idx="21">
                  <c:v>0.2192522362127951</c:v>
                </c:pt>
                <c:pt idx="22">
                  <c:v>0.21883015175278855</c:v>
                </c:pt>
                <c:pt idx="23">
                  <c:v>0.21685185271343757</c:v>
                </c:pt>
                <c:pt idx="24">
                  <c:v>0.21691402958537748</c:v>
                </c:pt>
                <c:pt idx="25">
                  <c:v>0.21540656563332866</c:v>
                </c:pt>
                <c:pt idx="26">
                  <c:v>0.2174432422726534</c:v>
                </c:pt>
                <c:pt idx="27">
                  <c:v>0.21599570341341337</c:v>
                </c:pt>
                <c:pt idx="28">
                  <c:v>0.21545925053295473</c:v>
                </c:pt>
                <c:pt idx="29">
                  <c:v>0.21708504881227914</c:v>
                </c:pt>
                <c:pt idx="30">
                  <c:v>0.2174480894696159</c:v>
                </c:pt>
                <c:pt idx="31">
                  <c:v>0.2158921655902169</c:v>
                </c:pt>
                <c:pt idx="32">
                  <c:v>0.21571497263827139</c:v>
                </c:pt>
                <c:pt idx="33">
                  <c:v>0.21585210275083896</c:v>
                </c:pt>
                <c:pt idx="34">
                  <c:v>0.2151597082050023</c:v>
                </c:pt>
                <c:pt idx="35">
                  <c:v>0.2164665871013713</c:v>
                </c:pt>
                <c:pt idx="36">
                  <c:v>0.21726525537209304</c:v>
                </c:pt>
                <c:pt idx="37">
                  <c:v>0.2171018948823241</c:v>
                </c:pt>
                <c:pt idx="38">
                  <c:v>0.21693785395640858</c:v>
                </c:pt>
                <c:pt idx="39">
                  <c:v>0.2154456547247751</c:v>
                </c:pt>
                <c:pt idx="40">
                  <c:v>0.21549743139444094</c:v>
                </c:pt>
                <c:pt idx="41">
                  <c:v>0.21475427513564388</c:v>
                </c:pt>
                <c:pt idx="42">
                  <c:v>0.2157943461787995</c:v>
                </c:pt>
                <c:pt idx="43">
                  <c:v>0.21214028639322915</c:v>
                </c:pt>
                <c:pt idx="44">
                  <c:v>0.2102213451240879</c:v>
                </c:pt>
                <c:pt idx="45">
                  <c:v>0.21070155341442004</c:v>
                </c:pt>
                <c:pt idx="46">
                  <c:v>0.2125218361880199</c:v>
                </c:pt>
                <c:pt idx="47">
                  <c:v>0.2121881374602899</c:v>
                </c:pt>
                <c:pt idx="48">
                  <c:v>0.20938561541945985</c:v>
                </c:pt>
                <c:pt idx="49">
                  <c:v>0.20828539832085372</c:v>
                </c:pt>
                <c:pt idx="50">
                  <c:v>0.2101646651573613</c:v>
                </c:pt>
                <c:pt idx="51">
                  <c:v>0.21127815418926038</c:v>
                </c:pt>
                <c:pt idx="52">
                  <c:v>0.22956382133288886</c:v>
                </c:pt>
                <c:pt idx="53">
                  <c:v>0.25101247284020256</c:v>
                </c:pt>
                <c:pt idx="54">
                  <c:v>0.20957185798461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63118346900434"/>
          <c:min val="0.1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0.6456</c:v>
                </c:pt>
                <c:pt idx="1">
                  <c:v>895.2385</c:v>
                </c:pt>
                <c:pt idx="2">
                  <c:v>955.8735</c:v>
                </c:pt>
                <c:pt idx="3">
                  <c:v>960.6456</c:v>
                </c:pt>
                <c:pt idx="4">
                  <c:v>961.0058</c:v>
                </c:pt>
                <c:pt idx="5">
                  <c:v>946.6713</c:v>
                </c:pt>
                <c:pt idx="6">
                  <c:v>877.5837</c:v>
                </c:pt>
                <c:pt idx="7">
                  <c:v>888.2288</c:v>
                </c:pt>
                <c:pt idx="8">
                  <c:v>908.7337</c:v>
                </c:pt>
                <c:pt idx="9">
                  <c:v>853.2363</c:v>
                </c:pt>
                <c:pt idx="10">
                  <c:v>841.8964</c:v>
                </c:pt>
                <c:pt idx="11">
                  <c:v>929.2763</c:v>
                </c:pt>
                <c:pt idx="12">
                  <c:v>949.6691</c:v>
                </c:pt>
                <c:pt idx="13">
                  <c:v>972.2431</c:v>
                </c:pt>
                <c:pt idx="14">
                  <c:v>978.8734</c:v>
                </c:pt>
                <c:pt idx="15">
                  <c:v>992.1852</c:v>
                </c:pt>
                <c:pt idx="16">
                  <c:v>1028.5867</c:v>
                </c:pt>
                <c:pt idx="17">
                  <c:v>1060.9935</c:v>
                </c:pt>
                <c:pt idx="18">
                  <c:v>1089.2703</c:v>
                </c:pt>
                <c:pt idx="19">
                  <c:v>1108.0072</c:v>
                </c:pt>
                <c:pt idx="20">
                  <c:v>1139.2047</c:v>
                </c:pt>
                <c:pt idx="21">
                  <c:v>1159.4921</c:v>
                </c:pt>
                <c:pt idx="22">
                  <c:v>1109.1882</c:v>
                </c:pt>
                <c:pt idx="23">
                  <c:v>1088.8516</c:v>
                </c:pt>
                <c:pt idx="24">
                  <c:v>1090.5951</c:v>
                </c:pt>
                <c:pt idx="25">
                  <c:v>1059.5464</c:v>
                </c:pt>
                <c:pt idx="26">
                  <c:v>1035.9899</c:v>
                </c:pt>
                <c:pt idx="27">
                  <c:v>1053.4839</c:v>
                </c:pt>
                <c:pt idx="28">
                  <c:v>1050.2821</c:v>
                </c:pt>
                <c:pt idx="29">
                  <c:v>1034.3728</c:v>
                </c:pt>
                <c:pt idx="30">
                  <c:v>1013.9967</c:v>
                </c:pt>
                <c:pt idx="31">
                  <c:v>1032.6493</c:v>
                </c:pt>
                <c:pt idx="32">
                  <c:v>1010.6509</c:v>
                </c:pt>
                <c:pt idx="33">
                  <c:v>982.16</c:v>
                </c:pt>
                <c:pt idx="34">
                  <c:v>989.0426</c:v>
                </c:pt>
                <c:pt idx="35">
                  <c:v>1004.3141</c:v>
                </c:pt>
                <c:pt idx="36">
                  <c:v>1130.1752</c:v>
                </c:pt>
                <c:pt idx="37">
                  <c:v>1121.6121</c:v>
                </c:pt>
                <c:pt idx="38">
                  <c:v>1199.2964</c:v>
                </c:pt>
                <c:pt idx="39">
                  <c:v>1203.6412</c:v>
                </c:pt>
                <c:pt idx="40">
                  <c:v>1205.3707</c:v>
                </c:pt>
                <c:pt idx="41">
                  <c:v>1237.22</c:v>
                </c:pt>
                <c:pt idx="42">
                  <c:v>1243.7277</c:v>
                </c:pt>
                <c:pt idx="43">
                  <c:v>1258.8795</c:v>
                </c:pt>
                <c:pt idx="44">
                  <c:v>1166.5143</c:v>
                </c:pt>
                <c:pt idx="45">
                  <c:v>1125.5936</c:v>
                </c:pt>
                <c:pt idx="46">
                  <c:v>1107.3512</c:v>
                </c:pt>
                <c:pt idx="47">
                  <c:v>1080.3027</c:v>
                </c:pt>
                <c:pt idx="48">
                  <c:v>1102.1245</c:v>
                </c:pt>
                <c:pt idx="49">
                  <c:v>1063.3196</c:v>
                </c:pt>
                <c:pt idx="50">
                  <c:v>1069.4635</c:v>
                </c:pt>
                <c:pt idx="51">
                  <c:v>1069.6604</c:v>
                </c:pt>
                <c:pt idx="52">
                  <c:v>1071.6579</c:v>
                </c:pt>
                <c:pt idx="53">
                  <c:v>1166.3365</c:v>
                </c:pt>
                <c:pt idx="54">
                  <c:v>1154.1198</c:v>
                </c:pt>
                <c:pt idx="55">
                  <c:v>1173.2</c:v>
                </c:pt>
                <c:pt idx="56">
                  <c:v>1207.2477</c:v>
                </c:pt>
                <c:pt idx="57">
                  <c:v>1178.3464</c:v>
                </c:pt>
                <c:pt idx="58">
                  <c:v>1105.2706</c:v>
                </c:pt>
                <c:pt idx="59">
                  <c:v>1096.3063</c:v>
                </c:pt>
                <c:pt idx="60">
                  <c:v>1139.6342</c:v>
                </c:pt>
                <c:pt idx="61">
                  <c:v>1174.3686</c:v>
                </c:pt>
                <c:pt idx="62">
                  <c:v>1054.908</c:v>
                </c:pt>
                <c:pt idx="63">
                  <c:v>1105.2197</c:v>
                </c:pt>
                <c:pt idx="64">
                  <c:v>1149.2914</c:v>
                </c:pt>
                <c:pt idx="65">
                  <c:v>1137.01</c:v>
                </c:pt>
                <c:pt idx="66">
                  <c:v>1109.6366</c:v>
                </c:pt>
                <c:pt idx="67">
                  <c:v>1178.7965</c:v>
                </c:pt>
                <c:pt idx="68">
                  <c:v>1253.4725</c:v>
                </c:pt>
                <c:pt idx="69">
                  <c:v>1294.5616</c:v>
                </c:pt>
                <c:pt idx="70">
                  <c:v>1275.5415</c:v>
                </c:pt>
                <c:pt idx="71">
                  <c:v>1336.0893</c:v>
                </c:pt>
                <c:pt idx="72">
                  <c:v>1391.1993</c:v>
                </c:pt>
                <c:pt idx="73">
                  <c:v>1349.1284</c:v>
                </c:pt>
                <c:pt idx="74">
                  <c:v>1324.1843</c:v>
                </c:pt>
                <c:pt idx="75">
                  <c:v>1282.558</c:v>
                </c:pt>
                <c:pt idx="76">
                  <c:v>1247.0018</c:v>
                </c:pt>
                <c:pt idx="77">
                  <c:v>1308.6556</c:v>
                </c:pt>
                <c:pt idx="78">
                  <c:v>1333.1888</c:v>
                </c:pt>
                <c:pt idx="79">
                  <c:v>1296.8832</c:v>
                </c:pt>
                <c:pt idx="80">
                  <c:v>1279.8629</c:v>
                </c:pt>
                <c:pt idx="81">
                  <c:v>1225.2234</c:v>
                </c:pt>
                <c:pt idx="82">
                  <c:v>1239.437</c:v>
                </c:pt>
                <c:pt idx="83">
                  <c:v>1201.2164</c:v>
                </c:pt>
                <c:pt idx="84">
                  <c:v>1222.108</c:v>
                </c:pt>
                <c:pt idx="85">
                  <c:v>1204.9283</c:v>
                </c:pt>
                <c:pt idx="86">
                  <c:v>1196.5815</c:v>
                </c:pt>
                <c:pt idx="87">
                  <c:v>1209.8403</c:v>
                </c:pt>
                <c:pt idx="88">
                  <c:v>1225.7251</c:v>
                </c:pt>
                <c:pt idx="89">
                  <c:v>1233.3578</c:v>
                </c:pt>
                <c:pt idx="90">
                  <c:v>1366.8168</c:v>
                </c:pt>
                <c:pt idx="91">
                  <c:v>1399.7421</c:v>
                </c:pt>
                <c:pt idx="92">
                  <c:v>1316.7578</c:v>
                </c:pt>
                <c:pt idx="93">
                  <c:v>1359.1005</c:v>
                </c:pt>
                <c:pt idx="94">
                  <c:v>1369.7406</c:v>
                </c:pt>
                <c:pt idx="95">
                  <c:v>1325.4026</c:v>
                </c:pt>
                <c:pt idx="96">
                  <c:v>1247.9853</c:v>
                </c:pt>
                <c:pt idx="97">
                  <c:v>1193.4334</c:v>
                </c:pt>
                <c:pt idx="98">
                  <c:v>1172.8771</c:v>
                </c:pt>
                <c:pt idx="99">
                  <c:v>1131.5923</c:v>
                </c:pt>
                <c:pt idx="100">
                  <c:v>1148.8311</c:v>
                </c:pt>
                <c:pt idx="101">
                  <c:v>1166.173</c:v>
                </c:pt>
                <c:pt idx="102">
                  <c:v>1196.7378</c:v>
                </c:pt>
                <c:pt idx="103">
                  <c:v>1202.2783</c:v>
                </c:pt>
                <c:pt idx="104">
                  <c:v>1273.5019</c:v>
                </c:pt>
              </c:numCache>
            </c:numRef>
          </c:xVal>
          <c:yVal>
            <c:numRef>
              <c:f>Sheet1!$B$2:$B$106</c:f>
              <c:numCache>
                <c:formatCode>General</c:formatCode>
                <c:ptCount val="105"/>
                <c:pt idx="0">
                  <c:v>0.23612879752592322</c:v>
                </c:pt>
                <c:pt idx="1">
                  <c:v>0.24167987321711568</c:v>
                </c:pt>
                <c:pt idx="2">
                  <c:v>0.2422490803993694</c:v>
                </c:pt>
                <c:pt idx="3">
                  <c:v>0.23685666851134476</c:v>
                </c:pt>
                <c:pt idx="4">
                  <c:v>0.22893446277307178</c:v>
                </c:pt>
                <c:pt idx="5">
                  <c:v>0.2405354528341351</c:v>
                </c:pt>
                <c:pt idx="6">
                  <c:v>0.2739507299270073</c:v>
                </c:pt>
                <c:pt idx="7">
                  <c:v>0.2805259862241703</c:v>
                </c:pt>
                <c:pt idx="8">
                  <c:v>0.27825120414968507</c:v>
                </c:pt>
                <c:pt idx="9">
                  <c:v>0.2602111060119321</c:v>
                </c:pt>
                <c:pt idx="10">
                  <c:v>0.2573701450631727</c:v>
                </c:pt>
                <c:pt idx="11">
                  <c:v>0.21774604793472718</c:v>
                </c:pt>
                <c:pt idx="12">
                  <c:v>0.20642893018583627</c:v>
                </c:pt>
                <c:pt idx="13">
                  <c:v>0.18620849779428836</c:v>
                </c:pt>
                <c:pt idx="14">
                  <c:v>0.1787734781624802</c:v>
                </c:pt>
                <c:pt idx="15">
                  <c:v>0.18282773564463706</c:v>
                </c:pt>
                <c:pt idx="16">
                  <c:v>0.17517776341305752</c:v>
                </c:pt>
                <c:pt idx="17">
                  <c:v>0.16576770945702984</c:v>
                </c:pt>
                <c:pt idx="18">
                  <c:v>0.1684931506849315</c:v>
                </c:pt>
                <c:pt idx="19">
                  <c:v>0.1638506876227898</c:v>
                </c:pt>
                <c:pt idx="20">
                  <c:v>0.16</c:v>
                </c:pt>
                <c:pt idx="21">
                  <c:v>0.1891089108910891</c:v>
                </c:pt>
                <c:pt idx="22">
                  <c:v>0.1993891797556719</c:v>
                </c:pt>
                <c:pt idx="23">
                  <c:v>0.20202952029520296</c:v>
                </c:pt>
                <c:pt idx="24">
                  <c:v>0.21371610845295055</c:v>
                </c:pt>
                <c:pt idx="25">
                  <c:v>0.21739130434782608</c:v>
                </c:pt>
                <c:pt idx="26">
                  <c:v>0.23745019920318725</c:v>
                </c:pt>
                <c:pt idx="27">
                  <c:v>0.2344256391789701</c:v>
                </c:pt>
                <c:pt idx="28">
                  <c:v>0.2416496250852079</c:v>
                </c:pt>
                <c:pt idx="29">
                  <c:v>0.23185840707964603</c:v>
                </c:pt>
                <c:pt idx="30">
                  <c:v>0.24938067712634188</c:v>
                </c:pt>
                <c:pt idx="31">
                  <c:v>0.25833021340321977</c:v>
                </c:pt>
                <c:pt idx="32">
                  <c:v>0.2581687612208258</c:v>
                </c:pt>
                <c:pt idx="33">
                  <c:v>0.2513144058885384</c:v>
                </c:pt>
                <c:pt idx="34">
                  <c:v>0.24232511323603423</c:v>
                </c:pt>
                <c:pt idx="35">
                  <c:v>0.23970671178793007</c:v>
                </c:pt>
                <c:pt idx="36">
                  <c:v>0.2225402504472272</c:v>
                </c:pt>
                <c:pt idx="37">
                  <c:v>0.21852646638054363</c:v>
                </c:pt>
                <c:pt idx="38">
                  <c:v>0.20874822190611664</c:v>
                </c:pt>
                <c:pt idx="39">
                  <c:v>0.19508958195089582</c:v>
                </c:pt>
                <c:pt idx="40">
                  <c:v>0.20054869684499313</c:v>
                </c:pt>
                <c:pt idx="41">
                  <c:v>0.19090041361756283</c:v>
                </c:pt>
                <c:pt idx="42">
                  <c:v>0.18859540854110096</c:v>
                </c:pt>
                <c:pt idx="43">
                  <c:v>0.18716577540106952</c:v>
                </c:pt>
                <c:pt idx="44">
                  <c:v>0.19545793000744602</c:v>
                </c:pt>
                <c:pt idx="45">
                  <c:v>0.2029252562478406</c:v>
                </c:pt>
                <c:pt idx="46">
                  <c:v>0.21307223447023732</c:v>
                </c:pt>
                <c:pt idx="47">
                  <c:v>0.2093479968578162</c:v>
                </c:pt>
                <c:pt idx="48">
                  <c:v>0.20285953022003528</c:v>
                </c:pt>
                <c:pt idx="49">
                  <c:v>0.2184250708936232</c:v>
                </c:pt>
                <c:pt idx="50">
                  <c:v>0.2165446071904128</c:v>
                </c:pt>
                <c:pt idx="51">
                  <c:v>0.20537699615928845</c:v>
                </c:pt>
                <c:pt idx="52">
                  <c:v>0.21331245105716523</c:v>
                </c:pt>
                <c:pt idx="53">
                  <c:v>0.20791683326669333</c:v>
                </c:pt>
                <c:pt idx="54">
                  <c:v>0.2007620862110026</c:v>
                </c:pt>
                <c:pt idx="55">
                  <c:v>0.20152635344621989</c:v>
                </c:pt>
                <c:pt idx="56">
                  <c:v>0.2007289768289508</c:v>
                </c:pt>
                <c:pt idx="57">
                  <c:v>0.19501302567919612</c:v>
                </c:pt>
                <c:pt idx="58">
                  <c:v>0.22518277822908206</c:v>
                </c:pt>
                <c:pt idx="59">
                  <c:v>0.2326747272191094</c:v>
                </c:pt>
                <c:pt idx="60">
                  <c:v>0.21842661622343384</c:v>
                </c:pt>
                <c:pt idx="61">
                  <c:v>0.21376221498371337</c:v>
                </c:pt>
                <c:pt idx="62">
                  <c:v>0.23259762308998302</c:v>
                </c:pt>
                <c:pt idx="63">
                  <c:v>0.24800416522040958</c:v>
                </c:pt>
                <c:pt idx="64">
                  <c:v>0.21366734205194327</c:v>
                </c:pt>
                <c:pt idx="65">
                  <c:v>0.20564599216979187</c:v>
                </c:pt>
                <c:pt idx="66">
                  <c:v>0.2205020920502092</c:v>
                </c:pt>
                <c:pt idx="67">
                  <c:v>0.19995825506157378</c:v>
                </c:pt>
                <c:pt idx="68">
                  <c:v>0.18031430934656742</c:v>
                </c:pt>
                <c:pt idx="69">
                  <c:v>0.17101035344519813</c:v>
                </c:pt>
                <c:pt idx="70">
                  <c:v>0.17040910489080283</c:v>
                </c:pt>
                <c:pt idx="71">
                  <c:v>0.17469470827679784</c:v>
                </c:pt>
                <c:pt idx="72">
                  <c:v>0.1852922286448298</c:v>
                </c:pt>
                <c:pt idx="73">
                  <c:v>0.19035202086049544</c:v>
                </c:pt>
                <c:pt idx="74">
                  <c:v>0.20358443013161578</c:v>
                </c:pt>
                <c:pt idx="75">
                  <c:v>0.20554123711340205</c:v>
                </c:pt>
                <c:pt idx="76">
                  <c:v>0.20664476086162833</c:v>
                </c:pt>
                <c:pt idx="77">
                  <c:v>0.19514047076689445</c:v>
                </c:pt>
                <c:pt idx="78">
                  <c:v>0.20194647201946472</c:v>
                </c:pt>
                <c:pt idx="79">
                  <c:v>0.17735470941883769</c:v>
                </c:pt>
                <c:pt idx="80">
                  <c:v>0.17702265372168285</c:v>
                </c:pt>
                <c:pt idx="81">
                  <c:v>0.18693946188340807</c:v>
                </c:pt>
                <c:pt idx="82">
                  <c:v>0.19316843345111898</c:v>
                </c:pt>
                <c:pt idx="83">
                  <c:v>0.19390459363957596</c:v>
                </c:pt>
                <c:pt idx="84">
                  <c:v>0.1879135421261579</c:v>
                </c:pt>
                <c:pt idx="85">
                  <c:v>0.2</c:v>
                </c:pt>
                <c:pt idx="86">
                  <c:v>0.21820337978061075</c:v>
                </c:pt>
                <c:pt idx="87">
                  <c:v>0.20762317942361327</c:v>
                </c:pt>
                <c:pt idx="88">
                  <c:v>0.20630252100840335</c:v>
                </c:pt>
                <c:pt idx="89">
                  <c:v>0.22679983354140656</c:v>
                </c:pt>
                <c:pt idx="90">
                  <c:v>0.1864202490960225</c:v>
                </c:pt>
                <c:pt idx="91">
                  <c:v>0.17729643000401124</c:v>
                </c:pt>
                <c:pt idx="92">
                  <c:v>0.18478260869565216</c:v>
                </c:pt>
                <c:pt idx="93">
                  <c:v>0.18654173764906304</c:v>
                </c:pt>
                <c:pt idx="94">
                  <c:v>0.17819572840293274</c:v>
                </c:pt>
                <c:pt idx="95">
                  <c:v>0.17806603773584906</c:v>
                </c:pt>
                <c:pt idx="96">
                  <c:v>0.1903627959097913</c:v>
                </c:pt>
                <c:pt idx="97">
                  <c:v>0.2037057220708447</c:v>
                </c:pt>
                <c:pt idx="98">
                  <c:v>0.20579450418160095</c:v>
                </c:pt>
                <c:pt idx="99">
                  <c:v>0.21083638311166653</c:v>
                </c:pt>
                <c:pt idx="100">
                  <c:v>0.21344523985847116</c:v>
                </c:pt>
                <c:pt idx="101">
                  <c:v>0.20886713689362316</c:v>
                </c:pt>
                <c:pt idx="102">
                  <c:v>0.197678916827853</c:v>
                </c:pt>
                <c:pt idx="103">
                  <c:v>0.196597685022799</c:v>
                </c:pt>
                <c:pt idx="104">
                  <c:v>0.196954568147778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7.8661</c:v>
                </c:pt>
                <c:pt idx="1">
                  <c:v>1301.7602</c:v>
                </c:pt>
                <c:pt idx="2">
                  <c:v>1288.887</c:v>
                </c:pt>
                <c:pt idx="3">
                  <c:v>1254.804</c:v>
                </c:pt>
                <c:pt idx="4">
                  <c:v>1322.7234</c:v>
                </c:pt>
                <c:pt idx="5">
                  <c:v>1269.8532</c:v>
                </c:pt>
                <c:pt idx="6">
                  <c:v>1123.9674</c:v>
                </c:pt>
                <c:pt idx="7">
                  <c:v>1137.6008</c:v>
                </c:pt>
                <c:pt idx="8">
                  <c:v>1209.0908</c:v>
                </c:pt>
                <c:pt idx="9">
                  <c:v>1160.2428</c:v>
                </c:pt>
                <c:pt idx="10">
                  <c:v>1187.2221</c:v>
                </c:pt>
                <c:pt idx="11">
                  <c:v>1030.7821</c:v>
                </c:pt>
                <c:pt idx="12">
                  <c:v>1096.5925</c:v>
                </c:pt>
                <c:pt idx="13">
                  <c:v>1171.7908</c:v>
                </c:pt>
                <c:pt idx="14">
                  <c:v>1118.9418</c:v>
                </c:pt>
                <c:pt idx="15">
                  <c:v>1174.2332</c:v>
                </c:pt>
                <c:pt idx="16">
                  <c:v>1192.6193</c:v>
                </c:pt>
                <c:pt idx="17">
                  <c:v>1166.1829</c:v>
                </c:pt>
                <c:pt idx="18">
                  <c:v>1065.1487</c:v>
                </c:pt>
                <c:pt idx="19">
                  <c:v>1259.6294</c:v>
                </c:pt>
                <c:pt idx="20">
                  <c:v>1346.9611</c:v>
                </c:pt>
                <c:pt idx="21">
                  <c:v>1222.9173</c:v>
                </c:pt>
                <c:pt idx="22">
                  <c:v>1262.4599</c:v>
                </c:pt>
                <c:pt idx="23">
                  <c:v>1276.192</c:v>
                </c:pt>
                <c:pt idx="24">
                  <c:v>1260.2232</c:v>
                </c:pt>
                <c:pt idx="25">
                  <c:v>1214.914</c:v>
                </c:pt>
                <c:pt idx="26">
                  <c:v>1204.6253</c:v>
                </c:pt>
                <c:pt idx="27">
                  <c:v>1211.0508</c:v>
                </c:pt>
                <c:pt idx="28">
                  <c:v>1227.1425</c:v>
                </c:pt>
                <c:pt idx="29">
                  <c:v>1242.9021</c:v>
                </c:pt>
                <c:pt idx="30">
                  <c:v>1221.9073</c:v>
                </c:pt>
                <c:pt idx="31">
                  <c:v>1245.0257</c:v>
                </c:pt>
                <c:pt idx="32">
                  <c:v>1246.7711</c:v>
                </c:pt>
                <c:pt idx="33">
                  <c:v>1216.7054</c:v>
                </c:pt>
                <c:pt idx="34">
                  <c:v>1228.7258</c:v>
                </c:pt>
                <c:pt idx="35">
                  <c:v>1264.4161</c:v>
                </c:pt>
                <c:pt idx="36">
                  <c:v>1369.9618</c:v>
                </c:pt>
                <c:pt idx="37">
                  <c:v>1372.5233</c:v>
                </c:pt>
                <c:pt idx="38">
                  <c:v>1361.1408</c:v>
                </c:pt>
                <c:pt idx="39">
                  <c:v>1316.8385</c:v>
                </c:pt>
                <c:pt idx="40">
                  <c:v>1319.3285</c:v>
                </c:pt>
                <c:pt idx="41">
                  <c:v>1372.7174</c:v>
                </c:pt>
                <c:pt idx="42">
                  <c:v>1361.4058</c:v>
                </c:pt>
                <c:pt idx="43">
                  <c:v>1390.0433</c:v>
                </c:pt>
                <c:pt idx="44">
                  <c:v>1284.0383</c:v>
                </c:pt>
                <c:pt idx="45">
                  <c:v>1219.3778</c:v>
                </c:pt>
                <c:pt idx="46">
                  <c:v>1189.103</c:v>
                </c:pt>
                <c:pt idx="47">
                  <c:v>1170.0029</c:v>
                </c:pt>
                <c:pt idx="48">
                  <c:v>1175.8711</c:v>
                </c:pt>
                <c:pt idx="49">
                  <c:v>1196.895</c:v>
                </c:pt>
                <c:pt idx="50">
                  <c:v>1150.6646</c:v>
                </c:pt>
                <c:pt idx="51">
                  <c:v>1115.0663</c:v>
                </c:pt>
              </c:numCache>
            </c:numRef>
          </c:xVal>
          <c:yVal>
            <c:numRef>
              <c:f>Sheet1!$B$109:$B$160</c:f>
              <c:numCache>
                <c:formatCode>General</c:formatCode>
                <c:ptCount val="52"/>
                <c:pt idx="0">
                  <c:v>0.1923158116951657</c:v>
                </c:pt>
                <c:pt idx="1">
                  <c:v>0.20268872802481902</c:v>
                </c:pt>
                <c:pt idx="2">
                  <c:v>0.2132860938883968</c:v>
                </c:pt>
                <c:pt idx="3">
                  <c:v>0.23139577934098482</c:v>
                </c:pt>
                <c:pt idx="4">
                  <c:v>0.2016245487364621</c:v>
                </c:pt>
                <c:pt idx="5">
                  <c:v>0.21380171184022825</c:v>
                </c:pt>
                <c:pt idx="6">
                  <c:v>0.24233596892772924</c:v>
                </c:pt>
                <c:pt idx="7">
                  <c:v>0.2378266591464561</c:v>
                </c:pt>
                <c:pt idx="8">
                  <c:v>0.22140112326337572</c:v>
                </c:pt>
                <c:pt idx="9">
                  <c:v>0.23265196342119418</c:v>
                </c:pt>
                <c:pt idx="10">
                  <c:v>0.22355081881985964</c:v>
                </c:pt>
                <c:pt idx="11">
                  <c:v>0.23149693934335003</c:v>
                </c:pt>
                <c:pt idx="12">
                  <c:v>0.2287813529262731</c:v>
                </c:pt>
                <c:pt idx="13">
                  <c:v>0.2328070644902328</c:v>
                </c:pt>
                <c:pt idx="14">
                  <c:v>0.24238148984198646</c:v>
                </c:pt>
                <c:pt idx="15">
                  <c:v>0.22684194435952307</c:v>
                </c:pt>
                <c:pt idx="16">
                  <c:v>0.23249200142196944</c:v>
                </c:pt>
                <c:pt idx="17">
                  <c:v>0.23990250696378831</c:v>
                </c:pt>
                <c:pt idx="18">
                  <c:v>0.24926578560939794</c:v>
                </c:pt>
                <c:pt idx="19">
                  <c:v>0.22308636921817437</c:v>
                </c:pt>
                <c:pt idx="20">
                  <c:v>0.20043290043290043</c:v>
                </c:pt>
                <c:pt idx="21">
                  <c:v>0.22063854047890535</c:v>
                </c:pt>
                <c:pt idx="22">
                  <c:v>0.21518987341772153</c:v>
                </c:pt>
                <c:pt idx="23">
                  <c:v>0.21428571428571427</c:v>
                </c:pt>
                <c:pt idx="24">
                  <c:v>0.2177570093457944</c:v>
                </c:pt>
                <c:pt idx="25">
                  <c:v>0.20618034447821681</c:v>
                </c:pt>
                <c:pt idx="26">
                  <c:v>0.21006054960409873</c:v>
                </c:pt>
                <c:pt idx="27">
                  <c:v>0.21926671459381739</c:v>
                </c:pt>
                <c:pt idx="28">
                  <c:v>0.2174846625766871</c:v>
                </c:pt>
                <c:pt idx="29">
                  <c:v>0.20666402221340738</c:v>
                </c:pt>
                <c:pt idx="30">
                  <c:v>0.20531113753468094</c:v>
                </c:pt>
                <c:pt idx="31">
                  <c:v>0.19078201737816397</c:v>
                </c:pt>
                <c:pt idx="32">
                  <c:v>0.19462875197472354</c:v>
                </c:pt>
                <c:pt idx="33">
                  <c:v>0.2076271186440678</c:v>
                </c:pt>
                <c:pt idx="34">
                  <c:v>0.21478696741854636</c:v>
                </c:pt>
                <c:pt idx="35">
                  <c:v>0.21279761904761904</c:v>
                </c:pt>
                <c:pt idx="36">
                  <c:v>0.19208211143695014</c:v>
                </c:pt>
                <c:pt idx="37">
                  <c:v>0.19832893579595426</c:v>
                </c:pt>
                <c:pt idx="38">
                  <c:v>0.20606060606060606</c:v>
                </c:pt>
                <c:pt idx="39">
                  <c:v>0.20914363698396451</c:v>
                </c:pt>
                <c:pt idx="40">
                  <c:v>0.19425735554767812</c:v>
                </c:pt>
                <c:pt idx="41">
                  <c:v>0.1972630173564753</c:v>
                </c:pt>
                <c:pt idx="42">
                  <c:v>0.20808323329331732</c:v>
                </c:pt>
                <c:pt idx="43">
                  <c:v>0.19221476510067115</c:v>
                </c:pt>
                <c:pt idx="44">
                  <c:v>0.1855727901326855</c:v>
                </c:pt>
                <c:pt idx="45">
                  <c:v>0.20180520005388658</c:v>
                </c:pt>
                <c:pt idx="46">
                  <c:v>0.22570321711302005</c:v>
                </c:pt>
                <c:pt idx="47">
                  <c:v>0.23031006466589288</c:v>
                </c:pt>
                <c:pt idx="48">
                  <c:v>0.21723224422858584</c:v>
                </c:pt>
                <c:pt idx="49">
                  <c:v>0.22429459588713535</c:v>
                </c:pt>
                <c:pt idx="50">
                  <c:v>0.22335477486392874</c:v>
                </c:pt>
                <c:pt idx="51">
                  <c:v>0.215199258572752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3.5947217503747</c:v>
                </c:pt>
              </c:numCache>
            </c:numRef>
          </c:xVal>
          <c:yVal>
            <c:numRef>
              <c:f>Sheet1!$B$163:$B$164</c:f>
              <c:numCache>
                <c:formatCode>General</c:formatCode>
                <c:ptCount val="2"/>
                <c:pt idx="0">
                  <c:v>0.25101247284020256</c:v>
                </c:pt>
                <c:pt idx="1">
                  <c:v>0.251012472840202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3.5947217503747</c:v>
                </c:pt>
                <c:pt idx="1">
                  <c:v>983.5947217503747</c:v>
                </c:pt>
              </c:numCache>
            </c:numRef>
          </c:xVal>
          <c:yVal>
            <c:numRef>
              <c:f>Sheet1!$B$167:$B$168</c:f>
              <c:numCache>
                <c:formatCode>General</c:formatCode>
                <c:ptCount val="2"/>
                <c:pt idx="0">
                  <c:v>0.25101247284020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3.221919373998</c:v>
                </c:pt>
              </c:numCache>
            </c:numRef>
          </c:xVal>
          <c:yVal>
            <c:numRef>
              <c:f>Sheet1!$B$171:$B$172</c:f>
              <c:numCache>
                <c:formatCode>General</c:formatCode>
                <c:ptCount val="2"/>
                <c:pt idx="0">
                  <c:v>0.22956382133288886</c:v>
                </c:pt>
                <c:pt idx="1">
                  <c:v>0.2295638213328888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3.221919373998</c:v>
                </c:pt>
                <c:pt idx="1">
                  <c:v>1133.221919373998</c:v>
                </c:pt>
              </c:numCache>
            </c:numRef>
          </c:xVal>
          <c:yVal>
            <c:numRef>
              <c:f>Sheet1!$B$175:$B$176</c:f>
              <c:numCache>
                <c:formatCode>General</c:formatCode>
                <c:ptCount val="2"/>
                <c:pt idx="0">
                  <c:v>0.229563821332888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2.6871649991792</c:v>
                </c:pt>
              </c:numCache>
            </c:numRef>
          </c:xVal>
          <c:yVal>
            <c:numRef>
              <c:f>Sheet1!$B$179:$B$180</c:f>
              <c:numCache>
                <c:formatCode>General</c:formatCode>
                <c:ptCount val="2"/>
                <c:pt idx="0">
                  <c:v>0.2095718579846149</c:v>
                </c:pt>
                <c:pt idx="1">
                  <c:v>0.209571857984614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2.6871649991792</c:v>
                </c:pt>
                <c:pt idx="1">
                  <c:v>1272.6871649991792</c:v>
                </c:pt>
              </c:numCache>
            </c:numRef>
          </c:xVal>
          <c:yVal>
            <c:numRef>
              <c:f>Sheet1!$B$183:$B$184</c:f>
              <c:numCache>
                <c:formatCode>General</c:formatCode>
                <c:ptCount val="2"/>
                <c:pt idx="0">
                  <c:v>0.20957185798461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7.8661</c:v>
                </c:pt>
                <c:pt idx="1">
                  <c:v>1301.7602</c:v>
                </c:pt>
                <c:pt idx="2">
                  <c:v>1288.887</c:v>
                </c:pt>
                <c:pt idx="3">
                  <c:v>1254.804</c:v>
                </c:pt>
                <c:pt idx="4">
                  <c:v>1322.7234</c:v>
                </c:pt>
                <c:pt idx="5">
                  <c:v>1269.8532</c:v>
                </c:pt>
                <c:pt idx="6">
                  <c:v>1123.9674</c:v>
                </c:pt>
                <c:pt idx="7">
                  <c:v>1137.6008</c:v>
                </c:pt>
                <c:pt idx="8">
                  <c:v>1209.0908</c:v>
                </c:pt>
                <c:pt idx="9">
                  <c:v>1160.2428</c:v>
                </c:pt>
                <c:pt idx="10">
                  <c:v>1187.2221</c:v>
                </c:pt>
                <c:pt idx="11">
                  <c:v>1030.7821</c:v>
                </c:pt>
                <c:pt idx="12">
                  <c:v>1096.5925</c:v>
                </c:pt>
                <c:pt idx="13">
                  <c:v>1171.7908</c:v>
                </c:pt>
                <c:pt idx="14">
                  <c:v>1118.9418</c:v>
                </c:pt>
                <c:pt idx="15">
                  <c:v>1174.2332</c:v>
                </c:pt>
                <c:pt idx="16">
                  <c:v>1192.6193</c:v>
                </c:pt>
                <c:pt idx="17">
                  <c:v>1166.1829</c:v>
                </c:pt>
                <c:pt idx="18">
                  <c:v>1065.1487</c:v>
                </c:pt>
                <c:pt idx="19">
                  <c:v>1259.6294</c:v>
                </c:pt>
                <c:pt idx="20">
                  <c:v>1346.9611</c:v>
                </c:pt>
                <c:pt idx="21">
                  <c:v>1222.9173</c:v>
                </c:pt>
                <c:pt idx="22">
                  <c:v>1262.4599</c:v>
                </c:pt>
                <c:pt idx="23">
                  <c:v>1276.192</c:v>
                </c:pt>
                <c:pt idx="24">
                  <c:v>1260.2232</c:v>
                </c:pt>
                <c:pt idx="25">
                  <c:v>1214.914</c:v>
                </c:pt>
                <c:pt idx="26">
                  <c:v>1204.6253</c:v>
                </c:pt>
                <c:pt idx="27">
                  <c:v>1211.0508</c:v>
                </c:pt>
                <c:pt idx="28">
                  <c:v>1227.1425</c:v>
                </c:pt>
                <c:pt idx="29">
                  <c:v>1242.9021</c:v>
                </c:pt>
                <c:pt idx="30">
                  <c:v>1221.9073</c:v>
                </c:pt>
                <c:pt idx="31">
                  <c:v>1245.0257</c:v>
                </c:pt>
                <c:pt idx="32">
                  <c:v>1246.7711</c:v>
                </c:pt>
                <c:pt idx="33">
                  <c:v>1216.7054</c:v>
                </c:pt>
                <c:pt idx="34">
                  <c:v>1228.7258</c:v>
                </c:pt>
                <c:pt idx="35">
                  <c:v>1264.4161</c:v>
                </c:pt>
                <c:pt idx="36">
                  <c:v>1369.9618</c:v>
                </c:pt>
                <c:pt idx="37">
                  <c:v>1372.5233</c:v>
                </c:pt>
                <c:pt idx="38">
                  <c:v>1361.1408</c:v>
                </c:pt>
                <c:pt idx="39">
                  <c:v>1316.8385</c:v>
                </c:pt>
                <c:pt idx="40">
                  <c:v>1319.3285</c:v>
                </c:pt>
                <c:pt idx="41">
                  <c:v>1372.7174</c:v>
                </c:pt>
                <c:pt idx="42">
                  <c:v>1361.4058</c:v>
                </c:pt>
                <c:pt idx="43">
                  <c:v>1390.0433</c:v>
                </c:pt>
                <c:pt idx="44">
                  <c:v>1284.0383</c:v>
                </c:pt>
                <c:pt idx="45">
                  <c:v>1219.3778</c:v>
                </c:pt>
                <c:pt idx="46">
                  <c:v>1189.103</c:v>
                </c:pt>
                <c:pt idx="47">
                  <c:v>1170.0029</c:v>
                </c:pt>
                <c:pt idx="48">
                  <c:v>1175.8711</c:v>
                </c:pt>
                <c:pt idx="49">
                  <c:v>1196.895</c:v>
                </c:pt>
                <c:pt idx="50">
                  <c:v>1150.6646</c:v>
                </c:pt>
                <c:pt idx="51">
                  <c:v>1115.0663</c:v>
                </c:pt>
                <c:pt idx="52">
                  <c:v>1133.221919373998</c:v>
                </c:pt>
                <c:pt idx="53">
                  <c:v>983.5947217503747</c:v>
                </c:pt>
                <c:pt idx="54">
                  <c:v>1272.6871649991792</c:v>
                </c:pt>
              </c:numCache>
            </c:numRef>
          </c:xVal>
          <c:yVal>
            <c:numRef>
              <c:f>Sheet1!$B$187:$B$241</c:f>
              <c:numCache>
                <c:formatCode>General</c:formatCode>
                <c:ptCount val="55"/>
                <c:pt idx="0">
                  <c:v>0.2030955806253229</c:v>
                </c:pt>
                <c:pt idx="1">
                  <c:v>0.20540431755148386</c:v>
                </c:pt>
                <c:pt idx="2">
                  <c:v>0.20724965573176907</c:v>
                </c:pt>
                <c:pt idx="3">
                  <c:v>0.21213536101084965</c:v>
                </c:pt>
                <c:pt idx="4">
                  <c:v>0.202399299891465</c:v>
                </c:pt>
                <c:pt idx="5">
                  <c:v>0.2099780991534445</c:v>
                </c:pt>
                <c:pt idx="6">
                  <c:v>0.2308904314951661</c:v>
                </c:pt>
                <c:pt idx="7">
                  <c:v>0.22893612071407826</c:v>
                </c:pt>
                <c:pt idx="8">
                  <c:v>0.21868822380355182</c:v>
                </c:pt>
                <c:pt idx="9">
                  <c:v>0.2256904516436049</c:v>
                </c:pt>
                <c:pt idx="10">
                  <c:v>0.22182304242387957</c:v>
                </c:pt>
                <c:pt idx="11">
                  <c:v>0.2442482906079998</c:v>
                </c:pt>
                <c:pt idx="12">
                  <c:v>0.23481454889810316</c:v>
                </c:pt>
                <c:pt idx="13">
                  <c:v>0.22403507727624222</c:v>
                </c:pt>
                <c:pt idx="14">
                  <c:v>0.23161083757592624</c:v>
                </c:pt>
                <c:pt idx="15">
                  <c:v>0.22368496588423956</c:v>
                </c:pt>
                <c:pt idx="16">
                  <c:v>0.22104936849458184</c:v>
                </c:pt>
                <c:pt idx="17">
                  <c:v>0.22483895447703311</c:v>
                </c:pt>
                <c:pt idx="18">
                  <c:v>0.23932193204085336</c:v>
                </c:pt>
                <c:pt idx="19">
                  <c:v>0.2114436530551628</c:v>
                </c:pt>
                <c:pt idx="20">
                  <c:v>0.1989248915693463</c:v>
                </c:pt>
                <c:pt idx="21">
                  <c:v>0.21670623266306513</c:v>
                </c:pt>
                <c:pt idx="22">
                  <c:v>0.2110379085845341</c:v>
                </c:pt>
                <c:pt idx="23">
                  <c:v>0.20906944942709893</c:v>
                </c:pt>
                <c:pt idx="24">
                  <c:v>0.21135853344143404</c:v>
                </c:pt>
                <c:pt idx="25">
                  <c:v>0.21785348393378853</c:v>
                </c:pt>
                <c:pt idx="26">
                  <c:v>0.21932834107385474</c:v>
                </c:pt>
                <c:pt idx="27">
                  <c:v>0.21840726313849892</c:v>
                </c:pt>
                <c:pt idx="28">
                  <c:v>0.2161005617436868</c:v>
                </c:pt>
                <c:pt idx="29">
                  <c:v>0.2138414659799278</c:v>
                </c:pt>
                <c:pt idx="30">
                  <c:v>0.2168510134139342</c:v>
                </c:pt>
                <c:pt idx="31">
                  <c:v>0.21353705370017967</c:v>
                </c:pt>
                <c:pt idx="32">
                  <c:v>0.2132868553610045</c:v>
                </c:pt>
                <c:pt idx="33">
                  <c:v>0.2175966916198213</c:v>
                </c:pt>
                <c:pt idx="34">
                  <c:v>0.21587359999828976</c:v>
                </c:pt>
                <c:pt idx="35">
                  <c:v>0.21075749263913796</c:v>
                </c:pt>
                <c:pt idx="36">
                  <c:v>0.1956278038302227</c:v>
                </c:pt>
                <c:pt idx="37">
                  <c:v>0.19526061977739975</c:v>
                </c:pt>
                <c:pt idx="38">
                  <c:v>0.19689227017023886</c:v>
                </c:pt>
                <c:pt idx="39">
                  <c:v>0.20324288428828632</c:v>
                </c:pt>
                <c:pt idx="40">
                  <c:v>0.20288594956584668</c:v>
                </c:pt>
                <c:pt idx="41">
                  <c:v>0.19523279607072283</c:v>
                </c:pt>
                <c:pt idx="42">
                  <c:v>0.1968542831415455</c:v>
                </c:pt>
                <c:pt idx="43">
                  <c:v>0.19274917546529424</c:v>
                </c:pt>
                <c:pt idx="44">
                  <c:v>0.2079447036790354</c:v>
                </c:pt>
                <c:pt idx="45">
                  <c:v>0.21721361035385836</c:v>
                </c:pt>
                <c:pt idx="46">
                  <c:v>0.22155342052852342</c:v>
                </c:pt>
                <c:pt idx="47">
                  <c:v>0.22429136787473614</c:v>
                </c:pt>
                <c:pt idx="48">
                  <c:v>0.22345017737745887</c:v>
                </c:pt>
                <c:pt idx="49">
                  <c:v>0.22043645853766006</c:v>
                </c:pt>
                <c:pt idx="50">
                  <c:v>0.22706346054258944</c:v>
                </c:pt>
                <c:pt idx="51">
                  <c:v>0.2321663799521571</c:v>
                </c:pt>
                <c:pt idx="52">
                  <c:v>0.22956382133288886</c:v>
                </c:pt>
                <c:pt idx="53">
                  <c:v>0.25101247284020256</c:v>
                </c:pt>
                <c:pt idx="54">
                  <c:v>0.20957185798461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0.0"/>
          <c:min val="63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63118346900434"/>
          <c:min val="0.1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2490245971162</c:v>
                </c:pt>
                <c:pt idx="1">
                  <c:v>0.4406697340594752</c:v>
                </c:pt>
                <c:pt idx="2">
                  <c:v>0.47539216589284194</c:v>
                </c:pt>
                <c:pt idx="3">
                  <c:v>0.4824494855773736</c:v>
                </c:pt>
                <c:pt idx="4">
                  <c:v>0.5179267597775872</c:v>
                </c:pt>
                <c:pt idx="5">
                  <c:v>0.4827970725096794</c:v>
                </c:pt>
                <c:pt idx="6">
                  <c:v>0.46279957811470007</c:v>
                </c:pt>
                <c:pt idx="7">
                  <c:v>0.4218919182340886</c:v>
                </c:pt>
                <c:pt idx="8">
                  <c:v>0.4281152710973454</c:v>
                </c:pt>
                <c:pt idx="9">
                  <c:v>0.42527146411815026</c:v>
                </c:pt>
                <c:pt idx="10">
                  <c:v>0.45199387381666517</c:v>
                </c:pt>
                <c:pt idx="11">
                  <c:v>0.4709447119207443</c:v>
                </c:pt>
                <c:pt idx="12">
                  <c:v>0.4461700222904343</c:v>
                </c:pt>
                <c:pt idx="13">
                  <c:v>0.4641212955542044</c:v>
                </c:pt>
                <c:pt idx="14">
                  <c:v>0.38579128616906366</c:v>
                </c:pt>
                <c:pt idx="15">
                  <c:v>0.3686415900943093</c:v>
                </c:pt>
                <c:pt idx="16">
                  <c:v>0.3933732313129906</c:v>
                </c:pt>
                <c:pt idx="17">
                  <c:v>0.4423142959566014</c:v>
                </c:pt>
                <c:pt idx="18">
                  <c:v>0.37569532951030865</c:v>
                </c:pt>
                <c:pt idx="19">
                  <c:v>0.42323754602964886</c:v>
                </c:pt>
                <c:pt idx="20">
                  <c:v>0.4518776306779537</c:v>
                </c:pt>
                <c:pt idx="21">
                  <c:v>0.43549604257411273</c:v>
                </c:pt>
                <c:pt idx="22">
                  <c:v>0.40354905743624364</c:v>
                </c:pt>
                <c:pt idx="23">
                  <c:v>0.3910719993793714</c:v>
                </c:pt>
                <c:pt idx="24">
                  <c:v>0.36646340725806453</c:v>
                </c:pt>
                <c:pt idx="25">
                  <c:v>0.36156337730518123</c:v>
                </c:pt>
                <c:pt idx="26">
                  <c:v>0.338672135337843</c:v>
                </c:pt>
                <c:pt idx="27">
                  <c:v>0.3018552303113242</c:v>
                </c:pt>
                <c:pt idx="28">
                  <c:v>0.365085350539877</c:v>
                </c:pt>
                <c:pt idx="29">
                  <c:v>0.34539459097313013</c:v>
                </c:pt>
                <c:pt idx="30">
                  <c:v>0.2905434670487106</c:v>
                </c:pt>
                <c:pt idx="31">
                  <c:v>0.36085761058878874</c:v>
                </c:pt>
                <c:pt idx="32">
                  <c:v>0.36906620654396727</c:v>
                </c:pt>
                <c:pt idx="33">
                  <c:v>0.365278191014579</c:v>
                </c:pt>
                <c:pt idx="34">
                  <c:v>0.36669234761975383</c:v>
                </c:pt>
                <c:pt idx="35">
                  <c:v>0.3328475521946552</c:v>
                </c:pt>
                <c:pt idx="36">
                  <c:v>0.3022121925908844</c:v>
                </c:pt>
                <c:pt idx="37">
                  <c:v>0.4238083965377011</c:v>
                </c:pt>
                <c:pt idx="38">
                  <c:v>0.430900668456744</c:v>
                </c:pt>
                <c:pt idx="39">
                  <c:v>0.42585519098151947</c:v>
                </c:pt>
                <c:pt idx="40">
                  <c:v>0.4431449645721731</c:v>
                </c:pt>
                <c:pt idx="41">
                  <c:v>0.47976092688064537</c:v>
                </c:pt>
                <c:pt idx="42">
                  <c:v>0.46247132672843644</c:v>
                </c:pt>
                <c:pt idx="43">
                  <c:v>0.5063240456678022</c:v>
                </c:pt>
                <c:pt idx="44">
                  <c:v>0.4671887715869405</c:v>
                </c:pt>
                <c:pt idx="45">
                  <c:v>0.512380831858834</c:v>
                </c:pt>
                <c:pt idx="46">
                  <c:v>0.5382606231440881</c:v>
                </c:pt>
                <c:pt idx="47">
                  <c:v>0.5379326467982805</c:v>
                </c:pt>
                <c:pt idx="48">
                  <c:v>0.5248892761137206</c:v>
                </c:pt>
                <c:pt idx="49">
                  <c:v>0.40763685696116525</c:v>
                </c:pt>
                <c:pt idx="50">
                  <c:v>0.2987680975628044</c:v>
                </c:pt>
                <c:pt idx="51">
                  <c:v>0.29441082859830514</c:v>
                </c:pt>
                <c:pt idx="52">
                  <c:v>0.27256511731417304</c:v>
                </c:pt>
                <c:pt idx="53">
                  <c:v>0.2493335405240261</c:v>
                </c:pt>
                <c:pt idx="54">
                  <c:v>0.2201372938088922</c:v>
                </c:pt>
                <c:pt idx="55">
                  <c:v>0.2623699304200849</c:v>
                </c:pt>
                <c:pt idx="56">
                  <c:v>0.3296101670125407</c:v>
                </c:pt>
                <c:pt idx="57">
                  <c:v>0.5637758856382372</c:v>
                </c:pt>
                <c:pt idx="58">
                  <c:v>0.4148400252416209</c:v>
                </c:pt>
                <c:pt idx="59">
                  <c:v>0.3639757329215005</c:v>
                </c:pt>
                <c:pt idx="60">
                  <c:v>0.354719525220483</c:v>
                </c:pt>
                <c:pt idx="61">
                  <c:v>0.31246937816665077</c:v>
                </c:pt>
                <c:pt idx="62">
                  <c:v>0.4673820613576856</c:v>
                </c:pt>
                <c:pt idx="63">
                  <c:v>0.4257833086672095</c:v>
                </c:pt>
                <c:pt idx="64">
                  <c:v>0.43305921870076214</c:v>
                </c:pt>
                <c:pt idx="65">
                  <c:v>0.375751728178369</c:v>
                </c:pt>
                <c:pt idx="66">
                  <c:v>0.41921535794827597</c:v>
                </c:pt>
                <c:pt idx="67">
                  <c:v>0.5263244490889644</c:v>
                </c:pt>
                <c:pt idx="68">
                  <c:v>0.48964622586784134</c:v>
                </c:pt>
                <c:pt idx="69">
                  <c:v>0.5132131936413274</c:v>
                </c:pt>
                <c:pt idx="70">
                  <c:v>0.4766597533632287</c:v>
                </c:pt>
                <c:pt idx="71">
                  <c:v>0.4489640762353223</c:v>
                </c:pt>
                <c:pt idx="72">
                  <c:v>0.4271514117112559</c:v>
                </c:pt>
                <c:pt idx="73">
                  <c:v>0.43076836621979897</c:v>
                </c:pt>
                <c:pt idx="74">
                  <c:v>0.4029073631296019</c:v>
                </c:pt>
                <c:pt idx="75">
                  <c:v>0.38214680155803965</c:v>
                </c:pt>
                <c:pt idx="76">
                  <c:v>0.3892015605493134</c:v>
                </c:pt>
                <c:pt idx="77">
                  <c:v>0.4008747434522898</c:v>
                </c:pt>
                <c:pt idx="78">
                  <c:v>0.4293881351254458</c:v>
                </c:pt>
                <c:pt idx="79">
                  <c:v>0.41033248879069695</c:v>
                </c:pt>
                <c:pt idx="80">
                  <c:v>0.3871945112687034</c:v>
                </c:pt>
                <c:pt idx="81">
                  <c:v>0.4438967857515766</c:v>
                </c:pt>
                <c:pt idx="82">
                  <c:v>0.4654134249102226</c:v>
                </c:pt>
                <c:pt idx="83">
                  <c:v>0.38035284622552606</c:v>
                </c:pt>
                <c:pt idx="84">
                  <c:v>0.35320847524850224</c:v>
                </c:pt>
                <c:pt idx="85">
                  <c:v>0.346060978538893</c:v>
                </c:pt>
                <c:pt idx="86">
                  <c:v>0.3356239474951046</c:v>
                </c:pt>
                <c:pt idx="87">
                  <c:v>0.31374840534476905</c:v>
                </c:pt>
                <c:pt idx="88">
                  <c:v>0.28558726707156307</c:v>
                </c:pt>
                <c:pt idx="89">
                  <c:v>0.3000335244322467</c:v>
                </c:pt>
                <c:pt idx="90">
                  <c:v>0.3351626791674826</c:v>
                </c:pt>
                <c:pt idx="91">
                  <c:v>0.34509791652382527</c:v>
                </c:pt>
                <c:pt idx="92">
                  <c:v>0.31917489095154783</c:v>
                </c:pt>
                <c:pt idx="93">
                  <c:v>0.3491865313375591</c:v>
                </c:pt>
                <c:pt idx="94">
                  <c:v>0.3625292394178319</c:v>
                </c:pt>
                <c:pt idx="95">
                  <c:v>0.47631517210706126</c:v>
                </c:pt>
                <c:pt idx="96">
                  <c:v>0.412704442398976</c:v>
                </c:pt>
                <c:pt idx="97">
                  <c:v>0.38620162914665673</c:v>
                </c:pt>
                <c:pt idx="98">
                  <c:v>0.4314488861768972</c:v>
                </c:pt>
                <c:pt idx="99">
                  <c:v>0.4606400432604028</c:v>
                </c:pt>
                <c:pt idx="100">
                  <c:v>0.42947204256802085</c:v>
                </c:pt>
                <c:pt idx="101">
                  <c:v>0.4073351220353563</c:v>
                </c:pt>
                <c:pt idx="102">
                  <c:v>0.415142887966995</c:v>
                </c:pt>
                <c:pt idx="103">
                  <c:v>0.3925289260645054</c:v>
                </c:pt>
                <c:pt idx="104">
                  <c:v>0.373235898833205</c:v>
                </c:pt>
              </c:numCache>
            </c:numRef>
          </c:xVal>
          <c:yVal>
            <c:numRef>
              <c:f>Sheet1!$B$2:$B$106</c:f>
              <c:numCache>
                <c:formatCode>General</c:formatCode>
                <c:ptCount val="105"/>
                <c:pt idx="0">
                  <c:v>0.23612879752592322</c:v>
                </c:pt>
                <c:pt idx="1">
                  <c:v>0.24167987321711568</c:v>
                </c:pt>
                <c:pt idx="2">
                  <c:v>0.2422490803993694</c:v>
                </c:pt>
                <c:pt idx="3">
                  <c:v>0.23685666851134476</c:v>
                </c:pt>
                <c:pt idx="4">
                  <c:v>0.22893446277307178</c:v>
                </c:pt>
                <c:pt idx="5">
                  <c:v>0.2405354528341351</c:v>
                </c:pt>
                <c:pt idx="6">
                  <c:v>0.2739507299270073</c:v>
                </c:pt>
                <c:pt idx="7">
                  <c:v>0.2805259862241703</c:v>
                </c:pt>
                <c:pt idx="8">
                  <c:v>0.27825120414968507</c:v>
                </c:pt>
                <c:pt idx="9">
                  <c:v>0.2602111060119321</c:v>
                </c:pt>
                <c:pt idx="10">
                  <c:v>0.2573701450631727</c:v>
                </c:pt>
                <c:pt idx="11">
                  <c:v>0.21774604793472718</c:v>
                </c:pt>
                <c:pt idx="12">
                  <c:v>0.20642893018583627</c:v>
                </c:pt>
                <c:pt idx="13">
                  <c:v>0.18620849779428836</c:v>
                </c:pt>
                <c:pt idx="14">
                  <c:v>0.1787734781624802</c:v>
                </c:pt>
                <c:pt idx="15">
                  <c:v>0.18282773564463706</c:v>
                </c:pt>
                <c:pt idx="16">
                  <c:v>0.17517776341305752</c:v>
                </c:pt>
                <c:pt idx="17">
                  <c:v>0.16576770945702984</c:v>
                </c:pt>
                <c:pt idx="18">
                  <c:v>0.1684931506849315</c:v>
                </c:pt>
                <c:pt idx="19">
                  <c:v>0.1638506876227898</c:v>
                </c:pt>
                <c:pt idx="20">
                  <c:v>0.16</c:v>
                </c:pt>
                <c:pt idx="21">
                  <c:v>0.1891089108910891</c:v>
                </c:pt>
                <c:pt idx="22">
                  <c:v>0.1993891797556719</c:v>
                </c:pt>
                <c:pt idx="23">
                  <c:v>0.20202952029520296</c:v>
                </c:pt>
                <c:pt idx="24">
                  <c:v>0.21371610845295055</c:v>
                </c:pt>
                <c:pt idx="25">
                  <c:v>0.21739130434782608</c:v>
                </c:pt>
                <c:pt idx="26">
                  <c:v>0.23745019920318725</c:v>
                </c:pt>
                <c:pt idx="27">
                  <c:v>0.2344256391789701</c:v>
                </c:pt>
                <c:pt idx="28">
                  <c:v>0.2416496250852079</c:v>
                </c:pt>
                <c:pt idx="29">
                  <c:v>0.23185840707964603</c:v>
                </c:pt>
                <c:pt idx="30">
                  <c:v>0.24938067712634188</c:v>
                </c:pt>
                <c:pt idx="31">
                  <c:v>0.25833021340321977</c:v>
                </c:pt>
                <c:pt idx="32">
                  <c:v>0.2581687612208258</c:v>
                </c:pt>
                <c:pt idx="33">
                  <c:v>0.2513144058885384</c:v>
                </c:pt>
                <c:pt idx="34">
                  <c:v>0.24232511323603423</c:v>
                </c:pt>
                <c:pt idx="35">
                  <c:v>0.23970671178793007</c:v>
                </c:pt>
                <c:pt idx="36">
                  <c:v>0.2225402504472272</c:v>
                </c:pt>
                <c:pt idx="37">
                  <c:v>0.21852646638054363</c:v>
                </c:pt>
                <c:pt idx="38">
                  <c:v>0.20874822190611664</c:v>
                </c:pt>
                <c:pt idx="39">
                  <c:v>0.19508958195089582</c:v>
                </c:pt>
                <c:pt idx="40">
                  <c:v>0.20054869684499313</c:v>
                </c:pt>
                <c:pt idx="41">
                  <c:v>0.19090041361756283</c:v>
                </c:pt>
                <c:pt idx="42">
                  <c:v>0.18859540854110096</c:v>
                </c:pt>
                <c:pt idx="43">
                  <c:v>0.18716577540106952</c:v>
                </c:pt>
                <c:pt idx="44">
                  <c:v>0.19545793000744602</c:v>
                </c:pt>
                <c:pt idx="45">
                  <c:v>0.2029252562478406</c:v>
                </c:pt>
                <c:pt idx="46">
                  <c:v>0.21307223447023732</c:v>
                </c:pt>
                <c:pt idx="47">
                  <c:v>0.2093479968578162</c:v>
                </c:pt>
                <c:pt idx="48">
                  <c:v>0.20285953022003528</c:v>
                </c:pt>
                <c:pt idx="49">
                  <c:v>0.2184250708936232</c:v>
                </c:pt>
                <c:pt idx="50">
                  <c:v>0.2165446071904128</c:v>
                </c:pt>
                <c:pt idx="51">
                  <c:v>0.20537699615928845</c:v>
                </c:pt>
                <c:pt idx="52">
                  <c:v>0.21331245105716523</c:v>
                </c:pt>
                <c:pt idx="53">
                  <c:v>0.20791683326669333</c:v>
                </c:pt>
                <c:pt idx="54">
                  <c:v>0.2007620862110026</c:v>
                </c:pt>
                <c:pt idx="55">
                  <c:v>0.20152635344621989</c:v>
                </c:pt>
                <c:pt idx="56">
                  <c:v>0.2007289768289508</c:v>
                </c:pt>
                <c:pt idx="57">
                  <c:v>0.19501302567919612</c:v>
                </c:pt>
                <c:pt idx="58">
                  <c:v>0.22518277822908206</c:v>
                </c:pt>
                <c:pt idx="59">
                  <c:v>0.2326747272191094</c:v>
                </c:pt>
                <c:pt idx="60">
                  <c:v>0.21842661622343384</c:v>
                </c:pt>
                <c:pt idx="61">
                  <c:v>0.21376221498371337</c:v>
                </c:pt>
                <c:pt idx="62">
                  <c:v>0.23259762308998302</c:v>
                </c:pt>
                <c:pt idx="63">
                  <c:v>0.24800416522040958</c:v>
                </c:pt>
                <c:pt idx="64">
                  <c:v>0.21366734205194327</c:v>
                </c:pt>
                <c:pt idx="65">
                  <c:v>0.20564599216979187</c:v>
                </c:pt>
                <c:pt idx="66">
                  <c:v>0.2205020920502092</c:v>
                </c:pt>
                <c:pt idx="67">
                  <c:v>0.19995825506157378</c:v>
                </c:pt>
                <c:pt idx="68">
                  <c:v>0.18031430934656742</c:v>
                </c:pt>
                <c:pt idx="69">
                  <c:v>0.17101035344519813</c:v>
                </c:pt>
                <c:pt idx="70">
                  <c:v>0.17040910489080283</c:v>
                </c:pt>
                <c:pt idx="71">
                  <c:v>0.17469470827679784</c:v>
                </c:pt>
                <c:pt idx="72">
                  <c:v>0.1852922286448298</c:v>
                </c:pt>
                <c:pt idx="73">
                  <c:v>0.19035202086049544</c:v>
                </c:pt>
                <c:pt idx="74">
                  <c:v>0.20358443013161578</c:v>
                </c:pt>
                <c:pt idx="75">
                  <c:v>0.20554123711340205</c:v>
                </c:pt>
                <c:pt idx="76">
                  <c:v>0.20664476086162833</c:v>
                </c:pt>
                <c:pt idx="77">
                  <c:v>0.19514047076689445</c:v>
                </c:pt>
                <c:pt idx="78">
                  <c:v>0.20194647201946472</c:v>
                </c:pt>
                <c:pt idx="79">
                  <c:v>0.17735470941883769</c:v>
                </c:pt>
                <c:pt idx="80">
                  <c:v>0.17702265372168285</c:v>
                </c:pt>
                <c:pt idx="81">
                  <c:v>0.18693946188340807</c:v>
                </c:pt>
                <c:pt idx="82">
                  <c:v>0.19316843345111898</c:v>
                </c:pt>
                <c:pt idx="83">
                  <c:v>0.19390459363957596</c:v>
                </c:pt>
                <c:pt idx="84">
                  <c:v>0.1879135421261579</c:v>
                </c:pt>
                <c:pt idx="85">
                  <c:v>0.2</c:v>
                </c:pt>
                <c:pt idx="86">
                  <c:v>0.21820337978061075</c:v>
                </c:pt>
                <c:pt idx="87">
                  <c:v>0.20762317942361327</c:v>
                </c:pt>
                <c:pt idx="88">
                  <c:v>0.20630252100840335</c:v>
                </c:pt>
                <c:pt idx="89">
                  <c:v>0.22679983354140656</c:v>
                </c:pt>
                <c:pt idx="90">
                  <c:v>0.1864202490960225</c:v>
                </c:pt>
                <c:pt idx="91">
                  <c:v>0.17729643000401124</c:v>
                </c:pt>
                <c:pt idx="92">
                  <c:v>0.18478260869565216</c:v>
                </c:pt>
                <c:pt idx="93">
                  <c:v>0.18654173764906304</c:v>
                </c:pt>
                <c:pt idx="94">
                  <c:v>0.17819572840293274</c:v>
                </c:pt>
                <c:pt idx="95">
                  <c:v>0.17806603773584906</c:v>
                </c:pt>
                <c:pt idx="96">
                  <c:v>0.1903627959097913</c:v>
                </c:pt>
                <c:pt idx="97">
                  <c:v>0.2037057220708447</c:v>
                </c:pt>
                <c:pt idx="98">
                  <c:v>0.20579450418160095</c:v>
                </c:pt>
                <c:pt idx="99">
                  <c:v>0.21083638311166653</c:v>
                </c:pt>
                <c:pt idx="100">
                  <c:v>0.21344523985847116</c:v>
                </c:pt>
                <c:pt idx="101">
                  <c:v>0.20886713689362316</c:v>
                </c:pt>
                <c:pt idx="102">
                  <c:v>0.197678916827853</c:v>
                </c:pt>
                <c:pt idx="103">
                  <c:v>0.196597685022799</c:v>
                </c:pt>
                <c:pt idx="104">
                  <c:v>0.196954568147778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7584086182278353</c:v>
                </c:pt>
                <c:pt idx="1">
                  <c:v>0.4328240983397905</c:v>
                </c:pt>
                <c:pt idx="2">
                  <c:v>0.4061265256484769</c:v>
                </c:pt>
                <c:pt idx="3">
                  <c:v>0.4104302461661054</c:v>
                </c:pt>
                <c:pt idx="4">
                  <c:v>0.4031743620389905</c:v>
                </c:pt>
                <c:pt idx="5">
                  <c:v>0.3506413239471723</c:v>
                </c:pt>
                <c:pt idx="6">
                  <c:v>0.3859245127613212</c:v>
                </c:pt>
                <c:pt idx="7">
                  <c:v>0.4041711312516758</c:v>
                </c:pt>
                <c:pt idx="8">
                  <c:v>0.37959492383131765</c:v>
                </c:pt>
                <c:pt idx="9">
                  <c:v>0.36114968361348276</c:v>
                </c:pt>
                <c:pt idx="10">
                  <c:v>0.39319178184859555</c:v>
                </c:pt>
                <c:pt idx="11">
                  <c:v>0.3824366729449998</c:v>
                </c:pt>
                <c:pt idx="12">
                  <c:v>0.42676369983697177</c:v>
                </c:pt>
                <c:pt idx="13">
                  <c:v>0.48953656465373707</c:v>
                </c:pt>
                <c:pt idx="14">
                  <c:v>0.45891404461983887</c:v>
                </c:pt>
                <c:pt idx="15">
                  <c:v>0.39462082034113</c:v>
                </c:pt>
                <c:pt idx="16">
                  <c:v>0.37991355083770123</c:v>
                </c:pt>
                <c:pt idx="17">
                  <c:v>0.35804093534484754</c:v>
                </c:pt>
                <c:pt idx="18">
                  <c:v>0.3002808178101601</c:v>
                </c:pt>
                <c:pt idx="19">
                  <c:v>0.34197976795438756</c:v>
                </c:pt>
                <c:pt idx="20">
                  <c:v>0.3624348977357847</c:v>
                </c:pt>
                <c:pt idx="21">
                  <c:v>0.313687313347595</c:v>
                </c:pt>
                <c:pt idx="22">
                  <c:v>0.3212152913309139</c:v>
                </c:pt>
                <c:pt idx="23">
                  <c:v>0.3230056100873143</c:v>
                </c:pt>
                <c:pt idx="24">
                  <c:v>0.33289759648767536</c:v>
                </c:pt>
                <c:pt idx="25">
                  <c:v>0.3177985293544861</c:v>
                </c:pt>
                <c:pt idx="26">
                  <c:v>0.30730385409256183</c:v>
                </c:pt>
                <c:pt idx="27">
                  <c:v>0.33122947167696554</c:v>
                </c:pt>
                <c:pt idx="28">
                  <c:v>0.4078187421299624</c:v>
                </c:pt>
                <c:pt idx="29">
                  <c:v>0.41876519764865205</c:v>
                </c:pt>
                <c:pt idx="30">
                  <c:v>0.39915957794329027</c:v>
                </c:pt>
                <c:pt idx="31">
                  <c:v>0.30788788522532673</c:v>
                </c:pt>
                <c:pt idx="32">
                  <c:v>0.28726120916086817</c:v>
                </c:pt>
                <c:pt idx="33">
                  <c:v>0.27824802992944836</c:v>
                </c:pt>
                <c:pt idx="34">
                  <c:v>0.29635858273771015</c:v>
                </c:pt>
                <c:pt idx="35">
                  <c:v>0.3086193273492603</c:v>
                </c:pt>
                <c:pt idx="36">
                  <c:v>0.33462832406330034</c:v>
                </c:pt>
                <c:pt idx="37">
                  <c:v>0.33236841981634785</c:v>
                </c:pt>
                <c:pt idx="38">
                  <c:v>0.3251334449931356</c:v>
                </c:pt>
                <c:pt idx="39">
                  <c:v>0.3593752707755366</c:v>
                </c:pt>
                <c:pt idx="40">
                  <c:v>0.32591294846430335</c:v>
                </c:pt>
                <c:pt idx="41">
                  <c:v>0.35607478528848474</c:v>
                </c:pt>
                <c:pt idx="42">
                  <c:v>0.31827513845049804</c:v>
                </c:pt>
                <c:pt idx="43">
                  <c:v>0.3845957702036045</c:v>
                </c:pt>
                <c:pt idx="44">
                  <c:v>0.4017470029284731</c:v>
                </c:pt>
                <c:pt idx="45">
                  <c:v>0.4055638357924151</c:v>
                </c:pt>
                <c:pt idx="46">
                  <c:v>0.377076842745559</c:v>
                </c:pt>
                <c:pt idx="47">
                  <c:v>0.4004046403976549</c:v>
                </c:pt>
                <c:pt idx="48">
                  <c:v>0.422494225908066</c:v>
                </c:pt>
                <c:pt idx="49">
                  <c:v>0.4585826560472033</c:v>
                </c:pt>
                <c:pt idx="50">
                  <c:v>0.45178303523124824</c:v>
                </c:pt>
                <c:pt idx="51">
                  <c:v>0.377553775105029</c:v>
                </c:pt>
              </c:numCache>
            </c:numRef>
          </c:xVal>
          <c:yVal>
            <c:numRef>
              <c:f>Sheet1!$B$109:$B$160</c:f>
              <c:numCache>
                <c:formatCode>General</c:formatCode>
                <c:ptCount val="52"/>
                <c:pt idx="0">
                  <c:v>0.1923158116951657</c:v>
                </c:pt>
                <c:pt idx="1">
                  <c:v>0.20268872802481902</c:v>
                </c:pt>
                <c:pt idx="2">
                  <c:v>0.2132860938883968</c:v>
                </c:pt>
                <c:pt idx="3">
                  <c:v>0.23139577934098482</c:v>
                </c:pt>
                <c:pt idx="4">
                  <c:v>0.2016245487364621</c:v>
                </c:pt>
                <c:pt idx="5">
                  <c:v>0.21380171184022825</c:v>
                </c:pt>
                <c:pt idx="6">
                  <c:v>0.24233596892772924</c:v>
                </c:pt>
                <c:pt idx="7">
                  <c:v>0.2378266591464561</c:v>
                </c:pt>
                <c:pt idx="8">
                  <c:v>0.22140112326337572</c:v>
                </c:pt>
                <c:pt idx="9">
                  <c:v>0.23265196342119418</c:v>
                </c:pt>
                <c:pt idx="10">
                  <c:v>0.22355081881985964</c:v>
                </c:pt>
                <c:pt idx="11">
                  <c:v>0.23149693934335003</c:v>
                </c:pt>
                <c:pt idx="12">
                  <c:v>0.2287813529262731</c:v>
                </c:pt>
                <c:pt idx="13">
                  <c:v>0.2328070644902328</c:v>
                </c:pt>
                <c:pt idx="14">
                  <c:v>0.24238148984198646</c:v>
                </c:pt>
                <c:pt idx="15">
                  <c:v>0.22684194435952307</c:v>
                </c:pt>
                <c:pt idx="16">
                  <c:v>0.23249200142196944</c:v>
                </c:pt>
                <c:pt idx="17">
                  <c:v>0.23990250696378831</c:v>
                </c:pt>
                <c:pt idx="18">
                  <c:v>0.24926578560939794</c:v>
                </c:pt>
                <c:pt idx="19">
                  <c:v>0.22308636921817437</c:v>
                </c:pt>
                <c:pt idx="20">
                  <c:v>0.20043290043290043</c:v>
                </c:pt>
                <c:pt idx="21">
                  <c:v>0.22063854047890535</c:v>
                </c:pt>
                <c:pt idx="22">
                  <c:v>0.21518987341772153</c:v>
                </c:pt>
                <c:pt idx="23">
                  <c:v>0.21428571428571427</c:v>
                </c:pt>
                <c:pt idx="24">
                  <c:v>0.2177570093457944</c:v>
                </c:pt>
                <c:pt idx="25">
                  <c:v>0.20618034447821681</c:v>
                </c:pt>
                <c:pt idx="26">
                  <c:v>0.21006054960409873</c:v>
                </c:pt>
                <c:pt idx="27">
                  <c:v>0.21926671459381739</c:v>
                </c:pt>
                <c:pt idx="28">
                  <c:v>0.2174846625766871</c:v>
                </c:pt>
                <c:pt idx="29">
                  <c:v>0.20666402221340738</c:v>
                </c:pt>
                <c:pt idx="30">
                  <c:v>0.20531113753468094</c:v>
                </c:pt>
                <c:pt idx="31">
                  <c:v>0.19078201737816397</c:v>
                </c:pt>
                <c:pt idx="32">
                  <c:v>0.19462875197472354</c:v>
                </c:pt>
                <c:pt idx="33">
                  <c:v>0.2076271186440678</c:v>
                </c:pt>
                <c:pt idx="34">
                  <c:v>0.21478696741854636</c:v>
                </c:pt>
                <c:pt idx="35">
                  <c:v>0.21279761904761904</c:v>
                </c:pt>
                <c:pt idx="36">
                  <c:v>0.19208211143695014</c:v>
                </c:pt>
                <c:pt idx="37">
                  <c:v>0.19832893579595426</c:v>
                </c:pt>
                <c:pt idx="38">
                  <c:v>0.20606060606060606</c:v>
                </c:pt>
                <c:pt idx="39">
                  <c:v>0.20914363698396451</c:v>
                </c:pt>
                <c:pt idx="40">
                  <c:v>0.19425735554767812</c:v>
                </c:pt>
                <c:pt idx="41">
                  <c:v>0.1972630173564753</c:v>
                </c:pt>
                <c:pt idx="42">
                  <c:v>0.20808323329331732</c:v>
                </c:pt>
                <c:pt idx="43">
                  <c:v>0.19221476510067115</c:v>
                </c:pt>
                <c:pt idx="44">
                  <c:v>0.1855727901326855</c:v>
                </c:pt>
                <c:pt idx="45">
                  <c:v>0.20180520005388658</c:v>
                </c:pt>
                <c:pt idx="46">
                  <c:v>0.22570321711302005</c:v>
                </c:pt>
                <c:pt idx="47">
                  <c:v>0.23031006466589288</c:v>
                </c:pt>
                <c:pt idx="48">
                  <c:v>0.21723224422858584</c:v>
                </c:pt>
                <c:pt idx="49">
                  <c:v>0.22429459588713535</c:v>
                </c:pt>
                <c:pt idx="50">
                  <c:v>0.22335477486392874</c:v>
                </c:pt>
                <c:pt idx="51">
                  <c:v>0.215199258572752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58434078608491</c:v>
                </c:pt>
              </c:numCache>
            </c:numRef>
          </c:xVal>
          <c:yVal>
            <c:numRef>
              <c:f>Sheet1!$B$163:$B$164</c:f>
              <c:numCache>
                <c:formatCode>General</c:formatCode>
                <c:ptCount val="2"/>
                <c:pt idx="0">
                  <c:v>0.25101247284020256</c:v>
                </c:pt>
                <c:pt idx="1">
                  <c:v>0.251012472840202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58434078608491</c:v>
                </c:pt>
                <c:pt idx="1">
                  <c:v>0.758434078608491</c:v>
                </c:pt>
              </c:numCache>
            </c:numRef>
          </c:xVal>
          <c:yVal>
            <c:numRef>
              <c:f>Sheet1!$B$167:$B$168</c:f>
              <c:numCache>
                <c:formatCode>General</c:formatCode>
                <c:ptCount val="2"/>
                <c:pt idx="0">
                  <c:v>0.25101247284020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245688533663689</c:v>
                </c:pt>
              </c:numCache>
            </c:numRef>
          </c:xVal>
          <c:yVal>
            <c:numRef>
              <c:f>Sheet1!$B$171:$B$172</c:f>
              <c:numCache>
                <c:formatCode>General</c:formatCode>
                <c:ptCount val="2"/>
                <c:pt idx="0">
                  <c:v>0.22956382133288886</c:v>
                </c:pt>
                <c:pt idx="1">
                  <c:v>0.2295638213328888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245688533663689</c:v>
                </c:pt>
                <c:pt idx="1">
                  <c:v>0.5245688533663689</c:v>
                </c:pt>
              </c:numCache>
            </c:numRef>
          </c:xVal>
          <c:yVal>
            <c:numRef>
              <c:f>Sheet1!$B$175:$B$176</c:f>
              <c:numCache>
                <c:formatCode>General</c:formatCode>
                <c:ptCount val="2"/>
                <c:pt idx="0">
                  <c:v>0.229563821332888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65866175189507</c:v>
                </c:pt>
              </c:numCache>
            </c:numRef>
          </c:xVal>
          <c:yVal>
            <c:numRef>
              <c:f>Sheet1!$B$179:$B$180</c:f>
              <c:numCache>
                <c:formatCode>General</c:formatCode>
                <c:ptCount val="2"/>
                <c:pt idx="0">
                  <c:v>0.2095718579846149</c:v>
                </c:pt>
                <c:pt idx="1">
                  <c:v>0.209571857984614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65866175189507</c:v>
                </c:pt>
                <c:pt idx="1">
                  <c:v>0.3065866175189507</c:v>
                </c:pt>
              </c:numCache>
            </c:numRef>
          </c:xVal>
          <c:yVal>
            <c:numRef>
              <c:f>Sheet1!$B$183:$B$184</c:f>
              <c:numCache>
                <c:formatCode>General</c:formatCode>
                <c:ptCount val="2"/>
                <c:pt idx="0">
                  <c:v>0.20957185798461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7584086182278353</c:v>
                </c:pt>
                <c:pt idx="1">
                  <c:v>0.4328240983397905</c:v>
                </c:pt>
                <c:pt idx="2">
                  <c:v>0.4061265256484769</c:v>
                </c:pt>
                <c:pt idx="3">
                  <c:v>0.4104302461661054</c:v>
                </c:pt>
                <c:pt idx="4">
                  <c:v>0.4031743620389905</c:v>
                </c:pt>
                <c:pt idx="5">
                  <c:v>0.3506413239471723</c:v>
                </c:pt>
                <c:pt idx="6">
                  <c:v>0.3859245127613212</c:v>
                </c:pt>
                <c:pt idx="7">
                  <c:v>0.4041711312516758</c:v>
                </c:pt>
                <c:pt idx="8">
                  <c:v>0.37959492383131765</c:v>
                </c:pt>
                <c:pt idx="9">
                  <c:v>0.36114968361348276</c:v>
                </c:pt>
                <c:pt idx="10">
                  <c:v>0.39319178184859555</c:v>
                </c:pt>
                <c:pt idx="11">
                  <c:v>0.3824366729449998</c:v>
                </c:pt>
                <c:pt idx="12">
                  <c:v>0.42676369983697177</c:v>
                </c:pt>
                <c:pt idx="13">
                  <c:v>0.48953656465373707</c:v>
                </c:pt>
                <c:pt idx="14">
                  <c:v>0.45891404461983887</c:v>
                </c:pt>
                <c:pt idx="15">
                  <c:v>0.39462082034113</c:v>
                </c:pt>
                <c:pt idx="16">
                  <c:v>0.37991355083770123</c:v>
                </c:pt>
                <c:pt idx="17">
                  <c:v>0.35804093534484754</c:v>
                </c:pt>
                <c:pt idx="18">
                  <c:v>0.3002808178101601</c:v>
                </c:pt>
                <c:pt idx="19">
                  <c:v>0.34197976795438756</c:v>
                </c:pt>
                <c:pt idx="20">
                  <c:v>0.3624348977357847</c:v>
                </c:pt>
                <c:pt idx="21">
                  <c:v>0.313687313347595</c:v>
                </c:pt>
                <c:pt idx="22">
                  <c:v>0.3212152913309139</c:v>
                </c:pt>
                <c:pt idx="23">
                  <c:v>0.3230056100873143</c:v>
                </c:pt>
                <c:pt idx="24">
                  <c:v>0.33289759648767536</c:v>
                </c:pt>
                <c:pt idx="25">
                  <c:v>0.3177985293544861</c:v>
                </c:pt>
                <c:pt idx="26">
                  <c:v>0.30730385409256183</c:v>
                </c:pt>
                <c:pt idx="27">
                  <c:v>0.33122947167696554</c:v>
                </c:pt>
                <c:pt idx="28">
                  <c:v>0.4078187421299624</c:v>
                </c:pt>
                <c:pt idx="29">
                  <c:v>0.41876519764865205</c:v>
                </c:pt>
                <c:pt idx="30">
                  <c:v>0.39915957794329027</c:v>
                </c:pt>
                <c:pt idx="31">
                  <c:v>0.30788788522532673</c:v>
                </c:pt>
                <c:pt idx="32">
                  <c:v>0.28726120916086817</c:v>
                </c:pt>
                <c:pt idx="33">
                  <c:v>0.27824802992944836</c:v>
                </c:pt>
                <c:pt idx="34">
                  <c:v>0.29635858273771015</c:v>
                </c:pt>
                <c:pt idx="35">
                  <c:v>0.3086193273492603</c:v>
                </c:pt>
                <c:pt idx="36">
                  <c:v>0.33462832406330034</c:v>
                </c:pt>
                <c:pt idx="37">
                  <c:v>0.33236841981634785</c:v>
                </c:pt>
                <c:pt idx="38">
                  <c:v>0.3251334449931356</c:v>
                </c:pt>
                <c:pt idx="39">
                  <c:v>0.3593752707755366</c:v>
                </c:pt>
                <c:pt idx="40">
                  <c:v>0.32591294846430335</c:v>
                </c:pt>
                <c:pt idx="41">
                  <c:v>0.35607478528848474</c:v>
                </c:pt>
                <c:pt idx="42">
                  <c:v>0.31827513845049804</c:v>
                </c:pt>
                <c:pt idx="43">
                  <c:v>0.3845957702036045</c:v>
                </c:pt>
                <c:pt idx="44">
                  <c:v>0.4017470029284731</c:v>
                </c:pt>
                <c:pt idx="45">
                  <c:v>0.4055638357924151</c:v>
                </c:pt>
                <c:pt idx="46">
                  <c:v>0.377076842745559</c:v>
                </c:pt>
                <c:pt idx="47">
                  <c:v>0.4004046403976549</c:v>
                </c:pt>
                <c:pt idx="48">
                  <c:v>0.422494225908066</c:v>
                </c:pt>
                <c:pt idx="49">
                  <c:v>0.4585826560472033</c:v>
                </c:pt>
                <c:pt idx="50">
                  <c:v>0.45178303523124824</c:v>
                </c:pt>
                <c:pt idx="51">
                  <c:v>0.377553775105029</c:v>
                </c:pt>
                <c:pt idx="52">
                  <c:v>0.5245688533663689</c:v>
                </c:pt>
                <c:pt idx="53">
                  <c:v>0.758434078608491</c:v>
                </c:pt>
                <c:pt idx="54">
                  <c:v>0.3065866175189507</c:v>
                </c:pt>
              </c:numCache>
            </c:numRef>
          </c:xVal>
          <c:yVal>
            <c:numRef>
              <c:f>Sheet1!$B$187:$B$241</c:f>
              <c:numCache>
                <c:formatCode>General</c:formatCode>
                <c:ptCount val="55"/>
                <c:pt idx="0">
                  <c:v>0.21592342286535943</c:v>
                </c:pt>
                <c:pt idx="1">
                  <c:v>0.2211495678834858</c:v>
                </c:pt>
                <c:pt idx="2">
                  <c:v>0.2187010339804469</c:v>
                </c:pt>
                <c:pt idx="3">
                  <c:v>0.21909574423064304</c:v>
                </c:pt>
                <c:pt idx="4">
                  <c:v>0.2184302800520384</c:v>
                </c:pt>
                <c:pt idx="5">
                  <c:v>0.2136122793189867</c:v>
                </c:pt>
                <c:pt idx="6">
                  <c:v>0.21684823207835027</c:v>
                </c:pt>
                <c:pt idx="7">
                  <c:v>0.21852169747185346</c:v>
                </c:pt>
                <c:pt idx="8">
                  <c:v>0.21626772188491025</c:v>
                </c:pt>
                <c:pt idx="9">
                  <c:v>0.21457604015244475</c:v>
                </c:pt>
                <c:pt idx="10">
                  <c:v>0.217514740414087</c:v>
                </c:pt>
                <c:pt idx="11">
                  <c:v>0.21652834928835377</c:v>
                </c:pt>
                <c:pt idx="12">
                  <c:v>0.22059374614749308</c:v>
                </c:pt>
                <c:pt idx="13">
                  <c:v>0.22635087955703093</c:v>
                </c:pt>
                <c:pt idx="14">
                  <c:v>0.22354237410350394</c:v>
                </c:pt>
                <c:pt idx="15">
                  <c:v>0.21764580286078114</c:v>
                </c:pt>
                <c:pt idx="16">
                  <c:v>0.2162969443553039</c:v>
                </c:pt>
                <c:pt idx="17">
                  <c:v>0.214290925261298</c:v>
                </c:pt>
                <c:pt idx="18">
                  <c:v>0.20899352958932335</c:v>
                </c:pt>
                <c:pt idx="19">
                  <c:v>0.21281789573413357</c:v>
                </c:pt>
                <c:pt idx="20">
                  <c:v>0.21469391193005938</c:v>
                </c:pt>
                <c:pt idx="21">
                  <c:v>0.2102230892659238</c:v>
                </c:pt>
                <c:pt idx="22">
                  <c:v>0.21091350818627322</c:v>
                </c:pt>
                <c:pt idx="23">
                  <c:v>0.21107770499258885</c:v>
                </c:pt>
                <c:pt idx="24">
                  <c:v>0.21198493593638038</c:v>
                </c:pt>
                <c:pt idx="25">
                  <c:v>0.2106001442099062</c:v>
                </c:pt>
                <c:pt idx="26">
                  <c:v>0.20963763842418112</c:v>
                </c:pt>
                <c:pt idx="27">
                  <c:v>0.2118319459922851</c:v>
                </c:pt>
                <c:pt idx="28">
                  <c:v>0.21885623346146738</c:v>
                </c:pt>
                <c:pt idx="29">
                  <c:v>0.21986017369848898</c:v>
                </c:pt>
                <c:pt idx="30">
                  <c:v>0.21806206923806798</c:v>
                </c:pt>
                <c:pt idx="31">
                  <c:v>0.20969120209626246</c:v>
                </c:pt>
                <c:pt idx="32">
                  <c:v>0.207799452751302</c:v>
                </c:pt>
                <c:pt idx="33">
                  <c:v>0.20697282048860652</c:v>
                </c:pt>
                <c:pt idx="34">
                  <c:v>0.2086338067912389</c:v>
                </c:pt>
                <c:pt idx="35">
                  <c:v>0.20975828537979802</c:v>
                </c:pt>
                <c:pt idx="36">
                  <c:v>0.2121436674133892</c:v>
                </c:pt>
                <c:pt idx="37">
                  <c:v>0.2119364031714199</c:v>
                </c:pt>
                <c:pt idx="38">
                  <c:v>0.21127285666301274</c:v>
                </c:pt>
                <c:pt idx="39">
                  <c:v>0.2144133021371977</c:v>
                </c:pt>
                <c:pt idx="40">
                  <c:v>0.21134434783184516</c:v>
                </c:pt>
                <c:pt idx="41">
                  <c:v>0.21411060231107593</c:v>
                </c:pt>
                <c:pt idx="42">
                  <c:v>0.21064385580659611</c:v>
                </c:pt>
                <c:pt idx="43">
                  <c:v>0.21672636814567753</c:v>
                </c:pt>
                <c:pt idx="44">
                  <c:v>0.21829937162772872</c:v>
                </c:pt>
                <c:pt idx="45">
                  <c:v>0.2186494275963987</c:v>
                </c:pt>
                <c:pt idx="46">
                  <c:v>0.2160367792827355</c:v>
                </c:pt>
                <c:pt idx="47">
                  <c:v>0.21817625855655626</c:v>
                </c:pt>
                <c:pt idx="48">
                  <c:v>0.22020217677959816</c:v>
                </c:pt>
                <c:pt idx="49">
                  <c:v>0.22351198122230234</c:v>
                </c:pt>
                <c:pt idx="50">
                  <c:v>0.2228883626526227</c:v>
                </c:pt>
                <c:pt idx="51">
                  <c:v>0.2160805205271221</c:v>
                </c:pt>
                <c:pt idx="52">
                  <c:v>0.22956382133288886</c:v>
                </c:pt>
                <c:pt idx="53">
                  <c:v>0.25101247284020256</c:v>
                </c:pt>
                <c:pt idx="54">
                  <c:v>0.20957185798461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63118346900434"/>
          <c:min val="0.1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0.6456</c:v>
                </c:pt>
                <c:pt idx="1">
                  <c:v>895.2385</c:v>
                </c:pt>
                <c:pt idx="2">
                  <c:v>955.8735</c:v>
                </c:pt>
                <c:pt idx="3">
                  <c:v>960.6456</c:v>
                </c:pt>
                <c:pt idx="4">
                  <c:v>961.0058</c:v>
                </c:pt>
                <c:pt idx="5">
                  <c:v>946.6713</c:v>
                </c:pt>
                <c:pt idx="6">
                  <c:v>877.5837</c:v>
                </c:pt>
                <c:pt idx="7">
                  <c:v>888.2288</c:v>
                </c:pt>
                <c:pt idx="8">
                  <c:v>908.7337</c:v>
                </c:pt>
                <c:pt idx="9">
                  <c:v>853.2363</c:v>
                </c:pt>
                <c:pt idx="10">
                  <c:v>841.8964</c:v>
                </c:pt>
                <c:pt idx="11">
                  <c:v>929.2763</c:v>
                </c:pt>
                <c:pt idx="12">
                  <c:v>949.6691</c:v>
                </c:pt>
                <c:pt idx="13">
                  <c:v>972.2431</c:v>
                </c:pt>
                <c:pt idx="14">
                  <c:v>978.8734</c:v>
                </c:pt>
                <c:pt idx="15">
                  <c:v>992.1852</c:v>
                </c:pt>
                <c:pt idx="16">
                  <c:v>1028.5867</c:v>
                </c:pt>
                <c:pt idx="17">
                  <c:v>1060.9935</c:v>
                </c:pt>
                <c:pt idx="18">
                  <c:v>1089.2703</c:v>
                </c:pt>
                <c:pt idx="19">
                  <c:v>1108.0072</c:v>
                </c:pt>
                <c:pt idx="20">
                  <c:v>1139.2047</c:v>
                </c:pt>
                <c:pt idx="21">
                  <c:v>1159.4921</c:v>
                </c:pt>
                <c:pt idx="22">
                  <c:v>1109.1882</c:v>
                </c:pt>
                <c:pt idx="23">
                  <c:v>1088.8516</c:v>
                </c:pt>
                <c:pt idx="24">
                  <c:v>1090.5951</c:v>
                </c:pt>
                <c:pt idx="25">
                  <c:v>1059.5464</c:v>
                </c:pt>
                <c:pt idx="26">
                  <c:v>1035.9899</c:v>
                </c:pt>
                <c:pt idx="27">
                  <c:v>1053.4839</c:v>
                </c:pt>
                <c:pt idx="28">
                  <c:v>1050.2821</c:v>
                </c:pt>
                <c:pt idx="29">
                  <c:v>1034.3728</c:v>
                </c:pt>
                <c:pt idx="30">
                  <c:v>1013.9967</c:v>
                </c:pt>
                <c:pt idx="31">
                  <c:v>1032.6493</c:v>
                </c:pt>
                <c:pt idx="32">
                  <c:v>1010.6509</c:v>
                </c:pt>
                <c:pt idx="33">
                  <c:v>982.16</c:v>
                </c:pt>
                <c:pt idx="34">
                  <c:v>989.0426</c:v>
                </c:pt>
                <c:pt idx="35">
                  <c:v>1004.3141</c:v>
                </c:pt>
                <c:pt idx="36">
                  <c:v>1130.1752</c:v>
                </c:pt>
                <c:pt idx="37">
                  <c:v>1121.6121</c:v>
                </c:pt>
                <c:pt idx="38">
                  <c:v>1199.2964</c:v>
                </c:pt>
                <c:pt idx="39">
                  <c:v>1203.6412</c:v>
                </c:pt>
                <c:pt idx="40">
                  <c:v>1205.3707</c:v>
                </c:pt>
                <c:pt idx="41">
                  <c:v>1237.22</c:v>
                </c:pt>
                <c:pt idx="42">
                  <c:v>1243.7277</c:v>
                </c:pt>
                <c:pt idx="43">
                  <c:v>1258.8795</c:v>
                </c:pt>
                <c:pt idx="44">
                  <c:v>1166.5143</c:v>
                </c:pt>
                <c:pt idx="45">
                  <c:v>1125.5936</c:v>
                </c:pt>
                <c:pt idx="46">
                  <c:v>1107.3512</c:v>
                </c:pt>
                <c:pt idx="47">
                  <c:v>1080.3027</c:v>
                </c:pt>
                <c:pt idx="48">
                  <c:v>1102.1245</c:v>
                </c:pt>
                <c:pt idx="49">
                  <c:v>1063.3196</c:v>
                </c:pt>
                <c:pt idx="50">
                  <c:v>1069.4635</c:v>
                </c:pt>
                <c:pt idx="51">
                  <c:v>1069.6604</c:v>
                </c:pt>
                <c:pt idx="52">
                  <c:v>1071.6579</c:v>
                </c:pt>
                <c:pt idx="53">
                  <c:v>1166.3365</c:v>
                </c:pt>
                <c:pt idx="54">
                  <c:v>1154.1198</c:v>
                </c:pt>
                <c:pt idx="55">
                  <c:v>1173.2</c:v>
                </c:pt>
                <c:pt idx="56">
                  <c:v>1207.2477</c:v>
                </c:pt>
                <c:pt idx="57">
                  <c:v>1178.3464</c:v>
                </c:pt>
                <c:pt idx="58">
                  <c:v>1105.2706</c:v>
                </c:pt>
                <c:pt idx="59">
                  <c:v>1096.3063</c:v>
                </c:pt>
                <c:pt idx="60">
                  <c:v>1139.6342</c:v>
                </c:pt>
                <c:pt idx="61">
                  <c:v>1174.3686</c:v>
                </c:pt>
                <c:pt idx="62">
                  <c:v>1054.908</c:v>
                </c:pt>
                <c:pt idx="63">
                  <c:v>1105.2197</c:v>
                </c:pt>
                <c:pt idx="64">
                  <c:v>1149.2914</c:v>
                </c:pt>
                <c:pt idx="65">
                  <c:v>1137.01</c:v>
                </c:pt>
                <c:pt idx="66">
                  <c:v>1109.6366</c:v>
                </c:pt>
                <c:pt idx="67">
                  <c:v>1178.7965</c:v>
                </c:pt>
                <c:pt idx="68">
                  <c:v>1253.4725</c:v>
                </c:pt>
                <c:pt idx="69">
                  <c:v>1294.5616</c:v>
                </c:pt>
                <c:pt idx="70">
                  <c:v>1275.5415</c:v>
                </c:pt>
                <c:pt idx="71">
                  <c:v>1336.0893</c:v>
                </c:pt>
                <c:pt idx="72">
                  <c:v>1391.1993</c:v>
                </c:pt>
                <c:pt idx="73">
                  <c:v>1349.1284</c:v>
                </c:pt>
                <c:pt idx="74">
                  <c:v>1324.1843</c:v>
                </c:pt>
                <c:pt idx="75">
                  <c:v>1282.558</c:v>
                </c:pt>
                <c:pt idx="76">
                  <c:v>1247.0018</c:v>
                </c:pt>
                <c:pt idx="77">
                  <c:v>1308.6556</c:v>
                </c:pt>
                <c:pt idx="78">
                  <c:v>1333.1888</c:v>
                </c:pt>
                <c:pt idx="79">
                  <c:v>1296.8832</c:v>
                </c:pt>
                <c:pt idx="80">
                  <c:v>1279.8629</c:v>
                </c:pt>
                <c:pt idx="81">
                  <c:v>1225.2234</c:v>
                </c:pt>
                <c:pt idx="82">
                  <c:v>1239.437</c:v>
                </c:pt>
                <c:pt idx="83">
                  <c:v>1201.2164</c:v>
                </c:pt>
                <c:pt idx="84">
                  <c:v>1222.108</c:v>
                </c:pt>
                <c:pt idx="85">
                  <c:v>1204.9283</c:v>
                </c:pt>
                <c:pt idx="86">
                  <c:v>1196.5815</c:v>
                </c:pt>
                <c:pt idx="87">
                  <c:v>1209.8403</c:v>
                </c:pt>
                <c:pt idx="88">
                  <c:v>1225.7251</c:v>
                </c:pt>
                <c:pt idx="89">
                  <c:v>1233.3578</c:v>
                </c:pt>
                <c:pt idx="90">
                  <c:v>1366.8168</c:v>
                </c:pt>
                <c:pt idx="91">
                  <c:v>1399.7421</c:v>
                </c:pt>
                <c:pt idx="92">
                  <c:v>1316.7578</c:v>
                </c:pt>
                <c:pt idx="93">
                  <c:v>1359.1005</c:v>
                </c:pt>
                <c:pt idx="94">
                  <c:v>1369.7406</c:v>
                </c:pt>
                <c:pt idx="95">
                  <c:v>1325.4026</c:v>
                </c:pt>
                <c:pt idx="96">
                  <c:v>1247.9853</c:v>
                </c:pt>
                <c:pt idx="97">
                  <c:v>1193.4334</c:v>
                </c:pt>
                <c:pt idx="98">
                  <c:v>1172.8771</c:v>
                </c:pt>
                <c:pt idx="99">
                  <c:v>1131.5923</c:v>
                </c:pt>
                <c:pt idx="100">
                  <c:v>1148.8311</c:v>
                </c:pt>
                <c:pt idx="101">
                  <c:v>1166.173</c:v>
                </c:pt>
                <c:pt idx="102">
                  <c:v>1196.7378</c:v>
                </c:pt>
                <c:pt idx="103">
                  <c:v>1202.2783</c:v>
                </c:pt>
                <c:pt idx="104">
                  <c:v>1273.5019</c:v>
                </c:pt>
              </c:numCache>
            </c:numRef>
          </c:xVal>
          <c:yVal>
            <c:numRef>
              <c:f>Sheet1!$B$2:$B$106</c:f>
              <c:numCache>
                <c:formatCode>General</c:formatCode>
                <c:ptCount val="105"/>
                <c:pt idx="0">
                  <c:v>0.23612879752592322</c:v>
                </c:pt>
                <c:pt idx="1">
                  <c:v>0.24167987321711568</c:v>
                </c:pt>
                <c:pt idx="2">
                  <c:v>0.2422490803993694</c:v>
                </c:pt>
                <c:pt idx="3">
                  <c:v>0.23685666851134476</c:v>
                </c:pt>
                <c:pt idx="4">
                  <c:v>0.22893446277307178</c:v>
                </c:pt>
                <c:pt idx="5">
                  <c:v>0.2405354528341351</c:v>
                </c:pt>
                <c:pt idx="6">
                  <c:v>0.2739507299270073</c:v>
                </c:pt>
                <c:pt idx="7">
                  <c:v>0.2805259862241703</c:v>
                </c:pt>
                <c:pt idx="8">
                  <c:v>0.27825120414968507</c:v>
                </c:pt>
                <c:pt idx="9">
                  <c:v>0.2602111060119321</c:v>
                </c:pt>
                <c:pt idx="10">
                  <c:v>0.2573701450631727</c:v>
                </c:pt>
                <c:pt idx="11">
                  <c:v>0.21774604793472718</c:v>
                </c:pt>
                <c:pt idx="12">
                  <c:v>0.20642893018583627</c:v>
                </c:pt>
                <c:pt idx="13">
                  <c:v>0.18620849779428836</c:v>
                </c:pt>
                <c:pt idx="14">
                  <c:v>0.1787734781624802</c:v>
                </c:pt>
                <c:pt idx="15">
                  <c:v>0.18282773564463706</c:v>
                </c:pt>
                <c:pt idx="16">
                  <c:v>0.17517776341305752</c:v>
                </c:pt>
                <c:pt idx="17">
                  <c:v>0.16576770945702984</c:v>
                </c:pt>
                <c:pt idx="18">
                  <c:v>0.1684931506849315</c:v>
                </c:pt>
                <c:pt idx="19">
                  <c:v>0.1638506876227898</c:v>
                </c:pt>
                <c:pt idx="20">
                  <c:v>0.16</c:v>
                </c:pt>
                <c:pt idx="21">
                  <c:v>0.1891089108910891</c:v>
                </c:pt>
                <c:pt idx="22">
                  <c:v>0.1993891797556719</c:v>
                </c:pt>
                <c:pt idx="23">
                  <c:v>0.20202952029520296</c:v>
                </c:pt>
                <c:pt idx="24">
                  <c:v>0.21371610845295055</c:v>
                </c:pt>
                <c:pt idx="25">
                  <c:v>0.21739130434782608</c:v>
                </c:pt>
                <c:pt idx="26">
                  <c:v>0.23745019920318725</c:v>
                </c:pt>
                <c:pt idx="27">
                  <c:v>0.2344256391789701</c:v>
                </c:pt>
                <c:pt idx="28">
                  <c:v>0.2416496250852079</c:v>
                </c:pt>
                <c:pt idx="29">
                  <c:v>0.23185840707964603</c:v>
                </c:pt>
                <c:pt idx="30">
                  <c:v>0.24938067712634188</c:v>
                </c:pt>
                <c:pt idx="31">
                  <c:v>0.25833021340321977</c:v>
                </c:pt>
                <c:pt idx="32">
                  <c:v>0.2581687612208258</c:v>
                </c:pt>
                <c:pt idx="33">
                  <c:v>0.2513144058885384</c:v>
                </c:pt>
                <c:pt idx="34">
                  <c:v>0.24232511323603423</c:v>
                </c:pt>
                <c:pt idx="35">
                  <c:v>0.23970671178793007</c:v>
                </c:pt>
                <c:pt idx="36">
                  <c:v>0.2225402504472272</c:v>
                </c:pt>
                <c:pt idx="37">
                  <c:v>0.21852646638054363</c:v>
                </c:pt>
                <c:pt idx="38">
                  <c:v>0.20874822190611664</c:v>
                </c:pt>
                <c:pt idx="39">
                  <c:v>0.19508958195089582</c:v>
                </c:pt>
                <c:pt idx="40">
                  <c:v>0.20054869684499313</c:v>
                </c:pt>
                <c:pt idx="41">
                  <c:v>0.19090041361756283</c:v>
                </c:pt>
                <c:pt idx="42">
                  <c:v>0.18859540854110096</c:v>
                </c:pt>
                <c:pt idx="43">
                  <c:v>0.18716577540106952</c:v>
                </c:pt>
                <c:pt idx="44">
                  <c:v>0.19545793000744602</c:v>
                </c:pt>
                <c:pt idx="45">
                  <c:v>0.2029252562478406</c:v>
                </c:pt>
                <c:pt idx="46">
                  <c:v>0.21307223447023732</c:v>
                </c:pt>
                <c:pt idx="47">
                  <c:v>0.2093479968578162</c:v>
                </c:pt>
                <c:pt idx="48">
                  <c:v>0.20285953022003528</c:v>
                </c:pt>
                <c:pt idx="49">
                  <c:v>0.2184250708936232</c:v>
                </c:pt>
                <c:pt idx="50">
                  <c:v>0.2165446071904128</c:v>
                </c:pt>
                <c:pt idx="51">
                  <c:v>0.20537699615928845</c:v>
                </c:pt>
                <c:pt idx="52">
                  <c:v>0.21331245105716523</c:v>
                </c:pt>
                <c:pt idx="53">
                  <c:v>0.20791683326669333</c:v>
                </c:pt>
                <c:pt idx="54">
                  <c:v>0.2007620862110026</c:v>
                </c:pt>
                <c:pt idx="55">
                  <c:v>0.20152635344621989</c:v>
                </c:pt>
                <c:pt idx="56">
                  <c:v>0.2007289768289508</c:v>
                </c:pt>
                <c:pt idx="57">
                  <c:v>0.19501302567919612</c:v>
                </c:pt>
                <c:pt idx="58">
                  <c:v>0.22518277822908206</c:v>
                </c:pt>
                <c:pt idx="59">
                  <c:v>0.2326747272191094</c:v>
                </c:pt>
                <c:pt idx="60">
                  <c:v>0.21842661622343384</c:v>
                </c:pt>
                <c:pt idx="61">
                  <c:v>0.21376221498371337</c:v>
                </c:pt>
                <c:pt idx="62">
                  <c:v>0.23259762308998302</c:v>
                </c:pt>
                <c:pt idx="63">
                  <c:v>0.24800416522040958</c:v>
                </c:pt>
                <c:pt idx="64">
                  <c:v>0.21366734205194327</c:v>
                </c:pt>
                <c:pt idx="65">
                  <c:v>0.20564599216979187</c:v>
                </c:pt>
                <c:pt idx="66">
                  <c:v>0.2205020920502092</c:v>
                </c:pt>
                <c:pt idx="67">
                  <c:v>0.19995825506157378</c:v>
                </c:pt>
                <c:pt idx="68">
                  <c:v>0.18031430934656742</c:v>
                </c:pt>
                <c:pt idx="69">
                  <c:v>0.17101035344519813</c:v>
                </c:pt>
                <c:pt idx="70">
                  <c:v>0.17040910489080283</c:v>
                </c:pt>
                <c:pt idx="71">
                  <c:v>0.17469470827679784</c:v>
                </c:pt>
                <c:pt idx="72">
                  <c:v>0.1852922286448298</c:v>
                </c:pt>
                <c:pt idx="73">
                  <c:v>0.19035202086049544</c:v>
                </c:pt>
                <c:pt idx="74">
                  <c:v>0.20358443013161578</c:v>
                </c:pt>
                <c:pt idx="75">
                  <c:v>0.20554123711340205</c:v>
                </c:pt>
                <c:pt idx="76">
                  <c:v>0.20664476086162833</c:v>
                </c:pt>
                <c:pt idx="77">
                  <c:v>0.19514047076689445</c:v>
                </c:pt>
                <c:pt idx="78">
                  <c:v>0.20194647201946472</c:v>
                </c:pt>
                <c:pt idx="79">
                  <c:v>0.17735470941883769</c:v>
                </c:pt>
                <c:pt idx="80">
                  <c:v>0.17702265372168285</c:v>
                </c:pt>
                <c:pt idx="81">
                  <c:v>0.18693946188340807</c:v>
                </c:pt>
                <c:pt idx="82">
                  <c:v>0.19316843345111898</c:v>
                </c:pt>
                <c:pt idx="83">
                  <c:v>0.19390459363957596</c:v>
                </c:pt>
                <c:pt idx="84">
                  <c:v>0.1879135421261579</c:v>
                </c:pt>
                <c:pt idx="85">
                  <c:v>0.2</c:v>
                </c:pt>
                <c:pt idx="86">
                  <c:v>0.21820337978061075</c:v>
                </c:pt>
                <c:pt idx="87">
                  <c:v>0.20762317942361327</c:v>
                </c:pt>
                <c:pt idx="88">
                  <c:v>0.20630252100840335</c:v>
                </c:pt>
                <c:pt idx="89">
                  <c:v>0.22679983354140656</c:v>
                </c:pt>
                <c:pt idx="90">
                  <c:v>0.1864202490960225</c:v>
                </c:pt>
                <c:pt idx="91">
                  <c:v>0.17729643000401124</c:v>
                </c:pt>
                <c:pt idx="92">
                  <c:v>0.18478260869565216</c:v>
                </c:pt>
                <c:pt idx="93">
                  <c:v>0.18654173764906304</c:v>
                </c:pt>
                <c:pt idx="94">
                  <c:v>0.17819572840293274</c:v>
                </c:pt>
                <c:pt idx="95">
                  <c:v>0.17806603773584906</c:v>
                </c:pt>
                <c:pt idx="96">
                  <c:v>0.1903627959097913</c:v>
                </c:pt>
                <c:pt idx="97">
                  <c:v>0.2037057220708447</c:v>
                </c:pt>
                <c:pt idx="98">
                  <c:v>0.20579450418160095</c:v>
                </c:pt>
                <c:pt idx="99">
                  <c:v>0.21083638311166653</c:v>
                </c:pt>
                <c:pt idx="100">
                  <c:v>0.21344523985847116</c:v>
                </c:pt>
                <c:pt idx="101">
                  <c:v>0.20886713689362316</c:v>
                </c:pt>
                <c:pt idx="102">
                  <c:v>0.197678916827853</c:v>
                </c:pt>
                <c:pt idx="103">
                  <c:v>0.196597685022799</c:v>
                </c:pt>
                <c:pt idx="104">
                  <c:v>0.196954568147778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7.8661</c:v>
                </c:pt>
                <c:pt idx="1">
                  <c:v>1301.7602</c:v>
                </c:pt>
                <c:pt idx="2">
                  <c:v>1288.887</c:v>
                </c:pt>
                <c:pt idx="3">
                  <c:v>1254.804</c:v>
                </c:pt>
                <c:pt idx="4">
                  <c:v>1322.7234</c:v>
                </c:pt>
                <c:pt idx="5">
                  <c:v>1269.8532</c:v>
                </c:pt>
                <c:pt idx="6">
                  <c:v>1123.9674</c:v>
                </c:pt>
                <c:pt idx="7">
                  <c:v>1137.6008</c:v>
                </c:pt>
                <c:pt idx="8">
                  <c:v>1209.0908</c:v>
                </c:pt>
                <c:pt idx="9">
                  <c:v>1160.2428</c:v>
                </c:pt>
                <c:pt idx="10">
                  <c:v>1187.2221</c:v>
                </c:pt>
                <c:pt idx="11">
                  <c:v>1030.7821</c:v>
                </c:pt>
                <c:pt idx="12">
                  <c:v>1096.5925</c:v>
                </c:pt>
                <c:pt idx="13">
                  <c:v>1171.7908</c:v>
                </c:pt>
                <c:pt idx="14">
                  <c:v>1118.9418</c:v>
                </c:pt>
                <c:pt idx="15">
                  <c:v>1174.2332</c:v>
                </c:pt>
                <c:pt idx="16">
                  <c:v>1192.6193</c:v>
                </c:pt>
                <c:pt idx="17">
                  <c:v>1166.1829</c:v>
                </c:pt>
                <c:pt idx="18">
                  <c:v>1065.1487</c:v>
                </c:pt>
                <c:pt idx="19">
                  <c:v>1259.6294</c:v>
                </c:pt>
                <c:pt idx="20">
                  <c:v>1346.9611</c:v>
                </c:pt>
                <c:pt idx="21">
                  <c:v>1222.9173</c:v>
                </c:pt>
                <c:pt idx="22">
                  <c:v>1262.4599</c:v>
                </c:pt>
                <c:pt idx="23">
                  <c:v>1276.192</c:v>
                </c:pt>
                <c:pt idx="24">
                  <c:v>1260.2232</c:v>
                </c:pt>
                <c:pt idx="25">
                  <c:v>1214.914</c:v>
                </c:pt>
                <c:pt idx="26">
                  <c:v>1204.6253</c:v>
                </c:pt>
                <c:pt idx="27">
                  <c:v>1211.0508</c:v>
                </c:pt>
                <c:pt idx="28">
                  <c:v>1227.1425</c:v>
                </c:pt>
                <c:pt idx="29">
                  <c:v>1242.9021</c:v>
                </c:pt>
                <c:pt idx="30">
                  <c:v>1221.9073</c:v>
                </c:pt>
                <c:pt idx="31">
                  <c:v>1245.0257</c:v>
                </c:pt>
                <c:pt idx="32">
                  <c:v>1246.7711</c:v>
                </c:pt>
                <c:pt idx="33">
                  <c:v>1216.7054</c:v>
                </c:pt>
                <c:pt idx="34">
                  <c:v>1228.7258</c:v>
                </c:pt>
                <c:pt idx="35">
                  <c:v>1264.4161</c:v>
                </c:pt>
                <c:pt idx="36">
                  <c:v>1369.9618</c:v>
                </c:pt>
                <c:pt idx="37">
                  <c:v>1372.5233</c:v>
                </c:pt>
                <c:pt idx="38">
                  <c:v>1361.1408</c:v>
                </c:pt>
                <c:pt idx="39">
                  <c:v>1316.8385</c:v>
                </c:pt>
                <c:pt idx="40">
                  <c:v>1319.3285</c:v>
                </c:pt>
                <c:pt idx="41">
                  <c:v>1372.7174</c:v>
                </c:pt>
                <c:pt idx="42">
                  <c:v>1361.4058</c:v>
                </c:pt>
                <c:pt idx="43">
                  <c:v>1390.0433</c:v>
                </c:pt>
                <c:pt idx="44">
                  <c:v>1284.0383</c:v>
                </c:pt>
                <c:pt idx="45">
                  <c:v>1219.3778</c:v>
                </c:pt>
                <c:pt idx="46">
                  <c:v>1189.103</c:v>
                </c:pt>
                <c:pt idx="47">
                  <c:v>1170.0029</c:v>
                </c:pt>
                <c:pt idx="48">
                  <c:v>1175.8711</c:v>
                </c:pt>
                <c:pt idx="49">
                  <c:v>1196.895</c:v>
                </c:pt>
                <c:pt idx="50">
                  <c:v>1150.6646</c:v>
                </c:pt>
                <c:pt idx="51">
                  <c:v>1115.0663</c:v>
                </c:pt>
              </c:numCache>
            </c:numRef>
          </c:xVal>
          <c:yVal>
            <c:numRef>
              <c:f>Sheet1!$B$109:$B$160</c:f>
              <c:numCache>
                <c:formatCode>General</c:formatCode>
                <c:ptCount val="52"/>
                <c:pt idx="0">
                  <c:v>0.1923158116951657</c:v>
                </c:pt>
                <c:pt idx="1">
                  <c:v>0.20268872802481902</c:v>
                </c:pt>
                <c:pt idx="2">
                  <c:v>0.2132860938883968</c:v>
                </c:pt>
                <c:pt idx="3">
                  <c:v>0.23139577934098482</c:v>
                </c:pt>
                <c:pt idx="4">
                  <c:v>0.2016245487364621</c:v>
                </c:pt>
                <c:pt idx="5">
                  <c:v>0.21380171184022825</c:v>
                </c:pt>
                <c:pt idx="6">
                  <c:v>0.24233596892772924</c:v>
                </c:pt>
                <c:pt idx="7">
                  <c:v>0.2378266591464561</c:v>
                </c:pt>
                <c:pt idx="8">
                  <c:v>0.22140112326337572</c:v>
                </c:pt>
                <c:pt idx="9">
                  <c:v>0.23265196342119418</c:v>
                </c:pt>
                <c:pt idx="10">
                  <c:v>0.22355081881985964</c:v>
                </c:pt>
                <c:pt idx="11">
                  <c:v>0.23149693934335003</c:v>
                </c:pt>
                <c:pt idx="12">
                  <c:v>0.2287813529262731</c:v>
                </c:pt>
                <c:pt idx="13">
                  <c:v>0.2328070644902328</c:v>
                </c:pt>
                <c:pt idx="14">
                  <c:v>0.24238148984198646</c:v>
                </c:pt>
                <c:pt idx="15">
                  <c:v>0.22684194435952307</c:v>
                </c:pt>
                <c:pt idx="16">
                  <c:v>0.23249200142196944</c:v>
                </c:pt>
                <c:pt idx="17">
                  <c:v>0.23990250696378831</c:v>
                </c:pt>
                <c:pt idx="18">
                  <c:v>0.24926578560939794</c:v>
                </c:pt>
                <c:pt idx="19">
                  <c:v>0.22308636921817437</c:v>
                </c:pt>
                <c:pt idx="20">
                  <c:v>0.20043290043290043</c:v>
                </c:pt>
                <c:pt idx="21">
                  <c:v>0.22063854047890535</c:v>
                </c:pt>
                <c:pt idx="22">
                  <c:v>0.21518987341772153</c:v>
                </c:pt>
                <c:pt idx="23">
                  <c:v>0.21428571428571427</c:v>
                </c:pt>
                <c:pt idx="24">
                  <c:v>0.2177570093457944</c:v>
                </c:pt>
                <c:pt idx="25">
                  <c:v>0.20618034447821681</c:v>
                </c:pt>
                <c:pt idx="26">
                  <c:v>0.21006054960409873</c:v>
                </c:pt>
                <c:pt idx="27">
                  <c:v>0.21926671459381739</c:v>
                </c:pt>
                <c:pt idx="28">
                  <c:v>0.2174846625766871</c:v>
                </c:pt>
                <c:pt idx="29">
                  <c:v>0.20666402221340738</c:v>
                </c:pt>
                <c:pt idx="30">
                  <c:v>0.20531113753468094</c:v>
                </c:pt>
                <c:pt idx="31">
                  <c:v>0.19078201737816397</c:v>
                </c:pt>
                <c:pt idx="32">
                  <c:v>0.19462875197472354</c:v>
                </c:pt>
                <c:pt idx="33">
                  <c:v>0.2076271186440678</c:v>
                </c:pt>
                <c:pt idx="34">
                  <c:v>0.21478696741854636</c:v>
                </c:pt>
                <c:pt idx="35">
                  <c:v>0.21279761904761904</c:v>
                </c:pt>
                <c:pt idx="36">
                  <c:v>0.19208211143695014</c:v>
                </c:pt>
                <c:pt idx="37">
                  <c:v>0.19832893579595426</c:v>
                </c:pt>
                <c:pt idx="38">
                  <c:v>0.20606060606060606</c:v>
                </c:pt>
                <c:pt idx="39">
                  <c:v>0.20914363698396451</c:v>
                </c:pt>
                <c:pt idx="40">
                  <c:v>0.19425735554767812</c:v>
                </c:pt>
                <c:pt idx="41">
                  <c:v>0.1972630173564753</c:v>
                </c:pt>
                <c:pt idx="42">
                  <c:v>0.20808323329331732</c:v>
                </c:pt>
                <c:pt idx="43">
                  <c:v>0.19221476510067115</c:v>
                </c:pt>
                <c:pt idx="44">
                  <c:v>0.1855727901326855</c:v>
                </c:pt>
                <c:pt idx="45">
                  <c:v>0.20180520005388658</c:v>
                </c:pt>
                <c:pt idx="46">
                  <c:v>0.22570321711302005</c:v>
                </c:pt>
                <c:pt idx="47">
                  <c:v>0.23031006466589288</c:v>
                </c:pt>
                <c:pt idx="48">
                  <c:v>0.21723224422858584</c:v>
                </c:pt>
                <c:pt idx="49">
                  <c:v>0.22429459588713535</c:v>
                </c:pt>
                <c:pt idx="50">
                  <c:v>0.22335477486392874</c:v>
                </c:pt>
                <c:pt idx="51">
                  <c:v>0.215199258572752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3.5947217503747</c:v>
                </c:pt>
              </c:numCache>
            </c:numRef>
          </c:xVal>
          <c:yVal>
            <c:numRef>
              <c:f>Sheet1!$B$163:$B$164</c:f>
              <c:numCache>
                <c:formatCode>General</c:formatCode>
                <c:ptCount val="2"/>
                <c:pt idx="0">
                  <c:v>0.25101247284020256</c:v>
                </c:pt>
                <c:pt idx="1">
                  <c:v>0.251012472840202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3.5947217503747</c:v>
                </c:pt>
                <c:pt idx="1">
                  <c:v>983.5947217503747</c:v>
                </c:pt>
              </c:numCache>
            </c:numRef>
          </c:xVal>
          <c:yVal>
            <c:numRef>
              <c:f>Sheet1!$B$167:$B$168</c:f>
              <c:numCache>
                <c:formatCode>General</c:formatCode>
                <c:ptCount val="2"/>
                <c:pt idx="0">
                  <c:v>0.25101247284020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3.221919373998</c:v>
                </c:pt>
              </c:numCache>
            </c:numRef>
          </c:xVal>
          <c:yVal>
            <c:numRef>
              <c:f>Sheet1!$B$171:$B$172</c:f>
              <c:numCache>
                <c:formatCode>General</c:formatCode>
                <c:ptCount val="2"/>
                <c:pt idx="0">
                  <c:v>0.22956382133288886</c:v>
                </c:pt>
                <c:pt idx="1">
                  <c:v>0.2295638213328888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3.221919373998</c:v>
                </c:pt>
                <c:pt idx="1">
                  <c:v>1133.221919373998</c:v>
                </c:pt>
              </c:numCache>
            </c:numRef>
          </c:xVal>
          <c:yVal>
            <c:numRef>
              <c:f>Sheet1!$B$175:$B$176</c:f>
              <c:numCache>
                <c:formatCode>General</c:formatCode>
                <c:ptCount val="2"/>
                <c:pt idx="0">
                  <c:v>0.229563821332888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2.6871649991792</c:v>
                </c:pt>
              </c:numCache>
            </c:numRef>
          </c:xVal>
          <c:yVal>
            <c:numRef>
              <c:f>Sheet1!$B$179:$B$180</c:f>
              <c:numCache>
                <c:formatCode>General</c:formatCode>
                <c:ptCount val="2"/>
                <c:pt idx="0">
                  <c:v>0.2095718579846149</c:v>
                </c:pt>
                <c:pt idx="1">
                  <c:v>0.209571857984614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2.6871649991792</c:v>
                </c:pt>
                <c:pt idx="1">
                  <c:v>1272.6871649991792</c:v>
                </c:pt>
              </c:numCache>
            </c:numRef>
          </c:xVal>
          <c:yVal>
            <c:numRef>
              <c:f>Sheet1!$B$183:$B$184</c:f>
              <c:numCache>
                <c:formatCode>General</c:formatCode>
                <c:ptCount val="2"/>
                <c:pt idx="0">
                  <c:v>0.20957185798461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7.8661</c:v>
                </c:pt>
                <c:pt idx="1">
                  <c:v>1301.7602</c:v>
                </c:pt>
                <c:pt idx="2">
                  <c:v>1288.887</c:v>
                </c:pt>
                <c:pt idx="3">
                  <c:v>1254.804</c:v>
                </c:pt>
                <c:pt idx="4">
                  <c:v>1322.7234</c:v>
                </c:pt>
                <c:pt idx="5">
                  <c:v>1269.8532</c:v>
                </c:pt>
                <c:pt idx="6">
                  <c:v>1123.9674</c:v>
                </c:pt>
                <c:pt idx="7">
                  <c:v>1137.6008</c:v>
                </c:pt>
                <c:pt idx="8">
                  <c:v>1209.0908</c:v>
                </c:pt>
                <c:pt idx="9">
                  <c:v>1160.2428</c:v>
                </c:pt>
                <c:pt idx="10">
                  <c:v>1187.2221</c:v>
                </c:pt>
                <c:pt idx="11">
                  <c:v>1030.7821</c:v>
                </c:pt>
                <c:pt idx="12">
                  <c:v>1096.5925</c:v>
                </c:pt>
                <c:pt idx="13">
                  <c:v>1171.7908</c:v>
                </c:pt>
                <c:pt idx="14">
                  <c:v>1118.9418</c:v>
                </c:pt>
                <c:pt idx="15">
                  <c:v>1174.2332</c:v>
                </c:pt>
                <c:pt idx="16">
                  <c:v>1192.6193</c:v>
                </c:pt>
                <c:pt idx="17">
                  <c:v>1166.1829</c:v>
                </c:pt>
                <c:pt idx="18">
                  <c:v>1065.1487</c:v>
                </c:pt>
                <c:pt idx="19">
                  <c:v>1259.6294</c:v>
                </c:pt>
                <c:pt idx="20">
                  <c:v>1346.9611</c:v>
                </c:pt>
                <c:pt idx="21">
                  <c:v>1222.9173</c:v>
                </c:pt>
                <c:pt idx="22">
                  <c:v>1262.4599</c:v>
                </c:pt>
                <c:pt idx="23">
                  <c:v>1276.192</c:v>
                </c:pt>
                <c:pt idx="24">
                  <c:v>1260.2232</c:v>
                </c:pt>
                <c:pt idx="25">
                  <c:v>1214.914</c:v>
                </c:pt>
                <c:pt idx="26">
                  <c:v>1204.6253</c:v>
                </c:pt>
                <c:pt idx="27">
                  <c:v>1211.0508</c:v>
                </c:pt>
                <c:pt idx="28">
                  <c:v>1227.1425</c:v>
                </c:pt>
                <c:pt idx="29">
                  <c:v>1242.9021</c:v>
                </c:pt>
                <c:pt idx="30">
                  <c:v>1221.9073</c:v>
                </c:pt>
                <c:pt idx="31">
                  <c:v>1245.0257</c:v>
                </c:pt>
                <c:pt idx="32">
                  <c:v>1246.7711</c:v>
                </c:pt>
                <c:pt idx="33">
                  <c:v>1216.7054</c:v>
                </c:pt>
                <c:pt idx="34">
                  <c:v>1228.7258</c:v>
                </c:pt>
                <c:pt idx="35">
                  <c:v>1264.4161</c:v>
                </c:pt>
                <c:pt idx="36">
                  <c:v>1369.9618</c:v>
                </c:pt>
                <c:pt idx="37">
                  <c:v>1372.5233</c:v>
                </c:pt>
                <c:pt idx="38">
                  <c:v>1361.1408</c:v>
                </c:pt>
                <c:pt idx="39">
                  <c:v>1316.8385</c:v>
                </c:pt>
                <c:pt idx="40">
                  <c:v>1319.3285</c:v>
                </c:pt>
                <c:pt idx="41">
                  <c:v>1372.7174</c:v>
                </c:pt>
                <c:pt idx="42">
                  <c:v>1361.4058</c:v>
                </c:pt>
                <c:pt idx="43">
                  <c:v>1390.0433</c:v>
                </c:pt>
                <c:pt idx="44">
                  <c:v>1284.0383</c:v>
                </c:pt>
                <c:pt idx="45">
                  <c:v>1219.3778</c:v>
                </c:pt>
                <c:pt idx="46">
                  <c:v>1189.103</c:v>
                </c:pt>
                <c:pt idx="47">
                  <c:v>1170.0029</c:v>
                </c:pt>
                <c:pt idx="48">
                  <c:v>1175.8711</c:v>
                </c:pt>
                <c:pt idx="49">
                  <c:v>1196.895</c:v>
                </c:pt>
                <c:pt idx="50">
                  <c:v>1150.6646</c:v>
                </c:pt>
                <c:pt idx="51">
                  <c:v>1115.0663</c:v>
                </c:pt>
                <c:pt idx="52">
                  <c:v>1133.221919373998</c:v>
                </c:pt>
                <c:pt idx="53">
                  <c:v>983.5947217503747</c:v>
                </c:pt>
                <c:pt idx="54">
                  <c:v>1272.6871649991792</c:v>
                </c:pt>
              </c:numCache>
            </c:numRef>
          </c:xVal>
          <c:yVal>
            <c:numRef>
              <c:f>Sheet1!$B$187:$B$241</c:f>
              <c:numCache>
                <c:formatCode>General</c:formatCode>
                <c:ptCount val="55"/>
                <c:pt idx="0">
                  <c:v>0.2030955806253229</c:v>
                </c:pt>
                <c:pt idx="1">
                  <c:v>0.20540431755148386</c:v>
                </c:pt>
                <c:pt idx="2">
                  <c:v>0.20724965573176907</c:v>
                </c:pt>
                <c:pt idx="3">
                  <c:v>0.21213536101084965</c:v>
                </c:pt>
                <c:pt idx="4">
                  <c:v>0.202399299891465</c:v>
                </c:pt>
                <c:pt idx="5">
                  <c:v>0.2099780991534445</c:v>
                </c:pt>
                <c:pt idx="6">
                  <c:v>0.2308904314951661</c:v>
                </c:pt>
                <c:pt idx="7">
                  <c:v>0.22893612071407826</c:v>
                </c:pt>
                <c:pt idx="8">
                  <c:v>0.21868822380355182</c:v>
                </c:pt>
                <c:pt idx="9">
                  <c:v>0.2256904516436049</c:v>
                </c:pt>
                <c:pt idx="10">
                  <c:v>0.22182304242387957</c:v>
                </c:pt>
                <c:pt idx="11">
                  <c:v>0.2442482906079998</c:v>
                </c:pt>
                <c:pt idx="12">
                  <c:v>0.23481454889810316</c:v>
                </c:pt>
                <c:pt idx="13">
                  <c:v>0.22403507727624222</c:v>
                </c:pt>
                <c:pt idx="14">
                  <c:v>0.23161083757592624</c:v>
                </c:pt>
                <c:pt idx="15">
                  <c:v>0.22368496588423956</c:v>
                </c:pt>
                <c:pt idx="16">
                  <c:v>0.22104936849458184</c:v>
                </c:pt>
                <c:pt idx="17">
                  <c:v>0.22483895447703311</c:v>
                </c:pt>
                <c:pt idx="18">
                  <c:v>0.23932193204085336</c:v>
                </c:pt>
                <c:pt idx="19">
                  <c:v>0.2114436530551628</c:v>
                </c:pt>
                <c:pt idx="20">
                  <c:v>0.1989248915693463</c:v>
                </c:pt>
                <c:pt idx="21">
                  <c:v>0.21670623266306513</c:v>
                </c:pt>
                <c:pt idx="22">
                  <c:v>0.2110379085845341</c:v>
                </c:pt>
                <c:pt idx="23">
                  <c:v>0.20906944942709893</c:v>
                </c:pt>
                <c:pt idx="24">
                  <c:v>0.21135853344143404</c:v>
                </c:pt>
                <c:pt idx="25">
                  <c:v>0.21785348393378853</c:v>
                </c:pt>
                <c:pt idx="26">
                  <c:v>0.21932834107385474</c:v>
                </c:pt>
                <c:pt idx="27">
                  <c:v>0.21840726313849892</c:v>
                </c:pt>
                <c:pt idx="28">
                  <c:v>0.2161005617436868</c:v>
                </c:pt>
                <c:pt idx="29">
                  <c:v>0.2138414659799278</c:v>
                </c:pt>
                <c:pt idx="30">
                  <c:v>0.2168510134139342</c:v>
                </c:pt>
                <c:pt idx="31">
                  <c:v>0.21353705370017967</c:v>
                </c:pt>
                <c:pt idx="32">
                  <c:v>0.2132868553610045</c:v>
                </c:pt>
                <c:pt idx="33">
                  <c:v>0.2175966916198213</c:v>
                </c:pt>
                <c:pt idx="34">
                  <c:v>0.21587359999828976</c:v>
                </c:pt>
                <c:pt idx="35">
                  <c:v>0.21075749263913796</c:v>
                </c:pt>
                <c:pt idx="36">
                  <c:v>0.1956278038302227</c:v>
                </c:pt>
                <c:pt idx="37">
                  <c:v>0.19526061977739975</c:v>
                </c:pt>
                <c:pt idx="38">
                  <c:v>0.19689227017023886</c:v>
                </c:pt>
                <c:pt idx="39">
                  <c:v>0.20324288428828632</c:v>
                </c:pt>
                <c:pt idx="40">
                  <c:v>0.20288594956584668</c:v>
                </c:pt>
                <c:pt idx="41">
                  <c:v>0.19523279607072283</c:v>
                </c:pt>
                <c:pt idx="42">
                  <c:v>0.1968542831415455</c:v>
                </c:pt>
                <c:pt idx="43">
                  <c:v>0.19274917546529424</c:v>
                </c:pt>
                <c:pt idx="44">
                  <c:v>0.2079447036790354</c:v>
                </c:pt>
                <c:pt idx="45">
                  <c:v>0.21721361035385836</c:v>
                </c:pt>
                <c:pt idx="46">
                  <c:v>0.22155342052852342</c:v>
                </c:pt>
                <c:pt idx="47">
                  <c:v>0.22429136787473614</c:v>
                </c:pt>
                <c:pt idx="48">
                  <c:v>0.22345017737745887</c:v>
                </c:pt>
                <c:pt idx="49">
                  <c:v>0.22043645853766006</c:v>
                </c:pt>
                <c:pt idx="50">
                  <c:v>0.22706346054258944</c:v>
                </c:pt>
                <c:pt idx="51">
                  <c:v>0.2321663799521571</c:v>
                </c:pt>
                <c:pt idx="52">
                  <c:v>0.22956382133288886</c:v>
                </c:pt>
                <c:pt idx="53">
                  <c:v>0.25101247284020256</c:v>
                </c:pt>
                <c:pt idx="54">
                  <c:v>0.209571857984614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0.0"/>
          <c:min val="63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63118346900434"/>
          <c:min val="0.1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37301150620769</c:v>
                </c:pt>
                <c:pt idx="1">
                  <c:v>0.6269929775480089</c:v>
                </c:pt>
                <c:pt idx="2">
                  <c:v>0.6600204433350533</c:v>
                </c:pt>
                <c:pt idx="3">
                  <c:v>0.673928634417745</c:v>
                </c:pt>
                <c:pt idx="4">
                  <c:v>0.6663327276878515</c:v>
                </c:pt>
                <c:pt idx="5">
                  <c:v>0.7090643125365411</c:v>
                </c:pt>
                <c:pt idx="6">
                  <c:v>0.6565644957084135</c:v>
                </c:pt>
                <c:pt idx="7">
                  <c:v>0.6187464627007568</c:v>
                </c:pt>
                <c:pt idx="8">
                  <c:v>0.6512787495550288</c:v>
                </c:pt>
                <c:pt idx="9">
                  <c:v>0.6821122622259981</c:v>
                </c:pt>
                <c:pt idx="10">
                  <c:v>0.6956142575863993</c:v>
                </c:pt>
                <c:pt idx="11">
                  <c:v>0.7129174794992832</c:v>
                </c:pt>
                <c:pt idx="12">
                  <c:v>0.7318738921877799</c:v>
                </c:pt>
                <c:pt idx="13">
                  <c:v>0.7246494431771612</c:v>
                </c:pt>
                <c:pt idx="14">
                  <c:v>0.7128646817474555</c:v>
                </c:pt>
                <c:pt idx="15">
                  <c:v>0.7244160912930073</c:v>
                </c:pt>
                <c:pt idx="16">
                  <c:v>0.7143867635497912</c:v>
                </c:pt>
                <c:pt idx="17">
                  <c:v>0.7264751755795589</c:v>
                </c:pt>
                <c:pt idx="18">
                  <c:v>0.765780450895859</c:v>
                </c:pt>
                <c:pt idx="19">
                  <c:v>0.7827765418695067</c:v>
                </c:pt>
                <c:pt idx="20">
                  <c:v>0.7918248331162121</c:v>
                </c:pt>
                <c:pt idx="21">
                  <c:v>0.6430491504263776</c:v>
                </c:pt>
                <c:pt idx="22">
                  <c:v>0.6192493485170191</c:v>
                </c:pt>
                <c:pt idx="23">
                  <c:v>0.6058135184425004</c:v>
                </c:pt>
                <c:pt idx="24">
                  <c:v>0.5789110220613078</c:v>
                </c:pt>
                <c:pt idx="25">
                  <c:v>0.5728822548355325</c:v>
                </c:pt>
                <c:pt idx="26">
                  <c:v>0.586109443835405</c:v>
                </c:pt>
                <c:pt idx="27">
                  <c:v>0.5995058566034932</c:v>
                </c:pt>
                <c:pt idx="28">
                  <c:v>0.5804724551757101</c:v>
                </c:pt>
                <c:pt idx="29">
                  <c:v>0.5437537402662421</c:v>
                </c:pt>
                <c:pt idx="30">
                  <c:v>0.5456559656656943</c:v>
                </c:pt>
                <c:pt idx="31">
                  <c:v>0.5456866184542679</c:v>
                </c:pt>
                <c:pt idx="32">
                  <c:v>0.5294556484509526</c:v>
                </c:pt>
                <c:pt idx="33">
                  <c:v>0.5199411153360344</c:v>
                </c:pt>
                <c:pt idx="34">
                  <c:v>0.5900247544075232</c:v>
                </c:pt>
                <c:pt idx="35">
                  <c:v>0.6278845275012994</c:v>
                </c:pt>
                <c:pt idx="36">
                  <c:v>0.6587120075405374</c:v>
                </c:pt>
                <c:pt idx="37">
                  <c:v>0.6441244509111964</c:v>
                </c:pt>
                <c:pt idx="38">
                  <c:v>0.7267489437493726</c:v>
                </c:pt>
                <c:pt idx="39">
                  <c:v>0.737101027400841</c:v>
                </c:pt>
                <c:pt idx="40">
                  <c:v>0.7168002475036698</c:v>
                </c:pt>
                <c:pt idx="41">
                  <c:v>0.6937724826399434</c:v>
                </c:pt>
                <c:pt idx="42">
                  <c:v>0.7214793645218761</c:v>
                </c:pt>
                <c:pt idx="43">
                  <c:v>0.7290672766410347</c:v>
                </c:pt>
                <c:pt idx="44">
                  <c:v>0.6853686926618718</c:v>
                </c:pt>
                <c:pt idx="45">
                  <c:v>0.6736023273874469</c:v>
                </c:pt>
                <c:pt idx="46">
                  <c:v>0.6561722225095686</c:v>
                </c:pt>
                <c:pt idx="47">
                  <c:v>0.6602847513376099</c:v>
                </c:pt>
                <c:pt idx="48">
                  <c:v>0.6716787563159327</c:v>
                </c:pt>
                <c:pt idx="49">
                  <c:v>0.6833863897720168</c:v>
                </c:pt>
                <c:pt idx="50">
                  <c:v>0.6369135685061532</c:v>
                </c:pt>
                <c:pt idx="51">
                  <c:v>0.6611263189795907</c:v>
                </c:pt>
                <c:pt idx="52">
                  <c:v>0.6816718374066101</c:v>
                </c:pt>
                <c:pt idx="53">
                  <c:v>0.6473857978872896</c:v>
                </c:pt>
                <c:pt idx="54">
                  <c:v>0.6272600768902139</c:v>
                </c:pt>
                <c:pt idx="55">
                  <c:v>0.6476426296213894</c:v>
                </c:pt>
                <c:pt idx="56">
                  <c:v>0.6375107912395919</c:v>
                </c:pt>
                <c:pt idx="57">
                  <c:v>0.6566826404354948</c:v>
                </c:pt>
                <c:pt idx="58">
                  <c:v>0.6176539769527515</c:v>
                </c:pt>
                <c:pt idx="59">
                  <c:v>0.6285335211534797</c:v>
                </c:pt>
                <c:pt idx="60">
                  <c:v>0.6296088584016465</c:v>
                </c:pt>
                <c:pt idx="61">
                  <c:v>0.6500177877291395</c:v>
                </c:pt>
                <c:pt idx="62">
                  <c:v>0.6972061448327499</c:v>
                </c:pt>
                <c:pt idx="63">
                  <c:v>0.6819264783662873</c:v>
                </c:pt>
                <c:pt idx="64">
                  <c:v>0.7693357680006615</c:v>
                </c:pt>
                <c:pt idx="65">
                  <c:v>0.7721165049312835</c:v>
                </c:pt>
                <c:pt idx="66">
                  <c:v>0.7058020826487051</c:v>
                </c:pt>
                <c:pt idx="67">
                  <c:v>0.6989477070074137</c:v>
                </c:pt>
                <c:pt idx="68">
                  <c:v>0.698177221333688</c:v>
                </c:pt>
                <c:pt idx="69">
                  <c:v>0.6491687680375483</c:v>
                </c:pt>
                <c:pt idx="70">
                  <c:v>0.6201608728707735</c:v>
                </c:pt>
                <c:pt idx="71">
                  <c:v>0.5787428486850721</c:v>
                </c:pt>
                <c:pt idx="72">
                  <c:v>0.6732500058287401</c:v>
                </c:pt>
                <c:pt idx="73">
                  <c:v>0.6452622431677724</c:v>
                </c:pt>
                <c:pt idx="74">
                  <c:v>0.646102903759649</c:v>
                </c:pt>
                <c:pt idx="75">
                  <c:v>0.6123027202528931</c:v>
                </c:pt>
                <c:pt idx="76">
                  <c:v>0.6169967433939361</c:v>
                </c:pt>
                <c:pt idx="77">
                  <c:v>0.622069838654683</c:v>
                </c:pt>
                <c:pt idx="78">
                  <c:v>0.6395916849547854</c:v>
                </c:pt>
                <c:pt idx="79">
                  <c:v>0.4669151772628277</c:v>
                </c:pt>
                <c:pt idx="80">
                  <c:v>0.5207011332047629</c:v>
                </c:pt>
                <c:pt idx="81">
                  <c:v>0.5778676261890806</c:v>
                </c:pt>
                <c:pt idx="82">
                  <c:v>0.6093895665700492</c:v>
                </c:pt>
                <c:pt idx="83">
                  <c:v>0.5919949445235518</c:v>
                </c:pt>
                <c:pt idx="84">
                  <c:v>0.5309145364591198</c:v>
                </c:pt>
                <c:pt idx="85">
                  <c:v>0.6523033599565472</c:v>
                </c:pt>
                <c:pt idx="86">
                  <c:v>0.7127642958860081</c:v>
                </c:pt>
                <c:pt idx="87">
                  <c:v>0.6252979034894889</c:v>
                </c:pt>
                <c:pt idx="88">
                  <c:v>0.5766366130314908</c:v>
                </c:pt>
                <c:pt idx="89">
                  <c:v>0.5572117720976175</c:v>
                </c:pt>
                <c:pt idx="90">
                  <c:v>0.6038715278126014</c:v>
                </c:pt>
                <c:pt idx="91">
                  <c:v>0.6314517101242317</c:v>
                </c:pt>
                <c:pt idx="92">
                  <c:v>0.6784978082005362</c:v>
                </c:pt>
                <c:pt idx="93">
                  <c:v>0.7017551577226449</c:v>
                </c:pt>
                <c:pt idx="94">
                  <c:v>0.6445314777628056</c:v>
                </c:pt>
                <c:pt idx="95">
                  <c:v>0.7466533394828202</c:v>
                </c:pt>
                <c:pt idx="96">
                  <c:v>0.7850361943140304</c:v>
                </c:pt>
                <c:pt idx="97">
                  <c:v>0.8059902511029413</c:v>
                </c:pt>
                <c:pt idx="98">
                  <c:v>0.8052526287248604</c:v>
                </c:pt>
                <c:pt idx="99">
                  <c:v>0.7934449066586727</c:v>
                </c:pt>
                <c:pt idx="100">
                  <c:v>0.7721591911926371</c:v>
                </c:pt>
                <c:pt idx="101">
                  <c:v>0.7193412967320755</c:v>
                </c:pt>
                <c:pt idx="102">
                  <c:v>0.7419462844990143</c:v>
                </c:pt>
                <c:pt idx="103">
                  <c:v>0.7156958661255005</c:v>
                </c:pt>
                <c:pt idx="104">
                  <c:v>0.7485890720316573</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22766870665664</c:v>
                </c:pt>
                <c:pt idx="1">
                  <c:v>0.6283768854631604</c:v>
                </c:pt>
                <c:pt idx="2">
                  <c:v>0.6296156770112133</c:v>
                </c:pt>
                <c:pt idx="3">
                  <c:v>0.6201684261378042</c:v>
                </c:pt>
                <c:pt idx="4">
                  <c:v>0.6177135428655826</c:v>
                </c:pt>
                <c:pt idx="5">
                  <c:v>0.6400055721461376</c:v>
                </c:pt>
                <c:pt idx="6">
                  <c:v>0.69151929448527</c:v>
                </c:pt>
                <c:pt idx="7">
                  <c:v>0.6913220418457957</c:v>
                </c:pt>
                <c:pt idx="8">
                  <c:v>0.7146419842817792</c:v>
                </c:pt>
                <c:pt idx="9">
                  <c:v>0.7139577975335247</c:v>
                </c:pt>
                <c:pt idx="10">
                  <c:v>0.7306634866009821</c:v>
                </c:pt>
                <c:pt idx="11">
                  <c:v>0.6963303246812951</c:v>
                </c:pt>
                <c:pt idx="12">
                  <c:v>0.6582901874425063</c:v>
                </c:pt>
                <c:pt idx="13">
                  <c:v>0.6487044271955985</c:v>
                </c:pt>
                <c:pt idx="14">
                  <c:v>0.6310983412139611</c:v>
                </c:pt>
                <c:pt idx="15">
                  <c:v>0.6386352464773231</c:v>
                </c:pt>
                <c:pt idx="16">
                  <c:v>0.6652259707110806</c:v>
                </c:pt>
                <c:pt idx="17">
                  <c:v>0.660023294059658</c:v>
                </c:pt>
                <c:pt idx="18">
                  <c:v>0.6371518419515606</c:v>
                </c:pt>
                <c:pt idx="19">
                  <c:v>0.6655008264811969</c:v>
                </c:pt>
                <c:pt idx="20">
                  <c:v>0.6653018023377947</c:v>
                </c:pt>
                <c:pt idx="21">
                  <c:v>0.6520110286183842</c:v>
                </c:pt>
                <c:pt idx="22">
                  <c:v>0.6276218382335069</c:v>
                </c:pt>
                <c:pt idx="23">
                  <c:v>0.6528517248566241</c:v>
                </c:pt>
                <c:pt idx="24">
                  <c:v>0.669353754764415</c:v>
                </c:pt>
                <c:pt idx="25">
                  <c:v>0.6845556836033575</c:v>
                </c:pt>
                <c:pt idx="26">
                  <c:v>0.6621530919537727</c:v>
                </c:pt>
                <c:pt idx="27">
                  <c:v>0.7035030566886408</c:v>
                </c:pt>
                <c:pt idx="28">
                  <c:v>0.6919840569252992</c:v>
                </c:pt>
                <c:pt idx="29">
                  <c:v>0.6320746417935005</c:v>
                </c:pt>
                <c:pt idx="30">
                  <c:v>0.5795042788184273</c:v>
                </c:pt>
                <c:pt idx="31">
                  <c:v>0.6178749741646553</c:v>
                </c:pt>
                <c:pt idx="32">
                  <c:v>0.6241995568656127</c:v>
                </c:pt>
                <c:pt idx="33">
                  <c:v>0.6391198837705856</c:v>
                </c:pt>
                <c:pt idx="34">
                  <c:v>0.6561721484741594</c:v>
                </c:pt>
                <c:pt idx="35">
                  <c:v>0.5936254537431929</c:v>
                </c:pt>
                <c:pt idx="36">
                  <c:v>0.5559378695579851</c:v>
                </c:pt>
                <c:pt idx="37">
                  <c:v>0.6073144204442464</c:v>
                </c:pt>
                <c:pt idx="38">
                  <c:v>0.6191112022714372</c:v>
                </c:pt>
                <c:pt idx="39">
                  <c:v>0.6827391524866538</c:v>
                </c:pt>
                <c:pt idx="40">
                  <c:v>0.6888117935304203</c:v>
                </c:pt>
                <c:pt idx="41">
                  <c:v>0.7057455610212314</c:v>
                </c:pt>
                <c:pt idx="42">
                  <c:v>0.7183512502882986</c:v>
                </c:pt>
                <c:pt idx="43">
                  <c:v>0.7688528004657695</c:v>
                </c:pt>
                <c:pt idx="44">
                  <c:v>0.8348091994678071</c:v>
                </c:pt>
                <c:pt idx="45">
                  <c:v>0.8211343246258825</c:v>
                </c:pt>
                <c:pt idx="46">
                  <c:v>0.7823659069374026</c:v>
                </c:pt>
                <c:pt idx="47">
                  <c:v>0.8021888773501444</c:v>
                </c:pt>
                <c:pt idx="48">
                  <c:v>0.8702253728698902</c:v>
                </c:pt>
                <c:pt idx="49">
                  <c:v>0.8937559878545014</c:v>
                </c:pt>
                <c:pt idx="50">
                  <c:v>0.769538569138099</c:v>
                </c:pt>
                <c:pt idx="51">
                  <c:v>0.7427633073477246</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9697714409206575</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9697714409206575</c:v>
                </c:pt>
                <c:pt idx="1">
                  <c:v>0.39697714409206575</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008788607801723</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008788607801723</c:v>
                </c:pt>
                <c:pt idx="1">
                  <c:v>0.49008788607801723</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698795720429933</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698795720429933</c:v>
                </c:pt>
                <c:pt idx="1">
                  <c:v>0.7698795720429933</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22766870665664</c:v>
                </c:pt>
                <c:pt idx="1">
                  <c:v>0.6283768854631604</c:v>
                </c:pt>
                <c:pt idx="2">
                  <c:v>0.6296156770112133</c:v>
                </c:pt>
                <c:pt idx="3">
                  <c:v>0.6201684261378042</c:v>
                </c:pt>
                <c:pt idx="4">
                  <c:v>0.6177135428655826</c:v>
                </c:pt>
                <c:pt idx="5">
                  <c:v>0.6400055721461376</c:v>
                </c:pt>
                <c:pt idx="6">
                  <c:v>0.69151929448527</c:v>
                </c:pt>
                <c:pt idx="7">
                  <c:v>0.6913220418457957</c:v>
                </c:pt>
                <c:pt idx="8">
                  <c:v>0.7146419842817792</c:v>
                </c:pt>
                <c:pt idx="9">
                  <c:v>0.7139577975335247</c:v>
                </c:pt>
                <c:pt idx="10">
                  <c:v>0.7306634866009821</c:v>
                </c:pt>
                <c:pt idx="11">
                  <c:v>0.6963303246812951</c:v>
                </c:pt>
                <c:pt idx="12">
                  <c:v>0.6582901874425063</c:v>
                </c:pt>
                <c:pt idx="13">
                  <c:v>0.6487044271955985</c:v>
                </c:pt>
                <c:pt idx="14">
                  <c:v>0.6310983412139611</c:v>
                </c:pt>
                <c:pt idx="15">
                  <c:v>0.6386352464773231</c:v>
                </c:pt>
                <c:pt idx="16">
                  <c:v>0.6652259707110806</c:v>
                </c:pt>
                <c:pt idx="17">
                  <c:v>0.660023294059658</c:v>
                </c:pt>
                <c:pt idx="18">
                  <c:v>0.6371518419515606</c:v>
                </c:pt>
                <c:pt idx="19">
                  <c:v>0.6655008264811969</c:v>
                </c:pt>
                <c:pt idx="20">
                  <c:v>0.6653018023377947</c:v>
                </c:pt>
                <c:pt idx="21">
                  <c:v>0.6520110286183842</c:v>
                </c:pt>
                <c:pt idx="22">
                  <c:v>0.6276218382335069</c:v>
                </c:pt>
                <c:pt idx="23">
                  <c:v>0.6528517248566241</c:v>
                </c:pt>
                <c:pt idx="24">
                  <c:v>0.669353754764415</c:v>
                </c:pt>
                <c:pt idx="25">
                  <c:v>0.6845556836033575</c:v>
                </c:pt>
                <c:pt idx="26">
                  <c:v>0.6621530919537727</c:v>
                </c:pt>
                <c:pt idx="27">
                  <c:v>0.7035030566886408</c:v>
                </c:pt>
                <c:pt idx="28">
                  <c:v>0.6919840569252992</c:v>
                </c:pt>
                <c:pt idx="29">
                  <c:v>0.6320746417935005</c:v>
                </c:pt>
                <c:pt idx="30">
                  <c:v>0.5795042788184273</c:v>
                </c:pt>
                <c:pt idx="31">
                  <c:v>0.6178749741646553</c:v>
                </c:pt>
                <c:pt idx="32">
                  <c:v>0.6241995568656127</c:v>
                </c:pt>
                <c:pt idx="33">
                  <c:v>0.6391198837705856</c:v>
                </c:pt>
                <c:pt idx="34">
                  <c:v>0.6561721484741594</c:v>
                </c:pt>
                <c:pt idx="35">
                  <c:v>0.5936254537431929</c:v>
                </c:pt>
                <c:pt idx="36">
                  <c:v>0.5559378695579851</c:v>
                </c:pt>
                <c:pt idx="37">
                  <c:v>0.6073144204442464</c:v>
                </c:pt>
                <c:pt idx="38">
                  <c:v>0.6191112022714372</c:v>
                </c:pt>
                <c:pt idx="39">
                  <c:v>0.6827391524866538</c:v>
                </c:pt>
                <c:pt idx="40">
                  <c:v>0.6888117935304203</c:v>
                </c:pt>
                <c:pt idx="41">
                  <c:v>0.7057455610212314</c:v>
                </c:pt>
                <c:pt idx="42">
                  <c:v>0.7183512502882986</c:v>
                </c:pt>
                <c:pt idx="43">
                  <c:v>0.7688528004657695</c:v>
                </c:pt>
                <c:pt idx="44">
                  <c:v>0.8348091994678071</c:v>
                </c:pt>
                <c:pt idx="45">
                  <c:v>0.8211343246258825</c:v>
                </c:pt>
                <c:pt idx="46">
                  <c:v>0.7823659069374026</c:v>
                </c:pt>
                <c:pt idx="47">
                  <c:v>0.8021888773501444</c:v>
                </c:pt>
                <c:pt idx="48">
                  <c:v>0.8702253728698902</c:v>
                </c:pt>
                <c:pt idx="49">
                  <c:v>0.8937559878545014</c:v>
                </c:pt>
                <c:pt idx="50">
                  <c:v>0.769538569138099</c:v>
                </c:pt>
                <c:pt idx="51">
                  <c:v>0.7427633073477246</c:v>
                </c:pt>
                <c:pt idx="52">
                  <c:v>0.49008788607801723</c:v>
                </c:pt>
                <c:pt idx="53">
                  <c:v>0.39697714409206575</c:v>
                </c:pt>
                <c:pt idx="54">
                  <c:v>0.7698795720429933</c:v>
                </c:pt>
              </c:numCache>
            </c:numRef>
          </c:xVal>
          <c:yVal>
            <c:numRef>
              <c:f>Sheet1!$B$187:$B$241</c:f>
              <c:numCache>
                <c:formatCode>General</c:formatCode>
                <c:ptCount val="55"/>
                <c:pt idx="0">
                  <c:v>0.15584227041121756</c:v>
                </c:pt>
                <c:pt idx="1">
                  <c:v>0.1663462254815311</c:v>
                </c:pt>
                <c:pt idx="2">
                  <c:v>0.16619113321058937</c:v>
                </c:pt>
                <c:pt idx="3">
                  <c:v>0.16737389522928098</c:v>
                </c:pt>
                <c:pt idx="4">
                  <c:v>0.16768123783440622</c:v>
                </c:pt>
                <c:pt idx="5">
                  <c:v>0.16489035550197936</c:v>
                </c:pt>
                <c:pt idx="6">
                  <c:v>0.15844102171794228</c:v>
                </c:pt>
                <c:pt idx="7">
                  <c:v>0.15846571704287682</c:v>
                </c:pt>
                <c:pt idx="8">
                  <c:v>0.15554614366000097</c:v>
                </c:pt>
                <c:pt idx="9">
                  <c:v>0.15563180139370264</c:v>
                </c:pt>
                <c:pt idx="10">
                  <c:v>0.15354030887489226</c:v>
                </c:pt>
                <c:pt idx="11">
                  <c:v>0.15783869794535643</c:v>
                </c:pt>
                <c:pt idx="12">
                  <c:v>0.16260118706676785</c:v>
                </c:pt>
                <c:pt idx="13">
                  <c:v>0.1638012899636051</c:v>
                </c:pt>
                <c:pt idx="14">
                  <c:v>0.16600550895555666</c:v>
                </c:pt>
                <c:pt idx="15">
                  <c:v>0.16506191537437293</c:v>
                </c:pt>
                <c:pt idx="16">
                  <c:v>0.1617328518092554</c:v>
                </c:pt>
                <c:pt idx="17">
                  <c:v>0.1623842083172271</c:v>
                </c:pt>
                <c:pt idx="18">
                  <c:v>0.16524763231519912</c:v>
                </c:pt>
                <c:pt idx="19">
                  <c:v>0.16169844084993318</c:v>
                </c:pt>
                <c:pt idx="20">
                  <c:v>0.1617233579608232</c:v>
                </c:pt>
                <c:pt idx="21">
                  <c:v>0.1633873152924306</c:v>
                </c:pt>
                <c:pt idx="22">
                  <c:v>0.16644075469405217</c:v>
                </c:pt>
                <c:pt idx="23">
                  <c:v>0.16328206313038143</c:v>
                </c:pt>
                <c:pt idx="24">
                  <c:v>0.16121606800991897</c:v>
                </c:pt>
                <c:pt idx="25">
                  <c:v>0.15931284089311165</c:v>
                </c:pt>
                <c:pt idx="26">
                  <c:v>0.1621175652386847</c:v>
                </c:pt>
                <c:pt idx="27">
                  <c:v>0.15694069755326134</c:v>
                </c:pt>
                <c:pt idx="28">
                  <c:v>0.15838283512279977</c:v>
                </c:pt>
                <c:pt idx="29">
                  <c:v>0.1658832796150026</c:v>
                </c:pt>
                <c:pt idx="30">
                  <c:v>0.17246490102729717</c:v>
                </c:pt>
                <c:pt idx="31">
                  <c:v>0.1676610272131652</c:v>
                </c:pt>
                <c:pt idx="32">
                  <c:v>0.16686921208059352</c:v>
                </c:pt>
                <c:pt idx="33">
                  <c:v>0.1650012405186934</c:v>
                </c:pt>
                <c:pt idx="34">
                  <c:v>0.16286635796986312</c:v>
                </c:pt>
                <c:pt idx="35">
                  <c:v>0.1706969804349348</c:v>
                </c:pt>
                <c:pt idx="36">
                  <c:v>0.17541533117503968</c:v>
                </c:pt>
                <c:pt idx="37">
                  <c:v>0.16898317076627112</c:v>
                </c:pt>
                <c:pt idx="38">
                  <c:v>0.16750625587590176</c:v>
                </c:pt>
                <c:pt idx="39">
                  <c:v>0.15954026409160593</c:v>
                </c:pt>
                <c:pt idx="40">
                  <c:v>0.15877999115337676</c:v>
                </c:pt>
                <c:pt idx="41">
                  <c:v>0.15665994403174693</c:v>
                </c:pt>
                <c:pt idx="42">
                  <c:v>0.1550817568231823</c:v>
                </c:pt>
                <c:pt idx="43">
                  <c:v>0.1487591433734765</c:v>
                </c:pt>
                <c:pt idx="44">
                  <c:v>0.14050163812940036</c:v>
                </c:pt>
                <c:pt idx="45">
                  <c:v>0.14221368354770447</c:v>
                </c:pt>
                <c:pt idx="46">
                  <c:v>0.14706735077652439</c:v>
                </c:pt>
                <c:pt idx="47">
                  <c:v>0.14458558578308794</c:v>
                </c:pt>
                <c:pt idx="48">
                  <c:v>0.13606765989502498</c:v>
                </c:pt>
                <c:pt idx="49">
                  <c:v>0.13312171106258855</c:v>
                </c:pt>
                <c:pt idx="50">
                  <c:v>0.14867328758853882</c:v>
                </c:pt>
                <c:pt idx="51">
                  <c:v>0.15202545459569608</c:v>
                </c:pt>
                <c:pt idx="52">
                  <c:v>0.18365951357637675</c:v>
                </c:pt>
                <c:pt idx="53">
                  <c:v>0.19531664543715443</c:v>
                </c:pt>
                <c:pt idx="54">
                  <c:v>0.14863059524453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5.7491</c:v>
                </c:pt>
                <c:pt idx="1">
                  <c:v>910.7152</c:v>
                </c:pt>
                <c:pt idx="2">
                  <c:v>997.4885</c:v>
                </c:pt>
                <c:pt idx="3">
                  <c:v>1007.6277</c:v>
                </c:pt>
                <c:pt idx="4">
                  <c:v>1005.4018</c:v>
                </c:pt>
                <c:pt idx="5">
                  <c:v>1005.5185</c:v>
                </c:pt>
                <c:pt idx="6">
                  <c:v>930.6459</c:v>
                </c:pt>
                <c:pt idx="7">
                  <c:v>959.7674</c:v>
                </c:pt>
                <c:pt idx="8">
                  <c:v>994.3623</c:v>
                </c:pt>
                <c:pt idx="9">
                  <c:v>931.8176</c:v>
                </c:pt>
                <c:pt idx="10">
                  <c:v>930.7821</c:v>
                </c:pt>
                <c:pt idx="11">
                  <c:v>974.6893</c:v>
                </c:pt>
                <c:pt idx="12">
                  <c:v>982.5074</c:v>
                </c:pt>
                <c:pt idx="13">
                  <c:v>960.8369</c:v>
                </c:pt>
                <c:pt idx="14">
                  <c:v>965.9536</c:v>
                </c:pt>
                <c:pt idx="15">
                  <c:v>978.2604</c:v>
                </c:pt>
                <c:pt idx="16">
                  <c:v>976.4249</c:v>
                </c:pt>
                <c:pt idx="17">
                  <c:v>998.8645</c:v>
                </c:pt>
                <c:pt idx="18">
                  <c:v>1054.443</c:v>
                </c:pt>
                <c:pt idx="19">
                  <c:v>1096.9115</c:v>
                </c:pt>
                <c:pt idx="20">
                  <c:v>1096.8124</c:v>
                </c:pt>
                <c:pt idx="21">
                  <c:v>1106.6564</c:v>
                </c:pt>
                <c:pt idx="22">
                  <c:v>1092.3169</c:v>
                </c:pt>
                <c:pt idx="23">
                  <c:v>1073.0561</c:v>
                </c:pt>
                <c:pt idx="24">
                  <c:v>1038.9</c:v>
                </c:pt>
                <c:pt idx="25">
                  <c:v>1043.6801</c:v>
                </c:pt>
                <c:pt idx="26">
                  <c:v>1038.1089</c:v>
                </c:pt>
                <c:pt idx="27">
                  <c:v>1045.8948</c:v>
                </c:pt>
                <c:pt idx="28">
                  <c:v>1030.3436</c:v>
                </c:pt>
                <c:pt idx="29">
                  <c:v>944.6867</c:v>
                </c:pt>
                <c:pt idx="30">
                  <c:v>981.3138</c:v>
                </c:pt>
                <c:pt idx="31">
                  <c:v>991.8454</c:v>
                </c:pt>
                <c:pt idx="32">
                  <c:v>976.0553</c:v>
                </c:pt>
                <c:pt idx="33">
                  <c:v>919.9262</c:v>
                </c:pt>
                <c:pt idx="34">
                  <c:v>978.79</c:v>
                </c:pt>
                <c:pt idx="35">
                  <c:v>1020.1557</c:v>
                </c:pt>
                <c:pt idx="36">
                  <c:v>1115.2929</c:v>
                </c:pt>
                <c:pt idx="37">
                  <c:v>1101.7703</c:v>
                </c:pt>
                <c:pt idx="38">
                  <c:v>1207.4518</c:v>
                </c:pt>
                <c:pt idx="39">
                  <c:v>1198.4303</c:v>
                </c:pt>
                <c:pt idx="40">
                  <c:v>1217.7604</c:v>
                </c:pt>
                <c:pt idx="41">
                  <c:v>1239.2051</c:v>
                </c:pt>
                <c:pt idx="42">
                  <c:v>1273.6167</c:v>
                </c:pt>
                <c:pt idx="43">
                  <c:v>1293.9217</c:v>
                </c:pt>
                <c:pt idx="44">
                  <c:v>1100.4253</c:v>
                </c:pt>
                <c:pt idx="45">
                  <c:v>1035.8146</c:v>
                </c:pt>
                <c:pt idx="46">
                  <c:v>1014.9147</c:v>
                </c:pt>
                <c:pt idx="47">
                  <c:v>995.3685</c:v>
                </c:pt>
                <c:pt idx="48">
                  <c:v>1008.8715</c:v>
                </c:pt>
                <c:pt idx="49">
                  <c:v>993.8491</c:v>
                </c:pt>
                <c:pt idx="50">
                  <c:v>980.4836</c:v>
                </c:pt>
                <c:pt idx="51">
                  <c:v>1018.54</c:v>
                </c:pt>
                <c:pt idx="52">
                  <c:v>1033.5672</c:v>
                </c:pt>
                <c:pt idx="53">
                  <c:v>1118.3567</c:v>
                </c:pt>
                <c:pt idx="54">
                  <c:v>1103.9714</c:v>
                </c:pt>
                <c:pt idx="55">
                  <c:v>1128.2761</c:v>
                </c:pt>
                <c:pt idx="56">
                  <c:v>1145.571</c:v>
                </c:pt>
                <c:pt idx="57">
                  <c:v>1131.6367</c:v>
                </c:pt>
                <c:pt idx="58">
                  <c:v>1061.1249</c:v>
                </c:pt>
                <c:pt idx="59">
                  <c:v>1066.853</c:v>
                </c:pt>
                <c:pt idx="60">
                  <c:v>1097.6162</c:v>
                </c:pt>
                <c:pt idx="61">
                  <c:v>1094.4642</c:v>
                </c:pt>
                <c:pt idx="62">
                  <c:v>1059.7958</c:v>
                </c:pt>
                <c:pt idx="63">
                  <c:v>1075.9303</c:v>
                </c:pt>
                <c:pt idx="64">
                  <c:v>1107.2365</c:v>
                </c:pt>
                <c:pt idx="65">
                  <c:v>1091.5794</c:v>
                </c:pt>
                <c:pt idx="66">
                  <c:v>1016.967</c:v>
                </c:pt>
                <c:pt idx="67">
                  <c:v>1001.7343</c:v>
                </c:pt>
                <c:pt idx="68">
                  <c:v>1018.436</c:v>
                </c:pt>
                <c:pt idx="69">
                  <c:v>986.3245</c:v>
                </c:pt>
                <c:pt idx="70">
                  <c:v>936.9979</c:v>
                </c:pt>
                <c:pt idx="71">
                  <c:v>997.8646</c:v>
                </c:pt>
                <c:pt idx="72">
                  <c:v>1108.8503</c:v>
                </c:pt>
                <c:pt idx="73">
                  <c:v>1123.1694</c:v>
                </c:pt>
                <c:pt idx="74">
                  <c:v>1127.9879</c:v>
                </c:pt>
                <c:pt idx="75">
                  <c:v>1081.2846</c:v>
                </c:pt>
                <c:pt idx="76">
                  <c:v>1089.7742</c:v>
                </c:pt>
                <c:pt idx="77">
                  <c:v>1084.993</c:v>
                </c:pt>
                <c:pt idx="78">
                  <c:v>1127.4444</c:v>
                </c:pt>
                <c:pt idx="79">
                  <c:v>829.8899</c:v>
                </c:pt>
                <c:pt idx="80">
                  <c:v>880.8322</c:v>
                </c:pt>
                <c:pt idx="81">
                  <c:v>954.2613</c:v>
                </c:pt>
                <c:pt idx="82">
                  <c:v>1044.5627</c:v>
                </c:pt>
                <c:pt idx="83">
                  <c:v>1045.5601</c:v>
                </c:pt>
                <c:pt idx="84">
                  <c:v>922.2329</c:v>
                </c:pt>
                <c:pt idx="85">
                  <c:v>1129.8448</c:v>
                </c:pt>
                <c:pt idx="86">
                  <c:v>1180.1314</c:v>
                </c:pt>
                <c:pt idx="87">
                  <c:v>1043.2267</c:v>
                </c:pt>
                <c:pt idx="88">
                  <c:v>1104.1943</c:v>
                </c:pt>
                <c:pt idx="89">
                  <c:v>1072.6569</c:v>
                </c:pt>
                <c:pt idx="90">
                  <c:v>1144.0113</c:v>
                </c:pt>
                <c:pt idx="91">
                  <c:v>1179.0544</c:v>
                </c:pt>
                <c:pt idx="92">
                  <c:v>1205.5737</c:v>
                </c:pt>
                <c:pt idx="93">
                  <c:v>1241.1074</c:v>
                </c:pt>
                <c:pt idx="94">
                  <c:v>1163.9913</c:v>
                </c:pt>
                <c:pt idx="95">
                  <c:v>1258.6914</c:v>
                </c:pt>
                <c:pt idx="96">
                  <c:v>1237.4396</c:v>
                </c:pt>
                <c:pt idx="97">
                  <c:v>1208.2458</c:v>
                </c:pt>
                <c:pt idx="98">
                  <c:v>1177.564</c:v>
                </c:pt>
                <c:pt idx="99">
                  <c:v>1141.3025</c:v>
                </c:pt>
                <c:pt idx="100">
                  <c:v>1143.1518</c:v>
                </c:pt>
                <c:pt idx="101">
                  <c:v>1152.1591</c:v>
                </c:pt>
                <c:pt idx="102">
                  <c:v>1200.3851</c:v>
                </c:pt>
                <c:pt idx="103">
                  <c:v>1124.0073</c:v>
                </c:pt>
                <c:pt idx="104">
                  <c:v>1268.4484</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98.9031373617457</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98.9031373617457</c:v>
                </c:pt>
                <c:pt idx="1">
                  <c:v>998.9031373617457</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5994982177956</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5994982177956</c:v>
                </c:pt>
                <c:pt idx="1">
                  <c:v>1065.5994982177956</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017697596533</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017697596533</c:v>
                </c:pt>
                <c:pt idx="1">
                  <c:v>1266.017697596533</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pt idx="52">
                  <c:v>1065.5994982177956</c:v>
                </c:pt>
                <c:pt idx="53">
                  <c:v>998.9031373617457</c:v>
                </c:pt>
                <c:pt idx="54">
                  <c:v>1266.017697596533</c:v>
                </c:pt>
              </c:numCache>
            </c:numRef>
          </c:xVal>
          <c:yVal>
            <c:numRef>
              <c:f>Sheet1!$B$187:$B$241</c:f>
              <c:numCache>
                <c:formatCode>General</c:formatCode>
                <c:ptCount val="55"/>
                <c:pt idx="0">
                  <c:v>0.1502412893660711</c:v>
                </c:pt>
                <c:pt idx="1">
                  <c:v>0.1659087177063798</c:v>
                </c:pt>
                <c:pt idx="2">
                  <c:v>0.16887433501216065</c:v>
                </c:pt>
                <c:pt idx="3">
                  <c:v>0.16662244575774104</c:v>
                </c:pt>
                <c:pt idx="4">
                  <c:v>0.1670550765358619</c:v>
                </c:pt>
                <c:pt idx="5">
                  <c:v>0.1679517633795056</c:v>
                </c:pt>
                <c:pt idx="6">
                  <c:v>0.17876921071216612</c:v>
                </c:pt>
                <c:pt idx="7">
                  <c:v>0.1708687221757608</c:v>
                </c:pt>
                <c:pt idx="8">
                  <c:v>0.15354529654359264</c:v>
                </c:pt>
                <c:pt idx="9">
                  <c:v>0.16084713160719893</c:v>
                </c:pt>
                <c:pt idx="10">
                  <c:v>0.15301933371056267</c:v>
                </c:pt>
                <c:pt idx="11">
                  <c:v>0.18498615676597485</c:v>
                </c:pt>
                <c:pt idx="12">
                  <c:v>0.18231792614826117</c:v>
                </c:pt>
                <c:pt idx="13">
                  <c:v>0.17067934898944234</c:v>
                </c:pt>
                <c:pt idx="14">
                  <c:v>0.17672621747277906</c:v>
                </c:pt>
                <c:pt idx="15">
                  <c:v>0.17037075895920353</c:v>
                </c:pt>
                <c:pt idx="16">
                  <c:v>0.16248276713052476</c:v>
                </c:pt>
                <c:pt idx="17">
                  <c:v>0.1629688278883942</c:v>
                </c:pt>
                <c:pt idx="18">
                  <c:v>0.18246257335545743</c:v>
                </c:pt>
                <c:pt idx="19">
                  <c:v>0.14965223126745653</c:v>
                </c:pt>
                <c:pt idx="20">
                  <c:v>0.1324374832977275</c:v>
                </c:pt>
                <c:pt idx="21">
                  <c:v>0.13744625114411155</c:v>
                </c:pt>
                <c:pt idx="22">
                  <c:v>0.1428911803070231</c:v>
                </c:pt>
                <c:pt idx="23">
                  <c:v>0.14905345544926707</c:v>
                </c:pt>
                <c:pt idx="24">
                  <c:v>0.14577743041030536</c:v>
                </c:pt>
                <c:pt idx="25">
                  <c:v>0.16087158320735206</c:v>
                </c:pt>
                <c:pt idx="26">
                  <c:v>0.15363200446951103</c:v>
                </c:pt>
                <c:pt idx="27">
                  <c:v>0.1511482881783284</c:v>
                </c:pt>
                <c:pt idx="28">
                  <c:v>0.1560725677937329</c:v>
                </c:pt>
                <c:pt idx="29">
                  <c:v>0.15980707344400097</c:v>
                </c:pt>
                <c:pt idx="30">
                  <c:v>0.1778752679008484</c:v>
                </c:pt>
                <c:pt idx="31">
                  <c:v>0.173130731141752</c:v>
                </c:pt>
                <c:pt idx="32">
                  <c:v>0.1721166801129557</c:v>
                </c:pt>
                <c:pt idx="33">
                  <c:v>0.17128511597279353</c:v>
                </c:pt>
                <c:pt idx="34">
                  <c:v>0.1690385749597226</c:v>
                </c:pt>
                <c:pt idx="35">
                  <c:v>0.17379873697295548</c:v>
                </c:pt>
                <c:pt idx="36">
                  <c:v>0.1648137089850107</c:v>
                </c:pt>
                <c:pt idx="37">
                  <c:v>0.14684131096879188</c:v>
                </c:pt>
                <c:pt idx="38">
                  <c:v>0.14579761739970987</c:v>
                </c:pt>
                <c:pt idx="39">
                  <c:v>0.14361901303409813</c:v>
                </c:pt>
                <c:pt idx="40">
                  <c:v>0.140748632875733</c:v>
                </c:pt>
                <c:pt idx="41">
                  <c:v>0.13197423121619825</c:v>
                </c:pt>
                <c:pt idx="42">
                  <c:v>0.12063728787828237</c:v>
                </c:pt>
                <c:pt idx="43">
                  <c:v>0.12944785133961614</c:v>
                </c:pt>
                <c:pt idx="44">
                  <c:v>0.14272225627880275</c:v>
                </c:pt>
                <c:pt idx="45">
                  <c:v>0.15457027126795417</c:v>
                </c:pt>
                <c:pt idx="46">
                  <c:v>0.15799721808484474</c:v>
                </c:pt>
                <c:pt idx="47">
                  <c:v>0.15841128731946125</c:v>
                </c:pt>
                <c:pt idx="48">
                  <c:v>0.15837842884320108</c:v>
                </c:pt>
                <c:pt idx="49">
                  <c:v>0.15572330666016568</c:v>
                </c:pt>
                <c:pt idx="50">
                  <c:v>0.18255828240652153</c:v>
                </c:pt>
                <c:pt idx="51">
                  <c:v>0.18857730857460162</c:v>
                </c:pt>
                <c:pt idx="52">
                  <c:v>0.18365951357637675</c:v>
                </c:pt>
                <c:pt idx="53">
                  <c:v>0.19531664543715443</c:v>
                </c:pt>
                <c:pt idx="54">
                  <c:v>0.14863059524453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1.0"/>
          <c:min val="6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934437808477314</c:v>
                </c:pt>
                <c:pt idx="1">
                  <c:v>0.20341253394740394</c:v>
                </c:pt>
                <c:pt idx="2">
                  <c:v>0.22353051641298746</c:v>
                </c:pt>
                <c:pt idx="3">
                  <c:v>0.24200697621892892</c:v>
                </c:pt>
                <c:pt idx="4">
                  <c:v>0.22607015492546037</c:v>
                </c:pt>
                <c:pt idx="5">
                  <c:v>0.22331471560267102</c:v>
                </c:pt>
                <c:pt idx="6">
                  <c:v>0.204993100161548</c:v>
                </c:pt>
                <c:pt idx="7">
                  <c:v>0.19988833114628188</c:v>
                </c:pt>
                <c:pt idx="8">
                  <c:v>0.2015437531512674</c:v>
                </c:pt>
                <c:pt idx="9">
                  <c:v>0.19837695461104768</c:v>
                </c:pt>
                <c:pt idx="10">
                  <c:v>0.21056693522912975</c:v>
                </c:pt>
                <c:pt idx="11">
                  <c:v>0.20415819960443943</c:v>
                </c:pt>
                <c:pt idx="12">
                  <c:v>0.2216839573210265</c:v>
                </c:pt>
                <c:pt idx="13">
                  <c:v>0.21711011459507593</c:v>
                </c:pt>
                <c:pt idx="14">
                  <c:v>0.20375083653122555</c:v>
                </c:pt>
                <c:pt idx="15">
                  <c:v>0.20655836148648649</c:v>
                </c:pt>
                <c:pt idx="16">
                  <c:v>0.1812980898141276</c:v>
                </c:pt>
                <c:pt idx="17">
                  <c:v>0.18133398295650505</c:v>
                </c:pt>
                <c:pt idx="18">
                  <c:v>0.1961363459570124</c:v>
                </c:pt>
                <c:pt idx="19">
                  <c:v>0.22266501920503715</c:v>
                </c:pt>
                <c:pt idx="20">
                  <c:v>0.24015160208625624</c:v>
                </c:pt>
                <c:pt idx="21">
                  <c:v>0.19762113494787373</c:v>
                </c:pt>
                <c:pt idx="22">
                  <c:v>0.1919088152248186</c:v>
                </c:pt>
                <c:pt idx="23">
                  <c:v>0.16390758032621036</c:v>
                </c:pt>
                <c:pt idx="24">
                  <c:v>0.18309188960558317</c:v>
                </c:pt>
                <c:pt idx="25">
                  <c:v>0.172113414430965</c:v>
                </c:pt>
                <c:pt idx="26">
                  <c:v>0.18497525903619824</c:v>
                </c:pt>
                <c:pt idx="27">
                  <c:v>0.1903541040741805</c:v>
                </c:pt>
                <c:pt idx="28">
                  <c:v>0.1743287299727556</c:v>
                </c:pt>
                <c:pt idx="29">
                  <c:v>0.18979020784861766</c:v>
                </c:pt>
                <c:pt idx="30">
                  <c:v>0.16654455042259259</c:v>
                </c:pt>
                <c:pt idx="31">
                  <c:v>0.18921796919921233</c:v>
                </c:pt>
                <c:pt idx="32">
                  <c:v>0.17188874778921506</c:v>
                </c:pt>
                <c:pt idx="33">
                  <c:v>0.16614408954584484</c:v>
                </c:pt>
                <c:pt idx="34">
                  <c:v>0.19747578259001575</c:v>
                </c:pt>
                <c:pt idx="35">
                  <c:v>0.20766652527141843</c:v>
                </c:pt>
                <c:pt idx="36">
                  <c:v>0.171663412588166</c:v>
                </c:pt>
                <c:pt idx="37">
                  <c:v>0.16750978753019757</c:v>
                </c:pt>
                <c:pt idx="38">
                  <c:v>0.20861148732745632</c:v>
                </c:pt>
                <c:pt idx="39">
                  <c:v>0.20859537421166685</c:v>
                </c:pt>
                <c:pt idx="40">
                  <c:v>0.21177286380045665</c:v>
                </c:pt>
                <c:pt idx="41">
                  <c:v>0.21748287285549378</c:v>
                </c:pt>
                <c:pt idx="42">
                  <c:v>0.21010998509700313</c:v>
                </c:pt>
                <c:pt idx="43">
                  <c:v>0.2528531287592561</c:v>
                </c:pt>
                <c:pt idx="44">
                  <c:v>0.2263450487994383</c:v>
                </c:pt>
                <c:pt idx="45">
                  <c:v>0.20477209116329742</c:v>
                </c:pt>
                <c:pt idx="46">
                  <c:v>0.22478033903710626</c:v>
                </c:pt>
                <c:pt idx="47">
                  <c:v>0.20472849343341473</c:v>
                </c:pt>
                <c:pt idx="48">
                  <c:v>0.23775990331908203</c:v>
                </c:pt>
                <c:pt idx="49">
                  <c:v>0.2474961613593258</c:v>
                </c:pt>
                <c:pt idx="50">
                  <c:v>0.2014281691231111</c:v>
                </c:pt>
                <c:pt idx="51">
                  <c:v>0.1973565300531286</c:v>
                </c:pt>
                <c:pt idx="52">
                  <c:v>0.22244372125462328</c:v>
                </c:pt>
                <c:pt idx="53">
                  <c:v>0.21446954970620138</c:v>
                </c:pt>
                <c:pt idx="54">
                  <c:v>0.21210513032584033</c:v>
                </c:pt>
                <c:pt idx="55">
                  <c:v>0.19501155981735138</c:v>
                </c:pt>
                <c:pt idx="56">
                  <c:v>0.210947902448783</c:v>
                </c:pt>
                <c:pt idx="57">
                  <c:v>0.2100957928512268</c:v>
                </c:pt>
                <c:pt idx="58">
                  <c:v>0.1844286275873933</c:v>
                </c:pt>
                <c:pt idx="59">
                  <c:v>0.22159456830317384</c:v>
                </c:pt>
                <c:pt idx="60">
                  <c:v>0.23045479885641013</c:v>
                </c:pt>
                <c:pt idx="61">
                  <c:v>0.21578809385292966</c:v>
                </c:pt>
                <c:pt idx="62">
                  <c:v>0.24879312086876895</c:v>
                </c:pt>
                <c:pt idx="63">
                  <c:v>0.23912355185307865</c:v>
                </c:pt>
                <c:pt idx="64">
                  <c:v>0.2403544199106407</c:v>
                </c:pt>
                <c:pt idx="65">
                  <c:v>0.21472042513086026</c:v>
                </c:pt>
                <c:pt idx="66">
                  <c:v>0.19185921898463484</c:v>
                </c:pt>
                <c:pt idx="67">
                  <c:v>0.18757513187576386</c:v>
                </c:pt>
                <c:pt idx="68">
                  <c:v>0.17272244865237582</c:v>
                </c:pt>
                <c:pt idx="69">
                  <c:v>0.15760504887368879</c:v>
                </c:pt>
                <c:pt idx="70">
                  <c:v>0.14930350396669387</c:v>
                </c:pt>
                <c:pt idx="71">
                  <c:v>0.16034742972061405</c:v>
                </c:pt>
                <c:pt idx="72">
                  <c:v>0.19055502752027323</c:v>
                </c:pt>
                <c:pt idx="73">
                  <c:v>0.16877819216951537</c:v>
                </c:pt>
                <c:pt idx="74">
                  <c:v>0.1828621682858059</c:v>
                </c:pt>
                <c:pt idx="75">
                  <c:v>0.17266270246319554</c:v>
                </c:pt>
                <c:pt idx="76">
                  <c:v>0.1605269426797716</c:v>
                </c:pt>
                <c:pt idx="77">
                  <c:v>0.17850929953074784</c:v>
                </c:pt>
                <c:pt idx="78">
                  <c:v>0.18629121196150675</c:v>
                </c:pt>
                <c:pt idx="79">
                  <c:v>0.12749242152871926</c:v>
                </c:pt>
                <c:pt idx="80">
                  <c:v>0.131183054390143</c:v>
                </c:pt>
                <c:pt idx="81">
                  <c:v>0.14773218874818095</c:v>
                </c:pt>
                <c:pt idx="82">
                  <c:v>0.16161889491679748</c:v>
                </c:pt>
                <c:pt idx="83">
                  <c:v>0.13906791810401267</c:v>
                </c:pt>
                <c:pt idx="84">
                  <c:v>0.1324641807915577</c:v>
                </c:pt>
                <c:pt idx="85">
                  <c:v>0.17062367366231732</c:v>
                </c:pt>
                <c:pt idx="86">
                  <c:v>0.19259745957964083</c:v>
                </c:pt>
                <c:pt idx="87">
                  <c:v>0.18696463320769996</c:v>
                </c:pt>
                <c:pt idx="88">
                  <c:v>0.15844019372678056</c:v>
                </c:pt>
                <c:pt idx="89">
                  <c:v>0.15481097948514064</c:v>
                </c:pt>
                <c:pt idx="90">
                  <c:v>0.15975112417110196</c:v>
                </c:pt>
                <c:pt idx="91">
                  <c:v>0.17219034324583068</c:v>
                </c:pt>
                <c:pt idx="92">
                  <c:v>0.19305336376562965</c:v>
                </c:pt>
                <c:pt idx="93">
                  <c:v>0.18260420409134265</c:v>
                </c:pt>
                <c:pt idx="94">
                  <c:v>0.1785016332101397</c:v>
                </c:pt>
                <c:pt idx="95">
                  <c:v>0.1789952126737042</c:v>
                </c:pt>
                <c:pt idx="96">
                  <c:v>0.18776076311640844</c:v>
                </c:pt>
                <c:pt idx="97">
                  <c:v>0.19585507779376143</c:v>
                </c:pt>
                <c:pt idx="98">
                  <c:v>0.19489576614070456</c:v>
                </c:pt>
                <c:pt idx="99">
                  <c:v>0.23645541083918512</c:v>
                </c:pt>
                <c:pt idx="100">
                  <c:v>0.21737020928241116</c:v>
                </c:pt>
                <c:pt idx="101">
                  <c:v>0.22656205402369478</c:v>
                </c:pt>
                <c:pt idx="102">
                  <c:v>0.23144334092956617</c:v>
                </c:pt>
                <c:pt idx="103">
                  <c:v>0.19640498045547244</c:v>
                </c:pt>
                <c:pt idx="104">
                  <c:v>0.19718768913629786</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664041004965217</c:v>
                </c:pt>
                <c:pt idx="1">
                  <c:v>0.2049062510127593</c:v>
                </c:pt>
                <c:pt idx="2">
                  <c:v>0.2275096302512824</c:v>
                </c:pt>
                <c:pt idx="3">
                  <c:v>0.21366331585954076</c:v>
                </c:pt>
                <c:pt idx="4">
                  <c:v>0.18954687445212</c:v>
                </c:pt>
                <c:pt idx="5">
                  <c:v>0.20294588085839776</c:v>
                </c:pt>
                <c:pt idx="6">
                  <c:v>0.19795577487660027</c:v>
                </c:pt>
                <c:pt idx="7">
                  <c:v>0.183451452333133</c:v>
                </c:pt>
                <c:pt idx="8">
                  <c:v>0.23416718967675879</c:v>
                </c:pt>
                <c:pt idx="9">
                  <c:v>0.21341502450028454</c:v>
                </c:pt>
                <c:pt idx="10">
                  <c:v>0.212225387711754</c:v>
                </c:pt>
                <c:pt idx="11">
                  <c:v>0.17030997017218769</c:v>
                </c:pt>
                <c:pt idx="12">
                  <c:v>0.190116914219631</c:v>
                </c:pt>
                <c:pt idx="13">
                  <c:v>0.19640136152516818</c:v>
                </c:pt>
                <c:pt idx="14">
                  <c:v>0.16196098643493628</c:v>
                </c:pt>
                <c:pt idx="15">
                  <c:v>0.1665468100235273</c:v>
                </c:pt>
                <c:pt idx="16">
                  <c:v>0.1693860521638505</c:v>
                </c:pt>
                <c:pt idx="17">
                  <c:v>0.16181878091988286</c:v>
                </c:pt>
                <c:pt idx="18">
                  <c:v>0.14953619353594055</c:v>
                </c:pt>
                <c:pt idx="19">
                  <c:v>0.16711759478750368</c:v>
                </c:pt>
                <c:pt idx="20">
                  <c:v>0.18238317139958815</c:v>
                </c:pt>
                <c:pt idx="21">
                  <c:v>0.16519966219009252</c:v>
                </c:pt>
                <c:pt idx="22">
                  <c:v>0.16018789276983889</c:v>
                </c:pt>
                <c:pt idx="23">
                  <c:v>0.17619589428990673</c:v>
                </c:pt>
                <c:pt idx="24">
                  <c:v>0.16980914954840368</c:v>
                </c:pt>
                <c:pt idx="25">
                  <c:v>0.1717150185012263</c:v>
                </c:pt>
                <c:pt idx="26">
                  <c:v>0.15276684559641365</c:v>
                </c:pt>
                <c:pt idx="27">
                  <c:v>0.15206120048888466</c:v>
                </c:pt>
                <c:pt idx="28">
                  <c:v>0.17538685213031496</c:v>
                </c:pt>
                <c:pt idx="29">
                  <c:v>0.14227631494180315</c:v>
                </c:pt>
                <c:pt idx="30">
                  <c:v>0.1463875380060703</c:v>
                </c:pt>
                <c:pt idx="31">
                  <c:v>0.1558714997150649</c:v>
                </c:pt>
                <c:pt idx="32">
                  <c:v>0.17391585857801603</c:v>
                </c:pt>
                <c:pt idx="33">
                  <c:v>0.16570635743748552</c:v>
                </c:pt>
                <c:pt idx="34">
                  <c:v>0.1976549632390342</c:v>
                </c:pt>
                <c:pt idx="35">
                  <c:v>0.1373371942336489</c:v>
                </c:pt>
                <c:pt idx="36">
                  <c:v>0.12769828219456855</c:v>
                </c:pt>
                <c:pt idx="37">
                  <c:v>0.14676909132223295</c:v>
                </c:pt>
                <c:pt idx="38">
                  <c:v>0.1588479154065555</c:v>
                </c:pt>
                <c:pt idx="39">
                  <c:v>0.16515312513553435</c:v>
                </c:pt>
                <c:pt idx="40">
                  <c:v>0.1825131112604745</c:v>
                </c:pt>
                <c:pt idx="41">
                  <c:v>0.16998679281867382</c:v>
                </c:pt>
                <c:pt idx="42">
                  <c:v>0.17879402986721218</c:v>
                </c:pt>
                <c:pt idx="43">
                  <c:v>0.1843566699858156</c:v>
                </c:pt>
                <c:pt idx="44">
                  <c:v>0.1880827800073779</c:v>
                </c:pt>
                <c:pt idx="45">
                  <c:v>0.199856859695736</c:v>
                </c:pt>
                <c:pt idx="46">
                  <c:v>0.19212719455042587</c:v>
                </c:pt>
                <c:pt idx="47">
                  <c:v>0.1695574371272313</c:v>
                </c:pt>
                <c:pt idx="48">
                  <c:v>0.17542809328412176</c:v>
                </c:pt>
                <c:pt idx="49">
                  <c:v>0.20462570147410253</c:v>
                </c:pt>
                <c:pt idx="50">
                  <c:v>0.18897307494712362</c:v>
                </c:pt>
                <c:pt idx="51">
                  <c:v>0.16247838038922588</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583567186337546</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583567186337546</c:v>
                </c:pt>
                <c:pt idx="1">
                  <c:v>0.30583567186337546</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40927822757279</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40927822757279</c:v>
                </c:pt>
                <c:pt idx="1">
                  <c:v>0.2640927822757279</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865813095977217</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865813095977217</c:v>
                </c:pt>
                <c:pt idx="1">
                  <c:v>0.13865813095977217</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664041004965217</c:v>
                </c:pt>
                <c:pt idx="1">
                  <c:v>0.2049062510127593</c:v>
                </c:pt>
                <c:pt idx="2">
                  <c:v>0.2275096302512824</c:v>
                </c:pt>
                <c:pt idx="3">
                  <c:v>0.21366331585954076</c:v>
                </c:pt>
                <c:pt idx="4">
                  <c:v>0.18954687445212</c:v>
                </c:pt>
                <c:pt idx="5">
                  <c:v>0.20294588085839776</c:v>
                </c:pt>
                <c:pt idx="6">
                  <c:v>0.19795577487660027</c:v>
                </c:pt>
                <c:pt idx="7">
                  <c:v>0.183451452333133</c:v>
                </c:pt>
                <c:pt idx="8">
                  <c:v>0.23416718967675879</c:v>
                </c:pt>
                <c:pt idx="9">
                  <c:v>0.21341502450028454</c:v>
                </c:pt>
                <c:pt idx="10">
                  <c:v>0.212225387711754</c:v>
                </c:pt>
                <c:pt idx="11">
                  <c:v>0.17030997017218769</c:v>
                </c:pt>
                <c:pt idx="12">
                  <c:v>0.190116914219631</c:v>
                </c:pt>
                <c:pt idx="13">
                  <c:v>0.19640136152516818</c:v>
                </c:pt>
                <c:pt idx="14">
                  <c:v>0.16196098643493628</c:v>
                </c:pt>
                <c:pt idx="15">
                  <c:v>0.1665468100235273</c:v>
                </c:pt>
                <c:pt idx="16">
                  <c:v>0.1693860521638505</c:v>
                </c:pt>
                <c:pt idx="17">
                  <c:v>0.16181878091988286</c:v>
                </c:pt>
                <c:pt idx="18">
                  <c:v>0.14953619353594055</c:v>
                </c:pt>
                <c:pt idx="19">
                  <c:v>0.16711759478750368</c:v>
                </c:pt>
                <c:pt idx="20">
                  <c:v>0.18238317139958815</c:v>
                </c:pt>
                <c:pt idx="21">
                  <c:v>0.16519966219009252</c:v>
                </c:pt>
                <c:pt idx="22">
                  <c:v>0.16018789276983889</c:v>
                </c:pt>
                <c:pt idx="23">
                  <c:v>0.17619589428990673</c:v>
                </c:pt>
                <c:pt idx="24">
                  <c:v>0.16980914954840368</c:v>
                </c:pt>
                <c:pt idx="25">
                  <c:v>0.1717150185012263</c:v>
                </c:pt>
                <c:pt idx="26">
                  <c:v>0.15276684559641365</c:v>
                </c:pt>
                <c:pt idx="27">
                  <c:v>0.15206120048888466</c:v>
                </c:pt>
                <c:pt idx="28">
                  <c:v>0.17538685213031496</c:v>
                </c:pt>
                <c:pt idx="29">
                  <c:v>0.14227631494180315</c:v>
                </c:pt>
                <c:pt idx="30">
                  <c:v>0.1463875380060703</c:v>
                </c:pt>
                <c:pt idx="31">
                  <c:v>0.1558714997150649</c:v>
                </c:pt>
                <c:pt idx="32">
                  <c:v>0.17391585857801603</c:v>
                </c:pt>
                <c:pt idx="33">
                  <c:v>0.16570635743748552</c:v>
                </c:pt>
                <c:pt idx="34">
                  <c:v>0.1976549632390342</c:v>
                </c:pt>
                <c:pt idx="35">
                  <c:v>0.1373371942336489</c:v>
                </c:pt>
                <c:pt idx="36">
                  <c:v>0.12769828219456855</c:v>
                </c:pt>
                <c:pt idx="37">
                  <c:v>0.14676909132223295</c:v>
                </c:pt>
                <c:pt idx="38">
                  <c:v>0.1588479154065555</c:v>
                </c:pt>
                <c:pt idx="39">
                  <c:v>0.16515312513553435</c:v>
                </c:pt>
                <c:pt idx="40">
                  <c:v>0.1825131112604745</c:v>
                </c:pt>
                <c:pt idx="41">
                  <c:v>0.16998679281867382</c:v>
                </c:pt>
                <c:pt idx="42">
                  <c:v>0.17879402986721218</c:v>
                </c:pt>
                <c:pt idx="43">
                  <c:v>0.1843566699858156</c:v>
                </c:pt>
                <c:pt idx="44">
                  <c:v>0.1880827800073779</c:v>
                </c:pt>
                <c:pt idx="45">
                  <c:v>0.199856859695736</c:v>
                </c:pt>
                <c:pt idx="46">
                  <c:v>0.19212719455042587</c:v>
                </c:pt>
                <c:pt idx="47">
                  <c:v>0.1695574371272313</c:v>
                </c:pt>
                <c:pt idx="48">
                  <c:v>0.17542809328412176</c:v>
                </c:pt>
                <c:pt idx="49">
                  <c:v>0.20462570147410253</c:v>
                </c:pt>
                <c:pt idx="50">
                  <c:v>0.18897307494712362</c:v>
                </c:pt>
                <c:pt idx="51">
                  <c:v>0.16247838038922588</c:v>
                </c:pt>
                <c:pt idx="52">
                  <c:v>0.2640927822757279</c:v>
                </c:pt>
                <c:pt idx="53">
                  <c:v>0.30583567186337546</c:v>
                </c:pt>
                <c:pt idx="54">
                  <c:v>0.13865813095977217</c:v>
                </c:pt>
              </c:numCache>
            </c:numRef>
          </c:xVal>
          <c:yVal>
            <c:numRef>
              <c:f>Sheet1!$B$187:$B$241</c:f>
              <c:numCache>
                <c:formatCode>General</c:formatCode>
                <c:ptCount val="55"/>
                <c:pt idx="0">
                  <c:v>0.1676153468842838</c:v>
                </c:pt>
                <c:pt idx="1">
                  <c:v>0.1671310651117397</c:v>
                </c:pt>
                <c:pt idx="2">
                  <c:v>0.17344329157438976</c:v>
                </c:pt>
                <c:pt idx="3">
                  <c:v>0.16957656566622265</c:v>
                </c:pt>
                <c:pt idx="4">
                  <c:v>0.16284180100866974</c:v>
                </c:pt>
                <c:pt idx="5">
                  <c:v>0.16658361155471313</c:v>
                </c:pt>
                <c:pt idx="6">
                  <c:v>0.16519007306220104</c:v>
                </c:pt>
                <c:pt idx="7">
                  <c:v>0.16113959160031197</c:v>
                </c:pt>
                <c:pt idx="8">
                  <c:v>0.17530248361548667</c:v>
                </c:pt>
                <c:pt idx="9">
                  <c:v>0.16950722774679894</c:v>
                </c:pt>
                <c:pt idx="10">
                  <c:v>0.16917500942058042</c:v>
                </c:pt>
                <c:pt idx="11">
                  <c:v>0.15746969735222596</c:v>
                </c:pt>
                <c:pt idx="12">
                  <c:v>0.16300099048504296</c:v>
                </c:pt>
                <c:pt idx="13">
                  <c:v>0.16475598712366651</c:v>
                </c:pt>
                <c:pt idx="14">
                  <c:v>0.15513815765073322</c:v>
                </c:pt>
                <c:pt idx="15">
                  <c:v>0.15641879612091447</c:v>
                </c:pt>
                <c:pt idx="16">
                  <c:v>0.15721168373222683</c:v>
                </c:pt>
                <c:pt idx="17">
                  <c:v>0.15509844529596614</c:v>
                </c:pt>
                <c:pt idx="18">
                  <c:v>0.1516684062608029</c:v>
                </c:pt>
                <c:pt idx="19">
                  <c:v>0.15657819364522396</c:v>
                </c:pt>
                <c:pt idx="20">
                  <c:v>0.1608412631465393</c:v>
                </c:pt>
                <c:pt idx="21">
                  <c:v>0.15604259121307415</c:v>
                </c:pt>
                <c:pt idx="22">
                  <c:v>0.1546430029822441</c:v>
                </c:pt>
                <c:pt idx="23">
                  <c:v>0.15911340228594206</c:v>
                </c:pt>
                <c:pt idx="24">
                  <c:v>0.15732983803468187</c:v>
                </c:pt>
                <c:pt idx="25">
                  <c:v>0.1578620715698272</c:v>
                </c:pt>
                <c:pt idx="26">
                  <c:v>0.1525705991237611</c:v>
                </c:pt>
                <c:pt idx="27">
                  <c:v>0.15237354045947996</c:v>
                </c:pt>
                <c:pt idx="28">
                  <c:v>0.15888746892990335</c:v>
                </c:pt>
                <c:pt idx="29">
                  <c:v>0.14964101038809025</c:v>
                </c:pt>
                <c:pt idx="30">
                  <c:v>0.15078911177356344</c:v>
                </c:pt>
                <c:pt idx="31">
                  <c:v>0.15343760576371193</c:v>
                </c:pt>
                <c:pt idx="32">
                  <c:v>0.15847667882948405</c:v>
                </c:pt>
                <c:pt idx="33">
                  <c:v>0.1561840910797685</c:v>
                </c:pt>
                <c:pt idx="34">
                  <c:v>0.1651060683141109</c:v>
                </c:pt>
                <c:pt idx="35">
                  <c:v>0.14826171005838118</c:v>
                </c:pt>
                <c:pt idx="36">
                  <c:v>0.14556994459259878</c:v>
                </c:pt>
                <c:pt idx="37">
                  <c:v>0.15089566446702482</c:v>
                </c:pt>
                <c:pt idx="38">
                  <c:v>0.15426880050204794</c:v>
                </c:pt>
                <c:pt idx="39">
                  <c:v>0.15602959526126642</c:v>
                </c:pt>
                <c:pt idx="40">
                  <c:v>0.1608775501910464</c:v>
                </c:pt>
                <c:pt idx="41">
                  <c:v>0.15737944674759502</c:v>
                </c:pt>
                <c:pt idx="42">
                  <c:v>0.15983895840618223</c:v>
                </c:pt>
                <c:pt idx="43">
                  <c:v>0.16139238295338465</c:v>
                </c:pt>
                <c:pt idx="44">
                  <c:v>0.16243293755509508</c:v>
                </c:pt>
                <c:pt idx="45">
                  <c:v>0.1657209705787387</c:v>
                </c:pt>
                <c:pt idx="46">
                  <c:v>0.1635623819729034</c:v>
                </c:pt>
                <c:pt idx="47">
                  <c:v>0.1572595447484818</c:v>
                </c:pt>
                <c:pt idx="48">
                  <c:v>0.15889898594687957</c:v>
                </c:pt>
                <c:pt idx="49">
                  <c:v>0.16705271876346559</c:v>
                </c:pt>
                <c:pt idx="50">
                  <c:v>0.16268156158687916</c:v>
                </c:pt>
                <c:pt idx="51">
                  <c:v>0.155282645241523</c:v>
                </c:pt>
                <c:pt idx="52">
                  <c:v>0.18365951357637675</c:v>
                </c:pt>
                <c:pt idx="53">
                  <c:v>0.19531664543715443</c:v>
                </c:pt>
                <c:pt idx="54">
                  <c:v>0.14863059524453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98725098794087</c:v>
                </c:pt>
                <c:pt idx="1">
                  <c:v>0.6372307798822225</c:v>
                </c:pt>
                <c:pt idx="2">
                  <c:v>0.635861978657112</c:v>
                </c:pt>
                <c:pt idx="3">
                  <c:v>0.6381224553931127</c:v>
                </c:pt>
                <c:pt idx="4">
                  <c:v>0.6266727682203339</c:v>
                </c:pt>
                <c:pt idx="5">
                  <c:v>0.6578313610749258</c:v>
                </c:pt>
                <c:pt idx="6">
                  <c:v>0.6228511065223198</c:v>
                </c:pt>
                <c:pt idx="7">
                  <c:v>0.5919851535617843</c:v>
                </c:pt>
                <c:pt idx="8">
                  <c:v>0.6127623700353781</c:v>
                </c:pt>
                <c:pt idx="9">
                  <c:v>0.6242168395698642</c:v>
                </c:pt>
                <c:pt idx="10">
                  <c:v>0.6264658218211115</c:v>
                </c:pt>
                <c:pt idx="11">
                  <c:v>0.6708995624387888</c:v>
                </c:pt>
                <c:pt idx="12">
                  <c:v>0.6940705135225764</c:v>
                </c:pt>
                <c:pt idx="13">
                  <c:v>0.709887818763057</c:v>
                </c:pt>
                <c:pt idx="14">
                  <c:v>0.6792673544182531</c:v>
                </c:pt>
                <c:pt idx="15">
                  <c:v>0.7011532468276344</c:v>
                </c:pt>
                <c:pt idx="16">
                  <c:v>0.7107749833985979</c:v>
                </c:pt>
                <c:pt idx="17">
                  <c:v>0.6904930350491866</c:v>
                </c:pt>
                <c:pt idx="18">
                  <c:v>0.726031523855891</c:v>
                </c:pt>
                <c:pt idx="19">
                  <c:v>0.7630765846083792</c:v>
                </c:pt>
                <c:pt idx="20">
                  <c:v>0.7924069839052296</c:v>
                </c:pt>
                <c:pt idx="21">
                  <c:v>0.6537045805938629</c:v>
                </c:pt>
                <c:pt idx="22">
                  <c:v>0.6204640289276349</c:v>
                </c:pt>
                <c:pt idx="23">
                  <c:v>0.6158896088495206</c:v>
                </c:pt>
                <c:pt idx="24">
                  <c:v>0.6057367550861195</c:v>
                </c:pt>
                <c:pt idx="25">
                  <c:v>0.583150138653303</c:v>
                </c:pt>
                <c:pt idx="26">
                  <c:v>0.5836423971363566</c:v>
                </c:pt>
                <c:pt idx="27">
                  <c:v>0.6056830926763143</c:v>
                </c:pt>
                <c:pt idx="28">
                  <c:v>0.5974209391197733</c:v>
                </c:pt>
                <c:pt idx="29">
                  <c:v>0.5924566828045214</c:v>
                </c:pt>
                <c:pt idx="30">
                  <c:v>0.567178499663169</c:v>
                </c:pt>
                <c:pt idx="31">
                  <c:v>0.5722627372672834</c:v>
                </c:pt>
                <c:pt idx="32">
                  <c:v>0.5532212114246321</c:v>
                </c:pt>
                <c:pt idx="33">
                  <c:v>0.5543426159686842</c:v>
                </c:pt>
                <c:pt idx="34">
                  <c:v>0.5968440316503273</c:v>
                </c:pt>
                <c:pt idx="35">
                  <c:v>0.624404254554227</c:v>
                </c:pt>
                <c:pt idx="36">
                  <c:v>0.6701665244906557</c:v>
                </c:pt>
                <c:pt idx="37">
                  <c:v>0.6591206905964981</c:v>
                </c:pt>
                <c:pt idx="38">
                  <c:v>0.72202270959504</c:v>
                </c:pt>
                <c:pt idx="39">
                  <c:v>0.7400837649446534</c:v>
                </c:pt>
                <c:pt idx="40">
                  <c:v>0.7135113724823776</c:v>
                </c:pt>
                <c:pt idx="41">
                  <c:v>0.6885755300022812</c:v>
                </c:pt>
                <c:pt idx="42">
                  <c:v>0.7046266334289707</c:v>
                </c:pt>
                <c:pt idx="43">
                  <c:v>0.7054431976909653</c:v>
                </c:pt>
                <c:pt idx="44">
                  <c:v>0.7255044440782117</c:v>
                </c:pt>
                <c:pt idx="45">
                  <c:v>0.7294491074812511</c:v>
                </c:pt>
                <c:pt idx="46">
                  <c:v>0.7132315743660053</c:v>
                </c:pt>
                <c:pt idx="47">
                  <c:v>0.7151141768230052</c:v>
                </c:pt>
                <c:pt idx="48">
                  <c:v>0.7325675474900665</c:v>
                </c:pt>
                <c:pt idx="49">
                  <c:v>0.7344906788747922</c:v>
                </c:pt>
                <c:pt idx="50">
                  <c:v>0.6994925660401689</c:v>
                </c:pt>
                <c:pt idx="51">
                  <c:v>0.6987468541573001</c:v>
                </c:pt>
                <c:pt idx="52">
                  <c:v>0.7155313376133139</c:v>
                </c:pt>
                <c:pt idx="53">
                  <c:v>0.676203527359321</c:v>
                </c:pt>
                <c:pt idx="54">
                  <c:v>0.6653175210419168</c:v>
                </c:pt>
                <c:pt idx="55">
                  <c:v>0.6755780277104517</c:v>
                </c:pt>
                <c:pt idx="56">
                  <c:v>0.6688259074154587</c:v>
                </c:pt>
                <c:pt idx="57">
                  <c:v>0.6838859231996111</c:v>
                </c:pt>
                <c:pt idx="58">
                  <c:v>0.6454135863824902</c:v>
                </c:pt>
                <c:pt idx="59">
                  <c:v>0.6606374383677913</c:v>
                </c:pt>
                <c:pt idx="60">
                  <c:v>0.666996638027643</c:v>
                </c:pt>
                <c:pt idx="61">
                  <c:v>0.7048566217397569</c:v>
                </c:pt>
                <c:pt idx="62">
                  <c:v>0.6932915587379149</c:v>
                </c:pt>
                <c:pt idx="63">
                  <c:v>0.7069265765802036</c:v>
                </c:pt>
                <c:pt idx="64">
                  <c:v>0.7903641635055473</c:v>
                </c:pt>
                <c:pt idx="65">
                  <c:v>0.7915308801666308</c:v>
                </c:pt>
                <c:pt idx="66">
                  <c:v>0.7618901796348811</c:v>
                </c:pt>
                <c:pt idx="67">
                  <c:v>0.8076117270346593</c:v>
                </c:pt>
                <c:pt idx="68">
                  <c:v>0.8318389768477507</c:v>
                </c:pt>
                <c:pt idx="69">
                  <c:v>0.8181909449872383</c:v>
                </c:pt>
                <c:pt idx="70">
                  <c:v>0.8183110983049147</c:v>
                </c:pt>
                <c:pt idx="71">
                  <c:v>0.768814044822562</c:v>
                </c:pt>
                <c:pt idx="72">
                  <c:v>0.8349411587226366</c:v>
                </c:pt>
                <c:pt idx="73">
                  <c:v>0.7694980566713124</c:v>
                </c:pt>
                <c:pt idx="74">
                  <c:v>0.7524436589862301</c:v>
                </c:pt>
                <c:pt idx="75">
                  <c:v>0.7246274973834694</c:v>
                </c:pt>
                <c:pt idx="76">
                  <c:v>0.6998042144531749</c:v>
                </c:pt>
                <c:pt idx="77">
                  <c:v>0.7440090370028759</c:v>
                </c:pt>
                <c:pt idx="78">
                  <c:v>0.7480122859824105</c:v>
                </c:pt>
                <c:pt idx="79">
                  <c:v>0.7255602041197913</c:v>
                </c:pt>
                <c:pt idx="80">
                  <c:v>0.7428549449463981</c:v>
                </c:pt>
                <c:pt idx="81">
                  <c:v>0.7413453331394317</c:v>
                </c:pt>
                <c:pt idx="82">
                  <c:v>0.72109495205417</c:v>
                </c:pt>
                <c:pt idx="83">
                  <c:v>0.6769442398202954</c:v>
                </c:pt>
                <c:pt idx="84">
                  <c:v>0.6989043705349774</c:v>
                </c:pt>
                <c:pt idx="85">
                  <c:v>0.691288249774924</c:v>
                </c:pt>
                <c:pt idx="86">
                  <c:v>0.7204583620655682</c:v>
                </c:pt>
                <c:pt idx="87">
                  <c:v>0.7213242436524878</c:v>
                </c:pt>
                <c:pt idx="88">
                  <c:v>0.6394881557922693</c:v>
                </c:pt>
                <c:pt idx="89">
                  <c:v>0.6431136918050645</c:v>
                </c:pt>
                <c:pt idx="90">
                  <c:v>0.7181554306062627</c:v>
                </c:pt>
                <c:pt idx="91">
                  <c:v>0.7395460662369445</c:v>
                </c:pt>
                <c:pt idx="92">
                  <c:v>0.7400728772145184</c:v>
                </c:pt>
                <c:pt idx="93">
                  <c:v>0.763548971823141</c:v>
                </c:pt>
                <c:pt idx="94">
                  <c:v>0.7521415861775722</c:v>
                </c:pt>
                <c:pt idx="95">
                  <c:v>0.7778014159321509</c:v>
                </c:pt>
                <c:pt idx="96">
                  <c:v>0.7903282673095078</c:v>
                </c:pt>
                <c:pt idx="97">
                  <c:v>0.7942632356502409</c:v>
                </c:pt>
                <c:pt idx="98">
                  <c:v>0.8023762106894122</c:v>
                </c:pt>
                <c:pt idx="99">
                  <c:v>0.7852832475029029</c:v>
                </c:pt>
                <c:pt idx="100">
                  <c:v>0.7757404631342465</c:v>
                </c:pt>
                <c:pt idx="101">
                  <c:v>0.7266938801362699</c:v>
                </c:pt>
                <c:pt idx="102">
                  <c:v>0.7395216986673259</c:v>
                </c:pt>
                <c:pt idx="103">
                  <c:v>0.7615152689270793</c:v>
                </c:pt>
                <c:pt idx="104">
                  <c:v>0.7414358692789654</c:v>
                </c:pt>
              </c:numCache>
            </c:numRef>
          </c:xVal>
          <c:yVal>
            <c:numRef>
              <c:f>Sheet1!$B$2:$B$106</c:f>
              <c:numCache>
                <c:formatCode>General</c:formatCode>
                <c:ptCount val="105"/>
                <c:pt idx="0">
                  <c:v>0.24271685761047462</c:v>
                </c:pt>
                <c:pt idx="1">
                  <c:v>0.25422832980972515</c:v>
                </c:pt>
                <c:pt idx="2">
                  <c:v>0.2532702915681639</c:v>
                </c:pt>
                <c:pt idx="3">
                  <c:v>0.24850199733688416</c:v>
                </c:pt>
                <c:pt idx="4">
                  <c:v>0.24358974358974358</c:v>
                </c:pt>
                <c:pt idx="5">
                  <c:v>0.2540229885057471</c:v>
                </c:pt>
                <c:pt idx="6">
                  <c:v>0.2866845029841531</c:v>
                </c:pt>
                <c:pt idx="7">
                  <c:v>0.2894588500563698</c:v>
                </c:pt>
                <c:pt idx="8">
                  <c:v>0.28523936170212766</c:v>
                </c:pt>
                <c:pt idx="9">
                  <c:v>0.2713684210526316</c:v>
                </c:pt>
                <c:pt idx="10">
                  <c:v>0.2717872968980798</c:v>
                </c:pt>
                <c:pt idx="11">
                  <c:v>0.23830275229357797</c:v>
                </c:pt>
                <c:pt idx="12">
                  <c:v>0.22627080521817364</c:v>
                </c:pt>
                <c:pt idx="13">
                  <c:v>0.20817766708177668</c:v>
                </c:pt>
                <c:pt idx="14">
                  <c:v>0.20434609250398725</c:v>
                </c:pt>
                <c:pt idx="15">
                  <c:v>0.2033214709371293</c:v>
                </c:pt>
                <c:pt idx="16">
                  <c:v>0.19668446192750771</c:v>
                </c:pt>
                <c:pt idx="17">
                  <c:v>0.19307548346849657</c:v>
                </c:pt>
                <c:pt idx="18">
                  <c:v>0.18640606767794632</c:v>
                </c:pt>
                <c:pt idx="19">
                  <c:v>0.17410562180579217</c:v>
                </c:pt>
                <c:pt idx="20">
                  <c:v>0.17318099819603128</c:v>
                </c:pt>
                <c:pt idx="21">
                  <c:v>0.1973229706390328</c:v>
                </c:pt>
                <c:pt idx="22">
                  <c:v>0.20831728917982287</c:v>
                </c:pt>
                <c:pt idx="23">
                  <c:v>0.20566801619433198</c:v>
                </c:pt>
                <c:pt idx="24">
                  <c:v>0.2184844192634561</c:v>
                </c:pt>
                <c:pt idx="25">
                  <c:v>0.21941594317284924</c:v>
                </c:pt>
                <c:pt idx="26">
                  <c:v>0.24335812964930925</c:v>
                </c:pt>
                <c:pt idx="27">
                  <c:v>0.23760129659643436</c:v>
                </c:pt>
                <c:pt idx="28">
                  <c:v>0.24499229583975346</c:v>
                </c:pt>
                <c:pt idx="29">
                  <c:v>0.2399037175715432</c:v>
                </c:pt>
                <c:pt idx="30">
                  <c:v>0.2545862972669412</c:v>
                </c:pt>
                <c:pt idx="31">
                  <c:v>0.26187198898830005</c:v>
                </c:pt>
                <c:pt idx="32">
                  <c:v>0.26269243367179823</c:v>
                </c:pt>
                <c:pt idx="33">
                  <c:v>0.25857582209604923</c:v>
                </c:pt>
                <c:pt idx="34">
                  <c:v>0.2497164889997732</c:v>
                </c:pt>
                <c:pt idx="35">
                  <c:v>0.24854171950291656</c:v>
                </c:pt>
                <c:pt idx="36">
                  <c:v>0.2265880812049771</c:v>
                </c:pt>
                <c:pt idx="37">
                  <c:v>0.22297734627831714</c:v>
                </c:pt>
                <c:pt idx="38">
                  <c:v>0.21375283814466428</c:v>
                </c:pt>
                <c:pt idx="39">
                  <c:v>0.2010853180584866</c:v>
                </c:pt>
                <c:pt idx="40">
                  <c:v>0.2070079522862823</c:v>
                </c:pt>
                <c:pt idx="41">
                  <c:v>0.19785941567833382</c:v>
                </c:pt>
                <c:pt idx="42">
                  <c:v>0.19474042167309</c:v>
                </c:pt>
                <c:pt idx="43">
                  <c:v>0.19486308639354702</c:v>
                </c:pt>
                <c:pt idx="44">
                  <c:v>0.19898838947005404</c:v>
                </c:pt>
                <c:pt idx="45">
                  <c:v>0.20687095748064893</c:v>
                </c:pt>
                <c:pt idx="46">
                  <c:v>0.2190745986779981</c:v>
                </c:pt>
                <c:pt idx="47">
                  <c:v>0.21450690805145306</c:v>
                </c:pt>
                <c:pt idx="48">
                  <c:v>0.2117003367003367</c:v>
                </c:pt>
                <c:pt idx="49">
                  <c:v>0.2264425622022234</c:v>
                </c:pt>
                <c:pt idx="50">
                  <c:v>0.22240676430620565</c:v>
                </c:pt>
                <c:pt idx="51">
                  <c:v>0.21214351425942962</c:v>
                </c:pt>
                <c:pt idx="52">
                  <c:v>0.21890191592793823</c:v>
                </c:pt>
                <c:pt idx="53">
                  <c:v>0.21490280777537796</c:v>
                </c:pt>
                <c:pt idx="54">
                  <c:v>0.20479067760034528</c:v>
                </c:pt>
                <c:pt idx="55">
                  <c:v>0.20660438844232024</c:v>
                </c:pt>
                <c:pt idx="56">
                  <c:v>0.20757825370675453</c:v>
                </c:pt>
                <c:pt idx="57">
                  <c:v>0.2006125574272588</c:v>
                </c:pt>
                <c:pt idx="58">
                  <c:v>0.2282962962962963</c:v>
                </c:pt>
                <c:pt idx="59">
                  <c:v>0.23327880770628862</c:v>
                </c:pt>
                <c:pt idx="60">
                  <c:v>0.2214183819034033</c:v>
                </c:pt>
                <c:pt idx="61">
                  <c:v>0.2180811808118081</c:v>
                </c:pt>
                <c:pt idx="62">
                  <c:v>0.23971543458088462</c:v>
                </c:pt>
                <c:pt idx="63">
                  <c:v>0.2518506851472673</c:v>
                </c:pt>
                <c:pt idx="64">
                  <c:v>0.22007012856904323</c:v>
                </c:pt>
                <c:pt idx="65">
                  <c:v>0.2119626168224299</c:v>
                </c:pt>
                <c:pt idx="66">
                  <c:v>0.2264186752704498</c:v>
                </c:pt>
                <c:pt idx="67">
                  <c:v>0.20661625708884687</c:v>
                </c:pt>
                <c:pt idx="68">
                  <c:v>0.18726591760299627</c:v>
                </c:pt>
                <c:pt idx="69">
                  <c:v>0.17887232663642255</c:v>
                </c:pt>
                <c:pt idx="70">
                  <c:v>0.1774193548387097</c:v>
                </c:pt>
                <c:pt idx="71">
                  <c:v>0.1788919839059115</c:v>
                </c:pt>
                <c:pt idx="72">
                  <c:v>0.18722659667541558</c:v>
                </c:pt>
                <c:pt idx="73">
                  <c:v>0.19159713945172824</c:v>
                </c:pt>
                <c:pt idx="74">
                  <c:v>0.20707461915827524</c:v>
                </c:pt>
                <c:pt idx="75">
                  <c:v>0.20688631641436628</c:v>
                </c:pt>
                <c:pt idx="76">
                  <c:v>0.2060284862537264</c:v>
                </c:pt>
                <c:pt idx="77">
                  <c:v>0.19510513615994485</c:v>
                </c:pt>
                <c:pt idx="78">
                  <c:v>0.20529061102831594</c:v>
                </c:pt>
                <c:pt idx="79">
                  <c:v>0.18097303997520917</c:v>
                </c:pt>
                <c:pt idx="80">
                  <c:v>0.18242022877784467</c:v>
                </c:pt>
                <c:pt idx="81">
                  <c:v>0.19027484143763213</c:v>
                </c:pt>
                <c:pt idx="82">
                  <c:v>0.19462840323767477</c:v>
                </c:pt>
                <c:pt idx="83">
                  <c:v>0.19579554822753503</c:v>
                </c:pt>
                <c:pt idx="84">
                  <c:v>0.1935483870967742</c:v>
                </c:pt>
                <c:pt idx="85">
                  <c:v>0.20390070921985815</c:v>
                </c:pt>
                <c:pt idx="86">
                  <c:v>0.22410441544015552</c:v>
                </c:pt>
                <c:pt idx="87">
                  <c:v>0.21577123050259966</c:v>
                </c:pt>
                <c:pt idx="88">
                  <c:v>0.21185770750988142</c:v>
                </c:pt>
                <c:pt idx="89">
                  <c:v>0.22858255451713397</c:v>
                </c:pt>
                <c:pt idx="90">
                  <c:v>0.1895449417074088</c:v>
                </c:pt>
                <c:pt idx="91">
                  <c:v>0.182566404788627</c:v>
                </c:pt>
                <c:pt idx="92">
                  <c:v>0.18839712918660287</c:v>
                </c:pt>
                <c:pt idx="93">
                  <c:v>0.1908315565031983</c:v>
                </c:pt>
                <c:pt idx="94">
                  <c:v>0.18372232196289648</c:v>
                </c:pt>
                <c:pt idx="95">
                  <c:v>0.18333333333333332</c:v>
                </c:pt>
                <c:pt idx="96">
                  <c:v>0.19388436373347576</c:v>
                </c:pt>
                <c:pt idx="97">
                  <c:v>0.20762182423990005</c:v>
                </c:pt>
                <c:pt idx="98">
                  <c:v>0.20976440533636107</c:v>
                </c:pt>
                <c:pt idx="99">
                  <c:v>0.21817110138093634</c:v>
                </c:pt>
                <c:pt idx="100">
                  <c:v>0.2194612169066419</c:v>
                </c:pt>
                <c:pt idx="101">
                  <c:v>0.2158050619278406</c:v>
                </c:pt>
                <c:pt idx="102">
                  <c:v>0.2024718284260269</c:v>
                </c:pt>
                <c:pt idx="103">
                  <c:v>0.2033003300330033</c:v>
                </c:pt>
                <c:pt idx="104">
                  <c:v>0.204518984393198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388236205956936</c:v>
                </c:pt>
                <c:pt idx="1">
                  <c:v>0.6968684757385574</c:v>
                </c:pt>
                <c:pt idx="2">
                  <c:v>0.6989146018214608</c:v>
                </c:pt>
                <c:pt idx="3">
                  <c:v>0.6708457363712196</c:v>
                </c:pt>
                <c:pt idx="4">
                  <c:v>0.7036789833083165</c:v>
                </c:pt>
                <c:pt idx="5">
                  <c:v>0.7013392133359653</c:v>
                </c:pt>
                <c:pt idx="6">
                  <c:v>0.7109505757417839</c:v>
                </c:pt>
                <c:pt idx="7">
                  <c:v>0.6934974214175192</c:v>
                </c:pt>
                <c:pt idx="8">
                  <c:v>0.6965877653023888</c:v>
                </c:pt>
                <c:pt idx="9">
                  <c:v>0.6884110565150332</c:v>
                </c:pt>
                <c:pt idx="10">
                  <c:v>0.6999939812977893</c:v>
                </c:pt>
                <c:pt idx="11">
                  <c:v>0.6760607537306567</c:v>
                </c:pt>
                <c:pt idx="12">
                  <c:v>0.6721695969301258</c:v>
                </c:pt>
                <c:pt idx="13">
                  <c:v>0.6614047047921855</c:v>
                </c:pt>
                <c:pt idx="14">
                  <c:v>0.6398055574842684</c:v>
                </c:pt>
                <c:pt idx="15">
                  <c:v>0.6525480973533976</c:v>
                </c:pt>
                <c:pt idx="16">
                  <c:v>0.6712759689372015</c:v>
                </c:pt>
                <c:pt idx="17">
                  <c:v>0.6521358839504804</c:v>
                </c:pt>
                <c:pt idx="18">
                  <c:v>0.6310322899134586</c:v>
                </c:pt>
                <c:pt idx="19">
                  <c:v>0.6524687510680542</c:v>
                </c:pt>
                <c:pt idx="20">
                  <c:v>0.6518947670529035</c:v>
                </c:pt>
                <c:pt idx="21">
                  <c:v>0.6002639079339822</c:v>
                </c:pt>
                <c:pt idx="22">
                  <c:v>0.6083201566977818</c:v>
                </c:pt>
                <c:pt idx="23">
                  <c:v>0.6540140708952407</c:v>
                </c:pt>
                <c:pt idx="24">
                  <c:v>0.6551907426623835</c:v>
                </c:pt>
                <c:pt idx="25">
                  <c:v>0.6951628493346629</c:v>
                </c:pt>
                <c:pt idx="26">
                  <c:v>0.6454310895011008</c:v>
                </c:pt>
                <c:pt idx="27">
                  <c:v>0.6707678623609611</c:v>
                </c:pt>
                <c:pt idx="28">
                  <c:v>0.6953070934380339</c:v>
                </c:pt>
                <c:pt idx="29">
                  <c:v>0.6531170236217984</c:v>
                </c:pt>
                <c:pt idx="30">
                  <c:v>0.6446466076678384</c:v>
                </c:pt>
                <c:pt idx="31">
                  <c:v>0.6831042048845161</c:v>
                </c:pt>
                <c:pt idx="32">
                  <c:v>0.686828724917439</c:v>
                </c:pt>
                <c:pt idx="33">
                  <c:v>0.6834894967681041</c:v>
                </c:pt>
                <c:pt idx="34">
                  <c:v>0.7025369245783063</c:v>
                </c:pt>
                <c:pt idx="35">
                  <c:v>0.6679003948105754</c:v>
                </c:pt>
                <c:pt idx="36">
                  <c:v>0.6443926099466499</c:v>
                </c:pt>
                <c:pt idx="37">
                  <c:v>0.6462730446692405</c:v>
                </c:pt>
                <c:pt idx="38">
                  <c:v>0.6531731046406443</c:v>
                </c:pt>
                <c:pt idx="39">
                  <c:v>0.6900209565432841</c:v>
                </c:pt>
                <c:pt idx="40">
                  <c:v>0.6872204967598039</c:v>
                </c:pt>
                <c:pt idx="41">
                  <c:v>0.7098668243156722</c:v>
                </c:pt>
                <c:pt idx="42">
                  <c:v>0.6892848079403906</c:v>
                </c:pt>
                <c:pt idx="43">
                  <c:v>0.7729712538181742</c:v>
                </c:pt>
                <c:pt idx="44">
                  <c:v>0.8153986849910962</c:v>
                </c:pt>
                <c:pt idx="45">
                  <c:v>0.8072590084257374</c:v>
                </c:pt>
                <c:pt idx="46">
                  <c:v>0.7605517169418187</c:v>
                </c:pt>
                <c:pt idx="47">
                  <c:v>0.771729109695261</c:v>
                </c:pt>
                <c:pt idx="48">
                  <c:v>0.8420052038716572</c:v>
                </c:pt>
                <c:pt idx="49">
                  <c:v>0.8697086008859948</c:v>
                </c:pt>
                <c:pt idx="50">
                  <c:v>0.8230037867496238</c:v>
                </c:pt>
                <c:pt idx="51">
                  <c:v>0.7910462865185122</c:v>
                </c:pt>
              </c:numCache>
            </c:numRef>
          </c:xVal>
          <c:yVal>
            <c:numRef>
              <c:f>Sheet1!$B$109:$B$160</c:f>
              <c:numCache>
                <c:formatCode>General</c:formatCode>
                <c:ptCount val="52"/>
                <c:pt idx="0">
                  <c:v>0.1998423334647221</c:v>
                </c:pt>
                <c:pt idx="1">
                  <c:v>0.20834134153373055</c:v>
                </c:pt>
                <c:pt idx="2">
                  <c:v>0.22008935958960782</c:v>
                </c:pt>
                <c:pt idx="3">
                  <c:v>0.23592400690846288</c:v>
                </c:pt>
                <c:pt idx="4">
                  <c:v>0.20571909167367536</c:v>
                </c:pt>
                <c:pt idx="5">
                  <c:v>0.21934513865686603</c:v>
                </c:pt>
                <c:pt idx="6">
                  <c:v>0.2463843648208469</c:v>
                </c:pt>
                <c:pt idx="7">
                  <c:v>0.23860448807854137</c:v>
                </c:pt>
                <c:pt idx="8">
                  <c:v>0.2254766510085659</c:v>
                </c:pt>
                <c:pt idx="9">
                  <c:v>0.23954659949622167</c:v>
                </c:pt>
                <c:pt idx="10">
                  <c:v>0.22884012539184953</c:v>
                </c:pt>
                <c:pt idx="11">
                  <c:v>0.23930131004366811</c:v>
                </c:pt>
                <c:pt idx="12">
                  <c:v>0.23905325443786982</c:v>
                </c:pt>
                <c:pt idx="13">
                  <c:v>0.24373293621245967</c:v>
                </c:pt>
                <c:pt idx="14">
                  <c:v>0.25052301255230125</c:v>
                </c:pt>
                <c:pt idx="15">
                  <c:v>0.2352437981180496</c:v>
                </c:pt>
                <c:pt idx="16">
                  <c:v>0.23841059602649006</c:v>
                </c:pt>
                <c:pt idx="17">
                  <c:v>0.2448445171849427</c:v>
                </c:pt>
                <c:pt idx="18">
                  <c:v>0.25567989148864023</c:v>
                </c:pt>
                <c:pt idx="19">
                  <c:v>0.2339622641509434</c:v>
                </c:pt>
                <c:pt idx="20">
                  <c:v>0.20652173913043478</c:v>
                </c:pt>
                <c:pt idx="21">
                  <c:v>0.22507869884575027</c:v>
                </c:pt>
                <c:pt idx="22">
                  <c:v>0.21955128205128205</c:v>
                </c:pt>
                <c:pt idx="23">
                  <c:v>0.21822033898305085</c:v>
                </c:pt>
                <c:pt idx="24">
                  <c:v>0.22183558068725534</c:v>
                </c:pt>
                <c:pt idx="25">
                  <c:v>0.20678285445124822</c:v>
                </c:pt>
                <c:pt idx="26">
                  <c:v>0.21416083916083917</c:v>
                </c:pt>
                <c:pt idx="27">
                  <c:v>0.22721134368669818</c:v>
                </c:pt>
                <c:pt idx="28">
                  <c:v>0.22299854439592431</c:v>
                </c:pt>
                <c:pt idx="29">
                  <c:v>0.2101123595505618</c:v>
                </c:pt>
                <c:pt idx="30">
                  <c:v>0.21153126169973793</c:v>
                </c:pt>
                <c:pt idx="31">
                  <c:v>0.19655667144906744</c:v>
                </c:pt>
                <c:pt idx="32">
                  <c:v>0.199642431466031</c:v>
                </c:pt>
                <c:pt idx="33">
                  <c:v>0.21654622476949914</c:v>
                </c:pt>
                <c:pt idx="34">
                  <c:v>0.22415005861664714</c:v>
                </c:pt>
                <c:pt idx="35">
                  <c:v>0.21783216783216783</c:v>
                </c:pt>
                <c:pt idx="36">
                  <c:v>0.19944979367262725</c:v>
                </c:pt>
                <c:pt idx="37">
                  <c:v>0.20214079868258542</c:v>
                </c:pt>
                <c:pt idx="38">
                  <c:v>0.21197411003236247</c:v>
                </c:pt>
                <c:pt idx="39">
                  <c:v>0.21589825119236883</c:v>
                </c:pt>
                <c:pt idx="40">
                  <c:v>0.20152976388427005</c:v>
                </c:pt>
                <c:pt idx="41">
                  <c:v>0.20275344180225283</c:v>
                </c:pt>
                <c:pt idx="42">
                  <c:v>0.21277385815076122</c:v>
                </c:pt>
                <c:pt idx="43">
                  <c:v>0.19686631286328027</c:v>
                </c:pt>
                <c:pt idx="44">
                  <c:v>0.1921582479689156</c:v>
                </c:pt>
                <c:pt idx="45">
                  <c:v>0.20964467005076143</c:v>
                </c:pt>
                <c:pt idx="46">
                  <c:v>0.23199236762601366</c:v>
                </c:pt>
                <c:pt idx="47">
                  <c:v>0.23594093622368834</c:v>
                </c:pt>
                <c:pt idx="48">
                  <c:v>0.22076528787698177</c:v>
                </c:pt>
                <c:pt idx="49">
                  <c:v>0.23243423243423245</c:v>
                </c:pt>
                <c:pt idx="50">
                  <c:v>0.23076209901724457</c:v>
                </c:pt>
                <c:pt idx="51">
                  <c:v>0.22172413793103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43750342001001</c:v>
                </c:pt>
              </c:numCache>
            </c:numRef>
          </c:xVal>
          <c:yVal>
            <c:numRef>
              <c:f>Sheet1!$B$163:$B$164</c:f>
              <c:numCache>
                <c:formatCode>General</c:formatCode>
                <c:ptCount val="2"/>
                <c:pt idx="0">
                  <c:v>0.2619681025737099</c:v>
                </c:pt>
                <c:pt idx="1">
                  <c:v>0.261968102573709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43750342001001</c:v>
                </c:pt>
                <c:pt idx="1">
                  <c:v>-0.4843750342001001</c:v>
                </c:pt>
              </c:numCache>
            </c:numRef>
          </c:xVal>
          <c:yVal>
            <c:numRef>
              <c:f>Sheet1!$B$167:$B$168</c:f>
              <c:numCache>
                <c:formatCode>General</c:formatCode>
                <c:ptCount val="2"/>
                <c:pt idx="0">
                  <c:v>0.26196810257370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4035437349590358</c:v>
                </c:pt>
              </c:numCache>
            </c:numRef>
          </c:xVal>
          <c:yVal>
            <c:numRef>
              <c:f>Sheet1!$B$171:$B$172</c:f>
              <c:numCache>
                <c:formatCode>General</c:formatCode>
                <c:ptCount val="2"/>
                <c:pt idx="0">
                  <c:v>0.23697990331381702</c:v>
                </c:pt>
                <c:pt idx="1">
                  <c:v>0.2369799033138170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4035437349590358</c:v>
                </c:pt>
                <c:pt idx="1">
                  <c:v>0.24035437349590358</c:v>
                </c:pt>
              </c:numCache>
            </c:numRef>
          </c:xVal>
          <c:yVal>
            <c:numRef>
              <c:f>Sheet1!$B$175:$B$176</c:f>
              <c:numCache>
                <c:formatCode>General</c:formatCode>
                <c:ptCount val="2"/>
                <c:pt idx="0">
                  <c:v>0.236979903313817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49811933298698</c:v>
                </c:pt>
              </c:numCache>
            </c:numRef>
          </c:xVal>
          <c:yVal>
            <c:numRef>
              <c:f>Sheet1!$B$179:$B$180</c:f>
              <c:numCache>
                <c:formatCode>General</c:formatCode>
                <c:ptCount val="2"/>
                <c:pt idx="0">
                  <c:v>0.21578796977090814</c:v>
                </c:pt>
                <c:pt idx="1">
                  <c:v>0.215787969770908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49811933298698</c:v>
                </c:pt>
                <c:pt idx="1">
                  <c:v>0.8549811933298698</c:v>
                </c:pt>
              </c:numCache>
            </c:numRef>
          </c:xVal>
          <c:yVal>
            <c:numRef>
              <c:f>Sheet1!$B$183:$B$184</c:f>
              <c:numCache>
                <c:formatCode>General</c:formatCode>
                <c:ptCount val="2"/>
                <c:pt idx="0">
                  <c:v>0.215787969770908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388236205956936</c:v>
                </c:pt>
                <c:pt idx="1">
                  <c:v>0.6968684757385574</c:v>
                </c:pt>
                <c:pt idx="2">
                  <c:v>0.6989146018214608</c:v>
                </c:pt>
                <c:pt idx="3">
                  <c:v>0.6708457363712196</c:v>
                </c:pt>
                <c:pt idx="4">
                  <c:v>0.7036789833083165</c:v>
                </c:pt>
                <c:pt idx="5">
                  <c:v>0.7013392133359653</c:v>
                </c:pt>
                <c:pt idx="6">
                  <c:v>0.7109505757417839</c:v>
                </c:pt>
                <c:pt idx="7">
                  <c:v>0.6934974214175192</c:v>
                </c:pt>
                <c:pt idx="8">
                  <c:v>0.6965877653023888</c:v>
                </c:pt>
                <c:pt idx="9">
                  <c:v>0.6884110565150332</c:v>
                </c:pt>
                <c:pt idx="10">
                  <c:v>0.6999939812977893</c:v>
                </c:pt>
                <c:pt idx="11">
                  <c:v>0.6760607537306567</c:v>
                </c:pt>
                <c:pt idx="12">
                  <c:v>0.6721695969301258</c:v>
                </c:pt>
                <c:pt idx="13">
                  <c:v>0.6614047047921855</c:v>
                </c:pt>
                <c:pt idx="14">
                  <c:v>0.6398055574842684</c:v>
                </c:pt>
                <c:pt idx="15">
                  <c:v>0.6525480973533976</c:v>
                </c:pt>
                <c:pt idx="16">
                  <c:v>0.6712759689372015</c:v>
                </c:pt>
                <c:pt idx="17">
                  <c:v>0.6521358839504804</c:v>
                </c:pt>
                <c:pt idx="18">
                  <c:v>0.6310322899134586</c:v>
                </c:pt>
                <c:pt idx="19">
                  <c:v>0.6524687510680542</c:v>
                </c:pt>
                <c:pt idx="20">
                  <c:v>0.6518947670529035</c:v>
                </c:pt>
                <c:pt idx="21">
                  <c:v>0.6002639079339822</c:v>
                </c:pt>
                <c:pt idx="22">
                  <c:v>0.6083201566977818</c:v>
                </c:pt>
                <c:pt idx="23">
                  <c:v>0.6540140708952407</c:v>
                </c:pt>
                <c:pt idx="24">
                  <c:v>0.6551907426623835</c:v>
                </c:pt>
                <c:pt idx="25">
                  <c:v>0.6951628493346629</c:v>
                </c:pt>
                <c:pt idx="26">
                  <c:v>0.6454310895011008</c:v>
                </c:pt>
                <c:pt idx="27">
                  <c:v>0.6707678623609611</c:v>
                </c:pt>
                <c:pt idx="28">
                  <c:v>0.6953070934380339</c:v>
                </c:pt>
                <c:pt idx="29">
                  <c:v>0.6531170236217984</c:v>
                </c:pt>
                <c:pt idx="30">
                  <c:v>0.6446466076678384</c:v>
                </c:pt>
                <c:pt idx="31">
                  <c:v>0.6831042048845161</c:v>
                </c:pt>
                <c:pt idx="32">
                  <c:v>0.686828724917439</c:v>
                </c:pt>
                <c:pt idx="33">
                  <c:v>0.6834894967681041</c:v>
                </c:pt>
                <c:pt idx="34">
                  <c:v>0.7025369245783063</c:v>
                </c:pt>
                <c:pt idx="35">
                  <c:v>0.6679003948105754</c:v>
                </c:pt>
                <c:pt idx="36">
                  <c:v>0.6443926099466499</c:v>
                </c:pt>
                <c:pt idx="37">
                  <c:v>0.6462730446692405</c:v>
                </c:pt>
                <c:pt idx="38">
                  <c:v>0.6531731046406443</c:v>
                </c:pt>
                <c:pt idx="39">
                  <c:v>0.6900209565432841</c:v>
                </c:pt>
                <c:pt idx="40">
                  <c:v>0.6872204967598039</c:v>
                </c:pt>
                <c:pt idx="41">
                  <c:v>0.7098668243156722</c:v>
                </c:pt>
                <c:pt idx="42">
                  <c:v>0.6892848079403906</c:v>
                </c:pt>
                <c:pt idx="43">
                  <c:v>0.7729712538181742</c:v>
                </c:pt>
                <c:pt idx="44">
                  <c:v>0.8153986849910962</c:v>
                </c:pt>
                <c:pt idx="45">
                  <c:v>0.8072590084257374</c:v>
                </c:pt>
                <c:pt idx="46">
                  <c:v>0.7605517169418187</c:v>
                </c:pt>
                <c:pt idx="47">
                  <c:v>0.771729109695261</c:v>
                </c:pt>
                <c:pt idx="48">
                  <c:v>0.8420052038716572</c:v>
                </c:pt>
                <c:pt idx="49">
                  <c:v>0.8697086008859948</c:v>
                </c:pt>
                <c:pt idx="50">
                  <c:v>0.8230037867496238</c:v>
                </c:pt>
                <c:pt idx="51">
                  <c:v>0.7910462865185122</c:v>
                </c:pt>
                <c:pt idx="52">
                  <c:v>0.24035437349590358</c:v>
                </c:pt>
                <c:pt idx="53">
                  <c:v>-0.4843750342001001</c:v>
                </c:pt>
                <c:pt idx="54">
                  <c:v>0.8549811933298698</c:v>
                </c:pt>
              </c:numCache>
            </c:numRef>
          </c:xVal>
          <c:yVal>
            <c:numRef>
              <c:f>Sheet1!$B$187:$B$241</c:f>
              <c:numCache>
                <c:formatCode>General</c:formatCode>
                <c:ptCount val="55"/>
                <c:pt idx="0">
                  <c:v>0.21979300743352306</c:v>
                </c:pt>
                <c:pt idx="1">
                  <c:v>0.2212395935779997</c:v>
                </c:pt>
                <c:pt idx="2">
                  <c:v>0.2211690444796362</c:v>
                </c:pt>
                <c:pt idx="3">
                  <c:v>0.22213684072941106</c:v>
                </c:pt>
                <c:pt idx="4">
                  <c:v>0.22100477170047275</c:v>
                </c:pt>
                <c:pt idx="5">
                  <c:v>0.22108544544942038</c:v>
                </c:pt>
                <c:pt idx="6">
                  <c:v>0.22075405191632344</c:v>
                </c:pt>
                <c:pt idx="7">
                  <c:v>0.2213558253414627</c:v>
                </c:pt>
                <c:pt idx="8">
                  <c:v>0.22124927229151514</c:v>
                </c:pt>
                <c:pt idx="9">
                  <c:v>0.2215311998996663</c:v>
                </c:pt>
                <c:pt idx="10">
                  <c:v>0.22113182817635788</c:v>
                </c:pt>
                <c:pt idx="11">
                  <c:v>0.22195703031805256</c:v>
                </c:pt>
                <c:pt idx="12">
                  <c:v>0.22209119487719783</c:v>
                </c:pt>
                <c:pt idx="13">
                  <c:v>0.22246236136623168</c:v>
                </c:pt>
                <c:pt idx="14">
                  <c:v>0.22320708593659216</c:v>
                </c:pt>
                <c:pt idx="15">
                  <c:v>0.22276773143828474</c:v>
                </c:pt>
                <c:pt idx="16">
                  <c:v>0.22212200658997544</c:v>
                </c:pt>
                <c:pt idx="17">
                  <c:v>0.22278194428868145</c:v>
                </c:pt>
                <c:pt idx="18">
                  <c:v>0.22350958250412722</c:v>
                </c:pt>
                <c:pt idx="19">
                  <c:v>0.22277046724666733</c:v>
                </c:pt>
                <c:pt idx="20">
                  <c:v>0.2227902578427026</c:v>
                </c:pt>
                <c:pt idx="21">
                  <c:v>0.22457045633047285</c:v>
                </c:pt>
                <c:pt idx="22">
                  <c:v>0.22429268210569414</c:v>
                </c:pt>
                <c:pt idx="23">
                  <c:v>0.22271718562272336</c:v>
                </c:pt>
                <c:pt idx="24">
                  <c:v>0.22267661474444986</c:v>
                </c:pt>
                <c:pt idx="25">
                  <c:v>0.22129840246858817</c:v>
                </c:pt>
                <c:pt idx="26">
                  <c:v>0.2230131212464792</c:v>
                </c:pt>
                <c:pt idx="27">
                  <c:v>0.222139525774705</c:v>
                </c:pt>
                <c:pt idx="28">
                  <c:v>0.22129342902559163</c:v>
                </c:pt>
                <c:pt idx="29">
                  <c:v>0.22274811523007237</c:v>
                </c:pt>
                <c:pt idx="30">
                  <c:v>0.22304016967056295</c:v>
                </c:pt>
                <c:pt idx="31">
                  <c:v>0.22171417669704457</c:v>
                </c:pt>
                <c:pt idx="32">
                  <c:v>0.22158575766541452</c:v>
                </c:pt>
                <c:pt idx="33">
                  <c:v>0.22170089208314855</c:v>
                </c:pt>
                <c:pt idx="34">
                  <c:v>0.22104414914370735</c:v>
                </c:pt>
                <c:pt idx="35">
                  <c:v>0.2222383941933995</c:v>
                </c:pt>
                <c:pt idx="36">
                  <c:v>0.223048927347016</c:v>
                </c:pt>
                <c:pt idx="37">
                  <c:v>0.22298409117913826</c:v>
                </c:pt>
                <c:pt idx="38">
                  <c:v>0.22274618159296763</c:v>
                </c:pt>
                <c:pt idx="39">
                  <c:v>0.221475691592335</c:v>
                </c:pt>
                <c:pt idx="40">
                  <c:v>0.22157224962674868</c:v>
                </c:pt>
                <c:pt idx="41">
                  <c:v>0.22079141896159066</c:v>
                </c:pt>
                <c:pt idx="42">
                  <c:v>0.22150107351802845</c:v>
                </c:pt>
                <c:pt idx="43">
                  <c:v>0.21861561921916897</c:v>
                </c:pt>
                <c:pt idx="44">
                  <c:v>0.21715274894927775</c:v>
                </c:pt>
                <c:pt idx="45">
                  <c:v>0.2174333997104672</c:v>
                </c:pt>
                <c:pt idx="46">
                  <c:v>0.21904383678407857</c:v>
                </c:pt>
                <c:pt idx="47">
                  <c:v>0.21865844754174463</c:v>
                </c:pt>
                <c:pt idx="48">
                  <c:v>0.21623537345941984</c:v>
                </c:pt>
                <c:pt idx="49">
                  <c:v>0.2152801783239403</c:v>
                </c:pt>
                <c:pt idx="50">
                  <c:v>0.2168905299802173</c:v>
                </c:pt>
                <c:pt idx="51">
                  <c:v>0.2179924038315376</c:v>
                </c:pt>
                <c:pt idx="52">
                  <c:v>0.23697990331381702</c:v>
                </c:pt>
                <c:pt idx="53">
                  <c:v>0.2619681025737099</c:v>
                </c:pt>
                <c:pt idx="54">
                  <c:v>0.215787969770908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73506200676437"/>
          <c:min val="0.13854479855682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5.7491</c:v>
                </c:pt>
                <c:pt idx="1">
                  <c:v>910.7152</c:v>
                </c:pt>
                <c:pt idx="2">
                  <c:v>997.4885</c:v>
                </c:pt>
                <c:pt idx="3">
                  <c:v>1007.6277</c:v>
                </c:pt>
                <c:pt idx="4">
                  <c:v>1005.4018</c:v>
                </c:pt>
                <c:pt idx="5">
                  <c:v>1005.5185</c:v>
                </c:pt>
                <c:pt idx="6">
                  <c:v>930.6459</c:v>
                </c:pt>
                <c:pt idx="7">
                  <c:v>959.7674</c:v>
                </c:pt>
                <c:pt idx="8">
                  <c:v>994.3623</c:v>
                </c:pt>
                <c:pt idx="9">
                  <c:v>931.8176</c:v>
                </c:pt>
                <c:pt idx="10">
                  <c:v>930.7821</c:v>
                </c:pt>
                <c:pt idx="11">
                  <c:v>974.6893</c:v>
                </c:pt>
                <c:pt idx="12">
                  <c:v>982.5074</c:v>
                </c:pt>
                <c:pt idx="13">
                  <c:v>960.8369</c:v>
                </c:pt>
                <c:pt idx="14">
                  <c:v>965.9536</c:v>
                </c:pt>
                <c:pt idx="15">
                  <c:v>978.2604</c:v>
                </c:pt>
                <c:pt idx="16">
                  <c:v>976.4249</c:v>
                </c:pt>
                <c:pt idx="17">
                  <c:v>998.8645</c:v>
                </c:pt>
                <c:pt idx="18">
                  <c:v>1054.443</c:v>
                </c:pt>
                <c:pt idx="19">
                  <c:v>1096.9115</c:v>
                </c:pt>
                <c:pt idx="20">
                  <c:v>1096.8124</c:v>
                </c:pt>
                <c:pt idx="21">
                  <c:v>1106.6564</c:v>
                </c:pt>
                <c:pt idx="22">
                  <c:v>1092.3169</c:v>
                </c:pt>
                <c:pt idx="23">
                  <c:v>1073.0561</c:v>
                </c:pt>
                <c:pt idx="24">
                  <c:v>1038.9</c:v>
                </c:pt>
                <c:pt idx="25">
                  <c:v>1043.6801</c:v>
                </c:pt>
                <c:pt idx="26">
                  <c:v>1038.1089</c:v>
                </c:pt>
                <c:pt idx="27">
                  <c:v>1045.8948</c:v>
                </c:pt>
                <c:pt idx="28">
                  <c:v>1030.3436</c:v>
                </c:pt>
                <c:pt idx="29">
                  <c:v>944.6867</c:v>
                </c:pt>
                <c:pt idx="30">
                  <c:v>981.3138</c:v>
                </c:pt>
                <c:pt idx="31">
                  <c:v>991.8454</c:v>
                </c:pt>
                <c:pt idx="32">
                  <c:v>976.0553</c:v>
                </c:pt>
                <c:pt idx="33">
                  <c:v>919.9262</c:v>
                </c:pt>
                <c:pt idx="34">
                  <c:v>978.79</c:v>
                </c:pt>
                <c:pt idx="35">
                  <c:v>1020.1557</c:v>
                </c:pt>
                <c:pt idx="36">
                  <c:v>1115.2929</c:v>
                </c:pt>
                <c:pt idx="37">
                  <c:v>1101.7703</c:v>
                </c:pt>
                <c:pt idx="38">
                  <c:v>1207.4518</c:v>
                </c:pt>
                <c:pt idx="39">
                  <c:v>1198.4303</c:v>
                </c:pt>
                <c:pt idx="40">
                  <c:v>1217.7604</c:v>
                </c:pt>
                <c:pt idx="41">
                  <c:v>1239.2051</c:v>
                </c:pt>
                <c:pt idx="42">
                  <c:v>1273.6167</c:v>
                </c:pt>
                <c:pt idx="43">
                  <c:v>1293.9217</c:v>
                </c:pt>
                <c:pt idx="44">
                  <c:v>1100.4253</c:v>
                </c:pt>
                <c:pt idx="45">
                  <c:v>1035.8146</c:v>
                </c:pt>
                <c:pt idx="46">
                  <c:v>1014.9147</c:v>
                </c:pt>
                <c:pt idx="47">
                  <c:v>995.3685</c:v>
                </c:pt>
                <c:pt idx="48">
                  <c:v>1008.8715</c:v>
                </c:pt>
                <c:pt idx="49">
                  <c:v>993.8491</c:v>
                </c:pt>
                <c:pt idx="50">
                  <c:v>980.4836</c:v>
                </c:pt>
                <c:pt idx="51">
                  <c:v>1018.54</c:v>
                </c:pt>
                <c:pt idx="52">
                  <c:v>1033.5672</c:v>
                </c:pt>
                <c:pt idx="53">
                  <c:v>1118.3567</c:v>
                </c:pt>
                <c:pt idx="54">
                  <c:v>1103.9714</c:v>
                </c:pt>
                <c:pt idx="55">
                  <c:v>1128.2761</c:v>
                </c:pt>
                <c:pt idx="56">
                  <c:v>1145.571</c:v>
                </c:pt>
                <c:pt idx="57">
                  <c:v>1131.6367</c:v>
                </c:pt>
                <c:pt idx="58">
                  <c:v>1061.1249</c:v>
                </c:pt>
                <c:pt idx="59">
                  <c:v>1066.853</c:v>
                </c:pt>
                <c:pt idx="60">
                  <c:v>1097.6162</c:v>
                </c:pt>
                <c:pt idx="61">
                  <c:v>1094.4642</c:v>
                </c:pt>
                <c:pt idx="62">
                  <c:v>1059.7958</c:v>
                </c:pt>
                <c:pt idx="63">
                  <c:v>1075.9303</c:v>
                </c:pt>
                <c:pt idx="64">
                  <c:v>1107.2365</c:v>
                </c:pt>
                <c:pt idx="65">
                  <c:v>1091.5794</c:v>
                </c:pt>
                <c:pt idx="66">
                  <c:v>1016.967</c:v>
                </c:pt>
                <c:pt idx="67">
                  <c:v>1001.7343</c:v>
                </c:pt>
                <c:pt idx="68">
                  <c:v>1018.436</c:v>
                </c:pt>
                <c:pt idx="69">
                  <c:v>986.3245</c:v>
                </c:pt>
                <c:pt idx="70">
                  <c:v>936.9979</c:v>
                </c:pt>
                <c:pt idx="71">
                  <c:v>997.8646</c:v>
                </c:pt>
                <c:pt idx="72">
                  <c:v>1108.8503</c:v>
                </c:pt>
                <c:pt idx="73">
                  <c:v>1123.1694</c:v>
                </c:pt>
                <c:pt idx="74">
                  <c:v>1127.9879</c:v>
                </c:pt>
                <c:pt idx="75">
                  <c:v>1081.2846</c:v>
                </c:pt>
                <c:pt idx="76">
                  <c:v>1089.7742</c:v>
                </c:pt>
                <c:pt idx="77">
                  <c:v>1084.993</c:v>
                </c:pt>
                <c:pt idx="78">
                  <c:v>1127.4444</c:v>
                </c:pt>
                <c:pt idx="79">
                  <c:v>829.8899</c:v>
                </c:pt>
                <c:pt idx="80">
                  <c:v>880.8322</c:v>
                </c:pt>
                <c:pt idx="81">
                  <c:v>954.2613</c:v>
                </c:pt>
                <c:pt idx="82">
                  <c:v>1044.5627</c:v>
                </c:pt>
                <c:pt idx="83">
                  <c:v>1045.5601</c:v>
                </c:pt>
                <c:pt idx="84">
                  <c:v>922.2329</c:v>
                </c:pt>
                <c:pt idx="85">
                  <c:v>1129.8448</c:v>
                </c:pt>
                <c:pt idx="86">
                  <c:v>1180.1314</c:v>
                </c:pt>
                <c:pt idx="87">
                  <c:v>1043.2267</c:v>
                </c:pt>
                <c:pt idx="88">
                  <c:v>1104.1943</c:v>
                </c:pt>
                <c:pt idx="89">
                  <c:v>1072.6569</c:v>
                </c:pt>
                <c:pt idx="90">
                  <c:v>1144.0113</c:v>
                </c:pt>
                <c:pt idx="91">
                  <c:v>1179.0544</c:v>
                </c:pt>
                <c:pt idx="92">
                  <c:v>1205.5737</c:v>
                </c:pt>
                <c:pt idx="93">
                  <c:v>1241.1074</c:v>
                </c:pt>
                <c:pt idx="94">
                  <c:v>1163.9913</c:v>
                </c:pt>
                <c:pt idx="95">
                  <c:v>1258.6914</c:v>
                </c:pt>
                <c:pt idx="96">
                  <c:v>1237.4396</c:v>
                </c:pt>
                <c:pt idx="97">
                  <c:v>1208.2458</c:v>
                </c:pt>
                <c:pt idx="98">
                  <c:v>1177.564</c:v>
                </c:pt>
                <c:pt idx="99">
                  <c:v>1141.3025</c:v>
                </c:pt>
                <c:pt idx="100">
                  <c:v>1143.1518</c:v>
                </c:pt>
                <c:pt idx="101">
                  <c:v>1152.1591</c:v>
                </c:pt>
                <c:pt idx="102">
                  <c:v>1200.3851</c:v>
                </c:pt>
                <c:pt idx="103">
                  <c:v>1124.0073</c:v>
                </c:pt>
                <c:pt idx="104">
                  <c:v>1268.4484</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98.9031373617457</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98.9031373617457</c:v>
                </c:pt>
                <c:pt idx="1">
                  <c:v>998.9031373617457</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5994982177956</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5994982177956</c:v>
                </c:pt>
                <c:pt idx="1">
                  <c:v>1065.5994982177956</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017697596533</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017697596533</c:v>
                </c:pt>
                <c:pt idx="1">
                  <c:v>1266.017697596533</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pt idx="52">
                  <c:v>1065.5994982177956</c:v>
                </c:pt>
                <c:pt idx="53">
                  <c:v>998.9031373617457</c:v>
                </c:pt>
                <c:pt idx="54">
                  <c:v>1266.017697596533</c:v>
                </c:pt>
              </c:numCache>
            </c:numRef>
          </c:xVal>
          <c:yVal>
            <c:numRef>
              <c:f>Sheet1!$B$187:$B$241</c:f>
              <c:numCache>
                <c:formatCode>General</c:formatCode>
                <c:ptCount val="55"/>
                <c:pt idx="0">
                  <c:v>0.1502412893660711</c:v>
                </c:pt>
                <c:pt idx="1">
                  <c:v>0.1659087177063798</c:v>
                </c:pt>
                <c:pt idx="2">
                  <c:v>0.16887433501216065</c:v>
                </c:pt>
                <c:pt idx="3">
                  <c:v>0.16662244575774104</c:v>
                </c:pt>
                <c:pt idx="4">
                  <c:v>0.1670550765358619</c:v>
                </c:pt>
                <c:pt idx="5">
                  <c:v>0.1679517633795056</c:v>
                </c:pt>
                <c:pt idx="6">
                  <c:v>0.17876921071216612</c:v>
                </c:pt>
                <c:pt idx="7">
                  <c:v>0.1708687221757608</c:v>
                </c:pt>
                <c:pt idx="8">
                  <c:v>0.15354529654359264</c:v>
                </c:pt>
                <c:pt idx="9">
                  <c:v>0.16084713160719893</c:v>
                </c:pt>
                <c:pt idx="10">
                  <c:v>0.15301933371056267</c:v>
                </c:pt>
                <c:pt idx="11">
                  <c:v>0.18498615676597485</c:v>
                </c:pt>
                <c:pt idx="12">
                  <c:v>0.18231792614826117</c:v>
                </c:pt>
                <c:pt idx="13">
                  <c:v>0.17067934898944234</c:v>
                </c:pt>
                <c:pt idx="14">
                  <c:v>0.17672621747277906</c:v>
                </c:pt>
                <c:pt idx="15">
                  <c:v>0.17037075895920353</c:v>
                </c:pt>
                <c:pt idx="16">
                  <c:v>0.16248276713052476</c:v>
                </c:pt>
                <c:pt idx="17">
                  <c:v>0.1629688278883942</c:v>
                </c:pt>
                <c:pt idx="18">
                  <c:v>0.18246257335545743</c:v>
                </c:pt>
                <c:pt idx="19">
                  <c:v>0.14965223126745653</c:v>
                </c:pt>
                <c:pt idx="20">
                  <c:v>0.1324374832977275</c:v>
                </c:pt>
                <c:pt idx="21">
                  <c:v>0.13744625114411155</c:v>
                </c:pt>
                <c:pt idx="22">
                  <c:v>0.1428911803070231</c:v>
                </c:pt>
                <c:pt idx="23">
                  <c:v>0.14905345544926707</c:v>
                </c:pt>
                <c:pt idx="24">
                  <c:v>0.14577743041030536</c:v>
                </c:pt>
                <c:pt idx="25">
                  <c:v>0.16087158320735206</c:v>
                </c:pt>
                <c:pt idx="26">
                  <c:v>0.15363200446951103</c:v>
                </c:pt>
                <c:pt idx="27">
                  <c:v>0.1511482881783284</c:v>
                </c:pt>
                <c:pt idx="28">
                  <c:v>0.1560725677937329</c:v>
                </c:pt>
                <c:pt idx="29">
                  <c:v>0.15980707344400097</c:v>
                </c:pt>
                <c:pt idx="30">
                  <c:v>0.1778752679008484</c:v>
                </c:pt>
                <c:pt idx="31">
                  <c:v>0.173130731141752</c:v>
                </c:pt>
                <c:pt idx="32">
                  <c:v>0.1721166801129557</c:v>
                </c:pt>
                <c:pt idx="33">
                  <c:v>0.17128511597279353</c:v>
                </c:pt>
                <c:pt idx="34">
                  <c:v>0.1690385749597226</c:v>
                </c:pt>
                <c:pt idx="35">
                  <c:v>0.17379873697295548</c:v>
                </c:pt>
                <c:pt idx="36">
                  <c:v>0.1648137089850107</c:v>
                </c:pt>
                <c:pt idx="37">
                  <c:v>0.14684131096879188</c:v>
                </c:pt>
                <c:pt idx="38">
                  <c:v>0.14579761739970987</c:v>
                </c:pt>
                <c:pt idx="39">
                  <c:v>0.14361901303409813</c:v>
                </c:pt>
                <c:pt idx="40">
                  <c:v>0.140748632875733</c:v>
                </c:pt>
                <c:pt idx="41">
                  <c:v>0.13197423121619825</c:v>
                </c:pt>
                <c:pt idx="42">
                  <c:v>0.12063728787828237</c:v>
                </c:pt>
                <c:pt idx="43">
                  <c:v>0.12944785133961614</c:v>
                </c:pt>
                <c:pt idx="44">
                  <c:v>0.14272225627880275</c:v>
                </c:pt>
                <c:pt idx="45">
                  <c:v>0.15457027126795417</c:v>
                </c:pt>
                <c:pt idx="46">
                  <c:v>0.15799721808484474</c:v>
                </c:pt>
                <c:pt idx="47">
                  <c:v>0.15841128731946125</c:v>
                </c:pt>
                <c:pt idx="48">
                  <c:v>0.15837842884320108</c:v>
                </c:pt>
                <c:pt idx="49">
                  <c:v>0.15572330666016568</c:v>
                </c:pt>
                <c:pt idx="50">
                  <c:v>0.18255828240652153</c:v>
                </c:pt>
                <c:pt idx="51">
                  <c:v>0.18857730857460162</c:v>
                </c:pt>
                <c:pt idx="52">
                  <c:v>0.18365951357637675</c:v>
                </c:pt>
                <c:pt idx="53">
                  <c:v>0.19531664543715443</c:v>
                </c:pt>
                <c:pt idx="54">
                  <c:v>0.14863059524453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1.0"/>
          <c:min val="6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941480411709415</c:v>
                </c:pt>
                <c:pt idx="1">
                  <c:v>0.4482879422499387</c:v>
                </c:pt>
                <c:pt idx="2">
                  <c:v>0.49608888463609685</c:v>
                </c:pt>
                <c:pt idx="3">
                  <c:v>0.5060445449586322</c:v>
                </c:pt>
                <c:pt idx="4">
                  <c:v>0.5418536459910582</c:v>
                </c:pt>
                <c:pt idx="5">
                  <c:v>0.5128088156409982</c:v>
                </c:pt>
                <c:pt idx="6">
                  <c:v>0.49078228081740277</c:v>
                </c:pt>
                <c:pt idx="7">
                  <c:v>0.4558714032291497</c:v>
                </c:pt>
                <c:pt idx="8">
                  <c:v>0.4684559245832744</c:v>
                </c:pt>
                <c:pt idx="9">
                  <c:v>0.4644380871313854</c:v>
                </c:pt>
                <c:pt idx="10">
                  <c:v>0.49971446256120183</c:v>
                </c:pt>
                <c:pt idx="11">
                  <c:v>0.49395940862877047</c:v>
                </c:pt>
                <c:pt idx="12">
                  <c:v>0.46159799087757686</c:v>
                </c:pt>
                <c:pt idx="13">
                  <c:v>0.458676299008227</c:v>
                </c:pt>
                <c:pt idx="14">
                  <c:v>0.3806993649266977</c:v>
                </c:pt>
                <c:pt idx="15">
                  <c:v>0.3634678983140396</c:v>
                </c:pt>
                <c:pt idx="16">
                  <c:v>0.37342444545264264</c:v>
                </c:pt>
                <c:pt idx="17">
                  <c:v>0.4164135294641698</c:v>
                </c:pt>
                <c:pt idx="18">
                  <c:v>0.3636832018047664</c:v>
                </c:pt>
                <c:pt idx="19">
                  <c:v>0.41899920097243154</c:v>
                </c:pt>
                <c:pt idx="20">
                  <c:v>0.43506227512070483</c:v>
                </c:pt>
                <c:pt idx="21">
                  <c:v>0.41565137243221784</c:v>
                </c:pt>
                <c:pt idx="22">
                  <c:v>0.39741087708711614</c:v>
                </c:pt>
                <c:pt idx="23">
                  <c:v>0.38539888674749684</c:v>
                </c:pt>
                <c:pt idx="24">
                  <c:v>0.3490927419354839</c:v>
                </c:pt>
                <c:pt idx="25">
                  <c:v>0.35614910473218475</c:v>
                </c:pt>
                <c:pt idx="26">
                  <c:v>0.33936485083128637</c:v>
                </c:pt>
                <c:pt idx="27">
                  <c:v>0.29968072196966317</c:v>
                </c:pt>
                <c:pt idx="28">
                  <c:v>0.35815458949792517</c:v>
                </c:pt>
                <c:pt idx="29">
                  <c:v>0.3154468837002056</c:v>
                </c:pt>
                <c:pt idx="30">
                  <c:v>0.28117873925501435</c:v>
                </c:pt>
                <c:pt idx="31">
                  <c:v>0.34659875440527715</c:v>
                </c:pt>
                <c:pt idx="32">
                  <c:v>0.35643269792579607</c:v>
                </c:pt>
                <c:pt idx="33">
                  <c:v>0.34213262421898244</c:v>
                </c:pt>
                <c:pt idx="34">
                  <c:v>0.36289114637401754</c:v>
                </c:pt>
                <c:pt idx="35">
                  <c:v>0.3380977401416798</c:v>
                </c:pt>
                <c:pt idx="36">
                  <c:v>0.29823262153517965</c:v>
                </c:pt>
                <c:pt idx="37">
                  <c:v>0.41631104389464224</c:v>
                </c:pt>
                <c:pt idx="38">
                  <c:v>0.4338308592849097</c:v>
                </c:pt>
                <c:pt idx="39">
                  <c:v>0.42401154454046575</c:v>
                </c:pt>
                <c:pt idx="40">
                  <c:v>0.44769993937582464</c:v>
                </c:pt>
                <c:pt idx="41">
                  <c:v>0.480530695730123</c:v>
                </c:pt>
                <c:pt idx="42">
                  <c:v>0.47358533945371895</c:v>
                </c:pt>
                <c:pt idx="43">
                  <c:v>0.5204180939647999</c:v>
                </c:pt>
                <c:pt idx="44">
                  <c:v>0.440720138733139</c:v>
                </c:pt>
                <c:pt idx="45">
                  <c:v>0.47151258358214315</c:v>
                </c:pt>
                <c:pt idx="46">
                  <c:v>0.49332914332877875</c:v>
                </c:pt>
                <c:pt idx="47">
                  <c:v>0.4956399828905679</c:v>
                </c:pt>
                <c:pt idx="48">
                  <c:v>0.48047732477298477</c:v>
                </c:pt>
                <c:pt idx="49">
                  <c:v>0.38100447261358</c:v>
                </c:pt>
                <c:pt idx="50">
                  <c:v>0.27391044188373864</c:v>
                </c:pt>
                <c:pt idx="51">
                  <c:v>0.2803405691755231</c:v>
                </c:pt>
                <c:pt idx="52">
                  <c:v>0.2628771412221021</c:v>
                </c:pt>
                <c:pt idx="53">
                  <c:v>0.23907666062046942</c:v>
                </c:pt>
                <c:pt idx="54">
                  <c:v>0.21057196699893202</c:v>
                </c:pt>
                <c:pt idx="55">
                  <c:v>0.25232332241019834</c:v>
                </c:pt>
                <c:pt idx="56">
                  <c:v>0.31277081632437426</c:v>
                </c:pt>
                <c:pt idx="57">
                  <c:v>0.541427786229272</c:v>
                </c:pt>
                <c:pt idx="58">
                  <c:v>0.39827086715281523</c:v>
                </c:pt>
                <c:pt idx="59">
                  <c:v>0.35419718247947823</c:v>
                </c:pt>
                <c:pt idx="60">
                  <c:v>0.34164111373483763</c:v>
                </c:pt>
                <c:pt idx="61">
                  <c:v>0.29120886576809096</c:v>
                </c:pt>
                <c:pt idx="62">
                  <c:v>0.46954762464804284</c:v>
                </c:pt>
                <c:pt idx="63">
                  <c:v>0.414499635709808</c:v>
                </c:pt>
                <c:pt idx="64">
                  <c:v>0.4172127048083422</c:v>
                </c:pt>
                <c:pt idx="65">
                  <c:v>0.36073811663389693</c:v>
                </c:pt>
                <c:pt idx="66">
                  <c:v>0.3842052298262191</c:v>
                </c:pt>
                <c:pt idx="67">
                  <c:v>0.4472674066991371</c:v>
                </c:pt>
                <c:pt idx="68">
                  <c:v>0.3978334935053947</c:v>
                </c:pt>
                <c:pt idx="69">
                  <c:v>0.3910163460832497</c:v>
                </c:pt>
                <c:pt idx="70">
                  <c:v>0.3501486920777279</c:v>
                </c:pt>
                <c:pt idx="71">
                  <c:v>0.3353109394311663</c:v>
                </c:pt>
                <c:pt idx="72">
                  <c:v>0.34045946617529904</c:v>
                </c:pt>
                <c:pt idx="73">
                  <c:v>0.3586210529895241</c:v>
                </c:pt>
                <c:pt idx="74">
                  <c:v>0.34321100954836664</c:v>
                </c:pt>
                <c:pt idx="75">
                  <c:v>0.3221760352857058</c:v>
                </c:pt>
                <c:pt idx="76">
                  <c:v>0.3401292759051186</c:v>
                </c:pt>
                <c:pt idx="77">
                  <c:v>0.33236115791085924</c:v>
                </c:pt>
                <c:pt idx="78">
                  <c:v>0.36312279879160947</c:v>
                </c:pt>
                <c:pt idx="79">
                  <c:v>0.2625762968394244</c:v>
                </c:pt>
                <c:pt idx="80">
                  <c:v>0.2664765055606634</c:v>
                </c:pt>
                <c:pt idx="81">
                  <c:v>0.3457275822818279</c:v>
                </c:pt>
                <c:pt idx="82">
                  <c:v>0.3922373656268688</c:v>
                </c:pt>
                <c:pt idx="83">
                  <c:v>0.33106587616922784</c:v>
                </c:pt>
                <c:pt idx="84">
                  <c:v>0.2665398446233921</c:v>
                </c:pt>
                <c:pt idx="85">
                  <c:v>0.3244966502032361</c:v>
                </c:pt>
                <c:pt idx="86">
                  <c:v>0.33100993039832577</c:v>
                </c:pt>
                <c:pt idx="87">
                  <c:v>0.2705404287971609</c:v>
                </c:pt>
                <c:pt idx="88">
                  <c:v>0.2572712531162148</c:v>
                </c:pt>
                <c:pt idx="89">
                  <c:v>0.2609405236773692</c:v>
                </c:pt>
                <c:pt idx="90">
                  <c:v>0.2805276407971241</c:v>
                </c:pt>
                <c:pt idx="91">
                  <c:v>0.2906887039464262</c:v>
                </c:pt>
                <c:pt idx="92">
                  <c:v>0.29222447304398275</c:v>
                </c:pt>
                <c:pt idx="93">
                  <c:v>0.31887118577572193</c:v>
                </c:pt>
                <c:pt idx="94">
                  <c:v>0.3080735729655479</c:v>
                </c:pt>
                <c:pt idx="95">
                  <c:v>0.45234090443211583</c:v>
                </c:pt>
                <c:pt idx="96">
                  <c:v>0.409217015713576</c:v>
                </c:pt>
                <c:pt idx="97">
                  <c:v>0.39099500346613864</c:v>
                </c:pt>
                <c:pt idx="98">
                  <c:v>0.4331729864979134</c:v>
                </c:pt>
                <c:pt idx="99">
                  <c:v>0.4645927981068852</c:v>
                </c:pt>
                <c:pt idx="100">
                  <c:v>0.42734892754148945</c:v>
                </c:pt>
                <c:pt idx="101">
                  <c:v>0.4024401762025414</c:v>
                </c:pt>
                <c:pt idx="102">
                  <c:v>0.41640811971222935</c:v>
                </c:pt>
                <c:pt idx="103">
                  <c:v>0.3669744171192846</c:v>
                </c:pt>
                <c:pt idx="104">
                  <c:v>0.3717548271404548</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584260831997152</c:v>
                </c:pt>
                <c:pt idx="1">
                  <c:v>0.38807095260520996</c:v>
                </c:pt>
                <c:pt idx="2">
                  <c:v>0.3624242365042076</c:v>
                </c:pt>
                <c:pt idx="3">
                  <c:v>0.38042758989147674</c:v>
                </c:pt>
                <c:pt idx="4">
                  <c:v>0.353758715248963</c:v>
                </c:pt>
                <c:pt idx="5">
                  <c:v>0.3190573969835451</c:v>
                </c:pt>
                <c:pt idx="6">
                  <c:v>0.3754905143252536</c:v>
                </c:pt>
                <c:pt idx="7">
                  <c:v>0.40459082800061236</c:v>
                </c:pt>
                <c:pt idx="8">
                  <c:v>0.3886390277222565</c:v>
                </c:pt>
                <c:pt idx="9">
                  <c:v>0.3723174256013806</c:v>
                </c:pt>
                <c:pt idx="10">
                  <c:v>0.4109716547849691</c:v>
                </c:pt>
                <c:pt idx="11">
                  <c:v>0.39253832614044576</c:v>
                </c:pt>
                <c:pt idx="12">
                  <c:v>0.4176893245649645</c:v>
                </c:pt>
                <c:pt idx="13">
                  <c:v>0.47619924135858627</c:v>
                </c:pt>
                <c:pt idx="14">
                  <c:v>0.45330614321003815</c:v>
                </c:pt>
                <c:pt idx="15">
                  <c:v>0.3836643697955642</c:v>
                </c:pt>
                <c:pt idx="16">
                  <c:v>0.3780478123946781</c:v>
                </c:pt>
                <c:pt idx="17">
                  <c:v>0.3635054225944336</c:v>
                </c:pt>
                <c:pt idx="18">
                  <c:v>0.3023385396261639</c:v>
                </c:pt>
                <c:pt idx="19">
                  <c:v>0.3421271883099296</c:v>
                </c:pt>
                <c:pt idx="20">
                  <c:v>0.3655845936987461</c:v>
                </c:pt>
                <c:pt idx="21">
                  <c:v>0.34115712480158833</c:v>
                </c:pt>
                <c:pt idx="22">
                  <c:v>0.3304757198179897</c:v>
                </c:pt>
                <c:pt idx="23">
                  <c:v>0.3198181306549432</c:v>
                </c:pt>
                <c:pt idx="24">
                  <c:v>0.3387404730883849</c:v>
                </c:pt>
                <c:pt idx="25">
                  <c:v>0.3128459622460535</c:v>
                </c:pt>
                <c:pt idx="26">
                  <c:v>0.31566532297821537</c:v>
                </c:pt>
                <c:pt idx="27">
                  <c:v>0.34232338838732473</c:v>
                </c:pt>
                <c:pt idx="28">
                  <c:v>0.4065877511059178</c:v>
                </c:pt>
                <c:pt idx="29">
                  <c:v>0.405008300660842</c:v>
                </c:pt>
                <c:pt idx="30">
                  <c:v>0.3589096106102182</c:v>
                </c:pt>
                <c:pt idx="31">
                  <c:v>0.2784139288868349</c:v>
                </c:pt>
                <c:pt idx="32">
                  <c:v>0.2607349661305931</c:v>
                </c:pt>
                <c:pt idx="33">
                  <c:v>0.25988294104506815</c:v>
                </c:pt>
                <c:pt idx="34">
                  <c:v>0.27719046771430733</c:v>
                </c:pt>
                <c:pt idx="35">
                  <c:v>0.27386272638711445</c:v>
                </c:pt>
                <c:pt idx="36">
                  <c:v>0.2866222564231133</c:v>
                </c:pt>
                <c:pt idx="37">
                  <c:v>0.3090562403345393</c:v>
                </c:pt>
                <c:pt idx="38">
                  <c:v>0.3062833409444749</c:v>
                </c:pt>
                <c:pt idx="39">
                  <c:v>0.35333118555030524</c:v>
                </c:pt>
                <c:pt idx="40">
                  <c:v>0.3238838241408459</c:v>
                </c:pt>
                <c:pt idx="41">
                  <c:v>0.35311764074639196</c:v>
                </c:pt>
                <c:pt idx="42">
                  <c:v>0.3334186957302171</c:v>
                </c:pt>
                <c:pt idx="43">
                  <c:v>0.38064717372831214</c:v>
                </c:pt>
                <c:pt idx="44">
                  <c:v>0.4066854651956991</c:v>
                </c:pt>
                <c:pt idx="45">
                  <c:v>0.4097732087248966</c:v>
                </c:pt>
                <c:pt idx="46">
                  <c:v>0.38447296548831217</c:v>
                </c:pt>
                <c:pt idx="47">
                  <c:v>0.4141123052836204</c:v>
                </c:pt>
                <c:pt idx="48">
                  <c:v>0.43484502122026614</c:v>
                </c:pt>
                <c:pt idx="49">
                  <c:v>0.46951822566200024</c:v>
                </c:pt>
                <c:pt idx="50">
                  <c:v>0.4208579335985325</c:v>
                </c:pt>
                <c:pt idx="51">
                  <c:v>0.35127759478888937</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813692538344777</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813692538344777</c:v>
                </c:pt>
                <c:pt idx="1">
                  <c:v>-0.8813692538344777</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682827744138523</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682827744138523</c:v>
                </c:pt>
                <c:pt idx="1">
                  <c:v>-0.47682827744138523</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387908811302283</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387908811302283</c:v>
                </c:pt>
                <c:pt idx="1">
                  <c:v>0.7387908811302283</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584260831997152</c:v>
                </c:pt>
                <c:pt idx="1">
                  <c:v>0.38807095260520996</c:v>
                </c:pt>
                <c:pt idx="2">
                  <c:v>0.3624242365042076</c:v>
                </c:pt>
                <c:pt idx="3">
                  <c:v>0.38042758989147674</c:v>
                </c:pt>
                <c:pt idx="4">
                  <c:v>0.353758715248963</c:v>
                </c:pt>
                <c:pt idx="5">
                  <c:v>0.3190573969835451</c:v>
                </c:pt>
                <c:pt idx="6">
                  <c:v>0.3754905143252536</c:v>
                </c:pt>
                <c:pt idx="7">
                  <c:v>0.40459082800061236</c:v>
                </c:pt>
                <c:pt idx="8">
                  <c:v>0.3886390277222565</c:v>
                </c:pt>
                <c:pt idx="9">
                  <c:v>0.3723174256013806</c:v>
                </c:pt>
                <c:pt idx="10">
                  <c:v>0.4109716547849691</c:v>
                </c:pt>
                <c:pt idx="11">
                  <c:v>0.39253832614044576</c:v>
                </c:pt>
                <c:pt idx="12">
                  <c:v>0.4176893245649645</c:v>
                </c:pt>
                <c:pt idx="13">
                  <c:v>0.47619924135858627</c:v>
                </c:pt>
                <c:pt idx="14">
                  <c:v>0.45330614321003815</c:v>
                </c:pt>
                <c:pt idx="15">
                  <c:v>0.3836643697955642</c:v>
                </c:pt>
                <c:pt idx="16">
                  <c:v>0.3780478123946781</c:v>
                </c:pt>
                <c:pt idx="17">
                  <c:v>0.3635054225944336</c:v>
                </c:pt>
                <c:pt idx="18">
                  <c:v>0.3023385396261639</c:v>
                </c:pt>
                <c:pt idx="19">
                  <c:v>0.3421271883099296</c:v>
                </c:pt>
                <c:pt idx="20">
                  <c:v>0.3655845936987461</c:v>
                </c:pt>
                <c:pt idx="21">
                  <c:v>0.34115712480158833</c:v>
                </c:pt>
                <c:pt idx="22">
                  <c:v>0.3304757198179897</c:v>
                </c:pt>
                <c:pt idx="23">
                  <c:v>0.3198181306549432</c:v>
                </c:pt>
                <c:pt idx="24">
                  <c:v>0.3387404730883849</c:v>
                </c:pt>
                <c:pt idx="25">
                  <c:v>0.3128459622460535</c:v>
                </c:pt>
                <c:pt idx="26">
                  <c:v>0.31566532297821537</c:v>
                </c:pt>
                <c:pt idx="27">
                  <c:v>0.34232338838732473</c:v>
                </c:pt>
                <c:pt idx="28">
                  <c:v>0.4065877511059178</c:v>
                </c:pt>
                <c:pt idx="29">
                  <c:v>0.405008300660842</c:v>
                </c:pt>
                <c:pt idx="30">
                  <c:v>0.3589096106102182</c:v>
                </c:pt>
                <c:pt idx="31">
                  <c:v>0.2784139288868349</c:v>
                </c:pt>
                <c:pt idx="32">
                  <c:v>0.2607349661305931</c:v>
                </c:pt>
                <c:pt idx="33">
                  <c:v>0.25988294104506815</c:v>
                </c:pt>
                <c:pt idx="34">
                  <c:v>0.27719046771430733</c:v>
                </c:pt>
                <c:pt idx="35">
                  <c:v>0.27386272638711445</c:v>
                </c:pt>
                <c:pt idx="36">
                  <c:v>0.2866222564231133</c:v>
                </c:pt>
                <c:pt idx="37">
                  <c:v>0.3090562403345393</c:v>
                </c:pt>
                <c:pt idx="38">
                  <c:v>0.3062833409444749</c:v>
                </c:pt>
                <c:pt idx="39">
                  <c:v>0.35333118555030524</c:v>
                </c:pt>
                <c:pt idx="40">
                  <c:v>0.3238838241408459</c:v>
                </c:pt>
                <c:pt idx="41">
                  <c:v>0.35311764074639196</c:v>
                </c:pt>
                <c:pt idx="42">
                  <c:v>0.3334186957302171</c:v>
                </c:pt>
                <c:pt idx="43">
                  <c:v>0.38064717372831214</c:v>
                </c:pt>
                <c:pt idx="44">
                  <c:v>0.4066854651956991</c:v>
                </c:pt>
                <c:pt idx="45">
                  <c:v>0.4097732087248966</c:v>
                </c:pt>
                <c:pt idx="46">
                  <c:v>0.38447296548831217</c:v>
                </c:pt>
                <c:pt idx="47">
                  <c:v>0.4141123052836204</c:v>
                </c:pt>
                <c:pt idx="48">
                  <c:v>0.43484502122026614</c:v>
                </c:pt>
                <c:pt idx="49">
                  <c:v>0.46951822566200024</c:v>
                </c:pt>
                <c:pt idx="50">
                  <c:v>0.4208579335985325</c:v>
                </c:pt>
                <c:pt idx="51">
                  <c:v>0.35127759478888937</c:v>
                </c:pt>
                <c:pt idx="52">
                  <c:v>-0.47682827744138523</c:v>
                </c:pt>
                <c:pt idx="53">
                  <c:v>-0.8813692538344777</c:v>
                </c:pt>
                <c:pt idx="54">
                  <c:v>0.7387908811302283</c:v>
                </c:pt>
              </c:numCache>
            </c:numRef>
          </c:xVal>
          <c:yVal>
            <c:numRef>
              <c:f>Sheet1!$B$187:$B$241</c:f>
              <c:numCache>
                <c:formatCode>General</c:formatCode>
                <c:ptCount val="55"/>
                <c:pt idx="0">
                  <c:v>0.15959107357285596</c:v>
                </c:pt>
                <c:pt idx="1">
                  <c:v>0.15873683587674778</c:v>
                </c:pt>
                <c:pt idx="2">
                  <c:v>0.1594758639822587</c:v>
                </c:pt>
                <c:pt idx="3">
                  <c:v>0.15895708473214967</c:v>
                </c:pt>
                <c:pt idx="4">
                  <c:v>0.15972556705267546</c:v>
                </c:pt>
                <c:pt idx="5">
                  <c:v>0.16072550986778777</c:v>
                </c:pt>
                <c:pt idx="6">
                  <c:v>0.15909935002600253</c:v>
                </c:pt>
                <c:pt idx="7">
                  <c:v>0.1582608040850494</c:v>
                </c:pt>
                <c:pt idx="8">
                  <c:v>0.15872046639396933</c:v>
                </c:pt>
                <c:pt idx="9">
                  <c:v>0.15919078480225174</c:v>
                </c:pt>
                <c:pt idx="10">
                  <c:v>0.1580769360876237</c:v>
                </c:pt>
                <c:pt idx="11">
                  <c:v>0.15860810537622863</c:v>
                </c:pt>
                <c:pt idx="12">
                  <c:v>0.15788336172311612</c:v>
                </c:pt>
                <c:pt idx="13">
                  <c:v>0.15619735744906793</c:v>
                </c:pt>
                <c:pt idx="14">
                  <c:v>0.15685703812270144</c:v>
                </c:pt>
                <c:pt idx="15">
                  <c:v>0.15886381464988833</c:v>
                </c:pt>
                <c:pt idx="16">
                  <c:v>0.15902565968919563</c:v>
                </c:pt>
                <c:pt idx="17">
                  <c:v>0.159444708847043</c:v>
                </c:pt>
                <c:pt idx="18">
                  <c:v>0.16120727546422797</c:v>
                </c:pt>
                <c:pt idx="19">
                  <c:v>0.16006073765635428</c:v>
                </c:pt>
                <c:pt idx="20">
                  <c:v>0.1593847960739534</c:v>
                </c:pt>
                <c:pt idx="21">
                  <c:v>0.16008869071646425</c:v>
                </c:pt>
                <c:pt idx="22">
                  <c:v>0.16039648288986127</c:v>
                </c:pt>
                <c:pt idx="23">
                  <c:v>0.16070358879369168</c:v>
                </c:pt>
                <c:pt idx="24">
                  <c:v>0.16015832822990866</c:v>
                </c:pt>
                <c:pt idx="25">
                  <c:v>0.1609044967146213</c:v>
                </c:pt>
                <c:pt idx="26">
                  <c:v>0.16082325485845397</c:v>
                </c:pt>
                <c:pt idx="27">
                  <c:v>0.16005508401356716</c:v>
                </c:pt>
                <c:pt idx="28">
                  <c:v>0.15820326134571572</c:v>
                </c:pt>
                <c:pt idx="29">
                  <c:v>0.15824877431765239</c:v>
                </c:pt>
                <c:pt idx="30">
                  <c:v>0.15957714039151846</c:v>
                </c:pt>
                <c:pt idx="31">
                  <c:v>0.16189667989636425</c:v>
                </c:pt>
                <c:pt idx="32">
                  <c:v>0.16240611160300808</c:v>
                </c:pt>
                <c:pt idx="33">
                  <c:v>0.16243066330320718</c:v>
                </c:pt>
                <c:pt idx="34">
                  <c:v>0.16193193478782633</c:v>
                </c:pt>
                <c:pt idx="35">
                  <c:v>0.162027825987268</c:v>
                </c:pt>
                <c:pt idx="36">
                  <c:v>0.16166015118350063</c:v>
                </c:pt>
                <c:pt idx="37">
                  <c:v>0.16101370020849745</c:v>
                </c:pt>
                <c:pt idx="38">
                  <c:v>0.1610936032485179</c:v>
                </c:pt>
                <c:pt idx="39">
                  <c:v>0.15973788662068583</c:v>
                </c:pt>
                <c:pt idx="40">
                  <c:v>0.16058643298541422</c:v>
                </c:pt>
                <c:pt idx="41">
                  <c:v>0.15974404006392806</c:v>
                </c:pt>
                <c:pt idx="42">
                  <c:v>0.16031167897561308</c:v>
                </c:pt>
                <c:pt idx="43">
                  <c:v>0.15895075726993976</c:v>
                </c:pt>
                <c:pt idx="44">
                  <c:v>0.15820044564571076</c:v>
                </c:pt>
                <c:pt idx="45">
                  <c:v>0.15811147015108212</c:v>
                </c:pt>
                <c:pt idx="46">
                  <c:v>0.1588405143980907</c:v>
                </c:pt>
                <c:pt idx="47">
                  <c:v>0.1579864360415769</c:v>
                </c:pt>
                <c:pt idx="48">
                  <c:v>0.15738900829603578</c:v>
                </c:pt>
                <c:pt idx="49">
                  <c:v>0.1563898756004637</c:v>
                </c:pt>
                <c:pt idx="50">
                  <c:v>0.1577920560322838</c:v>
                </c:pt>
                <c:pt idx="51">
                  <c:v>0.15979706227826035</c:v>
                </c:pt>
                <c:pt idx="52">
                  <c:v>0.18365951357637675</c:v>
                </c:pt>
                <c:pt idx="53">
                  <c:v>0.19531664543715443</c:v>
                </c:pt>
                <c:pt idx="54">
                  <c:v>0.14863059524453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5.7491</c:v>
                </c:pt>
                <c:pt idx="1">
                  <c:v>910.7152</c:v>
                </c:pt>
                <c:pt idx="2">
                  <c:v>997.4885</c:v>
                </c:pt>
                <c:pt idx="3">
                  <c:v>1007.6277</c:v>
                </c:pt>
                <c:pt idx="4">
                  <c:v>1005.4018</c:v>
                </c:pt>
                <c:pt idx="5">
                  <c:v>1005.5185</c:v>
                </c:pt>
                <c:pt idx="6">
                  <c:v>930.6459</c:v>
                </c:pt>
                <c:pt idx="7">
                  <c:v>959.7674</c:v>
                </c:pt>
                <c:pt idx="8">
                  <c:v>994.3623</c:v>
                </c:pt>
                <c:pt idx="9">
                  <c:v>931.8176</c:v>
                </c:pt>
                <c:pt idx="10">
                  <c:v>930.7821</c:v>
                </c:pt>
                <c:pt idx="11">
                  <c:v>974.6893</c:v>
                </c:pt>
                <c:pt idx="12">
                  <c:v>982.5074</c:v>
                </c:pt>
                <c:pt idx="13">
                  <c:v>960.8369</c:v>
                </c:pt>
                <c:pt idx="14">
                  <c:v>965.9536</c:v>
                </c:pt>
                <c:pt idx="15">
                  <c:v>978.2604</c:v>
                </c:pt>
                <c:pt idx="16">
                  <c:v>976.4249</c:v>
                </c:pt>
                <c:pt idx="17">
                  <c:v>998.8645</c:v>
                </c:pt>
                <c:pt idx="18">
                  <c:v>1054.443</c:v>
                </c:pt>
                <c:pt idx="19">
                  <c:v>1096.9115</c:v>
                </c:pt>
                <c:pt idx="20">
                  <c:v>1096.8124</c:v>
                </c:pt>
                <c:pt idx="21">
                  <c:v>1106.6564</c:v>
                </c:pt>
                <c:pt idx="22">
                  <c:v>1092.3169</c:v>
                </c:pt>
                <c:pt idx="23">
                  <c:v>1073.0561</c:v>
                </c:pt>
                <c:pt idx="24">
                  <c:v>1038.9</c:v>
                </c:pt>
                <c:pt idx="25">
                  <c:v>1043.6801</c:v>
                </c:pt>
                <c:pt idx="26">
                  <c:v>1038.1089</c:v>
                </c:pt>
                <c:pt idx="27">
                  <c:v>1045.8948</c:v>
                </c:pt>
                <c:pt idx="28">
                  <c:v>1030.3436</c:v>
                </c:pt>
                <c:pt idx="29">
                  <c:v>944.6867</c:v>
                </c:pt>
                <c:pt idx="30">
                  <c:v>981.3138</c:v>
                </c:pt>
                <c:pt idx="31">
                  <c:v>991.8454</c:v>
                </c:pt>
                <c:pt idx="32">
                  <c:v>976.0553</c:v>
                </c:pt>
                <c:pt idx="33">
                  <c:v>919.9262</c:v>
                </c:pt>
                <c:pt idx="34">
                  <c:v>978.79</c:v>
                </c:pt>
                <c:pt idx="35">
                  <c:v>1020.1557</c:v>
                </c:pt>
                <c:pt idx="36">
                  <c:v>1115.2929</c:v>
                </c:pt>
                <c:pt idx="37">
                  <c:v>1101.7703</c:v>
                </c:pt>
                <c:pt idx="38">
                  <c:v>1207.4518</c:v>
                </c:pt>
                <c:pt idx="39">
                  <c:v>1198.4303</c:v>
                </c:pt>
                <c:pt idx="40">
                  <c:v>1217.7604</c:v>
                </c:pt>
                <c:pt idx="41">
                  <c:v>1239.2051</c:v>
                </c:pt>
                <c:pt idx="42">
                  <c:v>1273.6167</c:v>
                </c:pt>
                <c:pt idx="43">
                  <c:v>1293.9217</c:v>
                </c:pt>
                <c:pt idx="44">
                  <c:v>1100.4253</c:v>
                </c:pt>
                <c:pt idx="45">
                  <c:v>1035.8146</c:v>
                </c:pt>
                <c:pt idx="46">
                  <c:v>1014.9147</c:v>
                </c:pt>
                <c:pt idx="47">
                  <c:v>995.3685</c:v>
                </c:pt>
                <c:pt idx="48">
                  <c:v>1008.8715</c:v>
                </c:pt>
                <c:pt idx="49">
                  <c:v>993.8491</c:v>
                </c:pt>
                <c:pt idx="50">
                  <c:v>980.4836</c:v>
                </c:pt>
                <c:pt idx="51">
                  <c:v>1018.54</c:v>
                </c:pt>
                <c:pt idx="52">
                  <c:v>1033.5672</c:v>
                </c:pt>
                <c:pt idx="53">
                  <c:v>1118.3567</c:v>
                </c:pt>
                <c:pt idx="54">
                  <c:v>1103.9714</c:v>
                </c:pt>
                <c:pt idx="55">
                  <c:v>1128.2761</c:v>
                </c:pt>
                <c:pt idx="56">
                  <c:v>1145.571</c:v>
                </c:pt>
                <c:pt idx="57">
                  <c:v>1131.6367</c:v>
                </c:pt>
                <c:pt idx="58">
                  <c:v>1061.1249</c:v>
                </c:pt>
                <c:pt idx="59">
                  <c:v>1066.853</c:v>
                </c:pt>
                <c:pt idx="60">
                  <c:v>1097.6162</c:v>
                </c:pt>
                <c:pt idx="61">
                  <c:v>1094.4642</c:v>
                </c:pt>
                <c:pt idx="62">
                  <c:v>1059.7958</c:v>
                </c:pt>
                <c:pt idx="63">
                  <c:v>1075.9303</c:v>
                </c:pt>
                <c:pt idx="64">
                  <c:v>1107.2365</c:v>
                </c:pt>
                <c:pt idx="65">
                  <c:v>1091.5794</c:v>
                </c:pt>
                <c:pt idx="66">
                  <c:v>1016.967</c:v>
                </c:pt>
                <c:pt idx="67">
                  <c:v>1001.7343</c:v>
                </c:pt>
                <c:pt idx="68">
                  <c:v>1018.436</c:v>
                </c:pt>
                <c:pt idx="69">
                  <c:v>986.3245</c:v>
                </c:pt>
                <c:pt idx="70">
                  <c:v>936.9979</c:v>
                </c:pt>
                <c:pt idx="71">
                  <c:v>997.8646</c:v>
                </c:pt>
                <c:pt idx="72">
                  <c:v>1108.8503</c:v>
                </c:pt>
                <c:pt idx="73">
                  <c:v>1123.1694</c:v>
                </c:pt>
                <c:pt idx="74">
                  <c:v>1127.9879</c:v>
                </c:pt>
                <c:pt idx="75">
                  <c:v>1081.2846</c:v>
                </c:pt>
                <c:pt idx="76">
                  <c:v>1089.7742</c:v>
                </c:pt>
                <c:pt idx="77">
                  <c:v>1084.993</c:v>
                </c:pt>
                <c:pt idx="78">
                  <c:v>1127.4444</c:v>
                </c:pt>
                <c:pt idx="79">
                  <c:v>829.8899</c:v>
                </c:pt>
                <c:pt idx="80">
                  <c:v>880.8322</c:v>
                </c:pt>
                <c:pt idx="81">
                  <c:v>954.2613</c:v>
                </c:pt>
                <c:pt idx="82">
                  <c:v>1044.5627</c:v>
                </c:pt>
                <c:pt idx="83">
                  <c:v>1045.5601</c:v>
                </c:pt>
                <c:pt idx="84">
                  <c:v>922.2329</c:v>
                </c:pt>
                <c:pt idx="85">
                  <c:v>1129.8448</c:v>
                </c:pt>
                <c:pt idx="86">
                  <c:v>1180.1314</c:v>
                </c:pt>
                <c:pt idx="87">
                  <c:v>1043.2267</c:v>
                </c:pt>
                <c:pt idx="88">
                  <c:v>1104.1943</c:v>
                </c:pt>
                <c:pt idx="89">
                  <c:v>1072.6569</c:v>
                </c:pt>
                <c:pt idx="90">
                  <c:v>1144.0113</c:v>
                </c:pt>
                <c:pt idx="91">
                  <c:v>1179.0544</c:v>
                </c:pt>
                <c:pt idx="92">
                  <c:v>1205.5737</c:v>
                </c:pt>
                <c:pt idx="93">
                  <c:v>1241.1074</c:v>
                </c:pt>
                <c:pt idx="94">
                  <c:v>1163.9913</c:v>
                </c:pt>
                <c:pt idx="95">
                  <c:v>1258.6914</c:v>
                </c:pt>
                <c:pt idx="96">
                  <c:v>1237.4396</c:v>
                </c:pt>
                <c:pt idx="97">
                  <c:v>1208.2458</c:v>
                </c:pt>
                <c:pt idx="98">
                  <c:v>1177.564</c:v>
                </c:pt>
                <c:pt idx="99">
                  <c:v>1141.3025</c:v>
                </c:pt>
                <c:pt idx="100">
                  <c:v>1143.1518</c:v>
                </c:pt>
                <c:pt idx="101">
                  <c:v>1152.1591</c:v>
                </c:pt>
                <c:pt idx="102">
                  <c:v>1200.3851</c:v>
                </c:pt>
                <c:pt idx="103">
                  <c:v>1124.0073</c:v>
                </c:pt>
                <c:pt idx="104">
                  <c:v>1268.4484</c:v>
                </c:pt>
              </c:numCache>
            </c:numRef>
          </c:xVal>
          <c:yVal>
            <c:numRef>
              <c:f>Sheet1!$B$2:$B$106</c:f>
              <c:numCache>
                <c:formatCode>General</c:formatCode>
                <c:ptCount val="105"/>
                <c:pt idx="0">
                  <c:v>0.19501546297980718</c:v>
                </c:pt>
                <c:pt idx="1">
                  <c:v>0.20938985736925514</c:v>
                </c:pt>
                <c:pt idx="2">
                  <c:v>0.1746365387983885</c:v>
                </c:pt>
                <c:pt idx="3">
                  <c:v>0.17985611510791366</c:v>
                </c:pt>
                <c:pt idx="4">
                  <c:v>0.16919304502897906</c:v>
                </c:pt>
                <c:pt idx="5">
                  <c:v>0.1581259150805271</c:v>
                </c:pt>
                <c:pt idx="6">
                  <c:v>0.18293795620437955</c:v>
                </c:pt>
                <c:pt idx="7">
                  <c:v>0.18033813400125234</c:v>
                </c:pt>
                <c:pt idx="8">
                  <c:v>0.17895516858095592</c:v>
                </c:pt>
                <c:pt idx="9">
                  <c:v>0.18494722349701698</c:v>
                </c:pt>
                <c:pt idx="10">
                  <c:v>0.19864295741693963</c:v>
                </c:pt>
                <c:pt idx="11">
                  <c:v>0.19530851606323305</c:v>
                </c:pt>
                <c:pt idx="12">
                  <c:v>0.20441988950276244</c:v>
                </c:pt>
                <c:pt idx="13">
                  <c:v>0.21499883909914094</c:v>
                </c:pt>
                <c:pt idx="14">
                  <c:v>0.21475446933695405</c:v>
                </c:pt>
                <c:pt idx="15">
                  <c:v>0.21533044420368364</c:v>
                </c:pt>
                <c:pt idx="16">
                  <c:v>0.20232708468002586</c:v>
                </c:pt>
                <c:pt idx="17">
                  <c:v>0.1805106076950737</c:v>
                </c:pt>
                <c:pt idx="18">
                  <c:v>0.15924657534246575</c:v>
                </c:pt>
                <c:pt idx="19">
                  <c:v>0.15088408644400786</c:v>
                </c:pt>
                <c:pt idx="20">
                  <c:v>0.1617241379310345</c:v>
                </c:pt>
                <c:pt idx="21">
                  <c:v>0.1613861386138614</c:v>
                </c:pt>
                <c:pt idx="22">
                  <c:v>0.15968586387434555</c:v>
                </c:pt>
                <c:pt idx="23">
                  <c:v>0.17250922509225092</c:v>
                </c:pt>
                <c:pt idx="24">
                  <c:v>0.17942583732057416</c:v>
                </c:pt>
                <c:pt idx="25">
                  <c:v>0.17794710891976692</c:v>
                </c:pt>
                <c:pt idx="26">
                  <c:v>0.19760956175298805</c:v>
                </c:pt>
                <c:pt idx="27">
                  <c:v>0.17464890169247388</c:v>
                </c:pt>
                <c:pt idx="28">
                  <c:v>0.18745739604635311</c:v>
                </c:pt>
                <c:pt idx="29">
                  <c:v>0.20619469026548673</c:v>
                </c:pt>
                <c:pt idx="30">
                  <c:v>0.1829066886870355</c:v>
                </c:pt>
                <c:pt idx="31">
                  <c:v>0.18157993260950955</c:v>
                </c:pt>
                <c:pt idx="32">
                  <c:v>0.1687612208258528</c:v>
                </c:pt>
                <c:pt idx="33">
                  <c:v>0.20662460567823343</c:v>
                </c:pt>
                <c:pt idx="34">
                  <c:v>0.19174635128334172</c:v>
                </c:pt>
                <c:pt idx="35">
                  <c:v>0.1847151720248167</c:v>
                </c:pt>
                <c:pt idx="36">
                  <c:v>0.13559928443649374</c:v>
                </c:pt>
                <c:pt idx="37">
                  <c:v>0.1323319027181688</c:v>
                </c:pt>
                <c:pt idx="38">
                  <c:v>0.1290896159317212</c:v>
                </c:pt>
                <c:pt idx="39">
                  <c:v>0.13570006635700066</c:v>
                </c:pt>
                <c:pt idx="40">
                  <c:v>0.13854595336076816</c:v>
                </c:pt>
                <c:pt idx="41">
                  <c:v>0.12408526885141584</c:v>
                </c:pt>
                <c:pt idx="42">
                  <c:v>0.13330041964946926</c:v>
                </c:pt>
                <c:pt idx="43">
                  <c:v>0.13950244129272263</c:v>
                </c:pt>
                <c:pt idx="44">
                  <c:v>0.17101017622238768</c:v>
                </c:pt>
                <c:pt idx="45">
                  <c:v>0.19751238051364736</c:v>
                </c:pt>
                <c:pt idx="46">
                  <c:v>0.2037349241343535</c:v>
                </c:pt>
                <c:pt idx="47">
                  <c:v>0.21209740769835037</c:v>
                </c:pt>
                <c:pt idx="48">
                  <c:v>0.23052641351777922</c:v>
                </c:pt>
                <c:pt idx="49">
                  <c:v>0.2592161710172326</c:v>
                </c:pt>
                <c:pt idx="50">
                  <c:v>0.21304926764314247</c:v>
                </c:pt>
                <c:pt idx="51">
                  <c:v>0.179300586213867</c:v>
                </c:pt>
                <c:pt idx="52">
                  <c:v>0.1946750195771339</c:v>
                </c:pt>
                <c:pt idx="53">
                  <c:v>0.17433026789284287</c:v>
                </c:pt>
                <c:pt idx="54">
                  <c:v>0.16670635865682304</c:v>
                </c:pt>
                <c:pt idx="55">
                  <c:v>0.1528738373479609</c:v>
                </c:pt>
                <c:pt idx="56">
                  <c:v>0.15777141369435044</c:v>
                </c:pt>
                <c:pt idx="57">
                  <c:v>0.1592854484555266</c:v>
                </c:pt>
                <c:pt idx="58">
                  <c:v>0.19382615759545085</c:v>
                </c:pt>
                <c:pt idx="59">
                  <c:v>0.21665192175366166</c:v>
                </c:pt>
                <c:pt idx="60">
                  <c:v>0.24090352731723602</c:v>
                </c:pt>
                <c:pt idx="61">
                  <c:v>0.23330618892508143</c:v>
                </c:pt>
                <c:pt idx="62">
                  <c:v>0.21782682512733448</c:v>
                </c:pt>
                <c:pt idx="63">
                  <c:v>0.22891357167650123</c:v>
                </c:pt>
                <c:pt idx="64">
                  <c:v>0.2009578191195432</c:v>
                </c:pt>
                <c:pt idx="65">
                  <c:v>0.18174325159695034</c:v>
                </c:pt>
                <c:pt idx="66">
                  <c:v>0.19665271966527198</c:v>
                </c:pt>
                <c:pt idx="67">
                  <c:v>0.19640993529534545</c:v>
                </c:pt>
                <c:pt idx="68">
                  <c:v>0.170113041080783</c:v>
                </c:pt>
                <c:pt idx="69">
                  <c:v>0.14744734023563014</c:v>
                </c:pt>
                <c:pt idx="70">
                  <c:v>0.14856967087050138</c:v>
                </c:pt>
                <c:pt idx="71">
                  <c:v>0.1628222523744912</c:v>
                </c:pt>
                <c:pt idx="72">
                  <c:v>0.1608863198458574</c:v>
                </c:pt>
                <c:pt idx="73">
                  <c:v>0.1577574967405476</c:v>
                </c:pt>
                <c:pt idx="74">
                  <c:v>0.1618594231307757</c:v>
                </c:pt>
                <c:pt idx="75">
                  <c:v>0.1720360824742268</c:v>
                </c:pt>
                <c:pt idx="76">
                  <c:v>0.16976998904709747</c:v>
                </c:pt>
                <c:pt idx="77">
                  <c:v>0.16362946089597571</c:v>
                </c:pt>
                <c:pt idx="78">
                  <c:v>0.16058394160583941</c:v>
                </c:pt>
                <c:pt idx="79">
                  <c:v>0.1820307281229125</c:v>
                </c:pt>
                <c:pt idx="80">
                  <c:v>0.14854368932038836</c:v>
                </c:pt>
                <c:pt idx="81">
                  <c:v>0.1491031390134529</c:v>
                </c:pt>
                <c:pt idx="82">
                  <c:v>0.12838633686690223</c:v>
                </c:pt>
                <c:pt idx="83">
                  <c:v>0.12853356890459364</c:v>
                </c:pt>
                <c:pt idx="84">
                  <c:v>0.14203793559770622</c:v>
                </c:pt>
                <c:pt idx="85">
                  <c:v>0.13132075471698113</c:v>
                </c:pt>
                <c:pt idx="86">
                  <c:v>0.13993477616365255</c:v>
                </c:pt>
                <c:pt idx="87">
                  <c:v>0.16950728230554696</c:v>
                </c:pt>
                <c:pt idx="88">
                  <c:v>0.1319327731092437</c:v>
                </c:pt>
                <c:pt idx="89">
                  <c:v>0.14190595089471494</c:v>
                </c:pt>
                <c:pt idx="90">
                  <c:v>0.14262756126958617</c:v>
                </c:pt>
                <c:pt idx="91">
                  <c:v>0.13999197753710388</c:v>
                </c:pt>
                <c:pt idx="92">
                  <c:v>0.1409846547314578</c:v>
                </c:pt>
                <c:pt idx="93">
                  <c:v>0.13486655309483248</c:v>
                </c:pt>
                <c:pt idx="94">
                  <c:v>0.14631813834874083</c:v>
                </c:pt>
                <c:pt idx="95">
                  <c:v>0.1429245283018868</c:v>
                </c:pt>
                <c:pt idx="96">
                  <c:v>0.14497828827566886</c:v>
                </c:pt>
                <c:pt idx="97">
                  <c:v>0.16893732970027248</c:v>
                </c:pt>
                <c:pt idx="98">
                  <c:v>0.17423337315810433</c:v>
                </c:pt>
                <c:pt idx="99">
                  <c:v>0.183522270820316</c:v>
                </c:pt>
                <c:pt idx="100">
                  <c:v>0.20431169258619272</c:v>
                </c:pt>
                <c:pt idx="101">
                  <c:v>0.18367640708219377</c:v>
                </c:pt>
                <c:pt idx="102">
                  <c:v>0.15319148936170213</c:v>
                </c:pt>
                <c:pt idx="103">
                  <c:v>0.16888810943528587</c:v>
                </c:pt>
                <c:pt idx="104">
                  <c:v>0.15976035946080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numCache>
            </c:numRef>
          </c:xVal>
          <c:yVal>
            <c:numRef>
              <c:f>Sheet1!$B$109:$B$160</c:f>
              <c:numCache>
                <c:formatCode>General</c:formatCode>
                <c:ptCount val="52"/>
                <c:pt idx="0">
                  <c:v>0.16423896981211739</c:v>
                </c:pt>
                <c:pt idx="1">
                  <c:v>0.1981385729058945</c:v>
                </c:pt>
                <c:pt idx="2">
                  <c:v>0.20283436669619131</c:v>
                </c:pt>
                <c:pt idx="3">
                  <c:v>0.20621991854868568</c:v>
                </c:pt>
                <c:pt idx="4">
                  <c:v>0.19133574007220217</c:v>
                </c:pt>
                <c:pt idx="5">
                  <c:v>0.19703994293865906</c:v>
                </c:pt>
                <c:pt idx="6">
                  <c:v>0.1764461090303787</c:v>
                </c:pt>
                <c:pt idx="7">
                  <c:v>0.165632637713856</c:v>
                </c:pt>
                <c:pt idx="8">
                  <c:v>0.15104936446940584</c:v>
                </c:pt>
                <c:pt idx="9">
                  <c:v>0.15599784830554062</c:v>
                </c:pt>
                <c:pt idx="10">
                  <c:v>0.15180660254743955</c:v>
                </c:pt>
                <c:pt idx="11">
                  <c:v>0.18401038768317565</c:v>
                </c:pt>
                <c:pt idx="12">
                  <c:v>0.18672409424879655</c:v>
                </c:pt>
                <c:pt idx="13">
                  <c:v>0.17714744447417716</c:v>
                </c:pt>
                <c:pt idx="14">
                  <c:v>0.17974040632054175</c:v>
                </c:pt>
                <c:pt idx="15">
                  <c:v>0.17823295628248242</c:v>
                </c:pt>
                <c:pt idx="16">
                  <c:v>0.1510842516885887</c:v>
                </c:pt>
                <c:pt idx="17">
                  <c:v>0.15006963788300837</c:v>
                </c:pt>
                <c:pt idx="18">
                  <c:v>0.14427312775330398</c:v>
                </c:pt>
                <c:pt idx="19">
                  <c:v>0.15431846090871879</c:v>
                </c:pt>
                <c:pt idx="20">
                  <c:v>0.13376623376623376</c:v>
                </c:pt>
                <c:pt idx="21">
                  <c:v>0.12713797035347776</c:v>
                </c:pt>
                <c:pt idx="22">
                  <c:v>0.1237054085155351</c:v>
                </c:pt>
                <c:pt idx="23">
                  <c:v>0.13085714285714287</c:v>
                </c:pt>
                <c:pt idx="24">
                  <c:v>0.12429906542056075</c:v>
                </c:pt>
                <c:pt idx="25">
                  <c:v>0.13221884498480244</c:v>
                </c:pt>
                <c:pt idx="26">
                  <c:v>0.13320912901723334</c:v>
                </c:pt>
                <c:pt idx="27">
                  <c:v>0.13551401869158877</c:v>
                </c:pt>
                <c:pt idx="28">
                  <c:v>0.14202453987730063</c:v>
                </c:pt>
                <c:pt idx="29">
                  <c:v>0.14994049980166602</c:v>
                </c:pt>
                <c:pt idx="30">
                  <c:v>0.15418152992469283</c:v>
                </c:pt>
                <c:pt idx="31">
                  <c:v>0.16055912353607857</c:v>
                </c:pt>
                <c:pt idx="32">
                  <c:v>0.1826224328593997</c:v>
                </c:pt>
                <c:pt idx="33">
                  <c:v>0.19147245762711865</c:v>
                </c:pt>
                <c:pt idx="34">
                  <c:v>0.20576441102756893</c:v>
                </c:pt>
                <c:pt idx="35">
                  <c:v>0.18563988095238096</c:v>
                </c:pt>
                <c:pt idx="36">
                  <c:v>0.18132942326490714</c:v>
                </c:pt>
                <c:pt idx="37">
                  <c:v>0.14995602462620933</c:v>
                </c:pt>
                <c:pt idx="38">
                  <c:v>0.15281385281385282</c:v>
                </c:pt>
                <c:pt idx="39">
                  <c:v>0.1647901740020471</c:v>
                </c:pt>
                <c:pt idx="40">
                  <c:v>0.1425026586316909</c:v>
                </c:pt>
                <c:pt idx="41">
                  <c:v>0.1451935914552737</c:v>
                </c:pt>
                <c:pt idx="42">
                  <c:v>0.13885554221688676</c:v>
                </c:pt>
                <c:pt idx="43">
                  <c:v>0.14120805369127518</c:v>
                </c:pt>
                <c:pt idx="44">
                  <c:v>0.13567557465894226</c:v>
                </c:pt>
                <c:pt idx="45">
                  <c:v>0.14751448201535766</c:v>
                </c:pt>
                <c:pt idx="46">
                  <c:v>0.13980124642075123</c:v>
                </c:pt>
                <c:pt idx="47">
                  <c:v>0.13281379539048252</c:v>
                </c:pt>
                <c:pt idx="48">
                  <c:v>0.13006181405323577</c:v>
                </c:pt>
                <c:pt idx="49">
                  <c:v>0.15004782400765185</c:v>
                </c:pt>
                <c:pt idx="50">
                  <c:v>0.18931222167243938</c:v>
                </c:pt>
                <c:pt idx="51">
                  <c:v>0.174420759962928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98.9031373617457</c:v>
                </c:pt>
              </c:numCache>
            </c:numRef>
          </c:xVal>
          <c:yVal>
            <c:numRef>
              <c:f>Sheet1!$B$163:$B$164</c:f>
              <c:numCache>
                <c:formatCode>General</c:formatCode>
                <c:ptCount val="2"/>
                <c:pt idx="0">
                  <c:v>0.19531664543715443</c:v>
                </c:pt>
                <c:pt idx="1">
                  <c:v>0.195316645437154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98.9031373617457</c:v>
                </c:pt>
                <c:pt idx="1">
                  <c:v>998.9031373617457</c:v>
                </c:pt>
              </c:numCache>
            </c:numRef>
          </c:xVal>
          <c:yVal>
            <c:numRef>
              <c:f>Sheet1!$B$167:$B$168</c:f>
              <c:numCache>
                <c:formatCode>General</c:formatCode>
                <c:ptCount val="2"/>
                <c:pt idx="0">
                  <c:v>0.195316645437154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5994982177956</c:v>
                </c:pt>
              </c:numCache>
            </c:numRef>
          </c:xVal>
          <c:yVal>
            <c:numRef>
              <c:f>Sheet1!$B$171:$B$172</c:f>
              <c:numCache>
                <c:formatCode>General</c:formatCode>
                <c:ptCount val="2"/>
                <c:pt idx="0">
                  <c:v>0.18365951357637675</c:v>
                </c:pt>
                <c:pt idx="1">
                  <c:v>0.183659513576376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5994982177956</c:v>
                </c:pt>
                <c:pt idx="1">
                  <c:v>1065.5994982177956</c:v>
                </c:pt>
              </c:numCache>
            </c:numRef>
          </c:xVal>
          <c:yVal>
            <c:numRef>
              <c:f>Sheet1!$B$175:$B$176</c:f>
              <c:numCache>
                <c:formatCode>General</c:formatCode>
                <c:ptCount val="2"/>
                <c:pt idx="0">
                  <c:v>0.183659513576376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017697596533</c:v>
                </c:pt>
              </c:numCache>
            </c:numRef>
          </c:xVal>
          <c:yVal>
            <c:numRef>
              <c:f>Sheet1!$B$179:$B$180</c:f>
              <c:numCache>
                <c:formatCode>General</c:formatCode>
                <c:ptCount val="2"/>
                <c:pt idx="0">
                  <c:v>0.1486305952445356</c:v>
                </c:pt>
                <c:pt idx="1">
                  <c:v>0.14863059524453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017697596533</c:v>
                </c:pt>
                <c:pt idx="1">
                  <c:v>1266.017697596533</c:v>
                </c:pt>
              </c:numCache>
            </c:numRef>
          </c:xVal>
          <c:yVal>
            <c:numRef>
              <c:f>Sheet1!$B$183:$B$184</c:f>
              <c:numCache>
                <c:formatCode>General</c:formatCode>
                <c:ptCount val="2"/>
                <c:pt idx="0">
                  <c:v>0.14863059524453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6.8021</c:v>
                </c:pt>
                <c:pt idx="1">
                  <c:v>1167.1608</c:v>
                </c:pt>
                <c:pt idx="2">
                  <c:v>1150.193</c:v>
                </c:pt>
                <c:pt idx="3">
                  <c:v>1163.0772</c:v>
                </c:pt>
                <c:pt idx="4">
                  <c:v>1160.6019</c:v>
                </c:pt>
                <c:pt idx="5">
                  <c:v>1155.4715</c:v>
                </c:pt>
                <c:pt idx="6">
                  <c:v>1093.5794</c:v>
                </c:pt>
                <c:pt idx="7">
                  <c:v>1138.7821</c:v>
                </c:pt>
                <c:pt idx="8">
                  <c:v>1237.8982</c:v>
                </c:pt>
                <c:pt idx="9">
                  <c:v>1196.1207</c:v>
                </c:pt>
                <c:pt idx="10">
                  <c:v>1240.9075</c:v>
                </c:pt>
                <c:pt idx="11">
                  <c:v>1058.0091</c:v>
                </c:pt>
                <c:pt idx="12">
                  <c:v>1073.2754</c:v>
                </c:pt>
                <c:pt idx="13">
                  <c:v>1139.8656</c:v>
                </c:pt>
                <c:pt idx="14">
                  <c:v>1105.2684</c:v>
                </c:pt>
                <c:pt idx="15">
                  <c:v>1141.6312</c:v>
                </c:pt>
                <c:pt idx="16">
                  <c:v>1186.7624</c:v>
                </c:pt>
                <c:pt idx="17">
                  <c:v>1183.9814</c:v>
                </c:pt>
                <c:pt idx="18">
                  <c:v>1072.4478</c:v>
                </c:pt>
                <c:pt idx="19">
                  <c:v>1260.1724</c:v>
                </c:pt>
                <c:pt idx="20">
                  <c:v>1358.6667</c:v>
                </c:pt>
                <c:pt idx="21">
                  <c:v>1330.009</c:v>
                </c:pt>
                <c:pt idx="22">
                  <c:v>1298.8558</c:v>
                </c:pt>
                <c:pt idx="23">
                  <c:v>1263.5983</c:v>
                </c:pt>
                <c:pt idx="24">
                  <c:v>1282.3421</c:v>
                </c:pt>
                <c:pt idx="25">
                  <c:v>1195.9808</c:v>
                </c:pt>
                <c:pt idx="26">
                  <c:v>1237.4021</c:v>
                </c:pt>
                <c:pt idx="27">
                  <c:v>1251.6127</c:v>
                </c:pt>
                <c:pt idx="28">
                  <c:v>1223.4384</c:v>
                </c:pt>
                <c:pt idx="29">
                  <c:v>1202.0714</c:v>
                </c:pt>
                <c:pt idx="30">
                  <c:v>1098.6941</c:v>
                </c:pt>
                <c:pt idx="31">
                  <c:v>1125.84</c:v>
                </c:pt>
                <c:pt idx="32">
                  <c:v>1131.6419</c:v>
                </c:pt>
                <c:pt idx="33">
                  <c:v>1136.3997</c:v>
                </c:pt>
                <c:pt idx="34">
                  <c:v>1149.2533</c:v>
                </c:pt>
                <c:pt idx="35">
                  <c:v>1122.018</c:v>
                </c:pt>
                <c:pt idx="36">
                  <c:v>1173.4259</c:v>
                </c:pt>
                <c:pt idx="37">
                  <c:v>1276.2551</c:v>
                </c:pt>
                <c:pt idx="38">
                  <c:v>1282.2266</c:v>
                </c:pt>
                <c:pt idx="39">
                  <c:v>1294.6915</c:v>
                </c:pt>
                <c:pt idx="40">
                  <c:v>1311.1144</c:v>
                </c:pt>
                <c:pt idx="41">
                  <c:v>1361.3172</c:v>
                </c:pt>
                <c:pt idx="42">
                  <c:v>1426.1816</c:v>
                </c:pt>
                <c:pt idx="43">
                  <c:v>1375.7719</c:v>
                </c:pt>
                <c:pt idx="44">
                  <c:v>1299.8223</c:v>
                </c:pt>
                <c:pt idx="45">
                  <c:v>1232.0338</c:v>
                </c:pt>
                <c:pt idx="46">
                  <c:v>1212.4265</c:v>
                </c:pt>
                <c:pt idx="47">
                  <c:v>1210.0574</c:v>
                </c:pt>
                <c:pt idx="48">
                  <c:v>1210.2454</c:v>
                </c:pt>
                <c:pt idx="49">
                  <c:v>1225.4367</c:v>
                </c:pt>
                <c:pt idx="50">
                  <c:v>1071.9002</c:v>
                </c:pt>
                <c:pt idx="51">
                  <c:v>1037.4623</c:v>
                </c:pt>
                <c:pt idx="52">
                  <c:v>1065.5994982177956</c:v>
                </c:pt>
                <c:pt idx="53">
                  <c:v>998.9031373617457</c:v>
                </c:pt>
                <c:pt idx="54">
                  <c:v>1266.017697596533</c:v>
                </c:pt>
              </c:numCache>
            </c:numRef>
          </c:xVal>
          <c:yVal>
            <c:numRef>
              <c:f>Sheet1!$B$187:$B$241</c:f>
              <c:numCache>
                <c:formatCode>General</c:formatCode>
                <c:ptCount val="55"/>
                <c:pt idx="0">
                  <c:v>0.1502412893660711</c:v>
                </c:pt>
                <c:pt idx="1">
                  <c:v>0.1659087177063798</c:v>
                </c:pt>
                <c:pt idx="2">
                  <c:v>0.16887433501216065</c:v>
                </c:pt>
                <c:pt idx="3">
                  <c:v>0.16662244575774104</c:v>
                </c:pt>
                <c:pt idx="4">
                  <c:v>0.1670550765358619</c:v>
                </c:pt>
                <c:pt idx="5">
                  <c:v>0.1679517633795056</c:v>
                </c:pt>
                <c:pt idx="6">
                  <c:v>0.17876921071216612</c:v>
                </c:pt>
                <c:pt idx="7">
                  <c:v>0.1708687221757608</c:v>
                </c:pt>
                <c:pt idx="8">
                  <c:v>0.15354529654359264</c:v>
                </c:pt>
                <c:pt idx="9">
                  <c:v>0.16084713160719893</c:v>
                </c:pt>
                <c:pt idx="10">
                  <c:v>0.15301933371056267</c:v>
                </c:pt>
                <c:pt idx="11">
                  <c:v>0.18498615676597485</c:v>
                </c:pt>
                <c:pt idx="12">
                  <c:v>0.18231792614826117</c:v>
                </c:pt>
                <c:pt idx="13">
                  <c:v>0.17067934898944234</c:v>
                </c:pt>
                <c:pt idx="14">
                  <c:v>0.17672621747277906</c:v>
                </c:pt>
                <c:pt idx="15">
                  <c:v>0.17037075895920353</c:v>
                </c:pt>
                <c:pt idx="16">
                  <c:v>0.16248276713052476</c:v>
                </c:pt>
                <c:pt idx="17">
                  <c:v>0.1629688278883942</c:v>
                </c:pt>
                <c:pt idx="18">
                  <c:v>0.18246257335545743</c:v>
                </c:pt>
                <c:pt idx="19">
                  <c:v>0.14965223126745653</c:v>
                </c:pt>
                <c:pt idx="20">
                  <c:v>0.1324374832977275</c:v>
                </c:pt>
                <c:pt idx="21">
                  <c:v>0.13744625114411155</c:v>
                </c:pt>
                <c:pt idx="22">
                  <c:v>0.1428911803070231</c:v>
                </c:pt>
                <c:pt idx="23">
                  <c:v>0.14905345544926707</c:v>
                </c:pt>
                <c:pt idx="24">
                  <c:v>0.14577743041030536</c:v>
                </c:pt>
                <c:pt idx="25">
                  <c:v>0.16087158320735206</c:v>
                </c:pt>
                <c:pt idx="26">
                  <c:v>0.15363200446951103</c:v>
                </c:pt>
                <c:pt idx="27">
                  <c:v>0.1511482881783284</c:v>
                </c:pt>
                <c:pt idx="28">
                  <c:v>0.1560725677937329</c:v>
                </c:pt>
                <c:pt idx="29">
                  <c:v>0.15980707344400097</c:v>
                </c:pt>
                <c:pt idx="30">
                  <c:v>0.1778752679008484</c:v>
                </c:pt>
                <c:pt idx="31">
                  <c:v>0.173130731141752</c:v>
                </c:pt>
                <c:pt idx="32">
                  <c:v>0.1721166801129557</c:v>
                </c:pt>
                <c:pt idx="33">
                  <c:v>0.17128511597279353</c:v>
                </c:pt>
                <c:pt idx="34">
                  <c:v>0.1690385749597226</c:v>
                </c:pt>
                <c:pt idx="35">
                  <c:v>0.17379873697295548</c:v>
                </c:pt>
                <c:pt idx="36">
                  <c:v>0.1648137089850107</c:v>
                </c:pt>
                <c:pt idx="37">
                  <c:v>0.14684131096879188</c:v>
                </c:pt>
                <c:pt idx="38">
                  <c:v>0.14579761739970987</c:v>
                </c:pt>
                <c:pt idx="39">
                  <c:v>0.14361901303409813</c:v>
                </c:pt>
                <c:pt idx="40">
                  <c:v>0.140748632875733</c:v>
                </c:pt>
                <c:pt idx="41">
                  <c:v>0.13197423121619825</c:v>
                </c:pt>
                <c:pt idx="42">
                  <c:v>0.12063728787828237</c:v>
                </c:pt>
                <c:pt idx="43">
                  <c:v>0.12944785133961614</c:v>
                </c:pt>
                <c:pt idx="44">
                  <c:v>0.14272225627880275</c:v>
                </c:pt>
                <c:pt idx="45">
                  <c:v>0.15457027126795417</c:v>
                </c:pt>
                <c:pt idx="46">
                  <c:v>0.15799721808484474</c:v>
                </c:pt>
                <c:pt idx="47">
                  <c:v>0.15841128731946125</c:v>
                </c:pt>
                <c:pt idx="48">
                  <c:v>0.15837842884320108</c:v>
                </c:pt>
                <c:pt idx="49">
                  <c:v>0.15572330666016568</c:v>
                </c:pt>
                <c:pt idx="50">
                  <c:v>0.18255828240652153</c:v>
                </c:pt>
                <c:pt idx="51">
                  <c:v>0.18857730857460162</c:v>
                </c:pt>
                <c:pt idx="52">
                  <c:v>0.18365951357637675</c:v>
                </c:pt>
                <c:pt idx="53">
                  <c:v>0.19531664543715443</c:v>
                </c:pt>
                <c:pt idx="54">
                  <c:v>0.14863059524453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1.0"/>
          <c:min val="6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0594052206791"/>
          <c:min val="0.098964326812428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7880619323382048</c:v>
                </c:pt>
                <c:pt idx="8">
                  <c:v>1.3228990513157488</c:v>
                </c:pt>
                <c:pt idx="9">
                  <c:v>1.6288095881502247</c:v>
                </c:pt>
                <c:pt idx="10">
                  <c:v>1.814072054613075</c:v>
                </c:pt>
                <c:pt idx="11">
                  <c:v>1.4233074245752182</c:v>
                </c:pt>
                <c:pt idx="12">
                  <c:v>1.9906740568269699</c:v>
                </c:pt>
                <c:pt idx="13">
                  <c:v>1.4670207510580373</c:v>
                </c:pt>
                <c:pt idx="14">
                  <c:v>1.2301620322929159</c:v>
                </c:pt>
                <c:pt idx="15">
                  <c:v>1.2384842766571529</c:v>
                </c:pt>
                <c:pt idx="16">
                  <c:v>1.2939541662581997</c:v>
                </c:pt>
                <c:pt idx="17">
                  <c:v>1.438100501571281</c:v>
                </c:pt>
                <c:pt idx="18">
                  <c:v>1.6546485132751458</c:v>
                </c:pt>
                <c:pt idx="19">
                  <c:v>0.9030309476883509</c:v>
                </c:pt>
                <c:pt idx="20">
                  <c:v>1.3724861130270396</c:v>
                </c:pt>
                <c:pt idx="21">
                  <c:v>0.38563397536147903</c:v>
                </c:pt>
                <c:pt idx="22">
                  <c:v>1.28133661337177</c:v>
                </c:pt>
                <c:pt idx="23">
                  <c:v>1.7313809585128845</c:v>
                </c:pt>
                <c:pt idx="24">
                  <c:v>2.344082624489315</c:v>
                </c:pt>
                <c:pt idx="25">
                  <c:v>2.247607294695992</c:v>
                </c:pt>
                <c:pt idx="26">
                  <c:v>2.1934963791085154</c:v>
                </c:pt>
                <c:pt idx="27">
                  <c:v>2.4295188053937546</c:v>
                </c:pt>
                <c:pt idx="28">
                  <c:v>2.6428990973897797</c:v>
                </c:pt>
                <c:pt idx="29">
                  <c:v>2.198656577381902</c:v>
                </c:pt>
                <c:pt idx="30">
                  <c:v>2.5804402533041575</c:v>
                </c:pt>
                <c:pt idx="31">
                  <c:v>2.370561418450462</c:v>
                </c:pt>
                <c:pt idx="32">
                  <c:v>2.906627484859948</c:v>
                </c:pt>
                <c:pt idx="33">
                  <c:v>2.355773669062065</c:v>
                </c:pt>
                <c:pt idx="34">
                  <c:v>2.9916373670616108</c:v>
                </c:pt>
                <c:pt idx="35">
                  <c:v>3.1294064407272377</c:v>
                </c:pt>
                <c:pt idx="36">
                  <c:v>2.3826836624771084</c:v>
                </c:pt>
                <c:pt idx="37">
                  <c:v>2.4979027227176944</c:v>
                </c:pt>
                <c:pt idx="38">
                  <c:v>2.388131106814845</c:v>
                </c:pt>
                <c:pt idx="39">
                  <c:v>2.8287394529266976</c:v>
                </c:pt>
                <c:pt idx="40">
                  <c:v>3.018782912940855</c:v>
                </c:pt>
                <c:pt idx="41">
                  <c:v>2.7194507491082796</c:v>
                </c:pt>
                <c:pt idx="42">
                  <c:v>3.815499824330636</c:v>
                </c:pt>
                <c:pt idx="43">
                  <c:v>3.047528217691837</c:v>
                </c:pt>
                <c:pt idx="44">
                  <c:v>2.804628038040111</c:v>
                </c:pt>
                <c:pt idx="45">
                  <c:v>3.0965362544447186</c:v>
                </c:pt>
                <c:pt idx="46">
                  <c:v>2.7896929162476787</c:v>
                </c:pt>
                <c:pt idx="47">
                  <c:v>2.5947077278083235</c:v>
                </c:pt>
                <c:pt idx="48">
                  <c:v>2.781771870700031</c:v>
                </c:pt>
                <c:pt idx="49">
                  <c:v>2.540054441372196</c:v>
                </c:pt>
                <c:pt idx="50">
                  <c:v>2.21700127598544</c:v>
                </c:pt>
                <c:pt idx="51">
                  <c:v>2.7970395853015106</c:v>
                </c:pt>
                <c:pt idx="52">
                  <c:v>2.557758784815529</c:v>
                </c:pt>
              </c:numCache>
            </c:numRef>
          </c:xVal>
          <c:yVal>
            <c:numRef>
              <c:f>Sheet1!$B$2:$B$54</c:f>
              <c:numCache>
                <c:formatCode>General</c:formatCode>
                <c:ptCount val="53"/>
                <c:pt idx="0">
                  <c:v>0.0</c:v>
                </c:pt>
                <c:pt idx="1">
                  <c:v>0.0</c:v>
                </c:pt>
                <c:pt idx="2">
                  <c:v>0.0</c:v>
                </c:pt>
                <c:pt idx="3">
                  <c:v>0.0</c:v>
                </c:pt>
                <c:pt idx="4">
                  <c:v>0.0</c:v>
                </c:pt>
                <c:pt idx="5">
                  <c:v>0.0</c:v>
                </c:pt>
                <c:pt idx="6">
                  <c:v>0.0</c:v>
                </c:pt>
                <c:pt idx="7">
                  <c:v>9.82994200334218e-05</c:v>
                </c:pt>
                <c:pt idx="8">
                  <c:v>0.00044508734839212194</c:v>
                </c:pt>
                <c:pt idx="9">
                  <c:v>0.00040716612377850165</c:v>
                </c:pt>
                <c:pt idx="10">
                  <c:v>0.00033955857385398983</c:v>
                </c:pt>
                <c:pt idx="11">
                  <c:v>0.0005206525511975009</c:v>
                </c:pt>
                <c:pt idx="12">
                  <c:v>0.0003683919690550746</c:v>
                </c:pt>
                <c:pt idx="13">
                  <c:v>0.00041211621677313</c:v>
                </c:pt>
                <c:pt idx="14">
                  <c:v>0.00041841004184100416</c:v>
                </c:pt>
                <c:pt idx="15">
                  <c:v>0.0004174493842621582</c:v>
                </c:pt>
                <c:pt idx="16">
                  <c:v>0.0005514199062586159</c:v>
                </c:pt>
                <c:pt idx="17">
                  <c:v>0.0003570153516601214</c:v>
                </c:pt>
                <c:pt idx="18">
                  <c:v>0.00030759766225776686</c:v>
                </c:pt>
                <c:pt idx="19">
                  <c:v>0.0006784260515603799</c:v>
                </c:pt>
                <c:pt idx="20">
                  <c:v>0.0006422607578676942</c:v>
                </c:pt>
                <c:pt idx="21">
                  <c:v>0.001303780964797914</c:v>
                </c:pt>
                <c:pt idx="22">
                  <c:v>0.0005600672080649678</c:v>
                </c:pt>
                <c:pt idx="23">
                  <c:v>0.001288659793814433</c:v>
                </c:pt>
                <c:pt idx="24">
                  <c:v>0.0014603870025556773</c:v>
                </c:pt>
                <c:pt idx="25">
                  <c:v>0.0018982536066818527</c:v>
                </c:pt>
                <c:pt idx="26">
                  <c:v>0.00202757502027575</c:v>
                </c:pt>
                <c:pt idx="27">
                  <c:v>0.0016700066800267202</c:v>
                </c:pt>
                <c:pt idx="28">
                  <c:v>0.0016181229773462784</c:v>
                </c:pt>
                <c:pt idx="29">
                  <c:v>0.002242152466367713</c:v>
                </c:pt>
                <c:pt idx="30">
                  <c:v>0.002355712603062426</c:v>
                </c:pt>
                <c:pt idx="31">
                  <c:v>0.002208480565371025</c:v>
                </c:pt>
                <c:pt idx="32">
                  <c:v>0.00176444640494045</c:v>
                </c:pt>
                <c:pt idx="33">
                  <c:v>0.0018867924528301887</c:v>
                </c:pt>
                <c:pt idx="34">
                  <c:v>0.0020753038837829827</c:v>
                </c:pt>
                <c:pt idx="35">
                  <c:v>0.0018593120545398203</c:v>
                </c:pt>
                <c:pt idx="36">
                  <c:v>0.0029411764705882353</c:v>
                </c:pt>
                <c:pt idx="37">
                  <c:v>0.002913025384935497</c:v>
                </c:pt>
                <c:pt idx="38">
                  <c:v>0.0036159100040176776</c:v>
                </c:pt>
                <c:pt idx="39">
                  <c:v>0.002807862013638187</c:v>
                </c:pt>
                <c:pt idx="40">
                  <c:v>0.002237851662404092</c:v>
                </c:pt>
                <c:pt idx="41">
                  <c:v>0.002555366269165247</c:v>
                </c:pt>
                <c:pt idx="42">
                  <c:v>0.0015938795027095952</c:v>
                </c:pt>
                <c:pt idx="43">
                  <c:v>0.0025943396226415093</c:v>
                </c:pt>
                <c:pt idx="44">
                  <c:v>0.0025213615352290236</c:v>
                </c:pt>
                <c:pt idx="45">
                  <c:v>0.0029427792915531336</c:v>
                </c:pt>
                <c:pt idx="46">
                  <c:v>0.0028872958980485862</c:v>
                </c:pt>
                <c:pt idx="47">
                  <c:v>0.0030349013657056147</c:v>
                </c:pt>
                <c:pt idx="48">
                  <c:v>0.0029622315477659837</c:v>
                </c:pt>
                <c:pt idx="49">
                  <c:v>0.0038865697423348207</c:v>
                </c:pt>
                <c:pt idx="50">
                  <c:v>0.004061895551257254</c:v>
                </c:pt>
                <c:pt idx="51">
                  <c:v>0.003156787092248334</c:v>
                </c:pt>
                <c:pt idx="52">
                  <c:v>0.0022466300549176237</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150698974171399</c:v>
                </c:pt>
                <c:pt idx="1">
                  <c:v>2.1398278667589525</c:v>
                </c:pt>
                <c:pt idx="2">
                  <c:v>2.5058262521666093</c:v>
                </c:pt>
                <c:pt idx="3">
                  <c:v>2.2017050567032532</c:v>
                </c:pt>
                <c:pt idx="4">
                  <c:v>2.5716555318562913</c:v>
                </c:pt>
                <c:pt idx="5">
                  <c:v>2.6195595068927613</c:v>
                </c:pt>
                <c:pt idx="6">
                  <c:v>2.7157103420505018</c:v>
                </c:pt>
                <c:pt idx="7">
                  <c:v>2.6322615831802856</c:v>
                </c:pt>
                <c:pt idx="8">
                  <c:v>2.38155408157345</c:v>
                </c:pt>
                <c:pt idx="9">
                  <c:v>2.3562408089447735</c:v>
                </c:pt>
                <c:pt idx="10">
                  <c:v>2.4449974583851417</c:v>
                </c:pt>
                <c:pt idx="11">
                  <c:v>2.5689016549812957</c:v>
                </c:pt>
                <c:pt idx="12">
                  <c:v>2.2827239915441537</c:v>
                </c:pt>
                <c:pt idx="13">
                  <c:v>1.9792033277680452</c:v>
                </c:pt>
                <c:pt idx="14">
                  <c:v>2.034681481219249</c:v>
                </c:pt>
                <c:pt idx="15">
                  <c:v>2.3575463046847953</c:v>
                </c:pt>
                <c:pt idx="16">
                  <c:v>2.087795569829107</c:v>
                </c:pt>
                <c:pt idx="17">
                  <c:v>2.1738000752460676</c:v>
                </c:pt>
                <c:pt idx="18">
                  <c:v>2.9167082296042226</c:v>
                </c:pt>
                <c:pt idx="19">
                  <c:v>2.030966798164314</c:v>
                </c:pt>
                <c:pt idx="20">
                  <c:v>2.3845421635006887</c:v>
                </c:pt>
                <c:pt idx="21">
                  <c:v>2.136479152505132</c:v>
                </c:pt>
                <c:pt idx="22">
                  <c:v>1.7681239402269517</c:v>
                </c:pt>
                <c:pt idx="23">
                  <c:v>1.9641506628396568</c:v>
                </c:pt>
                <c:pt idx="24">
                  <c:v>2.175981955863355</c:v>
                </c:pt>
                <c:pt idx="25">
                  <c:v>1.8467369122127955</c:v>
                </c:pt>
                <c:pt idx="26">
                  <c:v>1.9515663714773144</c:v>
                </c:pt>
                <c:pt idx="27">
                  <c:v>2.423349353285128</c:v>
                </c:pt>
                <c:pt idx="28">
                  <c:v>2.4184368200886044</c:v>
                </c:pt>
                <c:pt idx="29">
                  <c:v>1.9349344098506083</c:v>
                </c:pt>
                <c:pt idx="30">
                  <c:v>2.5063168784599945</c:v>
                </c:pt>
                <c:pt idx="31">
                  <c:v>2.6318049858730195</c:v>
                </c:pt>
                <c:pt idx="32">
                  <c:v>2.6322216252206556</c:v>
                </c:pt>
                <c:pt idx="33">
                  <c:v>2.817831044531044</c:v>
                </c:pt>
                <c:pt idx="34">
                  <c:v>2.6032043490342778</c:v>
                </c:pt>
                <c:pt idx="35">
                  <c:v>2.1987312914426718</c:v>
                </c:pt>
                <c:pt idx="36">
                  <c:v>2.1596482441653273</c:v>
                </c:pt>
                <c:pt idx="37">
                  <c:v>2.258938894967693</c:v>
                </c:pt>
                <c:pt idx="38">
                  <c:v>1.902875239175146</c:v>
                </c:pt>
                <c:pt idx="39">
                  <c:v>2.28892796224096</c:v>
                </c:pt>
                <c:pt idx="40">
                  <c:v>2.6189375928974203</c:v>
                </c:pt>
                <c:pt idx="41">
                  <c:v>2.4775695452319746</c:v>
                </c:pt>
                <c:pt idx="42">
                  <c:v>2.370672818516354</c:v>
                </c:pt>
                <c:pt idx="43">
                  <c:v>2.5845784694352973</c:v>
                </c:pt>
                <c:pt idx="44">
                  <c:v>2.761224837658793</c:v>
                </c:pt>
                <c:pt idx="45">
                  <c:v>2.977196752316225</c:v>
                </c:pt>
                <c:pt idx="46">
                  <c:v>2.7888868139251377</c:v>
                </c:pt>
                <c:pt idx="47">
                  <c:v>2.678510611427865</c:v>
                </c:pt>
                <c:pt idx="48">
                  <c:v>2.7647044019585736</c:v>
                </c:pt>
                <c:pt idx="49">
                  <c:v>2.9920583253495274</c:v>
                </c:pt>
                <c:pt idx="50">
                  <c:v>3.3007168646366907</c:v>
                </c:pt>
                <c:pt idx="51">
                  <c:v>3.317787454296919</c:v>
                </c:pt>
              </c:numCache>
            </c:numRef>
          </c:xVal>
          <c:yVal>
            <c:numRef>
              <c:f>Sheet1!$B$57:$B$108</c:f>
              <c:numCache>
                <c:formatCode>General</c:formatCode>
                <c:ptCount val="52"/>
                <c:pt idx="0">
                  <c:v>0.002322144817394976</c:v>
                </c:pt>
                <c:pt idx="1">
                  <c:v>0.003309203722854188</c:v>
                </c:pt>
                <c:pt idx="2">
                  <c:v>0.00283436669619132</c:v>
                </c:pt>
                <c:pt idx="3">
                  <c:v>0.002961865975564606</c:v>
                </c:pt>
                <c:pt idx="4">
                  <c:v>0.002707581227436823</c:v>
                </c:pt>
                <c:pt idx="5">
                  <c:v>0.0028530670470756064</c:v>
                </c:pt>
                <c:pt idx="6">
                  <c:v>0.002913025384935497</c:v>
                </c:pt>
                <c:pt idx="7">
                  <c:v>0.003008084226358338</c:v>
                </c:pt>
                <c:pt idx="8">
                  <c:v>0.004729530002955957</c:v>
                </c:pt>
                <c:pt idx="9">
                  <c:v>0.004841312533620226</c:v>
                </c:pt>
                <c:pt idx="10">
                  <c:v>0.004419027813880946</c:v>
                </c:pt>
                <c:pt idx="11">
                  <c:v>0.005379335930254127</c:v>
                </c:pt>
                <c:pt idx="12">
                  <c:v>0.005067139599695972</c:v>
                </c:pt>
                <c:pt idx="13">
                  <c:v>0.0072250468290072254</c:v>
                </c:pt>
                <c:pt idx="14">
                  <c:v>0.00536117381489842</c:v>
                </c:pt>
                <c:pt idx="15">
                  <c:v>0.004891470498318557</c:v>
                </c:pt>
                <c:pt idx="16">
                  <c:v>0.005687877710629221</c:v>
                </c:pt>
                <c:pt idx="17">
                  <c:v>0.005222841225626741</c:v>
                </c:pt>
                <c:pt idx="18">
                  <c:v>0.002936857562408223</c:v>
                </c:pt>
                <c:pt idx="19">
                  <c:v>0.0036839950880065493</c:v>
                </c:pt>
                <c:pt idx="20">
                  <c:v>0.003896103896103896</c:v>
                </c:pt>
                <c:pt idx="21">
                  <c:v>0.005131128848346636</c:v>
                </c:pt>
                <c:pt idx="22">
                  <c:v>0.005178365937859608</c:v>
                </c:pt>
                <c:pt idx="23">
                  <c:v>0.004571428571428572</c:v>
                </c:pt>
                <c:pt idx="24">
                  <c:v>0.0051401869158878505</c:v>
                </c:pt>
                <c:pt idx="25">
                  <c:v>0.0060790273556231</c:v>
                </c:pt>
                <c:pt idx="26">
                  <c:v>0.005123428039124359</c:v>
                </c:pt>
                <c:pt idx="27">
                  <c:v>0.004313443565780014</c:v>
                </c:pt>
                <c:pt idx="28">
                  <c:v>0.0036809815950920245</c:v>
                </c:pt>
                <c:pt idx="29">
                  <c:v>0.004760015866719556</c:v>
                </c:pt>
                <c:pt idx="30">
                  <c:v>0.0035671819262782403</c:v>
                </c:pt>
                <c:pt idx="31">
                  <c:v>0.00415564790328674</c:v>
                </c:pt>
                <c:pt idx="32">
                  <c:v>0.0037914691943127963</c:v>
                </c:pt>
                <c:pt idx="33">
                  <c:v>0.0026483050847457626</c:v>
                </c:pt>
                <c:pt idx="34">
                  <c:v>0.003258145363408521</c:v>
                </c:pt>
                <c:pt idx="35">
                  <c:v>0.004836309523809524</c:v>
                </c:pt>
                <c:pt idx="36">
                  <c:v>0.004887585532746823</c:v>
                </c:pt>
                <c:pt idx="37">
                  <c:v>0.0043975373790677225</c:v>
                </c:pt>
                <c:pt idx="38">
                  <c:v>0.005194805194805195</c:v>
                </c:pt>
                <c:pt idx="39">
                  <c:v>0.004435346298191744</c:v>
                </c:pt>
                <c:pt idx="40">
                  <c:v>0.0031903580290677065</c:v>
                </c:pt>
                <c:pt idx="41">
                  <c:v>0.0033377837116154874</c:v>
                </c:pt>
                <c:pt idx="42">
                  <c:v>0.003201280512204882</c:v>
                </c:pt>
                <c:pt idx="43">
                  <c:v>0.0026845637583892616</c:v>
                </c:pt>
                <c:pt idx="44">
                  <c:v>0.0024294524387964865</c:v>
                </c:pt>
                <c:pt idx="45">
                  <c:v>0.002155462750909336</c:v>
                </c:pt>
                <c:pt idx="46">
                  <c:v>0.00202122283981809</c:v>
                </c:pt>
                <c:pt idx="47">
                  <c:v>0.002155529762891726</c:v>
                </c:pt>
                <c:pt idx="48">
                  <c:v>0.002396871451999495</c:v>
                </c:pt>
                <c:pt idx="49">
                  <c:v>0.001912960306073649</c:v>
                </c:pt>
                <c:pt idx="50">
                  <c:v>0.001781296387926769</c:v>
                </c:pt>
                <c:pt idx="51">
                  <c:v>0.0024096385542168677</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0642879340944646</c:v>
                </c:pt>
              </c:numCache>
            </c:numRef>
          </c:xVal>
          <c:yVal>
            <c:numRef>
              <c:f>Sheet1!$B$111:$B$112</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0642879340944646</c:v>
                </c:pt>
                <c:pt idx="1">
                  <c:v>2.0642879340944646</c:v>
                </c:pt>
              </c:numCache>
            </c:numRef>
          </c:xVal>
          <c:yVal>
            <c:numRef>
              <c:f>Sheet1!$B$115:$B$116</c:f>
              <c:numCache>
                <c:formatCode>General</c:formatCode>
                <c:ptCount val="2"/>
                <c:pt idx="0">
                  <c:v>0.00490333164236897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0642879340944646</c:v>
                </c:pt>
              </c:numCache>
            </c:numRef>
          </c:xVal>
          <c:yVal>
            <c:numRef>
              <c:f>Sheet1!$B$119:$B$120</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642879340944646</c:v>
                </c:pt>
                <c:pt idx="1">
                  <c:v>2.0642879340944646</c:v>
                </c:pt>
              </c:numCache>
            </c:numRef>
          </c:xVal>
          <c:yVal>
            <c:numRef>
              <c:f>Sheet1!$B$123:$B$124</c:f>
              <c:numCache>
                <c:formatCode>General</c:formatCode>
                <c:ptCount val="2"/>
                <c:pt idx="0">
                  <c:v>0.00490333164236897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8867435247094915</c:v>
                </c:pt>
              </c:numCache>
            </c:numRef>
          </c:xVal>
          <c:yVal>
            <c:numRef>
              <c:f>Sheet1!$B$127:$B$128</c:f>
              <c:numCache>
                <c:formatCode>General</c:formatCode>
                <c:ptCount val="2"/>
                <c:pt idx="0">
                  <c:v>0.002623982061700115</c:v>
                </c:pt>
                <c:pt idx="1">
                  <c:v>0.00262398206170011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8867435247094915</c:v>
                </c:pt>
                <c:pt idx="1">
                  <c:v>2.8867435247094915</c:v>
                </c:pt>
              </c:numCache>
            </c:numRef>
          </c:xVal>
          <c:yVal>
            <c:numRef>
              <c:f>Sheet1!$B$131:$B$132</c:f>
              <c:numCache>
                <c:formatCode>General</c:formatCode>
                <c:ptCount val="2"/>
                <c:pt idx="0">
                  <c:v>0.0026239820617001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150698974171399</c:v>
                </c:pt>
                <c:pt idx="1">
                  <c:v>2.1398278667589525</c:v>
                </c:pt>
                <c:pt idx="2">
                  <c:v>2.5058262521666093</c:v>
                </c:pt>
                <c:pt idx="3">
                  <c:v>2.2017050567032532</c:v>
                </c:pt>
                <c:pt idx="4">
                  <c:v>2.5716555318562913</c:v>
                </c:pt>
                <c:pt idx="5">
                  <c:v>2.6195595068927613</c:v>
                </c:pt>
                <c:pt idx="6">
                  <c:v>2.7157103420505018</c:v>
                </c:pt>
                <c:pt idx="7">
                  <c:v>2.6322615831802856</c:v>
                </c:pt>
                <c:pt idx="8">
                  <c:v>2.38155408157345</c:v>
                </c:pt>
                <c:pt idx="9">
                  <c:v>2.3562408089447735</c:v>
                </c:pt>
                <c:pt idx="10">
                  <c:v>2.4449974583851417</c:v>
                </c:pt>
                <c:pt idx="11">
                  <c:v>2.5689016549812957</c:v>
                </c:pt>
                <c:pt idx="12">
                  <c:v>2.2827239915441537</c:v>
                </c:pt>
                <c:pt idx="13">
                  <c:v>1.9792033277680452</c:v>
                </c:pt>
                <c:pt idx="14">
                  <c:v>2.034681481219249</c:v>
                </c:pt>
                <c:pt idx="15">
                  <c:v>2.3575463046847953</c:v>
                </c:pt>
                <c:pt idx="16">
                  <c:v>2.087795569829107</c:v>
                </c:pt>
                <c:pt idx="17">
                  <c:v>2.1738000752460676</c:v>
                </c:pt>
                <c:pt idx="18">
                  <c:v>2.9167082296042226</c:v>
                </c:pt>
                <c:pt idx="19">
                  <c:v>2.030966798164314</c:v>
                </c:pt>
                <c:pt idx="20">
                  <c:v>2.3845421635006887</c:v>
                </c:pt>
                <c:pt idx="21">
                  <c:v>2.136479152505132</c:v>
                </c:pt>
                <c:pt idx="22">
                  <c:v>1.7681239402269517</c:v>
                </c:pt>
                <c:pt idx="23">
                  <c:v>1.9641506628396568</c:v>
                </c:pt>
                <c:pt idx="24">
                  <c:v>2.175981955863355</c:v>
                </c:pt>
                <c:pt idx="25">
                  <c:v>1.8467369122127955</c:v>
                </c:pt>
                <c:pt idx="26">
                  <c:v>1.9515663714773144</c:v>
                </c:pt>
                <c:pt idx="27">
                  <c:v>2.423349353285128</c:v>
                </c:pt>
                <c:pt idx="28">
                  <c:v>2.4184368200886044</c:v>
                </c:pt>
                <c:pt idx="29">
                  <c:v>1.9349344098506083</c:v>
                </c:pt>
                <c:pt idx="30">
                  <c:v>2.5063168784599945</c:v>
                </c:pt>
                <c:pt idx="31">
                  <c:v>2.6318049858730195</c:v>
                </c:pt>
                <c:pt idx="32">
                  <c:v>2.6322216252206556</c:v>
                </c:pt>
                <c:pt idx="33">
                  <c:v>2.817831044531044</c:v>
                </c:pt>
                <c:pt idx="34">
                  <c:v>2.6032043490342778</c:v>
                </c:pt>
                <c:pt idx="35">
                  <c:v>2.1987312914426718</c:v>
                </c:pt>
                <c:pt idx="36">
                  <c:v>2.1596482441653273</c:v>
                </c:pt>
                <c:pt idx="37">
                  <c:v>2.258938894967693</c:v>
                </c:pt>
                <c:pt idx="38">
                  <c:v>1.902875239175146</c:v>
                </c:pt>
                <c:pt idx="39">
                  <c:v>2.28892796224096</c:v>
                </c:pt>
                <c:pt idx="40">
                  <c:v>2.6189375928974203</c:v>
                </c:pt>
                <c:pt idx="41">
                  <c:v>2.4775695452319746</c:v>
                </c:pt>
                <c:pt idx="42">
                  <c:v>2.370672818516354</c:v>
                </c:pt>
                <c:pt idx="43">
                  <c:v>2.5845784694352973</c:v>
                </c:pt>
                <c:pt idx="44">
                  <c:v>2.761224837658793</c:v>
                </c:pt>
                <c:pt idx="45">
                  <c:v>2.977196752316225</c:v>
                </c:pt>
                <c:pt idx="46">
                  <c:v>2.7888868139251377</c:v>
                </c:pt>
                <c:pt idx="47">
                  <c:v>2.678510611427865</c:v>
                </c:pt>
                <c:pt idx="48">
                  <c:v>2.7647044019585736</c:v>
                </c:pt>
                <c:pt idx="49">
                  <c:v>2.9920583253495274</c:v>
                </c:pt>
                <c:pt idx="50">
                  <c:v>3.3007168646366907</c:v>
                </c:pt>
                <c:pt idx="51">
                  <c:v>3.317787454296919</c:v>
                </c:pt>
                <c:pt idx="52">
                  <c:v>2.0642879340944646</c:v>
                </c:pt>
                <c:pt idx="53">
                  <c:v>2.0642879340944646</c:v>
                </c:pt>
                <c:pt idx="54">
                  <c:v>2.8867435247094915</c:v>
                </c:pt>
              </c:numCache>
            </c:numRef>
          </c:xVal>
          <c:yVal>
            <c:numRef>
              <c:f>Sheet1!$B$135:$B$189</c:f>
              <c:numCache>
                <c:formatCode>General</c:formatCode>
                <c:ptCount val="55"/>
                <c:pt idx="0">
                  <c:v>0.001892457162469564</c:v>
                </c:pt>
                <c:pt idx="1">
                  <c:v>0.004693980625964801</c:v>
                </c:pt>
                <c:pt idx="2">
                  <c:v>0.0036796544108793324</c:v>
                </c:pt>
                <c:pt idx="3">
                  <c:v>0.0045224944708922325</c:v>
                </c:pt>
                <c:pt idx="4">
                  <c:v>0.003497215452753696</c:v>
                </c:pt>
                <c:pt idx="5">
                  <c:v>0.0033644546001828013</c:v>
                </c:pt>
                <c:pt idx="6">
                  <c:v>0.0030979826249192257</c:v>
                </c:pt>
                <c:pt idx="7">
                  <c:v>0.0033292521253136817</c:v>
                </c:pt>
                <c:pt idx="8">
                  <c:v>0.004024061723763554</c:v>
                </c:pt>
                <c:pt idx="9">
                  <c:v>0.004094214809243081</c:v>
                </c:pt>
                <c:pt idx="10">
                  <c:v>0.003848235045725159</c:v>
                </c:pt>
                <c:pt idx="11">
                  <c:v>0.0035048475342567727</c:v>
                </c:pt>
                <c:pt idx="12">
                  <c:v>0.0042979589734585665</c:v>
                </c:pt>
                <c:pt idx="13">
                  <c:v>0.005139134722759587</c:v>
                </c:pt>
                <c:pt idx="14">
                  <c:v>0.004985382827522639</c:v>
                </c:pt>
                <c:pt idx="15">
                  <c:v>0.004090596764449491</c:v>
                </c:pt>
                <c:pt idx="16">
                  <c:v>0.004838182690540219</c:v>
                </c:pt>
                <c:pt idx="17">
                  <c:v>0.00459983020610858</c:v>
                </c:pt>
                <c:pt idx="18">
                  <c:v>0.0025409380185736075</c:v>
                </c:pt>
                <c:pt idx="19">
                  <c:v>0.004995677682783154</c:v>
                </c:pt>
                <c:pt idx="20">
                  <c:v>0.0040157805674730825</c:v>
                </c:pt>
                <c:pt idx="21">
                  <c:v>0.004703261237000003</c:v>
                </c:pt>
                <c:pt idx="22">
                  <c:v>0.005724119151061486</c:v>
                </c:pt>
                <c:pt idx="23">
                  <c:v>0.005180851608004192</c:v>
                </c:pt>
                <c:pt idx="24">
                  <c:v>0.004593783352361299</c:v>
                </c:pt>
                <c:pt idx="25">
                  <c:v>0.005506251527841767</c:v>
                </c:pt>
                <c:pt idx="26">
                  <c:v>0.005215727654282047</c:v>
                </c:pt>
                <c:pt idx="27">
                  <c:v>0.003908230503042306</c:v>
                </c:pt>
                <c:pt idx="28">
                  <c:v>0.0039218450745879185</c:v>
                </c:pt>
                <c:pt idx="29">
                  <c:v>0.005261821395016649</c:v>
                </c:pt>
                <c:pt idx="30">
                  <c:v>0.003678294691462438</c:v>
                </c:pt>
                <c:pt idx="31">
                  <c:v>0.0033305175369574566</c:v>
                </c:pt>
                <c:pt idx="32">
                  <c:v>0.0033293628646162855</c:v>
                </c:pt>
                <c:pt idx="33">
                  <c:v>0.002814965787253169</c:v>
                </c:pt>
                <c:pt idx="34">
                  <c:v>0.0034097812082475977</c:v>
                </c:pt>
                <c:pt idx="35">
                  <c:v>0.00453073595003963</c:v>
                </c:pt>
                <c:pt idx="36">
                  <c:v>0.00463905052463722</c:v>
                </c:pt>
                <c:pt idx="37">
                  <c:v>0.0043638768789678265</c:v>
                </c:pt>
                <c:pt idx="38">
                  <c:v>0.005350670030820878</c:v>
                </c:pt>
                <c:pt idx="39">
                  <c:v>0.004280765318059285</c:v>
                </c:pt>
                <c:pt idx="40">
                  <c:v>0.003366178169723417</c:v>
                </c:pt>
                <c:pt idx="41">
                  <c:v>0.0037579649164403437</c:v>
                </c:pt>
                <c:pt idx="42">
                  <c:v>0.004054218005354141</c:v>
                </c:pt>
                <c:pt idx="43">
                  <c:v>0.003461400883933402</c:v>
                </c:pt>
                <c:pt idx="44">
                  <c:v>0.0029718439644700525</c:v>
                </c:pt>
                <c:pt idx="45">
                  <c:v>0.0023733004093796813</c:v>
                </c:pt>
                <c:pt idx="46">
                  <c:v>0.0028951816927040895</c:v>
                </c:pt>
                <c:pt idx="47">
                  <c:v>0.0032010777845403017</c:v>
                </c:pt>
                <c:pt idx="48">
                  <c:v>0.002962200716228911</c:v>
                </c:pt>
                <c:pt idx="49">
                  <c:v>0.002332113115320184</c:v>
                </c:pt>
                <c:pt idx="50">
                  <c:v>0.0014766982818360357</c:v>
                </c:pt>
                <c:pt idx="51">
                  <c:v>0.0014293889294189482</c:v>
                </c:pt>
                <c:pt idx="52">
                  <c:v>0.0049033316423689795</c:v>
                </c:pt>
                <c:pt idx="53">
                  <c:v>0.0049033316423689795</c:v>
                </c:pt>
                <c:pt idx="54">
                  <c:v>0.0026239820617001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670056194808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9.82994200334218e-05</c:v>
                </c:pt>
                <c:pt idx="8">
                  <c:v>0.00044508734839212194</c:v>
                </c:pt>
                <c:pt idx="9">
                  <c:v>0.00040716612377850165</c:v>
                </c:pt>
                <c:pt idx="10">
                  <c:v>0.00033955857385398983</c:v>
                </c:pt>
                <c:pt idx="11">
                  <c:v>0.0005206525511975009</c:v>
                </c:pt>
                <c:pt idx="12">
                  <c:v>0.0003683919690550746</c:v>
                </c:pt>
                <c:pt idx="13">
                  <c:v>0.00041211621677313</c:v>
                </c:pt>
                <c:pt idx="14">
                  <c:v>0.00041841004184100416</c:v>
                </c:pt>
                <c:pt idx="15">
                  <c:v>0.0004174493842621582</c:v>
                </c:pt>
                <c:pt idx="16">
                  <c:v>0.0005514199062586159</c:v>
                </c:pt>
                <c:pt idx="17">
                  <c:v>0.0003570153516601214</c:v>
                </c:pt>
                <c:pt idx="18">
                  <c:v>0.00030759766225776686</c:v>
                </c:pt>
                <c:pt idx="19">
                  <c:v>0.0006784260515603799</c:v>
                </c:pt>
                <c:pt idx="20">
                  <c:v>0.0006422607578676942</c:v>
                </c:pt>
                <c:pt idx="21">
                  <c:v>0.001303780964797914</c:v>
                </c:pt>
                <c:pt idx="22">
                  <c:v>0.0005600672080649678</c:v>
                </c:pt>
                <c:pt idx="23">
                  <c:v>0.001288659793814433</c:v>
                </c:pt>
                <c:pt idx="24">
                  <c:v>0.0014603870025556773</c:v>
                </c:pt>
                <c:pt idx="25">
                  <c:v>0.0018982536066818527</c:v>
                </c:pt>
                <c:pt idx="26">
                  <c:v>0.00202757502027575</c:v>
                </c:pt>
                <c:pt idx="27">
                  <c:v>0.0016700066800267202</c:v>
                </c:pt>
                <c:pt idx="28">
                  <c:v>0.0016181229773462784</c:v>
                </c:pt>
                <c:pt idx="29">
                  <c:v>0.002242152466367713</c:v>
                </c:pt>
                <c:pt idx="30">
                  <c:v>0.002355712603062426</c:v>
                </c:pt>
                <c:pt idx="31">
                  <c:v>0.002208480565371025</c:v>
                </c:pt>
                <c:pt idx="32">
                  <c:v>0.00176444640494045</c:v>
                </c:pt>
                <c:pt idx="33">
                  <c:v>0.0018867924528301887</c:v>
                </c:pt>
                <c:pt idx="34">
                  <c:v>0.0020753038837829827</c:v>
                </c:pt>
                <c:pt idx="35">
                  <c:v>0.0018593120545398203</c:v>
                </c:pt>
                <c:pt idx="36">
                  <c:v>0.0029411764705882353</c:v>
                </c:pt>
                <c:pt idx="37">
                  <c:v>0.002913025384935497</c:v>
                </c:pt>
                <c:pt idx="38">
                  <c:v>0.0036159100040176776</c:v>
                </c:pt>
                <c:pt idx="39">
                  <c:v>0.002807862013638187</c:v>
                </c:pt>
                <c:pt idx="40">
                  <c:v>0.002237851662404092</c:v>
                </c:pt>
                <c:pt idx="41">
                  <c:v>0.002555366269165247</c:v>
                </c:pt>
                <c:pt idx="42">
                  <c:v>0.0015938795027095952</c:v>
                </c:pt>
                <c:pt idx="43">
                  <c:v>0.0025943396226415093</c:v>
                </c:pt>
                <c:pt idx="44">
                  <c:v>0.0025213615352290236</c:v>
                </c:pt>
                <c:pt idx="45">
                  <c:v>0.0029427792915531336</c:v>
                </c:pt>
                <c:pt idx="46">
                  <c:v>0.0028872958980485862</c:v>
                </c:pt>
                <c:pt idx="47">
                  <c:v>0.0030349013657056147</c:v>
                </c:pt>
                <c:pt idx="48">
                  <c:v>0.0029622315477659837</c:v>
                </c:pt>
                <c:pt idx="49">
                  <c:v>0.0038865697423348207</c:v>
                </c:pt>
                <c:pt idx="50">
                  <c:v>0.004061895551257254</c:v>
                </c:pt>
                <c:pt idx="51">
                  <c:v>0.003156787092248334</c:v>
                </c:pt>
                <c:pt idx="52">
                  <c:v>0.0022466300549176237</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322144817394976</c:v>
                </c:pt>
                <c:pt idx="1">
                  <c:v>0.003309203722854188</c:v>
                </c:pt>
                <c:pt idx="2">
                  <c:v>0.00283436669619132</c:v>
                </c:pt>
                <c:pt idx="3">
                  <c:v>0.002961865975564606</c:v>
                </c:pt>
                <c:pt idx="4">
                  <c:v>0.002707581227436823</c:v>
                </c:pt>
                <c:pt idx="5">
                  <c:v>0.0028530670470756064</c:v>
                </c:pt>
                <c:pt idx="6">
                  <c:v>0.002913025384935497</c:v>
                </c:pt>
                <c:pt idx="7">
                  <c:v>0.003008084226358338</c:v>
                </c:pt>
                <c:pt idx="8">
                  <c:v>0.004729530002955957</c:v>
                </c:pt>
                <c:pt idx="9">
                  <c:v>0.004841312533620226</c:v>
                </c:pt>
                <c:pt idx="10">
                  <c:v>0.004419027813880946</c:v>
                </c:pt>
                <c:pt idx="11">
                  <c:v>0.005379335930254127</c:v>
                </c:pt>
                <c:pt idx="12">
                  <c:v>0.005067139599695972</c:v>
                </c:pt>
                <c:pt idx="13">
                  <c:v>0.0072250468290072254</c:v>
                </c:pt>
                <c:pt idx="14">
                  <c:v>0.00536117381489842</c:v>
                </c:pt>
                <c:pt idx="15">
                  <c:v>0.004891470498318557</c:v>
                </c:pt>
                <c:pt idx="16">
                  <c:v>0.005687877710629221</c:v>
                </c:pt>
                <c:pt idx="17">
                  <c:v>0.005222841225626741</c:v>
                </c:pt>
                <c:pt idx="18">
                  <c:v>0.002936857562408223</c:v>
                </c:pt>
                <c:pt idx="19">
                  <c:v>0.0036839950880065493</c:v>
                </c:pt>
                <c:pt idx="20">
                  <c:v>0.003896103896103896</c:v>
                </c:pt>
                <c:pt idx="21">
                  <c:v>0.005131128848346636</c:v>
                </c:pt>
                <c:pt idx="22">
                  <c:v>0.005178365937859608</c:v>
                </c:pt>
                <c:pt idx="23">
                  <c:v>0.004571428571428572</c:v>
                </c:pt>
                <c:pt idx="24">
                  <c:v>0.0051401869158878505</c:v>
                </c:pt>
                <c:pt idx="25">
                  <c:v>0.0060790273556231</c:v>
                </c:pt>
                <c:pt idx="26">
                  <c:v>0.005123428039124359</c:v>
                </c:pt>
                <c:pt idx="27">
                  <c:v>0.004313443565780014</c:v>
                </c:pt>
                <c:pt idx="28">
                  <c:v>0.0036809815950920245</c:v>
                </c:pt>
                <c:pt idx="29">
                  <c:v>0.004760015866719556</c:v>
                </c:pt>
                <c:pt idx="30">
                  <c:v>0.0035671819262782403</c:v>
                </c:pt>
                <c:pt idx="31">
                  <c:v>0.00415564790328674</c:v>
                </c:pt>
                <c:pt idx="32">
                  <c:v>0.0037914691943127963</c:v>
                </c:pt>
                <c:pt idx="33">
                  <c:v>0.0026483050847457626</c:v>
                </c:pt>
                <c:pt idx="34">
                  <c:v>0.003258145363408521</c:v>
                </c:pt>
                <c:pt idx="35">
                  <c:v>0.004836309523809524</c:v>
                </c:pt>
                <c:pt idx="36">
                  <c:v>0.004887585532746823</c:v>
                </c:pt>
                <c:pt idx="37">
                  <c:v>0.0043975373790677225</c:v>
                </c:pt>
                <c:pt idx="38">
                  <c:v>0.005194805194805195</c:v>
                </c:pt>
                <c:pt idx="39">
                  <c:v>0.004435346298191744</c:v>
                </c:pt>
                <c:pt idx="40">
                  <c:v>0.0031903580290677065</c:v>
                </c:pt>
                <c:pt idx="41">
                  <c:v>0.0033377837116154874</c:v>
                </c:pt>
                <c:pt idx="42">
                  <c:v>0.003201280512204882</c:v>
                </c:pt>
                <c:pt idx="43">
                  <c:v>0.0026845637583892616</c:v>
                </c:pt>
                <c:pt idx="44">
                  <c:v>0.0024294524387964865</c:v>
                </c:pt>
                <c:pt idx="45">
                  <c:v>0.002155462750909336</c:v>
                </c:pt>
                <c:pt idx="46">
                  <c:v>0.00202122283981809</c:v>
                </c:pt>
                <c:pt idx="47">
                  <c:v>0.002155529762891726</c:v>
                </c:pt>
                <c:pt idx="48">
                  <c:v>0.002396871451999495</c:v>
                </c:pt>
                <c:pt idx="49">
                  <c:v>0.001912960306073649</c:v>
                </c:pt>
                <c:pt idx="50">
                  <c:v>0.001781296387926769</c:v>
                </c:pt>
                <c:pt idx="51">
                  <c:v>0.0024096385542168677</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44.741255191956</c:v>
                </c:pt>
              </c:numCache>
            </c:numRef>
          </c:xVal>
          <c:yVal>
            <c:numRef>
              <c:f>Sheet1!$B$111:$B$112</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44.741255191956</c:v>
                </c:pt>
                <c:pt idx="1">
                  <c:v>3644.741255191956</c:v>
                </c:pt>
              </c:numCache>
            </c:numRef>
          </c:xVal>
          <c:yVal>
            <c:numRef>
              <c:f>Sheet1!$B$115:$B$116</c:f>
              <c:numCache>
                <c:formatCode>General</c:formatCode>
                <c:ptCount val="2"/>
                <c:pt idx="0">
                  <c:v>0.00490333164236897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44.741255191956</c:v>
                </c:pt>
              </c:numCache>
            </c:numRef>
          </c:xVal>
          <c:yVal>
            <c:numRef>
              <c:f>Sheet1!$B$119:$B$120</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44.741255191956</c:v>
                </c:pt>
                <c:pt idx="1">
                  <c:v>3644.741255191956</c:v>
                </c:pt>
              </c:numCache>
            </c:numRef>
          </c:xVal>
          <c:yVal>
            <c:numRef>
              <c:f>Sheet1!$B$123:$B$124</c:f>
              <c:numCache>
                <c:formatCode>General</c:formatCode>
                <c:ptCount val="2"/>
                <c:pt idx="0">
                  <c:v>0.00490333164236897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58.303349922694</c:v>
                </c:pt>
              </c:numCache>
            </c:numRef>
          </c:xVal>
          <c:yVal>
            <c:numRef>
              <c:f>Sheet1!$B$127:$B$128</c:f>
              <c:numCache>
                <c:formatCode>General</c:formatCode>
                <c:ptCount val="2"/>
                <c:pt idx="0">
                  <c:v>0.002623982061700115</c:v>
                </c:pt>
                <c:pt idx="1">
                  <c:v>0.00262398206170011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58.303349922694</c:v>
                </c:pt>
                <c:pt idx="1">
                  <c:v>5058.303349922694</c:v>
                </c:pt>
              </c:numCache>
            </c:numRef>
          </c:xVal>
          <c:yVal>
            <c:numRef>
              <c:f>Sheet1!$B$131:$B$132</c:f>
              <c:numCache>
                <c:formatCode>General</c:formatCode>
                <c:ptCount val="2"/>
                <c:pt idx="0">
                  <c:v>0.0026239820617001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44.741255191956</c:v>
                </c:pt>
                <c:pt idx="53">
                  <c:v>3644.741255191956</c:v>
                </c:pt>
                <c:pt idx="54">
                  <c:v>5058.303349922694</c:v>
                </c:pt>
              </c:numCache>
            </c:numRef>
          </c:xVal>
          <c:yVal>
            <c:numRef>
              <c:f>Sheet1!$B$135:$B$189</c:f>
              <c:numCache>
                <c:formatCode>General</c:formatCode>
                <c:ptCount val="55"/>
                <c:pt idx="0">
                  <c:v>0.0018160292486182842</c:v>
                </c:pt>
                <c:pt idx="1">
                  <c:v>0.004371499387633753</c:v>
                </c:pt>
                <c:pt idx="2">
                  <c:v>0.0033989685586270687</c:v>
                </c:pt>
                <c:pt idx="3">
                  <c:v>0.004122269466376393</c:v>
                </c:pt>
                <c:pt idx="4">
                  <c:v>0.0029892156213653714</c:v>
                </c:pt>
                <c:pt idx="5">
                  <c:v>0.0031543745356219684</c:v>
                </c:pt>
                <c:pt idx="6">
                  <c:v>0.00385533573500035</c:v>
                </c:pt>
                <c:pt idx="7">
                  <c:v>0.003788686353007261</c:v>
                </c:pt>
                <c:pt idx="8">
                  <c:v>0.004128417070580476</c:v>
                </c:pt>
                <c:pt idx="9">
                  <c:v>0.004415137299443069</c:v>
                </c:pt>
                <c:pt idx="10">
                  <c:v>0.004084719819273532</c:v>
                </c:pt>
                <c:pt idx="11">
                  <c:v>0.00448655931853078</c:v>
                </c:pt>
                <c:pt idx="12">
                  <c:v>0.004779156092642255</c:v>
                </c:pt>
                <c:pt idx="13">
                  <c:v>0.005172617757826654</c:v>
                </c:pt>
                <c:pt idx="14">
                  <c:v>0.005034459282483028</c:v>
                </c:pt>
                <c:pt idx="15">
                  <c:v>0.00398480500515721</c:v>
                </c:pt>
                <c:pt idx="16">
                  <c:v>0.0047745201943899945</c:v>
                </c:pt>
                <c:pt idx="17">
                  <c:v>0.004492590339971859</c:v>
                </c:pt>
                <c:pt idx="18">
                  <c:v>0.0028641269928717863</c:v>
                </c:pt>
                <c:pt idx="19">
                  <c:v>0.00457916295829386</c:v>
                </c:pt>
                <c:pt idx="20">
                  <c:v>0.0029281560845483817</c:v>
                </c:pt>
                <c:pt idx="21">
                  <c:v>0.003753032506104463</c:v>
                </c:pt>
                <c:pt idx="22">
                  <c:v>0.004880160463784334</c:v>
                </c:pt>
                <c:pt idx="23">
                  <c:v>0.0046503587455468615</c:v>
                </c:pt>
                <c:pt idx="24">
                  <c:v>0.004058411298252752</c:v>
                </c:pt>
                <c:pt idx="25">
                  <c:v>0.005577874276905245</c:v>
                </c:pt>
                <c:pt idx="26">
                  <c:v>0.00489968944720101</c:v>
                </c:pt>
                <c:pt idx="27">
                  <c:v>0.0038283265886610972</c:v>
                </c:pt>
                <c:pt idx="28">
                  <c:v>0.0038857043353983005</c:v>
                </c:pt>
                <c:pt idx="29">
                  <c:v>0.004846746199171125</c:v>
                </c:pt>
                <c:pt idx="30">
                  <c:v>0.0031182503264512813</c:v>
                </c:pt>
                <c:pt idx="31">
                  <c:v>0.0030478222439488537</c:v>
                </c:pt>
                <c:pt idx="32">
                  <c:v>0.0030855079848995373</c:v>
                </c:pt>
                <c:pt idx="33">
                  <c:v>0.0027013868081381086</c:v>
                </c:pt>
                <c:pt idx="34">
                  <c:v>0.0034284817350170816</c:v>
                </c:pt>
                <c:pt idx="35">
                  <c:v>0.004079181896157858</c:v>
                </c:pt>
                <c:pt idx="36">
                  <c:v>0.003430069389075926</c:v>
                </c:pt>
                <c:pt idx="37">
                  <c:v>0.0031257932150928177</c:v>
                </c:pt>
                <c:pt idx="38">
                  <c:v>0.004425618460709047</c:v>
                </c:pt>
                <c:pt idx="39">
                  <c:v>0.0037813680837140854</c:v>
                </c:pt>
                <c:pt idx="40">
                  <c:v>0.002742182712757996</c:v>
                </c:pt>
                <c:pt idx="41">
                  <c:v>0.0030743549005720922</c:v>
                </c:pt>
                <c:pt idx="42">
                  <c:v>0.0031910586000528937</c:v>
                </c:pt>
                <c:pt idx="43">
                  <c:v>0.00332300029552808</c:v>
                </c:pt>
                <c:pt idx="44">
                  <c:v>0.00384785218585644</c:v>
                </c:pt>
                <c:pt idx="45">
                  <c:v>0.0035774506413390732</c:v>
                </c:pt>
                <c:pt idx="46">
                  <c:v>0.00381139548200067</c:v>
                </c:pt>
                <c:pt idx="47">
                  <c:v>0.004265362149946772</c:v>
                </c:pt>
                <c:pt idx="48">
                  <c:v>0.004580501966957748</c:v>
                </c:pt>
                <c:pt idx="49">
                  <c:v>0.004165302695804979</c:v>
                </c:pt>
                <c:pt idx="50">
                  <c:v>0.003366842025611861</c:v>
                </c:pt>
                <c:pt idx="51">
                  <c:v>0.003307917420720432</c:v>
                </c:pt>
                <c:pt idx="52">
                  <c:v>0.0049033316423689795</c:v>
                </c:pt>
                <c:pt idx="53">
                  <c:v>0.0049033316423689795</c:v>
                </c:pt>
                <c:pt idx="54">
                  <c:v>0.0026239820617001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670056194808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6303956728810179</c:v>
                </c:pt>
                <c:pt idx="8">
                  <c:v>0.48421878235998694</c:v>
                </c:pt>
                <c:pt idx="9">
                  <c:v>0.5407201509118889</c:v>
                </c:pt>
                <c:pt idx="10">
                  <c:v>0.6473388843356714</c:v>
                </c:pt>
                <c:pt idx="11">
                  <c:v>0.499095338780014</c:v>
                </c:pt>
                <c:pt idx="12">
                  <c:v>0.6219226091661407</c:v>
                </c:pt>
                <c:pt idx="13">
                  <c:v>0.4079686385813109</c:v>
                </c:pt>
                <c:pt idx="14">
                  <c:v>0.33439675589302825</c:v>
                </c:pt>
                <c:pt idx="15">
                  <c:v>0.3323694307756866</c:v>
                </c:pt>
                <c:pt idx="16">
                  <c:v>0.32011203632958707</c:v>
                </c:pt>
                <c:pt idx="17">
                  <c:v>0.34914171937228566</c:v>
                </c:pt>
                <c:pt idx="18">
                  <c:v>0.39835602610927373</c:v>
                </c:pt>
                <c:pt idx="19">
                  <c:v>0.2501952149369725</c:v>
                </c:pt>
                <c:pt idx="20">
                  <c:v>0.38846509732610224</c:v>
                </c:pt>
                <c:pt idx="21">
                  <c:v>0.10086845447693571</c:v>
                </c:pt>
                <c:pt idx="22">
                  <c:v>0.3626481015047659</c:v>
                </c:pt>
                <c:pt idx="23">
                  <c:v>0.48823058497385463</c:v>
                </c:pt>
                <c:pt idx="24">
                  <c:v>0.6098709938535197</c:v>
                </c:pt>
                <c:pt idx="25">
                  <c:v>0.6449738901729667</c:v>
                </c:pt>
                <c:pt idx="26">
                  <c:v>0.6388905742672206</c:v>
                </c:pt>
                <c:pt idx="27">
                  <c:v>0.6633865222908671</c:v>
                </c:pt>
                <c:pt idx="28">
                  <c:v>0.6658398723019564</c:v>
                </c:pt>
                <c:pt idx="29">
                  <c:v>0.562087810013314</c:v>
                </c:pt>
                <c:pt idx="30">
                  <c:v>0.6843699416863898</c:v>
                </c:pt>
                <c:pt idx="31">
                  <c:v>0.5568781359559153</c:v>
                </c:pt>
                <c:pt idx="32">
                  <c:v>0.7252090538263978</c:v>
                </c:pt>
                <c:pt idx="33">
                  <c:v>0.6162021881339097</c:v>
                </c:pt>
                <c:pt idx="34">
                  <c:v>0.8083762896167012</c:v>
                </c:pt>
                <c:pt idx="35">
                  <c:v>0.9356953287117762</c:v>
                </c:pt>
                <c:pt idx="36">
                  <c:v>0.6546806993191944</c:v>
                </c:pt>
                <c:pt idx="37">
                  <c:v>0.6939960469729268</c:v>
                </c:pt>
                <c:pt idx="38">
                  <c:v>0.6317678701686392</c:v>
                </c:pt>
                <c:pt idx="39">
                  <c:v>0.7713679598027267</c:v>
                </c:pt>
                <c:pt idx="40">
                  <c:v>0.858936003591614</c:v>
                </c:pt>
                <c:pt idx="41">
                  <c:v>0.7076301957196128</c:v>
                </c:pt>
                <c:pt idx="42">
                  <c:v>1.0566946280421414</c:v>
                </c:pt>
                <c:pt idx="43">
                  <c:v>0.7305839706452103</c:v>
                </c:pt>
                <c:pt idx="44">
                  <c:v>0.670795951185706</c:v>
                </c:pt>
                <c:pt idx="45">
                  <c:v>0.7524561843962232</c:v>
                </c:pt>
                <c:pt idx="46">
                  <c:v>0.6751910131238572</c:v>
                </c:pt>
                <c:pt idx="47">
                  <c:v>0.773251774178264</c:v>
                </c:pt>
                <c:pt idx="48">
                  <c:v>0.7830954298116188</c:v>
                </c:pt>
                <c:pt idx="49">
                  <c:v>0.8000096118263533</c:v>
                </c:pt>
                <c:pt idx="50">
                  <c:v>0.6915732215111093</c:v>
                </c:pt>
                <c:pt idx="51">
                  <c:v>0.7675781446919724</c:v>
                </c:pt>
                <c:pt idx="52">
                  <c:v>0.6737455340845674</c:v>
                </c:pt>
              </c:numCache>
            </c:numRef>
          </c:xVal>
          <c:yVal>
            <c:numRef>
              <c:f>Sheet1!$B$2:$B$54</c:f>
              <c:numCache>
                <c:formatCode>General</c:formatCode>
                <c:ptCount val="53"/>
                <c:pt idx="0">
                  <c:v>0.0</c:v>
                </c:pt>
                <c:pt idx="1">
                  <c:v>0.0</c:v>
                </c:pt>
                <c:pt idx="2">
                  <c:v>0.0</c:v>
                </c:pt>
                <c:pt idx="3">
                  <c:v>0.0</c:v>
                </c:pt>
                <c:pt idx="4">
                  <c:v>0.0</c:v>
                </c:pt>
                <c:pt idx="5">
                  <c:v>0.0</c:v>
                </c:pt>
                <c:pt idx="6">
                  <c:v>0.0</c:v>
                </c:pt>
                <c:pt idx="7">
                  <c:v>9.82994200334218e-05</c:v>
                </c:pt>
                <c:pt idx="8">
                  <c:v>0.00044508734839212194</c:v>
                </c:pt>
                <c:pt idx="9">
                  <c:v>0.00040716612377850165</c:v>
                </c:pt>
                <c:pt idx="10">
                  <c:v>0.00033955857385398983</c:v>
                </c:pt>
                <c:pt idx="11">
                  <c:v>0.0005206525511975009</c:v>
                </c:pt>
                <c:pt idx="12">
                  <c:v>0.0003683919690550746</c:v>
                </c:pt>
                <c:pt idx="13">
                  <c:v>0.00041211621677313</c:v>
                </c:pt>
                <c:pt idx="14">
                  <c:v>0.00041841004184100416</c:v>
                </c:pt>
                <c:pt idx="15">
                  <c:v>0.0004174493842621582</c:v>
                </c:pt>
                <c:pt idx="16">
                  <c:v>0.0005514199062586159</c:v>
                </c:pt>
                <c:pt idx="17">
                  <c:v>0.0003570153516601214</c:v>
                </c:pt>
                <c:pt idx="18">
                  <c:v>0.00030759766225776686</c:v>
                </c:pt>
                <c:pt idx="19">
                  <c:v>0.0006784260515603799</c:v>
                </c:pt>
                <c:pt idx="20">
                  <c:v>0.0006422607578676942</c:v>
                </c:pt>
                <c:pt idx="21">
                  <c:v>0.001303780964797914</c:v>
                </c:pt>
                <c:pt idx="22">
                  <c:v>0.0005600672080649678</c:v>
                </c:pt>
                <c:pt idx="23">
                  <c:v>0.001288659793814433</c:v>
                </c:pt>
                <c:pt idx="24">
                  <c:v>0.0014603870025556773</c:v>
                </c:pt>
                <c:pt idx="25">
                  <c:v>0.0018982536066818527</c:v>
                </c:pt>
                <c:pt idx="26">
                  <c:v>0.00202757502027575</c:v>
                </c:pt>
                <c:pt idx="27">
                  <c:v>0.0016700066800267202</c:v>
                </c:pt>
                <c:pt idx="28">
                  <c:v>0.0016181229773462784</c:v>
                </c:pt>
                <c:pt idx="29">
                  <c:v>0.002242152466367713</c:v>
                </c:pt>
                <c:pt idx="30">
                  <c:v>0.002355712603062426</c:v>
                </c:pt>
                <c:pt idx="31">
                  <c:v>0.002208480565371025</c:v>
                </c:pt>
                <c:pt idx="32">
                  <c:v>0.00176444640494045</c:v>
                </c:pt>
                <c:pt idx="33">
                  <c:v>0.0018867924528301887</c:v>
                </c:pt>
                <c:pt idx="34">
                  <c:v>0.0020753038837829827</c:v>
                </c:pt>
                <c:pt idx="35">
                  <c:v>0.0018593120545398203</c:v>
                </c:pt>
                <c:pt idx="36">
                  <c:v>0.0029411764705882353</c:v>
                </c:pt>
                <c:pt idx="37">
                  <c:v>0.002913025384935497</c:v>
                </c:pt>
                <c:pt idx="38">
                  <c:v>0.0036159100040176776</c:v>
                </c:pt>
                <c:pt idx="39">
                  <c:v>0.002807862013638187</c:v>
                </c:pt>
                <c:pt idx="40">
                  <c:v>0.002237851662404092</c:v>
                </c:pt>
                <c:pt idx="41">
                  <c:v>0.002555366269165247</c:v>
                </c:pt>
                <c:pt idx="42">
                  <c:v>0.0015938795027095952</c:v>
                </c:pt>
                <c:pt idx="43">
                  <c:v>0.0025943396226415093</c:v>
                </c:pt>
                <c:pt idx="44">
                  <c:v>0.0025213615352290236</c:v>
                </c:pt>
                <c:pt idx="45">
                  <c:v>0.0029427792915531336</c:v>
                </c:pt>
                <c:pt idx="46">
                  <c:v>0.0028872958980485862</c:v>
                </c:pt>
                <c:pt idx="47">
                  <c:v>0.0030349013657056147</c:v>
                </c:pt>
                <c:pt idx="48">
                  <c:v>0.0029622315477659837</c:v>
                </c:pt>
                <c:pt idx="49">
                  <c:v>0.0038865697423348207</c:v>
                </c:pt>
                <c:pt idx="50">
                  <c:v>0.004061895551257254</c:v>
                </c:pt>
                <c:pt idx="51">
                  <c:v>0.003156787092248334</c:v>
                </c:pt>
                <c:pt idx="52">
                  <c:v>0.0022466300549176237</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9140573316348773</c:v>
                </c:pt>
                <c:pt idx="1">
                  <c:v>0.6977724931225415</c:v>
                </c:pt>
                <c:pt idx="2">
                  <c:v>0.9054723777061043</c:v>
                </c:pt>
                <c:pt idx="3">
                  <c:v>0.7585416850218767</c:v>
                </c:pt>
                <c:pt idx="4">
                  <c:v>0.7891186357507718</c:v>
                </c:pt>
                <c:pt idx="5">
                  <c:v>0.8306627859576674</c:v>
                </c:pt>
                <c:pt idx="6">
                  <c:v>0.7774049826059559</c:v>
                </c:pt>
                <c:pt idx="7">
                  <c:v>0.6985054448225563</c:v>
                </c:pt>
                <c:pt idx="8">
                  <c:v>0.7803653278301914</c:v>
                </c:pt>
                <c:pt idx="9">
                  <c:v>0.704323409180088</c:v>
                </c:pt>
                <c:pt idx="10">
                  <c:v>0.7101634926002641</c:v>
                </c:pt>
                <c:pt idx="11">
                  <c:v>0.6283074982198898</c:v>
                </c:pt>
                <c:pt idx="12">
                  <c:v>0.6592600794697351</c:v>
                </c:pt>
                <c:pt idx="13">
                  <c:v>0.5992224070201709</c:v>
                </c:pt>
                <c:pt idx="14">
                  <c:v>0.5221674630696632</c:v>
                </c:pt>
                <c:pt idx="15">
                  <c:v>0.6148138842849625</c:v>
                </c:pt>
                <c:pt idx="16">
                  <c:v>0.5316140151902198</c:v>
                </c:pt>
                <c:pt idx="17">
                  <c:v>0.5329534295316452</c:v>
                </c:pt>
                <c:pt idx="18">
                  <c:v>0.684536114616029</c:v>
                </c:pt>
                <c:pt idx="19">
                  <c:v>0.5100073101292946</c:v>
                </c:pt>
                <c:pt idx="20">
                  <c:v>0.6536888380387675</c:v>
                </c:pt>
                <c:pt idx="21">
                  <c:v>0.5413185034889932</c:v>
                </c:pt>
                <c:pt idx="22">
                  <c:v>0.4512781915588529</c:v>
                </c:pt>
                <c:pt idx="23">
                  <c:v>0.5300978298481935</c:v>
                </c:pt>
                <c:pt idx="24">
                  <c:v>0.552027448457173</c:v>
                </c:pt>
                <c:pt idx="25">
                  <c:v>0.46323837584446637</c:v>
                </c:pt>
                <c:pt idx="26">
                  <c:v>0.4502503154715194</c:v>
                </c:pt>
                <c:pt idx="27">
                  <c:v>0.5238035689553371</c:v>
                </c:pt>
                <c:pt idx="28">
                  <c:v>0.6129650195064801</c:v>
                </c:pt>
                <c:pt idx="29">
                  <c:v>0.43554244907926</c:v>
                </c:pt>
                <c:pt idx="30">
                  <c:v>0.6331162179663121</c:v>
                </c:pt>
                <c:pt idx="31">
                  <c:v>0.6639262104120982</c:v>
                </c:pt>
                <c:pt idx="32">
                  <c:v>0.7333954003694207</c:v>
                </c:pt>
                <c:pt idx="33">
                  <c:v>0.7305867492476755</c:v>
                </c:pt>
                <c:pt idx="34">
                  <c:v>0.7841482774124892</c:v>
                </c:pt>
                <c:pt idx="35">
                  <c:v>0.5086836902568156</c:v>
                </c:pt>
                <c:pt idx="36">
                  <c:v>0.496068690452223</c:v>
                </c:pt>
                <c:pt idx="37">
                  <c:v>0.5459155880480102</c:v>
                </c:pt>
                <c:pt idx="38">
                  <c:v>0.4882285507235891</c:v>
                </c:pt>
                <c:pt idx="39">
                  <c:v>0.5536867261784792</c:v>
                </c:pt>
                <c:pt idx="40">
                  <c:v>0.6939347623925611</c:v>
                </c:pt>
                <c:pt idx="41">
                  <c:v>0.5967506198264756</c:v>
                </c:pt>
                <c:pt idx="42">
                  <c:v>0.5900485960720343</c:v>
                </c:pt>
                <c:pt idx="43">
                  <c:v>0.6197340760851417</c:v>
                </c:pt>
                <c:pt idx="44">
                  <c:v>0.6221048402717249</c:v>
                </c:pt>
                <c:pt idx="45">
                  <c:v>0.7246234577824511</c:v>
                </c:pt>
                <c:pt idx="46">
                  <c:v>0.684872634053804</c:v>
                </c:pt>
                <c:pt idx="47">
                  <c:v>0.5661526947269886</c:v>
                </c:pt>
                <c:pt idx="48">
                  <c:v>0.557334728278861</c:v>
                </c:pt>
                <c:pt idx="49">
                  <c:v>0.6850326509652954</c:v>
                </c:pt>
                <c:pt idx="50">
                  <c:v>0.8105462681861869</c:v>
                </c:pt>
                <c:pt idx="51">
                  <c:v>0.725761122981121</c:v>
                </c:pt>
              </c:numCache>
            </c:numRef>
          </c:xVal>
          <c:yVal>
            <c:numRef>
              <c:f>Sheet1!$B$57:$B$108</c:f>
              <c:numCache>
                <c:formatCode>General</c:formatCode>
                <c:ptCount val="52"/>
                <c:pt idx="0">
                  <c:v>0.002322144817394976</c:v>
                </c:pt>
                <c:pt idx="1">
                  <c:v>0.003309203722854188</c:v>
                </c:pt>
                <c:pt idx="2">
                  <c:v>0.00283436669619132</c:v>
                </c:pt>
                <c:pt idx="3">
                  <c:v>0.002961865975564606</c:v>
                </c:pt>
                <c:pt idx="4">
                  <c:v>0.002707581227436823</c:v>
                </c:pt>
                <c:pt idx="5">
                  <c:v>0.0028530670470756064</c:v>
                </c:pt>
                <c:pt idx="6">
                  <c:v>0.002913025384935497</c:v>
                </c:pt>
                <c:pt idx="7">
                  <c:v>0.003008084226358338</c:v>
                </c:pt>
                <c:pt idx="8">
                  <c:v>0.004729530002955957</c:v>
                </c:pt>
                <c:pt idx="9">
                  <c:v>0.004841312533620226</c:v>
                </c:pt>
                <c:pt idx="10">
                  <c:v>0.004419027813880946</c:v>
                </c:pt>
                <c:pt idx="11">
                  <c:v>0.005379335930254127</c:v>
                </c:pt>
                <c:pt idx="12">
                  <c:v>0.005067139599695972</c:v>
                </c:pt>
                <c:pt idx="13">
                  <c:v>0.0072250468290072254</c:v>
                </c:pt>
                <c:pt idx="14">
                  <c:v>0.00536117381489842</c:v>
                </c:pt>
                <c:pt idx="15">
                  <c:v>0.004891470498318557</c:v>
                </c:pt>
                <c:pt idx="16">
                  <c:v>0.005687877710629221</c:v>
                </c:pt>
                <c:pt idx="17">
                  <c:v>0.005222841225626741</c:v>
                </c:pt>
                <c:pt idx="18">
                  <c:v>0.002936857562408223</c:v>
                </c:pt>
                <c:pt idx="19">
                  <c:v>0.0036839950880065493</c:v>
                </c:pt>
                <c:pt idx="20">
                  <c:v>0.003896103896103896</c:v>
                </c:pt>
                <c:pt idx="21">
                  <c:v>0.005131128848346636</c:v>
                </c:pt>
                <c:pt idx="22">
                  <c:v>0.005178365937859608</c:v>
                </c:pt>
                <c:pt idx="23">
                  <c:v>0.004571428571428572</c:v>
                </c:pt>
                <c:pt idx="24">
                  <c:v>0.0051401869158878505</c:v>
                </c:pt>
                <c:pt idx="25">
                  <c:v>0.0060790273556231</c:v>
                </c:pt>
                <c:pt idx="26">
                  <c:v>0.005123428039124359</c:v>
                </c:pt>
                <c:pt idx="27">
                  <c:v>0.004313443565780014</c:v>
                </c:pt>
                <c:pt idx="28">
                  <c:v>0.0036809815950920245</c:v>
                </c:pt>
                <c:pt idx="29">
                  <c:v>0.004760015866719556</c:v>
                </c:pt>
                <c:pt idx="30">
                  <c:v>0.0035671819262782403</c:v>
                </c:pt>
                <c:pt idx="31">
                  <c:v>0.00415564790328674</c:v>
                </c:pt>
                <c:pt idx="32">
                  <c:v>0.0037914691943127963</c:v>
                </c:pt>
                <c:pt idx="33">
                  <c:v>0.0026483050847457626</c:v>
                </c:pt>
                <c:pt idx="34">
                  <c:v>0.003258145363408521</c:v>
                </c:pt>
                <c:pt idx="35">
                  <c:v>0.004836309523809524</c:v>
                </c:pt>
                <c:pt idx="36">
                  <c:v>0.004887585532746823</c:v>
                </c:pt>
                <c:pt idx="37">
                  <c:v>0.0043975373790677225</c:v>
                </c:pt>
                <c:pt idx="38">
                  <c:v>0.005194805194805195</c:v>
                </c:pt>
                <c:pt idx="39">
                  <c:v>0.004435346298191744</c:v>
                </c:pt>
                <c:pt idx="40">
                  <c:v>0.0031903580290677065</c:v>
                </c:pt>
                <c:pt idx="41">
                  <c:v>0.0033377837116154874</c:v>
                </c:pt>
                <c:pt idx="42">
                  <c:v>0.003201280512204882</c:v>
                </c:pt>
                <c:pt idx="43">
                  <c:v>0.0026845637583892616</c:v>
                </c:pt>
                <c:pt idx="44">
                  <c:v>0.0024294524387964865</c:v>
                </c:pt>
                <c:pt idx="45">
                  <c:v>0.002155462750909336</c:v>
                </c:pt>
                <c:pt idx="46">
                  <c:v>0.00202122283981809</c:v>
                </c:pt>
                <c:pt idx="47">
                  <c:v>0.002155529762891726</c:v>
                </c:pt>
                <c:pt idx="48">
                  <c:v>0.002396871451999495</c:v>
                </c:pt>
                <c:pt idx="49">
                  <c:v>0.001912960306073649</c:v>
                </c:pt>
                <c:pt idx="50">
                  <c:v>0.001781296387926769</c:v>
                </c:pt>
                <c:pt idx="51">
                  <c:v>0.0024096385542168677</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4751623046148576</c:v>
                </c:pt>
              </c:numCache>
            </c:numRef>
          </c:xVal>
          <c:yVal>
            <c:numRef>
              <c:f>Sheet1!$B$111:$B$112</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4751623046148576</c:v>
                </c:pt>
                <c:pt idx="1">
                  <c:v>0.4751623046148576</c:v>
                </c:pt>
              </c:numCache>
            </c:numRef>
          </c:xVal>
          <c:yVal>
            <c:numRef>
              <c:f>Sheet1!$B$115:$B$116</c:f>
              <c:numCache>
                <c:formatCode>General</c:formatCode>
                <c:ptCount val="2"/>
                <c:pt idx="0">
                  <c:v>0.00490333164236897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4751623046148576</c:v>
                </c:pt>
              </c:numCache>
            </c:numRef>
          </c:xVal>
          <c:yVal>
            <c:numRef>
              <c:f>Sheet1!$B$119:$B$120</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751623046148576</c:v>
                </c:pt>
                <c:pt idx="1">
                  <c:v>0.4751623046148576</c:v>
                </c:pt>
              </c:numCache>
            </c:numRef>
          </c:xVal>
          <c:yVal>
            <c:numRef>
              <c:f>Sheet1!$B$123:$B$124</c:f>
              <c:numCache>
                <c:formatCode>General</c:formatCode>
                <c:ptCount val="2"/>
                <c:pt idx="0">
                  <c:v>0.00490333164236897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8291339874889191</c:v>
                </c:pt>
              </c:numCache>
            </c:numRef>
          </c:xVal>
          <c:yVal>
            <c:numRef>
              <c:f>Sheet1!$B$127:$B$128</c:f>
              <c:numCache>
                <c:formatCode>General</c:formatCode>
                <c:ptCount val="2"/>
                <c:pt idx="0">
                  <c:v>0.002623982061700115</c:v>
                </c:pt>
                <c:pt idx="1">
                  <c:v>0.00262398206170011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8291339874889191</c:v>
                </c:pt>
                <c:pt idx="1">
                  <c:v>0.8291339874889191</c:v>
                </c:pt>
              </c:numCache>
            </c:numRef>
          </c:xVal>
          <c:yVal>
            <c:numRef>
              <c:f>Sheet1!$B$131:$B$132</c:f>
              <c:numCache>
                <c:formatCode>General</c:formatCode>
                <c:ptCount val="2"/>
                <c:pt idx="0">
                  <c:v>0.0026239820617001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9140573316348773</c:v>
                </c:pt>
                <c:pt idx="1">
                  <c:v>0.6977724931225415</c:v>
                </c:pt>
                <c:pt idx="2">
                  <c:v>0.9054723777061043</c:v>
                </c:pt>
                <c:pt idx="3">
                  <c:v>0.7585416850218767</c:v>
                </c:pt>
                <c:pt idx="4">
                  <c:v>0.7891186357507718</c:v>
                </c:pt>
                <c:pt idx="5">
                  <c:v>0.8306627859576674</c:v>
                </c:pt>
                <c:pt idx="6">
                  <c:v>0.7774049826059559</c:v>
                </c:pt>
                <c:pt idx="7">
                  <c:v>0.6985054448225563</c:v>
                </c:pt>
                <c:pt idx="8">
                  <c:v>0.7803653278301914</c:v>
                </c:pt>
                <c:pt idx="9">
                  <c:v>0.704323409180088</c:v>
                </c:pt>
                <c:pt idx="10">
                  <c:v>0.7101634926002641</c:v>
                </c:pt>
                <c:pt idx="11">
                  <c:v>0.6283074982198898</c:v>
                </c:pt>
                <c:pt idx="12">
                  <c:v>0.6592600794697351</c:v>
                </c:pt>
                <c:pt idx="13">
                  <c:v>0.5992224070201709</c:v>
                </c:pt>
                <c:pt idx="14">
                  <c:v>0.5221674630696632</c:v>
                </c:pt>
                <c:pt idx="15">
                  <c:v>0.6148138842849625</c:v>
                </c:pt>
                <c:pt idx="16">
                  <c:v>0.5316140151902198</c:v>
                </c:pt>
                <c:pt idx="17">
                  <c:v>0.5329534295316452</c:v>
                </c:pt>
                <c:pt idx="18">
                  <c:v>0.684536114616029</c:v>
                </c:pt>
                <c:pt idx="19">
                  <c:v>0.5100073101292946</c:v>
                </c:pt>
                <c:pt idx="20">
                  <c:v>0.6536888380387675</c:v>
                </c:pt>
                <c:pt idx="21">
                  <c:v>0.5413185034889932</c:v>
                </c:pt>
                <c:pt idx="22">
                  <c:v>0.4512781915588529</c:v>
                </c:pt>
                <c:pt idx="23">
                  <c:v>0.5300978298481935</c:v>
                </c:pt>
                <c:pt idx="24">
                  <c:v>0.552027448457173</c:v>
                </c:pt>
                <c:pt idx="25">
                  <c:v>0.46323837584446637</c:v>
                </c:pt>
                <c:pt idx="26">
                  <c:v>0.4502503154715194</c:v>
                </c:pt>
                <c:pt idx="27">
                  <c:v>0.5238035689553371</c:v>
                </c:pt>
                <c:pt idx="28">
                  <c:v>0.6129650195064801</c:v>
                </c:pt>
                <c:pt idx="29">
                  <c:v>0.43554244907926</c:v>
                </c:pt>
                <c:pt idx="30">
                  <c:v>0.6331162179663121</c:v>
                </c:pt>
                <c:pt idx="31">
                  <c:v>0.6639262104120982</c:v>
                </c:pt>
                <c:pt idx="32">
                  <c:v>0.7333954003694207</c:v>
                </c:pt>
                <c:pt idx="33">
                  <c:v>0.7305867492476755</c:v>
                </c:pt>
                <c:pt idx="34">
                  <c:v>0.7841482774124892</c:v>
                </c:pt>
                <c:pt idx="35">
                  <c:v>0.5086836902568156</c:v>
                </c:pt>
                <c:pt idx="36">
                  <c:v>0.496068690452223</c:v>
                </c:pt>
                <c:pt idx="37">
                  <c:v>0.5459155880480102</c:v>
                </c:pt>
                <c:pt idx="38">
                  <c:v>0.4882285507235891</c:v>
                </c:pt>
                <c:pt idx="39">
                  <c:v>0.5536867261784792</c:v>
                </c:pt>
                <c:pt idx="40">
                  <c:v>0.6939347623925611</c:v>
                </c:pt>
                <c:pt idx="41">
                  <c:v>0.5967506198264756</c:v>
                </c:pt>
                <c:pt idx="42">
                  <c:v>0.5900485960720343</c:v>
                </c:pt>
                <c:pt idx="43">
                  <c:v>0.6197340760851417</c:v>
                </c:pt>
                <c:pt idx="44">
                  <c:v>0.6221048402717249</c:v>
                </c:pt>
                <c:pt idx="45">
                  <c:v>0.7246234577824511</c:v>
                </c:pt>
                <c:pt idx="46">
                  <c:v>0.684872634053804</c:v>
                </c:pt>
                <c:pt idx="47">
                  <c:v>0.5661526947269886</c:v>
                </c:pt>
                <c:pt idx="48">
                  <c:v>0.557334728278861</c:v>
                </c:pt>
                <c:pt idx="49">
                  <c:v>0.6850326509652954</c:v>
                </c:pt>
                <c:pt idx="50">
                  <c:v>0.8105462681861869</c:v>
                </c:pt>
                <c:pt idx="51">
                  <c:v>0.725761122981121</c:v>
                </c:pt>
                <c:pt idx="52">
                  <c:v>0.4751623046148576</c:v>
                </c:pt>
                <c:pt idx="53">
                  <c:v>0.4751623046148576</c:v>
                </c:pt>
                <c:pt idx="54">
                  <c:v>0.8291339874889191</c:v>
                </c:pt>
              </c:numCache>
            </c:numRef>
          </c:xVal>
          <c:yVal>
            <c:numRef>
              <c:f>Sheet1!$B$135:$B$189</c:f>
              <c:numCache>
                <c:formatCode>General</c:formatCode>
                <c:ptCount val="55"/>
                <c:pt idx="0">
                  <c:v>0.0020771304398517166</c:v>
                </c:pt>
                <c:pt idx="1">
                  <c:v>0.003469865451775042</c:v>
                </c:pt>
                <c:pt idx="2">
                  <c:v>0.002132412012034914</c:v>
                </c:pt>
                <c:pt idx="3">
                  <c:v>0.0030785510083464786</c:v>
                </c:pt>
                <c:pt idx="4">
                  <c:v>0.002881655145784398</c:v>
                </c:pt>
                <c:pt idx="5">
                  <c:v>0.0026141375845363628</c:v>
                </c:pt>
                <c:pt idx="6">
                  <c:v>0.002957083525159129</c:v>
                </c:pt>
                <c:pt idx="7">
                  <c:v>0.003465145715053408</c:v>
                </c:pt>
                <c:pt idx="8">
                  <c:v>0.0029380208092076475</c:v>
                </c:pt>
                <c:pt idx="9">
                  <c:v>0.0034276817729916803</c:v>
                </c:pt>
                <c:pt idx="10">
                  <c:v>0.0033900753984174017</c:v>
                </c:pt>
                <c:pt idx="11">
                  <c:v>0.00391717526400897</c:v>
                </c:pt>
                <c:pt idx="12">
                  <c:v>0.0037178605829033765</c:v>
                </c:pt>
                <c:pt idx="13">
                  <c:v>0.004104464512379106</c:v>
                </c:pt>
                <c:pt idx="14">
                  <c:v>0.004600648706425332</c:v>
                </c:pt>
                <c:pt idx="15">
                  <c:v>0.004004065444078055</c:v>
                </c:pt>
                <c:pt idx="16">
                  <c:v>0.004539818996997931</c:v>
                </c:pt>
                <c:pt idx="17">
                  <c:v>0.004531194031597645</c:v>
                </c:pt>
                <c:pt idx="18">
                  <c:v>0.003555099201416896</c:v>
                </c:pt>
                <c:pt idx="19">
                  <c:v>0.004678952256812327</c:v>
                </c:pt>
                <c:pt idx="20">
                  <c:v>0.003753735788276794</c:v>
                </c:pt>
                <c:pt idx="21">
                  <c:v>0.004477328344766054</c:v>
                </c:pt>
                <c:pt idx="22">
                  <c:v>0.0050571299423822075</c:v>
                </c:pt>
                <c:pt idx="23">
                  <c:v>0.004549582253751985</c:v>
                </c:pt>
                <c:pt idx="24">
                  <c:v>0.00440836963873501</c:v>
                </c:pt>
                <c:pt idx="25">
                  <c:v>0.004980114061295938</c:v>
                </c:pt>
                <c:pt idx="26">
                  <c:v>0.005063748802144153</c:v>
                </c:pt>
                <c:pt idx="27">
                  <c:v>0.004590113238632652</c:v>
                </c:pt>
                <c:pt idx="28">
                  <c:v>0.004015970942064024</c:v>
                </c:pt>
                <c:pt idx="29">
                  <c:v>0.005158457985719319</c:v>
                </c:pt>
                <c:pt idx="30">
                  <c:v>0.0038862102070061997</c:v>
                </c:pt>
                <c:pt idx="31">
                  <c:v>0.0036878137059315674</c:v>
                </c:pt>
                <c:pt idx="32">
                  <c:v>0.0032404768802483507</c:v>
                </c:pt>
                <c:pt idx="33">
                  <c:v>0.003258562783913342</c:v>
                </c:pt>
                <c:pt idx="34">
                  <c:v>0.002913661051178162</c:v>
                </c:pt>
                <c:pt idx="35">
                  <c:v>0.004687475516008666</c:v>
                </c:pt>
                <c:pt idx="36">
                  <c:v>0.004768707987152314</c:v>
                </c:pt>
                <c:pt idx="37">
                  <c:v>0.004447726082017758</c:v>
                </c:pt>
                <c:pt idx="38">
                  <c:v>0.004819193435755854</c:v>
                </c:pt>
                <c:pt idx="39">
                  <c:v>0.004397684959250018</c:v>
                </c:pt>
                <c:pt idx="40">
                  <c:v>0.00349457796510118</c:v>
                </c:pt>
                <c:pt idx="41">
                  <c:v>0.004120381229382303</c:v>
                </c:pt>
                <c:pt idx="42">
                  <c:v>0.004163537944377931</c:v>
                </c:pt>
                <c:pt idx="43">
                  <c:v>0.003972382578868357</c:v>
                </c:pt>
                <c:pt idx="44">
                  <c:v>0.003957116384943811</c:v>
                </c:pt>
                <c:pt idx="45">
                  <c:v>0.0032969625389171952</c:v>
                </c:pt>
                <c:pt idx="46">
                  <c:v>0.003552932233050525</c:v>
                </c:pt>
                <c:pt idx="47">
                  <c:v>0.004317412153377618</c:v>
                </c:pt>
                <c:pt idx="48">
                  <c:v>0.0043741941760600455</c:v>
                </c:pt>
                <c:pt idx="49">
                  <c:v>0.0035519018272362904</c:v>
                </c:pt>
                <c:pt idx="50">
                  <c:v>0.0027436749983052932</c:v>
                </c:pt>
                <c:pt idx="51">
                  <c:v>0.003289636708013222</c:v>
                </c:pt>
                <c:pt idx="52">
                  <c:v>0.0049033316423689795</c:v>
                </c:pt>
                <c:pt idx="53">
                  <c:v>0.0049033316423689795</c:v>
                </c:pt>
                <c:pt idx="54">
                  <c:v>0.0026239820617001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670056194808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9.82994200334218e-05</c:v>
                </c:pt>
                <c:pt idx="8">
                  <c:v>0.00044508734839212194</c:v>
                </c:pt>
                <c:pt idx="9">
                  <c:v>0.00040716612377850165</c:v>
                </c:pt>
                <c:pt idx="10">
                  <c:v>0.00033955857385398983</c:v>
                </c:pt>
                <c:pt idx="11">
                  <c:v>0.0005206525511975009</c:v>
                </c:pt>
                <c:pt idx="12">
                  <c:v>0.0003683919690550746</c:v>
                </c:pt>
                <c:pt idx="13">
                  <c:v>0.00041211621677313</c:v>
                </c:pt>
                <c:pt idx="14">
                  <c:v>0.00041841004184100416</c:v>
                </c:pt>
                <c:pt idx="15">
                  <c:v>0.0004174493842621582</c:v>
                </c:pt>
                <c:pt idx="16">
                  <c:v>0.0005514199062586159</c:v>
                </c:pt>
                <c:pt idx="17">
                  <c:v>0.0003570153516601214</c:v>
                </c:pt>
                <c:pt idx="18">
                  <c:v>0.00030759766225776686</c:v>
                </c:pt>
                <c:pt idx="19">
                  <c:v>0.0006784260515603799</c:v>
                </c:pt>
                <c:pt idx="20">
                  <c:v>0.0006422607578676942</c:v>
                </c:pt>
                <c:pt idx="21">
                  <c:v>0.001303780964797914</c:v>
                </c:pt>
                <c:pt idx="22">
                  <c:v>0.0005600672080649678</c:v>
                </c:pt>
                <c:pt idx="23">
                  <c:v>0.001288659793814433</c:v>
                </c:pt>
                <c:pt idx="24">
                  <c:v>0.0014603870025556773</c:v>
                </c:pt>
                <c:pt idx="25">
                  <c:v>0.0018982536066818527</c:v>
                </c:pt>
                <c:pt idx="26">
                  <c:v>0.00202757502027575</c:v>
                </c:pt>
                <c:pt idx="27">
                  <c:v>0.0016700066800267202</c:v>
                </c:pt>
                <c:pt idx="28">
                  <c:v>0.0016181229773462784</c:v>
                </c:pt>
                <c:pt idx="29">
                  <c:v>0.002242152466367713</c:v>
                </c:pt>
                <c:pt idx="30">
                  <c:v>0.002355712603062426</c:v>
                </c:pt>
                <c:pt idx="31">
                  <c:v>0.002208480565371025</c:v>
                </c:pt>
                <c:pt idx="32">
                  <c:v>0.00176444640494045</c:v>
                </c:pt>
                <c:pt idx="33">
                  <c:v>0.0018867924528301887</c:v>
                </c:pt>
                <c:pt idx="34">
                  <c:v>0.0020753038837829827</c:v>
                </c:pt>
                <c:pt idx="35">
                  <c:v>0.0018593120545398203</c:v>
                </c:pt>
                <c:pt idx="36">
                  <c:v>0.0029411764705882353</c:v>
                </c:pt>
                <c:pt idx="37">
                  <c:v>0.002913025384935497</c:v>
                </c:pt>
                <c:pt idx="38">
                  <c:v>0.0036159100040176776</c:v>
                </c:pt>
                <c:pt idx="39">
                  <c:v>0.002807862013638187</c:v>
                </c:pt>
                <c:pt idx="40">
                  <c:v>0.002237851662404092</c:v>
                </c:pt>
                <c:pt idx="41">
                  <c:v>0.002555366269165247</c:v>
                </c:pt>
                <c:pt idx="42">
                  <c:v>0.0015938795027095952</c:v>
                </c:pt>
                <c:pt idx="43">
                  <c:v>0.0025943396226415093</c:v>
                </c:pt>
                <c:pt idx="44">
                  <c:v>0.0025213615352290236</c:v>
                </c:pt>
                <c:pt idx="45">
                  <c:v>0.0029427792915531336</c:v>
                </c:pt>
                <c:pt idx="46">
                  <c:v>0.0028872958980485862</c:v>
                </c:pt>
                <c:pt idx="47">
                  <c:v>0.0030349013657056147</c:v>
                </c:pt>
                <c:pt idx="48">
                  <c:v>0.0029622315477659837</c:v>
                </c:pt>
                <c:pt idx="49">
                  <c:v>0.0038865697423348207</c:v>
                </c:pt>
                <c:pt idx="50">
                  <c:v>0.004061895551257254</c:v>
                </c:pt>
                <c:pt idx="51">
                  <c:v>0.003156787092248334</c:v>
                </c:pt>
                <c:pt idx="52">
                  <c:v>0.0022466300549176237</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322144817394976</c:v>
                </c:pt>
                <c:pt idx="1">
                  <c:v>0.003309203722854188</c:v>
                </c:pt>
                <c:pt idx="2">
                  <c:v>0.00283436669619132</c:v>
                </c:pt>
                <c:pt idx="3">
                  <c:v>0.002961865975564606</c:v>
                </c:pt>
                <c:pt idx="4">
                  <c:v>0.002707581227436823</c:v>
                </c:pt>
                <c:pt idx="5">
                  <c:v>0.0028530670470756064</c:v>
                </c:pt>
                <c:pt idx="6">
                  <c:v>0.002913025384935497</c:v>
                </c:pt>
                <c:pt idx="7">
                  <c:v>0.003008084226358338</c:v>
                </c:pt>
                <c:pt idx="8">
                  <c:v>0.004729530002955957</c:v>
                </c:pt>
                <c:pt idx="9">
                  <c:v>0.004841312533620226</c:v>
                </c:pt>
                <c:pt idx="10">
                  <c:v>0.004419027813880946</c:v>
                </c:pt>
                <c:pt idx="11">
                  <c:v>0.005379335930254127</c:v>
                </c:pt>
                <c:pt idx="12">
                  <c:v>0.005067139599695972</c:v>
                </c:pt>
                <c:pt idx="13">
                  <c:v>0.0072250468290072254</c:v>
                </c:pt>
                <c:pt idx="14">
                  <c:v>0.00536117381489842</c:v>
                </c:pt>
                <c:pt idx="15">
                  <c:v>0.004891470498318557</c:v>
                </c:pt>
                <c:pt idx="16">
                  <c:v>0.005687877710629221</c:v>
                </c:pt>
                <c:pt idx="17">
                  <c:v>0.005222841225626741</c:v>
                </c:pt>
                <c:pt idx="18">
                  <c:v>0.002936857562408223</c:v>
                </c:pt>
                <c:pt idx="19">
                  <c:v>0.0036839950880065493</c:v>
                </c:pt>
                <c:pt idx="20">
                  <c:v>0.003896103896103896</c:v>
                </c:pt>
                <c:pt idx="21">
                  <c:v>0.005131128848346636</c:v>
                </c:pt>
                <c:pt idx="22">
                  <c:v>0.005178365937859608</c:v>
                </c:pt>
                <c:pt idx="23">
                  <c:v>0.004571428571428572</c:v>
                </c:pt>
                <c:pt idx="24">
                  <c:v>0.0051401869158878505</c:v>
                </c:pt>
                <c:pt idx="25">
                  <c:v>0.0060790273556231</c:v>
                </c:pt>
                <c:pt idx="26">
                  <c:v>0.005123428039124359</c:v>
                </c:pt>
                <c:pt idx="27">
                  <c:v>0.004313443565780014</c:v>
                </c:pt>
                <c:pt idx="28">
                  <c:v>0.0036809815950920245</c:v>
                </c:pt>
                <c:pt idx="29">
                  <c:v>0.004760015866719556</c:v>
                </c:pt>
                <c:pt idx="30">
                  <c:v>0.0035671819262782403</c:v>
                </c:pt>
                <c:pt idx="31">
                  <c:v>0.00415564790328674</c:v>
                </c:pt>
                <c:pt idx="32">
                  <c:v>0.0037914691943127963</c:v>
                </c:pt>
                <c:pt idx="33">
                  <c:v>0.0026483050847457626</c:v>
                </c:pt>
                <c:pt idx="34">
                  <c:v>0.003258145363408521</c:v>
                </c:pt>
                <c:pt idx="35">
                  <c:v>0.004836309523809524</c:v>
                </c:pt>
                <c:pt idx="36">
                  <c:v>0.004887585532746823</c:v>
                </c:pt>
                <c:pt idx="37">
                  <c:v>0.0043975373790677225</c:v>
                </c:pt>
                <c:pt idx="38">
                  <c:v>0.005194805194805195</c:v>
                </c:pt>
                <c:pt idx="39">
                  <c:v>0.004435346298191744</c:v>
                </c:pt>
                <c:pt idx="40">
                  <c:v>0.0031903580290677065</c:v>
                </c:pt>
                <c:pt idx="41">
                  <c:v>0.0033377837116154874</c:v>
                </c:pt>
                <c:pt idx="42">
                  <c:v>0.003201280512204882</c:v>
                </c:pt>
                <c:pt idx="43">
                  <c:v>0.0026845637583892616</c:v>
                </c:pt>
                <c:pt idx="44">
                  <c:v>0.0024294524387964865</c:v>
                </c:pt>
                <c:pt idx="45">
                  <c:v>0.002155462750909336</c:v>
                </c:pt>
                <c:pt idx="46">
                  <c:v>0.00202122283981809</c:v>
                </c:pt>
                <c:pt idx="47">
                  <c:v>0.002155529762891726</c:v>
                </c:pt>
                <c:pt idx="48">
                  <c:v>0.002396871451999495</c:v>
                </c:pt>
                <c:pt idx="49">
                  <c:v>0.001912960306073649</c:v>
                </c:pt>
                <c:pt idx="50">
                  <c:v>0.001781296387926769</c:v>
                </c:pt>
                <c:pt idx="51">
                  <c:v>0.0024096385542168677</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44.741255191956</c:v>
                </c:pt>
              </c:numCache>
            </c:numRef>
          </c:xVal>
          <c:yVal>
            <c:numRef>
              <c:f>Sheet1!$B$111:$B$112</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44.741255191956</c:v>
                </c:pt>
                <c:pt idx="1">
                  <c:v>3644.741255191956</c:v>
                </c:pt>
              </c:numCache>
            </c:numRef>
          </c:xVal>
          <c:yVal>
            <c:numRef>
              <c:f>Sheet1!$B$115:$B$116</c:f>
              <c:numCache>
                <c:formatCode>General</c:formatCode>
                <c:ptCount val="2"/>
                <c:pt idx="0">
                  <c:v>0.00490333164236897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44.741255191956</c:v>
                </c:pt>
              </c:numCache>
            </c:numRef>
          </c:xVal>
          <c:yVal>
            <c:numRef>
              <c:f>Sheet1!$B$119:$B$120</c:f>
              <c:numCache>
                <c:formatCode>General</c:formatCode>
                <c:ptCount val="2"/>
                <c:pt idx="0">
                  <c:v>0.0049033316423689795</c:v>
                </c:pt>
                <c:pt idx="1">
                  <c:v>0.0049033316423689795</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44.741255191956</c:v>
                </c:pt>
                <c:pt idx="1">
                  <c:v>3644.741255191956</c:v>
                </c:pt>
              </c:numCache>
            </c:numRef>
          </c:xVal>
          <c:yVal>
            <c:numRef>
              <c:f>Sheet1!$B$123:$B$124</c:f>
              <c:numCache>
                <c:formatCode>General</c:formatCode>
                <c:ptCount val="2"/>
                <c:pt idx="0">
                  <c:v>0.00490333164236897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58.303349922694</c:v>
                </c:pt>
              </c:numCache>
            </c:numRef>
          </c:xVal>
          <c:yVal>
            <c:numRef>
              <c:f>Sheet1!$B$127:$B$128</c:f>
              <c:numCache>
                <c:formatCode>General</c:formatCode>
                <c:ptCount val="2"/>
                <c:pt idx="0">
                  <c:v>0.002623982061700115</c:v>
                </c:pt>
                <c:pt idx="1">
                  <c:v>0.00262398206170011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58.303349922694</c:v>
                </c:pt>
                <c:pt idx="1">
                  <c:v>5058.303349922694</c:v>
                </c:pt>
              </c:numCache>
            </c:numRef>
          </c:xVal>
          <c:yVal>
            <c:numRef>
              <c:f>Sheet1!$B$131:$B$132</c:f>
              <c:numCache>
                <c:formatCode>General</c:formatCode>
                <c:ptCount val="2"/>
                <c:pt idx="0">
                  <c:v>0.0026239820617001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44.741255191956</c:v>
                </c:pt>
                <c:pt idx="53">
                  <c:v>3644.741255191956</c:v>
                </c:pt>
                <c:pt idx="54">
                  <c:v>5058.303349922694</c:v>
                </c:pt>
              </c:numCache>
            </c:numRef>
          </c:xVal>
          <c:yVal>
            <c:numRef>
              <c:f>Sheet1!$B$135:$B$189</c:f>
              <c:numCache>
                <c:formatCode>General</c:formatCode>
                <c:ptCount val="55"/>
                <c:pt idx="0">
                  <c:v>0.0018160292486182842</c:v>
                </c:pt>
                <c:pt idx="1">
                  <c:v>0.004371499387633753</c:v>
                </c:pt>
                <c:pt idx="2">
                  <c:v>0.0033989685586270687</c:v>
                </c:pt>
                <c:pt idx="3">
                  <c:v>0.004122269466376393</c:v>
                </c:pt>
                <c:pt idx="4">
                  <c:v>0.0029892156213653714</c:v>
                </c:pt>
                <c:pt idx="5">
                  <c:v>0.0031543745356219684</c:v>
                </c:pt>
                <c:pt idx="6">
                  <c:v>0.00385533573500035</c:v>
                </c:pt>
                <c:pt idx="7">
                  <c:v>0.003788686353007261</c:v>
                </c:pt>
                <c:pt idx="8">
                  <c:v>0.004128417070580476</c:v>
                </c:pt>
                <c:pt idx="9">
                  <c:v>0.004415137299443069</c:v>
                </c:pt>
                <c:pt idx="10">
                  <c:v>0.004084719819273532</c:v>
                </c:pt>
                <c:pt idx="11">
                  <c:v>0.00448655931853078</c:v>
                </c:pt>
                <c:pt idx="12">
                  <c:v>0.004779156092642255</c:v>
                </c:pt>
                <c:pt idx="13">
                  <c:v>0.005172617757826654</c:v>
                </c:pt>
                <c:pt idx="14">
                  <c:v>0.005034459282483028</c:v>
                </c:pt>
                <c:pt idx="15">
                  <c:v>0.00398480500515721</c:v>
                </c:pt>
                <c:pt idx="16">
                  <c:v>0.0047745201943899945</c:v>
                </c:pt>
                <c:pt idx="17">
                  <c:v>0.004492590339971859</c:v>
                </c:pt>
                <c:pt idx="18">
                  <c:v>0.0028641269928717863</c:v>
                </c:pt>
                <c:pt idx="19">
                  <c:v>0.00457916295829386</c:v>
                </c:pt>
                <c:pt idx="20">
                  <c:v>0.0029281560845483817</c:v>
                </c:pt>
                <c:pt idx="21">
                  <c:v>0.003753032506104463</c:v>
                </c:pt>
                <c:pt idx="22">
                  <c:v>0.004880160463784334</c:v>
                </c:pt>
                <c:pt idx="23">
                  <c:v>0.0046503587455468615</c:v>
                </c:pt>
                <c:pt idx="24">
                  <c:v>0.004058411298252752</c:v>
                </c:pt>
                <c:pt idx="25">
                  <c:v>0.005577874276905245</c:v>
                </c:pt>
                <c:pt idx="26">
                  <c:v>0.00489968944720101</c:v>
                </c:pt>
                <c:pt idx="27">
                  <c:v>0.0038283265886610972</c:v>
                </c:pt>
                <c:pt idx="28">
                  <c:v>0.0038857043353983005</c:v>
                </c:pt>
                <c:pt idx="29">
                  <c:v>0.004846746199171125</c:v>
                </c:pt>
                <c:pt idx="30">
                  <c:v>0.0031182503264512813</c:v>
                </c:pt>
                <c:pt idx="31">
                  <c:v>0.0030478222439488537</c:v>
                </c:pt>
                <c:pt idx="32">
                  <c:v>0.0030855079848995373</c:v>
                </c:pt>
                <c:pt idx="33">
                  <c:v>0.0027013868081381086</c:v>
                </c:pt>
                <c:pt idx="34">
                  <c:v>0.0034284817350170816</c:v>
                </c:pt>
                <c:pt idx="35">
                  <c:v>0.004079181896157858</c:v>
                </c:pt>
                <c:pt idx="36">
                  <c:v>0.003430069389075926</c:v>
                </c:pt>
                <c:pt idx="37">
                  <c:v>0.0031257932150928177</c:v>
                </c:pt>
                <c:pt idx="38">
                  <c:v>0.004425618460709047</c:v>
                </c:pt>
                <c:pt idx="39">
                  <c:v>0.0037813680837140854</c:v>
                </c:pt>
                <c:pt idx="40">
                  <c:v>0.002742182712757996</c:v>
                </c:pt>
                <c:pt idx="41">
                  <c:v>0.0030743549005720922</c:v>
                </c:pt>
                <c:pt idx="42">
                  <c:v>0.0031910586000528937</c:v>
                </c:pt>
                <c:pt idx="43">
                  <c:v>0.00332300029552808</c:v>
                </c:pt>
                <c:pt idx="44">
                  <c:v>0.00384785218585644</c:v>
                </c:pt>
                <c:pt idx="45">
                  <c:v>0.0035774506413390732</c:v>
                </c:pt>
                <c:pt idx="46">
                  <c:v>0.00381139548200067</c:v>
                </c:pt>
                <c:pt idx="47">
                  <c:v>0.004265362149946772</c:v>
                </c:pt>
                <c:pt idx="48">
                  <c:v>0.004580501966957748</c:v>
                </c:pt>
                <c:pt idx="49">
                  <c:v>0.004165302695804979</c:v>
                </c:pt>
                <c:pt idx="50">
                  <c:v>0.003366842025611861</c:v>
                </c:pt>
                <c:pt idx="51">
                  <c:v>0.003307917420720432</c:v>
                </c:pt>
                <c:pt idx="52">
                  <c:v>0.0049033316423689795</c:v>
                </c:pt>
                <c:pt idx="53">
                  <c:v>0.0049033316423689795</c:v>
                </c:pt>
                <c:pt idx="54">
                  <c:v>0.0026239820617001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670056194808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4.3392</c:v>
                </c:pt>
                <c:pt idx="1">
                  <c:v>872.535</c:v>
                </c:pt>
                <c:pt idx="2">
                  <c:v>930.3839</c:v>
                </c:pt>
                <c:pt idx="3">
                  <c:v>931.6115</c:v>
                </c:pt>
                <c:pt idx="4">
                  <c:v>928.7459</c:v>
                </c:pt>
                <c:pt idx="5">
                  <c:v>921.6493</c:v>
                </c:pt>
                <c:pt idx="6">
                  <c:v>854.1838</c:v>
                </c:pt>
                <c:pt idx="7">
                  <c:v>871.7069</c:v>
                </c:pt>
                <c:pt idx="8">
                  <c:v>889.6608</c:v>
                </c:pt>
                <c:pt idx="9">
                  <c:v>832.9356</c:v>
                </c:pt>
                <c:pt idx="10">
                  <c:v>813.6498</c:v>
                </c:pt>
                <c:pt idx="11">
                  <c:v>889.5727</c:v>
                </c:pt>
                <c:pt idx="12">
                  <c:v>903.0616</c:v>
                </c:pt>
                <c:pt idx="13">
                  <c:v>914.1366</c:v>
                </c:pt>
                <c:pt idx="14">
                  <c:v>894.5337</c:v>
                </c:pt>
                <c:pt idx="15">
                  <c:v>920.5333</c:v>
                </c:pt>
                <c:pt idx="16">
                  <c:v>944.6943</c:v>
                </c:pt>
                <c:pt idx="17">
                  <c:v>924.37</c:v>
                </c:pt>
                <c:pt idx="18">
                  <c:v>978.2723</c:v>
                </c:pt>
                <c:pt idx="19">
                  <c:v>1044.0059</c:v>
                </c:pt>
                <c:pt idx="20">
                  <c:v>1067.6944</c:v>
                </c:pt>
                <c:pt idx="21">
                  <c:v>1089.0919</c:v>
                </c:pt>
                <c:pt idx="22">
                  <c:v>1059.2292</c:v>
                </c:pt>
                <c:pt idx="23">
                  <c:v>1044.4272</c:v>
                </c:pt>
                <c:pt idx="24">
                  <c:v>1047.1848</c:v>
                </c:pt>
                <c:pt idx="25">
                  <c:v>1021.5504</c:v>
                </c:pt>
                <c:pt idx="26">
                  <c:v>991.9243</c:v>
                </c:pt>
                <c:pt idx="27">
                  <c:v>1019.5389</c:v>
                </c:pt>
                <c:pt idx="28">
                  <c:v>1021.3132</c:v>
                </c:pt>
                <c:pt idx="29">
                  <c:v>993.6533</c:v>
                </c:pt>
                <c:pt idx="30">
                  <c:v>981.6941</c:v>
                </c:pt>
                <c:pt idx="31">
                  <c:v>1006.0237</c:v>
                </c:pt>
                <c:pt idx="32">
                  <c:v>980.9526</c:v>
                </c:pt>
                <c:pt idx="33">
                  <c:v>937.4529</c:v>
                </c:pt>
                <c:pt idx="34">
                  <c:v>954.752</c:v>
                </c:pt>
                <c:pt idx="35">
                  <c:v>970.8735</c:v>
                </c:pt>
                <c:pt idx="36">
                  <c:v>1099.6922</c:v>
                </c:pt>
                <c:pt idx="37">
                  <c:v>1082.9028</c:v>
                </c:pt>
                <c:pt idx="38">
                  <c:v>1156.2489</c:v>
                </c:pt>
                <c:pt idx="39">
                  <c:v>1162.2234</c:v>
                </c:pt>
                <c:pt idx="40">
                  <c:v>1163.8739</c:v>
                </c:pt>
                <c:pt idx="41">
                  <c:v>1182.3538</c:v>
                </c:pt>
                <c:pt idx="42">
                  <c:v>1198.7963</c:v>
                </c:pt>
                <c:pt idx="43">
                  <c:v>1205.6329</c:v>
                </c:pt>
                <c:pt idx="44">
                  <c:v>1136.2091</c:v>
                </c:pt>
                <c:pt idx="45">
                  <c:v>1094.7473</c:v>
                </c:pt>
                <c:pt idx="46">
                  <c:v>1074.0356</c:v>
                </c:pt>
                <c:pt idx="47">
                  <c:v>1047.7923</c:v>
                </c:pt>
                <c:pt idx="48">
                  <c:v>1062.0672</c:v>
                </c:pt>
                <c:pt idx="49">
                  <c:v>1029.2069</c:v>
                </c:pt>
                <c:pt idx="50">
                  <c:v>1036.1419</c:v>
                </c:pt>
                <c:pt idx="51">
                  <c:v>1039.1214</c:v>
                </c:pt>
                <c:pt idx="52">
                  <c:v>1044.7028</c:v>
                </c:pt>
                <c:pt idx="53">
                  <c:v>1120.3668</c:v>
                </c:pt>
                <c:pt idx="54">
                  <c:v>1117.981</c:v>
                </c:pt>
                <c:pt idx="55">
                  <c:v>1134.2797</c:v>
                </c:pt>
                <c:pt idx="56">
                  <c:v>1155.2971</c:v>
                </c:pt>
                <c:pt idx="57">
                  <c:v>1137.3927</c:v>
                </c:pt>
                <c:pt idx="58">
                  <c:v>1071.9844</c:v>
                </c:pt>
                <c:pt idx="59">
                  <c:v>1070.9248</c:v>
                </c:pt>
                <c:pt idx="60">
                  <c:v>1103.4699</c:v>
                </c:pt>
                <c:pt idx="61">
                  <c:v>1134.2022</c:v>
                </c:pt>
                <c:pt idx="62">
                  <c:v>1018.0877</c:v>
                </c:pt>
                <c:pt idx="63">
                  <c:v>1071.122</c:v>
                </c:pt>
                <c:pt idx="64">
                  <c:v>1107.4932</c:v>
                </c:pt>
                <c:pt idx="65">
                  <c:v>1095.9683</c:v>
                </c:pt>
                <c:pt idx="66">
                  <c:v>1073.8148</c:v>
                </c:pt>
                <c:pt idx="67">
                  <c:v>1131.7219</c:v>
                </c:pt>
                <c:pt idx="68">
                  <c:v>1187.9267</c:v>
                </c:pt>
                <c:pt idx="69">
                  <c:v>1220.0145</c:v>
                </c:pt>
                <c:pt idx="70">
                  <c:v>1213.2408</c:v>
                </c:pt>
                <c:pt idx="71">
                  <c:v>1284.4464</c:v>
                </c:pt>
                <c:pt idx="72">
                  <c:v>1347.1293</c:v>
                </c:pt>
                <c:pt idx="73">
                  <c:v>1311.014</c:v>
                </c:pt>
                <c:pt idx="74">
                  <c:v>1284.6135</c:v>
                </c:pt>
                <c:pt idx="75">
                  <c:v>1247.0703</c:v>
                </c:pt>
                <c:pt idx="76">
                  <c:v>1209.1994</c:v>
                </c:pt>
                <c:pt idx="77">
                  <c:v>1269.977</c:v>
                </c:pt>
                <c:pt idx="78">
                  <c:v>1288.804</c:v>
                </c:pt>
                <c:pt idx="79">
                  <c:v>1265.0325</c:v>
                </c:pt>
                <c:pt idx="80">
                  <c:v>1240.8779</c:v>
                </c:pt>
                <c:pt idx="81">
                  <c:v>1208.1653</c:v>
                </c:pt>
                <c:pt idx="82">
                  <c:v>1218.4707</c:v>
                </c:pt>
                <c:pt idx="83">
                  <c:v>1176.4442</c:v>
                </c:pt>
                <c:pt idx="84">
                  <c:v>1199.1667</c:v>
                </c:pt>
                <c:pt idx="85">
                  <c:v>1181.5496</c:v>
                </c:pt>
                <c:pt idx="86">
                  <c:v>1173.715</c:v>
                </c:pt>
                <c:pt idx="87">
                  <c:v>1182.5689</c:v>
                </c:pt>
                <c:pt idx="88">
                  <c:v>1200.7146</c:v>
                </c:pt>
                <c:pt idx="89">
                  <c:v>1210.9216</c:v>
                </c:pt>
                <c:pt idx="90">
                  <c:v>1334.0377</c:v>
                </c:pt>
                <c:pt idx="91">
                  <c:v>1353.166</c:v>
                </c:pt>
                <c:pt idx="92">
                  <c:v>1287.8857</c:v>
                </c:pt>
                <c:pt idx="93">
                  <c:v>1323.683</c:v>
                </c:pt>
                <c:pt idx="94">
                  <c:v>1333.044</c:v>
                </c:pt>
                <c:pt idx="95">
                  <c:v>1289.1248</c:v>
                </c:pt>
                <c:pt idx="96">
                  <c:v>1229.0696</c:v>
                </c:pt>
                <c:pt idx="97">
                  <c:v>1176.4855</c:v>
                </c:pt>
                <c:pt idx="98">
                  <c:v>1155.0289</c:v>
                </c:pt>
                <c:pt idx="99">
                  <c:v>1108.8117</c:v>
                </c:pt>
                <c:pt idx="100">
                  <c:v>1126.5009</c:v>
                </c:pt>
                <c:pt idx="101">
                  <c:v>1138.1372</c:v>
                </c:pt>
                <c:pt idx="102">
                  <c:v>1174.0628</c:v>
                </c:pt>
                <c:pt idx="103">
                  <c:v>1176.8856</c:v>
                </c:pt>
                <c:pt idx="104">
                  <c:v>1233.7005</c:v>
                </c:pt>
              </c:numCache>
            </c:numRef>
          </c:xVal>
          <c:yVal>
            <c:numRef>
              <c:f>Sheet1!$B$2:$B$106</c:f>
              <c:numCache>
                <c:formatCode>General</c:formatCode>
                <c:ptCount val="105"/>
                <c:pt idx="0">
                  <c:v>0.24271685761047462</c:v>
                </c:pt>
                <c:pt idx="1">
                  <c:v>0.25422832980972515</c:v>
                </c:pt>
                <c:pt idx="2">
                  <c:v>0.2532702915681639</c:v>
                </c:pt>
                <c:pt idx="3">
                  <c:v>0.24850199733688416</c:v>
                </c:pt>
                <c:pt idx="4">
                  <c:v>0.24358974358974358</c:v>
                </c:pt>
                <c:pt idx="5">
                  <c:v>0.2540229885057471</c:v>
                </c:pt>
                <c:pt idx="6">
                  <c:v>0.2866845029841531</c:v>
                </c:pt>
                <c:pt idx="7">
                  <c:v>0.2894588500563698</c:v>
                </c:pt>
                <c:pt idx="8">
                  <c:v>0.28523936170212766</c:v>
                </c:pt>
                <c:pt idx="9">
                  <c:v>0.2713684210526316</c:v>
                </c:pt>
                <c:pt idx="10">
                  <c:v>0.2717872968980798</c:v>
                </c:pt>
                <c:pt idx="11">
                  <c:v>0.23830275229357797</c:v>
                </c:pt>
                <c:pt idx="12">
                  <c:v>0.22627080521817364</c:v>
                </c:pt>
                <c:pt idx="13">
                  <c:v>0.20817766708177668</c:v>
                </c:pt>
                <c:pt idx="14">
                  <c:v>0.20434609250398725</c:v>
                </c:pt>
                <c:pt idx="15">
                  <c:v>0.2033214709371293</c:v>
                </c:pt>
                <c:pt idx="16">
                  <c:v>0.19668446192750771</c:v>
                </c:pt>
                <c:pt idx="17">
                  <c:v>0.19307548346849657</c:v>
                </c:pt>
                <c:pt idx="18">
                  <c:v>0.18640606767794632</c:v>
                </c:pt>
                <c:pt idx="19">
                  <c:v>0.17410562180579217</c:v>
                </c:pt>
                <c:pt idx="20">
                  <c:v>0.17318099819603128</c:v>
                </c:pt>
                <c:pt idx="21">
                  <c:v>0.1973229706390328</c:v>
                </c:pt>
                <c:pt idx="22">
                  <c:v>0.20831728917982287</c:v>
                </c:pt>
                <c:pt idx="23">
                  <c:v>0.20566801619433198</c:v>
                </c:pt>
                <c:pt idx="24">
                  <c:v>0.2184844192634561</c:v>
                </c:pt>
                <c:pt idx="25">
                  <c:v>0.21941594317284924</c:v>
                </c:pt>
                <c:pt idx="26">
                  <c:v>0.24335812964930925</c:v>
                </c:pt>
                <c:pt idx="27">
                  <c:v>0.23760129659643436</c:v>
                </c:pt>
                <c:pt idx="28">
                  <c:v>0.24499229583975346</c:v>
                </c:pt>
                <c:pt idx="29">
                  <c:v>0.2399037175715432</c:v>
                </c:pt>
                <c:pt idx="30">
                  <c:v>0.2545862972669412</c:v>
                </c:pt>
                <c:pt idx="31">
                  <c:v>0.26187198898830005</c:v>
                </c:pt>
                <c:pt idx="32">
                  <c:v>0.26269243367179823</c:v>
                </c:pt>
                <c:pt idx="33">
                  <c:v>0.25857582209604923</c:v>
                </c:pt>
                <c:pt idx="34">
                  <c:v>0.2497164889997732</c:v>
                </c:pt>
                <c:pt idx="35">
                  <c:v>0.24854171950291656</c:v>
                </c:pt>
                <c:pt idx="36">
                  <c:v>0.2265880812049771</c:v>
                </c:pt>
                <c:pt idx="37">
                  <c:v>0.22297734627831714</c:v>
                </c:pt>
                <c:pt idx="38">
                  <c:v>0.21375283814466428</c:v>
                </c:pt>
                <c:pt idx="39">
                  <c:v>0.2010853180584866</c:v>
                </c:pt>
                <c:pt idx="40">
                  <c:v>0.2070079522862823</c:v>
                </c:pt>
                <c:pt idx="41">
                  <c:v>0.19785941567833382</c:v>
                </c:pt>
                <c:pt idx="42">
                  <c:v>0.19474042167309</c:v>
                </c:pt>
                <c:pt idx="43">
                  <c:v>0.19486308639354702</c:v>
                </c:pt>
                <c:pt idx="44">
                  <c:v>0.19898838947005404</c:v>
                </c:pt>
                <c:pt idx="45">
                  <c:v>0.20687095748064893</c:v>
                </c:pt>
                <c:pt idx="46">
                  <c:v>0.2190745986779981</c:v>
                </c:pt>
                <c:pt idx="47">
                  <c:v>0.21450690805145306</c:v>
                </c:pt>
                <c:pt idx="48">
                  <c:v>0.2117003367003367</c:v>
                </c:pt>
                <c:pt idx="49">
                  <c:v>0.2264425622022234</c:v>
                </c:pt>
                <c:pt idx="50">
                  <c:v>0.22240676430620565</c:v>
                </c:pt>
                <c:pt idx="51">
                  <c:v>0.21214351425942962</c:v>
                </c:pt>
                <c:pt idx="52">
                  <c:v>0.21890191592793823</c:v>
                </c:pt>
                <c:pt idx="53">
                  <c:v>0.21490280777537796</c:v>
                </c:pt>
                <c:pt idx="54">
                  <c:v>0.20479067760034528</c:v>
                </c:pt>
                <c:pt idx="55">
                  <c:v>0.20660438844232024</c:v>
                </c:pt>
                <c:pt idx="56">
                  <c:v>0.20757825370675453</c:v>
                </c:pt>
                <c:pt idx="57">
                  <c:v>0.2006125574272588</c:v>
                </c:pt>
                <c:pt idx="58">
                  <c:v>0.2282962962962963</c:v>
                </c:pt>
                <c:pt idx="59">
                  <c:v>0.23327880770628862</c:v>
                </c:pt>
                <c:pt idx="60">
                  <c:v>0.2214183819034033</c:v>
                </c:pt>
                <c:pt idx="61">
                  <c:v>0.2180811808118081</c:v>
                </c:pt>
                <c:pt idx="62">
                  <c:v>0.23971543458088462</c:v>
                </c:pt>
                <c:pt idx="63">
                  <c:v>0.2518506851472673</c:v>
                </c:pt>
                <c:pt idx="64">
                  <c:v>0.22007012856904323</c:v>
                </c:pt>
                <c:pt idx="65">
                  <c:v>0.2119626168224299</c:v>
                </c:pt>
                <c:pt idx="66">
                  <c:v>0.2264186752704498</c:v>
                </c:pt>
                <c:pt idx="67">
                  <c:v>0.20661625708884687</c:v>
                </c:pt>
                <c:pt idx="68">
                  <c:v>0.18726591760299627</c:v>
                </c:pt>
                <c:pt idx="69">
                  <c:v>0.17887232663642255</c:v>
                </c:pt>
                <c:pt idx="70">
                  <c:v>0.1774193548387097</c:v>
                </c:pt>
                <c:pt idx="71">
                  <c:v>0.1788919839059115</c:v>
                </c:pt>
                <c:pt idx="72">
                  <c:v>0.18722659667541558</c:v>
                </c:pt>
                <c:pt idx="73">
                  <c:v>0.19159713945172824</c:v>
                </c:pt>
                <c:pt idx="74">
                  <c:v>0.20707461915827524</c:v>
                </c:pt>
                <c:pt idx="75">
                  <c:v>0.20688631641436628</c:v>
                </c:pt>
                <c:pt idx="76">
                  <c:v>0.2060284862537264</c:v>
                </c:pt>
                <c:pt idx="77">
                  <c:v>0.19510513615994485</c:v>
                </c:pt>
                <c:pt idx="78">
                  <c:v>0.20529061102831594</c:v>
                </c:pt>
                <c:pt idx="79">
                  <c:v>0.18097303997520917</c:v>
                </c:pt>
                <c:pt idx="80">
                  <c:v>0.18242022877784467</c:v>
                </c:pt>
                <c:pt idx="81">
                  <c:v>0.19027484143763213</c:v>
                </c:pt>
                <c:pt idx="82">
                  <c:v>0.19462840323767477</c:v>
                </c:pt>
                <c:pt idx="83">
                  <c:v>0.19579554822753503</c:v>
                </c:pt>
                <c:pt idx="84">
                  <c:v>0.1935483870967742</c:v>
                </c:pt>
                <c:pt idx="85">
                  <c:v>0.20390070921985815</c:v>
                </c:pt>
                <c:pt idx="86">
                  <c:v>0.22410441544015552</c:v>
                </c:pt>
                <c:pt idx="87">
                  <c:v>0.21577123050259966</c:v>
                </c:pt>
                <c:pt idx="88">
                  <c:v>0.21185770750988142</c:v>
                </c:pt>
                <c:pt idx="89">
                  <c:v>0.22858255451713397</c:v>
                </c:pt>
                <c:pt idx="90">
                  <c:v>0.1895449417074088</c:v>
                </c:pt>
                <c:pt idx="91">
                  <c:v>0.182566404788627</c:v>
                </c:pt>
                <c:pt idx="92">
                  <c:v>0.18839712918660287</c:v>
                </c:pt>
                <c:pt idx="93">
                  <c:v>0.1908315565031983</c:v>
                </c:pt>
                <c:pt idx="94">
                  <c:v>0.18372232196289648</c:v>
                </c:pt>
                <c:pt idx="95">
                  <c:v>0.18333333333333332</c:v>
                </c:pt>
                <c:pt idx="96">
                  <c:v>0.19388436373347576</c:v>
                </c:pt>
                <c:pt idx="97">
                  <c:v>0.20762182423990005</c:v>
                </c:pt>
                <c:pt idx="98">
                  <c:v>0.20976440533636107</c:v>
                </c:pt>
                <c:pt idx="99">
                  <c:v>0.21817110138093634</c:v>
                </c:pt>
                <c:pt idx="100">
                  <c:v>0.2194612169066419</c:v>
                </c:pt>
                <c:pt idx="101">
                  <c:v>0.2158050619278406</c:v>
                </c:pt>
                <c:pt idx="102">
                  <c:v>0.2024718284260269</c:v>
                </c:pt>
                <c:pt idx="103">
                  <c:v>0.2033003300330033</c:v>
                </c:pt>
                <c:pt idx="104">
                  <c:v>0.204518984393198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5.4389</c:v>
                </c:pt>
                <c:pt idx="1">
                  <c:v>1264.619</c:v>
                </c:pt>
                <c:pt idx="2">
                  <c:v>1248.4346</c:v>
                </c:pt>
                <c:pt idx="3">
                  <c:v>1225.481</c:v>
                </c:pt>
                <c:pt idx="4">
                  <c:v>1286.1145</c:v>
                </c:pt>
                <c:pt idx="5">
                  <c:v>1240.6542</c:v>
                </c:pt>
                <c:pt idx="6">
                  <c:v>1103.4061</c:v>
                </c:pt>
                <c:pt idx="7">
                  <c:v>1119.7803</c:v>
                </c:pt>
                <c:pt idx="8">
                  <c:v>1185.8591</c:v>
                </c:pt>
                <c:pt idx="9">
                  <c:v>1135.6236</c:v>
                </c:pt>
                <c:pt idx="10">
                  <c:v>1158.3793</c:v>
                </c:pt>
                <c:pt idx="11">
                  <c:v>1011.7788</c:v>
                </c:pt>
                <c:pt idx="12">
                  <c:v>1069.9802</c:v>
                </c:pt>
                <c:pt idx="13">
                  <c:v>1135.5998</c:v>
                </c:pt>
                <c:pt idx="14">
                  <c:v>1086.405</c:v>
                </c:pt>
                <c:pt idx="15">
                  <c:v>1139.2509</c:v>
                </c:pt>
                <c:pt idx="16">
                  <c:v>1166.5319</c:v>
                </c:pt>
                <c:pt idx="17">
                  <c:v>1142.8997</c:v>
                </c:pt>
                <c:pt idx="18">
                  <c:v>1033.4867</c:v>
                </c:pt>
                <c:pt idx="19">
                  <c:v>1204.6081</c:v>
                </c:pt>
                <c:pt idx="20">
                  <c:v>1303.7778</c:v>
                </c:pt>
                <c:pt idx="21">
                  <c:v>1188.7552</c:v>
                </c:pt>
                <c:pt idx="22">
                  <c:v>1229.6083</c:v>
                </c:pt>
                <c:pt idx="23">
                  <c:v>1246.1917</c:v>
                </c:pt>
                <c:pt idx="24">
                  <c:v>1231.0314</c:v>
                </c:pt>
                <c:pt idx="25">
                  <c:v>1191.2711</c:v>
                </c:pt>
                <c:pt idx="26">
                  <c:v>1186.6714</c:v>
                </c:pt>
                <c:pt idx="27">
                  <c:v>1176.8871</c:v>
                </c:pt>
                <c:pt idx="28">
                  <c:v>1209.8851</c:v>
                </c:pt>
                <c:pt idx="29">
                  <c:v>1219.1373</c:v>
                </c:pt>
                <c:pt idx="30">
                  <c:v>1197.7699</c:v>
                </c:pt>
                <c:pt idx="31">
                  <c:v>1226.7865</c:v>
                </c:pt>
                <c:pt idx="32">
                  <c:v>1222.8164</c:v>
                </c:pt>
                <c:pt idx="33">
                  <c:v>1193.3959</c:v>
                </c:pt>
                <c:pt idx="34">
                  <c:v>1207.7542</c:v>
                </c:pt>
                <c:pt idx="35">
                  <c:v>1241.825</c:v>
                </c:pt>
                <c:pt idx="36">
                  <c:v>1333.4</c:v>
                </c:pt>
                <c:pt idx="37">
                  <c:v>1334.8941</c:v>
                </c:pt>
                <c:pt idx="38">
                  <c:v>1322.6031</c:v>
                </c:pt>
                <c:pt idx="39">
                  <c:v>1284.9809</c:v>
                </c:pt>
                <c:pt idx="40">
                  <c:v>1284.2822</c:v>
                </c:pt>
                <c:pt idx="41">
                  <c:v>1341.0031</c:v>
                </c:pt>
                <c:pt idx="42">
                  <c:v>1329.8063</c:v>
                </c:pt>
                <c:pt idx="43">
                  <c:v>1358.104</c:v>
                </c:pt>
                <c:pt idx="44">
                  <c:v>1252.4439</c:v>
                </c:pt>
                <c:pt idx="45">
                  <c:v>1193.8723</c:v>
                </c:pt>
                <c:pt idx="46">
                  <c:v>1166.2262</c:v>
                </c:pt>
                <c:pt idx="47">
                  <c:v>1151.5146</c:v>
                </c:pt>
                <c:pt idx="48">
                  <c:v>1157.3812</c:v>
                </c:pt>
                <c:pt idx="49">
                  <c:v>1173.564</c:v>
                </c:pt>
                <c:pt idx="50">
                  <c:v>1130.2869</c:v>
                </c:pt>
                <c:pt idx="51">
                  <c:v>1090.4596</c:v>
                </c:pt>
              </c:numCache>
            </c:numRef>
          </c:xVal>
          <c:yVal>
            <c:numRef>
              <c:f>Sheet1!$B$109:$B$160</c:f>
              <c:numCache>
                <c:formatCode>General</c:formatCode>
                <c:ptCount val="52"/>
                <c:pt idx="0">
                  <c:v>0.1998423334647221</c:v>
                </c:pt>
                <c:pt idx="1">
                  <c:v>0.20834134153373055</c:v>
                </c:pt>
                <c:pt idx="2">
                  <c:v>0.22008935958960782</c:v>
                </c:pt>
                <c:pt idx="3">
                  <c:v>0.23592400690846288</c:v>
                </c:pt>
                <c:pt idx="4">
                  <c:v>0.20571909167367536</c:v>
                </c:pt>
                <c:pt idx="5">
                  <c:v>0.21934513865686603</c:v>
                </c:pt>
                <c:pt idx="6">
                  <c:v>0.2463843648208469</c:v>
                </c:pt>
                <c:pt idx="7">
                  <c:v>0.23860448807854137</c:v>
                </c:pt>
                <c:pt idx="8">
                  <c:v>0.2254766510085659</c:v>
                </c:pt>
                <c:pt idx="9">
                  <c:v>0.23954659949622167</c:v>
                </c:pt>
                <c:pt idx="10">
                  <c:v>0.22884012539184953</c:v>
                </c:pt>
                <c:pt idx="11">
                  <c:v>0.23930131004366811</c:v>
                </c:pt>
                <c:pt idx="12">
                  <c:v>0.23905325443786982</c:v>
                </c:pt>
                <c:pt idx="13">
                  <c:v>0.24373293621245967</c:v>
                </c:pt>
                <c:pt idx="14">
                  <c:v>0.25052301255230125</c:v>
                </c:pt>
                <c:pt idx="15">
                  <c:v>0.2352437981180496</c:v>
                </c:pt>
                <c:pt idx="16">
                  <c:v>0.23841059602649006</c:v>
                </c:pt>
                <c:pt idx="17">
                  <c:v>0.2448445171849427</c:v>
                </c:pt>
                <c:pt idx="18">
                  <c:v>0.25567989148864023</c:v>
                </c:pt>
                <c:pt idx="19">
                  <c:v>0.2339622641509434</c:v>
                </c:pt>
                <c:pt idx="20">
                  <c:v>0.20652173913043478</c:v>
                </c:pt>
                <c:pt idx="21">
                  <c:v>0.22507869884575027</c:v>
                </c:pt>
                <c:pt idx="22">
                  <c:v>0.21955128205128205</c:v>
                </c:pt>
                <c:pt idx="23">
                  <c:v>0.21822033898305085</c:v>
                </c:pt>
                <c:pt idx="24">
                  <c:v>0.22183558068725534</c:v>
                </c:pt>
                <c:pt idx="25">
                  <c:v>0.20678285445124822</c:v>
                </c:pt>
                <c:pt idx="26">
                  <c:v>0.21416083916083917</c:v>
                </c:pt>
                <c:pt idx="27">
                  <c:v>0.22721134368669818</c:v>
                </c:pt>
                <c:pt idx="28">
                  <c:v>0.22299854439592431</c:v>
                </c:pt>
                <c:pt idx="29">
                  <c:v>0.2101123595505618</c:v>
                </c:pt>
                <c:pt idx="30">
                  <c:v>0.21153126169973793</c:v>
                </c:pt>
                <c:pt idx="31">
                  <c:v>0.19655667144906744</c:v>
                </c:pt>
                <c:pt idx="32">
                  <c:v>0.199642431466031</c:v>
                </c:pt>
                <c:pt idx="33">
                  <c:v>0.21654622476949914</c:v>
                </c:pt>
                <c:pt idx="34">
                  <c:v>0.22415005861664714</c:v>
                </c:pt>
                <c:pt idx="35">
                  <c:v>0.21783216783216783</c:v>
                </c:pt>
                <c:pt idx="36">
                  <c:v>0.19944979367262725</c:v>
                </c:pt>
                <c:pt idx="37">
                  <c:v>0.20214079868258542</c:v>
                </c:pt>
                <c:pt idx="38">
                  <c:v>0.21197411003236247</c:v>
                </c:pt>
                <c:pt idx="39">
                  <c:v>0.21589825119236883</c:v>
                </c:pt>
                <c:pt idx="40">
                  <c:v>0.20152976388427005</c:v>
                </c:pt>
                <c:pt idx="41">
                  <c:v>0.20275344180225283</c:v>
                </c:pt>
                <c:pt idx="42">
                  <c:v>0.21277385815076122</c:v>
                </c:pt>
                <c:pt idx="43">
                  <c:v>0.19686631286328027</c:v>
                </c:pt>
                <c:pt idx="44">
                  <c:v>0.1921582479689156</c:v>
                </c:pt>
                <c:pt idx="45">
                  <c:v>0.20964467005076143</c:v>
                </c:pt>
                <c:pt idx="46">
                  <c:v>0.23199236762601366</c:v>
                </c:pt>
                <c:pt idx="47">
                  <c:v>0.23594093622368834</c:v>
                </c:pt>
                <c:pt idx="48">
                  <c:v>0.22076528787698177</c:v>
                </c:pt>
                <c:pt idx="49">
                  <c:v>0.23243423243423245</c:v>
                </c:pt>
                <c:pt idx="50">
                  <c:v>0.23076209901724457</c:v>
                </c:pt>
                <c:pt idx="51">
                  <c:v>0.22172413793103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7.5202045386861</c:v>
                </c:pt>
              </c:numCache>
            </c:numRef>
          </c:xVal>
          <c:yVal>
            <c:numRef>
              <c:f>Sheet1!$B$163:$B$164</c:f>
              <c:numCache>
                <c:formatCode>General</c:formatCode>
                <c:ptCount val="2"/>
                <c:pt idx="0">
                  <c:v>0.2619681025737099</c:v>
                </c:pt>
                <c:pt idx="1">
                  <c:v>0.261968102573709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7.5202045386861</c:v>
                </c:pt>
                <c:pt idx="1">
                  <c:v>947.5202045386861</c:v>
                </c:pt>
              </c:numCache>
            </c:numRef>
          </c:xVal>
          <c:yVal>
            <c:numRef>
              <c:f>Sheet1!$B$167:$B$168</c:f>
              <c:numCache>
                <c:formatCode>General</c:formatCode>
                <c:ptCount val="2"/>
                <c:pt idx="0">
                  <c:v>0.26196810257370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5.0789983538466</c:v>
                </c:pt>
              </c:numCache>
            </c:numRef>
          </c:xVal>
          <c:yVal>
            <c:numRef>
              <c:f>Sheet1!$B$171:$B$172</c:f>
              <c:numCache>
                <c:formatCode>General</c:formatCode>
                <c:ptCount val="2"/>
                <c:pt idx="0">
                  <c:v>0.23697990331381702</c:v>
                </c:pt>
                <c:pt idx="1">
                  <c:v>0.2369799033138170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5.0789983538466</c:v>
                </c:pt>
                <c:pt idx="1">
                  <c:v>1105.0789983538466</c:v>
                </c:pt>
              </c:numCache>
            </c:numRef>
          </c:xVal>
          <c:yVal>
            <c:numRef>
              <c:f>Sheet1!$B$175:$B$176</c:f>
              <c:numCache>
                <c:formatCode>General</c:formatCode>
                <c:ptCount val="2"/>
                <c:pt idx="0">
                  <c:v>0.236979903313817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8.7010914428415</c:v>
                </c:pt>
              </c:numCache>
            </c:numRef>
          </c:xVal>
          <c:yVal>
            <c:numRef>
              <c:f>Sheet1!$B$179:$B$180</c:f>
              <c:numCache>
                <c:formatCode>General</c:formatCode>
                <c:ptCount val="2"/>
                <c:pt idx="0">
                  <c:v>0.21578796977090814</c:v>
                </c:pt>
                <c:pt idx="1">
                  <c:v>0.215787969770908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8.7010914428415</c:v>
                </c:pt>
                <c:pt idx="1">
                  <c:v>1238.7010914428415</c:v>
                </c:pt>
              </c:numCache>
            </c:numRef>
          </c:xVal>
          <c:yVal>
            <c:numRef>
              <c:f>Sheet1!$B$183:$B$184</c:f>
              <c:numCache>
                <c:formatCode>General</c:formatCode>
                <c:ptCount val="2"/>
                <c:pt idx="0">
                  <c:v>0.215787969770908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5.4389</c:v>
                </c:pt>
                <c:pt idx="1">
                  <c:v>1264.619</c:v>
                </c:pt>
                <c:pt idx="2">
                  <c:v>1248.4346</c:v>
                </c:pt>
                <c:pt idx="3">
                  <c:v>1225.481</c:v>
                </c:pt>
                <c:pt idx="4">
                  <c:v>1286.1145</c:v>
                </c:pt>
                <c:pt idx="5">
                  <c:v>1240.6542</c:v>
                </c:pt>
                <c:pt idx="6">
                  <c:v>1103.4061</c:v>
                </c:pt>
                <c:pt idx="7">
                  <c:v>1119.7803</c:v>
                </c:pt>
                <c:pt idx="8">
                  <c:v>1185.8591</c:v>
                </c:pt>
                <c:pt idx="9">
                  <c:v>1135.6236</c:v>
                </c:pt>
                <c:pt idx="10">
                  <c:v>1158.3793</c:v>
                </c:pt>
                <c:pt idx="11">
                  <c:v>1011.7788</c:v>
                </c:pt>
                <c:pt idx="12">
                  <c:v>1069.9802</c:v>
                </c:pt>
                <c:pt idx="13">
                  <c:v>1135.5998</c:v>
                </c:pt>
                <c:pt idx="14">
                  <c:v>1086.405</c:v>
                </c:pt>
                <c:pt idx="15">
                  <c:v>1139.2509</c:v>
                </c:pt>
                <c:pt idx="16">
                  <c:v>1166.5319</c:v>
                </c:pt>
                <c:pt idx="17">
                  <c:v>1142.8997</c:v>
                </c:pt>
                <c:pt idx="18">
                  <c:v>1033.4867</c:v>
                </c:pt>
                <c:pt idx="19">
                  <c:v>1204.6081</c:v>
                </c:pt>
                <c:pt idx="20">
                  <c:v>1303.7778</c:v>
                </c:pt>
                <c:pt idx="21">
                  <c:v>1188.7552</c:v>
                </c:pt>
                <c:pt idx="22">
                  <c:v>1229.6083</c:v>
                </c:pt>
                <c:pt idx="23">
                  <c:v>1246.1917</c:v>
                </c:pt>
                <c:pt idx="24">
                  <c:v>1231.0314</c:v>
                </c:pt>
                <c:pt idx="25">
                  <c:v>1191.2711</c:v>
                </c:pt>
                <c:pt idx="26">
                  <c:v>1186.6714</c:v>
                </c:pt>
                <c:pt idx="27">
                  <c:v>1176.8871</c:v>
                </c:pt>
                <c:pt idx="28">
                  <c:v>1209.8851</c:v>
                </c:pt>
                <c:pt idx="29">
                  <c:v>1219.1373</c:v>
                </c:pt>
                <c:pt idx="30">
                  <c:v>1197.7699</c:v>
                </c:pt>
                <c:pt idx="31">
                  <c:v>1226.7865</c:v>
                </c:pt>
                <c:pt idx="32">
                  <c:v>1222.8164</c:v>
                </c:pt>
                <c:pt idx="33">
                  <c:v>1193.3959</c:v>
                </c:pt>
                <c:pt idx="34">
                  <c:v>1207.7542</c:v>
                </c:pt>
                <c:pt idx="35">
                  <c:v>1241.825</c:v>
                </c:pt>
                <c:pt idx="36">
                  <c:v>1333.4</c:v>
                </c:pt>
                <c:pt idx="37">
                  <c:v>1334.8941</c:v>
                </c:pt>
                <c:pt idx="38">
                  <c:v>1322.6031</c:v>
                </c:pt>
                <c:pt idx="39">
                  <c:v>1284.9809</c:v>
                </c:pt>
                <c:pt idx="40">
                  <c:v>1284.2822</c:v>
                </c:pt>
                <c:pt idx="41">
                  <c:v>1341.0031</c:v>
                </c:pt>
                <c:pt idx="42">
                  <c:v>1329.8063</c:v>
                </c:pt>
                <c:pt idx="43">
                  <c:v>1358.104</c:v>
                </c:pt>
                <c:pt idx="44">
                  <c:v>1252.4439</c:v>
                </c:pt>
                <c:pt idx="45">
                  <c:v>1193.8723</c:v>
                </c:pt>
                <c:pt idx="46">
                  <c:v>1166.2262</c:v>
                </c:pt>
                <c:pt idx="47">
                  <c:v>1151.5146</c:v>
                </c:pt>
                <c:pt idx="48">
                  <c:v>1157.3812</c:v>
                </c:pt>
                <c:pt idx="49">
                  <c:v>1173.564</c:v>
                </c:pt>
                <c:pt idx="50">
                  <c:v>1130.2869</c:v>
                </c:pt>
                <c:pt idx="51">
                  <c:v>1090.4596</c:v>
                </c:pt>
                <c:pt idx="52">
                  <c:v>1105.0789983538466</c:v>
                </c:pt>
                <c:pt idx="53">
                  <c:v>947.5202045386861</c:v>
                </c:pt>
                <c:pt idx="54">
                  <c:v>1238.7010914428415</c:v>
                </c:pt>
              </c:numCache>
            </c:numRef>
          </c:xVal>
          <c:yVal>
            <c:numRef>
              <c:f>Sheet1!$B$187:$B$241</c:f>
              <c:numCache>
                <c:formatCode>General</c:formatCode>
                <c:ptCount val="55"/>
                <c:pt idx="0">
                  <c:v>0.20996149916670284</c:v>
                </c:pt>
                <c:pt idx="1">
                  <c:v>0.21167749235645336</c:v>
                </c:pt>
                <c:pt idx="2">
                  <c:v>0.2142442739514956</c:v>
                </c:pt>
                <c:pt idx="3">
                  <c:v>0.21788462379578774</c:v>
                </c:pt>
                <c:pt idx="4">
                  <c:v>0.2082683913841448</c:v>
                </c:pt>
                <c:pt idx="5">
                  <c:v>0.21547821450672575</c:v>
                </c:pt>
                <c:pt idx="6">
                  <c:v>0.23724521835206558</c:v>
                </c:pt>
                <c:pt idx="7">
                  <c:v>0.23464833523044595</c:v>
                </c:pt>
                <c:pt idx="8">
                  <c:v>0.22416849985425175</c:v>
                </c:pt>
                <c:pt idx="9">
                  <c:v>0.23213565074138656</c:v>
                </c:pt>
                <c:pt idx="10">
                  <c:v>0.22852668705151835</c:v>
                </c:pt>
                <c:pt idx="11">
                  <c:v>0.25177694441193893</c:v>
                </c:pt>
                <c:pt idx="12">
                  <c:v>0.2425464334059275</c:v>
                </c:pt>
                <c:pt idx="13">
                  <c:v>0.232139425326911</c:v>
                </c:pt>
                <c:pt idx="14">
                  <c:v>0.23994152532516763</c:v>
                </c:pt>
                <c:pt idx="15">
                  <c:v>0.231560375360174</c:v>
                </c:pt>
                <c:pt idx="16">
                  <c:v>0.2272337170537587</c:v>
                </c:pt>
                <c:pt idx="17">
                  <c:v>0.23098169016430697</c:v>
                </c:pt>
                <c:pt idx="18">
                  <c:v>0.2483341576427651</c:v>
                </c:pt>
                <c:pt idx="19">
                  <c:v>0.22119498287954478</c:v>
                </c:pt>
                <c:pt idx="20">
                  <c:v>0.20546706211968582</c:v>
                </c:pt>
                <c:pt idx="21">
                  <c:v>0.22370918989049637</c:v>
                </c:pt>
                <c:pt idx="22">
                  <c:v>0.2172300503993555</c:v>
                </c:pt>
                <c:pt idx="23">
                  <c:v>0.21459998898816796</c:v>
                </c:pt>
                <c:pt idx="24">
                  <c:v>0.2170043523884373</c:v>
                </c:pt>
                <c:pt idx="25">
                  <c:v>0.22331017813751408</c:v>
                </c:pt>
                <c:pt idx="26">
                  <c:v>0.22403967229872587</c:v>
                </c:pt>
                <c:pt idx="27">
                  <c:v>0.22559142343935337</c:v>
                </c:pt>
                <c:pt idx="28">
                  <c:v>0.22035807162691645</c:v>
                </c:pt>
                <c:pt idx="29">
                  <c:v>0.21889070943408567</c:v>
                </c:pt>
                <c:pt idx="30">
                  <c:v>0.222279494254895</c:v>
                </c:pt>
                <c:pt idx="31">
                  <c:v>0.2176775766780492</c:v>
                </c:pt>
                <c:pt idx="32">
                  <c:v>0.21830721877849638</c:v>
                </c:pt>
                <c:pt idx="33">
                  <c:v>0.2229731932920366</c:v>
                </c:pt>
                <c:pt idx="34">
                  <c:v>0.2206960239081796</c:v>
                </c:pt>
                <c:pt idx="35">
                  <c:v>0.21529253027428738</c:v>
                </c:pt>
                <c:pt idx="36">
                  <c:v>0.20076909878680596</c:v>
                </c:pt>
                <c:pt idx="37">
                  <c:v>0.20053214045772658</c:v>
                </c:pt>
                <c:pt idx="38">
                  <c:v>0.20248144426785636</c:v>
                </c:pt>
                <c:pt idx="39">
                  <c:v>0.20844817584425082</c:v>
                </c:pt>
                <c:pt idx="40">
                  <c:v>0.20855898689071875</c:v>
                </c:pt>
                <c:pt idx="41">
                  <c:v>0.19956327730777274</c:v>
                </c:pt>
                <c:pt idx="42">
                  <c:v>0.2013390453413958</c:v>
                </c:pt>
                <c:pt idx="43">
                  <c:v>0.19685114245083282</c:v>
                </c:pt>
                <c:pt idx="44">
                  <c:v>0.21360841488665522</c:v>
                </c:pt>
                <c:pt idx="45">
                  <c:v>0.22289763814313532</c:v>
                </c:pt>
                <c:pt idx="46">
                  <c:v>0.227282199860264</c:v>
                </c:pt>
                <c:pt idx="47">
                  <c:v>0.2296154012216752</c:v>
                </c:pt>
                <c:pt idx="48">
                  <c:v>0.22868498174949983</c:v>
                </c:pt>
                <c:pt idx="49">
                  <c:v>0.22611845390810628</c:v>
                </c:pt>
                <c:pt idx="50">
                  <c:v>0.2329820301770321</c:v>
                </c:pt>
                <c:pt idx="51">
                  <c:v>0.23929848186014835</c:v>
                </c:pt>
                <c:pt idx="52">
                  <c:v>0.23697990331381702</c:v>
                </c:pt>
                <c:pt idx="53">
                  <c:v>0.2619681025737099</c:v>
                </c:pt>
                <c:pt idx="54">
                  <c:v>0.215787969770908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0.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73506200676437"/>
          <c:min val="0.13854479855682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4</c:f>
              <c:numCache>
                <c:formatCode>General</c:formatCode>
                <c:ptCount val="23"/>
                <c:pt idx="0">
                  <c:v>0.007805133577789418</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numCache>
            </c:numRef>
          </c:xVal>
          <c:yVal>
            <c:numRef>
              <c:f>Sheet1!$B$2:$B$24</c:f>
              <c:numCache>
                <c:formatCode>General</c:formatCode>
                <c:ptCount val="23"/>
                <c:pt idx="0">
                  <c:v>0.007575757575757576</c:v>
                </c:pt>
                <c:pt idx="1">
                  <c:v>0.0</c:v>
                </c:pt>
                <c:pt idx="2">
                  <c:v>0.0</c:v>
                </c:pt>
                <c:pt idx="3">
                  <c:v>0.0</c:v>
                </c:pt>
                <c:pt idx="4">
                  <c:v>0.021739130434782608</c:v>
                </c:pt>
                <c:pt idx="5">
                  <c:v>0.017543859649122806</c:v>
                </c:pt>
                <c:pt idx="6">
                  <c:v>0.014925373134328358</c:v>
                </c:pt>
                <c:pt idx="7">
                  <c:v>0.021739130434782608</c:v>
                </c:pt>
                <c:pt idx="8">
                  <c:v>0.02247191011235955</c:v>
                </c:pt>
                <c:pt idx="9">
                  <c:v>0.03529411764705882</c:v>
                </c:pt>
                <c:pt idx="10">
                  <c:v>0.3853211009174312</c:v>
                </c:pt>
                <c:pt idx="11">
                  <c:v>0.03488372093023256</c:v>
                </c:pt>
                <c:pt idx="12">
                  <c:v>0.013513513513513514</c:v>
                </c:pt>
                <c:pt idx="13">
                  <c:v>0.011904761904761904</c:v>
                </c:pt>
                <c:pt idx="14">
                  <c:v>0.03508771929824561</c:v>
                </c:pt>
                <c:pt idx="15">
                  <c:v>0.0</c:v>
                </c:pt>
                <c:pt idx="16">
                  <c:v>0.012987012987012988</c:v>
                </c:pt>
                <c:pt idx="17">
                  <c:v>0.0125</c:v>
                </c:pt>
                <c:pt idx="18">
                  <c:v>0.0</c:v>
                </c:pt>
                <c:pt idx="19">
                  <c:v>0.0</c:v>
                </c:pt>
                <c:pt idx="20">
                  <c:v>0.0</c:v>
                </c:pt>
                <c:pt idx="21">
                  <c:v>0.0</c:v>
                </c:pt>
                <c:pt idx="22">
                  <c:v>0.0</c:v>
                </c:pt>
              </c:numCache>
            </c:numRef>
          </c:yVal>
          <c:smooth val="0"/>
          <c:extLst>
            <c:ext xmlns:c16="http://schemas.microsoft.com/office/drawing/2014/chart" uri="{C3380CC4-5D6E-409C-BE32-E72D297353CC}">
              <c16:uniqueId val="{00000000-096C-4121-9522-6AB7243CCAAE}"/>
            </c:ext>
          </c:extLst>
        </c:ser>
        <c:ser>
          <c:idx val="1"/>
          <c:order val="1"/>
          <c:tx>
            <c:strRef>
              <c:f>Sheet1!$B$2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7:$A$26</c:f>
              <c:numCache>
                <c:formatCode>General</c:formatCode>
                <c:ptCount val="0"/>
              </c:numCache>
            </c:numRef>
          </c:xVal>
          <c:yVal>
            <c:numRef>
              <c:f>Sheet1!$B$27:$B$26</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9:$A$30</c:f>
              <c:numCache>
                <c:formatCode>General</c:formatCode>
                <c:ptCount val="2"/>
                <c:pt idx="0">
                  <c:v>0</c:v>
                </c:pt>
                <c:pt idx="1">
                  <c:v>0.04726341061358612</c:v>
                </c:pt>
              </c:numCache>
            </c:numRef>
          </c:xVal>
          <c:yVal>
            <c:numRef>
              <c:f>Sheet1!$B$29:$B$30</c:f>
              <c:numCache>
                <c:formatCode>General</c:formatCode>
                <c:ptCount val="2"/>
                <c:pt idx="0">
                  <c:v>0.04726341061358612</c:v>
                </c:pt>
                <c:pt idx="1">
                  <c:v>0.04726341061358612</c:v>
                </c:pt>
              </c:numCache>
            </c:numRef>
          </c:yVal>
          <c:smooth val="0"/>
          <c:extLst>
            <c:ext xmlns:c16="http://schemas.microsoft.com/office/drawing/2014/chart" uri="{C3380CC4-5D6E-409C-BE32-E72D297353CC}">
              <c16:uniqueId val="{00000005-096C-4121-9522-6AB7243CCAAE}"/>
            </c:ext>
          </c:extLst>
        </c:ser>
        <c:ser>
          <c:idx val="3"/>
          <c:order val="3"/>
          <c:tx>
            <c:strRef>
              <c:f>Sheet1!$B$3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0.04726341061358612</c:v>
                </c:pt>
                <c:pt idx="1">
                  <c:v>0.04726341061358612</c:v>
                </c:pt>
              </c:numCache>
            </c:numRef>
          </c:xVal>
          <c:yVal>
            <c:numRef>
              <c:f>Sheet1!$B$33:$B$34</c:f>
              <c:numCache>
                <c:formatCode>General</c:formatCode>
                <c:ptCount val="2"/>
                <c:pt idx="0">
                  <c:v>0.047263410613586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6</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7:$A$39</c:f>
              <c:numCache>
                <c:formatCode>General</c:formatCode>
                <c:ptCount val="3"/>
                <c:pt idx="0">
                  <c:v>0</c:v>
                </c:pt>
                <c:pt idx="1">
                  <c:v>0.04726341061358612</c:v>
                </c:pt>
                <c:pt idx="2">
                  <c:v>0</c:v>
                </c:pt>
              </c:numCache>
            </c:numRef>
          </c:xVal>
          <c:yVal>
            <c:numRef>
              <c:f>Sheet1!$B$37:$B$39</c:f>
              <c:numCache>
                <c:formatCode>General</c:formatCode>
                <c:ptCount val="3"/>
                <c:pt idx="0">
                  <c:v>0</c:v>
                </c:pt>
                <c:pt idx="1">
                  <c:v>0.0472634106135861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23853211009174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4</c:f>
              <c:numCache>
                <c:formatCode>General</c:formatCode>
                <c:ptCount val="23"/>
                <c:pt idx="0">
                  <c:v>149.0</c:v>
                </c:pt>
                <c:pt idx="1">
                  <c:v>0.0</c:v>
                </c:pt>
                <c:pt idx="2">
                  <c:v>0.0</c:v>
                </c:pt>
                <c:pt idx="3">
                  <c:v>0.0</c:v>
                </c:pt>
                <c:pt idx="4">
                  <c:v>783.0</c:v>
                </c:pt>
                <c:pt idx="5">
                  <c:v>1118.0</c:v>
                </c:pt>
                <c:pt idx="6">
                  <c:v>1377.0</c:v>
                </c:pt>
                <c:pt idx="7">
                  <c:v>826.5</c:v>
                </c:pt>
                <c:pt idx="8">
                  <c:v>870.0</c:v>
                </c:pt>
                <c:pt idx="9">
                  <c:v>817.3333</c:v>
                </c:pt>
                <c:pt idx="10">
                  <c:v>78.9762</c:v>
                </c:pt>
                <c:pt idx="11">
                  <c:v>86.3333</c:v>
                </c:pt>
                <c:pt idx="12">
                  <c:v>69.0</c:v>
                </c:pt>
                <c:pt idx="13">
                  <c:v>41.0</c:v>
                </c:pt>
                <c:pt idx="14">
                  <c:v>95.0</c:v>
                </c:pt>
                <c:pt idx="15">
                  <c:v>0.0</c:v>
                </c:pt>
                <c:pt idx="16">
                  <c:v>63.0</c:v>
                </c:pt>
                <c:pt idx="17">
                  <c:v>104.0</c:v>
                </c:pt>
                <c:pt idx="18">
                  <c:v>0.0</c:v>
                </c:pt>
                <c:pt idx="19">
                  <c:v>0.0</c:v>
                </c:pt>
                <c:pt idx="20">
                  <c:v>0.0</c:v>
                </c:pt>
                <c:pt idx="21">
                  <c:v>0.0</c:v>
                </c:pt>
                <c:pt idx="22">
                  <c:v>0.0</c:v>
                </c:pt>
              </c:numCache>
            </c:numRef>
          </c:xVal>
          <c:yVal>
            <c:numRef>
              <c:f>Sheet1!$B$2:$B$24</c:f>
              <c:numCache>
                <c:formatCode>General</c:formatCode>
                <c:ptCount val="23"/>
                <c:pt idx="0">
                  <c:v>0.007575757575757576</c:v>
                </c:pt>
                <c:pt idx="1">
                  <c:v>0.0</c:v>
                </c:pt>
                <c:pt idx="2">
                  <c:v>0.0</c:v>
                </c:pt>
                <c:pt idx="3">
                  <c:v>0.0</c:v>
                </c:pt>
                <c:pt idx="4">
                  <c:v>0.021739130434782608</c:v>
                </c:pt>
                <c:pt idx="5">
                  <c:v>0.017543859649122806</c:v>
                </c:pt>
                <c:pt idx="6">
                  <c:v>0.014925373134328358</c:v>
                </c:pt>
                <c:pt idx="7">
                  <c:v>0.021739130434782608</c:v>
                </c:pt>
                <c:pt idx="8">
                  <c:v>0.02247191011235955</c:v>
                </c:pt>
                <c:pt idx="9">
                  <c:v>0.03529411764705882</c:v>
                </c:pt>
                <c:pt idx="10">
                  <c:v>0.3853211009174312</c:v>
                </c:pt>
                <c:pt idx="11">
                  <c:v>0.03488372093023256</c:v>
                </c:pt>
                <c:pt idx="12">
                  <c:v>0.013513513513513514</c:v>
                </c:pt>
                <c:pt idx="13">
                  <c:v>0.011904761904761904</c:v>
                </c:pt>
                <c:pt idx="14">
                  <c:v>0.03508771929824561</c:v>
                </c:pt>
                <c:pt idx="15">
                  <c:v>0.0</c:v>
                </c:pt>
                <c:pt idx="16">
                  <c:v>0.012987012987012988</c:v>
                </c:pt>
                <c:pt idx="17">
                  <c:v>0.0125</c:v>
                </c:pt>
                <c:pt idx="18">
                  <c:v>0.0</c:v>
                </c:pt>
                <c:pt idx="19">
                  <c:v>0.0</c:v>
                </c:pt>
                <c:pt idx="20">
                  <c:v>0.0</c:v>
                </c:pt>
                <c:pt idx="21">
                  <c:v>0.0</c:v>
                </c:pt>
                <c:pt idx="22">
                  <c:v>0.0</c:v>
                </c:pt>
              </c:numCache>
            </c:numRef>
          </c:yVal>
          <c:smooth val="0"/>
          <c:extLst>
            <c:ext xmlns:c16="http://schemas.microsoft.com/office/drawing/2014/chart" uri="{C3380CC4-5D6E-409C-BE32-E72D297353CC}">
              <c16:uniqueId val="{00000000-F32D-48B7-BC20-E66FC6253BAD}"/>
            </c:ext>
          </c:extLst>
        </c:ser>
        <c:ser>
          <c:idx val="1"/>
          <c:order val="1"/>
          <c:tx>
            <c:strRef>
              <c:f>Sheet1!$B$2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7:$A$26</c:f>
              <c:numCache>
                <c:formatCode>General</c:formatCode>
                <c:ptCount val="0"/>
              </c:numCache>
            </c:numRef>
          </c:xVal>
          <c:yVal>
            <c:numRef>
              <c:f>Sheet1!$B$27:$B$26</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8</c:f>
              <c:strCache>
                <c:ptCount val="1"/>
                <c:pt idx="0">
                  <c:v>Custom Linep3yQ</c:v>
                </c:pt>
              </c:strCache>
            </c:strRef>
          </c:tx>
          <c:spPr>
            <a:ln w="19050" cap="rnd">
              <a:solidFill>
                <a:srgbClr val="C00000"/>
              </a:solidFill>
              <a:prstDash val="sysDot"/>
              <a:round/>
            </a:ln>
            <a:effectLst/>
          </c:spPr>
          <c:marker>
            <c:symbol val="none"/>
          </c:marker>
          <c:xVal>
            <c:numRef>
              <c:f>Sheet1!$A$29:$A$30</c:f>
              <c:numCache>
                <c:formatCode>General</c:formatCode>
                <c:ptCount val="2"/>
                <c:pt idx="0">
                  <c:v>0</c:v>
                </c:pt>
                <c:pt idx="1">
                  <c:v>0.04726341061358612</c:v>
                </c:pt>
              </c:numCache>
            </c:numRef>
          </c:xVal>
          <c:yVal>
            <c:numRef>
              <c:f>Sheet1!$B$29:$B$30</c:f>
              <c:numCache>
                <c:formatCode>General</c:formatCode>
                <c:ptCount val="2"/>
                <c:pt idx="0">
                  <c:v>0.04726341061358612</c:v>
                </c:pt>
                <c:pt idx="1">
                  <c:v>0.04726341061358612</c:v>
                </c:pt>
              </c:numCache>
            </c:numRef>
          </c:yVal>
          <c:smooth val="0"/>
          <c:extLst>
            <c:ext xmlns:c16="http://schemas.microsoft.com/office/drawing/2014/chart" uri="{C3380CC4-5D6E-409C-BE32-E72D297353CC}">
              <c16:uniqueId val="{00000003-F32D-48B7-BC20-E66FC6253BAD}"/>
            </c:ext>
          </c:extLst>
        </c:ser>
        <c:ser>
          <c:idx val="3"/>
          <c:order val="3"/>
          <c:tx>
            <c:strRef>
              <c:f>Sheet1!$B$3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0.04726341061358612</c:v>
                </c:pt>
                <c:pt idx="1">
                  <c:v>0.04726341061358612</c:v>
                </c:pt>
              </c:numCache>
            </c:numRef>
          </c:xVal>
          <c:yVal>
            <c:numRef>
              <c:f>Sheet1!$B$33:$B$34</c:f>
              <c:numCache>
                <c:formatCode>General</c:formatCode>
                <c:ptCount val="2"/>
                <c:pt idx="0">
                  <c:v>0.047263410613586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6</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7:$A$39</c:f>
              <c:numCache>
                <c:formatCode>General</c:formatCode>
                <c:ptCount val="3"/>
                <c:pt idx="0">
                  <c:v>0</c:v>
                </c:pt>
                <c:pt idx="1">
                  <c:v>0.04726341061358612</c:v>
                </c:pt>
                <c:pt idx="2">
                  <c:v>0</c:v>
                </c:pt>
              </c:numCache>
            </c:numRef>
          </c:xVal>
          <c:yVal>
            <c:numRef>
              <c:f>Sheet1!$B$37:$B$39</c:f>
              <c:numCache>
                <c:formatCode>General</c:formatCode>
                <c:ptCount val="3"/>
                <c:pt idx="0">
                  <c:v>0</c:v>
                </c:pt>
                <c:pt idx="1">
                  <c:v>0.0472634106135861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23853211009174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1353810439973067</c:v>
                </c:pt>
                <c:pt idx="1">
                  <c:v>3.5160004436986867</c:v>
                </c:pt>
                <c:pt idx="2">
                  <c:v>3.5981559319342367</c:v>
                </c:pt>
                <c:pt idx="3">
                  <c:v>3.5749799710669383</c:v>
                </c:pt>
                <c:pt idx="4">
                  <c:v>3.631151201214611</c:v>
                </c:pt>
                <c:pt idx="5">
                  <c:v>3.5471645045225944</c:v>
                </c:pt>
                <c:pt idx="6">
                  <c:v>3.572691550664843</c:v>
                </c:pt>
                <c:pt idx="7">
                  <c:v>3.5833218602372137</c:v>
                </c:pt>
                <c:pt idx="8">
                  <c:v>3.5896275444145496</c:v>
                </c:pt>
                <c:pt idx="9">
                  <c:v>3.5656303598206445</c:v>
                </c:pt>
                <c:pt idx="10">
                  <c:v>3.4659737015592595</c:v>
                </c:pt>
                <c:pt idx="11">
                  <c:v>3.5171807443852945</c:v>
                </c:pt>
                <c:pt idx="12">
                  <c:v>3.3906729191989733</c:v>
                </c:pt>
                <c:pt idx="13">
                  <c:v>3.491397434802753</c:v>
                </c:pt>
                <c:pt idx="14">
                  <c:v>3.748508351738439</c:v>
                </c:pt>
                <c:pt idx="15">
                  <c:v>3.600027904996942</c:v>
                </c:pt>
                <c:pt idx="16">
                  <c:v>3.541534479597413</c:v>
                </c:pt>
                <c:pt idx="17">
                  <c:v>3.536684528305892</c:v>
                </c:pt>
                <c:pt idx="18">
                  <c:v>3.862433765188288</c:v>
                </c:pt>
                <c:pt idx="19">
                  <c:v>3.7211659741275707</c:v>
                </c:pt>
                <c:pt idx="20">
                  <c:v>3.495432476358446</c:v>
                </c:pt>
                <c:pt idx="21">
                  <c:v>3.762384851057336</c:v>
                </c:pt>
                <c:pt idx="22">
                  <c:v>3.8795279699257526</c:v>
                </c:pt>
                <c:pt idx="23">
                  <c:v>2.202333320895338</c:v>
                </c:pt>
                <c:pt idx="24">
                  <c:v>2.135673591549296</c:v>
                </c:pt>
                <c:pt idx="25">
                  <c:v>2.256830152082874</c:v>
                </c:pt>
                <c:pt idx="26">
                  <c:v>2.1693148807717266</c:v>
                </c:pt>
                <c:pt idx="27">
                  <c:v>2.1443622532620252</c:v>
                </c:pt>
                <c:pt idx="28">
                  <c:v>2.1880018650879123</c:v>
                </c:pt>
                <c:pt idx="29">
                  <c:v>2.2681478292475505</c:v>
                </c:pt>
                <c:pt idx="30">
                  <c:v>2.4170908815291825</c:v>
                </c:pt>
                <c:pt idx="31">
                  <c:v>2.1706801870971035</c:v>
                </c:pt>
                <c:pt idx="32">
                  <c:v>1.7560927669481954</c:v>
                </c:pt>
                <c:pt idx="33">
                  <c:v>2.895495819514094</c:v>
                </c:pt>
                <c:pt idx="34">
                  <c:v>3.276743399948952</c:v>
                </c:pt>
                <c:pt idx="35">
                  <c:v>3.1589127012275875</c:v>
                </c:pt>
                <c:pt idx="36">
                  <c:v>1.2081695536767647</c:v>
                </c:pt>
                <c:pt idx="37">
                  <c:v>0.9728843518758552</c:v>
                </c:pt>
                <c:pt idx="38">
                  <c:v>1.2275449101796407</c:v>
                </c:pt>
                <c:pt idx="39">
                  <c:v>0.9146480112537474</c:v>
                </c:pt>
                <c:pt idx="40">
                  <c:v>1.1027034036069827</c:v>
                </c:pt>
                <c:pt idx="41">
                  <c:v>0.7216494845360825</c:v>
                </c:pt>
                <c:pt idx="42">
                  <c:v>0.6526992303056595</c:v>
                </c:pt>
                <c:pt idx="43">
                  <c:v>0.8887349543520335</c:v>
                </c:pt>
                <c:pt idx="44">
                  <c:v>0.7028454141714774</c:v>
                </c:pt>
                <c:pt idx="45">
                  <c:v>1.017786561264822</c:v>
                </c:pt>
                <c:pt idx="46">
                  <c:v>0.5060240963855421</c:v>
                </c:pt>
                <c:pt idx="47">
                  <c:v>1.2676689823054161</c:v>
                </c:pt>
                <c:pt idx="48">
                  <c:v>0.46996466431095407</c:v>
                </c:pt>
                <c:pt idx="49">
                  <c:v>0.0</c:v>
                </c:pt>
              </c:numCache>
            </c:numRef>
          </c:xVal>
          <c:yVal>
            <c:numRef>
              <c:f>Sheet1!$B$2:$B$51</c:f>
              <c:numCache>
                <c:formatCode>General</c:formatCode>
                <c:ptCount val="50"/>
                <c:pt idx="0">
                  <c:v>0.030303030303030304</c:v>
                </c:pt>
                <c:pt idx="1">
                  <c:v>0.1326530612244898</c:v>
                </c:pt>
                <c:pt idx="2">
                  <c:v>0.16535433070866143</c:v>
                </c:pt>
                <c:pt idx="3">
                  <c:v>0.11450381679389313</c:v>
                </c:pt>
                <c:pt idx="4">
                  <c:v>0.14184397163120568</c:v>
                </c:pt>
                <c:pt idx="5">
                  <c:v>0.18023255813953487</c:v>
                </c:pt>
                <c:pt idx="6">
                  <c:v>0.2233502538071066</c:v>
                </c:pt>
                <c:pt idx="7">
                  <c:v>0.21348314606741572</c:v>
                </c:pt>
                <c:pt idx="8">
                  <c:v>0.11688311688311688</c:v>
                </c:pt>
                <c:pt idx="9">
                  <c:v>0.10344827586206896</c:v>
                </c:pt>
                <c:pt idx="10">
                  <c:v>0.16091954022988506</c:v>
                </c:pt>
                <c:pt idx="11">
                  <c:v>0.14814814814814814</c:v>
                </c:pt>
                <c:pt idx="12">
                  <c:v>0.09090909090909091</c:v>
                </c:pt>
                <c:pt idx="13">
                  <c:v>0.11290322580645161</c:v>
                </c:pt>
                <c:pt idx="14">
                  <c:v>0.0967741935483871</c:v>
                </c:pt>
                <c:pt idx="15">
                  <c:v>0.0970873786407767</c:v>
                </c:pt>
                <c:pt idx="16">
                  <c:v>0.11788617886178862</c:v>
                </c:pt>
                <c:pt idx="17">
                  <c:v>0.12162162162162163</c:v>
                </c:pt>
                <c:pt idx="18">
                  <c:v>0.08080808080808081</c:v>
                </c:pt>
                <c:pt idx="19">
                  <c:v>0.0707070707070707</c:v>
                </c:pt>
                <c:pt idx="20">
                  <c:v>0.056179775280898875</c:v>
                </c:pt>
                <c:pt idx="21">
                  <c:v>0.07920792079207921</c:v>
                </c:pt>
                <c:pt idx="22">
                  <c:v>0.046511627906976744</c:v>
                </c:pt>
                <c:pt idx="23">
                  <c:v>0.26732673267326734</c:v>
                </c:pt>
                <c:pt idx="24">
                  <c:v>0.3137254901960784</c:v>
                </c:pt>
                <c:pt idx="25">
                  <c:v>0.28</c:v>
                </c:pt>
                <c:pt idx="26">
                  <c:v>0.2833333333333333</c:v>
                </c:pt>
                <c:pt idx="27">
                  <c:v>0.12962962962962962</c:v>
                </c:pt>
                <c:pt idx="28">
                  <c:v>0.09836065573770492</c:v>
                </c:pt>
                <c:pt idx="29">
                  <c:v>0.07407407407407407</c:v>
                </c:pt>
                <c:pt idx="30">
                  <c:v>0.07142857142857142</c:v>
                </c:pt>
                <c:pt idx="31">
                  <c:v>0.11475409836065574</c:v>
                </c:pt>
                <c:pt idx="32">
                  <c:v>0.07142857142857142</c:v>
                </c:pt>
                <c:pt idx="33">
                  <c:v>0.06578947368421052</c:v>
                </c:pt>
                <c:pt idx="34">
                  <c:v>0.02666666666666667</c:v>
                </c:pt>
                <c:pt idx="35">
                  <c:v>0.0196078431372549</c:v>
                </c:pt>
                <c:pt idx="36">
                  <c:v>0.1509433962264151</c:v>
                </c:pt>
                <c:pt idx="37">
                  <c:v>0.12195121951219512</c:v>
                </c:pt>
                <c:pt idx="38">
                  <c:v>0.047619047619047616</c:v>
                </c:pt>
                <c:pt idx="39">
                  <c:v>0.14705882352941177</c:v>
                </c:pt>
                <c:pt idx="40">
                  <c:v>0.06896551724137931</c:v>
                </c:pt>
                <c:pt idx="41">
                  <c:v>0.06666666666666667</c:v>
                </c:pt>
                <c:pt idx="42">
                  <c:v>0.05263157894736842</c:v>
                </c:pt>
                <c:pt idx="43">
                  <c:v>0.2727272727272727</c:v>
                </c:pt>
                <c:pt idx="44">
                  <c:v>0.05555555555555555</c:v>
                </c:pt>
                <c:pt idx="45">
                  <c:v>0.21052631578947367</c:v>
                </c:pt>
                <c:pt idx="46">
                  <c:v>0.06666666666666667</c:v>
                </c:pt>
                <c:pt idx="47">
                  <c:v>0.045454545454545456</c:v>
                </c:pt>
                <c:pt idx="48">
                  <c:v>0.0625</c:v>
                </c:pt>
                <c:pt idx="49">
                  <c:v>0.16666666666666666</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64</c:f>
              <c:numCache>
                <c:formatCode>General</c:formatCode>
                <c:ptCount val="11"/>
                <c:pt idx="0">
                  <c:v>0.0</c:v>
                </c:pt>
                <c:pt idx="1">
                  <c:v>0.0</c:v>
                </c:pt>
                <c:pt idx="2">
                  <c:v>0.0</c:v>
                </c:pt>
                <c:pt idx="3">
                  <c:v>0.0</c:v>
                </c:pt>
                <c:pt idx="4">
                  <c:v>0.0</c:v>
                </c:pt>
                <c:pt idx="5">
                  <c:v>0.0</c:v>
                </c:pt>
                <c:pt idx="6">
                  <c:v>0.0</c:v>
                </c:pt>
                <c:pt idx="7">
                  <c:v>0.0</c:v>
                </c:pt>
                <c:pt idx="8">
                  <c:v>0.0</c:v>
                </c:pt>
                <c:pt idx="9">
                  <c:v>1.0982658959537572</c:v>
                </c:pt>
                <c:pt idx="10">
                  <c:v>0.0</c:v>
                </c:pt>
              </c:numCache>
            </c:numRef>
          </c:xVal>
          <c:yVal>
            <c:numRef>
              <c:f>Sheet1!$B$54:$B$64</c:f>
              <c:numCache>
                <c:formatCode>General</c:formatCode>
                <c:ptCount val="11"/>
                <c:pt idx="0">
                  <c:v>0.0</c:v>
                </c:pt>
                <c:pt idx="1">
                  <c:v>0.0</c:v>
                </c:pt>
                <c:pt idx="2">
                  <c:v>0.0</c:v>
                </c:pt>
                <c:pt idx="3">
                  <c:v>0.0</c:v>
                </c:pt>
                <c:pt idx="4">
                  <c:v>0.0</c:v>
                </c:pt>
                <c:pt idx="5">
                  <c:v>0.0</c:v>
                </c:pt>
                <c:pt idx="6">
                  <c:v>0.0</c:v>
                </c:pt>
                <c:pt idx="7">
                  <c:v>0.0</c:v>
                </c:pt>
                <c:pt idx="8">
                  <c:v>0.0</c:v>
                </c:pt>
                <c:pt idx="9">
                  <c:v>0.23076923076923078</c:v>
                </c:pt>
                <c:pt idx="10">
                  <c:v>0.0</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0.6777373080691241</c:v>
                </c:pt>
              </c:numCache>
            </c:numRef>
          </c:xVal>
          <c:yVal>
            <c:numRef>
              <c:f>Sheet1!$B$67:$B$68</c:f>
              <c:numCache>
                <c:formatCode>General</c:formatCode>
                <c:ptCount val="2"/>
                <c:pt idx="0">
                  <c:v>0.1424071509667512</c:v>
                </c:pt>
                <c:pt idx="1">
                  <c:v>0.1424071509667512</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0.6777373080691241</c:v>
                </c:pt>
                <c:pt idx="1">
                  <c:v>0.6777373080691241</c:v>
                </c:pt>
              </c:numCache>
            </c:numRef>
          </c:xVal>
          <c:yVal>
            <c:numRef>
              <c:f>Sheet1!$B$71:$B$72</c:f>
              <c:numCache>
                <c:formatCode>General</c:formatCode>
                <c:ptCount val="2"/>
                <c:pt idx="0">
                  <c:v>0.14240715096675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0.47286448298009</c:v>
                </c:pt>
              </c:numCache>
            </c:numRef>
          </c:xVal>
          <c:yVal>
            <c:numRef>
              <c:f>Sheet1!$B$75:$B$76</c:f>
              <c:numCache>
                <c:formatCode>General</c:formatCode>
                <c:ptCount val="2"/>
                <c:pt idx="0">
                  <c:v>0.09935897435897437</c:v>
                </c:pt>
                <c:pt idx="1">
                  <c:v>0.09935897435897437</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0.47286448298009</c:v>
                </c:pt>
                <c:pt idx="1">
                  <c:v>0.47286448298009</c:v>
                </c:pt>
              </c:numCache>
            </c:numRef>
          </c:xVal>
          <c:yVal>
            <c:numRef>
              <c:f>Sheet1!$B$79:$B$80</c:f>
              <c:numCache>
                <c:formatCode>General</c:formatCode>
                <c:ptCount val="2"/>
                <c:pt idx="0">
                  <c:v>0.099358974358974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96</c:f>
              <c:numCache>
                <c:formatCode>General</c:formatCode>
                <c:ptCount val="14"/>
                <c:pt idx="0">
                  <c:v>0.0</c:v>
                </c:pt>
                <c:pt idx="1">
                  <c:v>0.0</c:v>
                </c:pt>
                <c:pt idx="2">
                  <c:v>0.0</c:v>
                </c:pt>
                <c:pt idx="3">
                  <c:v>0.0</c:v>
                </c:pt>
                <c:pt idx="4">
                  <c:v>0.0</c:v>
                </c:pt>
                <c:pt idx="5">
                  <c:v>0.0</c:v>
                </c:pt>
                <c:pt idx="6">
                  <c:v>0.0</c:v>
                </c:pt>
                <c:pt idx="7">
                  <c:v>0.0</c:v>
                </c:pt>
                <c:pt idx="8">
                  <c:v>0.0</c:v>
                </c:pt>
                <c:pt idx="9">
                  <c:v>1.0982658959537572</c:v>
                </c:pt>
                <c:pt idx="10">
                  <c:v>0.0</c:v>
                </c:pt>
                <c:pt idx="11">
                  <c:v>0.47286448298009</c:v>
                </c:pt>
                <c:pt idx="12">
                  <c:v>0.6777373080691241</c:v>
                </c:pt>
                <c:pt idx="13">
                  <c:v>0</c:v>
                </c:pt>
              </c:numCache>
            </c:numRef>
          </c:xVal>
          <c:yVal>
            <c:numRef>
              <c:f>Sheet1!$B$83:$B$96</c:f>
              <c:numCache>
                <c:formatCode>General</c:formatCode>
                <c:ptCount val="14"/>
                <c:pt idx="0">
                  <c:v>1.8151999689355181e-19</c:v>
                </c:pt>
                <c:pt idx="1">
                  <c:v>1.8151999689355181e-19</c:v>
                </c:pt>
                <c:pt idx="2">
                  <c:v>1.8151999689355181e-19</c:v>
                </c:pt>
                <c:pt idx="3">
                  <c:v>1.8151999689355181e-19</c:v>
                </c:pt>
                <c:pt idx="4">
                  <c:v>1.8151999689355181e-19</c:v>
                </c:pt>
                <c:pt idx="5">
                  <c:v>1.8151999689355181e-19</c:v>
                </c:pt>
                <c:pt idx="6">
                  <c:v>1.8151999689355181e-19</c:v>
                </c:pt>
                <c:pt idx="7">
                  <c:v>1.8151999689355181e-19</c:v>
                </c:pt>
                <c:pt idx="8">
                  <c:v>1.8151999689355181e-19</c:v>
                </c:pt>
                <c:pt idx="9">
                  <c:v>0.23076923076923075</c:v>
                </c:pt>
                <c:pt idx="10">
                  <c:v>1.8151999689355181e-19</c:v>
                </c:pt>
                <c:pt idx="11">
                  <c:v>0.09935897435897437</c:v>
                </c:pt>
                <c:pt idx="12">
                  <c:v>0.1424071509667512</c:v>
                </c:pt>
                <c:pt idx="13">
                  <c:v>1.8151999689355181e-19</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6470588235294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26.5</c:v>
                </c:pt>
                <c:pt idx="1">
                  <c:v>998.4615</c:v>
                </c:pt>
                <c:pt idx="2">
                  <c:v>1015.0952</c:v>
                </c:pt>
                <c:pt idx="3">
                  <c:v>1001.3333</c:v>
                </c:pt>
                <c:pt idx="4">
                  <c:v>1016.45</c:v>
                </c:pt>
                <c:pt idx="5">
                  <c:v>996.3226</c:v>
                </c:pt>
                <c:pt idx="6">
                  <c:v>1004.1364</c:v>
                </c:pt>
                <c:pt idx="7">
                  <c:v>1015.0526</c:v>
                </c:pt>
                <c:pt idx="8">
                  <c:v>1012.2222</c:v>
                </c:pt>
                <c:pt idx="9">
                  <c:v>1012.2222</c:v>
                </c:pt>
                <c:pt idx="10">
                  <c:v>977.3571</c:v>
                </c:pt>
                <c:pt idx="11">
                  <c:v>990.5</c:v>
                </c:pt>
                <c:pt idx="12">
                  <c:v>954.5714</c:v>
                </c:pt>
                <c:pt idx="13">
                  <c:v>997.7143</c:v>
                </c:pt>
                <c:pt idx="14">
                  <c:v>1055.3333</c:v>
                </c:pt>
                <c:pt idx="15">
                  <c:v>1016.6</c:v>
                </c:pt>
                <c:pt idx="16">
                  <c:v>994.7586</c:v>
                </c:pt>
                <c:pt idx="17">
                  <c:v>999.5926</c:v>
                </c:pt>
                <c:pt idx="18">
                  <c:v>1050.75</c:v>
                </c:pt>
                <c:pt idx="19">
                  <c:v>1050.2857</c:v>
                </c:pt>
                <c:pt idx="20">
                  <c:v>984.8</c:v>
                </c:pt>
                <c:pt idx="21">
                  <c:v>1055.25</c:v>
                </c:pt>
                <c:pt idx="22">
                  <c:v>1055.0</c:v>
                </c:pt>
                <c:pt idx="23">
                  <c:v>625.6296</c:v>
                </c:pt>
                <c:pt idx="24">
                  <c:v>606.5313</c:v>
                </c:pt>
                <c:pt idx="25">
                  <c:v>639.9524</c:v>
                </c:pt>
                <c:pt idx="26">
                  <c:v>610.4118</c:v>
                </c:pt>
                <c:pt idx="27">
                  <c:v>581.4286</c:v>
                </c:pt>
                <c:pt idx="28">
                  <c:v>610.5</c:v>
                </c:pt>
                <c:pt idx="29">
                  <c:v>642.75</c:v>
                </c:pt>
                <c:pt idx="30">
                  <c:v>666.5</c:v>
                </c:pt>
                <c:pt idx="31">
                  <c:v>607.4286</c:v>
                </c:pt>
                <c:pt idx="32">
                  <c:v>496.75</c:v>
                </c:pt>
                <c:pt idx="33">
                  <c:v>636.0</c:v>
                </c:pt>
                <c:pt idx="34">
                  <c:v>617.5</c:v>
                </c:pt>
                <c:pt idx="35">
                  <c:v>619.0</c:v>
                </c:pt>
                <c:pt idx="36">
                  <c:v>241.375</c:v>
                </c:pt>
                <c:pt idx="37">
                  <c:v>194.4</c:v>
                </c:pt>
                <c:pt idx="38">
                  <c:v>246.0</c:v>
                </c:pt>
                <c:pt idx="39">
                  <c:v>179.0</c:v>
                </c:pt>
                <c:pt idx="40">
                  <c:v>207.5</c:v>
                </c:pt>
                <c:pt idx="41">
                  <c:v>140.0</c:v>
                </c:pt>
                <c:pt idx="42">
                  <c:v>133.0</c:v>
                </c:pt>
                <c:pt idx="43">
                  <c:v>175.0</c:v>
                </c:pt>
                <c:pt idx="44">
                  <c:v>133.0</c:v>
                </c:pt>
                <c:pt idx="45">
                  <c:v>206.0</c:v>
                </c:pt>
                <c:pt idx="46">
                  <c:v>126.0</c:v>
                </c:pt>
                <c:pt idx="47">
                  <c:v>281.0</c:v>
                </c:pt>
                <c:pt idx="48">
                  <c:v>133.0</c:v>
                </c:pt>
              </c:numCache>
            </c:numRef>
          </c:xVal>
          <c:yVal>
            <c:numRef>
              <c:f>Sheet1!$B$2:$B$50</c:f>
              <c:numCache>
                <c:formatCode>General</c:formatCode>
                <c:ptCount val="49"/>
                <c:pt idx="0">
                  <c:v>0.030303030303030304</c:v>
                </c:pt>
                <c:pt idx="1">
                  <c:v>0.1326530612244898</c:v>
                </c:pt>
                <c:pt idx="2">
                  <c:v>0.16535433070866143</c:v>
                </c:pt>
                <c:pt idx="3">
                  <c:v>0.11450381679389313</c:v>
                </c:pt>
                <c:pt idx="4">
                  <c:v>0.14184397163120568</c:v>
                </c:pt>
                <c:pt idx="5">
                  <c:v>0.18023255813953487</c:v>
                </c:pt>
                <c:pt idx="6">
                  <c:v>0.2233502538071066</c:v>
                </c:pt>
                <c:pt idx="7">
                  <c:v>0.21348314606741572</c:v>
                </c:pt>
                <c:pt idx="8">
                  <c:v>0.11688311688311688</c:v>
                </c:pt>
                <c:pt idx="9">
                  <c:v>0.10344827586206896</c:v>
                </c:pt>
                <c:pt idx="10">
                  <c:v>0.16091954022988506</c:v>
                </c:pt>
                <c:pt idx="11">
                  <c:v>0.14814814814814814</c:v>
                </c:pt>
                <c:pt idx="12">
                  <c:v>0.09090909090909091</c:v>
                </c:pt>
                <c:pt idx="13">
                  <c:v>0.11290322580645161</c:v>
                </c:pt>
                <c:pt idx="14">
                  <c:v>0.0967741935483871</c:v>
                </c:pt>
                <c:pt idx="15">
                  <c:v>0.0970873786407767</c:v>
                </c:pt>
                <c:pt idx="16">
                  <c:v>0.11788617886178862</c:v>
                </c:pt>
                <c:pt idx="17">
                  <c:v>0.12162162162162163</c:v>
                </c:pt>
                <c:pt idx="18">
                  <c:v>0.08080808080808081</c:v>
                </c:pt>
                <c:pt idx="19">
                  <c:v>0.0707070707070707</c:v>
                </c:pt>
                <c:pt idx="20">
                  <c:v>0.056179775280898875</c:v>
                </c:pt>
                <c:pt idx="21">
                  <c:v>0.07920792079207921</c:v>
                </c:pt>
                <c:pt idx="22">
                  <c:v>0.046511627906976744</c:v>
                </c:pt>
                <c:pt idx="23">
                  <c:v>0.26732673267326734</c:v>
                </c:pt>
                <c:pt idx="24">
                  <c:v>0.3137254901960784</c:v>
                </c:pt>
                <c:pt idx="25">
                  <c:v>0.28</c:v>
                </c:pt>
                <c:pt idx="26">
                  <c:v>0.2833333333333333</c:v>
                </c:pt>
                <c:pt idx="27">
                  <c:v>0.12962962962962962</c:v>
                </c:pt>
                <c:pt idx="28">
                  <c:v>0.09836065573770492</c:v>
                </c:pt>
                <c:pt idx="29">
                  <c:v>0.07407407407407407</c:v>
                </c:pt>
                <c:pt idx="30">
                  <c:v>0.07142857142857142</c:v>
                </c:pt>
                <c:pt idx="31">
                  <c:v>0.11475409836065574</c:v>
                </c:pt>
                <c:pt idx="32">
                  <c:v>0.07142857142857142</c:v>
                </c:pt>
                <c:pt idx="33">
                  <c:v>0.06578947368421052</c:v>
                </c:pt>
                <c:pt idx="34">
                  <c:v>0.02666666666666667</c:v>
                </c:pt>
                <c:pt idx="35">
                  <c:v>0.0196078431372549</c:v>
                </c:pt>
                <c:pt idx="36">
                  <c:v>0.1509433962264151</c:v>
                </c:pt>
                <c:pt idx="37">
                  <c:v>0.12195121951219512</c:v>
                </c:pt>
                <c:pt idx="38">
                  <c:v>0.047619047619047616</c:v>
                </c:pt>
                <c:pt idx="39">
                  <c:v>0.14705882352941177</c:v>
                </c:pt>
                <c:pt idx="40">
                  <c:v>0.06896551724137931</c:v>
                </c:pt>
                <c:pt idx="41">
                  <c:v>0.06666666666666667</c:v>
                </c:pt>
                <c:pt idx="42">
                  <c:v>0.05263157894736842</c:v>
                </c:pt>
                <c:pt idx="43">
                  <c:v>0.2727272727272727</c:v>
                </c:pt>
                <c:pt idx="44">
                  <c:v>0.05555555555555555</c:v>
                </c:pt>
                <c:pt idx="45">
                  <c:v>0.21052631578947367</c:v>
                </c:pt>
                <c:pt idx="46">
                  <c:v>0.06666666666666667</c:v>
                </c:pt>
                <c:pt idx="47">
                  <c:v>0.045454545454545456</c:v>
                </c:pt>
                <c:pt idx="48">
                  <c:v>0.0625</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64</c:f>
              <c:numCache>
                <c:formatCode>General</c:formatCode>
                <c:ptCount val="12"/>
                <c:pt idx="0">
                  <c:v>0.0</c:v>
                </c:pt>
                <c:pt idx="1">
                  <c:v>0.0</c:v>
                </c:pt>
                <c:pt idx="2">
                  <c:v>0.0</c:v>
                </c:pt>
                <c:pt idx="3">
                  <c:v>0.0</c:v>
                </c:pt>
                <c:pt idx="4">
                  <c:v>0.0</c:v>
                </c:pt>
                <c:pt idx="5">
                  <c:v>0.0</c:v>
                </c:pt>
                <c:pt idx="6">
                  <c:v>0.0</c:v>
                </c:pt>
                <c:pt idx="7">
                  <c:v>0.0</c:v>
                </c:pt>
                <c:pt idx="8">
                  <c:v>140.0</c:v>
                </c:pt>
                <c:pt idx="9">
                  <c:v>0.0</c:v>
                </c:pt>
                <c:pt idx="10">
                  <c:v>190.0</c:v>
                </c:pt>
                <c:pt idx="11">
                  <c:v>0.0</c:v>
                </c:pt>
              </c:numCache>
            </c:numRef>
          </c:xVal>
          <c:yVal>
            <c:numRef>
              <c:f>Sheet1!$B$53:$B$64</c:f>
              <c:numCache>
                <c:formatCode>General</c:formatCode>
                <c:ptCount val="12"/>
                <c:pt idx="0">
                  <c:v>0.0</c:v>
                </c:pt>
                <c:pt idx="1">
                  <c:v>0.0</c:v>
                </c:pt>
                <c:pt idx="2">
                  <c:v>0.0</c:v>
                </c:pt>
                <c:pt idx="3">
                  <c:v>0.0</c:v>
                </c:pt>
                <c:pt idx="4">
                  <c:v>0.0</c:v>
                </c:pt>
                <c:pt idx="5">
                  <c:v>0.0</c:v>
                </c:pt>
                <c:pt idx="6">
                  <c:v>0.0</c:v>
                </c:pt>
                <c:pt idx="7">
                  <c:v>0.0</c:v>
                </c:pt>
                <c:pt idx="8">
                  <c:v>0.16666666666666666</c:v>
                </c:pt>
                <c:pt idx="9">
                  <c:v>0.0</c:v>
                </c:pt>
                <c:pt idx="10">
                  <c:v>0.23076923076923078</c:v>
                </c:pt>
                <c:pt idx="11">
                  <c:v>0.0</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118.08718851547938</c:v>
                </c:pt>
              </c:numCache>
            </c:numRef>
          </c:xVal>
          <c:yVal>
            <c:numRef>
              <c:f>Sheet1!$B$67:$B$68</c:f>
              <c:numCache>
                <c:formatCode>General</c:formatCode>
                <c:ptCount val="2"/>
                <c:pt idx="0">
                  <c:v>0.1424071509667512</c:v>
                </c:pt>
                <c:pt idx="1">
                  <c:v>0.1424071509667512</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118.08718851547938</c:v>
                </c:pt>
                <c:pt idx="1">
                  <c:v>118.08718851547938</c:v>
                </c:pt>
              </c:numCache>
            </c:numRef>
          </c:xVal>
          <c:yVal>
            <c:numRef>
              <c:f>Sheet1!$B$71:$B$72</c:f>
              <c:numCache>
                <c:formatCode>General</c:formatCode>
                <c:ptCount val="2"/>
                <c:pt idx="0">
                  <c:v>0.14240715096675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82.40503323836658</c:v>
                </c:pt>
              </c:numCache>
            </c:numRef>
          </c:xVal>
          <c:yVal>
            <c:numRef>
              <c:f>Sheet1!$B$75:$B$76</c:f>
              <c:numCache>
                <c:formatCode>General</c:formatCode>
                <c:ptCount val="2"/>
                <c:pt idx="0">
                  <c:v>0.09935897435897437</c:v>
                </c:pt>
                <c:pt idx="1">
                  <c:v>0.09935897435897437</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82.40503323836658</c:v>
                </c:pt>
                <c:pt idx="1">
                  <c:v>82.40503323836658</c:v>
                </c:pt>
              </c:numCache>
            </c:numRef>
          </c:xVal>
          <c:yVal>
            <c:numRef>
              <c:f>Sheet1!$B$79:$B$80</c:f>
              <c:numCache>
                <c:formatCode>General</c:formatCode>
                <c:ptCount val="2"/>
                <c:pt idx="0">
                  <c:v>0.099358974358974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97</c:f>
              <c:numCache>
                <c:formatCode>General</c:formatCode>
                <c:ptCount val="15"/>
                <c:pt idx="0">
                  <c:v>0.0</c:v>
                </c:pt>
                <c:pt idx="1">
                  <c:v>0.0</c:v>
                </c:pt>
                <c:pt idx="2">
                  <c:v>0.0</c:v>
                </c:pt>
                <c:pt idx="3">
                  <c:v>0.0</c:v>
                </c:pt>
                <c:pt idx="4">
                  <c:v>0.0</c:v>
                </c:pt>
                <c:pt idx="5">
                  <c:v>0.0</c:v>
                </c:pt>
                <c:pt idx="6">
                  <c:v>0.0</c:v>
                </c:pt>
                <c:pt idx="7">
                  <c:v>0.0</c:v>
                </c:pt>
                <c:pt idx="8">
                  <c:v>140.0</c:v>
                </c:pt>
                <c:pt idx="9">
                  <c:v>0.0</c:v>
                </c:pt>
                <c:pt idx="10">
                  <c:v>190.0</c:v>
                </c:pt>
                <c:pt idx="11">
                  <c:v>0.0</c:v>
                </c:pt>
                <c:pt idx="12">
                  <c:v>82.40503323836658</c:v>
                </c:pt>
                <c:pt idx="13">
                  <c:v>118.08718851547938</c:v>
                </c:pt>
                <c:pt idx="14">
                  <c:v>0</c:v>
                </c:pt>
              </c:numCache>
            </c:numRef>
          </c:xVal>
          <c:yVal>
            <c:numRef>
              <c:f>Sheet1!$B$83:$B$97</c:f>
              <c:numCache>
                <c:formatCode>General</c:formatCode>
                <c:ptCount val="15"/>
                <c:pt idx="0">
                  <c:v>-5.728558007377209e-05</c:v>
                </c:pt>
                <c:pt idx="1">
                  <c:v>-5.728558007377209e-05</c:v>
                </c:pt>
                <c:pt idx="2">
                  <c:v>-5.728558007377209e-05</c:v>
                </c:pt>
                <c:pt idx="3">
                  <c:v>-5.728558007377209e-05</c:v>
                </c:pt>
                <c:pt idx="4">
                  <c:v>-5.728558007377209e-05</c:v>
                </c:pt>
                <c:pt idx="5">
                  <c:v>-5.728558007377209e-05</c:v>
                </c:pt>
                <c:pt idx="6">
                  <c:v>-5.728558007377209e-05</c:v>
                </c:pt>
                <c:pt idx="7">
                  <c:v>-5.728558007377209e-05</c:v>
                </c:pt>
                <c:pt idx="8">
                  <c:v>0.16884351870947042</c:v>
                </c:pt>
                <c:pt idx="9">
                  <c:v>-5.728558007377209e-05</c:v>
                </c:pt>
                <c:pt idx="10">
                  <c:v>0.22916523452716478</c:v>
                </c:pt>
                <c:pt idx="11">
                  <c:v>-5.728558007377209e-05</c:v>
                </c:pt>
                <c:pt idx="12">
                  <c:v>0.09935897435897438</c:v>
                </c:pt>
                <c:pt idx="13">
                  <c:v>0.1424071509667512</c:v>
                </c:pt>
                <c:pt idx="14">
                  <c:v>-5.728558007377209e-0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6470588235294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1</c:f>
              <c:numCache>
                <c:formatCode>General</c:formatCode>
                <c:ptCount val="40"/>
                <c:pt idx="0">
                  <c:v>0.04953271028037383</c:v>
                </c:pt>
                <c:pt idx="1">
                  <c:v>2.765926975476839</c:v>
                </c:pt>
                <c:pt idx="2">
                  <c:v>0.0</c:v>
                </c:pt>
                <c:pt idx="3">
                  <c:v>0.0</c:v>
                </c:pt>
                <c:pt idx="4">
                  <c:v>0.8540368212349275</c:v>
                </c:pt>
                <c:pt idx="5">
                  <c:v>0.8290812945770858</c:v>
                </c:pt>
                <c:pt idx="6">
                  <c:v>1.0452226827805216</c:v>
                </c:pt>
                <c:pt idx="7">
                  <c:v>1.0378393677314497</c:v>
                </c:pt>
                <c:pt idx="8">
                  <c:v>0.8422668123309304</c:v>
                </c:pt>
                <c:pt idx="9">
                  <c:v>0.8644326748971193</c:v>
                </c:pt>
                <c:pt idx="10">
                  <c:v>0.79542305432922</c:v>
                </c:pt>
                <c:pt idx="11">
                  <c:v>0.840991315374971</c:v>
                </c:pt>
                <c:pt idx="12">
                  <c:v>0.8670153026968204</c:v>
                </c:pt>
                <c:pt idx="13">
                  <c:v>0.5065826720647774</c:v>
                </c:pt>
                <c:pt idx="14">
                  <c:v>0.4576443525564475</c:v>
                </c:pt>
                <c:pt idx="15">
                  <c:v>0.5720244916201117</c:v>
                </c:pt>
                <c:pt idx="16">
                  <c:v>0.5202373443249245</c:v>
                </c:pt>
                <c:pt idx="17">
                  <c:v>0.4279143330266789</c:v>
                </c:pt>
                <c:pt idx="18">
                  <c:v>0.494331983805668</c:v>
                </c:pt>
                <c:pt idx="19">
                  <c:v>0.4971766707920792</c:v>
                </c:pt>
                <c:pt idx="20">
                  <c:v>0.44973009446693657</c:v>
                </c:pt>
                <c:pt idx="21">
                  <c:v>0.4492815088757396</c:v>
                </c:pt>
                <c:pt idx="22">
                  <c:v>0.43033498210612137</c:v>
                </c:pt>
                <c:pt idx="23">
                  <c:v>0.6379137412236711</c:v>
                </c:pt>
                <c:pt idx="24">
                  <c:v>0.6212273641851107</c:v>
                </c:pt>
                <c:pt idx="25">
                  <c:v>0.4984900342258909</c:v>
                </c:pt>
                <c:pt idx="26">
                  <c:v>0.19465725806451614</c:v>
                </c:pt>
                <c:pt idx="27">
                  <c:v>0.19488721804511278</c:v>
                </c:pt>
                <c:pt idx="28">
                  <c:v>0.21553738947247048</c:v>
                </c:pt>
                <c:pt idx="29">
                  <c:v>0.0</c:v>
                </c:pt>
                <c:pt idx="30">
                  <c:v>0.13944892473118278</c:v>
                </c:pt>
                <c:pt idx="31">
                  <c:v>0.09364548494983277</c:v>
                </c:pt>
                <c:pt idx="32">
                  <c:v>0.11851191802183114</c:v>
                </c:pt>
                <c:pt idx="33">
                  <c:v>0.15337423312883436</c:v>
                </c:pt>
                <c:pt idx="34">
                  <c:v>0.08890374331550802</c:v>
                </c:pt>
                <c:pt idx="35">
                  <c:v>0.21397039729940276</c:v>
                </c:pt>
                <c:pt idx="36">
                  <c:v>0.10966057441253264</c:v>
                </c:pt>
                <c:pt idx="37">
                  <c:v>0.21442197634490653</c:v>
                </c:pt>
                <c:pt idx="38">
                  <c:v>0.1334002006018054</c:v>
                </c:pt>
                <c:pt idx="39">
                  <c:v>0.0</c:v>
                </c:pt>
              </c:numCache>
            </c:numRef>
          </c:xVal>
          <c:yVal>
            <c:numRef>
              <c:f>Sheet1!$B$2:$B$41</c:f>
              <c:numCache>
                <c:formatCode>General</c:formatCode>
                <c:ptCount val="40"/>
                <c:pt idx="0">
                  <c:v>0.030303030303030304</c:v>
                </c:pt>
                <c:pt idx="1">
                  <c:v>0.16535433070866143</c:v>
                </c:pt>
                <c:pt idx="2">
                  <c:v>0.11450381679389313</c:v>
                </c:pt>
                <c:pt idx="3">
                  <c:v>0.16091954022988506</c:v>
                </c:pt>
                <c:pt idx="4">
                  <c:v>0.0967741935483871</c:v>
                </c:pt>
                <c:pt idx="5">
                  <c:v>0.0970873786407767</c:v>
                </c:pt>
                <c:pt idx="6">
                  <c:v>0.11788617886178862</c:v>
                </c:pt>
                <c:pt idx="7">
                  <c:v>0.12162162162162163</c:v>
                </c:pt>
                <c:pt idx="8">
                  <c:v>0.08080808080808081</c:v>
                </c:pt>
                <c:pt idx="9">
                  <c:v>0.0707070707070707</c:v>
                </c:pt>
                <c:pt idx="10">
                  <c:v>0.056179775280898875</c:v>
                </c:pt>
                <c:pt idx="11">
                  <c:v>0.07920792079207921</c:v>
                </c:pt>
                <c:pt idx="12">
                  <c:v>0.046511627906976744</c:v>
                </c:pt>
                <c:pt idx="13">
                  <c:v>0.26732673267326734</c:v>
                </c:pt>
                <c:pt idx="14">
                  <c:v>0.3137254901960784</c:v>
                </c:pt>
                <c:pt idx="15">
                  <c:v>0.28</c:v>
                </c:pt>
                <c:pt idx="16">
                  <c:v>0.2833333333333333</c:v>
                </c:pt>
                <c:pt idx="17">
                  <c:v>0.12962962962962962</c:v>
                </c:pt>
                <c:pt idx="18">
                  <c:v>0.09836065573770492</c:v>
                </c:pt>
                <c:pt idx="19">
                  <c:v>0.07407407407407407</c:v>
                </c:pt>
                <c:pt idx="20">
                  <c:v>0.07142857142857142</c:v>
                </c:pt>
                <c:pt idx="21">
                  <c:v>0.11475409836065574</c:v>
                </c:pt>
                <c:pt idx="22">
                  <c:v>0.07142857142857142</c:v>
                </c:pt>
                <c:pt idx="23">
                  <c:v>0.06578947368421052</c:v>
                </c:pt>
                <c:pt idx="24">
                  <c:v>0.02666666666666667</c:v>
                </c:pt>
                <c:pt idx="25">
                  <c:v>0.0196078431372549</c:v>
                </c:pt>
                <c:pt idx="26">
                  <c:v>0.1509433962264151</c:v>
                </c:pt>
                <c:pt idx="27">
                  <c:v>0.12195121951219512</c:v>
                </c:pt>
                <c:pt idx="28">
                  <c:v>0.047619047619047616</c:v>
                </c:pt>
                <c:pt idx="29">
                  <c:v>0.14705882352941177</c:v>
                </c:pt>
                <c:pt idx="30">
                  <c:v>0.06896551724137931</c:v>
                </c:pt>
                <c:pt idx="31">
                  <c:v>0.06666666666666667</c:v>
                </c:pt>
                <c:pt idx="32">
                  <c:v>0.05263157894736842</c:v>
                </c:pt>
                <c:pt idx="33">
                  <c:v>0.2727272727272727</c:v>
                </c:pt>
                <c:pt idx="34">
                  <c:v>0.05555555555555555</c:v>
                </c:pt>
                <c:pt idx="35">
                  <c:v>0.21052631578947367</c:v>
                </c:pt>
                <c:pt idx="36">
                  <c:v>0.06666666666666667</c:v>
                </c:pt>
                <c:pt idx="37">
                  <c:v>0.045454545454545456</c:v>
                </c:pt>
                <c:pt idx="38">
                  <c:v>0.0625</c:v>
                </c:pt>
                <c:pt idx="39">
                  <c:v>0.16666666666666666</c:v>
                </c:pt>
              </c:numCache>
            </c:numRef>
          </c:yVal>
          <c:smooth val="0"/>
          <c:extLst>
            <c:ext xmlns:c16="http://schemas.microsoft.com/office/drawing/2014/chart" uri="{C3380CC4-5D6E-409C-BE32-E72D297353CC}">
              <c16:uniqueId val="{00000000-096C-4121-9522-6AB7243CCAAE}"/>
            </c:ext>
          </c:extLst>
        </c:ser>
        <c:ser>
          <c:idx val="1"/>
          <c:order val="1"/>
          <c:tx>
            <c:strRef>
              <c:f>Sheet1!$B$4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4:$A$53</c:f>
              <c:numCache>
                <c:formatCode>General</c:formatCode>
                <c:ptCount val="10"/>
                <c:pt idx="0">
                  <c:v>0.0</c:v>
                </c:pt>
                <c:pt idx="1">
                  <c:v>0.0</c:v>
                </c:pt>
                <c:pt idx="2">
                  <c:v>0.0</c:v>
                </c:pt>
                <c:pt idx="3">
                  <c:v>0.0</c:v>
                </c:pt>
                <c:pt idx="4">
                  <c:v>0.0</c:v>
                </c:pt>
                <c:pt idx="5">
                  <c:v>0.0</c:v>
                </c:pt>
                <c:pt idx="6">
                  <c:v>0.0</c:v>
                </c:pt>
                <c:pt idx="7">
                  <c:v>0.0</c:v>
                </c:pt>
                <c:pt idx="8">
                  <c:v>0.1905717151454363</c:v>
                </c:pt>
                <c:pt idx="9">
                  <c:v>0.0</c:v>
                </c:pt>
              </c:numCache>
            </c:numRef>
          </c:xVal>
          <c:yVal>
            <c:numRef>
              <c:f>Sheet1!$B$44:$B$53</c:f>
              <c:numCache>
                <c:formatCode>General</c:formatCode>
                <c:ptCount val="10"/>
                <c:pt idx="0">
                  <c:v>0.0</c:v>
                </c:pt>
                <c:pt idx="1">
                  <c:v>0.0</c:v>
                </c:pt>
                <c:pt idx="2">
                  <c:v>0.0</c:v>
                </c:pt>
                <c:pt idx="3">
                  <c:v>0.0</c:v>
                </c:pt>
                <c:pt idx="4">
                  <c:v>0.0</c:v>
                </c:pt>
                <c:pt idx="5">
                  <c:v>0.0</c:v>
                </c:pt>
                <c:pt idx="6">
                  <c:v>0.0</c:v>
                </c:pt>
                <c:pt idx="7">
                  <c:v>0.0</c:v>
                </c:pt>
                <c:pt idx="8">
                  <c:v>0.23076923076923078</c:v>
                </c:pt>
                <c:pt idx="9">
                  <c:v>0.0</c:v>
                </c:pt>
              </c:numCache>
            </c:numRef>
          </c:yVal>
          <c:smooth val="0"/>
          <c:extLst>
            <c:ext xmlns:c16="http://schemas.microsoft.com/office/drawing/2014/chart" uri="{C3380CC4-5D6E-409C-BE32-E72D297353CC}">
              <c16:uniqueId val="{00000002-096C-4121-9522-6AB7243CCAAE}"/>
            </c:ext>
          </c:extLst>
        </c:ser>
        <c:ser>
          <c:idx val="2"/>
          <c:order val="2"/>
          <c:tx>
            <c:strRef>
              <c:f>Sheet1!$B$5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6:$A$57</c:f>
              <c:numCache>
                <c:formatCode>General</c:formatCode>
                <c:ptCount val="2"/>
                <c:pt idx="0">
                  <c:v>0</c:v>
                </c:pt>
                <c:pt idx="1">
                  <c:v>0.11760135837107169</c:v>
                </c:pt>
              </c:numCache>
            </c:numRef>
          </c:xVal>
          <c:yVal>
            <c:numRef>
              <c:f>Sheet1!$B$56:$B$57</c:f>
              <c:numCache>
                <c:formatCode>General</c:formatCode>
                <c:ptCount val="2"/>
                <c:pt idx="0">
                  <c:v>0.1424071509667512</c:v>
                </c:pt>
                <c:pt idx="1">
                  <c:v>0.1424071509667512</c:v>
                </c:pt>
              </c:numCache>
            </c:numRef>
          </c:yVal>
          <c:smooth val="0"/>
          <c:extLst>
            <c:ext xmlns:c16="http://schemas.microsoft.com/office/drawing/2014/chart" uri="{C3380CC4-5D6E-409C-BE32-E72D297353CC}">
              <c16:uniqueId val="{00000005-096C-4121-9522-6AB7243CCAAE}"/>
            </c:ext>
          </c:extLst>
        </c:ser>
        <c:ser>
          <c:idx val="3"/>
          <c:order val="3"/>
          <c:tx>
            <c:strRef>
              <c:f>Sheet1!$B$5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0:$A$61</c:f>
              <c:numCache>
                <c:formatCode>General</c:formatCode>
                <c:ptCount val="2"/>
                <c:pt idx="0">
                  <c:v>0.11760135837107169</c:v>
                </c:pt>
                <c:pt idx="1">
                  <c:v>0.11760135837107169</c:v>
                </c:pt>
              </c:numCache>
            </c:numRef>
          </c:xVal>
          <c:yVal>
            <c:numRef>
              <c:f>Sheet1!$B$60:$B$61</c:f>
              <c:numCache>
                <c:formatCode>General</c:formatCode>
                <c:ptCount val="2"/>
                <c:pt idx="0">
                  <c:v>0.14240715096675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4:$A$65</c:f>
              <c:numCache>
                <c:formatCode>General</c:formatCode>
                <c:ptCount val="2"/>
                <c:pt idx="0">
                  <c:v>0</c:v>
                </c:pt>
                <c:pt idx="1">
                  <c:v>0.0820517106876184</c:v>
                </c:pt>
              </c:numCache>
            </c:numRef>
          </c:xVal>
          <c:yVal>
            <c:numRef>
              <c:f>Sheet1!$B$64:$B$65</c:f>
              <c:numCache>
                <c:formatCode>General</c:formatCode>
                <c:ptCount val="2"/>
                <c:pt idx="0">
                  <c:v>0.09935897435897437</c:v>
                </c:pt>
                <c:pt idx="1">
                  <c:v>0.09935897435897437</c:v>
                </c:pt>
              </c:numCache>
            </c:numRef>
          </c:yVal>
          <c:smooth val="0"/>
          <c:extLst>
            <c:ext xmlns:c16="http://schemas.microsoft.com/office/drawing/2014/chart" uri="{C3380CC4-5D6E-409C-BE32-E72D297353CC}">
              <c16:uniqueId val="{0000000D-096C-4121-9522-6AB7243CCAAE}"/>
            </c:ext>
          </c:extLst>
        </c:ser>
        <c:ser>
          <c:idx val="5"/>
          <c:order val="5"/>
          <c:tx>
            <c:strRef>
              <c:f>Sheet1!$B$6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8:$A$69</c:f>
              <c:numCache>
                <c:formatCode>General</c:formatCode>
                <c:ptCount val="2"/>
                <c:pt idx="0">
                  <c:v>0.0820517106876184</c:v>
                </c:pt>
                <c:pt idx="1">
                  <c:v>0.0820517106876184</c:v>
                </c:pt>
              </c:numCache>
            </c:numRef>
          </c:xVal>
          <c:yVal>
            <c:numRef>
              <c:f>Sheet1!$B$68:$B$69</c:f>
              <c:numCache>
                <c:formatCode>General</c:formatCode>
                <c:ptCount val="2"/>
                <c:pt idx="0">
                  <c:v>0.099358974358974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1</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2:$A$84</c:f>
              <c:numCache>
                <c:formatCode>General</c:formatCode>
                <c:ptCount val="13"/>
                <c:pt idx="0">
                  <c:v>0.0</c:v>
                </c:pt>
                <c:pt idx="1">
                  <c:v>0.0</c:v>
                </c:pt>
                <c:pt idx="2">
                  <c:v>0.0</c:v>
                </c:pt>
                <c:pt idx="3">
                  <c:v>0.0</c:v>
                </c:pt>
                <c:pt idx="4">
                  <c:v>0.0</c:v>
                </c:pt>
                <c:pt idx="5">
                  <c:v>0.0</c:v>
                </c:pt>
                <c:pt idx="6">
                  <c:v>0.0</c:v>
                </c:pt>
                <c:pt idx="7">
                  <c:v>0.0</c:v>
                </c:pt>
                <c:pt idx="8">
                  <c:v>0.1905717151454363</c:v>
                </c:pt>
                <c:pt idx="9">
                  <c:v>0.0</c:v>
                </c:pt>
                <c:pt idx="10">
                  <c:v>0.0820517106876184</c:v>
                </c:pt>
                <c:pt idx="11">
                  <c:v>0.11760135837107169</c:v>
                </c:pt>
                <c:pt idx="12">
                  <c:v>0</c:v>
                </c:pt>
              </c:numCache>
            </c:numRef>
          </c:xVal>
          <c:yVal>
            <c:numRef>
              <c:f>Sheet1!$B$72:$B$84</c:f>
              <c:numCache>
                <c:formatCode>General</c:formatCode>
                <c:ptCount val="13"/>
                <c:pt idx="0">
                  <c:v>-3.720751642773088e-18</c:v>
                </c:pt>
                <c:pt idx="1">
                  <c:v>-3.720751642773088e-18</c:v>
                </c:pt>
                <c:pt idx="2">
                  <c:v>-3.720751642773088e-18</c:v>
                </c:pt>
                <c:pt idx="3">
                  <c:v>-3.720751642773088e-18</c:v>
                </c:pt>
                <c:pt idx="4">
                  <c:v>-3.720751642773088e-18</c:v>
                </c:pt>
                <c:pt idx="5">
                  <c:v>-3.720751642773088e-18</c:v>
                </c:pt>
                <c:pt idx="6">
                  <c:v>-3.720751642773088e-18</c:v>
                </c:pt>
                <c:pt idx="7">
                  <c:v>-3.720751642773088e-18</c:v>
                </c:pt>
                <c:pt idx="8">
                  <c:v>0.23076923076923078</c:v>
                </c:pt>
                <c:pt idx="9">
                  <c:v>-3.720751642773088e-18</c:v>
                </c:pt>
                <c:pt idx="10">
                  <c:v>0.09935897435897437</c:v>
                </c:pt>
                <c:pt idx="11">
                  <c:v>0.1424071509667512</c:v>
                </c:pt>
                <c:pt idx="12">
                  <c:v>-3.720751642773088e-18</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6470588235294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492188785570876</c:v>
                </c:pt>
                <c:pt idx="1">
                  <c:v>0.19488480625754143</c:v>
                </c:pt>
                <c:pt idx="2">
                  <c:v>0.20849282335518582</c:v>
                </c:pt>
                <c:pt idx="3">
                  <c:v>0.22374978588399336</c:v>
                </c:pt>
                <c:pt idx="4">
                  <c:v>0.20883365187866795</c:v>
                </c:pt>
                <c:pt idx="5">
                  <c:v>0.20468827904698006</c:v>
                </c:pt>
                <c:pt idx="6">
                  <c:v>0.18815081576115222</c:v>
                </c:pt>
                <c:pt idx="7">
                  <c:v>0.18154819333277922</c:v>
                </c:pt>
                <c:pt idx="8">
                  <c:v>0.18032217901217604</c:v>
                </c:pt>
                <c:pt idx="9">
                  <c:v>0.17732572095131682</c:v>
                </c:pt>
                <c:pt idx="10">
                  <c:v>0.18406858569346615</c:v>
                </c:pt>
                <c:pt idx="11">
                  <c:v>0.18632969588284198</c:v>
                </c:pt>
                <c:pt idx="12">
                  <c:v>0.2037585357552095</c:v>
                </c:pt>
                <c:pt idx="13">
                  <c:v>0.2065577435478936</c:v>
                </c:pt>
                <c:pt idx="14">
                  <c:v>0.18868607113258062</c:v>
                </c:pt>
                <c:pt idx="15">
                  <c:v>0.1943693623310811</c:v>
                </c:pt>
                <c:pt idx="16">
                  <c:v>0.17540649777396541</c:v>
                </c:pt>
                <c:pt idx="17">
                  <c:v>0.16781024235569947</c:v>
                </c:pt>
                <c:pt idx="18">
                  <c:v>0.1819678771379413</c:v>
                </c:pt>
                <c:pt idx="19">
                  <c:v>0.21192556899410037</c:v>
                </c:pt>
                <c:pt idx="20">
                  <c:v>0.23377609580136416</c:v>
                </c:pt>
                <c:pt idx="21">
                  <c:v>0.19448455486322236</c:v>
                </c:pt>
                <c:pt idx="22">
                  <c:v>0.1860956475392191</c:v>
                </c:pt>
                <c:pt idx="23">
                  <c:v>0.15953456224598042</c:v>
                </c:pt>
                <c:pt idx="24">
                  <c:v>0.18455197208417046</c:v>
                </c:pt>
                <c:pt idx="25">
                  <c:v>0.16846400286574217</c:v>
                </c:pt>
                <c:pt idx="26">
                  <c:v>0.17674586388460753</c:v>
                </c:pt>
                <c:pt idx="27">
                  <c:v>0.18555729876300703</c:v>
                </c:pt>
                <c:pt idx="28">
                  <c:v>0.1728008336834537</c:v>
                </c:pt>
                <c:pt idx="29">
                  <c:v>0.1996277351385013</c:v>
                </c:pt>
                <c:pt idx="30">
                  <c:v>0.16660909337768576</c:v>
                </c:pt>
                <c:pt idx="31">
                  <c:v>0.1919228152696757</c:v>
                </c:pt>
                <c:pt idx="32">
                  <c:v>0.17275118946085818</c:v>
                </c:pt>
                <c:pt idx="33">
                  <c:v>0.16930951478782963</c:v>
                </c:pt>
                <c:pt idx="34">
                  <c:v>0.19262599574922376</c:v>
                </c:pt>
                <c:pt idx="35">
                  <c:v>0.19763446523221942</c:v>
                </c:pt>
                <c:pt idx="36">
                  <c:v>0.16926218740259888</c:v>
                </c:pt>
                <c:pt idx="37">
                  <c:v>0.16464123052133103</c:v>
                </c:pt>
                <c:pt idx="38">
                  <c:v>0.19976516060494945</c:v>
                </c:pt>
                <c:pt idx="39">
                  <c:v>0.2022933040332473</c:v>
                </c:pt>
                <c:pt idx="40">
                  <c:v>0.20240180983517475</c:v>
                </c:pt>
                <c:pt idx="41">
                  <c:v>0.20750536061835925</c:v>
                </c:pt>
                <c:pt idx="42">
                  <c:v>0.19776677922591818</c:v>
                </c:pt>
                <c:pt idx="43">
                  <c:v>0.2356000760324951</c:v>
                </c:pt>
                <c:pt idx="44">
                  <c:v>0.23370537208283546</c:v>
                </c:pt>
                <c:pt idx="45">
                  <c:v>0.21642260489123608</c:v>
                </c:pt>
                <c:pt idx="46">
                  <c:v>0.2378742630350332</c:v>
                </c:pt>
                <c:pt idx="47">
                  <c:v>0.21551107857053195</c:v>
                </c:pt>
                <c:pt idx="48">
                  <c:v>0.25029648948391164</c:v>
                </c:pt>
                <c:pt idx="49">
                  <c:v>0.25630124029345247</c:v>
                </c:pt>
                <c:pt idx="50">
                  <c:v>0.2128624750773411</c:v>
                </c:pt>
                <c:pt idx="51">
                  <c:v>0.20134446738267425</c:v>
                </c:pt>
                <c:pt idx="52">
                  <c:v>0.22484031849803715</c:v>
                </c:pt>
                <c:pt idx="53">
                  <c:v>0.2148550306908143</c:v>
                </c:pt>
                <c:pt idx="54">
                  <c:v>0.2147967834192202</c:v>
                </c:pt>
                <c:pt idx="55">
                  <c:v>0.19604922373713082</c:v>
                </c:pt>
                <c:pt idx="56">
                  <c:v>0.21273888737595656</c:v>
                </c:pt>
                <c:pt idx="57">
                  <c:v>0.21116443209176367</c:v>
                </c:pt>
                <c:pt idx="58">
                  <c:v>0.18631606108488763</c:v>
                </c:pt>
                <c:pt idx="59">
                  <c:v>0.22244031627709046</c:v>
                </c:pt>
                <c:pt idx="60">
                  <c:v>0.2316838379832614</c:v>
                </c:pt>
                <c:pt idx="61">
                  <c:v>0.2236229661799804</c:v>
                </c:pt>
                <c:pt idx="62">
                  <c:v>0.2390019060286019</c:v>
                </c:pt>
                <c:pt idx="63">
                  <c:v>0.2380549159252912</c:v>
                </c:pt>
                <c:pt idx="64">
                  <c:v>0.24041014330811813</c:v>
                </c:pt>
                <c:pt idx="65">
                  <c:v>0.21558374892925442</c:v>
                </c:pt>
                <c:pt idx="66">
                  <c:v>0.20258402569812187</c:v>
                </c:pt>
                <c:pt idx="67">
                  <c:v>0.21191535983063575</c:v>
                </c:pt>
                <c:pt idx="68">
                  <c:v>0.20146735626346304</c:v>
                </c:pt>
                <c:pt idx="69">
                  <c:v>0.19494643486916222</c:v>
                </c:pt>
                <c:pt idx="70">
                  <c:v>0.19332071352065447</c:v>
                </c:pt>
                <c:pt idx="71">
                  <c:v>0.2063984220443292</c:v>
                </c:pt>
                <c:pt idx="72">
                  <c:v>0.23150308101541428</c:v>
                </c:pt>
                <c:pt idx="73">
                  <c:v>0.19700552100949778</c:v>
                </c:pt>
                <c:pt idx="74">
                  <c:v>0.20825330663495423</c:v>
                </c:pt>
                <c:pt idx="75">
                  <c:v>0.19913585022813424</c:v>
                </c:pt>
                <c:pt idx="76">
                  <c:v>0.17811862564943656</c:v>
                </c:pt>
                <c:pt idx="77">
                  <c:v>0.20894393299326408</c:v>
                </c:pt>
                <c:pt idx="78">
                  <c:v>0.2129531701437674</c:v>
                </c:pt>
                <c:pt idx="79">
                  <c:v>0.19434151052751641</c:v>
                </c:pt>
                <c:pt idx="80">
                  <c:v>0.18480495268818103</c:v>
                </c:pt>
                <c:pt idx="81">
                  <c:v>0.1870398643836889</c:v>
                </c:pt>
                <c:pt idx="82">
                  <c:v>0.18852663226678176</c:v>
                </c:pt>
                <c:pt idx="83">
                  <c:v>0.1564765580281236</c:v>
                </c:pt>
                <c:pt idx="84">
                  <c:v>0.1722413444022824</c:v>
                </c:pt>
                <c:pt idx="85">
                  <c:v>0.17843188141082877</c:v>
                </c:pt>
                <c:pt idx="86">
                  <c:v>0.19155030301754375</c:v>
                </c:pt>
                <c:pt idx="87">
                  <c:v>0.2119372142520252</c:v>
                </c:pt>
                <c:pt idx="88">
                  <c:v>0.17228983507211892</c:v>
                </c:pt>
                <c:pt idx="89">
                  <c:v>0.17476600297421635</c:v>
                </c:pt>
                <c:pt idx="90">
                  <c:v>0.18628664092883637</c:v>
                </c:pt>
                <c:pt idx="91">
                  <c:v>0.19761778422487353</c:v>
                </c:pt>
                <c:pt idx="92">
                  <c:v>0.20623431527301284</c:v>
                </c:pt>
                <c:pt idx="93">
                  <c:v>0.19475355693168914</c:v>
                </c:pt>
                <c:pt idx="94">
                  <c:v>0.2044263828612615</c:v>
                </c:pt>
                <c:pt idx="95">
                  <c:v>0.18332306690817654</c:v>
                </c:pt>
                <c:pt idx="96">
                  <c:v>0.18649075560470096</c:v>
                </c:pt>
                <c:pt idx="97">
                  <c:v>0.190706774338245</c:v>
                </c:pt>
                <c:pt idx="98">
                  <c:v>0.19116603630898638</c:v>
                </c:pt>
                <c:pt idx="99">
                  <c:v>0.22972395667826476</c:v>
                </c:pt>
                <c:pt idx="100">
                  <c:v>0.21420404218392036</c:v>
                </c:pt>
                <c:pt idx="101">
                  <c:v>0.22380476949127656</c:v>
                </c:pt>
                <c:pt idx="102">
                  <c:v>0.2263682020820827</c:v>
                </c:pt>
                <c:pt idx="103">
                  <c:v>0.20564474382535325</c:v>
                </c:pt>
                <c:pt idx="104">
                  <c:v>0.1917859257667046</c:v>
                </c:pt>
              </c:numCache>
            </c:numRef>
          </c:xVal>
          <c:yVal>
            <c:numRef>
              <c:f>Sheet1!$B$2:$B$106</c:f>
              <c:numCache>
                <c:formatCode>General</c:formatCode>
                <c:ptCount val="105"/>
                <c:pt idx="0">
                  <c:v>0.24271685761047462</c:v>
                </c:pt>
                <c:pt idx="1">
                  <c:v>0.25422832980972515</c:v>
                </c:pt>
                <c:pt idx="2">
                  <c:v>0.2532702915681639</c:v>
                </c:pt>
                <c:pt idx="3">
                  <c:v>0.24850199733688416</c:v>
                </c:pt>
                <c:pt idx="4">
                  <c:v>0.24358974358974358</c:v>
                </c:pt>
                <c:pt idx="5">
                  <c:v>0.2540229885057471</c:v>
                </c:pt>
                <c:pt idx="6">
                  <c:v>0.2866845029841531</c:v>
                </c:pt>
                <c:pt idx="7">
                  <c:v>0.2894588500563698</c:v>
                </c:pt>
                <c:pt idx="8">
                  <c:v>0.28523936170212766</c:v>
                </c:pt>
                <c:pt idx="9">
                  <c:v>0.2713684210526316</c:v>
                </c:pt>
                <c:pt idx="10">
                  <c:v>0.2717872968980798</c:v>
                </c:pt>
                <c:pt idx="11">
                  <c:v>0.23830275229357797</c:v>
                </c:pt>
                <c:pt idx="12">
                  <c:v>0.22627080521817364</c:v>
                </c:pt>
                <c:pt idx="13">
                  <c:v>0.20817766708177668</c:v>
                </c:pt>
                <c:pt idx="14">
                  <c:v>0.20434609250398725</c:v>
                </c:pt>
                <c:pt idx="15">
                  <c:v>0.2033214709371293</c:v>
                </c:pt>
                <c:pt idx="16">
                  <c:v>0.19668446192750771</c:v>
                </c:pt>
                <c:pt idx="17">
                  <c:v>0.19307548346849657</c:v>
                </c:pt>
                <c:pt idx="18">
                  <c:v>0.18640606767794632</c:v>
                </c:pt>
                <c:pt idx="19">
                  <c:v>0.17410562180579217</c:v>
                </c:pt>
                <c:pt idx="20">
                  <c:v>0.17318099819603128</c:v>
                </c:pt>
                <c:pt idx="21">
                  <c:v>0.1973229706390328</c:v>
                </c:pt>
                <c:pt idx="22">
                  <c:v>0.20831728917982287</c:v>
                </c:pt>
                <c:pt idx="23">
                  <c:v>0.20566801619433198</c:v>
                </c:pt>
                <c:pt idx="24">
                  <c:v>0.2184844192634561</c:v>
                </c:pt>
                <c:pt idx="25">
                  <c:v>0.21941594317284924</c:v>
                </c:pt>
                <c:pt idx="26">
                  <c:v>0.24335812964930925</c:v>
                </c:pt>
                <c:pt idx="27">
                  <c:v>0.23760129659643436</c:v>
                </c:pt>
                <c:pt idx="28">
                  <c:v>0.24499229583975346</c:v>
                </c:pt>
                <c:pt idx="29">
                  <c:v>0.2399037175715432</c:v>
                </c:pt>
                <c:pt idx="30">
                  <c:v>0.2545862972669412</c:v>
                </c:pt>
                <c:pt idx="31">
                  <c:v>0.26187198898830005</c:v>
                </c:pt>
                <c:pt idx="32">
                  <c:v>0.26269243367179823</c:v>
                </c:pt>
                <c:pt idx="33">
                  <c:v>0.25857582209604923</c:v>
                </c:pt>
                <c:pt idx="34">
                  <c:v>0.2497164889997732</c:v>
                </c:pt>
                <c:pt idx="35">
                  <c:v>0.24854171950291656</c:v>
                </c:pt>
                <c:pt idx="36">
                  <c:v>0.2265880812049771</c:v>
                </c:pt>
                <c:pt idx="37">
                  <c:v>0.22297734627831714</c:v>
                </c:pt>
                <c:pt idx="38">
                  <c:v>0.21375283814466428</c:v>
                </c:pt>
                <c:pt idx="39">
                  <c:v>0.2010853180584866</c:v>
                </c:pt>
                <c:pt idx="40">
                  <c:v>0.2070079522862823</c:v>
                </c:pt>
                <c:pt idx="41">
                  <c:v>0.19785941567833382</c:v>
                </c:pt>
                <c:pt idx="42">
                  <c:v>0.19474042167309</c:v>
                </c:pt>
                <c:pt idx="43">
                  <c:v>0.19486308639354702</c:v>
                </c:pt>
                <c:pt idx="44">
                  <c:v>0.19898838947005404</c:v>
                </c:pt>
                <c:pt idx="45">
                  <c:v>0.20687095748064893</c:v>
                </c:pt>
                <c:pt idx="46">
                  <c:v>0.2190745986779981</c:v>
                </c:pt>
                <c:pt idx="47">
                  <c:v>0.21450690805145306</c:v>
                </c:pt>
                <c:pt idx="48">
                  <c:v>0.2117003367003367</c:v>
                </c:pt>
                <c:pt idx="49">
                  <c:v>0.2264425622022234</c:v>
                </c:pt>
                <c:pt idx="50">
                  <c:v>0.22240676430620565</c:v>
                </c:pt>
                <c:pt idx="51">
                  <c:v>0.21214351425942962</c:v>
                </c:pt>
                <c:pt idx="52">
                  <c:v>0.21890191592793823</c:v>
                </c:pt>
                <c:pt idx="53">
                  <c:v>0.21490280777537796</c:v>
                </c:pt>
                <c:pt idx="54">
                  <c:v>0.20479067760034528</c:v>
                </c:pt>
                <c:pt idx="55">
                  <c:v>0.20660438844232024</c:v>
                </c:pt>
                <c:pt idx="56">
                  <c:v>0.20757825370675453</c:v>
                </c:pt>
                <c:pt idx="57">
                  <c:v>0.2006125574272588</c:v>
                </c:pt>
                <c:pt idx="58">
                  <c:v>0.2282962962962963</c:v>
                </c:pt>
                <c:pt idx="59">
                  <c:v>0.23327880770628862</c:v>
                </c:pt>
                <c:pt idx="60">
                  <c:v>0.2214183819034033</c:v>
                </c:pt>
                <c:pt idx="61">
                  <c:v>0.2180811808118081</c:v>
                </c:pt>
                <c:pt idx="62">
                  <c:v>0.23971543458088462</c:v>
                </c:pt>
                <c:pt idx="63">
                  <c:v>0.2518506851472673</c:v>
                </c:pt>
                <c:pt idx="64">
                  <c:v>0.22007012856904323</c:v>
                </c:pt>
                <c:pt idx="65">
                  <c:v>0.2119626168224299</c:v>
                </c:pt>
                <c:pt idx="66">
                  <c:v>0.2264186752704498</c:v>
                </c:pt>
                <c:pt idx="67">
                  <c:v>0.20661625708884687</c:v>
                </c:pt>
                <c:pt idx="68">
                  <c:v>0.18726591760299627</c:v>
                </c:pt>
                <c:pt idx="69">
                  <c:v>0.17887232663642255</c:v>
                </c:pt>
                <c:pt idx="70">
                  <c:v>0.1774193548387097</c:v>
                </c:pt>
                <c:pt idx="71">
                  <c:v>0.1788919839059115</c:v>
                </c:pt>
                <c:pt idx="72">
                  <c:v>0.18722659667541558</c:v>
                </c:pt>
                <c:pt idx="73">
                  <c:v>0.19159713945172824</c:v>
                </c:pt>
                <c:pt idx="74">
                  <c:v>0.20707461915827524</c:v>
                </c:pt>
                <c:pt idx="75">
                  <c:v>0.20688631641436628</c:v>
                </c:pt>
                <c:pt idx="76">
                  <c:v>0.2060284862537264</c:v>
                </c:pt>
                <c:pt idx="77">
                  <c:v>0.19510513615994485</c:v>
                </c:pt>
                <c:pt idx="78">
                  <c:v>0.20529061102831594</c:v>
                </c:pt>
                <c:pt idx="79">
                  <c:v>0.18097303997520917</c:v>
                </c:pt>
                <c:pt idx="80">
                  <c:v>0.18242022877784467</c:v>
                </c:pt>
                <c:pt idx="81">
                  <c:v>0.19027484143763213</c:v>
                </c:pt>
                <c:pt idx="82">
                  <c:v>0.19462840323767477</c:v>
                </c:pt>
                <c:pt idx="83">
                  <c:v>0.19579554822753503</c:v>
                </c:pt>
                <c:pt idx="84">
                  <c:v>0.1935483870967742</c:v>
                </c:pt>
                <c:pt idx="85">
                  <c:v>0.20390070921985815</c:v>
                </c:pt>
                <c:pt idx="86">
                  <c:v>0.22410441544015552</c:v>
                </c:pt>
                <c:pt idx="87">
                  <c:v>0.21577123050259966</c:v>
                </c:pt>
                <c:pt idx="88">
                  <c:v>0.21185770750988142</c:v>
                </c:pt>
                <c:pt idx="89">
                  <c:v>0.22858255451713397</c:v>
                </c:pt>
                <c:pt idx="90">
                  <c:v>0.1895449417074088</c:v>
                </c:pt>
                <c:pt idx="91">
                  <c:v>0.182566404788627</c:v>
                </c:pt>
                <c:pt idx="92">
                  <c:v>0.18839712918660287</c:v>
                </c:pt>
                <c:pt idx="93">
                  <c:v>0.1908315565031983</c:v>
                </c:pt>
                <c:pt idx="94">
                  <c:v>0.18372232196289648</c:v>
                </c:pt>
                <c:pt idx="95">
                  <c:v>0.18333333333333332</c:v>
                </c:pt>
                <c:pt idx="96">
                  <c:v>0.19388436373347576</c:v>
                </c:pt>
                <c:pt idx="97">
                  <c:v>0.20762182423990005</c:v>
                </c:pt>
                <c:pt idx="98">
                  <c:v>0.20976440533636107</c:v>
                </c:pt>
                <c:pt idx="99">
                  <c:v>0.21817110138093634</c:v>
                </c:pt>
                <c:pt idx="100">
                  <c:v>0.2194612169066419</c:v>
                </c:pt>
                <c:pt idx="101">
                  <c:v>0.2158050619278406</c:v>
                </c:pt>
                <c:pt idx="102">
                  <c:v>0.2024718284260269</c:v>
                </c:pt>
                <c:pt idx="103">
                  <c:v>0.2033003300330033</c:v>
                </c:pt>
                <c:pt idx="104">
                  <c:v>0.204518984393198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970462834942535</c:v>
                </c:pt>
                <c:pt idx="1">
                  <c:v>0.22201597093519987</c:v>
                </c:pt>
                <c:pt idx="2">
                  <c:v>0.24694194299470407</c:v>
                </c:pt>
                <c:pt idx="3">
                  <c:v>0.2251272176798461</c:v>
                </c:pt>
                <c:pt idx="4">
                  <c:v>0.2100453080962138</c:v>
                </c:pt>
                <c:pt idx="5">
                  <c:v>0.21790728673071622</c:v>
                </c:pt>
                <c:pt idx="6">
                  <c:v>0.1997345684538932</c:v>
                </c:pt>
                <c:pt idx="7">
                  <c:v>0.18039036820918714</c:v>
                </c:pt>
                <c:pt idx="8">
                  <c:v>0.2243232058981994</c:v>
                </c:pt>
                <c:pt idx="9">
                  <c:v>0.20262097162694476</c:v>
                </c:pt>
                <c:pt idx="10">
                  <c:v>0.1981110566740633</c:v>
                </c:pt>
                <c:pt idx="11">
                  <c:v>0.16286818066957257</c:v>
                </c:pt>
                <c:pt idx="12">
                  <c:v>0.18953321197905365</c:v>
                </c:pt>
                <c:pt idx="13">
                  <c:v>0.19566635475946345</c:v>
                </c:pt>
                <c:pt idx="14">
                  <c:v>0.15919682989927783</c:v>
                </c:pt>
                <c:pt idx="15">
                  <c:v>0.16619956007809922</c:v>
                </c:pt>
                <c:pt idx="16">
                  <c:v>0.16649856219256323</c:v>
                </c:pt>
                <c:pt idx="17">
                  <c:v>0.15620400469779328</c:v>
                </c:pt>
                <c:pt idx="18">
                  <c:v>0.1441036731000059</c:v>
                </c:pt>
                <c:pt idx="19">
                  <c:v>0.15974894255226088</c:v>
                </c:pt>
                <c:pt idx="20">
                  <c:v>0.1750150570146291</c:v>
                </c:pt>
                <c:pt idx="21">
                  <c:v>0.1476546079513115</c:v>
                </c:pt>
                <c:pt idx="22">
                  <c:v>0.15164759822399368</c:v>
                </c:pt>
                <c:pt idx="23">
                  <c:v>0.1737687214664337</c:v>
                </c:pt>
                <c:pt idx="24">
                  <c:v>0.16301453028905527</c:v>
                </c:pt>
                <c:pt idx="25">
                  <c:v>0.17103881515194574</c:v>
                </c:pt>
                <c:pt idx="26">
                  <c:v>0.1465037488925225</c:v>
                </c:pt>
                <c:pt idx="27">
                  <c:v>0.14298262175342424</c:v>
                </c:pt>
                <c:pt idx="28">
                  <c:v>0.1734439094999563</c:v>
                </c:pt>
                <c:pt idx="29">
                  <c:v>0.14429622271364212</c:v>
                </c:pt>
                <c:pt idx="30">
                  <c:v>0.15958817541550194</c:v>
                </c:pt>
                <c:pt idx="31">
                  <c:v>0.1698474486474059</c:v>
                </c:pt>
                <c:pt idx="32">
                  <c:v>0.18792796916522678</c:v>
                </c:pt>
                <c:pt idx="33">
                  <c:v>0.17401737044618168</c:v>
                </c:pt>
                <c:pt idx="34">
                  <c:v>0.20771627282061245</c:v>
                </c:pt>
                <c:pt idx="35">
                  <c:v>0.15200180498815621</c:v>
                </c:pt>
                <c:pt idx="36">
                  <c:v>0.14510749206936518</c:v>
                </c:pt>
                <c:pt idx="37">
                  <c:v>0.15351256505726008</c:v>
                </c:pt>
                <c:pt idx="38">
                  <c:v>0.16384993521835226</c:v>
                </c:pt>
                <c:pt idx="39">
                  <c:v>0.16391442391834007</c:v>
                </c:pt>
                <c:pt idx="40">
                  <c:v>0.17877794649989887</c:v>
                </c:pt>
                <c:pt idx="41">
                  <c:v>0.16745018437209147</c:v>
                </c:pt>
                <c:pt idx="42">
                  <c:v>0.1667118881072417</c:v>
                </c:pt>
                <c:pt idx="43">
                  <c:v>0.18198912983643298</c:v>
                </c:pt>
                <c:pt idx="44">
                  <c:v>0.1812271804501911</c:v>
                </c:pt>
                <c:pt idx="45">
                  <c:v>0.19366641463547968</c:v>
                </c:pt>
                <c:pt idx="46">
                  <c:v>0.18480606289717674</c:v>
                </c:pt>
                <c:pt idx="47">
                  <c:v>0.16135421707316436</c:v>
                </c:pt>
                <c:pt idx="48">
                  <c:v>0.16776529546725713</c:v>
                </c:pt>
                <c:pt idx="49">
                  <c:v>0.19596390146039666</c:v>
                </c:pt>
                <c:pt idx="50">
                  <c:v>0.19926649054217177</c:v>
                </c:pt>
                <c:pt idx="51">
                  <c:v>0.17077835954895237</c:v>
                </c:pt>
              </c:numCache>
            </c:numRef>
          </c:xVal>
          <c:yVal>
            <c:numRef>
              <c:f>Sheet1!$B$109:$B$160</c:f>
              <c:numCache>
                <c:formatCode>General</c:formatCode>
                <c:ptCount val="52"/>
                <c:pt idx="0">
                  <c:v>0.1998423334647221</c:v>
                </c:pt>
                <c:pt idx="1">
                  <c:v>0.20834134153373055</c:v>
                </c:pt>
                <c:pt idx="2">
                  <c:v>0.22008935958960782</c:v>
                </c:pt>
                <c:pt idx="3">
                  <c:v>0.23592400690846288</c:v>
                </c:pt>
                <c:pt idx="4">
                  <c:v>0.20571909167367536</c:v>
                </c:pt>
                <c:pt idx="5">
                  <c:v>0.21934513865686603</c:v>
                </c:pt>
                <c:pt idx="6">
                  <c:v>0.2463843648208469</c:v>
                </c:pt>
                <c:pt idx="7">
                  <c:v>0.23860448807854137</c:v>
                </c:pt>
                <c:pt idx="8">
                  <c:v>0.2254766510085659</c:v>
                </c:pt>
                <c:pt idx="9">
                  <c:v>0.23954659949622167</c:v>
                </c:pt>
                <c:pt idx="10">
                  <c:v>0.22884012539184953</c:v>
                </c:pt>
                <c:pt idx="11">
                  <c:v>0.23930131004366811</c:v>
                </c:pt>
                <c:pt idx="12">
                  <c:v>0.23905325443786982</c:v>
                </c:pt>
                <c:pt idx="13">
                  <c:v>0.24373293621245967</c:v>
                </c:pt>
                <c:pt idx="14">
                  <c:v>0.25052301255230125</c:v>
                </c:pt>
                <c:pt idx="15">
                  <c:v>0.2352437981180496</c:v>
                </c:pt>
                <c:pt idx="16">
                  <c:v>0.23841059602649006</c:v>
                </c:pt>
                <c:pt idx="17">
                  <c:v>0.2448445171849427</c:v>
                </c:pt>
                <c:pt idx="18">
                  <c:v>0.25567989148864023</c:v>
                </c:pt>
                <c:pt idx="19">
                  <c:v>0.2339622641509434</c:v>
                </c:pt>
                <c:pt idx="20">
                  <c:v>0.20652173913043478</c:v>
                </c:pt>
                <c:pt idx="21">
                  <c:v>0.22507869884575027</c:v>
                </c:pt>
                <c:pt idx="22">
                  <c:v>0.21955128205128205</c:v>
                </c:pt>
                <c:pt idx="23">
                  <c:v>0.21822033898305085</c:v>
                </c:pt>
                <c:pt idx="24">
                  <c:v>0.22183558068725534</c:v>
                </c:pt>
                <c:pt idx="25">
                  <c:v>0.20678285445124822</c:v>
                </c:pt>
                <c:pt idx="26">
                  <c:v>0.21416083916083917</c:v>
                </c:pt>
                <c:pt idx="27">
                  <c:v>0.22721134368669818</c:v>
                </c:pt>
                <c:pt idx="28">
                  <c:v>0.22299854439592431</c:v>
                </c:pt>
                <c:pt idx="29">
                  <c:v>0.2101123595505618</c:v>
                </c:pt>
                <c:pt idx="30">
                  <c:v>0.21153126169973793</c:v>
                </c:pt>
                <c:pt idx="31">
                  <c:v>0.19655667144906744</c:v>
                </c:pt>
                <c:pt idx="32">
                  <c:v>0.199642431466031</c:v>
                </c:pt>
                <c:pt idx="33">
                  <c:v>0.21654622476949914</c:v>
                </c:pt>
                <c:pt idx="34">
                  <c:v>0.22415005861664714</c:v>
                </c:pt>
                <c:pt idx="35">
                  <c:v>0.21783216783216783</c:v>
                </c:pt>
                <c:pt idx="36">
                  <c:v>0.19944979367262725</c:v>
                </c:pt>
                <c:pt idx="37">
                  <c:v>0.20214079868258542</c:v>
                </c:pt>
                <c:pt idx="38">
                  <c:v>0.21197411003236247</c:v>
                </c:pt>
                <c:pt idx="39">
                  <c:v>0.21589825119236883</c:v>
                </c:pt>
                <c:pt idx="40">
                  <c:v>0.20152976388427005</c:v>
                </c:pt>
                <c:pt idx="41">
                  <c:v>0.20275344180225283</c:v>
                </c:pt>
                <c:pt idx="42">
                  <c:v>0.21277385815076122</c:v>
                </c:pt>
                <c:pt idx="43">
                  <c:v>0.19686631286328027</c:v>
                </c:pt>
                <c:pt idx="44">
                  <c:v>0.1921582479689156</c:v>
                </c:pt>
                <c:pt idx="45">
                  <c:v>0.20964467005076143</c:v>
                </c:pt>
                <c:pt idx="46">
                  <c:v>0.23199236762601366</c:v>
                </c:pt>
                <c:pt idx="47">
                  <c:v>0.23594093622368834</c:v>
                </c:pt>
                <c:pt idx="48">
                  <c:v>0.22076528787698177</c:v>
                </c:pt>
                <c:pt idx="49">
                  <c:v>0.23243423243423245</c:v>
                </c:pt>
                <c:pt idx="50">
                  <c:v>0.23076209901724457</c:v>
                </c:pt>
                <c:pt idx="51">
                  <c:v>0.22172413793103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6.4026824072489</c:v>
                </c:pt>
              </c:numCache>
            </c:numRef>
          </c:xVal>
          <c:yVal>
            <c:numRef>
              <c:f>Sheet1!$B$163:$B$164</c:f>
              <c:numCache>
                <c:formatCode>General</c:formatCode>
                <c:ptCount val="2"/>
                <c:pt idx="0">
                  <c:v>0.2619681025737099</c:v>
                </c:pt>
                <c:pt idx="1">
                  <c:v>0.261968102573709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6.4026824072489</c:v>
                </c:pt>
                <c:pt idx="1">
                  <c:v>46.4026824072489</c:v>
                </c:pt>
              </c:numCache>
            </c:numRef>
          </c:xVal>
          <c:yVal>
            <c:numRef>
              <c:f>Sheet1!$B$167:$B$168</c:f>
              <c:numCache>
                <c:formatCode>General</c:formatCode>
                <c:ptCount val="2"/>
                <c:pt idx="0">
                  <c:v>0.26196810257370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01628697011603</c:v>
                </c:pt>
              </c:numCache>
            </c:numRef>
          </c:xVal>
          <c:yVal>
            <c:numRef>
              <c:f>Sheet1!$B$171:$B$172</c:f>
              <c:numCache>
                <c:formatCode>General</c:formatCode>
                <c:ptCount val="2"/>
                <c:pt idx="0">
                  <c:v>0.23697990331381702</c:v>
                </c:pt>
                <c:pt idx="1">
                  <c:v>0.2369799033138170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01628697011603</c:v>
                </c:pt>
                <c:pt idx="1">
                  <c:v>18.01628697011603</c:v>
                </c:pt>
              </c:numCache>
            </c:numRef>
          </c:xVal>
          <c:yVal>
            <c:numRef>
              <c:f>Sheet1!$B$175:$B$176</c:f>
              <c:numCache>
                <c:formatCode>General</c:formatCode>
                <c:ptCount val="2"/>
                <c:pt idx="0">
                  <c:v>0.236979903313817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6.057580833234865</c:v>
                </c:pt>
              </c:numCache>
            </c:numRef>
          </c:xVal>
          <c:yVal>
            <c:numRef>
              <c:f>Sheet1!$B$179:$B$180</c:f>
              <c:numCache>
                <c:formatCode>General</c:formatCode>
                <c:ptCount val="2"/>
                <c:pt idx="0">
                  <c:v>0.21578796977090814</c:v>
                </c:pt>
                <c:pt idx="1">
                  <c:v>0.215787969770908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6.057580833234865</c:v>
                </c:pt>
                <c:pt idx="1">
                  <c:v>-6.057580833234865</c:v>
                </c:pt>
              </c:numCache>
            </c:numRef>
          </c:xVal>
          <c:yVal>
            <c:numRef>
              <c:f>Sheet1!$B$183:$B$184</c:f>
              <c:numCache>
                <c:formatCode>General</c:formatCode>
                <c:ptCount val="2"/>
                <c:pt idx="0">
                  <c:v>0.215787969770908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970462834942535</c:v>
                </c:pt>
                <c:pt idx="1">
                  <c:v>0.22201597093519987</c:v>
                </c:pt>
                <c:pt idx="2">
                  <c:v>0.24694194299470407</c:v>
                </c:pt>
                <c:pt idx="3">
                  <c:v>0.2251272176798461</c:v>
                </c:pt>
                <c:pt idx="4">
                  <c:v>0.2100453080962138</c:v>
                </c:pt>
                <c:pt idx="5">
                  <c:v>0.21790728673071622</c:v>
                </c:pt>
                <c:pt idx="6">
                  <c:v>0.1997345684538932</c:v>
                </c:pt>
                <c:pt idx="7">
                  <c:v>0.18039036820918714</c:v>
                </c:pt>
                <c:pt idx="8">
                  <c:v>0.2243232058981994</c:v>
                </c:pt>
                <c:pt idx="9">
                  <c:v>0.20262097162694476</c:v>
                </c:pt>
                <c:pt idx="10">
                  <c:v>0.1981110566740633</c:v>
                </c:pt>
                <c:pt idx="11">
                  <c:v>0.16286818066957257</c:v>
                </c:pt>
                <c:pt idx="12">
                  <c:v>0.18953321197905365</c:v>
                </c:pt>
                <c:pt idx="13">
                  <c:v>0.19566635475946345</c:v>
                </c:pt>
                <c:pt idx="14">
                  <c:v>0.15919682989927783</c:v>
                </c:pt>
                <c:pt idx="15">
                  <c:v>0.16619956007809922</c:v>
                </c:pt>
                <c:pt idx="16">
                  <c:v>0.16649856219256323</c:v>
                </c:pt>
                <c:pt idx="17">
                  <c:v>0.15620400469779328</c:v>
                </c:pt>
                <c:pt idx="18">
                  <c:v>0.1441036731000059</c:v>
                </c:pt>
                <c:pt idx="19">
                  <c:v>0.15974894255226088</c:v>
                </c:pt>
                <c:pt idx="20">
                  <c:v>0.1750150570146291</c:v>
                </c:pt>
                <c:pt idx="21">
                  <c:v>0.1476546079513115</c:v>
                </c:pt>
                <c:pt idx="22">
                  <c:v>0.15164759822399368</c:v>
                </c:pt>
                <c:pt idx="23">
                  <c:v>0.1737687214664337</c:v>
                </c:pt>
                <c:pt idx="24">
                  <c:v>0.16301453028905527</c:v>
                </c:pt>
                <c:pt idx="25">
                  <c:v>0.17103881515194574</c:v>
                </c:pt>
                <c:pt idx="26">
                  <c:v>0.1465037488925225</c:v>
                </c:pt>
                <c:pt idx="27">
                  <c:v>0.14298262175342424</c:v>
                </c:pt>
                <c:pt idx="28">
                  <c:v>0.1734439094999563</c:v>
                </c:pt>
                <c:pt idx="29">
                  <c:v>0.14429622271364212</c:v>
                </c:pt>
                <c:pt idx="30">
                  <c:v>0.15958817541550194</c:v>
                </c:pt>
                <c:pt idx="31">
                  <c:v>0.1698474486474059</c:v>
                </c:pt>
                <c:pt idx="32">
                  <c:v>0.18792796916522678</c:v>
                </c:pt>
                <c:pt idx="33">
                  <c:v>0.17401737044618168</c:v>
                </c:pt>
                <c:pt idx="34">
                  <c:v>0.20771627282061245</c:v>
                </c:pt>
                <c:pt idx="35">
                  <c:v>0.15200180498815621</c:v>
                </c:pt>
                <c:pt idx="36">
                  <c:v>0.14510749206936518</c:v>
                </c:pt>
                <c:pt idx="37">
                  <c:v>0.15351256505726008</c:v>
                </c:pt>
                <c:pt idx="38">
                  <c:v>0.16384993521835226</c:v>
                </c:pt>
                <c:pt idx="39">
                  <c:v>0.16391442391834007</c:v>
                </c:pt>
                <c:pt idx="40">
                  <c:v>0.17877794649989887</c:v>
                </c:pt>
                <c:pt idx="41">
                  <c:v>0.16745018437209147</c:v>
                </c:pt>
                <c:pt idx="42">
                  <c:v>0.1667118881072417</c:v>
                </c:pt>
                <c:pt idx="43">
                  <c:v>0.18198912983643298</c:v>
                </c:pt>
                <c:pt idx="44">
                  <c:v>0.1812271804501911</c:v>
                </c:pt>
                <c:pt idx="45">
                  <c:v>0.19366641463547968</c:v>
                </c:pt>
                <c:pt idx="46">
                  <c:v>0.18480606289717674</c:v>
                </c:pt>
                <c:pt idx="47">
                  <c:v>0.16135421707316436</c:v>
                </c:pt>
                <c:pt idx="48">
                  <c:v>0.16776529546725713</c:v>
                </c:pt>
                <c:pt idx="49">
                  <c:v>0.19596390146039666</c:v>
                </c:pt>
                <c:pt idx="50">
                  <c:v>0.19926649054217177</c:v>
                </c:pt>
                <c:pt idx="51">
                  <c:v>0.17077835954895237</c:v>
                </c:pt>
                <c:pt idx="52">
                  <c:v>18.01628697011603</c:v>
                </c:pt>
                <c:pt idx="53">
                  <c:v>46.4026824072489</c:v>
                </c:pt>
                <c:pt idx="54">
                  <c:v>-6.057580833234865</c:v>
                </c:pt>
              </c:numCache>
            </c:numRef>
          </c:xVal>
          <c:yVal>
            <c:numRef>
              <c:f>Sheet1!$B$187:$B$241</c:f>
              <c:numCache>
                <c:formatCode>General</c:formatCode>
                <c:ptCount val="55"/>
                <c:pt idx="0">
                  <c:v>0.22130498507070331</c:v>
                </c:pt>
                <c:pt idx="1">
                  <c:v>0.22131582259610774</c:v>
                </c:pt>
                <c:pt idx="2">
                  <c:v>0.2213377646266818</c:v>
                </c:pt>
                <c:pt idx="3">
                  <c:v>0.22131856138884295</c:v>
                </c:pt>
                <c:pt idx="4">
                  <c:v>0.22130528496694818</c:v>
                </c:pt>
                <c:pt idx="5">
                  <c:v>0.22131220577128669</c:v>
                </c:pt>
                <c:pt idx="6">
                  <c:v>0.22129620854802523</c:v>
                </c:pt>
                <c:pt idx="7">
                  <c:v>0.2212791800834106</c:v>
                </c:pt>
                <c:pt idx="8">
                  <c:v>0.22131785362703318</c:v>
                </c:pt>
                <c:pt idx="9">
                  <c:v>0.22129874941369423</c:v>
                </c:pt>
                <c:pt idx="10">
                  <c:v>0.22129477939031675</c:v>
                </c:pt>
                <c:pt idx="11">
                  <c:v>0.22126375551445895</c:v>
                </c:pt>
                <c:pt idx="12">
                  <c:v>0.22128722841777662</c:v>
                </c:pt>
                <c:pt idx="13">
                  <c:v>0.22129262734890282</c:v>
                </c:pt>
                <c:pt idx="14">
                  <c:v>0.22126052366895027</c:v>
                </c:pt>
                <c:pt idx="15">
                  <c:v>0.2212666880873055</c:v>
                </c:pt>
                <c:pt idx="16">
                  <c:v>0.22126695129523666</c:v>
                </c:pt>
                <c:pt idx="17">
                  <c:v>0.22125788912126174</c:v>
                </c:pt>
                <c:pt idx="18">
                  <c:v>0.2212472373462681</c:v>
                </c:pt>
                <c:pt idx="19">
                  <c:v>0.22126100968701543</c:v>
                </c:pt>
                <c:pt idx="20">
                  <c:v>0.2212744482622285</c:v>
                </c:pt>
                <c:pt idx="21">
                  <c:v>0.2212503631911053</c:v>
                </c:pt>
                <c:pt idx="22">
                  <c:v>0.22125387817196288</c:v>
                </c:pt>
                <c:pt idx="23">
                  <c:v>0.22127335112817736</c:v>
                </c:pt>
                <c:pt idx="24">
                  <c:v>0.22126388434425215</c:v>
                </c:pt>
                <c:pt idx="25">
                  <c:v>0.2212709480247929</c:v>
                </c:pt>
                <c:pt idx="26">
                  <c:v>0.2212493501038486</c:v>
                </c:pt>
                <c:pt idx="27">
                  <c:v>0.22124625049837857</c:v>
                </c:pt>
                <c:pt idx="28">
                  <c:v>0.22127306520014686</c:v>
                </c:pt>
                <c:pt idx="29">
                  <c:v>0.22124740684535524</c:v>
                </c:pt>
                <c:pt idx="30">
                  <c:v>0.22126086816565682</c:v>
                </c:pt>
                <c:pt idx="31">
                  <c:v>0.22126989927932353</c:v>
                </c:pt>
                <c:pt idx="32">
                  <c:v>0.2212858153420171</c:v>
                </c:pt>
                <c:pt idx="33">
                  <c:v>0.22127357001085535</c:v>
                </c:pt>
                <c:pt idx="34">
                  <c:v>0.22130323474547223</c:v>
                </c:pt>
                <c:pt idx="35">
                  <c:v>0.22125418997587687</c:v>
                </c:pt>
                <c:pt idx="36">
                  <c:v>0.22124812099591934</c:v>
                </c:pt>
                <c:pt idx="37">
                  <c:v>0.22125551987962336</c:v>
                </c:pt>
                <c:pt idx="38">
                  <c:v>0.22126461974106862</c:v>
                </c:pt>
                <c:pt idx="39">
                  <c:v>0.22126467650968826</c:v>
                </c:pt>
                <c:pt idx="40">
                  <c:v>0.22127776068815658</c:v>
                </c:pt>
                <c:pt idx="41">
                  <c:v>0.2212677889966875</c:v>
                </c:pt>
                <c:pt idx="42">
                  <c:v>0.22126713908344933</c:v>
                </c:pt>
                <c:pt idx="43">
                  <c:v>0.22128058745386028</c:v>
                </c:pt>
                <c:pt idx="44">
                  <c:v>0.22127991671906652</c:v>
                </c:pt>
                <c:pt idx="45">
                  <c:v>0.22129086682589325</c:v>
                </c:pt>
                <c:pt idx="46">
                  <c:v>0.22128306716583285</c:v>
                </c:pt>
                <c:pt idx="47">
                  <c:v>0.2212624227906863</c:v>
                </c:pt>
                <c:pt idx="48">
                  <c:v>0.22126806638515878</c:v>
                </c:pt>
                <c:pt idx="49">
                  <c:v>0.2212928892756511</c:v>
                </c:pt>
                <c:pt idx="50">
                  <c:v>0.22129579650472256</c:v>
                </c:pt>
                <c:pt idx="51">
                  <c:v>0.22127071874888782</c:v>
                </c:pt>
                <c:pt idx="52">
                  <c:v>0.23697990331381702</c:v>
                </c:pt>
                <c:pt idx="53">
                  <c:v>0.2619681025737099</c:v>
                </c:pt>
                <c:pt idx="54">
                  <c:v>0.215787969770908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73506200676437"/>
          <c:min val="0.13854479855682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0</c:f>
              <c:numCache>
                <c:formatCode>General</c:formatCode>
                <c:ptCount val="39"/>
                <c:pt idx="0">
                  <c:v>26.5</c:v>
                </c:pt>
                <c:pt idx="1">
                  <c:v>1015.0952</c:v>
                </c:pt>
                <c:pt idx="2">
                  <c:v>1001.3333</c:v>
                </c:pt>
                <c:pt idx="3">
                  <c:v>977.3571</c:v>
                </c:pt>
                <c:pt idx="4">
                  <c:v>1055.3333</c:v>
                </c:pt>
                <c:pt idx="5">
                  <c:v>1016.6</c:v>
                </c:pt>
                <c:pt idx="6">
                  <c:v>994.7586</c:v>
                </c:pt>
                <c:pt idx="7">
                  <c:v>999.5926</c:v>
                </c:pt>
                <c:pt idx="8">
                  <c:v>1050.75</c:v>
                </c:pt>
                <c:pt idx="9">
                  <c:v>1050.2857</c:v>
                </c:pt>
                <c:pt idx="10">
                  <c:v>984.8</c:v>
                </c:pt>
                <c:pt idx="11">
                  <c:v>1055.25</c:v>
                </c:pt>
                <c:pt idx="12">
                  <c:v>1055.0</c:v>
                </c:pt>
                <c:pt idx="13">
                  <c:v>625.6296</c:v>
                </c:pt>
                <c:pt idx="14">
                  <c:v>606.5313</c:v>
                </c:pt>
                <c:pt idx="15">
                  <c:v>639.9524</c:v>
                </c:pt>
                <c:pt idx="16">
                  <c:v>610.4118</c:v>
                </c:pt>
                <c:pt idx="17">
                  <c:v>581.4286</c:v>
                </c:pt>
                <c:pt idx="18">
                  <c:v>610.5</c:v>
                </c:pt>
                <c:pt idx="19">
                  <c:v>642.75</c:v>
                </c:pt>
                <c:pt idx="20">
                  <c:v>666.5</c:v>
                </c:pt>
                <c:pt idx="21">
                  <c:v>607.4286</c:v>
                </c:pt>
                <c:pt idx="22">
                  <c:v>496.75</c:v>
                </c:pt>
                <c:pt idx="23">
                  <c:v>636.0</c:v>
                </c:pt>
                <c:pt idx="24">
                  <c:v>617.5</c:v>
                </c:pt>
                <c:pt idx="25">
                  <c:v>619.0</c:v>
                </c:pt>
                <c:pt idx="26">
                  <c:v>241.375</c:v>
                </c:pt>
                <c:pt idx="27">
                  <c:v>194.4</c:v>
                </c:pt>
                <c:pt idx="28">
                  <c:v>246.0</c:v>
                </c:pt>
                <c:pt idx="29">
                  <c:v>179.0</c:v>
                </c:pt>
                <c:pt idx="30">
                  <c:v>207.5</c:v>
                </c:pt>
                <c:pt idx="31">
                  <c:v>140.0</c:v>
                </c:pt>
                <c:pt idx="32">
                  <c:v>133.0</c:v>
                </c:pt>
                <c:pt idx="33">
                  <c:v>175.0</c:v>
                </c:pt>
                <c:pt idx="34">
                  <c:v>133.0</c:v>
                </c:pt>
                <c:pt idx="35">
                  <c:v>206.0</c:v>
                </c:pt>
                <c:pt idx="36">
                  <c:v>126.0</c:v>
                </c:pt>
                <c:pt idx="37">
                  <c:v>281.0</c:v>
                </c:pt>
                <c:pt idx="38">
                  <c:v>133.0</c:v>
                </c:pt>
              </c:numCache>
            </c:numRef>
          </c:xVal>
          <c:yVal>
            <c:numRef>
              <c:f>Sheet1!$B$2:$B$40</c:f>
              <c:numCache>
                <c:formatCode>General</c:formatCode>
                <c:ptCount val="39"/>
                <c:pt idx="0">
                  <c:v>0.030303030303030304</c:v>
                </c:pt>
                <c:pt idx="1">
                  <c:v>0.16535433070866143</c:v>
                </c:pt>
                <c:pt idx="2">
                  <c:v>0.11450381679389313</c:v>
                </c:pt>
                <c:pt idx="3">
                  <c:v>0.16091954022988506</c:v>
                </c:pt>
                <c:pt idx="4">
                  <c:v>0.0967741935483871</c:v>
                </c:pt>
                <c:pt idx="5">
                  <c:v>0.0970873786407767</c:v>
                </c:pt>
                <c:pt idx="6">
                  <c:v>0.11788617886178862</c:v>
                </c:pt>
                <c:pt idx="7">
                  <c:v>0.12162162162162163</c:v>
                </c:pt>
                <c:pt idx="8">
                  <c:v>0.08080808080808081</c:v>
                </c:pt>
                <c:pt idx="9">
                  <c:v>0.0707070707070707</c:v>
                </c:pt>
                <c:pt idx="10">
                  <c:v>0.056179775280898875</c:v>
                </c:pt>
                <c:pt idx="11">
                  <c:v>0.07920792079207921</c:v>
                </c:pt>
                <c:pt idx="12">
                  <c:v>0.046511627906976744</c:v>
                </c:pt>
                <c:pt idx="13">
                  <c:v>0.26732673267326734</c:v>
                </c:pt>
                <c:pt idx="14">
                  <c:v>0.3137254901960784</c:v>
                </c:pt>
                <c:pt idx="15">
                  <c:v>0.28</c:v>
                </c:pt>
                <c:pt idx="16">
                  <c:v>0.2833333333333333</c:v>
                </c:pt>
                <c:pt idx="17">
                  <c:v>0.12962962962962962</c:v>
                </c:pt>
                <c:pt idx="18">
                  <c:v>0.09836065573770492</c:v>
                </c:pt>
                <c:pt idx="19">
                  <c:v>0.07407407407407407</c:v>
                </c:pt>
                <c:pt idx="20">
                  <c:v>0.07142857142857142</c:v>
                </c:pt>
                <c:pt idx="21">
                  <c:v>0.11475409836065574</c:v>
                </c:pt>
                <c:pt idx="22">
                  <c:v>0.07142857142857142</c:v>
                </c:pt>
                <c:pt idx="23">
                  <c:v>0.06578947368421052</c:v>
                </c:pt>
                <c:pt idx="24">
                  <c:v>0.02666666666666667</c:v>
                </c:pt>
                <c:pt idx="25">
                  <c:v>0.0196078431372549</c:v>
                </c:pt>
                <c:pt idx="26">
                  <c:v>0.1509433962264151</c:v>
                </c:pt>
                <c:pt idx="27">
                  <c:v>0.12195121951219512</c:v>
                </c:pt>
                <c:pt idx="28">
                  <c:v>0.047619047619047616</c:v>
                </c:pt>
                <c:pt idx="29">
                  <c:v>0.14705882352941177</c:v>
                </c:pt>
                <c:pt idx="30">
                  <c:v>0.06896551724137931</c:v>
                </c:pt>
                <c:pt idx="31">
                  <c:v>0.06666666666666667</c:v>
                </c:pt>
                <c:pt idx="32">
                  <c:v>0.05263157894736842</c:v>
                </c:pt>
                <c:pt idx="33">
                  <c:v>0.2727272727272727</c:v>
                </c:pt>
                <c:pt idx="34">
                  <c:v>0.05555555555555555</c:v>
                </c:pt>
                <c:pt idx="35">
                  <c:v>0.21052631578947367</c:v>
                </c:pt>
                <c:pt idx="36">
                  <c:v>0.06666666666666667</c:v>
                </c:pt>
                <c:pt idx="37">
                  <c:v>0.045454545454545456</c:v>
                </c:pt>
                <c:pt idx="38">
                  <c:v>0.0625</c:v>
                </c:pt>
              </c:numCache>
            </c:numRef>
          </c:yVal>
          <c:smooth val="0"/>
          <c:extLst>
            <c:ext xmlns:c16="http://schemas.microsoft.com/office/drawing/2014/chart" uri="{C3380CC4-5D6E-409C-BE32-E72D297353CC}">
              <c16:uniqueId val="{00000000-F32D-48B7-BC20-E66FC6253BAD}"/>
            </c:ext>
          </c:extLst>
        </c:ser>
        <c:ser>
          <c:idx val="1"/>
          <c:order val="1"/>
          <c:tx>
            <c:strRef>
              <c:f>Sheet1!$B$4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3:$A$53</c:f>
              <c:numCache>
                <c:formatCode>General</c:formatCode>
                <c:ptCount val="11"/>
                <c:pt idx="0">
                  <c:v>0.0</c:v>
                </c:pt>
                <c:pt idx="1">
                  <c:v>0.0</c:v>
                </c:pt>
                <c:pt idx="2">
                  <c:v>0.0</c:v>
                </c:pt>
                <c:pt idx="3">
                  <c:v>0.0</c:v>
                </c:pt>
                <c:pt idx="4">
                  <c:v>0.0</c:v>
                </c:pt>
                <c:pt idx="5">
                  <c:v>0.0</c:v>
                </c:pt>
                <c:pt idx="6">
                  <c:v>0.0</c:v>
                </c:pt>
                <c:pt idx="7">
                  <c:v>140.0</c:v>
                </c:pt>
                <c:pt idx="8">
                  <c:v>0.0</c:v>
                </c:pt>
                <c:pt idx="9">
                  <c:v>190.0</c:v>
                </c:pt>
                <c:pt idx="10">
                  <c:v>0.0</c:v>
                </c:pt>
              </c:numCache>
            </c:numRef>
          </c:xVal>
          <c:yVal>
            <c:numRef>
              <c:f>Sheet1!$B$43:$B$53</c:f>
              <c:numCache>
                <c:formatCode>General</c:formatCode>
                <c:ptCount val="11"/>
                <c:pt idx="0">
                  <c:v>0.0</c:v>
                </c:pt>
                <c:pt idx="1">
                  <c:v>0.0</c:v>
                </c:pt>
                <c:pt idx="2">
                  <c:v>0.0</c:v>
                </c:pt>
                <c:pt idx="3">
                  <c:v>0.0</c:v>
                </c:pt>
                <c:pt idx="4">
                  <c:v>0.0</c:v>
                </c:pt>
                <c:pt idx="5">
                  <c:v>0.0</c:v>
                </c:pt>
                <c:pt idx="6">
                  <c:v>0.0</c:v>
                </c:pt>
                <c:pt idx="7">
                  <c:v>0.16666666666666666</c:v>
                </c:pt>
                <c:pt idx="8">
                  <c:v>0.0</c:v>
                </c:pt>
                <c:pt idx="9">
                  <c:v>0.23076923076923078</c:v>
                </c:pt>
                <c:pt idx="10">
                  <c:v>0.0</c:v>
                </c:pt>
              </c:numCache>
            </c:numRef>
          </c:yVal>
          <c:smooth val="0"/>
          <c:extLst>
            <c:ext xmlns:c16="http://schemas.microsoft.com/office/drawing/2014/chart" uri="{C3380CC4-5D6E-409C-BE32-E72D297353CC}">
              <c16:uniqueId val="{00000002-F32D-48B7-BC20-E66FC6253BAD}"/>
            </c:ext>
          </c:extLst>
        </c:ser>
        <c:ser>
          <c:idx val="2"/>
          <c:order val="2"/>
          <c:tx>
            <c:strRef>
              <c:f>Sheet1!$B$55</c:f>
              <c:strCache>
                <c:ptCount val="1"/>
                <c:pt idx="0">
                  <c:v>Custom Linep3yQ</c:v>
                </c:pt>
              </c:strCache>
            </c:strRef>
          </c:tx>
          <c:spPr>
            <a:ln w="19050" cap="rnd">
              <a:solidFill>
                <a:srgbClr val="C00000"/>
              </a:solidFill>
              <a:prstDash val="sysDot"/>
              <a:round/>
            </a:ln>
            <a:effectLst/>
          </c:spPr>
          <c:marker>
            <c:symbol val="none"/>
          </c:marker>
          <c:xVal>
            <c:numRef>
              <c:f>Sheet1!$A$56:$A$57</c:f>
              <c:numCache>
                <c:formatCode>General</c:formatCode>
                <c:ptCount val="2"/>
                <c:pt idx="0">
                  <c:v>0</c:v>
                </c:pt>
                <c:pt idx="1">
                  <c:v>118.08876539231899</c:v>
                </c:pt>
              </c:numCache>
            </c:numRef>
          </c:xVal>
          <c:yVal>
            <c:numRef>
              <c:f>Sheet1!$B$56:$B$57</c:f>
              <c:numCache>
                <c:formatCode>General</c:formatCode>
                <c:ptCount val="2"/>
                <c:pt idx="0">
                  <c:v>0.1424071509667512</c:v>
                </c:pt>
                <c:pt idx="1">
                  <c:v>0.1424071509667512</c:v>
                </c:pt>
              </c:numCache>
            </c:numRef>
          </c:yVal>
          <c:smooth val="0"/>
          <c:extLst>
            <c:ext xmlns:c16="http://schemas.microsoft.com/office/drawing/2014/chart" uri="{C3380CC4-5D6E-409C-BE32-E72D297353CC}">
              <c16:uniqueId val="{00000003-F32D-48B7-BC20-E66FC6253BAD}"/>
            </c:ext>
          </c:extLst>
        </c:ser>
        <c:ser>
          <c:idx val="3"/>
          <c:order val="3"/>
          <c:tx>
            <c:strRef>
              <c:f>Sheet1!$B$5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0:$A$61</c:f>
              <c:numCache>
                <c:formatCode>General</c:formatCode>
                <c:ptCount val="2"/>
                <c:pt idx="0">
                  <c:v>118.08876539231899</c:v>
                </c:pt>
                <c:pt idx="1">
                  <c:v>118.08876539231899</c:v>
                </c:pt>
              </c:numCache>
            </c:numRef>
          </c:xVal>
          <c:yVal>
            <c:numRef>
              <c:f>Sheet1!$B$60:$B$61</c:f>
              <c:numCache>
                <c:formatCode>General</c:formatCode>
                <c:ptCount val="2"/>
                <c:pt idx="0">
                  <c:v>0.14240715096675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4:$A$65</c:f>
              <c:numCache>
                <c:formatCode>General</c:formatCode>
                <c:ptCount val="2"/>
                <c:pt idx="0">
                  <c:v>0</c:v>
                </c:pt>
                <c:pt idx="1">
                  <c:v>82.40771989031853</c:v>
                </c:pt>
              </c:numCache>
            </c:numRef>
          </c:xVal>
          <c:yVal>
            <c:numRef>
              <c:f>Sheet1!$B$64:$B$65</c:f>
              <c:numCache>
                <c:formatCode>General</c:formatCode>
                <c:ptCount val="2"/>
                <c:pt idx="0">
                  <c:v>0.09935897435897437</c:v>
                </c:pt>
                <c:pt idx="1">
                  <c:v>0.09935897435897437</c:v>
                </c:pt>
              </c:numCache>
            </c:numRef>
          </c:yVal>
          <c:smooth val="0"/>
          <c:extLst>
            <c:ext xmlns:c16="http://schemas.microsoft.com/office/drawing/2014/chart" uri="{C3380CC4-5D6E-409C-BE32-E72D297353CC}">
              <c16:uniqueId val="{0000000A-F32D-48B7-BC20-E66FC6253BAD}"/>
            </c:ext>
          </c:extLst>
        </c:ser>
        <c:ser>
          <c:idx val="5"/>
          <c:order val="5"/>
          <c:tx>
            <c:strRef>
              <c:f>Sheet1!$B$6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8:$A$69</c:f>
              <c:numCache>
                <c:formatCode>General</c:formatCode>
                <c:ptCount val="2"/>
                <c:pt idx="0">
                  <c:v>82.40771989031853</c:v>
                </c:pt>
                <c:pt idx="1">
                  <c:v>82.40771989031853</c:v>
                </c:pt>
              </c:numCache>
            </c:numRef>
          </c:xVal>
          <c:yVal>
            <c:numRef>
              <c:f>Sheet1!$B$68:$B$69</c:f>
              <c:numCache>
                <c:formatCode>General</c:formatCode>
                <c:ptCount val="2"/>
                <c:pt idx="0">
                  <c:v>0.099358974358974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1</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2:$A$85</c:f>
              <c:numCache>
                <c:formatCode>General</c:formatCode>
                <c:ptCount val="14"/>
                <c:pt idx="0">
                  <c:v>0.0</c:v>
                </c:pt>
                <c:pt idx="1">
                  <c:v>0.0</c:v>
                </c:pt>
                <c:pt idx="2">
                  <c:v>0.0</c:v>
                </c:pt>
                <c:pt idx="3">
                  <c:v>0.0</c:v>
                </c:pt>
                <c:pt idx="4">
                  <c:v>0.0</c:v>
                </c:pt>
                <c:pt idx="5">
                  <c:v>0.0</c:v>
                </c:pt>
                <c:pt idx="6">
                  <c:v>0.0</c:v>
                </c:pt>
                <c:pt idx="7">
                  <c:v>140.0</c:v>
                </c:pt>
                <c:pt idx="8">
                  <c:v>0.0</c:v>
                </c:pt>
                <c:pt idx="9">
                  <c:v>190.0</c:v>
                </c:pt>
                <c:pt idx="10">
                  <c:v>0.0</c:v>
                </c:pt>
                <c:pt idx="11">
                  <c:v>82.40771989031853</c:v>
                </c:pt>
                <c:pt idx="12">
                  <c:v>118.08876539231899</c:v>
                </c:pt>
                <c:pt idx="13">
                  <c:v>0</c:v>
                </c:pt>
              </c:numCache>
            </c:numRef>
          </c:xVal>
          <c:yVal>
            <c:numRef>
              <c:f>Sheet1!$B$72:$B$85</c:f>
              <c:numCache>
                <c:formatCode>General</c:formatCode>
                <c:ptCount val="14"/>
                <c:pt idx="0">
                  <c:v>-6.36190592522438e-05</c:v>
                </c:pt>
                <c:pt idx="1">
                  <c:v>-6.36190592522438e-05</c:v>
                </c:pt>
                <c:pt idx="2">
                  <c:v>-6.36190592522438e-05</c:v>
                </c:pt>
                <c:pt idx="3">
                  <c:v>-6.36190592522438e-05</c:v>
                </c:pt>
                <c:pt idx="4">
                  <c:v>-6.36190592522438e-05</c:v>
                </c:pt>
                <c:pt idx="5">
                  <c:v>-6.36190592522438e-05</c:v>
                </c:pt>
                <c:pt idx="6">
                  <c:v>-6.36190592522438e-05</c:v>
                </c:pt>
                <c:pt idx="7">
                  <c:v>0.16884243849309347</c:v>
                </c:pt>
                <c:pt idx="8">
                  <c:v>-6.36190592522438e-05</c:v>
                </c:pt>
                <c:pt idx="9">
                  <c:v>0.22916603047607406</c:v>
                </c:pt>
                <c:pt idx="10">
                  <c:v>-6.36190592522438e-05</c:v>
                </c:pt>
                <c:pt idx="11">
                  <c:v>0.09935897435897437</c:v>
                </c:pt>
                <c:pt idx="12">
                  <c:v>0.1424071509667512</c:v>
                </c:pt>
                <c:pt idx="13">
                  <c:v>-6.36190592522438e-0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6470588235294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116575785672672</c:v>
                </c:pt>
                <c:pt idx="1">
                  <c:v>0.7548270993766044</c:v>
                </c:pt>
                <c:pt idx="2">
                  <c:v>0.7231523887694419</c:v>
                </c:pt>
                <c:pt idx="3">
                  <c:v>0.7530678213309024</c:v>
                </c:pt>
                <c:pt idx="4">
                  <c:v>0.7197256883111075</c:v>
                </c:pt>
                <c:pt idx="5">
                  <c:v>0.7704774151672251</c:v>
                </c:pt>
                <c:pt idx="6">
                  <c:v>0.8729314437372994</c:v>
                </c:pt>
                <c:pt idx="7">
                  <c:v>0.7907779872213462</c:v>
                </c:pt>
                <c:pt idx="8">
                  <c:v>0.758607189617549</c:v>
                </c:pt>
                <c:pt idx="9">
                  <c:v>0.7074667270097533</c:v>
                </c:pt>
                <c:pt idx="10">
                  <c:v>0.7507509676632191</c:v>
                </c:pt>
                <c:pt idx="11">
                  <c:v>0.7976982564819903</c:v>
                </c:pt>
                <c:pt idx="12">
                  <c:v>0.7365676653250082</c:v>
                </c:pt>
                <c:pt idx="13">
                  <c:v>0.7126009025270758</c:v>
                </c:pt>
                <c:pt idx="14">
                  <c:v>0.7357333074596152</c:v>
                </c:pt>
                <c:pt idx="15">
                  <c:v>0.7427866236162362</c:v>
                </c:pt>
                <c:pt idx="16">
                  <c:v>0.7430793868679936</c:v>
                </c:pt>
                <c:pt idx="17">
                  <c:v>0.7425886861313868</c:v>
                </c:pt>
                <c:pt idx="18">
                  <c:v>0.6860915873015874</c:v>
                </c:pt>
                <c:pt idx="19">
                  <c:v>0.8537530721548634</c:v>
                </c:pt>
                <c:pt idx="20">
                  <c:v>0.8153303603603603</c:v>
                </c:pt>
                <c:pt idx="21">
                  <c:v>0.7534697760565752</c:v>
                </c:pt>
                <c:pt idx="22">
                  <c:v>0.6637301541564616</c:v>
                </c:pt>
                <c:pt idx="23">
                  <c:v>0.948081546868432</c:v>
                </c:pt>
                <c:pt idx="24">
                  <c:v>0.8529637587177291</c:v>
                </c:pt>
                <c:pt idx="25">
                  <c:v>0.7528191856926231</c:v>
                </c:pt>
                <c:pt idx="26">
                  <c:v>0.7094919745609379</c:v>
                </c:pt>
                <c:pt idx="27">
                  <c:v>0.7517802178457477</c:v>
                </c:pt>
                <c:pt idx="28">
                  <c:v>0.7952530450132392</c:v>
                </c:pt>
                <c:pt idx="29">
                  <c:v>0.6825879000438404</c:v>
                </c:pt>
                <c:pt idx="30">
                  <c:v>0.6996759329748478</c:v>
                </c:pt>
                <c:pt idx="31">
                  <c:v>0.7021477751515774</c:v>
                </c:pt>
                <c:pt idx="32">
                  <c:v>0.7204151661549643</c:v>
                </c:pt>
                <c:pt idx="33">
                  <c:v>0.5948245027433982</c:v>
                </c:pt>
                <c:pt idx="34">
                  <c:v>0.6494532246433775</c:v>
                </c:pt>
                <c:pt idx="35">
                  <c:v>0.7221062280522584</c:v>
                </c:pt>
                <c:pt idx="36">
                  <c:v>0.7348799630655587</c:v>
                </c:pt>
                <c:pt idx="37">
                  <c:v>0.8190527930478337</c:v>
                </c:pt>
                <c:pt idx="38">
                  <c:v>0.7631611194939799</c:v>
                </c:pt>
                <c:pt idx="39">
                  <c:v>0.7780556907834202</c:v>
                </c:pt>
                <c:pt idx="40">
                  <c:v>0.8486381467469839</c:v>
                </c:pt>
                <c:pt idx="41">
                  <c:v>0.8474479358122466</c:v>
                </c:pt>
                <c:pt idx="42">
                  <c:v>0.866810766580534</c:v>
                </c:pt>
                <c:pt idx="43">
                  <c:v>0.8725409115750355</c:v>
                </c:pt>
                <c:pt idx="44">
                  <c:v>0.8730160231526707</c:v>
                </c:pt>
                <c:pt idx="45">
                  <c:v>0.9083863436201574</c:v>
                </c:pt>
                <c:pt idx="46">
                  <c:v>0.8778223597584153</c:v>
                </c:pt>
                <c:pt idx="47">
                  <c:v>0.8858682341193209</c:v>
                </c:pt>
                <c:pt idx="48">
                  <c:v>0.8773927272727273</c:v>
                </c:pt>
                <c:pt idx="49">
                  <c:v>0.8886438526171244</c:v>
                </c:pt>
                <c:pt idx="50">
                  <c:v>0.8978952625799773</c:v>
                </c:pt>
                <c:pt idx="51">
                  <c:v>0.8415700414385839</c:v>
                </c:pt>
                <c:pt idx="52">
                  <c:v>0.8369272936621834</c:v>
                </c:pt>
                <c:pt idx="53">
                  <c:v>0.83709758839973</c:v>
                </c:pt>
                <c:pt idx="54">
                  <c:v>0.8302219631076008</c:v>
                </c:pt>
                <c:pt idx="55">
                  <c:v>0.8529875997796749</c:v>
                </c:pt>
                <c:pt idx="56">
                  <c:v>0.8138574916493405</c:v>
                </c:pt>
                <c:pt idx="57">
                  <c:v>0.8281981876997104</c:v>
                </c:pt>
                <c:pt idx="58">
                  <c:v>0.8807700546138755</c:v>
                </c:pt>
                <c:pt idx="59">
                  <c:v>0.8067940426642582</c:v>
                </c:pt>
                <c:pt idx="60">
                  <c:v>0.738337414198868</c:v>
                </c:pt>
                <c:pt idx="61">
                  <c:v>0.7563415957802283</c:v>
                </c:pt>
                <c:pt idx="62">
                  <c:v>0.802462855170827</c:v>
                </c:pt>
                <c:pt idx="63">
                  <c:v>0.8645886954216985</c:v>
                </c:pt>
                <c:pt idx="64">
                  <c:v>0.8120271718021913</c:v>
                </c:pt>
                <c:pt idx="65">
                  <c:v>0.8275108782937965</c:v>
                </c:pt>
                <c:pt idx="66">
                  <c:v>0.8817993813119827</c:v>
                </c:pt>
                <c:pt idx="67">
                  <c:v>1.0365037295667354</c:v>
                </c:pt>
                <c:pt idx="68">
                  <c:v>0.9909455287480494</c:v>
                </c:pt>
                <c:pt idx="69">
                  <c:v>1.067134536340852</c:v>
                </c:pt>
                <c:pt idx="70">
                  <c:v>0.9433132837347338</c:v>
                </c:pt>
                <c:pt idx="71">
                  <c:v>1.3109767553570724</c:v>
                </c:pt>
                <c:pt idx="72">
                  <c:v>1.215765448502377</c:v>
                </c:pt>
                <c:pt idx="73">
                  <c:v>1.029228789703448</c:v>
                </c:pt>
                <c:pt idx="74">
                  <c:v>1.1500538555691555</c:v>
                </c:pt>
                <c:pt idx="75">
                  <c:v>1.4029071932475425</c:v>
                </c:pt>
                <c:pt idx="76">
                  <c:v>1.010575396249599</c:v>
                </c:pt>
                <c:pt idx="77">
                  <c:v>0.8854522134877948</c:v>
                </c:pt>
                <c:pt idx="78">
                  <c:v>0.9819732828351391</c:v>
                </c:pt>
                <c:pt idx="79">
                  <c:v>1.0655494392523364</c:v>
                </c:pt>
                <c:pt idx="80">
                  <c:v>0.923894271640933</c:v>
                </c:pt>
                <c:pt idx="81">
                  <c:v>0.9891450087928002</c:v>
                </c:pt>
                <c:pt idx="82">
                  <c:v>0.8612765343604233</c:v>
                </c:pt>
                <c:pt idx="83">
                  <c:v>1.026600870914021</c:v>
                </c:pt>
                <c:pt idx="84">
                  <c:v>0.9342763367524033</c:v>
                </c:pt>
                <c:pt idx="85">
                  <c:v>0.8560437975903615</c:v>
                </c:pt>
                <c:pt idx="86">
                  <c:v>0.9546334294556633</c:v>
                </c:pt>
                <c:pt idx="87">
                  <c:v>0.9487096891464621</c:v>
                </c:pt>
                <c:pt idx="88">
                  <c:v>0.7992156663614868</c:v>
                </c:pt>
                <c:pt idx="89">
                  <c:v>0.8928445617330923</c:v>
                </c:pt>
                <c:pt idx="90">
                  <c:v>1.0146205831903945</c:v>
                </c:pt>
                <c:pt idx="91">
                  <c:v>1.203136865180855</c:v>
                </c:pt>
                <c:pt idx="92">
                  <c:v>1.0826843904542145</c:v>
                </c:pt>
                <c:pt idx="93">
                  <c:v>1.0177196504283117</c:v>
                </c:pt>
                <c:pt idx="94">
                  <c:v>1.003917409426098</c:v>
                </c:pt>
                <c:pt idx="95">
                  <c:v>0.9034781919029642</c:v>
                </c:pt>
                <c:pt idx="96">
                  <c:v>0.9486945616883117</c:v>
                </c:pt>
                <c:pt idx="97">
                  <c:v>1.0758001504749366</c:v>
                </c:pt>
                <c:pt idx="98">
                  <c:v>1.0078734463276837</c:v>
                </c:pt>
                <c:pt idx="99">
                  <c:v>1.0244507117950699</c:v>
                </c:pt>
                <c:pt idx="100">
                  <c:v>0.9759156459420751</c:v>
                </c:pt>
                <c:pt idx="101">
                  <c:v>1.0606468867924528</c:v>
                </c:pt>
                <c:pt idx="102">
                  <c:v>0.9139579596271763</c:v>
                </c:pt>
                <c:pt idx="103">
                  <c:v>0.990380615640599</c:v>
                </c:pt>
                <c:pt idx="104">
                  <c:v>0.8748906908687584</c:v>
                </c:pt>
              </c:numCache>
            </c:numRef>
          </c:xVal>
          <c:yVal>
            <c:numRef>
              <c:f>Sheet1!$B$2:$B$106</c:f>
              <c:numCache>
                <c:formatCode>General</c:formatCode>
                <c:ptCount val="105"/>
                <c:pt idx="0">
                  <c:v>0.5409836065573771</c:v>
                </c:pt>
                <c:pt idx="1">
                  <c:v>0.5714285714285714</c:v>
                </c:pt>
                <c:pt idx="2">
                  <c:v>0.5773195876288659</c:v>
                </c:pt>
                <c:pt idx="3">
                  <c:v>0.5652173913043478</c:v>
                </c:pt>
                <c:pt idx="4">
                  <c:v>0.60625</c:v>
                </c:pt>
                <c:pt idx="5">
                  <c:v>0.5605095541401274</c:v>
                </c:pt>
                <c:pt idx="6">
                  <c:v>0.4948453608247423</c:v>
                </c:pt>
                <c:pt idx="7">
                  <c:v>0.5333333333333333</c:v>
                </c:pt>
                <c:pt idx="8">
                  <c:v>0.5229357798165137</c:v>
                </c:pt>
                <c:pt idx="9">
                  <c:v>0.5205479452054794</c:v>
                </c:pt>
                <c:pt idx="10">
                  <c:v>0.48743718592964824</c:v>
                </c:pt>
                <c:pt idx="11">
                  <c:v>0.543859649122807</c:v>
                </c:pt>
                <c:pt idx="12">
                  <c:v>0.536144578313253</c:v>
                </c:pt>
                <c:pt idx="13">
                  <c:v>0.5426829268292683</c:v>
                </c:pt>
                <c:pt idx="14">
                  <c:v>0.5714285714285714</c:v>
                </c:pt>
                <c:pt idx="15">
                  <c:v>0.5533333333333333</c:v>
                </c:pt>
                <c:pt idx="16">
                  <c:v>0.552</c:v>
                </c:pt>
                <c:pt idx="17">
                  <c:v>0.5327102803738317</c:v>
                </c:pt>
                <c:pt idx="18">
                  <c:v>0.5350877192982456</c:v>
                </c:pt>
                <c:pt idx="19">
                  <c:v>0.4489795918367347</c:v>
                </c:pt>
                <c:pt idx="20">
                  <c:v>0.4225352112676056</c:v>
                </c:pt>
                <c:pt idx="21">
                  <c:v>0.45454545454545453</c:v>
                </c:pt>
                <c:pt idx="22">
                  <c:v>0.4823529411764706</c:v>
                </c:pt>
                <c:pt idx="23">
                  <c:v>0.4090909090909091</c:v>
                </c:pt>
                <c:pt idx="24">
                  <c:v>0.44</c:v>
                </c:pt>
                <c:pt idx="25">
                  <c:v>0.4065934065934066</c:v>
                </c:pt>
                <c:pt idx="26">
                  <c:v>0.41818181818181815</c:v>
                </c:pt>
                <c:pt idx="27">
                  <c:v>0.4056603773584906</c:v>
                </c:pt>
                <c:pt idx="28">
                  <c:v>0.40707964601769914</c:v>
                </c:pt>
                <c:pt idx="29">
                  <c:v>0.43703703703703706</c:v>
                </c:pt>
                <c:pt idx="30">
                  <c:v>0.4387755102040816</c:v>
                </c:pt>
                <c:pt idx="31">
                  <c:v>0.38461538461538464</c:v>
                </c:pt>
                <c:pt idx="32">
                  <c:v>0.38461538461538464</c:v>
                </c:pt>
                <c:pt idx="33">
                  <c:v>0.5151515151515151</c:v>
                </c:pt>
                <c:pt idx="34">
                  <c:v>0.4756756756756757</c:v>
                </c:pt>
                <c:pt idx="35">
                  <c:v>0.5094339622641509</c:v>
                </c:pt>
                <c:pt idx="36">
                  <c:v>0.4444444444444444</c:v>
                </c:pt>
                <c:pt idx="37">
                  <c:v>0.4019607843137255</c:v>
                </c:pt>
                <c:pt idx="38">
                  <c:v>0.38235294117647056</c:v>
                </c:pt>
                <c:pt idx="39">
                  <c:v>0.42727272727272725</c:v>
                </c:pt>
                <c:pt idx="40">
                  <c:v>0.4090909090909091</c:v>
                </c:pt>
                <c:pt idx="41">
                  <c:v>0.33620689655172414</c:v>
                </c:pt>
                <c:pt idx="42">
                  <c:v>0.35</c:v>
                </c:pt>
                <c:pt idx="43">
                  <c:v>0.37748344370860926</c:v>
                </c:pt>
                <c:pt idx="44">
                  <c:v>0.3645833333333333</c:v>
                </c:pt>
                <c:pt idx="45">
                  <c:v>0.3755656108597285</c:v>
                </c:pt>
                <c:pt idx="46">
                  <c:v>0.430327868852459</c:v>
                </c:pt>
                <c:pt idx="47">
                  <c:v>0.3826086956521739</c:v>
                </c:pt>
                <c:pt idx="48">
                  <c:v>0.41954022988505746</c:v>
                </c:pt>
                <c:pt idx="49">
                  <c:v>0.4599483204134367</c:v>
                </c:pt>
                <c:pt idx="50">
                  <c:v>0.39634146341463417</c:v>
                </c:pt>
                <c:pt idx="51">
                  <c:v>0.3933333333333333</c:v>
                </c:pt>
                <c:pt idx="52">
                  <c:v>0.413265306122449</c:v>
                </c:pt>
                <c:pt idx="53">
                  <c:v>0.3780487804878049</c:v>
                </c:pt>
                <c:pt idx="54">
                  <c:v>0.3870967741935484</c:v>
                </c:pt>
                <c:pt idx="55">
                  <c:v>0.37398373983739835</c:v>
                </c:pt>
                <c:pt idx="56">
                  <c:v>0.3358208955223881</c:v>
                </c:pt>
                <c:pt idx="57">
                  <c:v>0.36419753086419754</c:v>
                </c:pt>
                <c:pt idx="58">
                  <c:v>0.355</c:v>
                </c:pt>
                <c:pt idx="59">
                  <c:v>0.3870967741935484</c:v>
                </c:pt>
                <c:pt idx="60">
                  <c:v>0.3920704845814978</c:v>
                </c:pt>
                <c:pt idx="61">
                  <c:v>0.38323353293413176</c:v>
                </c:pt>
                <c:pt idx="62">
                  <c:v>0.44680851063829785</c:v>
                </c:pt>
                <c:pt idx="63">
                  <c:v>0.38164251207729466</c:v>
                </c:pt>
                <c:pt idx="64">
                  <c:v>0.4228571428571429</c:v>
                </c:pt>
                <c:pt idx="65">
                  <c:v>0.4117647058823529</c:v>
                </c:pt>
                <c:pt idx="66">
                  <c:v>0.43478260869565216</c:v>
                </c:pt>
                <c:pt idx="67">
                  <c:v>0.41509433962264153</c:v>
                </c:pt>
                <c:pt idx="68">
                  <c:v>0.3217391304347826</c:v>
                </c:pt>
                <c:pt idx="69">
                  <c:v>0.30303030303030304</c:v>
                </c:pt>
                <c:pt idx="70">
                  <c:v>0.3645833333333333</c:v>
                </c:pt>
                <c:pt idx="71">
                  <c:v>0.3020833333333333</c:v>
                </c:pt>
                <c:pt idx="72">
                  <c:v>0.2214765100671141</c:v>
                </c:pt>
                <c:pt idx="73">
                  <c:v>0.2631578947368421</c:v>
                </c:pt>
                <c:pt idx="74">
                  <c:v>0.36792452830188677</c:v>
                </c:pt>
                <c:pt idx="75">
                  <c:v>0.2857142857142857</c:v>
                </c:pt>
                <c:pt idx="76">
                  <c:v>0.26744186046511625</c:v>
                </c:pt>
                <c:pt idx="77">
                  <c:v>0.3493975903614458</c:v>
                </c:pt>
                <c:pt idx="78">
                  <c:v>0.373134328358209</c:v>
                </c:pt>
                <c:pt idx="79">
                  <c:v>0.35365853658536583</c:v>
                </c:pt>
                <c:pt idx="80">
                  <c:v>0.30303030303030304</c:v>
                </c:pt>
                <c:pt idx="81">
                  <c:v>0.37349397590361444</c:v>
                </c:pt>
                <c:pt idx="82">
                  <c:v>0.3333333333333333</c:v>
                </c:pt>
                <c:pt idx="83">
                  <c:v>0.25806451612903225</c:v>
                </c:pt>
                <c:pt idx="84">
                  <c:v>0.34285714285714286</c:v>
                </c:pt>
                <c:pt idx="85">
                  <c:v>0.2894736842105263</c:v>
                </c:pt>
                <c:pt idx="86">
                  <c:v>0.4019607843137255</c:v>
                </c:pt>
                <c:pt idx="87">
                  <c:v>0.41904761904761906</c:v>
                </c:pt>
                <c:pt idx="88">
                  <c:v>0.3870967741935484</c:v>
                </c:pt>
                <c:pt idx="89">
                  <c:v>0.3076923076923077</c:v>
                </c:pt>
                <c:pt idx="90">
                  <c:v>0.2692307692307692</c:v>
                </c:pt>
                <c:pt idx="91">
                  <c:v>0.27380952380952384</c:v>
                </c:pt>
                <c:pt idx="92">
                  <c:v>0.3225806451612903</c:v>
                </c:pt>
                <c:pt idx="93">
                  <c:v>0.34146341463414637</c:v>
                </c:pt>
                <c:pt idx="94">
                  <c:v>0.32222222222222224</c:v>
                </c:pt>
                <c:pt idx="95">
                  <c:v>0.308411214953271</c:v>
                </c:pt>
                <c:pt idx="96">
                  <c:v>0.3221476510067114</c:v>
                </c:pt>
                <c:pt idx="97">
                  <c:v>0.3430232558139535</c:v>
                </c:pt>
                <c:pt idx="98">
                  <c:v>0.37435897435897436</c:v>
                </c:pt>
                <c:pt idx="99">
                  <c:v>0.4430379746835443</c:v>
                </c:pt>
                <c:pt idx="100">
                  <c:v>0.4119718309859155</c:v>
                </c:pt>
                <c:pt idx="101">
                  <c:v>0.41721854304635764</c:v>
                </c:pt>
                <c:pt idx="102">
                  <c:v>0.3884297520661157</c:v>
                </c:pt>
                <c:pt idx="103">
                  <c:v>0.37209302325581395</c:v>
                </c:pt>
                <c:pt idx="104">
                  <c:v>0.34259259259259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621261269307646</c:v>
                </c:pt>
                <c:pt idx="1">
                  <c:v>0.8644097813308323</c:v>
                </c:pt>
                <c:pt idx="2">
                  <c:v>0.954846938610678</c:v>
                </c:pt>
                <c:pt idx="3">
                  <c:v>0.9290123919760127</c:v>
                </c:pt>
                <c:pt idx="4">
                  <c:v>0.9686169256036898</c:v>
                </c:pt>
                <c:pt idx="5">
                  <c:v>0.8538333217523264</c:v>
                </c:pt>
                <c:pt idx="6">
                  <c:v>0.9783055493762204</c:v>
                </c:pt>
                <c:pt idx="7">
                  <c:v>0.9812464368229964</c:v>
                </c:pt>
                <c:pt idx="8">
                  <c:v>0.9673320161419389</c:v>
                </c:pt>
                <c:pt idx="9">
                  <c:v>0.8878482044422701</c:v>
                </c:pt>
                <c:pt idx="10">
                  <c:v>0.9334614247559241</c:v>
                </c:pt>
                <c:pt idx="11">
                  <c:v>0.8193822484273926</c:v>
                </c:pt>
                <c:pt idx="12">
                  <c:v>0.9418424864805811</c:v>
                </c:pt>
                <c:pt idx="13">
                  <c:v>0.8596374140708242</c:v>
                </c:pt>
                <c:pt idx="14">
                  <c:v>0.7930295407939287</c:v>
                </c:pt>
                <c:pt idx="15">
                  <c:v>0.8262972915050278</c:v>
                </c:pt>
                <c:pt idx="16">
                  <c:v>0.9657396456473775</c:v>
                </c:pt>
                <c:pt idx="17">
                  <c:v>1.0686556960020084</c:v>
                </c:pt>
                <c:pt idx="18">
                  <c:v>0.9951755156950672</c:v>
                </c:pt>
                <c:pt idx="19">
                  <c:v>0.9148602069206059</c:v>
                </c:pt>
                <c:pt idx="20">
                  <c:v>0.906560052151162</c:v>
                </c:pt>
                <c:pt idx="21">
                  <c:v>1.0567740464524282</c:v>
                </c:pt>
                <c:pt idx="22">
                  <c:v>0.9609388384444063</c:v>
                </c:pt>
                <c:pt idx="23">
                  <c:v>0.8407688372093023</c:v>
                </c:pt>
                <c:pt idx="24">
                  <c:v>0.7551484876880906</c:v>
                </c:pt>
                <c:pt idx="25">
                  <c:v>1.0940837268128163</c:v>
                </c:pt>
                <c:pt idx="26">
                  <c:v>0.8631503408683171</c:v>
                </c:pt>
                <c:pt idx="27">
                  <c:v>1.0463873455643633</c:v>
                </c:pt>
                <c:pt idx="28">
                  <c:v>0.9932650733078932</c:v>
                </c:pt>
                <c:pt idx="29">
                  <c:v>0.8932308818148554</c:v>
                </c:pt>
                <c:pt idx="30">
                  <c:v>1.2929770403645273</c:v>
                </c:pt>
                <c:pt idx="31">
                  <c:v>0.9760333520855099</c:v>
                </c:pt>
                <c:pt idx="32">
                  <c:v>0.9497098060079281</c:v>
                </c:pt>
                <c:pt idx="33">
                  <c:v>0.9387685770502306</c:v>
                </c:pt>
                <c:pt idx="34">
                  <c:v>0.9317355438888673</c:v>
                </c:pt>
                <c:pt idx="35">
                  <c:v>1.0041647305805288</c:v>
                </c:pt>
                <c:pt idx="36">
                  <c:v>0.9167735366668333</c:v>
                </c:pt>
                <c:pt idx="37">
                  <c:v>0.762805872756933</c:v>
                </c:pt>
                <c:pt idx="38">
                  <c:v>0.7725678114038664</c:v>
                </c:pt>
                <c:pt idx="39">
                  <c:v>0.8556933020905704</c:v>
                </c:pt>
                <c:pt idx="40">
                  <c:v>0.8997399812948067</c:v>
                </c:pt>
                <c:pt idx="41">
                  <c:v>0.8893658417351994</c:v>
                </c:pt>
                <c:pt idx="42">
                  <c:v>0.9779830943033411</c:v>
                </c:pt>
                <c:pt idx="43">
                  <c:v>0.9398488358644639</c:v>
                </c:pt>
                <c:pt idx="44">
                  <c:v>0.9422221961060838</c:v>
                </c:pt>
                <c:pt idx="45">
                  <c:v>0.9899050649262177</c:v>
                </c:pt>
                <c:pt idx="46">
                  <c:v>0.9281689082517676</c:v>
                </c:pt>
                <c:pt idx="47">
                  <c:v>0.9717617971528618</c:v>
                </c:pt>
                <c:pt idx="48">
                  <c:v>1.1231939455854714</c:v>
                </c:pt>
                <c:pt idx="49">
                  <c:v>1.0645277881049513</c:v>
                </c:pt>
                <c:pt idx="50">
                  <c:v>0.9083080562819075</c:v>
                </c:pt>
                <c:pt idx="51">
                  <c:v>0.9067550533352208</c:v>
                </c:pt>
              </c:numCache>
            </c:numRef>
          </c:xVal>
          <c:yVal>
            <c:numRef>
              <c:f>Sheet1!$B$109:$B$160</c:f>
              <c:numCache>
                <c:formatCode>General</c:formatCode>
                <c:ptCount val="52"/>
                <c:pt idx="0">
                  <c:v>0.38095238095238093</c:v>
                </c:pt>
                <c:pt idx="1">
                  <c:v>0.35074626865671643</c:v>
                </c:pt>
                <c:pt idx="2">
                  <c:v>0.3219178082191781</c:v>
                </c:pt>
                <c:pt idx="3">
                  <c:v>0.3358208955223881</c:v>
                </c:pt>
                <c:pt idx="4">
                  <c:v>0.3333333333333333</c:v>
                </c:pt>
                <c:pt idx="5">
                  <c:v>0.3561643835616438</c:v>
                </c:pt>
                <c:pt idx="6">
                  <c:v>0.3430232558139535</c:v>
                </c:pt>
                <c:pt idx="7">
                  <c:v>0.2926829268292683</c:v>
                </c:pt>
                <c:pt idx="8">
                  <c:v>0.32608695652173914</c:v>
                </c:pt>
                <c:pt idx="9">
                  <c:v>0.41414141414141414</c:v>
                </c:pt>
                <c:pt idx="10">
                  <c:v>0.3416666666666667</c:v>
                </c:pt>
                <c:pt idx="11">
                  <c:v>0.417910447761194</c:v>
                </c:pt>
                <c:pt idx="12">
                  <c:v>0.4017857142857143</c:v>
                </c:pt>
                <c:pt idx="13">
                  <c:v>0.4563106796116505</c:v>
                </c:pt>
                <c:pt idx="14">
                  <c:v>0.44680851063829785</c:v>
                </c:pt>
                <c:pt idx="15">
                  <c:v>0.3695652173913043</c:v>
                </c:pt>
                <c:pt idx="16">
                  <c:v>0.3625</c:v>
                </c:pt>
                <c:pt idx="17">
                  <c:v>0.3150684931506849</c:v>
                </c:pt>
                <c:pt idx="18">
                  <c:v>0.3411764705882353</c:v>
                </c:pt>
                <c:pt idx="19">
                  <c:v>0.4</c:v>
                </c:pt>
                <c:pt idx="20">
                  <c:v>0.3392857142857143</c:v>
                </c:pt>
                <c:pt idx="21">
                  <c:v>0.3157894736842105</c:v>
                </c:pt>
                <c:pt idx="22">
                  <c:v>0.3</c:v>
                </c:pt>
                <c:pt idx="23">
                  <c:v>0.21212121212121213</c:v>
                </c:pt>
                <c:pt idx="24">
                  <c:v>0.2878787878787879</c:v>
                </c:pt>
                <c:pt idx="25">
                  <c:v>0.24489795918367346</c:v>
                </c:pt>
                <c:pt idx="26">
                  <c:v>0.31746031746031744</c:v>
                </c:pt>
                <c:pt idx="27">
                  <c:v>0.35384615384615387</c:v>
                </c:pt>
                <c:pt idx="28">
                  <c:v>0.379746835443038</c:v>
                </c:pt>
                <c:pt idx="29">
                  <c:v>0.25862068965517243</c:v>
                </c:pt>
                <c:pt idx="30">
                  <c:v>0.2835820895522388</c:v>
                </c:pt>
                <c:pt idx="31">
                  <c:v>0.3382352941176471</c:v>
                </c:pt>
                <c:pt idx="32">
                  <c:v>0.32051282051282054</c:v>
                </c:pt>
                <c:pt idx="33">
                  <c:v>0.40625</c:v>
                </c:pt>
                <c:pt idx="34">
                  <c:v>0.4435483870967742</c:v>
                </c:pt>
                <c:pt idx="35">
                  <c:v>0.36666666666666664</c:v>
                </c:pt>
                <c:pt idx="36">
                  <c:v>0.38181818181818183</c:v>
                </c:pt>
                <c:pt idx="37">
                  <c:v>0.30303030303030304</c:v>
                </c:pt>
                <c:pt idx="38">
                  <c:v>0.34375</c:v>
                </c:pt>
                <c:pt idx="39">
                  <c:v>0.3577981651376147</c:v>
                </c:pt>
                <c:pt idx="40">
                  <c:v>0.30864197530864196</c:v>
                </c:pt>
                <c:pt idx="41">
                  <c:v>0.3263157894736842</c:v>
                </c:pt>
                <c:pt idx="42">
                  <c:v>0.34523809523809523</c:v>
                </c:pt>
                <c:pt idx="43">
                  <c:v>0.3018867924528302</c:v>
                </c:pt>
                <c:pt idx="44">
                  <c:v>0.3275862068965517</c:v>
                </c:pt>
                <c:pt idx="45">
                  <c:v>0.3804347826086957</c:v>
                </c:pt>
                <c:pt idx="46">
                  <c:v>0.328125</c:v>
                </c:pt>
                <c:pt idx="47">
                  <c:v>0.3897058823529412</c:v>
                </c:pt>
                <c:pt idx="48">
                  <c:v>0.31097560975609756</c:v>
                </c:pt>
                <c:pt idx="49">
                  <c:v>0.4128787878787879</c:v>
                </c:pt>
                <c:pt idx="50">
                  <c:v>0.4541984732824427</c:v>
                </c:pt>
                <c:pt idx="51">
                  <c:v>0.36690647482014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659602216608788</c:v>
                </c:pt>
              </c:numCache>
            </c:numRef>
          </c:xVal>
          <c:yVal>
            <c:numRef>
              <c:f>Sheet1!$B$163:$B$164</c:f>
              <c:numCache>
                <c:formatCode>General</c:formatCode>
                <c:ptCount val="2"/>
                <c:pt idx="0">
                  <c:v>0.5525359094482087</c:v>
                </c:pt>
                <c:pt idx="1">
                  <c:v>0.55253590944820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659602216608788</c:v>
                </c:pt>
                <c:pt idx="1">
                  <c:v>-0.9659602216608788</c:v>
                </c:pt>
              </c:numCache>
            </c:numRef>
          </c:xVal>
          <c:yVal>
            <c:numRef>
              <c:f>Sheet1!$B$167:$B$168</c:f>
              <c:numCache>
                <c:formatCode>General</c:formatCode>
                <c:ptCount val="2"/>
                <c:pt idx="0">
                  <c:v>0.55253590944820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39721908002059</c:v>
                </c:pt>
              </c:numCache>
            </c:numRef>
          </c:xVal>
          <c:yVal>
            <c:numRef>
              <c:f>Sheet1!$B$171:$B$172</c:f>
              <c:numCache>
                <c:formatCode>General</c:formatCode>
                <c:ptCount val="2"/>
                <c:pt idx="0">
                  <c:v>0.386239836434368</c:v>
                </c:pt>
                <c:pt idx="1">
                  <c:v>0.3862398364343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39721908002059</c:v>
                </c:pt>
                <c:pt idx="1">
                  <c:v>0.5839721908002059</c:v>
                </c:pt>
              </c:numCache>
            </c:numRef>
          </c:xVal>
          <c:yVal>
            <c:numRef>
              <c:f>Sheet1!$B$175:$B$176</c:f>
              <c:numCache>
                <c:formatCode>General</c:formatCode>
                <c:ptCount val="2"/>
                <c:pt idx="0">
                  <c:v>0.3862398364343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782260100373819</c:v>
                </c:pt>
              </c:numCache>
            </c:numRef>
          </c:xVal>
          <c:yVal>
            <c:numRef>
              <c:f>Sheet1!$B$179:$B$180</c:f>
              <c:numCache>
                <c:formatCode>General</c:formatCode>
                <c:ptCount val="2"/>
                <c:pt idx="0">
                  <c:v>0.3546686180928098</c:v>
                </c:pt>
                <c:pt idx="1">
                  <c:v>0.35466861809280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782260100373819</c:v>
                </c:pt>
                <c:pt idx="1">
                  <c:v>0.8782260100373819</c:v>
                </c:pt>
              </c:numCache>
            </c:numRef>
          </c:xVal>
          <c:yVal>
            <c:numRef>
              <c:f>Sheet1!$B$183:$B$184</c:f>
              <c:numCache>
                <c:formatCode>General</c:formatCode>
                <c:ptCount val="2"/>
                <c:pt idx="0">
                  <c:v>0.35466861809280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621261269307646</c:v>
                </c:pt>
                <c:pt idx="1">
                  <c:v>0.8644097813308323</c:v>
                </c:pt>
                <c:pt idx="2">
                  <c:v>0.954846938610678</c:v>
                </c:pt>
                <c:pt idx="3">
                  <c:v>0.9290123919760127</c:v>
                </c:pt>
                <c:pt idx="4">
                  <c:v>0.9686169256036898</c:v>
                </c:pt>
                <c:pt idx="5">
                  <c:v>0.8538333217523264</c:v>
                </c:pt>
                <c:pt idx="6">
                  <c:v>0.9783055493762204</c:v>
                </c:pt>
                <c:pt idx="7">
                  <c:v>0.9812464368229964</c:v>
                </c:pt>
                <c:pt idx="8">
                  <c:v>0.9673320161419389</c:v>
                </c:pt>
                <c:pt idx="9">
                  <c:v>0.8878482044422701</c:v>
                </c:pt>
                <c:pt idx="10">
                  <c:v>0.9334614247559241</c:v>
                </c:pt>
                <c:pt idx="11">
                  <c:v>0.8193822484273926</c:v>
                </c:pt>
                <c:pt idx="12">
                  <c:v>0.9418424864805811</c:v>
                </c:pt>
                <c:pt idx="13">
                  <c:v>0.8596374140708242</c:v>
                </c:pt>
                <c:pt idx="14">
                  <c:v>0.7930295407939287</c:v>
                </c:pt>
                <c:pt idx="15">
                  <c:v>0.8262972915050278</c:v>
                </c:pt>
                <c:pt idx="16">
                  <c:v>0.9657396456473775</c:v>
                </c:pt>
                <c:pt idx="17">
                  <c:v>1.0686556960020084</c:v>
                </c:pt>
                <c:pt idx="18">
                  <c:v>0.9951755156950672</c:v>
                </c:pt>
                <c:pt idx="19">
                  <c:v>0.9148602069206059</c:v>
                </c:pt>
                <c:pt idx="20">
                  <c:v>0.906560052151162</c:v>
                </c:pt>
                <c:pt idx="21">
                  <c:v>1.0567740464524282</c:v>
                </c:pt>
                <c:pt idx="22">
                  <c:v>0.9609388384444063</c:v>
                </c:pt>
                <c:pt idx="23">
                  <c:v>0.8407688372093023</c:v>
                </c:pt>
                <c:pt idx="24">
                  <c:v>0.7551484876880906</c:v>
                </c:pt>
                <c:pt idx="25">
                  <c:v>1.0940837268128163</c:v>
                </c:pt>
                <c:pt idx="26">
                  <c:v>0.8631503408683171</c:v>
                </c:pt>
                <c:pt idx="27">
                  <c:v>1.0463873455643633</c:v>
                </c:pt>
                <c:pt idx="28">
                  <c:v>0.9932650733078932</c:v>
                </c:pt>
                <c:pt idx="29">
                  <c:v>0.8932308818148554</c:v>
                </c:pt>
                <c:pt idx="30">
                  <c:v>1.2929770403645273</c:v>
                </c:pt>
                <c:pt idx="31">
                  <c:v>0.9760333520855099</c:v>
                </c:pt>
                <c:pt idx="32">
                  <c:v>0.9497098060079281</c:v>
                </c:pt>
                <c:pt idx="33">
                  <c:v>0.9387685770502306</c:v>
                </c:pt>
                <c:pt idx="34">
                  <c:v>0.9317355438888673</c:v>
                </c:pt>
                <c:pt idx="35">
                  <c:v>1.0041647305805288</c:v>
                </c:pt>
                <c:pt idx="36">
                  <c:v>0.9167735366668333</c:v>
                </c:pt>
                <c:pt idx="37">
                  <c:v>0.762805872756933</c:v>
                </c:pt>
                <c:pt idx="38">
                  <c:v>0.7725678114038664</c:v>
                </c:pt>
                <c:pt idx="39">
                  <c:v>0.8556933020905704</c:v>
                </c:pt>
                <c:pt idx="40">
                  <c:v>0.8997399812948067</c:v>
                </c:pt>
                <c:pt idx="41">
                  <c:v>0.8893658417351994</c:v>
                </c:pt>
                <c:pt idx="42">
                  <c:v>0.9779830943033411</c:v>
                </c:pt>
                <c:pt idx="43">
                  <c:v>0.9398488358644639</c:v>
                </c:pt>
                <c:pt idx="44">
                  <c:v>0.9422221961060838</c:v>
                </c:pt>
                <c:pt idx="45">
                  <c:v>0.9899050649262177</c:v>
                </c:pt>
                <c:pt idx="46">
                  <c:v>0.9281689082517676</c:v>
                </c:pt>
                <c:pt idx="47">
                  <c:v>0.9717617971528618</c:v>
                </c:pt>
                <c:pt idx="48">
                  <c:v>1.1231939455854714</c:v>
                </c:pt>
                <c:pt idx="49">
                  <c:v>1.0645277881049513</c:v>
                </c:pt>
                <c:pt idx="50">
                  <c:v>0.9083080562819075</c:v>
                </c:pt>
                <c:pt idx="51">
                  <c:v>0.9067550533352208</c:v>
                </c:pt>
                <c:pt idx="52">
                  <c:v>0.5839721908002059</c:v>
                </c:pt>
                <c:pt idx="53">
                  <c:v>-0.9659602216608788</c:v>
                </c:pt>
                <c:pt idx="54">
                  <c:v>0.8782260100373819</c:v>
                </c:pt>
              </c:numCache>
            </c:numRef>
          </c:xVal>
          <c:yVal>
            <c:numRef>
              <c:f>Sheet1!$B$187:$B$241</c:f>
              <c:numCache>
                <c:formatCode>General</c:formatCode>
                <c:ptCount val="55"/>
                <c:pt idx="0">
                  <c:v>0.35639601427801576</c:v>
                </c:pt>
                <c:pt idx="1">
                  <c:v>0.35615099536248185</c:v>
                </c:pt>
                <c:pt idx="2">
                  <c:v>0.34644776960291923</c:v>
                </c:pt>
                <c:pt idx="3">
                  <c:v>0.3492196218584741</c:v>
                </c:pt>
                <c:pt idx="4">
                  <c:v>0.34497035372079476</c:v>
                </c:pt>
                <c:pt idx="5">
                  <c:v>0.35728576980822846</c:v>
                </c:pt>
                <c:pt idx="6">
                  <c:v>0.34393083736941915</c:v>
                </c:pt>
                <c:pt idx="7">
                  <c:v>0.34361530229857173</c:v>
                </c:pt>
                <c:pt idx="8">
                  <c:v>0.3451082148274789</c:v>
                </c:pt>
                <c:pt idx="9">
                  <c:v>0.35363622911220394</c:v>
                </c:pt>
                <c:pt idx="10">
                  <c:v>0.3487422741534639</c:v>
                </c:pt>
                <c:pt idx="11">
                  <c:v>0.36098211047378775</c:v>
                </c:pt>
                <c:pt idx="12">
                  <c:v>0.34784304936063315</c:v>
                </c:pt>
                <c:pt idx="13">
                  <c:v>0.3566630344216941</c:v>
                </c:pt>
                <c:pt idx="14">
                  <c:v>0.3638095575014735</c:v>
                </c:pt>
                <c:pt idx="15">
                  <c:v>0.36024017843901834</c:v>
                </c:pt>
                <c:pt idx="16">
                  <c:v>0.3452790641870379</c:v>
                </c:pt>
                <c:pt idx="17">
                  <c:v>0.3342369471976304</c:v>
                </c:pt>
                <c:pt idx="18">
                  <c:v>0.34212081705618147</c:v>
                </c:pt>
                <c:pt idx="19">
                  <c:v>0.3507380447137922</c:v>
                </c:pt>
                <c:pt idx="20">
                  <c:v>0.3516285887997591</c:v>
                </c:pt>
                <c:pt idx="21">
                  <c:v>0.3355117586959489</c:v>
                </c:pt>
                <c:pt idx="22">
                  <c:v>0.34579415463790664</c:v>
                </c:pt>
                <c:pt idx="23">
                  <c:v>0.3586874905916561</c:v>
                </c:pt>
                <c:pt idx="24">
                  <c:v>0.3678739091612513</c:v>
                </c:pt>
                <c:pt idx="25">
                  <c:v>0.331508711027901</c:v>
                </c:pt>
                <c:pt idx="26">
                  <c:v>0.3562861238373929</c:v>
                </c:pt>
                <c:pt idx="27">
                  <c:v>0.3366261734635657</c:v>
                </c:pt>
                <c:pt idx="28">
                  <c:v>0.34232579313394595</c:v>
                </c:pt>
                <c:pt idx="29">
                  <c:v>0.35305870837506415</c:v>
                </c:pt>
                <c:pt idx="30">
                  <c:v>0.3101689566447785</c:v>
                </c:pt>
                <c:pt idx="31">
                  <c:v>0.3441746270234195</c:v>
                </c:pt>
                <c:pt idx="32">
                  <c:v>0.3469989452358181</c:v>
                </c:pt>
                <c:pt idx="33">
                  <c:v>0.3481728566883319</c:v>
                </c:pt>
                <c:pt idx="34">
                  <c:v>0.3489274481703267</c:v>
                </c:pt>
                <c:pt idx="35">
                  <c:v>0.34115634201010114</c:v>
                </c:pt>
                <c:pt idx="36">
                  <c:v>0.35053275884415036</c:v>
                </c:pt>
                <c:pt idx="37">
                  <c:v>0.3670523294225056</c:v>
                </c:pt>
                <c:pt idx="38">
                  <c:v>0.36600494693734975</c:v>
                </c:pt>
                <c:pt idx="39">
                  <c:v>0.35708620792820955</c:v>
                </c:pt>
                <c:pt idx="40">
                  <c:v>0.3523603310305621</c:v>
                </c:pt>
                <c:pt idx="41">
                  <c:v>0.35347339806225336</c:v>
                </c:pt>
                <c:pt idx="42">
                  <c:v>0.34396543436985094</c:v>
                </c:pt>
                <c:pt idx="43">
                  <c:v>0.3480569530545984</c:v>
                </c:pt>
                <c:pt idx="44">
                  <c:v>0.3478023093779739</c:v>
                </c:pt>
                <c:pt idx="45">
                  <c:v>0.3426862967240857</c:v>
                </c:pt>
                <c:pt idx="46">
                  <c:v>0.34931012130855676</c:v>
                </c:pt>
                <c:pt idx="47">
                  <c:v>0.3446329326922676</c:v>
                </c:pt>
                <c:pt idx="48">
                  <c:v>0.3283854038258924</c:v>
                </c:pt>
                <c:pt idx="49">
                  <c:v>0.3346798406215788</c:v>
                </c:pt>
                <c:pt idx="50">
                  <c:v>0.3514410411233457</c:v>
                </c:pt>
                <c:pt idx="51">
                  <c:v>0.3516076666415532</c:v>
                </c:pt>
                <c:pt idx="52">
                  <c:v>0.386239836434368</c:v>
                </c:pt>
                <c:pt idx="53">
                  <c:v>0.5525359094482087</c:v>
                </c:pt>
                <c:pt idx="54">
                  <c:v>0.35466861809280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16969696969696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3131</c:v>
                </c:pt>
                <c:pt idx="1">
                  <c:v>823.3654</c:v>
                </c:pt>
                <c:pt idx="2">
                  <c:v>857.6071</c:v>
                </c:pt>
                <c:pt idx="3">
                  <c:v>826.1154</c:v>
                </c:pt>
                <c:pt idx="4">
                  <c:v>820.8144</c:v>
                </c:pt>
                <c:pt idx="5">
                  <c:v>837.5682</c:v>
                </c:pt>
                <c:pt idx="6">
                  <c:v>778.4271</c:v>
                </c:pt>
                <c:pt idx="7">
                  <c:v>829.1667</c:v>
                </c:pt>
                <c:pt idx="8">
                  <c:v>825.6491</c:v>
                </c:pt>
                <c:pt idx="9">
                  <c:v>746.2763</c:v>
                </c:pt>
                <c:pt idx="10">
                  <c:v>708.8454</c:v>
                </c:pt>
                <c:pt idx="11">
                  <c:v>798.3763</c:v>
                </c:pt>
                <c:pt idx="12">
                  <c:v>782.1573</c:v>
                </c:pt>
                <c:pt idx="13">
                  <c:v>789.5618</c:v>
                </c:pt>
                <c:pt idx="14">
                  <c:v>787.8542</c:v>
                </c:pt>
                <c:pt idx="15">
                  <c:v>805.1807</c:v>
                </c:pt>
                <c:pt idx="16">
                  <c:v>812.0</c:v>
                </c:pt>
                <c:pt idx="17">
                  <c:v>813.8772</c:v>
                </c:pt>
                <c:pt idx="18">
                  <c:v>864.4754</c:v>
                </c:pt>
                <c:pt idx="19">
                  <c:v>932.7727</c:v>
                </c:pt>
                <c:pt idx="20">
                  <c:v>905.0167</c:v>
                </c:pt>
                <c:pt idx="21">
                  <c:v>894.9714</c:v>
                </c:pt>
                <c:pt idx="22">
                  <c:v>921.3902</c:v>
                </c:pt>
                <c:pt idx="23">
                  <c:v>902.1944</c:v>
                </c:pt>
                <c:pt idx="24">
                  <c:v>871.4091</c:v>
                </c:pt>
                <c:pt idx="25">
                  <c:v>888.7568</c:v>
                </c:pt>
                <c:pt idx="26">
                  <c:v>817.6304</c:v>
                </c:pt>
                <c:pt idx="27">
                  <c:v>854.1163</c:v>
                </c:pt>
                <c:pt idx="28">
                  <c:v>901.0217</c:v>
                </c:pt>
                <c:pt idx="29">
                  <c:v>778.4915</c:v>
                </c:pt>
                <c:pt idx="30">
                  <c:v>808.3256</c:v>
                </c:pt>
                <c:pt idx="31">
                  <c:v>854.075</c:v>
                </c:pt>
                <c:pt idx="32">
                  <c:v>821.3333</c:v>
                </c:pt>
                <c:pt idx="33">
                  <c:v>651.7294</c:v>
                </c:pt>
                <c:pt idx="34">
                  <c:v>761.3068</c:v>
                </c:pt>
                <c:pt idx="35">
                  <c:v>826.2099</c:v>
                </c:pt>
                <c:pt idx="36">
                  <c:v>955.05</c:v>
                </c:pt>
                <c:pt idx="37">
                  <c:v>930.5122</c:v>
                </c:pt>
                <c:pt idx="38">
                  <c:v>967.1795</c:v>
                </c:pt>
                <c:pt idx="39">
                  <c:v>1001.617</c:v>
                </c:pt>
                <c:pt idx="40">
                  <c:v>996.254</c:v>
                </c:pt>
                <c:pt idx="41">
                  <c:v>1024.2821</c:v>
                </c:pt>
                <c:pt idx="42">
                  <c:v>1006.3673</c:v>
                </c:pt>
                <c:pt idx="43">
                  <c:v>997.8596</c:v>
                </c:pt>
                <c:pt idx="44">
                  <c:v>1033.7429</c:v>
                </c:pt>
                <c:pt idx="45">
                  <c:v>992.4337</c:v>
                </c:pt>
                <c:pt idx="46">
                  <c:v>990.4762</c:v>
                </c:pt>
                <c:pt idx="47">
                  <c:v>975.4886</c:v>
                </c:pt>
                <c:pt idx="48">
                  <c:v>989.2603</c:v>
                </c:pt>
                <c:pt idx="49">
                  <c:v>972.5281</c:v>
                </c:pt>
                <c:pt idx="50">
                  <c:v>1007.1077</c:v>
                </c:pt>
                <c:pt idx="51">
                  <c:v>1028.1356</c:v>
                </c:pt>
                <c:pt idx="52">
                  <c:v>1003.0741</c:v>
                </c:pt>
                <c:pt idx="53">
                  <c:v>1032.7581</c:v>
                </c:pt>
                <c:pt idx="54">
                  <c:v>1033.5625</c:v>
                </c:pt>
                <c:pt idx="55">
                  <c:v>1052.8913</c:v>
                </c:pt>
                <c:pt idx="56">
                  <c:v>1003.3778</c:v>
                </c:pt>
                <c:pt idx="57">
                  <c:v>1011.322</c:v>
                </c:pt>
                <c:pt idx="58">
                  <c:v>940.3944</c:v>
                </c:pt>
                <c:pt idx="59">
                  <c:v>956.381</c:v>
                </c:pt>
                <c:pt idx="60">
                  <c:v>928.6966</c:v>
                </c:pt>
                <c:pt idx="61">
                  <c:v>986.4375</c:v>
                </c:pt>
                <c:pt idx="62">
                  <c:v>871.9762</c:v>
                </c:pt>
                <c:pt idx="63">
                  <c:v>947.2911</c:v>
                </c:pt>
                <c:pt idx="64">
                  <c:v>975.9459</c:v>
                </c:pt>
                <c:pt idx="65">
                  <c:v>993.4921</c:v>
                </c:pt>
                <c:pt idx="66">
                  <c:v>969.1857</c:v>
                </c:pt>
                <c:pt idx="67">
                  <c:v>979.6515</c:v>
                </c:pt>
                <c:pt idx="68">
                  <c:v>1031.9459</c:v>
                </c:pt>
                <c:pt idx="69">
                  <c:v>1064.4667</c:v>
                </c:pt>
                <c:pt idx="70">
                  <c:v>1004.5429</c:v>
                </c:pt>
                <c:pt idx="71">
                  <c:v>1125.5172</c:v>
                </c:pt>
                <c:pt idx="72">
                  <c:v>1208.8182</c:v>
                </c:pt>
                <c:pt idx="73">
                  <c:v>1148.9</c:v>
                </c:pt>
                <c:pt idx="74">
                  <c:v>1127.5128</c:v>
                </c:pt>
                <c:pt idx="75">
                  <c:v>1085.75</c:v>
                </c:pt>
                <c:pt idx="76">
                  <c:v>1083.0</c:v>
                </c:pt>
                <c:pt idx="77">
                  <c:v>1070.069</c:v>
                </c:pt>
                <c:pt idx="78">
                  <c:v>1114.68</c:v>
                </c:pt>
                <c:pt idx="79">
                  <c:v>1140.1379</c:v>
                </c:pt>
                <c:pt idx="80">
                  <c:v>1205.55</c:v>
                </c:pt>
                <c:pt idx="81">
                  <c:v>1195.2581</c:v>
                </c:pt>
                <c:pt idx="82">
                  <c:v>1085.4545</c:v>
                </c:pt>
                <c:pt idx="83">
                  <c:v>1085.6875</c:v>
                </c:pt>
                <c:pt idx="84">
                  <c:v>1139.4167</c:v>
                </c:pt>
                <c:pt idx="85">
                  <c:v>1110.1818</c:v>
                </c:pt>
                <c:pt idx="86">
                  <c:v>1118.5122</c:v>
                </c:pt>
                <c:pt idx="87">
                  <c:v>1143.0227</c:v>
                </c:pt>
                <c:pt idx="88">
                  <c:v>1095.4583</c:v>
                </c:pt>
                <c:pt idx="89">
                  <c:v>1159.55</c:v>
                </c:pt>
                <c:pt idx="90">
                  <c:v>1183.0476</c:v>
                </c:pt>
                <c:pt idx="91">
                  <c:v>1234.8696</c:v>
                </c:pt>
                <c:pt idx="92">
                  <c:v>1175.5</c:v>
                </c:pt>
                <c:pt idx="93">
                  <c:v>1176.1786</c:v>
                </c:pt>
                <c:pt idx="94">
                  <c:v>1174.2069</c:v>
                </c:pt>
                <c:pt idx="95">
                  <c:v>1133.4545</c:v>
                </c:pt>
                <c:pt idx="96">
                  <c:v>1168.7917</c:v>
                </c:pt>
                <c:pt idx="97">
                  <c:v>1143.8983</c:v>
                </c:pt>
                <c:pt idx="98">
                  <c:v>1126.1096</c:v>
                </c:pt>
                <c:pt idx="99">
                  <c:v>1099.4571</c:v>
                </c:pt>
                <c:pt idx="100">
                  <c:v>1084.2821</c:v>
                </c:pt>
                <c:pt idx="101">
                  <c:v>1124.2857</c:v>
                </c:pt>
                <c:pt idx="102">
                  <c:v>1120.7234</c:v>
                </c:pt>
                <c:pt idx="103">
                  <c:v>1190.4375</c:v>
                </c:pt>
                <c:pt idx="104">
                  <c:v>1098.3243</c:v>
                </c:pt>
              </c:numCache>
            </c:numRef>
          </c:xVal>
          <c:yVal>
            <c:numRef>
              <c:f>Sheet1!$B$2:$B$106</c:f>
              <c:numCache>
                <c:formatCode>General</c:formatCode>
                <c:ptCount val="105"/>
                <c:pt idx="0">
                  <c:v>0.5409836065573771</c:v>
                </c:pt>
                <c:pt idx="1">
                  <c:v>0.5714285714285714</c:v>
                </c:pt>
                <c:pt idx="2">
                  <c:v>0.5773195876288659</c:v>
                </c:pt>
                <c:pt idx="3">
                  <c:v>0.5652173913043478</c:v>
                </c:pt>
                <c:pt idx="4">
                  <c:v>0.60625</c:v>
                </c:pt>
                <c:pt idx="5">
                  <c:v>0.5605095541401274</c:v>
                </c:pt>
                <c:pt idx="6">
                  <c:v>0.4948453608247423</c:v>
                </c:pt>
                <c:pt idx="7">
                  <c:v>0.5333333333333333</c:v>
                </c:pt>
                <c:pt idx="8">
                  <c:v>0.5229357798165137</c:v>
                </c:pt>
                <c:pt idx="9">
                  <c:v>0.5205479452054794</c:v>
                </c:pt>
                <c:pt idx="10">
                  <c:v>0.48743718592964824</c:v>
                </c:pt>
                <c:pt idx="11">
                  <c:v>0.543859649122807</c:v>
                </c:pt>
                <c:pt idx="12">
                  <c:v>0.536144578313253</c:v>
                </c:pt>
                <c:pt idx="13">
                  <c:v>0.5426829268292683</c:v>
                </c:pt>
                <c:pt idx="14">
                  <c:v>0.5714285714285714</c:v>
                </c:pt>
                <c:pt idx="15">
                  <c:v>0.5533333333333333</c:v>
                </c:pt>
                <c:pt idx="16">
                  <c:v>0.552</c:v>
                </c:pt>
                <c:pt idx="17">
                  <c:v>0.5327102803738317</c:v>
                </c:pt>
                <c:pt idx="18">
                  <c:v>0.5350877192982456</c:v>
                </c:pt>
                <c:pt idx="19">
                  <c:v>0.4489795918367347</c:v>
                </c:pt>
                <c:pt idx="20">
                  <c:v>0.4225352112676056</c:v>
                </c:pt>
                <c:pt idx="21">
                  <c:v>0.45454545454545453</c:v>
                </c:pt>
                <c:pt idx="22">
                  <c:v>0.4823529411764706</c:v>
                </c:pt>
                <c:pt idx="23">
                  <c:v>0.4090909090909091</c:v>
                </c:pt>
                <c:pt idx="24">
                  <c:v>0.44</c:v>
                </c:pt>
                <c:pt idx="25">
                  <c:v>0.4065934065934066</c:v>
                </c:pt>
                <c:pt idx="26">
                  <c:v>0.41818181818181815</c:v>
                </c:pt>
                <c:pt idx="27">
                  <c:v>0.4056603773584906</c:v>
                </c:pt>
                <c:pt idx="28">
                  <c:v>0.40707964601769914</c:v>
                </c:pt>
                <c:pt idx="29">
                  <c:v>0.43703703703703706</c:v>
                </c:pt>
                <c:pt idx="30">
                  <c:v>0.4387755102040816</c:v>
                </c:pt>
                <c:pt idx="31">
                  <c:v>0.38461538461538464</c:v>
                </c:pt>
                <c:pt idx="32">
                  <c:v>0.38461538461538464</c:v>
                </c:pt>
                <c:pt idx="33">
                  <c:v>0.5151515151515151</c:v>
                </c:pt>
                <c:pt idx="34">
                  <c:v>0.4756756756756757</c:v>
                </c:pt>
                <c:pt idx="35">
                  <c:v>0.5094339622641509</c:v>
                </c:pt>
                <c:pt idx="36">
                  <c:v>0.4444444444444444</c:v>
                </c:pt>
                <c:pt idx="37">
                  <c:v>0.4019607843137255</c:v>
                </c:pt>
                <c:pt idx="38">
                  <c:v>0.38235294117647056</c:v>
                </c:pt>
                <c:pt idx="39">
                  <c:v>0.42727272727272725</c:v>
                </c:pt>
                <c:pt idx="40">
                  <c:v>0.4090909090909091</c:v>
                </c:pt>
                <c:pt idx="41">
                  <c:v>0.33620689655172414</c:v>
                </c:pt>
                <c:pt idx="42">
                  <c:v>0.35</c:v>
                </c:pt>
                <c:pt idx="43">
                  <c:v>0.37748344370860926</c:v>
                </c:pt>
                <c:pt idx="44">
                  <c:v>0.3645833333333333</c:v>
                </c:pt>
                <c:pt idx="45">
                  <c:v>0.3755656108597285</c:v>
                </c:pt>
                <c:pt idx="46">
                  <c:v>0.430327868852459</c:v>
                </c:pt>
                <c:pt idx="47">
                  <c:v>0.3826086956521739</c:v>
                </c:pt>
                <c:pt idx="48">
                  <c:v>0.41954022988505746</c:v>
                </c:pt>
                <c:pt idx="49">
                  <c:v>0.4599483204134367</c:v>
                </c:pt>
                <c:pt idx="50">
                  <c:v>0.39634146341463417</c:v>
                </c:pt>
                <c:pt idx="51">
                  <c:v>0.3933333333333333</c:v>
                </c:pt>
                <c:pt idx="52">
                  <c:v>0.413265306122449</c:v>
                </c:pt>
                <c:pt idx="53">
                  <c:v>0.3780487804878049</c:v>
                </c:pt>
                <c:pt idx="54">
                  <c:v>0.3870967741935484</c:v>
                </c:pt>
                <c:pt idx="55">
                  <c:v>0.37398373983739835</c:v>
                </c:pt>
                <c:pt idx="56">
                  <c:v>0.3358208955223881</c:v>
                </c:pt>
                <c:pt idx="57">
                  <c:v>0.36419753086419754</c:v>
                </c:pt>
                <c:pt idx="58">
                  <c:v>0.355</c:v>
                </c:pt>
                <c:pt idx="59">
                  <c:v>0.3870967741935484</c:v>
                </c:pt>
                <c:pt idx="60">
                  <c:v>0.3920704845814978</c:v>
                </c:pt>
                <c:pt idx="61">
                  <c:v>0.38323353293413176</c:v>
                </c:pt>
                <c:pt idx="62">
                  <c:v>0.44680851063829785</c:v>
                </c:pt>
                <c:pt idx="63">
                  <c:v>0.38164251207729466</c:v>
                </c:pt>
                <c:pt idx="64">
                  <c:v>0.4228571428571429</c:v>
                </c:pt>
                <c:pt idx="65">
                  <c:v>0.4117647058823529</c:v>
                </c:pt>
                <c:pt idx="66">
                  <c:v>0.43478260869565216</c:v>
                </c:pt>
                <c:pt idx="67">
                  <c:v>0.41509433962264153</c:v>
                </c:pt>
                <c:pt idx="68">
                  <c:v>0.3217391304347826</c:v>
                </c:pt>
                <c:pt idx="69">
                  <c:v>0.30303030303030304</c:v>
                </c:pt>
                <c:pt idx="70">
                  <c:v>0.3645833333333333</c:v>
                </c:pt>
                <c:pt idx="71">
                  <c:v>0.3020833333333333</c:v>
                </c:pt>
                <c:pt idx="72">
                  <c:v>0.2214765100671141</c:v>
                </c:pt>
                <c:pt idx="73">
                  <c:v>0.2631578947368421</c:v>
                </c:pt>
                <c:pt idx="74">
                  <c:v>0.36792452830188677</c:v>
                </c:pt>
                <c:pt idx="75">
                  <c:v>0.2857142857142857</c:v>
                </c:pt>
                <c:pt idx="76">
                  <c:v>0.26744186046511625</c:v>
                </c:pt>
                <c:pt idx="77">
                  <c:v>0.3493975903614458</c:v>
                </c:pt>
                <c:pt idx="78">
                  <c:v>0.373134328358209</c:v>
                </c:pt>
                <c:pt idx="79">
                  <c:v>0.35365853658536583</c:v>
                </c:pt>
                <c:pt idx="80">
                  <c:v>0.30303030303030304</c:v>
                </c:pt>
                <c:pt idx="81">
                  <c:v>0.37349397590361444</c:v>
                </c:pt>
                <c:pt idx="82">
                  <c:v>0.3333333333333333</c:v>
                </c:pt>
                <c:pt idx="83">
                  <c:v>0.25806451612903225</c:v>
                </c:pt>
                <c:pt idx="84">
                  <c:v>0.34285714285714286</c:v>
                </c:pt>
                <c:pt idx="85">
                  <c:v>0.2894736842105263</c:v>
                </c:pt>
                <c:pt idx="86">
                  <c:v>0.4019607843137255</c:v>
                </c:pt>
                <c:pt idx="87">
                  <c:v>0.41904761904761906</c:v>
                </c:pt>
                <c:pt idx="88">
                  <c:v>0.3870967741935484</c:v>
                </c:pt>
                <c:pt idx="89">
                  <c:v>0.3076923076923077</c:v>
                </c:pt>
                <c:pt idx="90">
                  <c:v>0.2692307692307692</c:v>
                </c:pt>
                <c:pt idx="91">
                  <c:v>0.27380952380952384</c:v>
                </c:pt>
                <c:pt idx="92">
                  <c:v>0.3225806451612903</c:v>
                </c:pt>
                <c:pt idx="93">
                  <c:v>0.34146341463414637</c:v>
                </c:pt>
                <c:pt idx="94">
                  <c:v>0.32222222222222224</c:v>
                </c:pt>
                <c:pt idx="95">
                  <c:v>0.308411214953271</c:v>
                </c:pt>
                <c:pt idx="96">
                  <c:v>0.3221476510067114</c:v>
                </c:pt>
                <c:pt idx="97">
                  <c:v>0.3430232558139535</c:v>
                </c:pt>
                <c:pt idx="98">
                  <c:v>0.37435897435897436</c:v>
                </c:pt>
                <c:pt idx="99">
                  <c:v>0.4430379746835443</c:v>
                </c:pt>
                <c:pt idx="100">
                  <c:v>0.4119718309859155</c:v>
                </c:pt>
                <c:pt idx="101">
                  <c:v>0.41721854304635764</c:v>
                </c:pt>
                <c:pt idx="102">
                  <c:v>0.3884297520661157</c:v>
                </c:pt>
                <c:pt idx="103">
                  <c:v>0.37209302325581395</c:v>
                </c:pt>
                <c:pt idx="104">
                  <c:v>0.34259259259259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2.875</c:v>
                </c:pt>
                <c:pt idx="1">
                  <c:v>1164.5957</c:v>
                </c:pt>
                <c:pt idx="2">
                  <c:v>1182.2128</c:v>
                </c:pt>
                <c:pt idx="3">
                  <c:v>1195.3111</c:v>
                </c:pt>
                <c:pt idx="4">
                  <c:v>1189.6</c:v>
                </c:pt>
                <c:pt idx="5">
                  <c:v>1178.4038</c:v>
                </c:pt>
                <c:pt idx="6">
                  <c:v>1089.322</c:v>
                </c:pt>
                <c:pt idx="7">
                  <c:v>1075.8958</c:v>
                </c:pt>
                <c:pt idx="8">
                  <c:v>1181.6333</c:v>
                </c:pt>
                <c:pt idx="9">
                  <c:v>1100.8049</c:v>
                </c:pt>
                <c:pt idx="10">
                  <c:v>1104.4878</c:v>
                </c:pt>
                <c:pt idx="11">
                  <c:v>1001.7143</c:v>
                </c:pt>
                <c:pt idx="12">
                  <c:v>1077.6444</c:v>
                </c:pt>
                <c:pt idx="13">
                  <c:v>1082.0851</c:v>
                </c:pt>
                <c:pt idx="14">
                  <c:v>1017.7619</c:v>
                </c:pt>
                <c:pt idx="15">
                  <c:v>1101.5294</c:v>
                </c:pt>
                <c:pt idx="16">
                  <c:v>1164.8966</c:v>
                </c:pt>
                <c:pt idx="17">
                  <c:v>1153.5652</c:v>
                </c:pt>
                <c:pt idx="18">
                  <c:v>1109.6207</c:v>
                </c:pt>
                <c:pt idx="19">
                  <c:v>1051.5556</c:v>
                </c:pt>
                <c:pt idx="20">
                  <c:v>1172.0526</c:v>
                </c:pt>
                <c:pt idx="21">
                  <c:v>1118.8889</c:v>
                </c:pt>
                <c:pt idx="22">
                  <c:v>1121.8</c:v>
                </c:pt>
                <c:pt idx="23">
                  <c:v>1265.3571</c:v>
                </c:pt>
                <c:pt idx="24">
                  <c:v>1178.8947</c:v>
                </c:pt>
                <c:pt idx="25">
                  <c:v>1297.5833</c:v>
                </c:pt>
                <c:pt idx="26">
                  <c:v>1202.8</c:v>
                </c:pt>
                <c:pt idx="27">
                  <c:v>1231.0</c:v>
                </c:pt>
                <c:pt idx="28">
                  <c:v>1236.3667</c:v>
                </c:pt>
                <c:pt idx="29">
                  <c:v>1220.6</c:v>
                </c:pt>
                <c:pt idx="30">
                  <c:v>1235.2632</c:v>
                </c:pt>
                <c:pt idx="31">
                  <c:v>1214.4783</c:v>
                </c:pt>
                <c:pt idx="32">
                  <c:v>1188.16</c:v>
                </c:pt>
                <c:pt idx="33">
                  <c:v>1237.6923</c:v>
                </c:pt>
                <c:pt idx="34">
                  <c:v>1248.3636</c:v>
                </c:pt>
                <c:pt idx="35">
                  <c:v>1277.4091</c:v>
                </c:pt>
                <c:pt idx="36">
                  <c:v>1259.9524</c:v>
                </c:pt>
                <c:pt idx="37">
                  <c:v>1052.1</c:v>
                </c:pt>
                <c:pt idx="38">
                  <c:v>1183.8636</c:v>
                </c:pt>
                <c:pt idx="39">
                  <c:v>1163.2821</c:v>
                </c:pt>
                <c:pt idx="40">
                  <c:v>1176.36</c:v>
                </c:pt>
                <c:pt idx="41">
                  <c:v>1232.7419</c:v>
                </c:pt>
                <c:pt idx="42">
                  <c:v>1220.6207</c:v>
                </c:pt>
                <c:pt idx="43">
                  <c:v>1232.75</c:v>
                </c:pt>
                <c:pt idx="44">
                  <c:v>1202.6053</c:v>
                </c:pt>
                <c:pt idx="45">
                  <c:v>1203.1714</c:v>
                </c:pt>
                <c:pt idx="46">
                  <c:v>1201.881</c:v>
                </c:pt>
                <c:pt idx="47">
                  <c:v>1144.3774</c:v>
                </c:pt>
                <c:pt idx="48">
                  <c:v>1197.8431</c:v>
                </c:pt>
                <c:pt idx="49">
                  <c:v>1193.4404</c:v>
                </c:pt>
                <c:pt idx="50">
                  <c:v>1094.1933</c:v>
                </c:pt>
                <c:pt idx="51">
                  <c:v>1027.5098</c:v>
                </c:pt>
              </c:numCache>
            </c:numRef>
          </c:xVal>
          <c:yVal>
            <c:numRef>
              <c:f>Sheet1!$B$109:$B$160</c:f>
              <c:numCache>
                <c:formatCode>General</c:formatCode>
                <c:ptCount val="52"/>
                <c:pt idx="0">
                  <c:v>0.38095238095238093</c:v>
                </c:pt>
                <c:pt idx="1">
                  <c:v>0.35074626865671643</c:v>
                </c:pt>
                <c:pt idx="2">
                  <c:v>0.3219178082191781</c:v>
                </c:pt>
                <c:pt idx="3">
                  <c:v>0.3358208955223881</c:v>
                </c:pt>
                <c:pt idx="4">
                  <c:v>0.3333333333333333</c:v>
                </c:pt>
                <c:pt idx="5">
                  <c:v>0.3561643835616438</c:v>
                </c:pt>
                <c:pt idx="6">
                  <c:v>0.3430232558139535</c:v>
                </c:pt>
                <c:pt idx="7">
                  <c:v>0.2926829268292683</c:v>
                </c:pt>
                <c:pt idx="8">
                  <c:v>0.32608695652173914</c:v>
                </c:pt>
                <c:pt idx="9">
                  <c:v>0.41414141414141414</c:v>
                </c:pt>
                <c:pt idx="10">
                  <c:v>0.3416666666666667</c:v>
                </c:pt>
                <c:pt idx="11">
                  <c:v>0.417910447761194</c:v>
                </c:pt>
                <c:pt idx="12">
                  <c:v>0.4017857142857143</c:v>
                </c:pt>
                <c:pt idx="13">
                  <c:v>0.4563106796116505</c:v>
                </c:pt>
                <c:pt idx="14">
                  <c:v>0.44680851063829785</c:v>
                </c:pt>
                <c:pt idx="15">
                  <c:v>0.3695652173913043</c:v>
                </c:pt>
                <c:pt idx="16">
                  <c:v>0.3625</c:v>
                </c:pt>
                <c:pt idx="17">
                  <c:v>0.3150684931506849</c:v>
                </c:pt>
                <c:pt idx="18">
                  <c:v>0.3411764705882353</c:v>
                </c:pt>
                <c:pt idx="19">
                  <c:v>0.4</c:v>
                </c:pt>
                <c:pt idx="20">
                  <c:v>0.3392857142857143</c:v>
                </c:pt>
                <c:pt idx="21">
                  <c:v>0.3157894736842105</c:v>
                </c:pt>
                <c:pt idx="22">
                  <c:v>0.3</c:v>
                </c:pt>
                <c:pt idx="23">
                  <c:v>0.21212121212121213</c:v>
                </c:pt>
                <c:pt idx="24">
                  <c:v>0.2878787878787879</c:v>
                </c:pt>
                <c:pt idx="25">
                  <c:v>0.24489795918367346</c:v>
                </c:pt>
                <c:pt idx="26">
                  <c:v>0.31746031746031744</c:v>
                </c:pt>
                <c:pt idx="27">
                  <c:v>0.35384615384615387</c:v>
                </c:pt>
                <c:pt idx="28">
                  <c:v>0.379746835443038</c:v>
                </c:pt>
                <c:pt idx="29">
                  <c:v>0.25862068965517243</c:v>
                </c:pt>
                <c:pt idx="30">
                  <c:v>0.2835820895522388</c:v>
                </c:pt>
                <c:pt idx="31">
                  <c:v>0.3382352941176471</c:v>
                </c:pt>
                <c:pt idx="32">
                  <c:v>0.32051282051282054</c:v>
                </c:pt>
                <c:pt idx="33">
                  <c:v>0.40625</c:v>
                </c:pt>
                <c:pt idx="34">
                  <c:v>0.4435483870967742</c:v>
                </c:pt>
                <c:pt idx="35">
                  <c:v>0.36666666666666664</c:v>
                </c:pt>
                <c:pt idx="36">
                  <c:v>0.38181818181818183</c:v>
                </c:pt>
                <c:pt idx="37">
                  <c:v>0.30303030303030304</c:v>
                </c:pt>
                <c:pt idx="38">
                  <c:v>0.34375</c:v>
                </c:pt>
                <c:pt idx="39">
                  <c:v>0.3577981651376147</c:v>
                </c:pt>
                <c:pt idx="40">
                  <c:v>0.30864197530864196</c:v>
                </c:pt>
                <c:pt idx="41">
                  <c:v>0.3263157894736842</c:v>
                </c:pt>
                <c:pt idx="42">
                  <c:v>0.34523809523809523</c:v>
                </c:pt>
                <c:pt idx="43">
                  <c:v>0.3018867924528302</c:v>
                </c:pt>
                <c:pt idx="44">
                  <c:v>0.3275862068965517</c:v>
                </c:pt>
                <c:pt idx="45">
                  <c:v>0.3804347826086957</c:v>
                </c:pt>
                <c:pt idx="46">
                  <c:v>0.328125</c:v>
                </c:pt>
                <c:pt idx="47">
                  <c:v>0.3897058823529412</c:v>
                </c:pt>
                <c:pt idx="48">
                  <c:v>0.31097560975609756</c:v>
                </c:pt>
                <c:pt idx="49">
                  <c:v>0.4128787878787879</c:v>
                </c:pt>
                <c:pt idx="50">
                  <c:v>0.4541984732824427</c:v>
                </c:pt>
                <c:pt idx="51">
                  <c:v>0.36690647482014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3.14625588065104</c:v>
                </c:pt>
              </c:numCache>
            </c:numRef>
          </c:xVal>
          <c:yVal>
            <c:numRef>
              <c:f>Sheet1!$B$163:$B$164</c:f>
              <c:numCache>
                <c:formatCode>General</c:formatCode>
                <c:ptCount val="2"/>
                <c:pt idx="0">
                  <c:v>0.5525359094482087</c:v>
                </c:pt>
                <c:pt idx="1">
                  <c:v>0.55253590944820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3.14625588065104</c:v>
                </c:pt>
                <c:pt idx="1">
                  <c:v>473.14625588065104</c:v>
                </c:pt>
              </c:numCache>
            </c:numRef>
          </c:xVal>
          <c:yVal>
            <c:numRef>
              <c:f>Sheet1!$B$167:$B$168</c:f>
              <c:numCache>
                <c:formatCode>General</c:formatCode>
                <c:ptCount val="2"/>
                <c:pt idx="0">
                  <c:v>0.55253590944820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9756309805105</c:v>
                </c:pt>
              </c:numCache>
            </c:numRef>
          </c:xVal>
          <c:yVal>
            <c:numRef>
              <c:f>Sheet1!$B$171:$B$172</c:f>
              <c:numCache>
                <c:formatCode>General</c:formatCode>
                <c:ptCount val="2"/>
                <c:pt idx="0">
                  <c:v>0.386239836434368</c:v>
                </c:pt>
                <c:pt idx="1">
                  <c:v>0.3862398364343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9756309805105</c:v>
                </c:pt>
                <c:pt idx="1">
                  <c:v>1036.9756309805105</c:v>
                </c:pt>
              </c:numCache>
            </c:numRef>
          </c:xVal>
          <c:yVal>
            <c:numRef>
              <c:f>Sheet1!$B$175:$B$176</c:f>
              <c:numCache>
                <c:formatCode>General</c:formatCode>
                <c:ptCount val="2"/>
                <c:pt idx="0">
                  <c:v>0.3862398364343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4.0183288990622</c:v>
                </c:pt>
              </c:numCache>
            </c:numRef>
          </c:xVal>
          <c:yVal>
            <c:numRef>
              <c:f>Sheet1!$B$179:$B$180</c:f>
              <c:numCache>
                <c:formatCode>General</c:formatCode>
                <c:ptCount val="2"/>
                <c:pt idx="0">
                  <c:v>0.3546686180928098</c:v>
                </c:pt>
                <c:pt idx="1">
                  <c:v>0.35466861809280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4.0183288990622</c:v>
                </c:pt>
                <c:pt idx="1">
                  <c:v>1144.0183288990622</c:v>
                </c:pt>
              </c:numCache>
            </c:numRef>
          </c:xVal>
          <c:yVal>
            <c:numRef>
              <c:f>Sheet1!$B$183:$B$184</c:f>
              <c:numCache>
                <c:formatCode>General</c:formatCode>
                <c:ptCount val="2"/>
                <c:pt idx="0">
                  <c:v>0.35466861809280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2.875</c:v>
                </c:pt>
                <c:pt idx="1">
                  <c:v>1164.5957</c:v>
                </c:pt>
                <c:pt idx="2">
                  <c:v>1182.2128</c:v>
                </c:pt>
                <c:pt idx="3">
                  <c:v>1195.3111</c:v>
                </c:pt>
                <c:pt idx="4">
                  <c:v>1189.6</c:v>
                </c:pt>
                <c:pt idx="5">
                  <c:v>1178.4038</c:v>
                </c:pt>
                <c:pt idx="6">
                  <c:v>1089.322</c:v>
                </c:pt>
                <c:pt idx="7">
                  <c:v>1075.8958</c:v>
                </c:pt>
                <c:pt idx="8">
                  <c:v>1181.6333</c:v>
                </c:pt>
                <c:pt idx="9">
                  <c:v>1100.8049</c:v>
                </c:pt>
                <c:pt idx="10">
                  <c:v>1104.4878</c:v>
                </c:pt>
                <c:pt idx="11">
                  <c:v>1001.7143</c:v>
                </c:pt>
                <c:pt idx="12">
                  <c:v>1077.6444</c:v>
                </c:pt>
                <c:pt idx="13">
                  <c:v>1082.0851</c:v>
                </c:pt>
                <c:pt idx="14">
                  <c:v>1017.7619</c:v>
                </c:pt>
                <c:pt idx="15">
                  <c:v>1101.5294</c:v>
                </c:pt>
                <c:pt idx="16">
                  <c:v>1164.8966</c:v>
                </c:pt>
                <c:pt idx="17">
                  <c:v>1153.5652</c:v>
                </c:pt>
                <c:pt idx="18">
                  <c:v>1109.6207</c:v>
                </c:pt>
                <c:pt idx="19">
                  <c:v>1051.5556</c:v>
                </c:pt>
                <c:pt idx="20">
                  <c:v>1172.0526</c:v>
                </c:pt>
                <c:pt idx="21">
                  <c:v>1118.8889</c:v>
                </c:pt>
                <c:pt idx="22">
                  <c:v>1121.8</c:v>
                </c:pt>
                <c:pt idx="23">
                  <c:v>1265.3571</c:v>
                </c:pt>
                <c:pt idx="24">
                  <c:v>1178.8947</c:v>
                </c:pt>
                <c:pt idx="25">
                  <c:v>1297.5833</c:v>
                </c:pt>
                <c:pt idx="26">
                  <c:v>1202.8</c:v>
                </c:pt>
                <c:pt idx="27">
                  <c:v>1231.0</c:v>
                </c:pt>
                <c:pt idx="28">
                  <c:v>1236.3667</c:v>
                </c:pt>
                <c:pt idx="29">
                  <c:v>1220.6</c:v>
                </c:pt>
                <c:pt idx="30">
                  <c:v>1235.2632</c:v>
                </c:pt>
                <c:pt idx="31">
                  <c:v>1214.4783</c:v>
                </c:pt>
                <c:pt idx="32">
                  <c:v>1188.16</c:v>
                </c:pt>
                <c:pt idx="33">
                  <c:v>1237.6923</c:v>
                </c:pt>
                <c:pt idx="34">
                  <c:v>1248.3636</c:v>
                </c:pt>
                <c:pt idx="35">
                  <c:v>1277.4091</c:v>
                </c:pt>
                <c:pt idx="36">
                  <c:v>1259.9524</c:v>
                </c:pt>
                <c:pt idx="37">
                  <c:v>1052.1</c:v>
                </c:pt>
                <c:pt idx="38">
                  <c:v>1183.8636</c:v>
                </c:pt>
                <c:pt idx="39">
                  <c:v>1163.2821</c:v>
                </c:pt>
                <c:pt idx="40">
                  <c:v>1176.36</c:v>
                </c:pt>
                <c:pt idx="41">
                  <c:v>1232.7419</c:v>
                </c:pt>
                <c:pt idx="42">
                  <c:v>1220.6207</c:v>
                </c:pt>
                <c:pt idx="43">
                  <c:v>1232.75</c:v>
                </c:pt>
                <c:pt idx="44">
                  <c:v>1202.6053</c:v>
                </c:pt>
                <c:pt idx="45">
                  <c:v>1203.1714</c:v>
                </c:pt>
                <c:pt idx="46">
                  <c:v>1201.881</c:v>
                </c:pt>
                <c:pt idx="47">
                  <c:v>1144.3774</c:v>
                </c:pt>
                <c:pt idx="48">
                  <c:v>1197.8431</c:v>
                </c:pt>
                <c:pt idx="49">
                  <c:v>1193.4404</c:v>
                </c:pt>
                <c:pt idx="50">
                  <c:v>1094.1933</c:v>
                </c:pt>
                <c:pt idx="51">
                  <c:v>1027.5098</c:v>
                </c:pt>
                <c:pt idx="52">
                  <c:v>1036.9756309805105</c:v>
                </c:pt>
                <c:pt idx="53">
                  <c:v>473.14625588065104</c:v>
                </c:pt>
                <c:pt idx="54">
                  <c:v>1144.0183288990622</c:v>
                </c:pt>
              </c:numCache>
            </c:numRef>
          </c:xVal>
          <c:yVal>
            <c:numRef>
              <c:f>Sheet1!$B$187:$B$241</c:f>
              <c:numCache>
                <c:formatCode>General</c:formatCode>
                <c:ptCount val="55"/>
                <c:pt idx="0">
                  <c:v>0.35500583199913316</c:v>
                </c:pt>
                <c:pt idx="1">
                  <c:v>0.34859951960636004</c:v>
                </c:pt>
                <c:pt idx="2">
                  <c:v>0.34340352472338104</c:v>
                </c:pt>
                <c:pt idx="3">
                  <c:v>0.339540306612811</c:v>
                </c:pt>
                <c:pt idx="4">
                  <c:v>0.341224740848649</c:v>
                </c:pt>
                <c:pt idx="5">
                  <c:v>0.3445269527852793</c:v>
                </c:pt>
                <c:pt idx="6">
                  <c:v>0.37080077634117453</c:v>
                </c:pt>
                <c:pt idx="7">
                  <c:v>0.3747607054156449</c:v>
                </c:pt>
                <c:pt idx="8">
                  <c:v>0.3435744426970933</c:v>
                </c:pt>
                <c:pt idx="9">
                  <c:v>0.3674140049859707</c:v>
                </c:pt>
                <c:pt idx="10">
                  <c:v>0.3663277689111046</c:v>
                </c:pt>
                <c:pt idx="11">
                  <c:v>0.39663982822312793</c:v>
                </c:pt>
                <c:pt idx="12">
                  <c:v>0.3742449725962605</c:v>
                </c:pt>
                <c:pt idx="13">
                  <c:v>0.37293523067069695</c:v>
                </c:pt>
                <c:pt idx="14">
                  <c:v>0.3919067423302117</c:v>
                </c:pt>
                <c:pt idx="15">
                  <c:v>0.36720032065127783</c:v>
                </c:pt>
                <c:pt idx="16">
                  <c:v>0.34851077203381475</c:v>
                </c:pt>
                <c:pt idx="17">
                  <c:v>0.35185285991530424</c:v>
                </c:pt>
                <c:pt idx="18">
                  <c:v>0.3648138692264322</c:v>
                </c:pt>
                <c:pt idx="19">
                  <c:v>0.38193961424006473</c:v>
                </c:pt>
                <c:pt idx="20">
                  <c:v>0.34640017838431525</c:v>
                </c:pt>
                <c:pt idx="21">
                  <c:v>0.36208030242063405</c:v>
                </c:pt>
                <c:pt idx="22">
                  <c:v>0.36122170136235315</c:v>
                </c:pt>
                <c:pt idx="23">
                  <c:v>0.31888090991453777</c:v>
                </c:pt>
                <c:pt idx="24">
                  <c:v>0.34438216653282827</c:v>
                </c:pt>
                <c:pt idx="25">
                  <c:v>0.30937610093361245</c:v>
                </c:pt>
                <c:pt idx="26">
                  <c:v>0.3373315272973083</c:v>
                </c:pt>
                <c:pt idx="27">
                  <c:v>0.32901420743762605</c:v>
                </c:pt>
                <c:pt idx="28">
                  <c:v>0.3274313506826276</c:v>
                </c:pt>
                <c:pt idx="29">
                  <c:v>0.3320815878114096</c:v>
                </c:pt>
                <c:pt idx="30">
                  <c:v>0.3277568174367112</c:v>
                </c:pt>
                <c:pt idx="31">
                  <c:v>0.33388712458392794</c:v>
                </c:pt>
                <c:pt idx="32">
                  <c:v>0.3416494550542497</c:v>
                </c:pt>
                <c:pt idx="33">
                  <c:v>0.3270403776611384</c:v>
                </c:pt>
                <c:pt idx="34">
                  <c:v>0.323892979951258</c:v>
                </c:pt>
                <c:pt idx="35">
                  <c:v>0.3153262879659955</c:v>
                </c:pt>
                <c:pt idx="36">
                  <c:v>0.32047497440551737</c:v>
                </c:pt>
                <c:pt idx="37">
                  <c:v>0.381779048675114</c:v>
                </c:pt>
                <c:pt idx="38">
                  <c:v>0.34291663707712705</c:v>
                </c:pt>
                <c:pt idx="39">
                  <c:v>0.3489869533428026</c:v>
                </c:pt>
                <c:pt idx="40">
                  <c:v>0.3451297520168119</c:v>
                </c:pt>
                <c:pt idx="41">
                  <c:v>0.32850045071905937</c:v>
                </c:pt>
                <c:pt idx="42">
                  <c:v>0.3320754825447041</c:v>
                </c:pt>
                <c:pt idx="43">
                  <c:v>0.32849806170165285</c:v>
                </c:pt>
                <c:pt idx="44">
                  <c:v>0.3373889521971906</c:v>
                </c:pt>
                <c:pt idx="45">
                  <c:v>0.3372219864251138</c:v>
                </c:pt>
                <c:pt idx="46">
                  <c:v>0.33760257754379935</c:v>
                </c:pt>
                <c:pt idx="47">
                  <c:v>0.35456271351128965</c:v>
                </c:pt>
                <c:pt idx="48">
                  <c:v>0.3387935174679629</c:v>
                </c:pt>
                <c:pt idx="49">
                  <c:v>0.3400920516575453</c:v>
                </c:pt>
                <c:pt idx="50">
                  <c:v>0.3693640330705195</c:v>
                </c:pt>
                <c:pt idx="51">
                  <c:v>0.3890316926046728</c:v>
                </c:pt>
                <c:pt idx="52">
                  <c:v>0.386239836434368</c:v>
                </c:pt>
                <c:pt idx="53">
                  <c:v>0.5525359094482087</c:v>
                </c:pt>
                <c:pt idx="54">
                  <c:v>0.35466861809280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7.0"/>
          <c:min val="3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16969696969696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87844123013461</c:v>
                </c:pt>
                <c:pt idx="1">
                  <c:v>1.1993669337217772</c:v>
                </c:pt>
                <c:pt idx="2">
                  <c:v>1.217792661155973</c:v>
                </c:pt>
                <c:pt idx="3">
                  <c:v>1.1123635945976844</c:v>
                </c:pt>
                <c:pt idx="4">
                  <c:v>1.0857333333333332</c:v>
                </c:pt>
                <c:pt idx="5">
                  <c:v>1.158171015918819</c:v>
                </c:pt>
                <c:pt idx="6">
                  <c:v>1.3017175585284282</c:v>
                </c:pt>
                <c:pt idx="7">
                  <c:v>1.2912275844198071</c:v>
                </c:pt>
                <c:pt idx="8">
                  <c:v>1.1356933975240715</c:v>
                </c:pt>
                <c:pt idx="9">
                  <c:v>0.9837917696343416</c:v>
                </c:pt>
                <c:pt idx="10">
                  <c:v>1.2269348256853294</c:v>
                </c:pt>
                <c:pt idx="11">
                  <c:v>1.1732201322556943</c:v>
                </c:pt>
                <c:pt idx="12">
                  <c:v>1.1366500272479563</c:v>
                </c:pt>
                <c:pt idx="13">
                  <c:v>1.1478274395784116</c:v>
                </c:pt>
                <c:pt idx="14">
                  <c:v>1.0857968577728776</c:v>
                </c:pt>
                <c:pt idx="15">
                  <c:v>1.042080239772207</c:v>
                </c:pt>
                <c:pt idx="16">
                  <c:v>1.1691864650827934</c:v>
                </c:pt>
                <c:pt idx="17">
                  <c:v>1.1454992258972554</c:v>
                </c:pt>
                <c:pt idx="18">
                  <c:v>1.1923798620689656</c:v>
                </c:pt>
                <c:pt idx="19">
                  <c:v>1.3873665040836145</c:v>
                </c:pt>
                <c:pt idx="20">
                  <c:v>1.298445767575323</c:v>
                </c:pt>
                <c:pt idx="21">
                  <c:v>1.243706781545303</c:v>
                </c:pt>
                <c:pt idx="22">
                  <c:v>1.3630032544378698</c:v>
                </c:pt>
                <c:pt idx="23">
                  <c:v>1.2075548268362055</c:v>
                </c:pt>
                <c:pt idx="24">
                  <c:v>1.2077742203742203</c:v>
                </c:pt>
                <c:pt idx="25">
                  <c:v>1.1218135689491953</c:v>
                </c:pt>
                <c:pt idx="26">
                  <c:v>1.1554571983748454</c:v>
                </c:pt>
                <c:pt idx="27">
                  <c:v>1.2080852899575671</c:v>
                </c:pt>
                <c:pt idx="28">
                  <c:v>1.2003619650291424</c:v>
                </c:pt>
                <c:pt idx="29">
                  <c:v>1.0652593048713739</c:v>
                </c:pt>
                <c:pt idx="30">
                  <c:v>1.1560720823798627</c:v>
                </c:pt>
                <c:pt idx="31">
                  <c:v>1.2615583456425408</c:v>
                </c:pt>
                <c:pt idx="32">
                  <c:v>1.1127502350255944</c:v>
                </c:pt>
                <c:pt idx="33">
                  <c:v>1.0814093428424036</c:v>
                </c:pt>
                <c:pt idx="34">
                  <c:v>1.367105364758698</c:v>
                </c:pt>
                <c:pt idx="35">
                  <c:v>1.2740322282189667</c:v>
                </c:pt>
                <c:pt idx="36">
                  <c:v>1.4331482593037215</c:v>
                </c:pt>
                <c:pt idx="37">
                  <c:v>1.2361503819329127</c:v>
                </c:pt>
                <c:pt idx="38">
                  <c:v>1.3600353740436695</c:v>
                </c:pt>
                <c:pt idx="39">
                  <c:v>1.3582562433841052</c:v>
                </c:pt>
                <c:pt idx="40">
                  <c:v>1.4105538311196164</c:v>
                </c:pt>
                <c:pt idx="41">
                  <c:v>1.3610430850813622</c:v>
                </c:pt>
                <c:pt idx="42">
                  <c:v>1.482859406539322</c:v>
                </c:pt>
                <c:pt idx="43">
                  <c:v>1.4723897666022394</c:v>
                </c:pt>
                <c:pt idx="44">
                  <c:v>1.3705573748757043</c:v>
                </c:pt>
                <c:pt idx="45">
                  <c:v>1.3912622612739376</c:v>
                </c:pt>
                <c:pt idx="46">
                  <c:v>1.3718506925207756</c:v>
                </c:pt>
                <c:pt idx="47">
                  <c:v>1.3300908099263704</c:v>
                </c:pt>
                <c:pt idx="48">
                  <c:v>1.4367181096196153</c:v>
                </c:pt>
                <c:pt idx="49">
                  <c:v>1.3124535762483132</c:v>
                </c:pt>
                <c:pt idx="50">
                  <c:v>1.5139923331328924</c:v>
                </c:pt>
                <c:pt idx="51">
                  <c:v>1.3781978552278822</c:v>
                </c:pt>
                <c:pt idx="52">
                  <c:v>1.3334318378198737</c:v>
                </c:pt>
                <c:pt idx="53">
                  <c:v>1.5377005025125627</c:v>
                </c:pt>
                <c:pt idx="54">
                  <c:v>1.3425796208088165</c:v>
                </c:pt>
                <c:pt idx="55">
                  <c:v>1.3585694193548388</c:v>
                </c:pt>
                <c:pt idx="56">
                  <c:v>1.4120149169715732</c:v>
                </c:pt>
                <c:pt idx="57">
                  <c:v>1.388161666735069</c:v>
                </c:pt>
                <c:pt idx="58">
                  <c:v>1.644046153846154</c:v>
                </c:pt>
                <c:pt idx="59">
                  <c:v>1.4938784754764134</c:v>
                </c:pt>
                <c:pt idx="60">
                  <c:v>1.2748739638265028</c:v>
                </c:pt>
                <c:pt idx="61">
                  <c:v>1.3173577724358976</c:v>
                </c:pt>
                <c:pt idx="62">
                  <c:v>1.5457830171955325</c:v>
                </c:pt>
                <c:pt idx="63">
                  <c:v>1.465487469059406</c:v>
                </c:pt>
                <c:pt idx="64">
                  <c:v>1.327366065963958</c:v>
                </c:pt>
                <c:pt idx="65">
                  <c:v>1.4243614336917563</c:v>
                </c:pt>
                <c:pt idx="66">
                  <c:v>1.6336884955752213</c:v>
                </c:pt>
                <c:pt idx="67">
                  <c:v>1.6066445264452645</c:v>
                </c:pt>
                <c:pt idx="68">
                  <c:v>1.4071990185090462</c:v>
                </c:pt>
                <c:pt idx="69">
                  <c:v>1.4506223766693922</c:v>
                </c:pt>
                <c:pt idx="70">
                  <c:v>1.2210812714310668</c:v>
                </c:pt>
                <c:pt idx="71">
                  <c:v>1.4541565891472867</c:v>
                </c:pt>
                <c:pt idx="72">
                  <c:v>1.7380563623292595</c:v>
                </c:pt>
                <c:pt idx="73">
                  <c:v>1.4953145984952105</c:v>
                </c:pt>
                <c:pt idx="74">
                  <c:v>1.6321841343370007</c:v>
                </c:pt>
                <c:pt idx="75">
                  <c:v>1.4396684446555383</c:v>
                </c:pt>
                <c:pt idx="76">
                  <c:v>1.513744464279824</c:v>
                </c:pt>
                <c:pt idx="77">
                  <c:v>1.493466852756455</c:v>
                </c:pt>
                <c:pt idx="78">
                  <c:v>1.6464992614475629</c:v>
                </c:pt>
                <c:pt idx="79">
                  <c:v>1.6440344628695025</c:v>
                </c:pt>
                <c:pt idx="80">
                  <c:v>1.7003526093088857</c:v>
                </c:pt>
                <c:pt idx="81">
                  <c:v>1.5868013275804846</c:v>
                </c:pt>
                <c:pt idx="82">
                  <c:v>1.4915211267605635</c:v>
                </c:pt>
                <c:pt idx="83">
                  <c:v>1.2675861062463514</c:v>
                </c:pt>
                <c:pt idx="84">
                  <c:v>1.7840552826693485</c:v>
                </c:pt>
                <c:pt idx="85">
                  <c:v>1.4709265319642266</c:v>
                </c:pt>
                <c:pt idx="86">
                  <c:v>1.811355789473684</c:v>
                </c:pt>
                <c:pt idx="87">
                  <c:v>1.9815477019097198</c:v>
                </c:pt>
                <c:pt idx="88">
                  <c:v>1.4554361180054864</c:v>
                </c:pt>
                <c:pt idx="89">
                  <c:v>1.6666187567373338</c:v>
                </c:pt>
                <c:pt idx="90">
                  <c:v>1.5780981067986615</c:v>
                </c:pt>
                <c:pt idx="91">
                  <c:v>1.5306719553765107</c:v>
                </c:pt>
                <c:pt idx="92">
                  <c:v>1.7833121727781456</c:v>
                </c:pt>
                <c:pt idx="93">
                  <c:v>1.6284923502942195</c:v>
                </c:pt>
                <c:pt idx="94">
                  <c:v>1.8282707668353444</c:v>
                </c:pt>
                <c:pt idx="95">
                  <c:v>1.5497053595843588</c:v>
                </c:pt>
                <c:pt idx="96">
                  <c:v>1.6351818705057712</c:v>
                </c:pt>
                <c:pt idx="97">
                  <c:v>1.7057833283626604</c:v>
                </c:pt>
                <c:pt idx="98">
                  <c:v>1.735388824104948</c:v>
                </c:pt>
                <c:pt idx="99">
                  <c:v>1.598512794416982</c:v>
                </c:pt>
                <c:pt idx="100">
                  <c:v>1.565825620206719</c:v>
                </c:pt>
                <c:pt idx="101">
                  <c:v>1.5195103392350318</c:v>
                </c:pt>
                <c:pt idx="102">
                  <c:v>1.6333673349968352</c:v>
                </c:pt>
                <c:pt idx="103">
                  <c:v>1.5856056212637082</c:v>
                </c:pt>
                <c:pt idx="104">
                  <c:v>1.4524256810367626</c:v>
                </c:pt>
              </c:numCache>
            </c:numRef>
          </c:xVal>
          <c:yVal>
            <c:numRef>
              <c:f>Sheet1!$B$2:$B$106</c:f>
              <c:numCache>
                <c:formatCode>General</c:formatCode>
                <c:ptCount val="105"/>
                <c:pt idx="0">
                  <c:v>0.5409836065573771</c:v>
                </c:pt>
                <c:pt idx="1">
                  <c:v>0.5714285714285714</c:v>
                </c:pt>
                <c:pt idx="2">
                  <c:v>0.5773195876288659</c:v>
                </c:pt>
                <c:pt idx="3">
                  <c:v>0.5652173913043478</c:v>
                </c:pt>
                <c:pt idx="4">
                  <c:v>0.60625</c:v>
                </c:pt>
                <c:pt idx="5">
                  <c:v>0.5605095541401274</c:v>
                </c:pt>
                <c:pt idx="6">
                  <c:v>0.4948453608247423</c:v>
                </c:pt>
                <c:pt idx="7">
                  <c:v>0.5333333333333333</c:v>
                </c:pt>
                <c:pt idx="8">
                  <c:v>0.5229357798165137</c:v>
                </c:pt>
                <c:pt idx="9">
                  <c:v>0.5205479452054794</c:v>
                </c:pt>
                <c:pt idx="10">
                  <c:v>0.48743718592964824</c:v>
                </c:pt>
                <c:pt idx="11">
                  <c:v>0.543859649122807</c:v>
                </c:pt>
                <c:pt idx="12">
                  <c:v>0.536144578313253</c:v>
                </c:pt>
                <c:pt idx="13">
                  <c:v>0.5426829268292683</c:v>
                </c:pt>
                <c:pt idx="14">
                  <c:v>0.5714285714285714</c:v>
                </c:pt>
                <c:pt idx="15">
                  <c:v>0.5533333333333333</c:v>
                </c:pt>
                <c:pt idx="16">
                  <c:v>0.552</c:v>
                </c:pt>
                <c:pt idx="17">
                  <c:v>0.5327102803738317</c:v>
                </c:pt>
                <c:pt idx="18">
                  <c:v>0.5350877192982456</c:v>
                </c:pt>
                <c:pt idx="19">
                  <c:v>0.4489795918367347</c:v>
                </c:pt>
                <c:pt idx="20">
                  <c:v>0.4225352112676056</c:v>
                </c:pt>
                <c:pt idx="21">
                  <c:v>0.45454545454545453</c:v>
                </c:pt>
                <c:pt idx="22">
                  <c:v>0.4823529411764706</c:v>
                </c:pt>
                <c:pt idx="23">
                  <c:v>0.4090909090909091</c:v>
                </c:pt>
                <c:pt idx="24">
                  <c:v>0.44</c:v>
                </c:pt>
                <c:pt idx="25">
                  <c:v>0.4065934065934066</c:v>
                </c:pt>
                <c:pt idx="26">
                  <c:v>0.41818181818181815</c:v>
                </c:pt>
                <c:pt idx="27">
                  <c:v>0.4056603773584906</c:v>
                </c:pt>
                <c:pt idx="28">
                  <c:v>0.40707964601769914</c:v>
                </c:pt>
                <c:pt idx="29">
                  <c:v>0.43703703703703706</c:v>
                </c:pt>
                <c:pt idx="30">
                  <c:v>0.4387755102040816</c:v>
                </c:pt>
                <c:pt idx="31">
                  <c:v>0.38461538461538464</c:v>
                </c:pt>
                <c:pt idx="32">
                  <c:v>0.38461538461538464</c:v>
                </c:pt>
                <c:pt idx="33">
                  <c:v>0.5151515151515151</c:v>
                </c:pt>
                <c:pt idx="34">
                  <c:v>0.4756756756756757</c:v>
                </c:pt>
                <c:pt idx="35">
                  <c:v>0.5094339622641509</c:v>
                </c:pt>
                <c:pt idx="36">
                  <c:v>0.4444444444444444</c:v>
                </c:pt>
                <c:pt idx="37">
                  <c:v>0.4019607843137255</c:v>
                </c:pt>
                <c:pt idx="38">
                  <c:v>0.38235294117647056</c:v>
                </c:pt>
                <c:pt idx="39">
                  <c:v>0.42727272727272725</c:v>
                </c:pt>
                <c:pt idx="40">
                  <c:v>0.4090909090909091</c:v>
                </c:pt>
                <c:pt idx="41">
                  <c:v>0.33620689655172414</c:v>
                </c:pt>
                <c:pt idx="42">
                  <c:v>0.35</c:v>
                </c:pt>
                <c:pt idx="43">
                  <c:v>0.37748344370860926</c:v>
                </c:pt>
                <c:pt idx="44">
                  <c:v>0.3645833333333333</c:v>
                </c:pt>
                <c:pt idx="45">
                  <c:v>0.3755656108597285</c:v>
                </c:pt>
                <c:pt idx="46">
                  <c:v>0.430327868852459</c:v>
                </c:pt>
                <c:pt idx="47">
                  <c:v>0.3826086956521739</c:v>
                </c:pt>
                <c:pt idx="48">
                  <c:v>0.41954022988505746</c:v>
                </c:pt>
                <c:pt idx="49">
                  <c:v>0.4599483204134367</c:v>
                </c:pt>
                <c:pt idx="50">
                  <c:v>0.39634146341463417</c:v>
                </c:pt>
                <c:pt idx="51">
                  <c:v>0.3933333333333333</c:v>
                </c:pt>
                <c:pt idx="52">
                  <c:v>0.413265306122449</c:v>
                </c:pt>
                <c:pt idx="53">
                  <c:v>0.3780487804878049</c:v>
                </c:pt>
                <c:pt idx="54">
                  <c:v>0.3870967741935484</c:v>
                </c:pt>
                <c:pt idx="55">
                  <c:v>0.37398373983739835</c:v>
                </c:pt>
                <c:pt idx="56">
                  <c:v>0.3358208955223881</c:v>
                </c:pt>
                <c:pt idx="57">
                  <c:v>0.36419753086419754</c:v>
                </c:pt>
                <c:pt idx="58">
                  <c:v>0.355</c:v>
                </c:pt>
                <c:pt idx="59">
                  <c:v>0.3870967741935484</c:v>
                </c:pt>
                <c:pt idx="60">
                  <c:v>0.3920704845814978</c:v>
                </c:pt>
                <c:pt idx="61">
                  <c:v>0.38323353293413176</c:v>
                </c:pt>
                <c:pt idx="62">
                  <c:v>0.44680851063829785</c:v>
                </c:pt>
                <c:pt idx="63">
                  <c:v>0.38164251207729466</c:v>
                </c:pt>
                <c:pt idx="64">
                  <c:v>0.4228571428571429</c:v>
                </c:pt>
                <c:pt idx="65">
                  <c:v>0.4117647058823529</c:v>
                </c:pt>
                <c:pt idx="66">
                  <c:v>0.43478260869565216</c:v>
                </c:pt>
                <c:pt idx="67">
                  <c:v>0.41509433962264153</c:v>
                </c:pt>
                <c:pt idx="68">
                  <c:v>0.3217391304347826</c:v>
                </c:pt>
                <c:pt idx="69">
                  <c:v>0.30303030303030304</c:v>
                </c:pt>
                <c:pt idx="70">
                  <c:v>0.3645833333333333</c:v>
                </c:pt>
                <c:pt idx="71">
                  <c:v>0.3020833333333333</c:v>
                </c:pt>
                <c:pt idx="72">
                  <c:v>0.2214765100671141</c:v>
                </c:pt>
                <c:pt idx="73">
                  <c:v>0.2631578947368421</c:v>
                </c:pt>
                <c:pt idx="74">
                  <c:v>0.36792452830188677</c:v>
                </c:pt>
                <c:pt idx="75">
                  <c:v>0.2857142857142857</c:v>
                </c:pt>
                <c:pt idx="76">
                  <c:v>0.26744186046511625</c:v>
                </c:pt>
                <c:pt idx="77">
                  <c:v>0.3493975903614458</c:v>
                </c:pt>
                <c:pt idx="78">
                  <c:v>0.373134328358209</c:v>
                </c:pt>
                <c:pt idx="79">
                  <c:v>0.35365853658536583</c:v>
                </c:pt>
                <c:pt idx="80">
                  <c:v>0.30303030303030304</c:v>
                </c:pt>
                <c:pt idx="81">
                  <c:v>0.37349397590361444</c:v>
                </c:pt>
                <c:pt idx="82">
                  <c:v>0.3333333333333333</c:v>
                </c:pt>
                <c:pt idx="83">
                  <c:v>0.25806451612903225</c:v>
                </c:pt>
                <c:pt idx="84">
                  <c:v>0.34285714285714286</c:v>
                </c:pt>
                <c:pt idx="85">
                  <c:v>0.2894736842105263</c:v>
                </c:pt>
                <c:pt idx="86">
                  <c:v>0.4019607843137255</c:v>
                </c:pt>
                <c:pt idx="87">
                  <c:v>0.41904761904761906</c:v>
                </c:pt>
                <c:pt idx="88">
                  <c:v>0.3870967741935484</c:v>
                </c:pt>
                <c:pt idx="89">
                  <c:v>0.3076923076923077</c:v>
                </c:pt>
                <c:pt idx="90">
                  <c:v>0.2692307692307692</c:v>
                </c:pt>
                <c:pt idx="91">
                  <c:v>0.27380952380952384</c:v>
                </c:pt>
                <c:pt idx="92">
                  <c:v>0.3225806451612903</c:v>
                </c:pt>
                <c:pt idx="93">
                  <c:v>0.34146341463414637</c:v>
                </c:pt>
                <c:pt idx="94">
                  <c:v>0.32222222222222224</c:v>
                </c:pt>
                <c:pt idx="95">
                  <c:v>0.308411214953271</c:v>
                </c:pt>
                <c:pt idx="96">
                  <c:v>0.3221476510067114</c:v>
                </c:pt>
                <c:pt idx="97">
                  <c:v>0.3430232558139535</c:v>
                </c:pt>
                <c:pt idx="98">
                  <c:v>0.37435897435897436</c:v>
                </c:pt>
                <c:pt idx="99">
                  <c:v>0.4430379746835443</c:v>
                </c:pt>
                <c:pt idx="100">
                  <c:v>0.4119718309859155</c:v>
                </c:pt>
                <c:pt idx="101">
                  <c:v>0.41721854304635764</c:v>
                </c:pt>
                <c:pt idx="102">
                  <c:v>0.3884297520661157</c:v>
                </c:pt>
                <c:pt idx="103">
                  <c:v>0.37209302325581395</c:v>
                </c:pt>
                <c:pt idx="104">
                  <c:v>0.34259259259259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25711237553343</c:v>
                </c:pt>
                <c:pt idx="1">
                  <c:v>1.5038684142561984</c:v>
                </c:pt>
                <c:pt idx="2">
                  <c:v>1.715008980416295</c:v>
                </c:pt>
                <c:pt idx="3">
                  <c:v>1.7627068779732407</c:v>
                </c:pt>
                <c:pt idx="4">
                  <c:v>1.7682645856558898</c:v>
                </c:pt>
                <c:pt idx="5">
                  <c:v>1.6139358473526209</c:v>
                </c:pt>
                <c:pt idx="6">
                  <c:v>1.4275269816545584</c:v>
                </c:pt>
                <c:pt idx="7">
                  <c:v>1.3116681499542822</c:v>
                </c:pt>
                <c:pt idx="8">
                  <c:v>1.1583017438047158</c:v>
                </c:pt>
                <c:pt idx="9">
                  <c:v>1.183661182795699</c:v>
                </c:pt>
                <c:pt idx="10">
                  <c:v>1.3237306966292137</c:v>
                </c:pt>
                <c:pt idx="11">
                  <c:v>1.1223689635854341</c:v>
                </c:pt>
                <c:pt idx="12">
                  <c:v>1.1225462499999999</c:v>
                </c:pt>
                <c:pt idx="13">
                  <c:v>1.2106117550106938</c:v>
                </c:pt>
                <c:pt idx="14">
                  <c:v>0.9776771373679154</c:v>
                </c:pt>
                <c:pt idx="15">
                  <c:v>1.0879302716049382</c:v>
                </c:pt>
                <c:pt idx="16">
                  <c:v>1.2425563733333334</c:v>
                </c:pt>
                <c:pt idx="17">
                  <c:v>1.0607496091954023</c:v>
                </c:pt>
                <c:pt idx="18">
                  <c:v>1.087863431372549</c:v>
                </c:pt>
                <c:pt idx="19">
                  <c:v>1.168395111111111</c:v>
                </c:pt>
                <c:pt idx="20">
                  <c:v>1.0655023636363636</c:v>
                </c:pt>
                <c:pt idx="21">
                  <c:v>1.1934814933333333</c:v>
                </c:pt>
                <c:pt idx="22">
                  <c:v>1.2464444444444445</c:v>
                </c:pt>
                <c:pt idx="23">
                  <c:v>1.2653571</c:v>
                </c:pt>
                <c:pt idx="24">
                  <c:v>1.0251258260869567</c:v>
                </c:pt>
                <c:pt idx="25">
                  <c:v>1.5315235172617292</c:v>
                </c:pt>
                <c:pt idx="26">
                  <c:v>1.1643756050338818</c:v>
                </c:pt>
                <c:pt idx="27">
                  <c:v>1.3677777777777778</c:v>
                </c:pt>
                <c:pt idx="28">
                  <c:v>1.2488552525252525</c:v>
                </c:pt>
                <c:pt idx="29">
                  <c:v>1.2518974358974357</c:v>
                </c:pt>
                <c:pt idx="30">
                  <c:v>1.1764411428571429</c:v>
                </c:pt>
                <c:pt idx="31">
                  <c:v>1.428798</c:v>
                </c:pt>
                <c:pt idx="32">
                  <c:v>1.2671453513279294</c:v>
                </c:pt>
                <c:pt idx="33">
                  <c:v>1.3875474215246637</c:v>
                </c:pt>
                <c:pt idx="34">
                  <c:v>1.1889177142857141</c:v>
                </c:pt>
                <c:pt idx="35">
                  <c:v>1.3101631794871795</c:v>
                </c:pt>
                <c:pt idx="36">
                  <c:v>1.399947111111111</c:v>
                </c:pt>
                <c:pt idx="37">
                  <c:v>0.8767499999999999</c:v>
                </c:pt>
                <c:pt idx="38">
                  <c:v>1.3154039999999998</c:v>
                </c:pt>
                <c:pt idx="39">
                  <c:v>1.1078877142857142</c:v>
                </c:pt>
                <c:pt idx="40">
                  <c:v>1.2065230769230768</c:v>
                </c:pt>
                <c:pt idx="41">
                  <c:v>1.1206744545454546</c:v>
                </c:pt>
                <c:pt idx="42">
                  <c:v>1.0849961777777777</c:v>
                </c:pt>
                <c:pt idx="43">
                  <c:v>1.1414351851851852</c:v>
                </c:pt>
                <c:pt idx="44">
                  <c:v>1.1187026046511628</c:v>
                </c:pt>
                <c:pt idx="45">
                  <c:v>1.2811052606528746</c:v>
                </c:pt>
                <c:pt idx="46">
                  <c:v>1.2395637376237625</c:v>
                </c:pt>
                <c:pt idx="47">
                  <c:v>1.1352950396825399</c:v>
                </c:pt>
                <c:pt idx="48">
                  <c:v>1.2477532291666666</c:v>
                </c:pt>
                <c:pt idx="49">
                  <c:v>1.2142856779476234</c:v>
                </c:pt>
                <c:pt idx="50">
                  <c:v>1.1457521465968585</c:v>
                </c:pt>
                <c:pt idx="51">
                  <c:v>1.0703227083333333</c:v>
                </c:pt>
              </c:numCache>
            </c:numRef>
          </c:xVal>
          <c:yVal>
            <c:numRef>
              <c:f>Sheet1!$B$109:$B$160</c:f>
              <c:numCache>
                <c:formatCode>General</c:formatCode>
                <c:ptCount val="52"/>
                <c:pt idx="0">
                  <c:v>0.38095238095238093</c:v>
                </c:pt>
                <c:pt idx="1">
                  <c:v>0.35074626865671643</c:v>
                </c:pt>
                <c:pt idx="2">
                  <c:v>0.3219178082191781</c:v>
                </c:pt>
                <c:pt idx="3">
                  <c:v>0.3358208955223881</c:v>
                </c:pt>
                <c:pt idx="4">
                  <c:v>0.3333333333333333</c:v>
                </c:pt>
                <c:pt idx="5">
                  <c:v>0.3561643835616438</c:v>
                </c:pt>
                <c:pt idx="6">
                  <c:v>0.3430232558139535</c:v>
                </c:pt>
                <c:pt idx="7">
                  <c:v>0.2926829268292683</c:v>
                </c:pt>
                <c:pt idx="8">
                  <c:v>0.32608695652173914</c:v>
                </c:pt>
                <c:pt idx="9">
                  <c:v>0.41414141414141414</c:v>
                </c:pt>
                <c:pt idx="10">
                  <c:v>0.3416666666666667</c:v>
                </c:pt>
                <c:pt idx="11">
                  <c:v>0.417910447761194</c:v>
                </c:pt>
                <c:pt idx="12">
                  <c:v>0.4017857142857143</c:v>
                </c:pt>
                <c:pt idx="13">
                  <c:v>0.4563106796116505</c:v>
                </c:pt>
                <c:pt idx="14">
                  <c:v>0.44680851063829785</c:v>
                </c:pt>
                <c:pt idx="15">
                  <c:v>0.3695652173913043</c:v>
                </c:pt>
                <c:pt idx="16">
                  <c:v>0.3625</c:v>
                </c:pt>
                <c:pt idx="17">
                  <c:v>0.3150684931506849</c:v>
                </c:pt>
                <c:pt idx="18">
                  <c:v>0.3411764705882353</c:v>
                </c:pt>
                <c:pt idx="19">
                  <c:v>0.4</c:v>
                </c:pt>
                <c:pt idx="20">
                  <c:v>0.3392857142857143</c:v>
                </c:pt>
                <c:pt idx="21">
                  <c:v>0.3157894736842105</c:v>
                </c:pt>
                <c:pt idx="22">
                  <c:v>0.3</c:v>
                </c:pt>
                <c:pt idx="23">
                  <c:v>0.21212121212121213</c:v>
                </c:pt>
                <c:pt idx="24">
                  <c:v>0.2878787878787879</c:v>
                </c:pt>
                <c:pt idx="25">
                  <c:v>0.24489795918367346</c:v>
                </c:pt>
                <c:pt idx="26">
                  <c:v>0.31746031746031744</c:v>
                </c:pt>
                <c:pt idx="27">
                  <c:v>0.35384615384615387</c:v>
                </c:pt>
                <c:pt idx="28">
                  <c:v>0.379746835443038</c:v>
                </c:pt>
                <c:pt idx="29">
                  <c:v>0.25862068965517243</c:v>
                </c:pt>
                <c:pt idx="30">
                  <c:v>0.2835820895522388</c:v>
                </c:pt>
                <c:pt idx="31">
                  <c:v>0.3382352941176471</c:v>
                </c:pt>
                <c:pt idx="32">
                  <c:v>0.32051282051282054</c:v>
                </c:pt>
                <c:pt idx="33">
                  <c:v>0.40625</c:v>
                </c:pt>
                <c:pt idx="34">
                  <c:v>0.4435483870967742</c:v>
                </c:pt>
                <c:pt idx="35">
                  <c:v>0.36666666666666664</c:v>
                </c:pt>
                <c:pt idx="36">
                  <c:v>0.38181818181818183</c:v>
                </c:pt>
                <c:pt idx="37">
                  <c:v>0.30303030303030304</c:v>
                </c:pt>
                <c:pt idx="38">
                  <c:v>0.34375</c:v>
                </c:pt>
                <c:pt idx="39">
                  <c:v>0.3577981651376147</c:v>
                </c:pt>
                <c:pt idx="40">
                  <c:v>0.30864197530864196</c:v>
                </c:pt>
                <c:pt idx="41">
                  <c:v>0.3263157894736842</c:v>
                </c:pt>
                <c:pt idx="42">
                  <c:v>0.34523809523809523</c:v>
                </c:pt>
                <c:pt idx="43">
                  <c:v>0.3018867924528302</c:v>
                </c:pt>
                <c:pt idx="44">
                  <c:v>0.3275862068965517</c:v>
                </c:pt>
                <c:pt idx="45">
                  <c:v>0.3804347826086957</c:v>
                </c:pt>
                <c:pt idx="46">
                  <c:v>0.328125</c:v>
                </c:pt>
                <c:pt idx="47">
                  <c:v>0.3897058823529412</c:v>
                </c:pt>
                <c:pt idx="48">
                  <c:v>0.31097560975609756</c:v>
                </c:pt>
                <c:pt idx="49">
                  <c:v>0.4128787878787879</c:v>
                </c:pt>
                <c:pt idx="50">
                  <c:v>0.4541984732824427</c:v>
                </c:pt>
                <c:pt idx="51">
                  <c:v>0.36690647482014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580144337406236</c:v>
                </c:pt>
              </c:numCache>
            </c:numRef>
          </c:xVal>
          <c:yVal>
            <c:numRef>
              <c:f>Sheet1!$B$163:$B$164</c:f>
              <c:numCache>
                <c:formatCode>General</c:formatCode>
                <c:ptCount val="2"/>
                <c:pt idx="0">
                  <c:v>0.5525359094482087</c:v>
                </c:pt>
                <c:pt idx="1">
                  <c:v>0.55253590944820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580144337406236</c:v>
                </c:pt>
                <c:pt idx="1">
                  <c:v>-5.580144337406236</c:v>
                </c:pt>
              </c:numCache>
            </c:numRef>
          </c:xVal>
          <c:yVal>
            <c:numRef>
              <c:f>Sheet1!$B$167:$B$168</c:f>
              <c:numCache>
                <c:formatCode>General</c:formatCode>
                <c:ptCount val="2"/>
                <c:pt idx="0">
                  <c:v>0.55253590944820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12100063283487306</c:v>
                </c:pt>
              </c:numCache>
            </c:numRef>
          </c:xVal>
          <c:yVal>
            <c:numRef>
              <c:f>Sheet1!$B$171:$B$172</c:f>
              <c:numCache>
                <c:formatCode>General</c:formatCode>
                <c:ptCount val="2"/>
                <c:pt idx="0">
                  <c:v>0.386239836434368</c:v>
                </c:pt>
                <c:pt idx="1">
                  <c:v>0.3862398364343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12100063283487306</c:v>
                </c:pt>
                <c:pt idx="1">
                  <c:v>-0.012100063283487306</c:v>
                </c:pt>
              </c:numCache>
            </c:numRef>
          </c:xVal>
          <c:yVal>
            <c:numRef>
              <c:f>Sheet1!$B$175:$B$176</c:f>
              <c:numCache>
                <c:formatCode>General</c:formatCode>
                <c:ptCount val="2"/>
                <c:pt idx="0">
                  <c:v>0.3862398364343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449900912095849</c:v>
                </c:pt>
              </c:numCache>
            </c:numRef>
          </c:xVal>
          <c:yVal>
            <c:numRef>
              <c:f>Sheet1!$B$179:$B$180</c:f>
              <c:numCache>
                <c:formatCode>General</c:formatCode>
                <c:ptCount val="2"/>
                <c:pt idx="0">
                  <c:v>0.3546686180928098</c:v>
                </c:pt>
                <c:pt idx="1">
                  <c:v>0.35466861809280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449900912095849</c:v>
                </c:pt>
                <c:pt idx="1">
                  <c:v>1.0449900912095849</c:v>
                </c:pt>
              </c:numCache>
            </c:numRef>
          </c:xVal>
          <c:yVal>
            <c:numRef>
              <c:f>Sheet1!$B$183:$B$184</c:f>
              <c:numCache>
                <c:formatCode>General</c:formatCode>
                <c:ptCount val="2"/>
                <c:pt idx="0">
                  <c:v>0.35466861809280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25711237553343</c:v>
                </c:pt>
                <c:pt idx="1">
                  <c:v>1.5038684142561984</c:v>
                </c:pt>
                <c:pt idx="2">
                  <c:v>1.715008980416295</c:v>
                </c:pt>
                <c:pt idx="3">
                  <c:v>1.7627068779732407</c:v>
                </c:pt>
                <c:pt idx="4">
                  <c:v>1.7682645856558898</c:v>
                </c:pt>
                <c:pt idx="5">
                  <c:v>1.6139358473526209</c:v>
                </c:pt>
                <c:pt idx="6">
                  <c:v>1.4275269816545584</c:v>
                </c:pt>
                <c:pt idx="7">
                  <c:v>1.3116681499542822</c:v>
                </c:pt>
                <c:pt idx="8">
                  <c:v>1.1583017438047158</c:v>
                </c:pt>
                <c:pt idx="9">
                  <c:v>1.183661182795699</c:v>
                </c:pt>
                <c:pt idx="10">
                  <c:v>1.3237306966292137</c:v>
                </c:pt>
                <c:pt idx="11">
                  <c:v>1.1223689635854341</c:v>
                </c:pt>
                <c:pt idx="12">
                  <c:v>1.1225462499999999</c:v>
                </c:pt>
                <c:pt idx="13">
                  <c:v>1.2106117550106938</c:v>
                </c:pt>
                <c:pt idx="14">
                  <c:v>0.9776771373679154</c:v>
                </c:pt>
                <c:pt idx="15">
                  <c:v>1.0879302716049382</c:v>
                </c:pt>
                <c:pt idx="16">
                  <c:v>1.2425563733333334</c:v>
                </c:pt>
                <c:pt idx="17">
                  <c:v>1.0607496091954023</c:v>
                </c:pt>
                <c:pt idx="18">
                  <c:v>1.087863431372549</c:v>
                </c:pt>
                <c:pt idx="19">
                  <c:v>1.168395111111111</c:v>
                </c:pt>
                <c:pt idx="20">
                  <c:v>1.0655023636363636</c:v>
                </c:pt>
                <c:pt idx="21">
                  <c:v>1.1934814933333333</c:v>
                </c:pt>
                <c:pt idx="22">
                  <c:v>1.2464444444444445</c:v>
                </c:pt>
                <c:pt idx="23">
                  <c:v>1.2653571</c:v>
                </c:pt>
                <c:pt idx="24">
                  <c:v>1.0251258260869567</c:v>
                </c:pt>
                <c:pt idx="25">
                  <c:v>1.5315235172617292</c:v>
                </c:pt>
                <c:pt idx="26">
                  <c:v>1.1643756050338818</c:v>
                </c:pt>
                <c:pt idx="27">
                  <c:v>1.3677777777777778</c:v>
                </c:pt>
                <c:pt idx="28">
                  <c:v>1.2488552525252525</c:v>
                </c:pt>
                <c:pt idx="29">
                  <c:v>1.2518974358974357</c:v>
                </c:pt>
                <c:pt idx="30">
                  <c:v>1.1764411428571429</c:v>
                </c:pt>
                <c:pt idx="31">
                  <c:v>1.428798</c:v>
                </c:pt>
                <c:pt idx="32">
                  <c:v>1.2671453513279294</c:v>
                </c:pt>
                <c:pt idx="33">
                  <c:v>1.3875474215246637</c:v>
                </c:pt>
                <c:pt idx="34">
                  <c:v>1.1889177142857141</c:v>
                </c:pt>
                <c:pt idx="35">
                  <c:v>1.3101631794871795</c:v>
                </c:pt>
                <c:pt idx="36">
                  <c:v>1.399947111111111</c:v>
                </c:pt>
                <c:pt idx="37">
                  <c:v>0.8767499999999999</c:v>
                </c:pt>
                <c:pt idx="38">
                  <c:v>1.3154039999999998</c:v>
                </c:pt>
                <c:pt idx="39">
                  <c:v>1.1078877142857142</c:v>
                </c:pt>
                <c:pt idx="40">
                  <c:v>1.2065230769230768</c:v>
                </c:pt>
                <c:pt idx="41">
                  <c:v>1.1206744545454546</c:v>
                </c:pt>
                <c:pt idx="42">
                  <c:v>1.0849961777777777</c:v>
                </c:pt>
                <c:pt idx="43">
                  <c:v>1.1414351851851852</c:v>
                </c:pt>
                <c:pt idx="44">
                  <c:v>1.1187026046511628</c:v>
                </c:pt>
                <c:pt idx="45">
                  <c:v>1.2811052606528746</c:v>
                </c:pt>
                <c:pt idx="46">
                  <c:v>1.2395637376237625</c:v>
                </c:pt>
                <c:pt idx="47">
                  <c:v>1.1352950396825399</c:v>
                </c:pt>
                <c:pt idx="48">
                  <c:v>1.2477532291666666</c:v>
                </c:pt>
                <c:pt idx="49">
                  <c:v>1.2142856779476234</c:v>
                </c:pt>
                <c:pt idx="50">
                  <c:v>1.1457521465968585</c:v>
                </c:pt>
                <c:pt idx="51">
                  <c:v>1.0703227083333333</c:v>
                </c:pt>
                <c:pt idx="52">
                  <c:v>-0.012100063283487306</c:v>
                </c:pt>
                <c:pt idx="53">
                  <c:v>-5.580144337406236</c:v>
                </c:pt>
                <c:pt idx="54">
                  <c:v>1.0449900912095849</c:v>
                </c:pt>
              </c:numCache>
            </c:numRef>
          </c:xVal>
          <c:yVal>
            <c:numRef>
              <c:f>Sheet1!$B$187:$B$241</c:f>
              <c:numCache>
                <c:formatCode>General</c:formatCode>
                <c:ptCount val="55"/>
                <c:pt idx="0">
                  <c:v>0.3373247103581182</c:v>
                </c:pt>
                <c:pt idx="1">
                  <c:v>0.340963686997259</c:v>
                </c:pt>
                <c:pt idx="2">
                  <c:v>0.33465773013381883</c:v>
                </c:pt>
                <c:pt idx="3">
                  <c:v>0.33323317733498425</c:v>
                </c:pt>
                <c:pt idx="4">
                  <c:v>0.33306718997621293</c:v>
                </c:pt>
                <c:pt idx="5">
                  <c:v>0.3376763959863533</c:v>
                </c:pt>
                <c:pt idx="6">
                  <c:v>0.3432437120518198</c:v>
                </c:pt>
                <c:pt idx="7">
                  <c:v>0.346703969870758</c:v>
                </c:pt>
                <c:pt idx="8">
                  <c:v>0.3512844347196904</c:v>
                </c:pt>
                <c:pt idx="9">
                  <c:v>0.35052704578554816</c:v>
                </c:pt>
                <c:pt idx="10">
                  <c:v>0.3463437079827716</c:v>
                </c:pt>
                <c:pt idx="11">
                  <c:v>0.3523576087012097</c:v>
                </c:pt>
                <c:pt idx="12">
                  <c:v>0.3523523138376832</c:v>
                </c:pt>
                <c:pt idx="13">
                  <c:v>0.34972213582000455</c:v>
                </c:pt>
                <c:pt idx="14">
                  <c:v>0.35667899720183643</c:v>
                </c:pt>
                <c:pt idx="15">
                  <c:v>0.35338616001189266</c:v>
                </c:pt>
                <c:pt idx="16">
                  <c:v>0.3487680728996234</c:v>
                </c:pt>
                <c:pt idx="17">
                  <c:v>0.35419794188683706</c:v>
                </c:pt>
                <c:pt idx="18">
                  <c:v>0.35338815627262954</c:v>
                </c:pt>
                <c:pt idx="19">
                  <c:v>0.35098298464783295</c:v>
                </c:pt>
                <c:pt idx="20">
                  <c:v>0.3540559953863029</c:v>
                </c:pt>
                <c:pt idx="21">
                  <c:v>0.35023375086945446</c:v>
                </c:pt>
                <c:pt idx="22">
                  <c:v>0.34865195116539416</c:v>
                </c:pt>
                <c:pt idx="23">
                  <c:v>0.34808710286421074</c:v>
                </c:pt>
                <c:pt idx="24">
                  <c:v>0.35526188731276753</c:v>
                </c:pt>
                <c:pt idx="25">
                  <c:v>0.3401377354059639</c:v>
                </c:pt>
                <c:pt idx="26">
                  <c:v>0.35110303183912506</c:v>
                </c:pt>
                <c:pt idx="27">
                  <c:v>0.34502819103245386</c:v>
                </c:pt>
                <c:pt idx="28">
                  <c:v>0.34857994959771776</c:v>
                </c:pt>
                <c:pt idx="29">
                  <c:v>0.34848909127776273</c:v>
                </c:pt>
                <c:pt idx="30">
                  <c:v>0.35074268061703917</c:v>
                </c:pt>
                <c:pt idx="31">
                  <c:v>0.34320575162098094</c:v>
                </c:pt>
                <c:pt idx="32">
                  <c:v>0.3480336946729759</c:v>
                </c:pt>
                <c:pt idx="33">
                  <c:v>0.34443774778916486</c:v>
                </c:pt>
                <c:pt idx="34">
                  <c:v>0.35037005340161087</c:v>
                </c:pt>
                <c:pt idx="35">
                  <c:v>0.34674891755191134</c:v>
                </c:pt>
                <c:pt idx="36">
                  <c:v>0.34406741673874564</c:v>
                </c:pt>
                <c:pt idx="37">
                  <c:v>0.3596933027243005</c:v>
                </c:pt>
                <c:pt idx="38">
                  <c:v>0.3465923943944532</c:v>
                </c:pt>
                <c:pt idx="39">
                  <c:v>0.3527901079365462</c:v>
                </c:pt>
                <c:pt idx="40">
                  <c:v>0.34984424891327653</c:v>
                </c:pt>
                <c:pt idx="41">
                  <c:v>0.35240821717074805</c:v>
                </c:pt>
                <c:pt idx="42">
                  <c:v>0.3534737901127485</c:v>
                </c:pt>
                <c:pt idx="43">
                  <c:v>0.3517881739727565</c:v>
                </c:pt>
                <c:pt idx="44">
                  <c:v>0.352467108745213</c:v>
                </c:pt>
                <c:pt idx="45">
                  <c:v>0.3476167658581034</c:v>
                </c:pt>
                <c:pt idx="46">
                  <c:v>0.3488574514214099</c:v>
                </c:pt>
                <c:pt idx="47">
                  <c:v>0.35197155650970385</c:v>
                </c:pt>
                <c:pt idx="48">
                  <c:v>0.34861286279809484</c:v>
                </c:pt>
                <c:pt idx="49">
                  <c:v>0.3496124098683259</c:v>
                </c:pt>
                <c:pt idx="50">
                  <c:v>0.3516592429343577</c:v>
                </c:pt>
                <c:pt idx="51">
                  <c:v>0.35391203022471024</c:v>
                </c:pt>
                <c:pt idx="52">
                  <c:v>0.386239836434368</c:v>
                </c:pt>
                <c:pt idx="53">
                  <c:v>0.5525359094482087</c:v>
                </c:pt>
                <c:pt idx="54">
                  <c:v>0.35466861809280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rap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16969696969696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3131</c:v>
                </c:pt>
                <c:pt idx="1">
                  <c:v>823.3654</c:v>
                </c:pt>
                <c:pt idx="2">
                  <c:v>857.6071</c:v>
                </c:pt>
                <c:pt idx="3">
                  <c:v>826.1154</c:v>
                </c:pt>
                <c:pt idx="4">
                  <c:v>820.8144</c:v>
                </c:pt>
                <c:pt idx="5">
                  <c:v>837.5682</c:v>
                </c:pt>
                <c:pt idx="6">
                  <c:v>778.4271</c:v>
                </c:pt>
                <c:pt idx="7">
                  <c:v>829.1667</c:v>
                </c:pt>
                <c:pt idx="8">
                  <c:v>825.6491</c:v>
                </c:pt>
                <c:pt idx="9">
                  <c:v>746.2763</c:v>
                </c:pt>
                <c:pt idx="10">
                  <c:v>708.8454</c:v>
                </c:pt>
                <c:pt idx="11">
                  <c:v>798.3763</c:v>
                </c:pt>
                <c:pt idx="12">
                  <c:v>782.1573</c:v>
                </c:pt>
                <c:pt idx="13">
                  <c:v>789.5618</c:v>
                </c:pt>
                <c:pt idx="14">
                  <c:v>787.8542</c:v>
                </c:pt>
                <c:pt idx="15">
                  <c:v>805.1807</c:v>
                </c:pt>
                <c:pt idx="16">
                  <c:v>812.0</c:v>
                </c:pt>
                <c:pt idx="17">
                  <c:v>813.8772</c:v>
                </c:pt>
                <c:pt idx="18">
                  <c:v>864.4754</c:v>
                </c:pt>
                <c:pt idx="19">
                  <c:v>932.7727</c:v>
                </c:pt>
                <c:pt idx="20">
                  <c:v>905.0167</c:v>
                </c:pt>
                <c:pt idx="21">
                  <c:v>894.9714</c:v>
                </c:pt>
                <c:pt idx="22">
                  <c:v>921.3902</c:v>
                </c:pt>
                <c:pt idx="23">
                  <c:v>902.1944</c:v>
                </c:pt>
                <c:pt idx="24">
                  <c:v>871.4091</c:v>
                </c:pt>
                <c:pt idx="25">
                  <c:v>888.7568</c:v>
                </c:pt>
                <c:pt idx="26">
                  <c:v>817.6304</c:v>
                </c:pt>
                <c:pt idx="27">
                  <c:v>854.1163</c:v>
                </c:pt>
                <c:pt idx="28">
                  <c:v>901.0217</c:v>
                </c:pt>
                <c:pt idx="29">
                  <c:v>778.4915</c:v>
                </c:pt>
                <c:pt idx="30">
                  <c:v>808.3256</c:v>
                </c:pt>
                <c:pt idx="31">
                  <c:v>854.075</c:v>
                </c:pt>
                <c:pt idx="32">
                  <c:v>821.3333</c:v>
                </c:pt>
                <c:pt idx="33">
                  <c:v>651.7294</c:v>
                </c:pt>
                <c:pt idx="34">
                  <c:v>761.3068</c:v>
                </c:pt>
                <c:pt idx="35">
                  <c:v>826.2099</c:v>
                </c:pt>
                <c:pt idx="36">
                  <c:v>955.05</c:v>
                </c:pt>
                <c:pt idx="37">
                  <c:v>930.5122</c:v>
                </c:pt>
                <c:pt idx="38">
                  <c:v>967.1795</c:v>
                </c:pt>
                <c:pt idx="39">
                  <c:v>1001.617</c:v>
                </c:pt>
                <c:pt idx="40">
                  <c:v>996.254</c:v>
                </c:pt>
                <c:pt idx="41">
                  <c:v>1024.2821</c:v>
                </c:pt>
                <c:pt idx="42">
                  <c:v>1006.3673</c:v>
                </c:pt>
                <c:pt idx="43">
                  <c:v>997.8596</c:v>
                </c:pt>
                <c:pt idx="44">
                  <c:v>1033.7429</c:v>
                </c:pt>
                <c:pt idx="45">
                  <c:v>992.4337</c:v>
                </c:pt>
                <c:pt idx="46">
                  <c:v>990.4762</c:v>
                </c:pt>
                <c:pt idx="47">
                  <c:v>975.4886</c:v>
                </c:pt>
                <c:pt idx="48">
                  <c:v>989.2603</c:v>
                </c:pt>
                <c:pt idx="49">
                  <c:v>972.5281</c:v>
                </c:pt>
                <c:pt idx="50">
                  <c:v>1007.1077</c:v>
                </c:pt>
                <c:pt idx="51">
                  <c:v>1028.1356</c:v>
                </c:pt>
                <c:pt idx="52">
                  <c:v>1003.0741</c:v>
                </c:pt>
                <c:pt idx="53">
                  <c:v>1032.7581</c:v>
                </c:pt>
                <c:pt idx="54">
                  <c:v>1033.5625</c:v>
                </c:pt>
                <c:pt idx="55">
                  <c:v>1052.8913</c:v>
                </c:pt>
                <c:pt idx="56">
                  <c:v>1003.3778</c:v>
                </c:pt>
                <c:pt idx="57">
                  <c:v>1011.322</c:v>
                </c:pt>
                <c:pt idx="58">
                  <c:v>940.3944</c:v>
                </c:pt>
                <c:pt idx="59">
                  <c:v>956.381</c:v>
                </c:pt>
                <c:pt idx="60">
                  <c:v>928.6966</c:v>
                </c:pt>
                <c:pt idx="61">
                  <c:v>986.4375</c:v>
                </c:pt>
                <c:pt idx="62">
                  <c:v>871.9762</c:v>
                </c:pt>
                <c:pt idx="63">
                  <c:v>947.2911</c:v>
                </c:pt>
                <c:pt idx="64">
                  <c:v>975.9459</c:v>
                </c:pt>
                <c:pt idx="65">
                  <c:v>993.4921</c:v>
                </c:pt>
                <c:pt idx="66">
                  <c:v>969.1857</c:v>
                </c:pt>
                <c:pt idx="67">
                  <c:v>979.6515</c:v>
                </c:pt>
                <c:pt idx="68">
                  <c:v>1031.9459</c:v>
                </c:pt>
                <c:pt idx="69">
                  <c:v>1064.4667</c:v>
                </c:pt>
                <c:pt idx="70">
                  <c:v>1004.5429</c:v>
                </c:pt>
                <c:pt idx="71">
                  <c:v>1125.5172</c:v>
                </c:pt>
                <c:pt idx="72">
                  <c:v>1208.8182</c:v>
                </c:pt>
                <c:pt idx="73">
                  <c:v>1148.9</c:v>
                </c:pt>
                <c:pt idx="74">
                  <c:v>1127.5128</c:v>
                </c:pt>
                <c:pt idx="75">
                  <c:v>1085.75</c:v>
                </c:pt>
                <c:pt idx="76">
                  <c:v>1083.0</c:v>
                </c:pt>
                <c:pt idx="77">
                  <c:v>1070.069</c:v>
                </c:pt>
                <c:pt idx="78">
                  <c:v>1114.68</c:v>
                </c:pt>
                <c:pt idx="79">
                  <c:v>1140.1379</c:v>
                </c:pt>
                <c:pt idx="80">
                  <c:v>1205.55</c:v>
                </c:pt>
                <c:pt idx="81">
                  <c:v>1195.2581</c:v>
                </c:pt>
                <c:pt idx="82">
                  <c:v>1085.4545</c:v>
                </c:pt>
                <c:pt idx="83">
                  <c:v>1085.6875</c:v>
                </c:pt>
                <c:pt idx="84">
                  <c:v>1139.4167</c:v>
                </c:pt>
                <c:pt idx="85">
                  <c:v>1110.1818</c:v>
                </c:pt>
                <c:pt idx="86">
                  <c:v>1118.5122</c:v>
                </c:pt>
                <c:pt idx="87">
                  <c:v>1143.0227</c:v>
                </c:pt>
                <c:pt idx="88">
                  <c:v>1095.4583</c:v>
                </c:pt>
                <c:pt idx="89">
                  <c:v>1159.55</c:v>
                </c:pt>
                <c:pt idx="90">
                  <c:v>1183.0476</c:v>
                </c:pt>
                <c:pt idx="91">
                  <c:v>1234.8696</c:v>
                </c:pt>
                <c:pt idx="92">
                  <c:v>1175.5</c:v>
                </c:pt>
                <c:pt idx="93">
                  <c:v>1176.1786</c:v>
                </c:pt>
                <c:pt idx="94">
                  <c:v>1174.2069</c:v>
                </c:pt>
                <c:pt idx="95">
                  <c:v>1133.4545</c:v>
                </c:pt>
                <c:pt idx="96">
                  <c:v>1168.7917</c:v>
                </c:pt>
                <c:pt idx="97">
                  <c:v>1143.8983</c:v>
                </c:pt>
                <c:pt idx="98">
                  <c:v>1126.1096</c:v>
                </c:pt>
                <c:pt idx="99">
                  <c:v>1099.4571</c:v>
                </c:pt>
                <c:pt idx="100">
                  <c:v>1084.2821</c:v>
                </c:pt>
                <c:pt idx="101">
                  <c:v>1124.2857</c:v>
                </c:pt>
                <c:pt idx="102">
                  <c:v>1120.7234</c:v>
                </c:pt>
                <c:pt idx="103">
                  <c:v>1190.4375</c:v>
                </c:pt>
                <c:pt idx="104">
                  <c:v>1098.3243</c:v>
                </c:pt>
              </c:numCache>
            </c:numRef>
          </c:xVal>
          <c:yVal>
            <c:numRef>
              <c:f>Sheet1!$B$2:$B$106</c:f>
              <c:numCache>
                <c:formatCode>General</c:formatCode>
                <c:ptCount val="105"/>
                <c:pt idx="0">
                  <c:v>0.5409836065573771</c:v>
                </c:pt>
                <c:pt idx="1">
                  <c:v>0.5714285714285714</c:v>
                </c:pt>
                <c:pt idx="2">
                  <c:v>0.5773195876288659</c:v>
                </c:pt>
                <c:pt idx="3">
                  <c:v>0.5652173913043478</c:v>
                </c:pt>
                <c:pt idx="4">
                  <c:v>0.60625</c:v>
                </c:pt>
                <c:pt idx="5">
                  <c:v>0.5605095541401274</c:v>
                </c:pt>
                <c:pt idx="6">
                  <c:v>0.4948453608247423</c:v>
                </c:pt>
                <c:pt idx="7">
                  <c:v>0.5333333333333333</c:v>
                </c:pt>
                <c:pt idx="8">
                  <c:v>0.5229357798165137</c:v>
                </c:pt>
                <c:pt idx="9">
                  <c:v>0.5205479452054794</c:v>
                </c:pt>
                <c:pt idx="10">
                  <c:v>0.48743718592964824</c:v>
                </c:pt>
                <c:pt idx="11">
                  <c:v>0.543859649122807</c:v>
                </c:pt>
                <c:pt idx="12">
                  <c:v>0.536144578313253</c:v>
                </c:pt>
                <c:pt idx="13">
                  <c:v>0.5426829268292683</c:v>
                </c:pt>
                <c:pt idx="14">
                  <c:v>0.5714285714285714</c:v>
                </c:pt>
                <c:pt idx="15">
                  <c:v>0.5533333333333333</c:v>
                </c:pt>
                <c:pt idx="16">
                  <c:v>0.552</c:v>
                </c:pt>
                <c:pt idx="17">
                  <c:v>0.5327102803738317</c:v>
                </c:pt>
                <c:pt idx="18">
                  <c:v>0.5350877192982456</c:v>
                </c:pt>
                <c:pt idx="19">
                  <c:v>0.4489795918367347</c:v>
                </c:pt>
                <c:pt idx="20">
                  <c:v>0.4225352112676056</c:v>
                </c:pt>
                <c:pt idx="21">
                  <c:v>0.45454545454545453</c:v>
                </c:pt>
                <c:pt idx="22">
                  <c:v>0.4823529411764706</c:v>
                </c:pt>
                <c:pt idx="23">
                  <c:v>0.4090909090909091</c:v>
                </c:pt>
                <c:pt idx="24">
                  <c:v>0.44</c:v>
                </c:pt>
                <c:pt idx="25">
                  <c:v>0.4065934065934066</c:v>
                </c:pt>
                <c:pt idx="26">
                  <c:v>0.41818181818181815</c:v>
                </c:pt>
                <c:pt idx="27">
                  <c:v>0.4056603773584906</c:v>
                </c:pt>
                <c:pt idx="28">
                  <c:v>0.40707964601769914</c:v>
                </c:pt>
                <c:pt idx="29">
                  <c:v>0.43703703703703706</c:v>
                </c:pt>
                <c:pt idx="30">
                  <c:v>0.4387755102040816</c:v>
                </c:pt>
                <c:pt idx="31">
                  <c:v>0.38461538461538464</c:v>
                </c:pt>
                <c:pt idx="32">
                  <c:v>0.38461538461538464</c:v>
                </c:pt>
                <c:pt idx="33">
                  <c:v>0.5151515151515151</c:v>
                </c:pt>
                <c:pt idx="34">
                  <c:v>0.4756756756756757</c:v>
                </c:pt>
                <c:pt idx="35">
                  <c:v>0.5094339622641509</c:v>
                </c:pt>
                <c:pt idx="36">
                  <c:v>0.4444444444444444</c:v>
                </c:pt>
                <c:pt idx="37">
                  <c:v>0.4019607843137255</c:v>
                </c:pt>
                <c:pt idx="38">
                  <c:v>0.38235294117647056</c:v>
                </c:pt>
                <c:pt idx="39">
                  <c:v>0.42727272727272725</c:v>
                </c:pt>
                <c:pt idx="40">
                  <c:v>0.4090909090909091</c:v>
                </c:pt>
                <c:pt idx="41">
                  <c:v>0.33620689655172414</c:v>
                </c:pt>
                <c:pt idx="42">
                  <c:v>0.35</c:v>
                </c:pt>
                <c:pt idx="43">
                  <c:v>0.37748344370860926</c:v>
                </c:pt>
                <c:pt idx="44">
                  <c:v>0.3645833333333333</c:v>
                </c:pt>
                <c:pt idx="45">
                  <c:v>0.3755656108597285</c:v>
                </c:pt>
                <c:pt idx="46">
                  <c:v>0.430327868852459</c:v>
                </c:pt>
                <c:pt idx="47">
                  <c:v>0.3826086956521739</c:v>
                </c:pt>
                <c:pt idx="48">
                  <c:v>0.41954022988505746</c:v>
                </c:pt>
                <c:pt idx="49">
                  <c:v>0.4599483204134367</c:v>
                </c:pt>
                <c:pt idx="50">
                  <c:v>0.39634146341463417</c:v>
                </c:pt>
                <c:pt idx="51">
                  <c:v>0.3933333333333333</c:v>
                </c:pt>
                <c:pt idx="52">
                  <c:v>0.413265306122449</c:v>
                </c:pt>
                <c:pt idx="53">
                  <c:v>0.3780487804878049</c:v>
                </c:pt>
                <c:pt idx="54">
                  <c:v>0.3870967741935484</c:v>
                </c:pt>
                <c:pt idx="55">
                  <c:v>0.37398373983739835</c:v>
                </c:pt>
                <c:pt idx="56">
                  <c:v>0.3358208955223881</c:v>
                </c:pt>
                <c:pt idx="57">
                  <c:v>0.36419753086419754</c:v>
                </c:pt>
                <c:pt idx="58">
                  <c:v>0.355</c:v>
                </c:pt>
                <c:pt idx="59">
                  <c:v>0.3870967741935484</c:v>
                </c:pt>
                <c:pt idx="60">
                  <c:v>0.3920704845814978</c:v>
                </c:pt>
                <c:pt idx="61">
                  <c:v>0.38323353293413176</c:v>
                </c:pt>
                <c:pt idx="62">
                  <c:v>0.44680851063829785</c:v>
                </c:pt>
                <c:pt idx="63">
                  <c:v>0.38164251207729466</c:v>
                </c:pt>
                <c:pt idx="64">
                  <c:v>0.4228571428571429</c:v>
                </c:pt>
                <c:pt idx="65">
                  <c:v>0.4117647058823529</c:v>
                </c:pt>
                <c:pt idx="66">
                  <c:v>0.43478260869565216</c:v>
                </c:pt>
                <c:pt idx="67">
                  <c:v>0.41509433962264153</c:v>
                </c:pt>
                <c:pt idx="68">
                  <c:v>0.3217391304347826</c:v>
                </c:pt>
                <c:pt idx="69">
                  <c:v>0.30303030303030304</c:v>
                </c:pt>
                <c:pt idx="70">
                  <c:v>0.3645833333333333</c:v>
                </c:pt>
                <c:pt idx="71">
                  <c:v>0.3020833333333333</c:v>
                </c:pt>
                <c:pt idx="72">
                  <c:v>0.2214765100671141</c:v>
                </c:pt>
                <c:pt idx="73">
                  <c:v>0.2631578947368421</c:v>
                </c:pt>
                <c:pt idx="74">
                  <c:v>0.36792452830188677</c:v>
                </c:pt>
                <c:pt idx="75">
                  <c:v>0.2857142857142857</c:v>
                </c:pt>
                <c:pt idx="76">
                  <c:v>0.26744186046511625</c:v>
                </c:pt>
                <c:pt idx="77">
                  <c:v>0.3493975903614458</c:v>
                </c:pt>
                <c:pt idx="78">
                  <c:v>0.373134328358209</c:v>
                </c:pt>
                <c:pt idx="79">
                  <c:v>0.35365853658536583</c:v>
                </c:pt>
                <c:pt idx="80">
                  <c:v>0.30303030303030304</c:v>
                </c:pt>
                <c:pt idx="81">
                  <c:v>0.37349397590361444</c:v>
                </c:pt>
                <c:pt idx="82">
                  <c:v>0.3333333333333333</c:v>
                </c:pt>
                <c:pt idx="83">
                  <c:v>0.25806451612903225</c:v>
                </c:pt>
                <c:pt idx="84">
                  <c:v>0.34285714285714286</c:v>
                </c:pt>
                <c:pt idx="85">
                  <c:v>0.2894736842105263</c:v>
                </c:pt>
                <c:pt idx="86">
                  <c:v>0.4019607843137255</c:v>
                </c:pt>
                <c:pt idx="87">
                  <c:v>0.41904761904761906</c:v>
                </c:pt>
                <c:pt idx="88">
                  <c:v>0.3870967741935484</c:v>
                </c:pt>
                <c:pt idx="89">
                  <c:v>0.3076923076923077</c:v>
                </c:pt>
                <c:pt idx="90">
                  <c:v>0.2692307692307692</c:v>
                </c:pt>
                <c:pt idx="91">
                  <c:v>0.27380952380952384</c:v>
                </c:pt>
                <c:pt idx="92">
                  <c:v>0.3225806451612903</c:v>
                </c:pt>
                <c:pt idx="93">
                  <c:v>0.34146341463414637</c:v>
                </c:pt>
                <c:pt idx="94">
                  <c:v>0.32222222222222224</c:v>
                </c:pt>
                <c:pt idx="95">
                  <c:v>0.308411214953271</c:v>
                </c:pt>
                <c:pt idx="96">
                  <c:v>0.3221476510067114</c:v>
                </c:pt>
                <c:pt idx="97">
                  <c:v>0.3430232558139535</c:v>
                </c:pt>
                <c:pt idx="98">
                  <c:v>0.37435897435897436</c:v>
                </c:pt>
                <c:pt idx="99">
                  <c:v>0.4430379746835443</c:v>
                </c:pt>
                <c:pt idx="100">
                  <c:v>0.4119718309859155</c:v>
                </c:pt>
                <c:pt idx="101">
                  <c:v>0.41721854304635764</c:v>
                </c:pt>
                <c:pt idx="102">
                  <c:v>0.3884297520661157</c:v>
                </c:pt>
                <c:pt idx="103">
                  <c:v>0.37209302325581395</c:v>
                </c:pt>
                <c:pt idx="104">
                  <c:v>0.34259259259259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2.875</c:v>
                </c:pt>
                <c:pt idx="1">
                  <c:v>1164.5957</c:v>
                </c:pt>
                <c:pt idx="2">
                  <c:v>1182.2128</c:v>
                </c:pt>
                <c:pt idx="3">
                  <c:v>1195.3111</c:v>
                </c:pt>
                <c:pt idx="4">
                  <c:v>1189.6</c:v>
                </c:pt>
                <c:pt idx="5">
                  <c:v>1178.4038</c:v>
                </c:pt>
                <c:pt idx="6">
                  <c:v>1089.322</c:v>
                </c:pt>
                <c:pt idx="7">
                  <c:v>1075.8958</c:v>
                </c:pt>
                <c:pt idx="8">
                  <c:v>1181.6333</c:v>
                </c:pt>
                <c:pt idx="9">
                  <c:v>1100.8049</c:v>
                </c:pt>
                <c:pt idx="10">
                  <c:v>1104.4878</c:v>
                </c:pt>
                <c:pt idx="11">
                  <c:v>1001.7143</c:v>
                </c:pt>
                <c:pt idx="12">
                  <c:v>1077.6444</c:v>
                </c:pt>
                <c:pt idx="13">
                  <c:v>1082.0851</c:v>
                </c:pt>
                <c:pt idx="14">
                  <c:v>1017.7619</c:v>
                </c:pt>
                <c:pt idx="15">
                  <c:v>1101.5294</c:v>
                </c:pt>
                <c:pt idx="16">
                  <c:v>1164.8966</c:v>
                </c:pt>
                <c:pt idx="17">
                  <c:v>1153.5652</c:v>
                </c:pt>
                <c:pt idx="18">
                  <c:v>1109.6207</c:v>
                </c:pt>
                <c:pt idx="19">
                  <c:v>1051.5556</c:v>
                </c:pt>
                <c:pt idx="20">
                  <c:v>1172.0526</c:v>
                </c:pt>
                <c:pt idx="21">
                  <c:v>1118.8889</c:v>
                </c:pt>
                <c:pt idx="22">
                  <c:v>1121.8</c:v>
                </c:pt>
                <c:pt idx="23">
                  <c:v>1265.3571</c:v>
                </c:pt>
                <c:pt idx="24">
                  <c:v>1178.8947</c:v>
                </c:pt>
                <c:pt idx="25">
                  <c:v>1297.5833</c:v>
                </c:pt>
                <c:pt idx="26">
                  <c:v>1202.8</c:v>
                </c:pt>
                <c:pt idx="27">
                  <c:v>1231.0</c:v>
                </c:pt>
                <c:pt idx="28">
                  <c:v>1236.3667</c:v>
                </c:pt>
                <c:pt idx="29">
                  <c:v>1220.6</c:v>
                </c:pt>
                <c:pt idx="30">
                  <c:v>1235.2632</c:v>
                </c:pt>
                <c:pt idx="31">
                  <c:v>1214.4783</c:v>
                </c:pt>
                <c:pt idx="32">
                  <c:v>1188.16</c:v>
                </c:pt>
                <c:pt idx="33">
                  <c:v>1237.6923</c:v>
                </c:pt>
                <c:pt idx="34">
                  <c:v>1248.3636</c:v>
                </c:pt>
                <c:pt idx="35">
                  <c:v>1277.4091</c:v>
                </c:pt>
                <c:pt idx="36">
                  <c:v>1259.9524</c:v>
                </c:pt>
                <c:pt idx="37">
                  <c:v>1052.1</c:v>
                </c:pt>
                <c:pt idx="38">
                  <c:v>1183.8636</c:v>
                </c:pt>
                <c:pt idx="39">
                  <c:v>1163.2821</c:v>
                </c:pt>
                <c:pt idx="40">
                  <c:v>1176.36</c:v>
                </c:pt>
                <c:pt idx="41">
                  <c:v>1232.7419</c:v>
                </c:pt>
                <c:pt idx="42">
                  <c:v>1220.6207</c:v>
                </c:pt>
                <c:pt idx="43">
                  <c:v>1232.75</c:v>
                </c:pt>
                <c:pt idx="44">
                  <c:v>1202.6053</c:v>
                </c:pt>
                <c:pt idx="45">
                  <c:v>1203.1714</c:v>
                </c:pt>
                <c:pt idx="46">
                  <c:v>1201.881</c:v>
                </c:pt>
                <c:pt idx="47">
                  <c:v>1144.3774</c:v>
                </c:pt>
                <c:pt idx="48">
                  <c:v>1197.8431</c:v>
                </c:pt>
                <c:pt idx="49">
                  <c:v>1193.4404</c:v>
                </c:pt>
                <c:pt idx="50">
                  <c:v>1094.1933</c:v>
                </c:pt>
                <c:pt idx="51">
                  <c:v>1027.5098</c:v>
                </c:pt>
              </c:numCache>
            </c:numRef>
          </c:xVal>
          <c:yVal>
            <c:numRef>
              <c:f>Sheet1!$B$109:$B$160</c:f>
              <c:numCache>
                <c:formatCode>General</c:formatCode>
                <c:ptCount val="52"/>
                <c:pt idx="0">
                  <c:v>0.38095238095238093</c:v>
                </c:pt>
                <c:pt idx="1">
                  <c:v>0.35074626865671643</c:v>
                </c:pt>
                <c:pt idx="2">
                  <c:v>0.3219178082191781</c:v>
                </c:pt>
                <c:pt idx="3">
                  <c:v>0.3358208955223881</c:v>
                </c:pt>
                <c:pt idx="4">
                  <c:v>0.3333333333333333</c:v>
                </c:pt>
                <c:pt idx="5">
                  <c:v>0.3561643835616438</c:v>
                </c:pt>
                <c:pt idx="6">
                  <c:v>0.3430232558139535</c:v>
                </c:pt>
                <c:pt idx="7">
                  <c:v>0.2926829268292683</c:v>
                </c:pt>
                <c:pt idx="8">
                  <c:v>0.32608695652173914</c:v>
                </c:pt>
                <c:pt idx="9">
                  <c:v>0.41414141414141414</c:v>
                </c:pt>
                <c:pt idx="10">
                  <c:v>0.3416666666666667</c:v>
                </c:pt>
                <c:pt idx="11">
                  <c:v>0.417910447761194</c:v>
                </c:pt>
                <c:pt idx="12">
                  <c:v>0.4017857142857143</c:v>
                </c:pt>
                <c:pt idx="13">
                  <c:v>0.4563106796116505</c:v>
                </c:pt>
                <c:pt idx="14">
                  <c:v>0.44680851063829785</c:v>
                </c:pt>
                <c:pt idx="15">
                  <c:v>0.3695652173913043</c:v>
                </c:pt>
                <c:pt idx="16">
                  <c:v>0.3625</c:v>
                </c:pt>
                <c:pt idx="17">
                  <c:v>0.3150684931506849</c:v>
                </c:pt>
                <c:pt idx="18">
                  <c:v>0.3411764705882353</c:v>
                </c:pt>
                <c:pt idx="19">
                  <c:v>0.4</c:v>
                </c:pt>
                <c:pt idx="20">
                  <c:v>0.3392857142857143</c:v>
                </c:pt>
                <c:pt idx="21">
                  <c:v>0.3157894736842105</c:v>
                </c:pt>
                <c:pt idx="22">
                  <c:v>0.3</c:v>
                </c:pt>
                <c:pt idx="23">
                  <c:v>0.21212121212121213</c:v>
                </c:pt>
                <c:pt idx="24">
                  <c:v>0.2878787878787879</c:v>
                </c:pt>
                <c:pt idx="25">
                  <c:v>0.24489795918367346</c:v>
                </c:pt>
                <c:pt idx="26">
                  <c:v>0.31746031746031744</c:v>
                </c:pt>
                <c:pt idx="27">
                  <c:v>0.35384615384615387</c:v>
                </c:pt>
                <c:pt idx="28">
                  <c:v>0.379746835443038</c:v>
                </c:pt>
                <c:pt idx="29">
                  <c:v>0.25862068965517243</c:v>
                </c:pt>
                <c:pt idx="30">
                  <c:v>0.2835820895522388</c:v>
                </c:pt>
                <c:pt idx="31">
                  <c:v>0.3382352941176471</c:v>
                </c:pt>
                <c:pt idx="32">
                  <c:v>0.32051282051282054</c:v>
                </c:pt>
                <c:pt idx="33">
                  <c:v>0.40625</c:v>
                </c:pt>
                <c:pt idx="34">
                  <c:v>0.4435483870967742</c:v>
                </c:pt>
                <c:pt idx="35">
                  <c:v>0.36666666666666664</c:v>
                </c:pt>
                <c:pt idx="36">
                  <c:v>0.38181818181818183</c:v>
                </c:pt>
                <c:pt idx="37">
                  <c:v>0.30303030303030304</c:v>
                </c:pt>
                <c:pt idx="38">
                  <c:v>0.34375</c:v>
                </c:pt>
                <c:pt idx="39">
                  <c:v>0.3577981651376147</c:v>
                </c:pt>
                <c:pt idx="40">
                  <c:v>0.30864197530864196</c:v>
                </c:pt>
                <c:pt idx="41">
                  <c:v>0.3263157894736842</c:v>
                </c:pt>
                <c:pt idx="42">
                  <c:v>0.34523809523809523</c:v>
                </c:pt>
                <c:pt idx="43">
                  <c:v>0.3018867924528302</c:v>
                </c:pt>
                <c:pt idx="44">
                  <c:v>0.3275862068965517</c:v>
                </c:pt>
                <c:pt idx="45">
                  <c:v>0.3804347826086957</c:v>
                </c:pt>
                <c:pt idx="46">
                  <c:v>0.328125</c:v>
                </c:pt>
                <c:pt idx="47">
                  <c:v>0.3897058823529412</c:v>
                </c:pt>
                <c:pt idx="48">
                  <c:v>0.31097560975609756</c:v>
                </c:pt>
                <c:pt idx="49">
                  <c:v>0.4128787878787879</c:v>
                </c:pt>
                <c:pt idx="50">
                  <c:v>0.4541984732824427</c:v>
                </c:pt>
                <c:pt idx="51">
                  <c:v>0.36690647482014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3.14625588065104</c:v>
                </c:pt>
              </c:numCache>
            </c:numRef>
          </c:xVal>
          <c:yVal>
            <c:numRef>
              <c:f>Sheet1!$B$163:$B$164</c:f>
              <c:numCache>
                <c:formatCode>General</c:formatCode>
                <c:ptCount val="2"/>
                <c:pt idx="0">
                  <c:v>0.5525359094482087</c:v>
                </c:pt>
                <c:pt idx="1">
                  <c:v>0.55253590944820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3.14625588065104</c:v>
                </c:pt>
                <c:pt idx="1">
                  <c:v>473.14625588065104</c:v>
                </c:pt>
              </c:numCache>
            </c:numRef>
          </c:xVal>
          <c:yVal>
            <c:numRef>
              <c:f>Sheet1!$B$167:$B$168</c:f>
              <c:numCache>
                <c:formatCode>General</c:formatCode>
                <c:ptCount val="2"/>
                <c:pt idx="0">
                  <c:v>0.55253590944820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6.9756309805105</c:v>
                </c:pt>
              </c:numCache>
            </c:numRef>
          </c:xVal>
          <c:yVal>
            <c:numRef>
              <c:f>Sheet1!$B$171:$B$172</c:f>
              <c:numCache>
                <c:formatCode>General</c:formatCode>
                <c:ptCount val="2"/>
                <c:pt idx="0">
                  <c:v>0.386239836434368</c:v>
                </c:pt>
                <c:pt idx="1">
                  <c:v>0.3862398364343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6.9756309805105</c:v>
                </c:pt>
                <c:pt idx="1">
                  <c:v>1036.9756309805105</c:v>
                </c:pt>
              </c:numCache>
            </c:numRef>
          </c:xVal>
          <c:yVal>
            <c:numRef>
              <c:f>Sheet1!$B$175:$B$176</c:f>
              <c:numCache>
                <c:formatCode>General</c:formatCode>
                <c:ptCount val="2"/>
                <c:pt idx="0">
                  <c:v>0.3862398364343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4.0183288990622</c:v>
                </c:pt>
              </c:numCache>
            </c:numRef>
          </c:xVal>
          <c:yVal>
            <c:numRef>
              <c:f>Sheet1!$B$179:$B$180</c:f>
              <c:numCache>
                <c:formatCode>General</c:formatCode>
                <c:ptCount val="2"/>
                <c:pt idx="0">
                  <c:v>0.3546686180928098</c:v>
                </c:pt>
                <c:pt idx="1">
                  <c:v>0.35466861809280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4.0183288990622</c:v>
                </c:pt>
                <c:pt idx="1">
                  <c:v>1144.0183288990622</c:v>
                </c:pt>
              </c:numCache>
            </c:numRef>
          </c:xVal>
          <c:yVal>
            <c:numRef>
              <c:f>Sheet1!$B$183:$B$184</c:f>
              <c:numCache>
                <c:formatCode>General</c:formatCode>
                <c:ptCount val="2"/>
                <c:pt idx="0">
                  <c:v>0.35466861809280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2.875</c:v>
                </c:pt>
                <c:pt idx="1">
                  <c:v>1164.5957</c:v>
                </c:pt>
                <c:pt idx="2">
                  <c:v>1182.2128</c:v>
                </c:pt>
                <c:pt idx="3">
                  <c:v>1195.3111</c:v>
                </c:pt>
                <c:pt idx="4">
                  <c:v>1189.6</c:v>
                </c:pt>
                <c:pt idx="5">
                  <c:v>1178.4038</c:v>
                </c:pt>
                <c:pt idx="6">
                  <c:v>1089.322</c:v>
                </c:pt>
                <c:pt idx="7">
                  <c:v>1075.8958</c:v>
                </c:pt>
                <c:pt idx="8">
                  <c:v>1181.6333</c:v>
                </c:pt>
                <c:pt idx="9">
                  <c:v>1100.8049</c:v>
                </c:pt>
                <c:pt idx="10">
                  <c:v>1104.4878</c:v>
                </c:pt>
                <c:pt idx="11">
                  <c:v>1001.7143</c:v>
                </c:pt>
                <c:pt idx="12">
                  <c:v>1077.6444</c:v>
                </c:pt>
                <c:pt idx="13">
                  <c:v>1082.0851</c:v>
                </c:pt>
                <c:pt idx="14">
                  <c:v>1017.7619</c:v>
                </c:pt>
                <c:pt idx="15">
                  <c:v>1101.5294</c:v>
                </c:pt>
                <c:pt idx="16">
                  <c:v>1164.8966</c:v>
                </c:pt>
                <c:pt idx="17">
                  <c:v>1153.5652</c:v>
                </c:pt>
                <c:pt idx="18">
                  <c:v>1109.6207</c:v>
                </c:pt>
                <c:pt idx="19">
                  <c:v>1051.5556</c:v>
                </c:pt>
                <c:pt idx="20">
                  <c:v>1172.0526</c:v>
                </c:pt>
                <c:pt idx="21">
                  <c:v>1118.8889</c:v>
                </c:pt>
                <c:pt idx="22">
                  <c:v>1121.8</c:v>
                </c:pt>
                <c:pt idx="23">
                  <c:v>1265.3571</c:v>
                </c:pt>
                <c:pt idx="24">
                  <c:v>1178.8947</c:v>
                </c:pt>
                <c:pt idx="25">
                  <c:v>1297.5833</c:v>
                </c:pt>
                <c:pt idx="26">
                  <c:v>1202.8</c:v>
                </c:pt>
                <c:pt idx="27">
                  <c:v>1231.0</c:v>
                </c:pt>
                <c:pt idx="28">
                  <c:v>1236.3667</c:v>
                </c:pt>
                <c:pt idx="29">
                  <c:v>1220.6</c:v>
                </c:pt>
                <c:pt idx="30">
                  <c:v>1235.2632</c:v>
                </c:pt>
                <c:pt idx="31">
                  <c:v>1214.4783</c:v>
                </c:pt>
                <c:pt idx="32">
                  <c:v>1188.16</c:v>
                </c:pt>
                <c:pt idx="33">
                  <c:v>1237.6923</c:v>
                </c:pt>
                <c:pt idx="34">
                  <c:v>1248.3636</c:v>
                </c:pt>
                <c:pt idx="35">
                  <c:v>1277.4091</c:v>
                </c:pt>
                <c:pt idx="36">
                  <c:v>1259.9524</c:v>
                </c:pt>
                <c:pt idx="37">
                  <c:v>1052.1</c:v>
                </c:pt>
                <c:pt idx="38">
                  <c:v>1183.8636</c:v>
                </c:pt>
                <c:pt idx="39">
                  <c:v>1163.2821</c:v>
                </c:pt>
                <c:pt idx="40">
                  <c:v>1176.36</c:v>
                </c:pt>
                <c:pt idx="41">
                  <c:v>1232.7419</c:v>
                </c:pt>
                <c:pt idx="42">
                  <c:v>1220.6207</c:v>
                </c:pt>
                <c:pt idx="43">
                  <c:v>1232.75</c:v>
                </c:pt>
                <c:pt idx="44">
                  <c:v>1202.6053</c:v>
                </c:pt>
                <c:pt idx="45">
                  <c:v>1203.1714</c:v>
                </c:pt>
                <c:pt idx="46">
                  <c:v>1201.881</c:v>
                </c:pt>
                <c:pt idx="47">
                  <c:v>1144.3774</c:v>
                </c:pt>
                <c:pt idx="48">
                  <c:v>1197.8431</c:v>
                </c:pt>
                <c:pt idx="49">
                  <c:v>1193.4404</c:v>
                </c:pt>
                <c:pt idx="50">
                  <c:v>1094.1933</c:v>
                </c:pt>
                <c:pt idx="51">
                  <c:v>1027.5098</c:v>
                </c:pt>
                <c:pt idx="52">
                  <c:v>1036.9756309805105</c:v>
                </c:pt>
                <c:pt idx="53">
                  <c:v>473.14625588065104</c:v>
                </c:pt>
                <c:pt idx="54">
                  <c:v>1144.0183288990622</c:v>
                </c:pt>
              </c:numCache>
            </c:numRef>
          </c:xVal>
          <c:yVal>
            <c:numRef>
              <c:f>Sheet1!$B$187:$B$241</c:f>
              <c:numCache>
                <c:formatCode>General</c:formatCode>
                <c:ptCount val="55"/>
                <c:pt idx="0">
                  <c:v>0.35500583199913316</c:v>
                </c:pt>
                <c:pt idx="1">
                  <c:v>0.34859951960636004</c:v>
                </c:pt>
                <c:pt idx="2">
                  <c:v>0.34340352472338104</c:v>
                </c:pt>
                <c:pt idx="3">
                  <c:v>0.339540306612811</c:v>
                </c:pt>
                <c:pt idx="4">
                  <c:v>0.341224740848649</c:v>
                </c:pt>
                <c:pt idx="5">
                  <c:v>0.3445269527852793</c:v>
                </c:pt>
                <c:pt idx="6">
                  <c:v>0.37080077634117453</c:v>
                </c:pt>
                <c:pt idx="7">
                  <c:v>0.3747607054156449</c:v>
                </c:pt>
                <c:pt idx="8">
                  <c:v>0.3435744426970933</c:v>
                </c:pt>
                <c:pt idx="9">
                  <c:v>0.3674140049859707</c:v>
                </c:pt>
                <c:pt idx="10">
                  <c:v>0.3663277689111046</c:v>
                </c:pt>
                <c:pt idx="11">
                  <c:v>0.39663982822312793</c:v>
                </c:pt>
                <c:pt idx="12">
                  <c:v>0.3742449725962605</c:v>
                </c:pt>
                <c:pt idx="13">
                  <c:v>0.37293523067069695</c:v>
                </c:pt>
                <c:pt idx="14">
                  <c:v>0.3919067423302117</c:v>
                </c:pt>
                <c:pt idx="15">
                  <c:v>0.36720032065127783</c:v>
                </c:pt>
                <c:pt idx="16">
                  <c:v>0.34851077203381475</c:v>
                </c:pt>
                <c:pt idx="17">
                  <c:v>0.35185285991530424</c:v>
                </c:pt>
                <c:pt idx="18">
                  <c:v>0.3648138692264322</c:v>
                </c:pt>
                <c:pt idx="19">
                  <c:v>0.38193961424006473</c:v>
                </c:pt>
                <c:pt idx="20">
                  <c:v>0.34640017838431525</c:v>
                </c:pt>
                <c:pt idx="21">
                  <c:v>0.36208030242063405</c:v>
                </c:pt>
                <c:pt idx="22">
                  <c:v>0.36122170136235315</c:v>
                </c:pt>
                <c:pt idx="23">
                  <c:v>0.31888090991453777</c:v>
                </c:pt>
                <c:pt idx="24">
                  <c:v>0.34438216653282827</c:v>
                </c:pt>
                <c:pt idx="25">
                  <c:v>0.30937610093361245</c:v>
                </c:pt>
                <c:pt idx="26">
                  <c:v>0.3373315272973083</c:v>
                </c:pt>
                <c:pt idx="27">
                  <c:v>0.32901420743762605</c:v>
                </c:pt>
                <c:pt idx="28">
                  <c:v>0.3274313506826276</c:v>
                </c:pt>
                <c:pt idx="29">
                  <c:v>0.3320815878114096</c:v>
                </c:pt>
                <c:pt idx="30">
                  <c:v>0.3277568174367112</c:v>
                </c:pt>
                <c:pt idx="31">
                  <c:v>0.33388712458392794</c:v>
                </c:pt>
                <c:pt idx="32">
                  <c:v>0.3416494550542497</c:v>
                </c:pt>
                <c:pt idx="33">
                  <c:v>0.3270403776611384</c:v>
                </c:pt>
                <c:pt idx="34">
                  <c:v>0.323892979951258</c:v>
                </c:pt>
                <c:pt idx="35">
                  <c:v>0.3153262879659955</c:v>
                </c:pt>
                <c:pt idx="36">
                  <c:v>0.32047497440551737</c:v>
                </c:pt>
                <c:pt idx="37">
                  <c:v>0.381779048675114</c:v>
                </c:pt>
                <c:pt idx="38">
                  <c:v>0.34291663707712705</c:v>
                </c:pt>
                <c:pt idx="39">
                  <c:v>0.3489869533428026</c:v>
                </c:pt>
                <c:pt idx="40">
                  <c:v>0.3451297520168119</c:v>
                </c:pt>
                <c:pt idx="41">
                  <c:v>0.32850045071905937</c:v>
                </c:pt>
                <c:pt idx="42">
                  <c:v>0.3320754825447041</c:v>
                </c:pt>
                <c:pt idx="43">
                  <c:v>0.32849806170165285</c:v>
                </c:pt>
                <c:pt idx="44">
                  <c:v>0.3373889521971906</c:v>
                </c:pt>
                <c:pt idx="45">
                  <c:v>0.3372219864251138</c:v>
                </c:pt>
                <c:pt idx="46">
                  <c:v>0.33760257754379935</c:v>
                </c:pt>
                <c:pt idx="47">
                  <c:v>0.35456271351128965</c:v>
                </c:pt>
                <c:pt idx="48">
                  <c:v>0.3387935174679629</c:v>
                </c:pt>
                <c:pt idx="49">
                  <c:v>0.3400920516575453</c:v>
                </c:pt>
                <c:pt idx="50">
                  <c:v>0.3693640330705195</c:v>
                </c:pt>
                <c:pt idx="51">
                  <c:v>0.3890316926046728</c:v>
                </c:pt>
                <c:pt idx="52">
                  <c:v>0.386239836434368</c:v>
                </c:pt>
                <c:pt idx="53">
                  <c:v>0.5525359094482087</c:v>
                </c:pt>
                <c:pt idx="54">
                  <c:v>0.35466861809280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7.0"/>
          <c:min val="3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16969696969696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019144058102774</c:v>
                </c:pt>
                <c:pt idx="1">
                  <c:v>3.1684157303370784</c:v>
                </c:pt>
                <c:pt idx="2">
                  <c:v>2.7803697906752385</c:v>
                </c:pt>
                <c:pt idx="3">
                  <c:v>1.7333210702341137</c:v>
                </c:pt>
                <c:pt idx="4">
                  <c:v>2.3502859167846064</c:v>
                </c:pt>
                <c:pt idx="5">
                  <c:v>1.0501994945949742</c:v>
                </c:pt>
                <c:pt idx="6">
                  <c:v>1.1606517000570618</c:v>
                </c:pt>
                <c:pt idx="7">
                  <c:v>0.9139226132548792</c:v>
                </c:pt>
                <c:pt idx="8">
                  <c:v>0.8576247598093142</c:v>
                </c:pt>
                <c:pt idx="9">
                  <c:v>0.8628401921084848</c:v>
                </c:pt>
                <c:pt idx="10">
                  <c:v>0.8346428637040919</c:v>
                </c:pt>
                <c:pt idx="11">
                  <c:v>0.8889884986585022</c:v>
                </c:pt>
                <c:pt idx="12">
                  <c:v>0.9111566420311866</c:v>
                </c:pt>
                <c:pt idx="13">
                  <c:v>0.8703886677052681</c:v>
                </c:pt>
                <c:pt idx="14">
                  <c:v>0.7838839123006865</c:v>
                </c:pt>
                <c:pt idx="15">
                  <c:v>0.8789299986744977</c:v>
                </c:pt>
                <c:pt idx="16">
                  <c:v>0.8601479273091851</c:v>
                </c:pt>
                <c:pt idx="17">
                  <c:v>0.828150263170799</c:v>
                </c:pt>
                <c:pt idx="18">
                  <c:v>0.9817844037374862</c:v>
                </c:pt>
                <c:pt idx="19">
                  <c:v>0.9223697990239832</c:v>
                </c:pt>
                <c:pt idx="20">
                  <c:v>1.0995401018943005</c:v>
                </c:pt>
                <c:pt idx="21">
                  <c:v>1.0404994425553713</c:v>
                </c:pt>
                <c:pt idx="22">
                  <c:v>0.93348500540198</c:v>
                </c:pt>
                <c:pt idx="23">
                  <c:v>0.9589638627976405</c:v>
                </c:pt>
                <c:pt idx="24">
                  <c:v>0.9177334583741338</c:v>
                </c:pt>
                <c:pt idx="25">
                  <c:v>1.0131644328232814</c:v>
                </c:pt>
                <c:pt idx="26">
                  <c:v>0.9079257373780856</c:v>
                </c:pt>
                <c:pt idx="27">
                  <c:v>0.9804401595589528</c:v>
                </c:pt>
                <c:pt idx="28">
                  <c:v>0.8243914971900168</c:v>
                </c:pt>
                <c:pt idx="29">
                  <c:v>0.8653980562626802</c:v>
                </c:pt>
                <c:pt idx="30">
                  <c:v>0.9341345230292071</c:v>
                </c:pt>
                <c:pt idx="31">
                  <c:v>0.8253242082662372</c:v>
                </c:pt>
                <c:pt idx="32">
                  <c:v>0.8942285017270645</c:v>
                </c:pt>
                <c:pt idx="33">
                  <c:v>0.8905125088053883</c:v>
                </c:pt>
                <c:pt idx="34">
                  <c:v>0.9246220900414389</c:v>
                </c:pt>
                <c:pt idx="35">
                  <c:v>0.8985805407583369</c:v>
                </c:pt>
                <c:pt idx="36">
                  <c:v>0.9229086119726387</c:v>
                </c:pt>
                <c:pt idx="37">
                  <c:v>0.9996594955396871</c:v>
                </c:pt>
                <c:pt idx="38">
                  <c:v>1.0323745457220628</c:v>
                </c:pt>
                <c:pt idx="39">
                  <c:v>1.0432606351810618</c:v>
                </c:pt>
                <c:pt idx="40">
                  <c:v>1.0022931334853886</c:v>
                </c:pt>
                <c:pt idx="41">
                  <c:v>0.9440633154706306</c:v>
                </c:pt>
                <c:pt idx="42">
                  <c:v>0.9626737020166743</c:v>
                </c:pt>
                <c:pt idx="43">
                  <c:v>0.9370803713124198</c:v>
                </c:pt>
                <c:pt idx="44">
                  <c:v>0.9274339561328647</c:v>
                </c:pt>
                <c:pt idx="45">
                  <c:v>0.9943021476787461</c:v>
                </c:pt>
                <c:pt idx="46">
                  <c:v>1.0382856229124835</c:v>
                </c:pt>
                <c:pt idx="47">
                  <c:v>0.9454230811462734</c:v>
                </c:pt>
                <c:pt idx="48">
                  <c:v>0.9240521839252864</c:v>
                </c:pt>
                <c:pt idx="49">
                  <c:v>0.8919263330502901</c:v>
                </c:pt>
                <c:pt idx="50">
                  <c:v>0.8940294532277197</c:v>
                </c:pt>
                <c:pt idx="51">
                  <c:v>0.8328755370193209</c:v>
                </c:pt>
                <c:pt idx="52">
                  <c:v>0.8634528464664902</c:v>
                </c:pt>
                <c:pt idx="53">
                  <c:v>0.8920960543019094</c:v>
                </c:pt>
                <c:pt idx="54">
                  <c:v>0.824844075628271</c:v>
                </c:pt>
                <c:pt idx="55">
                  <c:v>0.8191956893362868</c:v>
                </c:pt>
                <c:pt idx="56">
                  <c:v>0.8665108047642567</c:v>
                </c:pt>
                <c:pt idx="57">
                  <c:v>0.8540521947422002</c:v>
                </c:pt>
                <c:pt idx="58">
                  <c:v>0.799094321187822</c:v>
                </c:pt>
                <c:pt idx="59">
                  <c:v>0.8284778698885276</c:v>
                </c:pt>
                <c:pt idx="60">
                  <c:v>0.8601778559620633</c:v>
                </c:pt>
                <c:pt idx="61">
                  <c:v>0.8237043886345456</c:v>
                </c:pt>
                <c:pt idx="62">
                  <c:v>0.7992850926975543</c:v>
                </c:pt>
                <c:pt idx="63">
                  <c:v>0.838572706842353</c:v>
                </c:pt>
                <c:pt idx="64">
                  <c:v>0.8669796807316223</c:v>
                </c:pt>
                <c:pt idx="65">
                  <c:v>0.863097342797583</c:v>
                </c:pt>
                <c:pt idx="66">
                  <c:v>0.8164429274061333</c:v>
                </c:pt>
                <c:pt idx="67">
                  <c:v>0.6499993985843535</c:v>
                </c:pt>
                <c:pt idx="68">
                  <c:v>0.731267846281493</c:v>
                </c:pt>
                <c:pt idx="69">
                  <c:v>0.5897295699291888</c:v>
                </c:pt>
                <c:pt idx="70">
                  <c:v>0.6773631747771317</c:v>
                </c:pt>
                <c:pt idx="71">
                  <c:v>0.7350656380908818</c:v>
                </c:pt>
                <c:pt idx="72">
                  <c:v>0.22646946020743164</c:v>
                </c:pt>
                <c:pt idx="73">
                  <c:v>0.4141580211576869</c:v>
                </c:pt>
                <c:pt idx="74">
                  <c:v>0.7495510905937854</c:v>
                </c:pt>
                <c:pt idx="75">
                  <c:v>1.0888990927552589</c:v>
                </c:pt>
                <c:pt idx="76">
                  <c:v>1.022388936679866</c:v>
                </c:pt>
                <c:pt idx="77">
                  <c:v>0.9211918004287981</c:v>
                </c:pt>
                <c:pt idx="78">
                  <c:v>0.9186394375978336</c:v>
                </c:pt>
                <c:pt idx="79">
                  <c:v>1.1224786503275042</c:v>
                </c:pt>
                <c:pt idx="80">
                  <c:v>1.101123562731645</c:v>
                </c:pt>
                <c:pt idx="81">
                  <c:v>1.0052002664007116</c:v>
                </c:pt>
                <c:pt idx="82">
                  <c:v>0.9299623850384424</c:v>
                </c:pt>
                <c:pt idx="83">
                  <c:v>0.7498103803228953</c:v>
                </c:pt>
                <c:pt idx="84">
                  <c:v>1.157864440926752</c:v>
                </c:pt>
                <c:pt idx="85">
                  <c:v>1.0808930356285107</c:v>
                </c:pt>
                <c:pt idx="86">
                  <c:v>0.9694853347502657</c:v>
                </c:pt>
                <c:pt idx="87">
                  <c:v>0.9575116386264116</c:v>
                </c:pt>
                <c:pt idx="88">
                  <c:v>0.9339011167247634</c:v>
                </c:pt>
                <c:pt idx="89">
                  <c:v>0.5730721348618318</c:v>
                </c:pt>
                <c:pt idx="90">
                  <c:v>0.45371700534174997</c:v>
                </c:pt>
                <c:pt idx="91">
                  <c:v>0.39705276578581916</c:v>
                </c:pt>
                <c:pt idx="92">
                  <c:v>0.7068383468922876</c:v>
                </c:pt>
                <c:pt idx="93">
                  <c:v>0.9083614840061861</c:v>
                </c:pt>
                <c:pt idx="94">
                  <c:v>0.5145149599503605</c:v>
                </c:pt>
                <c:pt idx="95">
                  <c:v>0.5870982367687755</c:v>
                </c:pt>
                <c:pt idx="96">
                  <c:v>1.1081021600427061</c:v>
                </c:pt>
                <c:pt idx="97">
                  <c:v>1.0607474579118024</c:v>
                </c:pt>
                <c:pt idx="98">
                  <c:v>1.0250338464116853</c:v>
                </c:pt>
                <c:pt idx="99">
                  <c:v>1.038174129465436</c:v>
                </c:pt>
                <c:pt idx="100">
                  <c:v>1.0861719609539644</c:v>
                </c:pt>
                <c:pt idx="101">
                  <c:v>0.9188873863124122</c:v>
                </c:pt>
                <c:pt idx="102">
                  <c:v>0.8079891102771491</c:v>
                </c:pt>
                <c:pt idx="103">
                  <c:v>0.995668867674354</c:v>
                </c:pt>
                <c:pt idx="104">
                  <c:v>0.9010630523873007</c:v>
                </c:pt>
              </c:numCache>
            </c:numRef>
          </c:xVal>
          <c:yVal>
            <c:numRef>
              <c:f>Sheet1!$B$2:$B$106</c:f>
              <c:numCache>
                <c:formatCode>General</c:formatCode>
                <c:ptCount val="105"/>
                <c:pt idx="0">
                  <c:v>0.19672131147540983</c:v>
                </c:pt>
                <c:pt idx="1">
                  <c:v>0.19230769230769232</c:v>
                </c:pt>
                <c:pt idx="2">
                  <c:v>0.24742268041237114</c:v>
                </c:pt>
                <c:pt idx="3">
                  <c:v>0.2391304347826087</c:v>
                </c:pt>
                <c:pt idx="4">
                  <c:v>0.2375</c:v>
                </c:pt>
                <c:pt idx="5">
                  <c:v>0.2229299363057325</c:v>
                </c:pt>
                <c:pt idx="6">
                  <c:v>0.17010309278350516</c:v>
                </c:pt>
                <c:pt idx="7">
                  <c:v>0.2</c:v>
                </c:pt>
                <c:pt idx="8">
                  <c:v>0.1926605504587156</c:v>
                </c:pt>
                <c:pt idx="9">
                  <c:v>0.1643835616438356</c:v>
                </c:pt>
                <c:pt idx="10">
                  <c:v>0.1708542713567839</c:v>
                </c:pt>
                <c:pt idx="11">
                  <c:v>0.15204678362573099</c:v>
                </c:pt>
                <c:pt idx="12">
                  <c:v>0.1686746987951807</c:v>
                </c:pt>
                <c:pt idx="13">
                  <c:v>0.2073170731707317</c:v>
                </c:pt>
                <c:pt idx="14">
                  <c:v>0.17857142857142858</c:v>
                </c:pt>
                <c:pt idx="15">
                  <c:v>0.16</c:v>
                </c:pt>
                <c:pt idx="16">
                  <c:v>0.176</c:v>
                </c:pt>
                <c:pt idx="17">
                  <c:v>0.16822429906542055</c:v>
                </c:pt>
                <c:pt idx="18">
                  <c:v>0.18421052631578946</c:v>
                </c:pt>
                <c:pt idx="19">
                  <c:v>0.21428571428571427</c:v>
                </c:pt>
                <c:pt idx="20">
                  <c:v>0.176056338028169</c:v>
                </c:pt>
                <c:pt idx="21">
                  <c:v>0.18181818181818182</c:v>
                </c:pt>
                <c:pt idx="22">
                  <c:v>0.15294117647058825</c:v>
                </c:pt>
                <c:pt idx="23">
                  <c:v>0.14772727272727273</c:v>
                </c:pt>
                <c:pt idx="24">
                  <c:v>0.19</c:v>
                </c:pt>
                <c:pt idx="25">
                  <c:v>0.18681318681318682</c:v>
                </c:pt>
                <c:pt idx="26">
                  <c:v>0.16363636363636364</c:v>
                </c:pt>
                <c:pt idx="27">
                  <c:v>0.1792452830188679</c:v>
                </c:pt>
                <c:pt idx="28">
                  <c:v>0.1592920353982301</c:v>
                </c:pt>
                <c:pt idx="29">
                  <c:v>0.18518518518518517</c:v>
                </c:pt>
                <c:pt idx="30">
                  <c:v>0.14285714285714285</c:v>
                </c:pt>
                <c:pt idx="31">
                  <c:v>0.18269230769230768</c:v>
                </c:pt>
                <c:pt idx="32">
                  <c:v>0.15384615384615385</c:v>
                </c:pt>
                <c:pt idx="33">
                  <c:v>0.1393939393939394</c:v>
                </c:pt>
                <c:pt idx="34">
                  <c:v>0.15675675675675677</c:v>
                </c:pt>
                <c:pt idx="35">
                  <c:v>0.16981132075471697</c:v>
                </c:pt>
                <c:pt idx="36">
                  <c:v>0.1111111111111111</c:v>
                </c:pt>
                <c:pt idx="37">
                  <c:v>0.13725490196078433</c:v>
                </c:pt>
                <c:pt idx="38">
                  <c:v>0.14705882352941177</c:v>
                </c:pt>
                <c:pt idx="39">
                  <c:v>0.12727272727272726</c:v>
                </c:pt>
                <c:pt idx="40">
                  <c:v>0.16233766233766234</c:v>
                </c:pt>
                <c:pt idx="41">
                  <c:v>0.1810344827586207</c:v>
                </c:pt>
                <c:pt idx="42">
                  <c:v>0.1357142857142857</c:v>
                </c:pt>
                <c:pt idx="43">
                  <c:v>0.1390728476821192</c:v>
                </c:pt>
                <c:pt idx="44">
                  <c:v>0.20833333333333334</c:v>
                </c:pt>
                <c:pt idx="45">
                  <c:v>0.18099547511312217</c:v>
                </c:pt>
                <c:pt idx="46">
                  <c:v>0.1721311475409836</c:v>
                </c:pt>
                <c:pt idx="47">
                  <c:v>0.19130434782608696</c:v>
                </c:pt>
                <c:pt idx="48">
                  <c:v>0.19540229885057472</c:v>
                </c:pt>
                <c:pt idx="49">
                  <c:v>0.2222222222222222</c:v>
                </c:pt>
                <c:pt idx="50">
                  <c:v>0.18902439024390244</c:v>
                </c:pt>
                <c:pt idx="51">
                  <c:v>0.15333333333333332</c:v>
                </c:pt>
                <c:pt idx="52">
                  <c:v>0.1683673469387755</c:v>
                </c:pt>
                <c:pt idx="53">
                  <c:v>0.1402439024390244</c:v>
                </c:pt>
                <c:pt idx="54">
                  <c:v>0.13709677419354838</c:v>
                </c:pt>
                <c:pt idx="55">
                  <c:v>0.14634146341463414</c:v>
                </c:pt>
                <c:pt idx="56">
                  <c:v>0.14925373134328357</c:v>
                </c:pt>
                <c:pt idx="57">
                  <c:v>0.13580246913580246</c:v>
                </c:pt>
                <c:pt idx="58">
                  <c:v>0.13</c:v>
                </c:pt>
                <c:pt idx="59">
                  <c:v>0.14746543778801843</c:v>
                </c:pt>
                <c:pt idx="60">
                  <c:v>0.1277533039647577</c:v>
                </c:pt>
                <c:pt idx="61">
                  <c:v>0.1377245508982036</c:v>
                </c:pt>
                <c:pt idx="62">
                  <c:v>0.11702127659574468</c:v>
                </c:pt>
                <c:pt idx="63">
                  <c:v>0.16908212560386474</c:v>
                </c:pt>
                <c:pt idx="64">
                  <c:v>0.16</c:v>
                </c:pt>
                <c:pt idx="65">
                  <c:v>0.16339869281045752</c:v>
                </c:pt>
                <c:pt idx="66">
                  <c:v>0.14285714285714285</c:v>
                </c:pt>
                <c:pt idx="67">
                  <c:v>0.1320754716981132</c:v>
                </c:pt>
                <c:pt idx="68">
                  <c:v>0.17391304347826086</c:v>
                </c:pt>
                <c:pt idx="69">
                  <c:v>0.18181818181818182</c:v>
                </c:pt>
                <c:pt idx="70">
                  <c:v>0.14583333333333334</c:v>
                </c:pt>
                <c:pt idx="71">
                  <c:v>0.14583333333333334</c:v>
                </c:pt>
                <c:pt idx="72">
                  <c:v>0.42953020134228187</c:v>
                </c:pt>
                <c:pt idx="73">
                  <c:v>0.2894736842105263</c:v>
                </c:pt>
                <c:pt idx="74">
                  <c:v>0.1320754716981132</c:v>
                </c:pt>
                <c:pt idx="75">
                  <c:v>0.1326530612244898</c:v>
                </c:pt>
                <c:pt idx="76">
                  <c:v>0.13953488372093023</c:v>
                </c:pt>
                <c:pt idx="77">
                  <c:v>0.12048192771084337</c:v>
                </c:pt>
                <c:pt idx="78">
                  <c:v>0.1044776119402985</c:v>
                </c:pt>
                <c:pt idx="79">
                  <c:v>0.08536585365853659</c:v>
                </c:pt>
                <c:pt idx="80">
                  <c:v>0.09090909090909091</c:v>
                </c:pt>
                <c:pt idx="81">
                  <c:v>0.10843373493975904</c:v>
                </c:pt>
                <c:pt idx="82">
                  <c:v>0.06060606060606061</c:v>
                </c:pt>
                <c:pt idx="83">
                  <c:v>0.08064516129032258</c:v>
                </c:pt>
                <c:pt idx="84">
                  <c:v>0.05714285714285714</c:v>
                </c:pt>
                <c:pt idx="85">
                  <c:v>0.09210526315789473</c:v>
                </c:pt>
                <c:pt idx="86">
                  <c:v>0.13725490196078433</c:v>
                </c:pt>
                <c:pt idx="87">
                  <c:v>0.13333333333333333</c:v>
                </c:pt>
                <c:pt idx="88">
                  <c:v>0.11290322580645161</c:v>
                </c:pt>
                <c:pt idx="89">
                  <c:v>0.16923076923076924</c:v>
                </c:pt>
                <c:pt idx="90">
                  <c:v>0.19230769230769232</c:v>
                </c:pt>
                <c:pt idx="91">
                  <c:v>0.19047619047619047</c:v>
                </c:pt>
                <c:pt idx="92">
                  <c:v>0.15053763440860216</c:v>
                </c:pt>
                <c:pt idx="93">
                  <c:v>0.10975609756097561</c:v>
                </c:pt>
                <c:pt idx="94">
                  <c:v>0.16666666666666666</c:v>
                </c:pt>
                <c:pt idx="95">
                  <c:v>0.12149532710280374</c:v>
                </c:pt>
                <c:pt idx="96">
                  <c:v>0.09395973154362416</c:v>
                </c:pt>
                <c:pt idx="97">
                  <c:v>0.10465116279069768</c:v>
                </c:pt>
                <c:pt idx="98">
                  <c:v>0.10256410256410256</c:v>
                </c:pt>
                <c:pt idx="99">
                  <c:v>0.11392405063291139</c:v>
                </c:pt>
                <c:pt idx="100">
                  <c:v>0.14084507042253522</c:v>
                </c:pt>
                <c:pt idx="101">
                  <c:v>0.13245033112582782</c:v>
                </c:pt>
                <c:pt idx="102">
                  <c:v>0.10743801652892562</c:v>
                </c:pt>
                <c:pt idx="103">
                  <c:v>0.12403100775193798</c:v>
                </c:pt>
                <c:pt idx="104">
                  <c:v>0.120370370370370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084614704792765</c:v>
                </c:pt>
                <c:pt idx="1">
                  <c:v>0.7904771371452355</c:v>
                </c:pt>
                <c:pt idx="2">
                  <c:v>0.8523564236572316</c:v>
                </c:pt>
                <c:pt idx="3">
                  <c:v>0.9359607475087641</c:v>
                </c:pt>
                <c:pt idx="4">
                  <c:v>0.8879133312670935</c:v>
                </c:pt>
                <c:pt idx="5">
                  <c:v>0.8506887064586425</c:v>
                </c:pt>
                <c:pt idx="6">
                  <c:v>0.9609517268574735</c:v>
                </c:pt>
                <c:pt idx="7">
                  <c:v>0.9224505735355326</c:v>
                </c:pt>
                <c:pt idx="8">
                  <c:v>0.8276694336460011</c:v>
                </c:pt>
                <c:pt idx="9">
                  <c:v>0.9617450443531638</c:v>
                </c:pt>
                <c:pt idx="10">
                  <c:v>0.9520524571424841</c:v>
                </c:pt>
                <c:pt idx="11">
                  <c:v>0.890585797142351</c:v>
                </c:pt>
                <c:pt idx="12">
                  <c:v>1.1172200497105846</c:v>
                </c:pt>
                <c:pt idx="13">
                  <c:v>0.9352437418329842</c:v>
                </c:pt>
                <c:pt idx="14">
                  <c:v>0.9835567394480975</c:v>
                </c:pt>
                <c:pt idx="15">
                  <c:v>1.044015458160671</c:v>
                </c:pt>
                <c:pt idx="16">
                  <c:v>0.7957481523587934</c:v>
                </c:pt>
                <c:pt idx="17">
                  <c:v>0.8208789078690595</c:v>
                </c:pt>
                <c:pt idx="18">
                  <c:v>0.6950600963686803</c:v>
                </c:pt>
                <c:pt idx="19">
                  <c:v>0.6941892278165708</c:v>
                </c:pt>
                <c:pt idx="20">
                  <c:v>0.8273687495976088</c:v>
                </c:pt>
                <c:pt idx="21">
                  <c:v>0.971516146211571</c:v>
                </c:pt>
                <c:pt idx="22">
                  <c:v>0.4468468468468469</c:v>
                </c:pt>
                <c:pt idx="23">
                  <c:v>0.8529673490217157</c:v>
                </c:pt>
                <c:pt idx="24">
                  <c:v>0.9717102978959795</c:v>
                </c:pt>
                <c:pt idx="25">
                  <c:v>1.1789441764773538</c:v>
                </c:pt>
                <c:pt idx="26">
                  <c:v>1.165546804620574</c:v>
                </c:pt>
                <c:pt idx="27">
                  <c:v>1.1699946645090364</c:v>
                </c:pt>
                <c:pt idx="28">
                  <c:v>1.1257650911518085</c:v>
                </c:pt>
                <c:pt idx="29">
                  <c:v>1.1994907834372635</c:v>
                </c:pt>
                <c:pt idx="30">
                  <c:v>1.3281560654981894</c:v>
                </c:pt>
                <c:pt idx="31">
                  <c:v>1.073322184232694</c:v>
                </c:pt>
                <c:pt idx="32">
                  <c:v>1.1960645125961211</c:v>
                </c:pt>
                <c:pt idx="33">
                  <c:v>1.0752927944907493</c:v>
                </c:pt>
                <c:pt idx="34">
                  <c:v>1.1235407200616303</c:v>
                </c:pt>
                <c:pt idx="35">
                  <c:v>1.0779518795046945</c:v>
                </c:pt>
                <c:pt idx="36">
                  <c:v>1.140669773352828</c:v>
                </c:pt>
                <c:pt idx="37">
                  <c:v>1.1258013056071938</c:v>
                </c:pt>
                <c:pt idx="38">
                  <c:v>1.0179946533454913</c:v>
                </c:pt>
                <c:pt idx="39">
                  <c:v>1.199620489837963</c:v>
                </c:pt>
                <c:pt idx="40">
                  <c:v>1.1255421957961975</c:v>
                </c:pt>
                <c:pt idx="41">
                  <c:v>1.1619647386593133</c:v>
                </c:pt>
                <c:pt idx="42">
                  <c:v>0.9187750579112165</c:v>
                </c:pt>
                <c:pt idx="43">
                  <c:v>0.9421255457770804</c:v>
                </c:pt>
                <c:pt idx="44">
                  <c:v>0.9272911016499481</c:v>
                </c:pt>
                <c:pt idx="45">
                  <c:v>0.9813702287255663</c:v>
                </c:pt>
                <c:pt idx="46">
                  <c:v>0.9816029636893266</c:v>
                </c:pt>
                <c:pt idx="47">
                  <c:v>0.8898981150137898</c:v>
                </c:pt>
                <c:pt idx="48">
                  <c:v>0.8683994211287989</c:v>
                </c:pt>
                <c:pt idx="49">
                  <c:v>0.902422906297893</c:v>
                </c:pt>
                <c:pt idx="50">
                  <c:v>0.9159071643867378</c:v>
                </c:pt>
                <c:pt idx="51">
                  <c:v>0.8932430235890392</c:v>
                </c:pt>
              </c:numCache>
            </c:numRef>
          </c:xVal>
          <c:yVal>
            <c:numRef>
              <c:f>Sheet1!$B$109:$B$160</c:f>
              <c:numCache>
                <c:formatCode>General</c:formatCode>
                <c:ptCount val="52"/>
                <c:pt idx="0">
                  <c:v>0.11904761904761904</c:v>
                </c:pt>
                <c:pt idx="1">
                  <c:v>0.13432835820895522</c:v>
                </c:pt>
                <c:pt idx="2">
                  <c:v>0.136986301369863</c:v>
                </c:pt>
                <c:pt idx="3">
                  <c:v>0.08955223880597014</c:v>
                </c:pt>
                <c:pt idx="4">
                  <c:v>0.09166666666666666</c:v>
                </c:pt>
                <c:pt idx="5">
                  <c:v>0.11643835616438356</c:v>
                </c:pt>
                <c:pt idx="6">
                  <c:v>0.11627906976744186</c:v>
                </c:pt>
                <c:pt idx="7">
                  <c:v>0.14634146341463414</c:v>
                </c:pt>
                <c:pt idx="8">
                  <c:v>0.11956521739130435</c:v>
                </c:pt>
                <c:pt idx="9">
                  <c:v>0.08080808080808081</c:v>
                </c:pt>
                <c:pt idx="10">
                  <c:v>0.11666666666666667</c:v>
                </c:pt>
                <c:pt idx="11">
                  <c:v>0.12686567164179105</c:v>
                </c:pt>
                <c:pt idx="12">
                  <c:v>0.11607142857142858</c:v>
                </c:pt>
                <c:pt idx="13">
                  <c:v>0.13592233009708737</c:v>
                </c:pt>
                <c:pt idx="14">
                  <c:v>0.09574468085106383</c:v>
                </c:pt>
                <c:pt idx="15">
                  <c:v>0.10869565217391304</c:v>
                </c:pt>
                <c:pt idx="16">
                  <c:v>0.1125</c:v>
                </c:pt>
                <c:pt idx="17">
                  <c:v>0.1232876712328767</c:v>
                </c:pt>
                <c:pt idx="18">
                  <c:v>0.17647058823529413</c:v>
                </c:pt>
                <c:pt idx="19">
                  <c:v>0.14444444444444443</c:v>
                </c:pt>
                <c:pt idx="20">
                  <c:v>0.14285714285714285</c:v>
                </c:pt>
                <c:pt idx="21">
                  <c:v>0.10526315789473684</c:v>
                </c:pt>
                <c:pt idx="22">
                  <c:v>0.1</c:v>
                </c:pt>
                <c:pt idx="23">
                  <c:v>0.10606060606060606</c:v>
                </c:pt>
                <c:pt idx="24">
                  <c:v>0.07575757575757576</c:v>
                </c:pt>
                <c:pt idx="25">
                  <c:v>0.08163265306122448</c:v>
                </c:pt>
                <c:pt idx="26">
                  <c:v>0.1111111111111111</c:v>
                </c:pt>
                <c:pt idx="27">
                  <c:v>0.07692307692307693</c:v>
                </c:pt>
                <c:pt idx="28">
                  <c:v>0.08860759493670886</c:v>
                </c:pt>
                <c:pt idx="29">
                  <c:v>0.08620689655172414</c:v>
                </c:pt>
                <c:pt idx="30">
                  <c:v>0.05970149253731343</c:v>
                </c:pt>
                <c:pt idx="31">
                  <c:v>0.10294117647058823</c:v>
                </c:pt>
                <c:pt idx="32">
                  <c:v>0.1282051282051282</c:v>
                </c:pt>
                <c:pt idx="33">
                  <c:v>0.13541666666666666</c:v>
                </c:pt>
                <c:pt idx="34">
                  <c:v>0.14516129032258066</c:v>
                </c:pt>
                <c:pt idx="35">
                  <c:v>0.16666666666666666</c:v>
                </c:pt>
                <c:pt idx="36">
                  <c:v>0.14545454545454545</c:v>
                </c:pt>
                <c:pt idx="37">
                  <c:v>0.16666666666666666</c:v>
                </c:pt>
                <c:pt idx="38">
                  <c:v>0.125</c:v>
                </c:pt>
                <c:pt idx="39">
                  <c:v>0.14678899082568808</c:v>
                </c:pt>
                <c:pt idx="40">
                  <c:v>0.09876543209876543</c:v>
                </c:pt>
                <c:pt idx="41">
                  <c:v>0.14736842105263157</c:v>
                </c:pt>
                <c:pt idx="42">
                  <c:v>0.14285714285714285</c:v>
                </c:pt>
                <c:pt idx="43">
                  <c:v>0.12264150943396226</c:v>
                </c:pt>
                <c:pt idx="44">
                  <c:v>0.1206896551724138</c:v>
                </c:pt>
                <c:pt idx="45">
                  <c:v>0.09239130434782608</c:v>
                </c:pt>
                <c:pt idx="46">
                  <c:v>0.109375</c:v>
                </c:pt>
                <c:pt idx="47">
                  <c:v>0.11764705882352941</c:v>
                </c:pt>
                <c:pt idx="48">
                  <c:v>0.09146341463414634</c:v>
                </c:pt>
                <c:pt idx="49">
                  <c:v>0.08712121212121213</c:v>
                </c:pt>
                <c:pt idx="50">
                  <c:v>0.09923664122137404</c:v>
                </c:pt>
                <c:pt idx="51">
                  <c:v>0.0935251798561151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9013931955966727</c:v>
                </c:pt>
              </c:numCache>
            </c:numRef>
          </c:xVal>
          <c:yVal>
            <c:numRef>
              <c:f>Sheet1!$B$163:$B$164</c:f>
              <c:numCache>
                <c:formatCode>General</c:formatCode>
                <c:ptCount val="2"/>
                <c:pt idx="0">
                  <c:v>0.21097507761400391</c:v>
                </c:pt>
                <c:pt idx="1">
                  <c:v>0.2109750776140039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9013931955966727</c:v>
                </c:pt>
                <c:pt idx="1">
                  <c:v>-2.9013931955966727</c:v>
                </c:pt>
              </c:numCache>
            </c:numRef>
          </c:xVal>
          <c:yVal>
            <c:numRef>
              <c:f>Sheet1!$B$167:$B$168</c:f>
              <c:numCache>
                <c:formatCode>General</c:formatCode>
                <c:ptCount val="2"/>
                <c:pt idx="0">
                  <c:v>0.210975077614003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618261136074136</c:v>
                </c:pt>
              </c:numCache>
            </c:numRef>
          </c:xVal>
          <c:yVal>
            <c:numRef>
              <c:f>Sheet1!$B$171:$B$172</c:f>
              <c:numCache>
                <c:formatCode>General</c:formatCode>
                <c:ptCount val="2"/>
                <c:pt idx="0">
                  <c:v>0.13094710718460295</c:v>
                </c:pt>
                <c:pt idx="1">
                  <c:v>0.130947107184602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618261136074136</c:v>
                </c:pt>
                <c:pt idx="1">
                  <c:v>0.3618261136074136</c:v>
                </c:pt>
              </c:numCache>
            </c:numRef>
          </c:xVal>
          <c:yVal>
            <c:numRef>
              <c:f>Sheet1!$B$175:$B$176</c:f>
              <c:numCache>
                <c:formatCode>General</c:formatCode>
                <c:ptCount val="2"/>
                <c:pt idx="0">
                  <c:v>0.130947107184602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90905210944941</c:v>
                </c:pt>
              </c:numCache>
            </c:numRef>
          </c:xVal>
          <c:yVal>
            <c:numRef>
              <c:f>Sheet1!$B$179:$B$180</c:f>
              <c:numCache>
                <c:formatCode>General</c:formatCode>
                <c:ptCount val="2"/>
                <c:pt idx="0">
                  <c:v>0.11306699711113902</c:v>
                </c:pt>
                <c:pt idx="1">
                  <c:v>0.1130669971111390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90905210944941</c:v>
                </c:pt>
                <c:pt idx="1">
                  <c:v>1.090905210944941</c:v>
                </c:pt>
              </c:numCache>
            </c:numRef>
          </c:xVal>
          <c:yVal>
            <c:numRef>
              <c:f>Sheet1!$B$183:$B$184</c:f>
              <c:numCache>
                <c:formatCode>General</c:formatCode>
                <c:ptCount val="2"/>
                <c:pt idx="0">
                  <c:v>0.1130669971111390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084614704792765</c:v>
                </c:pt>
                <c:pt idx="1">
                  <c:v>0.7904771371452355</c:v>
                </c:pt>
                <c:pt idx="2">
                  <c:v>0.8523564236572316</c:v>
                </c:pt>
                <c:pt idx="3">
                  <c:v>0.9359607475087641</c:v>
                </c:pt>
                <c:pt idx="4">
                  <c:v>0.8879133312670935</c:v>
                </c:pt>
                <c:pt idx="5">
                  <c:v>0.8506887064586425</c:v>
                </c:pt>
                <c:pt idx="6">
                  <c:v>0.9609517268574735</c:v>
                </c:pt>
                <c:pt idx="7">
                  <c:v>0.9224505735355326</c:v>
                </c:pt>
                <c:pt idx="8">
                  <c:v>0.8276694336460011</c:v>
                </c:pt>
                <c:pt idx="9">
                  <c:v>0.9617450443531638</c:v>
                </c:pt>
                <c:pt idx="10">
                  <c:v>0.9520524571424841</c:v>
                </c:pt>
                <c:pt idx="11">
                  <c:v>0.890585797142351</c:v>
                </c:pt>
                <c:pt idx="12">
                  <c:v>1.1172200497105846</c:v>
                </c:pt>
                <c:pt idx="13">
                  <c:v>0.9352437418329842</c:v>
                </c:pt>
                <c:pt idx="14">
                  <c:v>0.9835567394480975</c:v>
                </c:pt>
                <c:pt idx="15">
                  <c:v>1.044015458160671</c:v>
                </c:pt>
                <c:pt idx="16">
                  <c:v>0.7957481523587934</c:v>
                </c:pt>
                <c:pt idx="17">
                  <c:v>0.8208789078690595</c:v>
                </c:pt>
                <c:pt idx="18">
                  <c:v>0.6950600963686803</c:v>
                </c:pt>
                <c:pt idx="19">
                  <c:v>0.6941892278165708</c:v>
                </c:pt>
                <c:pt idx="20">
                  <c:v>0.8273687495976088</c:v>
                </c:pt>
                <c:pt idx="21">
                  <c:v>0.971516146211571</c:v>
                </c:pt>
                <c:pt idx="22">
                  <c:v>0.4468468468468469</c:v>
                </c:pt>
                <c:pt idx="23">
                  <c:v>0.8529673490217157</c:v>
                </c:pt>
                <c:pt idx="24">
                  <c:v>0.9717102978959795</c:v>
                </c:pt>
                <c:pt idx="25">
                  <c:v>1.1789441764773538</c:v>
                </c:pt>
                <c:pt idx="26">
                  <c:v>1.165546804620574</c:v>
                </c:pt>
                <c:pt idx="27">
                  <c:v>1.1699946645090364</c:v>
                </c:pt>
                <c:pt idx="28">
                  <c:v>1.1257650911518085</c:v>
                </c:pt>
                <c:pt idx="29">
                  <c:v>1.1994907834372635</c:v>
                </c:pt>
                <c:pt idx="30">
                  <c:v>1.3281560654981894</c:v>
                </c:pt>
                <c:pt idx="31">
                  <c:v>1.073322184232694</c:v>
                </c:pt>
                <c:pt idx="32">
                  <c:v>1.1960645125961211</c:v>
                </c:pt>
                <c:pt idx="33">
                  <c:v>1.0752927944907493</c:v>
                </c:pt>
                <c:pt idx="34">
                  <c:v>1.1235407200616303</c:v>
                </c:pt>
                <c:pt idx="35">
                  <c:v>1.0779518795046945</c:v>
                </c:pt>
                <c:pt idx="36">
                  <c:v>1.140669773352828</c:v>
                </c:pt>
                <c:pt idx="37">
                  <c:v>1.1258013056071938</c:v>
                </c:pt>
                <c:pt idx="38">
                  <c:v>1.0179946533454913</c:v>
                </c:pt>
                <c:pt idx="39">
                  <c:v>1.199620489837963</c:v>
                </c:pt>
                <c:pt idx="40">
                  <c:v>1.1255421957961975</c:v>
                </c:pt>
                <c:pt idx="41">
                  <c:v>1.1619647386593133</c:v>
                </c:pt>
                <c:pt idx="42">
                  <c:v>0.9187750579112165</c:v>
                </c:pt>
                <c:pt idx="43">
                  <c:v>0.9421255457770804</c:v>
                </c:pt>
                <c:pt idx="44">
                  <c:v>0.9272911016499481</c:v>
                </c:pt>
                <c:pt idx="45">
                  <c:v>0.9813702287255663</c:v>
                </c:pt>
                <c:pt idx="46">
                  <c:v>0.9816029636893266</c:v>
                </c:pt>
                <c:pt idx="47">
                  <c:v>0.8898981150137898</c:v>
                </c:pt>
                <c:pt idx="48">
                  <c:v>0.8683994211287989</c:v>
                </c:pt>
                <c:pt idx="49">
                  <c:v>0.902422906297893</c:v>
                </c:pt>
                <c:pt idx="50">
                  <c:v>0.9159071643867378</c:v>
                </c:pt>
                <c:pt idx="51">
                  <c:v>0.8932430235890392</c:v>
                </c:pt>
                <c:pt idx="52">
                  <c:v>0.3618261136074136</c:v>
                </c:pt>
                <c:pt idx="53">
                  <c:v>-2.9013931955966727</c:v>
                </c:pt>
                <c:pt idx="54">
                  <c:v>1.090905210944941</c:v>
                </c:pt>
              </c:numCache>
            </c:numRef>
          </c:xVal>
          <c:yVal>
            <c:numRef>
              <c:f>Sheet1!$B$187:$B$241</c:f>
              <c:numCache>
                <c:formatCode>General</c:formatCode>
                <c:ptCount val="55"/>
                <c:pt idx="0">
                  <c:v>0.11508886711094747</c:v>
                </c:pt>
                <c:pt idx="1">
                  <c:v>0.12043476701198239</c:v>
                </c:pt>
                <c:pt idx="2">
                  <c:v>0.11891722459697923</c:v>
                </c:pt>
                <c:pt idx="3">
                  <c:v>0.11686689217277194</c:v>
                </c:pt>
                <c:pt idx="4">
                  <c:v>0.11804521849468114</c:v>
                </c:pt>
                <c:pt idx="5">
                  <c:v>0.11895812409223439</c:v>
                </c:pt>
                <c:pt idx="6">
                  <c:v>0.11625400742099345</c:v>
                </c:pt>
                <c:pt idx="7">
                  <c:v>0.11719821890897267</c:v>
                </c:pt>
                <c:pt idx="8">
                  <c:v>0.11952265424157507</c:v>
                </c:pt>
                <c:pt idx="9">
                  <c:v>0.11623455191308224</c:v>
                </c:pt>
                <c:pt idx="10">
                  <c:v>0.1164722552389031</c:v>
                </c:pt>
                <c:pt idx="11">
                  <c:v>0.11797967830268868</c:v>
                </c:pt>
                <c:pt idx="12">
                  <c:v>0.11242164571454379</c:v>
                </c:pt>
                <c:pt idx="13">
                  <c:v>0.1168844761913689</c:v>
                </c:pt>
                <c:pt idx="14">
                  <c:v>0.1156996366883687</c:v>
                </c:pt>
                <c:pt idx="15">
                  <c:v>0.11421693261767313</c:v>
                </c:pt>
                <c:pt idx="16">
                  <c:v>0.12030549937481998</c:v>
                </c:pt>
                <c:pt idx="17">
                  <c:v>0.11968918671904122</c:v>
                </c:pt>
                <c:pt idx="18">
                  <c:v>0.12277479732995374</c:v>
                </c:pt>
                <c:pt idx="19">
                  <c:v>0.12279615471851157</c:v>
                </c:pt>
                <c:pt idx="20">
                  <c:v>0.11953002828905801</c:v>
                </c:pt>
                <c:pt idx="21">
                  <c:v>0.11599492307527115</c:v>
                </c:pt>
                <c:pt idx="22">
                  <c:v>0.12886203839796634</c:v>
                </c:pt>
                <c:pt idx="23">
                  <c:v>0.11890224211729557</c:v>
                </c:pt>
                <c:pt idx="24">
                  <c:v>0.1159901616529497</c:v>
                </c:pt>
                <c:pt idx="25">
                  <c:v>0.11090790847422438</c:v>
                </c:pt>
                <c:pt idx="26">
                  <c:v>0.1112364688243553</c:v>
                </c:pt>
                <c:pt idx="27">
                  <c:v>0.11112738844516534</c:v>
                </c:pt>
                <c:pt idx="28">
                  <c:v>0.11221208507550018</c:v>
                </c:pt>
                <c:pt idx="29">
                  <c:v>0.11040401857336044</c:v>
                </c:pt>
                <c:pt idx="30">
                  <c:v>0.10724860043795667</c:v>
                </c:pt>
                <c:pt idx="31">
                  <c:v>0.11349820746154918</c:v>
                </c:pt>
                <c:pt idx="32">
                  <c:v>0.11048804525853745</c:v>
                </c:pt>
                <c:pt idx="33">
                  <c:v>0.11344987974449543</c:v>
                </c:pt>
                <c:pt idx="34">
                  <c:v>0.11226663608386382</c:v>
                </c:pt>
                <c:pt idx="35">
                  <c:v>0.11338466770794457</c:v>
                </c:pt>
                <c:pt idx="36">
                  <c:v>0.11184655908615632</c:v>
                </c:pt>
                <c:pt idx="37">
                  <c:v>0.11221119694353904</c:v>
                </c:pt>
                <c:pt idx="38">
                  <c:v>0.11485507305537676</c:v>
                </c:pt>
                <c:pt idx="39">
                  <c:v>0.11040083762258265</c:v>
                </c:pt>
                <c:pt idx="40">
                  <c:v>0.11221755141448554</c:v>
                </c:pt>
                <c:pt idx="41">
                  <c:v>0.11132431626630178</c:v>
                </c:pt>
                <c:pt idx="42">
                  <c:v>0.11728835813279558</c:v>
                </c:pt>
                <c:pt idx="43">
                  <c:v>0.11671570518631089</c:v>
                </c:pt>
                <c:pt idx="44">
                  <c:v>0.11707950864033995</c:v>
                </c:pt>
                <c:pt idx="45">
                  <c:v>0.11575325920002544</c:v>
                </c:pt>
                <c:pt idx="46">
                  <c:v>0.11574755155213762</c:v>
                </c:pt>
                <c:pt idx="47">
                  <c:v>0.11799654318360371</c:v>
                </c:pt>
                <c:pt idx="48">
                  <c:v>0.11852378229181995</c:v>
                </c:pt>
                <c:pt idx="49">
                  <c:v>0.11768938220803228</c:v>
                </c:pt>
                <c:pt idx="50">
                  <c:v>0.11735869103917558</c:v>
                </c:pt>
                <c:pt idx="51">
                  <c:v>0.11791451184608555</c:v>
                </c:pt>
                <c:pt idx="52">
                  <c:v>0.13094710718460295</c:v>
                </c:pt>
                <c:pt idx="53">
                  <c:v>0.21097507761400391</c:v>
                </c:pt>
                <c:pt idx="54">
                  <c:v>0.113066997111139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54362416107382"/>
          <c:min val="0.0457142857142857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1.6667</c:v>
                </c:pt>
                <c:pt idx="1">
                  <c:v>733.1714</c:v>
                </c:pt>
                <c:pt idx="2">
                  <c:v>728.8542</c:v>
                </c:pt>
                <c:pt idx="3">
                  <c:v>725.5682</c:v>
                </c:pt>
                <c:pt idx="4">
                  <c:v>743.4737</c:v>
                </c:pt>
                <c:pt idx="5">
                  <c:v>748.0571</c:v>
                </c:pt>
                <c:pt idx="6">
                  <c:v>697.0606</c:v>
                </c:pt>
                <c:pt idx="7">
                  <c:v>703.1111</c:v>
                </c:pt>
                <c:pt idx="8">
                  <c:v>730.8571</c:v>
                </c:pt>
                <c:pt idx="9">
                  <c:v>733.0</c:v>
                </c:pt>
                <c:pt idx="10">
                  <c:v>690.5588</c:v>
                </c:pt>
                <c:pt idx="11">
                  <c:v>755.9231</c:v>
                </c:pt>
                <c:pt idx="12">
                  <c:v>765.7857</c:v>
                </c:pt>
                <c:pt idx="13">
                  <c:v>754.2353</c:v>
                </c:pt>
                <c:pt idx="14">
                  <c:v>719.8667</c:v>
                </c:pt>
                <c:pt idx="15">
                  <c:v>742.0</c:v>
                </c:pt>
                <c:pt idx="16">
                  <c:v>741.5909</c:v>
                </c:pt>
                <c:pt idx="17">
                  <c:v>739.7222</c:v>
                </c:pt>
                <c:pt idx="18">
                  <c:v>790.9048</c:v>
                </c:pt>
                <c:pt idx="19">
                  <c:v>807.381</c:v>
                </c:pt>
                <c:pt idx="20">
                  <c:v>818.0</c:v>
                </c:pt>
                <c:pt idx="21">
                  <c:v>837.4286</c:v>
                </c:pt>
                <c:pt idx="22">
                  <c:v>767.7692</c:v>
                </c:pt>
                <c:pt idx="23">
                  <c:v>810.4615</c:v>
                </c:pt>
                <c:pt idx="24">
                  <c:v>797.9474</c:v>
                </c:pt>
                <c:pt idx="25">
                  <c:v>789.2941</c:v>
                </c:pt>
                <c:pt idx="26">
                  <c:v>799.7778</c:v>
                </c:pt>
                <c:pt idx="27">
                  <c:v>815.1053</c:v>
                </c:pt>
                <c:pt idx="28">
                  <c:v>756.6111</c:v>
                </c:pt>
                <c:pt idx="29">
                  <c:v>776.96</c:v>
                </c:pt>
                <c:pt idx="30">
                  <c:v>802.3571</c:v>
                </c:pt>
                <c:pt idx="31">
                  <c:v>768.7895</c:v>
                </c:pt>
                <c:pt idx="32">
                  <c:v>782.6667</c:v>
                </c:pt>
                <c:pt idx="33">
                  <c:v>790.4783</c:v>
                </c:pt>
                <c:pt idx="34">
                  <c:v>779.7241</c:v>
                </c:pt>
                <c:pt idx="35">
                  <c:v>822.9259</c:v>
                </c:pt>
                <c:pt idx="36">
                  <c:v>868.9</c:v>
                </c:pt>
                <c:pt idx="37">
                  <c:v>879.5714</c:v>
                </c:pt>
                <c:pt idx="38">
                  <c:v>877.0667</c:v>
                </c:pt>
                <c:pt idx="39">
                  <c:v>890.2143</c:v>
                </c:pt>
                <c:pt idx="40">
                  <c:v>879.72</c:v>
                </c:pt>
                <c:pt idx="41">
                  <c:v>890.0476</c:v>
                </c:pt>
                <c:pt idx="42">
                  <c:v>901.7895</c:v>
                </c:pt>
                <c:pt idx="43">
                  <c:v>862.0952</c:v>
                </c:pt>
                <c:pt idx="44">
                  <c:v>836.225</c:v>
                </c:pt>
                <c:pt idx="45">
                  <c:v>858.825</c:v>
                </c:pt>
                <c:pt idx="46">
                  <c:v>868.1429</c:v>
                </c:pt>
                <c:pt idx="47">
                  <c:v>851.5455</c:v>
                </c:pt>
                <c:pt idx="48">
                  <c:v>837.8529</c:v>
                </c:pt>
                <c:pt idx="49">
                  <c:v>851.0349</c:v>
                </c:pt>
                <c:pt idx="50">
                  <c:v>847.5806</c:v>
                </c:pt>
                <c:pt idx="51">
                  <c:v>876.0</c:v>
                </c:pt>
                <c:pt idx="52">
                  <c:v>850.8182</c:v>
                </c:pt>
                <c:pt idx="53">
                  <c:v>892.1304</c:v>
                </c:pt>
                <c:pt idx="54">
                  <c:v>874.7059</c:v>
                </c:pt>
                <c:pt idx="55">
                  <c:v>871.4444</c:v>
                </c:pt>
                <c:pt idx="56">
                  <c:v>884.55</c:v>
                </c:pt>
                <c:pt idx="57">
                  <c:v>891.3636</c:v>
                </c:pt>
                <c:pt idx="58">
                  <c:v>785.8077</c:v>
                </c:pt>
                <c:pt idx="59">
                  <c:v>816.2188</c:v>
                </c:pt>
                <c:pt idx="60">
                  <c:v>863.1379</c:v>
                </c:pt>
                <c:pt idx="61">
                  <c:v>810.8261</c:v>
                </c:pt>
                <c:pt idx="62">
                  <c:v>769.0455</c:v>
                </c:pt>
                <c:pt idx="63">
                  <c:v>780.5714</c:v>
                </c:pt>
                <c:pt idx="64">
                  <c:v>813.4286</c:v>
                </c:pt>
                <c:pt idx="65">
                  <c:v>817.72</c:v>
                </c:pt>
                <c:pt idx="66">
                  <c:v>759.4348</c:v>
                </c:pt>
                <c:pt idx="67">
                  <c:v>605.2381</c:v>
                </c:pt>
                <c:pt idx="68">
                  <c:v>639.25</c:v>
                </c:pt>
                <c:pt idx="69">
                  <c:v>530.2222</c:v>
                </c:pt>
                <c:pt idx="70">
                  <c:v>621.2857</c:v>
                </c:pt>
                <c:pt idx="71">
                  <c:v>702.5714</c:v>
                </c:pt>
                <c:pt idx="72">
                  <c:v>200.2344</c:v>
                </c:pt>
                <c:pt idx="73">
                  <c:v>384.4848</c:v>
                </c:pt>
                <c:pt idx="74">
                  <c:v>717.1429</c:v>
                </c:pt>
                <c:pt idx="75">
                  <c:v>875.7692</c:v>
                </c:pt>
                <c:pt idx="76">
                  <c:v>907.4167</c:v>
                </c:pt>
                <c:pt idx="77">
                  <c:v>917.2</c:v>
                </c:pt>
                <c:pt idx="78">
                  <c:v>870.1429</c:v>
                </c:pt>
                <c:pt idx="79">
                  <c:v>1029.8571</c:v>
                </c:pt>
                <c:pt idx="80">
                  <c:v>1057.0</c:v>
                </c:pt>
                <c:pt idx="81">
                  <c:v>962.3333</c:v>
                </c:pt>
                <c:pt idx="82">
                  <c:v>853.0</c:v>
                </c:pt>
                <c:pt idx="83">
                  <c:v>692.0</c:v>
                </c:pt>
                <c:pt idx="84">
                  <c:v>1005.75</c:v>
                </c:pt>
                <c:pt idx="85">
                  <c:v>932.2857</c:v>
                </c:pt>
                <c:pt idx="86">
                  <c:v>912.2857</c:v>
                </c:pt>
                <c:pt idx="87">
                  <c:v>830.9286</c:v>
                </c:pt>
                <c:pt idx="88">
                  <c:v>905.7143</c:v>
                </c:pt>
                <c:pt idx="89">
                  <c:v>521.5455</c:v>
                </c:pt>
                <c:pt idx="90">
                  <c:v>416.8667</c:v>
                </c:pt>
                <c:pt idx="91">
                  <c:v>415.4375</c:v>
                </c:pt>
                <c:pt idx="92">
                  <c:v>678.7857</c:v>
                </c:pt>
                <c:pt idx="93">
                  <c:v>804.2222</c:v>
                </c:pt>
                <c:pt idx="94">
                  <c:v>511.8667</c:v>
                </c:pt>
                <c:pt idx="95">
                  <c:v>545.9231</c:v>
                </c:pt>
                <c:pt idx="96">
                  <c:v>923.9286</c:v>
                </c:pt>
                <c:pt idx="97">
                  <c:v>920.7778</c:v>
                </c:pt>
                <c:pt idx="98">
                  <c:v>861.15</c:v>
                </c:pt>
                <c:pt idx="99">
                  <c:v>888.4444</c:v>
                </c:pt>
                <c:pt idx="100">
                  <c:v>858.8</c:v>
                </c:pt>
                <c:pt idx="101">
                  <c:v>866.35</c:v>
                </c:pt>
                <c:pt idx="102">
                  <c:v>755.9231</c:v>
                </c:pt>
                <c:pt idx="103">
                  <c:v>913.5</c:v>
                </c:pt>
                <c:pt idx="104">
                  <c:v>912.4615</c:v>
                </c:pt>
              </c:numCache>
            </c:numRef>
          </c:xVal>
          <c:yVal>
            <c:numRef>
              <c:f>Sheet1!$B$2:$B$106</c:f>
              <c:numCache>
                <c:formatCode>General</c:formatCode>
                <c:ptCount val="105"/>
                <c:pt idx="0">
                  <c:v>0.19672131147540983</c:v>
                </c:pt>
                <c:pt idx="1">
                  <c:v>0.19230769230769232</c:v>
                </c:pt>
                <c:pt idx="2">
                  <c:v>0.24742268041237114</c:v>
                </c:pt>
                <c:pt idx="3">
                  <c:v>0.2391304347826087</c:v>
                </c:pt>
                <c:pt idx="4">
                  <c:v>0.2375</c:v>
                </c:pt>
                <c:pt idx="5">
                  <c:v>0.2229299363057325</c:v>
                </c:pt>
                <c:pt idx="6">
                  <c:v>0.17010309278350516</c:v>
                </c:pt>
                <c:pt idx="7">
                  <c:v>0.2</c:v>
                </c:pt>
                <c:pt idx="8">
                  <c:v>0.1926605504587156</c:v>
                </c:pt>
                <c:pt idx="9">
                  <c:v>0.1643835616438356</c:v>
                </c:pt>
                <c:pt idx="10">
                  <c:v>0.1708542713567839</c:v>
                </c:pt>
                <c:pt idx="11">
                  <c:v>0.15204678362573099</c:v>
                </c:pt>
                <c:pt idx="12">
                  <c:v>0.1686746987951807</c:v>
                </c:pt>
                <c:pt idx="13">
                  <c:v>0.2073170731707317</c:v>
                </c:pt>
                <c:pt idx="14">
                  <c:v>0.17857142857142858</c:v>
                </c:pt>
                <c:pt idx="15">
                  <c:v>0.16</c:v>
                </c:pt>
                <c:pt idx="16">
                  <c:v>0.176</c:v>
                </c:pt>
                <c:pt idx="17">
                  <c:v>0.16822429906542055</c:v>
                </c:pt>
                <c:pt idx="18">
                  <c:v>0.18421052631578946</c:v>
                </c:pt>
                <c:pt idx="19">
                  <c:v>0.21428571428571427</c:v>
                </c:pt>
                <c:pt idx="20">
                  <c:v>0.176056338028169</c:v>
                </c:pt>
                <c:pt idx="21">
                  <c:v>0.18181818181818182</c:v>
                </c:pt>
                <c:pt idx="22">
                  <c:v>0.15294117647058825</c:v>
                </c:pt>
                <c:pt idx="23">
                  <c:v>0.14772727272727273</c:v>
                </c:pt>
                <c:pt idx="24">
                  <c:v>0.19</c:v>
                </c:pt>
                <c:pt idx="25">
                  <c:v>0.18681318681318682</c:v>
                </c:pt>
                <c:pt idx="26">
                  <c:v>0.16363636363636364</c:v>
                </c:pt>
                <c:pt idx="27">
                  <c:v>0.1792452830188679</c:v>
                </c:pt>
                <c:pt idx="28">
                  <c:v>0.1592920353982301</c:v>
                </c:pt>
                <c:pt idx="29">
                  <c:v>0.18518518518518517</c:v>
                </c:pt>
                <c:pt idx="30">
                  <c:v>0.14285714285714285</c:v>
                </c:pt>
                <c:pt idx="31">
                  <c:v>0.18269230769230768</c:v>
                </c:pt>
                <c:pt idx="32">
                  <c:v>0.15384615384615385</c:v>
                </c:pt>
                <c:pt idx="33">
                  <c:v>0.1393939393939394</c:v>
                </c:pt>
                <c:pt idx="34">
                  <c:v>0.15675675675675677</c:v>
                </c:pt>
                <c:pt idx="35">
                  <c:v>0.16981132075471697</c:v>
                </c:pt>
                <c:pt idx="36">
                  <c:v>0.1111111111111111</c:v>
                </c:pt>
                <c:pt idx="37">
                  <c:v>0.13725490196078433</c:v>
                </c:pt>
                <c:pt idx="38">
                  <c:v>0.14705882352941177</c:v>
                </c:pt>
                <c:pt idx="39">
                  <c:v>0.12727272727272726</c:v>
                </c:pt>
                <c:pt idx="40">
                  <c:v>0.16233766233766234</c:v>
                </c:pt>
                <c:pt idx="41">
                  <c:v>0.1810344827586207</c:v>
                </c:pt>
                <c:pt idx="42">
                  <c:v>0.1357142857142857</c:v>
                </c:pt>
                <c:pt idx="43">
                  <c:v>0.1390728476821192</c:v>
                </c:pt>
                <c:pt idx="44">
                  <c:v>0.20833333333333334</c:v>
                </c:pt>
                <c:pt idx="45">
                  <c:v>0.18099547511312217</c:v>
                </c:pt>
                <c:pt idx="46">
                  <c:v>0.1721311475409836</c:v>
                </c:pt>
                <c:pt idx="47">
                  <c:v>0.19130434782608696</c:v>
                </c:pt>
                <c:pt idx="48">
                  <c:v>0.19540229885057472</c:v>
                </c:pt>
                <c:pt idx="49">
                  <c:v>0.2222222222222222</c:v>
                </c:pt>
                <c:pt idx="50">
                  <c:v>0.18902439024390244</c:v>
                </c:pt>
                <c:pt idx="51">
                  <c:v>0.15333333333333332</c:v>
                </c:pt>
                <c:pt idx="52">
                  <c:v>0.1683673469387755</c:v>
                </c:pt>
                <c:pt idx="53">
                  <c:v>0.1402439024390244</c:v>
                </c:pt>
                <c:pt idx="54">
                  <c:v>0.13709677419354838</c:v>
                </c:pt>
                <c:pt idx="55">
                  <c:v>0.14634146341463414</c:v>
                </c:pt>
                <c:pt idx="56">
                  <c:v>0.14925373134328357</c:v>
                </c:pt>
                <c:pt idx="57">
                  <c:v>0.13580246913580246</c:v>
                </c:pt>
                <c:pt idx="58">
                  <c:v>0.13</c:v>
                </c:pt>
                <c:pt idx="59">
                  <c:v>0.14746543778801843</c:v>
                </c:pt>
                <c:pt idx="60">
                  <c:v>0.1277533039647577</c:v>
                </c:pt>
                <c:pt idx="61">
                  <c:v>0.1377245508982036</c:v>
                </c:pt>
                <c:pt idx="62">
                  <c:v>0.11702127659574468</c:v>
                </c:pt>
                <c:pt idx="63">
                  <c:v>0.16908212560386474</c:v>
                </c:pt>
                <c:pt idx="64">
                  <c:v>0.16</c:v>
                </c:pt>
                <c:pt idx="65">
                  <c:v>0.16339869281045752</c:v>
                </c:pt>
                <c:pt idx="66">
                  <c:v>0.14285714285714285</c:v>
                </c:pt>
                <c:pt idx="67">
                  <c:v>0.1320754716981132</c:v>
                </c:pt>
                <c:pt idx="68">
                  <c:v>0.17391304347826086</c:v>
                </c:pt>
                <c:pt idx="69">
                  <c:v>0.18181818181818182</c:v>
                </c:pt>
                <c:pt idx="70">
                  <c:v>0.14583333333333334</c:v>
                </c:pt>
                <c:pt idx="71">
                  <c:v>0.14583333333333334</c:v>
                </c:pt>
                <c:pt idx="72">
                  <c:v>0.42953020134228187</c:v>
                </c:pt>
                <c:pt idx="73">
                  <c:v>0.2894736842105263</c:v>
                </c:pt>
                <c:pt idx="74">
                  <c:v>0.1320754716981132</c:v>
                </c:pt>
                <c:pt idx="75">
                  <c:v>0.1326530612244898</c:v>
                </c:pt>
                <c:pt idx="76">
                  <c:v>0.13953488372093023</c:v>
                </c:pt>
                <c:pt idx="77">
                  <c:v>0.12048192771084337</c:v>
                </c:pt>
                <c:pt idx="78">
                  <c:v>0.1044776119402985</c:v>
                </c:pt>
                <c:pt idx="79">
                  <c:v>0.08536585365853659</c:v>
                </c:pt>
                <c:pt idx="80">
                  <c:v>0.09090909090909091</c:v>
                </c:pt>
                <c:pt idx="81">
                  <c:v>0.10843373493975904</c:v>
                </c:pt>
                <c:pt idx="82">
                  <c:v>0.06060606060606061</c:v>
                </c:pt>
                <c:pt idx="83">
                  <c:v>0.08064516129032258</c:v>
                </c:pt>
                <c:pt idx="84">
                  <c:v>0.05714285714285714</c:v>
                </c:pt>
                <c:pt idx="85">
                  <c:v>0.09210526315789473</c:v>
                </c:pt>
                <c:pt idx="86">
                  <c:v>0.13725490196078433</c:v>
                </c:pt>
                <c:pt idx="87">
                  <c:v>0.13333333333333333</c:v>
                </c:pt>
                <c:pt idx="88">
                  <c:v>0.11290322580645161</c:v>
                </c:pt>
                <c:pt idx="89">
                  <c:v>0.16923076923076924</c:v>
                </c:pt>
                <c:pt idx="90">
                  <c:v>0.19230769230769232</c:v>
                </c:pt>
                <c:pt idx="91">
                  <c:v>0.19047619047619047</c:v>
                </c:pt>
                <c:pt idx="92">
                  <c:v>0.15053763440860216</c:v>
                </c:pt>
                <c:pt idx="93">
                  <c:v>0.10975609756097561</c:v>
                </c:pt>
                <c:pt idx="94">
                  <c:v>0.16666666666666666</c:v>
                </c:pt>
                <c:pt idx="95">
                  <c:v>0.12149532710280374</c:v>
                </c:pt>
                <c:pt idx="96">
                  <c:v>0.09395973154362416</c:v>
                </c:pt>
                <c:pt idx="97">
                  <c:v>0.10465116279069768</c:v>
                </c:pt>
                <c:pt idx="98">
                  <c:v>0.10256410256410256</c:v>
                </c:pt>
                <c:pt idx="99">
                  <c:v>0.11392405063291139</c:v>
                </c:pt>
                <c:pt idx="100">
                  <c:v>0.14084507042253522</c:v>
                </c:pt>
                <c:pt idx="101">
                  <c:v>0.13245033112582782</c:v>
                </c:pt>
                <c:pt idx="102">
                  <c:v>0.10743801652892562</c:v>
                </c:pt>
                <c:pt idx="103">
                  <c:v>0.12403100775193798</c:v>
                </c:pt>
                <c:pt idx="104">
                  <c:v>0.120370370370370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92.3333</c:v>
                </c:pt>
                <c:pt idx="1">
                  <c:v>743.5556</c:v>
                </c:pt>
                <c:pt idx="2">
                  <c:v>794.75</c:v>
                </c:pt>
                <c:pt idx="3">
                  <c:v>881.5833</c:v>
                </c:pt>
                <c:pt idx="4">
                  <c:v>808.4545</c:v>
                </c:pt>
                <c:pt idx="5">
                  <c:v>803.8235</c:v>
                </c:pt>
                <c:pt idx="6">
                  <c:v>863.15</c:v>
                </c:pt>
                <c:pt idx="7">
                  <c:v>803.8333</c:v>
                </c:pt>
                <c:pt idx="8">
                  <c:v>828.3636</c:v>
                </c:pt>
                <c:pt idx="9">
                  <c:v>888.125</c:v>
                </c:pt>
                <c:pt idx="10">
                  <c:v>787.5714</c:v>
                </c:pt>
                <c:pt idx="11">
                  <c:v>740.9412</c:v>
                </c:pt>
                <c:pt idx="12">
                  <c:v>925.7692</c:v>
                </c:pt>
                <c:pt idx="13">
                  <c:v>821.4286</c:v>
                </c:pt>
                <c:pt idx="14">
                  <c:v>928.6667</c:v>
                </c:pt>
                <c:pt idx="15">
                  <c:v>911.9</c:v>
                </c:pt>
                <c:pt idx="16">
                  <c:v>721.2222</c:v>
                </c:pt>
                <c:pt idx="17">
                  <c:v>790.2222</c:v>
                </c:pt>
                <c:pt idx="18">
                  <c:v>649.4</c:v>
                </c:pt>
                <c:pt idx="19">
                  <c:v>680.0</c:v>
                </c:pt>
                <c:pt idx="20">
                  <c:v>870.0</c:v>
                </c:pt>
                <c:pt idx="21">
                  <c:v>1003.3333</c:v>
                </c:pt>
                <c:pt idx="22">
                  <c:v>421.6</c:v>
                </c:pt>
                <c:pt idx="23">
                  <c:v>734.4286</c:v>
                </c:pt>
                <c:pt idx="24">
                  <c:v>874.6</c:v>
                </c:pt>
                <c:pt idx="25">
                  <c:v>1085.5</c:v>
                </c:pt>
                <c:pt idx="26">
                  <c:v>1046.5714</c:v>
                </c:pt>
                <c:pt idx="27">
                  <c:v>1098.4</c:v>
                </c:pt>
                <c:pt idx="28">
                  <c:v>1079.4286</c:v>
                </c:pt>
                <c:pt idx="29">
                  <c:v>1110.6</c:v>
                </c:pt>
                <c:pt idx="30">
                  <c:v>1150.0</c:v>
                </c:pt>
                <c:pt idx="31">
                  <c:v>866.4286</c:v>
                </c:pt>
                <c:pt idx="32">
                  <c:v>1063.7</c:v>
                </c:pt>
                <c:pt idx="33">
                  <c:v>1065.4615</c:v>
                </c:pt>
                <c:pt idx="34">
                  <c:v>1049.7778</c:v>
                </c:pt>
                <c:pt idx="35">
                  <c:v>1084.8</c:v>
                </c:pt>
                <c:pt idx="36">
                  <c:v>1053.375</c:v>
                </c:pt>
                <c:pt idx="37">
                  <c:v>1041.6364</c:v>
                </c:pt>
                <c:pt idx="38">
                  <c:v>1017.375</c:v>
                </c:pt>
                <c:pt idx="39">
                  <c:v>1021.5625</c:v>
                </c:pt>
                <c:pt idx="40">
                  <c:v>1038.0</c:v>
                </c:pt>
                <c:pt idx="41">
                  <c:v>1043.0</c:v>
                </c:pt>
                <c:pt idx="42">
                  <c:v>1019.5</c:v>
                </c:pt>
                <c:pt idx="43">
                  <c:v>1066.5385</c:v>
                </c:pt>
                <c:pt idx="44">
                  <c:v>1049.4286</c:v>
                </c:pt>
                <c:pt idx="45">
                  <c:v>1062.3529</c:v>
                </c:pt>
                <c:pt idx="46">
                  <c:v>1039.0714</c:v>
                </c:pt>
                <c:pt idx="47">
                  <c:v>976.0625</c:v>
                </c:pt>
                <c:pt idx="48">
                  <c:v>937.6</c:v>
                </c:pt>
                <c:pt idx="49">
                  <c:v>967.913</c:v>
                </c:pt>
                <c:pt idx="50">
                  <c:v>987.5769</c:v>
                </c:pt>
                <c:pt idx="51">
                  <c:v>957.8462</c:v>
                </c:pt>
              </c:numCache>
            </c:numRef>
          </c:xVal>
          <c:yVal>
            <c:numRef>
              <c:f>Sheet1!$B$109:$B$160</c:f>
              <c:numCache>
                <c:formatCode>General</c:formatCode>
                <c:ptCount val="52"/>
                <c:pt idx="0">
                  <c:v>0.11904761904761904</c:v>
                </c:pt>
                <c:pt idx="1">
                  <c:v>0.13432835820895522</c:v>
                </c:pt>
                <c:pt idx="2">
                  <c:v>0.136986301369863</c:v>
                </c:pt>
                <c:pt idx="3">
                  <c:v>0.08955223880597014</c:v>
                </c:pt>
                <c:pt idx="4">
                  <c:v>0.09166666666666666</c:v>
                </c:pt>
                <c:pt idx="5">
                  <c:v>0.11643835616438356</c:v>
                </c:pt>
                <c:pt idx="6">
                  <c:v>0.11627906976744186</c:v>
                </c:pt>
                <c:pt idx="7">
                  <c:v>0.14634146341463414</c:v>
                </c:pt>
                <c:pt idx="8">
                  <c:v>0.11956521739130435</c:v>
                </c:pt>
                <c:pt idx="9">
                  <c:v>0.08080808080808081</c:v>
                </c:pt>
                <c:pt idx="10">
                  <c:v>0.11666666666666667</c:v>
                </c:pt>
                <c:pt idx="11">
                  <c:v>0.12686567164179105</c:v>
                </c:pt>
                <c:pt idx="12">
                  <c:v>0.11607142857142858</c:v>
                </c:pt>
                <c:pt idx="13">
                  <c:v>0.13592233009708737</c:v>
                </c:pt>
                <c:pt idx="14">
                  <c:v>0.09574468085106383</c:v>
                </c:pt>
                <c:pt idx="15">
                  <c:v>0.10869565217391304</c:v>
                </c:pt>
                <c:pt idx="16">
                  <c:v>0.1125</c:v>
                </c:pt>
                <c:pt idx="17">
                  <c:v>0.1232876712328767</c:v>
                </c:pt>
                <c:pt idx="18">
                  <c:v>0.17647058823529413</c:v>
                </c:pt>
                <c:pt idx="19">
                  <c:v>0.14444444444444443</c:v>
                </c:pt>
                <c:pt idx="20">
                  <c:v>0.14285714285714285</c:v>
                </c:pt>
                <c:pt idx="21">
                  <c:v>0.10526315789473684</c:v>
                </c:pt>
                <c:pt idx="22">
                  <c:v>0.1</c:v>
                </c:pt>
                <c:pt idx="23">
                  <c:v>0.10606060606060606</c:v>
                </c:pt>
                <c:pt idx="24">
                  <c:v>0.07575757575757576</c:v>
                </c:pt>
                <c:pt idx="25">
                  <c:v>0.08163265306122448</c:v>
                </c:pt>
                <c:pt idx="26">
                  <c:v>0.1111111111111111</c:v>
                </c:pt>
                <c:pt idx="27">
                  <c:v>0.07692307692307693</c:v>
                </c:pt>
                <c:pt idx="28">
                  <c:v>0.08860759493670886</c:v>
                </c:pt>
                <c:pt idx="29">
                  <c:v>0.08620689655172414</c:v>
                </c:pt>
                <c:pt idx="30">
                  <c:v>0.05970149253731343</c:v>
                </c:pt>
                <c:pt idx="31">
                  <c:v>0.10294117647058823</c:v>
                </c:pt>
                <c:pt idx="32">
                  <c:v>0.1282051282051282</c:v>
                </c:pt>
                <c:pt idx="33">
                  <c:v>0.13541666666666666</c:v>
                </c:pt>
                <c:pt idx="34">
                  <c:v>0.14516129032258066</c:v>
                </c:pt>
                <c:pt idx="35">
                  <c:v>0.16666666666666666</c:v>
                </c:pt>
                <c:pt idx="36">
                  <c:v>0.14545454545454545</c:v>
                </c:pt>
                <c:pt idx="37">
                  <c:v>0.16666666666666666</c:v>
                </c:pt>
                <c:pt idx="38">
                  <c:v>0.125</c:v>
                </c:pt>
                <c:pt idx="39">
                  <c:v>0.14678899082568808</c:v>
                </c:pt>
                <c:pt idx="40">
                  <c:v>0.09876543209876543</c:v>
                </c:pt>
                <c:pt idx="41">
                  <c:v>0.14736842105263157</c:v>
                </c:pt>
                <c:pt idx="42">
                  <c:v>0.14285714285714285</c:v>
                </c:pt>
                <c:pt idx="43">
                  <c:v>0.12264150943396226</c:v>
                </c:pt>
                <c:pt idx="44">
                  <c:v>0.1206896551724138</c:v>
                </c:pt>
                <c:pt idx="45">
                  <c:v>0.09239130434782608</c:v>
                </c:pt>
                <c:pt idx="46">
                  <c:v>0.109375</c:v>
                </c:pt>
                <c:pt idx="47">
                  <c:v>0.11764705882352941</c:v>
                </c:pt>
                <c:pt idx="48">
                  <c:v>0.09146341463414634</c:v>
                </c:pt>
                <c:pt idx="49">
                  <c:v>0.08712121212121213</c:v>
                </c:pt>
                <c:pt idx="50">
                  <c:v>0.09923664122137404</c:v>
                </c:pt>
                <c:pt idx="51">
                  <c:v>0.0935251798561151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580.9795278469037</c:v>
                </c:pt>
              </c:numCache>
            </c:numRef>
          </c:xVal>
          <c:yVal>
            <c:numRef>
              <c:f>Sheet1!$B$163:$B$164</c:f>
              <c:numCache>
                <c:formatCode>General</c:formatCode>
                <c:ptCount val="2"/>
                <c:pt idx="0">
                  <c:v>0.21097507761400391</c:v>
                </c:pt>
                <c:pt idx="1">
                  <c:v>0.2109750776140039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580.9795278469037</c:v>
                </c:pt>
                <c:pt idx="1">
                  <c:v>-2580.9795278469037</c:v>
                </c:pt>
              </c:numCache>
            </c:numRef>
          </c:xVal>
          <c:yVal>
            <c:numRef>
              <c:f>Sheet1!$B$167:$B$168</c:f>
              <c:numCache>
                <c:formatCode>General</c:formatCode>
                <c:ptCount val="2"/>
                <c:pt idx="0">
                  <c:v>0.210975077614003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71.14142970130933</c:v>
                </c:pt>
              </c:numCache>
            </c:numRef>
          </c:xVal>
          <c:yVal>
            <c:numRef>
              <c:f>Sheet1!$B$171:$B$172</c:f>
              <c:numCache>
                <c:formatCode>General</c:formatCode>
                <c:ptCount val="2"/>
                <c:pt idx="0">
                  <c:v>0.13094710718460295</c:v>
                </c:pt>
                <c:pt idx="1">
                  <c:v>0.130947107184602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71.14142970130933</c:v>
                </c:pt>
                <c:pt idx="1">
                  <c:v>371.14142970130933</c:v>
                </c:pt>
              </c:numCache>
            </c:numRef>
          </c:xVal>
          <c:yVal>
            <c:numRef>
              <c:f>Sheet1!$B$175:$B$176</c:f>
              <c:numCache>
                <c:formatCode>General</c:formatCode>
                <c:ptCount val="2"/>
                <c:pt idx="0">
                  <c:v>0.130947107184602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30.713919018741</c:v>
                </c:pt>
              </c:numCache>
            </c:numRef>
          </c:xVal>
          <c:yVal>
            <c:numRef>
              <c:f>Sheet1!$B$179:$B$180</c:f>
              <c:numCache>
                <c:formatCode>General</c:formatCode>
                <c:ptCount val="2"/>
                <c:pt idx="0">
                  <c:v>0.11306699711113902</c:v>
                </c:pt>
                <c:pt idx="1">
                  <c:v>0.1130669971111390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30.713919018741</c:v>
                </c:pt>
                <c:pt idx="1">
                  <c:v>1030.713919018741</c:v>
                </c:pt>
              </c:numCache>
            </c:numRef>
          </c:xVal>
          <c:yVal>
            <c:numRef>
              <c:f>Sheet1!$B$183:$B$184</c:f>
              <c:numCache>
                <c:formatCode>General</c:formatCode>
                <c:ptCount val="2"/>
                <c:pt idx="0">
                  <c:v>0.1130669971111390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92.3333</c:v>
                </c:pt>
                <c:pt idx="1">
                  <c:v>743.5556</c:v>
                </c:pt>
                <c:pt idx="2">
                  <c:v>794.75</c:v>
                </c:pt>
                <c:pt idx="3">
                  <c:v>881.5833</c:v>
                </c:pt>
                <c:pt idx="4">
                  <c:v>808.4545</c:v>
                </c:pt>
                <c:pt idx="5">
                  <c:v>803.8235</c:v>
                </c:pt>
                <c:pt idx="6">
                  <c:v>863.15</c:v>
                </c:pt>
                <c:pt idx="7">
                  <c:v>803.8333</c:v>
                </c:pt>
                <c:pt idx="8">
                  <c:v>828.3636</c:v>
                </c:pt>
                <c:pt idx="9">
                  <c:v>888.125</c:v>
                </c:pt>
                <c:pt idx="10">
                  <c:v>787.5714</c:v>
                </c:pt>
                <c:pt idx="11">
                  <c:v>740.9412</c:v>
                </c:pt>
                <c:pt idx="12">
                  <c:v>925.7692</c:v>
                </c:pt>
                <c:pt idx="13">
                  <c:v>821.4286</c:v>
                </c:pt>
                <c:pt idx="14">
                  <c:v>928.6667</c:v>
                </c:pt>
                <c:pt idx="15">
                  <c:v>911.9</c:v>
                </c:pt>
                <c:pt idx="16">
                  <c:v>721.2222</c:v>
                </c:pt>
                <c:pt idx="17">
                  <c:v>790.2222</c:v>
                </c:pt>
                <c:pt idx="18">
                  <c:v>649.4</c:v>
                </c:pt>
                <c:pt idx="19">
                  <c:v>680.0</c:v>
                </c:pt>
                <c:pt idx="20">
                  <c:v>870.0</c:v>
                </c:pt>
                <c:pt idx="21">
                  <c:v>1003.3333</c:v>
                </c:pt>
                <c:pt idx="22">
                  <c:v>421.6</c:v>
                </c:pt>
                <c:pt idx="23">
                  <c:v>734.4286</c:v>
                </c:pt>
                <c:pt idx="24">
                  <c:v>874.6</c:v>
                </c:pt>
                <c:pt idx="25">
                  <c:v>1085.5</c:v>
                </c:pt>
                <c:pt idx="26">
                  <c:v>1046.5714</c:v>
                </c:pt>
                <c:pt idx="27">
                  <c:v>1098.4</c:v>
                </c:pt>
                <c:pt idx="28">
                  <c:v>1079.4286</c:v>
                </c:pt>
                <c:pt idx="29">
                  <c:v>1110.6</c:v>
                </c:pt>
                <c:pt idx="30">
                  <c:v>1150.0</c:v>
                </c:pt>
                <c:pt idx="31">
                  <c:v>866.4286</c:v>
                </c:pt>
                <c:pt idx="32">
                  <c:v>1063.7</c:v>
                </c:pt>
                <c:pt idx="33">
                  <c:v>1065.4615</c:v>
                </c:pt>
                <c:pt idx="34">
                  <c:v>1049.7778</c:v>
                </c:pt>
                <c:pt idx="35">
                  <c:v>1084.8</c:v>
                </c:pt>
                <c:pt idx="36">
                  <c:v>1053.375</c:v>
                </c:pt>
                <c:pt idx="37">
                  <c:v>1041.6364</c:v>
                </c:pt>
                <c:pt idx="38">
                  <c:v>1017.375</c:v>
                </c:pt>
                <c:pt idx="39">
                  <c:v>1021.5625</c:v>
                </c:pt>
                <c:pt idx="40">
                  <c:v>1038.0</c:v>
                </c:pt>
                <c:pt idx="41">
                  <c:v>1043.0</c:v>
                </c:pt>
                <c:pt idx="42">
                  <c:v>1019.5</c:v>
                </c:pt>
                <c:pt idx="43">
                  <c:v>1066.5385</c:v>
                </c:pt>
                <c:pt idx="44">
                  <c:v>1049.4286</c:v>
                </c:pt>
                <c:pt idx="45">
                  <c:v>1062.3529</c:v>
                </c:pt>
                <c:pt idx="46">
                  <c:v>1039.0714</c:v>
                </c:pt>
                <c:pt idx="47">
                  <c:v>976.0625</c:v>
                </c:pt>
                <c:pt idx="48">
                  <c:v>937.6</c:v>
                </c:pt>
                <c:pt idx="49">
                  <c:v>967.913</c:v>
                </c:pt>
                <c:pt idx="50">
                  <c:v>987.5769</c:v>
                </c:pt>
                <c:pt idx="51">
                  <c:v>957.8462</c:v>
                </c:pt>
                <c:pt idx="52">
                  <c:v>371.14142970130933</c:v>
                </c:pt>
                <c:pt idx="53">
                  <c:v>-2580.9795278469037</c:v>
                </c:pt>
                <c:pt idx="54">
                  <c:v>1030.713919018741</c:v>
                </c:pt>
              </c:numCache>
            </c:numRef>
          </c:xVal>
          <c:yVal>
            <c:numRef>
              <c:f>Sheet1!$B$187:$B$241</c:f>
              <c:numCache>
                <c:formatCode>General</c:formatCode>
                <c:ptCount val="55"/>
                <c:pt idx="0">
                  <c:v>0.11681830684610035</c:v>
                </c:pt>
                <c:pt idx="1">
                  <c:v>0.12085146725767196</c:v>
                </c:pt>
                <c:pt idx="2">
                  <c:v>0.1194636569381539</c:v>
                </c:pt>
                <c:pt idx="3">
                  <c:v>0.11710972467568365</c:v>
                </c:pt>
                <c:pt idx="4">
                  <c:v>0.11909214664554699</c:v>
                </c:pt>
                <c:pt idx="5">
                  <c:v>0.11921768673566795</c:v>
                </c:pt>
                <c:pt idx="6">
                  <c:v>0.11760942628294484</c:v>
                </c:pt>
                <c:pt idx="7">
                  <c:v>0.11921742107104191</c:v>
                </c:pt>
                <c:pt idx="8">
                  <c:v>0.1185524381142952</c:v>
                </c:pt>
                <c:pt idx="9">
                  <c:v>0.11693238811607574</c:v>
                </c:pt>
                <c:pt idx="10">
                  <c:v>0.1196582589875908</c:v>
                </c:pt>
                <c:pt idx="11">
                  <c:v>0.12092234007382661</c:v>
                </c:pt>
                <c:pt idx="12">
                  <c:v>0.11591190522673625</c:v>
                </c:pt>
                <c:pt idx="13">
                  <c:v>0.11874043650017056</c:v>
                </c:pt>
                <c:pt idx="14">
                  <c:v>0.11583335795592531</c:v>
                </c:pt>
                <c:pt idx="15">
                  <c:v>0.11628788031157873</c:v>
                </c:pt>
                <c:pt idx="16">
                  <c:v>0.12145689525350596</c:v>
                </c:pt>
                <c:pt idx="17">
                  <c:v>0.11958639941711086</c:v>
                </c:pt>
                <c:pt idx="18">
                  <c:v>0.12340389708047315</c:v>
                </c:pt>
                <c:pt idx="19">
                  <c:v>0.12257437283998489</c:v>
                </c:pt>
                <c:pt idx="20">
                  <c:v>0.11742373213107082</c:v>
                </c:pt>
                <c:pt idx="21">
                  <c:v>0.11380924832668214</c:v>
                </c:pt>
                <c:pt idx="22">
                  <c:v>0.12957924420410802</c:v>
                </c:pt>
                <c:pt idx="23">
                  <c:v>0.121098887772147</c:v>
                </c:pt>
                <c:pt idx="24">
                  <c:v>0.11729903240864449</c:v>
                </c:pt>
                <c:pt idx="25">
                  <c:v>0.11158182122174988</c:v>
                </c:pt>
                <c:pt idx="26">
                  <c:v>0.11263712244228163</c:v>
                </c:pt>
                <c:pt idx="27">
                  <c:v>0.11123211982624992</c:v>
                </c:pt>
                <c:pt idx="28">
                  <c:v>0.11174640859017147</c:v>
                </c:pt>
                <c:pt idx="29">
                  <c:v>0.11090139447546703</c:v>
                </c:pt>
                <c:pt idx="30">
                  <c:v>0.10983331424425011</c:v>
                </c:pt>
                <c:pt idx="31">
                  <c:v>0.11752054791121723</c:v>
                </c:pt>
                <c:pt idx="32">
                  <c:v>0.1121727894715095</c:v>
                </c:pt>
                <c:pt idx="33">
                  <c:v>0.1121250376104108</c:v>
                </c:pt>
                <c:pt idx="34">
                  <c:v>0.11255020131402341</c:v>
                </c:pt>
                <c:pt idx="35">
                  <c:v>0.11160079726646693</c:v>
                </c:pt>
                <c:pt idx="36">
                  <c:v>0.11245268613108601</c:v>
                </c:pt>
                <c:pt idx="37">
                  <c:v>0.11277090355753684</c:v>
                </c:pt>
                <c:pt idx="38">
                  <c:v>0.11342859700224868</c:v>
                </c:pt>
                <c:pt idx="39">
                  <c:v>0.11331507959188775</c:v>
                </c:pt>
                <c:pt idx="40">
                  <c:v>0.1128694813989784</c:v>
                </c:pt>
                <c:pt idx="41">
                  <c:v>0.11273393822242803</c:v>
                </c:pt>
                <c:pt idx="42">
                  <c:v>0.11337099115221477</c:v>
                </c:pt>
                <c:pt idx="43">
                  <c:v>0.11209584161018185</c:v>
                </c:pt>
                <c:pt idx="44">
                  <c:v>0.11255966764947369</c:v>
                </c:pt>
                <c:pt idx="45">
                  <c:v>0.1122093075141357</c:v>
                </c:pt>
                <c:pt idx="46">
                  <c:v>0.11284043720710718</c:v>
                </c:pt>
                <c:pt idx="47">
                  <c:v>0.1145485224984961</c:v>
                </c:pt>
                <c:pt idx="48">
                  <c:v>0.11559118838410982</c:v>
                </c:pt>
                <c:pt idx="49">
                  <c:v>0.11476944432195556</c:v>
                </c:pt>
                <c:pt idx="50">
                  <c:v>0.1142363828280818</c:v>
                </c:pt>
                <c:pt idx="51">
                  <c:v>0.115042341531895</c:v>
                </c:pt>
                <c:pt idx="52">
                  <c:v>0.13094710718460295</c:v>
                </c:pt>
                <c:pt idx="53">
                  <c:v>0.21097507761400391</c:v>
                </c:pt>
                <c:pt idx="54">
                  <c:v>0.113066997111139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38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54362416107382"/>
          <c:min val="0.0457142857142857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4.3392</c:v>
                </c:pt>
                <c:pt idx="1">
                  <c:v>872.535</c:v>
                </c:pt>
                <c:pt idx="2">
                  <c:v>930.3839</c:v>
                </c:pt>
                <c:pt idx="3">
                  <c:v>931.6115</c:v>
                </c:pt>
                <c:pt idx="4">
                  <c:v>928.7459</c:v>
                </c:pt>
                <c:pt idx="5">
                  <c:v>921.6493</c:v>
                </c:pt>
                <c:pt idx="6">
                  <c:v>854.1838</c:v>
                </c:pt>
                <c:pt idx="7">
                  <c:v>871.7069</c:v>
                </c:pt>
                <c:pt idx="8">
                  <c:v>889.6608</c:v>
                </c:pt>
                <c:pt idx="9">
                  <c:v>832.9356</c:v>
                </c:pt>
                <c:pt idx="10">
                  <c:v>813.6498</c:v>
                </c:pt>
                <c:pt idx="11">
                  <c:v>889.5727</c:v>
                </c:pt>
                <c:pt idx="12">
                  <c:v>903.0616</c:v>
                </c:pt>
                <c:pt idx="13">
                  <c:v>914.1366</c:v>
                </c:pt>
                <c:pt idx="14">
                  <c:v>894.5337</c:v>
                </c:pt>
                <c:pt idx="15">
                  <c:v>920.5333</c:v>
                </c:pt>
                <c:pt idx="16">
                  <c:v>944.6943</c:v>
                </c:pt>
                <c:pt idx="17">
                  <c:v>924.37</c:v>
                </c:pt>
                <c:pt idx="18">
                  <c:v>978.2723</c:v>
                </c:pt>
                <c:pt idx="19">
                  <c:v>1044.0059</c:v>
                </c:pt>
                <c:pt idx="20">
                  <c:v>1067.6944</c:v>
                </c:pt>
                <c:pt idx="21">
                  <c:v>1089.0919</c:v>
                </c:pt>
                <c:pt idx="22">
                  <c:v>1059.2292</c:v>
                </c:pt>
                <c:pt idx="23">
                  <c:v>1044.4272</c:v>
                </c:pt>
                <c:pt idx="24">
                  <c:v>1047.1848</c:v>
                </c:pt>
                <c:pt idx="25">
                  <c:v>1021.5504</c:v>
                </c:pt>
                <c:pt idx="26">
                  <c:v>991.9243</c:v>
                </c:pt>
                <c:pt idx="27">
                  <c:v>1019.5389</c:v>
                </c:pt>
                <c:pt idx="28">
                  <c:v>1021.3132</c:v>
                </c:pt>
                <c:pt idx="29">
                  <c:v>993.6533</c:v>
                </c:pt>
                <c:pt idx="30">
                  <c:v>981.6941</c:v>
                </c:pt>
                <c:pt idx="31">
                  <c:v>1006.0237</c:v>
                </c:pt>
                <c:pt idx="32">
                  <c:v>980.9526</c:v>
                </c:pt>
                <c:pt idx="33">
                  <c:v>937.4529</c:v>
                </c:pt>
                <c:pt idx="34">
                  <c:v>954.752</c:v>
                </c:pt>
                <c:pt idx="35">
                  <c:v>970.8735</c:v>
                </c:pt>
                <c:pt idx="36">
                  <c:v>1099.6922</c:v>
                </c:pt>
                <c:pt idx="37">
                  <c:v>1082.9028</c:v>
                </c:pt>
                <c:pt idx="38">
                  <c:v>1156.2489</c:v>
                </c:pt>
                <c:pt idx="39">
                  <c:v>1162.2234</c:v>
                </c:pt>
                <c:pt idx="40">
                  <c:v>1163.8739</c:v>
                </c:pt>
                <c:pt idx="41">
                  <c:v>1182.3538</c:v>
                </c:pt>
                <c:pt idx="42">
                  <c:v>1198.7963</c:v>
                </c:pt>
                <c:pt idx="43">
                  <c:v>1205.6329</c:v>
                </c:pt>
                <c:pt idx="44">
                  <c:v>1136.2091</c:v>
                </c:pt>
                <c:pt idx="45">
                  <c:v>1094.7473</c:v>
                </c:pt>
                <c:pt idx="46">
                  <c:v>1074.0356</c:v>
                </c:pt>
                <c:pt idx="47">
                  <c:v>1047.7923</c:v>
                </c:pt>
                <c:pt idx="48">
                  <c:v>1062.0672</c:v>
                </c:pt>
                <c:pt idx="49">
                  <c:v>1029.2069</c:v>
                </c:pt>
                <c:pt idx="50">
                  <c:v>1036.1419</c:v>
                </c:pt>
                <c:pt idx="51">
                  <c:v>1039.1214</c:v>
                </c:pt>
                <c:pt idx="52">
                  <c:v>1044.7028</c:v>
                </c:pt>
                <c:pt idx="53">
                  <c:v>1120.3668</c:v>
                </c:pt>
                <c:pt idx="54">
                  <c:v>1117.981</c:v>
                </c:pt>
                <c:pt idx="55">
                  <c:v>1134.2797</c:v>
                </c:pt>
                <c:pt idx="56">
                  <c:v>1155.2971</c:v>
                </c:pt>
                <c:pt idx="57">
                  <c:v>1137.3927</c:v>
                </c:pt>
                <c:pt idx="58">
                  <c:v>1071.9844</c:v>
                </c:pt>
                <c:pt idx="59">
                  <c:v>1070.9248</c:v>
                </c:pt>
                <c:pt idx="60">
                  <c:v>1103.4699</c:v>
                </c:pt>
                <c:pt idx="61">
                  <c:v>1134.2022</c:v>
                </c:pt>
                <c:pt idx="62">
                  <c:v>1018.0877</c:v>
                </c:pt>
                <c:pt idx="63">
                  <c:v>1071.122</c:v>
                </c:pt>
                <c:pt idx="64">
                  <c:v>1107.4932</c:v>
                </c:pt>
                <c:pt idx="65">
                  <c:v>1095.9683</c:v>
                </c:pt>
                <c:pt idx="66">
                  <c:v>1073.8148</c:v>
                </c:pt>
                <c:pt idx="67">
                  <c:v>1131.7219</c:v>
                </c:pt>
                <c:pt idx="68">
                  <c:v>1187.9267</c:v>
                </c:pt>
                <c:pt idx="69">
                  <c:v>1220.0145</c:v>
                </c:pt>
                <c:pt idx="70">
                  <c:v>1213.2408</c:v>
                </c:pt>
                <c:pt idx="71">
                  <c:v>1284.4464</c:v>
                </c:pt>
                <c:pt idx="72">
                  <c:v>1347.1293</c:v>
                </c:pt>
                <c:pt idx="73">
                  <c:v>1311.014</c:v>
                </c:pt>
                <c:pt idx="74">
                  <c:v>1284.6135</c:v>
                </c:pt>
                <c:pt idx="75">
                  <c:v>1247.0703</c:v>
                </c:pt>
                <c:pt idx="76">
                  <c:v>1209.1994</c:v>
                </c:pt>
                <c:pt idx="77">
                  <c:v>1269.977</c:v>
                </c:pt>
                <c:pt idx="78">
                  <c:v>1288.804</c:v>
                </c:pt>
                <c:pt idx="79">
                  <c:v>1265.0325</c:v>
                </c:pt>
                <c:pt idx="80">
                  <c:v>1240.8779</c:v>
                </c:pt>
                <c:pt idx="81">
                  <c:v>1208.1653</c:v>
                </c:pt>
                <c:pt idx="82">
                  <c:v>1218.4707</c:v>
                </c:pt>
                <c:pt idx="83">
                  <c:v>1176.4442</c:v>
                </c:pt>
                <c:pt idx="84">
                  <c:v>1199.1667</c:v>
                </c:pt>
                <c:pt idx="85">
                  <c:v>1181.5496</c:v>
                </c:pt>
                <c:pt idx="86">
                  <c:v>1173.715</c:v>
                </c:pt>
                <c:pt idx="87">
                  <c:v>1182.5689</c:v>
                </c:pt>
                <c:pt idx="88">
                  <c:v>1200.7146</c:v>
                </c:pt>
                <c:pt idx="89">
                  <c:v>1210.9216</c:v>
                </c:pt>
                <c:pt idx="90">
                  <c:v>1334.0377</c:v>
                </c:pt>
                <c:pt idx="91">
                  <c:v>1353.166</c:v>
                </c:pt>
                <c:pt idx="92">
                  <c:v>1287.8857</c:v>
                </c:pt>
                <c:pt idx="93">
                  <c:v>1323.683</c:v>
                </c:pt>
                <c:pt idx="94">
                  <c:v>1333.044</c:v>
                </c:pt>
                <c:pt idx="95">
                  <c:v>1289.1248</c:v>
                </c:pt>
                <c:pt idx="96">
                  <c:v>1229.0696</c:v>
                </c:pt>
                <c:pt idx="97">
                  <c:v>1176.4855</c:v>
                </c:pt>
                <c:pt idx="98">
                  <c:v>1155.0289</c:v>
                </c:pt>
                <c:pt idx="99">
                  <c:v>1108.8117</c:v>
                </c:pt>
                <c:pt idx="100">
                  <c:v>1126.5009</c:v>
                </c:pt>
                <c:pt idx="101">
                  <c:v>1138.1372</c:v>
                </c:pt>
                <c:pt idx="102">
                  <c:v>1174.0628</c:v>
                </c:pt>
                <c:pt idx="103">
                  <c:v>1176.8856</c:v>
                </c:pt>
                <c:pt idx="104">
                  <c:v>1233.7005</c:v>
                </c:pt>
              </c:numCache>
            </c:numRef>
          </c:xVal>
          <c:yVal>
            <c:numRef>
              <c:f>Sheet1!$B$2:$B$106</c:f>
              <c:numCache>
                <c:formatCode>General</c:formatCode>
                <c:ptCount val="105"/>
                <c:pt idx="0">
                  <c:v>0.24271685761047462</c:v>
                </c:pt>
                <c:pt idx="1">
                  <c:v>0.25422832980972515</c:v>
                </c:pt>
                <c:pt idx="2">
                  <c:v>0.2532702915681639</c:v>
                </c:pt>
                <c:pt idx="3">
                  <c:v>0.24850199733688416</c:v>
                </c:pt>
                <c:pt idx="4">
                  <c:v>0.24358974358974358</c:v>
                </c:pt>
                <c:pt idx="5">
                  <c:v>0.2540229885057471</c:v>
                </c:pt>
                <c:pt idx="6">
                  <c:v>0.2866845029841531</c:v>
                </c:pt>
                <c:pt idx="7">
                  <c:v>0.2894588500563698</c:v>
                </c:pt>
                <c:pt idx="8">
                  <c:v>0.28523936170212766</c:v>
                </c:pt>
                <c:pt idx="9">
                  <c:v>0.2713684210526316</c:v>
                </c:pt>
                <c:pt idx="10">
                  <c:v>0.2717872968980798</c:v>
                </c:pt>
                <c:pt idx="11">
                  <c:v>0.23830275229357797</c:v>
                </c:pt>
                <c:pt idx="12">
                  <c:v>0.22627080521817364</c:v>
                </c:pt>
                <c:pt idx="13">
                  <c:v>0.20817766708177668</c:v>
                </c:pt>
                <c:pt idx="14">
                  <c:v>0.20434609250398725</c:v>
                </c:pt>
                <c:pt idx="15">
                  <c:v>0.2033214709371293</c:v>
                </c:pt>
                <c:pt idx="16">
                  <c:v>0.19668446192750771</c:v>
                </c:pt>
                <c:pt idx="17">
                  <c:v>0.19307548346849657</c:v>
                </c:pt>
                <c:pt idx="18">
                  <c:v>0.18640606767794632</c:v>
                </c:pt>
                <c:pt idx="19">
                  <c:v>0.17410562180579217</c:v>
                </c:pt>
                <c:pt idx="20">
                  <c:v>0.17318099819603128</c:v>
                </c:pt>
                <c:pt idx="21">
                  <c:v>0.1973229706390328</c:v>
                </c:pt>
                <c:pt idx="22">
                  <c:v>0.20831728917982287</c:v>
                </c:pt>
                <c:pt idx="23">
                  <c:v>0.20566801619433198</c:v>
                </c:pt>
                <c:pt idx="24">
                  <c:v>0.2184844192634561</c:v>
                </c:pt>
                <c:pt idx="25">
                  <c:v>0.21941594317284924</c:v>
                </c:pt>
                <c:pt idx="26">
                  <c:v>0.24335812964930925</c:v>
                </c:pt>
                <c:pt idx="27">
                  <c:v>0.23760129659643436</c:v>
                </c:pt>
                <c:pt idx="28">
                  <c:v>0.24499229583975346</c:v>
                </c:pt>
                <c:pt idx="29">
                  <c:v>0.2399037175715432</c:v>
                </c:pt>
                <c:pt idx="30">
                  <c:v>0.2545862972669412</c:v>
                </c:pt>
                <c:pt idx="31">
                  <c:v>0.26187198898830005</c:v>
                </c:pt>
                <c:pt idx="32">
                  <c:v>0.26269243367179823</c:v>
                </c:pt>
                <c:pt idx="33">
                  <c:v>0.25857582209604923</c:v>
                </c:pt>
                <c:pt idx="34">
                  <c:v>0.2497164889997732</c:v>
                </c:pt>
                <c:pt idx="35">
                  <c:v>0.24854171950291656</c:v>
                </c:pt>
                <c:pt idx="36">
                  <c:v>0.2265880812049771</c:v>
                </c:pt>
                <c:pt idx="37">
                  <c:v>0.22297734627831714</c:v>
                </c:pt>
                <c:pt idx="38">
                  <c:v>0.21375283814466428</c:v>
                </c:pt>
                <c:pt idx="39">
                  <c:v>0.2010853180584866</c:v>
                </c:pt>
                <c:pt idx="40">
                  <c:v>0.2070079522862823</c:v>
                </c:pt>
                <c:pt idx="41">
                  <c:v>0.19785941567833382</c:v>
                </c:pt>
                <c:pt idx="42">
                  <c:v>0.19474042167309</c:v>
                </c:pt>
                <c:pt idx="43">
                  <c:v>0.19486308639354702</c:v>
                </c:pt>
                <c:pt idx="44">
                  <c:v>0.19898838947005404</c:v>
                </c:pt>
                <c:pt idx="45">
                  <c:v>0.20687095748064893</c:v>
                </c:pt>
                <c:pt idx="46">
                  <c:v>0.2190745986779981</c:v>
                </c:pt>
                <c:pt idx="47">
                  <c:v>0.21450690805145306</c:v>
                </c:pt>
                <c:pt idx="48">
                  <c:v>0.2117003367003367</c:v>
                </c:pt>
                <c:pt idx="49">
                  <c:v>0.2264425622022234</c:v>
                </c:pt>
                <c:pt idx="50">
                  <c:v>0.22240676430620565</c:v>
                </c:pt>
                <c:pt idx="51">
                  <c:v>0.21214351425942962</c:v>
                </c:pt>
                <c:pt idx="52">
                  <c:v>0.21890191592793823</c:v>
                </c:pt>
                <c:pt idx="53">
                  <c:v>0.21490280777537796</c:v>
                </c:pt>
                <c:pt idx="54">
                  <c:v>0.20479067760034528</c:v>
                </c:pt>
                <c:pt idx="55">
                  <c:v>0.20660438844232024</c:v>
                </c:pt>
                <c:pt idx="56">
                  <c:v>0.20757825370675453</c:v>
                </c:pt>
                <c:pt idx="57">
                  <c:v>0.2006125574272588</c:v>
                </c:pt>
                <c:pt idx="58">
                  <c:v>0.2282962962962963</c:v>
                </c:pt>
                <c:pt idx="59">
                  <c:v>0.23327880770628862</c:v>
                </c:pt>
                <c:pt idx="60">
                  <c:v>0.2214183819034033</c:v>
                </c:pt>
                <c:pt idx="61">
                  <c:v>0.2180811808118081</c:v>
                </c:pt>
                <c:pt idx="62">
                  <c:v>0.23971543458088462</c:v>
                </c:pt>
                <c:pt idx="63">
                  <c:v>0.2518506851472673</c:v>
                </c:pt>
                <c:pt idx="64">
                  <c:v>0.22007012856904323</c:v>
                </c:pt>
                <c:pt idx="65">
                  <c:v>0.2119626168224299</c:v>
                </c:pt>
                <c:pt idx="66">
                  <c:v>0.2264186752704498</c:v>
                </c:pt>
                <c:pt idx="67">
                  <c:v>0.20661625708884687</c:v>
                </c:pt>
                <c:pt idx="68">
                  <c:v>0.18726591760299627</c:v>
                </c:pt>
                <c:pt idx="69">
                  <c:v>0.17887232663642255</c:v>
                </c:pt>
                <c:pt idx="70">
                  <c:v>0.1774193548387097</c:v>
                </c:pt>
                <c:pt idx="71">
                  <c:v>0.1788919839059115</c:v>
                </c:pt>
                <c:pt idx="72">
                  <c:v>0.18722659667541558</c:v>
                </c:pt>
                <c:pt idx="73">
                  <c:v>0.19159713945172824</c:v>
                </c:pt>
                <c:pt idx="74">
                  <c:v>0.20707461915827524</c:v>
                </c:pt>
                <c:pt idx="75">
                  <c:v>0.20688631641436628</c:v>
                </c:pt>
                <c:pt idx="76">
                  <c:v>0.2060284862537264</c:v>
                </c:pt>
                <c:pt idx="77">
                  <c:v>0.19510513615994485</c:v>
                </c:pt>
                <c:pt idx="78">
                  <c:v>0.20529061102831594</c:v>
                </c:pt>
                <c:pt idx="79">
                  <c:v>0.18097303997520917</c:v>
                </c:pt>
                <c:pt idx="80">
                  <c:v>0.18242022877784467</c:v>
                </c:pt>
                <c:pt idx="81">
                  <c:v>0.19027484143763213</c:v>
                </c:pt>
                <c:pt idx="82">
                  <c:v>0.19462840323767477</c:v>
                </c:pt>
                <c:pt idx="83">
                  <c:v>0.19579554822753503</c:v>
                </c:pt>
                <c:pt idx="84">
                  <c:v>0.1935483870967742</c:v>
                </c:pt>
                <c:pt idx="85">
                  <c:v>0.20390070921985815</c:v>
                </c:pt>
                <c:pt idx="86">
                  <c:v>0.22410441544015552</c:v>
                </c:pt>
                <c:pt idx="87">
                  <c:v>0.21577123050259966</c:v>
                </c:pt>
                <c:pt idx="88">
                  <c:v>0.21185770750988142</c:v>
                </c:pt>
                <c:pt idx="89">
                  <c:v>0.22858255451713397</c:v>
                </c:pt>
                <c:pt idx="90">
                  <c:v>0.1895449417074088</c:v>
                </c:pt>
                <c:pt idx="91">
                  <c:v>0.182566404788627</c:v>
                </c:pt>
                <c:pt idx="92">
                  <c:v>0.18839712918660287</c:v>
                </c:pt>
                <c:pt idx="93">
                  <c:v>0.1908315565031983</c:v>
                </c:pt>
                <c:pt idx="94">
                  <c:v>0.18372232196289648</c:v>
                </c:pt>
                <c:pt idx="95">
                  <c:v>0.18333333333333332</c:v>
                </c:pt>
                <c:pt idx="96">
                  <c:v>0.19388436373347576</c:v>
                </c:pt>
                <c:pt idx="97">
                  <c:v>0.20762182423990005</c:v>
                </c:pt>
                <c:pt idx="98">
                  <c:v>0.20976440533636107</c:v>
                </c:pt>
                <c:pt idx="99">
                  <c:v>0.21817110138093634</c:v>
                </c:pt>
                <c:pt idx="100">
                  <c:v>0.2194612169066419</c:v>
                </c:pt>
                <c:pt idx="101">
                  <c:v>0.2158050619278406</c:v>
                </c:pt>
                <c:pt idx="102">
                  <c:v>0.2024718284260269</c:v>
                </c:pt>
                <c:pt idx="103">
                  <c:v>0.2033003300330033</c:v>
                </c:pt>
                <c:pt idx="104">
                  <c:v>0.204518984393198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5.4389</c:v>
                </c:pt>
                <c:pt idx="1">
                  <c:v>1264.619</c:v>
                </c:pt>
                <c:pt idx="2">
                  <c:v>1248.4346</c:v>
                </c:pt>
                <c:pt idx="3">
                  <c:v>1225.481</c:v>
                </c:pt>
                <c:pt idx="4">
                  <c:v>1286.1145</c:v>
                </c:pt>
                <c:pt idx="5">
                  <c:v>1240.6542</c:v>
                </c:pt>
                <c:pt idx="6">
                  <c:v>1103.4061</c:v>
                </c:pt>
                <c:pt idx="7">
                  <c:v>1119.7803</c:v>
                </c:pt>
                <c:pt idx="8">
                  <c:v>1185.8591</c:v>
                </c:pt>
                <c:pt idx="9">
                  <c:v>1135.6236</c:v>
                </c:pt>
                <c:pt idx="10">
                  <c:v>1158.3793</c:v>
                </c:pt>
                <c:pt idx="11">
                  <c:v>1011.7788</c:v>
                </c:pt>
                <c:pt idx="12">
                  <c:v>1069.9802</c:v>
                </c:pt>
                <c:pt idx="13">
                  <c:v>1135.5998</c:v>
                </c:pt>
                <c:pt idx="14">
                  <c:v>1086.405</c:v>
                </c:pt>
                <c:pt idx="15">
                  <c:v>1139.2509</c:v>
                </c:pt>
                <c:pt idx="16">
                  <c:v>1166.5319</c:v>
                </c:pt>
                <c:pt idx="17">
                  <c:v>1142.8997</c:v>
                </c:pt>
                <c:pt idx="18">
                  <c:v>1033.4867</c:v>
                </c:pt>
                <c:pt idx="19">
                  <c:v>1204.6081</c:v>
                </c:pt>
                <c:pt idx="20">
                  <c:v>1303.7778</c:v>
                </c:pt>
                <c:pt idx="21">
                  <c:v>1188.7552</c:v>
                </c:pt>
                <c:pt idx="22">
                  <c:v>1229.6083</c:v>
                </c:pt>
                <c:pt idx="23">
                  <c:v>1246.1917</c:v>
                </c:pt>
                <c:pt idx="24">
                  <c:v>1231.0314</c:v>
                </c:pt>
                <c:pt idx="25">
                  <c:v>1191.2711</c:v>
                </c:pt>
                <c:pt idx="26">
                  <c:v>1186.6714</c:v>
                </c:pt>
                <c:pt idx="27">
                  <c:v>1176.8871</c:v>
                </c:pt>
                <c:pt idx="28">
                  <c:v>1209.8851</c:v>
                </c:pt>
                <c:pt idx="29">
                  <c:v>1219.1373</c:v>
                </c:pt>
                <c:pt idx="30">
                  <c:v>1197.7699</c:v>
                </c:pt>
                <c:pt idx="31">
                  <c:v>1226.7865</c:v>
                </c:pt>
                <c:pt idx="32">
                  <c:v>1222.8164</c:v>
                </c:pt>
                <c:pt idx="33">
                  <c:v>1193.3959</c:v>
                </c:pt>
                <c:pt idx="34">
                  <c:v>1207.7542</c:v>
                </c:pt>
                <c:pt idx="35">
                  <c:v>1241.825</c:v>
                </c:pt>
                <c:pt idx="36">
                  <c:v>1333.4</c:v>
                </c:pt>
                <c:pt idx="37">
                  <c:v>1334.8941</c:v>
                </c:pt>
                <c:pt idx="38">
                  <c:v>1322.6031</c:v>
                </c:pt>
                <c:pt idx="39">
                  <c:v>1284.9809</c:v>
                </c:pt>
                <c:pt idx="40">
                  <c:v>1284.2822</c:v>
                </c:pt>
                <c:pt idx="41">
                  <c:v>1341.0031</c:v>
                </c:pt>
                <c:pt idx="42">
                  <c:v>1329.8063</c:v>
                </c:pt>
                <c:pt idx="43">
                  <c:v>1358.104</c:v>
                </c:pt>
                <c:pt idx="44">
                  <c:v>1252.4439</c:v>
                </c:pt>
                <c:pt idx="45">
                  <c:v>1193.8723</c:v>
                </c:pt>
                <c:pt idx="46">
                  <c:v>1166.2262</c:v>
                </c:pt>
                <c:pt idx="47">
                  <c:v>1151.5146</c:v>
                </c:pt>
                <c:pt idx="48">
                  <c:v>1157.3812</c:v>
                </c:pt>
                <c:pt idx="49">
                  <c:v>1173.564</c:v>
                </c:pt>
                <c:pt idx="50">
                  <c:v>1130.2869</c:v>
                </c:pt>
                <c:pt idx="51">
                  <c:v>1090.4596</c:v>
                </c:pt>
              </c:numCache>
            </c:numRef>
          </c:xVal>
          <c:yVal>
            <c:numRef>
              <c:f>Sheet1!$B$109:$B$160</c:f>
              <c:numCache>
                <c:formatCode>General</c:formatCode>
                <c:ptCount val="52"/>
                <c:pt idx="0">
                  <c:v>0.1998423334647221</c:v>
                </c:pt>
                <c:pt idx="1">
                  <c:v>0.20834134153373055</c:v>
                </c:pt>
                <c:pt idx="2">
                  <c:v>0.22008935958960782</c:v>
                </c:pt>
                <c:pt idx="3">
                  <c:v>0.23592400690846288</c:v>
                </c:pt>
                <c:pt idx="4">
                  <c:v>0.20571909167367536</c:v>
                </c:pt>
                <c:pt idx="5">
                  <c:v>0.21934513865686603</c:v>
                </c:pt>
                <c:pt idx="6">
                  <c:v>0.2463843648208469</c:v>
                </c:pt>
                <c:pt idx="7">
                  <c:v>0.23860448807854137</c:v>
                </c:pt>
                <c:pt idx="8">
                  <c:v>0.2254766510085659</c:v>
                </c:pt>
                <c:pt idx="9">
                  <c:v>0.23954659949622167</c:v>
                </c:pt>
                <c:pt idx="10">
                  <c:v>0.22884012539184953</c:v>
                </c:pt>
                <c:pt idx="11">
                  <c:v>0.23930131004366811</c:v>
                </c:pt>
                <c:pt idx="12">
                  <c:v>0.23905325443786982</c:v>
                </c:pt>
                <c:pt idx="13">
                  <c:v>0.24373293621245967</c:v>
                </c:pt>
                <c:pt idx="14">
                  <c:v>0.25052301255230125</c:v>
                </c:pt>
                <c:pt idx="15">
                  <c:v>0.2352437981180496</c:v>
                </c:pt>
                <c:pt idx="16">
                  <c:v>0.23841059602649006</c:v>
                </c:pt>
                <c:pt idx="17">
                  <c:v>0.2448445171849427</c:v>
                </c:pt>
                <c:pt idx="18">
                  <c:v>0.25567989148864023</c:v>
                </c:pt>
                <c:pt idx="19">
                  <c:v>0.2339622641509434</c:v>
                </c:pt>
                <c:pt idx="20">
                  <c:v>0.20652173913043478</c:v>
                </c:pt>
                <c:pt idx="21">
                  <c:v>0.22507869884575027</c:v>
                </c:pt>
                <c:pt idx="22">
                  <c:v>0.21955128205128205</c:v>
                </c:pt>
                <c:pt idx="23">
                  <c:v>0.21822033898305085</c:v>
                </c:pt>
                <c:pt idx="24">
                  <c:v>0.22183558068725534</c:v>
                </c:pt>
                <c:pt idx="25">
                  <c:v>0.20678285445124822</c:v>
                </c:pt>
                <c:pt idx="26">
                  <c:v>0.21416083916083917</c:v>
                </c:pt>
                <c:pt idx="27">
                  <c:v>0.22721134368669818</c:v>
                </c:pt>
                <c:pt idx="28">
                  <c:v>0.22299854439592431</c:v>
                </c:pt>
                <c:pt idx="29">
                  <c:v>0.2101123595505618</c:v>
                </c:pt>
                <c:pt idx="30">
                  <c:v>0.21153126169973793</c:v>
                </c:pt>
                <c:pt idx="31">
                  <c:v>0.19655667144906744</c:v>
                </c:pt>
                <c:pt idx="32">
                  <c:v>0.199642431466031</c:v>
                </c:pt>
                <c:pt idx="33">
                  <c:v>0.21654622476949914</c:v>
                </c:pt>
                <c:pt idx="34">
                  <c:v>0.22415005861664714</c:v>
                </c:pt>
                <c:pt idx="35">
                  <c:v>0.21783216783216783</c:v>
                </c:pt>
                <c:pt idx="36">
                  <c:v>0.19944979367262725</c:v>
                </c:pt>
                <c:pt idx="37">
                  <c:v>0.20214079868258542</c:v>
                </c:pt>
                <c:pt idx="38">
                  <c:v>0.21197411003236247</c:v>
                </c:pt>
                <c:pt idx="39">
                  <c:v>0.21589825119236883</c:v>
                </c:pt>
                <c:pt idx="40">
                  <c:v>0.20152976388427005</c:v>
                </c:pt>
                <c:pt idx="41">
                  <c:v>0.20275344180225283</c:v>
                </c:pt>
                <c:pt idx="42">
                  <c:v>0.21277385815076122</c:v>
                </c:pt>
                <c:pt idx="43">
                  <c:v>0.19686631286328027</c:v>
                </c:pt>
                <c:pt idx="44">
                  <c:v>0.1921582479689156</c:v>
                </c:pt>
                <c:pt idx="45">
                  <c:v>0.20964467005076143</c:v>
                </c:pt>
                <c:pt idx="46">
                  <c:v>0.23199236762601366</c:v>
                </c:pt>
                <c:pt idx="47">
                  <c:v>0.23594093622368834</c:v>
                </c:pt>
                <c:pt idx="48">
                  <c:v>0.22076528787698177</c:v>
                </c:pt>
                <c:pt idx="49">
                  <c:v>0.23243423243423245</c:v>
                </c:pt>
                <c:pt idx="50">
                  <c:v>0.23076209901724457</c:v>
                </c:pt>
                <c:pt idx="51">
                  <c:v>0.22172413793103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7.5202045386861</c:v>
                </c:pt>
              </c:numCache>
            </c:numRef>
          </c:xVal>
          <c:yVal>
            <c:numRef>
              <c:f>Sheet1!$B$163:$B$164</c:f>
              <c:numCache>
                <c:formatCode>General</c:formatCode>
                <c:ptCount val="2"/>
                <c:pt idx="0">
                  <c:v>0.2619681025737099</c:v>
                </c:pt>
                <c:pt idx="1">
                  <c:v>0.261968102573709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7.5202045386861</c:v>
                </c:pt>
                <c:pt idx="1">
                  <c:v>947.5202045386861</c:v>
                </c:pt>
              </c:numCache>
            </c:numRef>
          </c:xVal>
          <c:yVal>
            <c:numRef>
              <c:f>Sheet1!$B$167:$B$168</c:f>
              <c:numCache>
                <c:formatCode>General</c:formatCode>
                <c:ptCount val="2"/>
                <c:pt idx="0">
                  <c:v>0.26196810257370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5.0789983538466</c:v>
                </c:pt>
              </c:numCache>
            </c:numRef>
          </c:xVal>
          <c:yVal>
            <c:numRef>
              <c:f>Sheet1!$B$171:$B$172</c:f>
              <c:numCache>
                <c:formatCode>General</c:formatCode>
                <c:ptCount val="2"/>
                <c:pt idx="0">
                  <c:v>0.23697990331381702</c:v>
                </c:pt>
                <c:pt idx="1">
                  <c:v>0.2369799033138170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5.0789983538466</c:v>
                </c:pt>
                <c:pt idx="1">
                  <c:v>1105.0789983538466</c:v>
                </c:pt>
              </c:numCache>
            </c:numRef>
          </c:xVal>
          <c:yVal>
            <c:numRef>
              <c:f>Sheet1!$B$175:$B$176</c:f>
              <c:numCache>
                <c:formatCode>General</c:formatCode>
                <c:ptCount val="2"/>
                <c:pt idx="0">
                  <c:v>0.236979903313817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8.7010914428415</c:v>
                </c:pt>
              </c:numCache>
            </c:numRef>
          </c:xVal>
          <c:yVal>
            <c:numRef>
              <c:f>Sheet1!$B$179:$B$180</c:f>
              <c:numCache>
                <c:formatCode>General</c:formatCode>
                <c:ptCount val="2"/>
                <c:pt idx="0">
                  <c:v>0.21578796977090814</c:v>
                </c:pt>
                <c:pt idx="1">
                  <c:v>0.215787969770908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8.7010914428415</c:v>
                </c:pt>
                <c:pt idx="1">
                  <c:v>1238.7010914428415</c:v>
                </c:pt>
              </c:numCache>
            </c:numRef>
          </c:xVal>
          <c:yVal>
            <c:numRef>
              <c:f>Sheet1!$B$183:$B$184</c:f>
              <c:numCache>
                <c:formatCode>General</c:formatCode>
                <c:ptCount val="2"/>
                <c:pt idx="0">
                  <c:v>0.215787969770908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5.4389</c:v>
                </c:pt>
                <c:pt idx="1">
                  <c:v>1264.619</c:v>
                </c:pt>
                <c:pt idx="2">
                  <c:v>1248.4346</c:v>
                </c:pt>
                <c:pt idx="3">
                  <c:v>1225.481</c:v>
                </c:pt>
                <c:pt idx="4">
                  <c:v>1286.1145</c:v>
                </c:pt>
                <c:pt idx="5">
                  <c:v>1240.6542</c:v>
                </c:pt>
                <c:pt idx="6">
                  <c:v>1103.4061</c:v>
                </c:pt>
                <c:pt idx="7">
                  <c:v>1119.7803</c:v>
                </c:pt>
                <c:pt idx="8">
                  <c:v>1185.8591</c:v>
                </c:pt>
                <c:pt idx="9">
                  <c:v>1135.6236</c:v>
                </c:pt>
                <c:pt idx="10">
                  <c:v>1158.3793</c:v>
                </c:pt>
                <c:pt idx="11">
                  <c:v>1011.7788</c:v>
                </c:pt>
                <c:pt idx="12">
                  <c:v>1069.9802</c:v>
                </c:pt>
                <c:pt idx="13">
                  <c:v>1135.5998</c:v>
                </c:pt>
                <c:pt idx="14">
                  <c:v>1086.405</c:v>
                </c:pt>
                <c:pt idx="15">
                  <c:v>1139.2509</c:v>
                </c:pt>
                <c:pt idx="16">
                  <c:v>1166.5319</c:v>
                </c:pt>
                <c:pt idx="17">
                  <c:v>1142.8997</c:v>
                </c:pt>
                <c:pt idx="18">
                  <c:v>1033.4867</c:v>
                </c:pt>
                <c:pt idx="19">
                  <c:v>1204.6081</c:v>
                </c:pt>
                <c:pt idx="20">
                  <c:v>1303.7778</c:v>
                </c:pt>
                <c:pt idx="21">
                  <c:v>1188.7552</c:v>
                </c:pt>
                <c:pt idx="22">
                  <c:v>1229.6083</c:v>
                </c:pt>
                <c:pt idx="23">
                  <c:v>1246.1917</c:v>
                </c:pt>
                <c:pt idx="24">
                  <c:v>1231.0314</c:v>
                </c:pt>
                <c:pt idx="25">
                  <c:v>1191.2711</c:v>
                </c:pt>
                <c:pt idx="26">
                  <c:v>1186.6714</c:v>
                </c:pt>
                <c:pt idx="27">
                  <c:v>1176.8871</c:v>
                </c:pt>
                <c:pt idx="28">
                  <c:v>1209.8851</c:v>
                </c:pt>
                <c:pt idx="29">
                  <c:v>1219.1373</c:v>
                </c:pt>
                <c:pt idx="30">
                  <c:v>1197.7699</c:v>
                </c:pt>
                <c:pt idx="31">
                  <c:v>1226.7865</c:v>
                </c:pt>
                <c:pt idx="32">
                  <c:v>1222.8164</c:v>
                </c:pt>
                <c:pt idx="33">
                  <c:v>1193.3959</c:v>
                </c:pt>
                <c:pt idx="34">
                  <c:v>1207.7542</c:v>
                </c:pt>
                <c:pt idx="35">
                  <c:v>1241.825</c:v>
                </c:pt>
                <c:pt idx="36">
                  <c:v>1333.4</c:v>
                </c:pt>
                <c:pt idx="37">
                  <c:v>1334.8941</c:v>
                </c:pt>
                <c:pt idx="38">
                  <c:v>1322.6031</c:v>
                </c:pt>
                <c:pt idx="39">
                  <c:v>1284.9809</c:v>
                </c:pt>
                <c:pt idx="40">
                  <c:v>1284.2822</c:v>
                </c:pt>
                <c:pt idx="41">
                  <c:v>1341.0031</c:v>
                </c:pt>
                <c:pt idx="42">
                  <c:v>1329.8063</c:v>
                </c:pt>
                <c:pt idx="43">
                  <c:v>1358.104</c:v>
                </c:pt>
                <c:pt idx="44">
                  <c:v>1252.4439</c:v>
                </c:pt>
                <c:pt idx="45">
                  <c:v>1193.8723</c:v>
                </c:pt>
                <c:pt idx="46">
                  <c:v>1166.2262</c:v>
                </c:pt>
                <c:pt idx="47">
                  <c:v>1151.5146</c:v>
                </c:pt>
                <c:pt idx="48">
                  <c:v>1157.3812</c:v>
                </c:pt>
                <c:pt idx="49">
                  <c:v>1173.564</c:v>
                </c:pt>
                <c:pt idx="50">
                  <c:v>1130.2869</c:v>
                </c:pt>
                <c:pt idx="51">
                  <c:v>1090.4596</c:v>
                </c:pt>
                <c:pt idx="52">
                  <c:v>1105.0789983538466</c:v>
                </c:pt>
                <c:pt idx="53">
                  <c:v>947.5202045386861</c:v>
                </c:pt>
                <c:pt idx="54">
                  <c:v>1238.7010914428415</c:v>
                </c:pt>
              </c:numCache>
            </c:numRef>
          </c:xVal>
          <c:yVal>
            <c:numRef>
              <c:f>Sheet1!$B$187:$B$241</c:f>
              <c:numCache>
                <c:formatCode>General</c:formatCode>
                <c:ptCount val="55"/>
                <c:pt idx="0">
                  <c:v>0.20996149916670284</c:v>
                </c:pt>
                <c:pt idx="1">
                  <c:v>0.21167749235645336</c:v>
                </c:pt>
                <c:pt idx="2">
                  <c:v>0.2142442739514956</c:v>
                </c:pt>
                <c:pt idx="3">
                  <c:v>0.21788462379578774</c:v>
                </c:pt>
                <c:pt idx="4">
                  <c:v>0.2082683913841448</c:v>
                </c:pt>
                <c:pt idx="5">
                  <c:v>0.21547821450672575</c:v>
                </c:pt>
                <c:pt idx="6">
                  <c:v>0.23724521835206558</c:v>
                </c:pt>
                <c:pt idx="7">
                  <c:v>0.23464833523044595</c:v>
                </c:pt>
                <c:pt idx="8">
                  <c:v>0.22416849985425175</c:v>
                </c:pt>
                <c:pt idx="9">
                  <c:v>0.23213565074138656</c:v>
                </c:pt>
                <c:pt idx="10">
                  <c:v>0.22852668705151835</c:v>
                </c:pt>
                <c:pt idx="11">
                  <c:v>0.25177694441193893</c:v>
                </c:pt>
                <c:pt idx="12">
                  <c:v>0.2425464334059275</c:v>
                </c:pt>
                <c:pt idx="13">
                  <c:v>0.232139425326911</c:v>
                </c:pt>
                <c:pt idx="14">
                  <c:v>0.23994152532516763</c:v>
                </c:pt>
                <c:pt idx="15">
                  <c:v>0.231560375360174</c:v>
                </c:pt>
                <c:pt idx="16">
                  <c:v>0.2272337170537587</c:v>
                </c:pt>
                <c:pt idx="17">
                  <c:v>0.23098169016430697</c:v>
                </c:pt>
                <c:pt idx="18">
                  <c:v>0.2483341576427651</c:v>
                </c:pt>
                <c:pt idx="19">
                  <c:v>0.22119498287954478</c:v>
                </c:pt>
                <c:pt idx="20">
                  <c:v>0.20546706211968582</c:v>
                </c:pt>
                <c:pt idx="21">
                  <c:v>0.22370918989049637</c:v>
                </c:pt>
                <c:pt idx="22">
                  <c:v>0.2172300503993555</c:v>
                </c:pt>
                <c:pt idx="23">
                  <c:v>0.21459998898816796</c:v>
                </c:pt>
                <c:pt idx="24">
                  <c:v>0.2170043523884373</c:v>
                </c:pt>
                <c:pt idx="25">
                  <c:v>0.22331017813751408</c:v>
                </c:pt>
                <c:pt idx="26">
                  <c:v>0.22403967229872587</c:v>
                </c:pt>
                <c:pt idx="27">
                  <c:v>0.22559142343935337</c:v>
                </c:pt>
                <c:pt idx="28">
                  <c:v>0.22035807162691645</c:v>
                </c:pt>
                <c:pt idx="29">
                  <c:v>0.21889070943408567</c:v>
                </c:pt>
                <c:pt idx="30">
                  <c:v>0.222279494254895</c:v>
                </c:pt>
                <c:pt idx="31">
                  <c:v>0.2176775766780492</c:v>
                </c:pt>
                <c:pt idx="32">
                  <c:v>0.21830721877849638</c:v>
                </c:pt>
                <c:pt idx="33">
                  <c:v>0.2229731932920366</c:v>
                </c:pt>
                <c:pt idx="34">
                  <c:v>0.2206960239081796</c:v>
                </c:pt>
                <c:pt idx="35">
                  <c:v>0.21529253027428738</c:v>
                </c:pt>
                <c:pt idx="36">
                  <c:v>0.20076909878680596</c:v>
                </c:pt>
                <c:pt idx="37">
                  <c:v>0.20053214045772658</c:v>
                </c:pt>
                <c:pt idx="38">
                  <c:v>0.20248144426785636</c:v>
                </c:pt>
                <c:pt idx="39">
                  <c:v>0.20844817584425082</c:v>
                </c:pt>
                <c:pt idx="40">
                  <c:v>0.20855898689071875</c:v>
                </c:pt>
                <c:pt idx="41">
                  <c:v>0.19956327730777274</c:v>
                </c:pt>
                <c:pt idx="42">
                  <c:v>0.2013390453413958</c:v>
                </c:pt>
                <c:pt idx="43">
                  <c:v>0.19685114245083282</c:v>
                </c:pt>
                <c:pt idx="44">
                  <c:v>0.21360841488665522</c:v>
                </c:pt>
                <c:pt idx="45">
                  <c:v>0.22289763814313532</c:v>
                </c:pt>
                <c:pt idx="46">
                  <c:v>0.227282199860264</c:v>
                </c:pt>
                <c:pt idx="47">
                  <c:v>0.2296154012216752</c:v>
                </c:pt>
                <c:pt idx="48">
                  <c:v>0.22868498174949983</c:v>
                </c:pt>
                <c:pt idx="49">
                  <c:v>0.22611845390810628</c:v>
                </c:pt>
                <c:pt idx="50">
                  <c:v>0.2329820301770321</c:v>
                </c:pt>
                <c:pt idx="51">
                  <c:v>0.23929848186014835</c:v>
                </c:pt>
                <c:pt idx="52">
                  <c:v>0.23697990331381702</c:v>
                </c:pt>
                <c:pt idx="53">
                  <c:v>0.2619681025737099</c:v>
                </c:pt>
                <c:pt idx="54">
                  <c:v>0.215787969770908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0.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73506200676437"/>
          <c:min val="0.13854479855682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650211942029547</c:v>
                </c:pt>
                <c:pt idx="1">
                  <c:v>1.6476570739064855</c:v>
                </c:pt>
                <c:pt idx="2">
                  <c:v>1.6661524360565854</c:v>
                </c:pt>
                <c:pt idx="3">
                  <c:v>1.5448141127465513</c:v>
                </c:pt>
                <c:pt idx="4">
                  <c:v>1.4900085152838427</c:v>
                </c:pt>
                <c:pt idx="5">
                  <c:v>1.4745759287377354</c:v>
                </c:pt>
                <c:pt idx="6">
                  <c:v>1.3938702755746617</c:v>
                </c:pt>
                <c:pt idx="7">
                  <c:v>1.4730429371172664</c:v>
                </c:pt>
                <c:pt idx="8">
                  <c:v>1.461127660726859</c:v>
                </c:pt>
                <c:pt idx="9">
                  <c:v>1.3325043623165551</c:v>
                </c:pt>
                <c:pt idx="10">
                  <c:v>1.3078678512125588</c:v>
                </c:pt>
                <c:pt idx="11">
                  <c:v>1.3510608204302685</c:v>
                </c:pt>
                <c:pt idx="12">
                  <c:v>1.3199825618675742</c:v>
                </c:pt>
                <c:pt idx="13">
                  <c:v>1.2685323700234736</c:v>
                </c:pt>
                <c:pt idx="14">
                  <c:v>1.0400676383446141</c:v>
                </c:pt>
                <c:pt idx="15">
                  <c:v>1.1534603693893828</c:v>
                </c:pt>
                <c:pt idx="16">
                  <c:v>1.1299138781263651</c:v>
                </c:pt>
                <c:pt idx="17">
                  <c:v>1.2404851392589078</c:v>
                </c:pt>
                <c:pt idx="18">
                  <c:v>0.9437535227342801</c:v>
                </c:pt>
                <c:pt idx="19">
                  <c:v>1.3446393918827202</c:v>
                </c:pt>
                <c:pt idx="20">
                  <c:v>1.365959350718858</c:v>
                </c:pt>
                <c:pt idx="21">
                  <c:v>1.2361712798560593</c:v>
                </c:pt>
                <c:pt idx="22">
                  <c:v>1.3297074596774194</c:v>
                </c:pt>
                <c:pt idx="23">
                  <c:v>1.270974741752858</c:v>
                </c:pt>
                <c:pt idx="24">
                  <c:v>1.3018514848057419</c:v>
                </c:pt>
                <c:pt idx="25">
                  <c:v>1.2511375959290536</c:v>
                </c:pt>
                <c:pt idx="26">
                  <c:v>1.206797377910683</c:v>
                </c:pt>
                <c:pt idx="27">
                  <c:v>1.2771354318064583</c:v>
                </c:pt>
                <c:pt idx="28">
                  <c:v>1.2966288752884518</c:v>
                </c:pt>
                <c:pt idx="29">
                  <c:v>1.241325967291663</c:v>
                </c:pt>
                <c:pt idx="30">
                  <c:v>1.2425966317820514</c:v>
                </c:pt>
                <c:pt idx="31">
                  <c:v>1.2255449181293099</c:v>
                </c:pt>
                <c:pt idx="32">
                  <c:v>1.2325391373337253</c:v>
                </c:pt>
                <c:pt idx="33">
                  <c:v>1.185833068549202</c:v>
                </c:pt>
                <c:pt idx="34">
                  <c:v>1.3319154882648</c:v>
                </c:pt>
                <c:pt idx="35">
                  <c:v>1.3609395281345638</c:v>
                </c:pt>
                <c:pt idx="36">
                  <c:v>1.4086904429584972</c:v>
                </c:pt>
                <c:pt idx="37">
                  <c:v>1.3292836047774157</c:v>
                </c:pt>
                <c:pt idx="38">
                  <c:v>1.3326042716632678</c:v>
                </c:pt>
                <c:pt idx="39">
                  <c:v>1.399352187662615</c:v>
                </c:pt>
                <c:pt idx="40">
                  <c:v>1.4210151365975874</c:v>
                </c:pt>
                <c:pt idx="41">
                  <c:v>1.269546436285097</c:v>
                </c:pt>
                <c:pt idx="42">
                  <c:v>1.4140765546102645</c:v>
                </c:pt>
                <c:pt idx="43">
                  <c:v>1.4198661218115476</c:v>
                </c:pt>
                <c:pt idx="44">
                  <c:v>1.4497736764049765</c:v>
                </c:pt>
                <c:pt idx="45">
                  <c:v>1.4493010835066213</c:v>
                </c:pt>
                <c:pt idx="46">
                  <c:v>1.4165907154560349</c:v>
                </c:pt>
                <c:pt idx="47">
                  <c:v>1.3972232680215193</c:v>
                </c:pt>
                <c:pt idx="48">
                  <c:v>1.3963342188348449</c:v>
                </c:pt>
                <c:pt idx="49">
                  <c:v>1.4260370235433328</c:v>
                </c:pt>
                <c:pt idx="50">
                  <c:v>1.4360303754870705</c:v>
                </c:pt>
                <c:pt idx="51">
                  <c:v>1.405417742495519</c:v>
                </c:pt>
                <c:pt idx="52">
                  <c:v>1.4504585145418472</c:v>
                </c:pt>
                <c:pt idx="53">
                  <c:v>1.4206288880227904</c:v>
                </c:pt>
                <c:pt idx="54">
                  <c:v>1.4467348767094632</c:v>
                </c:pt>
                <c:pt idx="55">
                  <c:v>1.4040726441704734</c:v>
                </c:pt>
                <c:pt idx="56">
                  <c:v>1.3857339118843262</c:v>
                </c:pt>
                <c:pt idx="57">
                  <c:v>1.3660390121753048</c:v>
                </c:pt>
                <c:pt idx="58">
                  <c:v>1.2841139164103117</c:v>
                </c:pt>
                <c:pt idx="59">
                  <c:v>1.249702094847027</c:v>
                </c:pt>
                <c:pt idx="60">
                  <c:v>1.2595972902319879</c:v>
                </c:pt>
                <c:pt idx="61">
                  <c:v>1.2680753398058253</c:v>
                </c:pt>
                <c:pt idx="62">
                  <c:v>1.225231572580669</c:v>
                </c:pt>
                <c:pt idx="63">
                  <c:v>1.2598252240132661</c:v>
                </c:pt>
                <c:pt idx="64">
                  <c:v>1.2417960270856936</c:v>
                </c:pt>
                <c:pt idx="65">
                  <c:v>1.1777535250028959</c:v>
                </c:pt>
                <c:pt idx="66">
                  <c:v>1.2167213398454026</c:v>
                </c:pt>
                <c:pt idx="67">
                  <c:v>1.205416149827121</c:v>
                </c:pt>
                <c:pt idx="68">
                  <c:v>1.0590651515151517</c:v>
                </c:pt>
                <c:pt idx="69">
                  <c:v>0.9519312430389559</c:v>
                </c:pt>
                <c:pt idx="70">
                  <c:v>0.9395015117157973</c:v>
                </c:pt>
                <c:pt idx="71">
                  <c:v>1.2157161646969117</c:v>
                </c:pt>
                <c:pt idx="72">
                  <c:v>1.3540043857957562</c:v>
                </c:pt>
                <c:pt idx="73">
                  <c:v>1.3643595203836931</c:v>
                </c:pt>
                <c:pt idx="74">
                  <c:v>1.2636847024813298</c:v>
                </c:pt>
                <c:pt idx="75">
                  <c:v>1.247132939649495</c:v>
                </c:pt>
                <c:pt idx="76">
                  <c:v>1.221522812476936</c:v>
                </c:pt>
                <c:pt idx="77">
                  <c:v>1.2698121113005465</c:v>
                </c:pt>
                <c:pt idx="78">
                  <c:v>1.2709233322380953</c:v>
                </c:pt>
                <c:pt idx="79">
                  <c:v>1.353416994959485</c:v>
                </c:pt>
                <c:pt idx="80">
                  <c:v>1.3839974737660319</c:v>
                </c:pt>
                <c:pt idx="81">
                  <c:v>1.373163719123112</c:v>
                </c:pt>
                <c:pt idx="82">
                  <c:v>1.3852417938931298</c:v>
                </c:pt>
                <c:pt idx="83">
                  <c:v>1.360598022666988</c:v>
                </c:pt>
                <c:pt idx="84">
                  <c:v>1.421811367475096</c:v>
                </c:pt>
                <c:pt idx="85">
                  <c:v>1.3883897566944512</c:v>
                </c:pt>
                <c:pt idx="86">
                  <c:v>1.3442856305672761</c:v>
                </c:pt>
                <c:pt idx="87">
                  <c:v>1.3216592336927013</c:v>
                </c:pt>
                <c:pt idx="88">
                  <c:v>1.3752891889968362</c:v>
                </c:pt>
                <c:pt idx="89">
                  <c:v>1.3389825560930044</c:v>
                </c:pt>
                <c:pt idx="90">
                  <c:v>1.3123872962338392</c:v>
                </c:pt>
                <c:pt idx="91">
                  <c:v>1.1163163406272654</c:v>
                </c:pt>
                <c:pt idx="92">
                  <c:v>1.3323526311680198</c:v>
                </c:pt>
                <c:pt idx="93">
                  <c:v>1.3717603055320982</c:v>
                </c:pt>
                <c:pt idx="94">
                  <c:v>1.3766865455633819</c:v>
                </c:pt>
                <c:pt idx="95">
                  <c:v>1.3651858914537556</c:v>
                </c:pt>
                <c:pt idx="96">
                  <c:v>1.3941983627447192</c:v>
                </c:pt>
                <c:pt idx="97">
                  <c:v>1.4011632823840567</c:v>
                </c:pt>
                <c:pt idx="98">
                  <c:v>1.3491336729099714</c:v>
                </c:pt>
                <c:pt idx="99">
                  <c:v>1.3063911529483796</c:v>
                </c:pt>
                <c:pt idx="100">
                  <c:v>1.3285180995926482</c:v>
                </c:pt>
                <c:pt idx="101">
                  <c:v>1.1350380517303753</c:v>
                </c:pt>
                <c:pt idx="102">
                  <c:v>1.1674462163015864</c:v>
                </c:pt>
                <c:pt idx="103">
                  <c:v>1.157228804275494</c:v>
                </c:pt>
                <c:pt idx="104">
                  <c:v>1.2002526411279393</c:v>
                </c:pt>
              </c:numCache>
            </c:numRef>
          </c:xVal>
          <c:yVal>
            <c:numRef>
              <c:f>Sheet1!$B$2:$B$106</c:f>
              <c:numCache>
                <c:formatCode>General</c:formatCode>
                <c:ptCount val="105"/>
                <c:pt idx="0">
                  <c:v>0.28523489932885904</c:v>
                </c:pt>
                <c:pt idx="1">
                  <c:v>0.3742138364779874</c:v>
                </c:pt>
                <c:pt idx="2">
                  <c:v>0.3684210526315789</c:v>
                </c:pt>
                <c:pt idx="3">
                  <c:v>0.41338582677165353</c:v>
                </c:pt>
                <c:pt idx="4">
                  <c:v>0.39316239316239315</c:v>
                </c:pt>
                <c:pt idx="5">
                  <c:v>0.41706161137440756</c:v>
                </c:pt>
                <c:pt idx="6">
                  <c:v>0.41379310344827586</c:v>
                </c:pt>
                <c:pt idx="7">
                  <c:v>0.3430232558139535</c:v>
                </c:pt>
                <c:pt idx="8">
                  <c:v>0.3401360544217687</c:v>
                </c:pt>
                <c:pt idx="9">
                  <c:v>0.4072164948453608</c:v>
                </c:pt>
                <c:pt idx="10">
                  <c:v>0.4080717488789238</c:v>
                </c:pt>
                <c:pt idx="11">
                  <c:v>0.4117647058823529</c:v>
                </c:pt>
                <c:pt idx="12">
                  <c:v>0.3900414937759336</c:v>
                </c:pt>
                <c:pt idx="13">
                  <c:v>0.3964285714285714</c:v>
                </c:pt>
                <c:pt idx="14">
                  <c:v>0.4065281899109792</c:v>
                </c:pt>
                <c:pt idx="15">
                  <c:v>0.3415492957746479</c:v>
                </c:pt>
                <c:pt idx="16">
                  <c:v>0.33725490196078434</c:v>
                </c:pt>
                <c:pt idx="17">
                  <c:v>0.2822966507177033</c:v>
                </c:pt>
                <c:pt idx="18">
                  <c:v>0.2694805194805195</c:v>
                </c:pt>
                <c:pt idx="19">
                  <c:v>0.22477064220183487</c:v>
                </c:pt>
                <c:pt idx="20">
                  <c:v>0.255</c:v>
                </c:pt>
                <c:pt idx="21">
                  <c:v>0.2345679012345679</c:v>
                </c:pt>
                <c:pt idx="22">
                  <c:v>0.26380368098159507</c:v>
                </c:pt>
                <c:pt idx="23">
                  <c:v>0.2222222222222222</c:v>
                </c:pt>
                <c:pt idx="24">
                  <c:v>0.2589928057553957</c:v>
                </c:pt>
                <c:pt idx="25">
                  <c:v>0.24113475177304963</c:v>
                </c:pt>
                <c:pt idx="26">
                  <c:v>0.35772357723577236</c:v>
                </c:pt>
                <c:pt idx="27">
                  <c:v>0.30708661417322836</c:v>
                </c:pt>
                <c:pt idx="28">
                  <c:v>0.3053435114503817</c:v>
                </c:pt>
                <c:pt idx="29">
                  <c:v>0.35135135135135137</c:v>
                </c:pt>
                <c:pt idx="30">
                  <c:v>0.3</c:v>
                </c:pt>
                <c:pt idx="31">
                  <c:v>0.3069306930693069</c:v>
                </c:pt>
                <c:pt idx="32">
                  <c:v>0.3089430894308943</c:v>
                </c:pt>
                <c:pt idx="33">
                  <c:v>0.2653061224489796</c:v>
                </c:pt>
                <c:pt idx="34">
                  <c:v>0.2857142857142857</c:v>
                </c:pt>
                <c:pt idx="35">
                  <c:v>0.2692307692307692</c:v>
                </c:pt>
                <c:pt idx="36">
                  <c:v>0.24793388429752067</c:v>
                </c:pt>
                <c:pt idx="37">
                  <c:v>0.2569444444444444</c:v>
                </c:pt>
                <c:pt idx="38">
                  <c:v>0.264</c:v>
                </c:pt>
                <c:pt idx="39">
                  <c:v>0.2206896551724138</c:v>
                </c:pt>
                <c:pt idx="40">
                  <c:v>0.24074074074074073</c:v>
                </c:pt>
                <c:pt idx="41">
                  <c:v>0.29411764705882354</c:v>
                </c:pt>
                <c:pt idx="42">
                  <c:v>0.2658959537572254</c:v>
                </c:pt>
                <c:pt idx="43">
                  <c:v>0.27586206896551724</c:v>
                </c:pt>
                <c:pt idx="44">
                  <c:v>0.245014245014245</c:v>
                </c:pt>
                <c:pt idx="45">
                  <c:v>0.265</c:v>
                </c:pt>
                <c:pt idx="46">
                  <c:v>0.27979274611398963</c:v>
                </c:pt>
                <c:pt idx="47">
                  <c:v>0.29457364341085274</c:v>
                </c:pt>
                <c:pt idx="48">
                  <c:v>0.31239388794567063</c:v>
                </c:pt>
                <c:pt idx="49">
                  <c:v>0.3096774193548387</c:v>
                </c:pt>
                <c:pt idx="50">
                  <c:v>0.2955801104972376</c:v>
                </c:pt>
                <c:pt idx="51">
                  <c:v>0.2988505747126437</c:v>
                </c:pt>
                <c:pt idx="52">
                  <c:v>0.26993865030674846</c:v>
                </c:pt>
                <c:pt idx="53">
                  <c:v>0.30363036303630364</c:v>
                </c:pt>
                <c:pt idx="54">
                  <c:v>0.25217391304347825</c:v>
                </c:pt>
                <c:pt idx="55">
                  <c:v>0.2857142857142857</c:v>
                </c:pt>
                <c:pt idx="56">
                  <c:v>0.3113207547169811</c:v>
                </c:pt>
                <c:pt idx="57">
                  <c:v>0.2903225806451613</c:v>
                </c:pt>
                <c:pt idx="58">
                  <c:v>0.2876712328767123</c:v>
                </c:pt>
                <c:pt idx="59">
                  <c:v>0.31521739130434784</c:v>
                </c:pt>
                <c:pt idx="60">
                  <c:v>0.3201058201058201</c:v>
                </c:pt>
                <c:pt idx="61">
                  <c:v>0.2809917355371901</c:v>
                </c:pt>
                <c:pt idx="62">
                  <c:v>0.33217993079584773</c:v>
                </c:pt>
                <c:pt idx="63">
                  <c:v>0.3127147766323024</c:v>
                </c:pt>
                <c:pt idx="64">
                  <c:v>0.29577464788732394</c:v>
                </c:pt>
                <c:pt idx="65">
                  <c:v>0.28294573643410853</c:v>
                </c:pt>
                <c:pt idx="66">
                  <c:v>0.3039647577092511</c:v>
                </c:pt>
                <c:pt idx="67">
                  <c:v>0.28991596638655465</c:v>
                </c:pt>
                <c:pt idx="68">
                  <c:v>0.31382978723404253</c:v>
                </c:pt>
                <c:pt idx="69">
                  <c:v>0.3412698412698413</c:v>
                </c:pt>
                <c:pt idx="70">
                  <c:v>0.2857142857142857</c:v>
                </c:pt>
                <c:pt idx="71">
                  <c:v>0.2698412698412698</c:v>
                </c:pt>
                <c:pt idx="72">
                  <c:v>0.2857142857142857</c:v>
                </c:pt>
                <c:pt idx="73">
                  <c:v>0.2457627118644068</c:v>
                </c:pt>
                <c:pt idx="74">
                  <c:v>0.26666666666666666</c:v>
                </c:pt>
                <c:pt idx="75">
                  <c:v>0.27927927927927926</c:v>
                </c:pt>
                <c:pt idx="76">
                  <c:v>0.2796610169491525</c:v>
                </c:pt>
                <c:pt idx="77">
                  <c:v>0.21100917431192662</c:v>
                </c:pt>
                <c:pt idx="78">
                  <c:v>0.28</c:v>
                </c:pt>
                <c:pt idx="79">
                  <c:v>0.24489795918367346</c:v>
                </c:pt>
                <c:pt idx="80">
                  <c:v>0.312</c:v>
                </c:pt>
                <c:pt idx="81">
                  <c:v>0.24175824175824176</c:v>
                </c:pt>
                <c:pt idx="82">
                  <c:v>0.2112676056338028</c:v>
                </c:pt>
                <c:pt idx="83">
                  <c:v>0.28169014084507044</c:v>
                </c:pt>
                <c:pt idx="84">
                  <c:v>0.2647058823529412</c:v>
                </c:pt>
                <c:pt idx="85">
                  <c:v>0.2911392405063291</c:v>
                </c:pt>
                <c:pt idx="86">
                  <c:v>0.2857142857142857</c:v>
                </c:pt>
                <c:pt idx="87">
                  <c:v>0.2972972972972973</c:v>
                </c:pt>
                <c:pt idx="88">
                  <c:v>0.2876712328767123</c:v>
                </c:pt>
                <c:pt idx="89">
                  <c:v>0.28205128205128205</c:v>
                </c:pt>
                <c:pt idx="90">
                  <c:v>0.25675675675675674</c:v>
                </c:pt>
                <c:pt idx="91">
                  <c:v>0.27380952380952384</c:v>
                </c:pt>
                <c:pt idx="92">
                  <c:v>0.21153846153846154</c:v>
                </c:pt>
                <c:pt idx="93">
                  <c:v>0.2366412213740458</c:v>
                </c:pt>
                <c:pt idx="94">
                  <c:v>0.2549019607843137</c:v>
                </c:pt>
                <c:pt idx="95">
                  <c:v>0.2605633802816901</c:v>
                </c:pt>
                <c:pt idx="96">
                  <c:v>0.24193548387096775</c:v>
                </c:pt>
                <c:pt idx="97">
                  <c:v>0.28085106382978725</c:v>
                </c:pt>
                <c:pt idx="98">
                  <c:v>0.25925925925925924</c:v>
                </c:pt>
                <c:pt idx="99">
                  <c:v>0.2980769230769231</c:v>
                </c:pt>
                <c:pt idx="100">
                  <c:v>0.2672413793103448</c:v>
                </c:pt>
                <c:pt idx="101">
                  <c:v>0.279874213836478</c:v>
                </c:pt>
                <c:pt idx="102">
                  <c:v>0.23076923076923078</c:v>
                </c:pt>
                <c:pt idx="103">
                  <c:v>0.2903225806451613</c:v>
                </c:pt>
                <c:pt idx="104">
                  <c:v>0.304093567251461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229719412724306</c:v>
                </c:pt>
                <c:pt idx="1">
                  <c:v>1.1517773206963857</c:v>
                </c:pt>
                <c:pt idx="2">
                  <c:v>1.106235369066181</c:v>
                </c:pt>
                <c:pt idx="3">
                  <c:v>1.1786777033368934</c:v>
                </c:pt>
                <c:pt idx="4">
                  <c:v>1.1725326698423455</c:v>
                </c:pt>
                <c:pt idx="5">
                  <c:v>1.1758250346396755</c:v>
                </c:pt>
                <c:pt idx="6">
                  <c:v>1.2001398623030601</c:v>
                </c:pt>
                <c:pt idx="7">
                  <c:v>1.1930124569802114</c:v>
                </c:pt>
                <c:pt idx="8">
                  <c:v>1.1619418941786064</c:v>
                </c:pt>
                <c:pt idx="9">
                  <c:v>1.1650851013831072</c:v>
                </c:pt>
                <c:pt idx="10">
                  <c:v>1.2598184084291555</c:v>
                </c:pt>
                <c:pt idx="11">
                  <c:v>1.1248677909590203</c:v>
                </c:pt>
                <c:pt idx="12">
                  <c:v>1.1658390255371889</c:v>
                </c:pt>
                <c:pt idx="13">
                  <c:v>1.21459911971831</c:v>
                </c:pt>
                <c:pt idx="14">
                  <c:v>1.1083350373019145</c:v>
                </c:pt>
                <c:pt idx="15">
                  <c:v>1.1007379707682607</c:v>
                </c:pt>
                <c:pt idx="16">
                  <c:v>1.279408588533668</c:v>
                </c:pt>
                <c:pt idx="17">
                  <c:v>1.207456980973699</c:v>
                </c:pt>
                <c:pt idx="18">
                  <c:v>1.145853430480788</c:v>
                </c:pt>
                <c:pt idx="19">
                  <c:v>1.0345136709995517</c:v>
                </c:pt>
                <c:pt idx="20">
                  <c:v>1.1990515871355942</c:v>
                </c:pt>
                <c:pt idx="21">
                  <c:v>1.1373357223766862</c:v>
                </c:pt>
                <c:pt idx="22">
                  <c:v>1.2598078675435826</c:v>
                </c:pt>
                <c:pt idx="23">
                  <c:v>1.2404581461141622</c:v>
                </c:pt>
                <c:pt idx="24">
                  <c:v>1.250330214047542</c:v>
                </c:pt>
                <c:pt idx="25">
                  <c:v>1.1773224043715846</c:v>
                </c:pt>
                <c:pt idx="26">
                  <c:v>1.3123258604299475</c:v>
                </c:pt>
                <c:pt idx="27">
                  <c:v>1.0409446851049649</c:v>
                </c:pt>
                <c:pt idx="28">
                  <c:v>1.2381852976792715</c:v>
                </c:pt>
                <c:pt idx="29">
                  <c:v>1.3432786738439488</c:v>
                </c:pt>
                <c:pt idx="30">
                  <c:v>1.279593970380818</c:v>
                </c:pt>
                <c:pt idx="31">
                  <c:v>1.3128574230782302</c:v>
                </c:pt>
                <c:pt idx="32">
                  <c:v>1.2732173749024585</c:v>
                </c:pt>
                <c:pt idx="33">
                  <c:v>1.29959775039006</c:v>
                </c:pt>
                <c:pt idx="34">
                  <c:v>1.2681039430822412</c:v>
                </c:pt>
                <c:pt idx="35">
                  <c:v>1.2899097162099824</c:v>
                </c:pt>
                <c:pt idx="36">
                  <c:v>1.188657681181639</c:v>
                </c:pt>
                <c:pt idx="37">
                  <c:v>1.2962082265026764</c:v>
                </c:pt>
                <c:pt idx="38">
                  <c:v>1.2638917067665718</c:v>
                </c:pt>
                <c:pt idx="39">
                  <c:v>1.2344261724329904</c:v>
                </c:pt>
                <c:pt idx="40">
                  <c:v>1.3535139789579371</c:v>
                </c:pt>
                <c:pt idx="41">
                  <c:v>1.277343391691863</c:v>
                </c:pt>
                <c:pt idx="42">
                  <c:v>1.3665732619297675</c:v>
                </c:pt>
                <c:pt idx="43">
                  <c:v>1.2733765226932647</c:v>
                </c:pt>
                <c:pt idx="44">
                  <c:v>1.248955032820471</c:v>
                </c:pt>
                <c:pt idx="45">
                  <c:v>1.2331767284991568</c:v>
                </c:pt>
                <c:pt idx="46">
                  <c:v>1.2896852713178293</c:v>
                </c:pt>
                <c:pt idx="47">
                  <c:v>1.2431068170193065</c:v>
                </c:pt>
                <c:pt idx="48">
                  <c:v>1.2443129363451095</c:v>
                </c:pt>
                <c:pt idx="49">
                  <c:v>1.3012056613543246</c:v>
                </c:pt>
                <c:pt idx="50">
                  <c:v>1.2680483084931629</c:v>
                </c:pt>
                <c:pt idx="51">
                  <c:v>1.2513978540689217</c:v>
                </c:pt>
              </c:numCache>
            </c:numRef>
          </c:xVal>
          <c:yVal>
            <c:numRef>
              <c:f>Sheet1!$B$109:$B$160</c:f>
              <c:numCache>
                <c:formatCode>General</c:formatCode>
                <c:ptCount val="52"/>
                <c:pt idx="0">
                  <c:v>0.270935960591133</c:v>
                </c:pt>
                <c:pt idx="1">
                  <c:v>0.2556053811659193</c:v>
                </c:pt>
                <c:pt idx="2">
                  <c:v>0.32644628099173556</c:v>
                </c:pt>
                <c:pt idx="3">
                  <c:v>0.2862903225806452</c:v>
                </c:pt>
                <c:pt idx="4">
                  <c:v>0.2548262548262548</c:v>
                </c:pt>
                <c:pt idx="5">
                  <c:v>0.28703703703703703</c:v>
                </c:pt>
                <c:pt idx="6">
                  <c:v>0.31135531135531136</c:v>
                </c:pt>
                <c:pt idx="7">
                  <c:v>0.23076923076923078</c:v>
                </c:pt>
                <c:pt idx="8">
                  <c:v>0.29365079365079366</c:v>
                </c:pt>
                <c:pt idx="9">
                  <c:v>0.3333333333333333</c:v>
                </c:pt>
                <c:pt idx="10">
                  <c:v>0.27906976744186046</c:v>
                </c:pt>
                <c:pt idx="11">
                  <c:v>0.34554973821989526</c:v>
                </c:pt>
                <c:pt idx="12">
                  <c:v>0.39490445859872614</c:v>
                </c:pt>
                <c:pt idx="13">
                  <c:v>0.3532608695652174</c:v>
                </c:pt>
                <c:pt idx="14">
                  <c:v>0.3114754098360656</c:v>
                </c:pt>
                <c:pt idx="15">
                  <c:v>0.3475177304964539</c:v>
                </c:pt>
                <c:pt idx="16">
                  <c:v>0.3008130081300813</c:v>
                </c:pt>
                <c:pt idx="17">
                  <c:v>0.34285714285714286</c:v>
                </c:pt>
                <c:pt idx="18">
                  <c:v>0.34074074074074073</c:v>
                </c:pt>
                <c:pt idx="19">
                  <c:v>0.34513274336283184</c:v>
                </c:pt>
                <c:pt idx="20">
                  <c:v>0.2767857142857143</c:v>
                </c:pt>
                <c:pt idx="21">
                  <c:v>0.2857142857142857</c:v>
                </c:pt>
                <c:pt idx="22">
                  <c:v>0.2857142857142857</c:v>
                </c:pt>
                <c:pt idx="23">
                  <c:v>0.34328358208955223</c:v>
                </c:pt>
                <c:pt idx="24">
                  <c:v>0.28735632183908044</c:v>
                </c:pt>
                <c:pt idx="25">
                  <c:v>0.21052631578947367</c:v>
                </c:pt>
                <c:pt idx="26">
                  <c:v>0.25333333333333335</c:v>
                </c:pt>
                <c:pt idx="27">
                  <c:v>0.36363636363636365</c:v>
                </c:pt>
                <c:pt idx="28">
                  <c:v>0.2967032967032967</c:v>
                </c:pt>
                <c:pt idx="29">
                  <c:v>0.2808988764044944</c:v>
                </c:pt>
                <c:pt idx="30">
                  <c:v>0.35443037974683544</c:v>
                </c:pt>
                <c:pt idx="31">
                  <c:v>0.28169014084507044</c:v>
                </c:pt>
                <c:pt idx="32">
                  <c:v>0.26605504587155965</c:v>
                </c:pt>
                <c:pt idx="33">
                  <c:v>0.3382352941176471</c:v>
                </c:pt>
                <c:pt idx="34">
                  <c:v>0.30344827586206896</c:v>
                </c:pt>
                <c:pt idx="35">
                  <c:v>0.26605504587155965</c:v>
                </c:pt>
                <c:pt idx="36">
                  <c:v>0.27631578947368424</c:v>
                </c:pt>
                <c:pt idx="37">
                  <c:v>0.24691358024691357</c:v>
                </c:pt>
                <c:pt idx="38">
                  <c:v>0.27956989247311825</c:v>
                </c:pt>
                <c:pt idx="39">
                  <c:v>0.28125</c:v>
                </c:pt>
                <c:pt idx="40">
                  <c:v>0.32038834951456313</c:v>
                </c:pt>
                <c:pt idx="41">
                  <c:v>0.26</c:v>
                </c:pt>
                <c:pt idx="42">
                  <c:v>0.23076923076923078</c:v>
                </c:pt>
                <c:pt idx="43">
                  <c:v>0.25203252032520324</c:v>
                </c:pt>
                <c:pt idx="44">
                  <c:v>0.29842931937172773</c:v>
                </c:pt>
                <c:pt idx="45">
                  <c:v>0.31343283582089554</c:v>
                </c:pt>
                <c:pt idx="46">
                  <c:v>0.35</c:v>
                </c:pt>
                <c:pt idx="47">
                  <c:v>0.30612244897959184</c:v>
                </c:pt>
                <c:pt idx="48">
                  <c:v>0.2743055555555556</c:v>
                </c:pt>
                <c:pt idx="49">
                  <c:v>0.3002754820936639</c:v>
                </c:pt>
                <c:pt idx="50">
                  <c:v>0.2803970223325062</c:v>
                </c:pt>
                <c:pt idx="51">
                  <c:v>0.282442748091603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856694941802346</c:v>
                </c:pt>
              </c:numCache>
            </c:numRef>
          </c:xVal>
          <c:yVal>
            <c:numRef>
              <c:f>Sheet1!$B$163:$B$164</c:f>
              <c:numCache>
                <c:formatCode>General</c:formatCode>
                <c:ptCount val="2"/>
                <c:pt idx="0">
                  <c:v>0.37204800371454194</c:v>
                </c:pt>
                <c:pt idx="1">
                  <c:v>0.3720480037145419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856694941802346</c:v>
                </c:pt>
                <c:pt idx="1">
                  <c:v>0.7856694941802346</c:v>
                </c:pt>
              </c:numCache>
            </c:numRef>
          </c:xVal>
          <c:yVal>
            <c:numRef>
              <c:f>Sheet1!$B$167:$B$168</c:f>
              <c:numCache>
                <c:formatCode>General</c:formatCode>
                <c:ptCount val="2"/>
                <c:pt idx="0">
                  <c:v>0.372048003714541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455570533357061</c:v>
                </c:pt>
              </c:numCache>
            </c:numRef>
          </c:xVal>
          <c:yVal>
            <c:numRef>
              <c:f>Sheet1!$B$171:$B$172</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455570533357061</c:v>
                </c:pt>
                <c:pt idx="1">
                  <c:v>1.0455570533357061</c:v>
                </c:pt>
              </c:numCache>
            </c:numRef>
          </c:xVal>
          <c:yVal>
            <c:numRef>
              <c:f>Sheet1!$B$175:$B$176</c:f>
              <c:numCache>
                <c:formatCode>General</c:formatCode>
                <c:ptCount val="2"/>
                <c:pt idx="0">
                  <c:v>0.32747345712171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73081537609503</c:v>
                </c:pt>
              </c:numCache>
            </c:numRef>
          </c:xVal>
          <c:yVal>
            <c:numRef>
              <c:f>Sheet1!$B$179:$B$180</c:f>
              <c:numCache>
                <c:formatCode>General</c:formatCode>
                <c:ptCount val="2"/>
                <c:pt idx="0">
                  <c:v>0.2884496548349647</c:v>
                </c:pt>
                <c:pt idx="1">
                  <c:v>0.288449654834964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73081537609503</c:v>
                </c:pt>
                <c:pt idx="1">
                  <c:v>1.273081537609503</c:v>
                </c:pt>
              </c:numCache>
            </c:numRef>
          </c:xVal>
          <c:yVal>
            <c:numRef>
              <c:f>Sheet1!$B$183:$B$184</c:f>
              <c:numCache>
                <c:formatCode>General</c:formatCode>
                <c:ptCount val="2"/>
                <c:pt idx="0">
                  <c:v>0.28844965483496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229719412724306</c:v>
                </c:pt>
                <c:pt idx="1">
                  <c:v>1.1517773206963857</c:v>
                </c:pt>
                <c:pt idx="2">
                  <c:v>1.106235369066181</c:v>
                </c:pt>
                <c:pt idx="3">
                  <c:v>1.1786777033368934</c:v>
                </c:pt>
                <c:pt idx="4">
                  <c:v>1.1725326698423455</c:v>
                </c:pt>
                <c:pt idx="5">
                  <c:v>1.1758250346396755</c:v>
                </c:pt>
                <c:pt idx="6">
                  <c:v>1.2001398623030601</c:v>
                </c:pt>
                <c:pt idx="7">
                  <c:v>1.1930124569802114</c:v>
                </c:pt>
                <c:pt idx="8">
                  <c:v>1.1619418941786064</c:v>
                </c:pt>
                <c:pt idx="9">
                  <c:v>1.1650851013831072</c:v>
                </c:pt>
                <c:pt idx="10">
                  <c:v>1.2598184084291555</c:v>
                </c:pt>
                <c:pt idx="11">
                  <c:v>1.1248677909590203</c:v>
                </c:pt>
                <c:pt idx="12">
                  <c:v>1.1658390255371889</c:v>
                </c:pt>
                <c:pt idx="13">
                  <c:v>1.21459911971831</c:v>
                </c:pt>
                <c:pt idx="14">
                  <c:v>1.1083350373019145</c:v>
                </c:pt>
                <c:pt idx="15">
                  <c:v>1.1007379707682607</c:v>
                </c:pt>
                <c:pt idx="16">
                  <c:v>1.279408588533668</c:v>
                </c:pt>
                <c:pt idx="17">
                  <c:v>1.207456980973699</c:v>
                </c:pt>
                <c:pt idx="18">
                  <c:v>1.145853430480788</c:v>
                </c:pt>
                <c:pt idx="19">
                  <c:v>1.0345136709995517</c:v>
                </c:pt>
                <c:pt idx="20">
                  <c:v>1.1990515871355942</c:v>
                </c:pt>
                <c:pt idx="21">
                  <c:v>1.1373357223766862</c:v>
                </c:pt>
                <c:pt idx="22">
                  <c:v>1.2598078675435826</c:v>
                </c:pt>
                <c:pt idx="23">
                  <c:v>1.2404581461141622</c:v>
                </c:pt>
                <c:pt idx="24">
                  <c:v>1.250330214047542</c:v>
                </c:pt>
                <c:pt idx="25">
                  <c:v>1.1773224043715846</c:v>
                </c:pt>
                <c:pt idx="26">
                  <c:v>1.3123258604299475</c:v>
                </c:pt>
                <c:pt idx="27">
                  <c:v>1.0409446851049649</c:v>
                </c:pt>
                <c:pt idx="28">
                  <c:v>1.2381852976792715</c:v>
                </c:pt>
                <c:pt idx="29">
                  <c:v>1.3432786738439488</c:v>
                </c:pt>
                <c:pt idx="30">
                  <c:v>1.279593970380818</c:v>
                </c:pt>
                <c:pt idx="31">
                  <c:v>1.3128574230782302</c:v>
                </c:pt>
                <c:pt idx="32">
                  <c:v>1.2732173749024585</c:v>
                </c:pt>
                <c:pt idx="33">
                  <c:v>1.29959775039006</c:v>
                </c:pt>
                <c:pt idx="34">
                  <c:v>1.2681039430822412</c:v>
                </c:pt>
                <c:pt idx="35">
                  <c:v>1.2899097162099824</c:v>
                </c:pt>
                <c:pt idx="36">
                  <c:v>1.188657681181639</c:v>
                </c:pt>
                <c:pt idx="37">
                  <c:v>1.2962082265026764</c:v>
                </c:pt>
                <c:pt idx="38">
                  <c:v>1.2638917067665718</c:v>
                </c:pt>
                <c:pt idx="39">
                  <c:v>1.2344261724329904</c:v>
                </c:pt>
                <c:pt idx="40">
                  <c:v>1.3535139789579371</c:v>
                </c:pt>
                <c:pt idx="41">
                  <c:v>1.277343391691863</c:v>
                </c:pt>
                <c:pt idx="42">
                  <c:v>1.3665732619297675</c:v>
                </c:pt>
                <c:pt idx="43">
                  <c:v>1.2733765226932647</c:v>
                </c:pt>
                <c:pt idx="44">
                  <c:v>1.248955032820471</c:v>
                </c:pt>
                <c:pt idx="45">
                  <c:v>1.2331767284991568</c:v>
                </c:pt>
                <c:pt idx="46">
                  <c:v>1.2896852713178293</c:v>
                </c:pt>
                <c:pt idx="47">
                  <c:v>1.2431068170193065</c:v>
                </c:pt>
                <c:pt idx="48">
                  <c:v>1.2443129363451095</c:v>
                </c:pt>
                <c:pt idx="49">
                  <c:v>1.3012056613543246</c:v>
                </c:pt>
                <c:pt idx="50">
                  <c:v>1.2680483084931629</c:v>
                </c:pt>
                <c:pt idx="51">
                  <c:v>1.2513978540689217</c:v>
                </c:pt>
                <c:pt idx="52">
                  <c:v>1.0455570533357061</c:v>
                </c:pt>
                <c:pt idx="53">
                  <c:v>0.7856694941802346</c:v>
                </c:pt>
                <c:pt idx="54">
                  <c:v>1.273081537609503</c:v>
                </c:pt>
              </c:numCache>
            </c:numRef>
          </c:xVal>
          <c:yVal>
            <c:numRef>
              <c:f>Sheet1!$B$187:$B$241</c:f>
              <c:numCache>
                <c:formatCode>General</c:formatCode>
                <c:ptCount val="55"/>
                <c:pt idx="0">
                  <c:v>0.3141956629074553</c:v>
                </c:pt>
                <c:pt idx="1">
                  <c:v>0.3092551158053568</c:v>
                </c:pt>
                <c:pt idx="2">
                  <c:v>0.31706623170280623</c:v>
                </c:pt>
                <c:pt idx="3">
                  <c:v>0.3046413037272775</c:v>
                </c:pt>
                <c:pt idx="4">
                  <c:v>0.3056952675365005</c:v>
                </c:pt>
                <c:pt idx="5">
                  <c:v>0.3051305784512051</c:v>
                </c:pt>
                <c:pt idx="6">
                  <c:v>0.30096022715736104</c:v>
                </c:pt>
                <c:pt idx="7">
                  <c:v>0.3021826822132385</c:v>
                </c:pt>
                <c:pt idx="8">
                  <c:v>0.3075117416486571</c:v>
                </c:pt>
                <c:pt idx="9">
                  <c:v>0.30697263528880203</c:v>
                </c:pt>
                <c:pt idx="10">
                  <c:v>0.2907244769601067</c:v>
                </c:pt>
                <c:pt idx="11">
                  <c:v>0.3138704967453562</c:v>
                </c:pt>
                <c:pt idx="12">
                  <c:v>0.3068433261851159</c:v>
                </c:pt>
                <c:pt idx="13">
                  <c:v>0.29848025141151124</c:v>
                </c:pt>
                <c:pt idx="14">
                  <c:v>0.316706107655671</c:v>
                </c:pt>
                <c:pt idx="15">
                  <c:v>0.31800911653102293</c:v>
                </c:pt>
                <c:pt idx="16">
                  <c:v>0.2873644723540071</c:v>
                </c:pt>
                <c:pt idx="17">
                  <c:v>0.2997052334663607</c:v>
                </c:pt>
                <c:pt idx="18">
                  <c:v>0.3102711502830517</c:v>
                </c:pt>
                <c:pt idx="19">
                  <c:v>0.32936755994866823</c:v>
                </c:pt>
                <c:pt idx="20">
                  <c:v>0.30114688238747545</c:v>
                </c:pt>
                <c:pt idx="21">
                  <c:v>0.31173206275606163</c:v>
                </c:pt>
                <c:pt idx="22">
                  <c:v>0.29072628487733304</c:v>
                </c:pt>
                <c:pt idx="23">
                  <c:v>0.29404504727679776</c:v>
                </c:pt>
                <c:pt idx="24">
                  <c:v>0.29235184213264265</c:v>
                </c:pt>
                <c:pt idx="25">
                  <c:v>0.30487375747409273</c:v>
                </c:pt>
                <c:pt idx="26">
                  <c:v>0.28171867509223214</c:v>
                </c:pt>
                <c:pt idx="27">
                  <c:v>0.3282645462499273</c:v>
                </c:pt>
                <c:pt idx="28">
                  <c:v>0.2944348742804015</c:v>
                </c:pt>
                <c:pt idx="29">
                  <c:v>0.2764098114121667</c:v>
                </c:pt>
                <c:pt idx="30">
                  <c:v>0.28733267663508116</c:v>
                </c:pt>
                <c:pt idx="31">
                  <c:v>0.2816275042639329</c:v>
                </c:pt>
                <c:pt idx="32">
                  <c:v>0.288426356737266</c:v>
                </c:pt>
                <c:pt idx="33">
                  <c:v>0.2839017335497251</c:v>
                </c:pt>
                <c:pt idx="34">
                  <c:v>0.2893033856556958</c:v>
                </c:pt>
                <c:pt idx="35">
                  <c:v>0.2855633741929172</c:v>
                </c:pt>
                <c:pt idx="36">
                  <c:v>0.3029295904429573</c:v>
                </c:pt>
                <c:pt idx="37">
                  <c:v>0.2844830868508859</c:v>
                </c:pt>
                <c:pt idx="38">
                  <c:v>0.2900258462633637</c:v>
                </c:pt>
                <c:pt idx="39">
                  <c:v>0.2950796196617622</c:v>
                </c:pt>
                <c:pt idx="40">
                  <c:v>0.2746543057381829</c:v>
                </c:pt>
                <c:pt idx="41">
                  <c:v>0.28771868404904755</c:v>
                </c:pt>
                <c:pt idx="42">
                  <c:v>0.27241444624206723</c:v>
                </c:pt>
                <c:pt idx="43">
                  <c:v>0.288399060545638</c:v>
                </c:pt>
                <c:pt idx="44">
                  <c:v>0.292587705980373</c:v>
                </c:pt>
                <c:pt idx="45">
                  <c:v>0.2952939177105983</c:v>
                </c:pt>
                <c:pt idx="46">
                  <c:v>0.28560186979976854</c:v>
                </c:pt>
                <c:pt idx="47">
                  <c:v>0.2935907611807104</c:v>
                </c:pt>
                <c:pt idx="48">
                  <c:v>0.29338389394066544</c:v>
                </c:pt>
                <c:pt idx="49">
                  <c:v>0.28362595312211775</c:v>
                </c:pt>
                <c:pt idx="50">
                  <c:v>0.28931292780765994</c:v>
                </c:pt>
                <c:pt idx="51">
                  <c:v>0.2921687261342009</c:v>
                </c:pt>
                <c:pt idx="52">
                  <c:v>0.32747345712171916</c:v>
                </c:pt>
                <c:pt idx="53">
                  <c:v>0.37204800371454194</c:v>
                </c:pt>
                <c:pt idx="54">
                  <c:v>0.28844965483496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6.2235</c:v>
                </c:pt>
                <c:pt idx="1">
                  <c:v>682.7479</c:v>
                </c:pt>
                <c:pt idx="2">
                  <c:v>688.4107</c:v>
                </c:pt>
                <c:pt idx="3">
                  <c:v>681.0571</c:v>
                </c:pt>
                <c:pt idx="4">
                  <c:v>682.4239</c:v>
                </c:pt>
                <c:pt idx="5">
                  <c:v>678.7386</c:v>
                </c:pt>
                <c:pt idx="6">
                  <c:v>637.1979</c:v>
                </c:pt>
                <c:pt idx="7">
                  <c:v>672.7119</c:v>
                </c:pt>
                <c:pt idx="8">
                  <c:v>674.42</c:v>
                </c:pt>
                <c:pt idx="9">
                  <c:v>619.3924</c:v>
                </c:pt>
                <c:pt idx="10">
                  <c:v>580.0989</c:v>
                </c:pt>
                <c:pt idx="11">
                  <c:v>611.3407</c:v>
                </c:pt>
                <c:pt idx="12">
                  <c:v>607.6809</c:v>
                </c:pt>
                <c:pt idx="13">
                  <c:v>590.018</c:v>
                </c:pt>
                <c:pt idx="14">
                  <c:v>483.9416</c:v>
                </c:pt>
                <c:pt idx="15">
                  <c:v>521.6701</c:v>
                </c:pt>
                <c:pt idx="16">
                  <c:v>526.8837</c:v>
                </c:pt>
                <c:pt idx="17">
                  <c:v>565.4068</c:v>
                </c:pt>
                <c:pt idx="18">
                  <c:v>436.1807</c:v>
                </c:pt>
                <c:pt idx="19">
                  <c:v>619.1224</c:v>
                </c:pt>
                <c:pt idx="20">
                  <c:v>628.6078</c:v>
                </c:pt>
                <c:pt idx="21">
                  <c:v>612.5</c:v>
                </c:pt>
                <c:pt idx="22">
                  <c:v>659.5349</c:v>
                </c:pt>
                <c:pt idx="23">
                  <c:v>622.7353</c:v>
                </c:pt>
                <c:pt idx="24">
                  <c:v>643.0278</c:v>
                </c:pt>
                <c:pt idx="25">
                  <c:v>624.0588</c:v>
                </c:pt>
                <c:pt idx="26">
                  <c:v>597.4318</c:v>
                </c:pt>
                <c:pt idx="27">
                  <c:v>635.3077</c:v>
                </c:pt>
                <c:pt idx="28">
                  <c:v>646.175</c:v>
                </c:pt>
                <c:pt idx="29">
                  <c:v>622.2885</c:v>
                </c:pt>
                <c:pt idx="30">
                  <c:v>616.1818</c:v>
                </c:pt>
                <c:pt idx="31">
                  <c:v>609.4516</c:v>
                </c:pt>
                <c:pt idx="32">
                  <c:v>608.0526</c:v>
                </c:pt>
                <c:pt idx="33">
                  <c:v>582.5769</c:v>
                </c:pt>
                <c:pt idx="34">
                  <c:v>634.78</c:v>
                </c:pt>
                <c:pt idx="35">
                  <c:v>629.5102</c:v>
                </c:pt>
                <c:pt idx="36">
                  <c:v>660.0667</c:v>
                </c:pt>
                <c:pt idx="37">
                  <c:v>612.1351</c:v>
                </c:pt>
                <c:pt idx="38">
                  <c:v>613.9697</c:v>
                </c:pt>
                <c:pt idx="39">
                  <c:v>637.0625</c:v>
                </c:pt>
                <c:pt idx="40">
                  <c:v>656.8462</c:v>
                </c:pt>
                <c:pt idx="41">
                  <c:v>587.8</c:v>
                </c:pt>
                <c:pt idx="42">
                  <c:v>657.5217</c:v>
                </c:pt>
                <c:pt idx="43">
                  <c:v>651.6964</c:v>
                </c:pt>
                <c:pt idx="44">
                  <c:v>663.8605</c:v>
                </c:pt>
                <c:pt idx="45">
                  <c:v>662.1132</c:v>
                </c:pt>
                <c:pt idx="46">
                  <c:v>648.4444</c:v>
                </c:pt>
                <c:pt idx="47">
                  <c:v>647.6053</c:v>
                </c:pt>
                <c:pt idx="48">
                  <c:v>644.1576</c:v>
                </c:pt>
                <c:pt idx="49">
                  <c:v>644.2667</c:v>
                </c:pt>
                <c:pt idx="50">
                  <c:v>648.6262</c:v>
                </c:pt>
                <c:pt idx="51">
                  <c:v>649.641</c:v>
                </c:pt>
                <c:pt idx="52">
                  <c:v>665.8295</c:v>
                </c:pt>
                <c:pt idx="53">
                  <c:v>659.75</c:v>
                </c:pt>
                <c:pt idx="54">
                  <c:v>662.5862</c:v>
                </c:pt>
                <c:pt idx="55">
                  <c:v>648.55</c:v>
                </c:pt>
                <c:pt idx="56">
                  <c:v>652.0</c:v>
                </c:pt>
                <c:pt idx="57">
                  <c:v>644.5972</c:v>
                </c:pt>
                <c:pt idx="58">
                  <c:v>633.9881</c:v>
                </c:pt>
                <c:pt idx="59">
                  <c:v>635.9569</c:v>
                </c:pt>
                <c:pt idx="60">
                  <c:v>645.3223</c:v>
                </c:pt>
                <c:pt idx="61">
                  <c:v>653.0588</c:v>
                </c:pt>
                <c:pt idx="62">
                  <c:v>620.4792</c:v>
                </c:pt>
                <c:pt idx="63">
                  <c:v>643.1758</c:v>
                </c:pt>
                <c:pt idx="64">
                  <c:v>646.1667</c:v>
                </c:pt>
                <c:pt idx="65">
                  <c:v>623.3151</c:v>
                </c:pt>
                <c:pt idx="66">
                  <c:v>632.7681</c:v>
                </c:pt>
                <c:pt idx="67">
                  <c:v>623.5942</c:v>
                </c:pt>
                <c:pt idx="68">
                  <c:v>559.1864</c:v>
                </c:pt>
                <c:pt idx="69">
                  <c:v>498.1163</c:v>
                </c:pt>
                <c:pt idx="70">
                  <c:v>497.1842</c:v>
                </c:pt>
                <c:pt idx="71">
                  <c:v>637.7647</c:v>
                </c:pt>
                <c:pt idx="72">
                  <c:v>695.125</c:v>
                </c:pt>
                <c:pt idx="73">
                  <c:v>711.1724</c:v>
                </c:pt>
                <c:pt idx="74">
                  <c:v>655.6944</c:v>
                </c:pt>
                <c:pt idx="75">
                  <c:v>662.4194</c:v>
                </c:pt>
                <c:pt idx="76">
                  <c:v>648.7879</c:v>
                </c:pt>
                <c:pt idx="77">
                  <c:v>657.6522</c:v>
                </c:pt>
                <c:pt idx="78">
                  <c:v>654.8571</c:v>
                </c:pt>
                <c:pt idx="79">
                  <c:v>711.25</c:v>
                </c:pt>
                <c:pt idx="80">
                  <c:v>712.2051</c:v>
                </c:pt>
                <c:pt idx="81">
                  <c:v>709.1818</c:v>
                </c:pt>
                <c:pt idx="82">
                  <c:v>725.8667</c:v>
                </c:pt>
                <c:pt idx="83">
                  <c:v>705.3</c:v>
                </c:pt>
                <c:pt idx="84">
                  <c:v>735.8889</c:v>
                </c:pt>
                <c:pt idx="85">
                  <c:v>711.087</c:v>
                </c:pt>
                <c:pt idx="86">
                  <c:v>688.1667</c:v>
                </c:pt>
                <c:pt idx="87">
                  <c:v>681.6061</c:v>
                </c:pt>
                <c:pt idx="88">
                  <c:v>736.2381</c:v>
                </c:pt>
                <c:pt idx="89">
                  <c:v>701.8182</c:v>
                </c:pt>
                <c:pt idx="90">
                  <c:v>700.4211</c:v>
                </c:pt>
                <c:pt idx="91">
                  <c:v>576.3913</c:v>
                </c:pt>
                <c:pt idx="92">
                  <c:v>682.5909</c:v>
                </c:pt>
                <c:pt idx="93">
                  <c:v>706.2903</c:v>
                </c:pt>
                <c:pt idx="94">
                  <c:v>721.2308</c:v>
                </c:pt>
                <c:pt idx="95">
                  <c:v>687.7027</c:v>
                </c:pt>
                <c:pt idx="96">
                  <c:v>722.1111</c:v>
                </c:pt>
                <c:pt idx="97">
                  <c:v>725.6818</c:v>
                </c:pt>
                <c:pt idx="98">
                  <c:v>703.3247</c:v>
                </c:pt>
                <c:pt idx="99">
                  <c:v>682.7984</c:v>
                </c:pt>
                <c:pt idx="100">
                  <c:v>699.2016</c:v>
                </c:pt>
                <c:pt idx="101">
                  <c:v>690.8652</c:v>
                </c:pt>
                <c:pt idx="102">
                  <c:v>714.8</c:v>
                </c:pt>
                <c:pt idx="103">
                  <c:v>714.7302</c:v>
                </c:pt>
                <c:pt idx="104">
                  <c:v>726.1154</c:v>
                </c:pt>
              </c:numCache>
            </c:numRef>
          </c:xVal>
          <c:yVal>
            <c:numRef>
              <c:f>Sheet1!$B$2:$B$106</c:f>
              <c:numCache>
                <c:formatCode>General</c:formatCode>
                <c:ptCount val="105"/>
                <c:pt idx="0">
                  <c:v>0.28523489932885904</c:v>
                </c:pt>
                <c:pt idx="1">
                  <c:v>0.3742138364779874</c:v>
                </c:pt>
                <c:pt idx="2">
                  <c:v>0.3684210526315789</c:v>
                </c:pt>
                <c:pt idx="3">
                  <c:v>0.41338582677165353</c:v>
                </c:pt>
                <c:pt idx="4">
                  <c:v>0.39316239316239315</c:v>
                </c:pt>
                <c:pt idx="5">
                  <c:v>0.41706161137440756</c:v>
                </c:pt>
                <c:pt idx="6">
                  <c:v>0.41379310344827586</c:v>
                </c:pt>
                <c:pt idx="7">
                  <c:v>0.3430232558139535</c:v>
                </c:pt>
                <c:pt idx="8">
                  <c:v>0.3401360544217687</c:v>
                </c:pt>
                <c:pt idx="9">
                  <c:v>0.4072164948453608</c:v>
                </c:pt>
                <c:pt idx="10">
                  <c:v>0.4080717488789238</c:v>
                </c:pt>
                <c:pt idx="11">
                  <c:v>0.4117647058823529</c:v>
                </c:pt>
                <c:pt idx="12">
                  <c:v>0.3900414937759336</c:v>
                </c:pt>
                <c:pt idx="13">
                  <c:v>0.3964285714285714</c:v>
                </c:pt>
                <c:pt idx="14">
                  <c:v>0.4065281899109792</c:v>
                </c:pt>
                <c:pt idx="15">
                  <c:v>0.3415492957746479</c:v>
                </c:pt>
                <c:pt idx="16">
                  <c:v>0.33725490196078434</c:v>
                </c:pt>
                <c:pt idx="17">
                  <c:v>0.2822966507177033</c:v>
                </c:pt>
                <c:pt idx="18">
                  <c:v>0.2694805194805195</c:v>
                </c:pt>
                <c:pt idx="19">
                  <c:v>0.22477064220183487</c:v>
                </c:pt>
                <c:pt idx="20">
                  <c:v>0.255</c:v>
                </c:pt>
                <c:pt idx="21">
                  <c:v>0.2345679012345679</c:v>
                </c:pt>
                <c:pt idx="22">
                  <c:v>0.26380368098159507</c:v>
                </c:pt>
                <c:pt idx="23">
                  <c:v>0.2222222222222222</c:v>
                </c:pt>
                <c:pt idx="24">
                  <c:v>0.2589928057553957</c:v>
                </c:pt>
                <c:pt idx="25">
                  <c:v>0.24113475177304963</c:v>
                </c:pt>
                <c:pt idx="26">
                  <c:v>0.35772357723577236</c:v>
                </c:pt>
                <c:pt idx="27">
                  <c:v>0.30708661417322836</c:v>
                </c:pt>
                <c:pt idx="28">
                  <c:v>0.3053435114503817</c:v>
                </c:pt>
                <c:pt idx="29">
                  <c:v>0.35135135135135137</c:v>
                </c:pt>
                <c:pt idx="30">
                  <c:v>0.3</c:v>
                </c:pt>
                <c:pt idx="31">
                  <c:v>0.3069306930693069</c:v>
                </c:pt>
                <c:pt idx="32">
                  <c:v>0.3089430894308943</c:v>
                </c:pt>
                <c:pt idx="33">
                  <c:v>0.2653061224489796</c:v>
                </c:pt>
                <c:pt idx="34">
                  <c:v>0.2857142857142857</c:v>
                </c:pt>
                <c:pt idx="35">
                  <c:v>0.2692307692307692</c:v>
                </c:pt>
                <c:pt idx="36">
                  <c:v>0.24793388429752067</c:v>
                </c:pt>
                <c:pt idx="37">
                  <c:v>0.2569444444444444</c:v>
                </c:pt>
                <c:pt idx="38">
                  <c:v>0.264</c:v>
                </c:pt>
                <c:pt idx="39">
                  <c:v>0.2206896551724138</c:v>
                </c:pt>
                <c:pt idx="40">
                  <c:v>0.24074074074074073</c:v>
                </c:pt>
                <c:pt idx="41">
                  <c:v>0.29411764705882354</c:v>
                </c:pt>
                <c:pt idx="42">
                  <c:v>0.2658959537572254</c:v>
                </c:pt>
                <c:pt idx="43">
                  <c:v>0.27586206896551724</c:v>
                </c:pt>
                <c:pt idx="44">
                  <c:v>0.245014245014245</c:v>
                </c:pt>
                <c:pt idx="45">
                  <c:v>0.265</c:v>
                </c:pt>
                <c:pt idx="46">
                  <c:v>0.27979274611398963</c:v>
                </c:pt>
                <c:pt idx="47">
                  <c:v>0.29457364341085274</c:v>
                </c:pt>
                <c:pt idx="48">
                  <c:v>0.31239388794567063</c:v>
                </c:pt>
                <c:pt idx="49">
                  <c:v>0.3096774193548387</c:v>
                </c:pt>
                <c:pt idx="50">
                  <c:v>0.2955801104972376</c:v>
                </c:pt>
                <c:pt idx="51">
                  <c:v>0.2988505747126437</c:v>
                </c:pt>
                <c:pt idx="52">
                  <c:v>0.26993865030674846</c:v>
                </c:pt>
                <c:pt idx="53">
                  <c:v>0.30363036303630364</c:v>
                </c:pt>
                <c:pt idx="54">
                  <c:v>0.25217391304347825</c:v>
                </c:pt>
                <c:pt idx="55">
                  <c:v>0.2857142857142857</c:v>
                </c:pt>
                <c:pt idx="56">
                  <c:v>0.3113207547169811</c:v>
                </c:pt>
                <c:pt idx="57">
                  <c:v>0.2903225806451613</c:v>
                </c:pt>
                <c:pt idx="58">
                  <c:v>0.2876712328767123</c:v>
                </c:pt>
                <c:pt idx="59">
                  <c:v>0.31521739130434784</c:v>
                </c:pt>
                <c:pt idx="60">
                  <c:v>0.3201058201058201</c:v>
                </c:pt>
                <c:pt idx="61">
                  <c:v>0.2809917355371901</c:v>
                </c:pt>
                <c:pt idx="62">
                  <c:v>0.33217993079584773</c:v>
                </c:pt>
                <c:pt idx="63">
                  <c:v>0.3127147766323024</c:v>
                </c:pt>
                <c:pt idx="64">
                  <c:v>0.29577464788732394</c:v>
                </c:pt>
                <c:pt idx="65">
                  <c:v>0.28294573643410853</c:v>
                </c:pt>
                <c:pt idx="66">
                  <c:v>0.3039647577092511</c:v>
                </c:pt>
                <c:pt idx="67">
                  <c:v>0.28991596638655465</c:v>
                </c:pt>
                <c:pt idx="68">
                  <c:v>0.31382978723404253</c:v>
                </c:pt>
                <c:pt idx="69">
                  <c:v>0.3412698412698413</c:v>
                </c:pt>
                <c:pt idx="70">
                  <c:v>0.2857142857142857</c:v>
                </c:pt>
                <c:pt idx="71">
                  <c:v>0.2698412698412698</c:v>
                </c:pt>
                <c:pt idx="72">
                  <c:v>0.2857142857142857</c:v>
                </c:pt>
                <c:pt idx="73">
                  <c:v>0.2457627118644068</c:v>
                </c:pt>
                <c:pt idx="74">
                  <c:v>0.26666666666666666</c:v>
                </c:pt>
                <c:pt idx="75">
                  <c:v>0.27927927927927926</c:v>
                </c:pt>
                <c:pt idx="76">
                  <c:v>0.2796610169491525</c:v>
                </c:pt>
                <c:pt idx="77">
                  <c:v>0.21100917431192662</c:v>
                </c:pt>
                <c:pt idx="78">
                  <c:v>0.28</c:v>
                </c:pt>
                <c:pt idx="79">
                  <c:v>0.24489795918367346</c:v>
                </c:pt>
                <c:pt idx="80">
                  <c:v>0.312</c:v>
                </c:pt>
                <c:pt idx="81">
                  <c:v>0.24175824175824176</c:v>
                </c:pt>
                <c:pt idx="82">
                  <c:v>0.2112676056338028</c:v>
                </c:pt>
                <c:pt idx="83">
                  <c:v>0.28169014084507044</c:v>
                </c:pt>
                <c:pt idx="84">
                  <c:v>0.2647058823529412</c:v>
                </c:pt>
                <c:pt idx="85">
                  <c:v>0.2911392405063291</c:v>
                </c:pt>
                <c:pt idx="86">
                  <c:v>0.2857142857142857</c:v>
                </c:pt>
                <c:pt idx="87">
                  <c:v>0.2972972972972973</c:v>
                </c:pt>
                <c:pt idx="88">
                  <c:v>0.2876712328767123</c:v>
                </c:pt>
                <c:pt idx="89">
                  <c:v>0.28205128205128205</c:v>
                </c:pt>
                <c:pt idx="90">
                  <c:v>0.25675675675675674</c:v>
                </c:pt>
                <c:pt idx="91">
                  <c:v>0.27380952380952384</c:v>
                </c:pt>
                <c:pt idx="92">
                  <c:v>0.21153846153846154</c:v>
                </c:pt>
                <c:pt idx="93">
                  <c:v>0.2366412213740458</c:v>
                </c:pt>
                <c:pt idx="94">
                  <c:v>0.2549019607843137</c:v>
                </c:pt>
                <c:pt idx="95">
                  <c:v>0.2605633802816901</c:v>
                </c:pt>
                <c:pt idx="96">
                  <c:v>0.24193548387096775</c:v>
                </c:pt>
                <c:pt idx="97">
                  <c:v>0.28085106382978725</c:v>
                </c:pt>
                <c:pt idx="98">
                  <c:v>0.25925925925925924</c:v>
                </c:pt>
                <c:pt idx="99">
                  <c:v>0.2980769230769231</c:v>
                </c:pt>
                <c:pt idx="100">
                  <c:v>0.2672413793103448</c:v>
                </c:pt>
                <c:pt idx="101">
                  <c:v>0.279874213836478</c:v>
                </c:pt>
                <c:pt idx="102">
                  <c:v>0.23076923076923078</c:v>
                </c:pt>
                <c:pt idx="103">
                  <c:v>0.2903225806451613</c:v>
                </c:pt>
                <c:pt idx="104">
                  <c:v>0.304093567251461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26.5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numCache>
            </c:numRef>
          </c:xVal>
          <c:yVal>
            <c:numRef>
              <c:f>Sheet1!$B$109:$B$160</c:f>
              <c:numCache>
                <c:formatCode>General</c:formatCode>
                <c:ptCount val="52"/>
                <c:pt idx="0">
                  <c:v>0.270935960591133</c:v>
                </c:pt>
                <c:pt idx="1">
                  <c:v>0.2556053811659193</c:v>
                </c:pt>
                <c:pt idx="2">
                  <c:v>0.32644628099173556</c:v>
                </c:pt>
                <c:pt idx="3">
                  <c:v>0.2862903225806452</c:v>
                </c:pt>
                <c:pt idx="4">
                  <c:v>0.2548262548262548</c:v>
                </c:pt>
                <c:pt idx="5">
                  <c:v>0.28703703703703703</c:v>
                </c:pt>
                <c:pt idx="6">
                  <c:v>0.31135531135531136</c:v>
                </c:pt>
                <c:pt idx="7">
                  <c:v>0.23076923076923078</c:v>
                </c:pt>
                <c:pt idx="8">
                  <c:v>0.29365079365079366</c:v>
                </c:pt>
                <c:pt idx="9">
                  <c:v>0.3333333333333333</c:v>
                </c:pt>
                <c:pt idx="10">
                  <c:v>0.27906976744186046</c:v>
                </c:pt>
                <c:pt idx="11">
                  <c:v>0.34554973821989526</c:v>
                </c:pt>
                <c:pt idx="12">
                  <c:v>0.39490445859872614</c:v>
                </c:pt>
                <c:pt idx="13">
                  <c:v>0.3532608695652174</c:v>
                </c:pt>
                <c:pt idx="14">
                  <c:v>0.3114754098360656</c:v>
                </c:pt>
                <c:pt idx="15">
                  <c:v>0.3475177304964539</c:v>
                </c:pt>
                <c:pt idx="16">
                  <c:v>0.3008130081300813</c:v>
                </c:pt>
                <c:pt idx="17">
                  <c:v>0.34285714285714286</c:v>
                </c:pt>
                <c:pt idx="18">
                  <c:v>0.34074074074074073</c:v>
                </c:pt>
                <c:pt idx="19">
                  <c:v>0.34513274336283184</c:v>
                </c:pt>
                <c:pt idx="20">
                  <c:v>0.2767857142857143</c:v>
                </c:pt>
                <c:pt idx="21">
                  <c:v>0.2857142857142857</c:v>
                </c:pt>
                <c:pt idx="22">
                  <c:v>0.2857142857142857</c:v>
                </c:pt>
                <c:pt idx="23">
                  <c:v>0.34328358208955223</c:v>
                </c:pt>
                <c:pt idx="24">
                  <c:v>0.28735632183908044</c:v>
                </c:pt>
                <c:pt idx="25">
                  <c:v>0.21052631578947367</c:v>
                </c:pt>
                <c:pt idx="26">
                  <c:v>0.25333333333333335</c:v>
                </c:pt>
                <c:pt idx="27">
                  <c:v>0.36363636363636365</c:v>
                </c:pt>
                <c:pt idx="28">
                  <c:v>0.2967032967032967</c:v>
                </c:pt>
                <c:pt idx="29">
                  <c:v>0.2808988764044944</c:v>
                </c:pt>
                <c:pt idx="30">
                  <c:v>0.35443037974683544</c:v>
                </c:pt>
                <c:pt idx="31">
                  <c:v>0.28169014084507044</c:v>
                </c:pt>
                <c:pt idx="32">
                  <c:v>0.26605504587155965</c:v>
                </c:pt>
                <c:pt idx="33">
                  <c:v>0.3382352941176471</c:v>
                </c:pt>
                <c:pt idx="34">
                  <c:v>0.30344827586206896</c:v>
                </c:pt>
                <c:pt idx="35">
                  <c:v>0.26605504587155965</c:v>
                </c:pt>
                <c:pt idx="36">
                  <c:v>0.27631578947368424</c:v>
                </c:pt>
                <c:pt idx="37">
                  <c:v>0.24691358024691357</c:v>
                </c:pt>
                <c:pt idx="38">
                  <c:v>0.27956989247311825</c:v>
                </c:pt>
                <c:pt idx="39">
                  <c:v>0.28125</c:v>
                </c:pt>
                <c:pt idx="40">
                  <c:v>0.32038834951456313</c:v>
                </c:pt>
                <c:pt idx="41">
                  <c:v>0.26</c:v>
                </c:pt>
                <c:pt idx="42">
                  <c:v>0.23076923076923078</c:v>
                </c:pt>
                <c:pt idx="43">
                  <c:v>0.25203252032520324</c:v>
                </c:pt>
                <c:pt idx="44">
                  <c:v>0.29842931937172773</c:v>
                </c:pt>
                <c:pt idx="45">
                  <c:v>0.31343283582089554</c:v>
                </c:pt>
                <c:pt idx="46">
                  <c:v>0.35</c:v>
                </c:pt>
                <c:pt idx="47">
                  <c:v>0.30612244897959184</c:v>
                </c:pt>
                <c:pt idx="48">
                  <c:v>0.2743055555555556</c:v>
                </c:pt>
                <c:pt idx="49">
                  <c:v>0.3002754820936639</c:v>
                </c:pt>
                <c:pt idx="50">
                  <c:v>0.2803970223325062</c:v>
                </c:pt>
                <c:pt idx="51">
                  <c:v>0.282442748091603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66.6763717136879</c:v>
                </c:pt>
              </c:numCache>
            </c:numRef>
          </c:xVal>
          <c:yVal>
            <c:numRef>
              <c:f>Sheet1!$B$163:$B$164</c:f>
              <c:numCache>
                <c:formatCode>General</c:formatCode>
                <c:ptCount val="2"/>
                <c:pt idx="0">
                  <c:v>0.37204800371454194</c:v>
                </c:pt>
                <c:pt idx="1">
                  <c:v>0.3720480037145419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66.6763717136879</c:v>
                </c:pt>
                <c:pt idx="1">
                  <c:v>466.6763717136879</c:v>
                </c:pt>
              </c:numCache>
            </c:numRef>
          </c:xVal>
          <c:yVal>
            <c:numRef>
              <c:f>Sheet1!$B$167:$B$168</c:f>
              <c:numCache>
                <c:formatCode>General</c:formatCode>
                <c:ptCount val="2"/>
                <c:pt idx="0">
                  <c:v>0.372048003714541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14.1689485592887</c:v>
                </c:pt>
              </c:numCache>
            </c:numRef>
          </c:xVal>
          <c:yVal>
            <c:numRef>
              <c:f>Sheet1!$B$171:$B$172</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14.1689485592887</c:v>
                </c:pt>
                <c:pt idx="1">
                  <c:v>614.1689485592887</c:v>
                </c:pt>
              </c:numCache>
            </c:numRef>
          </c:xVal>
          <c:yVal>
            <c:numRef>
              <c:f>Sheet1!$B$175:$B$176</c:f>
              <c:numCache>
                <c:formatCode>General</c:formatCode>
                <c:ptCount val="2"/>
                <c:pt idx="0">
                  <c:v>0.32747345712171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43.2946850510968</c:v>
                </c:pt>
              </c:numCache>
            </c:numRef>
          </c:xVal>
          <c:yVal>
            <c:numRef>
              <c:f>Sheet1!$B$179:$B$180</c:f>
              <c:numCache>
                <c:formatCode>General</c:formatCode>
                <c:ptCount val="2"/>
                <c:pt idx="0">
                  <c:v>0.2884496548349647</c:v>
                </c:pt>
                <c:pt idx="1">
                  <c:v>0.288449654834964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43.2946850510968</c:v>
                </c:pt>
                <c:pt idx="1">
                  <c:v>743.2946850510968</c:v>
                </c:pt>
              </c:numCache>
            </c:numRef>
          </c:xVal>
          <c:yVal>
            <c:numRef>
              <c:f>Sheet1!$B$183:$B$184</c:f>
              <c:numCache>
                <c:formatCode>General</c:formatCode>
                <c:ptCount val="2"/>
                <c:pt idx="0">
                  <c:v>0.28844965483496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26.52</c:v>
                </c:pt>
                <c:pt idx="25">
                  <c:v>646.35</c:v>
                </c:pt>
                <c:pt idx="26">
                  <c:v>743.5263</c:v>
                </c:pt>
                <c:pt idx="27">
                  <c:v>624.775</c:v>
                </c:pt>
                <c:pt idx="28">
                  <c:v>727.2963</c:v>
                </c:pt>
                <c:pt idx="29">
                  <c:v>723.0</c:v>
                </c:pt>
                <c:pt idx="30">
                  <c:v>725.7857</c:v>
                </c:pt>
                <c:pt idx="31">
                  <c:v>780.4</c:v>
                </c:pt>
                <c:pt idx="32">
                  <c:v>743.8621</c:v>
                </c:pt>
                <c:pt idx="33">
                  <c:v>758.5652</c:v>
                </c:pt>
                <c:pt idx="34">
                  <c:v>748.5227</c:v>
                </c:pt>
                <c:pt idx="35">
                  <c:v>769.2414</c:v>
                </c:pt>
                <c:pt idx="36">
                  <c:v>722.619</c:v>
                </c:pt>
                <c:pt idx="37">
                  <c:v>769.15</c:v>
                </c:pt>
                <c:pt idx="38">
                  <c:v>734.4615</c:v>
                </c:pt>
                <c:pt idx="39">
                  <c:v>737.4815</c:v>
                </c:pt>
                <c:pt idx="40">
                  <c:v>784.0606</c:v>
                </c:pt>
                <c:pt idx="41">
                  <c:v>749.1923</c:v>
                </c:pt>
                <c:pt idx="42">
                  <c:v>777.0833</c:v>
                </c:pt>
                <c:pt idx="43">
                  <c:v>749.8065</c:v>
                </c:pt>
                <c:pt idx="44">
                  <c:v>735.2632</c:v>
                </c:pt>
                <c:pt idx="45">
                  <c:v>731.2738</c:v>
                </c:pt>
                <c:pt idx="46">
                  <c:v>748.6623</c:v>
                </c:pt>
                <c:pt idx="47">
                  <c:v>729.8167</c:v>
                </c:pt>
                <c:pt idx="48">
                  <c:v>728.2278</c:v>
                </c:pt>
                <c:pt idx="49">
                  <c:v>752.1376</c:v>
                </c:pt>
                <c:pt idx="50">
                  <c:v>761.2832</c:v>
                </c:pt>
                <c:pt idx="51">
                  <c:v>747.7838</c:v>
                </c:pt>
                <c:pt idx="52">
                  <c:v>614.1689485592887</c:v>
                </c:pt>
                <c:pt idx="53">
                  <c:v>466.6763717136879</c:v>
                </c:pt>
                <c:pt idx="54">
                  <c:v>743.2946850510968</c:v>
                </c:pt>
              </c:numCache>
            </c:numRef>
          </c:xVal>
          <c:yVal>
            <c:numRef>
              <c:f>Sheet1!$B$187:$B$241</c:f>
              <c:numCache>
                <c:formatCode>General</c:formatCode>
                <c:ptCount val="55"/>
                <c:pt idx="0">
                  <c:v>0.3050451812377529</c:v>
                </c:pt>
                <c:pt idx="1">
                  <c:v>0.29895720058785824</c:v>
                </c:pt>
                <c:pt idx="2">
                  <c:v>0.3102025798420691</c:v>
                </c:pt>
                <c:pt idx="3">
                  <c:v>0.2929655360258845</c:v>
                </c:pt>
                <c:pt idx="4">
                  <c:v>0.29396943555790656</c:v>
                </c:pt>
                <c:pt idx="5">
                  <c:v>0.2930134674082009</c:v>
                </c:pt>
                <c:pt idx="6">
                  <c:v>0.30437837290267744</c:v>
                </c:pt>
                <c:pt idx="7">
                  <c:v>0.3033409878904494</c:v>
                </c:pt>
                <c:pt idx="8">
                  <c:v>0.2957918858402695</c:v>
                </c:pt>
                <c:pt idx="9">
                  <c:v>0.3033136978285126</c:v>
                </c:pt>
                <c:pt idx="10">
                  <c:v>0.30526761186439155</c:v>
                </c:pt>
                <c:pt idx="11">
                  <c:v>0.3133249799850618</c:v>
                </c:pt>
                <c:pt idx="12">
                  <c:v>0.3085385509380812</c:v>
                </c:pt>
                <c:pt idx="13">
                  <c:v>0.3045886846867506</c:v>
                </c:pt>
                <c:pt idx="14">
                  <c:v>0.3176574510914529</c:v>
                </c:pt>
                <c:pt idx="15">
                  <c:v>0.3209682826144853</c:v>
                </c:pt>
                <c:pt idx="16">
                  <c:v>0.2995083208198396</c:v>
                </c:pt>
                <c:pt idx="17">
                  <c:v>0.3044134299036151</c:v>
                </c:pt>
                <c:pt idx="18">
                  <c:v>0.3564977975259445</c:v>
                </c:pt>
                <c:pt idx="19">
                  <c:v>0.3387064904363152</c:v>
                </c:pt>
                <c:pt idx="20">
                  <c:v>0.28958184033969636</c:v>
                </c:pt>
                <c:pt idx="21">
                  <c:v>0.3044679798059361</c:v>
                </c:pt>
                <c:pt idx="22">
                  <c:v>0.2880441677468465</c:v>
                </c:pt>
                <c:pt idx="23">
                  <c:v>0.2878160252467792</c:v>
                </c:pt>
                <c:pt idx="24">
                  <c:v>0.293519225089831</c:v>
                </c:pt>
                <c:pt idx="25">
                  <c:v>0.31774784375507736</c:v>
                </c:pt>
                <c:pt idx="26">
                  <c:v>0.288379657201509</c:v>
                </c:pt>
                <c:pt idx="27">
                  <c:v>0.3242681437139484</c:v>
                </c:pt>
                <c:pt idx="28">
                  <c:v>0.2932846151775218</c:v>
                </c:pt>
                <c:pt idx="29">
                  <c:v>0.29458302373897244</c:v>
                </c:pt>
                <c:pt idx="30">
                  <c:v>0.2937411419500766</c:v>
                </c:pt>
                <c:pt idx="31">
                  <c:v>0.27723585258535965</c:v>
                </c:pt>
                <c:pt idx="32">
                  <c:v>0.28827817322810506</c:v>
                </c:pt>
                <c:pt idx="33">
                  <c:v>0.28383466813770986</c:v>
                </c:pt>
                <c:pt idx="34">
                  <c:v>0.2868696675507788</c:v>
                </c:pt>
                <c:pt idx="35">
                  <c:v>0.28060815474624295</c:v>
                </c:pt>
                <c:pt idx="36">
                  <c:v>0.29469816785412095</c:v>
                </c:pt>
                <c:pt idx="37">
                  <c:v>0.2806357772452576</c:v>
                </c:pt>
                <c:pt idx="38">
                  <c:v>0.29111918049546837</c:v>
                </c:pt>
                <c:pt idx="39">
                  <c:v>0.2902064896089891</c:v>
                </c:pt>
                <c:pt idx="40">
                  <c:v>0.2761295624333576</c:v>
                </c:pt>
                <c:pt idx="41">
                  <c:v>0.2866673040350217</c:v>
                </c:pt>
                <c:pt idx="42">
                  <c:v>0.2782382108182026</c:v>
                </c:pt>
                <c:pt idx="43">
                  <c:v>0.2864816832593675</c:v>
                </c:pt>
                <c:pt idx="44">
                  <c:v>0.2908768943088159</c:v>
                </c:pt>
                <c:pt idx="45">
                  <c:v>0.2920825529255445</c:v>
                </c:pt>
                <c:pt idx="46">
                  <c:v>0.28682747826344357</c:v>
                </c:pt>
                <c:pt idx="47">
                  <c:v>0.2925229111674945</c:v>
                </c:pt>
                <c:pt idx="48">
                  <c:v>0.29300310141568225</c:v>
                </c:pt>
                <c:pt idx="49">
                  <c:v>0.28577718864828416</c:v>
                </c:pt>
                <c:pt idx="50">
                  <c:v>0.28301324633987857</c:v>
                </c:pt>
                <c:pt idx="51">
                  <c:v>0.2870929746024409</c:v>
                </c:pt>
                <c:pt idx="52">
                  <c:v>0.32747345712171916</c:v>
                </c:pt>
                <c:pt idx="53">
                  <c:v>0.37204800371454194</c:v>
                </c:pt>
                <c:pt idx="54">
                  <c:v>0.28844965483496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6</c:f>
              <c:numCache>
                <c:formatCode>General</c:formatCode>
                <c:ptCount val="115"/>
                <c:pt idx="0">
                  <c:v>3.0441578525004753</c:v>
                </c:pt>
                <c:pt idx="1">
                  <c:v>3.2099102021626704</c:v>
                </c:pt>
                <c:pt idx="2">
                  <c:v>3.12470104964539</c:v>
                </c:pt>
                <c:pt idx="3">
                  <c:v>3.1525561105625846</c:v>
                </c:pt>
                <c:pt idx="4">
                  <c:v>3.094892970521542</c:v>
                </c:pt>
                <c:pt idx="5">
                  <c:v>3.232758214201513</c:v>
                </c:pt>
                <c:pt idx="6">
                  <c:v>2.826494704740782</c:v>
                </c:pt>
                <c:pt idx="7">
                  <c:v>3.164214016933208</c:v>
                </c:pt>
                <c:pt idx="8">
                  <c:v>3.104349827387802</c:v>
                </c:pt>
                <c:pt idx="9">
                  <c:v>2.717957741689042</c:v>
                </c:pt>
                <c:pt idx="10">
                  <c:v>2.7661389805082437</c:v>
                </c:pt>
                <c:pt idx="11">
                  <c:v>2.97308547112462</c:v>
                </c:pt>
                <c:pt idx="12">
                  <c:v>2.6491791515210696</c:v>
                </c:pt>
                <c:pt idx="13">
                  <c:v>2.5600575518092117</c:v>
                </c:pt>
                <c:pt idx="14">
                  <c:v>3.857506904893806</c:v>
                </c:pt>
                <c:pt idx="15">
                  <c:v>4.834204256604669</c:v>
                </c:pt>
                <c:pt idx="16">
                  <c:v>4.781158802177858</c:v>
                </c:pt>
                <c:pt idx="17">
                  <c:v>5.660090336117628</c:v>
                </c:pt>
                <c:pt idx="18">
                  <c:v>8.65485979379807</c:v>
                </c:pt>
                <c:pt idx="19">
                  <c:v>12.345977981043996</c:v>
                </c:pt>
                <c:pt idx="20">
                  <c:v>10.909314627255245</c:v>
                </c:pt>
                <c:pt idx="21">
                  <c:v>11.982385404378608</c:v>
                </c:pt>
                <c:pt idx="22">
                  <c:v>14.851914320586207</c:v>
                </c:pt>
                <c:pt idx="23">
                  <c:v>15.487730145268515</c:v>
                </c:pt>
                <c:pt idx="24">
                  <c:v>12.51238633776534</c:v>
                </c:pt>
                <c:pt idx="25">
                  <c:v>14.823249406175773</c:v>
                </c:pt>
                <c:pt idx="26">
                  <c:v>2.745550551470588</c:v>
                </c:pt>
                <c:pt idx="27">
                  <c:v>2.572095951417004</c:v>
                </c:pt>
                <c:pt idx="28">
                  <c:v>2.417867165575304</c:v>
                </c:pt>
                <c:pt idx="29">
                  <c:v>2.888990250696379</c:v>
                </c:pt>
                <c:pt idx="30">
                  <c:v>4.308963636363636</c:v>
                </c:pt>
                <c:pt idx="31">
                  <c:v>2.4824912423625256</c:v>
                </c:pt>
                <c:pt idx="32">
                  <c:v>2.7284416785464765</c:v>
                </c:pt>
                <c:pt idx="33">
                  <c:v>2.756673463197707</c:v>
                </c:pt>
                <c:pt idx="34">
                  <c:v>2.7314113597246124</c:v>
                </c:pt>
                <c:pt idx="35">
                  <c:v>2.4607717511889304</c:v>
                </c:pt>
                <c:pt idx="36">
                  <c:v>2.6523924774499097</c:v>
                </c:pt>
                <c:pt idx="37">
                  <c:v>2.392488228780831</c:v>
                </c:pt>
                <c:pt idx="38">
                  <c:v>2.6190051043260083</c:v>
                </c:pt>
                <c:pt idx="39">
                  <c:v>2.5662134944612287</c:v>
                </c:pt>
                <c:pt idx="40">
                  <c:v>2.3458792857142856</c:v>
                </c:pt>
                <c:pt idx="41">
                  <c:v>2.4428051948051945</c:v>
                </c:pt>
                <c:pt idx="42">
                  <c:v>2.3761753548696256</c:v>
                </c:pt>
                <c:pt idx="43">
                  <c:v>2.099237093663149</c:v>
                </c:pt>
                <c:pt idx="44">
                  <c:v>2.449024500555942</c:v>
                </c:pt>
                <c:pt idx="45">
                  <c:v>2.170862950819672</c:v>
                </c:pt>
                <c:pt idx="46">
                  <c:v>2.2308864414121055</c:v>
                </c:pt>
                <c:pt idx="47">
                  <c:v>2.1133970523639114</c:v>
                </c:pt>
                <c:pt idx="48">
                  <c:v>2.0797915034827987</c:v>
                </c:pt>
                <c:pt idx="49">
                  <c:v>2.073702814626557</c:v>
                </c:pt>
                <c:pt idx="50">
                  <c:v>2.1358343692117723</c:v>
                </c:pt>
                <c:pt idx="51">
                  <c:v>2.080970127022139</c:v>
                </c:pt>
                <c:pt idx="52">
                  <c:v>2.061817409353573</c:v>
                </c:pt>
                <c:pt idx="53">
                  <c:v>2.1500999523539805</c:v>
                </c:pt>
                <c:pt idx="54">
                  <c:v>2.1259447993641927</c:v>
                </c:pt>
                <c:pt idx="55">
                  <c:v>2.3185080612439326</c:v>
                </c:pt>
                <c:pt idx="56">
                  <c:v>2.1691158490840974</c:v>
                </c:pt>
                <c:pt idx="57">
                  <c:v>2.1115455132411123</c:v>
                </c:pt>
                <c:pt idx="58">
                  <c:v>2.093060746120832</c:v>
                </c:pt>
                <c:pt idx="59">
                  <c:v>2.0378211267799697</c:v>
                </c:pt>
                <c:pt idx="60">
                  <c:v>2.1736154500892426</c:v>
                </c:pt>
                <c:pt idx="61">
                  <c:v>2.1279974609704033</c:v>
                </c:pt>
                <c:pt idx="62">
                  <c:v>2.039931392884231</c:v>
                </c:pt>
                <c:pt idx="63">
                  <c:v>2.182106191687871</c:v>
                </c:pt>
                <c:pt idx="64">
                  <c:v>2.15645590134123</c:v>
                </c:pt>
                <c:pt idx="65">
                  <c:v>2.103425770914035</c:v>
                </c:pt>
                <c:pt idx="66">
                  <c:v>2.136526827627819</c:v>
                </c:pt>
                <c:pt idx="67">
                  <c:v>2.051296710526316</c:v>
                </c:pt>
                <c:pt idx="68">
                  <c:v>1.8401856026326615</c:v>
                </c:pt>
                <c:pt idx="69">
                  <c:v>1.6603876666666668</c:v>
                </c:pt>
                <c:pt idx="70">
                  <c:v>1.979686465354983</c:v>
                </c:pt>
                <c:pt idx="71">
                  <c:v>2.558735005015045</c:v>
                </c:pt>
                <c:pt idx="72">
                  <c:v>2.848872950819672</c:v>
                </c:pt>
                <c:pt idx="73">
                  <c:v>2.639403157014954</c:v>
                </c:pt>
                <c:pt idx="74">
                  <c:v>3.0845842855624035</c:v>
                </c:pt>
                <c:pt idx="75">
                  <c:v>3.078633450250434</c:v>
                </c:pt>
                <c:pt idx="76">
                  <c:v>3.1433522286821707</c:v>
                </c:pt>
                <c:pt idx="77">
                  <c:v>3.294850701402806</c:v>
                </c:pt>
                <c:pt idx="78">
                  <c:v>4.017528220858895</c:v>
                </c:pt>
                <c:pt idx="79">
                  <c:v>3.8725038343913187</c:v>
                </c:pt>
                <c:pt idx="80">
                  <c:v>2.3408548890714873</c:v>
                </c:pt>
                <c:pt idx="81">
                  <c:v>2.7050796306319604</c:v>
                </c:pt>
                <c:pt idx="82">
                  <c:v>2.570956738011421</c:v>
                </c:pt>
                <c:pt idx="83">
                  <c:v>3.538294906069382</c:v>
                </c:pt>
                <c:pt idx="84">
                  <c:v>5.610333262939451</c:v>
                </c:pt>
                <c:pt idx="85">
                  <c:v>2.37029</c:v>
                </c:pt>
                <c:pt idx="86">
                  <c:v>2.0082683844096905</c:v>
                </c:pt>
                <c:pt idx="87">
                  <c:v>2.2029932126696834</c:v>
                </c:pt>
                <c:pt idx="88">
                  <c:v>2.857327314705393</c:v>
                </c:pt>
                <c:pt idx="89">
                  <c:v>2.152816564417178</c:v>
                </c:pt>
                <c:pt idx="90">
                  <c:v>2.292704091653028</c:v>
                </c:pt>
                <c:pt idx="91">
                  <c:v>2.0808350180505415</c:v>
                </c:pt>
                <c:pt idx="92">
                  <c:v>2.1669552380952384</c:v>
                </c:pt>
                <c:pt idx="93">
                  <c:v>3.2213924743443556</c:v>
                </c:pt>
                <c:pt idx="94">
                  <c:v>2.1369801481481483</c:v>
                </c:pt>
                <c:pt idx="95">
                  <c:v>2.1831831746031747</c:v>
                </c:pt>
                <c:pt idx="96">
                  <c:v>2.1882154545454546</c:v>
                </c:pt>
                <c:pt idx="97">
                  <c:v>2.4144677390805556</c:v>
                </c:pt>
                <c:pt idx="98">
                  <c:v>2.447599102010107</c:v>
                </c:pt>
                <c:pt idx="99">
                  <c:v>2.1849548800000003</c:v>
                </c:pt>
                <c:pt idx="100">
                  <c:v>2.303252546188475</c:v>
                </c:pt>
                <c:pt idx="101">
                  <c:v>2.149358208945937</c:v>
                </c:pt>
                <c:pt idx="102">
                  <c:v>2.982994261867501</c:v>
                </c:pt>
                <c:pt idx="103">
                  <c:v>2.194347009019868</c:v>
                </c:pt>
                <c:pt idx="104">
                  <c:v>2.151453037037037</c:v>
                </c:pt>
                <c:pt idx="105">
                  <c:v>0.0</c:v>
                </c:pt>
                <c:pt idx="106">
                  <c:v>0.0</c:v>
                </c:pt>
                <c:pt idx="107">
                  <c:v>0.0</c:v>
                </c:pt>
                <c:pt idx="108">
                  <c:v>0.0</c:v>
                </c:pt>
                <c:pt idx="109">
                  <c:v>0.0</c:v>
                </c:pt>
                <c:pt idx="110">
                  <c:v>0.0</c:v>
                </c:pt>
                <c:pt idx="111">
                  <c:v>0.0</c:v>
                </c:pt>
                <c:pt idx="112">
                  <c:v>0.0</c:v>
                </c:pt>
                <c:pt idx="113">
                  <c:v>0.0</c:v>
                </c:pt>
                <c:pt idx="114">
                  <c:v>0.0</c:v>
                </c:pt>
              </c:numCache>
            </c:numRef>
          </c:xVal>
          <c:yVal>
            <c:numRef>
              <c:f>Sheet1!$B$2:$B$116</c:f>
              <c:numCache>
                <c:formatCode>General</c:formatCode>
                <c:ptCount val="115"/>
                <c:pt idx="0">
                  <c:v>0.28523489932885904</c:v>
                </c:pt>
                <c:pt idx="1">
                  <c:v>0.3742138364779874</c:v>
                </c:pt>
                <c:pt idx="2">
                  <c:v>0.3684210526315789</c:v>
                </c:pt>
                <c:pt idx="3">
                  <c:v>0.41338582677165353</c:v>
                </c:pt>
                <c:pt idx="4">
                  <c:v>0.39316239316239315</c:v>
                </c:pt>
                <c:pt idx="5">
                  <c:v>0.41706161137440756</c:v>
                </c:pt>
                <c:pt idx="6">
                  <c:v>0.41379310344827586</c:v>
                </c:pt>
                <c:pt idx="7">
                  <c:v>0.3430232558139535</c:v>
                </c:pt>
                <c:pt idx="8">
                  <c:v>0.3401360544217687</c:v>
                </c:pt>
                <c:pt idx="9">
                  <c:v>0.4072164948453608</c:v>
                </c:pt>
                <c:pt idx="10">
                  <c:v>0.4080717488789238</c:v>
                </c:pt>
                <c:pt idx="11">
                  <c:v>0.4117647058823529</c:v>
                </c:pt>
                <c:pt idx="12">
                  <c:v>0.3900414937759336</c:v>
                </c:pt>
                <c:pt idx="13">
                  <c:v>0.3964285714285714</c:v>
                </c:pt>
                <c:pt idx="14">
                  <c:v>0.4065281899109792</c:v>
                </c:pt>
                <c:pt idx="15">
                  <c:v>0.3415492957746479</c:v>
                </c:pt>
                <c:pt idx="16">
                  <c:v>0.33725490196078434</c:v>
                </c:pt>
                <c:pt idx="17">
                  <c:v>0.2822966507177033</c:v>
                </c:pt>
                <c:pt idx="18">
                  <c:v>0.2694805194805195</c:v>
                </c:pt>
                <c:pt idx="19">
                  <c:v>0.22477064220183487</c:v>
                </c:pt>
                <c:pt idx="20">
                  <c:v>0.255</c:v>
                </c:pt>
                <c:pt idx="21">
                  <c:v>0.2345679012345679</c:v>
                </c:pt>
                <c:pt idx="22">
                  <c:v>0.26380368098159507</c:v>
                </c:pt>
                <c:pt idx="23">
                  <c:v>0.2222222222222222</c:v>
                </c:pt>
                <c:pt idx="24">
                  <c:v>0.2589928057553957</c:v>
                </c:pt>
                <c:pt idx="25">
                  <c:v>0.24113475177304963</c:v>
                </c:pt>
                <c:pt idx="26">
                  <c:v>0.35772357723577236</c:v>
                </c:pt>
                <c:pt idx="27">
                  <c:v>0.30708661417322836</c:v>
                </c:pt>
                <c:pt idx="28">
                  <c:v>0.3053435114503817</c:v>
                </c:pt>
                <c:pt idx="29">
                  <c:v>0.35135135135135137</c:v>
                </c:pt>
                <c:pt idx="30">
                  <c:v>0.3</c:v>
                </c:pt>
                <c:pt idx="31">
                  <c:v>0.3069306930693069</c:v>
                </c:pt>
                <c:pt idx="32">
                  <c:v>0.3089430894308943</c:v>
                </c:pt>
                <c:pt idx="33">
                  <c:v>0.2653061224489796</c:v>
                </c:pt>
                <c:pt idx="34">
                  <c:v>0.2857142857142857</c:v>
                </c:pt>
                <c:pt idx="35">
                  <c:v>0.2692307692307692</c:v>
                </c:pt>
                <c:pt idx="36">
                  <c:v>0.24793388429752067</c:v>
                </c:pt>
                <c:pt idx="37">
                  <c:v>0.2569444444444444</c:v>
                </c:pt>
                <c:pt idx="38">
                  <c:v>0.264</c:v>
                </c:pt>
                <c:pt idx="39">
                  <c:v>0.2206896551724138</c:v>
                </c:pt>
                <c:pt idx="40">
                  <c:v>0.24074074074074073</c:v>
                </c:pt>
                <c:pt idx="41">
                  <c:v>0.29411764705882354</c:v>
                </c:pt>
                <c:pt idx="42">
                  <c:v>0.2658959537572254</c:v>
                </c:pt>
                <c:pt idx="43">
                  <c:v>0.27586206896551724</c:v>
                </c:pt>
                <c:pt idx="44">
                  <c:v>0.245014245014245</c:v>
                </c:pt>
                <c:pt idx="45">
                  <c:v>0.265</c:v>
                </c:pt>
                <c:pt idx="46">
                  <c:v>0.27979274611398963</c:v>
                </c:pt>
                <c:pt idx="47">
                  <c:v>0.29457364341085274</c:v>
                </c:pt>
                <c:pt idx="48">
                  <c:v>0.31239388794567063</c:v>
                </c:pt>
                <c:pt idx="49">
                  <c:v>0.3096774193548387</c:v>
                </c:pt>
                <c:pt idx="50">
                  <c:v>0.2955801104972376</c:v>
                </c:pt>
                <c:pt idx="51">
                  <c:v>0.2988505747126437</c:v>
                </c:pt>
                <c:pt idx="52">
                  <c:v>0.26993865030674846</c:v>
                </c:pt>
                <c:pt idx="53">
                  <c:v>0.30363036303630364</c:v>
                </c:pt>
                <c:pt idx="54">
                  <c:v>0.25217391304347825</c:v>
                </c:pt>
                <c:pt idx="55">
                  <c:v>0.2857142857142857</c:v>
                </c:pt>
                <c:pt idx="56">
                  <c:v>0.3113207547169811</c:v>
                </c:pt>
                <c:pt idx="57">
                  <c:v>0.2903225806451613</c:v>
                </c:pt>
                <c:pt idx="58">
                  <c:v>0.2876712328767123</c:v>
                </c:pt>
                <c:pt idx="59">
                  <c:v>0.31521739130434784</c:v>
                </c:pt>
                <c:pt idx="60">
                  <c:v>0.3201058201058201</c:v>
                </c:pt>
                <c:pt idx="61">
                  <c:v>0.2809917355371901</c:v>
                </c:pt>
                <c:pt idx="62">
                  <c:v>0.33217993079584773</c:v>
                </c:pt>
                <c:pt idx="63">
                  <c:v>0.3127147766323024</c:v>
                </c:pt>
                <c:pt idx="64">
                  <c:v>0.29577464788732394</c:v>
                </c:pt>
                <c:pt idx="65">
                  <c:v>0.28294573643410853</c:v>
                </c:pt>
                <c:pt idx="66">
                  <c:v>0.3039647577092511</c:v>
                </c:pt>
                <c:pt idx="67">
                  <c:v>0.28991596638655465</c:v>
                </c:pt>
                <c:pt idx="68">
                  <c:v>0.31382978723404253</c:v>
                </c:pt>
                <c:pt idx="69">
                  <c:v>0.3412698412698413</c:v>
                </c:pt>
                <c:pt idx="70">
                  <c:v>0.2857142857142857</c:v>
                </c:pt>
                <c:pt idx="71">
                  <c:v>0.2698412698412698</c:v>
                </c:pt>
                <c:pt idx="72">
                  <c:v>0.2857142857142857</c:v>
                </c:pt>
                <c:pt idx="73">
                  <c:v>0.2457627118644068</c:v>
                </c:pt>
                <c:pt idx="74">
                  <c:v>0.26666666666666666</c:v>
                </c:pt>
                <c:pt idx="75">
                  <c:v>0.27927927927927926</c:v>
                </c:pt>
                <c:pt idx="76">
                  <c:v>0.2796610169491525</c:v>
                </c:pt>
                <c:pt idx="77">
                  <c:v>0.21100917431192662</c:v>
                </c:pt>
                <c:pt idx="78">
                  <c:v>0.28</c:v>
                </c:pt>
                <c:pt idx="79">
                  <c:v>0.24489795918367346</c:v>
                </c:pt>
                <c:pt idx="80">
                  <c:v>0.312</c:v>
                </c:pt>
                <c:pt idx="81">
                  <c:v>0.24175824175824176</c:v>
                </c:pt>
                <c:pt idx="82">
                  <c:v>0.2112676056338028</c:v>
                </c:pt>
                <c:pt idx="83">
                  <c:v>0.28169014084507044</c:v>
                </c:pt>
                <c:pt idx="84">
                  <c:v>0.2647058823529412</c:v>
                </c:pt>
                <c:pt idx="85">
                  <c:v>0.2911392405063291</c:v>
                </c:pt>
                <c:pt idx="86">
                  <c:v>0.2857142857142857</c:v>
                </c:pt>
                <c:pt idx="87">
                  <c:v>0.2972972972972973</c:v>
                </c:pt>
                <c:pt idx="88">
                  <c:v>0.2876712328767123</c:v>
                </c:pt>
                <c:pt idx="89">
                  <c:v>0.28205128205128205</c:v>
                </c:pt>
                <c:pt idx="90">
                  <c:v>0.25675675675675674</c:v>
                </c:pt>
                <c:pt idx="91">
                  <c:v>0.27380952380952384</c:v>
                </c:pt>
                <c:pt idx="92">
                  <c:v>0.21153846153846154</c:v>
                </c:pt>
                <c:pt idx="93">
                  <c:v>0.2366412213740458</c:v>
                </c:pt>
                <c:pt idx="94">
                  <c:v>0.2549019607843137</c:v>
                </c:pt>
                <c:pt idx="95">
                  <c:v>0.2605633802816901</c:v>
                </c:pt>
                <c:pt idx="96">
                  <c:v>0.24193548387096775</c:v>
                </c:pt>
                <c:pt idx="97">
                  <c:v>0.28085106382978725</c:v>
                </c:pt>
                <c:pt idx="98">
                  <c:v>0.25925925925925924</c:v>
                </c:pt>
                <c:pt idx="99">
                  <c:v>0.2980769230769231</c:v>
                </c:pt>
                <c:pt idx="100">
                  <c:v>0.2672413793103448</c:v>
                </c:pt>
                <c:pt idx="101">
                  <c:v>0.279874213836478</c:v>
                </c:pt>
                <c:pt idx="102">
                  <c:v>0.23076923076923078</c:v>
                </c:pt>
                <c:pt idx="103">
                  <c:v>0.2903225806451613</c:v>
                </c:pt>
                <c:pt idx="104">
                  <c:v>0.30409356725146197</c:v>
                </c:pt>
                <c:pt idx="105">
                  <c:v>0.34328358208955223</c:v>
                </c:pt>
                <c:pt idx="106">
                  <c:v>0.36363636363636365</c:v>
                </c:pt>
                <c:pt idx="107">
                  <c:v>0.2967032967032967</c:v>
                </c:pt>
                <c:pt idx="108">
                  <c:v>0.28169014084507044</c:v>
                </c:pt>
                <c:pt idx="109">
                  <c:v>0.30344827586206896</c:v>
                </c:pt>
                <c:pt idx="110">
                  <c:v>0.27631578947368424</c:v>
                </c:pt>
                <c:pt idx="111">
                  <c:v>0.24691358024691357</c:v>
                </c:pt>
                <c:pt idx="112">
                  <c:v>0.27956989247311825</c:v>
                </c:pt>
                <c:pt idx="113">
                  <c:v>0.32038834951456313</c:v>
                </c:pt>
                <c:pt idx="114">
                  <c:v>0.26</c:v>
                </c:pt>
              </c:numCache>
            </c:numRef>
          </c:yVal>
          <c:smooth val="0"/>
          <c:extLst>
            <c:ext xmlns:c16="http://schemas.microsoft.com/office/drawing/2014/chart" uri="{C3380CC4-5D6E-409C-BE32-E72D297353CC}">
              <c16:uniqueId val="{00000000-096C-4121-9522-6AB7243CCAAE}"/>
            </c:ext>
          </c:extLst>
        </c:ser>
        <c:ser>
          <c:idx val="1"/>
          <c:order val="1"/>
          <c:tx>
            <c:strRef>
              <c:f>Sheet1!$B$1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9:$A$154</c:f>
              <c:numCache>
                <c:formatCode>General</c:formatCode>
                <c:ptCount val="36"/>
                <c:pt idx="0">
                  <c:v>2.592775141242938</c:v>
                </c:pt>
                <c:pt idx="1">
                  <c:v>2.5304510714285713</c:v>
                </c:pt>
                <c:pt idx="2">
                  <c:v>2.3662900951709553</c:v>
                </c:pt>
                <c:pt idx="3">
                  <c:v>2.548305531278274</c:v>
                </c:pt>
                <c:pt idx="4">
                  <c:v>3.1404715361721722</c:v>
                </c:pt>
                <c:pt idx="5">
                  <c:v>2.2608856156155874</c:v>
                </c:pt>
                <c:pt idx="6">
                  <c:v>2.5658793154119985</c:v>
                </c:pt>
                <c:pt idx="7">
                  <c:v>2.2432995555555557</c:v>
                </c:pt>
                <c:pt idx="8">
                  <c:v>2.212307692307692</c:v>
                </c:pt>
                <c:pt idx="9">
                  <c:v>2.570781851851852</c:v>
                </c:pt>
                <c:pt idx="10">
                  <c:v>2.4227100907469277</c:v>
                </c:pt>
                <c:pt idx="11">
                  <c:v>2.282406077348066</c:v>
                </c:pt>
                <c:pt idx="12">
                  <c:v>3.474448665297741</c:v>
                </c:pt>
                <c:pt idx="13">
                  <c:v>4.163502112251057</c:v>
                </c:pt>
                <c:pt idx="14">
                  <c:v>4.664736519386834</c:v>
                </c:pt>
                <c:pt idx="15">
                  <c:v>4.560214490674318</c:v>
                </c:pt>
                <c:pt idx="16">
                  <c:v>5.247791027774499</c:v>
                </c:pt>
                <c:pt idx="17">
                  <c:v>5.352497674418605</c:v>
                </c:pt>
                <c:pt idx="18">
                  <c:v>7.779735735735737</c:v>
                </c:pt>
                <c:pt idx="19">
                  <c:v>6.171122994652406</c:v>
                </c:pt>
                <c:pt idx="20">
                  <c:v>12.2746622406639</c:v>
                </c:pt>
                <c:pt idx="21">
                  <c:v>7.503170652173913</c:v>
                </c:pt>
                <c:pt idx="22">
                  <c:v>18.523293532338307</c:v>
                </c:pt>
                <c:pt idx="23">
                  <c:v>11.351875</c:v>
                </c:pt>
                <c:pt idx="24">
                  <c:v>129.27</c:v>
                </c:pt>
                <c:pt idx="25">
                  <c:v>25.997423076923074</c:v>
                </c:pt>
                <c:pt idx="26">
                  <c:v>10.32857142857143</c:v>
                </c:pt>
                <c:pt idx="27">
                  <c:v>192.31035</c:v>
                </c:pt>
                <c:pt idx="28">
                  <c:v>31.083332</c:v>
                </c:pt>
                <c:pt idx="29">
                  <c:v>4.595395</c:v>
                </c:pt>
                <c:pt idx="30">
                  <c:v>4.003541711229946</c:v>
                </c:pt>
                <c:pt idx="31">
                  <c:v>3.358567418315692</c:v>
                </c:pt>
                <c:pt idx="32">
                  <c:v>3.0019700449288966</c:v>
                </c:pt>
                <c:pt idx="33">
                  <c:v>2.791602673212866</c:v>
                </c:pt>
                <c:pt idx="34">
                  <c:v>2.672271786533671</c:v>
                </c:pt>
                <c:pt idx="35">
                  <c:v>2.709361594202899</c:v>
                </c:pt>
              </c:numCache>
            </c:numRef>
          </c:xVal>
          <c:yVal>
            <c:numRef>
              <c:f>Sheet1!$B$119:$B$154</c:f>
              <c:numCache>
                <c:formatCode>General</c:formatCode>
                <c:ptCount val="36"/>
                <c:pt idx="0">
                  <c:v>0.270935960591133</c:v>
                </c:pt>
                <c:pt idx="1">
                  <c:v>0.2556053811659193</c:v>
                </c:pt>
                <c:pt idx="2">
                  <c:v>0.32644628099173556</c:v>
                </c:pt>
                <c:pt idx="3">
                  <c:v>0.2862903225806452</c:v>
                </c:pt>
                <c:pt idx="4">
                  <c:v>0.2548262548262548</c:v>
                </c:pt>
                <c:pt idx="5">
                  <c:v>0.28703703703703703</c:v>
                </c:pt>
                <c:pt idx="6">
                  <c:v>0.31135531135531136</c:v>
                </c:pt>
                <c:pt idx="7">
                  <c:v>0.23076923076923078</c:v>
                </c:pt>
                <c:pt idx="8">
                  <c:v>0.29365079365079366</c:v>
                </c:pt>
                <c:pt idx="9">
                  <c:v>0.3333333333333333</c:v>
                </c:pt>
                <c:pt idx="10">
                  <c:v>0.27906976744186046</c:v>
                </c:pt>
                <c:pt idx="11">
                  <c:v>0.34554973821989526</c:v>
                </c:pt>
                <c:pt idx="12">
                  <c:v>0.39490445859872614</c:v>
                </c:pt>
                <c:pt idx="13">
                  <c:v>0.3532608695652174</c:v>
                </c:pt>
                <c:pt idx="14">
                  <c:v>0.3114754098360656</c:v>
                </c:pt>
                <c:pt idx="15">
                  <c:v>0.3475177304964539</c:v>
                </c:pt>
                <c:pt idx="16">
                  <c:v>0.3008130081300813</c:v>
                </c:pt>
                <c:pt idx="17">
                  <c:v>0.34285714285714286</c:v>
                </c:pt>
                <c:pt idx="18">
                  <c:v>0.34074074074074073</c:v>
                </c:pt>
                <c:pt idx="19">
                  <c:v>0.34513274336283184</c:v>
                </c:pt>
                <c:pt idx="20">
                  <c:v>0.2767857142857143</c:v>
                </c:pt>
                <c:pt idx="21">
                  <c:v>0.2857142857142857</c:v>
                </c:pt>
                <c:pt idx="22">
                  <c:v>0.2857142857142857</c:v>
                </c:pt>
                <c:pt idx="23">
                  <c:v>0.28735632183908044</c:v>
                </c:pt>
                <c:pt idx="24">
                  <c:v>0.21052631578947367</c:v>
                </c:pt>
                <c:pt idx="25">
                  <c:v>0.25333333333333335</c:v>
                </c:pt>
                <c:pt idx="26">
                  <c:v>0.2808988764044944</c:v>
                </c:pt>
                <c:pt idx="27">
                  <c:v>0.26605504587155965</c:v>
                </c:pt>
                <c:pt idx="28">
                  <c:v>0.23076923076923078</c:v>
                </c:pt>
                <c:pt idx="29">
                  <c:v>0.29842931937172773</c:v>
                </c:pt>
                <c:pt idx="30">
                  <c:v>0.35</c:v>
                </c:pt>
                <c:pt idx="31">
                  <c:v>0.30612244897959184</c:v>
                </c:pt>
                <c:pt idx="32">
                  <c:v>0.2743055555555556</c:v>
                </c:pt>
                <c:pt idx="33">
                  <c:v>0.3002754820936639</c:v>
                </c:pt>
                <c:pt idx="34">
                  <c:v>0.2803970223325062</c:v>
                </c:pt>
                <c:pt idx="35">
                  <c:v>0.2824427480916031</c:v>
                </c:pt>
              </c:numCache>
            </c:numRef>
          </c:yVal>
          <c:smooth val="0"/>
          <c:extLst>
            <c:ext xmlns:c16="http://schemas.microsoft.com/office/drawing/2014/chart" uri="{C3380CC4-5D6E-409C-BE32-E72D297353CC}">
              <c16:uniqueId val="{00000002-096C-4121-9522-6AB7243CCAAE}"/>
            </c:ext>
          </c:extLst>
        </c:ser>
        <c:ser>
          <c:idx val="2"/>
          <c:order val="2"/>
          <c:tx>
            <c:strRef>
              <c:f>Sheet1!$B$1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7:$A$158</c:f>
              <c:numCache>
                <c:formatCode>General</c:formatCode>
                <c:ptCount val="2"/>
                <c:pt idx="0">
                  <c:v>0</c:v>
                </c:pt>
                <c:pt idx="1">
                  <c:v>-174.6737887169116</c:v>
                </c:pt>
              </c:numCache>
            </c:numRef>
          </c:xVal>
          <c:yVal>
            <c:numRef>
              <c:f>Sheet1!$B$157:$B$158</c:f>
              <c:numCache>
                <c:formatCode>General</c:formatCode>
                <c:ptCount val="2"/>
                <c:pt idx="0">
                  <c:v>0.37204800371454194</c:v>
                </c:pt>
                <c:pt idx="1">
                  <c:v>0.37204800371454194</c:v>
                </c:pt>
              </c:numCache>
            </c:numRef>
          </c:yVal>
          <c:smooth val="0"/>
          <c:extLst>
            <c:ext xmlns:c16="http://schemas.microsoft.com/office/drawing/2014/chart" uri="{C3380CC4-5D6E-409C-BE32-E72D297353CC}">
              <c16:uniqueId val="{00000005-096C-4121-9522-6AB7243CCAAE}"/>
            </c:ext>
          </c:extLst>
        </c:ser>
        <c:ser>
          <c:idx val="3"/>
          <c:order val="3"/>
          <c:tx>
            <c:strRef>
              <c:f>Sheet1!$B$1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74.6737887169116</c:v>
                </c:pt>
                <c:pt idx="1">
                  <c:v>-174.6737887169116</c:v>
                </c:pt>
              </c:numCache>
            </c:numRef>
          </c:xVal>
          <c:yVal>
            <c:numRef>
              <c:f>Sheet1!$B$161:$B$162</c:f>
              <c:numCache>
                <c:formatCode>General</c:formatCode>
                <c:ptCount val="2"/>
                <c:pt idx="0">
                  <c:v>0.372048003714541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5:$A$166</c:f>
              <c:numCache>
                <c:formatCode>General</c:formatCode>
                <c:ptCount val="2"/>
                <c:pt idx="0">
                  <c:v>0</c:v>
                </c:pt>
                <c:pt idx="1">
                  <c:v>-62.60313647871512</c:v>
                </c:pt>
              </c:numCache>
            </c:numRef>
          </c:xVal>
          <c:yVal>
            <c:numRef>
              <c:f>Sheet1!$B$165:$B$166</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D-096C-4121-9522-6AB7243CCAAE}"/>
            </c:ext>
          </c:extLst>
        </c:ser>
        <c:ser>
          <c:idx val="5"/>
          <c:order val="5"/>
          <c:tx>
            <c:strRef>
              <c:f>Sheet1!$B$1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62.60313647871512</c:v>
                </c:pt>
                <c:pt idx="1">
                  <c:v>-62.60313647871512</c:v>
                </c:pt>
              </c:numCache>
            </c:numRef>
          </c:xVal>
          <c:yVal>
            <c:numRef>
              <c:f>Sheet1!$B$169:$B$170</c:f>
              <c:numCache>
                <c:formatCode>General</c:formatCode>
                <c:ptCount val="2"/>
                <c:pt idx="0">
                  <c:v>0.32747345712171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3:$A$174</c:f>
              <c:numCache>
                <c:formatCode>General</c:formatCode>
                <c:ptCount val="2"/>
                <c:pt idx="0">
                  <c:v>0</c:v>
                </c:pt>
                <c:pt idx="1">
                  <c:v>30.82675185871179</c:v>
                </c:pt>
              </c:numCache>
            </c:numRef>
          </c:xVal>
          <c:yVal>
            <c:numRef>
              <c:f>Sheet1!$B$173:$B$174</c:f>
              <c:numCache>
                <c:formatCode>General</c:formatCode>
                <c:ptCount val="2"/>
                <c:pt idx="0">
                  <c:v>0.2903130156708442</c:v>
                </c:pt>
                <c:pt idx="1">
                  <c:v>0.2903130156708442</c:v>
                </c:pt>
              </c:numCache>
            </c:numRef>
          </c:yVal>
          <c:smooth val="0"/>
          <c:extLst>
            <c:ext xmlns:c16="http://schemas.microsoft.com/office/drawing/2014/chart" uri="{C3380CC4-5D6E-409C-BE32-E72D297353CC}">
              <c16:uniqueId val="{00000015-096C-4121-9522-6AB7243CCAAE}"/>
            </c:ext>
          </c:extLst>
        </c:ser>
        <c:ser>
          <c:idx val="7"/>
          <c:order val="7"/>
          <c:tx>
            <c:strRef>
              <c:f>Sheet1!$B$17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7:$A$178</c:f>
              <c:numCache>
                <c:formatCode>General</c:formatCode>
                <c:ptCount val="2"/>
                <c:pt idx="0">
                  <c:v>30.82675185871179</c:v>
                </c:pt>
                <c:pt idx="1">
                  <c:v>30.82675185871179</c:v>
                </c:pt>
              </c:numCache>
            </c:numRef>
          </c:xVal>
          <c:yVal>
            <c:numRef>
              <c:f>Sheet1!$B$177:$B$178</c:f>
              <c:numCache>
                <c:formatCode>General</c:formatCode>
                <c:ptCount val="2"/>
                <c:pt idx="0">
                  <c:v>0.29031301567084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1:$A$219</c:f>
              <c:numCache>
                <c:formatCode>General</c:formatCode>
                <c:ptCount val="39"/>
                <c:pt idx="0">
                  <c:v>2.592775141242938</c:v>
                </c:pt>
                <c:pt idx="1">
                  <c:v>2.5304510714285713</c:v>
                </c:pt>
                <c:pt idx="2">
                  <c:v>2.3662900951709553</c:v>
                </c:pt>
                <c:pt idx="3">
                  <c:v>2.548305531278274</c:v>
                </c:pt>
                <c:pt idx="4">
                  <c:v>3.1404715361721722</c:v>
                </c:pt>
                <c:pt idx="5">
                  <c:v>2.2608856156155874</c:v>
                </c:pt>
                <c:pt idx="6">
                  <c:v>2.5658793154119985</c:v>
                </c:pt>
                <c:pt idx="7">
                  <c:v>2.2432995555555557</c:v>
                </c:pt>
                <c:pt idx="8">
                  <c:v>2.212307692307692</c:v>
                </c:pt>
                <c:pt idx="9">
                  <c:v>2.570781851851852</c:v>
                </c:pt>
                <c:pt idx="10">
                  <c:v>2.4227100907469277</c:v>
                </c:pt>
                <c:pt idx="11">
                  <c:v>2.282406077348066</c:v>
                </c:pt>
                <c:pt idx="12">
                  <c:v>3.474448665297741</c:v>
                </c:pt>
                <c:pt idx="13">
                  <c:v>4.163502112251057</c:v>
                </c:pt>
                <c:pt idx="14">
                  <c:v>4.664736519386834</c:v>
                </c:pt>
                <c:pt idx="15">
                  <c:v>4.560214490674318</c:v>
                </c:pt>
                <c:pt idx="16">
                  <c:v>5.247791027774499</c:v>
                </c:pt>
                <c:pt idx="17">
                  <c:v>5.352497674418605</c:v>
                </c:pt>
                <c:pt idx="18">
                  <c:v>7.779735735735737</c:v>
                </c:pt>
                <c:pt idx="19">
                  <c:v>6.171122994652406</c:v>
                </c:pt>
                <c:pt idx="20">
                  <c:v>12.2746622406639</c:v>
                </c:pt>
                <c:pt idx="21">
                  <c:v>7.503170652173913</c:v>
                </c:pt>
                <c:pt idx="22">
                  <c:v>18.523293532338307</c:v>
                </c:pt>
                <c:pt idx="23">
                  <c:v>11.351875</c:v>
                </c:pt>
                <c:pt idx="24">
                  <c:v>129.27</c:v>
                </c:pt>
                <c:pt idx="25">
                  <c:v>25.997423076923074</c:v>
                </c:pt>
                <c:pt idx="26">
                  <c:v>10.32857142857143</c:v>
                </c:pt>
                <c:pt idx="27">
                  <c:v>192.31035</c:v>
                </c:pt>
                <c:pt idx="28">
                  <c:v>31.083332</c:v>
                </c:pt>
                <c:pt idx="29">
                  <c:v>4.595395</c:v>
                </c:pt>
                <c:pt idx="30">
                  <c:v>4.003541711229946</c:v>
                </c:pt>
                <c:pt idx="31">
                  <c:v>3.358567418315692</c:v>
                </c:pt>
                <c:pt idx="32">
                  <c:v>3.0019700449288966</c:v>
                </c:pt>
                <c:pt idx="33">
                  <c:v>2.791602673212866</c:v>
                </c:pt>
                <c:pt idx="34">
                  <c:v>2.672271786533671</c:v>
                </c:pt>
                <c:pt idx="35">
                  <c:v>2.709361594202899</c:v>
                </c:pt>
                <c:pt idx="36">
                  <c:v>-62.60313647871512</c:v>
                </c:pt>
                <c:pt idx="37">
                  <c:v>-174.6737887169116</c:v>
                </c:pt>
                <c:pt idx="38">
                  <c:v>30.82675185871179</c:v>
                </c:pt>
              </c:numCache>
            </c:numRef>
          </c:xVal>
          <c:yVal>
            <c:numRef>
              <c:f>Sheet1!$B$181:$B$219</c:f>
              <c:numCache>
                <c:formatCode>General</c:formatCode>
                <c:ptCount val="39"/>
                <c:pt idx="0">
                  <c:v>0.301542688074451</c:v>
                </c:pt>
                <c:pt idx="1">
                  <c:v>0.301567476608276</c:v>
                </c:pt>
                <c:pt idx="2">
                  <c:v>0.3016327693583295</c:v>
                </c:pt>
                <c:pt idx="3">
                  <c:v>0.3015603752446579</c:v>
                </c:pt>
                <c:pt idx="4">
                  <c:v>0.3013248494343884</c:v>
                </c:pt>
                <c:pt idx="5">
                  <c:v>0.30167469252725193</c:v>
                </c:pt>
                <c:pt idx="6">
                  <c:v>0.3015533855159106</c:v>
                </c:pt>
                <c:pt idx="7">
                  <c:v>0.30168168713857857</c:v>
                </c:pt>
                <c:pt idx="8">
                  <c:v>0.30169401372207527</c:v>
                </c:pt>
                <c:pt idx="9">
                  <c:v>0.30155143560007985</c:v>
                </c:pt>
                <c:pt idx="10">
                  <c:v>0.3016103290880951</c:v>
                </c:pt>
                <c:pt idx="11">
                  <c:v>0.30166613306226236</c:v>
                </c:pt>
                <c:pt idx="12">
                  <c:v>0.3011920146662682</c:v>
                </c:pt>
                <c:pt idx="13">
                  <c:v>0.30091795322053944</c:v>
                </c:pt>
                <c:pt idx="14">
                  <c:v>0.30071859419131464</c:v>
                </c:pt>
                <c:pt idx="15">
                  <c:v>0.3007601663776611</c:v>
                </c:pt>
                <c:pt idx="16">
                  <c:v>0.30048669235232967</c:v>
                </c:pt>
                <c:pt idx="17">
                  <c:v>0.30044504673676303</c:v>
                </c:pt>
                <c:pt idx="18">
                  <c:v>0.29947964648348263</c:v>
                </c:pt>
                <c:pt idx="19">
                  <c:v>0.3001194498766567</c:v>
                </c:pt>
                <c:pt idx="20">
                  <c:v>0.29769185184747576</c:v>
                </c:pt>
                <c:pt idx="21">
                  <c:v>0.29958964640725366</c:v>
                </c:pt>
                <c:pt idx="22">
                  <c:v>0.2952065454707437</c:v>
                </c:pt>
                <c:pt idx="23">
                  <c:v>0.298058877665857</c:v>
                </c:pt>
                <c:pt idx="24">
                  <c:v>0.25115857993421425</c:v>
                </c:pt>
                <c:pt idx="25">
                  <c:v>0.2922338141715826</c:v>
                </c:pt>
                <c:pt idx="26">
                  <c:v>0.29846588245981764</c:v>
                </c:pt>
                <c:pt idx="27">
                  <c:v>0.22608515560604625</c:v>
                </c:pt>
                <c:pt idx="28">
                  <c:v>0.2902109644805082</c:v>
                </c:pt>
                <c:pt idx="29">
                  <c:v>0.30074617381831775</c:v>
                </c:pt>
                <c:pt idx="30">
                  <c:v>0.30098157525008884</c:v>
                </c:pt>
                <c:pt idx="31">
                  <c:v>0.30123810482403635</c:v>
                </c:pt>
                <c:pt idx="32">
                  <c:v>0.301379936480384</c:v>
                </c:pt>
                <c:pt idx="33">
                  <c:v>0.3014636071829711</c:v>
                </c:pt>
                <c:pt idx="34">
                  <c:v>0.30151106938705413</c:v>
                </c:pt>
                <c:pt idx="35">
                  <c:v>0.30149631743079214</c:v>
                </c:pt>
                <c:pt idx="36">
                  <c:v>0.32747345712171916</c:v>
                </c:pt>
                <c:pt idx="37">
                  <c:v>0.37204800371454194</c:v>
                </c:pt>
                <c:pt idx="38">
                  <c:v>0.29031301567084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3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6.2235</c:v>
                </c:pt>
                <c:pt idx="1">
                  <c:v>682.7479</c:v>
                </c:pt>
                <c:pt idx="2">
                  <c:v>688.4107</c:v>
                </c:pt>
                <c:pt idx="3">
                  <c:v>681.0571</c:v>
                </c:pt>
                <c:pt idx="4">
                  <c:v>682.4239</c:v>
                </c:pt>
                <c:pt idx="5">
                  <c:v>678.7386</c:v>
                </c:pt>
                <c:pt idx="6">
                  <c:v>637.1979</c:v>
                </c:pt>
                <c:pt idx="7">
                  <c:v>672.7119</c:v>
                </c:pt>
                <c:pt idx="8">
                  <c:v>674.42</c:v>
                </c:pt>
                <c:pt idx="9">
                  <c:v>619.3924</c:v>
                </c:pt>
                <c:pt idx="10">
                  <c:v>580.0989</c:v>
                </c:pt>
                <c:pt idx="11">
                  <c:v>611.3407</c:v>
                </c:pt>
                <c:pt idx="12">
                  <c:v>607.6809</c:v>
                </c:pt>
                <c:pt idx="13">
                  <c:v>590.018</c:v>
                </c:pt>
                <c:pt idx="14">
                  <c:v>483.9416</c:v>
                </c:pt>
                <c:pt idx="15">
                  <c:v>521.6701</c:v>
                </c:pt>
                <c:pt idx="16">
                  <c:v>526.8837</c:v>
                </c:pt>
                <c:pt idx="17">
                  <c:v>565.4068</c:v>
                </c:pt>
                <c:pt idx="18">
                  <c:v>436.1807</c:v>
                </c:pt>
                <c:pt idx="19">
                  <c:v>619.1224</c:v>
                </c:pt>
                <c:pt idx="20">
                  <c:v>628.6078</c:v>
                </c:pt>
                <c:pt idx="21">
                  <c:v>612.5</c:v>
                </c:pt>
                <c:pt idx="22">
                  <c:v>659.5349</c:v>
                </c:pt>
                <c:pt idx="23">
                  <c:v>622.7353</c:v>
                </c:pt>
                <c:pt idx="24">
                  <c:v>643.0278</c:v>
                </c:pt>
                <c:pt idx="25">
                  <c:v>624.0588</c:v>
                </c:pt>
                <c:pt idx="26">
                  <c:v>597.4318</c:v>
                </c:pt>
                <c:pt idx="27">
                  <c:v>635.3077</c:v>
                </c:pt>
                <c:pt idx="28">
                  <c:v>646.175</c:v>
                </c:pt>
                <c:pt idx="29">
                  <c:v>622.2885</c:v>
                </c:pt>
                <c:pt idx="30">
                  <c:v>616.1818</c:v>
                </c:pt>
                <c:pt idx="31">
                  <c:v>609.4516</c:v>
                </c:pt>
                <c:pt idx="32">
                  <c:v>608.0526</c:v>
                </c:pt>
                <c:pt idx="33">
                  <c:v>582.5769</c:v>
                </c:pt>
                <c:pt idx="34">
                  <c:v>634.78</c:v>
                </c:pt>
                <c:pt idx="35">
                  <c:v>629.5102</c:v>
                </c:pt>
                <c:pt idx="36">
                  <c:v>660.0667</c:v>
                </c:pt>
                <c:pt idx="37">
                  <c:v>612.1351</c:v>
                </c:pt>
                <c:pt idx="38">
                  <c:v>613.9697</c:v>
                </c:pt>
                <c:pt idx="39">
                  <c:v>637.0625</c:v>
                </c:pt>
                <c:pt idx="40">
                  <c:v>656.8462</c:v>
                </c:pt>
                <c:pt idx="41">
                  <c:v>587.8</c:v>
                </c:pt>
                <c:pt idx="42">
                  <c:v>657.5217</c:v>
                </c:pt>
                <c:pt idx="43">
                  <c:v>651.6964</c:v>
                </c:pt>
                <c:pt idx="44">
                  <c:v>663.8605</c:v>
                </c:pt>
                <c:pt idx="45">
                  <c:v>662.1132</c:v>
                </c:pt>
                <c:pt idx="46">
                  <c:v>648.4444</c:v>
                </c:pt>
                <c:pt idx="47">
                  <c:v>647.6053</c:v>
                </c:pt>
                <c:pt idx="48">
                  <c:v>644.1576</c:v>
                </c:pt>
                <c:pt idx="49">
                  <c:v>644.2667</c:v>
                </c:pt>
                <c:pt idx="50">
                  <c:v>648.6262</c:v>
                </c:pt>
                <c:pt idx="51">
                  <c:v>649.641</c:v>
                </c:pt>
                <c:pt idx="52">
                  <c:v>665.8295</c:v>
                </c:pt>
                <c:pt idx="53">
                  <c:v>659.75</c:v>
                </c:pt>
                <c:pt idx="54">
                  <c:v>662.5862</c:v>
                </c:pt>
                <c:pt idx="55">
                  <c:v>648.55</c:v>
                </c:pt>
                <c:pt idx="56">
                  <c:v>652.0</c:v>
                </c:pt>
                <c:pt idx="57">
                  <c:v>644.5972</c:v>
                </c:pt>
                <c:pt idx="58">
                  <c:v>633.9881</c:v>
                </c:pt>
                <c:pt idx="59">
                  <c:v>635.9569</c:v>
                </c:pt>
                <c:pt idx="60">
                  <c:v>645.3223</c:v>
                </c:pt>
                <c:pt idx="61">
                  <c:v>653.0588</c:v>
                </c:pt>
                <c:pt idx="62">
                  <c:v>620.4792</c:v>
                </c:pt>
                <c:pt idx="63">
                  <c:v>643.1758</c:v>
                </c:pt>
                <c:pt idx="64">
                  <c:v>646.1667</c:v>
                </c:pt>
                <c:pt idx="65">
                  <c:v>623.3151</c:v>
                </c:pt>
                <c:pt idx="66">
                  <c:v>632.7681</c:v>
                </c:pt>
                <c:pt idx="67">
                  <c:v>623.5942</c:v>
                </c:pt>
                <c:pt idx="68">
                  <c:v>559.1864</c:v>
                </c:pt>
                <c:pt idx="69">
                  <c:v>498.1163</c:v>
                </c:pt>
                <c:pt idx="70">
                  <c:v>497.1842</c:v>
                </c:pt>
                <c:pt idx="71">
                  <c:v>637.7647</c:v>
                </c:pt>
                <c:pt idx="72">
                  <c:v>695.125</c:v>
                </c:pt>
                <c:pt idx="73">
                  <c:v>711.1724</c:v>
                </c:pt>
                <c:pt idx="74">
                  <c:v>655.6944</c:v>
                </c:pt>
                <c:pt idx="75">
                  <c:v>662.4194</c:v>
                </c:pt>
                <c:pt idx="76">
                  <c:v>648.7879</c:v>
                </c:pt>
                <c:pt idx="77">
                  <c:v>657.6522</c:v>
                </c:pt>
                <c:pt idx="78">
                  <c:v>654.8571</c:v>
                </c:pt>
                <c:pt idx="79">
                  <c:v>711.25</c:v>
                </c:pt>
                <c:pt idx="80">
                  <c:v>712.2051</c:v>
                </c:pt>
                <c:pt idx="81">
                  <c:v>709.1818</c:v>
                </c:pt>
                <c:pt idx="82">
                  <c:v>725.8667</c:v>
                </c:pt>
                <c:pt idx="83">
                  <c:v>705.3</c:v>
                </c:pt>
                <c:pt idx="84">
                  <c:v>735.8889</c:v>
                </c:pt>
                <c:pt idx="85">
                  <c:v>711.087</c:v>
                </c:pt>
                <c:pt idx="86">
                  <c:v>688.1667</c:v>
                </c:pt>
                <c:pt idx="87">
                  <c:v>681.6061</c:v>
                </c:pt>
                <c:pt idx="88">
                  <c:v>736.2381</c:v>
                </c:pt>
                <c:pt idx="89">
                  <c:v>701.8182</c:v>
                </c:pt>
                <c:pt idx="90">
                  <c:v>700.4211</c:v>
                </c:pt>
                <c:pt idx="91">
                  <c:v>576.3913</c:v>
                </c:pt>
                <c:pt idx="92">
                  <c:v>682.5909</c:v>
                </c:pt>
                <c:pt idx="93">
                  <c:v>706.2903</c:v>
                </c:pt>
                <c:pt idx="94">
                  <c:v>721.2308</c:v>
                </c:pt>
                <c:pt idx="95">
                  <c:v>687.7027</c:v>
                </c:pt>
                <c:pt idx="96">
                  <c:v>722.1111</c:v>
                </c:pt>
                <c:pt idx="97">
                  <c:v>725.6818</c:v>
                </c:pt>
                <c:pt idx="98">
                  <c:v>703.3247</c:v>
                </c:pt>
                <c:pt idx="99">
                  <c:v>682.7984</c:v>
                </c:pt>
                <c:pt idx="100">
                  <c:v>699.2016</c:v>
                </c:pt>
                <c:pt idx="101">
                  <c:v>690.8652</c:v>
                </c:pt>
                <c:pt idx="102">
                  <c:v>714.8</c:v>
                </c:pt>
                <c:pt idx="103">
                  <c:v>714.7302</c:v>
                </c:pt>
                <c:pt idx="104">
                  <c:v>726.1154</c:v>
                </c:pt>
              </c:numCache>
            </c:numRef>
          </c:xVal>
          <c:yVal>
            <c:numRef>
              <c:f>Sheet1!$B$2:$B$106</c:f>
              <c:numCache>
                <c:formatCode>General</c:formatCode>
                <c:ptCount val="105"/>
                <c:pt idx="0">
                  <c:v>0.28523489932885904</c:v>
                </c:pt>
                <c:pt idx="1">
                  <c:v>0.3742138364779874</c:v>
                </c:pt>
                <c:pt idx="2">
                  <c:v>0.3684210526315789</c:v>
                </c:pt>
                <c:pt idx="3">
                  <c:v>0.41338582677165353</c:v>
                </c:pt>
                <c:pt idx="4">
                  <c:v>0.39316239316239315</c:v>
                </c:pt>
                <c:pt idx="5">
                  <c:v>0.41706161137440756</c:v>
                </c:pt>
                <c:pt idx="6">
                  <c:v>0.41379310344827586</c:v>
                </c:pt>
                <c:pt idx="7">
                  <c:v>0.3430232558139535</c:v>
                </c:pt>
                <c:pt idx="8">
                  <c:v>0.3401360544217687</c:v>
                </c:pt>
                <c:pt idx="9">
                  <c:v>0.4072164948453608</c:v>
                </c:pt>
                <c:pt idx="10">
                  <c:v>0.4080717488789238</c:v>
                </c:pt>
                <c:pt idx="11">
                  <c:v>0.4117647058823529</c:v>
                </c:pt>
                <c:pt idx="12">
                  <c:v>0.3900414937759336</c:v>
                </c:pt>
                <c:pt idx="13">
                  <c:v>0.3964285714285714</c:v>
                </c:pt>
                <c:pt idx="14">
                  <c:v>0.4065281899109792</c:v>
                </c:pt>
                <c:pt idx="15">
                  <c:v>0.3415492957746479</c:v>
                </c:pt>
                <c:pt idx="16">
                  <c:v>0.33725490196078434</c:v>
                </c:pt>
                <c:pt idx="17">
                  <c:v>0.2822966507177033</c:v>
                </c:pt>
                <c:pt idx="18">
                  <c:v>0.2694805194805195</c:v>
                </c:pt>
                <c:pt idx="19">
                  <c:v>0.22477064220183487</c:v>
                </c:pt>
                <c:pt idx="20">
                  <c:v>0.255</c:v>
                </c:pt>
                <c:pt idx="21">
                  <c:v>0.2345679012345679</c:v>
                </c:pt>
                <c:pt idx="22">
                  <c:v>0.26380368098159507</c:v>
                </c:pt>
                <c:pt idx="23">
                  <c:v>0.2222222222222222</c:v>
                </c:pt>
                <c:pt idx="24">
                  <c:v>0.2589928057553957</c:v>
                </c:pt>
                <c:pt idx="25">
                  <c:v>0.24113475177304963</c:v>
                </c:pt>
                <c:pt idx="26">
                  <c:v>0.35772357723577236</c:v>
                </c:pt>
                <c:pt idx="27">
                  <c:v>0.30708661417322836</c:v>
                </c:pt>
                <c:pt idx="28">
                  <c:v>0.3053435114503817</c:v>
                </c:pt>
                <c:pt idx="29">
                  <c:v>0.35135135135135137</c:v>
                </c:pt>
                <c:pt idx="30">
                  <c:v>0.3</c:v>
                </c:pt>
                <c:pt idx="31">
                  <c:v>0.3069306930693069</c:v>
                </c:pt>
                <c:pt idx="32">
                  <c:v>0.3089430894308943</c:v>
                </c:pt>
                <c:pt idx="33">
                  <c:v>0.2653061224489796</c:v>
                </c:pt>
                <c:pt idx="34">
                  <c:v>0.2857142857142857</c:v>
                </c:pt>
                <c:pt idx="35">
                  <c:v>0.2692307692307692</c:v>
                </c:pt>
                <c:pt idx="36">
                  <c:v>0.24793388429752067</c:v>
                </c:pt>
                <c:pt idx="37">
                  <c:v>0.2569444444444444</c:v>
                </c:pt>
                <c:pt idx="38">
                  <c:v>0.264</c:v>
                </c:pt>
                <c:pt idx="39">
                  <c:v>0.2206896551724138</c:v>
                </c:pt>
                <c:pt idx="40">
                  <c:v>0.24074074074074073</c:v>
                </c:pt>
                <c:pt idx="41">
                  <c:v>0.29411764705882354</c:v>
                </c:pt>
                <c:pt idx="42">
                  <c:v>0.2658959537572254</c:v>
                </c:pt>
                <c:pt idx="43">
                  <c:v>0.27586206896551724</c:v>
                </c:pt>
                <c:pt idx="44">
                  <c:v>0.245014245014245</c:v>
                </c:pt>
                <c:pt idx="45">
                  <c:v>0.265</c:v>
                </c:pt>
                <c:pt idx="46">
                  <c:v>0.27979274611398963</c:v>
                </c:pt>
                <c:pt idx="47">
                  <c:v>0.29457364341085274</c:v>
                </c:pt>
                <c:pt idx="48">
                  <c:v>0.31239388794567063</c:v>
                </c:pt>
                <c:pt idx="49">
                  <c:v>0.3096774193548387</c:v>
                </c:pt>
                <c:pt idx="50">
                  <c:v>0.2955801104972376</c:v>
                </c:pt>
                <c:pt idx="51">
                  <c:v>0.2988505747126437</c:v>
                </c:pt>
                <c:pt idx="52">
                  <c:v>0.26993865030674846</c:v>
                </c:pt>
                <c:pt idx="53">
                  <c:v>0.30363036303630364</c:v>
                </c:pt>
                <c:pt idx="54">
                  <c:v>0.25217391304347825</c:v>
                </c:pt>
                <c:pt idx="55">
                  <c:v>0.2857142857142857</c:v>
                </c:pt>
                <c:pt idx="56">
                  <c:v>0.3113207547169811</c:v>
                </c:pt>
                <c:pt idx="57">
                  <c:v>0.2903225806451613</c:v>
                </c:pt>
                <c:pt idx="58">
                  <c:v>0.2876712328767123</c:v>
                </c:pt>
                <c:pt idx="59">
                  <c:v>0.31521739130434784</c:v>
                </c:pt>
                <c:pt idx="60">
                  <c:v>0.3201058201058201</c:v>
                </c:pt>
                <c:pt idx="61">
                  <c:v>0.2809917355371901</c:v>
                </c:pt>
                <c:pt idx="62">
                  <c:v>0.33217993079584773</c:v>
                </c:pt>
                <c:pt idx="63">
                  <c:v>0.3127147766323024</c:v>
                </c:pt>
                <c:pt idx="64">
                  <c:v>0.29577464788732394</c:v>
                </c:pt>
                <c:pt idx="65">
                  <c:v>0.28294573643410853</c:v>
                </c:pt>
                <c:pt idx="66">
                  <c:v>0.3039647577092511</c:v>
                </c:pt>
                <c:pt idx="67">
                  <c:v>0.28991596638655465</c:v>
                </c:pt>
                <c:pt idx="68">
                  <c:v>0.31382978723404253</c:v>
                </c:pt>
                <c:pt idx="69">
                  <c:v>0.3412698412698413</c:v>
                </c:pt>
                <c:pt idx="70">
                  <c:v>0.2857142857142857</c:v>
                </c:pt>
                <c:pt idx="71">
                  <c:v>0.2698412698412698</c:v>
                </c:pt>
                <c:pt idx="72">
                  <c:v>0.2857142857142857</c:v>
                </c:pt>
                <c:pt idx="73">
                  <c:v>0.2457627118644068</c:v>
                </c:pt>
                <c:pt idx="74">
                  <c:v>0.26666666666666666</c:v>
                </c:pt>
                <c:pt idx="75">
                  <c:v>0.27927927927927926</c:v>
                </c:pt>
                <c:pt idx="76">
                  <c:v>0.2796610169491525</c:v>
                </c:pt>
                <c:pt idx="77">
                  <c:v>0.21100917431192662</c:v>
                </c:pt>
                <c:pt idx="78">
                  <c:v>0.28</c:v>
                </c:pt>
                <c:pt idx="79">
                  <c:v>0.24489795918367346</c:v>
                </c:pt>
                <c:pt idx="80">
                  <c:v>0.312</c:v>
                </c:pt>
                <c:pt idx="81">
                  <c:v>0.24175824175824176</c:v>
                </c:pt>
                <c:pt idx="82">
                  <c:v>0.2112676056338028</c:v>
                </c:pt>
                <c:pt idx="83">
                  <c:v>0.28169014084507044</c:v>
                </c:pt>
                <c:pt idx="84">
                  <c:v>0.2647058823529412</c:v>
                </c:pt>
                <c:pt idx="85">
                  <c:v>0.2911392405063291</c:v>
                </c:pt>
                <c:pt idx="86">
                  <c:v>0.2857142857142857</c:v>
                </c:pt>
                <c:pt idx="87">
                  <c:v>0.2972972972972973</c:v>
                </c:pt>
                <c:pt idx="88">
                  <c:v>0.2876712328767123</c:v>
                </c:pt>
                <c:pt idx="89">
                  <c:v>0.28205128205128205</c:v>
                </c:pt>
                <c:pt idx="90">
                  <c:v>0.25675675675675674</c:v>
                </c:pt>
                <c:pt idx="91">
                  <c:v>0.27380952380952384</c:v>
                </c:pt>
                <c:pt idx="92">
                  <c:v>0.21153846153846154</c:v>
                </c:pt>
                <c:pt idx="93">
                  <c:v>0.2366412213740458</c:v>
                </c:pt>
                <c:pt idx="94">
                  <c:v>0.2549019607843137</c:v>
                </c:pt>
                <c:pt idx="95">
                  <c:v>0.2605633802816901</c:v>
                </c:pt>
                <c:pt idx="96">
                  <c:v>0.24193548387096775</c:v>
                </c:pt>
                <c:pt idx="97">
                  <c:v>0.28085106382978725</c:v>
                </c:pt>
                <c:pt idx="98">
                  <c:v>0.25925925925925924</c:v>
                </c:pt>
                <c:pt idx="99">
                  <c:v>0.2980769230769231</c:v>
                </c:pt>
                <c:pt idx="100">
                  <c:v>0.2672413793103448</c:v>
                </c:pt>
                <c:pt idx="101">
                  <c:v>0.279874213836478</c:v>
                </c:pt>
                <c:pt idx="102">
                  <c:v>0.23076923076923078</c:v>
                </c:pt>
                <c:pt idx="103">
                  <c:v>0.2903225806451613</c:v>
                </c:pt>
                <c:pt idx="104">
                  <c:v>0.304093567251461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54</c:f>
              <c:numCache>
                <c:formatCode>General</c:formatCode>
                <c:ptCount val="46"/>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26.52</c:v>
                </c:pt>
                <c:pt idx="25">
                  <c:v>646.35</c:v>
                </c:pt>
                <c:pt idx="26">
                  <c:v>743.5263</c:v>
                </c:pt>
                <c:pt idx="27">
                  <c:v>624.775</c:v>
                </c:pt>
                <c:pt idx="28">
                  <c:v>727.2963</c:v>
                </c:pt>
                <c:pt idx="29">
                  <c:v>723.0</c:v>
                </c:pt>
                <c:pt idx="30">
                  <c:v>780.4</c:v>
                </c:pt>
                <c:pt idx="31">
                  <c:v>748.5227</c:v>
                </c:pt>
                <c:pt idx="32">
                  <c:v>769.2414</c:v>
                </c:pt>
                <c:pt idx="33">
                  <c:v>722.619</c:v>
                </c:pt>
                <c:pt idx="34">
                  <c:v>769.15</c:v>
                </c:pt>
                <c:pt idx="35">
                  <c:v>734.4615</c:v>
                </c:pt>
                <c:pt idx="36">
                  <c:v>784.0606</c:v>
                </c:pt>
                <c:pt idx="37">
                  <c:v>749.1923</c:v>
                </c:pt>
                <c:pt idx="38">
                  <c:v>777.0833</c:v>
                </c:pt>
                <c:pt idx="39">
                  <c:v>735.2632</c:v>
                </c:pt>
                <c:pt idx="40">
                  <c:v>748.6623</c:v>
                </c:pt>
                <c:pt idx="41">
                  <c:v>729.8167</c:v>
                </c:pt>
                <c:pt idx="42">
                  <c:v>728.2278</c:v>
                </c:pt>
                <c:pt idx="43">
                  <c:v>752.1376</c:v>
                </c:pt>
                <c:pt idx="44">
                  <c:v>761.2832</c:v>
                </c:pt>
                <c:pt idx="45">
                  <c:v>747.7838</c:v>
                </c:pt>
              </c:numCache>
            </c:numRef>
          </c:xVal>
          <c:yVal>
            <c:numRef>
              <c:f>Sheet1!$B$109:$B$154</c:f>
              <c:numCache>
                <c:formatCode>General</c:formatCode>
                <c:ptCount val="46"/>
                <c:pt idx="0">
                  <c:v>0.270935960591133</c:v>
                </c:pt>
                <c:pt idx="1">
                  <c:v>0.2556053811659193</c:v>
                </c:pt>
                <c:pt idx="2">
                  <c:v>0.32644628099173556</c:v>
                </c:pt>
                <c:pt idx="3">
                  <c:v>0.2862903225806452</c:v>
                </c:pt>
                <c:pt idx="4">
                  <c:v>0.2548262548262548</c:v>
                </c:pt>
                <c:pt idx="5">
                  <c:v>0.28703703703703703</c:v>
                </c:pt>
                <c:pt idx="6">
                  <c:v>0.31135531135531136</c:v>
                </c:pt>
                <c:pt idx="7">
                  <c:v>0.23076923076923078</c:v>
                </c:pt>
                <c:pt idx="8">
                  <c:v>0.29365079365079366</c:v>
                </c:pt>
                <c:pt idx="9">
                  <c:v>0.3333333333333333</c:v>
                </c:pt>
                <c:pt idx="10">
                  <c:v>0.27906976744186046</c:v>
                </c:pt>
                <c:pt idx="11">
                  <c:v>0.34554973821989526</c:v>
                </c:pt>
                <c:pt idx="12">
                  <c:v>0.39490445859872614</c:v>
                </c:pt>
                <c:pt idx="13">
                  <c:v>0.3532608695652174</c:v>
                </c:pt>
                <c:pt idx="14">
                  <c:v>0.3114754098360656</c:v>
                </c:pt>
                <c:pt idx="15">
                  <c:v>0.3475177304964539</c:v>
                </c:pt>
                <c:pt idx="16">
                  <c:v>0.3008130081300813</c:v>
                </c:pt>
                <c:pt idx="17">
                  <c:v>0.34285714285714286</c:v>
                </c:pt>
                <c:pt idx="18">
                  <c:v>0.34074074074074073</c:v>
                </c:pt>
                <c:pt idx="19">
                  <c:v>0.34513274336283184</c:v>
                </c:pt>
                <c:pt idx="20">
                  <c:v>0.2767857142857143</c:v>
                </c:pt>
                <c:pt idx="21">
                  <c:v>0.2857142857142857</c:v>
                </c:pt>
                <c:pt idx="22">
                  <c:v>0.2857142857142857</c:v>
                </c:pt>
                <c:pt idx="23">
                  <c:v>0.34328358208955223</c:v>
                </c:pt>
                <c:pt idx="24">
                  <c:v>0.28735632183908044</c:v>
                </c:pt>
                <c:pt idx="25">
                  <c:v>0.21052631578947367</c:v>
                </c:pt>
                <c:pt idx="26">
                  <c:v>0.25333333333333335</c:v>
                </c:pt>
                <c:pt idx="27">
                  <c:v>0.36363636363636365</c:v>
                </c:pt>
                <c:pt idx="28">
                  <c:v>0.2967032967032967</c:v>
                </c:pt>
                <c:pt idx="29">
                  <c:v>0.2808988764044944</c:v>
                </c:pt>
                <c:pt idx="30">
                  <c:v>0.28169014084507044</c:v>
                </c:pt>
                <c:pt idx="31">
                  <c:v>0.30344827586206896</c:v>
                </c:pt>
                <c:pt idx="32">
                  <c:v>0.26605504587155965</c:v>
                </c:pt>
                <c:pt idx="33">
                  <c:v>0.27631578947368424</c:v>
                </c:pt>
                <c:pt idx="34">
                  <c:v>0.24691358024691357</c:v>
                </c:pt>
                <c:pt idx="35">
                  <c:v>0.27956989247311825</c:v>
                </c:pt>
                <c:pt idx="36">
                  <c:v>0.32038834951456313</c:v>
                </c:pt>
                <c:pt idx="37">
                  <c:v>0.26</c:v>
                </c:pt>
                <c:pt idx="38">
                  <c:v>0.23076923076923078</c:v>
                </c:pt>
                <c:pt idx="39">
                  <c:v>0.29842931937172773</c:v>
                </c:pt>
                <c:pt idx="40">
                  <c:v>0.35</c:v>
                </c:pt>
                <c:pt idx="41">
                  <c:v>0.30612244897959184</c:v>
                </c:pt>
                <c:pt idx="42">
                  <c:v>0.2743055555555556</c:v>
                </c:pt>
                <c:pt idx="43">
                  <c:v>0.3002754820936639</c:v>
                </c:pt>
                <c:pt idx="44">
                  <c:v>0.2803970223325062</c:v>
                </c:pt>
                <c:pt idx="45">
                  <c:v>0.2824427480916031</c:v>
                </c:pt>
              </c:numCache>
            </c:numRef>
          </c:yVal>
          <c:smooth val="0"/>
          <c:extLst>
            <c:ext xmlns:c16="http://schemas.microsoft.com/office/drawing/2014/chart" uri="{C3380CC4-5D6E-409C-BE32-E72D297353CC}">
              <c16:uniqueId val="{00000002-F32D-48B7-BC20-E66FC6253BAD}"/>
            </c:ext>
          </c:extLst>
        </c:ser>
        <c:ser>
          <c:idx val="2"/>
          <c:order val="2"/>
          <c:tx>
            <c:strRef>
              <c:f>Sheet1!$B$156</c:f>
              <c:strCache>
                <c:ptCount val="1"/>
                <c:pt idx="0">
                  <c:v>Custom Linep3yQ</c:v>
                </c:pt>
              </c:strCache>
            </c:strRef>
          </c:tx>
          <c:spPr>
            <a:ln w="19050" cap="rnd">
              <a:solidFill>
                <a:srgbClr val="C00000"/>
              </a:solidFill>
              <a:prstDash val="sysDot"/>
              <a:round/>
            </a:ln>
            <a:effectLst/>
          </c:spPr>
          <c:marker>
            <c:symbol val="none"/>
          </c:marker>
          <c:xVal>
            <c:numRef>
              <c:f>Sheet1!$A$157:$A$158</c:f>
              <c:numCache>
                <c:formatCode>General</c:formatCode>
                <c:ptCount val="2"/>
                <c:pt idx="0">
                  <c:v>0</c:v>
                </c:pt>
                <c:pt idx="1">
                  <c:v>472.04471527803287</c:v>
                </c:pt>
              </c:numCache>
            </c:numRef>
          </c:xVal>
          <c:yVal>
            <c:numRef>
              <c:f>Sheet1!$B$157:$B$158</c:f>
              <c:numCache>
                <c:formatCode>General</c:formatCode>
                <c:ptCount val="2"/>
                <c:pt idx="0">
                  <c:v>0.37204800371454194</c:v>
                </c:pt>
                <c:pt idx="1">
                  <c:v>0.37204800371454194</c:v>
                </c:pt>
              </c:numCache>
            </c:numRef>
          </c:yVal>
          <c:smooth val="0"/>
          <c:extLst>
            <c:ext xmlns:c16="http://schemas.microsoft.com/office/drawing/2014/chart" uri="{C3380CC4-5D6E-409C-BE32-E72D297353CC}">
              <c16:uniqueId val="{00000003-F32D-48B7-BC20-E66FC6253BAD}"/>
            </c:ext>
          </c:extLst>
        </c:ser>
        <c:ser>
          <c:idx val="3"/>
          <c:order val="3"/>
          <c:tx>
            <c:strRef>
              <c:f>Sheet1!$B$1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472.04471527803287</c:v>
                </c:pt>
                <c:pt idx="1">
                  <c:v>472.04471527803287</c:v>
                </c:pt>
              </c:numCache>
            </c:numRef>
          </c:xVal>
          <c:yVal>
            <c:numRef>
              <c:f>Sheet1!$B$161:$B$162</c:f>
              <c:numCache>
                <c:formatCode>General</c:formatCode>
                <c:ptCount val="2"/>
                <c:pt idx="0">
                  <c:v>0.372048003714541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5:$A$166</c:f>
              <c:numCache>
                <c:formatCode>General</c:formatCode>
                <c:ptCount val="2"/>
                <c:pt idx="0">
                  <c:v>0</c:v>
                </c:pt>
                <c:pt idx="1">
                  <c:v>613.3402161275264</c:v>
                </c:pt>
              </c:numCache>
            </c:numRef>
          </c:xVal>
          <c:yVal>
            <c:numRef>
              <c:f>Sheet1!$B$165:$B$166</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A-F32D-48B7-BC20-E66FC6253BAD}"/>
            </c:ext>
          </c:extLst>
        </c:ser>
        <c:ser>
          <c:idx val="5"/>
          <c:order val="5"/>
          <c:tx>
            <c:strRef>
              <c:f>Sheet1!$B$1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613.3402161275264</c:v>
                </c:pt>
                <c:pt idx="1">
                  <c:v>613.3402161275264</c:v>
                </c:pt>
              </c:numCache>
            </c:numRef>
          </c:xVal>
          <c:yVal>
            <c:numRef>
              <c:f>Sheet1!$B$169:$B$170</c:f>
              <c:numCache>
                <c:formatCode>General</c:formatCode>
                <c:ptCount val="2"/>
                <c:pt idx="0">
                  <c:v>0.32747345712171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3:$A$174</c:f>
              <c:numCache>
                <c:formatCode>General</c:formatCode>
                <c:ptCount val="2"/>
                <c:pt idx="0">
                  <c:v>0</c:v>
                </c:pt>
                <c:pt idx="1">
                  <c:v>731.1339703647279</c:v>
                </c:pt>
              </c:numCache>
            </c:numRef>
          </c:xVal>
          <c:yVal>
            <c:numRef>
              <c:f>Sheet1!$B$173:$B$174</c:f>
              <c:numCache>
                <c:formatCode>General</c:formatCode>
                <c:ptCount val="2"/>
                <c:pt idx="0">
                  <c:v>0.2903130156708442</c:v>
                </c:pt>
                <c:pt idx="1">
                  <c:v>0.2903130156708442</c:v>
                </c:pt>
              </c:numCache>
            </c:numRef>
          </c:yVal>
          <c:smooth val="0"/>
          <c:extLst>
            <c:ext xmlns:c16="http://schemas.microsoft.com/office/drawing/2014/chart" uri="{C3380CC4-5D6E-409C-BE32-E72D297353CC}">
              <c16:uniqueId val="{00000011-F32D-48B7-BC20-E66FC6253BAD}"/>
            </c:ext>
          </c:extLst>
        </c:ser>
        <c:ser>
          <c:idx val="7"/>
          <c:order val="7"/>
          <c:tx>
            <c:strRef>
              <c:f>Sheet1!$B$17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7:$A$178</c:f>
              <c:numCache>
                <c:formatCode>General</c:formatCode>
                <c:ptCount val="2"/>
                <c:pt idx="0">
                  <c:v>731.1339703647279</c:v>
                </c:pt>
                <c:pt idx="1">
                  <c:v>731.1339703647279</c:v>
                </c:pt>
              </c:numCache>
            </c:numRef>
          </c:xVal>
          <c:yVal>
            <c:numRef>
              <c:f>Sheet1!$B$177:$B$178</c:f>
              <c:numCache>
                <c:formatCode>General</c:formatCode>
                <c:ptCount val="2"/>
                <c:pt idx="0">
                  <c:v>0.29031301567084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1:$A$229</c:f>
              <c:numCache>
                <c:formatCode>General</c:formatCode>
                <c:ptCount val="49"/>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45.3913</c:v>
                </c:pt>
                <c:pt idx="24">
                  <c:v>726.52</c:v>
                </c:pt>
                <c:pt idx="25">
                  <c:v>646.35</c:v>
                </c:pt>
                <c:pt idx="26">
                  <c:v>743.5263</c:v>
                </c:pt>
                <c:pt idx="27">
                  <c:v>624.775</c:v>
                </c:pt>
                <c:pt idx="28">
                  <c:v>727.2963</c:v>
                </c:pt>
                <c:pt idx="29">
                  <c:v>723.0</c:v>
                </c:pt>
                <c:pt idx="30">
                  <c:v>780.4</c:v>
                </c:pt>
                <c:pt idx="31">
                  <c:v>748.5227</c:v>
                </c:pt>
                <c:pt idx="32">
                  <c:v>769.2414</c:v>
                </c:pt>
                <c:pt idx="33">
                  <c:v>722.619</c:v>
                </c:pt>
                <c:pt idx="34">
                  <c:v>769.15</c:v>
                </c:pt>
                <c:pt idx="35">
                  <c:v>734.4615</c:v>
                </c:pt>
                <c:pt idx="36">
                  <c:v>784.0606</c:v>
                </c:pt>
                <c:pt idx="37">
                  <c:v>749.1923</c:v>
                </c:pt>
                <c:pt idx="38">
                  <c:v>777.0833</c:v>
                </c:pt>
                <c:pt idx="39">
                  <c:v>735.2632</c:v>
                </c:pt>
                <c:pt idx="40">
                  <c:v>748.6623</c:v>
                </c:pt>
                <c:pt idx="41">
                  <c:v>729.8167</c:v>
                </c:pt>
                <c:pt idx="42">
                  <c:v>728.2278</c:v>
                </c:pt>
                <c:pt idx="43">
                  <c:v>752.1376</c:v>
                </c:pt>
                <c:pt idx="44">
                  <c:v>761.2832</c:v>
                </c:pt>
                <c:pt idx="45">
                  <c:v>747.7838</c:v>
                </c:pt>
                <c:pt idx="46">
                  <c:v>613.3402161275264</c:v>
                </c:pt>
                <c:pt idx="47">
                  <c:v>472.04471527803287</c:v>
                </c:pt>
                <c:pt idx="48">
                  <c:v>731.1339703647279</c:v>
                </c:pt>
              </c:numCache>
            </c:numRef>
          </c:xVal>
          <c:yVal>
            <c:numRef>
              <c:f>Sheet1!$B$181:$B$229</c:f>
              <c:numCache>
                <c:formatCode>General</c:formatCode>
                <c:ptCount val="49"/>
                <c:pt idx="0">
                  <c:v>0.30380005947910216</c:v>
                </c:pt>
                <c:pt idx="1">
                  <c:v>0.29744506623132994</c:v>
                </c:pt>
                <c:pt idx="2">
                  <c:v>0.3091836563055911</c:v>
                </c:pt>
                <c:pt idx="3">
                  <c:v>0.29119061339647767</c:v>
                </c:pt>
                <c:pt idx="4">
                  <c:v>0.2922385429340909</c:v>
                </c:pt>
                <c:pt idx="5">
                  <c:v>0.29124064700014607</c:v>
                </c:pt>
                <c:pt idx="6">
                  <c:v>0.3031040056131891</c:v>
                </c:pt>
                <c:pt idx="7">
                  <c:v>0.3020211219564936</c:v>
                </c:pt>
                <c:pt idx="8">
                  <c:v>0.29414092401984837</c:v>
                </c:pt>
                <c:pt idx="9">
                  <c:v>0.3019926349803823</c:v>
                </c:pt>
                <c:pt idx="10">
                  <c:v>0.30403224568528053</c:v>
                </c:pt>
                <c:pt idx="11">
                  <c:v>0.3124430017218589</c:v>
                </c:pt>
                <c:pt idx="12">
                  <c:v>0.307446644797658</c:v>
                </c:pt>
                <c:pt idx="13">
                  <c:v>0.3033235414567754</c:v>
                </c:pt>
                <c:pt idx="14">
                  <c:v>0.31696549057499934</c:v>
                </c:pt>
                <c:pt idx="15">
                  <c:v>0.3204215317787023</c:v>
                </c:pt>
                <c:pt idx="16">
                  <c:v>0.2980203580323991</c:v>
                </c:pt>
                <c:pt idx="17">
                  <c:v>0.3031406001782933</c:v>
                </c:pt>
                <c:pt idx="18">
                  <c:v>0.3575093348358377</c:v>
                </c:pt>
                <c:pt idx="19">
                  <c:v>0.3389377192336113</c:v>
                </c:pt>
                <c:pt idx="20">
                  <c:v>0.287658512282028</c:v>
                </c:pt>
                <c:pt idx="21">
                  <c:v>0.30319754258347703</c:v>
                </c:pt>
                <c:pt idx="22">
                  <c:v>0.28605339894366444</c:v>
                </c:pt>
                <c:pt idx="23">
                  <c:v>0.2858152503471372</c:v>
                </c:pt>
                <c:pt idx="24">
                  <c:v>0.29176858669585193</c:v>
                </c:pt>
                <c:pt idx="25">
                  <c:v>0.3170598477682982</c:v>
                </c:pt>
                <c:pt idx="26">
                  <c:v>0.2864036026223039</c:v>
                </c:pt>
                <c:pt idx="27">
                  <c:v>0.32386612140729076</c:v>
                </c:pt>
                <c:pt idx="28">
                  <c:v>0.2915236870330037</c:v>
                </c:pt>
                <c:pt idx="29">
                  <c:v>0.2928790424645311</c:v>
                </c:pt>
                <c:pt idx="30">
                  <c:v>0.27477104214572834</c:v>
                </c:pt>
                <c:pt idx="31">
                  <c:v>0.2848273863715571</c:v>
                </c:pt>
                <c:pt idx="32">
                  <c:v>0.2782912500265191</c:v>
                </c:pt>
                <c:pt idx="33">
                  <c:v>0.292999236682675</c:v>
                </c:pt>
                <c:pt idx="34">
                  <c:v>0.27832008402005814</c:v>
                </c:pt>
                <c:pt idx="35">
                  <c:v>0.28926327860296386</c:v>
                </c:pt>
                <c:pt idx="36">
                  <c:v>0.2736162312403797</c:v>
                </c:pt>
                <c:pt idx="37">
                  <c:v>0.28461614739919694</c:v>
                </c:pt>
                <c:pt idx="38">
                  <c:v>0.2758173627843585</c:v>
                </c:pt>
                <c:pt idx="39">
                  <c:v>0.2890103659922394</c:v>
                </c:pt>
                <c:pt idx="40">
                  <c:v>0.2847833467052765</c:v>
                </c:pt>
                <c:pt idx="41">
                  <c:v>0.2907285754649983</c:v>
                </c:pt>
                <c:pt idx="42">
                  <c:v>0.2912298263658092</c:v>
                </c:pt>
                <c:pt idx="43">
                  <c:v>0.28368699246297796</c:v>
                </c:pt>
                <c:pt idx="44">
                  <c:v>0.2808018264749006</c:v>
                </c:pt>
                <c:pt idx="45">
                  <c:v>0.2850604874418631</c:v>
                </c:pt>
                <c:pt idx="46">
                  <c:v>0.32747345712171916</c:v>
                </c:pt>
                <c:pt idx="47">
                  <c:v>0.37204800371454194</c:v>
                </c:pt>
                <c:pt idx="48">
                  <c:v>0.29031301567084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9</c:f>
              <c:numCache>
                <c:formatCode>General</c:formatCode>
                <c:ptCount val="138"/>
                <c:pt idx="0">
                  <c:v>0.0</c:v>
                </c:pt>
                <c:pt idx="1">
                  <c:v>0.0</c:v>
                </c:pt>
                <c:pt idx="2">
                  <c:v>0.0</c:v>
                </c:pt>
                <c:pt idx="3">
                  <c:v>0.0</c:v>
                </c:pt>
                <c:pt idx="4">
                  <c:v>0.0</c:v>
                </c:pt>
                <c:pt idx="5">
                  <c:v>0.9785030015797788</c:v>
                </c:pt>
                <c:pt idx="6">
                  <c:v>0.0</c:v>
                </c:pt>
                <c:pt idx="7">
                  <c:v>0.0</c:v>
                </c:pt>
                <c:pt idx="8">
                  <c:v>0.0</c:v>
                </c:pt>
                <c:pt idx="9">
                  <c:v>0.0</c:v>
                </c:pt>
                <c:pt idx="10">
                  <c:v>0.0</c:v>
                </c:pt>
                <c:pt idx="11">
                  <c:v>0.0</c:v>
                </c:pt>
                <c:pt idx="12">
                  <c:v>0.0</c:v>
                </c:pt>
                <c:pt idx="13">
                  <c:v>0.0</c:v>
                </c:pt>
                <c:pt idx="14">
                  <c:v>0.0</c:v>
                </c:pt>
                <c:pt idx="15">
                  <c:v>0.0</c:v>
                </c:pt>
                <c:pt idx="16">
                  <c:v>0.0</c:v>
                </c:pt>
                <c:pt idx="17">
                  <c:v>0.0</c:v>
                </c:pt>
                <c:pt idx="18">
                  <c:v>0.9005177489177489</c:v>
                </c:pt>
                <c:pt idx="19">
                  <c:v>0.8426400564174894</c:v>
                </c:pt>
                <c:pt idx="20">
                  <c:v>0.0</c:v>
                </c:pt>
                <c:pt idx="21">
                  <c:v>0.6304146341463415</c:v>
                </c:pt>
                <c:pt idx="22">
                  <c:v>0.6883722345132743</c:v>
                </c:pt>
                <c:pt idx="23">
                  <c:v>0.7799769620253164</c:v>
                </c:pt>
                <c:pt idx="24">
                  <c:v>0.40334321641297155</c:v>
                </c:pt>
                <c:pt idx="25">
                  <c:v>1.013421</c:v>
                </c:pt>
                <c:pt idx="26">
                  <c:v>1.0592307272727273</c:v>
                </c:pt>
                <c:pt idx="27">
                  <c:v>0.0</c:v>
                </c:pt>
                <c:pt idx="28">
                  <c:v>0.9070752161383286</c:v>
                </c:pt>
                <c:pt idx="29">
                  <c:v>0.46680813295615275</c:v>
                </c:pt>
                <c:pt idx="30">
                  <c:v>0.9163699101796406</c:v>
                </c:pt>
                <c:pt idx="31">
                  <c:v>0.0</c:v>
                </c:pt>
                <c:pt idx="32">
                  <c:v>0.0</c:v>
                </c:pt>
                <c:pt idx="33">
                  <c:v>0.0</c:v>
                </c:pt>
                <c:pt idx="34">
                  <c:v>1.1217557251908397</c:v>
                </c:pt>
                <c:pt idx="35">
                  <c:v>0.8628893700787402</c:v>
                </c:pt>
                <c:pt idx="36">
                  <c:v>2.704134439834025</c:v>
                </c:pt>
                <c:pt idx="37">
                  <c:v>1.2004710669077758</c:v>
                </c:pt>
                <c:pt idx="38">
                  <c:v>0.6940389937106918</c:v>
                </c:pt>
                <c:pt idx="39">
                  <c:v>0.746196087456847</c:v>
                </c:pt>
                <c:pt idx="40">
                  <c:v>0.0</c:v>
                </c:pt>
                <c:pt idx="41">
                  <c:v>0.4760957871396896</c:v>
                </c:pt>
                <c:pt idx="42">
                  <c:v>0.7271633182844244</c:v>
                </c:pt>
                <c:pt idx="43">
                  <c:v>0.0</c:v>
                </c:pt>
                <c:pt idx="44">
                  <c:v>1.0279129746835443</c:v>
                </c:pt>
                <c:pt idx="45">
                  <c:v>0.709839552238806</c:v>
                </c:pt>
                <c:pt idx="46">
                  <c:v>0.0</c:v>
                </c:pt>
                <c:pt idx="47">
                  <c:v>0.642128712871287</c:v>
                </c:pt>
                <c:pt idx="48">
                  <c:v>0.0</c:v>
                </c:pt>
                <c:pt idx="49">
                  <c:v>0.0</c:v>
                </c:pt>
                <c:pt idx="50">
                  <c:v>0.9694007645259939</c:v>
                </c:pt>
                <c:pt idx="51">
                  <c:v>0.0</c:v>
                </c:pt>
                <c:pt idx="52">
                  <c:v>0.9166509943181819</c:v>
                </c:pt>
                <c:pt idx="53">
                  <c:v>0.0</c:v>
                </c:pt>
                <c:pt idx="54">
                  <c:v>0.4592740192450037</c:v>
                </c:pt>
                <c:pt idx="55">
                  <c:v>0.0</c:v>
                </c:pt>
                <c:pt idx="56">
                  <c:v>1.4230938356164384</c:v>
                </c:pt>
                <c:pt idx="57">
                  <c:v>0.0</c:v>
                </c:pt>
                <c:pt idx="58">
                  <c:v>0.0</c:v>
                </c:pt>
                <c:pt idx="59">
                  <c:v>0.0</c:v>
                </c:pt>
                <c:pt idx="60">
                  <c:v>0.0</c:v>
                </c:pt>
                <c:pt idx="61">
                  <c:v>0.4245808710503843</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44274132434089514</c:v>
                </c:pt>
                <c:pt idx="87">
                  <c:v>0.5209488872936109</c:v>
                </c:pt>
                <c:pt idx="88">
                  <c:v>0.8130921387283238</c:v>
                </c:pt>
                <c:pt idx="89">
                  <c:v>0.619599274047187</c:v>
                </c:pt>
                <c:pt idx="90">
                  <c:v>0.0</c:v>
                </c:pt>
                <c:pt idx="91">
                  <c:v>0.0</c:v>
                </c:pt>
                <c:pt idx="92">
                  <c:v>0.7837719298245613</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pt idx="137">
                  <c:v>0.0</c:v>
                </c:pt>
              </c:numCache>
            </c:numRef>
          </c:xVal>
          <c:yVal>
            <c:numRef>
              <c:f>Sheet1!$B$2:$B$139</c:f>
              <c:numCache>
                <c:formatCode>General</c:formatCode>
                <c:ptCount val="138"/>
                <c:pt idx="0">
                  <c:v>0.3684210526315789</c:v>
                </c:pt>
                <c:pt idx="1">
                  <c:v>0.41338582677165353</c:v>
                </c:pt>
                <c:pt idx="2">
                  <c:v>0.41706161137440756</c:v>
                </c:pt>
                <c:pt idx="3">
                  <c:v>0.41379310344827586</c:v>
                </c:pt>
                <c:pt idx="4">
                  <c:v>0.3430232558139535</c:v>
                </c:pt>
                <c:pt idx="5">
                  <c:v>0.4072164948453608</c:v>
                </c:pt>
                <c:pt idx="6">
                  <c:v>0.4080717488789238</c:v>
                </c:pt>
                <c:pt idx="7">
                  <c:v>0.3900414937759336</c:v>
                </c:pt>
                <c:pt idx="8">
                  <c:v>0.3964285714285714</c:v>
                </c:pt>
                <c:pt idx="9">
                  <c:v>0.4065281899109792</c:v>
                </c:pt>
                <c:pt idx="10">
                  <c:v>0.3415492957746479</c:v>
                </c:pt>
                <c:pt idx="11">
                  <c:v>0.2822966507177033</c:v>
                </c:pt>
                <c:pt idx="12">
                  <c:v>0.2694805194805195</c:v>
                </c:pt>
                <c:pt idx="13">
                  <c:v>0.22477064220183487</c:v>
                </c:pt>
                <c:pt idx="14">
                  <c:v>0.2345679012345679</c:v>
                </c:pt>
                <c:pt idx="15">
                  <c:v>0.26380368098159507</c:v>
                </c:pt>
                <c:pt idx="16">
                  <c:v>0.2222222222222222</c:v>
                </c:pt>
                <c:pt idx="17">
                  <c:v>0.2589928057553957</c:v>
                </c:pt>
                <c:pt idx="18">
                  <c:v>0.24113475177304963</c:v>
                </c:pt>
                <c:pt idx="19">
                  <c:v>0.35772357723577236</c:v>
                </c:pt>
                <c:pt idx="20">
                  <c:v>0.30708661417322836</c:v>
                </c:pt>
                <c:pt idx="21">
                  <c:v>0.3053435114503817</c:v>
                </c:pt>
                <c:pt idx="22">
                  <c:v>0.35135135135135137</c:v>
                </c:pt>
                <c:pt idx="23">
                  <c:v>0.3</c:v>
                </c:pt>
                <c:pt idx="24">
                  <c:v>0.3069306930693069</c:v>
                </c:pt>
                <c:pt idx="25">
                  <c:v>0.3089430894308943</c:v>
                </c:pt>
                <c:pt idx="26">
                  <c:v>0.2653061224489796</c:v>
                </c:pt>
                <c:pt idx="27">
                  <c:v>0.2857142857142857</c:v>
                </c:pt>
                <c:pt idx="28">
                  <c:v>0.2692307692307692</c:v>
                </c:pt>
                <c:pt idx="29">
                  <c:v>0.24793388429752067</c:v>
                </c:pt>
                <c:pt idx="30">
                  <c:v>0.2569444444444444</c:v>
                </c:pt>
                <c:pt idx="31">
                  <c:v>0.264</c:v>
                </c:pt>
                <c:pt idx="32">
                  <c:v>0.2206896551724138</c:v>
                </c:pt>
                <c:pt idx="33">
                  <c:v>0.24074074074074073</c:v>
                </c:pt>
                <c:pt idx="34">
                  <c:v>0.29411764705882354</c:v>
                </c:pt>
                <c:pt idx="35">
                  <c:v>0.2658959537572254</c:v>
                </c:pt>
                <c:pt idx="36">
                  <c:v>0.27586206896551724</c:v>
                </c:pt>
                <c:pt idx="37">
                  <c:v>0.245014245014245</c:v>
                </c:pt>
                <c:pt idx="38">
                  <c:v>0.265</c:v>
                </c:pt>
                <c:pt idx="39">
                  <c:v>0.27979274611398963</c:v>
                </c:pt>
                <c:pt idx="40">
                  <c:v>0.29457364341085274</c:v>
                </c:pt>
                <c:pt idx="41">
                  <c:v>0.31239388794567063</c:v>
                </c:pt>
                <c:pt idx="42">
                  <c:v>0.3096774193548387</c:v>
                </c:pt>
                <c:pt idx="43">
                  <c:v>0.2955801104972376</c:v>
                </c:pt>
                <c:pt idx="44">
                  <c:v>0.2988505747126437</c:v>
                </c:pt>
                <c:pt idx="45">
                  <c:v>0.26993865030674846</c:v>
                </c:pt>
                <c:pt idx="46">
                  <c:v>0.30363036303630364</c:v>
                </c:pt>
                <c:pt idx="47">
                  <c:v>0.2857142857142857</c:v>
                </c:pt>
                <c:pt idx="48">
                  <c:v>0.3113207547169811</c:v>
                </c:pt>
                <c:pt idx="49">
                  <c:v>0.2903225806451613</c:v>
                </c:pt>
                <c:pt idx="50">
                  <c:v>0.2876712328767123</c:v>
                </c:pt>
                <c:pt idx="51">
                  <c:v>0.31521739130434784</c:v>
                </c:pt>
                <c:pt idx="52">
                  <c:v>0.3201058201058201</c:v>
                </c:pt>
                <c:pt idx="53">
                  <c:v>0.2809917355371901</c:v>
                </c:pt>
                <c:pt idx="54">
                  <c:v>0.33217993079584773</c:v>
                </c:pt>
                <c:pt idx="55">
                  <c:v>0.29577464788732394</c:v>
                </c:pt>
                <c:pt idx="56">
                  <c:v>0.28294573643410853</c:v>
                </c:pt>
                <c:pt idx="57">
                  <c:v>0.3039647577092511</c:v>
                </c:pt>
                <c:pt idx="58">
                  <c:v>0.28991596638655465</c:v>
                </c:pt>
                <c:pt idx="59">
                  <c:v>0.31382978723404253</c:v>
                </c:pt>
                <c:pt idx="60">
                  <c:v>0.3412698412698413</c:v>
                </c:pt>
                <c:pt idx="61">
                  <c:v>0.2857142857142857</c:v>
                </c:pt>
                <c:pt idx="62">
                  <c:v>0.2698412698412698</c:v>
                </c:pt>
                <c:pt idx="63">
                  <c:v>0.2857142857142857</c:v>
                </c:pt>
                <c:pt idx="64">
                  <c:v>0.2457627118644068</c:v>
                </c:pt>
                <c:pt idx="65">
                  <c:v>0.26666666666666666</c:v>
                </c:pt>
                <c:pt idx="66">
                  <c:v>0.27927927927927926</c:v>
                </c:pt>
                <c:pt idx="67">
                  <c:v>0.2796610169491525</c:v>
                </c:pt>
                <c:pt idx="68">
                  <c:v>0.21100917431192662</c:v>
                </c:pt>
                <c:pt idx="69">
                  <c:v>0.28</c:v>
                </c:pt>
                <c:pt idx="70">
                  <c:v>0.24489795918367346</c:v>
                </c:pt>
                <c:pt idx="71">
                  <c:v>0.312</c:v>
                </c:pt>
                <c:pt idx="72">
                  <c:v>0.24175824175824176</c:v>
                </c:pt>
                <c:pt idx="73">
                  <c:v>0.2112676056338028</c:v>
                </c:pt>
                <c:pt idx="74">
                  <c:v>0.28169014084507044</c:v>
                </c:pt>
                <c:pt idx="75">
                  <c:v>0.2911392405063291</c:v>
                </c:pt>
                <c:pt idx="76">
                  <c:v>0.2857142857142857</c:v>
                </c:pt>
                <c:pt idx="77">
                  <c:v>0.2972972972972973</c:v>
                </c:pt>
                <c:pt idx="78">
                  <c:v>0.2876712328767123</c:v>
                </c:pt>
                <c:pt idx="79">
                  <c:v>0.28205128205128205</c:v>
                </c:pt>
                <c:pt idx="80">
                  <c:v>0.25675675675675674</c:v>
                </c:pt>
                <c:pt idx="81">
                  <c:v>0.27380952380952384</c:v>
                </c:pt>
                <c:pt idx="82">
                  <c:v>0.21153846153846154</c:v>
                </c:pt>
                <c:pt idx="83">
                  <c:v>0.2366412213740458</c:v>
                </c:pt>
                <c:pt idx="84">
                  <c:v>0.2549019607843137</c:v>
                </c:pt>
                <c:pt idx="85">
                  <c:v>0.2605633802816901</c:v>
                </c:pt>
                <c:pt idx="86">
                  <c:v>0.24193548387096775</c:v>
                </c:pt>
                <c:pt idx="87">
                  <c:v>0.28085106382978725</c:v>
                </c:pt>
                <c:pt idx="88">
                  <c:v>0.25925925925925924</c:v>
                </c:pt>
                <c:pt idx="89">
                  <c:v>0.2980769230769231</c:v>
                </c:pt>
                <c:pt idx="90">
                  <c:v>0.2672413793103448</c:v>
                </c:pt>
                <c:pt idx="91">
                  <c:v>0.279874213836478</c:v>
                </c:pt>
                <c:pt idx="92">
                  <c:v>0.23076923076923078</c:v>
                </c:pt>
                <c:pt idx="93">
                  <c:v>0.2903225806451613</c:v>
                </c:pt>
                <c:pt idx="94">
                  <c:v>0.30409356725146197</c:v>
                </c:pt>
                <c:pt idx="95">
                  <c:v>0.270935960591133</c:v>
                </c:pt>
                <c:pt idx="96">
                  <c:v>0.2556053811659193</c:v>
                </c:pt>
                <c:pt idx="97">
                  <c:v>0.2862903225806452</c:v>
                </c:pt>
                <c:pt idx="98">
                  <c:v>0.31135531135531136</c:v>
                </c:pt>
                <c:pt idx="99">
                  <c:v>0.23076923076923078</c:v>
                </c:pt>
                <c:pt idx="100">
                  <c:v>0.29365079365079366</c:v>
                </c:pt>
                <c:pt idx="101">
                  <c:v>0.3333333333333333</c:v>
                </c:pt>
                <c:pt idx="102">
                  <c:v>0.27906976744186046</c:v>
                </c:pt>
                <c:pt idx="103">
                  <c:v>0.34554973821989526</c:v>
                </c:pt>
                <c:pt idx="104">
                  <c:v>0.39490445859872614</c:v>
                </c:pt>
                <c:pt idx="105">
                  <c:v>0.3532608695652174</c:v>
                </c:pt>
                <c:pt idx="106">
                  <c:v>0.3114754098360656</c:v>
                </c:pt>
                <c:pt idx="107">
                  <c:v>0.3475177304964539</c:v>
                </c:pt>
                <c:pt idx="108">
                  <c:v>0.3008130081300813</c:v>
                </c:pt>
                <c:pt idx="109">
                  <c:v>0.34285714285714286</c:v>
                </c:pt>
                <c:pt idx="110">
                  <c:v>0.34074074074074073</c:v>
                </c:pt>
                <c:pt idx="111">
                  <c:v>0.34513274336283184</c:v>
                </c:pt>
                <c:pt idx="112">
                  <c:v>0.2767857142857143</c:v>
                </c:pt>
                <c:pt idx="113">
                  <c:v>0.2857142857142857</c:v>
                </c:pt>
                <c:pt idx="114">
                  <c:v>0.2857142857142857</c:v>
                </c:pt>
                <c:pt idx="115">
                  <c:v>0.28735632183908044</c:v>
                </c:pt>
                <c:pt idx="116">
                  <c:v>0.21052631578947367</c:v>
                </c:pt>
                <c:pt idx="117">
                  <c:v>0.25333333333333335</c:v>
                </c:pt>
                <c:pt idx="118">
                  <c:v>0.36363636363636365</c:v>
                </c:pt>
                <c:pt idx="119">
                  <c:v>0.2808988764044944</c:v>
                </c:pt>
                <c:pt idx="120">
                  <c:v>0.35443037974683544</c:v>
                </c:pt>
                <c:pt idx="121">
                  <c:v>0.28169014084507044</c:v>
                </c:pt>
                <c:pt idx="122">
                  <c:v>0.3382352941176471</c:v>
                </c:pt>
                <c:pt idx="123">
                  <c:v>0.30344827586206896</c:v>
                </c:pt>
                <c:pt idx="124">
                  <c:v>0.26605504587155965</c:v>
                </c:pt>
                <c:pt idx="125">
                  <c:v>0.27631578947368424</c:v>
                </c:pt>
                <c:pt idx="126">
                  <c:v>0.24691358024691357</c:v>
                </c:pt>
                <c:pt idx="127">
                  <c:v>0.27956989247311825</c:v>
                </c:pt>
                <c:pt idx="128">
                  <c:v>0.32038834951456313</c:v>
                </c:pt>
                <c:pt idx="129">
                  <c:v>0.26</c:v>
                </c:pt>
                <c:pt idx="130">
                  <c:v>0.23076923076923078</c:v>
                </c:pt>
                <c:pt idx="131">
                  <c:v>0.25203252032520324</c:v>
                </c:pt>
                <c:pt idx="132">
                  <c:v>0.29842931937172773</c:v>
                </c:pt>
                <c:pt idx="133">
                  <c:v>0.31343283582089554</c:v>
                </c:pt>
                <c:pt idx="134">
                  <c:v>0.30612244897959184</c:v>
                </c:pt>
                <c:pt idx="135">
                  <c:v>0.2743055555555556</c:v>
                </c:pt>
                <c:pt idx="136">
                  <c:v>0.3002754820936639</c:v>
                </c:pt>
                <c:pt idx="137">
                  <c:v>0.2824427480916031</c:v>
                </c:pt>
              </c:numCache>
            </c:numRef>
          </c:yVal>
          <c:smooth val="0"/>
          <c:extLst>
            <c:ext xmlns:c16="http://schemas.microsoft.com/office/drawing/2014/chart" uri="{C3380CC4-5D6E-409C-BE32-E72D297353CC}">
              <c16:uniqueId val="{00000000-096C-4121-9522-6AB7243CCAAE}"/>
            </c:ext>
          </c:extLst>
        </c:ser>
        <c:ser>
          <c:idx val="1"/>
          <c:order val="1"/>
          <c:tx>
            <c:strRef>
              <c:f>Sheet1!$B$14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2:$A$149</c:f>
              <c:numCache>
                <c:formatCode>General</c:formatCode>
                <c:ptCount val="8"/>
                <c:pt idx="0">
                  <c:v>0.8010936754176611</c:v>
                </c:pt>
                <c:pt idx="1">
                  <c:v>0.6359914912280702</c:v>
                </c:pt>
                <c:pt idx="2">
                  <c:v>0.7689477296726505</c:v>
                </c:pt>
                <c:pt idx="3">
                  <c:v>1.4122258252427184</c:v>
                </c:pt>
                <c:pt idx="4">
                  <c:v>1.3930001872659177</c:v>
                </c:pt>
                <c:pt idx="5">
                  <c:v>1.1363351309707241</c:v>
                </c:pt>
                <c:pt idx="6">
                  <c:v>0.6166905271828665</c:v>
                </c:pt>
                <c:pt idx="7">
                  <c:v>0.8872764568764568</c:v>
                </c:pt>
              </c:numCache>
            </c:numRef>
          </c:xVal>
          <c:yVal>
            <c:numRef>
              <c:f>Sheet1!$B$142:$B$149</c:f>
              <c:numCache>
                <c:formatCode>General</c:formatCode>
                <c:ptCount val="8"/>
                <c:pt idx="0">
                  <c:v>0.32644628099173556</c:v>
                </c:pt>
                <c:pt idx="1">
                  <c:v>0.2548262548262548</c:v>
                </c:pt>
                <c:pt idx="2">
                  <c:v>0.28703703703703703</c:v>
                </c:pt>
                <c:pt idx="3">
                  <c:v>0.2967032967032967</c:v>
                </c:pt>
                <c:pt idx="4">
                  <c:v>0.26605504587155965</c:v>
                </c:pt>
                <c:pt idx="5">
                  <c:v>0.28125</c:v>
                </c:pt>
                <c:pt idx="6">
                  <c:v>0.35</c:v>
                </c:pt>
                <c:pt idx="7">
                  <c:v>0.2803970223325062</c:v>
                </c:pt>
              </c:numCache>
            </c:numRef>
          </c:yVal>
          <c:smooth val="0"/>
          <c:extLst>
            <c:ext xmlns:c16="http://schemas.microsoft.com/office/drawing/2014/chart" uri="{C3380CC4-5D6E-409C-BE32-E72D297353CC}">
              <c16:uniqueId val="{00000002-096C-4121-9522-6AB7243CCAAE}"/>
            </c:ext>
          </c:extLst>
        </c:ser>
        <c:ser>
          <c:idx val="2"/>
          <c:order val="2"/>
          <c:tx>
            <c:strRef>
              <c:f>Sheet1!$B$1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2:$A$153</c:f>
              <c:numCache>
                <c:formatCode>General</c:formatCode>
                <c:ptCount val="2"/>
                <c:pt idx="0">
                  <c:v>0</c:v>
                </c:pt>
                <c:pt idx="1">
                  <c:v>-2.15407238410739</c:v>
                </c:pt>
              </c:numCache>
            </c:numRef>
          </c:xVal>
          <c:yVal>
            <c:numRef>
              <c:f>Sheet1!$B$152:$B$153</c:f>
              <c:numCache>
                <c:formatCode>General</c:formatCode>
                <c:ptCount val="2"/>
                <c:pt idx="0">
                  <c:v>0.39113697000797387</c:v>
                </c:pt>
                <c:pt idx="1">
                  <c:v>0.39113697000797387</c:v>
                </c:pt>
              </c:numCache>
            </c:numRef>
          </c:yVal>
          <c:smooth val="0"/>
          <c:extLst>
            <c:ext xmlns:c16="http://schemas.microsoft.com/office/drawing/2014/chart" uri="{C3380CC4-5D6E-409C-BE32-E72D297353CC}">
              <c16:uniqueId val="{00000005-096C-4121-9522-6AB7243CCAAE}"/>
            </c:ext>
          </c:extLst>
        </c:ser>
        <c:ser>
          <c:idx val="3"/>
          <c:order val="3"/>
          <c:tx>
            <c:strRef>
              <c:f>Sheet1!$B$1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2.15407238410739</c:v>
                </c:pt>
                <c:pt idx="1">
                  <c:v>-2.15407238410739</c:v>
                </c:pt>
              </c:numCache>
            </c:numRef>
          </c:xVal>
          <c:yVal>
            <c:numRef>
              <c:f>Sheet1!$B$156:$B$157</c:f>
              <c:numCache>
                <c:formatCode>General</c:formatCode>
                <c:ptCount val="2"/>
                <c:pt idx="0">
                  <c:v>0.391136970007973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0:$A$161</c:f>
              <c:numCache>
                <c:formatCode>General</c:formatCode>
                <c:ptCount val="2"/>
                <c:pt idx="0">
                  <c:v>0</c:v>
                </c:pt>
                <c:pt idx="1">
                  <c:v>-0.13951184450223109</c:v>
                </c:pt>
              </c:numCache>
            </c:numRef>
          </c:xVal>
          <c:yVal>
            <c:numRef>
              <c:f>Sheet1!$B$160:$B$161</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D-096C-4121-9522-6AB7243CCAAE}"/>
            </c:ext>
          </c:extLst>
        </c:ser>
        <c:ser>
          <c:idx val="5"/>
          <c:order val="5"/>
          <c:tx>
            <c:strRef>
              <c:f>Sheet1!$B$1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3951184450223109</c:v>
                </c:pt>
                <c:pt idx="1">
                  <c:v>-0.13951184450223109</c:v>
                </c:pt>
              </c:numCache>
            </c:numRef>
          </c:xVal>
          <c:yVal>
            <c:numRef>
              <c:f>Sheet1!$B$164:$B$165</c:f>
              <c:numCache>
                <c:formatCode>General</c:formatCode>
                <c:ptCount val="2"/>
                <c:pt idx="0">
                  <c:v>0.32747345712171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8:$A$169</c:f>
              <c:numCache>
                <c:formatCode>General</c:formatCode>
                <c:ptCount val="2"/>
                <c:pt idx="0">
                  <c:v>0</c:v>
                </c:pt>
                <c:pt idx="1">
                  <c:v>1.0953526583835755</c:v>
                </c:pt>
              </c:numCache>
            </c:numRef>
          </c:xVal>
          <c:yVal>
            <c:numRef>
              <c:f>Sheet1!$B$168:$B$169</c:f>
              <c:numCache>
                <c:formatCode>General</c:formatCode>
                <c:ptCount val="2"/>
                <c:pt idx="0">
                  <c:v>0.2884496548349647</c:v>
                </c:pt>
                <c:pt idx="1">
                  <c:v>0.2884496548349647</c:v>
                </c:pt>
              </c:numCache>
            </c:numRef>
          </c:yVal>
          <c:smooth val="0"/>
          <c:extLst>
            <c:ext xmlns:c16="http://schemas.microsoft.com/office/drawing/2014/chart" uri="{C3380CC4-5D6E-409C-BE32-E72D297353CC}">
              <c16:uniqueId val="{00000015-096C-4121-9522-6AB7243CCAAE}"/>
            </c:ext>
          </c:extLst>
        </c:ser>
        <c:ser>
          <c:idx val="7"/>
          <c:order val="7"/>
          <c:tx>
            <c:strRef>
              <c:f>Sheet1!$B$1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1.0953526583835755</c:v>
                </c:pt>
                <c:pt idx="1">
                  <c:v>1.0953526583835755</c:v>
                </c:pt>
              </c:numCache>
            </c:numRef>
          </c:xVal>
          <c:yVal>
            <c:numRef>
              <c:f>Sheet1!$B$172:$B$173</c:f>
              <c:numCache>
                <c:formatCode>General</c:formatCode>
                <c:ptCount val="2"/>
                <c:pt idx="0">
                  <c:v>0.28844965483496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6:$A$186</c:f>
              <c:numCache>
                <c:formatCode>General</c:formatCode>
                <c:ptCount val="11"/>
                <c:pt idx="0">
                  <c:v>0.8010936754176611</c:v>
                </c:pt>
                <c:pt idx="1">
                  <c:v>0.6359914912280702</c:v>
                </c:pt>
                <c:pt idx="2">
                  <c:v>0.7689477296726505</c:v>
                </c:pt>
                <c:pt idx="3">
                  <c:v>1.4122258252427184</c:v>
                </c:pt>
                <c:pt idx="4">
                  <c:v>1.3930001872659177</c:v>
                </c:pt>
                <c:pt idx="5">
                  <c:v>1.1363351309707241</c:v>
                </c:pt>
                <c:pt idx="6">
                  <c:v>0.6166905271828665</c:v>
                </c:pt>
                <c:pt idx="7">
                  <c:v>0.8872764568764568</c:v>
                </c:pt>
                <c:pt idx="8">
                  <c:v>-0.13951184450223109</c:v>
                </c:pt>
                <c:pt idx="9">
                  <c:v>-2.15407238410739</c:v>
                </c:pt>
                <c:pt idx="10">
                  <c:v>1.0953526583835755</c:v>
                </c:pt>
              </c:numCache>
            </c:numRef>
          </c:xVal>
          <c:yVal>
            <c:numRef>
              <c:f>Sheet1!$B$176:$B$186</c:f>
              <c:numCache>
                <c:formatCode>General</c:formatCode>
                <c:ptCount val="11"/>
                <c:pt idx="0">
                  <c:v>0.2977487352972567</c:v>
                </c:pt>
                <c:pt idx="1">
                  <c:v>0.3029662429492049</c:v>
                </c:pt>
                <c:pt idx="2">
                  <c:v>0.2987646014332922</c:v>
                </c:pt>
                <c:pt idx="3">
                  <c:v>0.2784359279972499</c:v>
                </c:pt>
                <c:pt idx="4">
                  <c:v>0.27904349060309863</c:v>
                </c:pt>
                <c:pt idx="5">
                  <c:v>0.28715453953792136</c:v>
                </c:pt>
                <c:pt idx="6">
                  <c:v>0.3035761859859377</c:v>
                </c:pt>
                <c:pt idx="7">
                  <c:v>0.2950252139584288</c:v>
                </c:pt>
                <c:pt idx="8">
                  <c:v>0.32747345712171916</c:v>
                </c:pt>
                <c:pt idx="9">
                  <c:v>0.39113697000797387</c:v>
                </c:pt>
                <c:pt idx="10">
                  <c:v>0.28844965483496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688.4107</c:v>
                </c:pt>
                <c:pt idx="1">
                  <c:v>681.0571</c:v>
                </c:pt>
                <c:pt idx="2">
                  <c:v>678.7386</c:v>
                </c:pt>
                <c:pt idx="3">
                  <c:v>637.1979</c:v>
                </c:pt>
                <c:pt idx="4">
                  <c:v>672.7119</c:v>
                </c:pt>
                <c:pt idx="5">
                  <c:v>619.3924</c:v>
                </c:pt>
                <c:pt idx="6">
                  <c:v>580.0989</c:v>
                </c:pt>
                <c:pt idx="7">
                  <c:v>607.6809</c:v>
                </c:pt>
                <c:pt idx="8">
                  <c:v>590.018</c:v>
                </c:pt>
                <c:pt idx="9">
                  <c:v>483.9416</c:v>
                </c:pt>
                <c:pt idx="10">
                  <c:v>521.6701</c:v>
                </c:pt>
                <c:pt idx="11">
                  <c:v>565.4068</c:v>
                </c:pt>
                <c:pt idx="12">
                  <c:v>436.1807</c:v>
                </c:pt>
                <c:pt idx="13">
                  <c:v>619.1224</c:v>
                </c:pt>
                <c:pt idx="14">
                  <c:v>612.5</c:v>
                </c:pt>
                <c:pt idx="15">
                  <c:v>659.5349</c:v>
                </c:pt>
                <c:pt idx="16">
                  <c:v>622.7353</c:v>
                </c:pt>
                <c:pt idx="17">
                  <c:v>643.0278</c:v>
                </c:pt>
                <c:pt idx="18">
                  <c:v>624.0588</c:v>
                </c:pt>
                <c:pt idx="19">
                  <c:v>597.4318</c:v>
                </c:pt>
                <c:pt idx="20">
                  <c:v>635.3077</c:v>
                </c:pt>
                <c:pt idx="21">
                  <c:v>646.175</c:v>
                </c:pt>
                <c:pt idx="22">
                  <c:v>622.2885</c:v>
                </c:pt>
                <c:pt idx="23">
                  <c:v>616.1818</c:v>
                </c:pt>
                <c:pt idx="24">
                  <c:v>609.4516</c:v>
                </c:pt>
                <c:pt idx="25">
                  <c:v>608.0526</c:v>
                </c:pt>
                <c:pt idx="26">
                  <c:v>582.5769</c:v>
                </c:pt>
                <c:pt idx="27">
                  <c:v>634.78</c:v>
                </c:pt>
                <c:pt idx="28">
                  <c:v>629.5102</c:v>
                </c:pt>
                <c:pt idx="29">
                  <c:v>660.0667</c:v>
                </c:pt>
                <c:pt idx="30">
                  <c:v>612.1351</c:v>
                </c:pt>
                <c:pt idx="31">
                  <c:v>613.9697</c:v>
                </c:pt>
                <c:pt idx="32">
                  <c:v>637.0625</c:v>
                </c:pt>
                <c:pt idx="33">
                  <c:v>656.8462</c:v>
                </c:pt>
                <c:pt idx="34">
                  <c:v>587.8</c:v>
                </c:pt>
                <c:pt idx="35">
                  <c:v>657.5217</c:v>
                </c:pt>
                <c:pt idx="36">
                  <c:v>651.6964</c:v>
                </c:pt>
                <c:pt idx="37">
                  <c:v>663.8605</c:v>
                </c:pt>
                <c:pt idx="38">
                  <c:v>662.1132</c:v>
                </c:pt>
                <c:pt idx="39">
                  <c:v>648.4444</c:v>
                </c:pt>
                <c:pt idx="40">
                  <c:v>647.6053</c:v>
                </c:pt>
                <c:pt idx="41">
                  <c:v>644.1576</c:v>
                </c:pt>
                <c:pt idx="42">
                  <c:v>644.2667</c:v>
                </c:pt>
                <c:pt idx="43">
                  <c:v>648.6262</c:v>
                </c:pt>
                <c:pt idx="44">
                  <c:v>649.641</c:v>
                </c:pt>
                <c:pt idx="45">
                  <c:v>665.8295</c:v>
                </c:pt>
                <c:pt idx="46">
                  <c:v>659.75</c:v>
                </c:pt>
                <c:pt idx="47">
                  <c:v>648.55</c:v>
                </c:pt>
                <c:pt idx="48">
                  <c:v>652.0</c:v>
                </c:pt>
                <c:pt idx="49">
                  <c:v>644.5972</c:v>
                </c:pt>
                <c:pt idx="50">
                  <c:v>633.9881</c:v>
                </c:pt>
                <c:pt idx="51">
                  <c:v>635.9569</c:v>
                </c:pt>
                <c:pt idx="52">
                  <c:v>645.3223</c:v>
                </c:pt>
                <c:pt idx="53">
                  <c:v>653.0588</c:v>
                </c:pt>
                <c:pt idx="54">
                  <c:v>620.4792</c:v>
                </c:pt>
                <c:pt idx="55">
                  <c:v>646.1667</c:v>
                </c:pt>
                <c:pt idx="56">
                  <c:v>623.3151</c:v>
                </c:pt>
                <c:pt idx="57">
                  <c:v>632.7681</c:v>
                </c:pt>
                <c:pt idx="58">
                  <c:v>623.5942</c:v>
                </c:pt>
                <c:pt idx="59">
                  <c:v>559.1864</c:v>
                </c:pt>
                <c:pt idx="60">
                  <c:v>498.1163</c:v>
                </c:pt>
                <c:pt idx="61">
                  <c:v>497.1842</c:v>
                </c:pt>
                <c:pt idx="62">
                  <c:v>637.7647</c:v>
                </c:pt>
                <c:pt idx="63">
                  <c:v>695.125</c:v>
                </c:pt>
                <c:pt idx="64">
                  <c:v>711.1724</c:v>
                </c:pt>
                <c:pt idx="65">
                  <c:v>655.6944</c:v>
                </c:pt>
                <c:pt idx="66">
                  <c:v>662.4194</c:v>
                </c:pt>
                <c:pt idx="67">
                  <c:v>648.7879</c:v>
                </c:pt>
                <c:pt idx="68">
                  <c:v>657.6522</c:v>
                </c:pt>
                <c:pt idx="69">
                  <c:v>654.8571</c:v>
                </c:pt>
                <c:pt idx="70">
                  <c:v>711.25</c:v>
                </c:pt>
                <c:pt idx="71">
                  <c:v>712.2051</c:v>
                </c:pt>
                <c:pt idx="72">
                  <c:v>709.1818</c:v>
                </c:pt>
                <c:pt idx="73">
                  <c:v>725.8667</c:v>
                </c:pt>
                <c:pt idx="74">
                  <c:v>705.3</c:v>
                </c:pt>
                <c:pt idx="75">
                  <c:v>711.087</c:v>
                </c:pt>
                <c:pt idx="76">
                  <c:v>688.1667</c:v>
                </c:pt>
                <c:pt idx="77">
                  <c:v>681.6061</c:v>
                </c:pt>
                <c:pt idx="78">
                  <c:v>736.2381</c:v>
                </c:pt>
                <c:pt idx="79">
                  <c:v>701.8182</c:v>
                </c:pt>
                <c:pt idx="80">
                  <c:v>700.4211</c:v>
                </c:pt>
                <c:pt idx="81">
                  <c:v>576.3913</c:v>
                </c:pt>
                <c:pt idx="82">
                  <c:v>682.5909</c:v>
                </c:pt>
                <c:pt idx="83">
                  <c:v>706.2903</c:v>
                </c:pt>
                <c:pt idx="84">
                  <c:v>721.2308</c:v>
                </c:pt>
                <c:pt idx="85">
                  <c:v>687.7027</c:v>
                </c:pt>
                <c:pt idx="86">
                  <c:v>722.1111</c:v>
                </c:pt>
                <c:pt idx="87">
                  <c:v>725.6818</c:v>
                </c:pt>
                <c:pt idx="88">
                  <c:v>703.3247</c:v>
                </c:pt>
                <c:pt idx="89">
                  <c:v>682.7984</c:v>
                </c:pt>
                <c:pt idx="90">
                  <c:v>699.2016</c:v>
                </c:pt>
                <c:pt idx="91">
                  <c:v>690.8652</c:v>
                </c:pt>
                <c:pt idx="92">
                  <c:v>714.8</c:v>
                </c:pt>
                <c:pt idx="93">
                  <c:v>714.7302</c:v>
                </c:pt>
                <c:pt idx="94">
                  <c:v>726.1154</c:v>
                </c:pt>
              </c:numCache>
            </c:numRef>
          </c:xVal>
          <c:yVal>
            <c:numRef>
              <c:f>Sheet1!$B$2:$B$96</c:f>
              <c:numCache>
                <c:formatCode>General</c:formatCode>
                <c:ptCount val="95"/>
                <c:pt idx="0">
                  <c:v>0.3684210526315789</c:v>
                </c:pt>
                <c:pt idx="1">
                  <c:v>0.41338582677165353</c:v>
                </c:pt>
                <c:pt idx="2">
                  <c:v>0.41706161137440756</c:v>
                </c:pt>
                <c:pt idx="3">
                  <c:v>0.41379310344827586</c:v>
                </c:pt>
                <c:pt idx="4">
                  <c:v>0.3430232558139535</c:v>
                </c:pt>
                <c:pt idx="5">
                  <c:v>0.4072164948453608</c:v>
                </c:pt>
                <c:pt idx="6">
                  <c:v>0.4080717488789238</c:v>
                </c:pt>
                <c:pt idx="7">
                  <c:v>0.3900414937759336</c:v>
                </c:pt>
                <c:pt idx="8">
                  <c:v>0.3964285714285714</c:v>
                </c:pt>
                <c:pt idx="9">
                  <c:v>0.4065281899109792</c:v>
                </c:pt>
                <c:pt idx="10">
                  <c:v>0.3415492957746479</c:v>
                </c:pt>
                <c:pt idx="11">
                  <c:v>0.2822966507177033</c:v>
                </c:pt>
                <c:pt idx="12">
                  <c:v>0.2694805194805195</c:v>
                </c:pt>
                <c:pt idx="13">
                  <c:v>0.22477064220183487</c:v>
                </c:pt>
                <c:pt idx="14">
                  <c:v>0.2345679012345679</c:v>
                </c:pt>
                <c:pt idx="15">
                  <c:v>0.26380368098159507</c:v>
                </c:pt>
                <c:pt idx="16">
                  <c:v>0.2222222222222222</c:v>
                </c:pt>
                <c:pt idx="17">
                  <c:v>0.2589928057553957</c:v>
                </c:pt>
                <c:pt idx="18">
                  <c:v>0.24113475177304963</c:v>
                </c:pt>
                <c:pt idx="19">
                  <c:v>0.35772357723577236</c:v>
                </c:pt>
                <c:pt idx="20">
                  <c:v>0.30708661417322836</c:v>
                </c:pt>
                <c:pt idx="21">
                  <c:v>0.3053435114503817</c:v>
                </c:pt>
                <c:pt idx="22">
                  <c:v>0.35135135135135137</c:v>
                </c:pt>
                <c:pt idx="23">
                  <c:v>0.3</c:v>
                </c:pt>
                <c:pt idx="24">
                  <c:v>0.3069306930693069</c:v>
                </c:pt>
                <c:pt idx="25">
                  <c:v>0.3089430894308943</c:v>
                </c:pt>
                <c:pt idx="26">
                  <c:v>0.2653061224489796</c:v>
                </c:pt>
                <c:pt idx="27">
                  <c:v>0.2857142857142857</c:v>
                </c:pt>
                <c:pt idx="28">
                  <c:v>0.2692307692307692</c:v>
                </c:pt>
                <c:pt idx="29">
                  <c:v>0.24793388429752067</c:v>
                </c:pt>
                <c:pt idx="30">
                  <c:v>0.2569444444444444</c:v>
                </c:pt>
                <c:pt idx="31">
                  <c:v>0.264</c:v>
                </c:pt>
                <c:pt idx="32">
                  <c:v>0.2206896551724138</c:v>
                </c:pt>
                <c:pt idx="33">
                  <c:v>0.24074074074074073</c:v>
                </c:pt>
                <c:pt idx="34">
                  <c:v>0.29411764705882354</c:v>
                </c:pt>
                <c:pt idx="35">
                  <c:v>0.2658959537572254</c:v>
                </c:pt>
                <c:pt idx="36">
                  <c:v>0.27586206896551724</c:v>
                </c:pt>
                <c:pt idx="37">
                  <c:v>0.245014245014245</c:v>
                </c:pt>
                <c:pt idx="38">
                  <c:v>0.265</c:v>
                </c:pt>
                <c:pt idx="39">
                  <c:v>0.27979274611398963</c:v>
                </c:pt>
                <c:pt idx="40">
                  <c:v>0.29457364341085274</c:v>
                </c:pt>
                <c:pt idx="41">
                  <c:v>0.31239388794567063</c:v>
                </c:pt>
                <c:pt idx="42">
                  <c:v>0.3096774193548387</c:v>
                </c:pt>
                <c:pt idx="43">
                  <c:v>0.2955801104972376</c:v>
                </c:pt>
                <c:pt idx="44">
                  <c:v>0.2988505747126437</c:v>
                </c:pt>
                <c:pt idx="45">
                  <c:v>0.26993865030674846</c:v>
                </c:pt>
                <c:pt idx="46">
                  <c:v>0.30363036303630364</c:v>
                </c:pt>
                <c:pt idx="47">
                  <c:v>0.2857142857142857</c:v>
                </c:pt>
                <c:pt idx="48">
                  <c:v>0.3113207547169811</c:v>
                </c:pt>
                <c:pt idx="49">
                  <c:v>0.2903225806451613</c:v>
                </c:pt>
                <c:pt idx="50">
                  <c:v>0.2876712328767123</c:v>
                </c:pt>
                <c:pt idx="51">
                  <c:v>0.31521739130434784</c:v>
                </c:pt>
                <c:pt idx="52">
                  <c:v>0.3201058201058201</c:v>
                </c:pt>
                <c:pt idx="53">
                  <c:v>0.2809917355371901</c:v>
                </c:pt>
                <c:pt idx="54">
                  <c:v>0.33217993079584773</c:v>
                </c:pt>
                <c:pt idx="55">
                  <c:v>0.29577464788732394</c:v>
                </c:pt>
                <c:pt idx="56">
                  <c:v>0.28294573643410853</c:v>
                </c:pt>
                <c:pt idx="57">
                  <c:v>0.3039647577092511</c:v>
                </c:pt>
                <c:pt idx="58">
                  <c:v>0.28991596638655465</c:v>
                </c:pt>
                <c:pt idx="59">
                  <c:v>0.31382978723404253</c:v>
                </c:pt>
                <c:pt idx="60">
                  <c:v>0.3412698412698413</c:v>
                </c:pt>
                <c:pt idx="61">
                  <c:v>0.2857142857142857</c:v>
                </c:pt>
                <c:pt idx="62">
                  <c:v>0.2698412698412698</c:v>
                </c:pt>
                <c:pt idx="63">
                  <c:v>0.2857142857142857</c:v>
                </c:pt>
                <c:pt idx="64">
                  <c:v>0.2457627118644068</c:v>
                </c:pt>
                <c:pt idx="65">
                  <c:v>0.26666666666666666</c:v>
                </c:pt>
                <c:pt idx="66">
                  <c:v>0.27927927927927926</c:v>
                </c:pt>
                <c:pt idx="67">
                  <c:v>0.2796610169491525</c:v>
                </c:pt>
                <c:pt idx="68">
                  <c:v>0.21100917431192662</c:v>
                </c:pt>
                <c:pt idx="69">
                  <c:v>0.28</c:v>
                </c:pt>
                <c:pt idx="70">
                  <c:v>0.24489795918367346</c:v>
                </c:pt>
                <c:pt idx="71">
                  <c:v>0.312</c:v>
                </c:pt>
                <c:pt idx="72">
                  <c:v>0.24175824175824176</c:v>
                </c:pt>
                <c:pt idx="73">
                  <c:v>0.2112676056338028</c:v>
                </c:pt>
                <c:pt idx="74">
                  <c:v>0.28169014084507044</c:v>
                </c:pt>
                <c:pt idx="75">
                  <c:v>0.2911392405063291</c:v>
                </c:pt>
                <c:pt idx="76">
                  <c:v>0.2857142857142857</c:v>
                </c:pt>
                <c:pt idx="77">
                  <c:v>0.2972972972972973</c:v>
                </c:pt>
                <c:pt idx="78">
                  <c:v>0.2876712328767123</c:v>
                </c:pt>
                <c:pt idx="79">
                  <c:v>0.28205128205128205</c:v>
                </c:pt>
                <c:pt idx="80">
                  <c:v>0.25675675675675674</c:v>
                </c:pt>
                <c:pt idx="81">
                  <c:v>0.27380952380952384</c:v>
                </c:pt>
                <c:pt idx="82">
                  <c:v>0.21153846153846154</c:v>
                </c:pt>
                <c:pt idx="83">
                  <c:v>0.2366412213740458</c:v>
                </c:pt>
                <c:pt idx="84">
                  <c:v>0.2549019607843137</c:v>
                </c:pt>
                <c:pt idx="85">
                  <c:v>0.2605633802816901</c:v>
                </c:pt>
                <c:pt idx="86">
                  <c:v>0.24193548387096775</c:v>
                </c:pt>
                <c:pt idx="87">
                  <c:v>0.28085106382978725</c:v>
                </c:pt>
                <c:pt idx="88">
                  <c:v>0.25925925925925924</c:v>
                </c:pt>
                <c:pt idx="89">
                  <c:v>0.2980769230769231</c:v>
                </c:pt>
                <c:pt idx="90">
                  <c:v>0.2672413793103448</c:v>
                </c:pt>
                <c:pt idx="91">
                  <c:v>0.279874213836478</c:v>
                </c:pt>
                <c:pt idx="92">
                  <c:v>0.23076923076923078</c:v>
                </c:pt>
                <c:pt idx="93">
                  <c:v>0.2903225806451613</c:v>
                </c:pt>
                <c:pt idx="94">
                  <c:v>0.30409356725146197</c:v>
                </c:pt>
              </c:numCache>
            </c:numRef>
          </c:yVal>
          <c:smooth val="0"/>
          <c:extLst>
            <c:ext xmlns:c16="http://schemas.microsoft.com/office/drawing/2014/chart" uri="{C3380CC4-5D6E-409C-BE32-E72D297353CC}">
              <c16:uniqueId val="{00000000-F32D-48B7-BC20-E66FC6253BAD}"/>
            </c:ext>
          </c:extLst>
        </c:ser>
        <c:ser>
          <c:idx val="1"/>
          <c:order val="1"/>
          <c:tx>
            <c:strRef>
              <c:f>Sheet1!$B$9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9:$A$149</c:f>
              <c:numCache>
                <c:formatCode>General</c:formatCode>
                <c:ptCount val="51"/>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26.52</c:v>
                </c:pt>
                <c:pt idx="24">
                  <c:v>646.35</c:v>
                </c:pt>
                <c:pt idx="25">
                  <c:v>743.5263</c:v>
                </c:pt>
                <c:pt idx="26">
                  <c:v>624.775</c:v>
                </c:pt>
                <c:pt idx="27">
                  <c:v>727.2963</c:v>
                </c:pt>
                <c:pt idx="28">
                  <c:v>723.0</c:v>
                </c:pt>
                <c:pt idx="29">
                  <c:v>725.7857</c:v>
                </c:pt>
                <c:pt idx="30">
                  <c:v>780.4</c:v>
                </c:pt>
                <c:pt idx="31">
                  <c:v>743.8621</c:v>
                </c:pt>
                <c:pt idx="32">
                  <c:v>758.5652</c:v>
                </c:pt>
                <c:pt idx="33">
                  <c:v>748.5227</c:v>
                </c:pt>
                <c:pt idx="34">
                  <c:v>769.2414</c:v>
                </c:pt>
                <c:pt idx="35">
                  <c:v>722.619</c:v>
                </c:pt>
                <c:pt idx="36">
                  <c:v>769.15</c:v>
                </c:pt>
                <c:pt idx="37">
                  <c:v>734.4615</c:v>
                </c:pt>
                <c:pt idx="38">
                  <c:v>737.4815</c:v>
                </c:pt>
                <c:pt idx="39">
                  <c:v>784.0606</c:v>
                </c:pt>
                <c:pt idx="40">
                  <c:v>749.1923</c:v>
                </c:pt>
                <c:pt idx="41">
                  <c:v>777.0833</c:v>
                </c:pt>
                <c:pt idx="42">
                  <c:v>749.8065</c:v>
                </c:pt>
                <c:pt idx="43">
                  <c:v>735.2632</c:v>
                </c:pt>
                <c:pt idx="44">
                  <c:v>731.2738</c:v>
                </c:pt>
                <c:pt idx="45">
                  <c:v>748.6623</c:v>
                </c:pt>
                <c:pt idx="46">
                  <c:v>729.8167</c:v>
                </c:pt>
                <c:pt idx="47">
                  <c:v>728.2278</c:v>
                </c:pt>
                <c:pt idx="48">
                  <c:v>752.1376</c:v>
                </c:pt>
                <c:pt idx="49">
                  <c:v>761.2832</c:v>
                </c:pt>
                <c:pt idx="50">
                  <c:v>747.7838</c:v>
                </c:pt>
              </c:numCache>
            </c:numRef>
          </c:xVal>
          <c:yVal>
            <c:numRef>
              <c:f>Sheet1!$B$99:$B$149</c:f>
              <c:numCache>
                <c:formatCode>General</c:formatCode>
                <c:ptCount val="51"/>
                <c:pt idx="0">
                  <c:v>0.270935960591133</c:v>
                </c:pt>
                <c:pt idx="1">
                  <c:v>0.2556053811659193</c:v>
                </c:pt>
                <c:pt idx="2">
                  <c:v>0.32644628099173556</c:v>
                </c:pt>
                <c:pt idx="3">
                  <c:v>0.2862903225806452</c:v>
                </c:pt>
                <c:pt idx="4">
                  <c:v>0.2548262548262548</c:v>
                </c:pt>
                <c:pt idx="5">
                  <c:v>0.28703703703703703</c:v>
                </c:pt>
                <c:pt idx="6">
                  <c:v>0.31135531135531136</c:v>
                </c:pt>
                <c:pt idx="7">
                  <c:v>0.23076923076923078</c:v>
                </c:pt>
                <c:pt idx="8">
                  <c:v>0.29365079365079366</c:v>
                </c:pt>
                <c:pt idx="9">
                  <c:v>0.3333333333333333</c:v>
                </c:pt>
                <c:pt idx="10">
                  <c:v>0.27906976744186046</c:v>
                </c:pt>
                <c:pt idx="11">
                  <c:v>0.34554973821989526</c:v>
                </c:pt>
                <c:pt idx="12">
                  <c:v>0.39490445859872614</c:v>
                </c:pt>
                <c:pt idx="13">
                  <c:v>0.3532608695652174</c:v>
                </c:pt>
                <c:pt idx="14">
                  <c:v>0.3114754098360656</c:v>
                </c:pt>
                <c:pt idx="15">
                  <c:v>0.3475177304964539</c:v>
                </c:pt>
                <c:pt idx="16">
                  <c:v>0.3008130081300813</c:v>
                </c:pt>
                <c:pt idx="17">
                  <c:v>0.34285714285714286</c:v>
                </c:pt>
                <c:pt idx="18">
                  <c:v>0.34074074074074073</c:v>
                </c:pt>
                <c:pt idx="19">
                  <c:v>0.34513274336283184</c:v>
                </c:pt>
                <c:pt idx="20">
                  <c:v>0.2767857142857143</c:v>
                </c:pt>
                <c:pt idx="21">
                  <c:v>0.2857142857142857</c:v>
                </c:pt>
                <c:pt idx="22">
                  <c:v>0.2857142857142857</c:v>
                </c:pt>
                <c:pt idx="23">
                  <c:v>0.28735632183908044</c:v>
                </c:pt>
                <c:pt idx="24">
                  <c:v>0.21052631578947367</c:v>
                </c:pt>
                <c:pt idx="25">
                  <c:v>0.25333333333333335</c:v>
                </c:pt>
                <c:pt idx="26">
                  <c:v>0.36363636363636365</c:v>
                </c:pt>
                <c:pt idx="27">
                  <c:v>0.2967032967032967</c:v>
                </c:pt>
                <c:pt idx="28">
                  <c:v>0.2808988764044944</c:v>
                </c:pt>
                <c:pt idx="29">
                  <c:v>0.35443037974683544</c:v>
                </c:pt>
                <c:pt idx="30">
                  <c:v>0.28169014084507044</c:v>
                </c:pt>
                <c:pt idx="31">
                  <c:v>0.26605504587155965</c:v>
                </c:pt>
                <c:pt idx="32">
                  <c:v>0.3382352941176471</c:v>
                </c:pt>
                <c:pt idx="33">
                  <c:v>0.30344827586206896</c:v>
                </c:pt>
                <c:pt idx="34">
                  <c:v>0.26605504587155965</c:v>
                </c:pt>
                <c:pt idx="35">
                  <c:v>0.27631578947368424</c:v>
                </c:pt>
                <c:pt idx="36">
                  <c:v>0.24691358024691357</c:v>
                </c:pt>
                <c:pt idx="37">
                  <c:v>0.27956989247311825</c:v>
                </c:pt>
                <c:pt idx="38">
                  <c:v>0.28125</c:v>
                </c:pt>
                <c:pt idx="39">
                  <c:v>0.32038834951456313</c:v>
                </c:pt>
                <c:pt idx="40">
                  <c:v>0.26</c:v>
                </c:pt>
                <c:pt idx="41">
                  <c:v>0.23076923076923078</c:v>
                </c:pt>
                <c:pt idx="42">
                  <c:v>0.25203252032520324</c:v>
                </c:pt>
                <c:pt idx="43">
                  <c:v>0.29842931937172773</c:v>
                </c:pt>
                <c:pt idx="44">
                  <c:v>0.31343283582089554</c:v>
                </c:pt>
                <c:pt idx="45">
                  <c:v>0.35</c:v>
                </c:pt>
                <c:pt idx="46">
                  <c:v>0.30612244897959184</c:v>
                </c:pt>
                <c:pt idx="47">
                  <c:v>0.2743055555555556</c:v>
                </c:pt>
                <c:pt idx="48">
                  <c:v>0.3002754820936639</c:v>
                </c:pt>
                <c:pt idx="49">
                  <c:v>0.2803970223325062</c:v>
                </c:pt>
                <c:pt idx="50">
                  <c:v>0.2824427480916031</c:v>
                </c:pt>
              </c:numCache>
            </c:numRef>
          </c:yVal>
          <c:smooth val="0"/>
          <c:extLst>
            <c:ext xmlns:c16="http://schemas.microsoft.com/office/drawing/2014/chart" uri="{C3380CC4-5D6E-409C-BE32-E72D297353CC}">
              <c16:uniqueId val="{00000002-F32D-48B7-BC20-E66FC6253BAD}"/>
            </c:ext>
          </c:extLst>
        </c:ser>
        <c:ser>
          <c:idx val="2"/>
          <c:order val="2"/>
          <c:tx>
            <c:strRef>
              <c:f>Sheet1!$B$151</c:f>
              <c:strCache>
                <c:ptCount val="1"/>
                <c:pt idx="0">
                  <c:v>Custom Linep3yQ</c:v>
                </c:pt>
              </c:strCache>
            </c:strRef>
          </c:tx>
          <c:spPr>
            <a:ln w="19050" cap="rnd">
              <a:solidFill>
                <a:srgbClr val="C00000"/>
              </a:solidFill>
              <a:prstDash val="sysDot"/>
              <a:round/>
            </a:ln>
            <a:effectLst/>
          </c:spPr>
          <c:marker>
            <c:symbol val="none"/>
          </c:marker>
          <c:xVal>
            <c:numRef>
              <c:f>Sheet1!$A$152:$A$153</c:f>
              <c:numCache>
                <c:formatCode>General</c:formatCode>
                <c:ptCount val="2"/>
                <c:pt idx="0">
                  <c:v>0</c:v>
                </c:pt>
                <c:pt idx="1">
                  <c:v>413.56357985367475</c:v>
                </c:pt>
              </c:numCache>
            </c:numRef>
          </c:xVal>
          <c:yVal>
            <c:numRef>
              <c:f>Sheet1!$B$152:$B$153</c:f>
              <c:numCache>
                <c:formatCode>General</c:formatCode>
                <c:ptCount val="2"/>
                <c:pt idx="0">
                  <c:v>0.39113697000797387</c:v>
                </c:pt>
                <c:pt idx="1">
                  <c:v>0.39113697000797387</c:v>
                </c:pt>
              </c:numCache>
            </c:numRef>
          </c:yVal>
          <c:smooth val="0"/>
          <c:extLst>
            <c:ext xmlns:c16="http://schemas.microsoft.com/office/drawing/2014/chart" uri="{C3380CC4-5D6E-409C-BE32-E72D297353CC}">
              <c16:uniqueId val="{00000003-F32D-48B7-BC20-E66FC6253BAD}"/>
            </c:ext>
          </c:extLst>
        </c:ser>
        <c:ser>
          <c:idx val="3"/>
          <c:order val="3"/>
          <c:tx>
            <c:strRef>
              <c:f>Sheet1!$B$1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413.56357985367475</c:v>
                </c:pt>
                <c:pt idx="1">
                  <c:v>413.56357985367475</c:v>
                </c:pt>
              </c:numCache>
            </c:numRef>
          </c:xVal>
          <c:yVal>
            <c:numRef>
              <c:f>Sheet1!$B$156:$B$157</c:f>
              <c:numCache>
                <c:formatCode>General</c:formatCode>
                <c:ptCount val="2"/>
                <c:pt idx="0">
                  <c:v>0.391136970007973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0:$A$161</c:f>
              <c:numCache>
                <c:formatCode>General</c:formatCode>
                <c:ptCount val="2"/>
                <c:pt idx="0">
                  <c:v>0</c:v>
                </c:pt>
                <c:pt idx="1">
                  <c:v>615.0501915537022</c:v>
                </c:pt>
              </c:numCache>
            </c:numRef>
          </c:xVal>
          <c:yVal>
            <c:numRef>
              <c:f>Sheet1!$B$160:$B$161</c:f>
              <c:numCache>
                <c:formatCode>General</c:formatCode>
                <c:ptCount val="2"/>
                <c:pt idx="0">
                  <c:v>0.32747345712171916</c:v>
                </c:pt>
                <c:pt idx="1">
                  <c:v>0.32747345712171916</c:v>
                </c:pt>
              </c:numCache>
            </c:numRef>
          </c:yVal>
          <c:smooth val="0"/>
          <c:extLst>
            <c:ext xmlns:c16="http://schemas.microsoft.com/office/drawing/2014/chart" uri="{C3380CC4-5D6E-409C-BE32-E72D297353CC}">
              <c16:uniqueId val="{0000000A-F32D-48B7-BC20-E66FC6253BAD}"/>
            </c:ext>
          </c:extLst>
        </c:ser>
        <c:ser>
          <c:idx val="5"/>
          <c:order val="5"/>
          <c:tx>
            <c:strRef>
              <c:f>Sheet1!$B$1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615.0501915537022</c:v>
                </c:pt>
                <c:pt idx="1">
                  <c:v>615.0501915537022</c:v>
                </c:pt>
              </c:numCache>
            </c:numRef>
          </c:xVal>
          <c:yVal>
            <c:numRef>
              <c:f>Sheet1!$B$164:$B$165</c:f>
              <c:numCache>
                <c:formatCode>General</c:formatCode>
                <c:ptCount val="2"/>
                <c:pt idx="0">
                  <c:v>0.32747345712171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8:$A$169</c:f>
              <c:numCache>
                <c:formatCode>General</c:formatCode>
                <c:ptCount val="2"/>
                <c:pt idx="0">
                  <c:v>0</c:v>
                </c:pt>
                <c:pt idx="1">
                  <c:v>738.5553728096921</c:v>
                </c:pt>
              </c:numCache>
            </c:numRef>
          </c:xVal>
          <c:yVal>
            <c:numRef>
              <c:f>Sheet1!$B$168:$B$169</c:f>
              <c:numCache>
                <c:formatCode>General</c:formatCode>
                <c:ptCount val="2"/>
                <c:pt idx="0">
                  <c:v>0.2884496548349647</c:v>
                </c:pt>
                <c:pt idx="1">
                  <c:v>0.2884496548349647</c:v>
                </c:pt>
              </c:numCache>
            </c:numRef>
          </c:yVal>
          <c:smooth val="0"/>
          <c:extLst>
            <c:ext xmlns:c16="http://schemas.microsoft.com/office/drawing/2014/chart" uri="{C3380CC4-5D6E-409C-BE32-E72D297353CC}">
              <c16:uniqueId val="{00000011-F32D-48B7-BC20-E66FC6253BAD}"/>
            </c:ext>
          </c:extLst>
        </c:ser>
        <c:ser>
          <c:idx val="7"/>
          <c:order val="7"/>
          <c:tx>
            <c:strRef>
              <c:f>Sheet1!$B$1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738.5553728096921</c:v>
                </c:pt>
                <c:pt idx="1">
                  <c:v>738.5553728096921</c:v>
                </c:pt>
              </c:numCache>
            </c:numRef>
          </c:xVal>
          <c:yVal>
            <c:numRef>
              <c:f>Sheet1!$B$172:$B$173</c:f>
              <c:numCache>
                <c:formatCode>General</c:formatCode>
                <c:ptCount val="2"/>
                <c:pt idx="0">
                  <c:v>0.28844965483496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6:$A$229</c:f>
              <c:numCache>
                <c:formatCode>General</c:formatCode>
                <c:ptCount val="54"/>
                <c:pt idx="0">
                  <c:v>688.3818</c:v>
                </c:pt>
                <c:pt idx="1">
                  <c:v>708.5263</c:v>
                </c:pt>
                <c:pt idx="2">
                  <c:v>671.3165</c:v>
                </c:pt>
                <c:pt idx="3">
                  <c:v>728.3521</c:v>
                </c:pt>
                <c:pt idx="4">
                  <c:v>725.0303</c:v>
                </c:pt>
                <c:pt idx="5">
                  <c:v>728.1935</c:v>
                </c:pt>
                <c:pt idx="6">
                  <c:v>690.5882</c:v>
                </c:pt>
                <c:pt idx="7">
                  <c:v>694.0208</c:v>
                </c:pt>
                <c:pt idx="8">
                  <c:v>719.0</c:v>
                </c:pt>
                <c:pt idx="9">
                  <c:v>694.1111</c:v>
                </c:pt>
                <c:pt idx="10">
                  <c:v>687.6458</c:v>
                </c:pt>
                <c:pt idx="11">
                  <c:v>660.9848</c:v>
                </c:pt>
                <c:pt idx="12">
                  <c:v>676.8226</c:v>
                </c:pt>
                <c:pt idx="13">
                  <c:v>689.8923</c:v>
                </c:pt>
                <c:pt idx="14">
                  <c:v>646.6491</c:v>
                </c:pt>
                <c:pt idx="15">
                  <c:v>635.6939</c:v>
                </c:pt>
                <c:pt idx="16">
                  <c:v>706.7027</c:v>
                </c:pt>
                <c:pt idx="17">
                  <c:v>690.4722</c:v>
                </c:pt>
                <c:pt idx="18">
                  <c:v>518.1304</c:v>
                </c:pt>
                <c:pt idx="19">
                  <c:v>577.0</c:v>
                </c:pt>
                <c:pt idx="20">
                  <c:v>739.5484</c:v>
                </c:pt>
                <c:pt idx="21">
                  <c:v>690.2917</c:v>
                </c:pt>
                <c:pt idx="22">
                  <c:v>744.6364</c:v>
                </c:pt>
                <c:pt idx="23">
                  <c:v>726.52</c:v>
                </c:pt>
                <c:pt idx="24">
                  <c:v>646.35</c:v>
                </c:pt>
                <c:pt idx="25">
                  <c:v>743.5263</c:v>
                </c:pt>
                <c:pt idx="26">
                  <c:v>624.775</c:v>
                </c:pt>
                <c:pt idx="27">
                  <c:v>727.2963</c:v>
                </c:pt>
                <c:pt idx="28">
                  <c:v>723.0</c:v>
                </c:pt>
                <c:pt idx="29">
                  <c:v>725.7857</c:v>
                </c:pt>
                <c:pt idx="30">
                  <c:v>780.4</c:v>
                </c:pt>
                <c:pt idx="31">
                  <c:v>743.8621</c:v>
                </c:pt>
                <c:pt idx="32">
                  <c:v>758.5652</c:v>
                </c:pt>
                <c:pt idx="33">
                  <c:v>748.5227</c:v>
                </c:pt>
                <c:pt idx="34">
                  <c:v>769.2414</c:v>
                </c:pt>
                <c:pt idx="35">
                  <c:v>722.619</c:v>
                </c:pt>
                <c:pt idx="36">
                  <c:v>769.15</c:v>
                </c:pt>
                <c:pt idx="37">
                  <c:v>734.4615</c:v>
                </c:pt>
                <c:pt idx="38">
                  <c:v>737.4815</c:v>
                </c:pt>
                <c:pt idx="39">
                  <c:v>784.0606</c:v>
                </c:pt>
                <c:pt idx="40">
                  <c:v>749.1923</c:v>
                </c:pt>
                <c:pt idx="41">
                  <c:v>777.0833</c:v>
                </c:pt>
                <c:pt idx="42">
                  <c:v>749.8065</c:v>
                </c:pt>
                <c:pt idx="43">
                  <c:v>735.2632</c:v>
                </c:pt>
                <c:pt idx="44">
                  <c:v>731.2738</c:v>
                </c:pt>
                <c:pt idx="45">
                  <c:v>748.6623</c:v>
                </c:pt>
                <c:pt idx="46">
                  <c:v>729.8167</c:v>
                </c:pt>
                <c:pt idx="47">
                  <c:v>728.2278</c:v>
                </c:pt>
                <c:pt idx="48">
                  <c:v>752.1376</c:v>
                </c:pt>
                <c:pt idx="49">
                  <c:v>761.2832</c:v>
                </c:pt>
                <c:pt idx="50">
                  <c:v>747.7838</c:v>
                </c:pt>
                <c:pt idx="51">
                  <c:v>615.0501915537022</c:v>
                </c:pt>
                <c:pt idx="52">
                  <c:v>413.56357985367475</c:v>
                </c:pt>
                <c:pt idx="53">
                  <c:v>738.5553728096921</c:v>
                </c:pt>
              </c:numCache>
            </c:numRef>
          </c:xVal>
          <c:yVal>
            <c:numRef>
              <c:f>Sheet1!$B$176:$B$229</c:f>
              <c:numCache>
                <c:formatCode>General</c:formatCode>
                <c:ptCount val="54"/>
                <c:pt idx="0">
                  <c:v>0.30430294589072393</c:v>
                </c:pt>
                <c:pt idx="1">
                  <c:v>0.2979379094026098</c:v>
                </c:pt>
                <c:pt idx="2">
                  <c:v>0.309695050791844</c:v>
                </c:pt>
                <c:pt idx="3">
                  <c:v>0.29167357221846263</c:v>
                </c:pt>
                <c:pt idx="4">
                  <c:v>0.29272315787242364</c:v>
                </c:pt>
                <c:pt idx="5">
                  <c:v>0.2917236848937345</c:v>
                </c:pt>
                <c:pt idx="6">
                  <c:v>0.3036057920021997</c:v>
                </c:pt>
                <c:pt idx="7">
                  <c:v>0.30252119698871716</c:v>
                </c:pt>
                <c:pt idx="8">
                  <c:v>0.2946285454240767</c:v>
                </c:pt>
                <c:pt idx="9">
                  <c:v>0.30249266499264493</c:v>
                </c:pt>
                <c:pt idx="10">
                  <c:v>0.3045354990370046</c:v>
                </c:pt>
                <c:pt idx="11">
                  <c:v>0.3129595471796546</c:v>
                </c:pt>
                <c:pt idx="12">
                  <c:v>0.3079552941631263</c:v>
                </c:pt>
                <c:pt idx="13">
                  <c:v>0.30382567479363554</c:v>
                </c:pt>
                <c:pt idx="14">
                  <c:v>0.317489183238264</c:v>
                </c:pt>
                <c:pt idx="15">
                  <c:v>0.32095068626562073</c:v>
                </c:pt>
                <c:pt idx="16">
                  <c:v>0.29851411037755204</c:v>
                </c:pt>
                <c:pt idx="17">
                  <c:v>0.3036424444002549</c:v>
                </c:pt>
                <c:pt idx="18">
                  <c:v>0.35809710177210663</c:v>
                </c:pt>
                <c:pt idx="19">
                  <c:v>0.3394961361467159</c:v>
                </c:pt>
                <c:pt idx="20">
                  <c:v>0.288135889077562</c:v>
                </c:pt>
                <c:pt idx="21">
                  <c:v>0.30369947679550446</c:v>
                </c:pt>
                <c:pt idx="22">
                  <c:v>0.286528239066317</c:v>
                </c:pt>
                <c:pt idx="23">
                  <c:v>0.29225245892946927</c:v>
                </c:pt>
                <c:pt idx="24">
                  <c:v>0.3175836895508354</c:v>
                </c:pt>
                <c:pt idx="25">
                  <c:v>0.2868789961963255</c:v>
                </c:pt>
                <c:pt idx="26">
                  <c:v>0.32440071962013783</c:v>
                </c:pt>
                <c:pt idx="27">
                  <c:v>0.29200717223455386</c:v>
                </c:pt>
                <c:pt idx="28">
                  <c:v>0.2933646696290727</c:v>
                </c:pt>
                <c:pt idx="29">
                  <c:v>0.29248447492853713</c:v>
                </c:pt>
                <c:pt idx="30">
                  <c:v>0.27522805197076644</c:v>
                </c:pt>
                <c:pt idx="31">
                  <c:v>0.2867728938233349</c:v>
                </c:pt>
                <c:pt idx="32">
                  <c:v>0.28212717077295435</c:v>
                </c:pt>
                <c:pt idx="33">
                  <c:v>0.2853002889407861</c:v>
                </c:pt>
                <c:pt idx="34">
                  <c:v>0.2787538230822991</c:v>
                </c:pt>
                <c:pt idx="35">
                  <c:v>0.29348505379854684</c:v>
                </c:pt>
                <c:pt idx="36">
                  <c:v>0.278782702644215</c:v>
                </c:pt>
                <c:pt idx="37">
                  <c:v>0.28974319152296335</c:v>
                </c:pt>
                <c:pt idx="38">
                  <c:v>0.2887889652977354</c:v>
                </c:pt>
                <c:pt idx="39">
                  <c:v>0.2740714160369686</c:v>
                </c:pt>
                <c:pt idx="40">
                  <c:v>0.28508871613270237</c:v>
                </c:pt>
                <c:pt idx="41">
                  <c:v>0.27627602618308883</c:v>
                </c:pt>
                <c:pt idx="42">
                  <c:v>0.2848946480043796</c:v>
                </c:pt>
                <c:pt idx="43">
                  <c:v>0.28948987921674973</c:v>
                </c:pt>
                <c:pt idx="44">
                  <c:v>0.29075040574089683</c:v>
                </c:pt>
                <c:pt idx="45">
                  <c:v>0.28525617967554046</c:v>
                </c:pt>
                <c:pt idx="46">
                  <c:v>0.29121080409612193</c:v>
                </c:pt>
                <c:pt idx="47">
                  <c:v>0.29171284715879237</c:v>
                </c:pt>
                <c:pt idx="48">
                  <c:v>0.2841580927879461</c:v>
                </c:pt>
                <c:pt idx="49">
                  <c:v>0.28126836717024917</c:v>
                </c:pt>
                <c:pt idx="50">
                  <c:v>0.28553375839701817</c:v>
                </c:pt>
                <c:pt idx="51">
                  <c:v>0.32747345712171916</c:v>
                </c:pt>
                <c:pt idx="52">
                  <c:v>0.39113697000797387</c:v>
                </c:pt>
                <c:pt idx="53">
                  <c:v>0.28844965483496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1.0"/>
          <c:min val="3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73933649289"/>
          <c:min val="0.168421052631578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6</c:f>
              <c:numCache>
                <c:formatCode>General</c:formatCode>
                <c:ptCount val="115"/>
                <c:pt idx="0">
                  <c:v>1.3823951493879731</c:v>
                </c:pt>
                <c:pt idx="1">
                  <c:v>1.4716060178655384</c:v>
                </c:pt>
                <c:pt idx="2">
                  <c:v>1.4615602836879433</c:v>
                </c:pt>
                <c:pt idx="3">
                  <c:v>1.4684009363371295</c:v>
                </c:pt>
                <c:pt idx="4">
                  <c:v>1.409736507936508</c:v>
                </c:pt>
                <c:pt idx="5">
                  <c:v>1.4882249418331892</c:v>
                </c:pt>
                <c:pt idx="6">
                  <c:v>1.3504057665650124</c:v>
                </c:pt>
                <c:pt idx="7">
                  <c:v>1.4861119473189088</c:v>
                </c:pt>
                <c:pt idx="8">
                  <c:v>1.4489495972382047</c:v>
                </c:pt>
                <c:pt idx="9">
                  <c:v>1.4010493709873537</c:v>
                </c:pt>
                <c:pt idx="10">
                  <c:v>1.4772106623153498</c:v>
                </c:pt>
                <c:pt idx="11">
                  <c:v>1.5430404863221883</c:v>
                </c:pt>
                <c:pt idx="12">
                  <c:v>1.4000848356864408</c:v>
                </c:pt>
                <c:pt idx="13">
                  <c:v>1.4014802755752795</c:v>
                </c:pt>
                <c:pt idx="14">
                  <c:v>2.5789118764173464</c:v>
                </c:pt>
                <c:pt idx="15">
                  <c:v>2.969593827580359</c:v>
                </c:pt>
                <c:pt idx="16">
                  <c:v>2.9685698729582572</c:v>
                </c:pt>
                <c:pt idx="17">
                  <c:v>3.2551304588081718</c:v>
                </c:pt>
                <c:pt idx="18">
                  <c:v>6.568652623558452</c:v>
                </c:pt>
                <c:pt idx="19">
                  <c:v>6.675600276782385</c:v>
                </c:pt>
                <c:pt idx="20">
                  <c:v>5.810795332273538</c:v>
                </c:pt>
                <c:pt idx="21">
                  <c:v>6.51003292466063</c:v>
                </c:pt>
                <c:pt idx="22">
                  <c:v>7.615847809148925</c:v>
                </c:pt>
                <c:pt idx="23">
                  <c:v>8.438556218492202</c:v>
                </c:pt>
                <c:pt idx="24">
                  <c:v>7.127784274770243</c:v>
                </c:pt>
                <c:pt idx="25">
                  <c:v>8.36368408551069</c:v>
                </c:pt>
                <c:pt idx="26">
                  <c:v>1.655724724264706</c:v>
                </c:pt>
                <c:pt idx="27">
                  <c:v>1.4647068825910932</c:v>
                </c:pt>
                <c:pt idx="28">
                  <c:v>1.3403180542563142</c:v>
                </c:pt>
                <c:pt idx="29">
                  <c:v>1.6635055710306406</c:v>
                </c:pt>
                <c:pt idx="30">
                  <c:v>2.5668013986013984</c:v>
                </c:pt>
                <c:pt idx="31">
                  <c:v>1.5501246435845215</c:v>
                </c:pt>
                <c:pt idx="32">
                  <c:v>1.6996057114626368</c:v>
                </c:pt>
                <c:pt idx="33">
                  <c:v>1.768783244287578</c:v>
                </c:pt>
                <c:pt idx="34">
                  <c:v>1.6780748709122202</c:v>
                </c:pt>
                <c:pt idx="35">
                  <c:v>1.511738414233233</c:v>
                </c:pt>
                <c:pt idx="36">
                  <c:v>1.5526794292788915</c:v>
                </c:pt>
                <c:pt idx="37">
                  <c:v>1.515377138254127</c:v>
                </c:pt>
                <c:pt idx="38">
                  <c:v>1.665233678825877</c:v>
                </c:pt>
                <c:pt idx="39">
                  <c:v>1.6201985901309164</c:v>
                </c:pt>
                <c:pt idx="40">
                  <c:v>1.4623014285714284</c:v>
                </c:pt>
                <c:pt idx="41">
                  <c:v>1.6129005714285714</c:v>
                </c:pt>
                <c:pt idx="42">
                  <c:v>1.4525125734376576</c:v>
                </c:pt>
                <c:pt idx="43">
                  <c:v>1.2725963167639682</c:v>
                </c:pt>
                <c:pt idx="44">
                  <c:v>1.3404269133519804</c:v>
                </c:pt>
                <c:pt idx="45">
                  <c:v>1.168740655737705</c:v>
                </c:pt>
                <c:pt idx="46">
                  <c:v>1.2377609819081443</c:v>
                </c:pt>
                <c:pt idx="47">
                  <c:v>1.1941682336439874</c:v>
                </c:pt>
                <c:pt idx="48">
                  <c:v>1.1950761036825903</c:v>
                </c:pt>
                <c:pt idx="49">
                  <c:v>1.246849051223075</c:v>
                </c:pt>
                <c:pt idx="50">
                  <c:v>1.267604363037662</c:v>
                </c:pt>
                <c:pt idx="51">
                  <c:v>1.2624054317067812</c:v>
                </c:pt>
                <c:pt idx="52">
                  <c:v>1.2014332371421592</c:v>
                </c:pt>
                <c:pt idx="53">
                  <c:v>1.3047917816808552</c:v>
                </c:pt>
                <c:pt idx="54">
                  <c:v>1.2745095963091342</c:v>
                </c:pt>
                <c:pt idx="55">
                  <c:v>1.4355466913669133</c:v>
                </c:pt>
                <c:pt idx="56">
                  <c:v>1.335254819545863</c:v>
                </c:pt>
                <c:pt idx="57">
                  <c:v>1.2771141998613045</c:v>
                </c:pt>
                <c:pt idx="58">
                  <c:v>1.1369881148894025</c:v>
                </c:pt>
                <c:pt idx="59">
                  <c:v>1.2759476910979313</c:v>
                </c:pt>
                <c:pt idx="60">
                  <c:v>1.2514479322062901</c:v>
                </c:pt>
                <c:pt idx="61">
                  <c:v>1.2600758776221623</c:v>
                </c:pt>
                <c:pt idx="62">
                  <c:v>1.2193372910315299</c:v>
                </c:pt>
                <c:pt idx="63">
                  <c:v>1.3887375742154369</c:v>
                </c:pt>
                <c:pt idx="64">
                  <c:v>1.3425951357432464</c:v>
                </c:pt>
                <c:pt idx="65">
                  <c:v>1.3907839584683868</c:v>
                </c:pt>
                <c:pt idx="66">
                  <c:v>1.3245739645949393</c:v>
                </c:pt>
                <c:pt idx="67">
                  <c:v>1.277638157894737</c:v>
                </c:pt>
                <c:pt idx="68">
                  <c:v>1.3667899629781983</c:v>
                </c:pt>
                <c:pt idx="69">
                  <c:v>1.3489363333333333</c:v>
                </c:pt>
                <c:pt idx="70">
                  <c:v>1.5337726051582585</c:v>
                </c:pt>
                <c:pt idx="71">
                  <c:v>1.6770310932798396</c:v>
                </c:pt>
                <c:pt idx="72">
                  <c:v>1.829052868852459</c:v>
                </c:pt>
                <c:pt idx="73">
                  <c:v>1.6015177899410789</c:v>
                </c:pt>
                <c:pt idx="74">
                  <c:v>1.968436487693076</c:v>
                </c:pt>
                <c:pt idx="75">
                  <c:v>1.8992055926869726</c:v>
                </c:pt>
                <c:pt idx="76">
                  <c:v>2.0140591085271318</c:v>
                </c:pt>
                <c:pt idx="77">
                  <c:v>1.9992615230460922</c:v>
                </c:pt>
                <c:pt idx="78">
                  <c:v>2.612912883435583</c:v>
                </c:pt>
                <c:pt idx="79">
                  <c:v>2.318428980321419</c:v>
                </c:pt>
                <c:pt idx="80">
                  <c:v>1.5301935907970419</c:v>
                </c:pt>
                <c:pt idx="81">
                  <c:v>1.6856492453084242</c:v>
                </c:pt>
                <c:pt idx="82">
                  <c:v>1.5496407968879335</c:v>
                </c:pt>
                <c:pt idx="83">
                  <c:v>2.082587304780486</c:v>
                </c:pt>
                <c:pt idx="84">
                  <c:v>3.3337417195065515</c:v>
                </c:pt>
                <c:pt idx="85">
                  <c:v>1.405238</c:v>
                </c:pt>
                <c:pt idx="86">
                  <c:v>1.2799863540869305</c:v>
                </c:pt>
                <c:pt idx="87">
                  <c:v>1.3975976082740789</c:v>
                </c:pt>
                <c:pt idx="88">
                  <c:v>1.742561223472028</c:v>
                </c:pt>
                <c:pt idx="89">
                  <c:v>1.3179641104294477</c:v>
                </c:pt>
                <c:pt idx="90">
                  <c:v>1.445915875613748</c:v>
                </c:pt>
                <c:pt idx="91">
                  <c:v>1.6351602888086643</c:v>
                </c:pt>
                <c:pt idx="92">
                  <c:v>1.3377898412698412</c:v>
                </c:pt>
                <c:pt idx="93">
                  <c:v>1.9755434435575827</c:v>
                </c:pt>
                <c:pt idx="94">
                  <c:v>1.311043851851852</c:v>
                </c:pt>
                <c:pt idx="95">
                  <c:v>1.386275873015873</c:v>
                </c:pt>
                <c:pt idx="96">
                  <c:v>1.348087878787879</c:v>
                </c:pt>
                <c:pt idx="97">
                  <c:v>1.4401661456316235</c:v>
                </c:pt>
                <c:pt idx="98">
                  <c:v>1.4946353421176541</c:v>
                </c:pt>
                <c:pt idx="99">
                  <c:v>1.36604448</c:v>
                </c:pt>
                <c:pt idx="100">
                  <c:v>1.4563661135403403</c:v>
                </c:pt>
                <c:pt idx="101">
                  <c:v>1.3532025463819959</c:v>
                </c:pt>
                <c:pt idx="102">
                  <c:v>1.8883901930099112</c:v>
                </c:pt>
                <c:pt idx="103">
                  <c:v>1.2271671830189832</c:v>
                </c:pt>
                <c:pt idx="104">
                  <c:v>1.1939644444444446</c:v>
                </c:pt>
                <c:pt idx="105">
                  <c:v>0.0</c:v>
                </c:pt>
                <c:pt idx="106">
                  <c:v>0.0</c:v>
                </c:pt>
                <c:pt idx="107">
                  <c:v>0.0</c:v>
                </c:pt>
                <c:pt idx="108">
                  <c:v>0.0</c:v>
                </c:pt>
                <c:pt idx="109">
                  <c:v>0.0</c:v>
                </c:pt>
                <c:pt idx="110">
                  <c:v>0.0</c:v>
                </c:pt>
                <c:pt idx="111">
                  <c:v>0.0</c:v>
                </c:pt>
                <c:pt idx="112">
                  <c:v>0.0</c:v>
                </c:pt>
                <c:pt idx="113">
                  <c:v>0.0</c:v>
                </c:pt>
                <c:pt idx="114">
                  <c:v>0.0</c:v>
                </c:pt>
              </c:numCache>
            </c:numRef>
          </c:xVal>
          <c:yVal>
            <c:numRef>
              <c:f>Sheet1!$B$2:$B$116</c:f>
              <c:numCache>
                <c:formatCode>General</c:formatCode>
                <c:ptCount val="115"/>
                <c:pt idx="0">
                  <c:v>0.3389261744966443</c:v>
                </c:pt>
                <c:pt idx="1">
                  <c:v>0.29559748427672955</c:v>
                </c:pt>
                <c:pt idx="2">
                  <c:v>0.35855263157894735</c:v>
                </c:pt>
                <c:pt idx="3">
                  <c:v>0.3346456692913386</c:v>
                </c:pt>
                <c:pt idx="4">
                  <c:v>0.4188034188034188</c:v>
                </c:pt>
                <c:pt idx="5">
                  <c:v>0.3791469194312796</c:v>
                </c:pt>
                <c:pt idx="6">
                  <c:v>0.34913793103448276</c:v>
                </c:pt>
                <c:pt idx="7">
                  <c:v>0.3313953488372093</c:v>
                </c:pt>
                <c:pt idx="8">
                  <c:v>0.3469387755102041</c:v>
                </c:pt>
                <c:pt idx="9">
                  <c:v>0.34536082474226804</c:v>
                </c:pt>
                <c:pt idx="10">
                  <c:v>0.3452914798206278</c:v>
                </c:pt>
                <c:pt idx="11">
                  <c:v>0.33031674208144796</c:v>
                </c:pt>
                <c:pt idx="12">
                  <c:v>0.3153526970954357</c:v>
                </c:pt>
                <c:pt idx="13">
                  <c:v>0.32142857142857145</c:v>
                </c:pt>
                <c:pt idx="14">
                  <c:v>0.2878338278931751</c:v>
                </c:pt>
                <c:pt idx="15">
                  <c:v>0.27816901408450706</c:v>
                </c:pt>
                <c:pt idx="16">
                  <c:v>0.25882352941176473</c:v>
                </c:pt>
                <c:pt idx="17">
                  <c:v>0.28708133971291866</c:v>
                </c:pt>
                <c:pt idx="18">
                  <c:v>0.15584415584415584</c:v>
                </c:pt>
                <c:pt idx="19">
                  <c:v>0.21559633027522937</c:v>
                </c:pt>
                <c:pt idx="20">
                  <c:v>0.2</c:v>
                </c:pt>
                <c:pt idx="21">
                  <c:v>0.21604938271604937</c:v>
                </c:pt>
                <c:pt idx="22">
                  <c:v>0.2147239263803681</c:v>
                </c:pt>
                <c:pt idx="23">
                  <c:v>0.26143790849673204</c:v>
                </c:pt>
                <c:pt idx="24">
                  <c:v>0.35251798561151076</c:v>
                </c:pt>
                <c:pt idx="25">
                  <c:v>0.3191489361702128</c:v>
                </c:pt>
                <c:pt idx="26">
                  <c:v>0.2845528455284553</c:v>
                </c:pt>
                <c:pt idx="27">
                  <c:v>0.36220472440944884</c:v>
                </c:pt>
                <c:pt idx="28">
                  <c:v>0.3435114503816794</c:v>
                </c:pt>
                <c:pt idx="29">
                  <c:v>0.31756756756756754</c:v>
                </c:pt>
                <c:pt idx="30">
                  <c:v>0.34545454545454546</c:v>
                </c:pt>
                <c:pt idx="31">
                  <c:v>0.3564356435643564</c:v>
                </c:pt>
                <c:pt idx="32">
                  <c:v>0.3170731707317073</c:v>
                </c:pt>
                <c:pt idx="33">
                  <c:v>0.3622448979591837</c:v>
                </c:pt>
                <c:pt idx="34">
                  <c:v>0.37142857142857144</c:v>
                </c:pt>
                <c:pt idx="35">
                  <c:v>0.34615384615384615</c:v>
                </c:pt>
                <c:pt idx="36">
                  <c:v>0.35537190082644626</c:v>
                </c:pt>
                <c:pt idx="37">
                  <c:v>0.3472222222222222</c:v>
                </c:pt>
                <c:pt idx="38">
                  <c:v>0.296</c:v>
                </c:pt>
                <c:pt idx="39">
                  <c:v>0.38620689655172413</c:v>
                </c:pt>
                <c:pt idx="40">
                  <c:v>0.3333333333333333</c:v>
                </c:pt>
                <c:pt idx="41">
                  <c:v>0.3137254901960784</c:v>
                </c:pt>
                <c:pt idx="42">
                  <c:v>0.3352601156069364</c:v>
                </c:pt>
                <c:pt idx="43">
                  <c:v>0.3497536945812808</c:v>
                </c:pt>
                <c:pt idx="44">
                  <c:v>0.42165242165242167</c:v>
                </c:pt>
                <c:pt idx="45">
                  <c:v>0.44</c:v>
                </c:pt>
                <c:pt idx="46">
                  <c:v>0.45077720207253885</c:v>
                </c:pt>
                <c:pt idx="47">
                  <c:v>0.4263565891472868</c:v>
                </c:pt>
                <c:pt idx="48">
                  <c:v>0.3837011884550085</c:v>
                </c:pt>
                <c:pt idx="49">
                  <c:v>0.37032258064516127</c:v>
                </c:pt>
                <c:pt idx="50">
                  <c:v>0.3729281767955801</c:v>
                </c:pt>
                <c:pt idx="51">
                  <c:v>0.3448275862068966</c:v>
                </c:pt>
                <c:pt idx="52">
                  <c:v>0.3558282208588957</c:v>
                </c:pt>
                <c:pt idx="53">
                  <c:v>0.3564356435643564</c:v>
                </c:pt>
                <c:pt idx="54">
                  <c:v>0.3521739130434783</c:v>
                </c:pt>
                <c:pt idx="55">
                  <c:v>0.3476190476190476</c:v>
                </c:pt>
                <c:pt idx="56">
                  <c:v>0.3584905660377358</c:v>
                </c:pt>
                <c:pt idx="57">
                  <c:v>0.36693548387096775</c:v>
                </c:pt>
                <c:pt idx="58">
                  <c:v>0.4349315068493151</c:v>
                </c:pt>
                <c:pt idx="59">
                  <c:v>0.35054347826086957</c:v>
                </c:pt>
                <c:pt idx="60">
                  <c:v>0.32275132275132273</c:v>
                </c:pt>
                <c:pt idx="61">
                  <c:v>0.3760330578512397</c:v>
                </c:pt>
                <c:pt idx="62">
                  <c:v>0.3806228373702422</c:v>
                </c:pt>
                <c:pt idx="63">
                  <c:v>0.3848797250859107</c:v>
                </c:pt>
                <c:pt idx="64">
                  <c:v>0.4119718309859155</c:v>
                </c:pt>
                <c:pt idx="65">
                  <c:v>0.4573643410852713</c:v>
                </c:pt>
                <c:pt idx="66">
                  <c:v>0.4185022026431718</c:v>
                </c:pt>
                <c:pt idx="67">
                  <c:v>0.42857142857142855</c:v>
                </c:pt>
                <c:pt idx="68">
                  <c:v>0.4148936170212766</c:v>
                </c:pt>
                <c:pt idx="69">
                  <c:v>0.373015873015873</c:v>
                </c:pt>
                <c:pt idx="70">
                  <c:v>0.38345864661654133</c:v>
                </c:pt>
                <c:pt idx="71">
                  <c:v>0.3333333333333333</c:v>
                </c:pt>
                <c:pt idx="72">
                  <c:v>0.4017857142857143</c:v>
                </c:pt>
                <c:pt idx="73">
                  <c:v>0.423728813559322</c:v>
                </c:pt>
                <c:pt idx="74">
                  <c:v>0.4444444444444444</c:v>
                </c:pt>
                <c:pt idx="75">
                  <c:v>0.43243243243243246</c:v>
                </c:pt>
                <c:pt idx="76">
                  <c:v>0.4830508474576271</c:v>
                </c:pt>
                <c:pt idx="77">
                  <c:v>0.5229357798165137</c:v>
                </c:pt>
                <c:pt idx="78">
                  <c:v>0.42</c:v>
                </c:pt>
                <c:pt idx="79">
                  <c:v>0.4489795918367347</c:v>
                </c:pt>
                <c:pt idx="80">
                  <c:v>0.456</c:v>
                </c:pt>
                <c:pt idx="81">
                  <c:v>0.4175824175824176</c:v>
                </c:pt>
                <c:pt idx="82">
                  <c:v>0.4647887323943662</c:v>
                </c:pt>
                <c:pt idx="83">
                  <c:v>0.43661971830985913</c:v>
                </c:pt>
                <c:pt idx="84">
                  <c:v>0.4264705882352941</c:v>
                </c:pt>
                <c:pt idx="85">
                  <c:v>0.4430379746835443</c:v>
                </c:pt>
                <c:pt idx="86">
                  <c:v>0.4380952380952381</c:v>
                </c:pt>
                <c:pt idx="87">
                  <c:v>0.43243243243243246</c:v>
                </c:pt>
                <c:pt idx="88">
                  <c:v>0.3698630136986301</c:v>
                </c:pt>
                <c:pt idx="89">
                  <c:v>0.41025641025641024</c:v>
                </c:pt>
                <c:pt idx="90">
                  <c:v>0.44594594594594594</c:v>
                </c:pt>
                <c:pt idx="91">
                  <c:v>0.39285714285714285</c:v>
                </c:pt>
                <c:pt idx="92">
                  <c:v>0.5</c:v>
                </c:pt>
                <c:pt idx="93">
                  <c:v>0.44274809160305345</c:v>
                </c:pt>
                <c:pt idx="94">
                  <c:v>0.43137254901960786</c:v>
                </c:pt>
                <c:pt idx="95">
                  <c:v>0.45774647887323944</c:v>
                </c:pt>
                <c:pt idx="96">
                  <c:v>0.45161290322580644</c:v>
                </c:pt>
                <c:pt idx="97">
                  <c:v>0.425531914893617</c:v>
                </c:pt>
                <c:pt idx="98">
                  <c:v>0.41414141414141414</c:v>
                </c:pt>
                <c:pt idx="99">
                  <c:v>0.4110576923076923</c:v>
                </c:pt>
                <c:pt idx="100">
                  <c:v>0.44612068965517243</c:v>
                </c:pt>
                <c:pt idx="101">
                  <c:v>0.449685534591195</c:v>
                </c:pt>
                <c:pt idx="102">
                  <c:v>0.4666666666666667</c:v>
                </c:pt>
                <c:pt idx="103">
                  <c:v>0.4700460829493088</c:v>
                </c:pt>
                <c:pt idx="104">
                  <c:v>0.47368421052631576</c:v>
                </c:pt>
                <c:pt idx="105">
                  <c:v>0.5074626865671642</c:v>
                </c:pt>
                <c:pt idx="106">
                  <c:v>0.5</c:v>
                </c:pt>
                <c:pt idx="107">
                  <c:v>0.4945054945054945</c:v>
                </c:pt>
                <c:pt idx="108">
                  <c:v>0.5211267605633803</c:v>
                </c:pt>
                <c:pt idx="109">
                  <c:v>0.5172413793103449</c:v>
                </c:pt>
                <c:pt idx="110">
                  <c:v>0.5394736842105263</c:v>
                </c:pt>
                <c:pt idx="111">
                  <c:v>0.5802469135802469</c:v>
                </c:pt>
                <c:pt idx="112">
                  <c:v>0.5161290322580645</c:v>
                </c:pt>
                <c:pt idx="113">
                  <c:v>0.49514563106796117</c:v>
                </c:pt>
                <c:pt idx="114">
                  <c:v>0.51</c:v>
                </c:pt>
              </c:numCache>
            </c:numRef>
          </c:yVal>
          <c:smooth val="0"/>
          <c:extLst>
            <c:ext xmlns:c16="http://schemas.microsoft.com/office/drawing/2014/chart" uri="{C3380CC4-5D6E-409C-BE32-E72D297353CC}">
              <c16:uniqueId val="{00000000-096C-4121-9522-6AB7243CCAAE}"/>
            </c:ext>
          </c:extLst>
        </c:ser>
        <c:ser>
          <c:idx val="1"/>
          <c:order val="1"/>
          <c:tx>
            <c:strRef>
              <c:f>Sheet1!$B$1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9:$A$154</c:f>
              <c:numCache>
                <c:formatCode>General</c:formatCode>
                <c:ptCount val="36"/>
                <c:pt idx="0">
                  <c:v>1.6450403013182673</c:v>
                </c:pt>
                <c:pt idx="1">
                  <c:v>1.5474207142857144</c:v>
                </c:pt>
                <c:pt idx="2">
                  <c:v>1.5816933380331337</c:v>
                </c:pt>
                <c:pt idx="3">
                  <c:v>1.5902475769562612</c:v>
                </c:pt>
                <c:pt idx="4">
                  <c:v>1.9617675481132617</c:v>
                </c:pt>
                <c:pt idx="5">
                  <c:v>1.3890415926563096</c:v>
                </c:pt>
                <c:pt idx="6">
                  <c:v>1.5954992682326006</c:v>
                </c:pt>
                <c:pt idx="7">
                  <c:v>1.3052063030303032</c:v>
                </c:pt>
                <c:pt idx="8">
                  <c:v>1.3860756923076922</c:v>
                </c:pt>
                <c:pt idx="9">
                  <c:v>1.625925925925926</c:v>
                </c:pt>
                <c:pt idx="10">
                  <c:v>1.4986388136980404</c:v>
                </c:pt>
                <c:pt idx="11">
                  <c:v>1.5674492403314915</c:v>
                </c:pt>
                <c:pt idx="12">
                  <c:v>2.3865138603696097</c:v>
                </c:pt>
                <c:pt idx="13">
                  <c:v>2.7702275196137602</c:v>
                </c:pt>
                <c:pt idx="14">
                  <c:v>3.343918485121731</c:v>
                </c:pt>
                <c:pt idx="15">
                  <c:v>3.3676793400286944</c:v>
                </c:pt>
                <c:pt idx="16">
                  <c:v>3.592573368174909</c:v>
                </c:pt>
                <c:pt idx="17">
                  <c:v>3.3012178294573644</c:v>
                </c:pt>
                <c:pt idx="18">
                  <c:v>6.672126126126127</c:v>
                </c:pt>
                <c:pt idx="19">
                  <c:v>4.5209187165775395</c:v>
                </c:pt>
                <c:pt idx="20">
                  <c:v>6.658177593360995</c:v>
                </c:pt>
                <c:pt idx="21">
                  <c:v>4.1638021739130435</c:v>
                </c:pt>
                <c:pt idx="22">
                  <c:v>10.765616915422886</c:v>
                </c:pt>
                <c:pt idx="23">
                  <c:v>6.49431875</c:v>
                </c:pt>
                <c:pt idx="24">
                  <c:v>50.22858</c:v>
                </c:pt>
                <c:pt idx="25">
                  <c:v>13.659041958041957</c:v>
                </c:pt>
                <c:pt idx="26">
                  <c:v>6.045031428571429</c:v>
                </c:pt>
                <c:pt idx="27">
                  <c:v>87.2582</c:v>
                </c:pt>
                <c:pt idx="28">
                  <c:v>14.74868</c:v>
                </c:pt>
                <c:pt idx="29">
                  <c:v>2.777991875</c:v>
                </c:pt>
                <c:pt idx="30">
                  <c:v>2.2063754010695185</c:v>
                </c:pt>
                <c:pt idx="31">
                  <c:v>1.9532926829268291</c:v>
                </c:pt>
                <c:pt idx="32">
                  <c:v>1.7022255860151956</c:v>
                </c:pt>
                <c:pt idx="33">
                  <c:v>1.5952322804631727</c:v>
                </c:pt>
                <c:pt idx="34">
                  <c:v>1.561077834222121</c:v>
                </c:pt>
                <c:pt idx="35">
                  <c:v>1.6289336956521738</c:v>
                </c:pt>
              </c:numCache>
            </c:numRef>
          </c:xVal>
          <c:yVal>
            <c:numRef>
              <c:f>Sheet1!$B$119:$B$154</c:f>
              <c:numCache>
                <c:formatCode>General</c:formatCode>
                <c:ptCount val="36"/>
                <c:pt idx="0">
                  <c:v>0.4482758620689655</c:v>
                </c:pt>
                <c:pt idx="1">
                  <c:v>0.484304932735426</c:v>
                </c:pt>
                <c:pt idx="2">
                  <c:v>0.4380165289256198</c:v>
                </c:pt>
                <c:pt idx="3">
                  <c:v>0.4637096774193548</c:v>
                </c:pt>
                <c:pt idx="4">
                  <c:v>0.4555984555984556</c:v>
                </c:pt>
                <c:pt idx="5">
                  <c:v>0.4305555555555556</c:v>
                </c:pt>
                <c:pt idx="6">
                  <c:v>0.4652014652014652</c:v>
                </c:pt>
                <c:pt idx="7">
                  <c:v>0.5240384615384616</c:v>
                </c:pt>
                <c:pt idx="8">
                  <c:v>0.46825396825396826</c:v>
                </c:pt>
                <c:pt idx="9">
                  <c:v>0.42962962962962964</c:v>
                </c:pt>
                <c:pt idx="10">
                  <c:v>0.4476744186046512</c:v>
                </c:pt>
                <c:pt idx="11">
                  <c:v>0.39267015706806285</c:v>
                </c:pt>
                <c:pt idx="12">
                  <c:v>0.35668789808917195</c:v>
                </c:pt>
                <c:pt idx="13">
                  <c:v>0.4076086956521739</c:v>
                </c:pt>
                <c:pt idx="14">
                  <c:v>0.3770491803278688</c:v>
                </c:pt>
                <c:pt idx="15">
                  <c:v>0.3900709219858156</c:v>
                </c:pt>
                <c:pt idx="16">
                  <c:v>0.4065040650406504</c:v>
                </c:pt>
                <c:pt idx="17">
                  <c:v>0.4</c:v>
                </c:pt>
                <c:pt idx="18">
                  <c:v>0.4074074074074074</c:v>
                </c:pt>
                <c:pt idx="19">
                  <c:v>0.45132743362831856</c:v>
                </c:pt>
                <c:pt idx="20">
                  <c:v>0.5178571428571429</c:v>
                </c:pt>
                <c:pt idx="21">
                  <c:v>0.5119047619047619</c:v>
                </c:pt>
                <c:pt idx="22">
                  <c:v>0.4675324675324675</c:v>
                </c:pt>
                <c:pt idx="23">
                  <c:v>0.5057471264367817</c:v>
                </c:pt>
                <c:pt idx="24">
                  <c:v>0.5894736842105263</c:v>
                </c:pt>
                <c:pt idx="25">
                  <c:v>0.49333333333333335</c:v>
                </c:pt>
                <c:pt idx="26">
                  <c:v>0.5168539325842697</c:v>
                </c:pt>
                <c:pt idx="27">
                  <c:v>0.5596330275229358</c:v>
                </c:pt>
                <c:pt idx="28">
                  <c:v>0.5096153846153846</c:v>
                </c:pt>
                <c:pt idx="29">
                  <c:v>0.49214659685863876</c:v>
                </c:pt>
                <c:pt idx="30">
                  <c:v>0.4681818181818182</c:v>
                </c:pt>
                <c:pt idx="31">
                  <c:v>0.4642857142857143</c:v>
                </c:pt>
                <c:pt idx="32">
                  <c:v>0.5069444444444444</c:v>
                </c:pt>
                <c:pt idx="33">
                  <c:v>0.47107438016528924</c:v>
                </c:pt>
                <c:pt idx="34">
                  <c:v>0.49379652605459057</c:v>
                </c:pt>
                <c:pt idx="35">
                  <c:v>0.5343511450381679</c:v>
                </c:pt>
              </c:numCache>
            </c:numRef>
          </c:yVal>
          <c:smooth val="0"/>
          <c:extLst>
            <c:ext xmlns:c16="http://schemas.microsoft.com/office/drawing/2014/chart" uri="{C3380CC4-5D6E-409C-BE32-E72D297353CC}">
              <c16:uniqueId val="{00000002-096C-4121-9522-6AB7243CCAAE}"/>
            </c:ext>
          </c:extLst>
        </c:ser>
        <c:ser>
          <c:idx val="2"/>
          <c:order val="2"/>
          <c:tx>
            <c:strRef>
              <c:f>Sheet1!$B$1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7:$A$158</c:f>
              <c:numCache>
                <c:formatCode>General</c:formatCode>
                <c:ptCount val="2"/>
                <c:pt idx="0">
                  <c:v>0</c:v>
                </c:pt>
                <c:pt idx="1">
                  <c:v>36.64069806203427</c:v>
                </c:pt>
              </c:numCache>
            </c:numRef>
          </c:xVal>
          <c:yVal>
            <c:numRef>
              <c:f>Sheet1!$B$157:$B$158</c:f>
              <c:numCache>
                <c:formatCode>General</c:formatCode>
                <c:ptCount val="2"/>
                <c:pt idx="0">
                  <c:v>0.5134857802581291</c:v>
                </c:pt>
                <c:pt idx="1">
                  <c:v>0.5134857802581291</c:v>
                </c:pt>
              </c:numCache>
            </c:numRef>
          </c:yVal>
          <c:smooth val="0"/>
          <c:extLst>
            <c:ext xmlns:c16="http://schemas.microsoft.com/office/drawing/2014/chart" uri="{C3380CC4-5D6E-409C-BE32-E72D297353CC}">
              <c16:uniqueId val="{00000005-096C-4121-9522-6AB7243CCAAE}"/>
            </c:ext>
          </c:extLst>
        </c:ser>
        <c:ser>
          <c:idx val="3"/>
          <c:order val="3"/>
          <c:tx>
            <c:strRef>
              <c:f>Sheet1!$B$1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36.64069806203427</c:v>
                </c:pt>
                <c:pt idx="1">
                  <c:v>36.64069806203427</c:v>
                </c:pt>
              </c:numCache>
            </c:numRef>
          </c:xVal>
          <c:yVal>
            <c:numRef>
              <c:f>Sheet1!$B$161:$B$162</c:f>
              <c:numCache>
                <c:formatCode>General</c:formatCode>
                <c:ptCount val="2"/>
                <c:pt idx="0">
                  <c:v>0.51348578025812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5:$A$166</c:f>
              <c:numCache>
                <c:formatCode>General</c:formatCode>
                <c:ptCount val="2"/>
                <c:pt idx="0">
                  <c:v>0</c:v>
                </c:pt>
                <c:pt idx="1">
                  <c:v>36.64069806203427</c:v>
                </c:pt>
              </c:numCache>
            </c:numRef>
          </c:xVal>
          <c:yVal>
            <c:numRef>
              <c:f>Sheet1!$B$165:$B$166</c:f>
              <c:numCache>
                <c:formatCode>General</c:formatCode>
                <c:ptCount val="2"/>
                <c:pt idx="0">
                  <c:v>0.5134857802581291</c:v>
                </c:pt>
                <c:pt idx="1">
                  <c:v>0.5134857802581291</c:v>
                </c:pt>
              </c:numCache>
            </c:numRef>
          </c:yVal>
          <c:smooth val="0"/>
          <c:extLst>
            <c:ext xmlns:c16="http://schemas.microsoft.com/office/drawing/2014/chart" uri="{C3380CC4-5D6E-409C-BE32-E72D297353CC}">
              <c16:uniqueId val="{0000000D-096C-4121-9522-6AB7243CCAAE}"/>
            </c:ext>
          </c:extLst>
        </c:ser>
        <c:ser>
          <c:idx val="5"/>
          <c:order val="5"/>
          <c:tx>
            <c:strRef>
              <c:f>Sheet1!$B$1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36.64069806203427</c:v>
                </c:pt>
                <c:pt idx="1">
                  <c:v>36.64069806203427</c:v>
                </c:pt>
              </c:numCache>
            </c:numRef>
          </c:xVal>
          <c:yVal>
            <c:numRef>
              <c:f>Sheet1!$B$169:$B$170</c:f>
              <c:numCache>
                <c:formatCode>General</c:formatCode>
                <c:ptCount val="2"/>
                <c:pt idx="0">
                  <c:v>0.51348578025812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3:$A$174</c:f>
              <c:numCache>
                <c:formatCode>General</c:formatCode>
                <c:ptCount val="2"/>
                <c:pt idx="0">
                  <c:v>0</c:v>
                </c:pt>
                <c:pt idx="1">
                  <c:v>25.128523359639</c:v>
                </c:pt>
              </c:numCache>
            </c:numRef>
          </c:xVal>
          <c:yVal>
            <c:numRef>
              <c:f>Sheet1!$B$173:$B$174</c:f>
              <c:numCache>
                <c:formatCode>General</c:formatCode>
                <c:ptCount val="2"/>
                <c:pt idx="0">
                  <c:v>0.4945541640712009</c:v>
                </c:pt>
                <c:pt idx="1">
                  <c:v>0.4945541640712009</c:v>
                </c:pt>
              </c:numCache>
            </c:numRef>
          </c:yVal>
          <c:smooth val="0"/>
          <c:extLst>
            <c:ext xmlns:c16="http://schemas.microsoft.com/office/drawing/2014/chart" uri="{C3380CC4-5D6E-409C-BE32-E72D297353CC}">
              <c16:uniqueId val="{00000015-096C-4121-9522-6AB7243CCAAE}"/>
            </c:ext>
          </c:extLst>
        </c:ser>
        <c:ser>
          <c:idx val="7"/>
          <c:order val="7"/>
          <c:tx>
            <c:strRef>
              <c:f>Sheet1!$B$17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7:$A$178</c:f>
              <c:numCache>
                <c:formatCode>General</c:formatCode>
                <c:ptCount val="2"/>
                <c:pt idx="0">
                  <c:v>25.128523359639</c:v>
                </c:pt>
                <c:pt idx="1">
                  <c:v>25.128523359639</c:v>
                </c:pt>
              </c:numCache>
            </c:numRef>
          </c:xVal>
          <c:yVal>
            <c:numRef>
              <c:f>Sheet1!$B$177:$B$178</c:f>
              <c:numCache>
                <c:formatCode>General</c:formatCode>
                <c:ptCount val="2"/>
                <c:pt idx="0">
                  <c:v>0.494554164071200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1:$A$219</c:f>
              <c:numCache>
                <c:formatCode>General</c:formatCode>
                <c:ptCount val="39"/>
                <c:pt idx="0">
                  <c:v>1.6450403013182673</c:v>
                </c:pt>
                <c:pt idx="1">
                  <c:v>1.5474207142857144</c:v>
                </c:pt>
                <c:pt idx="2">
                  <c:v>1.5816933380331337</c:v>
                </c:pt>
                <c:pt idx="3">
                  <c:v>1.5902475769562612</c:v>
                </c:pt>
                <c:pt idx="4">
                  <c:v>1.9617675481132617</c:v>
                </c:pt>
                <c:pt idx="5">
                  <c:v>1.3890415926563096</c:v>
                </c:pt>
                <c:pt idx="6">
                  <c:v>1.5954992682326006</c:v>
                </c:pt>
                <c:pt idx="7">
                  <c:v>1.3052063030303032</c:v>
                </c:pt>
                <c:pt idx="8">
                  <c:v>1.3860756923076922</c:v>
                </c:pt>
                <c:pt idx="9">
                  <c:v>1.625925925925926</c:v>
                </c:pt>
                <c:pt idx="10">
                  <c:v>1.4986388136980404</c:v>
                </c:pt>
                <c:pt idx="11">
                  <c:v>1.5674492403314915</c:v>
                </c:pt>
                <c:pt idx="12">
                  <c:v>2.3865138603696097</c:v>
                </c:pt>
                <c:pt idx="13">
                  <c:v>2.7702275196137602</c:v>
                </c:pt>
                <c:pt idx="14">
                  <c:v>3.343918485121731</c:v>
                </c:pt>
                <c:pt idx="15">
                  <c:v>3.3676793400286944</c:v>
                </c:pt>
                <c:pt idx="16">
                  <c:v>3.592573368174909</c:v>
                </c:pt>
                <c:pt idx="17">
                  <c:v>3.3012178294573644</c:v>
                </c:pt>
                <c:pt idx="18">
                  <c:v>6.672126126126127</c:v>
                </c:pt>
                <c:pt idx="19">
                  <c:v>4.5209187165775395</c:v>
                </c:pt>
                <c:pt idx="20">
                  <c:v>6.658177593360995</c:v>
                </c:pt>
                <c:pt idx="21">
                  <c:v>4.1638021739130435</c:v>
                </c:pt>
                <c:pt idx="22">
                  <c:v>10.765616915422886</c:v>
                </c:pt>
                <c:pt idx="23">
                  <c:v>6.49431875</c:v>
                </c:pt>
                <c:pt idx="24">
                  <c:v>50.22858</c:v>
                </c:pt>
                <c:pt idx="25">
                  <c:v>13.659041958041957</c:v>
                </c:pt>
                <c:pt idx="26">
                  <c:v>6.045031428571429</c:v>
                </c:pt>
                <c:pt idx="27">
                  <c:v>87.2582</c:v>
                </c:pt>
                <c:pt idx="28">
                  <c:v>14.74868</c:v>
                </c:pt>
                <c:pt idx="29">
                  <c:v>2.777991875</c:v>
                </c:pt>
                <c:pt idx="30">
                  <c:v>2.2063754010695185</c:v>
                </c:pt>
                <c:pt idx="31">
                  <c:v>1.9532926829268291</c:v>
                </c:pt>
                <c:pt idx="32">
                  <c:v>1.7022255860151956</c:v>
                </c:pt>
                <c:pt idx="33">
                  <c:v>1.5952322804631727</c:v>
                </c:pt>
                <c:pt idx="34">
                  <c:v>1.561077834222121</c:v>
                </c:pt>
                <c:pt idx="35">
                  <c:v>1.6289336956521738</c:v>
                </c:pt>
                <c:pt idx="36">
                  <c:v>36.64069806203427</c:v>
                </c:pt>
                <c:pt idx="37">
                  <c:v>36.64069806203427</c:v>
                </c:pt>
                <c:pt idx="38">
                  <c:v>25.128523359639</c:v>
                </c:pt>
              </c:numCache>
            </c:numRef>
          </c:xVal>
          <c:yVal>
            <c:numRef>
              <c:f>Sheet1!$B$181:$B$219</c:f>
              <c:numCache>
                <c:formatCode>General</c:formatCode>
                <c:ptCount val="39"/>
                <c:pt idx="0">
                  <c:v>0.4559358925903262</c:v>
                </c:pt>
                <c:pt idx="1">
                  <c:v>0.45577535849474454</c:v>
                </c:pt>
                <c:pt idx="2">
                  <c:v>0.45583171936271943</c:v>
                </c:pt>
                <c:pt idx="3">
                  <c:v>0.45584578669337156</c:v>
                </c:pt>
                <c:pt idx="4">
                  <c:v>0.4564567462802044</c:v>
                </c:pt>
                <c:pt idx="5">
                  <c:v>0.4555149061631719</c:v>
                </c:pt>
                <c:pt idx="6">
                  <c:v>0.455854423028916</c:v>
                </c:pt>
                <c:pt idx="7">
                  <c:v>0.45537704015895036</c:v>
                </c:pt>
                <c:pt idx="8">
                  <c:v>0.4555100287800101</c:v>
                </c:pt>
                <c:pt idx="9">
                  <c:v>0.45590445925753414</c:v>
                </c:pt>
                <c:pt idx="10">
                  <c:v>0.455695137316499</c:v>
                </c:pt>
                <c:pt idx="11">
                  <c:v>0.4558082951359692</c:v>
                </c:pt>
                <c:pt idx="12">
                  <c:v>0.45715523586782136</c:v>
                </c:pt>
                <c:pt idx="13">
                  <c:v>0.4577862478104199</c:v>
                </c:pt>
                <c:pt idx="14">
                  <c:v>0.4587296748734791</c:v>
                </c:pt>
                <c:pt idx="15">
                  <c:v>0.45876874927922784</c:v>
                </c:pt>
                <c:pt idx="16">
                  <c:v>0.459138584478368</c:v>
                </c:pt>
                <c:pt idx="17">
                  <c:v>0.45865945422057325</c:v>
                </c:pt>
                <c:pt idx="18">
                  <c:v>0.46420286749596307</c:v>
                </c:pt>
                <c:pt idx="19">
                  <c:v>0.4606652358956038</c:v>
                </c:pt>
                <c:pt idx="20">
                  <c:v>0.46417992932176866</c:v>
                </c:pt>
                <c:pt idx="21">
                  <c:v>0.46007796255286</c:v>
                </c:pt>
                <c:pt idx="22">
                  <c:v>0.4709345579446468</c:v>
                </c:pt>
                <c:pt idx="23">
                  <c:v>0.4639104656616403</c:v>
                </c:pt>
                <c:pt idx="24">
                  <c:v>0.5358308690265734</c:v>
                </c:pt>
                <c:pt idx="25">
                  <c:v>0.47569275644220027</c:v>
                </c:pt>
                <c:pt idx="26">
                  <c:v>0.46317161871509693</c:v>
                </c:pt>
                <c:pt idx="27">
                  <c:v>0.5967255801919573</c:v>
                </c:pt>
                <c:pt idx="28">
                  <c:v>0.4774846515207846</c:v>
                </c:pt>
                <c:pt idx="29">
                  <c:v>0.45779901618823826</c:v>
                </c:pt>
                <c:pt idx="30">
                  <c:v>0.4568590005986272</c:v>
                </c:pt>
                <c:pt idx="31">
                  <c:v>0.4564428094785928</c:v>
                </c:pt>
                <c:pt idx="32">
                  <c:v>0.45602993302051503</c:v>
                </c:pt>
                <c:pt idx="33">
                  <c:v>0.4558539839711265</c:v>
                </c:pt>
                <c:pt idx="34">
                  <c:v>0.45579781744446857</c:v>
                </c:pt>
                <c:pt idx="35">
                  <c:v>0.4559094054943233</c:v>
                </c:pt>
                <c:pt idx="36">
                  <c:v>0.5134857802581291</c:v>
                </c:pt>
                <c:pt idx="37">
                  <c:v>0.5134857802581291</c:v>
                </c:pt>
                <c:pt idx="38">
                  <c:v>0.494554164071200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73684210526315"/>
          <c:min val="0.124675324675324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6238</c:v>
                </c:pt>
                <c:pt idx="1">
                  <c:v>313.0106</c:v>
                </c:pt>
                <c:pt idx="2">
                  <c:v>322.0</c:v>
                </c:pt>
                <c:pt idx="3">
                  <c:v>317.2235</c:v>
                </c:pt>
                <c:pt idx="4">
                  <c:v>310.8469</c:v>
                </c:pt>
                <c:pt idx="5">
                  <c:v>312.4625</c:v>
                </c:pt>
                <c:pt idx="6">
                  <c:v>304.4321</c:v>
                </c:pt>
                <c:pt idx="7">
                  <c:v>315.9474</c:v>
                </c:pt>
                <c:pt idx="8">
                  <c:v>314.7843</c:v>
                </c:pt>
                <c:pt idx="9">
                  <c:v>319.2836</c:v>
                </c:pt>
                <c:pt idx="10">
                  <c:v>309.7922</c:v>
                </c:pt>
                <c:pt idx="11">
                  <c:v>317.2877</c:v>
                </c:pt>
                <c:pt idx="12">
                  <c:v>321.1579</c:v>
                </c:pt>
                <c:pt idx="13">
                  <c:v>323.0</c:v>
                </c:pt>
                <c:pt idx="14">
                  <c:v>323.5361</c:v>
                </c:pt>
                <c:pt idx="15">
                  <c:v>320.4557</c:v>
                </c:pt>
                <c:pt idx="16">
                  <c:v>327.1364</c:v>
                </c:pt>
                <c:pt idx="17">
                  <c:v>325.1667</c:v>
                </c:pt>
                <c:pt idx="18">
                  <c:v>331.0417</c:v>
                </c:pt>
                <c:pt idx="19">
                  <c:v>334.766</c:v>
                </c:pt>
                <c:pt idx="20">
                  <c:v>334.825</c:v>
                </c:pt>
                <c:pt idx="21">
                  <c:v>332.7714</c:v>
                </c:pt>
                <c:pt idx="22">
                  <c:v>338.2</c:v>
                </c:pt>
                <c:pt idx="23">
                  <c:v>339.3</c:v>
                </c:pt>
                <c:pt idx="24">
                  <c:v>366.3061</c:v>
                </c:pt>
                <c:pt idx="25">
                  <c:v>352.1111</c:v>
                </c:pt>
                <c:pt idx="26">
                  <c:v>360.2857</c:v>
                </c:pt>
                <c:pt idx="27">
                  <c:v>361.7826</c:v>
                </c:pt>
                <c:pt idx="28">
                  <c:v>358.2</c:v>
                </c:pt>
                <c:pt idx="29">
                  <c:v>358.3191</c:v>
                </c:pt>
                <c:pt idx="30">
                  <c:v>367.0526</c:v>
                </c:pt>
                <c:pt idx="31">
                  <c:v>380.5556</c:v>
                </c:pt>
                <c:pt idx="32">
                  <c:v>378.7692</c:v>
                </c:pt>
                <c:pt idx="33">
                  <c:v>373.8028</c:v>
                </c:pt>
                <c:pt idx="34">
                  <c:v>389.9846</c:v>
                </c:pt>
                <c:pt idx="35">
                  <c:v>386.7302</c:v>
                </c:pt>
                <c:pt idx="36">
                  <c:v>386.3953</c:v>
                </c:pt>
                <c:pt idx="37">
                  <c:v>387.72</c:v>
                </c:pt>
                <c:pt idx="38">
                  <c:v>390.3784</c:v>
                </c:pt>
                <c:pt idx="39">
                  <c:v>402.2143</c:v>
                </c:pt>
                <c:pt idx="40">
                  <c:v>409.4444</c:v>
                </c:pt>
                <c:pt idx="41">
                  <c:v>388.1042</c:v>
                </c:pt>
                <c:pt idx="42">
                  <c:v>401.931</c:v>
                </c:pt>
                <c:pt idx="43">
                  <c:v>395.0704</c:v>
                </c:pt>
                <c:pt idx="44">
                  <c:v>363.3514</c:v>
                </c:pt>
                <c:pt idx="45">
                  <c:v>356.4659</c:v>
                </c:pt>
                <c:pt idx="46">
                  <c:v>359.7759</c:v>
                </c:pt>
                <c:pt idx="47">
                  <c:v>365.9273</c:v>
                </c:pt>
                <c:pt idx="48">
                  <c:v>370.1416</c:v>
                </c:pt>
                <c:pt idx="49">
                  <c:v>387.3763</c:v>
                </c:pt>
                <c:pt idx="50">
                  <c:v>384.9556</c:v>
                </c:pt>
                <c:pt idx="51">
                  <c:v>394.1</c:v>
                </c:pt>
                <c:pt idx="52">
                  <c:v>387.9828</c:v>
                </c:pt>
                <c:pt idx="53">
                  <c:v>400.3704</c:v>
                </c:pt>
                <c:pt idx="54">
                  <c:v>397.2222</c:v>
                </c:pt>
                <c:pt idx="55">
                  <c:v>401.5616</c:v>
                </c:pt>
                <c:pt idx="56">
                  <c:v>401.3553</c:v>
                </c:pt>
                <c:pt idx="57">
                  <c:v>389.8681</c:v>
                </c:pt>
                <c:pt idx="58">
                  <c:v>344.3937</c:v>
                </c:pt>
                <c:pt idx="59">
                  <c:v>398.1938</c:v>
                </c:pt>
                <c:pt idx="60">
                  <c:v>371.541</c:v>
                </c:pt>
                <c:pt idx="61">
                  <c:v>386.7033</c:v>
                </c:pt>
                <c:pt idx="62">
                  <c:v>370.8818</c:v>
                </c:pt>
                <c:pt idx="63">
                  <c:v>409.3304</c:v>
                </c:pt>
                <c:pt idx="64">
                  <c:v>402.2991</c:v>
                </c:pt>
                <c:pt idx="65">
                  <c:v>412.1356</c:v>
                </c:pt>
                <c:pt idx="66">
                  <c:v>392.2947</c:v>
                </c:pt>
                <c:pt idx="67">
                  <c:v>388.402</c:v>
                </c:pt>
                <c:pt idx="68">
                  <c:v>415.3333</c:v>
                </c:pt>
                <c:pt idx="69">
                  <c:v>404.6809</c:v>
                </c:pt>
                <c:pt idx="70">
                  <c:v>385.1961</c:v>
                </c:pt>
                <c:pt idx="71">
                  <c:v>418.0</c:v>
                </c:pt>
                <c:pt idx="72">
                  <c:v>446.2889</c:v>
                </c:pt>
                <c:pt idx="73">
                  <c:v>431.52</c:v>
                </c:pt>
                <c:pt idx="74">
                  <c:v>418.4333</c:v>
                </c:pt>
                <c:pt idx="75">
                  <c:v>408.6458</c:v>
                </c:pt>
                <c:pt idx="76">
                  <c:v>415.7018</c:v>
                </c:pt>
                <c:pt idx="77">
                  <c:v>399.0526</c:v>
                </c:pt>
                <c:pt idx="78">
                  <c:v>425.9048</c:v>
                </c:pt>
                <c:pt idx="79">
                  <c:v>425.8182</c:v>
                </c:pt>
                <c:pt idx="80">
                  <c:v>465.5614</c:v>
                </c:pt>
                <c:pt idx="81">
                  <c:v>441.9211</c:v>
                </c:pt>
                <c:pt idx="82">
                  <c:v>437.5152</c:v>
                </c:pt>
                <c:pt idx="83">
                  <c:v>415.129</c:v>
                </c:pt>
                <c:pt idx="84">
                  <c:v>437.2759</c:v>
                </c:pt>
                <c:pt idx="85">
                  <c:v>421.5714</c:v>
                </c:pt>
                <c:pt idx="86">
                  <c:v>438.6087</c:v>
                </c:pt>
                <c:pt idx="87">
                  <c:v>432.4167</c:v>
                </c:pt>
                <c:pt idx="88">
                  <c:v>449.0</c:v>
                </c:pt>
                <c:pt idx="89">
                  <c:v>429.6563</c:v>
                </c:pt>
                <c:pt idx="90">
                  <c:v>441.7273</c:v>
                </c:pt>
                <c:pt idx="91">
                  <c:v>452.9394</c:v>
                </c:pt>
                <c:pt idx="92">
                  <c:v>421.4038</c:v>
                </c:pt>
                <c:pt idx="93">
                  <c:v>433.1379</c:v>
                </c:pt>
                <c:pt idx="94">
                  <c:v>442.4773</c:v>
                </c:pt>
                <c:pt idx="95">
                  <c:v>436.6769</c:v>
                </c:pt>
                <c:pt idx="96">
                  <c:v>444.869</c:v>
                </c:pt>
                <c:pt idx="97">
                  <c:v>432.85</c:v>
                </c:pt>
                <c:pt idx="98">
                  <c:v>429.4878</c:v>
                </c:pt>
                <c:pt idx="99">
                  <c:v>426.8889</c:v>
                </c:pt>
                <c:pt idx="100">
                  <c:v>442.1111</c:v>
                </c:pt>
                <c:pt idx="101">
                  <c:v>434.958</c:v>
                </c:pt>
                <c:pt idx="102">
                  <c:v>452.5055</c:v>
                </c:pt>
                <c:pt idx="103">
                  <c:v>399.7059</c:v>
                </c:pt>
                <c:pt idx="104">
                  <c:v>402.963</c:v>
                </c:pt>
              </c:numCache>
            </c:numRef>
          </c:xVal>
          <c:yVal>
            <c:numRef>
              <c:f>Sheet1!$B$2:$B$106</c:f>
              <c:numCache>
                <c:formatCode>General</c:formatCode>
                <c:ptCount val="105"/>
                <c:pt idx="0">
                  <c:v>0.3389261744966443</c:v>
                </c:pt>
                <c:pt idx="1">
                  <c:v>0.29559748427672955</c:v>
                </c:pt>
                <c:pt idx="2">
                  <c:v>0.35855263157894735</c:v>
                </c:pt>
                <c:pt idx="3">
                  <c:v>0.3346456692913386</c:v>
                </c:pt>
                <c:pt idx="4">
                  <c:v>0.4188034188034188</c:v>
                </c:pt>
                <c:pt idx="5">
                  <c:v>0.3791469194312796</c:v>
                </c:pt>
                <c:pt idx="6">
                  <c:v>0.34913793103448276</c:v>
                </c:pt>
                <c:pt idx="7">
                  <c:v>0.3313953488372093</c:v>
                </c:pt>
                <c:pt idx="8">
                  <c:v>0.3469387755102041</c:v>
                </c:pt>
                <c:pt idx="9">
                  <c:v>0.34536082474226804</c:v>
                </c:pt>
                <c:pt idx="10">
                  <c:v>0.3452914798206278</c:v>
                </c:pt>
                <c:pt idx="11">
                  <c:v>0.33031674208144796</c:v>
                </c:pt>
                <c:pt idx="12">
                  <c:v>0.3153526970954357</c:v>
                </c:pt>
                <c:pt idx="13">
                  <c:v>0.32142857142857145</c:v>
                </c:pt>
                <c:pt idx="14">
                  <c:v>0.2878338278931751</c:v>
                </c:pt>
                <c:pt idx="15">
                  <c:v>0.27816901408450706</c:v>
                </c:pt>
                <c:pt idx="16">
                  <c:v>0.25882352941176473</c:v>
                </c:pt>
                <c:pt idx="17">
                  <c:v>0.28708133971291866</c:v>
                </c:pt>
                <c:pt idx="18">
                  <c:v>0.15584415584415584</c:v>
                </c:pt>
                <c:pt idx="19">
                  <c:v>0.21559633027522937</c:v>
                </c:pt>
                <c:pt idx="20">
                  <c:v>0.2</c:v>
                </c:pt>
                <c:pt idx="21">
                  <c:v>0.21604938271604937</c:v>
                </c:pt>
                <c:pt idx="22">
                  <c:v>0.2147239263803681</c:v>
                </c:pt>
                <c:pt idx="23">
                  <c:v>0.26143790849673204</c:v>
                </c:pt>
                <c:pt idx="24">
                  <c:v>0.35251798561151076</c:v>
                </c:pt>
                <c:pt idx="25">
                  <c:v>0.3191489361702128</c:v>
                </c:pt>
                <c:pt idx="26">
                  <c:v>0.2845528455284553</c:v>
                </c:pt>
                <c:pt idx="27">
                  <c:v>0.36220472440944884</c:v>
                </c:pt>
                <c:pt idx="28">
                  <c:v>0.3435114503816794</c:v>
                </c:pt>
                <c:pt idx="29">
                  <c:v>0.31756756756756754</c:v>
                </c:pt>
                <c:pt idx="30">
                  <c:v>0.34545454545454546</c:v>
                </c:pt>
                <c:pt idx="31">
                  <c:v>0.3564356435643564</c:v>
                </c:pt>
                <c:pt idx="32">
                  <c:v>0.3170731707317073</c:v>
                </c:pt>
                <c:pt idx="33">
                  <c:v>0.3622448979591837</c:v>
                </c:pt>
                <c:pt idx="34">
                  <c:v>0.37142857142857144</c:v>
                </c:pt>
                <c:pt idx="35">
                  <c:v>0.34615384615384615</c:v>
                </c:pt>
                <c:pt idx="36">
                  <c:v>0.35537190082644626</c:v>
                </c:pt>
                <c:pt idx="37">
                  <c:v>0.3472222222222222</c:v>
                </c:pt>
                <c:pt idx="38">
                  <c:v>0.296</c:v>
                </c:pt>
                <c:pt idx="39">
                  <c:v>0.38620689655172413</c:v>
                </c:pt>
                <c:pt idx="40">
                  <c:v>0.3333333333333333</c:v>
                </c:pt>
                <c:pt idx="41">
                  <c:v>0.3137254901960784</c:v>
                </c:pt>
                <c:pt idx="42">
                  <c:v>0.3352601156069364</c:v>
                </c:pt>
                <c:pt idx="43">
                  <c:v>0.3497536945812808</c:v>
                </c:pt>
                <c:pt idx="44">
                  <c:v>0.42165242165242167</c:v>
                </c:pt>
                <c:pt idx="45">
                  <c:v>0.44</c:v>
                </c:pt>
                <c:pt idx="46">
                  <c:v>0.45077720207253885</c:v>
                </c:pt>
                <c:pt idx="47">
                  <c:v>0.4263565891472868</c:v>
                </c:pt>
                <c:pt idx="48">
                  <c:v>0.3837011884550085</c:v>
                </c:pt>
                <c:pt idx="49">
                  <c:v>0.37032258064516127</c:v>
                </c:pt>
                <c:pt idx="50">
                  <c:v>0.3729281767955801</c:v>
                </c:pt>
                <c:pt idx="51">
                  <c:v>0.3448275862068966</c:v>
                </c:pt>
                <c:pt idx="52">
                  <c:v>0.3558282208588957</c:v>
                </c:pt>
                <c:pt idx="53">
                  <c:v>0.3564356435643564</c:v>
                </c:pt>
                <c:pt idx="54">
                  <c:v>0.3521739130434783</c:v>
                </c:pt>
                <c:pt idx="55">
                  <c:v>0.3476190476190476</c:v>
                </c:pt>
                <c:pt idx="56">
                  <c:v>0.3584905660377358</c:v>
                </c:pt>
                <c:pt idx="57">
                  <c:v>0.36693548387096775</c:v>
                </c:pt>
                <c:pt idx="58">
                  <c:v>0.4349315068493151</c:v>
                </c:pt>
                <c:pt idx="59">
                  <c:v>0.35054347826086957</c:v>
                </c:pt>
                <c:pt idx="60">
                  <c:v>0.32275132275132273</c:v>
                </c:pt>
                <c:pt idx="61">
                  <c:v>0.3760330578512397</c:v>
                </c:pt>
                <c:pt idx="62">
                  <c:v>0.3806228373702422</c:v>
                </c:pt>
                <c:pt idx="63">
                  <c:v>0.3848797250859107</c:v>
                </c:pt>
                <c:pt idx="64">
                  <c:v>0.4119718309859155</c:v>
                </c:pt>
                <c:pt idx="65">
                  <c:v>0.4573643410852713</c:v>
                </c:pt>
                <c:pt idx="66">
                  <c:v>0.4185022026431718</c:v>
                </c:pt>
                <c:pt idx="67">
                  <c:v>0.42857142857142855</c:v>
                </c:pt>
                <c:pt idx="68">
                  <c:v>0.4148936170212766</c:v>
                </c:pt>
                <c:pt idx="69">
                  <c:v>0.373015873015873</c:v>
                </c:pt>
                <c:pt idx="70">
                  <c:v>0.38345864661654133</c:v>
                </c:pt>
                <c:pt idx="71">
                  <c:v>0.3333333333333333</c:v>
                </c:pt>
                <c:pt idx="72">
                  <c:v>0.4017857142857143</c:v>
                </c:pt>
                <c:pt idx="73">
                  <c:v>0.423728813559322</c:v>
                </c:pt>
                <c:pt idx="74">
                  <c:v>0.4444444444444444</c:v>
                </c:pt>
                <c:pt idx="75">
                  <c:v>0.43243243243243246</c:v>
                </c:pt>
                <c:pt idx="76">
                  <c:v>0.4830508474576271</c:v>
                </c:pt>
                <c:pt idx="77">
                  <c:v>0.5229357798165137</c:v>
                </c:pt>
                <c:pt idx="78">
                  <c:v>0.42</c:v>
                </c:pt>
                <c:pt idx="79">
                  <c:v>0.4489795918367347</c:v>
                </c:pt>
                <c:pt idx="80">
                  <c:v>0.456</c:v>
                </c:pt>
                <c:pt idx="81">
                  <c:v>0.4175824175824176</c:v>
                </c:pt>
                <c:pt idx="82">
                  <c:v>0.4647887323943662</c:v>
                </c:pt>
                <c:pt idx="83">
                  <c:v>0.43661971830985913</c:v>
                </c:pt>
                <c:pt idx="84">
                  <c:v>0.4264705882352941</c:v>
                </c:pt>
                <c:pt idx="85">
                  <c:v>0.4430379746835443</c:v>
                </c:pt>
                <c:pt idx="86">
                  <c:v>0.4380952380952381</c:v>
                </c:pt>
                <c:pt idx="87">
                  <c:v>0.43243243243243246</c:v>
                </c:pt>
                <c:pt idx="88">
                  <c:v>0.3698630136986301</c:v>
                </c:pt>
                <c:pt idx="89">
                  <c:v>0.41025641025641024</c:v>
                </c:pt>
                <c:pt idx="90">
                  <c:v>0.44594594594594594</c:v>
                </c:pt>
                <c:pt idx="91">
                  <c:v>0.39285714285714285</c:v>
                </c:pt>
                <c:pt idx="92">
                  <c:v>0.5</c:v>
                </c:pt>
                <c:pt idx="93">
                  <c:v>0.44274809160305345</c:v>
                </c:pt>
                <c:pt idx="94">
                  <c:v>0.43137254901960786</c:v>
                </c:pt>
                <c:pt idx="95">
                  <c:v>0.45774647887323944</c:v>
                </c:pt>
                <c:pt idx="96">
                  <c:v>0.45161290322580644</c:v>
                </c:pt>
                <c:pt idx="97">
                  <c:v>0.425531914893617</c:v>
                </c:pt>
                <c:pt idx="98">
                  <c:v>0.41414141414141414</c:v>
                </c:pt>
                <c:pt idx="99">
                  <c:v>0.4110576923076923</c:v>
                </c:pt>
                <c:pt idx="100">
                  <c:v>0.44612068965517243</c:v>
                </c:pt>
                <c:pt idx="101">
                  <c:v>0.449685534591195</c:v>
                </c:pt>
                <c:pt idx="102">
                  <c:v>0.4666666666666667</c:v>
                </c:pt>
                <c:pt idx="103">
                  <c:v>0.4700460829493088</c:v>
                </c:pt>
                <c:pt idx="104">
                  <c:v>0.473684210526315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54</c:f>
              <c:numCache>
                <c:formatCode>General</c:formatCode>
                <c:ptCount val="46"/>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36.4865</c:v>
                </c:pt>
                <c:pt idx="31">
                  <c:v>433.1867</c:v>
                </c:pt>
                <c:pt idx="32">
                  <c:v>349.0328</c:v>
                </c:pt>
                <c:pt idx="33">
                  <c:v>432.9512</c:v>
                </c:pt>
                <c:pt idx="34">
                  <c:v>435.0213</c:v>
                </c:pt>
                <c:pt idx="35">
                  <c:v>458.1042</c:v>
                </c:pt>
                <c:pt idx="36">
                  <c:v>434.1961</c:v>
                </c:pt>
                <c:pt idx="37">
                  <c:v>457.8039</c:v>
                </c:pt>
                <c:pt idx="38">
                  <c:v>368.717</c:v>
                </c:pt>
                <c:pt idx="39">
                  <c:v>444.4787</c:v>
                </c:pt>
                <c:pt idx="40">
                  <c:v>412.5922</c:v>
                </c:pt>
                <c:pt idx="41">
                  <c:v>424.4505</c:v>
                </c:pt>
                <c:pt idx="42">
                  <c:v>412.9315</c:v>
                </c:pt>
                <c:pt idx="43">
                  <c:v>429.8012</c:v>
                </c:pt>
                <c:pt idx="44">
                  <c:v>444.7236</c:v>
                </c:pt>
                <c:pt idx="45">
                  <c:v>449.5857</c:v>
                </c:pt>
              </c:numCache>
            </c:numRef>
          </c:xVal>
          <c:yVal>
            <c:numRef>
              <c:f>Sheet1!$B$109:$B$154</c:f>
              <c:numCache>
                <c:formatCode>General</c:formatCode>
                <c:ptCount val="46"/>
                <c:pt idx="0">
                  <c:v>0.4482758620689655</c:v>
                </c:pt>
                <c:pt idx="1">
                  <c:v>0.484304932735426</c:v>
                </c:pt>
                <c:pt idx="2">
                  <c:v>0.4380165289256198</c:v>
                </c:pt>
                <c:pt idx="3">
                  <c:v>0.4637096774193548</c:v>
                </c:pt>
                <c:pt idx="4">
                  <c:v>0.4555984555984556</c:v>
                </c:pt>
                <c:pt idx="5">
                  <c:v>0.4305555555555556</c:v>
                </c:pt>
                <c:pt idx="6">
                  <c:v>0.4652014652014652</c:v>
                </c:pt>
                <c:pt idx="7">
                  <c:v>0.5240384615384616</c:v>
                </c:pt>
                <c:pt idx="8">
                  <c:v>0.46825396825396826</c:v>
                </c:pt>
                <c:pt idx="9">
                  <c:v>0.42962962962962964</c:v>
                </c:pt>
                <c:pt idx="10">
                  <c:v>0.4476744186046512</c:v>
                </c:pt>
                <c:pt idx="11">
                  <c:v>0.39267015706806285</c:v>
                </c:pt>
                <c:pt idx="12">
                  <c:v>0.35668789808917195</c:v>
                </c:pt>
                <c:pt idx="13">
                  <c:v>0.4076086956521739</c:v>
                </c:pt>
                <c:pt idx="14">
                  <c:v>0.3770491803278688</c:v>
                </c:pt>
                <c:pt idx="15">
                  <c:v>0.3900709219858156</c:v>
                </c:pt>
                <c:pt idx="16">
                  <c:v>0.4065040650406504</c:v>
                </c:pt>
                <c:pt idx="17">
                  <c:v>0.4</c:v>
                </c:pt>
                <c:pt idx="18">
                  <c:v>0.4074074074074074</c:v>
                </c:pt>
                <c:pt idx="19">
                  <c:v>0.45132743362831856</c:v>
                </c:pt>
                <c:pt idx="20">
                  <c:v>0.5178571428571429</c:v>
                </c:pt>
                <c:pt idx="21">
                  <c:v>0.5119047619047619</c:v>
                </c:pt>
                <c:pt idx="22">
                  <c:v>0.4675324675324675</c:v>
                </c:pt>
                <c:pt idx="23">
                  <c:v>0.5074626865671642</c:v>
                </c:pt>
                <c:pt idx="24">
                  <c:v>0.5057471264367817</c:v>
                </c:pt>
                <c:pt idx="25">
                  <c:v>0.5894736842105263</c:v>
                </c:pt>
                <c:pt idx="26">
                  <c:v>0.49333333333333335</c:v>
                </c:pt>
                <c:pt idx="27">
                  <c:v>0.5</c:v>
                </c:pt>
                <c:pt idx="28">
                  <c:v>0.4945054945054945</c:v>
                </c:pt>
                <c:pt idx="29">
                  <c:v>0.5168539325842697</c:v>
                </c:pt>
                <c:pt idx="30">
                  <c:v>0.5211267605633803</c:v>
                </c:pt>
                <c:pt idx="31">
                  <c:v>0.5172413793103449</c:v>
                </c:pt>
                <c:pt idx="32">
                  <c:v>0.5596330275229358</c:v>
                </c:pt>
                <c:pt idx="33">
                  <c:v>0.5394736842105263</c:v>
                </c:pt>
                <c:pt idx="34">
                  <c:v>0.5802469135802469</c:v>
                </c:pt>
                <c:pt idx="35">
                  <c:v>0.5161290322580645</c:v>
                </c:pt>
                <c:pt idx="36">
                  <c:v>0.49514563106796117</c:v>
                </c:pt>
                <c:pt idx="37">
                  <c:v>0.51</c:v>
                </c:pt>
                <c:pt idx="38">
                  <c:v>0.5096153846153846</c:v>
                </c:pt>
                <c:pt idx="39">
                  <c:v>0.49214659685863876</c:v>
                </c:pt>
                <c:pt idx="40">
                  <c:v>0.4681818181818182</c:v>
                </c:pt>
                <c:pt idx="41">
                  <c:v>0.4642857142857143</c:v>
                </c:pt>
                <c:pt idx="42">
                  <c:v>0.5069444444444444</c:v>
                </c:pt>
                <c:pt idx="43">
                  <c:v>0.47107438016528924</c:v>
                </c:pt>
                <c:pt idx="44">
                  <c:v>0.49379652605459057</c:v>
                </c:pt>
                <c:pt idx="45">
                  <c:v>0.5343511450381679</c:v>
                </c:pt>
              </c:numCache>
            </c:numRef>
          </c:yVal>
          <c:smooth val="0"/>
          <c:extLst>
            <c:ext xmlns:c16="http://schemas.microsoft.com/office/drawing/2014/chart" uri="{C3380CC4-5D6E-409C-BE32-E72D297353CC}">
              <c16:uniqueId val="{00000002-F32D-48B7-BC20-E66FC6253BAD}"/>
            </c:ext>
          </c:extLst>
        </c:ser>
        <c:ser>
          <c:idx val="2"/>
          <c:order val="2"/>
          <c:tx>
            <c:strRef>
              <c:f>Sheet1!$B$156</c:f>
              <c:strCache>
                <c:ptCount val="1"/>
                <c:pt idx="0">
                  <c:v>Custom Linep3yQ</c:v>
                </c:pt>
              </c:strCache>
            </c:strRef>
          </c:tx>
          <c:spPr>
            <a:ln w="19050" cap="rnd">
              <a:solidFill>
                <a:srgbClr val="C00000"/>
              </a:solidFill>
              <a:prstDash val="sysDot"/>
              <a:round/>
            </a:ln>
            <a:effectLst/>
          </c:spPr>
          <c:marker>
            <c:symbol val="none"/>
          </c:marker>
          <c:xVal>
            <c:numRef>
              <c:f>Sheet1!$A$157:$A$158</c:f>
              <c:numCache>
                <c:formatCode>General</c:formatCode>
                <c:ptCount val="2"/>
                <c:pt idx="0">
                  <c:v>0</c:v>
                </c:pt>
                <c:pt idx="1">
                  <c:v>385.0148336016373</c:v>
                </c:pt>
              </c:numCache>
            </c:numRef>
          </c:xVal>
          <c:yVal>
            <c:numRef>
              <c:f>Sheet1!$B$157:$B$158</c:f>
              <c:numCache>
                <c:formatCode>General</c:formatCode>
                <c:ptCount val="2"/>
                <c:pt idx="0">
                  <c:v>0.5134857802581291</c:v>
                </c:pt>
                <c:pt idx="1">
                  <c:v>0.5134857802581291</c:v>
                </c:pt>
              </c:numCache>
            </c:numRef>
          </c:yVal>
          <c:smooth val="0"/>
          <c:extLst>
            <c:ext xmlns:c16="http://schemas.microsoft.com/office/drawing/2014/chart" uri="{C3380CC4-5D6E-409C-BE32-E72D297353CC}">
              <c16:uniqueId val="{00000003-F32D-48B7-BC20-E66FC6253BAD}"/>
            </c:ext>
          </c:extLst>
        </c:ser>
        <c:ser>
          <c:idx val="3"/>
          <c:order val="3"/>
          <c:tx>
            <c:strRef>
              <c:f>Sheet1!$B$1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385.0148336016373</c:v>
                </c:pt>
                <c:pt idx="1">
                  <c:v>385.0148336016373</c:v>
                </c:pt>
              </c:numCache>
            </c:numRef>
          </c:xVal>
          <c:yVal>
            <c:numRef>
              <c:f>Sheet1!$B$161:$B$162</c:f>
              <c:numCache>
                <c:formatCode>General</c:formatCode>
                <c:ptCount val="2"/>
                <c:pt idx="0">
                  <c:v>0.51348578025812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5:$A$166</c:f>
              <c:numCache>
                <c:formatCode>General</c:formatCode>
                <c:ptCount val="2"/>
                <c:pt idx="0">
                  <c:v>0</c:v>
                </c:pt>
                <c:pt idx="1">
                  <c:v>385.0148336016373</c:v>
                </c:pt>
              </c:numCache>
            </c:numRef>
          </c:xVal>
          <c:yVal>
            <c:numRef>
              <c:f>Sheet1!$B$165:$B$166</c:f>
              <c:numCache>
                <c:formatCode>General</c:formatCode>
                <c:ptCount val="2"/>
                <c:pt idx="0">
                  <c:v>0.5134857802581291</c:v>
                </c:pt>
                <c:pt idx="1">
                  <c:v>0.5134857802581291</c:v>
                </c:pt>
              </c:numCache>
            </c:numRef>
          </c:yVal>
          <c:smooth val="0"/>
          <c:extLst>
            <c:ext xmlns:c16="http://schemas.microsoft.com/office/drawing/2014/chart" uri="{C3380CC4-5D6E-409C-BE32-E72D297353CC}">
              <c16:uniqueId val="{0000000A-F32D-48B7-BC20-E66FC6253BAD}"/>
            </c:ext>
          </c:extLst>
        </c:ser>
        <c:ser>
          <c:idx val="5"/>
          <c:order val="5"/>
          <c:tx>
            <c:strRef>
              <c:f>Sheet1!$B$1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85.0148336016373</c:v>
                </c:pt>
                <c:pt idx="1">
                  <c:v>385.0148336016373</c:v>
                </c:pt>
              </c:numCache>
            </c:numRef>
          </c:xVal>
          <c:yVal>
            <c:numRef>
              <c:f>Sheet1!$B$169:$B$170</c:f>
              <c:numCache>
                <c:formatCode>General</c:formatCode>
                <c:ptCount val="2"/>
                <c:pt idx="0">
                  <c:v>0.51348578025812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3:$A$174</c:f>
              <c:numCache>
                <c:formatCode>General</c:formatCode>
                <c:ptCount val="2"/>
                <c:pt idx="0">
                  <c:v>0</c:v>
                </c:pt>
                <c:pt idx="1">
                  <c:v>407.3363570900245</c:v>
                </c:pt>
              </c:numCache>
            </c:numRef>
          </c:xVal>
          <c:yVal>
            <c:numRef>
              <c:f>Sheet1!$B$173:$B$174</c:f>
              <c:numCache>
                <c:formatCode>General</c:formatCode>
                <c:ptCount val="2"/>
                <c:pt idx="0">
                  <c:v>0.4945541640712009</c:v>
                </c:pt>
                <c:pt idx="1">
                  <c:v>0.4945541640712009</c:v>
                </c:pt>
              </c:numCache>
            </c:numRef>
          </c:yVal>
          <c:smooth val="0"/>
          <c:extLst>
            <c:ext xmlns:c16="http://schemas.microsoft.com/office/drawing/2014/chart" uri="{C3380CC4-5D6E-409C-BE32-E72D297353CC}">
              <c16:uniqueId val="{00000011-F32D-48B7-BC20-E66FC6253BAD}"/>
            </c:ext>
          </c:extLst>
        </c:ser>
        <c:ser>
          <c:idx val="7"/>
          <c:order val="7"/>
          <c:tx>
            <c:strRef>
              <c:f>Sheet1!$B$17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7:$A$178</c:f>
              <c:numCache>
                <c:formatCode>General</c:formatCode>
                <c:ptCount val="2"/>
                <c:pt idx="0">
                  <c:v>407.3363570900245</c:v>
                </c:pt>
                <c:pt idx="1">
                  <c:v>407.3363570900245</c:v>
                </c:pt>
              </c:numCache>
            </c:numRef>
          </c:xVal>
          <c:yVal>
            <c:numRef>
              <c:f>Sheet1!$B$177:$B$178</c:f>
              <c:numCache>
                <c:formatCode>General</c:formatCode>
                <c:ptCount val="2"/>
                <c:pt idx="0">
                  <c:v>0.494554164071200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1:$A$229</c:f>
              <c:numCache>
                <c:formatCode>General</c:formatCode>
                <c:ptCount val="49"/>
                <c:pt idx="0">
                  <c:v>436.7582</c:v>
                </c:pt>
                <c:pt idx="1">
                  <c:v>433.2778</c:v>
                </c:pt>
                <c:pt idx="2">
                  <c:v>448.7264</c:v>
                </c:pt>
                <c:pt idx="3">
                  <c:v>454.5217</c:v>
                </c:pt>
                <c:pt idx="4">
                  <c:v>452.9068</c:v>
                </c:pt>
                <c:pt idx="5">
                  <c:v>447.3871</c:v>
                </c:pt>
                <c:pt idx="6">
                  <c:v>429.4173</c:v>
                </c:pt>
                <c:pt idx="7">
                  <c:v>403.7982</c:v>
                </c:pt>
                <c:pt idx="8">
                  <c:v>450.4746</c:v>
                </c:pt>
                <c:pt idx="9">
                  <c:v>439.0</c:v>
                </c:pt>
                <c:pt idx="10">
                  <c:v>425.3636</c:v>
                </c:pt>
                <c:pt idx="11">
                  <c:v>453.9333</c:v>
                </c:pt>
                <c:pt idx="12">
                  <c:v>464.8929</c:v>
                </c:pt>
                <c:pt idx="13">
                  <c:v>459.0267</c:v>
                </c:pt>
                <c:pt idx="14">
                  <c:v>463.5507</c:v>
                </c:pt>
                <c:pt idx="15">
                  <c:v>469.4545</c:v>
                </c:pt>
                <c:pt idx="16">
                  <c:v>483.8</c:v>
                </c:pt>
                <c:pt idx="17">
                  <c:v>425.8571</c:v>
                </c:pt>
                <c:pt idx="18">
                  <c:v>444.3636</c:v>
                </c:pt>
                <c:pt idx="19">
                  <c:v>422.7059</c:v>
                </c:pt>
                <c:pt idx="20">
                  <c:v>401.1552</c:v>
                </c:pt>
                <c:pt idx="21">
                  <c:v>383.0698</c:v>
                </c:pt>
                <c:pt idx="22">
                  <c:v>432.7778</c:v>
                </c:pt>
                <c:pt idx="23">
                  <c:v>418.3235</c:v>
                </c:pt>
                <c:pt idx="24">
                  <c:v>415.6364</c:v>
                </c:pt>
                <c:pt idx="25">
                  <c:v>251.1429</c:v>
                </c:pt>
                <c:pt idx="26">
                  <c:v>390.6486</c:v>
                </c:pt>
                <c:pt idx="27">
                  <c:v>422.4</c:v>
                </c:pt>
                <c:pt idx="28">
                  <c:v>433.7111</c:v>
                </c:pt>
                <c:pt idx="29">
                  <c:v>423.1522</c:v>
                </c:pt>
                <c:pt idx="30">
                  <c:v>436.4865</c:v>
                </c:pt>
                <c:pt idx="31">
                  <c:v>433.1867</c:v>
                </c:pt>
                <c:pt idx="32">
                  <c:v>349.0328</c:v>
                </c:pt>
                <c:pt idx="33">
                  <c:v>432.9512</c:v>
                </c:pt>
                <c:pt idx="34">
                  <c:v>435.0213</c:v>
                </c:pt>
                <c:pt idx="35">
                  <c:v>458.1042</c:v>
                </c:pt>
                <c:pt idx="36">
                  <c:v>434.1961</c:v>
                </c:pt>
                <c:pt idx="37">
                  <c:v>457.8039</c:v>
                </c:pt>
                <c:pt idx="38">
                  <c:v>368.717</c:v>
                </c:pt>
                <c:pt idx="39">
                  <c:v>444.4787</c:v>
                </c:pt>
                <c:pt idx="40">
                  <c:v>412.5922</c:v>
                </c:pt>
                <c:pt idx="41">
                  <c:v>424.4505</c:v>
                </c:pt>
                <c:pt idx="42">
                  <c:v>412.9315</c:v>
                </c:pt>
                <c:pt idx="43">
                  <c:v>429.8012</c:v>
                </c:pt>
                <c:pt idx="44">
                  <c:v>444.7236</c:v>
                </c:pt>
                <c:pt idx="45">
                  <c:v>449.5857</c:v>
                </c:pt>
                <c:pt idx="46">
                  <c:v>385.0148336016373</c:v>
                </c:pt>
                <c:pt idx="47">
                  <c:v>385.0148336016373</c:v>
                </c:pt>
                <c:pt idx="48">
                  <c:v>407.3363570900245</c:v>
                </c:pt>
              </c:numCache>
            </c:numRef>
          </c:xVal>
          <c:yVal>
            <c:numRef>
              <c:f>Sheet1!$B$181:$B$229</c:f>
              <c:numCache>
                <c:formatCode>General</c:formatCode>
                <c:ptCount val="49"/>
                <c:pt idx="0">
                  <c:v>0.46960053410174424</c:v>
                </c:pt>
                <c:pt idx="1">
                  <c:v>0.47255237549425777</c:v>
                </c:pt>
                <c:pt idx="2">
                  <c:v>0.4594499111406246</c:v>
                </c:pt>
                <c:pt idx="3">
                  <c:v>0.4545347271324549</c:v>
                </c:pt>
                <c:pt idx="4">
                  <c:v>0.45590437678903756</c:v>
                </c:pt>
                <c:pt idx="5">
                  <c:v>0.460585815397892</c:v>
                </c:pt>
                <c:pt idx="6">
                  <c:v>0.4758265921635482</c:v>
                </c:pt>
                <c:pt idx="7">
                  <c:v>0.49755499114612034</c:v>
                </c:pt>
                <c:pt idx="8">
                  <c:v>0.45796720538197844</c:v>
                </c:pt>
                <c:pt idx="9">
                  <c:v>0.4676991899936713</c:v>
                </c:pt>
                <c:pt idx="10">
                  <c:v>0.479264668089543</c:v>
                </c:pt>
                <c:pt idx="11">
                  <c:v>0.4550337684711962</c:v>
                </c:pt>
                <c:pt idx="12">
                  <c:v>0.44573857225082164</c:v>
                </c:pt>
                <c:pt idx="13">
                  <c:v>0.4507138888744175</c:v>
                </c:pt>
                <c:pt idx="14">
                  <c:v>0.44687693609320517</c:v>
                </c:pt>
                <c:pt idx="15">
                  <c:v>0.4418697296763791</c:v>
                </c:pt>
                <c:pt idx="16">
                  <c:v>0.42970284061296593</c:v>
                </c:pt>
                <c:pt idx="17">
                  <c:v>0.47884611455339615</c:v>
                </c:pt>
                <c:pt idx="18">
                  <c:v>0.46315014491469025</c:v>
                </c:pt>
                <c:pt idx="19">
                  <c:v>0.48151875062858546</c:v>
                </c:pt>
                <c:pt idx="20">
                  <c:v>0.49979660613302224</c:v>
                </c:pt>
                <c:pt idx="21">
                  <c:v>0.5151354270502055</c:v>
                </c:pt>
                <c:pt idx="22">
                  <c:v>0.472976441893596</c:v>
                </c:pt>
                <c:pt idx="23">
                  <c:v>0.4852356078055051</c:v>
                </c:pt>
                <c:pt idx="24">
                  <c:v>0.4875146254488287</c:v>
                </c:pt>
                <c:pt idx="25">
                  <c:v>0.6270269579679149</c:v>
                </c:pt>
                <c:pt idx="26">
                  <c:v>0.5087075981955963</c:v>
                </c:pt>
                <c:pt idx="27">
                  <c:v>0.48177819445170056</c:v>
                </c:pt>
                <c:pt idx="28">
                  <c:v>0.47218487955259125</c:v>
                </c:pt>
                <c:pt idx="29">
                  <c:v>0.48114022896053615</c:v>
                </c:pt>
                <c:pt idx="30">
                  <c:v>0.46983097178314465</c:v>
                </c:pt>
                <c:pt idx="31">
                  <c:v>0.4726296403922172</c:v>
                </c:pt>
                <c:pt idx="32">
                  <c:v>0.5440033231187561</c:v>
                </c:pt>
                <c:pt idx="33">
                  <c:v>0.4728293756663055</c:v>
                </c:pt>
                <c:pt idx="34">
                  <c:v>0.47107365595976536</c:v>
                </c:pt>
                <c:pt idx="35">
                  <c:v>0.4514962913811965</c:v>
                </c:pt>
                <c:pt idx="36">
                  <c:v>0.4717735351452332</c:v>
                </c:pt>
                <c:pt idx="37">
                  <c:v>0.45175098566063904</c:v>
                </c:pt>
                <c:pt idx="38">
                  <c:v>0.527308507483049</c:v>
                </c:pt>
                <c:pt idx="39">
                  <c:v>0.4630525248295626</c:v>
                </c:pt>
                <c:pt idx="40">
                  <c:v>0.49009651131455956</c:v>
                </c:pt>
                <c:pt idx="41">
                  <c:v>0.4800390981480145</c:v>
                </c:pt>
                <c:pt idx="42">
                  <c:v>0.48980873985596857</c:v>
                </c:pt>
                <c:pt idx="43">
                  <c:v>0.47550099398213636</c:v>
                </c:pt>
                <c:pt idx="44">
                  <c:v>0.46284481710716674</c:v>
                </c:pt>
                <c:pt idx="45">
                  <c:v>0.45872111062672194</c:v>
                </c:pt>
                <c:pt idx="46">
                  <c:v>0.5134857802581291</c:v>
                </c:pt>
                <c:pt idx="47">
                  <c:v>0.5134857802581291</c:v>
                </c:pt>
                <c:pt idx="48">
                  <c:v>0.494554164071200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1.0"/>
          <c:min val="20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73684210526315"/>
          <c:min val="0.124675324675324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54082340430644</c:v>
                </c:pt>
                <c:pt idx="1">
                  <c:v>0.5971862045223754</c:v>
                </c:pt>
                <c:pt idx="2">
                  <c:v>0.5985422720180427</c:v>
                </c:pt>
                <c:pt idx="3">
                  <c:v>0.6162295736296681</c:v>
                </c:pt>
                <c:pt idx="4">
                  <c:v>0.6327207345216898</c:v>
                </c:pt>
                <c:pt idx="5">
                  <c:v>0.6326626807890952</c:v>
                </c:pt>
                <c:pt idx="6">
                  <c:v>0.5634242660696284</c:v>
                </c:pt>
                <c:pt idx="7">
                  <c:v>0.5971027518692025</c:v>
                </c:pt>
                <c:pt idx="8">
                  <c:v>0.5861782199776681</c:v>
                </c:pt>
                <c:pt idx="9">
                  <c:v>0.6227326603499267</c:v>
                </c:pt>
                <c:pt idx="10">
                  <c:v>0.6326418696409909</c:v>
                </c:pt>
                <c:pt idx="11">
                  <c:v>0.6588921990732599</c:v>
                </c:pt>
                <c:pt idx="12">
                  <c:v>0.6674644387058646</c:v>
                </c:pt>
                <c:pt idx="13">
                  <c:v>0.6590657205448686</c:v>
                </c:pt>
                <c:pt idx="14">
                  <c:v>0.663844086106657</c:v>
                </c:pt>
                <c:pt idx="15">
                  <c:v>0.6614110181117452</c:v>
                </c:pt>
                <c:pt idx="16">
                  <c:v>0.6576787852069752</c:v>
                </c:pt>
                <c:pt idx="17">
                  <c:v>0.6778543300720763</c:v>
                </c:pt>
                <c:pt idx="18">
                  <c:v>0.6744712534243522</c:v>
                </c:pt>
                <c:pt idx="19">
                  <c:v>0.6788900998206738</c:v>
                </c:pt>
                <c:pt idx="20">
                  <c:v>0.6820570986774669</c:v>
                </c:pt>
                <c:pt idx="21">
                  <c:v>0.6549449799036525</c:v>
                </c:pt>
                <c:pt idx="22">
                  <c:v>0.5372050688161697</c:v>
                </c:pt>
                <c:pt idx="23">
                  <c:v>0.541723414646672</c:v>
                </c:pt>
                <c:pt idx="24">
                  <c:v>0.5710995935534997</c:v>
                </c:pt>
                <c:pt idx="25">
                  <c:v>0.4746092027803323</c:v>
                </c:pt>
                <c:pt idx="26">
                  <c:v>0.4511217097490997</c:v>
                </c:pt>
                <c:pt idx="27">
                  <c:v>0.46790351277092135</c:v>
                </c:pt>
                <c:pt idx="28">
                  <c:v>0.43501849578205826</c:v>
                </c:pt>
                <c:pt idx="29">
                  <c:v>0.4470887811518512</c:v>
                </c:pt>
                <c:pt idx="30">
                  <c:v>0.44122753534108355</c:v>
                </c:pt>
                <c:pt idx="31">
                  <c:v>0.40561597698524055</c:v>
                </c:pt>
                <c:pt idx="32">
                  <c:v>0.4408701546071185</c:v>
                </c:pt>
                <c:pt idx="33">
                  <c:v>0.4253388476938047</c:v>
                </c:pt>
                <c:pt idx="34">
                  <c:v>0.44622902069292325</c:v>
                </c:pt>
                <c:pt idx="35">
                  <c:v>0.4684477681760655</c:v>
                </c:pt>
                <c:pt idx="36">
                  <c:v>0.5057668182296338</c:v>
                </c:pt>
                <c:pt idx="37">
                  <c:v>0.5130410759289311</c:v>
                </c:pt>
                <c:pt idx="38">
                  <c:v>0.5240102913063963</c:v>
                </c:pt>
                <c:pt idx="39">
                  <c:v>0.5426180365813335</c:v>
                </c:pt>
                <c:pt idx="40">
                  <c:v>0.5318576471910719</c:v>
                </c:pt>
                <c:pt idx="41">
                  <c:v>0.5237456421205634</c:v>
                </c:pt>
                <c:pt idx="42">
                  <c:v>0.5679021520500515</c:v>
                </c:pt>
                <c:pt idx="43">
                  <c:v>0.5770128846054815</c:v>
                </c:pt>
                <c:pt idx="44">
                  <c:v>0.5663469995531885</c:v>
                </c:pt>
                <c:pt idx="45">
                  <c:v>0.5807561683022865</c:v>
                </c:pt>
                <c:pt idx="46">
                  <c:v>0.5844024608910356</c:v>
                </c:pt>
                <c:pt idx="47">
                  <c:v>0.6128823945943095</c:v>
                </c:pt>
                <c:pt idx="48">
                  <c:v>0.6277913844237778</c:v>
                </c:pt>
                <c:pt idx="49">
                  <c:v>0.6215726481393299</c:v>
                </c:pt>
                <c:pt idx="50">
                  <c:v>0.5732258276301976</c:v>
                </c:pt>
                <c:pt idx="51">
                  <c:v>0.6105429247311319</c:v>
                </c:pt>
                <c:pt idx="52">
                  <c:v>0.6377313445460723</c:v>
                </c:pt>
                <c:pt idx="53">
                  <c:v>0.620930949948315</c:v>
                </c:pt>
                <c:pt idx="54">
                  <c:v>0.5789574812516111</c:v>
                </c:pt>
                <c:pt idx="55">
                  <c:v>0.5959658052429203</c:v>
                </c:pt>
                <c:pt idx="56">
                  <c:v>0.5860484973210679</c:v>
                </c:pt>
                <c:pt idx="57">
                  <c:v>0.596838790216258</c:v>
                </c:pt>
                <c:pt idx="58">
                  <c:v>0.6294213519518355</c:v>
                </c:pt>
                <c:pt idx="59">
                  <c:v>0.6365889653036565</c:v>
                </c:pt>
                <c:pt idx="60">
                  <c:v>0.6236476917373989</c:v>
                </c:pt>
                <c:pt idx="61">
                  <c:v>0.672182273115705</c:v>
                </c:pt>
                <c:pt idx="62">
                  <c:v>0.6276800150531311</c:v>
                </c:pt>
                <c:pt idx="63">
                  <c:v>0.6455198961934715</c:v>
                </c:pt>
                <c:pt idx="64">
                  <c:v>0.6963298006100817</c:v>
                </c:pt>
                <c:pt idx="65">
                  <c:v>0.6914229046200121</c:v>
                </c:pt>
                <c:pt idx="66">
                  <c:v>0.7245181834280471</c:v>
                </c:pt>
                <c:pt idx="67">
                  <c:v>0.732489776306583</c:v>
                </c:pt>
                <c:pt idx="68">
                  <c:v>0.7054441062268383</c:v>
                </c:pt>
                <c:pt idx="69">
                  <c:v>0.6868481407717615</c:v>
                </c:pt>
                <c:pt idx="70">
                  <c:v>0.6957085632296098</c:v>
                </c:pt>
                <c:pt idx="71">
                  <c:v>0.6986043954127245</c:v>
                </c:pt>
                <c:pt idx="72">
                  <c:v>0.669852140427667</c:v>
                </c:pt>
                <c:pt idx="73">
                  <c:v>0.6567339332043954</c:v>
                </c:pt>
                <c:pt idx="74">
                  <c:v>0.6507075279526545</c:v>
                </c:pt>
                <c:pt idx="75">
                  <c:v>0.6109779108593881</c:v>
                </c:pt>
                <c:pt idx="76">
                  <c:v>0.5585294630171626</c:v>
                </c:pt>
                <c:pt idx="77">
                  <c:v>0.5043346746364671</c:v>
                </c:pt>
                <c:pt idx="78">
                  <c:v>0.6184501215498672</c:v>
                </c:pt>
                <c:pt idx="79">
                  <c:v>0.5997435625987073</c:v>
                </c:pt>
                <c:pt idx="80">
                  <c:v>0.6121747107639919</c:v>
                </c:pt>
                <c:pt idx="81">
                  <c:v>0.5684117142081222</c:v>
                </c:pt>
                <c:pt idx="82">
                  <c:v>0.5564902292475544</c:v>
                </c:pt>
                <c:pt idx="83">
                  <c:v>0.507566963462746</c:v>
                </c:pt>
                <c:pt idx="84">
                  <c:v>0.5416737228160133</c:v>
                </c:pt>
                <c:pt idx="85">
                  <c:v>0.5835747373373636</c:v>
                </c:pt>
                <c:pt idx="86">
                  <c:v>0.5730226305487961</c:v>
                </c:pt>
                <c:pt idx="87">
                  <c:v>0.5652226140920131</c:v>
                </c:pt>
                <c:pt idx="88">
                  <c:v>0.5582039300007088</c:v>
                </c:pt>
                <c:pt idx="89">
                  <c:v>0.5323904206547676</c:v>
                </c:pt>
                <c:pt idx="90">
                  <c:v>0.5699731209923219</c:v>
                </c:pt>
                <c:pt idx="91">
                  <c:v>0.5868447740721184</c:v>
                </c:pt>
                <c:pt idx="92">
                  <c:v>0.6168748869724893</c:v>
                </c:pt>
                <c:pt idx="93">
                  <c:v>0.635295121151544</c:v>
                </c:pt>
                <c:pt idx="94">
                  <c:v>0.5075846155503188</c:v>
                </c:pt>
                <c:pt idx="95">
                  <c:v>0.555957011508603</c:v>
                </c:pt>
                <c:pt idx="96">
                  <c:v>0.6257204910812504</c:v>
                </c:pt>
                <c:pt idx="97">
                  <c:v>0.6993876292647355</c:v>
                </c:pt>
                <c:pt idx="98">
                  <c:v>0.7304322742676035</c:v>
                </c:pt>
                <c:pt idx="99">
                  <c:v>0.7338367023014677</c:v>
                </c:pt>
                <c:pt idx="100">
                  <c:v>0.7204020803558485</c:v>
                </c:pt>
                <c:pt idx="101">
                  <c:v>0.6723409053690951</c:v>
                </c:pt>
                <c:pt idx="102">
                  <c:v>0.664736096506282</c:v>
                </c:pt>
                <c:pt idx="103">
                  <c:v>0.7224549124577646</c:v>
                </c:pt>
                <c:pt idx="104">
                  <c:v>0.7308663318789277</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81375498889411</c:v>
                </c:pt>
                <c:pt idx="1">
                  <c:v>0.6499996165131624</c:v>
                </c:pt>
                <c:pt idx="2">
                  <c:v>0.662495308885911</c:v>
                </c:pt>
                <c:pt idx="3">
                  <c:v>0.672436173829998</c:v>
                </c:pt>
                <c:pt idx="4">
                  <c:v>0.6433825146514945</c:v>
                </c:pt>
                <c:pt idx="5">
                  <c:v>0.649758391505613</c:v>
                </c:pt>
                <c:pt idx="6">
                  <c:v>0.7011597602549606</c:v>
                </c:pt>
                <c:pt idx="7">
                  <c:v>0.7251289474003403</c:v>
                </c:pt>
                <c:pt idx="8">
                  <c:v>0.7384991425290311</c:v>
                </c:pt>
                <c:pt idx="9">
                  <c:v>0.7021435461831416</c:v>
                </c:pt>
                <c:pt idx="10">
                  <c:v>0.7159207760864889</c:v>
                </c:pt>
                <c:pt idx="11">
                  <c:v>0.6926871772248588</c:v>
                </c:pt>
                <c:pt idx="12">
                  <c:v>0.685549652933177</c:v>
                </c:pt>
                <c:pt idx="13">
                  <c:v>0.6731103932034941</c:v>
                </c:pt>
                <c:pt idx="14">
                  <c:v>0.651292771654059</c:v>
                </c:pt>
                <c:pt idx="15">
                  <c:v>0.6595281944865697</c:v>
                </c:pt>
                <c:pt idx="16">
                  <c:v>0.6999211843106</c:v>
                </c:pt>
                <c:pt idx="17">
                  <c:v>0.6657293705679066</c:v>
                </c:pt>
                <c:pt idx="18">
                  <c:v>0.6680920507019498</c:v>
                </c:pt>
                <c:pt idx="19">
                  <c:v>0.648386145023918</c:v>
                </c:pt>
                <c:pt idx="20">
                  <c:v>0.6010475496848976</c:v>
                </c:pt>
                <c:pt idx="21">
                  <c:v>0.5694878827469345</c:v>
                </c:pt>
                <c:pt idx="22">
                  <c:v>0.536648480366016</c:v>
                </c:pt>
                <c:pt idx="23">
                  <c:v>0.5538304425950537</c:v>
                </c:pt>
                <c:pt idx="24">
                  <c:v>0.5834398704858824</c:v>
                </c:pt>
                <c:pt idx="25">
                  <c:v>0.5885852307051601</c:v>
                </c:pt>
                <c:pt idx="26">
                  <c:v>0.5757210954988161</c:v>
                </c:pt>
                <c:pt idx="27">
                  <c:v>0.5757618852267825</c:v>
                </c:pt>
                <c:pt idx="28">
                  <c:v>0.5855421061221429</c:v>
                </c:pt>
                <c:pt idx="29">
                  <c:v>0.5498737437326026</c:v>
                </c:pt>
                <c:pt idx="30">
                  <c:v>0.5216760959837299</c:v>
                </c:pt>
                <c:pt idx="31">
                  <c:v>0.5474175045554459</c:v>
                </c:pt>
                <c:pt idx="32">
                  <c:v>0.5619314206050745</c:v>
                </c:pt>
                <c:pt idx="33">
                  <c:v>0.5444169521347065</c:v>
                </c:pt>
                <c:pt idx="34">
                  <c:v>0.5795233631602633</c:v>
                </c:pt>
                <c:pt idx="35">
                  <c:v>0.5541663159800597</c:v>
                </c:pt>
                <c:pt idx="36">
                  <c:v>0.5372657678417773</c:v>
                </c:pt>
                <c:pt idx="37">
                  <c:v>0.5349196979554366</c:v>
                </c:pt>
                <c:pt idx="38">
                  <c:v>0.5331188514337044</c:v>
                </c:pt>
                <c:pt idx="39">
                  <c:v>0.5542984829036177</c:v>
                </c:pt>
                <c:pt idx="40">
                  <c:v>0.6044719725864908</c:v>
                </c:pt>
                <c:pt idx="41">
                  <c:v>0.6206667849137184</c:v>
                </c:pt>
                <c:pt idx="42">
                  <c:v>0.5752505797065425</c:v>
                </c:pt>
                <c:pt idx="43">
                  <c:v>0.6287171075928666</c:v>
                </c:pt>
                <c:pt idx="44">
                  <c:v>0.6765452037311394</c:v>
                </c:pt>
                <c:pt idx="45">
                  <c:v>0.7076676719864261</c:v>
                </c:pt>
                <c:pt idx="46">
                  <c:v>0.6817348905943613</c:v>
                </c:pt>
                <c:pt idx="47">
                  <c:v>0.7057257537619103</c:v>
                </c:pt>
                <c:pt idx="48">
                  <c:v>0.7799057639052105</c:v>
                </c:pt>
                <c:pt idx="49">
                  <c:v>0.812466452773188</c:v>
                </c:pt>
                <c:pt idx="50">
                  <c:v>0.7630935529622791</c:v>
                </c:pt>
                <c:pt idx="51">
                  <c:v>0.7049981683593133</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195898096113188</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195898096113188</c:v>
                </c:pt>
                <c:pt idx="1">
                  <c:v>1.1195898096113188</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742753566406556</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742753566406556</c:v>
                </c:pt>
                <c:pt idx="1">
                  <c:v>0.7742753566406556</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355412221362061</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355412221362061</c:v>
                </c:pt>
                <c:pt idx="1">
                  <c:v>0.5355412221362061</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81375498889411</c:v>
                </c:pt>
                <c:pt idx="1">
                  <c:v>0.6499996165131624</c:v>
                </c:pt>
                <c:pt idx="2">
                  <c:v>0.662495308885911</c:v>
                </c:pt>
                <c:pt idx="3">
                  <c:v>0.672436173829998</c:v>
                </c:pt>
                <c:pt idx="4">
                  <c:v>0.6433825146514945</c:v>
                </c:pt>
                <c:pt idx="5">
                  <c:v>0.649758391505613</c:v>
                </c:pt>
                <c:pt idx="6">
                  <c:v>0.7011597602549606</c:v>
                </c:pt>
                <c:pt idx="7">
                  <c:v>0.7251289474003403</c:v>
                </c:pt>
                <c:pt idx="8">
                  <c:v>0.7384991425290311</c:v>
                </c:pt>
                <c:pt idx="9">
                  <c:v>0.7021435461831416</c:v>
                </c:pt>
                <c:pt idx="10">
                  <c:v>0.7159207760864889</c:v>
                </c:pt>
                <c:pt idx="11">
                  <c:v>0.6926871772248588</c:v>
                </c:pt>
                <c:pt idx="12">
                  <c:v>0.685549652933177</c:v>
                </c:pt>
                <c:pt idx="13">
                  <c:v>0.6731103932034941</c:v>
                </c:pt>
                <c:pt idx="14">
                  <c:v>0.651292771654059</c:v>
                </c:pt>
                <c:pt idx="15">
                  <c:v>0.6595281944865697</c:v>
                </c:pt>
                <c:pt idx="16">
                  <c:v>0.6999211843106</c:v>
                </c:pt>
                <c:pt idx="17">
                  <c:v>0.6657293705679066</c:v>
                </c:pt>
                <c:pt idx="18">
                  <c:v>0.6680920507019498</c:v>
                </c:pt>
                <c:pt idx="19">
                  <c:v>0.648386145023918</c:v>
                </c:pt>
                <c:pt idx="20">
                  <c:v>0.6010475496848976</c:v>
                </c:pt>
                <c:pt idx="21">
                  <c:v>0.5694878827469345</c:v>
                </c:pt>
                <c:pt idx="22">
                  <c:v>0.536648480366016</c:v>
                </c:pt>
                <c:pt idx="23">
                  <c:v>0.5538304425950537</c:v>
                </c:pt>
                <c:pt idx="24">
                  <c:v>0.5834398704858824</c:v>
                </c:pt>
                <c:pt idx="25">
                  <c:v>0.5885852307051601</c:v>
                </c:pt>
                <c:pt idx="26">
                  <c:v>0.5757210954988161</c:v>
                </c:pt>
                <c:pt idx="27">
                  <c:v>0.5757618852267825</c:v>
                </c:pt>
                <c:pt idx="28">
                  <c:v>0.5855421061221429</c:v>
                </c:pt>
                <c:pt idx="29">
                  <c:v>0.5498737437326026</c:v>
                </c:pt>
                <c:pt idx="30">
                  <c:v>0.5216760959837299</c:v>
                </c:pt>
                <c:pt idx="31">
                  <c:v>0.5474175045554459</c:v>
                </c:pt>
                <c:pt idx="32">
                  <c:v>0.5619314206050745</c:v>
                </c:pt>
                <c:pt idx="33">
                  <c:v>0.5444169521347065</c:v>
                </c:pt>
                <c:pt idx="34">
                  <c:v>0.5795233631602633</c:v>
                </c:pt>
                <c:pt idx="35">
                  <c:v>0.5541663159800597</c:v>
                </c:pt>
                <c:pt idx="36">
                  <c:v>0.5372657678417773</c:v>
                </c:pt>
                <c:pt idx="37">
                  <c:v>0.5349196979554366</c:v>
                </c:pt>
                <c:pt idx="38">
                  <c:v>0.5331188514337044</c:v>
                </c:pt>
                <c:pt idx="39">
                  <c:v>0.5542984829036177</c:v>
                </c:pt>
                <c:pt idx="40">
                  <c:v>0.6044719725864908</c:v>
                </c:pt>
                <c:pt idx="41">
                  <c:v>0.6206667849137184</c:v>
                </c:pt>
                <c:pt idx="42">
                  <c:v>0.5752505797065425</c:v>
                </c:pt>
                <c:pt idx="43">
                  <c:v>0.6287171075928666</c:v>
                </c:pt>
                <c:pt idx="44">
                  <c:v>0.6765452037311394</c:v>
                </c:pt>
                <c:pt idx="45">
                  <c:v>0.7076676719864261</c:v>
                </c:pt>
                <c:pt idx="46">
                  <c:v>0.6817348905943613</c:v>
                </c:pt>
                <c:pt idx="47">
                  <c:v>0.7057257537619103</c:v>
                </c:pt>
                <c:pt idx="48">
                  <c:v>0.7799057639052105</c:v>
                </c:pt>
                <c:pt idx="49">
                  <c:v>0.812466452773188</c:v>
                </c:pt>
                <c:pt idx="50">
                  <c:v>0.7630935529622791</c:v>
                </c:pt>
                <c:pt idx="51">
                  <c:v>0.7049981683593133</c:v>
                </c:pt>
                <c:pt idx="52">
                  <c:v>0.7742753566406556</c:v>
                </c:pt>
                <c:pt idx="53">
                  <c:v>1.1195898096113188</c:v>
                </c:pt>
                <c:pt idx="54">
                  <c:v>0.5355412221362061</c:v>
                </c:pt>
              </c:numCache>
            </c:numRef>
          </c:xVal>
          <c:yVal>
            <c:numRef>
              <c:f>Sheet1!$B$187:$B$241</c:f>
              <c:numCache>
                <c:formatCode>General</c:formatCode>
                <c:ptCount val="55"/>
                <c:pt idx="0">
                  <c:v>0.18710207420097222</c:v>
                </c:pt>
                <c:pt idx="1">
                  <c:v>0.1786350782304083</c:v>
                </c:pt>
                <c:pt idx="2">
                  <c:v>0.1804549051631205</c:v>
                </c:pt>
                <c:pt idx="3">
                  <c:v>0.18190265637370223</c:v>
                </c:pt>
                <c:pt idx="4">
                  <c:v>0.17767138771809823</c:v>
                </c:pt>
                <c:pt idx="5">
                  <c:v>0.17859994710261745</c:v>
                </c:pt>
                <c:pt idx="6">
                  <c:v>0.1860858544407602</c:v>
                </c:pt>
                <c:pt idx="7">
                  <c:v>0.18957663918651063</c:v>
                </c:pt>
                <c:pt idx="8">
                  <c:v>0.19152382550200225</c:v>
                </c:pt>
                <c:pt idx="9">
                  <c:v>0.1862291294250285</c:v>
                </c:pt>
                <c:pt idx="10">
                  <c:v>0.18823559479632385</c:v>
                </c:pt>
                <c:pt idx="11">
                  <c:v>0.18485193843771863</c:v>
                </c:pt>
                <c:pt idx="12">
                  <c:v>0.18381245550620717</c:v>
                </c:pt>
                <c:pt idx="13">
                  <c:v>0.18200084721722207</c:v>
                </c:pt>
                <c:pt idx="14">
                  <c:v>0.17882340861526244</c:v>
                </c:pt>
                <c:pt idx="15">
                  <c:v>0.18002278547456801</c:v>
                </c:pt>
                <c:pt idx="16">
                  <c:v>0.18590547277045977</c:v>
                </c:pt>
                <c:pt idx="17">
                  <c:v>0.18092590207752784</c:v>
                </c:pt>
                <c:pt idx="18">
                  <c:v>0.18126999417047124</c:v>
                </c:pt>
                <c:pt idx="19">
                  <c:v>0.17840009814417523</c:v>
                </c:pt>
                <c:pt idx="20">
                  <c:v>0.17150587826544406</c:v>
                </c:pt>
                <c:pt idx="21">
                  <c:v>0.16690964380576856</c:v>
                </c:pt>
                <c:pt idx="22">
                  <c:v>0.16212703335696294</c:v>
                </c:pt>
                <c:pt idx="23">
                  <c:v>0.16462935149096547</c:v>
                </c:pt>
                <c:pt idx="24">
                  <c:v>0.16894156026904356</c:v>
                </c:pt>
                <c:pt idx="25">
                  <c:v>0.16969091171162293</c:v>
                </c:pt>
                <c:pt idx="26">
                  <c:v>0.16781742611224865</c:v>
                </c:pt>
                <c:pt idx="27">
                  <c:v>0.16782336657903646</c:v>
                </c:pt>
                <c:pt idx="28">
                  <c:v>0.16924772217793604</c:v>
                </c:pt>
                <c:pt idx="29">
                  <c:v>0.1640531123407265</c:v>
                </c:pt>
                <c:pt idx="30">
                  <c:v>0.1599465100587721</c:v>
                </c:pt>
                <c:pt idx="31">
                  <c:v>0.16369539465094723</c:v>
                </c:pt>
                <c:pt idx="32">
                  <c:v>0.1658091482980713</c:v>
                </c:pt>
                <c:pt idx="33">
                  <c:v>0.16325840517126183</c:v>
                </c:pt>
                <c:pt idx="34">
                  <c:v>0.16837117446722355</c:v>
                </c:pt>
                <c:pt idx="35">
                  <c:v>0.1646782668622616</c:v>
                </c:pt>
                <c:pt idx="36">
                  <c:v>0.16221693284713173</c:v>
                </c:pt>
                <c:pt idx="37">
                  <c:v>0.1618752598099098</c:v>
                </c:pt>
                <c:pt idx="38">
                  <c:v>0.1616129911092913</c:v>
                </c:pt>
                <c:pt idx="39">
                  <c:v>0.16469751516959263</c:v>
                </c:pt>
                <c:pt idx="40">
                  <c:v>0.17200459869160523</c:v>
                </c:pt>
                <c:pt idx="41">
                  <c:v>0.17436315192452426</c:v>
                </c:pt>
                <c:pt idx="42">
                  <c:v>0.1677489019132284</c:v>
                </c:pt>
                <c:pt idx="43">
                  <c:v>0.17553557147451956</c:v>
                </c:pt>
                <c:pt idx="44">
                  <c:v>0.18250108045924748</c:v>
                </c:pt>
                <c:pt idx="45">
                  <c:v>0.1870336429018833</c:v>
                </c:pt>
                <c:pt idx="46">
                  <c:v>0.18325688747212104</c:v>
                </c:pt>
                <c:pt idx="47">
                  <c:v>0.1867508290344576</c:v>
                </c:pt>
                <c:pt idx="48">
                  <c:v>0.19755413438967312</c:v>
                </c:pt>
                <c:pt idx="49">
                  <c:v>0.20229615402188128</c:v>
                </c:pt>
                <c:pt idx="50">
                  <c:v>0.19510566548057057</c:v>
                </c:pt>
                <c:pt idx="51">
                  <c:v>0.186644866157652</c:v>
                </c:pt>
                <c:pt idx="52">
                  <c:v>0.19673414246953583</c:v>
                </c:pt>
                <c:pt idx="53">
                  <c:v>0.24702447637222302</c:v>
                </c:pt>
                <c:pt idx="54">
                  <c:v>0.161965776318299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5.6438</c:v>
                </c:pt>
                <c:pt idx="1">
                  <c:v>846.5422</c:v>
                </c:pt>
                <c:pt idx="2">
                  <c:v>857.7422</c:v>
                </c:pt>
                <c:pt idx="3">
                  <c:v>884.6487</c:v>
                </c:pt>
                <c:pt idx="4">
                  <c:v>886.1929</c:v>
                </c:pt>
                <c:pt idx="5">
                  <c:v>874.3161</c:v>
                </c:pt>
                <c:pt idx="6">
                  <c:v>828.5675</c:v>
                </c:pt>
                <c:pt idx="7">
                  <c:v>856.6011</c:v>
                </c:pt>
                <c:pt idx="8">
                  <c:v>847.4562</c:v>
                </c:pt>
                <c:pt idx="9">
                  <c:v>876.3505</c:v>
                </c:pt>
                <c:pt idx="10">
                  <c:v>878.7276</c:v>
                </c:pt>
                <c:pt idx="11">
                  <c:v>944.2932</c:v>
                </c:pt>
                <c:pt idx="12">
                  <c:v>906.6891</c:v>
                </c:pt>
                <c:pt idx="13">
                  <c:v>916.4989</c:v>
                </c:pt>
                <c:pt idx="14">
                  <c:v>943.0668</c:v>
                </c:pt>
                <c:pt idx="15">
                  <c:v>970.7636</c:v>
                </c:pt>
                <c:pt idx="16">
                  <c:v>991.3314</c:v>
                </c:pt>
                <c:pt idx="17">
                  <c:v>1016.6182</c:v>
                </c:pt>
                <c:pt idx="18">
                  <c:v>1035.1399</c:v>
                </c:pt>
                <c:pt idx="19">
                  <c:v>1017.2401</c:v>
                </c:pt>
                <c:pt idx="20">
                  <c:v>1025.453</c:v>
                </c:pt>
                <c:pt idx="21">
                  <c:v>1079.9431</c:v>
                </c:pt>
                <c:pt idx="22">
                  <c:v>1031.5856</c:v>
                </c:pt>
                <c:pt idx="23">
                  <c:v>1044.3065</c:v>
                </c:pt>
                <c:pt idx="24">
                  <c:v>1028.3956</c:v>
                </c:pt>
                <c:pt idx="25">
                  <c:v>954.8542</c:v>
                </c:pt>
                <c:pt idx="26">
                  <c:v>901.9621</c:v>
                </c:pt>
                <c:pt idx="27">
                  <c:v>933.4771</c:v>
                </c:pt>
                <c:pt idx="28">
                  <c:v>878.2792</c:v>
                </c:pt>
                <c:pt idx="29">
                  <c:v>911.9818</c:v>
                </c:pt>
                <c:pt idx="30">
                  <c:v>928.6812</c:v>
                </c:pt>
                <c:pt idx="31">
                  <c:v>849.0337</c:v>
                </c:pt>
                <c:pt idx="32">
                  <c:v>925.9729</c:v>
                </c:pt>
                <c:pt idx="33">
                  <c:v>869.5248</c:v>
                </c:pt>
                <c:pt idx="34">
                  <c:v>888.9248</c:v>
                </c:pt>
                <c:pt idx="35">
                  <c:v>930.0933</c:v>
                </c:pt>
                <c:pt idx="36">
                  <c:v>997.1647</c:v>
                </c:pt>
                <c:pt idx="37">
                  <c:v>1023.4148</c:v>
                </c:pt>
                <c:pt idx="38">
                  <c:v>1064.3849</c:v>
                </c:pt>
                <c:pt idx="39">
                  <c:v>1047.627</c:v>
                </c:pt>
                <c:pt idx="40">
                  <c:v>1014.8772</c:v>
                </c:pt>
                <c:pt idx="41">
                  <c:v>1043.2237</c:v>
                </c:pt>
                <c:pt idx="42">
                  <c:v>1144.729</c:v>
                </c:pt>
                <c:pt idx="43">
                  <c:v>1096.9671</c:v>
                </c:pt>
                <c:pt idx="44">
                  <c:v>976.8852</c:v>
                </c:pt>
                <c:pt idx="45">
                  <c:v>940.0365</c:v>
                </c:pt>
                <c:pt idx="46">
                  <c:v>975.9787</c:v>
                </c:pt>
                <c:pt idx="47">
                  <c:v>976.3143</c:v>
                </c:pt>
                <c:pt idx="48">
                  <c:v>1010.3581</c:v>
                </c:pt>
                <c:pt idx="49">
                  <c:v>993.3396</c:v>
                </c:pt>
                <c:pt idx="50">
                  <c:v>983.9908</c:v>
                </c:pt>
                <c:pt idx="51">
                  <c:v>1030.8248</c:v>
                </c:pt>
                <c:pt idx="52">
                  <c:v>1049.4801</c:v>
                </c:pt>
                <c:pt idx="53">
                  <c:v>1118.3601</c:v>
                </c:pt>
                <c:pt idx="54">
                  <c:v>1107.9342</c:v>
                </c:pt>
                <c:pt idx="55">
                  <c:v>1091.6491</c:v>
                </c:pt>
                <c:pt idx="56">
                  <c:v>1088.844</c:v>
                </c:pt>
                <c:pt idx="57">
                  <c:v>1042.8825</c:v>
                </c:pt>
                <c:pt idx="58">
                  <c:v>1100.7128</c:v>
                </c:pt>
                <c:pt idx="59">
                  <c:v>1047.901</c:v>
                </c:pt>
                <c:pt idx="60">
                  <c:v>1049.8136</c:v>
                </c:pt>
                <c:pt idx="61">
                  <c:v>1145.1191</c:v>
                </c:pt>
                <c:pt idx="62">
                  <c:v>1114.1609</c:v>
                </c:pt>
                <c:pt idx="63">
                  <c:v>1116.0449</c:v>
                </c:pt>
                <c:pt idx="64">
                  <c:v>1136.6919</c:v>
                </c:pt>
                <c:pt idx="65">
                  <c:v>1081.1027</c:v>
                </c:pt>
                <c:pt idx="66">
                  <c:v>1125.1224</c:v>
                </c:pt>
                <c:pt idx="67">
                  <c:v>1155.8518</c:v>
                </c:pt>
                <c:pt idx="68">
                  <c:v>1136.5592</c:v>
                </c:pt>
                <c:pt idx="69">
                  <c:v>1160.4129</c:v>
                </c:pt>
                <c:pt idx="70">
                  <c:v>1131.8939</c:v>
                </c:pt>
                <c:pt idx="71">
                  <c:v>1197.58</c:v>
                </c:pt>
                <c:pt idx="72">
                  <c:v>1227.7955</c:v>
                </c:pt>
                <c:pt idx="73">
                  <c:v>1258.9887</c:v>
                </c:pt>
                <c:pt idx="74">
                  <c:v>1244.2232</c:v>
                </c:pt>
                <c:pt idx="75">
                  <c:v>1201.6182</c:v>
                </c:pt>
                <c:pt idx="76">
                  <c:v>1097.7743</c:v>
                </c:pt>
                <c:pt idx="77">
                  <c:v>970.0765</c:v>
                </c:pt>
                <c:pt idx="78">
                  <c:v>1220.9506</c:v>
                </c:pt>
                <c:pt idx="79">
                  <c:v>1219.1448</c:v>
                </c:pt>
                <c:pt idx="80">
                  <c:v>1227.848</c:v>
                </c:pt>
                <c:pt idx="81">
                  <c:v>1117.4735</c:v>
                </c:pt>
                <c:pt idx="82">
                  <c:v>1116.2864</c:v>
                </c:pt>
                <c:pt idx="83">
                  <c:v>1061.4184</c:v>
                </c:pt>
                <c:pt idx="84">
                  <c:v>1120.1467</c:v>
                </c:pt>
                <c:pt idx="85">
                  <c:v>1173.8586</c:v>
                </c:pt>
                <c:pt idx="86">
                  <c:v>1151.9957</c:v>
                </c:pt>
                <c:pt idx="87">
                  <c:v>1134.9236</c:v>
                </c:pt>
                <c:pt idx="88">
                  <c:v>1207.2287</c:v>
                </c:pt>
                <c:pt idx="89">
                  <c:v>1201.8307</c:v>
                </c:pt>
                <c:pt idx="90">
                  <c:v>1248.7919</c:v>
                </c:pt>
                <c:pt idx="91">
                  <c:v>1204.7665</c:v>
                </c:pt>
                <c:pt idx="92">
                  <c:v>1152.9478</c:v>
                </c:pt>
                <c:pt idx="93">
                  <c:v>1234.8716</c:v>
                </c:pt>
                <c:pt idx="94">
                  <c:v>1088.6184</c:v>
                </c:pt>
                <c:pt idx="95">
                  <c:v>1075.876</c:v>
                </c:pt>
                <c:pt idx="96">
                  <c:v>1111.7532</c:v>
                </c:pt>
                <c:pt idx="97">
                  <c:v>1160.1207</c:v>
                </c:pt>
                <c:pt idx="98">
                  <c:v>1175.1873</c:v>
                </c:pt>
                <c:pt idx="99">
                  <c:v>1123.5751</c:v>
                </c:pt>
                <c:pt idx="100">
                  <c:v>1083.7842</c:v>
                </c:pt>
                <c:pt idx="101">
                  <c:v>1092.9247</c:v>
                </c:pt>
                <c:pt idx="102">
                  <c:v>1094.6313</c:v>
                </c:pt>
                <c:pt idx="103">
                  <c:v>1119.5537</c:v>
                </c:pt>
                <c:pt idx="104">
                  <c:v>1145.2405</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9.954032335862</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9.954032335862</c:v>
                </c:pt>
                <c:pt idx="1">
                  <c:v>839.954032335862</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2.7040689894372</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2.7040689894372</c:v>
                </c:pt>
                <c:pt idx="1">
                  <c:v>1092.7040689894372</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7.443529580696</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7.443529580696</c:v>
                </c:pt>
                <c:pt idx="1">
                  <c:v>1267.443529580696</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pt idx="52">
                  <c:v>1092.7040689894372</c:v>
                </c:pt>
                <c:pt idx="53">
                  <c:v>839.954032335862</c:v>
                </c:pt>
                <c:pt idx="54">
                  <c:v>1267.443529580696</c:v>
                </c:pt>
              </c:numCache>
            </c:numRef>
          </c:xVal>
          <c:yVal>
            <c:numRef>
              <c:f>Sheet1!$B$187:$B$241</c:f>
              <c:numCache>
                <c:formatCode>General</c:formatCode>
                <c:ptCount val="55"/>
                <c:pt idx="0">
                  <c:v>0.17849853556582876</c:v>
                </c:pt>
                <c:pt idx="1">
                  <c:v>0.17807516165105144</c:v>
                </c:pt>
                <c:pt idx="2">
                  <c:v>0.18334924897572333</c:v>
                </c:pt>
                <c:pt idx="3">
                  <c:v>0.1851770909395876</c:v>
                </c:pt>
                <c:pt idx="4">
                  <c:v>0.18393796912754357</c:v>
                </c:pt>
                <c:pt idx="5">
                  <c:v>0.18368579124447712</c:v>
                </c:pt>
                <c:pt idx="6">
                  <c:v>0.19413436020637956</c:v>
                </c:pt>
                <c:pt idx="7">
                  <c:v>0.17862693258961196</c:v>
                </c:pt>
                <c:pt idx="8">
                  <c:v>0.1690565491292892</c:v>
                </c:pt>
                <c:pt idx="9">
                  <c:v>0.17214806612499428</c:v>
                </c:pt>
                <c:pt idx="10">
                  <c:v>0.16806964499483315</c:v>
                </c:pt>
                <c:pt idx="11">
                  <c:v>0.20064309245942102</c:v>
                </c:pt>
                <c:pt idx="12">
                  <c:v>0.20077367818188943</c:v>
                </c:pt>
                <c:pt idx="13">
                  <c:v>0.17637120003277432</c:v>
                </c:pt>
                <c:pt idx="14">
                  <c:v>0.1754827276473738</c:v>
                </c:pt>
                <c:pt idx="15">
                  <c:v>0.17298480563237892</c:v>
                </c:pt>
                <c:pt idx="16">
                  <c:v>0.16182867018004526</c:v>
                </c:pt>
                <c:pt idx="17">
                  <c:v>0.17030814652383933</c:v>
                </c:pt>
                <c:pt idx="18">
                  <c:v>0.16265985835167357</c:v>
                </c:pt>
                <c:pt idx="19">
                  <c:v>0.16504382875420817</c:v>
                </c:pt>
                <c:pt idx="20">
                  <c:v>0.16997930449500556</c:v>
                </c:pt>
                <c:pt idx="21">
                  <c:v>0.18566928947938677</c:v>
                </c:pt>
                <c:pt idx="22">
                  <c:v>0.19617997768942977</c:v>
                </c:pt>
                <c:pt idx="23">
                  <c:v>0.18711788965287343</c:v>
                </c:pt>
                <c:pt idx="24">
                  <c:v>0.17398366802056095</c:v>
                </c:pt>
                <c:pt idx="25">
                  <c:v>0.18198572948931194</c:v>
                </c:pt>
                <c:pt idx="26">
                  <c:v>0.17511236003530192</c:v>
                </c:pt>
                <c:pt idx="27">
                  <c:v>0.17594790570704008</c:v>
                </c:pt>
                <c:pt idx="28">
                  <c:v>0.1717972973147861</c:v>
                </c:pt>
                <c:pt idx="29">
                  <c:v>0.17083697592072586</c:v>
                </c:pt>
                <c:pt idx="30">
                  <c:v>0.17419135562853377</c:v>
                </c:pt>
                <c:pt idx="31">
                  <c:v>0.17054444639280708</c:v>
                </c:pt>
                <c:pt idx="32">
                  <c:v>0.16374923337912256</c:v>
                </c:pt>
                <c:pt idx="33">
                  <c:v>0.16532692698051948</c:v>
                </c:pt>
                <c:pt idx="34">
                  <c:v>0.16362103532794714</c:v>
                </c:pt>
                <c:pt idx="35">
                  <c:v>0.16117285646489055</c:v>
                </c:pt>
                <c:pt idx="36">
                  <c:v>0.1561511658931537</c:v>
                </c:pt>
                <c:pt idx="37">
                  <c:v>0.17304286583932135</c:v>
                </c:pt>
                <c:pt idx="38">
                  <c:v>0.17060358105183132</c:v>
                </c:pt>
                <c:pt idx="39">
                  <c:v>0.19265464071704033</c:v>
                </c:pt>
                <c:pt idx="40">
                  <c:v>0.1709232305461869</c:v>
                </c:pt>
                <c:pt idx="41">
                  <c:v>0.16419568811639923</c:v>
                </c:pt>
                <c:pt idx="42">
                  <c:v>0.1687156294631648</c:v>
                </c:pt>
                <c:pt idx="43">
                  <c:v>0.16421574455526075</c:v>
                </c:pt>
                <c:pt idx="44">
                  <c:v>0.1830362451664667</c:v>
                </c:pt>
                <c:pt idx="45">
                  <c:v>0.1833498259962858</c:v>
                </c:pt>
                <c:pt idx="46">
                  <c:v>0.174469499436912</c:v>
                </c:pt>
                <c:pt idx="47">
                  <c:v>0.18442169143425247</c:v>
                </c:pt>
                <c:pt idx="48">
                  <c:v>0.1738868877441498</c:v>
                </c:pt>
                <c:pt idx="49">
                  <c:v>0.1742947815900439</c:v>
                </c:pt>
                <c:pt idx="50">
                  <c:v>0.19684436712397857</c:v>
                </c:pt>
                <c:pt idx="51">
                  <c:v>0.2028556280631154</c:v>
                </c:pt>
                <c:pt idx="52">
                  <c:v>0.19673414246953586</c:v>
                </c:pt>
                <c:pt idx="53">
                  <c:v>0.247024476372223</c:v>
                </c:pt>
                <c:pt idx="54">
                  <c:v>0.161965776318299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6.0"/>
          <c:min val="6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02671409241001</c:v>
                </c:pt>
                <c:pt idx="1">
                  <c:v>0.2067821102258097</c:v>
                </c:pt>
                <c:pt idx="2">
                  <c:v>0.18238168211681963</c:v>
                </c:pt>
                <c:pt idx="3">
                  <c:v>0.1779965803037083</c:v>
                </c:pt>
                <c:pt idx="4">
                  <c:v>0.16309951561153885</c:v>
                </c:pt>
                <c:pt idx="5">
                  <c:v>0.1750329319308001</c:v>
                </c:pt>
                <c:pt idx="6">
                  <c:v>0.19432211474282102</c:v>
                </c:pt>
                <c:pt idx="7">
                  <c:v>0.18391542117232212</c:v>
                </c:pt>
                <c:pt idx="8">
                  <c:v>0.15812770258409134</c:v>
                </c:pt>
                <c:pt idx="9">
                  <c:v>0.1774825513395353</c:v>
                </c:pt>
                <c:pt idx="10">
                  <c:v>0.18133640796921552</c:v>
                </c:pt>
                <c:pt idx="11">
                  <c:v>0.20341790643230231</c:v>
                </c:pt>
                <c:pt idx="12">
                  <c:v>0.19724434996480472</c:v>
                </c:pt>
                <c:pt idx="13">
                  <c:v>0.18344627652750936</c:v>
                </c:pt>
                <c:pt idx="14">
                  <c:v>0.1895382078946578</c:v>
                </c:pt>
                <c:pt idx="15">
                  <c:v>0.21682187165209496</c:v>
                </c:pt>
                <c:pt idx="16">
                  <c:v>0.20002151277937183</c:v>
                </c:pt>
                <c:pt idx="17">
                  <c:v>0.20016310461081616</c:v>
                </c:pt>
                <c:pt idx="18">
                  <c:v>0.18349941035514744</c:v>
                </c:pt>
                <c:pt idx="19">
                  <c:v>0.17941533577318225</c:v>
                </c:pt>
                <c:pt idx="20">
                  <c:v>0.1700258184142173</c:v>
                </c:pt>
                <c:pt idx="21">
                  <c:v>0.16972716586496217</c:v>
                </c:pt>
                <c:pt idx="22">
                  <c:v>0.15638303724868252</c:v>
                </c:pt>
                <c:pt idx="23">
                  <c:v>0.14045113408911253</c:v>
                </c:pt>
                <c:pt idx="24">
                  <c:v>0.15717678234671595</c:v>
                </c:pt>
                <c:pt idx="25">
                  <c:v>0.14471427176676607</c:v>
                </c:pt>
                <c:pt idx="26">
                  <c:v>0.12639289208253146</c:v>
                </c:pt>
                <c:pt idx="27">
                  <c:v>0.13095888229330327</c:v>
                </c:pt>
                <c:pt idx="28">
                  <c:v>0.12315065968840336</c:v>
                </c:pt>
                <c:pt idx="29">
                  <c:v>0.14498651582595967</c:v>
                </c:pt>
                <c:pt idx="30">
                  <c:v>0.1474254186029245</c:v>
                </c:pt>
                <c:pt idx="31">
                  <c:v>0.12831568201287002</c:v>
                </c:pt>
                <c:pt idx="32">
                  <c:v>0.12761776891011994</c:v>
                </c:pt>
                <c:pt idx="33">
                  <c:v>0.1406192523823165</c:v>
                </c:pt>
                <c:pt idx="34">
                  <c:v>0.15405949837484675</c:v>
                </c:pt>
                <c:pt idx="35">
                  <c:v>0.13641833422817717</c:v>
                </c:pt>
                <c:pt idx="36">
                  <c:v>0.12322562169353886</c:v>
                </c:pt>
                <c:pt idx="37">
                  <c:v>0.13513752123657943</c:v>
                </c:pt>
                <c:pt idx="38">
                  <c:v>0.14905105128343332</c:v>
                </c:pt>
                <c:pt idx="39">
                  <c:v>0.15498769458121445</c:v>
                </c:pt>
                <c:pt idx="40">
                  <c:v>0.17045416297416596</c:v>
                </c:pt>
                <c:pt idx="41">
                  <c:v>0.1735220628989216</c:v>
                </c:pt>
                <c:pt idx="42">
                  <c:v>0.16094834373769756</c:v>
                </c:pt>
                <c:pt idx="43">
                  <c:v>0.16033306253723617</c:v>
                </c:pt>
                <c:pt idx="44">
                  <c:v>0.17419667218152193</c:v>
                </c:pt>
                <c:pt idx="45">
                  <c:v>0.19633176691729323</c:v>
                </c:pt>
                <c:pt idx="46">
                  <c:v>0.1791659916434497</c:v>
                </c:pt>
                <c:pt idx="47">
                  <c:v>0.16921880640074843</c:v>
                </c:pt>
                <c:pt idx="48">
                  <c:v>0.22914059415281707</c:v>
                </c:pt>
                <c:pt idx="49">
                  <c:v>0.22369064949333822</c:v>
                </c:pt>
                <c:pt idx="50">
                  <c:v>0.17234104874992373</c:v>
                </c:pt>
                <c:pt idx="51">
                  <c:v>0.16283319917188327</c:v>
                </c:pt>
                <c:pt idx="52">
                  <c:v>0.19788556163740198</c:v>
                </c:pt>
                <c:pt idx="53">
                  <c:v>0.214746378819445</c:v>
                </c:pt>
                <c:pt idx="54">
                  <c:v>0.20425924249611505</c:v>
                </c:pt>
                <c:pt idx="55">
                  <c:v>0.16239051108463237</c:v>
                </c:pt>
                <c:pt idx="56">
                  <c:v>0.17281951549956043</c:v>
                </c:pt>
                <c:pt idx="57">
                  <c:v>0.17525588687915686</c:v>
                </c:pt>
                <c:pt idx="58">
                  <c:v>0.2122936436527436</c:v>
                </c:pt>
                <c:pt idx="59">
                  <c:v>0.22909582398653944</c:v>
                </c:pt>
                <c:pt idx="60">
                  <c:v>0.20503851502320275</c:v>
                </c:pt>
                <c:pt idx="61">
                  <c:v>0.21876871280936597</c:v>
                </c:pt>
                <c:pt idx="62">
                  <c:v>0.2550008422509707</c:v>
                </c:pt>
                <c:pt idx="63">
                  <c:v>0.22634213457843003</c:v>
                </c:pt>
                <c:pt idx="64">
                  <c:v>0.2417624756824075</c:v>
                </c:pt>
                <c:pt idx="65">
                  <c:v>0.19448340239146886</c:v>
                </c:pt>
                <c:pt idx="66">
                  <c:v>0.20488865412923363</c:v>
                </c:pt>
                <c:pt idx="67">
                  <c:v>0.2618918506728685</c:v>
                </c:pt>
                <c:pt idx="68">
                  <c:v>0.21651873197156335</c:v>
                </c:pt>
                <c:pt idx="69">
                  <c:v>0.17365435866921364</c:v>
                </c:pt>
                <c:pt idx="70">
                  <c:v>0.1537710679487431</c:v>
                </c:pt>
                <c:pt idx="71">
                  <c:v>0.17387871762710708</c:v>
                </c:pt>
                <c:pt idx="72">
                  <c:v>0.19700553695413336</c:v>
                </c:pt>
                <c:pt idx="73">
                  <c:v>0.19242119326175589</c:v>
                </c:pt>
                <c:pt idx="74">
                  <c:v>0.19679345889846273</c:v>
                </c:pt>
                <c:pt idx="75">
                  <c:v>0.17611933604484994</c:v>
                </c:pt>
                <c:pt idx="76">
                  <c:v>0.14625799979575627</c:v>
                </c:pt>
                <c:pt idx="77">
                  <c:v>0.134384442489913</c:v>
                </c:pt>
                <c:pt idx="78">
                  <c:v>0.15595964433937598</c:v>
                </c:pt>
                <c:pt idx="79">
                  <c:v>0.14689700900316288</c:v>
                </c:pt>
                <c:pt idx="80">
                  <c:v>0.1507371134811632</c:v>
                </c:pt>
                <c:pt idx="81">
                  <c:v>0.16916781856156954</c:v>
                </c:pt>
                <c:pt idx="82">
                  <c:v>0.17699885563763842</c:v>
                </c:pt>
                <c:pt idx="83">
                  <c:v>0.1612232338793801</c:v>
                </c:pt>
                <c:pt idx="84">
                  <c:v>0.1463170295681052</c:v>
                </c:pt>
                <c:pt idx="85">
                  <c:v>0.17190029940614326</c:v>
                </c:pt>
                <c:pt idx="86">
                  <c:v>0.1658757158888564</c:v>
                </c:pt>
                <c:pt idx="87">
                  <c:v>0.15178977271435423</c:v>
                </c:pt>
                <c:pt idx="88">
                  <c:v>0.13657610377075372</c:v>
                </c:pt>
                <c:pt idx="89">
                  <c:v>0.13129044085806216</c:v>
                </c:pt>
                <c:pt idx="90">
                  <c:v>0.13981684255492485</c:v>
                </c:pt>
                <c:pt idx="91">
                  <c:v>0.1695195631620538</c:v>
                </c:pt>
                <c:pt idx="92">
                  <c:v>0.17078254698728687</c:v>
                </c:pt>
                <c:pt idx="93">
                  <c:v>0.1619976388389672</c:v>
                </c:pt>
                <c:pt idx="94">
                  <c:v>0.12634768195963872</c:v>
                </c:pt>
                <c:pt idx="95">
                  <c:v>0.13083038764842145</c:v>
                </c:pt>
                <c:pt idx="96">
                  <c:v>0.16523979952795137</c:v>
                </c:pt>
                <c:pt idx="97">
                  <c:v>0.1916976677844342</c:v>
                </c:pt>
                <c:pt idx="98">
                  <c:v>0.194399043649591</c:v>
                </c:pt>
                <c:pt idx="99">
                  <c:v>0.1939488850850865</c:v>
                </c:pt>
                <c:pt idx="100">
                  <c:v>0.20936872843328672</c:v>
                </c:pt>
                <c:pt idx="101">
                  <c:v>0.18690924358107214</c:v>
                </c:pt>
                <c:pt idx="102">
                  <c:v>0.16377946655623465</c:v>
                </c:pt>
                <c:pt idx="103">
                  <c:v>0.16538368126475353</c:v>
                </c:pt>
                <c:pt idx="104">
                  <c:v>0.19766091798996452</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146600694448082</c:v>
                </c:pt>
                <c:pt idx="1">
                  <c:v>0.2289636181602809</c:v>
                </c:pt>
                <c:pt idx="2">
                  <c:v>0.18935856211609653</c:v>
                </c:pt>
                <c:pt idx="3">
                  <c:v>0.2003350547337653</c:v>
                </c:pt>
                <c:pt idx="4">
                  <c:v>0.19306675255603983</c:v>
                </c:pt>
                <c:pt idx="5">
                  <c:v>0.21116750978448684</c:v>
                </c:pt>
                <c:pt idx="6">
                  <c:v>0.20581653095027902</c:v>
                </c:pt>
                <c:pt idx="7">
                  <c:v>0.19619856247726333</c:v>
                </c:pt>
                <c:pt idx="8">
                  <c:v>0.2337111700590843</c:v>
                </c:pt>
                <c:pt idx="9">
                  <c:v>0.22507530442793347</c:v>
                </c:pt>
                <c:pt idx="10">
                  <c:v>0.23278689425588095</c:v>
                </c:pt>
                <c:pt idx="11">
                  <c:v>0.2109973917383227</c:v>
                </c:pt>
                <c:pt idx="12">
                  <c:v>0.17856544789659756</c:v>
                </c:pt>
                <c:pt idx="13">
                  <c:v>0.20307525372585883</c:v>
                </c:pt>
                <c:pt idx="14">
                  <c:v>0.22117399043149577</c:v>
                </c:pt>
                <c:pt idx="15">
                  <c:v>0.21175846383833075</c:v>
                </c:pt>
                <c:pt idx="16">
                  <c:v>0.1883448417623194</c:v>
                </c:pt>
                <c:pt idx="17">
                  <c:v>0.17436923568300353</c:v>
                </c:pt>
                <c:pt idx="18">
                  <c:v>0.16242452902927343</c:v>
                </c:pt>
                <c:pt idx="19">
                  <c:v>0.16438651755499611</c:v>
                </c:pt>
                <c:pt idx="20">
                  <c:v>0.1527256498517975</c:v>
                </c:pt>
                <c:pt idx="21">
                  <c:v>0.14539191557116024</c:v>
                </c:pt>
                <c:pt idx="22">
                  <c:v>0.13769171088859816</c:v>
                </c:pt>
                <c:pt idx="23">
                  <c:v>0.14640550677896558</c:v>
                </c:pt>
                <c:pt idx="24">
                  <c:v>0.15292327572879072</c:v>
                </c:pt>
                <c:pt idx="25">
                  <c:v>0.14071045516563932</c:v>
                </c:pt>
                <c:pt idx="26">
                  <c:v>0.15275479481827142</c:v>
                </c:pt>
                <c:pt idx="27">
                  <c:v>0.16446231122090788</c:v>
                </c:pt>
                <c:pt idx="28">
                  <c:v>0.1765568998248784</c:v>
                </c:pt>
                <c:pt idx="29">
                  <c:v>0.16095527413275806</c:v>
                </c:pt>
                <c:pt idx="30">
                  <c:v>0.1555972591762129</c:v>
                </c:pt>
                <c:pt idx="31">
                  <c:v>0.14247659906101243</c:v>
                </c:pt>
                <c:pt idx="32">
                  <c:v>0.1493789370604469</c:v>
                </c:pt>
                <c:pt idx="33">
                  <c:v>0.16299192962831183</c:v>
                </c:pt>
                <c:pt idx="34">
                  <c:v>0.16025184925266575</c:v>
                </c:pt>
                <c:pt idx="35">
                  <c:v>0.13476803544550675</c:v>
                </c:pt>
                <c:pt idx="36">
                  <c:v>0.11038540606672387</c:v>
                </c:pt>
                <c:pt idx="37">
                  <c:v>0.11140458276124703</c:v>
                </c:pt>
                <c:pt idx="38">
                  <c:v>0.11905087614278241</c:v>
                </c:pt>
                <c:pt idx="39">
                  <c:v>0.12121720967944996</c:v>
                </c:pt>
                <c:pt idx="40">
                  <c:v>0.14990343051595695</c:v>
                </c:pt>
                <c:pt idx="41">
                  <c:v>0.15109242781982507</c:v>
                </c:pt>
                <c:pt idx="42">
                  <c:v>0.14578157048749063</c:v>
                </c:pt>
                <c:pt idx="43">
                  <c:v>0.17044698111346016</c:v>
                </c:pt>
                <c:pt idx="44">
                  <c:v>0.17776626897001985</c:v>
                </c:pt>
                <c:pt idx="45">
                  <c:v>0.17770527767139027</c:v>
                </c:pt>
                <c:pt idx="46">
                  <c:v>0.15811479452719002</c:v>
                </c:pt>
                <c:pt idx="47">
                  <c:v>0.15636349704474228</c:v>
                </c:pt>
                <c:pt idx="48">
                  <c:v>0.17780466107200438</c:v>
                </c:pt>
                <c:pt idx="49">
                  <c:v>0.21474261192228525</c:v>
                </c:pt>
                <c:pt idx="50">
                  <c:v>0.21258927425066934</c:v>
                </c:pt>
                <c:pt idx="51">
                  <c:v>0.16845330022109267</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5993673505755874</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5993673505755874</c:v>
                </c:pt>
                <c:pt idx="1">
                  <c:v>0.35993673505755874</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71644110846464</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71644110846464</c:v>
                </c:pt>
                <c:pt idx="1">
                  <c:v>0.22671644110846464</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4614209936961</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4614209936961</c:v>
                </c:pt>
                <c:pt idx="1">
                  <c:v>0.134614209936961</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146600694448082</c:v>
                </c:pt>
                <c:pt idx="1">
                  <c:v>0.2289636181602809</c:v>
                </c:pt>
                <c:pt idx="2">
                  <c:v>0.18935856211609653</c:v>
                </c:pt>
                <c:pt idx="3">
                  <c:v>0.2003350547337653</c:v>
                </c:pt>
                <c:pt idx="4">
                  <c:v>0.19306675255603983</c:v>
                </c:pt>
                <c:pt idx="5">
                  <c:v>0.21116750978448684</c:v>
                </c:pt>
                <c:pt idx="6">
                  <c:v>0.20581653095027902</c:v>
                </c:pt>
                <c:pt idx="7">
                  <c:v>0.19619856247726333</c:v>
                </c:pt>
                <c:pt idx="8">
                  <c:v>0.2337111700590843</c:v>
                </c:pt>
                <c:pt idx="9">
                  <c:v>0.22507530442793347</c:v>
                </c:pt>
                <c:pt idx="10">
                  <c:v>0.23278689425588095</c:v>
                </c:pt>
                <c:pt idx="11">
                  <c:v>0.2109973917383227</c:v>
                </c:pt>
                <c:pt idx="12">
                  <c:v>0.17856544789659756</c:v>
                </c:pt>
                <c:pt idx="13">
                  <c:v>0.20307525372585883</c:v>
                </c:pt>
                <c:pt idx="14">
                  <c:v>0.22117399043149577</c:v>
                </c:pt>
                <c:pt idx="15">
                  <c:v>0.21175846383833075</c:v>
                </c:pt>
                <c:pt idx="16">
                  <c:v>0.1883448417623194</c:v>
                </c:pt>
                <c:pt idx="17">
                  <c:v>0.17436923568300353</c:v>
                </c:pt>
                <c:pt idx="18">
                  <c:v>0.16242452902927343</c:v>
                </c:pt>
                <c:pt idx="19">
                  <c:v>0.16438651755499611</c:v>
                </c:pt>
                <c:pt idx="20">
                  <c:v>0.1527256498517975</c:v>
                </c:pt>
                <c:pt idx="21">
                  <c:v>0.14539191557116024</c:v>
                </c:pt>
                <c:pt idx="22">
                  <c:v>0.13769171088859816</c:v>
                </c:pt>
                <c:pt idx="23">
                  <c:v>0.14640550677896558</c:v>
                </c:pt>
                <c:pt idx="24">
                  <c:v>0.15292327572879072</c:v>
                </c:pt>
                <c:pt idx="25">
                  <c:v>0.14071045516563932</c:v>
                </c:pt>
                <c:pt idx="26">
                  <c:v>0.15275479481827142</c:v>
                </c:pt>
                <c:pt idx="27">
                  <c:v>0.16446231122090788</c:v>
                </c:pt>
                <c:pt idx="28">
                  <c:v>0.1765568998248784</c:v>
                </c:pt>
                <c:pt idx="29">
                  <c:v>0.16095527413275806</c:v>
                </c:pt>
                <c:pt idx="30">
                  <c:v>0.1555972591762129</c:v>
                </c:pt>
                <c:pt idx="31">
                  <c:v>0.14247659906101243</c:v>
                </c:pt>
                <c:pt idx="32">
                  <c:v>0.1493789370604469</c:v>
                </c:pt>
                <c:pt idx="33">
                  <c:v>0.16299192962831183</c:v>
                </c:pt>
                <c:pt idx="34">
                  <c:v>0.16025184925266575</c:v>
                </c:pt>
                <c:pt idx="35">
                  <c:v>0.13476803544550675</c:v>
                </c:pt>
                <c:pt idx="36">
                  <c:v>0.11038540606672387</c:v>
                </c:pt>
                <c:pt idx="37">
                  <c:v>0.11140458276124703</c:v>
                </c:pt>
                <c:pt idx="38">
                  <c:v>0.11905087614278241</c:v>
                </c:pt>
                <c:pt idx="39">
                  <c:v>0.12121720967944996</c:v>
                </c:pt>
                <c:pt idx="40">
                  <c:v>0.14990343051595695</c:v>
                </c:pt>
                <c:pt idx="41">
                  <c:v>0.15109242781982507</c:v>
                </c:pt>
                <c:pt idx="42">
                  <c:v>0.14578157048749063</c:v>
                </c:pt>
                <c:pt idx="43">
                  <c:v>0.17044698111346016</c:v>
                </c:pt>
                <c:pt idx="44">
                  <c:v>0.17776626897001985</c:v>
                </c:pt>
                <c:pt idx="45">
                  <c:v>0.17770527767139027</c:v>
                </c:pt>
                <c:pt idx="46">
                  <c:v>0.15811479452719002</c:v>
                </c:pt>
                <c:pt idx="47">
                  <c:v>0.15636349704474228</c:v>
                </c:pt>
                <c:pt idx="48">
                  <c:v>0.17780466107200438</c:v>
                </c:pt>
                <c:pt idx="49">
                  <c:v>0.21474261192228525</c:v>
                </c:pt>
                <c:pt idx="50">
                  <c:v>0.21258927425066934</c:v>
                </c:pt>
                <c:pt idx="51">
                  <c:v>0.16845330022109267</c:v>
                </c:pt>
                <c:pt idx="52">
                  <c:v>0.22671644110846464</c:v>
                </c:pt>
                <c:pt idx="53">
                  <c:v>0.35993673505755874</c:v>
                </c:pt>
                <c:pt idx="54">
                  <c:v>0.134614209936961</c:v>
                </c:pt>
              </c:numCache>
            </c:numRef>
          </c:xVal>
          <c:yVal>
            <c:numRef>
              <c:f>Sheet1!$B$187:$B$241</c:f>
              <c:numCache>
                <c:formatCode>General</c:formatCode>
                <c:ptCount val="55"/>
                <c:pt idx="0">
                  <c:v>0.1947521164627345</c:v>
                </c:pt>
                <c:pt idx="1">
                  <c:v>0.1975824462896541</c:v>
                </c:pt>
                <c:pt idx="2">
                  <c:v>0.18263163486554965</c:v>
                </c:pt>
                <c:pt idx="3">
                  <c:v>0.1867752338808309</c:v>
                </c:pt>
                <c:pt idx="4">
                  <c:v>0.18403146765281825</c:v>
                </c:pt>
                <c:pt idx="5">
                  <c:v>0.19086445906820962</c:v>
                </c:pt>
                <c:pt idx="6">
                  <c:v>0.18884447769524138</c:v>
                </c:pt>
                <c:pt idx="7">
                  <c:v>0.18521371820931576</c:v>
                </c:pt>
                <c:pt idx="8">
                  <c:v>0.19937463547595324</c:v>
                </c:pt>
                <c:pt idx="9">
                  <c:v>0.19611461740171549</c:v>
                </c:pt>
                <c:pt idx="10">
                  <c:v>0.19902572362939153</c:v>
                </c:pt>
                <c:pt idx="11">
                  <c:v>0.19080023992343176</c:v>
                </c:pt>
                <c:pt idx="12">
                  <c:v>0.17855726074537354</c:v>
                </c:pt>
                <c:pt idx="13">
                  <c:v>0.18780965227300805</c:v>
                </c:pt>
                <c:pt idx="14">
                  <c:v>0.19464188094599913</c:v>
                </c:pt>
                <c:pt idx="15">
                  <c:v>0.19108754277271123</c:v>
                </c:pt>
                <c:pt idx="16">
                  <c:v>0.1822489579207376</c:v>
                </c:pt>
                <c:pt idx="17">
                  <c:v>0.1769732009366719</c:v>
                </c:pt>
                <c:pt idx="18">
                  <c:v>0.17246410349979582</c:v>
                </c:pt>
                <c:pt idx="19">
                  <c:v>0.17320474935146718</c:v>
                </c:pt>
                <c:pt idx="20">
                  <c:v>0.16880280042157664</c:v>
                </c:pt>
                <c:pt idx="21">
                  <c:v>0.16603433373535417</c:v>
                </c:pt>
                <c:pt idx="22">
                  <c:v>0.16312752537210995</c:v>
                </c:pt>
                <c:pt idx="23">
                  <c:v>0.16641696192787891</c:v>
                </c:pt>
                <c:pt idx="24">
                  <c:v>0.16887740370495924</c:v>
                </c:pt>
                <c:pt idx="25">
                  <c:v>0.16426709392551092</c:v>
                </c:pt>
                <c:pt idx="26">
                  <c:v>0.16881380257486805</c:v>
                </c:pt>
                <c:pt idx="27">
                  <c:v>0.17323336127427127</c:v>
                </c:pt>
                <c:pt idx="28">
                  <c:v>0.17779903877939474</c:v>
                </c:pt>
                <c:pt idx="29">
                  <c:v>0.17190946338346227</c:v>
                </c:pt>
                <c:pt idx="30">
                  <c:v>0.16988682589158577</c:v>
                </c:pt>
                <c:pt idx="31">
                  <c:v>0.1649338089100346</c:v>
                </c:pt>
                <c:pt idx="32">
                  <c:v>0.16753942455920443</c:v>
                </c:pt>
                <c:pt idx="33">
                  <c:v>0.17267829583293337</c:v>
                </c:pt>
                <c:pt idx="34">
                  <c:v>0.17164392221817393</c:v>
                </c:pt>
                <c:pt idx="35">
                  <c:v>0.1620238450701258</c:v>
                </c:pt>
                <c:pt idx="36">
                  <c:v>0.15281946234032173</c:v>
                </c:pt>
                <c:pt idx="37">
                  <c:v>0.15320419904036978</c:v>
                </c:pt>
                <c:pt idx="38">
                  <c:v>0.15609065601983163</c:v>
                </c:pt>
                <c:pt idx="39">
                  <c:v>0.1569084416114565</c:v>
                </c:pt>
                <c:pt idx="40">
                  <c:v>0.16773741955099938</c:v>
                </c:pt>
                <c:pt idx="41">
                  <c:v>0.1681862631141563</c:v>
                </c:pt>
                <c:pt idx="42">
                  <c:v>0.1661814275096448</c:v>
                </c:pt>
                <c:pt idx="43">
                  <c:v>0.17549255946601838</c:v>
                </c:pt>
                <c:pt idx="44">
                  <c:v>0.17825557266261832</c:v>
                </c:pt>
                <c:pt idx="45">
                  <c:v>0.17823254859712265</c:v>
                </c:pt>
                <c:pt idx="46">
                  <c:v>0.17083718930589287</c:v>
                </c:pt>
                <c:pt idx="47">
                  <c:v>0.1701760788057998</c:v>
                </c:pt>
                <c:pt idx="48">
                  <c:v>0.1782700655868628</c:v>
                </c:pt>
                <c:pt idx="49">
                  <c:v>0.19221405134815756</c:v>
                </c:pt>
                <c:pt idx="50">
                  <c:v>0.19140117166368412</c:v>
                </c:pt>
                <c:pt idx="51">
                  <c:v>0.17473994982374513</c:v>
                </c:pt>
                <c:pt idx="52">
                  <c:v>0.19673414246953583</c:v>
                </c:pt>
                <c:pt idx="53">
                  <c:v>0.24702447637222297</c:v>
                </c:pt>
                <c:pt idx="54">
                  <c:v>0.161965776318299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5.6438</c:v>
                </c:pt>
                <c:pt idx="1">
                  <c:v>846.5422</c:v>
                </c:pt>
                <c:pt idx="2">
                  <c:v>857.7422</c:v>
                </c:pt>
                <c:pt idx="3">
                  <c:v>884.6487</c:v>
                </c:pt>
                <c:pt idx="4">
                  <c:v>886.1929</c:v>
                </c:pt>
                <c:pt idx="5">
                  <c:v>874.3161</c:v>
                </c:pt>
                <c:pt idx="6">
                  <c:v>828.5675</c:v>
                </c:pt>
                <c:pt idx="7">
                  <c:v>856.6011</c:v>
                </c:pt>
                <c:pt idx="8">
                  <c:v>847.4562</c:v>
                </c:pt>
                <c:pt idx="9">
                  <c:v>876.3505</c:v>
                </c:pt>
                <c:pt idx="10">
                  <c:v>878.7276</c:v>
                </c:pt>
                <c:pt idx="11">
                  <c:v>944.2932</c:v>
                </c:pt>
                <c:pt idx="12">
                  <c:v>906.6891</c:v>
                </c:pt>
                <c:pt idx="13">
                  <c:v>916.4989</c:v>
                </c:pt>
                <c:pt idx="14">
                  <c:v>943.0668</c:v>
                </c:pt>
                <c:pt idx="15">
                  <c:v>970.7636</c:v>
                </c:pt>
                <c:pt idx="16">
                  <c:v>991.3314</c:v>
                </c:pt>
                <c:pt idx="17">
                  <c:v>1016.6182</c:v>
                </c:pt>
                <c:pt idx="18">
                  <c:v>1035.1399</c:v>
                </c:pt>
                <c:pt idx="19">
                  <c:v>1017.2401</c:v>
                </c:pt>
                <c:pt idx="20">
                  <c:v>1025.453</c:v>
                </c:pt>
                <c:pt idx="21">
                  <c:v>1079.9431</c:v>
                </c:pt>
                <c:pt idx="22">
                  <c:v>1031.5856</c:v>
                </c:pt>
                <c:pt idx="23">
                  <c:v>1044.3065</c:v>
                </c:pt>
                <c:pt idx="24">
                  <c:v>1028.3956</c:v>
                </c:pt>
                <c:pt idx="25">
                  <c:v>954.8542</c:v>
                </c:pt>
                <c:pt idx="26">
                  <c:v>901.9621</c:v>
                </c:pt>
                <c:pt idx="27">
                  <c:v>933.4771</c:v>
                </c:pt>
                <c:pt idx="28">
                  <c:v>878.2792</c:v>
                </c:pt>
                <c:pt idx="29">
                  <c:v>911.9818</c:v>
                </c:pt>
                <c:pt idx="30">
                  <c:v>928.6812</c:v>
                </c:pt>
                <c:pt idx="31">
                  <c:v>849.0337</c:v>
                </c:pt>
                <c:pt idx="32">
                  <c:v>925.9729</c:v>
                </c:pt>
                <c:pt idx="33">
                  <c:v>869.5248</c:v>
                </c:pt>
                <c:pt idx="34">
                  <c:v>888.9248</c:v>
                </c:pt>
                <c:pt idx="35">
                  <c:v>930.0933</c:v>
                </c:pt>
                <c:pt idx="36">
                  <c:v>997.1647</c:v>
                </c:pt>
                <c:pt idx="37">
                  <c:v>1023.4148</c:v>
                </c:pt>
                <c:pt idx="38">
                  <c:v>1064.3849</c:v>
                </c:pt>
                <c:pt idx="39">
                  <c:v>1047.627</c:v>
                </c:pt>
                <c:pt idx="40">
                  <c:v>1014.8772</c:v>
                </c:pt>
                <c:pt idx="41">
                  <c:v>1043.2237</c:v>
                </c:pt>
                <c:pt idx="42">
                  <c:v>1144.729</c:v>
                </c:pt>
                <c:pt idx="43">
                  <c:v>1096.9671</c:v>
                </c:pt>
                <c:pt idx="44">
                  <c:v>976.8852</c:v>
                </c:pt>
                <c:pt idx="45">
                  <c:v>940.0365</c:v>
                </c:pt>
                <c:pt idx="46">
                  <c:v>975.9787</c:v>
                </c:pt>
                <c:pt idx="47">
                  <c:v>976.3143</c:v>
                </c:pt>
                <c:pt idx="48">
                  <c:v>1010.3581</c:v>
                </c:pt>
                <c:pt idx="49">
                  <c:v>993.3396</c:v>
                </c:pt>
                <c:pt idx="50">
                  <c:v>983.9908</c:v>
                </c:pt>
                <c:pt idx="51">
                  <c:v>1030.8248</c:v>
                </c:pt>
                <c:pt idx="52">
                  <c:v>1049.4801</c:v>
                </c:pt>
                <c:pt idx="53">
                  <c:v>1118.3601</c:v>
                </c:pt>
                <c:pt idx="54">
                  <c:v>1107.9342</c:v>
                </c:pt>
                <c:pt idx="55">
                  <c:v>1091.6491</c:v>
                </c:pt>
                <c:pt idx="56">
                  <c:v>1088.844</c:v>
                </c:pt>
                <c:pt idx="57">
                  <c:v>1042.8825</c:v>
                </c:pt>
                <c:pt idx="58">
                  <c:v>1100.7128</c:v>
                </c:pt>
                <c:pt idx="59">
                  <c:v>1047.901</c:v>
                </c:pt>
                <c:pt idx="60">
                  <c:v>1049.8136</c:v>
                </c:pt>
                <c:pt idx="61">
                  <c:v>1145.1191</c:v>
                </c:pt>
                <c:pt idx="62">
                  <c:v>1114.1609</c:v>
                </c:pt>
                <c:pt idx="63">
                  <c:v>1116.0449</c:v>
                </c:pt>
                <c:pt idx="64">
                  <c:v>1136.6919</c:v>
                </c:pt>
                <c:pt idx="65">
                  <c:v>1081.1027</c:v>
                </c:pt>
                <c:pt idx="66">
                  <c:v>1125.1224</c:v>
                </c:pt>
                <c:pt idx="67">
                  <c:v>1155.8518</c:v>
                </c:pt>
                <c:pt idx="68">
                  <c:v>1136.5592</c:v>
                </c:pt>
                <c:pt idx="69">
                  <c:v>1160.4129</c:v>
                </c:pt>
                <c:pt idx="70">
                  <c:v>1131.8939</c:v>
                </c:pt>
                <c:pt idx="71">
                  <c:v>1197.58</c:v>
                </c:pt>
                <c:pt idx="72">
                  <c:v>1227.7955</c:v>
                </c:pt>
                <c:pt idx="73">
                  <c:v>1258.9887</c:v>
                </c:pt>
                <c:pt idx="74">
                  <c:v>1244.2232</c:v>
                </c:pt>
                <c:pt idx="75">
                  <c:v>1201.6182</c:v>
                </c:pt>
                <c:pt idx="76">
                  <c:v>1097.7743</c:v>
                </c:pt>
                <c:pt idx="77">
                  <c:v>970.0765</c:v>
                </c:pt>
                <c:pt idx="78">
                  <c:v>1220.9506</c:v>
                </c:pt>
                <c:pt idx="79">
                  <c:v>1219.1448</c:v>
                </c:pt>
                <c:pt idx="80">
                  <c:v>1227.848</c:v>
                </c:pt>
                <c:pt idx="81">
                  <c:v>1117.4735</c:v>
                </c:pt>
                <c:pt idx="82">
                  <c:v>1116.2864</c:v>
                </c:pt>
                <c:pt idx="83">
                  <c:v>1061.4184</c:v>
                </c:pt>
                <c:pt idx="84">
                  <c:v>1120.1467</c:v>
                </c:pt>
                <c:pt idx="85">
                  <c:v>1173.8586</c:v>
                </c:pt>
                <c:pt idx="86">
                  <c:v>1151.9957</c:v>
                </c:pt>
                <c:pt idx="87">
                  <c:v>1134.9236</c:v>
                </c:pt>
                <c:pt idx="88">
                  <c:v>1207.2287</c:v>
                </c:pt>
                <c:pt idx="89">
                  <c:v>1201.8307</c:v>
                </c:pt>
                <c:pt idx="90">
                  <c:v>1248.7919</c:v>
                </c:pt>
                <c:pt idx="91">
                  <c:v>1204.7665</c:v>
                </c:pt>
                <c:pt idx="92">
                  <c:v>1152.9478</c:v>
                </c:pt>
                <c:pt idx="93">
                  <c:v>1234.8716</c:v>
                </c:pt>
                <c:pt idx="94">
                  <c:v>1088.6184</c:v>
                </c:pt>
                <c:pt idx="95">
                  <c:v>1075.876</c:v>
                </c:pt>
                <c:pt idx="96">
                  <c:v>1111.7532</c:v>
                </c:pt>
                <c:pt idx="97">
                  <c:v>1160.1207</c:v>
                </c:pt>
                <c:pt idx="98">
                  <c:v>1175.1873</c:v>
                </c:pt>
                <c:pt idx="99">
                  <c:v>1123.5751</c:v>
                </c:pt>
                <c:pt idx="100">
                  <c:v>1083.7842</c:v>
                </c:pt>
                <c:pt idx="101">
                  <c:v>1092.9247</c:v>
                </c:pt>
                <c:pt idx="102">
                  <c:v>1094.6313</c:v>
                </c:pt>
                <c:pt idx="103">
                  <c:v>1119.5537</c:v>
                </c:pt>
                <c:pt idx="104">
                  <c:v>1145.2405</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9.954032335862</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9.954032335862</c:v>
                </c:pt>
                <c:pt idx="1">
                  <c:v>839.954032335862</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2.7040689894372</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2.7040689894372</c:v>
                </c:pt>
                <c:pt idx="1">
                  <c:v>1092.7040689894372</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7.443529580696</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7.443529580696</c:v>
                </c:pt>
                <c:pt idx="1">
                  <c:v>1267.443529580696</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pt idx="52">
                  <c:v>1092.7040689894372</c:v>
                </c:pt>
                <c:pt idx="53">
                  <c:v>839.954032335862</c:v>
                </c:pt>
                <c:pt idx="54">
                  <c:v>1267.443529580696</c:v>
                </c:pt>
              </c:numCache>
            </c:numRef>
          </c:xVal>
          <c:yVal>
            <c:numRef>
              <c:f>Sheet1!$B$187:$B$241</c:f>
              <c:numCache>
                <c:formatCode>General</c:formatCode>
                <c:ptCount val="55"/>
                <c:pt idx="0">
                  <c:v>0.17849853556582876</c:v>
                </c:pt>
                <c:pt idx="1">
                  <c:v>0.17807516165105144</c:v>
                </c:pt>
                <c:pt idx="2">
                  <c:v>0.18334924897572333</c:v>
                </c:pt>
                <c:pt idx="3">
                  <c:v>0.1851770909395876</c:v>
                </c:pt>
                <c:pt idx="4">
                  <c:v>0.18393796912754357</c:v>
                </c:pt>
                <c:pt idx="5">
                  <c:v>0.18368579124447712</c:v>
                </c:pt>
                <c:pt idx="6">
                  <c:v>0.19413436020637956</c:v>
                </c:pt>
                <c:pt idx="7">
                  <c:v>0.17862693258961196</c:v>
                </c:pt>
                <c:pt idx="8">
                  <c:v>0.1690565491292892</c:v>
                </c:pt>
                <c:pt idx="9">
                  <c:v>0.17214806612499428</c:v>
                </c:pt>
                <c:pt idx="10">
                  <c:v>0.16806964499483315</c:v>
                </c:pt>
                <c:pt idx="11">
                  <c:v>0.20064309245942102</c:v>
                </c:pt>
                <c:pt idx="12">
                  <c:v>0.20077367818188943</c:v>
                </c:pt>
                <c:pt idx="13">
                  <c:v>0.17637120003277432</c:v>
                </c:pt>
                <c:pt idx="14">
                  <c:v>0.1754827276473738</c:v>
                </c:pt>
                <c:pt idx="15">
                  <c:v>0.17298480563237892</c:v>
                </c:pt>
                <c:pt idx="16">
                  <c:v>0.16182867018004526</c:v>
                </c:pt>
                <c:pt idx="17">
                  <c:v>0.17030814652383933</c:v>
                </c:pt>
                <c:pt idx="18">
                  <c:v>0.16265985835167357</c:v>
                </c:pt>
                <c:pt idx="19">
                  <c:v>0.16504382875420817</c:v>
                </c:pt>
                <c:pt idx="20">
                  <c:v>0.16997930449500556</c:v>
                </c:pt>
                <c:pt idx="21">
                  <c:v>0.18566928947938677</c:v>
                </c:pt>
                <c:pt idx="22">
                  <c:v>0.19617997768942977</c:v>
                </c:pt>
                <c:pt idx="23">
                  <c:v>0.18711788965287343</c:v>
                </c:pt>
                <c:pt idx="24">
                  <c:v>0.17398366802056095</c:v>
                </c:pt>
                <c:pt idx="25">
                  <c:v>0.18198572948931194</c:v>
                </c:pt>
                <c:pt idx="26">
                  <c:v>0.17511236003530192</c:v>
                </c:pt>
                <c:pt idx="27">
                  <c:v>0.17594790570704008</c:v>
                </c:pt>
                <c:pt idx="28">
                  <c:v>0.1717972973147861</c:v>
                </c:pt>
                <c:pt idx="29">
                  <c:v>0.17083697592072586</c:v>
                </c:pt>
                <c:pt idx="30">
                  <c:v>0.17419135562853377</c:v>
                </c:pt>
                <c:pt idx="31">
                  <c:v>0.17054444639280708</c:v>
                </c:pt>
                <c:pt idx="32">
                  <c:v>0.16374923337912256</c:v>
                </c:pt>
                <c:pt idx="33">
                  <c:v>0.16532692698051948</c:v>
                </c:pt>
                <c:pt idx="34">
                  <c:v>0.16362103532794714</c:v>
                </c:pt>
                <c:pt idx="35">
                  <c:v>0.16117285646489055</c:v>
                </c:pt>
                <c:pt idx="36">
                  <c:v>0.1561511658931537</c:v>
                </c:pt>
                <c:pt idx="37">
                  <c:v>0.17304286583932135</c:v>
                </c:pt>
                <c:pt idx="38">
                  <c:v>0.17060358105183132</c:v>
                </c:pt>
                <c:pt idx="39">
                  <c:v>0.19265464071704033</c:v>
                </c:pt>
                <c:pt idx="40">
                  <c:v>0.1709232305461869</c:v>
                </c:pt>
                <c:pt idx="41">
                  <c:v>0.16419568811639923</c:v>
                </c:pt>
                <c:pt idx="42">
                  <c:v>0.1687156294631648</c:v>
                </c:pt>
                <c:pt idx="43">
                  <c:v>0.16421574455526075</c:v>
                </c:pt>
                <c:pt idx="44">
                  <c:v>0.1830362451664667</c:v>
                </c:pt>
                <c:pt idx="45">
                  <c:v>0.1833498259962858</c:v>
                </c:pt>
                <c:pt idx="46">
                  <c:v>0.174469499436912</c:v>
                </c:pt>
                <c:pt idx="47">
                  <c:v>0.18442169143425247</c:v>
                </c:pt>
                <c:pt idx="48">
                  <c:v>0.1738868877441498</c:v>
                </c:pt>
                <c:pt idx="49">
                  <c:v>0.1742947815900439</c:v>
                </c:pt>
                <c:pt idx="50">
                  <c:v>0.19684436712397857</c:v>
                </c:pt>
                <c:pt idx="51">
                  <c:v>0.2028556280631154</c:v>
                </c:pt>
                <c:pt idx="52">
                  <c:v>0.19673414246953586</c:v>
                </c:pt>
                <c:pt idx="53">
                  <c:v>0.247024476372223</c:v>
                </c:pt>
                <c:pt idx="54">
                  <c:v>0.161965776318299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6.0"/>
          <c:min val="6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805089298002629</c:v>
                </c:pt>
                <c:pt idx="1">
                  <c:v>0.13658282168688976</c:v>
                </c:pt>
                <c:pt idx="2">
                  <c:v>0.13688285657291044</c:v>
                </c:pt>
                <c:pt idx="3">
                  <c:v>0.11971517260405086</c:v>
                </c:pt>
                <c:pt idx="4">
                  <c:v>0.09690000068340088</c:v>
                </c:pt>
                <c:pt idx="5">
                  <c:v>0.12210229039596375</c:v>
                </c:pt>
                <c:pt idx="6">
                  <c:v>0.14077789446864233</c:v>
                </c:pt>
                <c:pt idx="7">
                  <c:v>0.1520365541837811</c:v>
                </c:pt>
                <c:pt idx="8">
                  <c:v>0.11860257864709044</c:v>
                </c:pt>
                <c:pt idx="9">
                  <c:v>0.13081637116354733</c:v>
                </c:pt>
                <c:pt idx="10">
                  <c:v>0.14015227903383295</c:v>
                </c:pt>
                <c:pt idx="11">
                  <c:v>0.14149717738594794</c:v>
                </c:pt>
                <c:pt idx="12">
                  <c:v>0.14165225507804913</c:v>
                </c:pt>
                <c:pt idx="13">
                  <c:v>0.11443108429931471</c:v>
                </c:pt>
                <c:pt idx="14">
                  <c:v>0.1370921124399576</c:v>
                </c:pt>
                <c:pt idx="15">
                  <c:v>0.14466281132077524</c:v>
                </c:pt>
                <c:pt idx="16">
                  <c:v>0.12988235504979717</c:v>
                </c:pt>
                <c:pt idx="17">
                  <c:v>0.09399971521351588</c:v>
                </c:pt>
                <c:pt idx="18">
                  <c:v>0.08810842336917793</c:v>
                </c:pt>
                <c:pt idx="19">
                  <c:v>0.09176421236483219</c:v>
                </c:pt>
                <c:pt idx="20">
                  <c:v>0.10523906973922185</c:v>
                </c:pt>
                <c:pt idx="21">
                  <c:v>0.11820168248383364</c:v>
                </c:pt>
                <c:pt idx="22">
                  <c:v>0.10324847186675574</c:v>
                </c:pt>
                <c:pt idx="23">
                  <c:v>0.10599329429878578</c:v>
                </c:pt>
                <c:pt idx="24">
                  <c:v>0.10237220834701007</c:v>
                </c:pt>
                <c:pt idx="25">
                  <c:v>0.08493232848472694</c:v>
                </c:pt>
                <c:pt idx="26">
                  <c:v>0.08674519719411158</c:v>
                </c:pt>
                <c:pt idx="27">
                  <c:v>0.09010686608286346</c:v>
                </c:pt>
                <c:pt idx="28">
                  <c:v>0.08168033152788524</c:v>
                </c:pt>
                <c:pt idx="29">
                  <c:v>0.10575413468071738</c:v>
                </c:pt>
                <c:pt idx="30">
                  <c:v>0.10503559689645706</c:v>
                </c:pt>
                <c:pt idx="31">
                  <c:v>0.09495303176463284</c:v>
                </c:pt>
                <c:pt idx="32">
                  <c:v>0.10342599128783647</c:v>
                </c:pt>
                <c:pt idx="33">
                  <c:v>0.09970328369333085</c:v>
                </c:pt>
                <c:pt idx="34">
                  <c:v>0.105030263385606</c:v>
                </c:pt>
                <c:pt idx="35">
                  <c:v>0.09273034426814519</c:v>
                </c:pt>
                <c:pt idx="36">
                  <c:v>0.0946952541487619</c:v>
                </c:pt>
                <c:pt idx="37">
                  <c:v>0.10083353068201538</c:v>
                </c:pt>
                <c:pt idx="38">
                  <c:v>0.11203947559139503</c:v>
                </c:pt>
                <c:pt idx="39">
                  <c:v>0.10932610043704058</c:v>
                </c:pt>
                <c:pt idx="40">
                  <c:v>0.12704573070562125</c:v>
                </c:pt>
                <c:pt idx="41">
                  <c:v>0.11645576710920676</c:v>
                </c:pt>
                <c:pt idx="42">
                  <c:v>0.11456053881219133</c:v>
                </c:pt>
                <c:pt idx="43">
                  <c:v>0.10120802084611927</c:v>
                </c:pt>
                <c:pt idx="44">
                  <c:v>0.1416008226394634</c:v>
                </c:pt>
                <c:pt idx="45">
                  <c:v>0.13513659212922308</c:v>
                </c:pt>
                <c:pt idx="46">
                  <c:v>0.12264120382005529</c:v>
                </c:pt>
                <c:pt idx="47">
                  <c:v>0.10141919557711995</c:v>
                </c:pt>
                <c:pt idx="48">
                  <c:v>0.1451371097639021</c:v>
                </c:pt>
                <c:pt idx="49">
                  <c:v>0.15883806996396535</c:v>
                </c:pt>
                <c:pt idx="50">
                  <c:v>0.12348138283023759</c:v>
                </c:pt>
                <c:pt idx="51">
                  <c:v>0.11894338948957817</c:v>
                </c:pt>
                <c:pt idx="52">
                  <c:v>0.1333652441728195</c:v>
                </c:pt>
                <c:pt idx="53">
                  <c:v>0.15287387926592494</c:v>
                </c:pt>
                <c:pt idx="54">
                  <c:v>0.13070168191793036</c:v>
                </c:pt>
                <c:pt idx="55">
                  <c:v>0.11441196993867424</c:v>
                </c:pt>
                <c:pt idx="56">
                  <c:v>0.11172214241740201</c:v>
                </c:pt>
                <c:pt idx="57">
                  <c:v>0.1182278369023873</c:v>
                </c:pt>
                <c:pt idx="58">
                  <c:v>0.14448811110461773</c:v>
                </c:pt>
                <c:pt idx="59">
                  <c:v>0.14595506922545248</c:v>
                </c:pt>
                <c:pt idx="60">
                  <c:v>0.13557319353126143</c:v>
                </c:pt>
                <c:pt idx="61">
                  <c:v>0.15288907534520596</c:v>
                </c:pt>
                <c:pt idx="62">
                  <c:v>0.13790680546933673</c:v>
                </c:pt>
                <c:pt idx="63">
                  <c:v>0.14428321199982605</c:v>
                </c:pt>
                <c:pt idx="64">
                  <c:v>0.14963813103209564</c:v>
                </c:pt>
                <c:pt idx="65">
                  <c:v>0.1140180334504303</c:v>
                </c:pt>
                <c:pt idx="66">
                  <c:v>0.1346310337128973</c:v>
                </c:pt>
                <c:pt idx="67">
                  <c:v>0.14376132778668496</c:v>
                </c:pt>
                <c:pt idx="68">
                  <c:v>0.13639328152450678</c:v>
                </c:pt>
                <c:pt idx="69">
                  <c:v>0.10767040584583308</c:v>
                </c:pt>
                <c:pt idx="70">
                  <c:v>0.10448420584730884</c:v>
                </c:pt>
                <c:pt idx="71">
                  <c:v>0.1155142936374926</c:v>
                </c:pt>
                <c:pt idx="72">
                  <c:v>0.12048899043270928</c:v>
                </c:pt>
                <c:pt idx="73">
                  <c:v>0.11924782268949351</c:v>
                </c:pt>
                <c:pt idx="74">
                  <c:v>0.1005877238715223</c:v>
                </c:pt>
                <c:pt idx="75">
                  <c:v>0.11920163060122987</c:v>
                </c:pt>
                <c:pt idx="76">
                  <c:v>0.09175379371702987</c:v>
                </c:pt>
                <c:pt idx="77">
                  <c:v>0.09214602568486645</c:v>
                </c:pt>
                <c:pt idx="78">
                  <c:v>0.11244403046912617</c:v>
                </c:pt>
                <c:pt idx="79">
                  <c:v>0.10856249877948482</c:v>
                </c:pt>
                <c:pt idx="80">
                  <c:v>0.10255413285935654</c:v>
                </c:pt>
                <c:pt idx="81">
                  <c:v>0.12031274259944154</c:v>
                </c:pt>
                <c:pt idx="82">
                  <c:v>0.127742667220656</c:v>
                </c:pt>
                <c:pt idx="83">
                  <c:v>0.1052407612354488</c:v>
                </c:pt>
                <c:pt idx="84">
                  <c:v>0.10021116199700271</c:v>
                </c:pt>
                <c:pt idx="85">
                  <c:v>0.13138989126479034</c:v>
                </c:pt>
                <c:pt idx="86">
                  <c:v>0.12542116273364065</c:v>
                </c:pt>
                <c:pt idx="87">
                  <c:v>0.09933854021947768</c:v>
                </c:pt>
                <c:pt idx="88">
                  <c:v>0.10155413587093744</c:v>
                </c:pt>
                <c:pt idx="89">
                  <c:v>0.09524671740867073</c:v>
                </c:pt>
                <c:pt idx="90">
                  <c:v>0.10636615987394063</c:v>
                </c:pt>
                <c:pt idx="91">
                  <c:v>0.11809479953110119</c:v>
                </c:pt>
                <c:pt idx="92">
                  <c:v>0.12322858899314307</c:v>
                </c:pt>
                <c:pt idx="93">
                  <c:v>0.132013145856885</c:v>
                </c:pt>
                <c:pt idx="94">
                  <c:v>0.08334962946984215</c:v>
                </c:pt>
                <c:pt idx="95">
                  <c:v>0.09837030264240651</c:v>
                </c:pt>
                <c:pt idx="96">
                  <c:v>0.12521541099651132</c:v>
                </c:pt>
                <c:pt idx="97">
                  <c:v>0.1435644885781767</c:v>
                </c:pt>
                <c:pt idx="98">
                  <c:v>0.149943516029463</c:v>
                </c:pt>
                <c:pt idx="99">
                  <c:v>0.1367641703041354</c:v>
                </c:pt>
                <c:pt idx="100">
                  <c:v>0.14971945428217767</c:v>
                </c:pt>
                <c:pt idx="101">
                  <c:v>0.14999431341026867</c:v>
                </c:pt>
                <c:pt idx="102">
                  <c:v>0.13940748571321082</c:v>
                </c:pt>
                <c:pt idx="103">
                  <c:v>0.1472836552926339</c:v>
                </c:pt>
                <c:pt idx="104">
                  <c:v>0.13898128090773945</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332854833608672</c:v>
                </c:pt>
                <c:pt idx="1">
                  <c:v>0.1598628113587737</c:v>
                </c:pt>
                <c:pt idx="2">
                  <c:v>0.12486100829582145</c:v>
                </c:pt>
                <c:pt idx="3">
                  <c:v>0.1256135610741288</c:v>
                </c:pt>
                <c:pt idx="4">
                  <c:v>0.12847058929601646</c:v>
                </c:pt>
                <c:pt idx="5">
                  <c:v>0.14061806319234382</c:v>
                </c:pt>
                <c:pt idx="6">
                  <c:v>0.13698137897276252</c:v>
                </c:pt>
                <c:pt idx="7">
                  <c:v>0.13875951408575277</c:v>
                </c:pt>
                <c:pt idx="8">
                  <c:v>0.17719947781242246</c:v>
                </c:pt>
                <c:pt idx="9">
                  <c:v>0.17279674977605683</c:v>
                </c:pt>
                <c:pt idx="10">
                  <c:v>0.17375992190258427</c:v>
                </c:pt>
                <c:pt idx="11">
                  <c:v>0.14212773668917375</c:v>
                </c:pt>
                <c:pt idx="12">
                  <c:v>0.13118109580869147</c:v>
                </c:pt>
                <c:pt idx="13">
                  <c:v>0.14490313355847734</c:v>
                </c:pt>
                <c:pt idx="14">
                  <c:v>0.13746162694631095</c:v>
                </c:pt>
                <c:pt idx="15">
                  <c:v>0.1452752350125542</c:v>
                </c:pt>
                <c:pt idx="16">
                  <c:v>0.1289096086819228</c:v>
                </c:pt>
                <c:pt idx="17">
                  <c:v>0.13385761786787453</c:v>
                </c:pt>
                <c:pt idx="18">
                  <c:v>0.12510338097239002</c:v>
                </c:pt>
                <c:pt idx="19">
                  <c:v>0.1325996661977144</c:v>
                </c:pt>
                <c:pt idx="20">
                  <c:v>0.12581073441595494</c:v>
                </c:pt>
                <c:pt idx="21">
                  <c:v>0.13092741473990524</c:v>
                </c:pt>
                <c:pt idx="22">
                  <c:v>0.11287386112963627</c:v>
                </c:pt>
                <c:pt idx="23">
                  <c:v>0.12094383314372067</c:v>
                </c:pt>
                <c:pt idx="24">
                  <c:v>0.1297628229156184</c:v>
                </c:pt>
                <c:pt idx="25">
                  <c:v>0.1076890020702798</c:v>
                </c:pt>
                <c:pt idx="26">
                  <c:v>0.10563121514340222</c:v>
                </c:pt>
                <c:pt idx="27">
                  <c:v>0.10278148314637302</c:v>
                </c:pt>
                <c:pt idx="28">
                  <c:v>0.142828335044023</c:v>
                </c:pt>
                <c:pt idx="29">
                  <c:v>0.14233206614814245</c:v>
                </c:pt>
                <c:pt idx="30">
                  <c:v>0.13715884438555737</c:v>
                </c:pt>
                <c:pt idx="31">
                  <c:v>0.12709619460511465</c:v>
                </c:pt>
                <c:pt idx="32">
                  <c:v>0.14168253522892874</c:v>
                </c:pt>
                <c:pt idx="33">
                  <c:v>0.13641438742756792</c:v>
                </c:pt>
                <c:pt idx="34">
                  <c:v>0.13217695982804545</c:v>
                </c:pt>
                <c:pt idx="35">
                  <c:v>0.11186385582834751</c:v>
                </c:pt>
                <c:pt idx="36">
                  <c:v>0.10385255873743057</c:v>
                </c:pt>
                <c:pt idx="37">
                  <c:v>0.11029855506203244</c:v>
                </c:pt>
                <c:pt idx="38">
                  <c:v>0.10085298916982946</c:v>
                </c:pt>
                <c:pt idx="39">
                  <c:v>0.09173292012133556</c:v>
                </c:pt>
                <c:pt idx="40">
                  <c:v>0.11456689925752063</c:v>
                </c:pt>
                <c:pt idx="41">
                  <c:v>0.1220744249741605</c:v>
                </c:pt>
                <c:pt idx="42">
                  <c:v>0.11531673023708025</c:v>
                </c:pt>
                <c:pt idx="43">
                  <c:v>0.1385851279788173</c:v>
                </c:pt>
                <c:pt idx="44">
                  <c:v>0.16074859773479486</c:v>
                </c:pt>
                <c:pt idx="45">
                  <c:v>0.16095578584645115</c:v>
                </c:pt>
                <c:pt idx="46">
                  <c:v>0.15055682681655633</c:v>
                </c:pt>
                <c:pt idx="47">
                  <c:v>0.14237573955226646</c:v>
                </c:pt>
                <c:pt idx="48">
                  <c:v>0.149210952059578</c:v>
                </c:pt>
                <c:pt idx="49">
                  <c:v>0.18271838555476713</c:v>
                </c:pt>
                <c:pt idx="50">
                  <c:v>0.1824346950584682</c:v>
                </c:pt>
                <c:pt idx="51">
                  <c:v>0.15484792056163177</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435189218174139</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435189218174139</c:v>
                </c:pt>
                <c:pt idx="1">
                  <c:v>0.4435189218174139</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360544836535173</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360544836535173</c:v>
                </c:pt>
                <c:pt idx="1">
                  <c:v>0.22360544836535173</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7156763964118108</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7156763964118108</c:v>
                </c:pt>
                <c:pt idx="1">
                  <c:v>0.07156763964118108</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332854833608672</c:v>
                </c:pt>
                <c:pt idx="1">
                  <c:v>0.1598628113587737</c:v>
                </c:pt>
                <c:pt idx="2">
                  <c:v>0.12486100829582145</c:v>
                </c:pt>
                <c:pt idx="3">
                  <c:v>0.1256135610741288</c:v>
                </c:pt>
                <c:pt idx="4">
                  <c:v>0.12847058929601646</c:v>
                </c:pt>
                <c:pt idx="5">
                  <c:v>0.14061806319234382</c:v>
                </c:pt>
                <c:pt idx="6">
                  <c:v>0.13698137897276252</c:v>
                </c:pt>
                <c:pt idx="7">
                  <c:v>0.13875951408575277</c:v>
                </c:pt>
                <c:pt idx="8">
                  <c:v>0.17719947781242246</c:v>
                </c:pt>
                <c:pt idx="9">
                  <c:v>0.17279674977605683</c:v>
                </c:pt>
                <c:pt idx="10">
                  <c:v>0.17375992190258427</c:v>
                </c:pt>
                <c:pt idx="11">
                  <c:v>0.14212773668917375</c:v>
                </c:pt>
                <c:pt idx="12">
                  <c:v>0.13118109580869147</c:v>
                </c:pt>
                <c:pt idx="13">
                  <c:v>0.14490313355847734</c:v>
                </c:pt>
                <c:pt idx="14">
                  <c:v>0.13746162694631095</c:v>
                </c:pt>
                <c:pt idx="15">
                  <c:v>0.1452752350125542</c:v>
                </c:pt>
                <c:pt idx="16">
                  <c:v>0.1289096086819228</c:v>
                </c:pt>
                <c:pt idx="17">
                  <c:v>0.13385761786787453</c:v>
                </c:pt>
                <c:pt idx="18">
                  <c:v>0.12510338097239002</c:v>
                </c:pt>
                <c:pt idx="19">
                  <c:v>0.1325996661977144</c:v>
                </c:pt>
                <c:pt idx="20">
                  <c:v>0.12581073441595494</c:v>
                </c:pt>
                <c:pt idx="21">
                  <c:v>0.13092741473990524</c:v>
                </c:pt>
                <c:pt idx="22">
                  <c:v>0.11287386112963627</c:v>
                </c:pt>
                <c:pt idx="23">
                  <c:v>0.12094383314372067</c:v>
                </c:pt>
                <c:pt idx="24">
                  <c:v>0.1297628229156184</c:v>
                </c:pt>
                <c:pt idx="25">
                  <c:v>0.1076890020702798</c:v>
                </c:pt>
                <c:pt idx="26">
                  <c:v>0.10563121514340222</c:v>
                </c:pt>
                <c:pt idx="27">
                  <c:v>0.10278148314637302</c:v>
                </c:pt>
                <c:pt idx="28">
                  <c:v>0.142828335044023</c:v>
                </c:pt>
                <c:pt idx="29">
                  <c:v>0.14233206614814245</c:v>
                </c:pt>
                <c:pt idx="30">
                  <c:v>0.13715884438555737</c:v>
                </c:pt>
                <c:pt idx="31">
                  <c:v>0.12709619460511465</c:v>
                </c:pt>
                <c:pt idx="32">
                  <c:v>0.14168253522892874</c:v>
                </c:pt>
                <c:pt idx="33">
                  <c:v>0.13641438742756792</c:v>
                </c:pt>
                <c:pt idx="34">
                  <c:v>0.13217695982804545</c:v>
                </c:pt>
                <c:pt idx="35">
                  <c:v>0.11186385582834751</c:v>
                </c:pt>
                <c:pt idx="36">
                  <c:v>0.10385255873743057</c:v>
                </c:pt>
                <c:pt idx="37">
                  <c:v>0.11029855506203244</c:v>
                </c:pt>
                <c:pt idx="38">
                  <c:v>0.10085298916982946</c:v>
                </c:pt>
                <c:pt idx="39">
                  <c:v>0.09173292012133556</c:v>
                </c:pt>
                <c:pt idx="40">
                  <c:v>0.11456689925752063</c:v>
                </c:pt>
                <c:pt idx="41">
                  <c:v>0.1220744249741605</c:v>
                </c:pt>
                <c:pt idx="42">
                  <c:v>0.11531673023708025</c:v>
                </c:pt>
                <c:pt idx="43">
                  <c:v>0.1385851279788173</c:v>
                </c:pt>
                <c:pt idx="44">
                  <c:v>0.16074859773479486</c:v>
                </c:pt>
                <c:pt idx="45">
                  <c:v>0.16095578584645115</c:v>
                </c:pt>
                <c:pt idx="46">
                  <c:v>0.15055682681655633</c:v>
                </c:pt>
                <c:pt idx="47">
                  <c:v>0.14237573955226646</c:v>
                </c:pt>
                <c:pt idx="48">
                  <c:v>0.149210952059578</c:v>
                </c:pt>
                <c:pt idx="49">
                  <c:v>0.18271838555476713</c:v>
                </c:pt>
                <c:pt idx="50">
                  <c:v>0.1824346950584682</c:v>
                </c:pt>
                <c:pt idx="51">
                  <c:v>0.15484792056163177</c:v>
                </c:pt>
                <c:pt idx="52">
                  <c:v>0.22360544836535173</c:v>
                </c:pt>
                <c:pt idx="53">
                  <c:v>0.4435189218174139</c:v>
                </c:pt>
                <c:pt idx="54">
                  <c:v>0.07156763964118108</c:v>
                </c:pt>
              </c:numCache>
            </c:numRef>
          </c:xVal>
          <c:yVal>
            <c:numRef>
              <c:f>Sheet1!$B$187:$B$241</c:f>
              <c:numCache>
                <c:formatCode>General</c:formatCode>
                <c:ptCount val="55"/>
                <c:pt idx="0">
                  <c:v>0.18066305454282033</c:v>
                </c:pt>
                <c:pt idx="1">
                  <c:v>0.1821573252851291</c:v>
                </c:pt>
                <c:pt idx="2">
                  <c:v>0.17415303007028554</c:v>
                </c:pt>
                <c:pt idx="3">
                  <c:v>0.17432512562180583</c:v>
                </c:pt>
                <c:pt idx="4">
                  <c:v>0.17497847760153093</c:v>
                </c:pt>
                <c:pt idx="5">
                  <c:v>0.17775639069949145</c:v>
                </c:pt>
                <c:pt idx="6">
                  <c:v>0.17692474513985165</c:v>
                </c:pt>
                <c:pt idx="7">
                  <c:v>0.17733137328842602</c:v>
                </c:pt>
                <c:pt idx="8">
                  <c:v>0.18612191522601584</c:v>
                </c:pt>
                <c:pt idx="9">
                  <c:v>0.1851150889522277</c:v>
                </c:pt>
                <c:pt idx="10">
                  <c:v>0.1853353494350825</c:v>
                </c:pt>
                <c:pt idx="11">
                  <c:v>0.1781016264099181</c:v>
                </c:pt>
                <c:pt idx="12">
                  <c:v>0.17559832264980418</c:v>
                </c:pt>
                <c:pt idx="13">
                  <c:v>0.17873631073861695</c:v>
                </c:pt>
                <c:pt idx="14">
                  <c:v>0.17703456938375411</c:v>
                </c:pt>
                <c:pt idx="15">
                  <c:v>0.17882140378033673</c:v>
                </c:pt>
                <c:pt idx="16">
                  <c:v>0.17507887359437488</c:v>
                </c:pt>
                <c:pt idx="17">
                  <c:v>0.17621039605277178</c:v>
                </c:pt>
                <c:pt idx="18">
                  <c:v>0.17420845642794425</c:v>
                </c:pt>
                <c:pt idx="19">
                  <c:v>0.1759227246857894</c:v>
                </c:pt>
                <c:pt idx="20">
                  <c:v>0.17437021568855568</c:v>
                </c:pt>
                <c:pt idx="21">
                  <c:v>0.1755403102622329</c:v>
                </c:pt>
                <c:pt idx="22">
                  <c:v>0.17141178086865574</c:v>
                </c:pt>
                <c:pt idx="23">
                  <c:v>0.17325724117994545</c:v>
                </c:pt>
                <c:pt idx="24">
                  <c:v>0.17527398864589733</c:v>
                </c:pt>
                <c:pt idx="25">
                  <c:v>0.1702260950203066</c:v>
                </c:pt>
                <c:pt idx="26">
                  <c:v>0.16975551543266795</c:v>
                </c:pt>
                <c:pt idx="27">
                  <c:v>0.1691038319709222</c:v>
                </c:pt>
                <c:pt idx="28">
                  <c:v>0.1782618409008448</c:v>
                </c:pt>
                <c:pt idx="29">
                  <c:v>0.17814835295448306</c:v>
                </c:pt>
                <c:pt idx="30">
                  <c:v>0.1769653283507188</c:v>
                </c:pt>
                <c:pt idx="31">
                  <c:v>0.17466417776880785</c:v>
                </c:pt>
                <c:pt idx="32">
                  <c:v>0.17799981668567416</c:v>
                </c:pt>
                <c:pt idx="33">
                  <c:v>0.17679508417056114</c:v>
                </c:pt>
                <c:pt idx="34">
                  <c:v>0.1758260591921307</c:v>
                </c:pt>
                <c:pt idx="35">
                  <c:v>0.17118081046448735</c:v>
                </c:pt>
                <c:pt idx="36">
                  <c:v>0.16934876807358007</c:v>
                </c:pt>
                <c:pt idx="37">
                  <c:v>0.17082285377833972</c:v>
                </c:pt>
                <c:pt idx="38">
                  <c:v>0.1686628194013543</c:v>
                </c:pt>
                <c:pt idx="39">
                  <c:v>0.1665772204134219</c:v>
                </c:pt>
                <c:pt idx="40">
                  <c:v>0.17179894883715152</c:v>
                </c:pt>
                <c:pt idx="41">
                  <c:v>0.17351578759717015</c:v>
                </c:pt>
                <c:pt idx="42">
                  <c:v>0.17197042196128845</c:v>
                </c:pt>
                <c:pt idx="43">
                  <c:v>0.17729149426051513</c:v>
                </c:pt>
                <c:pt idx="44">
                  <c:v>0.1823598890112951</c:v>
                </c:pt>
                <c:pt idx="45">
                  <c:v>0.18240726927932643</c:v>
                </c:pt>
                <c:pt idx="46">
                  <c:v>0.18002921070181152</c:v>
                </c:pt>
                <c:pt idx="47">
                  <c:v>0.17815834029196442</c:v>
                </c:pt>
                <c:pt idx="48">
                  <c:v>0.17972143287511827</c:v>
                </c:pt>
                <c:pt idx="49">
                  <c:v>0.18738399211827658</c:v>
                </c:pt>
                <c:pt idx="50">
                  <c:v>0.1873191171037541</c:v>
                </c:pt>
                <c:pt idx="51">
                  <c:v>0.18101050818149786</c:v>
                </c:pt>
                <c:pt idx="52">
                  <c:v>0.19673414246953583</c:v>
                </c:pt>
                <c:pt idx="53">
                  <c:v>0.247024476372223</c:v>
                </c:pt>
                <c:pt idx="54">
                  <c:v>0.161965776318299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5.6438</c:v>
                </c:pt>
                <c:pt idx="1">
                  <c:v>846.5422</c:v>
                </c:pt>
                <c:pt idx="2">
                  <c:v>857.7422</c:v>
                </c:pt>
                <c:pt idx="3">
                  <c:v>884.6487</c:v>
                </c:pt>
                <c:pt idx="4">
                  <c:v>886.1929</c:v>
                </c:pt>
                <c:pt idx="5">
                  <c:v>874.3161</c:v>
                </c:pt>
                <c:pt idx="6">
                  <c:v>828.5675</c:v>
                </c:pt>
                <c:pt idx="7">
                  <c:v>856.6011</c:v>
                </c:pt>
                <c:pt idx="8">
                  <c:v>847.4562</c:v>
                </c:pt>
                <c:pt idx="9">
                  <c:v>876.3505</c:v>
                </c:pt>
                <c:pt idx="10">
                  <c:v>878.7276</c:v>
                </c:pt>
                <c:pt idx="11">
                  <c:v>944.2932</c:v>
                </c:pt>
                <c:pt idx="12">
                  <c:v>906.6891</c:v>
                </c:pt>
                <c:pt idx="13">
                  <c:v>916.4989</c:v>
                </c:pt>
                <c:pt idx="14">
                  <c:v>943.0668</c:v>
                </c:pt>
                <c:pt idx="15">
                  <c:v>970.7636</c:v>
                </c:pt>
                <c:pt idx="16">
                  <c:v>991.3314</c:v>
                </c:pt>
                <c:pt idx="17">
                  <c:v>1016.6182</c:v>
                </c:pt>
                <c:pt idx="18">
                  <c:v>1035.1399</c:v>
                </c:pt>
                <c:pt idx="19">
                  <c:v>1017.2401</c:v>
                </c:pt>
                <c:pt idx="20">
                  <c:v>1025.453</c:v>
                </c:pt>
                <c:pt idx="21">
                  <c:v>1079.9431</c:v>
                </c:pt>
                <c:pt idx="22">
                  <c:v>1031.5856</c:v>
                </c:pt>
                <c:pt idx="23">
                  <c:v>1044.3065</c:v>
                </c:pt>
                <c:pt idx="24">
                  <c:v>1028.3956</c:v>
                </c:pt>
                <c:pt idx="25">
                  <c:v>954.8542</c:v>
                </c:pt>
                <c:pt idx="26">
                  <c:v>901.9621</c:v>
                </c:pt>
                <c:pt idx="27">
                  <c:v>933.4771</c:v>
                </c:pt>
                <c:pt idx="28">
                  <c:v>878.2792</c:v>
                </c:pt>
                <c:pt idx="29">
                  <c:v>911.9818</c:v>
                </c:pt>
                <c:pt idx="30">
                  <c:v>928.6812</c:v>
                </c:pt>
                <c:pt idx="31">
                  <c:v>849.0337</c:v>
                </c:pt>
                <c:pt idx="32">
                  <c:v>925.9729</c:v>
                </c:pt>
                <c:pt idx="33">
                  <c:v>869.5248</c:v>
                </c:pt>
                <c:pt idx="34">
                  <c:v>888.9248</c:v>
                </c:pt>
                <c:pt idx="35">
                  <c:v>930.0933</c:v>
                </c:pt>
                <c:pt idx="36">
                  <c:v>997.1647</c:v>
                </c:pt>
                <c:pt idx="37">
                  <c:v>1023.4148</c:v>
                </c:pt>
                <c:pt idx="38">
                  <c:v>1064.3849</c:v>
                </c:pt>
                <c:pt idx="39">
                  <c:v>1047.627</c:v>
                </c:pt>
                <c:pt idx="40">
                  <c:v>1014.8772</c:v>
                </c:pt>
                <c:pt idx="41">
                  <c:v>1043.2237</c:v>
                </c:pt>
                <c:pt idx="42">
                  <c:v>1144.729</c:v>
                </c:pt>
                <c:pt idx="43">
                  <c:v>1096.9671</c:v>
                </c:pt>
                <c:pt idx="44">
                  <c:v>976.8852</c:v>
                </c:pt>
                <c:pt idx="45">
                  <c:v>940.0365</c:v>
                </c:pt>
                <c:pt idx="46">
                  <c:v>975.9787</c:v>
                </c:pt>
                <c:pt idx="47">
                  <c:v>976.3143</c:v>
                </c:pt>
                <c:pt idx="48">
                  <c:v>1010.3581</c:v>
                </c:pt>
                <c:pt idx="49">
                  <c:v>993.3396</c:v>
                </c:pt>
                <c:pt idx="50">
                  <c:v>983.9908</c:v>
                </c:pt>
                <c:pt idx="51">
                  <c:v>1030.8248</c:v>
                </c:pt>
                <c:pt idx="52">
                  <c:v>1049.4801</c:v>
                </c:pt>
                <c:pt idx="53">
                  <c:v>1118.3601</c:v>
                </c:pt>
                <c:pt idx="54">
                  <c:v>1107.9342</c:v>
                </c:pt>
                <c:pt idx="55">
                  <c:v>1091.6491</c:v>
                </c:pt>
                <c:pt idx="56">
                  <c:v>1088.844</c:v>
                </c:pt>
                <c:pt idx="57">
                  <c:v>1042.8825</c:v>
                </c:pt>
                <c:pt idx="58">
                  <c:v>1100.7128</c:v>
                </c:pt>
                <c:pt idx="59">
                  <c:v>1047.901</c:v>
                </c:pt>
                <c:pt idx="60">
                  <c:v>1049.8136</c:v>
                </c:pt>
                <c:pt idx="61">
                  <c:v>1145.1191</c:v>
                </c:pt>
                <c:pt idx="62">
                  <c:v>1114.1609</c:v>
                </c:pt>
                <c:pt idx="63">
                  <c:v>1116.0449</c:v>
                </c:pt>
                <c:pt idx="64">
                  <c:v>1136.6919</c:v>
                </c:pt>
                <c:pt idx="65">
                  <c:v>1081.1027</c:v>
                </c:pt>
                <c:pt idx="66">
                  <c:v>1125.1224</c:v>
                </c:pt>
                <c:pt idx="67">
                  <c:v>1155.8518</c:v>
                </c:pt>
                <c:pt idx="68">
                  <c:v>1136.5592</c:v>
                </c:pt>
                <c:pt idx="69">
                  <c:v>1160.4129</c:v>
                </c:pt>
                <c:pt idx="70">
                  <c:v>1131.8939</c:v>
                </c:pt>
                <c:pt idx="71">
                  <c:v>1197.58</c:v>
                </c:pt>
                <c:pt idx="72">
                  <c:v>1227.7955</c:v>
                </c:pt>
                <c:pt idx="73">
                  <c:v>1258.9887</c:v>
                </c:pt>
                <c:pt idx="74">
                  <c:v>1244.2232</c:v>
                </c:pt>
                <c:pt idx="75">
                  <c:v>1201.6182</c:v>
                </c:pt>
                <c:pt idx="76">
                  <c:v>1097.7743</c:v>
                </c:pt>
                <c:pt idx="77">
                  <c:v>970.0765</c:v>
                </c:pt>
                <c:pt idx="78">
                  <c:v>1220.9506</c:v>
                </c:pt>
                <c:pt idx="79">
                  <c:v>1219.1448</c:v>
                </c:pt>
                <c:pt idx="80">
                  <c:v>1227.848</c:v>
                </c:pt>
                <c:pt idx="81">
                  <c:v>1117.4735</c:v>
                </c:pt>
                <c:pt idx="82">
                  <c:v>1116.2864</c:v>
                </c:pt>
                <c:pt idx="83">
                  <c:v>1061.4184</c:v>
                </c:pt>
                <c:pt idx="84">
                  <c:v>1120.1467</c:v>
                </c:pt>
                <c:pt idx="85">
                  <c:v>1173.8586</c:v>
                </c:pt>
                <c:pt idx="86">
                  <c:v>1151.9957</c:v>
                </c:pt>
                <c:pt idx="87">
                  <c:v>1134.9236</c:v>
                </c:pt>
                <c:pt idx="88">
                  <c:v>1207.2287</c:v>
                </c:pt>
                <c:pt idx="89">
                  <c:v>1201.8307</c:v>
                </c:pt>
                <c:pt idx="90">
                  <c:v>1248.7919</c:v>
                </c:pt>
                <c:pt idx="91">
                  <c:v>1204.7665</c:v>
                </c:pt>
                <c:pt idx="92">
                  <c:v>1152.9478</c:v>
                </c:pt>
                <c:pt idx="93">
                  <c:v>1234.8716</c:v>
                </c:pt>
                <c:pt idx="94">
                  <c:v>1088.6184</c:v>
                </c:pt>
                <c:pt idx="95">
                  <c:v>1075.876</c:v>
                </c:pt>
                <c:pt idx="96">
                  <c:v>1111.7532</c:v>
                </c:pt>
                <c:pt idx="97">
                  <c:v>1160.1207</c:v>
                </c:pt>
                <c:pt idx="98">
                  <c:v>1175.1873</c:v>
                </c:pt>
                <c:pt idx="99">
                  <c:v>1123.5751</c:v>
                </c:pt>
                <c:pt idx="100">
                  <c:v>1083.7842</c:v>
                </c:pt>
                <c:pt idx="101">
                  <c:v>1092.9247</c:v>
                </c:pt>
                <c:pt idx="102">
                  <c:v>1094.6313</c:v>
                </c:pt>
                <c:pt idx="103">
                  <c:v>1119.5537</c:v>
                </c:pt>
                <c:pt idx="104">
                  <c:v>1145.2405</c:v>
                </c:pt>
              </c:numCache>
            </c:numRef>
          </c:xVal>
          <c:yVal>
            <c:numRef>
              <c:f>Sheet1!$B$2:$B$106</c:f>
              <c:numCache>
                <c:formatCode>General</c:formatCode>
                <c:ptCount val="105"/>
                <c:pt idx="0">
                  <c:v>0.21975308641975308</c:v>
                </c:pt>
                <c:pt idx="1">
                  <c:v>0.22355717657155116</c:v>
                </c:pt>
                <c:pt idx="2">
                  <c:v>0.23753490227363383</c:v>
                </c:pt>
                <c:pt idx="3">
                  <c:v>0.24435501900290632</c:v>
                </c:pt>
                <c:pt idx="4">
                  <c:v>0.2445770065075922</c:v>
                </c:pt>
                <c:pt idx="5">
                  <c:v>0.2463455547567697</c:v>
                </c:pt>
                <c:pt idx="6">
                  <c:v>0.28480456741326304</c:v>
                </c:pt>
                <c:pt idx="7">
                  <c:v>0.2658291457286432</c:v>
                </c:pt>
                <c:pt idx="8">
                  <c:v>0.2564638286758945</c:v>
                </c:pt>
                <c:pt idx="9">
                  <c:v>0.22635921303152104</c:v>
                </c:pt>
                <c:pt idx="10">
                  <c:v>0.21507034110618617</c:v>
                </c:pt>
                <c:pt idx="11">
                  <c:v>0.21120162932790223</c:v>
                </c:pt>
                <c:pt idx="12">
                  <c:v>0.19696678825110386</c:v>
                </c:pt>
                <c:pt idx="13">
                  <c:v>0.19517403373905617</c:v>
                </c:pt>
                <c:pt idx="14">
                  <c:v>0.17093235831809872</c:v>
                </c:pt>
                <c:pt idx="15">
                  <c:v>0.16838487972508592</c:v>
                </c:pt>
                <c:pt idx="16">
                  <c:v>0.17434662998624484</c:v>
                </c:pt>
                <c:pt idx="17">
                  <c:v>0.15259611573523582</c:v>
                </c:pt>
                <c:pt idx="18">
                  <c:v>0.14547304170905392</c:v>
                </c:pt>
                <c:pt idx="19">
                  <c:v>0.1558659217877095</c:v>
                </c:pt>
                <c:pt idx="20">
                  <c:v>0.15401491882404564</c:v>
                </c:pt>
                <c:pt idx="21">
                  <c:v>0.151237890204521</c:v>
                </c:pt>
                <c:pt idx="22">
                  <c:v>0.20169594185342216</c:v>
                </c:pt>
                <c:pt idx="23">
                  <c:v>0.2058359621451104</c:v>
                </c:pt>
                <c:pt idx="24">
                  <c:v>0.19899244332493704</c:v>
                </c:pt>
                <c:pt idx="25">
                  <c:v>0.2231467473524962</c:v>
                </c:pt>
                <c:pt idx="26">
                  <c:v>0.2312180889861415</c:v>
                </c:pt>
                <c:pt idx="27">
                  <c:v>0.2412129565816678</c:v>
                </c:pt>
                <c:pt idx="28">
                  <c:v>0.23157894736842105</c:v>
                </c:pt>
                <c:pt idx="29">
                  <c:v>0.20296296296296296</c:v>
                </c:pt>
                <c:pt idx="30">
                  <c:v>0.2072072072072072</c:v>
                </c:pt>
                <c:pt idx="31">
                  <c:v>0.23839285714285716</c:v>
                </c:pt>
                <c:pt idx="32">
                  <c:v>0.22591943957968477</c:v>
                </c:pt>
                <c:pt idx="33">
                  <c:v>0.20294708640321502</c:v>
                </c:pt>
                <c:pt idx="34">
                  <c:v>0.19387755102040816</c:v>
                </c:pt>
                <c:pt idx="35">
                  <c:v>0.2066115702479339</c:v>
                </c:pt>
                <c:pt idx="36">
                  <c:v>0.1806966618287373</c:v>
                </c:pt>
                <c:pt idx="37">
                  <c:v>0.16825863335782512</c:v>
                </c:pt>
                <c:pt idx="38">
                  <c:v>0.1730629978276611</c:v>
                </c:pt>
                <c:pt idx="39">
                  <c:v>0.15494137353433834</c:v>
                </c:pt>
                <c:pt idx="40">
                  <c:v>0.15595075239398085</c:v>
                </c:pt>
                <c:pt idx="41">
                  <c:v>0.15271966527196654</c:v>
                </c:pt>
                <c:pt idx="42">
                  <c:v>0.14381720430107528</c:v>
                </c:pt>
                <c:pt idx="43">
                  <c:v>0.15784499054820417</c:v>
                </c:pt>
                <c:pt idx="44">
                  <c:v>0.18154761904761904</c:v>
                </c:pt>
                <c:pt idx="45">
                  <c:v>0.19192651679961326</c:v>
                </c:pt>
                <c:pt idx="46">
                  <c:v>0.18613861386138614</c:v>
                </c:pt>
                <c:pt idx="47">
                  <c:v>0.18038133467134973</c:v>
                </c:pt>
                <c:pt idx="48">
                  <c:v>0.18894095595126523</c:v>
                </c:pt>
                <c:pt idx="49">
                  <c:v>0.2045925925925926</c:v>
                </c:pt>
                <c:pt idx="50">
                  <c:v>0.18682399213372664</c:v>
                </c:pt>
                <c:pt idx="51">
                  <c:v>0.18134565405717587</c:v>
                </c:pt>
                <c:pt idx="52">
                  <c:v>0.17926421404682275</c:v>
                </c:pt>
                <c:pt idx="53">
                  <c:v>0.1655811623246493</c:v>
                </c:pt>
                <c:pt idx="54">
                  <c:v>0.1824022346368715</c:v>
                </c:pt>
                <c:pt idx="55">
                  <c:v>0.1910979228486647</c:v>
                </c:pt>
                <c:pt idx="56">
                  <c:v>0.19060850236176716</c:v>
                </c:pt>
                <c:pt idx="57">
                  <c:v>0.19457496796240922</c:v>
                </c:pt>
                <c:pt idx="58">
                  <c:v>0.18020400453343408</c:v>
                </c:pt>
                <c:pt idx="59">
                  <c:v>0.20327799063431248</c:v>
                </c:pt>
                <c:pt idx="60">
                  <c:v>0.23476768419762167</c:v>
                </c:pt>
                <c:pt idx="61">
                  <c:v>0.21018998272884284</c:v>
                </c:pt>
                <c:pt idx="62">
                  <c:v>0.2165082914104714</c:v>
                </c:pt>
                <c:pt idx="63">
                  <c:v>0.24458454574846428</c:v>
                </c:pt>
                <c:pt idx="64">
                  <c:v>0.22086607590703897</c:v>
                </c:pt>
                <c:pt idx="65">
                  <c:v>0.21508124885886434</c:v>
                </c:pt>
                <c:pt idx="66">
                  <c:v>0.1952593743928502</c:v>
                </c:pt>
                <c:pt idx="67">
                  <c:v>0.18420499894980047</c:v>
                </c:pt>
                <c:pt idx="68">
                  <c:v>0.1875746714456392</c:v>
                </c:pt>
                <c:pt idx="69">
                  <c:v>0.19421199442119944</c:v>
                </c:pt>
                <c:pt idx="70">
                  <c:v>0.18158066623122143</c:v>
                </c:pt>
                <c:pt idx="71">
                  <c:v>0.18216918216918218</c:v>
                </c:pt>
                <c:pt idx="72">
                  <c:v>0.1853677028051554</c:v>
                </c:pt>
                <c:pt idx="73">
                  <c:v>0.18405676126878132</c:v>
                </c:pt>
                <c:pt idx="74">
                  <c:v>0.18099009900990098</c:v>
                </c:pt>
                <c:pt idx="75">
                  <c:v>0.194675540765391</c:v>
                </c:pt>
                <c:pt idx="76">
                  <c:v>0.20808871493803</c:v>
                </c:pt>
                <c:pt idx="77">
                  <c:v>0.2334723049434187</c:v>
                </c:pt>
                <c:pt idx="78">
                  <c:v>0.1748201438848921</c:v>
                </c:pt>
                <c:pt idx="79">
                  <c:v>0.1611962071480671</c:v>
                </c:pt>
                <c:pt idx="80">
                  <c:v>0.16012558869701726</c:v>
                </c:pt>
                <c:pt idx="81">
                  <c:v>0.1643835616438356</c:v>
                </c:pt>
                <c:pt idx="82">
                  <c:v>0.15366795366795366</c:v>
                </c:pt>
                <c:pt idx="83">
                  <c:v>0.17899543378995433</c:v>
                </c:pt>
                <c:pt idx="84">
                  <c:v>0.1724461105904405</c:v>
                </c:pt>
                <c:pt idx="85">
                  <c:v>0.1523076923076923</c:v>
                </c:pt>
                <c:pt idx="86">
                  <c:v>0.14971209213051823</c:v>
                </c:pt>
                <c:pt idx="87">
                  <c:v>0.18593644354293443</c:v>
                </c:pt>
                <c:pt idx="88">
                  <c:v>0.15640599001663893</c:v>
                </c:pt>
                <c:pt idx="89">
                  <c:v>0.1612627986348123</c:v>
                </c:pt>
                <c:pt idx="90">
                  <c:v>0.161531279178338</c:v>
                </c:pt>
                <c:pt idx="91">
                  <c:v>0.1362153344208809</c:v>
                </c:pt>
                <c:pt idx="92">
                  <c:v>0.1534058385804236</c:v>
                </c:pt>
                <c:pt idx="93">
                  <c:v>0.15324985092426952</c:v>
                </c:pt>
                <c:pt idx="94">
                  <c:v>0.1745362563237774</c:v>
                </c:pt>
                <c:pt idx="95">
                  <c:v>0.1791405118300338</c:v>
                </c:pt>
                <c:pt idx="96">
                  <c:v>0.16952856696846708</c:v>
                </c:pt>
                <c:pt idx="97">
                  <c:v>0.16221255438160348</c:v>
                </c:pt>
                <c:pt idx="98">
                  <c:v>0.1646112600536193</c:v>
                </c:pt>
                <c:pt idx="99">
                  <c:v>0.1703818141690576</c:v>
                </c:pt>
                <c:pt idx="100">
                  <c:v>0.17721016410799365</c:v>
                </c:pt>
                <c:pt idx="101">
                  <c:v>0.1733852496564361</c:v>
                </c:pt>
                <c:pt idx="102">
                  <c:v>0.18436406067677946</c:v>
                </c:pt>
                <c:pt idx="103">
                  <c:v>0.1638602663985926</c:v>
                </c:pt>
                <c:pt idx="104">
                  <c:v>0.170492648955377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numCache>
            </c:numRef>
          </c:xVal>
          <c:yVal>
            <c:numRef>
              <c:f>Sheet1!$B$109:$B$160</c:f>
              <c:numCache>
                <c:formatCode>General</c:formatCode>
                <c:ptCount val="52"/>
                <c:pt idx="0">
                  <c:v>0.17821994009413777</c:v>
                </c:pt>
                <c:pt idx="1">
                  <c:v>0.18122127380170716</c:v>
                </c:pt>
                <c:pt idx="2">
                  <c:v>0.20532544378698225</c:v>
                </c:pt>
                <c:pt idx="3">
                  <c:v>0.2113644589214622</c:v>
                </c:pt>
                <c:pt idx="4">
                  <c:v>0.2116670042535953</c:v>
                </c:pt>
                <c:pt idx="5">
                  <c:v>0.21059322033898306</c:v>
                </c:pt>
                <c:pt idx="6">
                  <c:v>0.20348241720723798</c:v>
                </c:pt>
                <c:pt idx="7">
                  <c:v>0.19383259911894274</c:v>
                </c:pt>
                <c:pt idx="8">
                  <c:v>0.1749009247027741</c:v>
                </c:pt>
                <c:pt idx="9">
                  <c:v>0.18254764292878636</c:v>
                </c:pt>
                <c:pt idx="10">
                  <c:v>0.1896280775275013</c:v>
                </c:pt>
                <c:pt idx="11">
                  <c:v>0.20026425066062664</c:v>
                </c:pt>
                <c:pt idx="12">
                  <c:v>0.20218061151931738</c:v>
                </c:pt>
                <c:pt idx="13">
                  <c:v>0.19976580796252927</c:v>
                </c:pt>
                <c:pt idx="14">
                  <c:v>0.19911273486430062</c:v>
                </c:pt>
                <c:pt idx="15">
                  <c:v>0.19640820980615736</c:v>
                </c:pt>
                <c:pt idx="16">
                  <c:v>0.1883226459669254</c:v>
                </c:pt>
                <c:pt idx="17">
                  <c:v>0.1920062695924765</c:v>
                </c:pt>
                <c:pt idx="18">
                  <c:v>0.2026106696935301</c:v>
                </c:pt>
                <c:pt idx="19">
                  <c:v>0.1981279251170047</c:v>
                </c:pt>
                <c:pt idx="20">
                  <c:v>0.18811881188118812</c:v>
                </c:pt>
                <c:pt idx="21">
                  <c:v>0.2086693548387097</c:v>
                </c:pt>
                <c:pt idx="22">
                  <c:v>0.20451201569396762</c:v>
                </c:pt>
                <c:pt idx="23">
                  <c:v>0.19212690951821387</c:v>
                </c:pt>
                <c:pt idx="24">
                  <c:v>0.17125</c:v>
                </c:pt>
                <c:pt idx="25">
                  <c:v>0.18271257905832747</c:v>
                </c:pt>
                <c:pt idx="26">
                  <c:v>0.1676190476190476</c:v>
                </c:pt>
                <c:pt idx="27">
                  <c:v>0.17391304347826086</c:v>
                </c:pt>
                <c:pt idx="28">
                  <c:v>0.15332512315270935</c:v>
                </c:pt>
                <c:pt idx="29">
                  <c:v>0.1500732064421669</c:v>
                </c:pt>
                <c:pt idx="30">
                  <c:v>0.156195462478185</c:v>
                </c:pt>
                <c:pt idx="31">
                  <c:v>0.15906562847608455</c:v>
                </c:pt>
                <c:pt idx="32">
                  <c:v>0.15180102915951973</c:v>
                </c:pt>
                <c:pt idx="33">
                  <c:v>0.14893617021276595</c:v>
                </c:pt>
                <c:pt idx="34">
                  <c:v>0.16506101477199744</c:v>
                </c:pt>
                <c:pt idx="35">
                  <c:v>0.1495253164556962</c:v>
                </c:pt>
                <c:pt idx="36">
                  <c:v>0.13382899628252787</c:v>
                </c:pt>
                <c:pt idx="37">
                  <c:v>0.1457663451232583</c:v>
                </c:pt>
                <c:pt idx="38">
                  <c:v>0.15209580838323353</c:v>
                </c:pt>
                <c:pt idx="39">
                  <c:v>0.14285714285714285</c:v>
                </c:pt>
                <c:pt idx="40">
                  <c:v>0.13785180930499713</c:v>
                </c:pt>
                <c:pt idx="41">
                  <c:v>0.14267185473411154</c:v>
                </c:pt>
                <c:pt idx="42">
                  <c:v>0.1530221882172915</c:v>
                </c:pt>
                <c:pt idx="43">
                  <c:v>0.13817330210772832</c:v>
                </c:pt>
                <c:pt idx="44">
                  <c:v>0.14623571147024045</c:v>
                </c:pt>
                <c:pt idx="45">
                  <c:v>0.1591754938448325</c:v>
                </c:pt>
                <c:pt idx="46">
                  <c:v>0.1689432063263839</c:v>
                </c:pt>
                <c:pt idx="47">
                  <c:v>0.17679900744416874</c:v>
                </c:pt>
                <c:pt idx="48">
                  <c:v>0.187374972216048</c:v>
                </c:pt>
                <c:pt idx="49">
                  <c:v>0.17593763168984408</c:v>
                </c:pt>
                <c:pt idx="50">
                  <c:v>0.1885771795194364</c:v>
                </c:pt>
                <c:pt idx="51">
                  <c:v>0.18793559240567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9.954032335862</c:v>
                </c:pt>
              </c:numCache>
            </c:numRef>
          </c:xVal>
          <c:yVal>
            <c:numRef>
              <c:f>Sheet1!$B$163:$B$164</c:f>
              <c:numCache>
                <c:formatCode>General</c:formatCode>
                <c:ptCount val="2"/>
                <c:pt idx="0">
                  <c:v>0.247024476372223</c:v>
                </c:pt>
                <c:pt idx="1">
                  <c:v>0.2470244763722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9.954032335862</c:v>
                </c:pt>
                <c:pt idx="1">
                  <c:v>839.954032335862</c:v>
                </c:pt>
              </c:numCache>
            </c:numRef>
          </c:xVal>
          <c:yVal>
            <c:numRef>
              <c:f>Sheet1!$B$167:$B$168</c:f>
              <c:numCache>
                <c:formatCode>General</c:formatCode>
                <c:ptCount val="2"/>
                <c:pt idx="0">
                  <c:v>0.2470244763722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2.7040689894372</c:v>
                </c:pt>
              </c:numCache>
            </c:numRef>
          </c:xVal>
          <c:yVal>
            <c:numRef>
              <c:f>Sheet1!$B$171:$B$172</c:f>
              <c:numCache>
                <c:formatCode>General</c:formatCode>
                <c:ptCount val="2"/>
                <c:pt idx="0">
                  <c:v>0.19673414246953583</c:v>
                </c:pt>
                <c:pt idx="1">
                  <c:v>0.196734142469535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2.7040689894372</c:v>
                </c:pt>
                <c:pt idx="1">
                  <c:v>1092.7040689894372</c:v>
                </c:pt>
              </c:numCache>
            </c:numRef>
          </c:xVal>
          <c:yVal>
            <c:numRef>
              <c:f>Sheet1!$B$175:$B$176</c:f>
              <c:numCache>
                <c:formatCode>General</c:formatCode>
                <c:ptCount val="2"/>
                <c:pt idx="0">
                  <c:v>0.19673414246953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7.443529580696</c:v>
                </c:pt>
              </c:numCache>
            </c:numRef>
          </c:xVal>
          <c:yVal>
            <c:numRef>
              <c:f>Sheet1!$B$179:$B$180</c:f>
              <c:numCache>
                <c:formatCode>General</c:formatCode>
                <c:ptCount val="2"/>
                <c:pt idx="0">
                  <c:v>0.16196577631829978</c:v>
                </c:pt>
                <c:pt idx="1">
                  <c:v>0.161965776318299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7.443529580696</c:v>
                </c:pt>
                <c:pt idx="1">
                  <c:v>1267.443529580696</c:v>
                </c:pt>
              </c:numCache>
            </c:numRef>
          </c:xVal>
          <c:yVal>
            <c:numRef>
              <c:f>Sheet1!$B$183:$B$184</c:f>
              <c:numCache>
                <c:formatCode>General</c:formatCode>
                <c:ptCount val="2"/>
                <c:pt idx="0">
                  <c:v>0.161965776318299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4.3529</c:v>
                </c:pt>
                <c:pt idx="1">
                  <c:v>1186.4807</c:v>
                </c:pt>
                <c:pt idx="2">
                  <c:v>1159.9741</c:v>
                </c:pt>
                <c:pt idx="3">
                  <c:v>1150.7877</c:v>
                </c:pt>
                <c:pt idx="4">
                  <c:v>1157.0153</c:v>
                </c:pt>
                <c:pt idx="5">
                  <c:v>1158.2827</c:v>
                </c:pt>
                <c:pt idx="6">
                  <c:v>1105.7701</c:v>
                </c:pt>
                <c:pt idx="7">
                  <c:v>1183.7076</c:v>
                </c:pt>
                <c:pt idx="8">
                  <c:v>1231.8066</c:v>
                </c:pt>
                <c:pt idx="9">
                  <c:v>1216.2692</c:v>
                </c:pt>
                <c:pt idx="10">
                  <c:v>1236.7666</c:v>
                </c:pt>
                <c:pt idx="11">
                  <c:v>1073.0584</c:v>
                </c:pt>
                <c:pt idx="12">
                  <c:v>1072.4021</c:v>
                </c:pt>
                <c:pt idx="13">
                  <c:v>1195.0445</c:v>
                </c:pt>
                <c:pt idx="14">
                  <c:v>1199.5098</c:v>
                </c:pt>
                <c:pt idx="15">
                  <c:v>1212.0639</c:v>
                </c:pt>
                <c:pt idx="16">
                  <c:v>1268.1326</c:v>
                </c:pt>
                <c:pt idx="17">
                  <c:v>1225.5163</c:v>
                </c:pt>
                <c:pt idx="18">
                  <c:v>1263.9552</c:v>
                </c:pt>
                <c:pt idx="19">
                  <c:v>1251.9738</c:v>
                </c:pt>
                <c:pt idx="20">
                  <c:v>1227.169</c:v>
                </c:pt>
                <c:pt idx="21">
                  <c:v>1148.314</c:v>
                </c:pt>
                <c:pt idx="22">
                  <c:v>1095.4892</c:v>
                </c:pt>
                <c:pt idx="23">
                  <c:v>1141.0336</c:v>
                </c:pt>
                <c:pt idx="24">
                  <c:v>1207.0438</c:v>
                </c:pt>
                <c:pt idx="25">
                  <c:v>1166.8269</c:v>
                </c:pt>
                <c:pt idx="26">
                  <c:v>1201.3712</c:v>
                </c:pt>
                <c:pt idx="27">
                  <c:v>1197.1719</c:v>
                </c:pt>
                <c:pt idx="28">
                  <c:v>1218.0321</c:v>
                </c:pt>
                <c:pt idx="29">
                  <c:v>1222.8585</c:v>
                </c:pt>
                <c:pt idx="30">
                  <c:v>1206.0</c:v>
                </c:pt>
                <c:pt idx="31">
                  <c:v>1224.3287</c:v>
                </c:pt>
                <c:pt idx="32">
                  <c:v>1258.4802</c:v>
                </c:pt>
                <c:pt idx="33">
                  <c:v>1250.551</c:v>
                </c:pt>
                <c:pt idx="34">
                  <c:v>1259.1245</c:v>
                </c:pt>
                <c:pt idx="35">
                  <c:v>1271.4286</c:v>
                </c:pt>
                <c:pt idx="36">
                  <c:v>1296.6667</c:v>
                </c:pt>
                <c:pt idx="37">
                  <c:v>1211.7721</c:v>
                </c:pt>
                <c:pt idx="38">
                  <c:v>1224.0315</c:v>
                </c:pt>
                <c:pt idx="39">
                  <c:v>1113.2069</c:v>
                </c:pt>
                <c:pt idx="40">
                  <c:v>1222.425</c:v>
                </c:pt>
                <c:pt idx="41">
                  <c:v>1256.2364</c:v>
                </c:pt>
                <c:pt idx="42">
                  <c:v>1233.52</c:v>
                </c:pt>
                <c:pt idx="43">
                  <c:v>1256.1356</c:v>
                </c:pt>
                <c:pt idx="44">
                  <c:v>1161.5472</c:v>
                </c:pt>
                <c:pt idx="45">
                  <c:v>1159.9712</c:v>
                </c:pt>
                <c:pt idx="46">
                  <c:v>1204.6021</c:v>
                </c:pt>
                <c:pt idx="47">
                  <c:v>1154.5842</c:v>
                </c:pt>
                <c:pt idx="48">
                  <c:v>1207.5302</c:v>
                </c:pt>
                <c:pt idx="49">
                  <c:v>1205.4802</c:v>
                </c:pt>
                <c:pt idx="50">
                  <c:v>1092.1501</c:v>
                </c:pt>
                <c:pt idx="51">
                  <c:v>1061.9386</c:v>
                </c:pt>
                <c:pt idx="52">
                  <c:v>1092.7040689894372</c:v>
                </c:pt>
                <c:pt idx="53">
                  <c:v>839.954032335862</c:v>
                </c:pt>
                <c:pt idx="54">
                  <c:v>1267.443529580696</c:v>
                </c:pt>
              </c:numCache>
            </c:numRef>
          </c:xVal>
          <c:yVal>
            <c:numRef>
              <c:f>Sheet1!$B$187:$B$241</c:f>
              <c:numCache>
                <c:formatCode>General</c:formatCode>
                <c:ptCount val="55"/>
                <c:pt idx="0">
                  <c:v>0.17849853556582876</c:v>
                </c:pt>
                <c:pt idx="1">
                  <c:v>0.17807516165105144</c:v>
                </c:pt>
                <c:pt idx="2">
                  <c:v>0.18334924897572333</c:v>
                </c:pt>
                <c:pt idx="3">
                  <c:v>0.1851770909395876</c:v>
                </c:pt>
                <c:pt idx="4">
                  <c:v>0.18393796912754357</c:v>
                </c:pt>
                <c:pt idx="5">
                  <c:v>0.18368579124447712</c:v>
                </c:pt>
                <c:pt idx="6">
                  <c:v>0.19413436020637956</c:v>
                </c:pt>
                <c:pt idx="7">
                  <c:v>0.17862693258961196</c:v>
                </c:pt>
                <c:pt idx="8">
                  <c:v>0.1690565491292892</c:v>
                </c:pt>
                <c:pt idx="9">
                  <c:v>0.17214806612499428</c:v>
                </c:pt>
                <c:pt idx="10">
                  <c:v>0.16806964499483315</c:v>
                </c:pt>
                <c:pt idx="11">
                  <c:v>0.20064309245942102</c:v>
                </c:pt>
                <c:pt idx="12">
                  <c:v>0.20077367818188943</c:v>
                </c:pt>
                <c:pt idx="13">
                  <c:v>0.17637120003277432</c:v>
                </c:pt>
                <c:pt idx="14">
                  <c:v>0.1754827276473738</c:v>
                </c:pt>
                <c:pt idx="15">
                  <c:v>0.17298480563237892</c:v>
                </c:pt>
                <c:pt idx="16">
                  <c:v>0.16182867018004526</c:v>
                </c:pt>
                <c:pt idx="17">
                  <c:v>0.17030814652383933</c:v>
                </c:pt>
                <c:pt idx="18">
                  <c:v>0.16265985835167357</c:v>
                </c:pt>
                <c:pt idx="19">
                  <c:v>0.16504382875420817</c:v>
                </c:pt>
                <c:pt idx="20">
                  <c:v>0.16997930449500556</c:v>
                </c:pt>
                <c:pt idx="21">
                  <c:v>0.18566928947938677</c:v>
                </c:pt>
                <c:pt idx="22">
                  <c:v>0.19617997768942977</c:v>
                </c:pt>
                <c:pt idx="23">
                  <c:v>0.18711788965287343</c:v>
                </c:pt>
                <c:pt idx="24">
                  <c:v>0.17398366802056095</c:v>
                </c:pt>
                <c:pt idx="25">
                  <c:v>0.18198572948931194</c:v>
                </c:pt>
                <c:pt idx="26">
                  <c:v>0.17511236003530192</c:v>
                </c:pt>
                <c:pt idx="27">
                  <c:v>0.17594790570704008</c:v>
                </c:pt>
                <c:pt idx="28">
                  <c:v>0.1717972973147861</c:v>
                </c:pt>
                <c:pt idx="29">
                  <c:v>0.17083697592072586</c:v>
                </c:pt>
                <c:pt idx="30">
                  <c:v>0.17419135562853377</c:v>
                </c:pt>
                <c:pt idx="31">
                  <c:v>0.17054444639280708</c:v>
                </c:pt>
                <c:pt idx="32">
                  <c:v>0.16374923337912256</c:v>
                </c:pt>
                <c:pt idx="33">
                  <c:v>0.16532692698051948</c:v>
                </c:pt>
                <c:pt idx="34">
                  <c:v>0.16362103532794714</c:v>
                </c:pt>
                <c:pt idx="35">
                  <c:v>0.16117285646489055</c:v>
                </c:pt>
                <c:pt idx="36">
                  <c:v>0.1561511658931537</c:v>
                </c:pt>
                <c:pt idx="37">
                  <c:v>0.17304286583932135</c:v>
                </c:pt>
                <c:pt idx="38">
                  <c:v>0.17060358105183132</c:v>
                </c:pt>
                <c:pt idx="39">
                  <c:v>0.19265464071704033</c:v>
                </c:pt>
                <c:pt idx="40">
                  <c:v>0.1709232305461869</c:v>
                </c:pt>
                <c:pt idx="41">
                  <c:v>0.16419568811639923</c:v>
                </c:pt>
                <c:pt idx="42">
                  <c:v>0.1687156294631648</c:v>
                </c:pt>
                <c:pt idx="43">
                  <c:v>0.16421574455526075</c:v>
                </c:pt>
                <c:pt idx="44">
                  <c:v>0.1830362451664667</c:v>
                </c:pt>
                <c:pt idx="45">
                  <c:v>0.1833498259962858</c:v>
                </c:pt>
                <c:pt idx="46">
                  <c:v>0.174469499436912</c:v>
                </c:pt>
                <c:pt idx="47">
                  <c:v>0.18442169143425247</c:v>
                </c:pt>
                <c:pt idx="48">
                  <c:v>0.1738868877441498</c:v>
                </c:pt>
                <c:pt idx="49">
                  <c:v>0.1742947815900439</c:v>
                </c:pt>
                <c:pt idx="50">
                  <c:v>0.19684436712397857</c:v>
                </c:pt>
                <c:pt idx="51">
                  <c:v>0.2028556280631154</c:v>
                </c:pt>
                <c:pt idx="52">
                  <c:v>0.19673414246953586</c:v>
                </c:pt>
                <c:pt idx="53">
                  <c:v>0.247024476372223</c:v>
                </c:pt>
                <c:pt idx="54">
                  <c:v>0.161965776318299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6.0"/>
          <c:min val="63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176548089591563"/>
          <c:min val="0.10706319702602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2652117175767985</c:v>
                </c:pt>
                <c:pt idx="1">
                  <c:v>0.14756027402779054</c:v>
                </c:pt>
                <c:pt idx="2">
                  <c:v>0.1562663953720327</c:v>
                </c:pt>
                <c:pt idx="3">
                  <c:v>0.13864696445098973</c:v>
                </c:pt>
                <c:pt idx="4">
                  <c:v>0.11281859397103747</c:v>
                </c:pt>
                <c:pt idx="5">
                  <c:v>0.14102302071090714</c:v>
                </c:pt>
                <c:pt idx="6">
                  <c:v>0.17331745127850573</c:v>
                </c:pt>
                <c:pt idx="7">
                  <c:v>0.18413386824478725</c:v>
                </c:pt>
                <c:pt idx="8">
                  <c:v>0.13616125790896164</c:v>
                </c:pt>
                <c:pt idx="9">
                  <c:v>0.14836950439633664</c:v>
                </c:pt>
                <c:pt idx="10">
                  <c:v>0.1606787355143046</c:v>
                </c:pt>
                <c:pt idx="11">
                  <c:v>0.15772186435434168</c:v>
                </c:pt>
                <c:pt idx="12">
                  <c:v>0.15781510135553947</c:v>
                </c:pt>
                <c:pt idx="13">
                  <c:v>0.12020368682538175</c:v>
                </c:pt>
                <c:pt idx="14">
                  <c:v>0.14316948555620299</c:v>
                </c:pt>
                <c:pt idx="15">
                  <c:v>0.14912231250773877</c:v>
                </c:pt>
                <c:pt idx="16">
                  <c:v>0.13167121065819654</c:v>
                </c:pt>
                <c:pt idx="17">
                  <c:v>0.093986391274438</c:v>
                </c:pt>
                <c:pt idx="18">
                  <c:v>0.08998143189318399</c:v>
                </c:pt>
                <c:pt idx="19">
                  <c:v>0.09417075394625586</c:v>
                </c:pt>
                <c:pt idx="20">
                  <c:v>0.10473472006709994</c:v>
                </c:pt>
                <c:pt idx="21">
                  <c:v>0.11613974250201752</c:v>
                </c:pt>
                <c:pt idx="22">
                  <c:v>0.10760435510055223</c:v>
                </c:pt>
                <c:pt idx="23">
                  <c:v>0.10562948064502227</c:v>
                </c:pt>
                <c:pt idx="24">
                  <c:v>0.10506936523245348</c:v>
                </c:pt>
                <c:pt idx="25">
                  <c:v>0.08986773919399313</c:v>
                </c:pt>
                <c:pt idx="26">
                  <c:v>0.09673853878769147</c:v>
                </c:pt>
                <c:pt idx="27">
                  <c:v>0.09870663116990049</c:v>
                </c:pt>
                <c:pt idx="28">
                  <c:v>0.09558360551455271</c:v>
                </c:pt>
                <c:pt idx="29">
                  <c:v>0.09326664134237515</c:v>
                </c:pt>
                <c:pt idx="30">
                  <c:v>0.10603629977944906</c:v>
                </c:pt>
                <c:pt idx="31">
                  <c:v>0.10571508895661116</c:v>
                </c:pt>
                <c:pt idx="32">
                  <c:v>0.1041230760638892</c:v>
                </c:pt>
                <c:pt idx="33">
                  <c:v>0.0792363370551391</c:v>
                </c:pt>
                <c:pt idx="34">
                  <c:v>0.11141179929450319</c:v>
                </c:pt>
                <c:pt idx="35">
                  <c:v>0.0975110212667475</c:v>
                </c:pt>
                <c:pt idx="36">
                  <c:v>0.1012404263906365</c:v>
                </c:pt>
                <c:pt idx="37">
                  <c:v>0.10286416290206567</c:v>
                </c:pt>
                <c:pt idx="38">
                  <c:v>0.11741356253934569</c:v>
                </c:pt>
                <c:pt idx="39">
                  <c:v>0.11834587653469236</c:v>
                </c:pt>
                <c:pt idx="40">
                  <c:v>0.13934547082748427</c:v>
                </c:pt>
                <c:pt idx="41">
                  <c:v>0.12831833487753908</c:v>
                </c:pt>
                <c:pt idx="42">
                  <c:v>0.12392283096568874</c:v>
                </c:pt>
                <c:pt idx="43">
                  <c:v>0.10906811576050078</c:v>
                </c:pt>
                <c:pt idx="44">
                  <c:v>0.158198244358019</c:v>
                </c:pt>
                <c:pt idx="45">
                  <c:v>0.14756151678379462</c:v>
                </c:pt>
                <c:pt idx="46">
                  <c:v>0.12840444835385775</c:v>
                </c:pt>
                <c:pt idx="47">
                  <c:v>0.10673642130298373</c:v>
                </c:pt>
                <c:pt idx="48">
                  <c:v>0.15417107723509177</c:v>
                </c:pt>
                <c:pt idx="49">
                  <c:v>0.16291772543165398</c:v>
                </c:pt>
                <c:pt idx="50">
                  <c:v>0.12925973812591482</c:v>
                </c:pt>
                <c:pt idx="51">
                  <c:v>0.12103695278429123</c:v>
                </c:pt>
                <c:pt idx="52">
                  <c:v>0.1361360533767945</c:v>
                </c:pt>
                <c:pt idx="53">
                  <c:v>0.15289397338431499</c:v>
                </c:pt>
                <c:pt idx="54">
                  <c:v>0.13519381632966065</c:v>
                </c:pt>
                <c:pt idx="55">
                  <c:v>0.1216429088222156</c:v>
                </c:pt>
                <c:pt idx="56">
                  <c:v>0.11842356864354606</c:v>
                </c:pt>
                <c:pt idx="57">
                  <c:v>0.12554475390398748</c:v>
                </c:pt>
                <c:pt idx="58">
                  <c:v>0.15007553672370672</c:v>
                </c:pt>
                <c:pt idx="59">
                  <c:v>0.15280077189669372</c:v>
                </c:pt>
                <c:pt idx="60">
                  <c:v>0.14484220933660782</c:v>
                </c:pt>
                <c:pt idx="61">
                  <c:v>0.15704301999312753</c:v>
                </c:pt>
                <c:pt idx="62">
                  <c:v>0.1415511163596148</c:v>
                </c:pt>
                <c:pt idx="63">
                  <c:v>0.15072244455364942</c:v>
                </c:pt>
                <c:pt idx="64">
                  <c:v>0.15206213595545826</c:v>
                </c:pt>
                <c:pt idx="65">
                  <c:v>0.11834089969569359</c:v>
                </c:pt>
                <c:pt idx="66">
                  <c:v>0.1333569763584666</c:v>
                </c:pt>
                <c:pt idx="67">
                  <c:v>0.1416355141779406</c:v>
                </c:pt>
                <c:pt idx="68">
                  <c:v>0.13125120462956005</c:v>
                </c:pt>
                <c:pt idx="69">
                  <c:v>0.10202852630925048</c:v>
                </c:pt>
                <c:pt idx="70">
                  <c:v>0.0995918373902775</c:v>
                </c:pt>
                <c:pt idx="71">
                  <c:v>0.10863952543435537</c:v>
                </c:pt>
                <c:pt idx="72">
                  <c:v>0.11564720533358964</c:v>
                </c:pt>
                <c:pt idx="73">
                  <c:v>0.11823793895479624</c:v>
                </c:pt>
                <c:pt idx="74">
                  <c:v>0.09692645396734573</c:v>
                </c:pt>
                <c:pt idx="75">
                  <c:v>0.11390588870250029</c:v>
                </c:pt>
                <c:pt idx="76">
                  <c:v>0.09767091525039083</c:v>
                </c:pt>
                <c:pt idx="77">
                  <c:v>0.10157549678939169</c:v>
                </c:pt>
                <c:pt idx="78">
                  <c:v>0.10351577899011653</c:v>
                </c:pt>
                <c:pt idx="79">
                  <c:v>0.0669138498778915</c:v>
                </c:pt>
                <c:pt idx="80">
                  <c:v>0.07109473167490345</c:v>
                </c:pt>
                <c:pt idx="81">
                  <c:v>0.10761991559346859</c:v>
                </c:pt>
                <c:pt idx="82">
                  <c:v>0.1067802212072668</c:v>
                </c:pt>
                <c:pt idx="83">
                  <c:v>0.10371461817912704</c:v>
                </c:pt>
                <c:pt idx="84">
                  <c:v>0.09548819328945828</c:v>
                </c:pt>
                <c:pt idx="85">
                  <c:v>0.10914214205781936</c:v>
                </c:pt>
                <c:pt idx="86">
                  <c:v>0.11183895819044894</c:v>
                </c:pt>
                <c:pt idx="87">
                  <c:v>0.09874595250256535</c:v>
                </c:pt>
                <c:pt idx="88">
                  <c:v>0.08577825426180534</c:v>
                </c:pt>
                <c:pt idx="89">
                  <c:v>0.08917245729936725</c:v>
                </c:pt>
                <c:pt idx="90">
                  <c:v>0.10249541331289129</c:v>
                </c:pt>
                <c:pt idx="91">
                  <c:v>0.12778585100466247</c:v>
                </c:pt>
                <c:pt idx="92">
                  <c:v>0.11120774251741476</c:v>
                </c:pt>
                <c:pt idx="93">
                  <c:v>0.12590033373720727</c:v>
                </c:pt>
                <c:pt idx="94">
                  <c:v>0.09458739824670287</c:v>
                </c:pt>
                <c:pt idx="95">
                  <c:v>0.09854429916796197</c:v>
                </c:pt>
                <c:pt idx="96">
                  <c:v>0.12009456312702554</c:v>
                </c:pt>
                <c:pt idx="97">
                  <c:v>0.1375096922244393</c:v>
                </c:pt>
                <c:pt idx="98">
                  <c:v>0.1428433994660029</c:v>
                </c:pt>
                <c:pt idx="99">
                  <c:v>0.1336699401856509</c:v>
                </c:pt>
                <c:pt idx="100">
                  <c:v>0.15268158870211965</c:v>
                </c:pt>
                <c:pt idx="101">
                  <c:v>0.15608595686269822</c:v>
                </c:pt>
                <c:pt idx="102">
                  <c:v>0.15093771904774597</c:v>
                </c:pt>
                <c:pt idx="103">
                  <c:v>0.11902128410505523</c:v>
                </c:pt>
                <c:pt idx="104">
                  <c:v>0.1253728466976123</c:v>
                </c:pt>
              </c:numCache>
            </c:numRef>
          </c:xVal>
          <c:yVal>
            <c:numRef>
              <c:f>Sheet1!$B$2:$B$106</c:f>
              <c:numCache>
                <c:formatCode>General</c:formatCode>
                <c:ptCount val="105"/>
                <c:pt idx="0">
                  <c:v>0.2239506172839506</c:v>
                </c:pt>
                <c:pt idx="1">
                  <c:v>0.22613173138811413</c:v>
                </c:pt>
                <c:pt idx="2">
                  <c:v>0.20203430394894295</c:v>
                </c:pt>
                <c:pt idx="3">
                  <c:v>0.19159400849541694</c:v>
                </c:pt>
                <c:pt idx="4">
                  <c:v>0.1786876355748373</c:v>
                </c:pt>
                <c:pt idx="5">
                  <c:v>0.1758926431823628</c:v>
                </c:pt>
                <c:pt idx="6">
                  <c:v>0.17610891523935002</c:v>
                </c:pt>
                <c:pt idx="7">
                  <c:v>0.16105527638190956</c:v>
                </c:pt>
                <c:pt idx="8">
                  <c:v>0.20318621049882477</c:v>
                </c:pt>
                <c:pt idx="9">
                  <c:v>0.20985826105352232</c:v>
                </c:pt>
                <c:pt idx="10">
                  <c:v>0.2156484871844286</c:v>
                </c:pt>
                <c:pt idx="11">
                  <c:v>0.22260692464358453</c:v>
                </c:pt>
                <c:pt idx="12">
                  <c:v>0.21942791322710692</c:v>
                </c:pt>
                <c:pt idx="13">
                  <c:v>0.2524023062139654</c:v>
                </c:pt>
                <c:pt idx="14">
                  <c:v>0.22943327239488118</c:v>
                </c:pt>
                <c:pt idx="15">
                  <c:v>0.2202176403207331</c:v>
                </c:pt>
                <c:pt idx="16">
                  <c:v>0.20495185694635487</c:v>
                </c:pt>
                <c:pt idx="17">
                  <c:v>0.19896948077685295</c:v>
                </c:pt>
                <c:pt idx="18">
                  <c:v>0.1790437436419125</c:v>
                </c:pt>
                <c:pt idx="19">
                  <c:v>0.16927374301675976</c:v>
                </c:pt>
                <c:pt idx="20">
                  <c:v>0.1816586222027205</c:v>
                </c:pt>
                <c:pt idx="21">
                  <c:v>0.17545748116254037</c:v>
                </c:pt>
                <c:pt idx="22">
                  <c:v>0.17625681405208965</c:v>
                </c:pt>
                <c:pt idx="23">
                  <c:v>0.17586750788643532</c:v>
                </c:pt>
                <c:pt idx="24">
                  <c:v>0.16309823677581864</c:v>
                </c:pt>
                <c:pt idx="25">
                  <c:v>0.17095310136157338</c:v>
                </c:pt>
                <c:pt idx="26">
                  <c:v>0.1699489423778264</c:v>
                </c:pt>
                <c:pt idx="27">
                  <c:v>0.16264645072363887</c:v>
                </c:pt>
                <c:pt idx="28">
                  <c:v>0.1511278195488722</c:v>
                </c:pt>
                <c:pt idx="29">
                  <c:v>0.19111111111111112</c:v>
                </c:pt>
                <c:pt idx="30">
                  <c:v>0.13813813813813813</c:v>
                </c:pt>
                <c:pt idx="31">
                  <c:v>0.12857142857142856</c:v>
                </c:pt>
                <c:pt idx="32">
                  <c:v>0.15148861646234676</c:v>
                </c:pt>
                <c:pt idx="33">
                  <c:v>0.20093770931011387</c:v>
                </c:pt>
                <c:pt idx="34">
                  <c:v>0.1457725947521866</c:v>
                </c:pt>
                <c:pt idx="35">
                  <c:v>0.15702479338842976</c:v>
                </c:pt>
                <c:pt idx="36">
                  <c:v>0.11683599419448476</c:v>
                </c:pt>
                <c:pt idx="37">
                  <c:v>0.11829537105069801</c:v>
                </c:pt>
                <c:pt idx="38">
                  <c:v>0.10716871832005793</c:v>
                </c:pt>
                <c:pt idx="39">
                  <c:v>0.09798994974874371</c:v>
                </c:pt>
                <c:pt idx="40">
                  <c:v>0.11491108071135431</c:v>
                </c:pt>
                <c:pt idx="41">
                  <c:v>0.10390516039051603</c:v>
                </c:pt>
                <c:pt idx="42">
                  <c:v>0.10551075268817205</c:v>
                </c:pt>
                <c:pt idx="43">
                  <c:v>0.12948960302457466</c:v>
                </c:pt>
                <c:pt idx="44">
                  <c:v>0.14691558441558442</c:v>
                </c:pt>
                <c:pt idx="45">
                  <c:v>0.16316171138506164</c:v>
                </c:pt>
                <c:pt idx="46">
                  <c:v>0.16718528995756718</c:v>
                </c:pt>
                <c:pt idx="47">
                  <c:v>0.17937782237832414</c:v>
                </c:pt>
                <c:pt idx="48">
                  <c:v>0.20393626991565136</c:v>
                </c:pt>
                <c:pt idx="49">
                  <c:v>0.25377777777777777</c:v>
                </c:pt>
                <c:pt idx="50">
                  <c:v>0.21263520157325466</c:v>
                </c:pt>
                <c:pt idx="51">
                  <c:v>0.19376263355472134</c:v>
                </c:pt>
                <c:pt idx="52">
                  <c:v>0.21181716833890746</c:v>
                </c:pt>
                <c:pt idx="53">
                  <c:v>0.1931362725450902</c:v>
                </c:pt>
                <c:pt idx="54">
                  <c:v>0.19078212290502794</c:v>
                </c:pt>
                <c:pt idx="55">
                  <c:v>0.17833827893175075</c:v>
                </c:pt>
                <c:pt idx="56">
                  <c:v>0.19755487635454294</c:v>
                </c:pt>
                <c:pt idx="57">
                  <c:v>0.1885946176847501</c:v>
                </c:pt>
                <c:pt idx="58">
                  <c:v>0.2011711371363808</c:v>
                </c:pt>
                <c:pt idx="59">
                  <c:v>0.22147722435078757</c:v>
                </c:pt>
                <c:pt idx="60">
                  <c:v>0.23501287237955132</c:v>
                </c:pt>
                <c:pt idx="61">
                  <c:v>0.22746113989637307</c:v>
                </c:pt>
                <c:pt idx="62">
                  <c:v>0.24632010434134527</c:v>
                </c:pt>
                <c:pt idx="63">
                  <c:v>0.26058842547688327</c:v>
                </c:pt>
                <c:pt idx="64">
                  <c:v>0.24928941648553754</c:v>
                </c:pt>
                <c:pt idx="65">
                  <c:v>0.22749680482015702</c:v>
                </c:pt>
                <c:pt idx="66">
                  <c:v>0.20983096949679425</c:v>
                </c:pt>
                <c:pt idx="67">
                  <c:v>0.19701743331232935</c:v>
                </c:pt>
                <c:pt idx="68">
                  <c:v>0.18900836320191158</c:v>
                </c:pt>
                <c:pt idx="69">
                  <c:v>0.1698047419804742</c:v>
                </c:pt>
                <c:pt idx="70">
                  <c:v>0.1603527106466362</c:v>
                </c:pt>
                <c:pt idx="71">
                  <c:v>0.15795015795015796</c:v>
                </c:pt>
                <c:pt idx="72">
                  <c:v>0.15504169825625475</c:v>
                </c:pt>
                <c:pt idx="73">
                  <c:v>0.14440734557595994</c:v>
                </c:pt>
                <c:pt idx="74">
                  <c:v>0.14613861386138613</c:v>
                </c:pt>
                <c:pt idx="75">
                  <c:v>0.14919578480310594</c:v>
                </c:pt>
                <c:pt idx="76">
                  <c:v>0.14220482713633398</c:v>
                </c:pt>
                <c:pt idx="77">
                  <c:v>0.13936867182846932</c:v>
                </c:pt>
                <c:pt idx="78">
                  <c:v>0.14316546762589927</c:v>
                </c:pt>
                <c:pt idx="79">
                  <c:v>0.17432530999270604</c:v>
                </c:pt>
                <c:pt idx="80">
                  <c:v>0.14521193092621665</c:v>
                </c:pt>
                <c:pt idx="81">
                  <c:v>0.12204234122042341</c:v>
                </c:pt>
                <c:pt idx="82">
                  <c:v>0.11042471042471043</c:v>
                </c:pt>
                <c:pt idx="83">
                  <c:v>0.10410958904109589</c:v>
                </c:pt>
                <c:pt idx="84">
                  <c:v>0.10590440487347703</c:v>
                </c:pt>
                <c:pt idx="85">
                  <c:v>0.13153846153846155</c:v>
                </c:pt>
                <c:pt idx="86">
                  <c:v>0.11324376199616124</c:v>
                </c:pt>
                <c:pt idx="87">
                  <c:v>0.12778904665314403</c:v>
                </c:pt>
                <c:pt idx="88">
                  <c:v>0.11896838602329451</c:v>
                </c:pt>
                <c:pt idx="89">
                  <c:v>0.09215017064846416</c:v>
                </c:pt>
                <c:pt idx="90">
                  <c:v>0.08870214752567694</c:v>
                </c:pt>
                <c:pt idx="91">
                  <c:v>0.07748776508972267</c:v>
                </c:pt>
                <c:pt idx="92">
                  <c:v>0.10761305094447625</c:v>
                </c:pt>
                <c:pt idx="93">
                  <c:v>0.10435301132975551</c:v>
                </c:pt>
                <c:pt idx="94">
                  <c:v>0.10286677908937605</c:v>
                </c:pt>
                <c:pt idx="95">
                  <c:v>0.13326895219700627</c:v>
                </c:pt>
                <c:pt idx="96">
                  <c:v>0.1470496409615985</c:v>
                </c:pt>
                <c:pt idx="97">
                  <c:v>0.1497824735860783</c:v>
                </c:pt>
                <c:pt idx="98">
                  <c:v>0.1613941018766756</c:v>
                </c:pt>
                <c:pt idx="99">
                  <c:v>0.17258883248730963</c:v>
                </c:pt>
                <c:pt idx="100">
                  <c:v>0.19520910534674432</c:v>
                </c:pt>
                <c:pt idx="101">
                  <c:v>0.16788822721026112</c:v>
                </c:pt>
                <c:pt idx="102">
                  <c:v>0.1484830805134189</c:v>
                </c:pt>
                <c:pt idx="103">
                  <c:v>0.18421713998492084</c:v>
                </c:pt>
                <c:pt idx="104">
                  <c:v>0.186742326541140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442660513015727</c:v>
                </c:pt>
                <c:pt idx="1">
                  <c:v>0.1598993520243239</c:v>
                </c:pt>
                <c:pt idx="2">
                  <c:v>0.12775478059342768</c:v>
                </c:pt>
                <c:pt idx="3">
                  <c:v>0.13089005287036112</c:v>
                </c:pt>
                <c:pt idx="4">
                  <c:v>0.13311113656060952</c:v>
                </c:pt>
                <c:pt idx="5">
                  <c:v>0.14508761857489044</c:v>
                </c:pt>
                <c:pt idx="6">
                  <c:v>0.13940652779879242</c:v>
                </c:pt>
                <c:pt idx="7">
                  <c:v>0.14604094815383745</c:v>
                </c:pt>
                <c:pt idx="8">
                  <c:v>0.1859076533566376</c:v>
                </c:pt>
                <c:pt idx="9">
                  <c:v>0.18131277795063888</c:v>
                </c:pt>
                <c:pt idx="10">
                  <c:v>0.1785710858631963</c:v>
                </c:pt>
                <c:pt idx="11">
                  <c:v>0.14336057803343719</c:v>
                </c:pt>
                <c:pt idx="12">
                  <c:v>0.13216989401214516</c:v>
                </c:pt>
                <c:pt idx="13">
                  <c:v>0.14706862115567357</c:v>
                </c:pt>
                <c:pt idx="14">
                  <c:v>0.14297021195928386</c:v>
                </c:pt>
                <c:pt idx="15">
                  <c:v>0.1518706346688861</c:v>
                </c:pt>
                <c:pt idx="16">
                  <c:v>0.13536964279019703</c:v>
                </c:pt>
                <c:pt idx="17">
                  <c:v>0.1449162617868912</c:v>
                </c:pt>
                <c:pt idx="18">
                  <c:v>0.13420994320689159</c:v>
                </c:pt>
                <c:pt idx="19">
                  <c:v>0.1379370097734354</c:v>
                </c:pt>
                <c:pt idx="20">
                  <c:v>0.1249360755216464</c:v>
                </c:pt>
                <c:pt idx="21">
                  <c:v>0.12211496584378788</c:v>
                </c:pt>
                <c:pt idx="22">
                  <c:v>0.10073200682760163</c:v>
                </c:pt>
                <c:pt idx="23">
                  <c:v>0.10707708233682593</c:v>
                </c:pt>
                <c:pt idx="24">
                  <c:v>0.11173061622063937</c:v>
                </c:pt>
                <c:pt idx="25">
                  <c:v>0.09678476368281916</c:v>
                </c:pt>
                <c:pt idx="26">
                  <c:v>0.10593991293243442</c:v>
                </c:pt>
                <c:pt idx="27">
                  <c:v>0.10525602346295684</c:v>
                </c:pt>
                <c:pt idx="28">
                  <c:v>0.14484516339013656</c:v>
                </c:pt>
                <c:pt idx="29">
                  <c:v>0.14034135155593236</c:v>
                </c:pt>
                <c:pt idx="30">
                  <c:v>0.13354204754498747</c:v>
                </c:pt>
                <c:pt idx="31">
                  <c:v>0.1255242270727961</c:v>
                </c:pt>
                <c:pt idx="32">
                  <c:v>0.1378302632734841</c:v>
                </c:pt>
                <c:pt idx="33">
                  <c:v>0.13541327428574762</c:v>
                </c:pt>
                <c:pt idx="34">
                  <c:v>0.1291261994358565</c:v>
                </c:pt>
                <c:pt idx="35">
                  <c:v>0.10651899714628649</c:v>
                </c:pt>
                <c:pt idx="36">
                  <c:v>0.09550033838846997</c:v>
                </c:pt>
                <c:pt idx="37">
                  <c:v>0.10119260714695934</c:v>
                </c:pt>
                <c:pt idx="38">
                  <c:v>0.08330321622534526</c:v>
                </c:pt>
                <c:pt idx="39">
                  <c:v>0.08126941654030052</c:v>
                </c:pt>
                <c:pt idx="40">
                  <c:v>0.09863315693384496</c:v>
                </c:pt>
                <c:pt idx="41">
                  <c:v>0.11380540988983505</c:v>
                </c:pt>
                <c:pt idx="42">
                  <c:v>0.11006522511405281</c:v>
                </c:pt>
                <c:pt idx="43">
                  <c:v>0.11532354368932039</c:v>
                </c:pt>
                <c:pt idx="44">
                  <c:v>0.15673852951054792</c:v>
                </c:pt>
                <c:pt idx="45">
                  <c:v>0.16110933592822704</c:v>
                </c:pt>
                <c:pt idx="46">
                  <c:v>0.1549034820686207</c:v>
                </c:pt>
                <c:pt idx="47">
                  <c:v>0.14692914966374834</c:v>
                </c:pt>
                <c:pt idx="48">
                  <c:v>0.15092640878708075</c:v>
                </c:pt>
                <c:pt idx="49">
                  <c:v>0.17888731451581438</c:v>
                </c:pt>
                <c:pt idx="50">
                  <c:v>0.17493385103812206</c:v>
                </c:pt>
                <c:pt idx="51">
                  <c:v>0.14941295465238094</c:v>
                </c:pt>
              </c:numCache>
            </c:numRef>
          </c:xVal>
          <c:yVal>
            <c:numRef>
              <c:f>Sheet1!$B$109:$B$160</c:f>
              <c:numCache>
                <c:formatCode>General</c:formatCode>
                <c:ptCount val="52"/>
                <c:pt idx="0">
                  <c:v>0.17201540436456997</c:v>
                </c:pt>
                <c:pt idx="1">
                  <c:v>0.17640621580214488</c:v>
                </c:pt>
                <c:pt idx="2">
                  <c:v>0.1952662721893491</c:v>
                </c:pt>
                <c:pt idx="3">
                  <c:v>0.20593557727108217</c:v>
                </c:pt>
                <c:pt idx="4">
                  <c:v>0.19870366619404498</c:v>
                </c:pt>
                <c:pt idx="5">
                  <c:v>0.19724576271186442</c:v>
                </c:pt>
                <c:pt idx="6">
                  <c:v>0.20518948446568794</c:v>
                </c:pt>
                <c:pt idx="7">
                  <c:v>0.18237885462555067</c:v>
                </c:pt>
                <c:pt idx="8">
                  <c:v>0.1894319682959049</c:v>
                </c:pt>
                <c:pt idx="9">
                  <c:v>0.20536609829488464</c:v>
                </c:pt>
                <c:pt idx="10">
                  <c:v>0.21712938711367208</c:v>
                </c:pt>
                <c:pt idx="11">
                  <c:v>0.24216685541713853</c:v>
                </c:pt>
                <c:pt idx="12">
                  <c:v>0.23726001422137946</c:v>
                </c:pt>
                <c:pt idx="13">
                  <c:v>0.20913348946135832</c:v>
                </c:pt>
                <c:pt idx="14">
                  <c:v>0.20615866388308976</c:v>
                </c:pt>
                <c:pt idx="15">
                  <c:v>0.19783352337514254</c:v>
                </c:pt>
                <c:pt idx="16">
                  <c:v>0.17212284846439418</c:v>
                </c:pt>
                <c:pt idx="17">
                  <c:v>0.15164576802507837</c:v>
                </c:pt>
                <c:pt idx="18">
                  <c:v>0.14699205448354144</c:v>
                </c:pt>
                <c:pt idx="19">
                  <c:v>0.16120644825793032</c:v>
                </c:pt>
                <c:pt idx="20">
                  <c:v>0.16675351745700887</c:v>
                </c:pt>
                <c:pt idx="21">
                  <c:v>0.19405241935483872</c:v>
                </c:pt>
                <c:pt idx="22">
                  <c:v>0.2030407062285434</c:v>
                </c:pt>
                <c:pt idx="23">
                  <c:v>0.1827262044653349</c:v>
                </c:pt>
                <c:pt idx="24">
                  <c:v>0.175625</c:v>
                </c:pt>
                <c:pt idx="25">
                  <c:v>0.1679550245959241</c:v>
                </c:pt>
                <c:pt idx="26">
                  <c:v>0.12380952380952381</c:v>
                </c:pt>
                <c:pt idx="27">
                  <c:v>0.12907608695652173</c:v>
                </c:pt>
                <c:pt idx="28">
                  <c:v>0.125</c:v>
                </c:pt>
                <c:pt idx="29">
                  <c:v>0.10761346998535871</c:v>
                </c:pt>
                <c:pt idx="30">
                  <c:v>0.1143106457242583</c:v>
                </c:pt>
                <c:pt idx="31">
                  <c:v>0.12569521690767518</c:v>
                </c:pt>
                <c:pt idx="32">
                  <c:v>0.11749571183533447</c:v>
                </c:pt>
                <c:pt idx="33">
                  <c:v>0.12613981762917933</c:v>
                </c:pt>
                <c:pt idx="34">
                  <c:v>0.1329479768786127</c:v>
                </c:pt>
                <c:pt idx="35">
                  <c:v>0.12104430379746836</c:v>
                </c:pt>
                <c:pt idx="36">
                  <c:v>0.12267657992565056</c:v>
                </c:pt>
                <c:pt idx="37">
                  <c:v>0.1157556270096463</c:v>
                </c:pt>
                <c:pt idx="38">
                  <c:v>0.14251497005988023</c:v>
                </c:pt>
                <c:pt idx="39">
                  <c:v>0.1469622331691297</c:v>
                </c:pt>
                <c:pt idx="40">
                  <c:v>0.13785180930499713</c:v>
                </c:pt>
                <c:pt idx="41">
                  <c:v>0.12321660181582361</c:v>
                </c:pt>
                <c:pt idx="42">
                  <c:v>0.12394797245600613</c:v>
                </c:pt>
                <c:pt idx="43">
                  <c:v>0.14566744730679157</c:v>
                </c:pt>
                <c:pt idx="44">
                  <c:v>0.13598738667717777</c:v>
                </c:pt>
                <c:pt idx="45">
                  <c:v>0.14715144574864014</c:v>
                </c:pt>
                <c:pt idx="46">
                  <c:v>0.12688713156002876</c:v>
                </c:pt>
                <c:pt idx="47">
                  <c:v>0.1436104218362283</c:v>
                </c:pt>
                <c:pt idx="48">
                  <c:v>0.1431429206490331</c:v>
                </c:pt>
                <c:pt idx="49">
                  <c:v>0.16666666666666666</c:v>
                </c:pt>
                <c:pt idx="50">
                  <c:v>0.22342433010441565</c:v>
                </c:pt>
                <c:pt idx="51">
                  <c:v>0.202114876231675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1082890814836133</c:v>
                </c:pt>
              </c:numCache>
            </c:numRef>
          </c:xVal>
          <c:yVal>
            <c:numRef>
              <c:f>Sheet1!$B$163:$B$164</c:f>
              <c:numCache>
                <c:formatCode>General</c:formatCode>
                <c:ptCount val="2"/>
                <c:pt idx="0">
                  <c:v>0.20630741949601494</c:v>
                </c:pt>
                <c:pt idx="1">
                  <c:v>0.2063074194960149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1082890814836133</c:v>
                </c:pt>
                <c:pt idx="1">
                  <c:v>0.21082890814836133</c:v>
                </c:pt>
              </c:numCache>
            </c:numRef>
          </c:xVal>
          <c:yVal>
            <c:numRef>
              <c:f>Sheet1!$B$167:$B$168</c:f>
              <c:numCache>
                <c:formatCode>General</c:formatCode>
                <c:ptCount val="2"/>
                <c:pt idx="0">
                  <c:v>0.206307419496014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863793387617864</c:v>
                </c:pt>
              </c:numCache>
            </c:numRef>
          </c:xVal>
          <c:yVal>
            <c:numRef>
              <c:f>Sheet1!$B$171:$B$172</c:f>
              <c:numCache>
                <c:formatCode>General</c:formatCode>
                <c:ptCount val="2"/>
                <c:pt idx="0">
                  <c:v>0.19290931444688134</c:v>
                </c:pt>
                <c:pt idx="1">
                  <c:v>0.19290931444688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863793387617864</c:v>
                </c:pt>
                <c:pt idx="1">
                  <c:v>0.1863793387617864</c:v>
                </c:pt>
              </c:numCache>
            </c:numRef>
          </c:xVal>
          <c:yVal>
            <c:numRef>
              <c:f>Sheet1!$B$175:$B$176</c:f>
              <c:numCache>
                <c:formatCode>General</c:formatCode>
                <c:ptCount val="2"/>
                <c:pt idx="0">
                  <c:v>0.19290931444688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04107389510202</c:v>
                </c:pt>
              </c:numCache>
            </c:numRef>
          </c:xVal>
          <c:yVal>
            <c:numRef>
              <c:f>Sheet1!$B$179:$B$180</c:f>
              <c:numCache>
                <c:formatCode>General</c:formatCode>
                <c:ptCount val="2"/>
                <c:pt idx="0">
                  <c:v>0.15127932642512412</c:v>
                </c:pt>
                <c:pt idx="1">
                  <c:v>0.1512793264251241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04107389510202</c:v>
                </c:pt>
                <c:pt idx="1">
                  <c:v>0.1104107389510202</c:v>
                </c:pt>
              </c:numCache>
            </c:numRef>
          </c:xVal>
          <c:yVal>
            <c:numRef>
              <c:f>Sheet1!$B$183:$B$184</c:f>
              <c:numCache>
                <c:formatCode>General</c:formatCode>
                <c:ptCount val="2"/>
                <c:pt idx="0">
                  <c:v>0.1512793264251241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442660513015727</c:v>
                </c:pt>
                <c:pt idx="1">
                  <c:v>0.1598993520243239</c:v>
                </c:pt>
                <c:pt idx="2">
                  <c:v>0.12775478059342768</c:v>
                </c:pt>
                <c:pt idx="3">
                  <c:v>0.13089005287036112</c:v>
                </c:pt>
                <c:pt idx="4">
                  <c:v>0.13311113656060952</c:v>
                </c:pt>
                <c:pt idx="5">
                  <c:v>0.14508761857489044</c:v>
                </c:pt>
                <c:pt idx="6">
                  <c:v>0.13940652779879242</c:v>
                </c:pt>
                <c:pt idx="7">
                  <c:v>0.14604094815383745</c:v>
                </c:pt>
                <c:pt idx="8">
                  <c:v>0.1859076533566376</c:v>
                </c:pt>
                <c:pt idx="9">
                  <c:v>0.18131277795063888</c:v>
                </c:pt>
                <c:pt idx="10">
                  <c:v>0.1785710858631963</c:v>
                </c:pt>
                <c:pt idx="11">
                  <c:v>0.14336057803343719</c:v>
                </c:pt>
                <c:pt idx="12">
                  <c:v>0.13216989401214516</c:v>
                </c:pt>
                <c:pt idx="13">
                  <c:v>0.14706862115567357</c:v>
                </c:pt>
                <c:pt idx="14">
                  <c:v>0.14297021195928386</c:v>
                </c:pt>
                <c:pt idx="15">
                  <c:v>0.1518706346688861</c:v>
                </c:pt>
                <c:pt idx="16">
                  <c:v>0.13536964279019703</c:v>
                </c:pt>
                <c:pt idx="17">
                  <c:v>0.1449162617868912</c:v>
                </c:pt>
                <c:pt idx="18">
                  <c:v>0.13420994320689159</c:v>
                </c:pt>
                <c:pt idx="19">
                  <c:v>0.1379370097734354</c:v>
                </c:pt>
                <c:pt idx="20">
                  <c:v>0.1249360755216464</c:v>
                </c:pt>
                <c:pt idx="21">
                  <c:v>0.12211496584378788</c:v>
                </c:pt>
                <c:pt idx="22">
                  <c:v>0.10073200682760163</c:v>
                </c:pt>
                <c:pt idx="23">
                  <c:v>0.10707708233682593</c:v>
                </c:pt>
                <c:pt idx="24">
                  <c:v>0.11173061622063937</c:v>
                </c:pt>
                <c:pt idx="25">
                  <c:v>0.09678476368281916</c:v>
                </c:pt>
                <c:pt idx="26">
                  <c:v>0.10593991293243442</c:v>
                </c:pt>
                <c:pt idx="27">
                  <c:v>0.10525602346295684</c:v>
                </c:pt>
                <c:pt idx="28">
                  <c:v>0.14484516339013656</c:v>
                </c:pt>
                <c:pt idx="29">
                  <c:v>0.14034135155593236</c:v>
                </c:pt>
                <c:pt idx="30">
                  <c:v>0.13354204754498747</c:v>
                </c:pt>
                <c:pt idx="31">
                  <c:v>0.1255242270727961</c:v>
                </c:pt>
                <c:pt idx="32">
                  <c:v>0.1378302632734841</c:v>
                </c:pt>
                <c:pt idx="33">
                  <c:v>0.13541327428574762</c:v>
                </c:pt>
                <c:pt idx="34">
                  <c:v>0.1291261994358565</c:v>
                </c:pt>
                <c:pt idx="35">
                  <c:v>0.10651899714628649</c:v>
                </c:pt>
                <c:pt idx="36">
                  <c:v>0.09550033838846997</c:v>
                </c:pt>
                <c:pt idx="37">
                  <c:v>0.10119260714695934</c:v>
                </c:pt>
                <c:pt idx="38">
                  <c:v>0.08330321622534526</c:v>
                </c:pt>
                <c:pt idx="39">
                  <c:v>0.08126941654030052</c:v>
                </c:pt>
                <c:pt idx="40">
                  <c:v>0.09863315693384496</c:v>
                </c:pt>
                <c:pt idx="41">
                  <c:v>0.11380540988983505</c:v>
                </c:pt>
                <c:pt idx="42">
                  <c:v>0.11006522511405281</c:v>
                </c:pt>
                <c:pt idx="43">
                  <c:v>0.11532354368932039</c:v>
                </c:pt>
                <c:pt idx="44">
                  <c:v>0.15673852951054792</c:v>
                </c:pt>
                <c:pt idx="45">
                  <c:v>0.16110933592822704</c:v>
                </c:pt>
                <c:pt idx="46">
                  <c:v>0.1549034820686207</c:v>
                </c:pt>
                <c:pt idx="47">
                  <c:v>0.14692914966374834</c:v>
                </c:pt>
                <c:pt idx="48">
                  <c:v>0.15092640878708075</c:v>
                </c:pt>
                <c:pt idx="49">
                  <c:v>0.17888731451581438</c:v>
                </c:pt>
                <c:pt idx="50">
                  <c:v>0.17493385103812206</c:v>
                </c:pt>
                <c:pt idx="51">
                  <c:v>0.14941295465238094</c:v>
                </c:pt>
                <c:pt idx="52">
                  <c:v>0.1863793387617864</c:v>
                </c:pt>
                <c:pt idx="53">
                  <c:v>0.21082890814836133</c:v>
                </c:pt>
                <c:pt idx="54">
                  <c:v>0.1104107389510202</c:v>
                </c:pt>
              </c:numCache>
            </c:numRef>
          </c:xVal>
          <c:yVal>
            <c:numRef>
              <c:f>Sheet1!$B$187:$B$241</c:f>
              <c:numCache>
                <c:formatCode>General</c:formatCode>
                <c:ptCount val="55"/>
                <c:pt idx="0">
                  <c:v>0.1753995548664684</c:v>
                </c:pt>
                <c:pt idx="1">
                  <c:v>0.1783985621960464</c:v>
                </c:pt>
                <c:pt idx="2">
                  <c:v>0.16078367753361927</c:v>
                </c:pt>
                <c:pt idx="3">
                  <c:v>0.16250177353195028</c:v>
                </c:pt>
                <c:pt idx="4">
                  <c:v>0.1637189038680455</c:v>
                </c:pt>
                <c:pt idx="5">
                  <c:v>0.17028188915458817</c:v>
                </c:pt>
                <c:pt idx="6">
                  <c:v>0.16716871158453167</c:v>
                </c:pt>
                <c:pt idx="7">
                  <c:v>0.1708043036659943</c:v>
                </c:pt>
                <c:pt idx="8">
                  <c:v>0.19265083584104556</c:v>
                </c:pt>
                <c:pt idx="9">
                  <c:v>0.1901328927883939</c:v>
                </c:pt>
                <c:pt idx="10">
                  <c:v>0.18863047456502413</c:v>
                </c:pt>
                <c:pt idx="11">
                  <c:v>0.16933548923102923</c:v>
                </c:pt>
                <c:pt idx="12">
                  <c:v>0.16320311292131562</c:v>
                </c:pt>
                <c:pt idx="13">
                  <c:v>0.17136745758568334</c:v>
                </c:pt>
                <c:pt idx="14">
                  <c:v>0.16912157275722844</c:v>
                </c:pt>
                <c:pt idx="15">
                  <c:v>0.1739989101270401</c:v>
                </c:pt>
                <c:pt idx="16">
                  <c:v>0.1649565413593116</c:v>
                </c:pt>
                <c:pt idx="17">
                  <c:v>0.17018798744980984</c:v>
                </c:pt>
                <c:pt idx="18">
                  <c:v>0.1643210382714292</c:v>
                </c:pt>
                <c:pt idx="19">
                  <c:v>0.16636343127206368</c:v>
                </c:pt>
                <c:pt idx="20">
                  <c:v>0.15923905701056879</c:v>
                </c:pt>
                <c:pt idx="21">
                  <c:v>0.157693118788858</c:v>
                </c:pt>
                <c:pt idx="22">
                  <c:v>0.14597548374054947</c:v>
                </c:pt>
                <c:pt idx="23">
                  <c:v>0.1494525179113006</c:v>
                </c:pt>
                <c:pt idx="24">
                  <c:v>0.15200260518847247</c:v>
                </c:pt>
                <c:pt idx="25">
                  <c:v>0.14381243630719437</c:v>
                </c:pt>
                <c:pt idx="26">
                  <c:v>0.14882936112281892</c:v>
                </c:pt>
                <c:pt idx="27">
                  <c:v>0.1484545969374387</c:v>
                </c:pt>
                <c:pt idx="28">
                  <c:v>0.17014902628147666</c:v>
                </c:pt>
                <c:pt idx="29">
                  <c:v>0.1676809851016049</c:v>
                </c:pt>
                <c:pt idx="30">
                  <c:v>0.16395503852318966</c:v>
                </c:pt>
                <c:pt idx="31">
                  <c:v>0.1595613578307804</c:v>
                </c:pt>
                <c:pt idx="32">
                  <c:v>0.16630493532077056</c:v>
                </c:pt>
                <c:pt idx="33">
                  <c:v>0.16498045095671982</c:v>
                </c:pt>
                <c:pt idx="34">
                  <c:v>0.1615352005329287</c:v>
                </c:pt>
                <c:pt idx="35">
                  <c:v>0.1491466931382345</c:v>
                </c:pt>
                <c:pt idx="36">
                  <c:v>0.1431085848507796</c:v>
                </c:pt>
                <c:pt idx="37">
                  <c:v>0.14622788783678714</c:v>
                </c:pt>
                <c:pt idx="38">
                  <c:v>0.13642469109973496</c:v>
                </c:pt>
                <c:pt idx="39">
                  <c:v>0.13531019041474185</c:v>
                </c:pt>
                <c:pt idx="40">
                  <c:v>0.144825336230207</c:v>
                </c:pt>
                <c:pt idx="41">
                  <c:v>0.15313957014256382</c:v>
                </c:pt>
                <c:pt idx="42">
                  <c:v>0.1510899885022174</c:v>
                </c:pt>
                <c:pt idx="43">
                  <c:v>0.15397149138430616</c:v>
                </c:pt>
                <c:pt idx="44">
                  <c:v>0.1766664649385589</c:v>
                </c:pt>
                <c:pt idx="45">
                  <c:v>0.17906162055899477</c:v>
                </c:pt>
                <c:pt idx="46">
                  <c:v>0.17566087837757083</c:v>
                </c:pt>
                <c:pt idx="47">
                  <c:v>0.17129102868541815</c:v>
                </c:pt>
                <c:pt idx="48">
                  <c:v>0.1734814843452394</c:v>
                </c:pt>
                <c:pt idx="49">
                  <c:v>0.18880376451710196</c:v>
                </c:pt>
                <c:pt idx="50">
                  <c:v>0.18663730840719928</c:v>
                </c:pt>
                <c:pt idx="51">
                  <c:v>0.1726521275102316</c:v>
                </c:pt>
                <c:pt idx="52">
                  <c:v>0.19290931444688134</c:v>
                </c:pt>
                <c:pt idx="53">
                  <c:v>0.20630741949601494</c:v>
                </c:pt>
                <c:pt idx="54">
                  <c:v>0.1512793264251241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7061105722599"/>
          <c:min val="0.061990212071778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2.7321</c:v>
                </c:pt>
                <c:pt idx="1">
                  <c:v>914.5806</c:v>
                </c:pt>
                <c:pt idx="2">
                  <c:v>979.2043</c:v>
                </c:pt>
                <c:pt idx="3">
                  <c:v>1024.5473</c:v>
                </c:pt>
                <c:pt idx="4">
                  <c:v>1031.7754</c:v>
                </c:pt>
                <c:pt idx="5">
                  <c:v>1009.7984</c:v>
                </c:pt>
                <c:pt idx="6">
                  <c:v>1020.0835</c:v>
                </c:pt>
                <c:pt idx="7">
                  <c:v>1037.4431</c:v>
                </c:pt>
                <c:pt idx="8">
                  <c:v>972.919</c:v>
                </c:pt>
                <c:pt idx="9">
                  <c:v>993.9405</c:v>
                </c:pt>
                <c:pt idx="10">
                  <c:v>1007.4245</c:v>
                </c:pt>
                <c:pt idx="11">
                  <c:v>1052.57</c:v>
                </c:pt>
                <c:pt idx="12">
                  <c:v>1010.1444</c:v>
                </c:pt>
                <c:pt idx="13">
                  <c:v>962.7327</c:v>
                </c:pt>
                <c:pt idx="14">
                  <c:v>984.8735</c:v>
                </c:pt>
                <c:pt idx="15">
                  <c:v>1000.6892</c:v>
                </c:pt>
                <c:pt idx="16">
                  <c:v>1004.9849</c:v>
                </c:pt>
                <c:pt idx="17">
                  <c:v>1016.4741</c:v>
                </c:pt>
                <c:pt idx="18">
                  <c:v>1057.1449</c:v>
                </c:pt>
                <c:pt idx="19">
                  <c:v>1043.9175</c:v>
                </c:pt>
                <c:pt idx="20">
                  <c:v>1020.5386</c:v>
                </c:pt>
                <c:pt idx="21">
                  <c:v>1061.1043</c:v>
                </c:pt>
                <c:pt idx="22">
                  <c:v>1075.1065</c:v>
                </c:pt>
                <c:pt idx="23">
                  <c:v>1040.722</c:v>
                </c:pt>
                <c:pt idx="24">
                  <c:v>1055.4903</c:v>
                </c:pt>
                <c:pt idx="25">
                  <c:v>1010.3407</c:v>
                </c:pt>
                <c:pt idx="26">
                  <c:v>1005.8712</c:v>
                </c:pt>
                <c:pt idx="27">
                  <c:v>1022.5678</c:v>
                </c:pt>
                <c:pt idx="28">
                  <c:v>1027.7761</c:v>
                </c:pt>
                <c:pt idx="29">
                  <c:v>804.2946</c:v>
                </c:pt>
                <c:pt idx="30">
                  <c:v>937.529</c:v>
                </c:pt>
                <c:pt idx="31">
                  <c:v>945.2639</c:v>
                </c:pt>
                <c:pt idx="32">
                  <c:v>932.2139</c:v>
                </c:pt>
                <c:pt idx="33">
                  <c:v>691.03</c:v>
                </c:pt>
                <c:pt idx="34">
                  <c:v>942.935</c:v>
                </c:pt>
                <c:pt idx="35">
                  <c:v>978.0439</c:v>
                </c:pt>
                <c:pt idx="36">
                  <c:v>1066.087</c:v>
                </c:pt>
                <c:pt idx="37">
                  <c:v>1044.0248</c:v>
                </c:pt>
                <c:pt idx="38">
                  <c:v>1115.4392</c:v>
                </c:pt>
                <c:pt idx="39">
                  <c:v>1134.0598</c:v>
                </c:pt>
                <c:pt idx="40">
                  <c:v>1113.131</c:v>
                </c:pt>
                <c:pt idx="41">
                  <c:v>1149.4899</c:v>
                </c:pt>
                <c:pt idx="42">
                  <c:v>1238.2803</c:v>
                </c:pt>
                <c:pt idx="43">
                  <c:v>1182.1606</c:v>
                </c:pt>
                <c:pt idx="44">
                  <c:v>1091.3886</c:v>
                </c:pt>
                <c:pt idx="45">
                  <c:v>1026.4667</c:v>
                </c:pt>
                <c:pt idx="46">
                  <c:v>1021.8426</c:v>
                </c:pt>
                <c:pt idx="47">
                  <c:v>1027.5007</c:v>
                </c:pt>
                <c:pt idx="48">
                  <c:v>1073.2472</c:v>
                </c:pt>
                <c:pt idx="49">
                  <c:v>1018.8529</c:v>
                </c:pt>
                <c:pt idx="50">
                  <c:v>1030.037</c:v>
                </c:pt>
                <c:pt idx="51">
                  <c:v>1048.9687</c:v>
                </c:pt>
                <c:pt idx="52">
                  <c:v>1071.2842</c:v>
                </c:pt>
                <c:pt idx="53">
                  <c:v>1118.5071</c:v>
                </c:pt>
                <c:pt idx="54">
                  <c:v>1146.0132</c:v>
                </c:pt>
                <c:pt idx="55">
                  <c:v>1160.6423</c:v>
                </c:pt>
                <c:pt idx="56">
                  <c:v>1154.1561</c:v>
                </c:pt>
                <c:pt idx="57">
                  <c:v>1107.4247</c:v>
                </c:pt>
                <c:pt idx="58">
                  <c:v>1143.2779</c:v>
                </c:pt>
                <c:pt idx="59">
                  <c:v>1097.0505</c:v>
                </c:pt>
                <c:pt idx="60">
                  <c:v>1121.5884</c:v>
                </c:pt>
                <c:pt idx="61">
                  <c:v>1176.2316</c:v>
                </c:pt>
                <c:pt idx="62">
                  <c:v>1143.6036</c:v>
                </c:pt>
                <c:pt idx="63">
                  <c:v>1165.853</c:v>
                </c:pt>
                <c:pt idx="64">
                  <c:v>1155.1053</c:v>
                </c:pt>
                <c:pt idx="65">
                  <c:v>1122.0915</c:v>
                </c:pt>
                <c:pt idx="66">
                  <c:v>1114.475</c:v>
                </c:pt>
                <c:pt idx="67">
                  <c:v>1138.7601</c:v>
                </c:pt>
                <c:pt idx="68">
                  <c:v>1093.7105</c:v>
                </c:pt>
                <c:pt idx="69">
                  <c:v>1099.6078</c:v>
                </c:pt>
                <c:pt idx="70">
                  <c:v>1078.8941</c:v>
                </c:pt>
                <c:pt idx="71">
                  <c:v>1126.3067</c:v>
                </c:pt>
                <c:pt idx="72">
                  <c:v>1178.4572</c:v>
                </c:pt>
                <c:pt idx="73">
                  <c:v>1248.3266</c:v>
                </c:pt>
                <c:pt idx="74">
                  <c:v>1198.935</c:v>
                </c:pt>
                <c:pt idx="75">
                  <c:v>1148.2342</c:v>
                </c:pt>
                <c:pt idx="76">
                  <c:v>1168.5688</c:v>
                </c:pt>
                <c:pt idx="77">
                  <c:v>1069.3462</c:v>
                </c:pt>
                <c:pt idx="78">
                  <c:v>1124.005</c:v>
                </c:pt>
                <c:pt idx="79">
                  <c:v>751.4351</c:v>
                </c:pt>
                <c:pt idx="80">
                  <c:v>851.1946</c:v>
                </c:pt>
                <c:pt idx="81">
                  <c:v>999.5816</c:v>
                </c:pt>
                <c:pt idx="82">
                  <c:v>933.1049</c:v>
                </c:pt>
                <c:pt idx="83">
                  <c:v>1046.0263</c:v>
                </c:pt>
                <c:pt idx="84">
                  <c:v>1067.354</c:v>
                </c:pt>
                <c:pt idx="85">
                  <c:v>975.0936</c:v>
                </c:pt>
                <c:pt idx="86">
                  <c:v>1027.2429</c:v>
                </c:pt>
                <c:pt idx="87">
                  <c:v>1128.1534</c:v>
                </c:pt>
                <c:pt idx="88">
                  <c:v>1019.6923</c:v>
                </c:pt>
                <c:pt idx="89">
                  <c:v>1125.1852</c:v>
                </c:pt>
                <c:pt idx="90">
                  <c:v>1203.3474</c:v>
                </c:pt>
                <c:pt idx="91">
                  <c:v>1303.6316</c:v>
                </c:pt>
                <c:pt idx="92">
                  <c:v>1040.4787</c:v>
                </c:pt>
                <c:pt idx="93">
                  <c:v>1177.6914</c:v>
                </c:pt>
                <c:pt idx="94">
                  <c:v>1235.3934</c:v>
                </c:pt>
                <c:pt idx="95">
                  <c:v>1077.779</c:v>
                </c:pt>
                <c:pt idx="96">
                  <c:v>1066.2866</c:v>
                </c:pt>
                <c:pt idx="97">
                  <c:v>1111.1929</c:v>
                </c:pt>
                <c:pt idx="98">
                  <c:v>1119.5399</c:v>
                </c:pt>
                <c:pt idx="99">
                  <c:v>1098.1547</c:v>
                </c:pt>
                <c:pt idx="100">
                  <c:v>1105.2264</c:v>
                </c:pt>
                <c:pt idx="101">
                  <c:v>1137.3111</c:v>
                </c:pt>
                <c:pt idx="102">
                  <c:v>1185.167</c:v>
                </c:pt>
                <c:pt idx="103">
                  <c:v>904.7217</c:v>
                </c:pt>
                <c:pt idx="104">
                  <c:v>1033.1036</c:v>
                </c:pt>
              </c:numCache>
            </c:numRef>
          </c:xVal>
          <c:yVal>
            <c:numRef>
              <c:f>Sheet1!$B$2:$B$106</c:f>
              <c:numCache>
                <c:formatCode>General</c:formatCode>
                <c:ptCount val="105"/>
                <c:pt idx="0">
                  <c:v>0.2239506172839506</c:v>
                </c:pt>
                <c:pt idx="1">
                  <c:v>0.22613173138811413</c:v>
                </c:pt>
                <c:pt idx="2">
                  <c:v>0.20203430394894295</c:v>
                </c:pt>
                <c:pt idx="3">
                  <c:v>0.19159400849541694</c:v>
                </c:pt>
                <c:pt idx="4">
                  <c:v>0.1786876355748373</c:v>
                </c:pt>
                <c:pt idx="5">
                  <c:v>0.1758926431823628</c:v>
                </c:pt>
                <c:pt idx="6">
                  <c:v>0.17610891523935002</c:v>
                </c:pt>
                <c:pt idx="7">
                  <c:v>0.16105527638190956</c:v>
                </c:pt>
                <c:pt idx="8">
                  <c:v>0.20318621049882477</c:v>
                </c:pt>
                <c:pt idx="9">
                  <c:v>0.20985826105352232</c:v>
                </c:pt>
                <c:pt idx="10">
                  <c:v>0.2156484871844286</c:v>
                </c:pt>
                <c:pt idx="11">
                  <c:v>0.22260692464358453</c:v>
                </c:pt>
                <c:pt idx="12">
                  <c:v>0.21942791322710692</c:v>
                </c:pt>
                <c:pt idx="13">
                  <c:v>0.2524023062139654</c:v>
                </c:pt>
                <c:pt idx="14">
                  <c:v>0.22943327239488118</c:v>
                </c:pt>
                <c:pt idx="15">
                  <c:v>0.2202176403207331</c:v>
                </c:pt>
                <c:pt idx="16">
                  <c:v>0.20495185694635487</c:v>
                </c:pt>
                <c:pt idx="17">
                  <c:v>0.19896948077685295</c:v>
                </c:pt>
                <c:pt idx="18">
                  <c:v>0.1790437436419125</c:v>
                </c:pt>
                <c:pt idx="19">
                  <c:v>0.16927374301675976</c:v>
                </c:pt>
                <c:pt idx="20">
                  <c:v>0.1816586222027205</c:v>
                </c:pt>
                <c:pt idx="21">
                  <c:v>0.17545748116254037</c:v>
                </c:pt>
                <c:pt idx="22">
                  <c:v>0.17625681405208965</c:v>
                </c:pt>
                <c:pt idx="23">
                  <c:v>0.17586750788643532</c:v>
                </c:pt>
                <c:pt idx="24">
                  <c:v>0.16309823677581864</c:v>
                </c:pt>
                <c:pt idx="25">
                  <c:v>0.17095310136157338</c:v>
                </c:pt>
                <c:pt idx="26">
                  <c:v>0.1699489423778264</c:v>
                </c:pt>
                <c:pt idx="27">
                  <c:v>0.16264645072363887</c:v>
                </c:pt>
                <c:pt idx="28">
                  <c:v>0.1511278195488722</c:v>
                </c:pt>
                <c:pt idx="29">
                  <c:v>0.19111111111111112</c:v>
                </c:pt>
                <c:pt idx="30">
                  <c:v>0.13813813813813813</c:v>
                </c:pt>
                <c:pt idx="31">
                  <c:v>0.12857142857142856</c:v>
                </c:pt>
                <c:pt idx="32">
                  <c:v>0.15148861646234676</c:v>
                </c:pt>
                <c:pt idx="33">
                  <c:v>0.20093770931011387</c:v>
                </c:pt>
                <c:pt idx="34">
                  <c:v>0.1457725947521866</c:v>
                </c:pt>
                <c:pt idx="35">
                  <c:v>0.15702479338842976</c:v>
                </c:pt>
                <c:pt idx="36">
                  <c:v>0.11683599419448476</c:v>
                </c:pt>
                <c:pt idx="37">
                  <c:v>0.11829537105069801</c:v>
                </c:pt>
                <c:pt idx="38">
                  <c:v>0.10716871832005793</c:v>
                </c:pt>
                <c:pt idx="39">
                  <c:v>0.09798994974874371</c:v>
                </c:pt>
                <c:pt idx="40">
                  <c:v>0.11491108071135431</c:v>
                </c:pt>
                <c:pt idx="41">
                  <c:v>0.10390516039051603</c:v>
                </c:pt>
                <c:pt idx="42">
                  <c:v>0.10551075268817205</c:v>
                </c:pt>
                <c:pt idx="43">
                  <c:v>0.12948960302457466</c:v>
                </c:pt>
                <c:pt idx="44">
                  <c:v>0.14691558441558442</c:v>
                </c:pt>
                <c:pt idx="45">
                  <c:v>0.16316171138506164</c:v>
                </c:pt>
                <c:pt idx="46">
                  <c:v>0.16718528995756718</c:v>
                </c:pt>
                <c:pt idx="47">
                  <c:v>0.17937782237832414</c:v>
                </c:pt>
                <c:pt idx="48">
                  <c:v>0.20393626991565136</c:v>
                </c:pt>
                <c:pt idx="49">
                  <c:v>0.25377777777777777</c:v>
                </c:pt>
                <c:pt idx="50">
                  <c:v>0.21263520157325466</c:v>
                </c:pt>
                <c:pt idx="51">
                  <c:v>0.19376263355472134</c:v>
                </c:pt>
                <c:pt idx="52">
                  <c:v>0.21181716833890746</c:v>
                </c:pt>
                <c:pt idx="53">
                  <c:v>0.1931362725450902</c:v>
                </c:pt>
                <c:pt idx="54">
                  <c:v>0.19078212290502794</c:v>
                </c:pt>
                <c:pt idx="55">
                  <c:v>0.17833827893175075</c:v>
                </c:pt>
                <c:pt idx="56">
                  <c:v>0.19755487635454294</c:v>
                </c:pt>
                <c:pt idx="57">
                  <c:v>0.1885946176847501</c:v>
                </c:pt>
                <c:pt idx="58">
                  <c:v>0.2011711371363808</c:v>
                </c:pt>
                <c:pt idx="59">
                  <c:v>0.22147722435078757</c:v>
                </c:pt>
                <c:pt idx="60">
                  <c:v>0.23501287237955132</c:v>
                </c:pt>
                <c:pt idx="61">
                  <c:v>0.22746113989637307</c:v>
                </c:pt>
                <c:pt idx="62">
                  <c:v>0.24632010434134527</c:v>
                </c:pt>
                <c:pt idx="63">
                  <c:v>0.26058842547688327</c:v>
                </c:pt>
                <c:pt idx="64">
                  <c:v>0.24928941648553754</c:v>
                </c:pt>
                <c:pt idx="65">
                  <c:v>0.22749680482015702</c:v>
                </c:pt>
                <c:pt idx="66">
                  <c:v>0.20983096949679425</c:v>
                </c:pt>
                <c:pt idx="67">
                  <c:v>0.19701743331232935</c:v>
                </c:pt>
                <c:pt idx="68">
                  <c:v>0.18900836320191158</c:v>
                </c:pt>
                <c:pt idx="69">
                  <c:v>0.1698047419804742</c:v>
                </c:pt>
                <c:pt idx="70">
                  <c:v>0.1603527106466362</c:v>
                </c:pt>
                <c:pt idx="71">
                  <c:v>0.15795015795015796</c:v>
                </c:pt>
                <c:pt idx="72">
                  <c:v>0.15504169825625475</c:v>
                </c:pt>
                <c:pt idx="73">
                  <c:v>0.14440734557595994</c:v>
                </c:pt>
                <c:pt idx="74">
                  <c:v>0.14613861386138613</c:v>
                </c:pt>
                <c:pt idx="75">
                  <c:v>0.14919578480310594</c:v>
                </c:pt>
                <c:pt idx="76">
                  <c:v>0.14220482713633398</c:v>
                </c:pt>
                <c:pt idx="77">
                  <c:v>0.13936867182846932</c:v>
                </c:pt>
                <c:pt idx="78">
                  <c:v>0.14316546762589927</c:v>
                </c:pt>
                <c:pt idx="79">
                  <c:v>0.17432530999270604</c:v>
                </c:pt>
                <c:pt idx="80">
                  <c:v>0.14521193092621665</c:v>
                </c:pt>
                <c:pt idx="81">
                  <c:v>0.12204234122042341</c:v>
                </c:pt>
                <c:pt idx="82">
                  <c:v>0.11042471042471043</c:v>
                </c:pt>
                <c:pt idx="83">
                  <c:v>0.10410958904109589</c:v>
                </c:pt>
                <c:pt idx="84">
                  <c:v>0.10590440487347703</c:v>
                </c:pt>
                <c:pt idx="85">
                  <c:v>0.13153846153846155</c:v>
                </c:pt>
                <c:pt idx="86">
                  <c:v>0.11324376199616124</c:v>
                </c:pt>
                <c:pt idx="87">
                  <c:v>0.12778904665314403</c:v>
                </c:pt>
                <c:pt idx="88">
                  <c:v>0.11896838602329451</c:v>
                </c:pt>
                <c:pt idx="89">
                  <c:v>0.09215017064846416</c:v>
                </c:pt>
                <c:pt idx="90">
                  <c:v>0.08870214752567694</c:v>
                </c:pt>
                <c:pt idx="91">
                  <c:v>0.07748776508972267</c:v>
                </c:pt>
                <c:pt idx="92">
                  <c:v>0.10761305094447625</c:v>
                </c:pt>
                <c:pt idx="93">
                  <c:v>0.10435301132975551</c:v>
                </c:pt>
                <c:pt idx="94">
                  <c:v>0.10286677908937605</c:v>
                </c:pt>
                <c:pt idx="95">
                  <c:v>0.13326895219700627</c:v>
                </c:pt>
                <c:pt idx="96">
                  <c:v>0.1470496409615985</c:v>
                </c:pt>
                <c:pt idx="97">
                  <c:v>0.1497824735860783</c:v>
                </c:pt>
                <c:pt idx="98">
                  <c:v>0.1613941018766756</c:v>
                </c:pt>
                <c:pt idx="99">
                  <c:v>0.17258883248730963</c:v>
                </c:pt>
                <c:pt idx="100">
                  <c:v>0.19520910534674432</c:v>
                </c:pt>
                <c:pt idx="101">
                  <c:v>0.16788822721026112</c:v>
                </c:pt>
                <c:pt idx="102">
                  <c:v>0.1484830805134189</c:v>
                </c:pt>
                <c:pt idx="103">
                  <c:v>0.18421713998492084</c:v>
                </c:pt>
                <c:pt idx="104">
                  <c:v>0.186742326541140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2.8346</c:v>
                </c:pt>
                <c:pt idx="1">
                  <c:v>1186.7519</c:v>
                </c:pt>
                <c:pt idx="2">
                  <c:v>1186.8576</c:v>
                </c:pt>
                <c:pt idx="3">
                  <c:v>1199.1274</c:v>
                </c:pt>
                <c:pt idx="4">
                  <c:v>1198.8084</c:v>
                </c:pt>
                <c:pt idx="5">
                  <c:v>1195.0988</c:v>
                </c:pt>
                <c:pt idx="6">
                  <c:v>1125.3469</c:v>
                </c:pt>
                <c:pt idx="7">
                  <c:v>1245.8229</c:v>
                </c:pt>
                <c:pt idx="8">
                  <c:v>1292.3417</c:v>
                </c:pt>
                <c:pt idx="9">
                  <c:v>1276.2112</c:v>
                </c:pt>
                <c:pt idx="10">
                  <c:v>1271.0109</c:v>
                </c:pt>
                <c:pt idx="11">
                  <c:v>1082.3663</c:v>
                </c:pt>
                <c:pt idx="12">
                  <c:v>1080.4855</c:v>
                </c:pt>
                <c:pt idx="13">
                  <c:v>1212.9037</c:v>
                </c:pt>
                <c:pt idx="14">
                  <c:v>1247.5785</c:v>
                </c:pt>
                <c:pt idx="15">
                  <c:v>1267.0908</c:v>
                </c:pt>
                <c:pt idx="16">
                  <c:v>1331.6824</c:v>
                </c:pt>
                <c:pt idx="17">
                  <c:v>1326.7623</c:v>
                </c:pt>
                <c:pt idx="18">
                  <c:v>1355.9614</c:v>
                </c:pt>
                <c:pt idx="19">
                  <c:v>1302.3677</c:v>
                </c:pt>
                <c:pt idx="20">
                  <c:v>1218.6375</c:v>
                </c:pt>
                <c:pt idx="21">
                  <c:v>1071.0234</c:v>
                </c:pt>
                <c:pt idx="22">
                  <c:v>977.6473</c:v>
                </c:pt>
                <c:pt idx="23">
                  <c:v>1010.209</c:v>
                </c:pt>
                <c:pt idx="24">
                  <c:v>1039.3096</c:v>
                </c:pt>
                <c:pt idx="25">
                  <c:v>1048.6778</c:v>
                </c:pt>
                <c:pt idx="26">
                  <c:v>1204.8821</c:v>
                </c:pt>
                <c:pt idx="27">
                  <c:v>1225.9947</c:v>
                </c:pt>
                <c:pt idx="28">
                  <c:v>1235.2315</c:v>
                </c:pt>
                <c:pt idx="29">
                  <c:v>1205.7551</c:v>
                </c:pt>
                <c:pt idx="30">
                  <c:v>1174.1985</c:v>
                </c:pt>
                <c:pt idx="31">
                  <c:v>1209.1858</c:v>
                </c:pt>
                <c:pt idx="32">
                  <c:v>1224.2628</c:v>
                </c:pt>
                <c:pt idx="33">
                  <c:v>1241.3735</c:v>
                </c:pt>
                <c:pt idx="34">
                  <c:v>1230.0628</c:v>
                </c:pt>
                <c:pt idx="35">
                  <c:v>1210.6797</c:v>
                </c:pt>
                <c:pt idx="36">
                  <c:v>1192.3838</c:v>
                </c:pt>
                <c:pt idx="37">
                  <c:v>1111.7315</c:v>
                </c:pt>
                <c:pt idx="38">
                  <c:v>1011.0336</c:v>
                </c:pt>
                <c:pt idx="39">
                  <c:v>986.2291</c:v>
                </c:pt>
                <c:pt idx="40">
                  <c:v>1052.4125</c:v>
                </c:pt>
                <c:pt idx="41">
                  <c:v>1171.1421</c:v>
                </c:pt>
                <c:pt idx="42">
                  <c:v>1177.3457</c:v>
                </c:pt>
                <c:pt idx="43">
                  <c:v>1045.2926</c:v>
                </c:pt>
                <c:pt idx="44">
                  <c:v>1132.571</c:v>
                </c:pt>
                <c:pt idx="45">
                  <c:v>1161.0778</c:v>
                </c:pt>
                <c:pt idx="46">
                  <c:v>1239.3796</c:v>
                </c:pt>
                <c:pt idx="47">
                  <c:v>1191.5097</c:v>
                </c:pt>
                <c:pt idx="48">
                  <c:v>1221.413</c:v>
                </c:pt>
                <c:pt idx="49">
                  <c:v>1180.2048</c:v>
                </c:pt>
                <c:pt idx="50">
                  <c:v>1047.2461</c:v>
                </c:pt>
                <c:pt idx="51">
                  <c:v>1024.6659</c:v>
                </c:pt>
              </c:numCache>
            </c:numRef>
          </c:xVal>
          <c:yVal>
            <c:numRef>
              <c:f>Sheet1!$B$109:$B$160</c:f>
              <c:numCache>
                <c:formatCode>General</c:formatCode>
                <c:ptCount val="52"/>
                <c:pt idx="0">
                  <c:v>0.17201540436456997</c:v>
                </c:pt>
                <c:pt idx="1">
                  <c:v>0.17640621580214488</c:v>
                </c:pt>
                <c:pt idx="2">
                  <c:v>0.1952662721893491</c:v>
                </c:pt>
                <c:pt idx="3">
                  <c:v>0.20593557727108217</c:v>
                </c:pt>
                <c:pt idx="4">
                  <c:v>0.19870366619404498</c:v>
                </c:pt>
                <c:pt idx="5">
                  <c:v>0.19724576271186442</c:v>
                </c:pt>
                <c:pt idx="6">
                  <c:v>0.20518948446568794</c:v>
                </c:pt>
                <c:pt idx="7">
                  <c:v>0.18237885462555067</c:v>
                </c:pt>
                <c:pt idx="8">
                  <c:v>0.1894319682959049</c:v>
                </c:pt>
                <c:pt idx="9">
                  <c:v>0.20536609829488464</c:v>
                </c:pt>
                <c:pt idx="10">
                  <c:v>0.21712938711367208</c:v>
                </c:pt>
                <c:pt idx="11">
                  <c:v>0.24216685541713853</c:v>
                </c:pt>
                <c:pt idx="12">
                  <c:v>0.23726001422137946</c:v>
                </c:pt>
                <c:pt idx="13">
                  <c:v>0.20913348946135832</c:v>
                </c:pt>
                <c:pt idx="14">
                  <c:v>0.20615866388308976</c:v>
                </c:pt>
                <c:pt idx="15">
                  <c:v>0.19783352337514254</c:v>
                </c:pt>
                <c:pt idx="16">
                  <c:v>0.17212284846439418</c:v>
                </c:pt>
                <c:pt idx="17">
                  <c:v>0.15164576802507837</c:v>
                </c:pt>
                <c:pt idx="18">
                  <c:v>0.14699205448354144</c:v>
                </c:pt>
                <c:pt idx="19">
                  <c:v>0.16120644825793032</c:v>
                </c:pt>
                <c:pt idx="20">
                  <c:v>0.16675351745700887</c:v>
                </c:pt>
                <c:pt idx="21">
                  <c:v>0.19405241935483872</c:v>
                </c:pt>
                <c:pt idx="22">
                  <c:v>0.2030407062285434</c:v>
                </c:pt>
                <c:pt idx="23">
                  <c:v>0.1827262044653349</c:v>
                </c:pt>
                <c:pt idx="24">
                  <c:v>0.175625</c:v>
                </c:pt>
                <c:pt idx="25">
                  <c:v>0.1679550245959241</c:v>
                </c:pt>
                <c:pt idx="26">
                  <c:v>0.12380952380952381</c:v>
                </c:pt>
                <c:pt idx="27">
                  <c:v>0.12907608695652173</c:v>
                </c:pt>
                <c:pt idx="28">
                  <c:v>0.125</c:v>
                </c:pt>
                <c:pt idx="29">
                  <c:v>0.10761346998535871</c:v>
                </c:pt>
                <c:pt idx="30">
                  <c:v>0.1143106457242583</c:v>
                </c:pt>
                <c:pt idx="31">
                  <c:v>0.12569521690767518</c:v>
                </c:pt>
                <c:pt idx="32">
                  <c:v>0.11749571183533447</c:v>
                </c:pt>
                <c:pt idx="33">
                  <c:v>0.12613981762917933</c:v>
                </c:pt>
                <c:pt idx="34">
                  <c:v>0.1329479768786127</c:v>
                </c:pt>
                <c:pt idx="35">
                  <c:v>0.12104430379746836</c:v>
                </c:pt>
                <c:pt idx="36">
                  <c:v>0.12267657992565056</c:v>
                </c:pt>
                <c:pt idx="37">
                  <c:v>0.1157556270096463</c:v>
                </c:pt>
                <c:pt idx="38">
                  <c:v>0.14251497005988023</c:v>
                </c:pt>
                <c:pt idx="39">
                  <c:v>0.1469622331691297</c:v>
                </c:pt>
                <c:pt idx="40">
                  <c:v>0.13785180930499713</c:v>
                </c:pt>
                <c:pt idx="41">
                  <c:v>0.12321660181582361</c:v>
                </c:pt>
                <c:pt idx="42">
                  <c:v>0.12394797245600613</c:v>
                </c:pt>
                <c:pt idx="43">
                  <c:v>0.14566744730679157</c:v>
                </c:pt>
                <c:pt idx="44">
                  <c:v>0.13598738667717777</c:v>
                </c:pt>
                <c:pt idx="45">
                  <c:v>0.14715144574864014</c:v>
                </c:pt>
                <c:pt idx="46">
                  <c:v>0.12688713156002876</c:v>
                </c:pt>
                <c:pt idx="47">
                  <c:v>0.1436104218362283</c:v>
                </c:pt>
                <c:pt idx="48">
                  <c:v>0.1431429206490331</c:v>
                </c:pt>
                <c:pt idx="49">
                  <c:v>0.16666666666666666</c:v>
                </c:pt>
                <c:pt idx="50">
                  <c:v>0.22342433010441565</c:v>
                </c:pt>
                <c:pt idx="51">
                  <c:v>0.202114876231675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09.42133902575523</c:v>
                </c:pt>
              </c:numCache>
            </c:numRef>
          </c:xVal>
          <c:yVal>
            <c:numRef>
              <c:f>Sheet1!$B$163:$B$164</c:f>
              <c:numCache>
                <c:formatCode>General</c:formatCode>
                <c:ptCount val="2"/>
                <c:pt idx="0">
                  <c:v>0.20630741949601494</c:v>
                </c:pt>
                <c:pt idx="1">
                  <c:v>0.2063074194960149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09.42133902575523</c:v>
                </c:pt>
                <c:pt idx="1">
                  <c:v>509.42133902575523</c:v>
                </c:pt>
              </c:numCache>
            </c:numRef>
          </c:xVal>
          <c:yVal>
            <c:numRef>
              <c:f>Sheet1!$B$167:$B$168</c:f>
              <c:numCache>
                <c:formatCode>General</c:formatCode>
                <c:ptCount val="2"/>
                <c:pt idx="0">
                  <c:v>0.206307419496014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20.1312838259776</c:v>
                </c:pt>
              </c:numCache>
            </c:numRef>
          </c:xVal>
          <c:yVal>
            <c:numRef>
              <c:f>Sheet1!$B$171:$B$172</c:f>
              <c:numCache>
                <c:formatCode>General</c:formatCode>
                <c:ptCount val="2"/>
                <c:pt idx="0">
                  <c:v>0.19290931444688134</c:v>
                </c:pt>
                <c:pt idx="1">
                  <c:v>0.19290931444688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20.1312838259776</c:v>
                </c:pt>
                <c:pt idx="1">
                  <c:v>720.1312838259776</c:v>
                </c:pt>
              </c:numCache>
            </c:numRef>
          </c:xVal>
          <c:yVal>
            <c:numRef>
              <c:f>Sheet1!$B$175:$B$176</c:f>
              <c:numCache>
                <c:formatCode>General</c:formatCode>
                <c:ptCount val="2"/>
                <c:pt idx="0">
                  <c:v>0.19290931444688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4.8397254996466</c:v>
                </c:pt>
              </c:numCache>
            </c:numRef>
          </c:xVal>
          <c:yVal>
            <c:numRef>
              <c:f>Sheet1!$B$179:$B$180</c:f>
              <c:numCache>
                <c:formatCode>General</c:formatCode>
                <c:ptCount val="2"/>
                <c:pt idx="0">
                  <c:v>0.15127932642512412</c:v>
                </c:pt>
                <c:pt idx="1">
                  <c:v>0.1512793264251241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4.8397254996466</c:v>
                </c:pt>
                <c:pt idx="1">
                  <c:v>1374.8397254996466</c:v>
                </c:pt>
              </c:numCache>
            </c:numRef>
          </c:xVal>
          <c:yVal>
            <c:numRef>
              <c:f>Sheet1!$B$183:$B$184</c:f>
              <c:numCache>
                <c:formatCode>General</c:formatCode>
                <c:ptCount val="2"/>
                <c:pt idx="0">
                  <c:v>0.1512793264251241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2.8346</c:v>
                </c:pt>
                <c:pt idx="1">
                  <c:v>1186.7519</c:v>
                </c:pt>
                <c:pt idx="2">
                  <c:v>1186.8576</c:v>
                </c:pt>
                <c:pt idx="3">
                  <c:v>1199.1274</c:v>
                </c:pt>
                <c:pt idx="4">
                  <c:v>1198.8084</c:v>
                </c:pt>
                <c:pt idx="5">
                  <c:v>1195.0988</c:v>
                </c:pt>
                <c:pt idx="6">
                  <c:v>1125.3469</c:v>
                </c:pt>
                <c:pt idx="7">
                  <c:v>1245.8229</c:v>
                </c:pt>
                <c:pt idx="8">
                  <c:v>1292.3417</c:v>
                </c:pt>
                <c:pt idx="9">
                  <c:v>1276.2112</c:v>
                </c:pt>
                <c:pt idx="10">
                  <c:v>1271.0109</c:v>
                </c:pt>
                <c:pt idx="11">
                  <c:v>1082.3663</c:v>
                </c:pt>
                <c:pt idx="12">
                  <c:v>1080.4855</c:v>
                </c:pt>
                <c:pt idx="13">
                  <c:v>1212.9037</c:v>
                </c:pt>
                <c:pt idx="14">
                  <c:v>1247.5785</c:v>
                </c:pt>
                <c:pt idx="15">
                  <c:v>1267.0908</c:v>
                </c:pt>
                <c:pt idx="16">
                  <c:v>1331.6824</c:v>
                </c:pt>
                <c:pt idx="17">
                  <c:v>1326.7623</c:v>
                </c:pt>
                <c:pt idx="18">
                  <c:v>1355.9614</c:v>
                </c:pt>
                <c:pt idx="19">
                  <c:v>1302.3677</c:v>
                </c:pt>
                <c:pt idx="20">
                  <c:v>1218.6375</c:v>
                </c:pt>
                <c:pt idx="21">
                  <c:v>1071.0234</c:v>
                </c:pt>
                <c:pt idx="22">
                  <c:v>977.6473</c:v>
                </c:pt>
                <c:pt idx="23">
                  <c:v>1010.209</c:v>
                </c:pt>
                <c:pt idx="24">
                  <c:v>1039.3096</c:v>
                </c:pt>
                <c:pt idx="25">
                  <c:v>1048.6778</c:v>
                </c:pt>
                <c:pt idx="26">
                  <c:v>1204.8821</c:v>
                </c:pt>
                <c:pt idx="27">
                  <c:v>1225.9947</c:v>
                </c:pt>
                <c:pt idx="28">
                  <c:v>1235.2315</c:v>
                </c:pt>
                <c:pt idx="29">
                  <c:v>1205.7551</c:v>
                </c:pt>
                <c:pt idx="30">
                  <c:v>1174.1985</c:v>
                </c:pt>
                <c:pt idx="31">
                  <c:v>1209.1858</c:v>
                </c:pt>
                <c:pt idx="32">
                  <c:v>1224.2628</c:v>
                </c:pt>
                <c:pt idx="33">
                  <c:v>1241.3735</c:v>
                </c:pt>
                <c:pt idx="34">
                  <c:v>1230.0628</c:v>
                </c:pt>
                <c:pt idx="35">
                  <c:v>1210.6797</c:v>
                </c:pt>
                <c:pt idx="36">
                  <c:v>1192.3838</c:v>
                </c:pt>
                <c:pt idx="37">
                  <c:v>1111.7315</c:v>
                </c:pt>
                <c:pt idx="38">
                  <c:v>1011.0336</c:v>
                </c:pt>
                <c:pt idx="39">
                  <c:v>986.2291</c:v>
                </c:pt>
                <c:pt idx="40">
                  <c:v>1052.4125</c:v>
                </c:pt>
                <c:pt idx="41">
                  <c:v>1171.1421</c:v>
                </c:pt>
                <c:pt idx="42">
                  <c:v>1177.3457</c:v>
                </c:pt>
                <c:pt idx="43">
                  <c:v>1045.2926</c:v>
                </c:pt>
                <c:pt idx="44">
                  <c:v>1132.571</c:v>
                </c:pt>
                <c:pt idx="45">
                  <c:v>1161.0778</c:v>
                </c:pt>
                <c:pt idx="46">
                  <c:v>1239.3796</c:v>
                </c:pt>
                <c:pt idx="47">
                  <c:v>1191.5097</c:v>
                </c:pt>
                <c:pt idx="48">
                  <c:v>1221.413</c:v>
                </c:pt>
                <c:pt idx="49">
                  <c:v>1180.2048</c:v>
                </c:pt>
                <c:pt idx="50">
                  <c:v>1047.2461</c:v>
                </c:pt>
                <c:pt idx="51">
                  <c:v>1024.6659</c:v>
                </c:pt>
                <c:pt idx="52">
                  <c:v>720.1312838259776</c:v>
                </c:pt>
                <c:pt idx="53">
                  <c:v>509.42133902575523</c:v>
                </c:pt>
                <c:pt idx="54">
                  <c:v>1374.8397254996466</c:v>
                </c:pt>
              </c:numCache>
            </c:numRef>
          </c:xVal>
          <c:yVal>
            <c:numRef>
              <c:f>Sheet1!$B$187:$B$241</c:f>
              <c:numCache>
                <c:formatCode>General</c:formatCode>
                <c:ptCount val="55"/>
                <c:pt idx="0">
                  <c:v>0.16285222011667255</c:v>
                </c:pt>
                <c:pt idx="1">
                  <c:v>0.16323899186425017</c:v>
                </c:pt>
                <c:pt idx="2">
                  <c:v>0.16323227087296027</c:v>
                </c:pt>
                <c:pt idx="3">
                  <c:v>0.16245208904771363</c:v>
                </c:pt>
                <c:pt idx="4">
                  <c:v>0.1624723728341041</c:v>
                </c:pt>
                <c:pt idx="5">
                  <c:v>0.16270824974317638</c:v>
                </c:pt>
                <c:pt idx="6">
                  <c:v>0.1671434617805708</c:v>
                </c:pt>
                <c:pt idx="7">
                  <c:v>0.15948293059192747</c:v>
                </c:pt>
                <c:pt idx="8">
                  <c:v>0.15652500770057765</c:v>
                </c:pt>
                <c:pt idx="9">
                  <c:v>0.1575506742095787</c:v>
                </c:pt>
                <c:pt idx="10">
                  <c:v>0.15788133807906557</c:v>
                </c:pt>
                <c:pt idx="11">
                  <c:v>0.16987640632393713</c:v>
                </c:pt>
                <c:pt idx="12">
                  <c:v>0.16999599800244242</c:v>
                </c:pt>
                <c:pt idx="13">
                  <c:v>0.16157611561056343</c:v>
                </c:pt>
                <c:pt idx="14">
                  <c:v>0.1593712998226889</c:v>
                </c:pt>
                <c:pt idx="15">
                  <c:v>0.15813059974373406</c:v>
                </c:pt>
                <c:pt idx="16">
                  <c:v>0.15402350815433555</c:v>
                </c:pt>
                <c:pt idx="17">
                  <c:v>0.1543363553562782</c:v>
                </c:pt>
                <c:pt idx="18">
                  <c:v>0.1524797148948559</c:v>
                </c:pt>
                <c:pt idx="19">
                  <c:v>0.15588749910386676</c:v>
                </c:pt>
                <c:pt idx="20">
                  <c:v>0.1612115288569408</c:v>
                </c:pt>
                <c:pt idx="21">
                  <c:v>0.17059765071468436</c:v>
                </c:pt>
                <c:pt idx="22">
                  <c:v>0.17653502020175132</c:v>
                </c:pt>
                <c:pt idx="23">
                  <c:v>0.17446456701269086</c:v>
                </c:pt>
                <c:pt idx="24">
                  <c:v>0.17261418972669007</c:v>
                </c:pt>
                <c:pt idx="25">
                  <c:v>0.17201850769639815</c:v>
                </c:pt>
                <c:pt idx="26">
                  <c:v>0.16208617335636194</c:v>
                </c:pt>
                <c:pt idx="27">
                  <c:v>0.16074371734210724</c:v>
                </c:pt>
                <c:pt idx="28">
                  <c:v>0.1601563904514131</c:v>
                </c:pt>
                <c:pt idx="29">
                  <c:v>0.16203066318232157</c:v>
                </c:pt>
                <c:pt idx="30">
                  <c:v>0.1640372065478678</c:v>
                </c:pt>
                <c:pt idx="31">
                  <c:v>0.16181252027959508</c:v>
                </c:pt>
                <c:pt idx="32">
                  <c:v>0.16085384113411239</c:v>
                </c:pt>
                <c:pt idx="33">
                  <c:v>0.15976584808147515</c:v>
                </c:pt>
                <c:pt idx="34">
                  <c:v>0.16048504501792216</c:v>
                </c:pt>
                <c:pt idx="35">
                  <c:v>0.1617175298454612</c:v>
                </c:pt>
                <c:pt idx="36">
                  <c:v>0.16288088447687574</c:v>
                </c:pt>
                <c:pt idx="37">
                  <c:v>0.16800920430477356</c:v>
                </c:pt>
                <c:pt idx="38">
                  <c:v>0.1744121343786546</c:v>
                </c:pt>
                <c:pt idx="39">
                  <c:v>0.17598934183797182</c:v>
                </c:pt>
                <c:pt idx="40">
                  <c:v>0.1717810347903403</c:v>
                </c:pt>
                <c:pt idx="41">
                  <c:v>0.16423154938399256</c:v>
                </c:pt>
                <c:pt idx="42">
                  <c:v>0.1638370901449585</c:v>
                </c:pt>
                <c:pt idx="43">
                  <c:v>0.17223375745717867</c:v>
                </c:pt>
                <c:pt idx="44">
                  <c:v>0.16668411350074844</c:v>
                </c:pt>
                <c:pt idx="45">
                  <c:v>0.16487149330678103</c:v>
                </c:pt>
                <c:pt idx="46">
                  <c:v>0.15989263128424613</c:v>
                </c:pt>
                <c:pt idx="47">
                  <c:v>0.1629364645950071</c:v>
                </c:pt>
                <c:pt idx="48">
                  <c:v>0.1610350471982363</c:v>
                </c:pt>
                <c:pt idx="49">
                  <c:v>0.1636552927353379</c:v>
                </c:pt>
                <c:pt idx="50">
                  <c:v>0.17210954311011356</c:v>
                </c:pt>
                <c:pt idx="51">
                  <c:v>0.17354531725887187</c:v>
                </c:pt>
                <c:pt idx="52">
                  <c:v>0.19290931444688134</c:v>
                </c:pt>
                <c:pt idx="53">
                  <c:v>0.20630741949601494</c:v>
                </c:pt>
                <c:pt idx="54">
                  <c:v>0.151279326425124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0.0"/>
          <c:min val="40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7061105722599"/>
          <c:min val="0.061990212071778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1.1417844999592668</c:v>
                </c:pt>
                <c:pt idx="3">
                  <c:v>1.0672963951968715</c:v>
                </c:pt>
                <c:pt idx="4">
                  <c:v>1.4241565586177134</c:v>
                </c:pt>
                <c:pt idx="5">
                  <c:v>0.8670303386792193</c:v>
                </c:pt>
                <c:pt idx="6">
                  <c:v>1.1619599473778532</c:v>
                </c:pt>
                <c:pt idx="7">
                  <c:v>1.919667154015078</c:v>
                </c:pt>
                <c:pt idx="8">
                  <c:v>1.2110814545333575</c:v>
                </c:pt>
                <c:pt idx="9">
                  <c:v>1.266349676170981</c:v>
                </c:pt>
                <c:pt idx="10">
                  <c:v>1.3729221665241351</c:v>
                </c:pt>
                <c:pt idx="11">
                  <c:v>1.3004350258885864</c:v>
                </c:pt>
                <c:pt idx="12">
                  <c:v>1.1738818411735572</c:v>
                </c:pt>
                <c:pt idx="13">
                  <c:v>1.1194316084301068</c:v>
                </c:pt>
                <c:pt idx="14">
                  <c:v>1.0522079301962426</c:v>
                </c:pt>
                <c:pt idx="15">
                  <c:v>1.4715046172734998</c:v>
                </c:pt>
                <c:pt idx="16">
                  <c:v>1.0727488194900734</c:v>
                </c:pt>
                <c:pt idx="17">
                  <c:v>0.7912220315515729</c:v>
                </c:pt>
                <c:pt idx="18">
                  <c:v>1.2348140612192415</c:v>
                </c:pt>
                <c:pt idx="19">
                  <c:v>0.9234378980430058</c:v>
                </c:pt>
                <c:pt idx="20">
                  <c:v>1.055683859183012</c:v>
                </c:pt>
                <c:pt idx="21">
                  <c:v>0.3215016880404443</c:v>
                </c:pt>
                <c:pt idx="22">
                  <c:v>0.5899247751774717</c:v>
                </c:pt>
                <c:pt idx="23">
                  <c:v>2.101475914381</c:v>
                </c:pt>
                <c:pt idx="24">
                  <c:v>2.4551348339903</c:v>
                </c:pt>
                <c:pt idx="25">
                  <c:v>3.0418860587778065</c:v>
                </c:pt>
                <c:pt idx="26">
                  <c:v>1.7824848750915747</c:v>
                </c:pt>
                <c:pt idx="27">
                  <c:v>2.7110699020177718</c:v>
                </c:pt>
                <c:pt idx="28">
                  <c:v>2.424571786121159</c:v>
                </c:pt>
                <c:pt idx="29">
                  <c:v>1.630418077620075</c:v>
                </c:pt>
                <c:pt idx="30">
                  <c:v>1.2338350779761336</c:v>
                </c:pt>
                <c:pt idx="31">
                  <c:v>2.5777202623828006</c:v>
                </c:pt>
                <c:pt idx="32">
                  <c:v>0.0</c:v>
                </c:pt>
                <c:pt idx="33">
                  <c:v>2.2759173443295904</c:v>
                </c:pt>
                <c:pt idx="34">
                  <c:v>2.3810124263306274</c:v>
                </c:pt>
                <c:pt idx="35">
                  <c:v>2.4006147247066023</c:v>
                </c:pt>
                <c:pt idx="36">
                  <c:v>1.8934648367396356</c:v>
                </c:pt>
                <c:pt idx="37">
                  <c:v>1.5667038742750807</c:v>
                </c:pt>
                <c:pt idx="38">
                  <c:v>2.3762726519344457</c:v>
                </c:pt>
                <c:pt idx="39">
                  <c:v>1.7944856100179447</c:v>
                </c:pt>
                <c:pt idx="40">
                  <c:v>2.354583753786756</c:v>
                </c:pt>
                <c:pt idx="41">
                  <c:v>3.7293386075342108</c:v>
                </c:pt>
                <c:pt idx="42">
                  <c:v>1.9548158479543534</c:v>
                </c:pt>
                <c:pt idx="43">
                  <c:v>1.9775216073102098</c:v>
                </c:pt>
                <c:pt idx="44">
                  <c:v>1.1492005462311696</c:v>
                </c:pt>
                <c:pt idx="45">
                  <c:v>0.9946567521502726</c:v>
                </c:pt>
                <c:pt idx="46">
                  <c:v>1.0125596302898718</c:v>
                </c:pt>
                <c:pt idx="47">
                  <c:v>1.5230910597493863</c:v>
                </c:pt>
                <c:pt idx="48">
                  <c:v>2.226346082402623</c:v>
                </c:pt>
                <c:pt idx="49">
                  <c:v>2.1897954134209474</c:v>
                </c:pt>
                <c:pt idx="50">
                  <c:v>2.076340869060814</c:v>
                </c:pt>
                <c:pt idx="51">
                  <c:v>2.7021550644918984</c:v>
                </c:pt>
                <c:pt idx="52">
                  <c:v>2.5090289943029926</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6577141063751717</c:v>
                </c:pt>
                <c:pt idx="1">
                  <c:v>1.6653864232511357</c:v>
                </c:pt>
                <c:pt idx="2">
                  <c:v>2.827817394168438</c:v>
                </c:pt>
                <c:pt idx="3">
                  <c:v>1.9001892576296584</c:v>
                </c:pt>
                <c:pt idx="4">
                  <c:v>2.392730229608895</c:v>
                </c:pt>
                <c:pt idx="5">
                  <c:v>2.603549911479405</c:v>
                </c:pt>
                <c:pt idx="6">
                  <c:v>2.981211479319064</c:v>
                </c:pt>
                <c:pt idx="7">
                  <c:v>2.5562753298834644</c:v>
                </c:pt>
                <c:pt idx="8">
                  <c:v>2.5844200777404374</c:v>
                </c:pt>
                <c:pt idx="9">
                  <c:v>2.3692099689243244</c:v>
                </c:pt>
                <c:pt idx="10">
                  <c:v>2.416234717677168</c:v>
                </c:pt>
                <c:pt idx="11">
                  <c:v>2.6507783333820707</c:v>
                </c:pt>
                <c:pt idx="12">
                  <c:v>2.377473997396783</c:v>
                </c:pt>
                <c:pt idx="13">
                  <c:v>2.0703241240991357</c:v>
                </c:pt>
                <c:pt idx="14">
                  <c:v>1.9125475970587977</c:v>
                </c:pt>
                <c:pt idx="15">
                  <c:v>2.026806394387297</c:v>
                </c:pt>
                <c:pt idx="16">
                  <c:v>2.1847384014544478</c:v>
                </c:pt>
                <c:pt idx="17">
                  <c:v>1.9272021170944535</c:v>
                </c:pt>
                <c:pt idx="18">
                  <c:v>1.970716762378826</c:v>
                </c:pt>
                <c:pt idx="19">
                  <c:v>2.9915464110480268</c:v>
                </c:pt>
                <c:pt idx="20">
                  <c:v>1.9508090494422097</c:v>
                </c:pt>
                <c:pt idx="21">
                  <c:v>2.0684302540332324</c:v>
                </c:pt>
                <c:pt idx="22">
                  <c:v>2.0349244770650685</c:v>
                </c:pt>
                <c:pt idx="23">
                  <c:v>2.4174156828902014</c:v>
                </c:pt>
                <c:pt idx="24">
                  <c:v>1.8048760752462214</c:v>
                </c:pt>
                <c:pt idx="25">
                  <c:v>1.8796830490150855</c:v>
                </c:pt>
                <c:pt idx="26">
                  <c:v>2.1052134199041053</c:v>
                </c:pt>
                <c:pt idx="27">
                  <c:v>2.2736683751081506</c:v>
                </c:pt>
                <c:pt idx="28">
                  <c:v>1.940794984661172</c:v>
                </c:pt>
                <c:pt idx="29">
                  <c:v>2.18052640742598</c:v>
                </c:pt>
                <c:pt idx="30">
                  <c:v>1.2553101414135857</c:v>
                </c:pt>
                <c:pt idx="31">
                  <c:v>1.8359719314599092</c:v>
                </c:pt>
                <c:pt idx="32">
                  <c:v>2.2557983327006945</c:v>
                </c:pt>
                <c:pt idx="33">
                  <c:v>2.091816691208327</c:v>
                </c:pt>
                <c:pt idx="34">
                  <c:v>2.3872099459389</c:v>
                </c:pt>
                <c:pt idx="35">
                  <c:v>2.028425076363961</c:v>
                </c:pt>
                <c:pt idx="36">
                  <c:v>1.9702874911812105</c:v>
                </c:pt>
                <c:pt idx="37">
                  <c:v>1.7215368979046186</c:v>
                </c:pt>
                <c:pt idx="38">
                  <c:v>1.818219512484068</c:v>
                </c:pt>
                <c:pt idx="39">
                  <c:v>2.0032697034287468</c:v>
                </c:pt>
                <c:pt idx="40">
                  <c:v>2.610687957516933</c:v>
                </c:pt>
                <c:pt idx="41">
                  <c:v>2.6084838471727676</c:v>
                </c:pt>
                <c:pt idx="42">
                  <c:v>2.021528806109281</c:v>
                </c:pt>
                <c:pt idx="43">
                  <c:v>2.2078635210513657</c:v>
                </c:pt>
                <c:pt idx="44">
                  <c:v>2.3660646367679425</c:v>
                </c:pt>
                <c:pt idx="45">
                  <c:v>2.2586140545801023</c:v>
                </c:pt>
                <c:pt idx="46">
                  <c:v>2.4144499474126717</c:v>
                </c:pt>
                <c:pt idx="47">
                  <c:v>2.576300321774028</c:v>
                </c:pt>
                <c:pt idx="48">
                  <c:v>2.8784423097628133</c:v>
                </c:pt>
                <c:pt idx="49">
                  <c:v>2.6917535221386757</c:v>
                </c:pt>
                <c:pt idx="50">
                  <c:v>2.627250825330861</c:v>
                </c:pt>
                <c:pt idx="51">
                  <c:v>2.578559261575949</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8630742156199682</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8630742156199682</c:v>
                </c:pt>
                <c:pt idx="1">
                  <c:v>1.8630742156199682</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0158832761033536</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158832761033536</c:v>
                </c:pt>
                <c:pt idx="1">
                  <c:v>2.0158832761033536</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4831449945982964</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4831449945982964</c:v>
                </c:pt>
                <c:pt idx="1">
                  <c:v>2.4831449945982964</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6577141063751717</c:v>
                </c:pt>
                <c:pt idx="1">
                  <c:v>1.6653864232511357</c:v>
                </c:pt>
                <c:pt idx="2">
                  <c:v>2.827817394168438</c:v>
                </c:pt>
                <c:pt idx="3">
                  <c:v>1.9001892576296584</c:v>
                </c:pt>
                <c:pt idx="4">
                  <c:v>2.392730229608895</c:v>
                </c:pt>
                <c:pt idx="5">
                  <c:v>2.603549911479405</c:v>
                </c:pt>
                <c:pt idx="6">
                  <c:v>2.981211479319064</c:v>
                </c:pt>
                <c:pt idx="7">
                  <c:v>2.5562753298834644</c:v>
                </c:pt>
                <c:pt idx="8">
                  <c:v>2.5844200777404374</c:v>
                </c:pt>
                <c:pt idx="9">
                  <c:v>2.3692099689243244</c:v>
                </c:pt>
                <c:pt idx="10">
                  <c:v>2.416234717677168</c:v>
                </c:pt>
                <c:pt idx="11">
                  <c:v>2.6507783333820707</c:v>
                </c:pt>
                <c:pt idx="12">
                  <c:v>2.377473997396783</c:v>
                </c:pt>
                <c:pt idx="13">
                  <c:v>2.0703241240991357</c:v>
                </c:pt>
                <c:pt idx="14">
                  <c:v>1.9125475970587977</c:v>
                </c:pt>
                <c:pt idx="15">
                  <c:v>2.026806394387297</c:v>
                </c:pt>
                <c:pt idx="16">
                  <c:v>2.1847384014544478</c:v>
                </c:pt>
                <c:pt idx="17">
                  <c:v>1.9272021170944535</c:v>
                </c:pt>
                <c:pt idx="18">
                  <c:v>1.970716762378826</c:v>
                </c:pt>
                <c:pt idx="19">
                  <c:v>2.9915464110480268</c:v>
                </c:pt>
                <c:pt idx="20">
                  <c:v>1.9508090494422097</c:v>
                </c:pt>
                <c:pt idx="21">
                  <c:v>2.0684302540332324</c:v>
                </c:pt>
                <c:pt idx="22">
                  <c:v>2.0349244770650685</c:v>
                </c:pt>
                <c:pt idx="23">
                  <c:v>2.4174156828902014</c:v>
                </c:pt>
                <c:pt idx="24">
                  <c:v>1.8048760752462214</c:v>
                </c:pt>
                <c:pt idx="25">
                  <c:v>1.8796830490150855</c:v>
                </c:pt>
                <c:pt idx="26">
                  <c:v>2.1052134199041053</c:v>
                </c:pt>
                <c:pt idx="27">
                  <c:v>2.2736683751081506</c:v>
                </c:pt>
                <c:pt idx="28">
                  <c:v>1.940794984661172</c:v>
                </c:pt>
                <c:pt idx="29">
                  <c:v>2.18052640742598</c:v>
                </c:pt>
                <c:pt idx="30">
                  <c:v>1.2553101414135857</c:v>
                </c:pt>
                <c:pt idx="31">
                  <c:v>1.8359719314599092</c:v>
                </c:pt>
                <c:pt idx="32">
                  <c:v>2.2557983327006945</c:v>
                </c:pt>
                <c:pt idx="33">
                  <c:v>2.091816691208327</c:v>
                </c:pt>
                <c:pt idx="34">
                  <c:v>2.3872099459389</c:v>
                </c:pt>
                <c:pt idx="35">
                  <c:v>2.028425076363961</c:v>
                </c:pt>
                <c:pt idx="36">
                  <c:v>1.9702874911812105</c:v>
                </c:pt>
                <c:pt idx="37">
                  <c:v>1.7215368979046186</c:v>
                </c:pt>
                <c:pt idx="38">
                  <c:v>1.818219512484068</c:v>
                </c:pt>
                <c:pt idx="39">
                  <c:v>2.0032697034287468</c:v>
                </c:pt>
                <c:pt idx="40">
                  <c:v>2.610687957516933</c:v>
                </c:pt>
                <c:pt idx="41">
                  <c:v>2.6084838471727676</c:v>
                </c:pt>
                <c:pt idx="42">
                  <c:v>2.021528806109281</c:v>
                </c:pt>
                <c:pt idx="43">
                  <c:v>2.2078635210513657</c:v>
                </c:pt>
                <c:pt idx="44">
                  <c:v>2.3660646367679425</c:v>
                </c:pt>
                <c:pt idx="45">
                  <c:v>2.2586140545801023</c:v>
                </c:pt>
                <c:pt idx="46">
                  <c:v>2.4144499474126717</c:v>
                </c:pt>
                <c:pt idx="47">
                  <c:v>2.576300321774028</c:v>
                </c:pt>
                <c:pt idx="48">
                  <c:v>2.8784423097628133</c:v>
                </c:pt>
                <c:pt idx="49">
                  <c:v>2.6917535221386757</c:v>
                </c:pt>
                <c:pt idx="50">
                  <c:v>2.627250825330861</c:v>
                </c:pt>
                <c:pt idx="51">
                  <c:v>2.578559261575949</c:v>
                </c:pt>
                <c:pt idx="52">
                  <c:v>2.0158832761033536</c:v>
                </c:pt>
                <c:pt idx="53">
                  <c:v>1.8630742156199682</c:v>
                </c:pt>
                <c:pt idx="54">
                  <c:v>2.4831449945982964</c:v>
                </c:pt>
              </c:numCache>
            </c:numRef>
          </c:xVal>
          <c:yVal>
            <c:numRef>
              <c:f>Sheet1!$B$135:$B$189</c:f>
              <c:numCache>
                <c:formatCode>General</c:formatCode>
                <c:ptCount val="55"/>
                <c:pt idx="0">
                  <c:v>0.0025524063315243662</c:v>
                </c:pt>
                <c:pt idx="1">
                  <c:v>0.004906129569477277</c:v>
                </c:pt>
                <c:pt idx="2">
                  <c:v>0.002148934708047389</c:v>
                </c:pt>
                <c:pt idx="3">
                  <c:v>0.004349195708805311</c:v>
                </c:pt>
                <c:pt idx="4">
                  <c:v>0.0031809272516141037</c:v>
                </c:pt>
                <c:pt idx="5">
                  <c:v>0.002680879542903315</c:v>
                </c:pt>
                <c:pt idx="6">
                  <c:v>0.0017850959993993432</c:v>
                </c:pt>
                <c:pt idx="7">
                  <c:v>0.0027930111332632283</c:v>
                </c:pt>
                <c:pt idx="8">
                  <c:v>0.0027262540043592647</c:v>
                </c:pt>
                <c:pt idx="9">
                  <c:v>0.003236715460567117</c:v>
                </c:pt>
                <c:pt idx="10">
                  <c:v>0.0031251764540667507</c:v>
                </c:pt>
                <c:pt idx="11">
                  <c:v>0.0025688574397063277</c:v>
                </c:pt>
                <c:pt idx="12">
                  <c:v>0.0032171138348284353</c:v>
                </c:pt>
                <c:pt idx="13">
                  <c:v>0.003945649183191382</c:v>
                </c:pt>
                <c:pt idx="14">
                  <c:v>0.00431988269941178</c:v>
                </c:pt>
                <c:pt idx="15">
                  <c:v>0.004048869816282301</c:v>
                </c:pt>
                <c:pt idx="16">
                  <c:v>0.003674267513663649</c:v>
                </c:pt>
                <c:pt idx="17">
                  <c:v>0.00428512333016756</c:v>
                </c:pt>
                <c:pt idx="18">
                  <c:v>0.004181910013096063</c:v>
                </c:pt>
                <c:pt idx="19">
                  <c:v>0.001760582353970714</c:v>
                </c:pt>
                <c:pt idx="20">
                  <c:v>0.004229129542844436</c:v>
                </c:pt>
                <c:pt idx="21">
                  <c:v>0.00395014129407329</c:v>
                </c:pt>
                <c:pt idx="22">
                  <c:v>0.004029614362492945</c:v>
                </c:pt>
                <c:pt idx="23">
                  <c:v>0.0031223752974403633</c:v>
                </c:pt>
                <c:pt idx="24">
                  <c:v>0.0045752710829729155</c:v>
                </c:pt>
                <c:pt idx="25">
                  <c:v>0.0043978348232422675</c:v>
                </c:pt>
                <c:pt idx="26">
                  <c:v>0.0038628945168764795</c:v>
                </c:pt>
                <c:pt idx="27">
                  <c:v>0.003463332608693255</c:v>
                </c:pt>
                <c:pt idx="28">
                  <c:v>0.004252882117102256</c:v>
                </c:pt>
                <c:pt idx="29">
                  <c:v>0.0036842580323113933</c:v>
                </c:pt>
                <c:pt idx="30">
                  <c:v>0.005878798265825359</c:v>
                </c:pt>
                <c:pt idx="31">
                  <c:v>0.0045015141570915575</c:v>
                </c:pt>
                <c:pt idx="32">
                  <c:v>0.00350571894416786</c:v>
                </c:pt>
                <c:pt idx="33">
                  <c:v>0.0038946705039622515</c:v>
                </c:pt>
                <c:pt idx="34">
                  <c:v>0.0031940209304211417</c:v>
                </c:pt>
                <c:pt idx="35">
                  <c:v>0.004045030429910115</c:v>
                </c:pt>
                <c:pt idx="36">
                  <c:v>0.004182928210623346</c:v>
                </c:pt>
                <c:pt idx="37">
                  <c:v>0.004772945058693585</c:v>
                </c:pt>
                <c:pt idx="38">
                  <c:v>0.004543621499035066</c:v>
                </c:pt>
                <c:pt idx="39">
                  <c:v>0.0041046969965532875</c:v>
                </c:pt>
                <c:pt idx="40">
                  <c:v>0.00266394865896464</c:v>
                </c:pt>
                <c:pt idx="41">
                  <c:v>0.002669176635392489</c:v>
                </c:pt>
                <c:pt idx="42">
                  <c:v>0.0040613878407026295</c:v>
                </c:pt>
                <c:pt idx="43">
                  <c:v>0.0036194165483007263</c:v>
                </c:pt>
                <c:pt idx="44">
                  <c:v>0.003244175941125565</c:v>
                </c:pt>
                <c:pt idx="45">
                  <c:v>0.0034990402732692407</c:v>
                </c:pt>
                <c:pt idx="46">
                  <c:v>0.0031294097887982052</c:v>
                </c:pt>
                <c:pt idx="47">
                  <c:v>0.0027455134270576997</c:v>
                </c:pt>
                <c:pt idx="48">
                  <c:v>0.002028856388878909</c:v>
                </c:pt>
                <c:pt idx="49">
                  <c:v>0.002471667513842017</c:v>
                </c:pt>
                <c:pt idx="50">
                  <c:v>0.002624662838843151</c:v>
                </c:pt>
                <c:pt idx="51">
                  <c:v>0.002740155399467277</c:v>
                </c:pt>
                <c:pt idx="52">
                  <c:v>0.004074778593970419</c:v>
                </c:pt>
                <c:pt idx="53">
                  <c:v>0.0044372296701080775</c:v>
                </c:pt>
                <c:pt idx="54">
                  <c:v>0.0029664705383441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700.9058103818443</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700.9058103818443</c:v>
                </c:pt>
                <c:pt idx="1">
                  <c:v>2700.9058103818443</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305.7604110645198</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305.7604110645198</c:v>
                </c:pt>
                <c:pt idx="1">
                  <c:v>3305.7604110645198</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155.29341166358</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155.29341166358</c:v>
                </c:pt>
                <c:pt idx="1">
                  <c:v>5155.29341166358</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305.7604110645198</c:v>
                </c:pt>
                <c:pt idx="53">
                  <c:v>2700.9058103818443</c:v>
                </c:pt>
                <c:pt idx="54">
                  <c:v>5155.29341166358</c:v>
                </c:pt>
              </c:numCache>
            </c:numRef>
          </c:xVal>
          <c:yVal>
            <c:numRef>
              <c:f>Sheet1!$B$135:$B$189</c:f>
              <c:numCache>
                <c:formatCode>General</c:formatCode>
                <c:ptCount val="55"/>
                <c:pt idx="0">
                  <c:v>0.003392104419842879</c:v>
                </c:pt>
                <c:pt idx="1">
                  <c:v>0.004234078067536673</c:v>
                </c:pt>
                <c:pt idx="2">
                  <c:v>0.0030887272367529106</c:v>
                </c:pt>
                <c:pt idx="3">
                  <c:v>0.004107036590898528</c:v>
                </c:pt>
                <c:pt idx="4">
                  <c:v>0.003477242112837495</c:v>
                </c:pt>
                <c:pt idx="5">
                  <c:v>0.003274545085007089</c:v>
                </c:pt>
                <c:pt idx="6">
                  <c:v>0.003238372940495074</c:v>
                </c:pt>
                <c:pt idx="7">
                  <c:v>0.0035551633780002375</c:v>
                </c:pt>
                <c:pt idx="8">
                  <c:v>0.003472535288313841</c:v>
                </c:pt>
                <c:pt idx="9">
                  <c:v>0.0035964441352446365</c:v>
                </c:pt>
                <c:pt idx="10">
                  <c:v>0.003554443095484364</c:v>
                </c:pt>
                <c:pt idx="11">
                  <c:v>0.0035950151954049093</c:v>
                </c:pt>
                <c:pt idx="12">
                  <c:v>0.0038271074800364166</c:v>
                </c:pt>
                <c:pt idx="13">
                  <c:v>0.0038531171693182305</c:v>
                </c:pt>
                <c:pt idx="14">
                  <c:v>0.003944954748107545</c:v>
                </c:pt>
                <c:pt idx="15">
                  <c:v>0.0038236672022062316</c:v>
                </c:pt>
                <c:pt idx="16">
                  <c:v>0.003683718706318791</c:v>
                </c:pt>
                <c:pt idx="17">
                  <c:v>0.003929790943514629</c:v>
                </c:pt>
                <c:pt idx="18">
                  <c:v>0.00382153242145515</c:v>
                </c:pt>
                <c:pt idx="19">
                  <c:v>0.002594280674722939</c:v>
                </c:pt>
                <c:pt idx="20">
                  <c:v>0.0036689517761936473</c:v>
                </c:pt>
                <c:pt idx="21">
                  <c:v>0.003556428426601952</c:v>
                </c:pt>
                <c:pt idx="22">
                  <c:v>0.0035664823001417397</c:v>
                </c:pt>
                <c:pt idx="23">
                  <c:v>0.003071213165890853</c:v>
                </c:pt>
                <c:pt idx="24">
                  <c:v>0.0038181617150060744</c:v>
                </c:pt>
                <c:pt idx="25">
                  <c:v>0.003822755883029742</c:v>
                </c:pt>
                <c:pt idx="26">
                  <c:v>0.003423264728349892</c:v>
                </c:pt>
                <c:pt idx="27">
                  <c:v>0.0032227601278413055</c:v>
                </c:pt>
                <c:pt idx="28">
                  <c:v>0.0036364731469421072</c:v>
                </c:pt>
                <c:pt idx="29">
                  <c:v>0.003149862983035957</c:v>
                </c:pt>
                <c:pt idx="30">
                  <c:v>0.00431672665111828</c:v>
                </c:pt>
                <c:pt idx="31">
                  <c:v>0.0035950958526650063</c:v>
                </c:pt>
                <c:pt idx="32">
                  <c:v>0.00302836774169371</c:v>
                </c:pt>
                <c:pt idx="33">
                  <c:v>0.0031763792071020213</c:v>
                </c:pt>
                <c:pt idx="34">
                  <c:v>0.0029476705125086843</c:v>
                </c:pt>
                <c:pt idx="35">
                  <c:v>0.003266963841871003</c:v>
                </c:pt>
                <c:pt idx="36">
                  <c:v>0.0032062211948645065</c:v>
                </c:pt>
                <c:pt idx="37">
                  <c:v>0.0037187740533891804</c:v>
                </c:pt>
                <c:pt idx="38">
                  <c:v>0.003554138024079346</c:v>
                </c:pt>
                <c:pt idx="39">
                  <c:v>0.0036448624607709184</c:v>
                </c:pt>
                <c:pt idx="40">
                  <c:v>0.002891981468305323</c:v>
                </c:pt>
                <c:pt idx="41">
                  <c:v>0.002891981468305323</c:v>
                </c:pt>
                <c:pt idx="42">
                  <c:v>0.0034581403044096643</c:v>
                </c:pt>
                <c:pt idx="43">
                  <c:v>0.0034123785749546162</c:v>
                </c:pt>
                <c:pt idx="44">
                  <c:v>0.0036214622675555556</c:v>
                </c:pt>
                <c:pt idx="45">
                  <c:v>0.003837217442131517</c:v>
                </c:pt>
                <c:pt idx="46">
                  <c:v>0.003499217980335736</c:v>
                </c:pt>
                <c:pt idx="47">
                  <c:v>0.003529995436513804</c:v>
                </c:pt>
                <c:pt idx="48">
                  <c:v>0.0033850933504288015</c:v>
                </c:pt>
                <c:pt idx="49">
                  <c:v>0.003662460065229243</c:v>
                </c:pt>
                <c:pt idx="50">
                  <c:v>0.003802486941277313</c:v>
                </c:pt>
                <c:pt idx="51">
                  <c:v>0.0037282262932801023</c:v>
                </c:pt>
                <c:pt idx="52">
                  <c:v>0.004074778593970419</c:v>
                </c:pt>
                <c:pt idx="53">
                  <c:v>0.0044372296701080775</c:v>
                </c:pt>
                <c:pt idx="54">
                  <c:v>0.002966470538344113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40282757302194605</c:v>
                </c:pt>
                <c:pt idx="3">
                  <c:v>0.2908200530467677</c:v>
                </c:pt>
                <c:pt idx="4">
                  <c:v>0.4199687356607897</c:v>
                </c:pt>
                <c:pt idx="5">
                  <c:v>0.25459499859468604</c:v>
                </c:pt>
                <c:pt idx="6">
                  <c:v>0.39191030021852663</c:v>
                </c:pt>
                <c:pt idx="7">
                  <c:v>0.6908503797567371</c:v>
                </c:pt>
                <c:pt idx="8">
                  <c:v>0.3981708684239309</c:v>
                </c:pt>
                <c:pt idx="9">
                  <c:v>0.41214667464876076</c:v>
                </c:pt>
                <c:pt idx="10">
                  <c:v>0.557762395508239</c:v>
                </c:pt>
                <c:pt idx="11">
                  <c:v>0.45597857072396064</c:v>
                </c:pt>
                <c:pt idx="12">
                  <c:v>0.4075663282428716</c:v>
                </c:pt>
                <c:pt idx="13">
                  <c:v>0.31487367065412714</c:v>
                </c:pt>
                <c:pt idx="14">
                  <c:v>0.29755701321666667</c:v>
                </c:pt>
                <c:pt idx="15">
                  <c:v>0.526116650302747</c:v>
                </c:pt>
                <c:pt idx="16">
                  <c:v>0.3292538871184428</c:v>
                </c:pt>
                <c:pt idx="17">
                  <c:v>0.2000429881045543</c:v>
                </c:pt>
                <c:pt idx="18">
                  <c:v>0.2729284745761284</c:v>
                </c:pt>
                <c:pt idx="19">
                  <c:v>0.2298385160103797</c:v>
                </c:pt>
                <c:pt idx="20">
                  <c:v>0.31047981036438727</c:v>
                </c:pt>
                <c:pt idx="21">
                  <c:v>0.09419908934286365</c:v>
                </c:pt>
                <c:pt idx="22">
                  <c:v>0.17841093273093284</c:v>
                </c:pt>
                <c:pt idx="23">
                  <c:v>0.6057674691290169</c:v>
                </c:pt>
                <c:pt idx="24">
                  <c:v>0.6429080895903847</c:v>
                </c:pt>
                <c:pt idx="25">
                  <c:v>0.8105374916395572</c:v>
                </c:pt>
                <c:pt idx="26">
                  <c:v>0.4495038443244666</c:v>
                </c:pt>
                <c:pt idx="27">
                  <c:v>0.6640305701311532</c:v>
                </c:pt>
                <c:pt idx="28">
                  <c:v>0.5970075961022021</c:v>
                </c:pt>
                <c:pt idx="29">
                  <c:v>0.4852367793274354</c:v>
                </c:pt>
                <c:pt idx="30">
                  <c:v>0.3924370732306289</c:v>
                </c:pt>
                <c:pt idx="31">
                  <c:v>0.8187853557341745</c:v>
                </c:pt>
                <c:pt idx="32">
                  <c:v>0.0</c:v>
                </c:pt>
                <c:pt idx="33">
                  <c:v>0.6704040594679154</c:v>
                </c:pt>
                <c:pt idx="34">
                  <c:v>0.6892435301893778</c:v>
                </c:pt>
                <c:pt idx="35">
                  <c:v>0.6446818551718952</c:v>
                </c:pt>
                <c:pt idx="36">
                  <c:v>0.4632752227819273</c:v>
                </c:pt>
                <c:pt idx="37">
                  <c:v>0.38635789519772856</c:v>
                </c:pt>
                <c:pt idx="38">
                  <c:v>0.5829098373352376</c:v>
                </c:pt>
                <c:pt idx="39">
                  <c:v>0.5183660656973831</c:v>
                </c:pt>
                <c:pt idx="40">
                  <c:v>0.6518693158999069</c:v>
                </c:pt>
                <c:pt idx="41">
                  <c:v>0.9509659821666263</c:v>
                </c:pt>
                <c:pt idx="42">
                  <c:v>0.486591680441728</c:v>
                </c:pt>
                <c:pt idx="43">
                  <c:v>0.4653595747726634</c:v>
                </c:pt>
                <c:pt idx="44">
                  <c:v>0.3034800211649019</c:v>
                </c:pt>
                <c:pt idx="45">
                  <c:v>0.2726290424005665</c:v>
                </c:pt>
                <c:pt idx="46">
                  <c:v>0.2694851127216476</c:v>
                </c:pt>
                <c:pt idx="47">
                  <c:v>0.40254434262420175</c:v>
                </c:pt>
                <c:pt idx="48">
                  <c:v>0.6470376211223865</c:v>
                </c:pt>
                <c:pt idx="49">
                  <c:v>0.608758147914741</c:v>
                </c:pt>
                <c:pt idx="50">
                  <c:v>0.5115744454242603</c:v>
                </c:pt>
                <c:pt idx="51">
                  <c:v>0.6185747293122509</c:v>
                </c:pt>
                <c:pt idx="52">
                  <c:v>0.6785604325245096</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8311850301276057</c:v>
                </c:pt>
                <c:pt idx="1">
                  <c:v>0.5866355785686336</c:v>
                </c:pt>
                <c:pt idx="2">
                  <c:v>0.8082644941095521</c:v>
                </c:pt>
                <c:pt idx="3">
                  <c:v>0.5661124932698679</c:v>
                </c:pt>
                <c:pt idx="4">
                  <c:v>0.7180124492868571</c:v>
                </c:pt>
                <c:pt idx="5">
                  <c:v>0.8461378238344425</c:v>
                </c:pt>
                <c:pt idx="6">
                  <c:v>0.8750967175861376</c:v>
                </c:pt>
                <c:pt idx="7">
                  <c:v>0.6916529078273458</c:v>
                </c:pt>
                <c:pt idx="8">
                  <c:v>0.8178856352147531</c:v>
                </c:pt>
                <c:pt idx="9">
                  <c:v>0.7594610217641284</c:v>
                </c:pt>
                <c:pt idx="10">
                  <c:v>0.7856564504189676</c:v>
                </c:pt>
                <c:pt idx="11">
                  <c:v>0.8074457457994977</c:v>
                </c:pt>
                <c:pt idx="12">
                  <c:v>0.6192617958323898</c:v>
                </c:pt>
                <c:pt idx="13">
                  <c:v>0.6246101695076546</c:v>
                </c:pt>
                <c:pt idx="14">
                  <c:v>0.6494863790018336</c:v>
                </c:pt>
                <c:pt idx="15">
                  <c:v>0.6507582422723854</c:v>
                </c:pt>
                <c:pt idx="16">
                  <c:v>0.587900777598694</c:v>
                </c:pt>
                <c:pt idx="17">
                  <c:v>0.5047768282744685</c:v>
                </c:pt>
                <c:pt idx="18">
                  <c:v>0.4791147292400216</c:v>
                </c:pt>
                <c:pt idx="19">
                  <c:v>0.7584521976455734</c:v>
                </c:pt>
                <c:pt idx="20">
                  <c:v>0.49569885106265676</c:v>
                </c:pt>
                <c:pt idx="21">
                  <c:v>0.5280762698736315</c:v>
                </c:pt>
                <c:pt idx="22">
                  <c:v>0.5221150213358897</c:v>
                </c:pt>
                <c:pt idx="23">
                  <c:v>0.6390457095326886</c:v>
                </c:pt>
                <c:pt idx="24">
                  <c:v>0.47306942098646676</c:v>
                </c:pt>
                <c:pt idx="25">
                  <c:v>0.44936747236619146</c:v>
                </c:pt>
                <c:pt idx="26">
                  <c:v>0.5585715835677318</c:v>
                </c:pt>
                <c:pt idx="27">
                  <c:v>0.6494572939174099</c:v>
                </c:pt>
                <c:pt idx="28">
                  <c:v>0.5852025705833197</c:v>
                </c:pt>
                <c:pt idx="29">
                  <c:v>0.6382687474374811</c:v>
                </c:pt>
                <c:pt idx="30">
                  <c:v>0.37441396859815074</c:v>
                </c:pt>
                <c:pt idx="31">
                  <c:v>0.47784923680567337</c:v>
                </c:pt>
                <c:pt idx="32">
                  <c:v>0.5996617110300009</c:v>
                </c:pt>
                <c:pt idx="33">
                  <c:v>0.6262649199145324</c:v>
                </c:pt>
                <c:pt idx="34">
                  <c:v>0.6601197340947789</c:v>
                </c:pt>
                <c:pt idx="35">
                  <c:v>0.4932938987937504</c:v>
                </c:pt>
                <c:pt idx="36">
                  <c:v>0.40481079904996814</c:v>
                </c:pt>
                <c:pt idx="37">
                  <c:v>0.3585343754440186</c:v>
                </c:pt>
                <c:pt idx="38">
                  <c:v>0.40602695890233176</c:v>
                </c:pt>
                <c:pt idx="39">
                  <c:v>0.4380866467701225</c:v>
                </c:pt>
                <c:pt idx="40">
                  <c:v>0.6474263466078053</c:v>
                </c:pt>
                <c:pt idx="41">
                  <c:v>0.6349979843901582</c:v>
                </c:pt>
                <c:pt idx="42">
                  <c:v>0.5123013422961723</c:v>
                </c:pt>
                <c:pt idx="43">
                  <c:v>0.5985580276549954</c:v>
                </c:pt>
                <c:pt idx="44">
                  <c:v>0.6216975307791738</c:v>
                </c:pt>
                <c:pt idx="45">
                  <c:v>0.5671696667943317</c:v>
                </c:pt>
                <c:pt idx="46">
                  <c:v>0.5599834519229415</c:v>
                </c:pt>
                <c:pt idx="47">
                  <c:v>0.5708156824414079</c:v>
                </c:pt>
                <c:pt idx="48">
                  <c:v>0.6562337182122666</c:v>
                </c:pt>
                <c:pt idx="49">
                  <c:v>0.7114560607666554</c:v>
                </c:pt>
                <c:pt idx="50">
                  <c:v>0.7319225068320928</c:v>
                </c:pt>
                <c:pt idx="51">
                  <c:v>0.6161247460245182</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4825873618495851</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4825873618495851</c:v>
                </c:pt>
                <c:pt idx="1">
                  <c:v>0.4825873618495851</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5334951631883784</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5334951631883784</c:v>
                </c:pt>
                <c:pt idx="1">
                  <c:v>0.5334951631883784</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6891617621656689</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6891617621656689</c:v>
                </c:pt>
                <c:pt idx="1">
                  <c:v>0.6891617621656689</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8311850301276057</c:v>
                </c:pt>
                <c:pt idx="1">
                  <c:v>0.5866355785686336</c:v>
                </c:pt>
                <c:pt idx="2">
                  <c:v>0.8082644941095521</c:v>
                </c:pt>
                <c:pt idx="3">
                  <c:v>0.5661124932698679</c:v>
                </c:pt>
                <c:pt idx="4">
                  <c:v>0.7180124492868571</c:v>
                </c:pt>
                <c:pt idx="5">
                  <c:v>0.8461378238344425</c:v>
                </c:pt>
                <c:pt idx="6">
                  <c:v>0.8750967175861376</c:v>
                </c:pt>
                <c:pt idx="7">
                  <c:v>0.6916529078273458</c:v>
                </c:pt>
                <c:pt idx="8">
                  <c:v>0.8178856352147531</c:v>
                </c:pt>
                <c:pt idx="9">
                  <c:v>0.7594610217641284</c:v>
                </c:pt>
                <c:pt idx="10">
                  <c:v>0.7856564504189676</c:v>
                </c:pt>
                <c:pt idx="11">
                  <c:v>0.8074457457994977</c:v>
                </c:pt>
                <c:pt idx="12">
                  <c:v>0.6192617958323898</c:v>
                </c:pt>
                <c:pt idx="13">
                  <c:v>0.6246101695076546</c:v>
                </c:pt>
                <c:pt idx="14">
                  <c:v>0.6494863790018336</c:v>
                </c:pt>
                <c:pt idx="15">
                  <c:v>0.6507582422723854</c:v>
                </c:pt>
                <c:pt idx="16">
                  <c:v>0.587900777598694</c:v>
                </c:pt>
                <c:pt idx="17">
                  <c:v>0.5047768282744685</c:v>
                </c:pt>
                <c:pt idx="18">
                  <c:v>0.4791147292400216</c:v>
                </c:pt>
                <c:pt idx="19">
                  <c:v>0.7584521976455734</c:v>
                </c:pt>
                <c:pt idx="20">
                  <c:v>0.49569885106265676</c:v>
                </c:pt>
                <c:pt idx="21">
                  <c:v>0.5280762698736315</c:v>
                </c:pt>
                <c:pt idx="22">
                  <c:v>0.5221150213358897</c:v>
                </c:pt>
                <c:pt idx="23">
                  <c:v>0.6390457095326886</c:v>
                </c:pt>
                <c:pt idx="24">
                  <c:v>0.47306942098646676</c:v>
                </c:pt>
                <c:pt idx="25">
                  <c:v>0.44936747236619146</c:v>
                </c:pt>
                <c:pt idx="26">
                  <c:v>0.5585715835677318</c:v>
                </c:pt>
                <c:pt idx="27">
                  <c:v>0.6494572939174099</c:v>
                </c:pt>
                <c:pt idx="28">
                  <c:v>0.5852025705833197</c:v>
                </c:pt>
                <c:pt idx="29">
                  <c:v>0.6382687474374811</c:v>
                </c:pt>
                <c:pt idx="30">
                  <c:v>0.37441396859815074</c:v>
                </c:pt>
                <c:pt idx="31">
                  <c:v>0.47784923680567337</c:v>
                </c:pt>
                <c:pt idx="32">
                  <c:v>0.5996617110300009</c:v>
                </c:pt>
                <c:pt idx="33">
                  <c:v>0.6262649199145324</c:v>
                </c:pt>
                <c:pt idx="34">
                  <c:v>0.6601197340947789</c:v>
                </c:pt>
                <c:pt idx="35">
                  <c:v>0.4932938987937504</c:v>
                </c:pt>
                <c:pt idx="36">
                  <c:v>0.40481079904996814</c:v>
                </c:pt>
                <c:pt idx="37">
                  <c:v>0.3585343754440186</c:v>
                </c:pt>
                <c:pt idx="38">
                  <c:v>0.40602695890233176</c:v>
                </c:pt>
                <c:pt idx="39">
                  <c:v>0.4380866467701225</c:v>
                </c:pt>
                <c:pt idx="40">
                  <c:v>0.6474263466078053</c:v>
                </c:pt>
                <c:pt idx="41">
                  <c:v>0.6349979843901582</c:v>
                </c:pt>
                <c:pt idx="42">
                  <c:v>0.5123013422961723</c:v>
                </c:pt>
                <c:pt idx="43">
                  <c:v>0.5985580276549954</c:v>
                </c:pt>
                <c:pt idx="44">
                  <c:v>0.6216975307791738</c:v>
                </c:pt>
                <c:pt idx="45">
                  <c:v>0.5671696667943317</c:v>
                </c:pt>
                <c:pt idx="46">
                  <c:v>0.5599834519229415</c:v>
                </c:pt>
                <c:pt idx="47">
                  <c:v>0.5708156824414079</c:v>
                </c:pt>
                <c:pt idx="48">
                  <c:v>0.6562337182122666</c:v>
                </c:pt>
                <c:pt idx="49">
                  <c:v>0.7114560607666554</c:v>
                </c:pt>
                <c:pt idx="50">
                  <c:v>0.7319225068320928</c:v>
                </c:pt>
                <c:pt idx="51">
                  <c:v>0.6161247460245182</c:v>
                </c:pt>
                <c:pt idx="52">
                  <c:v>0.5334951631883784</c:v>
                </c:pt>
                <c:pt idx="53">
                  <c:v>0.4825873618495851</c:v>
                </c:pt>
                <c:pt idx="54">
                  <c:v>0.6891617621656689</c:v>
                </c:pt>
              </c:numCache>
            </c:numRef>
          </c:xVal>
          <c:yVal>
            <c:numRef>
              <c:f>Sheet1!$B$135:$B$189</c:f>
              <c:numCache>
                <c:formatCode>General</c:formatCode>
                <c:ptCount val="55"/>
                <c:pt idx="0">
                  <c:v>0.001955299657739526</c:v>
                </c:pt>
                <c:pt idx="1">
                  <c:v>0.003696431852715688</c:v>
                </c:pt>
                <c:pt idx="2">
                  <c:v>0.002118488260015005</c:v>
                </c:pt>
                <c:pt idx="3">
                  <c:v>0.0038425511931031928</c:v>
                </c:pt>
                <c:pt idx="4">
                  <c:v>0.0027610607127499165</c:v>
                </c:pt>
                <c:pt idx="5">
                  <c:v>0.0018488394290952087</c:v>
                </c:pt>
                <c:pt idx="6">
                  <c:v>0.0016426591987960147</c:v>
                </c:pt>
                <c:pt idx="7">
                  <c:v>0.0029487341914160364</c:v>
                </c:pt>
                <c:pt idx="8">
                  <c:v>0.0020499880919554</c:v>
                </c:pt>
                <c:pt idx="9">
                  <c:v>0.0024659570291557737</c:v>
                </c:pt>
                <c:pt idx="10">
                  <c:v>0.002279451993461008</c:v>
                </c:pt>
                <c:pt idx="11">
                  <c:v>0.0021243175474377762</c:v>
                </c:pt>
                <c:pt idx="12">
                  <c:v>0.0034641411772875557</c:v>
                </c:pt>
                <c:pt idx="13">
                  <c:v>0.003426062066754278</c:v>
                </c:pt>
                <c:pt idx="14">
                  <c:v>0.0032489495483528944</c:v>
                </c:pt>
                <c:pt idx="15">
                  <c:v>0.0032398941933976964</c:v>
                </c:pt>
                <c:pt idx="16">
                  <c:v>0.0036874239455204454</c:v>
                </c:pt>
                <c:pt idx="17">
                  <c:v>0.004279246104267243</c:v>
                </c:pt>
                <c:pt idx="18">
                  <c:v>0.004461953963698967</c:v>
                </c:pt>
                <c:pt idx="19">
                  <c:v>0.0024731396097777596</c:v>
                </c:pt>
                <c:pt idx="20">
                  <c:v>0.004343879078448882</c:v>
                </c:pt>
                <c:pt idx="21">
                  <c:v>0.004113359787063677</c:v>
                </c:pt>
                <c:pt idx="22">
                  <c:v>0.004155802416499768</c:v>
                </c:pt>
                <c:pt idx="23">
                  <c:v>0.003323284557627897</c:v>
                </c:pt>
                <c:pt idx="24">
                  <c:v>0.0045049950777219985</c:v>
                </c:pt>
                <c:pt idx="25">
                  <c:v>0.004673747146325516</c:v>
                </c:pt>
                <c:pt idx="26">
                  <c:v>0.003896240623106396</c:v>
                </c:pt>
                <c:pt idx="27">
                  <c:v>0.0032491566270298686</c:v>
                </c:pt>
                <c:pt idx="28">
                  <c:v>0.0037066345185690864</c:v>
                </c:pt>
                <c:pt idx="29">
                  <c:v>0.0033288163374361043</c:v>
                </c:pt>
                <c:pt idx="30">
                  <c:v>0.005207397733987261</c:v>
                </c:pt>
                <c:pt idx="31">
                  <c:v>0.004470963959860873</c:v>
                </c:pt>
                <c:pt idx="32">
                  <c:v>0.0036036889802212825</c:v>
                </c:pt>
                <c:pt idx="33">
                  <c:v>0.0034142806491730985</c:v>
                </c:pt>
                <c:pt idx="34">
                  <c:v>0.0031732426646329933</c:v>
                </c:pt>
                <c:pt idx="35">
                  <c:v>0.0043610017495327065</c:v>
                </c:pt>
                <c:pt idx="36">
                  <c:v>0.004990979746592476</c:v>
                </c:pt>
                <c:pt idx="37">
                  <c:v>0.005320456547685377</c:v>
                </c:pt>
                <c:pt idx="38">
                  <c:v>0.004982320986330741</c:v>
                </c:pt>
                <c:pt idx="39">
                  <c:v>0.004754063861435754</c:v>
                </c:pt>
                <c:pt idx="40">
                  <c:v>0.0032636164744125158</c:v>
                </c:pt>
                <c:pt idx="41">
                  <c:v>0.0033521033691899203</c:v>
                </c:pt>
                <c:pt idx="42">
                  <c:v>0.004225673407492746</c:v>
                </c:pt>
                <c:pt idx="43">
                  <c:v>0.003611546935514298</c:v>
                </c:pt>
                <c:pt idx="44">
                  <c:v>0.0034467993410771747</c:v>
                </c:pt>
                <c:pt idx="45">
                  <c:v>0.003835024376553876</c:v>
                </c:pt>
                <c:pt idx="46">
                  <c:v>0.003886188466241383</c:v>
                </c:pt>
                <c:pt idx="47">
                  <c:v>0.0038090656382044653</c:v>
                </c:pt>
                <c:pt idx="48">
                  <c:v>0.003200910145872873</c:v>
                </c:pt>
                <c:pt idx="49">
                  <c:v>0.0028077405930870946</c:v>
                </c:pt>
                <c:pt idx="50">
                  <c:v>0.002662024510167632</c:v>
                </c:pt>
                <c:pt idx="51">
                  <c:v>0.003486476203528299</c:v>
                </c:pt>
                <c:pt idx="52">
                  <c:v>0.004074778593970419</c:v>
                </c:pt>
                <c:pt idx="53">
                  <c:v>0.0044372296701080775</c:v>
                </c:pt>
                <c:pt idx="54">
                  <c:v>0.0029664705383441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53126639039186</c:v>
                </c:pt>
                <c:pt idx="1">
                  <c:v>0.6266968464585924</c:v>
                </c:pt>
                <c:pt idx="2">
                  <c:v>0.6304820722296759</c:v>
                </c:pt>
                <c:pt idx="3">
                  <c:v>0.6460808045120646</c:v>
                </c:pt>
                <c:pt idx="4">
                  <c:v>0.6195765407496989</c:v>
                </c:pt>
                <c:pt idx="5">
                  <c:v>0.6648741911287593</c:v>
                </c:pt>
                <c:pt idx="6">
                  <c:v>0.6320913092830857</c:v>
                </c:pt>
                <c:pt idx="7">
                  <c:v>0.6068972617456885</c:v>
                </c:pt>
                <c:pt idx="8">
                  <c:v>0.6349978011351446</c:v>
                </c:pt>
                <c:pt idx="9">
                  <c:v>0.66004665875781</c:v>
                </c:pt>
                <c:pt idx="10">
                  <c:v>0.6717507693293222</c:v>
                </c:pt>
                <c:pt idx="11">
                  <c:v>0.6882915986708903</c:v>
                </c:pt>
                <c:pt idx="12">
                  <c:v>0.7079688847047669</c:v>
                </c:pt>
                <c:pt idx="13">
                  <c:v>0.6985022673410783</c:v>
                </c:pt>
                <c:pt idx="14">
                  <c:v>0.6843137904074813</c:v>
                </c:pt>
                <c:pt idx="15">
                  <c:v>0.6962354497874376</c:v>
                </c:pt>
                <c:pt idx="16">
                  <c:v>0.6840476663762958</c:v>
                </c:pt>
                <c:pt idx="17">
                  <c:v>0.6880722719579093</c:v>
                </c:pt>
                <c:pt idx="18">
                  <c:v>0.7266118905407652</c:v>
                </c:pt>
                <c:pt idx="19">
                  <c:v>0.7339894244322732</c:v>
                </c:pt>
                <c:pt idx="20">
                  <c:v>0.7619686589037042</c:v>
                </c:pt>
                <c:pt idx="21">
                  <c:v>0.6148602183621226</c:v>
                </c:pt>
                <c:pt idx="22">
                  <c:v>0.5965311323244237</c:v>
                </c:pt>
                <c:pt idx="23">
                  <c:v>0.5875244559714674</c:v>
                </c:pt>
                <c:pt idx="24">
                  <c:v>0.5590294466261067</c:v>
                </c:pt>
                <c:pt idx="25">
                  <c:v>0.5517004595441641</c:v>
                </c:pt>
                <c:pt idx="26">
                  <c:v>0.5807932164280573</c:v>
                </c:pt>
                <c:pt idx="27">
                  <c:v>0.5826131207398474</c:v>
                </c:pt>
                <c:pt idx="28">
                  <c:v>0.5691389539974859</c:v>
                </c:pt>
                <c:pt idx="29">
                  <c:v>0.5387055110422015</c:v>
                </c:pt>
                <c:pt idx="30">
                  <c:v>0.5367902715332111</c:v>
                </c:pt>
                <c:pt idx="31">
                  <c:v>0.5365515964047729</c:v>
                </c:pt>
                <c:pt idx="32">
                  <c:v>0.5218062028287043</c:v>
                </c:pt>
                <c:pt idx="33">
                  <c:v>0.5159227024847741</c:v>
                </c:pt>
                <c:pt idx="34">
                  <c:v>0.5797050324520564</c:v>
                </c:pt>
                <c:pt idx="35">
                  <c:v>0.6170528819689395</c:v>
                </c:pt>
                <c:pt idx="36">
                  <c:v>0.6319836423848566</c:v>
                </c:pt>
                <c:pt idx="37">
                  <c:v>0.6161710756141374</c:v>
                </c:pt>
                <c:pt idx="38">
                  <c:v>0.7010497174226791</c:v>
                </c:pt>
                <c:pt idx="39">
                  <c:v>0.6981278715716256</c:v>
                </c:pt>
                <c:pt idx="40">
                  <c:v>0.6918548143755995</c:v>
                </c:pt>
                <c:pt idx="41">
                  <c:v>0.6605473608979692</c:v>
                </c:pt>
                <c:pt idx="42">
                  <c:v>0.6937109997976278</c:v>
                </c:pt>
                <c:pt idx="43">
                  <c:v>0.6954732917225264</c:v>
                </c:pt>
                <c:pt idx="44">
                  <c:v>0.6537321196226054</c:v>
                </c:pt>
                <c:pt idx="45">
                  <c:v>0.6468023031125548</c:v>
                </c:pt>
                <c:pt idx="46">
                  <c:v>0.6296158465505904</c:v>
                </c:pt>
                <c:pt idx="47">
                  <c:v>0.6388193008264071</c:v>
                </c:pt>
                <c:pt idx="48">
                  <c:v>0.6574645358347024</c:v>
                </c:pt>
                <c:pt idx="49">
                  <c:v>0.6759433435444361</c:v>
                </c:pt>
                <c:pt idx="50">
                  <c:v>0.6232743177927956</c:v>
                </c:pt>
                <c:pt idx="51">
                  <c:v>0.6452305776784599</c:v>
                </c:pt>
                <c:pt idx="52">
                  <c:v>0.6682514658182137</c:v>
                </c:pt>
                <c:pt idx="53">
                  <c:v>0.6247119757781113</c:v>
                </c:pt>
                <c:pt idx="54">
                  <c:v>0.6110573366458536</c:v>
                </c:pt>
                <c:pt idx="55">
                  <c:v>0.624540330103469</c:v>
                </c:pt>
                <c:pt idx="56">
                  <c:v>0.6119041237131306</c:v>
                </c:pt>
                <c:pt idx="57">
                  <c:v>0.6352532889447994</c:v>
                </c:pt>
                <c:pt idx="58">
                  <c:v>0.5950836590401392</c:v>
                </c:pt>
                <c:pt idx="59">
                  <c:v>0.6332935175195646</c:v>
                </c:pt>
                <c:pt idx="60">
                  <c:v>0.6381688433050086</c:v>
                </c:pt>
                <c:pt idx="61">
                  <c:v>0.6452265632365223</c:v>
                </c:pt>
                <c:pt idx="62">
                  <c:v>0.6823084647420788</c:v>
                </c:pt>
                <c:pt idx="63">
                  <c:v>0.6717604241973931</c:v>
                </c:pt>
                <c:pt idx="64">
                  <c:v>0.7379075681455096</c:v>
                </c:pt>
                <c:pt idx="65">
                  <c:v>0.7271813860641035</c:v>
                </c:pt>
                <c:pt idx="66">
                  <c:v>0.6719658858405109</c:v>
                </c:pt>
                <c:pt idx="67">
                  <c:v>0.6604620374528488</c:v>
                </c:pt>
                <c:pt idx="68">
                  <c:v>0.6536200637936621</c:v>
                </c:pt>
                <c:pt idx="69">
                  <c:v>0.6046506761865404</c:v>
                </c:pt>
                <c:pt idx="70">
                  <c:v>0.5893929620057957</c:v>
                </c:pt>
                <c:pt idx="71">
                  <c:v>0.5632507472681572</c:v>
                </c:pt>
                <c:pt idx="72">
                  <c:v>0.5965789168028456</c:v>
                </c:pt>
                <c:pt idx="73">
                  <c:v>0.5967593267040209</c:v>
                </c:pt>
                <c:pt idx="74">
                  <c:v>0.6145111621846386</c:v>
                </c:pt>
                <c:pt idx="75">
                  <c:v>0.5921157070164392</c:v>
                </c:pt>
                <c:pt idx="76">
                  <c:v>0.5846486306297026</c:v>
                </c:pt>
                <c:pt idx="77">
                  <c:v>0.5867642730466539</c:v>
                </c:pt>
                <c:pt idx="78">
                  <c:v>0.6130116936917769</c:v>
                </c:pt>
                <c:pt idx="79">
                  <c:v>0.45595945501676716</c:v>
                </c:pt>
                <c:pt idx="80">
                  <c:v>0.49772580806894084</c:v>
                </c:pt>
                <c:pt idx="81">
                  <c:v>0.5635655918016461</c:v>
                </c:pt>
                <c:pt idx="82">
                  <c:v>0.577877434819231</c:v>
                </c:pt>
                <c:pt idx="83">
                  <c:v>0.5614271593589089</c:v>
                </c:pt>
                <c:pt idx="84">
                  <c:v>0.5150629963920799</c:v>
                </c:pt>
                <c:pt idx="85">
                  <c:v>0.6203933115828016</c:v>
                </c:pt>
                <c:pt idx="86">
                  <c:v>0.68079449637492</c:v>
                </c:pt>
                <c:pt idx="87">
                  <c:v>0.6031312492699495</c:v>
                </c:pt>
                <c:pt idx="88">
                  <c:v>0.558989575196917</c:v>
                </c:pt>
                <c:pt idx="89">
                  <c:v>0.5260721680824582</c:v>
                </c:pt>
                <c:pt idx="90">
                  <c:v>0.5690957165930829</c:v>
                </c:pt>
                <c:pt idx="91">
                  <c:v>0.5948033395836347</c:v>
                </c:pt>
                <c:pt idx="92">
                  <c:v>0.6341278464088369</c:v>
                </c:pt>
                <c:pt idx="93">
                  <c:v>0.6619244150067998</c:v>
                </c:pt>
                <c:pt idx="94">
                  <c:v>0.6115225528953053</c:v>
                </c:pt>
                <c:pt idx="95">
                  <c:v>0.7041342810208642</c:v>
                </c:pt>
                <c:pt idx="96">
                  <c:v>0.7548397791810258</c:v>
                </c:pt>
                <c:pt idx="97">
                  <c:v>0.7818719688593666</c:v>
                </c:pt>
                <c:pt idx="98">
                  <c:v>0.7819678135010347</c:v>
                </c:pt>
                <c:pt idx="99">
                  <c:v>0.7677836839438253</c:v>
                </c:pt>
                <c:pt idx="100">
                  <c:v>0.7477331215296144</c:v>
                </c:pt>
                <c:pt idx="101">
                  <c:v>0.687603994725528</c:v>
                </c:pt>
                <c:pt idx="102">
                  <c:v>0.7035043831953628</c:v>
                </c:pt>
                <c:pt idx="103">
                  <c:v>0.6810618042975637</c:v>
                </c:pt>
                <c:pt idx="104">
                  <c:v>0.7011295879368307</c:v>
                </c:pt>
              </c:numCache>
            </c:numRef>
          </c:xVal>
          <c:yVal>
            <c:numRef>
              <c:f>Sheet1!$B$2:$B$106</c:f>
              <c:numCache>
                <c:formatCode>General</c:formatCode>
                <c:ptCount val="105"/>
                <c:pt idx="0">
                  <c:v>0.19852700490998362</c:v>
                </c:pt>
                <c:pt idx="1">
                  <c:v>0.20894996476391825</c:v>
                </c:pt>
                <c:pt idx="2">
                  <c:v>0.1818754925137904</c:v>
                </c:pt>
                <c:pt idx="3">
                  <c:v>0.18375499334221038</c:v>
                </c:pt>
                <c:pt idx="4">
                  <c:v>0.17928685897435898</c:v>
                </c:pt>
                <c:pt idx="5">
                  <c:v>0.16685823754789272</c:v>
                </c:pt>
                <c:pt idx="6">
                  <c:v>0.18851615558756946</c:v>
                </c:pt>
                <c:pt idx="7">
                  <c:v>0.18602029312288612</c:v>
                </c:pt>
                <c:pt idx="8">
                  <c:v>0.18450797872340424</c:v>
                </c:pt>
                <c:pt idx="9">
                  <c:v>0.1888421052631579</c:v>
                </c:pt>
                <c:pt idx="10">
                  <c:v>0.20257438278117745</c:v>
                </c:pt>
                <c:pt idx="11">
                  <c:v>0.19839449541284404</c:v>
                </c:pt>
                <c:pt idx="12">
                  <c:v>0.20647773279352227</c:v>
                </c:pt>
                <c:pt idx="13">
                  <c:v>0.21793275217932753</c:v>
                </c:pt>
                <c:pt idx="14">
                  <c:v>0.21451355661881977</c:v>
                </c:pt>
                <c:pt idx="15">
                  <c:v>0.21304863582443653</c:v>
                </c:pt>
                <c:pt idx="16">
                  <c:v>0.20061815116605788</c:v>
                </c:pt>
                <c:pt idx="17">
                  <c:v>0.18091079226450404</c:v>
                </c:pt>
                <c:pt idx="18">
                  <c:v>0.1557759626604434</c:v>
                </c:pt>
                <c:pt idx="19">
                  <c:v>0.15400340715502556</c:v>
                </c:pt>
                <c:pt idx="20">
                  <c:v>0.16055321707757064</c:v>
                </c:pt>
                <c:pt idx="21">
                  <c:v>0.16191709844559585</c:v>
                </c:pt>
                <c:pt idx="22">
                  <c:v>0.1594147092799384</c:v>
                </c:pt>
                <c:pt idx="23">
                  <c:v>0.1728744939271255</c:v>
                </c:pt>
                <c:pt idx="24">
                  <c:v>0.18342776203966005</c:v>
                </c:pt>
                <c:pt idx="25">
                  <c:v>0.18113654301499604</c:v>
                </c:pt>
                <c:pt idx="26">
                  <c:v>0.1944739638682253</c:v>
                </c:pt>
                <c:pt idx="27">
                  <c:v>0.17828200972447325</c:v>
                </c:pt>
                <c:pt idx="28">
                  <c:v>0.1889060092449923</c:v>
                </c:pt>
                <c:pt idx="29">
                  <c:v>0.20620486761166087</c:v>
                </c:pt>
                <c:pt idx="30">
                  <c:v>0.18532384874578808</c:v>
                </c:pt>
                <c:pt idx="31">
                  <c:v>0.1858224363386098</c:v>
                </c:pt>
                <c:pt idx="32">
                  <c:v>0.17261709793645594</c:v>
                </c:pt>
                <c:pt idx="33">
                  <c:v>0.2081854743316773</c:v>
                </c:pt>
                <c:pt idx="34">
                  <c:v>0.19414833295531866</c:v>
                </c:pt>
                <c:pt idx="35">
                  <c:v>0.18894242962211513</c:v>
                </c:pt>
                <c:pt idx="36">
                  <c:v>0.14145383104125736</c:v>
                </c:pt>
                <c:pt idx="37">
                  <c:v>0.14045307443365695</c:v>
                </c:pt>
                <c:pt idx="38">
                  <c:v>0.13460914693480378</c:v>
                </c:pt>
                <c:pt idx="39">
                  <c:v>0.14440759722640942</c:v>
                </c:pt>
                <c:pt idx="40">
                  <c:v>0.14512922465208747</c:v>
                </c:pt>
                <c:pt idx="41">
                  <c:v>0.13277408157361875</c:v>
                </c:pt>
                <c:pt idx="42">
                  <c:v>0.13987757878032192</c:v>
                </c:pt>
                <c:pt idx="43">
                  <c:v>0.14689025684568033</c:v>
                </c:pt>
                <c:pt idx="44">
                  <c:v>0.18151511668007816</c:v>
                </c:pt>
                <c:pt idx="45">
                  <c:v>0.20697699077510337</c:v>
                </c:pt>
                <c:pt idx="46">
                  <c:v>0.21270066100094429</c:v>
                </c:pt>
                <c:pt idx="47">
                  <c:v>0.22022391615054787</c:v>
                </c:pt>
                <c:pt idx="48">
                  <c:v>0.23636363636363636</c:v>
                </c:pt>
                <c:pt idx="49">
                  <c:v>0.263499205929063</c:v>
                </c:pt>
                <c:pt idx="50">
                  <c:v>0.2211988524837687</c:v>
                </c:pt>
                <c:pt idx="51">
                  <c:v>0.18564857405703772</c:v>
                </c:pt>
                <c:pt idx="52">
                  <c:v>0.20031455533314269</c:v>
                </c:pt>
                <c:pt idx="53">
                  <c:v>0.18304535637149028</c:v>
                </c:pt>
                <c:pt idx="54">
                  <c:v>0.17479499352611136</c:v>
                </c:pt>
                <c:pt idx="55">
                  <c:v>0.16054746904192918</c:v>
                </c:pt>
                <c:pt idx="56">
                  <c:v>0.16686279124499884</c:v>
                </c:pt>
                <c:pt idx="57">
                  <c:v>0.16641143440530884</c:v>
                </c:pt>
                <c:pt idx="58">
                  <c:v>0.2008888888888889</c:v>
                </c:pt>
                <c:pt idx="59">
                  <c:v>0.21755725190839695</c:v>
                </c:pt>
                <c:pt idx="60">
                  <c:v>0.23874057468921947</c:v>
                </c:pt>
                <c:pt idx="61">
                  <c:v>0.23394833948339483</c:v>
                </c:pt>
                <c:pt idx="62">
                  <c:v>0.2199195793380761</c:v>
                </c:pt>
                <c:pt idx="63">
                  <c:v>0.2316900299259726</c:v>
                </c:pt>
                <c:pt idx="64">
                  <c:v>0.20771414259475707</c:v>
                </c:pt>
                <c:pt idx="65">
                  <c:v>0.19233644859813084</c:v>
                </c:pt>
                <c:pt idx="66">
                  <c:v>0.20592142721579046</c:v>
                </c:pt>
                <c:pt idx="67">
                  <c:v>0.20718336483931948</c:v>
                </c:pt>
                <c:pt idx="68">
                  <c:v>0.18377028714107366</c:v>
                </c:pt>
                <c:pt idx="69">
                  <c:v>0.16040181464679196</c:v>
                </c:pt>
                <c:pt idx="70">
                  <c:v>0.1570458404074703</c:v>
                </c:pt>
                <c:pt idx="71">
                  <c:v>0.16774992262457444</c:v>
                </c:pt>
                <c:pt idx="72">
                  <c:v>0.17906095071449402</c:v>
                </c:pt>
                <c:pt idx="73">
                  <c:v>0.1701430274135876</c:v>
                </c:pt>
                <c:pt idx="74">
                  <c:v>0.17015233668990445</c:v>
                </c:pt>
                <c:pt idx="75">
                  <c:v>0.1777975660433363</c:v>
                </c:pt>
                <c:pt idx="76">
                  <c:v>0.17853593905266646</c:v>
                </c:pt>
                <c:pt idx="77">
                  <c:v>0.1723543605653223</c:v>
                </c:pt>
                <c:pt idx="78">
                  <c:v>0.1661698956780924</c:v>
                </c:pt>
                <c:pt idx="79">
                  <c:v>0.18717074682367524</c:v>
                </c:pt>
                <c:pt idx="80">
                  <c:v>0.15863937387116195</c:v>
                </c:pt>
                <c:pt idx="81">
                  <c:v>0.1535412262156448</c:v>
                </c:pt>
                <c:pt idx="82">
                  <c:v>0.1357615894039735</c:v>
                </c:pt>
                <c:pt idx="83">
                  <c:v>0.13561417971970322</c:v>
                </c:pt>
                <c:pt idx="84">
                  <c:v>0.1468155500413565</c:v>
                </c:pt>
                <c:pt idx="85">
                  <c:v>0.13865248226950355</c:v>
                </c:pt>
                <c:pt idx="86">
                  <c:v>0.14773673979450153</c:v>
                </c:pt>
                <c:pt idx="87">
                  <c:v>0.17619872905834777</c:v>
                </c:pt>
                <c:pt idx="88">
                  <c:v>0.13754940711462452</c:v>
                </c:pt>
                <c:pt idx="89">
                  <c:v>0.15186915887850466</c:v>
                </c:pt>
                <c:pt idx="90">
                  <c:v>0.1519368183527642</c:v>
                </c:pt>
                <c:pt idx="91">
                  <c:v>0.14889637111859333</c:v>
                </c:pt>
                <c:pt idx="92">
                  <c:v>0.152811004784689</c:v>
                </c:pt>
                <c:pt idx="93">
                  <c:v>0.14445628997867804</c:v>
                </c:pt>
                <c:pt idx="94">
                  <c:v>0.1549970077797726</c:v>
                </c:pt>
                <c:pt idx="95">
                  <c:v>0.152</c:v>
                </c:pt>
                <c:pt idx="96">
                  <c:v>0.15142208572573107</c:v>
                </c:pt>
                <c:pt idx="97">
                  <c:v>0.1737817576009996</c:v>
                </c:pt>
                <c:pt idx="98">
                  <c:v>0.1791087141640647</c:v>
                </c:pt>
                <c:pt idx="99">
                  <c:v>0.1897945436173796</c:v>
                </c:pt>
                <c:pt idx="100">
                  <c:v>0.21133302368787737</c:v>
                </c:pt>
                <c:pt idx="101">
                  <c:v>0.19372644049542273</c:v>
                </c:pt>
                <c:pt idx="102">
                  <c:v>0.16303162486368594</c:v>
                </c:pt>
                <c:pt idx="103">
                  <c:v>0.1783828382838284</c:v>
                </c:pt>
                <c:pt idx="104">
                  <c:v>0.170976007453994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755456029228578</c:v>
                </c:pt>
                <c:pt idx="1">
                  <c:v>0.59899657075988</c:v>
                </c:pt>
                <c:pt idx="2">
                  <c:v>0.6080334211207102</c:v>
                </c:pt>
                <c:pt idx="3">
                  <c:v>0.5988310407078022</c:v>
                </c:pt>
                <c:pt idx="4">
                  <c:v>0.5947966532374067</c:v>
                </c:pt>
                <c:pt idx="5">
                  <c:v>0.6197949347951485</c:v>
                </c:pt>
                <c:pt idx="6">
                  <c:v>0.6642263555150748</c:v>
                </c:pt>
                <c:pt idx="7">
                  <c:v>0.6498508440280881</c:v>
                </c:pt>
                <c:pt idx="8">
                  <c:v>0.6756945808137522</c:v>
                </c:pt>
                <c:pt idx="9">
                  <c:v>0.6815647338151747</c:v>
                </c:pt>
                <c:pt idx="10">
                  <c:v>0.6879646138984404</c:v>
                </c:pt>
                <c:pt idx="11">
                  <c:v>0.6757018687344216</c:v>
                </c:pt>
                <c:pt idx="12">
                  <c:v>0.646190954854684</c:v>
                </c:pt>
                <c:pt idx="13">
                  <c:v>0.6208306408189165</c:v>
                </c:pt>
                <c:pt idx="14">
                  <c:v>0.6131348461155166</c:v>
                </c:pt>
                <c:pt idx="15">
                  <c:v>0.6192022142570464</c:v>
                </c:pt>
                <c:pt idx="16">
                  <c:v>0.6361470699245574</c:v>
                </c:pt>
                <c:pt idx="17">
                  <c:v>0.6336877771820739</c:v>
                </c:pt>
                <c:pt idx="18">
                  <c:v>0.600896828403718</c:v>
                </c:pt>
                <c:pt idx="19">
                  <c:v>0.6208431869661387</c:v>
                </c:pt>
                <c:pt idx="20">
                  <c:v>0.6000787507087564</c:v>
                </c:pt>
                <c:pt idx="21">
                  <c:v>0.5923602531140874</c:v>
                </c:pt>
                <c:pt idx="22">
                  <c:v>0.5738482871841472</c:v>
                </c:pt>
                <c:pt idx="23">
                  <c:v>0.6000873598999585</c:v>
                </c:pt>
                <c:pt idx="24">
                  <c:v>0.6146215257614056</c:v>
                </c:pt>
                <c:pt idx="25">
                  <c:v>0.6009208607367073</c:v>
                </c:pt>
                <c:pt idx="26">
                  <c:v>0.6191845213768643</c:v>
                </c:pt>
                <c:pt idx="27">
                  <c:v>0.6528768186207062</c:v>
                </c:pt>
                <c:pt idx="28">
                  <c:v>0.6623145695611621</c:v>
                </c:pt>
                <c:pt idx="29">
                  <c:v>0.5986596805122775</c:v>
                </c:pt>
                <c:pt idx="30">
                  <c:v>0.5612833321564569</c:v>
                </c:pt>
                <c:pt idx="31">
                  <c:v>0.5944565383530649</c:v>
                </c:pt>
                <c:pt idx="32">
                  <c:v>0.5987727678871324</c:v>
                </c:pt>
                <c:pt idx="33">
                  <c:v>0.6150567514721935</c:v>
                </c:pt>
                <c:pt idx="34">
                  <c:v>0.633189107507524</c:v>
                </c:pt>
                <c:pt idx="35">
                  <c:v>0.5586209559776016</c:v>
                </c:pt>
                <c:pt idx="36">
                  <c:v>0.5310438821991931</c:v>
                </c:pt>
                <c:pt idx="37">
                  <c:v>0.5667776230418733</c:v>
                </c:pt>
                <c:pt idx="38">
                  <c:v>0.5829097504648526</c:v>
                </c:pt>
                <c:pt idx="39">
                  <c:v>0.6483224508877669</c:v>
                </c:pt>
                <c:pt idx="40">
                  <c:v>0.6471307945937264</c:v>
                </c:pt>
                <c:pt idx="41">
                  <c:v>0.6671176419178514</c:v>
                </c:pt>
                <c:pt idx="42">
                  <c:v>0.6625890654590435</c:v>
                </c:pt>
                <c:pt idx="43">
                  <c:v>0.7181830579042039</c:v>
                </c:pt>
                <c:pt idx="44">
                  <c:v>0.780743176906927</c:v>
                </c:pt>
                <c:pt idx="45">
                  <c:v>0.7770845095850285</c:v>
                </c:pt>
                <c:pt idx="46">
                  <c:v>0.7322771366803728</c:v>
                </c:pt>
                <c:pt idx="47">
                  <c:v>0.7554340701717043</c:v>
                </c:pt>
                <c:pt idx="48">
                  <c:v>0.8069215930845907</c:v>
                </c:pt>
                <c:pt idx="49">
                  <c:v>0.8355373272136656</c:v>
                </c:pt>
                <c:pt idx="50">
                  <c:v>0.7372377596154505</c:v>
                </c:pt>
                <c:pt idx="51">
                  <c:v>0.6973399910874326</c:v>
                </c:pt>
              </c:numCache>
            </c:numRef>
          </c:xVal>
          <c:yVal>
            <c:numRef>
              <c:f>Sheet1!$B$109:$B$160</c:f>
              <c:numCache>
                <c:formatCode>General</c:formatCode>
                <c:ptCount val="52"/>
                <c:pt idx="0">
                  <c:v>0.17422152148206543</c:v>
                </c:pt>
                <c:pt idx="1">
                  <c:v>0.20834134153373055</c:v>
                </c:pt>
                <c:pt idx="2">
                  <c:v>0.21032599702134702</c:v>
                </c:pt>
                <c:pt idx="3">
                  <c:v>0.21450777202072538</c:v>
                </c:pt>
                <c:pt idx="4">
                  <c:v>0.2</c:v>
                </c:pt>
                <c:pt idx="5">
                  <c:v>0.20297360507851653</c:v>
                </c:pt>
                <c:pt idx="6">
                  <c:v>0.18488599348534202</c:v>
                </c:pt>
                <c:pt idx="7">
                  <c:v>0.17829593267882188</c:v>
                </c:pt>
                <c:pt idx="8">
                  <c:v>0.16054158607350097</c:v>
                </c:pt>
                <c:pt idx="9">
                  <c:v>0.16272040302267002</c:v>
                </c:pt>
                <c:pt idx="10">
                  <c:v>0.16276826621654208</c:v>
                </c:pt>
                <c:pt idx="11">
                  <c:v>0.18934497816593887</c:v>
                </c:pt>
                <c:pt idx="12">
                  <c:v>0.19076923076923077</c:v>
                </c:pt>
                <c:pt idx="13">
                  <c:v>0.18639861007694217</c:v>
                </c:pt>
                <c:pt idx="14">
                  <c:v>0.18697698744769875</c:v>
                </c:pt>
                <c:pt idx="15">
                  <c:v>0.1847733105218135</c:v>
                </c:pt>
                <c:pt idx="16">
                  <c:v>0.16026490066225166</c:v>
                </c:pt>
                <c:pt idx="17">
                  <c:v>0.15777414075286417</c:v>
                </c:pt>
                <c:pt idx="18">
                  <c:v>0.15700237368599526</c:v>
                </c:pt>
                <c:pt idx="19">
                  <c:v>0.16641509433962265</c:v>
                </c:pt>
                <c:pt idx="20">
                  <c:v>0.15096618357487923</c:v>
                </c:pt>
                <c:pt idx="21">
                  <c:v>0.14270724029380902</c:v>
                </c:pt>
                <c:pt idx="22">
                  <c:v>0.13675213675213677</c:v>
                </c:pt>
                <c:pt idx="23">
                  <c:v>0.1430084745762712</c:v>
                </c:pt>
                <c:pt idx="24">
                  <c:v>0.137016093953893</c:v>
                </c:pt>
                <c:pt idx="25">
                  <c:v>0.15120113047574188</c:v>
                </c:pt>
                <c:pt idx="26">
                  <c:v>0.14423076923076922</c:v>
                </c:pt>
                <c:pt idx="27">
                  <c:v>0.1475354490209318</c:v>
                </c:pt>
                <c:pt idx="28">
                  <c:v>0.14992721979621543</c:v>
                </c:pt>
                <c:pt idx="29">
                  <c:v>0.16067415730337078</c:v>
                </c:pt>
                <c:pt idx="30">
                  <c:v>0.16061400224634967</c:v>
                </c:pt>
                <c:pt idx="31">
                  <c:v>0.1682209469153515</c:v>
                </c:pt>
                <c:pt idx="32">
                  <c:v>0.19249106078665076</c:v>
                </c:pt>
                <c:pt idx="33">
                  <c:v>0.19935210565661599</c:v>
                </c:pt>
                <c:pt idx="34">
                  <c:v>0.21430246189917937</c:v>
                </c:pt>
                <c:pt idx="35">
                  <c:v>0.1993006993006993</c:v>
                </c:pt>
                <c:pt idx="36">
                  <c:v>0.19257221458046767</c:v>
                </c:pt>
                <c:pt idx="37">
                  <c:v>0.1642651296829971</c:v>
                </c:pt>
                <c:pt idx="38">
                  <c:v>0.16545307443365695</c:v>
                </c:pt>
                <c:pt idx="39">
                  <c:v>0.1751987281399046</c:v>
                </c:pt>
                <c:pt idx="40">
                  <c:v>0.15330894579314933</c:v>
                </c:pt>
                <c:pt idx="41">
                  <c:v>0.15644555694618273</c:v>
                </c:pt>
                <c:pt idx="42">
                  <c:v>0.15298923134051243</c:v>
                </c:pt>
                <c:pt idx="43">
                  <c:v>0.15314632297194844</c:v>
                </c:pt>
                <c:pt idx="44">
                  <c:v>0.1472977746379371</c:v>
                </c:pt>
                <c:pt idx="45">
                  <c:v>0.15697969543147208</c:v>
                </c:pt>
                <c:pt idx="46">
                  <c:v>0.1505803784385435</c:v>
                </c:pt>
                <c:pt idx="47">
                  <c:v>0.14263273641218976</c:v>
                </c:pt>
                <c:pt idx="48">
                  <c:v>0.1420908332339969</c:v>
                </c:pt>
                <c:pt idx="49">
                  <c:v>0.16083916083916083</c:v>
                </c:pt>
                <c:pt idx="50">
                  <c:v>0.19821991470424624</c:v>
                </c:pt>
                <c:pt idx="51">
                  <c:v>0.1886206896551724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920302455163394</c:v>
                </c:pt>
              </c:numCache>
            </c:numRef>
          </c:xVal>
          <c:yVal>
            <c:numRef>
              <c:f>Sheet1!$B$163:$B$164</c:f>
              <c:numCache>
                <c:formatCode>General</c:formatCode>
                <c:ptCount val="2"/>
                <c:pt idx="0">
                  <c:v>0.20122104494176865</c:v>
                </c:pt>
                <c:pt idx="1">
                  <c:v>0.201221044941768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920302455163394</c:v>
                </c:pt>
                <c:pt idx="1">
                  <c:v>0.29920302455163394</c:v>
                </c:pt>
              </c:numCache>
            </c:numRef>
          </c:xVal>
          <c:yVal>
            <c:numRef>
              <c:f>Sheet1!$B$167:$B$168</c:f>
              <c:numCache>
                <c:formatCode>General</c:formatCode>
                <c:ptCount val="2"/>
                <c:pt idx="0">
                  <c:v>0.201221044941768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937574608413051</c:v>
                </c:pt>
              </c:numCache>
            </c:numRef>
          </c:xVal>
          <c:yVal>
            <c:numRef>
              <c:f>Sheet1!$B$171:$B$172</c:f>
              <c:numCache>
                <c:formatCode>General</c:formatCode>
                <c:ptCount val="2"/>
                <c:pt idx="0">
                  <c:v>0.1926770832637833</c:v>
                </c:pt>
                <c:pt idx="1">
                  <c:v>0.192677083263783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937574608413051</c:v>
                </c:pt>
                <c:pt idx="1">
                  <c:v>0.3937574608413051</c:v>
                </c:pt>
              </c:numCache>
            </c:numRef>
          </c:xVal>
          <c:yVal>
            <c:numRef>
              <c:f>Sheet1!$B$175:$B$176</c:f>
              <c:numCache>
                <c:formatCode>General</c:formatCode>
                <c:ptCount val="2"/>
                <c:pt idx="0">
                  <c:v>0.19267708326378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5679333029868</c:v>
                </c:pt>
              </c:numCache>
            </c:numRef>
          </c:xVal>
          <c:yVal>
            <c:numRef>
              <c:f>Sheet1!$B$179:$B$180</c:f>
              <c:numCache>
                <c:formatCode>General</c:formatCode>
                <c:ptCount val="2"/>
                <c:pt idx="0">
                  <c:v>0.15987307450341665</c:v>
                </c:pt>
                <c:pt idx="1">
                  <c:v>0.159873074503416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5679333029868</c:v>
                </c:pt>
                <c:pt idx="1">
                  <c:v>0.75679333029868</c:v>
                </c:pt>
              </c:numCache>
            </c:numRef>
          </c:xVal>
          <c:yVal>
            <c:numRef>
              <c:f>Sheet1!$B$183:$B$184</c:f>
              <c:numCache>
                <c:formatCode>General</c:formatCode>
                <c:ptCount val="2"/>
                <c:pt idx="0">
                  <c:v>0.159873074503416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755456029228578</c:v>
                </c:pt>
                <c:pt idx="1">
                  <c:v>0.59899657075988</c:v>
                </c:pt>
                <c:pt idx="2">
                  <c:v>0.6080334211207102</c:v>
                </c:pt>
                <c:pt idx="3">
                  <c:v>0.5988310407078022</c:v>
                </c:pt>
                <c:pt idx="4">
                  <c:v>0.5947966532374067</c:v>
                </c:pt>
                <c:pt idx="5">
                  <c:v>0.6197949347951485</c:v>
                </c:pt>
                <c:pt idx="6">
                  <c:v>0.6642263555150748</c:v>
                </c:pt>
                <c:pt idx="7">
                  <c:v>0.6498508440280881</c:v>
                </c:pt>
                <c:pt idx="8">
                  <c:v>0.6756945808137522</c:v>
                </c:pt>
                <c:pt idx="9">
                  <c:v>0.6815647338151747</c:v>
                </c:pt>
                <c:pt idx="10">
                  <c:v>0.6879646138984404</c:v>
                </c:pt>
                <c:pt idx="11">
                  <c:v>0.6757018687344216</c:v>
                </c:pt>
                <c:pt idx="12">
                  <c:v>0.646190954854684</c:v>
                </c:pt>
                <c:pt idx="13">
                  <c:v>0.6208306408189165</c:v>
                </c:pt>
                <c:pt idx="14">
                  <c:v>0.6131348461155166</c:v>
                </c:pt>
                <c:pt idx="15">
                  <c:v>0.6192022142570464</c:v>
                </c:pt>
                <c:pt idx="16">
                  <c:v>0.6361470699245574</c:v>
                </c:pt>
                <c:pt idx="17">
                  <c:v>0.6336877771820739</c:v>
                </c:pt>
                <c:pt idx="18">
                  <c:v>0.600896828403718</c:v>
                </c:pt>
                <c:pt idx="19">
                  <c:v>0.6208431869661387</c:v>
                </c:pt>
                <c:pt idx="20">
                  <c:v>0.6000787507087564</c:v>
                </c:pt>
                <c:pt idx="21">
                  <c:v>0.5923602531140874</c:v>
                </c:pt>
                <c:pt idx="22">
                  <c:v>0.5738482871841472</c:v>
                </c:pt>
                <c:pt idx="23">
                  <c:v>0.6000873598999585</c:v>
                </c:pt>
                <c:pt idx="24">
                  <c:v>0.6146215257614056</c:v>
                </c:pt>
                <c:pt idx="25">
                  <c:v>0.6009208607367073</c:v>
                </c:pt>
                <c:pt idx="26">
                  <c:v>0.6191845213768643</c:v>
                </c:pt>
                <c:pt idx="27">
                  <c:v>0.6528768186207062</c:v>
                </c:pt>
                <c:pt idx="28">
                  <c:v>0.6623145695611621</c:v>
                </c:pt>
                <c:pt idx="29">
                  <c:v>0.5986596805122775</c:v>
                </c:pt>
                <c:pt idx="30">
                  <c:v>0.5612833321564569</c:v>
                </c:pt>
                <c:pt idx="31">
                  <c:v>0.5944565383530649</c:v>
                </c:pt>
                <c:pt idx="32">
                  <c:v>0.5987727678871324</c:v>
                </c:pt>
                <c:pt idx="33">
                  <c:v>0.6150567514721935</c:v>
                </c:pt>
                <c:pt idx="34">
                  <c:v>0.633189107507524</c:v>
                </c:pt>
                <c:pt idx="35">
                  <c:v>0.5586209559776016</c:v>
                </c:pt>
                <c:pt idx="36">
                  <c:v>0.5310438821991931</c:v>
                </c:pt>
                <c:pt idx="37">
                  <c:v>0.5667776230418733</c:v>
                </c:pt>
                <c:pt idx="38">
                  <c:v>0.5829097504648526</c:v>
                </c:pt>
                <c:pt idx="39">
                  <c:v>0.6483224508877669</c:v>
                </c:pt>
                <c:pt idx="40">
                  <c:v>0.6471307945937264</c:v>
                </c:pt>
                <c:pt idx="41">
                  <c:v>0.6671176419178514</c:v>
                </c:pt>
                <c:pt idx="42">
                  <c:v>0.6625890654590435</c:v>
                </c:pt>
                <c:pt idx="43">
                  <c:v>0.7181830579042039</c:v>
                </c:pt>
                <c:pt idx="44">
                  <c:v>0.780743176906927</c:v>
                </c:pt>
                <c:pt idx="45">
                  <c:v>0.7770845095850285</c:v>
                </c:pt>
                <c:pt idx="46">
                  <c:v>0.7322771366803728</c:v>
                </c:pt>
                <c:pt idx="47">
                  <c:v>0.7554340701717043</c:v>
                </c:pt>
                <c:pt idx="48">
                  <c:v>0.8069215930845907</c:v>
                </c:pt>
                <c:pt idx="49">
                  <c:v>0.8355373272136656</c:v>
                </c:pt>
                <c:pt idx="50">
                  <c:v>0.7372377596154505</c:v>
                </c:pt>
                <c:pt idx="51">
                  <c:v>0.6973399910874326</c:v>
                </c:pt>
                <c:pt idx="52">
                  <c:v>0.3937574608413051</c:v>
                </c:pt>
                <c:pt idx="53">
                  <c:v>0.29920302455163394</c:v>
                </c:pt>
                <c:pt idx="54">
                  <c:v>0.75679333029868</c:v>
                </c:pt>
              </c:numCache>
            </c:numRef>
          </c:xVal>
          <c:yVal>
            <c:numRef>
              <c:f>Sheet1!$B$187:$B$241</c:f>
              <c:numCache>
                <c:formatCode>General</c:formatCode>
                <c:ptCount val="55"/>
                <c:pt idx="0">
                  <c:v>0.16721463875319745</c:v>
                </c:pt>
                <c:pt idx="1">
                  <c:v>0.17413162776980687</c:v>
                </c:pt>
                <c:pt idx="2">
                  <c:v>0.1733150557907187</c:v>
                </c:pt>
                <c:pt idx="3">
                  <c:v>0.17414658510525302</c:v>
                </c:pt>
                <c:pt idx="4">
                  <c:v>0.17451113333052723</c:v>
                </c:pt>
                <c:pt idx="5">
                  <c:v>0.1722522825771844</c:v>
                </c:pt>
                <c:pt idx="6">
                  <c:v>0.16823744868016327</c:v>
                </c:pt>
                <c:pt idx="7">
                  <c:v>0.16953642336676578</c:v>
                </c:pt>
                <c:pt idx="8">
                  <c:v>0.16720117707502966</c:v>
                </c:pt>
                <c:pt idx="9">
                  <c:v>0.16667074863342365</c:v>
                </c:pt>
                <c:pt idx="10">
                  <c:v>0.1660924539248855</c:v>
                </c:pt>
                <c:pt idx="11">
                  <c:v>0.16720051853675946</c:v>
                </c:pt>
                <c:pt idx="12">
                  <c:v>0.1698671318355619</c:v>
                </c:pt>
                <c:pt idx="13">
                  <c:v>0.17215869593097327</c:v>
                </c:pt>
                <c:pt idx="14">
                  <c:v>0.17285408979727537</c:v>
                </c:pt>
                <c:pt idx="15">
                  <c:v>0.17230584094802365</c:v>
                </c:pt>
                <c:pt idx="16">
                  <c:v>0.17077469970131703</c:v>
                </c:pt>
                <c:pt idx="17">
                  <c:v>0.17099692198692568</c:v>
                </c:pt>
                <c:pt idx="18">
                  <c:v>0.1739599200306003</c:v>
                </c:pt>
                <c:pt idx="19">
                  <c:v>0.17215756225808304</c:v>
                </c:pt>
                <c:pt idx="20">
                  <c:v>0.17403384172850936</c:v>
                </c:pt>
                <c:pt idx="21">
                  <c:v>0.17473128703354449</c:v>
                </c:pt>
                <c:pt idx="22">
                  <c:v>0.1764040327416891</c:v>
                </c:pt>
                <c:pt idx="23">
                  <c:v>0.17403306379991504</c:v>
                </c:pt>
                <c:pt idx="24">
                  <c:v>0.17271975306575488</c:v>
                </c:pt>
                <c:pt idx="25">
                  <c:v>0.17395774846319267</c:v>
                </c:pt>
                <c:pt idx="26">
                  <c:v>0.17230743968094597</c:v>
                </c:pt>
                <c:pt idx="27">
                  <c:v>0.16926299557244545</c:v>
                </c:pt>
                <c:pt idx="28">
                  <c:v>0.16841019812024982</c:v>
                </c:pt>
                <c:pt idx="29">
                  <c:v>0.1741620692538678</c:v>
                </c:pt>
                <c:pt idx="30">
                  <c:v>0.17753940510976401</c:v>
                </c:pt>
                <c:pt idx="31">
                  <c:v>0.174541866193542</c:v>
                </c:pt>
                <c:pt idx="32">
                  <c:v>0.17415185065138927</c:v>
                </c:pt>
                <c:pt idx="33">
                  <c:v>0.17268042596551336</c:v>
                </c:pt>
                <c:pt idx="34">
                  <c:v>0.171041981899041</c:v>
                </c:pt>
                <c:pt idx="35">
                  <c:v>0.1777799780636848</c:v>
                </c:pt>
                <c:pt idx="36">
                  <c:v>0.18027184910431873</c:v>
                </c:pt>
                <c:pt idx="37">
                  <c:v>0.17704293965965134</c:v>
                </c:pt>
                <c:pt idx="38">
                  <c:v>0.1755852367332222</c:v>
                </c:pt>
                <c:pt idx="39">
                  <c:v>0.1696745293397081</c:v>
                </c:pt>
                <c:pt idx="40">
                  <c:v>0.16978220768997</c:v>
                </c:pt>
                <c:pt idx="41">
                  <c:v>0.16797619134317565</c:v>
                </c:pt>
                <c:pt idx="42">
                  <c:v>0.16838539460468469</c:v>
                </c:pt>
                <c:pt idx="43">
                  <c:v>0.16336190803317685</c:v>
                </c:pt>
                <c:pt idx="44">
                  <c:v>0.15770896058508488</c:v>
                </c:pt>
                <c:pt idx="45">
                  <c:v>0.15803955864708416</c:v>
                </c:pt>
                <c:pt idx="46">
                  <c:v>0.16208836367423018</c:v>
                </c:pt>
                <c:pt idx="47">
                  <c:v>0.15999589757646332</c:v>
                </c:pt>
                <c:pt idx="48">
                  <c:v>0.15534347258273357</c:v>
                </c:pt>
                <c:pt idx="49">
                  <c:v>0.15275774794219715</c:v>
                </c:pt>
                <c:pt idx="50">
                  <c:v>0.16164012058887778</c:v>
                </c:pt>
                <c:pt idx="51">
                  <c:v>0.16524529257992215</c:v>
                </c:pt>
                <c:pt idx="52">
                  <c:v>0.1926770832637833</c:v>
                </c:pt>
                <c:pt idx="53">
                  <c:v>0.20122104494176865</c:v>
                </c:pt>
                <c:pt idx="54">
                  <c:v>0.159873074503416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1990471148756"/>
          <c:min val="0.106219265258895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700.9058103818443</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700.9058103818443</c:v>
                </c:pt>
                <c:pt idx="1">
                  <c:v>2700.9058103818443</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305.7604110645198</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305.7604110645198</c:v>
                </c:pt>
                <c:pt idx="1">
                  <c:v>3305.7604110645198</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155.29341166358</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155.29341166358</c:v>
                </c:pt>
                <c:pt idx="1">
                  <c:v>5155.29341166358</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305.7604110645198</c:v>
                </c:pt>
                <c:pt idx="53">
                  <c:v>2700.9058103818443</c:v>
                </c:pt>
                <c:pt idx="54">
                  <c:v>5155.29341166358</c:v>
                </c:pt>
              </c:numCache>
            </c:numRef>
          </c:xVal>
          <c:yVal>
            <c:numRef>
              <c:f>Sheet1!$B$135:$B$189</c:f>
              <c:numCache>
                <c:formatCode>General</c:formatCode>
                <c:ptCount val="55"/>
                <c:pt idx="0">
                  <c:v>0.003392104419842879</c:v>
                </c:pt>
                <c:pt idx="1">
                  <c:v>0.004234078067536673</c:v>
                </c:pt>
                <c:pt idx="2">
                  <c:v>0.0030887272367529106</c:v>
                </c:pt>
                <c:pt idx="3">
                  <c:v>0.004107036590898528</c:v>
                </c:pt>
                <c:pt idx="4">
                  <c:v>0.003477242112837495</c:v>
                </c:pt>
                <c:pt idx="5">
                  <c:v>0.003274545085007089</c:v>
                </c:pt>
                <c:pt idx="6">
                  <c:v>0.003238372940495074</c:v>
                </c:pt>
                <c:pt idx="7">
                  <c:v>0.0035551633780002375</c:v>
                </c:pt>
                <c:pt idx="8">
                  <c:v>0.003472535288313841</c:v>
                </c:pt>
                <c:pt idx="9">
                  <c:v>0.0035964441352446365</c:v>
                </c:pt>
                <c:pt idx="10">
                  <c:v>0.003554443095484364</c:v>
                </c:pt>
                <c:pt idx="11">
                  <c:v>0.0035950151954049093</c:v>
                </c:pt>
                <c:pt idx="12">
                  <c:v>0.0038271074800364166</c:v>
                </c:pt>
                <c:pt idx="13">
                  <c:v>0.0038531171693182305</c:v>
                </c:pt>
                <c:pt idx="14">
                  <c:v>0.003944954748107545</c:v>
                </c:pt>
                <c:pt idx="15">
                  <c:v>0.0038236672022062316</c:v>
                </c:pt>
                <c:pt idx="16">
                  <c:v>0.003683718706318791</c:v>
                </c:pt>
                <c:pt idx="17">
                  <c:v>0.003929790943514629</c:v>
                </c:pt>
                <c:pt idx="18">
                  <c:v>0.00382153242145515</c:v>
                </c:pt>
                <c:pt idx="19">
                  <c:v>0.002594280674722939</c:v>
                </c:pt>
                <c:pt idx="20">
                  <c:v>0.0036689517761936473</c:v>
                </c:pt>
                <c:pt idx="21">
                  <c:v>0.003556428426601952</c:v>
                </c:pt>
                <c:pt idx="22">
                  <c:v>0.0035664823001417397</c:v>
                </c:pt>
                <c:pt idx="23">
                  <c:v>0.003071213165890853</c:v>
                </c:pt>
                <c:pt idx="24">
                  <c:v>0.0038181617150060744</c:v>
                </c:pt>
                <c:pt idx="25">
                  <c:v>0.003822755883029742</c:v>
                </c:pt>
                <c:pt idx="26">
                  <c:v>0.003423264728349892</c:v>
                </c:pt>
                <c:pt idx="27">
                  <c:v>0.0032227601278413055</c:v>
                </c:pt>
                <c:pt idx="28">
                  <c:v>0.0036364731469421072</c:v>
                </c:pt>
                <c:pt idx="29">
                  <c:v>0.003149862983035957</c:v>
                </c:pt>
                <c:pt idx="30">
                  <c:v>0.00431672665111828</c:v>
                </c:pt>
                <c:pt idx="31">
                  <c:v>0.0035950958526650063</c:v>
                </c:pt>
                <c:pt idx="32">
                  <c:v>0.00302836774169371</c:v>
                </c:pt>
                <c:pt idx="33">
                  <c:v>0.0031763792071020213</c:v>
                </c:pt>
                <c:pt idx="34">
                  <c:v>0.0029476705125086843</c:v>
                </c:pt>
                <c:pt idx="35">
                  <c:v>0.003266963841871003</c:v>
                </c:pt>
                <c:pt idx="36">
                  <c:v>0.0032062211948645065</c:v>
                </c:pt>
                <c:pt idx="37">
                  <c:v>0.0037187740533891804</c:v>
                </c:pt>
                <c:pt idx="38">
                  <c:v>0.003554138024079346</c:v>
                </c:pt>
                <c:pt idx="39">
                  <c:v>0.0036448624607709184</c:v>
                </c:pt>
                <c:pt idx="40">
                  <c:v>0.002891981468305323</c:v>
                </c:pt>
                <c:pt idx="41">
                  <c:v>0.002891981468305323</c:v>
                </c:pt>
                <c:pt idx="42">
                  <c:v>0.0034581403044096643</c:v>
                </c:pt>
                <c:pt idx="43">
                  <c:v>0.0034123785749546162</c:v>
                </c:pt>
                <c:pt idx="44">
                  <c:v>0.0036214622675555556</c:v>
                </c:pt>
                <c:pt idx="45">
                  <c:v>0.003837217442131517</c:v>
                </c:pt>
                <c:pt idx="46">
                  <c:v>0.003499217980335736</c:v>
                </c:pt>
                <c:pt idx="47">
                  <c:v>0.003529995436513804</c:v>
                </c:pt>
                <c:pt idx="48">
                  <c:v>0.0033850933504288015</c:v>
                </c:pt>
                <c:pt idx="49">
                  <c:v>0.003662460065229243</c:v>
                </c:pt>
                <c:pt idx="50">
                  <c:v>0.003802486941277313</c:v>
                </c:pt>
                <c:pt idx="51">
                  <c:v>0.0037282262932801023</c:v>
                </c:pt>
                <c:pt idx="52">
                  <c:v>0.004074778593970419</c:v>
                </c:pt>
                <c:pt idx="53">
                  <c:v>0.0044372296701080775</c:v>
                </c:pt>
                <c:pt idx="54">
                  <c:v>0.002966470538344113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2577618553436457</c:v>
                </c:pt>
                <c:pt idx="3">
                  <c:v>0.20489679442790557</c:v>
                </c:pt>
                <c:pt idx="4">
                  <c:v>0.27149599835830085</c:v>
                </c:pt>
                <c:pt idx="5">
                  <c:v>0.17175009927495838</c:v>
                </c:pt>
                <c:pt idx="6">
                  <c:v>0.26673610206457415</c:v>
                </c:pt>
                <c:pt idx="7">
                  <c:v>0.44013510699238745</c:v>
                </c:pt>
                <c:pt idx="8">
                  <c:v>0.2632739326913255</c:v>
                </c:pt>
                <c:pt idx="9">
                  <c:v>0.28803352720989617</c:v>
                </c:pt>
                <c:pt idx="10">
                  <c:v>0.3016430435934106</c:v>
                </c:pt>
                <c:pt idx="11">
                  <c:v>0.29066639717646525</c:v>
                </c:pt>
                <c:pt idx="12">
                  <c:v>0.2522619089572586</c:v>
                </c:pt>
                <c:pt idx="13">
                  <c:v>0.18459815219109346</c:v>
                </c:pt>
                <c:pt idx="14">
                  <c:v>0.19552282408285018</c:v>
                </c:pt>
                <c:pt idx="15">
                  <c:v>0.28880329045703135</c:v>
                </c:pt>
                <c:pt idx="16">
                  <c:v>0.20740938998609124</c:v>
                </c:pt>
                <c:pt idx="17">
                  <c:v>0.12403207083824849</c:v>
                </c:pt>
                <c:pt idx="18">
                  <c:v>0.18544915698127135</c:v>
                </c:pt>
                <c:pt idx="19">
                  <c:v>0.15269053159550997</c:v>
                </c:pt>
                <c:pt idx="20">
                  <c:v>0.18989008877072155</c:v>
                </c:pt>
                <c:pt idx="21">
                  <c:v>0.058377334185787694</c:v>
                </c:pt>
                <c:pt idx="22">
                  <c:v>0.09119179945131803</c:v>
                </c:pt>
                <c:pt idx="23">
                  <c:v>0.4099974012335059</c:v>
                </c:pt>
                <c:pt idx="24">
                  <c:v>0.4033232801874917</c:v>
                </c:pt>
                <c:pt idx="25">
                  <c:v>0.5557771951821877</c:v>
                </c:pt>
                <c:pt idx="26">
                  <c:v>0.32408399096642815</c:v>
                </c:pt>
                <c:pt idx="27">
                  <c:v>0.49074394671883176</c:v>
                </c:pt>
                <c:pt idx="28">
                  <c:v>0.40617466339078684</c:v>
                </c:pt>
                <c:pt idx="29">
                  <c:v>0.3451020899093522</c:v>
                </c:pt>
                <c:pt idx="30">
                  <c:v>0.283227585117156</c:v>
                </c:pt>
                <c:pt idx="31">
                  <c:v>0.5344737979289663</c:v>
                </c:pt>
                <c:pt idx="32">
                  <c:v>0.0</c:v>
                </c:pt>
                <c:pt idx="33">
                  <c:v>0.5124151428546931</c:v>
                </c:pt>
                <c:pt idx="34">
                  <c:v>0.5211475621959825</c:v>
                </c:pt>
                <c:pt idx="35">
                  <c:v>0.42191086562385105</c:v>
                </c:pt>
                <c:pt idx="36">
                  <c:v>0.344478379607351</c:v>
                </c:pt>
                <c:pt idx="37">
                  <c:v>0.2802894180414136</c:v>
                </c:pt>
                <c:pt idx="38">
                  <c:v>0.44345073037775223</c:v>
                </c:pt>
                <c:pt idx="39">
                  <c:v>0.3611166491370542</c:v>
                </c:pt>
                <c:pt idx="40">
                  <c:v>0.4703579928003457</c:v>
                </c:pt>
                <c:pt idx="41">
                  <c:v>0.7749496338862757</c:v>
                </c:pt>
                <c:pt idx="42">
                  <c:v>0.3209970744131398</c:v>
                </c:pt>
                <c:pt idx="43">
                  <c:v>0.349900073146201</c:v>
                </c:pt>
                <c:pt idx="44">
                  <c:v>0.22997108255971435</c:v>
                </c:pt>
                <c:pt idx="45">
                  <c:v>0.20417488379570953</c:v>
                </c:pt>
                <c:pt idx="46">
                  <c:v>0.2078587659716865</c:v>
                </c:pt>
                <c:pt idx="47">
                  <c:v>0.2838564552999116</c:v>
                </c:pt>
                <c:pt idx="48">
                  <c:v>0.46269622144335715</c:v>
                </c:pt>
                <c:pt idx="49">
                  <c:v>0.4885272588980994</c:v>
                </c:pt>
                <c:pt idx="50">
                  <c:v>0.435447182063199</c:v>
                </c:pt>
                <c:pt idx="51">
                  <c:v>0.5508762805860722</c:v>
                </c:pt>
                <c:pt idx="52">
                  <c:v>0.47711605837201543</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5754580390303476</c:v>
                </c:pt>
                <c:pt idx="1">
                  <c:v>0.40959001952621604</c:v>
                </c:pt>
                <c:pt idx="2">
                  <c:v>0.5329609528950469</c:v>
                </c:pt>
                <c:pt idx="3">
                  <c:v>0.35496237212546344</c:v>
                </c:pt>
                <c:pt idx="4">
                  <c:v>0.4777802561058976</c:v>
                </c:pt>
                <c:pt idx="5">
                  <c:v>0.5634496618481447</c:v>
                </c:pt>
                <c:pt idx="6">
                  <c:v>0.5824214146260477</c:v>
                </c:pt>
                <c:pt idx="7">
                  <c:v>0.48916475327000636</c:v>
                </c:pt>
                <c:pt idx="8">
                  <c:v>0.620119729124185</c:v>
                </c:pt>
                <c:pt idx="9">
                  <c:v>0.5830599517614499</c:v>
                </c:pt>
                <c:pt idx="10">
                  <c:v>0.5864402457167648</c:v>
                </c:pt>
                <c:pt idx="11">
                  <c:v>0.5438950472530463</c:v>
                </c:pt>
                <c:pt idx="12">
                  <c:v>0.45493370596977034</c:v>
                </c:pt>
                <c:pt idx="13">
                  <c:v>0.445686853290022</c:v>
                </c:pt>
                <c:pt idx="14">
                  <c:v>0.403661633824493</c:v>
                </c:pt>
                <c:pt idx="15">
                  <c:v>0.446447593493379</c:v>
                </c:pt>
                <c:pt idx="16">
                  <c:v>0.4023792660044469</c:v>
                </c:pt>
                <c:pt idx="17">
                  <c:v>0.3875008313425076</c:v>
                </c:pt>
                <c:pt idx="18">
                  <c:v>0.36902598923833263</c:v>
                </c:pt>
                <c:pt idx="19">
                  <c:v>0.6117929239609307</c:v>
                </c:pt>
                <c:pt idx="20">
                  <c:v>0.4083416018321425</c:v>
                </c:pt>
                <c:pt idx="21">
                  <c:v>0.4755399261949167</c:v>
                </c:pt>
                <c:pt idx="22">
                  <c:v>0.42800788828635555</c:v>
                </c:pt>
                <c:pt idx="23">
                  <c:v>0.5279079958489398</c:v>
                </c:pt>
                <c:pt idx="24">
                  <c:v>0.4014223682412511</c:v>
                </c:pt>
                <c:pt idx="25">
                  <c:v>0.3439114357564541</c:v>
                </c:pt>
                <c:pt idx="26">
                  <c:v>0.38625691054102673</c:v>
                </c:pt>
                <c:pt idx="27">
                  <c:v>0.4058813439597046</c:v>
                </c:pt>
                <c:pt idx="28">
                  <c:v>0.47340833976356594</c:v>
                </c:pt>
                <c:pt idx="29">
                  <c:v>0.5644183458420412</c:v>
                </c:pt>
                <c:pt idx="30">
                  <c:v>0.33004557745181384</c:v>
                </c:pt>
                <c:pt idx="31">
                  <c:v>0.42626522525956634</c:v>
                </c:pt>
                <c:pt idx="32">
                  <c:v>0.5687655379691695</c:v>
                </c:pt>
                <c:pt idx="33">
                  <c:v>0.5241458617757003</c:v>
                </c:pt>
                <c:pt idx="34">
                  <c:v>0.544471842178721</c:v>
                </c:pt>
                <c:pt idx="35">
                  <c:v>0.4094573122866379</c:v>
                </c:pt>
                <c:pt idx="36">
                  <c:v>0.3808532194959814</c:v>
                </c:pt>
                <c:pt idx="37">
                  <c:v>0.3549748365046597</c:v>
                </c:pt>
                <c:pt idx="38">
                  <c:v>0.34396246223105376</c:v>
                </c:pt>
                <c:pt idx="39">
                  <c:v>0.33152856331752634</c:v>
                </c:pt>
                <c:pt idx="40">
                  <c:v>0.494809416790401</c:v>
                </c:pt>
                <c:pt idx="41">
                  <c:v>0.5130436708358218</c:v>
                </c:pt>
                <c:pt idx="42">
                  <c:v>0.4052426894024382</c:v>
                </c:pt>
                <c:pt idx="43">
                  <c:v>0.4866688768755516</c:v>
                </c:pt>
                <c:pt idx="44">
                  <c:v>0.5621820543738303</c:v>
                </c:pt>
                <c:pt idx="45">
                  <c:v>0.5137114700440247</c:v>
                </c:pt>
                <c:pt idx="46">
                  <c:v>0.533215957705979</c:v>
                </c:pt>
                <c:pt idx="47">
                  <c:v>0.5197524132654325</c:v>
                </c:pt>
                <c:pt idx="48">
                  <c:v>0.5507012992668185</c:v>
                </c:pt>
                <c:pt idx="49">
                  <c:v>0.6053577427077341</c:v>
                </c:pt>
                <c:pt idx="50">
                  <c:v>0.6281034629380982</c:v>
                </c:pt>
                <c:pt idx="51">
                  <c:v>0.566362520670367</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3842772526674159</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3842772526674159</c:v>
                </c:pt>
                <c:pt idx="1">
                  <c:v>0.3842772526674159</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4213686295625947</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213686295625947</c:v>
                </c:pt>
                <c:pt idx="1">
                  <c:v>0.4213686295625947</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5347871693701164</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5347871693701164</c:v>
                </c:pt>
                <c:pt idx="1">
                  <c:v>0.5347871693701164</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5754580390303476</c:v>
                </c:pt>
                <c:pt idx="1">
                  <c:v>0.40959001952621604</c:v>
                </c:pt>
                <c:pt idx="2">
                  <c:v>0.5329609528950469</c:v>
                </c:pt>
                <c:pt idx="3">
                  <c:v>0.35496237212546344</c:v>
                </c:pt>
                <c:pt idx="4">
                  <c:v>0.4777802561058976</c:v>
                </c:pt>
                <c:pt idx="5">
                  <c:v>0.5634496618481447</c:v>
                </c:pt>
                <c:pt idx="6">
                  <c:v>0.5824214146260477</c:v>
                </c:pt>
                <c:pt idx="7">
                  <c:v>0.48916475327000636</c:v>
                </c:pt>
                <c:pt idx="8">
                  <c:v>0.620119729124185</c:v>
                </c:pt>
                <c:pt idx="9">
                  <c:v>0.5830599517614499</c:v>
                </c:pt>
                <c:pt idx="10">
                  <c:v>0.5864402457167648</c:v>
                </c:pt>
                <c:pt idx="11">
                  <c:v>0.5438950472530463</c:v>
                </c:pt>
                <c:pt idx="12">
                  <c:v>0.45493370596977034</c:v>
                </c:pt>
                <c:pt idx="13">
                  <c:v>0.445686853290022</c:v>
                </c:pt>
                <c:pt idx="14">
                  <c:v>0.403661633824493</c:v>
                </c:pt>
                <c:pt idx="15">
                  <c:v>0.446447593493379</c:v>
                </c:pt>
                <c:pt idx="16">
                  <c:v>0.4023792660044469</c:v>
                </c:pt>
                <c:pt idx="17">
                  <c:v>0.3875008313425076</c:v>
                </c:pt>
                <c:pt idx="18">
                  <c:v>0.36902598923833263</c:v>
                </c:pt>
                <c:pt idx="19">
                  <c:v>0.6117929239609307</c:v>
                </c:pt>
                <c:pt idx="20">
                  <c:v>0.4083416018321425</c:v>
                </c:pt>
                <c:pt idx="21">
                  <c:v>0.4755399261949167</c:v>
                </c:pt>
                <c:pt idx="22">
                  <c:v>0.42800788828635555</c:v>
                </c:pt>
                <c:pt idx="23">
                  <c:v>0.5279079958489398</c:v>
                </c:pt>
                <c:pt idx="24">
                  <c:v>0.4014223682412511</c:v>
                </c:pt>
                <c:pt idx="25">
                  <c:v>0.3439114357564541</c:v>
                </c:pt>
                <c:pt idx="26">
                  <c:v>0.38625691054102673</c:v>
                </c:pt>
                <c:pt idx="27">
                  <c:v>0.4058813439597046</c:v>
                </c:pt>
                <c:pt idx="28">
                  <c:v>0.47340833976356594</c:v>
                </c:pt>
                <c:pt idx="29">
                  <c:v>0.5644183458420412</c:v>
                </c:pt>
                <c:pt idx="30">
                  <c:v>0.33004557745181384</c:v>
                </c:pt>
                <c:pt idx="31">
                  <c:v>0.42626522525956634</c:v>
                </c:pt>
                <c:pt idx="32">
                  <c:v>0.5687655379691695</c:v>
                </c:pt>
                <c:pt idx="33">
                  <c:v>0.5241458617757003</c:v>
                </c:pt>
                <c:pt idx="34">
                  <c:v>0.544471842178721</c:v>
                </c:pt>
                <c:pt idx="35">
                  <c:v>0.4094573122866379</c:v>
                </c:pt>
                <c:pt idx="36">
                  <c:v>0.3808532194959814</c:v>
                </c:pt>
                <c:pt idx="37">
                  <c:v>0.3549748365046597</c:v>
                </c:pt>
                <c:pt idx="38">
                  <c:v>0.34396246223105376</c:v>
                </c:pt>
                <c:pt idx="39">
                  <c:v>0.33152856331752634</c:v>
                </c:pt>
                <c:pt idx="40">
                  <c:v>0.494809416790401</c:v>
                </c:pt>
                <c:pt idx="41">
                  <c:v>0.5130436708358218</c:v>
                </c:pt>
                <c:pt idx="42">
                  <c:v>0.4052426894024382</c:v>
                </c:pt>
                <c:pt idx="43">
                  <c:v>0.4866688768755516</c:v>
                </c:pt>
                <c:pt idx="44">
                  <c:v>0.5621820543738303</c:v>
                </c:pt>
                <c:pt idx="45">
                  <c:v>0.5137114700440247</c:v>
                </c:pt>
                <c:pt idx="46">
                  <c:v>0.533215957705979</c:v>
                </c:pt>
                <c:pt idx="47">
                  <c:v>0.5197524132654325</c:v>
                </c:pt>
                <c:pt idx="48">
                  <c:v>0.5507012992668185</c:v>
                </c:pt>
                <c:pt idx="49">
                  <c:v>0.6053577427077341</c:v>
                </c:pt>
                <c:pt idx="50">
                  <c:v>0.6281034629380982</c:v>
                </c:pt>
                <c:pt idx="51">
                  <c:v>0.566362520670367</c:v>
                </c:pt>
                <c:pt idx="52">
                  <c:v>0.4213686295625947</c:v>
                </c:pt>
                <c:pt idx="53">
                  <c:v>0.3842772526674159</c:v>
                </c:pt>
                <c:pt idx="54">
                  <c:v>0.5347871693701164</c:v>
                </c:pt>
              </c:numCache>
            </c:numRef>
          </c:xVal>
          <c:yVal>
            <c:numRef>
              <c:f>Sheet1!$B$135:$B$189</c:f>
              <c:numCache>
                <c:formatCode>General</c:formatCode>
                <c:ptCount val="55"/>
                <c:pt idx="0">
                  <c:v>0.0025690412243161032</c:v>
                </c:pt>
                <c:pt idx="1">
                  <c:v>0.004189877310719492</c:v>
                </c:pt>
                <c:pt idx="2">
                  <c:v>0.0029843160372728765</c:v>
                </c:pt>
                <c:pt idx="3">
                  <c:v>0.004723690052242305</c:v>
                </c:pt>
                <c:pt idx="4">
                  <c:v>0.0035235330900604926</c:v>
                </c:pt>
                <c:pt idx="5">
                  <c:v>0.002686385189320597</c:v>
                </c:pt>
                <c:pt idx="6">
                  <c:v>0.00250099621791624</c:v>
                </c:pt>
                <c:pt idx="7">
                  <c:v>0.003412285582045936</c:v>
                </c:pt>
                <c:pt idx="8">
                  <c:v>0.0021326142433931577</c:v>
                </c:pt>
                <c:pt idx="9">
                  <c:v>0.0024947565338911785</c:v>
                </c:pt>
                <c:pt idx="10">
                  <c:v>0.0024617248353045245</c:v>
                </c:pt>
                <c:pt idx="11">
                  <c:v>0.002877469794334866</c:v>
                </c:pt>
                <c:pt idx="12">
                  <c:v>0.003746785969193934</c:v>
                </c:pt>
                <c:pt idx="13">
                  <c:v>0.0038371447529655022</c:v>
                </c:pt>
                <c:pt idx="14">
                  <c:v>0.00424780855936041</c:v>
                </c:pt>
                <c:pt idx="15">
                  <c:v>0.003829710919863346</c:v>
                </c:pt>
                <c:pt idx="16">
                  <c:v>0.004260339655137564</c:v>
                </c:pt>
                <c:pt idx="17">
                  <c:v>0.004405729368485323</c:v>
                </c:pt>
                <c:pt idx="18">
                  <c:v>0.0045862626072770574</c:v>
                </c:pt>
                <c:pt idx="19">
                  <c:v>0.0022139824681624695</c:v>
                </c:pt>
                <c:pt idx="20">
                  <c:v>0.004202076651228338</c:v>
                </c:pt>
                <c:pt idx="21">
                  <c:v>0.003545425240072426</c:v>
                </c:pt>
                <c:pt idx="22">
                  <c:v>0.004009900806446272</c:v>
                </c:pt>
                <c:pt idx="23">
                  <c:v>0.0030336927353721297</c:v>
                </c:pt>
                <c:pt idx="24">
                  <c:v>0.004269690308929797</c:v>
                </c:pt>
                <c:pt idx="25">
                  <c:v>0.004831678056855767</c:v>
                </c:pt>
                <c:pt idx="26">
                  <c:v>0.004417884766070074</c:v>
                </c:pt>
                <c:pt idx="27">
                  <c:v>0.004226117902540234</c:v>
                </c:pt>
                <c:pt idx="28">
                  <c:v>0.003566254765978323</c:v>
                </c:pt>
                <c:pt idx="29">
                  <c:v>0.002676919362343688</c:v>
                </c:pt>
                <c:pt idx="30">
                  <c:v>0.0049671730339846</c:v>
                </c:pt>
                <c:pt idx="31">
                  <c:v>0.004026929834276381</c:v>
                </c:pt>
                <c:pt idx="32">
                  <c:v>0.0026344392875514355</c:v>
                </c:pt>
                <c:pt idx="33">
                  <c:v>0.003070455715276417</c:v>
                </c:pt>
                <c:pt idx="34">
                  <c:v>0.0028718334454305803</c:v>
                </c:pt>
                <c:pt idx="35">
                  <c:v>0.00419117410490247</c:v>
                </c:pt>
                <c:pt idx="36">
                  <c:v>0.004470688781405691</c:v>
                </c:pt>
                <c:pt idx="37">
                  <c:v>0.004723568252297649</c:v>
                </c:pt>
                <c:pt idx="38">
                  <c:v>0.004831179434206022</c:v>
                </c:pt>
                <c:pt idx="39">
                  <c:v>0.004952681530354431</c:v>
                </c:pt>
                <c:pt idx="40">
                  <c:v>0.0033571268217447523</c:v>
                </c:pt>
                <c:pt idx="41">
                  <c:v>0.0031789445714603395</c:v>
                </c:pt>
                <c:pt idx="42">
                  <c:v>0.004232358733993205</c:v>
                </c:pt>
                <c:pt idx="43">
                  <c:v>0.0034366748919287485</c:v>
                </c:pt>
                <c:pt idx="44">
                  <c:v>0.0026987720493307768</c:v>
                </c:pt>
                <c:pt idx="45">
                  <c:v>0.0031724189430820497</c:v>
                </c:pt>
                <c:pt idx="46">
                  <c:v>0.0029818241705405132</c:v>
                </c:pt>
                <c:pt idx="47">
                  <c:v>0.0031133878001381394</c:v>
                </c:pt>
                <c:pt idx="48">
                  <c:v>0.0028109601747586636</c:v>
                </c:pt>
                <c:pt idx="49">
                  <c:v>0.0022768660428799433</c:v>
                </c:pt>
                <c:pt idx="50">
                  <c:v>0.002054598457658723</c:v>
                </c:pt>
                <c:pt idx="51">
                  <c:v>0.002657921193019377</c:v>
                </c:pt>
                <c:pt idx="52">
                  <c:v>0.004074778593970419</c:v>
                </c:pt>
                <c:pt idx="53">
                  <c:v>0.0044372296701080775</c:v>
                </c:pt>
                <c:pt idx="54">
                  <c:v>0.0029664705383441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27932960893854746</c:v>
                </c:pt>
                <c:pt idx="3">
                  <c:v>0.0002967359050445104</c:v>
                </c:pt>
                <c:pt idx="4">
                  <c:v>0.0002778549597110308</c:v>
                </c:pt>
                <c:pt idx="5">
                  <c:v>0.00021358393848782572</c:v>
                </c:pt>
                <c:pt idx="6">
                  <c:v>0.00018889308651303362</c:v>
                </c:pt>
                <c:pt idx="7">
                  <c:v>0.00010642826734780758</c:v>
                </c:pt>
                <c:pt idx="8">
                  <c:v>0.0003677822728944465</c:v>
                </c:pt>
                <c:pt idx="9">
                  <c:v>0.0005181347150259067</c:v>
                </c:pt>
                <c:pt idx="10">
                  <c:v>0.0003726476616359232</c:v>
                </c:pt>
                <c:pt idx="11">
                  <c:v>0.00048496605237633366</c:v>
                </c:pt>
                <c:pt idx="12">
                  <c:v>0.0006687844841999665</c:v>
                </c:pt>
                <c:pt idx="13">
                  <c:v>0.0005477451159393829</c:v>
                </c:pt>
                <c:pt idx="14">
                  <c:v>0.0005828638041577618</c:v>
                </c:pt>
                <c:pt idx="15">
                  <c:v>0.0004200798151648813</c:v>
                </c:pt>
                <c:pt idx="16">
                  <c:v>0.0007168458781362007</c:v>
                </c:pt>
                <c:pt idx="17">
                  <c:v>0.001394700139470014</c:v>
                </c:pt>
                <c:pt idx="18">
                  <c:v>0.00032658393207054214</c:v>
                </c:pt>
                <c:pt idx="19">
                  <c:v>0.001053001053001053</c:v>
                </c:pt>
                <c:pt idx="20">
                  <c:v>0.000758150113722517</c:v>
                </c:pt>
                <c:pt idx="21">
                  <c:v>0.0012520868113522537</c:v>
                </c:pt>
                <c:pt idx="22">
                  <c:v>0.0007920792079207921</c:v>
                </c:pt>
                <c:pt idx="23">
                  <c:v>0.0005546311702717693</c:v>
                </c:pt>
                <c:pt idx="24">
                  <c:v>0.001304631441617743</c:v>
                </c:pt>
                <c:pt idx="25">
                  <c:v>0.0011911852293031567</c:v>
                </c:pt>
                <c:pt idx="26">
                  <c:v>0.0014388489208633094</c:v>
                </c:pt>
                <c:pt idx="27">
                  <c:v>0.0014587892049598833</c:v>
                </c:pt>
                <c:pt idx="28">
                  <c:v>0.0007849293563579278</c:v>
                </c:pt>
                <c:pt idx="29">
                  <c:v>0.0018679950186799503</c:v>
                </c:pt>
                <c:pt idx="30">
                  <c:v>0.003088803088803089</c:v>
                </c:pt>
                <c:pt idx="31">
                  <c:v>0.0018264840182648401</c:v>
                </c:pt>
                <c:pt idx="32">
                  <c:v>0.0</c:v>
                </c:pt>
                <c:pt idx="33">
                  <c:v>0.0015384615384615385</c:v>
                </c:pt>
                <c:pt idx="34">
                  <c:v>0.0025591810620601407</c:v>
                </c:pt>
                <c:pt idx="35">
                  <c:v>0.002704530087897228</c:v>
                </c:pt>
                <c:pt idx="36">
                  <c:v>0.0033277870216306157</c:v>
                </c:pt>
                <c:pt idx="37">
                  <c:v>0.005972696245733789</c:v>
                </c:pt>
                <c:pt idx="38">
                  <c:v>0.0028011204481792717</c:v>
                </c:pt>
                <c:pt idx="39">
                  <c:v>0.0032626427406199023</c:v>
                </c:pt>
                <c:pt idx="40">
                  <c:v>0.0022896393817973667</c:v>
                </c:pt>
                <c:pt idx="41">
                  <c:v>0.0011926058437686344</c:v>
                </c:pt>
                <c:pt idx="42">
                  <c:v>0.003372681281618887</c:v>
                </c:pt>
                <c:pt idx="43">
                  <c:v>0.003380009657170449</c:v>
                </c:pt>
                <c:pt idx="44">
                  <c:v>0.0062441461130190445</c:v>
                </c:pt>
                <c:pt idx="45">
                  <c:v>0.009633312616532008</c:v>
                </c:pt>
                <c:pt idx="46">
                  <c:v>0.00804289544235925</c:v>
                </c:pt>
                <c:pt idx="47">
                  <c:v>0.005517545795630104</c:v>
                </c:pt>
                <c:pt idx="48">
                  <c:v>0.0026469031233456856</c:v>
                </c:pt>
                <c:pt idx="49">
                  <c:v>0.0036646816307833257</c:v>
                </c:pt>
                <c:pt idx="50">
                  <c:v>0.004084014002333722</c:v>
                </c:pt>
                <c:pt idx="51">
                  <c:v>0.0025131942699170647</c:v>
                </c:pt>
                <c:pt idx="52">
                  <c:v>0.00232138251225174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19255455712451862</c:v>
                </c:pt>
                <c:pt idx="1">
                  <c:v>0.0028452615451958854</c:v>
                </c:pt>
                <c:pt idx="2">
                  <c:v>0.0021696252465483235</c:v>
                </c:pt>
                <c:pt idx="3">
                  <c:v>0.0025334781035106766</c:v>
                </c:pt>
                <c:pt idx="4">
                  <c:v>0.0026331780433461616</c:v>
                </c:pt>
                <c:pt idx="5">
                  <c:v>0.0023305084745762713</c:v>
                </c:pt>
                <c:pt idx="6">
                  <c:v>0.0018777739842949811</c:v>
                </c:pt>
                <c:pt idx="7">
                  <c:v>0.0026431718061674008</c:v>
                </c:pt>
                <c:pt idx="8">
                  <c:v>0.0023778071334214002</c:v>
                </c:pt>
                <c:pt idx="9">
                  <c:v>0.003009027081243731</c:v>
                </c:pt>
                <c:pt idx="10">
                  <c:v>0.002881089575694081</c:v>
                </c:pt>
                <c:pt idx="11">
                  <c:v>0.002453756134390336</c:v>
                </c:pt>
                <c:pt idx="12">
                  <c:v>0.0033183218772220905</c:v>
                </c:pt>
                <c:pt idx="13">
                  <c:v>0.004215456674473068</c:v>
                </c:pt>
                <c:pt idx="14">
                  <c:v>0.005741127348643006</c:v>
                </c:pt>
                <c:pt idx="15">
                  <c:v>0.004561003420752566</c:v>
                </c:pt>
                <c:pt idx="16">
                  <c:v>0.004724940938238272</c:v>
                </c:pt>
                <c:pt idx="17">
                  <c:v>0.0054858934169279</c:v>
                </c:pt>
                <c:pt idx="18">
                  <c:v>0.004540295119182747</c:v>
                </c:pt>
                <c:pt idx="19">
                  <c:v>0.0026001040041601664</c:v>
                </c:pt>
                <c:pt idx="20">
                  <c:v>0.004168837936425221</c:v>
                </c:pt>
                <c:pt idx="21">
                  <c:v>0.0045362903225806455</c:v>
                </c:pt>
                <c:pt idx="22">
                  <c:v>0.0029426189308484553</c:v>
                </c:pt>
                <c:pt idx="23">
                  <c:v>0.0023501762632197414</c:v>
                </c:pt>
                <c:pt idx="24">
                  <c:v>0.00375</c:v>
                </c:pt>
                <c:pt idx="25">
                  <c:v>0.004216444132115249</c:v>
                </c:pt>
                <c:pt idx="26">
                  <c:v>0.0031746031746031746</c:v>
                </c:pt>
                <c:pt idx="27">
                  <c:v>0.0033967391304347825</c:v>
                </c:pt>
                <c:pt idx="28">
                  <c:v>0.003078817733990148</c:v>
                </c:pt>
                <c:pt idx="29">
                  <c:v>0.0029282576866764276</c:v>
                </c:pt>
                <c:pt idx="30">
                  <c:v>0.005235602094240838</c:v>
                </c:pt>
                <c:pt idx="31">
                  <c:v>0.004449388209121246</c:v>
                </c:pt>
                <c:pt idx="32">
                  <c:v>0.003430531732418525</c:v>
                </c:pt>
                <c:pt idx="33">
                  <c:v>0.003799392097264438</c:v>
                </c:pt>
                <c:pt idx="34">
                  <c:v>0.0038535645472061657</c:v>
                </c:pt>
                <c:pt idx="35">
                  <c:v>0.004746835443037975</c:v>
                </c:pt>
                <c:pt idx="36">
                  <c:v>0.006195786864931847</c:v>
                </c:pt>
                <c:pt idx="37">
                  <c:v>0.007502679528403001</c:v>
                </c:pt>
                <c:pt idx="38">
                  <c:v>0.005988023952095809</c:v>
                </c:pt>
                <c:pt idx="39">
                  <c:v>0.004105090311986864</c:v>
                </c:pt>
                <c:pt idx="40">
                  <c:v>0.002871912693854107</c:v>
                </c:pt>
                <c:pt idx="41">
                  <c:v>0.00324254215304799</c:v>
                </c:pt>
                <c:pt idx="42">
                  <c:v>0.0038255547054322878</c:v>
                </c:pt>
                <c:pt idx="43">
                  <c:v>0.002810304449648712</c:v>
                </c:pt>
                <c:pt idx="44">
                  <c:v>0.0031533307055577452</c:v>
                </c:pt>
                <c:pt idx="45">
                  <c:v>0.0028628685943315204</c:v>
                </c:pt>
                <c:pt idx="46">
                  <c:v>0.002875629043853343</c:v>
                </c:pt>
                <c:pt idx="47">
                  <c:v>0.002791563275434243</c:v>
                </c:pt>
                <c:pt idx="48">
                  <c:v>0.002222716159146477</c:v>
                </c:pt>
                <c:pt idx="49">
                  <c:v>0.0025284450063211127</c:v>
                </c:pt>
                <c:pt idx="50">
                  <c:v>0.002390237765756699</c:v>
                </c:pt>
                <c:pt idx="51">
                  <c:v>0.00288392213410237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700.9058103818443</c:v>
                </c:pt>
              </c:numCache>
            </c:numRef>
          </c:xVal>
          <c:yVal>
            <c:numRef>
              <c:f>Sheet1!$B$111:$B$112</c:f>
              <c:numCache>
                <c:formatCode>General</c:formatCode>
                <c:ptCount val="2"/>
                <c:pt idx="0">
                  <c:v>0.0044372296701080775</c:v>
                </c:pt>
                <c:pt idx="1">
                  <c:v>0.0044372296701080775</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700.9058103818443</c:v>
                </c:pt>
                <c:pt idx="1">
                  <c:v>2700.9058103818443</c:v>
                </c:pt>
              </c:numCache>
            </c:numRef>
          </c:xVal>
          <c:yVal>
            <c:numRef>
              <c:f>Sheet1!$B$115:$B$116</c:f>
              <c:numCache>
                <c:formatCode>General</c:formatCode>
                <c:ptCount val="2"/>
                <c:pt idx="0">
                  <c:v>0.00443722967010807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305.7604110645198</c:v>
                </c:pt>
              </c:numCache>
            </c:numRef>
          </c:xVal>
          <c:yVal>
            <c:numRef>
              <c:f>Sheet1!$B$119:$B$120</c:f>
              <c:numCache>
                <c:formatCode>General</c:formatCode>
                <c:ptCount val="2"/>
                <c:pt idx="0">
                  <c:v>0.004074778593970419</c:v>
                </c:pt>
                <c:pt idx="1">
                  <c:v>0.00407477859397041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305.7604110645198</c:v>
                </c:pt>
                <c:pt idx="1">
                  <c:v>3305.7604110645198</c:v>
                </c:pt>
              </c:numCache>
            </c:numRef>
          </c:xVal>
          <c:yVal>
            <c:numRef>
              <c:f>Sheet1!$B$123:$B$124</c:f>
              <c:numCache>
                <c:formatCode>General</c:formatCode>
                <c:ptCount val="2"/>
                <c:pt idx="0">
                  <c:v>0.0040747785939704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155.29341166358</c:v>
                </c:pt>
              </c:numCache>
            </c:numRef>
          </c:xVal>
          <c:yVal>
            <c:numRef>
              <c:f>Sheet1!$B$127:$B$128</c:f>
              <c:numCache>
                <c:formatCode>General</c:formatCode>
                <c:ptCount val="2"/>
                <c:pt idx="0">
                  <c:v>0.0029664705383441133</c:v>
                </c:pt>
                <c:pt idx="1">
                  <c:v>0.002966470538344113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155.29341166358</c:v>
                </c:pt>
                <c:pt idx="1">
                  <c:v>5155.29341166358</c:v>
                </c:pt>
              </c:numCache>
            </c:numRef>
          </c:xVal>
          <c:yVal>
            <c:numRef>
              <c:f>Sheet1!$B$131:$B$132</c:f>
              <c:numCache>
                <c:formatCode>General</c:formatCode>
                <c:ptCount val="2"/>
                <c:pt idx="0">
                  <c:v>0.00296647053834411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305.7604110645198</c:v>
                </c:pt>
                <c:pt idx="53">
                  <c:v>2700.9058103818443</c:v>
                </c:pt>
                <c:pt idx="54">
                  <c:v>5155.29341166358</c:v>
                </c:pt>
              </c:numCache>
            </c:numRef>
          </c:xVal>
          <c:yVal>
            <c:numRef>
              <c:f>Sheet1!$B$135:$B$189</c:f>
              <c:numCache>
                <c:formatCode>General</c:formatCode>
                <c:ptCount val="55"/>
                <c:pt idx="0">
                  <c:v>0.003392104419842879</c:v>
                </c:pt>
                <c:pt idx="1">
                  <c:v>0.004234078067536673</c:v>
                </c:pt>
                <c:pt idx="2">
                  <c:v>0.0030887272367529106</c:v>
                </c:pt>
                <c:pt idx="3">
                  <c:v>0.004107036590898528</c:v>
                </c:pt>
                <c:pt idx="4">
                  <c:v>0.003477242112837495</c:v>
                </c:pt>
                <c:pt idx="5">
                  <c:v>0.003274545085007089</c:v>
                </c:pt>
                <c:pt idx="6">
                  <c:v>0.003238372940495074</c:v>
                </c:pt>
                <c:pt idx="7">
                  <c:v>0.0035551633780002375</c:v>
                </c:pt>
                <c:pt idx="8">
                  <c:v>0.003472535288313841</c:v>
                </c:pt>
                <c:pt idx="9">
                  <c:v>0.0035964441352446365</c:v>
                </c:pt>
                <c:pt idx="10">
                  <c:v>0.003554443095484364</c:v>
                </c:pt>
                <c:pt idx="11">
                  <c:v>0.0035950151954049093</c:v>
                </c:pt>
                <c:pt idx="12">
                  <c:v>0.0038271074800364166</c:v>
                </c:pt>
                <c:pt idx="13">
                  <c:v>0.0038531171693182305</c:v>
                </c:pt>
                <c:pt idx="14">
                  <c:v>0.003944954748107545</c:v>
                </c:pt>
                <c:pt idx="15">
                  <c:v>0.0038236672022062316</c:v>
                </c:pt>
                <c:pt idx="16">
                  <c:v>0.003683718706318791</c:v>
                </c:pt>
                <c:pt idx="17">
                  <c:v>0.003929790943514629</c:v>
                </c:pt>
                <c:pt idx="18">
                  <c:v>0.00382153242145515</c:v>
                </c:pt>
                <c:pt idx="19">
                  <c:v>0.002594280674722939</c:v>
                </c:pt>
                <c:pt idx="20">
                  <c:v>0.0036689517761936473</c:v>
                </c:pt>
                <c:pt idx="21">
                  <c:v>0.003556428426601952</c:v>
                </c:pt>
                <c:pt idx="22">
                  <c:v>0.0035664823001417397</c:v>
                </c:pt>
                <c:pt idx="23">
                  <c:v>0.003071213165890853</c:v>
                </c:pt>
                <c:pt idx="24">
                  <c:v>0.0038181617150060744</c:v>
                </c:pt>
                <c:pt idx="25">
                  <c:v>0.003822755883029742</c:v>
                </c:pt>
                <c:pt idx="26">
                  <c:v>0.003423264728349892</c:v>
                </c:pt>
                <c:pt idx="27">
                  <c:v>0.0032227601278413055</c:v>
                </c:pt>
                <c:pt idx="28">
                  <c:v>0.0036364731469421072</c:v>
                </c:pt>
                <c:pt idx="29">
                  <c:v>0.003149862983035957</c:v>
                </c:pt>
                <c:pt idx="30">
                  <c:v>0.00431672665111828</c:v>
                </c:pt>
                <c:pt idx="31">
                  <c:v>0.0035950958526650063</c:v>
                </c:pt>
                <c:pt idx="32">
                  <c:v>0.00302836774169371</c:v>
                </c:pt>
                <c:pt idx="33">
                  <c:v>0.0031763792071020213</c:v>
                </c:pt>
                <c:pt idx="34">
                  <c:v>0.0029476705125086843</c:v>
                </c:pt>
                <c:pt idx="35">
                  <c:v>0.003266963841871003</c:v>
                </c:pt>
                <c:pt idx="36">
                  <c:v>0.0032062211948645065</c:v>
                </c:pt>
                <c:pt idx="37">
                  <c:v>0.0037187740533891804</c:v>
                </c:pt>
                <c:pt idx="38">
                  <c:v>0.003554138024079346</c:v>
                </c:pt>
                <c:pt idx="39">
                  <c:v>0.0036448624607709184</c:v>
                </c:pt>
                <c:pt idx="40">
                  <c:v>0.002891981468305323</c:v>
                </c:pt>
                <c:pt idx="41">
                  <c:v>0.002891981468305323</c:v>
                </c:pt>
                <c:pt idx="42">
                  <c:v>0.0034581403044096643</c:v>
                </c:pt>
                <c:pt idx="43">
                  <c:v>0.0034123785749546162</c:v>
                </c:pt>
                <c:pt idx="44">
                  <c:v>0.0036214622675555556</c:v>
                </c:pt>
                <c:pt idx="45">
                  <c:v>0.003837217442131517</c:v>
                </c:pt>
                <c:pt idx="46">
                  <c:v>0.003499217980335736</c:v>
                </c:pt>
                <c:pt idx="47">
                  <c:v>0.003529995436513804</c:v>
                </c:pt>
                <c:pt idx="48">
                  <c:v>0.0033850933504288015</c:v>
                </c:pt>
                <c:pt idx="49">
                  <c:v>0.003662460065229243</c:v>
                </c:pt>
                <c:pt idx="50">
                  <c:v>0.003802486941277313</c:v>
                </c:pt>
                <c:pt idx="51">
                  <c:v>0.0037282262932801023</c:v>
                </c:pt>
                <c:pt idx="52">
                  <c:v>0.004074778593970419</c:v>
                </c:pt>
                <c:pt idx="53">
                  <c:v>0.0044372296701080775</c:v>
                </c:pt>
                <c:pt idx="54">
                  <c:v>0.002966470538344113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55997513983840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12705387848681696</c:v>
                </c:pt>
                <c:pt idx="1">
                  <c:v>0.0</c:v>
                </c:pt>
                <c:pt idx="2">
                  <c:v>0.0812168524968931</c:v>
                </c:pt>
                <c:pt idx="3">
                  <c:v>0.06726815117727307</c:v>
                </c:pt>
                <c:pt idx="4">
                  <c:v>0.12155080576361456</c:v>
                </c:pt>
                <c:pt idx="5">
                  <c:v>0.0</c:v>
                </c:pt>
                <c:pt idx="6">
                  <c:v>0.06091827548264479</c:v>
                </c:pt>
                <c:pt idx="7">
                  <c:v>0.03680080266599778</c:v>
                </c:pt>
                <c:pt idx="8">
                  <c:v>0.005647045191193511</c:v>
                </c:pt>
                <c:pt idx="9">
                  <c:v>0.0025474291077294364</c:v>
                </c:pt>
                <c:pt idx="10">
                  <c:v>0.0</c:v>
                </c:pt>
                <c:pt idx="11">
                  <c:v>0.0</c:v>
                </c:pt>
                <c:pt idx="12">
                  <c:v>0.0</c:v>
                </c:pt>
                <c:pt idx="13">
                  <c:v>0.0</c:v>
                </c:pt>
              </c:numCache>
            </c:numRef>
          </c:xVal>
          <c:yVal>
            <c:numRef>
              <c:f>Sheet1!$B$2:$B$15</c:f>
              <c:numCache>
                <c:formatCode>General</c:formatCode>
                <c:ptCount val="14"/>
                <c:pt idx="0">
                  <c:v>0.018518518518518517</c:v>
                </c:pt>
                <c:pt idx="1">
                  <c:v>0.0</c:v>
                </c:pt>
                <c:pt idx="2">
                  <c:v>0.013333333333333334</c:v>
                </c:pt>
                <c:pt idx="3">
                  <c:v>0.015151515151515152</c:v>
                </c:pt>
                <c:pt idx="4">
                  <c:v>0.018867924528301886</c:v>
                </c:pt>
                <c:pt idx="5">
                  <c:v>0.0</c:v>
                </c:pt>
                <c:pt idx="6">
                  <c:v>0.02127659574468085</c:v>
                </c:pt>
                <c:pt idx="7">
                  <c:v>0.020833333333333332</c:v>
                </c:pt>
                <c:pt idx="8">
                  <c:v>0.43820224719101125</c:v>
                </c:pt>
                <c:pt idx="9">
                  <c:v>0.018867924528301886</c:v>
                </c:pt>
                <c:pt idx="10">
                  <c:v>0.0</c:v>
                </c:pt>
                <c:pt idx="11">
                  <c:v>0.0</c:v>
                </c:pt>
                <c:pt idx="12">
                  <c:v>0.0</c:v>
                </c:pt>
                <c:pt idx="13">
                  <c:v>0.0</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4968480671004343</c:v>
                </c:pt>
              </c:numCache>
            </c:numRef>
          </c:xVal>
          <c:yVal>
            <c:numRef>
              <c:f>Sheet1!$B$20:$B$21</c:f>
              <c:numCache>
                <c:formatCode>General</c:formatCode>
                <c:ptCount val="2"/>
                <c:pt idx="0">
                  <c:v>0.04968480671004343</c:v>
                </c:pt>
                <c:pt idx="1">
                  <c:v>0.04968480671004343</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4968480671004343</c:v>
                </c:pt>
                <c:pt idx="1">
                  <c:v>0.04968480671004343</c:v>
                </c:pt>
              </c:numCache>
            </c:numRef>
          </c:xVal>
          <c:yVal>
            <c:numRef>
              <c:f>Sheet1!$B$24:$B$25</c:f>
              <c:numCache>
                <c:formatCode>General</c:formatCode>
                <c:ptCount val="2"/>
                <c:pt idx="0">
                  <c:v>0.049684806710043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4968480671004343</c:v>
                </c:pt>
                <c:pt idx="2">
                  <c:v>0</c:v>
                </c:pt>
              </c:numCache>
            </c:numRef>
          </c:xVal>
          <c:yVal>
            <c:numRef>
              <c:f>Sheet1!$B$28:$B$30</c:f>
              <c:numCache>
                <c:formatCode>General</c:formatCode>
                <c:ptCount val="3"/>
                <c:pt idx="0">
                  <c:v>0</c:v>
                </c:pt>
                <c:pt idx="1">
                  <c:v>0.0496848067100434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5842696629213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33.0</c:v>
                </c:pt>
                <c:pt idx="1">
                  <c:v>0.0</c:v>
                </c:pt>
                <c:pt idx="2">
                  <c:v>696.0</c:v>
                </c:pt>
                <c:pt idx="3">
                  <c:v>690.0</c:v>
                </c:pt>
                <c:pt idx="4">
                  <c:v>951.0</c:v>
                </c:pt>
                <c:pt idx="5">
                  <c:v>0.0</c:v>
                </c:pt>
                <c:pt idx="6">
                  <c:v>609.0</c:v>
                </c:pt>
                <c:pt idx="7">
                  <c:v>1027.0</c:v>
                </c:pt>
                <c:pt idx="8">
                  <c:v>77.9744</c:v>
                </c:pt>
                <c:pt idx="9">
                  <c:v>38.0</c:v>
                </c:pt>
                <c:pt idx="10">
                  <c:v>0.0</c:v>
                </c:pt>
                <c:pt idx="11">
                  <c:v>0.0</c:v>
                </c:pt>
                <c:pt idx="12">
                  <c:v>0.0</c:v>
                </c:pt>
                <c:pt idx="13">
                  <c:v>0.0</c:v>
                </c:pt>
              </c:numCache>
            </c:numRef>
          </c:xVal>
          <c:yVal>
            <c:numRef>
              <c:f>Sheet1!$B$2:$B$15</c:f>
              <c:numCache>
                <c:formatCode>General</c:formatCode>
                <c:ptCount val="14"/>
                <c:pt idx="0">
                  <c:v>0.018518518518518517</c:v>
                </c:pt>
                <c:pt idx="1">
                  <c:v>0.0</c:v>
                </c:pt>
                <c:pt idx="2">
                  <c:v>0.013333333333333334</c:v>
                </c:pt>
                <c:pt idx="3">
                  <c:v>0.015151515151515152</c:v>
                </c:pt>
                <c:pt idx="4">
                  <c:v>0.018867924528301886</c:v>
                </c:pt>
                <c:pt idx="5">
                  <c:v>0.0</c:v>
                </c:pt>
                <c:pt idx="6">
                  <c:v>0.02127659574468085</c:v>
                </c:pt>
                <c:pt idx="7">
                  <c:v>0.020833333333333332</c:v>
                </c:pt>
                <c:pt idx="8">
                  <c:v>0.43820224719101125</c:v>
                </c:pt>
                <c:pt idx="9">
                  <c:v>0.018867924528301886</c:v>
                </c:pt>
                <c:pt idx="10">
                  <c:v>0.0</c:v>
                </c:pt>
                <c:pt idx="11">
                  <c:v>0.0</c:v>
                </c:pt>
                <c:pt idx="12">
                  <c:v>0.0</c:v>
                </c:pt>
                <c:pt idx="13">
                  <c:v>0.0</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4968480671004343</c:v>
                </c:pt>
              </c:numCache>
            </c:numRef>
          </c:xVal>
          <c:yVal>
            <c:numRef>
              <c:f>Sheet1!$B$20:$B$21</c:f>
              <c:numCache>
                <c:formatCode>General</c:formatCode>
                <c:ptCount val="2"/>
                <c:pt idx="0">
                  <c:v>0.04968480671004343</c:v>
                </c:pt>
                <c:pt idx="1">
                  <c:v>0.04968480671004343</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4968480671004343</c:v>
                </c:pt>
                <c:pt idx="1">
                  <c:v>0.04968480671004343</c:v>
                </c:pt>
              </c:numCache>
            </c:numRef>
          </c:xVal>
          <c:yVal>
            <c:numRef>
              <c:f>Sheet1!$B$24:$B$25</c:f>
              <c:numCache>
                <c:formatCode>General</c:formatCode>
                <c:ptCount val="2"/>
                <c:pt idx="0">
                  <c:v>0.049684806710043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4968480671004343</c:v>
                </c:pt>
                <c:pt idx="2">
                  <c:v>0</c:v>
                </c:pt>
              </c:numCache>
            </c:numRef>
          </c:xVal>
          <c:yVal>
            <c:numRef>
              <c:f>Sheet1!$B$28:$B$30</c:f>
              <c:numCache>
                <c:formatCode>General</c:formatCode>
                <c:ptCount val="3"/>
                <c:pt idx="0">
                  <c:v>0</c:v>
                </c:pt>
                <c:pt idx="1">
                  <c:v>0.0496848067100434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3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5842696629213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06346697487299606</c:v>
                </c:pt>
                <c:pt idx="3">
                  <c:v>0.07311129137459368</c:v>
                </c:pt>
                <c:pt idx="4">
                  <c:v>0.045884396410305894</c:v>
                </c:pt>
                <c:pt idx="5">
                  <c:v>0.0</c:v>
                </c:pt>
                <c:pt idx="6">
                  <c:v>0.04774223894637818</c:v>
                </c:pt>
                <c:pt idx="7">
                  <c:v>0.11597967250141163</c:v>
                </c:pt>
                <c:pt idx="8">
                  <c:v>0.004285249505385799</c:v>
                </c:pt>
                <c:pt idx="9">
                  <c:v>0.0</c:v>
                </c:pt>
                <c:pt idx="10">
                  <c:v>0.0</c:v>
                </c:pt>
                <c:pt idx="11">
                  <c:v>0.0</c:v>
                </c:pt>
                <c:pt idx="12">
                  <c:v>0.0</c:v>
                </c:pt>
                <c:pt idx="13">
                  <c:v>0.0</c:v>
                </c:pt>
              </c:numCache>
            </c:numRef>
          </c:xVal>
          <c:yVal>
            <c:numRef>
              <c:f>Sheet1!$B$2:$B$15</c:f>
              <c:numCache>
                <c:formatCode>General</c:formatCode>
                <c:ptCount val="14"/>
                <c:pt idx="0">
                  <c:v>0.018518518518518517</c:v>
                </c:pt>
                <c:pt idx="1">
                  <c:v>0.0</c:v>
                </c:pt>
                <c:pt idx="2">
                  <c:v>0.013333333333333334</c:v>
                </c:pt>
                <c:pt idx="3">
                  <c:v>0.015151515151515152</c:v>
                </c:pt>
                <c:pt idx="4">
                  <c:v>0.018867924528301886</c:v>
                </c:pt>
                <c:pt idx="5">
                  <c:v>0.0</c:v>
                </c:pt>
                <c:pt idx="6">
                  <c:v>0.02127659574468085</c:v>
                </c:pt>
                <c:pt idx="7">
                  <c:v>0.020833333333333332</c:v>
                </c:pt>
                <c:pt idx="8">
                  <c:v>0.43820224719101125</c:v>
                </c:pt>
                <c:pt idx="9">
                  <c:v>0.018867924528301886</c:v>
                </c:pt>
                <c:pt idx="10">
                  <c:v>0.0</c:v>
                </c:pt>
                <c:pt idx="11">
                  <c:v>0.0</c:v>
                </c:pt>
                <c:pt idx="12">
                  <c:v>0.0</c:v>
                </c:pt>
                <c:pt idx="13">
                  <c:v>0.0</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4968480671004343</c:v>
                </c:pt>
              </c:numCache>
            </c:numRef>
          </c:xVal>
          <c:yVal>
            <c:numRef>
              <c:f>Sheet1!$B$20:$B$21</c:f>
              <c:numCache>
                <c:formatCode>General</c:formatCode>
                <c:ptCount val="2"/>
                <c:pt idx="0">
                  <c:v>0.04968480671004343</c:v>
                </c:pt>
                <c:pt idx="1">
                  <c:v>0.04968480671004343</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4968480671004343</c:v>
                </c:pt>
                <c:pt idx="1">
                  <c:v>0.04968480671004343</c:v>
                </c:pt>
              </c:numCache>
            </c:numRef>
          </c:xVal>
          <c:yVal>
            <c:numRef>
              <c:f>Sheet1!$B$24:$B$25</c:f>
              <c:numCache>
                <c:formatCode>General</c:formatCode>
                <c:ptCount val="2"/>
                <c:pt idx="0">
                  <c:v>0.049684806710043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4968480671004343</c:v>
                </c:pt>
                <c:pt idx="2">
                  <c:v>0</c:v>
                </c:pt>
              </c:numCache>
            </c:numRef>
          </c:xVal>
          <c:yVal>
            <c:numRef>
              <c:f>Sheet1!$B$28:$B$30</c:f>
              <c:numCache>
                <c:formatCode>General</c:formatCode>
                <c:ptCount val="3"/>
                <c:pt idx="0">
                  <c:v>0</c:v>
                </c:pt>
                <c:pt idx="1">
                  <c:v>0.0496848067100434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Vich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5842696629213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33.0</c:v>
                </c:pt>
                <c:pt idx="1">
                  <c:v>0.0</c:v>
                </c:pt>
                <c:pt idx="2">
                  <c:v>696.0</c:v>
                </c:pt>
                <c:pt idx="3">
                  <c:v>690.0</c:v>
                </c:pt>
                <c:pt idx="4">
                  <c:v>951.0</c:v>
                </c:pt>
                <c:pt idx="5">
                  <c:v>0.0</c:v>
                </c:pt>
                <c:pt idx="6">
                  <c:v>609.0</c:v>
                </c:pt>
                <c:pt idx="7">
                  <c:v>1027.0</c:v>
                </c:pt>
                <c:pt idx="8">
                  <c:v>77.9744</c:v>
                </c:pt>
                <c:pt idx="9">
                  <c:v>38.0</c:v>
                </c:pt>
                <c:pt idx="10">
                  <c:v>0.0</c:v>
                </c:pt>
                <c:pt idx="11">
                  <c:v>0.0</c:v>
                </c:pt>
                <c:pt idx="12">
                  <c:v>0.0</c:v>
                </c:pt>
                <c:pt idx="13">
                  <c:v>0.0</c:v>
                </c:pt>
              </c:numCache>
            </c:numRef>
          </c:xVal>
          <c:yVal>
            <c:numRef>
              <c:f>Sheet1!$B$2:$B$15</c:f>
              <c:numCache>
                <c:formatCode>General</c:formatCode>
                <c:ptCount val="14"/>
                <c:pt idx="0">
                  <c:v>0.018518518518518517</c:v>
                </c:pt>
                <c:pt idx="1">
                  <c:v>0.0</c:v>
                </c:pt>
                <c:pt idx="2">
                  <c:v>0.013333333333333334</c:v>
                </c:pt>
                <c:pt idx="3">
                  <c:v>0.015151515151515152</c:v>
                </c:pt>
                <c:pt idx="4">
                  <c:v>0.018867924528301886</c:v>
                </c:pt>
                <c:pt idx="5">
                  <c:v>0.0</c:v>
                </c:pt>
                <c:pt idx="6">
                  <c:v>0.02127659574468085</c:v>
                </c:pt>
                <c:pt idx="7">
                  <c:v>0.020833333333333332</c:v>
                </c:pt>
                <c:pt idx="8">
                  <c:v>0.43820224719101125</c:v>
                </c:pt>
                <c:pt idx="9">
                  <c:v>0.018867924528301886</c:v>
                </c:pt>
                <c:pt idx="10">
                  <c:v>0.0</c:v>
                </c:pt>
                <c:pt idx="11">
                  <c:v>0.0</c:v>
                </c:pt>
                <c:pt idx="12">
                  <c:v>0.0</c:v>
                </c:pt>
                <c:pt idx="13">
                  <c:v>0.0</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4968480671004343</c:v>
                </c:pt>
              </c:numCache>
            </c:numRef>
          </c:xVal>
          <c:yVal>
            <c:numRef>
              <c:f>Sheet1!$B$20:$B$21</c:f>
              <c:numCache>
                <c:formatCode>General</c:formatCode>
                <c:ptCount val="2"/>
                <c:pt idx="0">
                  <c:v>0.04968480671004343</c:v>
                </c:pt>
                <c:pt idx="1">
                  <c:v>0.04968480671004343</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4968480671004343</c:v>
                </c:pt>
                <c:pt idx="1">
                  <c:v>0.04968480671004343</c:v>
                </c:pt>
              </c:numCache>
            </c:numRef>
          </c:xVal>
          <c:yVal>
            <c:numRef>
              <c:f>Sheet1!$B$24:$B$25</c:f>
              <c:numCache>
                <c:formatCode>General</c:formatCode>
                <c:ptCount val="2"/>
                <c:pt idx="0">
                  <c:v>0.049684806710043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4968480671004343</c:v>
                </c:pt>
                <c:pt idx="2">
                  <c:v>0</c:v>
                </c:pt>
              </c:numCache>
            </c:numRef>
          </c:xVal>
          <c:yVal>
            <c:numRef>
              <c:f>Sheet1!$B$28:$B$30</c:f>
              <c:numCache>
                <c:formatCode>General</c:formatCode>
                <c:ptCount val="3"/>
                <c:pt idx="0">
                  <c:v>0</c:v>
                </c:pt>
                <c:pt idx="1">
                  <c:v>0.0496848067100434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3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5842696629213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06762107806524495</c:v>
                </c:pt>
                <c:pt idx="1">
                  <c:v>0.08112341485368485</c:v>
                </c:pt>
                <c:pt idx="2">
                  <c:v>0.0803747412081781</c:v>
                </c:pt>
                <c:pt idx="3">
                  <c:v>0.08489347127485332</c:v>
                </c:pt>
                <c:pt idx="4">
                  <c:v>0.07688160323105848</c:v>
                </c:pt>
                <c:pt idx="5">
                  <c:v>0.08311145380267199</c:v>
                </c:pt>
                <c:pt idx="6">
                  <c:v>0.08200138715396327</c:v>
                </c:pt>
                <c:pt idx="7">
                  <c:v>0.07537503009587423</c:v>
                </c:pt>
                <c:pt idx="8">
                  <c:v>0.09204632535732117</c:v>
                </c:pt>
                <c:pt idx="9">
                  <c:v>0.11263212940847257</c:v>
                </c:pt>
                <c:pt idx="10">
                  <c:v>0.10868016820043373</c:v>
                </c:pt>
                <c:pt idx="11">
                  <c:v>0.07724233341019138</c:v>
                </c:pt>
                <c:pt idx="12">
                  <c:v>0.06990477348499706</c:v>
                </c:pt>
                <c:pt idx="13">
                  <c:v>0.05545650397444469</c:v>
                </c:pt>
                <c:pt idx="14">
                  <c:v>0.0716472929395791</c:v>
                </c:pt>
                <c:pt idx="15">
                  <c:v>0.06674437172169333</c:v>
                </c:pt>
                <c:pt idx="16">
                  <c:v>0.055867832007343944</c:v>
                </c:pt>
                <c:pt idx="17">
                  <c:v>0.06795434687350477</c:v>
                </c:pt>
                <c:pt idx="18">
                  <c:v>0.0887090494435322</c:v>
                </c:pt>
                <c:pt idx="19">
                  <c:v>0.08913369484025842</c:v>
                </c:pt>
                <c:pt idx="20">
                  <c:v>0.08219005530657737</c:v>
                </c:pt>
                <c:pt idx="21">
                  <c:v>0.062249688327455165</c:v>
                </c:pt>
                <c:pt idx="22">
                  <c:v>0.08707800202516194</c:v>
                </c:pt>
                <c:pt idx="23">
                  <c:v>0.09745281983271399</c:v>
                </c:pt>
                <c:pt idx="24">
                  <c:v>0.07671429711822463</c:v>
                </c:pt>
                <c:pt idx="25">
                  <c:v>0.0944582123721053</c:v>
                </c:pt>
                <c:pt idx="26">
                  <c:v>0.027923976608187132</c:v>
                </c:pt>
                <c:pt idx="27">
                  <c:v>0.0</c:v>
                </c:pt>
                <c:pt idx="28">
                  <c:v>0.0</c:v>
                </c:pt>
                <c:pt idx="29">
                  <c:v>0.033733653589538296</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7332693725207974</c:v>
                </c:pt>
                <c:pt idx="45">
                  <c:v>0.05764184978681535</c:v>
                </c:pt>
                <c:pt idx="46">
                  <c:v>0.08951681789689997</c:v>
                </c:pt>
                <c:pt idx="47">
                  <c:v>0.07673942187335592</c:v>
                </c:pt>
                <c:pt idx="48">
                  <c:v>0.08990644833428864</c:v>
                </c:pt>
                <c:pt idx="49">
                  <c:v>0.08230219162659565</c:v>
                </c:pt>
                <c:pt idx="50">
                  <c:v>0.0797464965812504</c:v>
                </c:pt>
                <c:pt idx="51">
                  <c:v>0.08498041500813283</c:v>
                </c:pt>
                <c:pt idx="52">
                  <c:v>0.11480904309658072</c:v>
                </c:pt>
                <c:pt idx="53">
                  <c:v>0.16222623126392313</c:v>
                </c:pt>
                <c:pt idx="54">
                  <c:v>0.08506040057758625</c:v>
                </c:pt>
                <c:pt idx="55">
                  <c:v>0.0</c:v>
                </c:pt>
                <c:pt idx="56">
                  <c:v>0.0</c:v>
                </c:pt>
                <c:pt idx="57">
                  <c:v>0.0</c:v>
                </c:pt>
              </c:numCache>
            </c:numRef>
          </c:xVal>
          <c:yVal>
            <c:numRef>
              <c:f>Sheet1!$B$2:$B$59</c:f>
              <c:numCache>
                <c:formatCode>General</c:formatCode>
                <c:ptCount val="58"/>
                <c:pt idx="0">
                  <c:v>0.0072992700729927005</c:v>
                </c:pt>
                <c:pt idx="1">
                  <c:v>0.0763888888888889</c:v>
                </c:pt>
                <c:pt idx="2">
                  <c:v>0.15079365079365079</c:v>
                </c:pt>
                <c:pt idx="3">
                  <c:v>0.07964601769911504</c:v>
                </c:pt>
                <c:pt idx="4">
                  <c:v>0.1782178217821782</c:v>
                </c:pt>
                <c:pt idx="5">
                  <c:v>0.2175925925925926</c:v>
                </c:pt>
                <c:pt idx="6">
                  <c:v>0.11650485436893204</c:v>
                </c:pt>
                <c:pt idx="7">
                  <c:v>0.10526315789473684</c:v>
                </c:pt>
                <c:pt idx="8">
                  <c:v>0.09333333333333334</c:v>
                </c:pt>
                <c:pt idx="9">
                  <c:v>0.10638297872340426</c:v>
                </c:pt>
                <c:pt idx="10">
                  <c:v>0.07407407407407407</c:v>
                </c:pt>
                <c:pt idx="11">
                  <c:v>0.12244897959183673</c:v>
                </c:pt>
                <c:pt idx="12">
                  <c:v>0.13846153846153847</c:v>
                </c:pt>
                <c:pt idx="13">
                  <c:v>0.21176470588235294</c:v>
                </c:pt>
                <c:pt idx="14">
                  <c:v>0.22018348623853212</c:v>
                </c:pt>
                <c:pt idx="15">
                  <c:v>0.19117647058823528</c:v>
                </c:pt>
                <c:pt idx="16">
                  <c:v>0.25555555555555554</c:v>
                </c:pt>
                <c:pt idx="17">
                  <c:v>0.24113475177304963</c:v>
                </c:pt>
                <c:pt idx="18">
                  <c:v>0.1111111111111111</c:v>
                </c:pt>
                <c:pt idx="19">
                  <c:v>0.08737864077669903</c:v>
                </c:pt>
                <c:pt idx="20">
                  <c:v>0.16494845360824742</c:v>
                </c:pt>
                <c:pt idx="21">
                  <c:v>0.20430107526881722</c:v>
                </c:pt>
                <c:pt idx="22">
                  <c:v>0.1728395061728395</c:v>
                </c:pt>
                <c:pt idx="23">
                  <c:v>0.1</c:v>
                </c:pt>
                <c:pt idx="24">
                  <c:v>0.07352941176470588</c:v>
                </c:pt>
                <c:pt idx="25">
                  <c:v>0.044444444444444446</c:v>
                </c:pt>
                <c:pt idx="26">
                  <c:v>0.11627906976744186</c:v>
                </c:pt>
                <c:pt idx="27">
                  <c:v>0.075</c:v>
                </c:pt>
                <c:pt idx="28">
                  <c:v>0.06451612903225806</c:v>
                </c:pt>
                <c:pt idx="29">
                  <c:v>0.030303030303030304</c:v>
                </c:pt>
                <c:pt idx="30">
                  <c:v>0.0975609756097561</c:v>
                </c:pt>
                <c:pt idx="31">
                  <c:v>0.07407407407407407</c:v>
                </c:pt>
                <c:pt idx="32">
                  <c:v>0.2692307692307692</c:v>
                </c:pt>
                <c:pt idx="33">
                  <c:v>0.04</c:v>
                </c:pt>
                <c:pt idx="34">
                  <c:v>0.25</c:v>
                </c:pt>
                <c:pt idx="35">
                  <c:v>0.2</c:v>
                </c:pt>
                <c:pt idx="36">
                  <c:v>0.10526315789473684</c:v>
                </c:pt>
                <c:pt idx="37">
                  <c:v>0.16666666666666666</c:v>
                </c:pt>
                <c:pt idx="38">
                  <c:v>0.08333333333333333</c:v>
                </c:pt>
                <c:pt idx="39">
                  <c:v>0.14285714285714285</c:v>
                </c:pt>
                <c:pt idx="40">
                  <c:v>0.125</c:v>
                </c:pt>
                <c:pt idx="41">
                  <c:v>0.09090909090909091</c:v>
                </c:pt>
                <c:pt idx="42">
                  <c:v>0.16666666666666666</c:v>
                </c:pt>
                <c:pt idx="43">
                  <c:v>0.09090909090909091</c:v>
                </c:pt>
                <c:pt idx="44">
                  <c:v>0.037037037037037035</c:v>
                </c:pt>
                <c:pt idx="45">
                  <c:v>0.05263157894736842</c:v>
                </c:pt>
                <c:pt idx="46">
                  <c:v>0.03488372093023256</c:v>
                </c:pt>
                <c:pt idx="47">
                  <c:v>0.061855670103092786</c:v>
                </c:pt>
                <c:pt idx="48">
                  <c:v>0.021739130434782608</c:v>
                </c:pt>
                <c:pt idx="49">
                  <c:v>0.0449438202247191</c:v>
                </c:pt>
                <c:pt idx="50">
                  <c:v>0.06716417910447761</c:v>
                </c:pt>
                <c:pt idx="51">
                  <c:v>0.05952380952380952</c:v>
                </c:pt>
                <c:pt idx="52">
                  <c:v>0.022222222222222223</c:v>
                </c:pt>
                <c:pt idx="53">
                  <c:v>0.027777777777777776</c:v>
                </c:pt>
                <c:pt idx="54">
                  <c:v>0.06666666666666667</c:v>
                </c:pt>
                <c:pt idx="55">
                  <c:v>0.02702702702702703</c:v>
                </c:pt>
                <c:pt idx="56">
                  <c:v>0.027777777777777776</c:v>
                </c:pt>
                <c:pt idx="57">
                  <c:v>0.047619047619047616</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98</c:f>
              <c:numCache>
                <c:formatCode>General</c:formatCode>
                <c:ptCount val="37"/>
                <c:pt idx="0">
                  <c:v>0.0</c:v>
                </c:pt>
                <c:pt idx="1">
                  <c:v>0.0</c:v>
                </c:pt>
                <c:pt idx="2">
                  <c:v>0.0</c:v>
                </c:pt>
                <c:pt idx="3">
                  <c:v>0.0</c:v>
                </c:pt>
                <c:pt idx="4">
                  <c:v>0.0</c:v>
                </c:pt>
                <c:pt idx="5">
                  <c:v>0.05847021328757048</c:v>
                </c:pt>
                <c:pt idx="6">
                  <c:v>0.10326969389069718</c:v>
                </c:pt>
                <c:pt idx="7">
                  <c:v>0.06497275689291679</c:v>
                </c:pt>
                <c:pt idx="8">
                  <c:v>0.0808171084609547</c:v>
                </c:pt>
                <c:pt idx="9">
                  <c:v>0.05939117466444425</c:v>
                </c:pt>
                <c:pt idx="10">
                  <c:v>0.09650539555492031</c:v>
                </c:pt>
                <c:pt idx="11">
                  <c:v>0.1001056273487904</c:v>
                </c:pt>
                <c:pt idx="12">
                  <c:v>0.07495847914759741</c:v>
                </c:pt>
                <c:pt idx="13">
                  <c:v>0.09037431459554972</c:v>
                </c:pt>
                <c:pt idx="14">
                  <c:v>0.08483773076375656</c:v>
                </c:pt>
                <c:pt idx="15">
                  <c:v>0.12294603857540441</c:v>
                </c:pt>
                <c:pt idx="16">
                  <c:v>0.06948139814209478</c:v>
                </c:pt>
                <c:pt idx="17">
                  <c:v>0.06377121064904781</c:v>
                </c:pt>
                <c:pt idx="18">
                  <c:v>0.04301526517337251</c:v>
                </c:pt>
                <c:pt idx="19">
                  <c:v>0.0</c:v>
                </c:pt>
                <c:pt idx="20">
                  <c:v>0.09900373964552622</c:v>
                </c:pt>
                <c:pt idx="21">
                  <c:v>0.13830538775917245</c:v>
                </c:pt>
                <c:pt idx="22">
                  <c:v>0.05574203764836253</c:v>
                </c:pt>
                <c:pt idx="23">
                  <c:v>0.0</c:v>
                </c:pt>
                <c:pt idx="24">
                  <c:v>0.0</c:v>
                </c:pt>
                <c:pt idx="25">
                  <c:v>0.0</c:v>
                </c:pt>
                <c:pt idx="26">
                  <c:v>0.03367048176736758</c:v>
                </c:pt>
                <c:pt idx="27">
                  <c:v>0.0</c:v>
                </c:pt>
                <c:pt idx="28">
                  <c:v>0.0</c:v>
                </c:pt>
                <c:pt idx="29">
                  <c:v>0.0</c:v>
                </c:pt>
                <c:pt idx="30">
                  <c:v>0.0</c:v>
                </c:pt>
                <c:pt idx="31">
                  <c:v>0.025420103880232203</c:v>
                </c:pt>
                <c:pt idx="32">
                  <c:v>0.0</c:v>
                </c:pt>
                <c:pt idx="33">
                  <c:v>0.0</c:v>
                </c:pt>
                <c:pt idx="34">
                  <c:v>0.0</c:v>
                </c:pt>
                <c:pt idx="35">
                  <c:v>0.0</c:v>
                </c:pt>
                <c:pt idx="36">
                  <c:v>0.09655907989873307</c:v>
                </c:pt>
              </c:numCache>
            </c:numRef>
          </c:xVal>
          <c:yVal>
            <c:numRef>
              <c:f>Sheet1!$B$62:$B$98</c:f>
              <c:numCache>
                <c:formatCode>General</c:formatCode>
                <c:ptCount val="37"/>
                <c:pt idx="0">
                  <c:v>0.0</c:v>
                </c:pt>
                <c:pt idx="1">
                  <c:v>0.0</c:v>
                </c:pt>
                <c:pt idx="2">
                  <c:v>0.0</c:v>
                </c:pt>
                <c:pt idx="3">
                  <c:v>0.0</c:v>
                </c:pt>
                <c:pt idx="4">
                  <c:v>0.0</c:v>
                </c:pt>
                <c:pt idx="5">
                  <c:v>0.0425531914893617</c:v>
                </c:pt>
                <c:pt idx="6">
                  <c:v>0.02040816326530612</c:v>
                </c:pt>
                <c:pt idx="7">
                  <c:v>0.12121212121212122</c:v>
                </c:pt>
                <c:pt idx="8">
                  <c:v>0.07317073170731707</c:v>
                </c:pt>
                <c:pt idx="9">
                  <c:v>0.05194805194805195</c:v>
                </c:pt>
                <c:pt idx="10">
                  <c:v>0.03260869565217391</c:v>
                </c:pt>
                <c:pt idx="11">
                  <c:v>0.014285714285714285</c:v>
                </c:pt>
                <c:pt idx="12">
                  <c:v>0.04878048780487805</c:v>
                </c:pt>
                <c:pt idx="13">
                  <c:v>0.008695652173913044</c:v>
                </c:pt>
                <c:pt idx="14">
                  <c:v>0.01098901098901099</c:v>
                </c:pt>
                <c:pt idx="15">
                  <c:v>0.014084507042253521</c:v>
                </c:pt>
                <c:pt idx="16">
                  <c:v>0.03389830508474576</c:v>
                </c:pt>
                <c:pt idx="17">
                  <c:v>0.06521739130434782</c:v>
                </c:pt>
                <c:pt idx="18">
                  <c:v>0.02127659574468085</c:v>
                </c:pt>
                <c:pt idx="19">
                  <c:v>0.0</c:v>
                </c:pt>
                <c:pt idx="20">
                  <c:v>0.025</c:v>
                </c:pt>
                <c:pt idx="21">
                  <c:v>0.03225806451612903</c:v>
                </c:pt>
                <c:pt idx="22">
                  <c:v>0.034482758620689655</c:v>
                </c:pt>
                <c:pt idx="23">
                  <c:v>0.0</c:v>
                </c:pt>
                <c:pt idx="24">
                  <c:v>0.0</c:v>
                </c:pt>
                <c:pt idx="25">
                  <c:v>0.0</c:v>
                </c:pt>
                <c:pt idx="26">
                  <c:v>0.06666666666666667</c:v>
                </c:pt>
                <c:pt idx="27">
                  <c:v>0.0</c:v>
                </c:pt>
                <c:pt idx="28">
                  <c:v>0.0</c:v>
                </c:pt>
                <c:pt idx="29">
                  <c:v>0.0</c:v>
                </c:pt>
                <c:pt idx="30">
                  <c:v>0.0</c:v>
                </c:pt>
                <c:pt idx="31">
                  <c:v>0.025</c:v>
                </c:pt>
                <c:pt idx="32">
                  <c:v>0.0</c:v>
                </c:pt>
                <c:pt idx="33">
                  <c:v>0.0</c:v>
                </c:pt>
                <c:pt idx="34">
                  <c:v>0.0</c:v>
                </c:pt>
                <c:pt idx="35">
                  <c:v>0.0</c:v>
                </c:pt>
                <c:pt idx="36">
                  <c:v>0.008</c:v>
                </c:pt>
              </c:numCache>
            </c:numRef>
          </c:yVal>
          <c:smooth val="0"/>
          <c:extLst>
            <c:ext xmlns:c16="http://schemas.microsoft.com/office/drawing/2014/chart" uri="{C3380CC4-5D6E-409C-BE32-E72D297353CC}">
              <c16:uniqueId val="{00000002-096C-4121-9522-6AB7243CCAAE}"/>
            </c:ext>
          </c:extLst>
        </c:ser>
        <c:ser>
          <c:idx val="2"/>
          <c:order val="2"/>
          <c:tx>
            <c:strRef>
              <c:f>Sheet1!$B$10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1:$A$102</c:f>
              <c:numCache>
                <c:formatCode>General</c:formatCode>
                <c:ptCount val="2"/>
                <c:pt idx="0">
                  <c:v>0</c:v>
                </c:pt>
                <c:pt idx="1">
                  <c:v>0.4977845743779646</c:v>
                </c:pt>
              </c:numCache>
            </c:numRef>
          </c:xVal>
          <c:yVal>
            <c:numRef>
              <c:f>Sheet1!$B$101:$B$102</c:f>
              <c:numCache>
                <c:formatCode>General</c:formatCode>
                <c:ptCount val="2"/>
                <c:pt idx="0">
                  <c:v>0.1562276576221002</c:v>
                </c:pt>
                <c:pt idx="1">
                  <c:v>0.1562276576221002</c:v>
                </c:pt>
              </c:numCache>
            </c:numRef>
          </c:yVal>
          <c:smooth val="0"/>
          <c:extLst>
            <c:ext xmlns:c16="http://schemas.microsoft.com/office/drawing/2014/chart" uri="{C3380CC4-5D6E-409C-BE32-E72D297353CC}">
              <c16:uniqueId val="{00000005-096C-4121-9522-6AB7243CCAAE}"/>
            </c:ext>
          </c:extLst>
        </c:ser>
        <c:ser>
          <c:idx val="3"/>
          <c:order val="3"/>
          <c:tx>
            <c:strRef>
              <c:f>Sheet1!$B$10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5:$A$106</c:f>
              <c:numCache>
                <c:formatCode>General</c:formatCode>
                <c:ptCount val="2"/>
                <c:pt idx="0">
                  <c:v>0.4977845743779646</c:v>
                </c:pt>
                <c:pt idx="1">
                  <c:v>0.4977845743779646</c:v>
                </c:pt>
              </c:numCache>
            </c:numRef>
          </c:xVal>
          <c:yVal>
            <c:numRef>
              <c:f>Sheet1!$B$105:$B$106</c:f>
              <c:numCache>
                <c:formatCode>General</c:formatCode>
                <c:ptCount val="2"/>
                <c:pt idx="0">
                  <c:v>0.15622765762210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9:$A$110</c:f>
              <c:numCache>
                <c:formatCode>General</c:formatCode>
                <c:ptCount val="2"/>
                <c:pt idx="0">
                  <c:v>0</c:v>
                </c:pt>
                <c:pt idx="1">
                  <c:v>0.12825852623341424</c:v>
                </c:pt>
              </c:numCache>
            </c:numRef>
          </c:xVal>
          <c:yVal>
            <c:numRef>
              <c:f>Sheet1!$B$109:$B$110</c:f>
              <c:numCache>
                <c:formatCode>General</c:formatCode>
                <c:ptCount val="2"/>
                <c:pt idx="0">
                  <c:v>0.04596253439320415</c:v>
                </c:pt>
                <c:pt idx="1">
                  <c:v>0.04596253439320415</c:v>
                </c:pt>
              </c:numCache>
            </c:numRef>
          </c:yVal>
          <c:smooth val="0"/>
          <c:extLst>
            <c:ext xmlns:c16="http://schemas.microsoft.com/office/drawing/2014/chart" uri="{C3380CC4-5D6E-409C-BE32-E72D297353CC}">
              <c16:uniqueId val="{0000000D-096C-4121-9522-6AB7243CCAAE}"/>
            </c:ext>
          </c:extLst>
        </c:ser>
        <c:ser>
          <c:idx val="5"/>
          <c:order val="5"/>
          <c:tx>
            <c:strRef>
              <c:f>Sheet1!$B$11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0.12825852623341424</c:v>
                </c:pt>
                <c:pt idx="1">
                  <c:v>0.12825852623341424</c:v>
                </c:pt>
              </c:numCache>
            </c:numRef>
          </c:xVal>
          <c:yVal>
            <c:numRef>
              <c:f>Sheet1!$B$113:$B$114</c:f>
              <c:numCache>
                <c:formatCode>General</c:formatCode>
                <c:ptCount val="2"/>
                <c:pt idx="0">
                  <c:v>0.045962534393204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7:$A$118</c:f>
              <c:numCache>
                <c:formatCode>General</c:formatCode>
                <c:ptCount val="2"/>
                <c:pt idx="0">
                  <c:v>0</c:v>
                </c:pt>
                <c:pt idx="1">
                  <c:v>-0.009974687323726231</c:v>
                </c:pt>
              </c:numCache>
            </c:numRef>
          </c:xVal>
          <c:yVal>
            <c:numRef>
              <c:f>Sheet1!$B$117:$B$118</c:f>
              <c:numCache>
                <c:formatCode>General</c:formatCode>
                <c:ptCount val="2"/>
                <c:pt idx="0">
                  <c:v>0.004714285714285714</c:v>
                </c:pt>
                <c:pt idx="1">
                  <c:v>0.004714285714285714</c:v>
                </c:pt>
              </c:numCache>
            </c:numRef>
          </c:yVal>
          <c:smooth val="0"/>
          <c:extLst>
            <c:ext xmlns:c16="http://schemas.microsoft.com/office/drawing/2014/chart" uri="{C3380CC4-5D6E-409C-BE32-E72D297353CC}">
              <c16:uniqueId val="{00000015-096C-4121-9522-6AB7243CCAAE}"/>
            </c:ext>
          </c:extLst>
        </c:ser>
        <c:ser>
          <c:idx val="7"/>
          <c:order val="7"/>
          <c:tx>
            <c:strRef>
              <c:f>Sheet1!$B$12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0.009974687323726231</c:v>
                </c:pt>
                <c:pt idx="1">
                  <c:v>-0.009974687323726231</c:v>
                </c:pt>
              </c:numCache>
            </c:numRef>
          </c:xVal>
          <c:yVal>
            <c:numRef>
              <c:f>Sheet1!$B$121:$B$122</c:f>
              <c:numCache>
                <c:formatCode>General</c:formatCode>
                <c:ptCount val="2"/>
                <c:pt idx="0">
                  <c:v>0.004714285714285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5:$A$164</c:f>
              <c:numCache>
                <c:formatCode>General</c:formatCode>
                <c:ptCount val="40"/>
                <c:pt idx="0">
                  <c:v>0.0</c:v>
                </c:pt>
                <c:pt idx="1">
                  <c:v>0.0</c:v>
                </c:pt>
                <c:pt idx="2">
                  <c:v>0.0</c:v>
                </c:pt>
                <c:pt idx="3">
                  <c:v>0.0</c:v>
                </c:pt>
                <c:pt idx="4">
                  <c:v>0.0</c:v>
                </c:pt>
                <c:pt idx="5">
                  <c:v>0.05847021328757048</c:v>
                </c:pt>
                <c:pt idx="6">
                  <c:v>0.10326969389069718</c:v>
                </c:pt>
                <c:pt idx="7">
                  <c:v>0.06497275689291679</c:v>
                </c:pt>
                <c:pt idx="8">
                  <c:v>0.0808171084609547</c:v>
                </c:pt>
                <c:pt idx="9">
                  <c:v>0.05939117466444425</c:v>
                </c:pt>
                <c:pt idx="10">
                  <c:v>0.09650539555492031</c:v>
                </c:pt>
                <c:pt idx="11">
                  <c:v>0.1001056273487904</c:v>
                </c:pt>
                <c:pt idx="12">
                  <c:v>0.07495847914759741</c:v>
                </c:pt>
                <c:pt idx="13">
                  <c:v>0.09037431459554972</c:v>
                </c:pt>
                <c:pt idx="14">
                  <c:v>0.08483773076375656</c:v>
                </c:pt>
                <c:pt idx="15">
                  <c:v>0.12294603857540441</c:v>
                </c:pt>
                <c:pt idx="16">
                  <c:v>0.06948139814209478</c:v>
                </c:pt>
                <c:pt idx="17">
                  <c:v>0.06377121064904781</c:v>
                </c:pt>
                <c:pt idx="18">
                  <c:v>0.04301526517337251</c:v>
                </c:pt>
                <c:pt idx="19">
                  <c:v>0.0</c:v>
                </c:pt>
                <c:pt idx="20">
                  <c:v>0.09900373964552622</c:v>
                </c:pt>
                <c:pt idx="21">
                  <c:v>0.13830538775917245</c:v>
                </c:pt>
                <c:pt idx="22">
                  <c:v>0.05574203764836253</c:v>
                </c:pt>
                <c:pt idx="23">
                  <c:v>0.0</c:v>
                </c:pt>
                <c:pt idx="24">
                  <c:v>0.0</c:v>
                </c:pt>
                <c:pt idx="25">
                  <c:v>0.0</c:v>
                </c:pt>
                <c:pt idx="26">
                  <c:v>0.03367048176736758</c:v>
                </c:pt>
                <c:pt idx="27">
                  <c:v>0.0</c:v>
                </c:pt>
                <c:pt idx="28">
                  <c:v>0.0</c:v>
                </c:pt>
                <c:pt idx="29">
                  <c:v>0.0</c:v>
                </c:pt>
                <c:pt idx="30">
                  <c:v>0.0</c:v>
                </c:pt>
                <c:pt idx="31">
                  <c:v>0.025420103880232203</c:v>
                </c:pt>
                <c:pt idx="32">
                  <c:v>0.0</c:v>
                </c:pt>
                <c:pt idx="33">
                  <c:v>0.0</c:v>
                </c:pt>
                <c:pt idx="34">
                  <c:v>0.0</c:v>
                </c:pt>
                <c:pt idx="35">
                  <c:v>0.0</c:v>
                </c:pt>
                <c:pt idx="36">
                  <c:v>0.09655907989873307</c:v>
                </c:pt>
                <c:pt idx="37">
                  <c:v>0.12825852623341424</c:v>
                </c:pt>
                <c:pt idx="38">
                  <c:v>0.4977845743779646</c:v>
                </c:pt>
                <c:pt idx="39">
                  <c:v>-0.009974687323726231</c:v>
                </c:pt>
              </c:numCache>
            </c:numRef>
          </c:xVal>
          <c:yVal>
            <c:numRef>
              <c:f>Sheet1!$B$125:$B$164</c:f>
              <c:numCache>
                <c:formatCode>General</c:formatCode>
                <c:ptCount val="40"/>
                <c:pt idx="0">
                  <c:v>0.007690693284044205</c:v>
                </c:pt>
                <c:pt idx="1">
                  <c:v>0.007690693284044205</c:v>
                </c:pt>
                <c:pt idx="2">
                  <c:v>0.007690693284044205</c:v>
                </c:pt>
                <c:pt idx="3">
                  <c:v>0.007690693284044205</c:v>
                </c:pt>
                <c:pt idx="4">
                  <c:v>0.007690693284044205</c:v>
                </c:pt>
                <c:pt idx="5">
                  <c:v>0.025137975568327947</c:v>
                </c:pt>
                <c:pt idx="6">
                  <c:v>0.038505964845668296</c:v>
                </c:pt>
                <c:pt idx="7">
                  <c:v>0.027078309072677567</c:v>
                </c:pt>
                <c:pt idx="8">
                  <c:v>0.03180620142804472</c:v>
                </c:pt>
                <c:pt idx="9">
                  <c:v>0.025412786830537847</c:v>
                </c:pt>
                <c:pt idx="10">
                  <c:v>0.03648752475654179</c:v>
                </c:pt>
                <c:pt idx="11">
                  <c:v>0.037561819801226665</c:v>
                </c:pt>
                <c:pt idx="12">
                  <c:v>0.030058009422546196</c:v>
                </c:pt>
                <c:pt idx="13">
                  <c:v>0.03465803424861721</c:v>
                </c:pt>
                <c:pt idx="14">
                  <c:v>0.0330059393515317</c:v>
                </c:pt>
                <c:pt idx="15">
                  <c:v>0.044377308915314974</c:v>
                </c:pt>
                <c:pt idx="16">
                  <c:v>0.028423669935414425</c:v>
                </c:pt>
                <c:pt idx="17">
                  <c:v>0.026719772386804737</c:v>
                </c:pt>
                <c:pt idx="18">
                  <c:v>0.020526279676076228</c:v>
                </c:pt>
                <c:pt idx="19">
                  <c:v>0.007690693284044205</c:v>
                </c:pt>
                <c:pt idx="20">
                  <c:v>0.037233020832940396</c:v>
                </c:pt>
                <c:pt idx="21">
                  <c:v>0.0489604784617317</c:v>
                </c:pt>
                <c:pt idx="22">
                  <c:v>0.024323898659385224</c:v>
                </c:pt>
                <c:pt idx="23">
                  <c:v>0.007690693284044205</c:v>
                </c:pt>
                <c:pt idx="24">
                  <c:v>0.007690693284044205</c:v>
                </c:pt>
                <c:pt idx="25">
                  <c:v>0.007690693284044205</c:v>
                </c:pt>
                <c:pt idx="26">
                  <c:v>0.01773783296444575</c:v>
                </c:pt>
                <c:pt idx="27">
                  <c:v>0.007690693284044205</c:v>
                </c:pt>
                <c:pt idx="28">
                  <c:v>0.007690693284044205</c:v>
                </c:pt>
                <c:pt idx="29">
                  <c:v>0.007690693284044205</c:v>
                </c:pt>
                <c:pt idx="30">
                  <c:v>0.007690693284044205</c:v>
                </c:pt>
                <c:pt idx="31">
                  <c:v>0.015275952566628503</c:v>
                </c:pt>
                <c:pt idx="32">
                  <c:v>0.007690693284044205</c:v>
                </c:pt>
                <c:pt idx="33">
                  <c:v>0.007690693284044205</c:v>
                </c:pt>
                <c:pt idx="34">
                  <c:v>0.007690693284044205</c:v>
                </c:pt>
                <c:pt idx="35">
                  <c:v>0.007690693284044205</c:v>
                </c:pt>
                <c:pt idx="36">
                  <c:v>0.03650354395414829</c:v>
                </c:pt>
                <c:pt idx="37">
                  <c:v>0.04596253439320415</c:v>
                </c:pt>
                <c:pt idx="38">
                  <c:v>0.1562276576221002</c:v>
                </c:pt>
                <c:pt idx="39">
                  <c:v>0.004714285714285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0769230769230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8.6505</c:v>
                </c:pt>
                <c:pt idx="1">
                  <c:v>858.1113</c:v>
                </c:pt>
                <c:pt idx="2">
                  <c:v>922.5121</c:v>
                </c:pt>
                <c:pt idx="3">
                  <c:v>943.2301</c:v>
                </c:pt>
                <c:pt idx="4">
                  <c:v>918.2291</c:v>
                </c:pt>
                <c:pt idx="5">
                  <c:v>931.5166</c:v>
                </c:pt>
                <c:pt idx="6">
                  <c:v>866.8559</c:v>
                </c:pt>
                <c:pt idx="7">
                  <c:v>893.6652</c:v>
                </c:pt>
                <c:pt idx="8">
                  <c:v>921.9441</c:v>
                </c:pt>
                <c:pt idx="9">
                  <c:v>880.7458</c:v>
                </c:pt>
                <c:pt idx="10">
                  <c:v>872.4656</c:v>
                </c:pt>
                <c:pt idx="11">
                  <c:v>912.6335</c:v>
                </c:pt>
                <c:pt idx="12">
                  <c:v>921.1449</c:v>
                </c:pt>
                <c:pt idx="13">
                  <c:v>899.4752</c:v>
                </c:pt>
                <c:pt idx="14">
                  <c:v>901.1794</c:v>
                </c:pt>
                <c:pt idx="15">
                  <c:v>914.0768</c:v>
                </c:pt>
                <c:pt idx="16">
                  <c:v>909.1709</c:v>
                </c:pt>
                <c:pt idx="17">
                  <c:v>921.1293</c:v>
                </c:pt>
                <c:pt idx="18">
                  <c:v>979.0543</c:v>
                </c:pt>
                <c:pt idx="19">
                  <c:v>1004.2102</c:v>
                </c:pt>
                <c:pt idx="20">
                  <c:v>1026.6816</c:v>
                </c:pt>
                <c:pt idx="21">
                  <c:v>1024.376</c:v>
                </c:pt>
                <c:pt idx="22">
                  <c:v>1018.372</c:v>
                </c:pt>
                <c:pt idx="23">
                  <c:v>996.3255</c:v>
                </c:pt>
                <c:pt idx="24">
                  <c:v>966.4382</c:v>
                </c:pt>
                <c:pt idx="25">
                  <c:v>966.4575</c:v>
                </c:pt>
                <c:pt idx="26">
                  <c:v>987.082</c:v>
                </c:pt>
                <c:pt idx="27">
                  <c:v>980.7055</c:v>
                </c:pt>
                <c:pt idx="28">
                  <c:v>972.9641</c:v>
                </c:pt>
                <c:pt idx="29">
                  <c:v>903.5032</c:v>
                </c:pt>
                <c:pt idx="30">
                  <c:v>929.097</c:v>
                </c:pt>
                <c:pt idx="31">
                  <c:v>943.2444</c:v>
                </c:pt>
                <c:pt idx="32">
                  <c:v>925.2486</c:v>
                </c:pt>
                <c:pt idx="33">
                  <c:v>872.4807</c:v>
                </c:pt>
                <c:pt idx="34">
                  <c:v>927.3353</c:v>
                </c:pt>
                <c:pt idx="35">
                  <c:v>959.443</c:v>
                </c:pt>
                <c:pt idx="36">
                  <c:v>1037.037</c:v>
                </c:pt>
                <c:pt idx="37">
                  <c:v>1012.3387</c:v>
                </c:pt>
                <c:pt idx="38">
                  <c:v>1122.6627</c:v>
                </c:pt>
                <c:pt idx="39">
                  <c:v>1096.3361</c:v>
                </c:pt>
                <c:pt idx="40">
                  <c:v>1128.5479</c:v>
                </c:pt>
                <c:pt idx="41">
                  <c:v>1134.2266</c:v>
                </c:pt>
                <c:pt idx="42">
                  <c:v>1180.2253</c:v>
                </c:pt>
                <c:pt idx="43">
                  <c:v>1188.5939</c:v>
                </c:pt>
                <c:pt idx="44">
                  <c:v>1023.8068</c:v>
                </c:pt>
                <c:pt idx="45">
                  <c:v>970.7121</c:v>
                </c:pt>
                <c:pt idx="46">
                  <c:v>948.121</c:v>
                </c:pt>
                <c:pt idx="47">
                  <c:v>936.0043</c:v>
                </c:pt>
                <c:pt idx="48">
                  <c:v>953.1838</c:v>
                </c:pt>
                <c:pt idx="49">
                  <c:v>947.1673</c:v>
                </c:pt>
                <c:pt idx="50">
                  <c:v>923.2416</c:v>
                </c:pt>
                <c:pt idx="51">
                  <c:v>959.5362</c:v>
                </c:pt>
                <c:pt idx="52">
                  <c:v>975.6724</c:v>
                </c:pt>
                <c:pt idx="53">
                  <c:v>1035.0531</c:v>
                </c:pt>
                <c:pt idx="54">
                  <c:v>1026.8037</c:v>
                </c:pt>
                <c:pt idx="55">
                  <c:v>1048.5886</c:v>
                </c:pt>
                <c:pt idx="56">
                  <c:v>1056.9732</c:v>
                </c:pt>
                <c:pt idx="57">
                  <c:v>1056.5102</c:v>
                </c:pt>
                <c:pt idx="58">
                  <c:v>988.3901</c:v>
                </c:pt>
                <c:pt idx="59">
                  <c:v>1026.599</c:v>
                </c:pt>
                <c:pt idx="60">
                  <c:v>1055.7776</c:v>
                </c:pt>
                <c:pt idx="61">
                  <c:v>1038.25</c:v>
                </c:pt>
                <c:pt idx="62">
                  <c:v>1001.9592</c:v>
                </c:pt>
                <c:pt idx="63">
                  <c:v>1017.8389</c:v>
                </c:pt>
                <c:pt idx="64">
                  <c:v>1033.9887</c:v>
                </c:pt>
                <c:pt idx="65">
                  <c:v>1006.8688</c:v>
                </c:pt>
                <c:pt idx="66">
                  <c:v>947.0747</c:v>
                </c:pt>
                <c:pt idx="67">
                  <c:v>925.5182</c:v>
                </c:pt>
                <c:pt idx="68">
                  <c:v>933.4171</c:v>
                </c:pt>
                <c:pt idx="69">
                  <c:v>901.602</c:v>
                </c:pt>
                <c:pt idx="70">
                  <c:v>873.8432</c:v>
                </c:pt>
                <c:pt idx="71">
                  <c:v>941.0148</c:v>
                </c:pt>
                <c:pt idx="72">
                  <c:v>962.5456</c:v>
                </c:pt>
                <c:pt idx="73">
                  <c:v>1016.7145</c:v>
                </c:pt>
                <c:pt idx="74">
                  <c:v>1049.1275</c:v>
                </c:pt>
                <c:pt idx="75">
                  <c:v>1019.02</c:v>
                </c:pt>
                <c:pt idx="76">
                  <c:v>1010.2208</c:v>
                </c:pt>
                <c:pt idx="77">
                  <c:v>1001.57</c:v>
                </c:pt>
                <c:pt idx="78">
                  <c:v>1056.2018</c:v>
                </c:pt>
                <c:pt idx="79">
                  <c:v>794.9768</c:v>
                </c:pt>
                <c:pt idx="80">
                  <c:v>831.4099</c:v>
                </c:pt>
                <c:pt idx="81">
                  <c:v>918.4389</c:v>
                </c:pt>
                <c:pt idx="82">
                  <c:v>976.4688</c:v>
                </c:pt>
                <c:pt idx="83">
                  <c:v>975.69</c:v>
                </c:pt>
                <c:pt idx="84">
                  <c:v>883.7352</c:v>
                </c:pt>
                <c:pt idx="85">
                  <c:v>1060.376</c:v>
                </c:pt>
                <c:pt idx="86">
                  <c:v>1109.0977</c:v>
                </c:pt>
                <c:pt idx="87">
                  <c:v>988.7984</c:v>
                </c:pt>
                <c:pt idx="88">
                  <c:v>1049.569</c:v>
                </c:pt>
                <c:pt idx="89">
                  <c:v>990.5436</c:v>
                </c:pt>
                <c:pt idx="90">
                  <c:v>1057.146</c:v>
                </c:pt>
                <c:pt idx="91">
                  <c:v>1088.3266</c:v>
                </c:pt>
                <c:pt idx="92">
                  <c:v>1103.5186</c:v>
                </c:pt>
                <c:pt idx="93">
                  <c:v>1147.5074</c:v>
                </c:pt>
                <c:pt idx="94">
                  <c:v>1083.8205</c:v>
                </c:pt>
                <c:pt idx="95">
                  <c:v>1167.0292</c:v>
                </c:pt>
                <c:pt idx="96">
                  <c:v>1173.8801</c:v>
                </c:pt>
                <c:pt idx="97">
                  <c:v>1158.1312</c:v>
                </c:pt>
                <c:pt idx="98">
                  <c:v>1125.6508</c:v>
                </c:pt>
                <c:pt idx="99">
                  <c:v>1084.1025</c:v>
                </c:pt>
                <c:pt idx="100">
                  <c:v>1085.8297</c:v>
                </c:pt>
                <c:pt idx="101">
                  <c:v>1076.9152</c:v>
                </c:pt>
                <c:pt idx="102">
                  <c:v>1116.8818</c:v>
                </c:pt>
                <c:pt idx="103">
                  <c:v>1052.5486</c:v>
                </c:pt>
                <c:pt idx="104">
                  <c:v>1166.6335</c:v>
                </c:pt>
              </c:numCache>
            </c:numRef>
          </c:xVal>
          <c:yVal>
            <c:numRef>
              <c:f>Sheet1!$B$2:$B$106</c:f>
              <c:numCache>
                <c:formatCode>General</c:formatCode>
                <c:ptCount val="105"/>
                <c:pt idx="0">
                  <c:v>0.19852700490998362</c:v>
                </c:pt>
                <c:pt idx="1">
                  <c:v>0.20894996476391825</c:v>
                </c:pt>
                <c:pt idx="2">
                  <c:v>0.1818754925137904</c:v>
                </c:pt>
                <c:pt idx="3">
                  <c:v>0.18375499334221038</c:v>
                </c:pt>
                <c:pt idx="4">
                  <c:v>0.17928685897435898</c:v>
                </c:pt>
                <c:pt idx="5">
                  <c:v>0.16685823754789272</c:v>
                </c:pt>
                <c:pt idx="6">
                  <c:v>0.18851615558756946</c:v>
                </c:pt>
                <c:pt idx="7">
                  <c:v>0.18602029312288612</c:v>
                </c:pt>
                <c:pt idx="8">
                  <c:v>0.18450797872340424</c:v>
                </c:pt>
                <c:pt idx="9">
                  <c:v>0.1888421052631579</c:v>
                </c:pt>
                <c:pt idx="10">
                  <c:v>0.20257438278117745</c:v>
                </c:pt>
                <c:pt idx="11">
                  <c:v>0.19839449541284404</c:v>
                </c:pt>
                <c:pt idx="12">
                  <c:v>0.20647773279352227</c:v>
                </c:pt>
                <c:pt idx="13">
                  <c:v>0.21793275217932753</c:v>
                </c:pt>
                <c:pt idx="14">
                  <c:v>0.21451355661881977</c:v>
                </c:pt>
                <c:pt idx="15">
                  <c:v>0.21304863582443653</c:v>
                </c:pt>
                <c:pt idx="16">
                  <c:v>0.20061815116605788</c:v>
                </c:pt>
                <c:pt idx="17">
                  <c:v>0.18091079226450404</c:v>
                </c:pt>
                <c:pt idx="18">
                  <c:v>0.1557759626604434</c:v>
                </c:pt>
                <c:pt idx="19">
                  <c:v>0.15400340715502556</c:v>
                </c:pt>
                <c:pt idx="20">
                  <c:v>0.16055321707757064</c:v>
                </c:pt>
                <c:pt idx="21">
                  <c:v>0.16191709844559585</c:v>
                </c:pt>
                <c:pt idx="22">
                  <c:v>0.1594147092799384</c:v>
                </c:pt>
                <c:pt idx="23">
                  <c:v>0.1728744939271255</c:v>
                </c:pt>
                <c:pt idx="24">
                  <c:v>0.18342776203966005</c:v>
                </c:pt>
                <c:pt idx="25">
                  <c:v>0.18113654301499604</c:v>
                </c:pt>
                <c:pt idx="26">
                  <c:v>0.1944739638682253</c:v>
                </c:pt>
                <c:pt idx="27">
                  <c:v>0.17828200972447325</c:v>
                </c:pt>
                <c:pt idx="28">
                  <c:v>0.1889060092449923</c:v>
                </c:pt>
                <c:pt idx="29">
                  <c:v>0.20620486761166087</c:v>
                </c:pt>
                <c:pt idx="30">
                  <c:v>0.18532384874578808</c:v>
                </c:pt>
                <c:pt idx="31">
                  <c:v>0.1858224363386098</c:v>
                </c:pt>
                <c:pt idx="32">
                  <c:v>0.17261709793645594</c:v>
                </c:pt>
                <c:pt idx="33">
                  <c:v>0.2081854743316773</c:v>
                </c:pt>
                <c:pt idx="34">
                  <c:v>0.19414833295531866</c:v>
                </c:pt>
                <c:pt idx="35">
                  <c:v>0.18894242962211513</c:v>
                </c:pt>
                <c:pt idx="36">
                  <c:v>0.14145383104125736</c:v>
                </c:pt>
                <c:pt idx="37">
                  <c:v>0.14045307443365695</c:v>
                </c:pt>
                <c:pt idx="38">
                  <c:v>0.13460914693480378</c:v>
                </c:pt>
                <c:pt idx="39">
                  <c:v>0.14440759722640942</c:v>
                </c:pt>
                <c:pt idx="40">
                  <c:v>0.14512922465208747</c:v>
                </c:pt>
                <c:pt idx="41">
                  <c:v>0.13277408157361875</c:v>
                </c:pt>
                <c:pt idx="42">
                  <c:v>0.13987757878032192</c:v>
                </c:pt>
                <c:pt idx="43">
                  <c:v>0.14689025684568033</c:v>
                </c:pt>
                <c:pt idx="44">
                  <c:v>0.18151511668007816</c:v>
                </c:pt>
                <c:pt idx="45">
                  <c:v>0.20697699077510337</c:v>
                </c:pt>
                <c:pt idx="46">
                  <c:v>0.21270066100094429</c:v>
                </c:pt>
                <c:pt idx="47">
                  <c:v>0.22022391615054787</c:v>
                </c:pt>
                <c:pt idx="48">
                  <c:v>0.23636363636363636</c:v>
                </c:pt>
                <c:pt idx="49">
                  <c:v>0.263499205929063</c:v>
                </c:pt>
                <c:pt idx="50">
                  <c:v>0.2211988524837687</c:v>
                </c:pt>
                <c:pt idx="51">
                  <c:v>0.18564857405703772</c:v>
                </c:pt>
                <c:pt idx="52">
                  <c:v>0.20031455533314269</c:v>
                </c:pt>
                <c:pt idx="53">
                  <c:v>0.18304535637149028</c:v>
                </c:pt>
                <c:pt idx="54">
                  <c:v>0.17479499352611136</c:v>
                </c:pt>
                <c:pt idx="55">
                  <c:v>0.16054746904192918</c:v>
                </c:pt>
                <c:pt idx="56">
                  <c:v>0.16686279124499884</c:v>
                </c:pt>
                <c:pt idx="57">
                  <c:v>0.16641143440530884</c:v>
                </c:pt>
                <c:pt idx="58">
                  <c:v>0.2008888888888889</c:v>
                </c:pt>
                <c:pt idx="59">
                  <c:v>0.21755725190839695</c:v>
                </c:pt>
                <c:pt idx="60">
                  <c:v>0.23874057468921947</c:v>
                </c:pt>
                <c:pt idx="61">
                  <c:v>0.23394833948339483</c:v>
                </c:pt>
                <c:pt idx="62">
                  <c:v>0.2199195793380761</c:v>
                </c:pt>
                <c:pt idx="63">
                  <c:v>0.2316900299259726</c:v>
                </c:pt>
                <c:pt idx="64">
                  <c:v>0.20771414259475707</c:v>
                </c:pt>
                <c:pt idx="65">
                  <c:v>0.19233644859813084</c:v>
                </c:pt>
                <c:pt idx="66">
                  <c:v>0.20592142721579046</c:v>
                </c:pt>
                <c:pt idx="67">
                  <c:v>0.20718336483931948</c:v>
                </c:pt>
                <c:pt idx="68">
                  <c:v>0.18377028714107366</c:v>
                </c:pt>
                <c:pt idx="69">
                  <c:v>0.16040181464679196</c:v>
                </c:pt>
                <c:pt idx="70">
                  <c:v>0.1570458404074703</c:v>
                </c:pt>
                <c:pt idx="71">
                  <c:v>0.16774992262457444</c:v>
                </c:pt>
                <c:pt idx="72">
                  <c:v>0.17906095071449402</c:v>
                </c:pt>
                <c:pt idx="73">
                  <c:v>0.1701430274135876</c:v>
                </c:pt>
                <c:pt idx="74">
                  <c:v>0.17015233668990445</c:v>
                </c:pt>
                <c:pt idx="75">
                  <c:v>0.1777975660433363</c:v>
                </c:pt>
                <c:pt idx="76">
                  <c:v>0.17853593905266646</c:v>
                </c:pt>
                <c:pt idx="77">
                  <c:v>0.1723543605653223</c:v>
                </c:pt>
                <c:pt idx="78">
                  <c:v>0.1661698956780924</c:v>
                </c:pt>
                <c:pt idx="79">
                  <c:v>0.18717074682367524</c:v>
                </c:pt>
                <c:pt idx="80">
                  <c:v>0.15863937387116195</c:v>
                </c:pt>
                <c:pt idx="81">
                  <c:v>0.1535412262156448</c:v>
                </c:pt>
                <c:pt idx="82">
                  <c:v>0.1357615894039735</c:v>
                </c:pt>
                <c:pt idx="83">
                  <c:v>0.13561417971970322</c:v>
                </c:pt>
                <c:pt idx="84">
                  <c:v>0.1468155500413565</c:v>
                </c:pt>
                <c:pt idx="85">
                  <c:v>0.13865248226950355</c:v>
                </c:pt>
                <c:pt idx="86">
                  <c:v>0.14773673979450153</c:v>
                </c:pt>
                <c:pt idx="87">
                  <c:v>0.17619872905834777</c:v>
                </c:pt>
                <c:pt idx="88">
                  <c:v>0.13754940711462452</c:v>
                </c:pt>
                <c:pt idx="89">
                  <c:v>0.15186915887850466</c:v>
                </c:pt>
                <c:pt idx="90">
                  <c:v>0.1519368183527642</c:v>
                </c:pt>
                <c:pt idx="91">
                  <c:v>0.14889637111859333</c:v>
                </c:pt>
                <c:pt idx="92">
                  <c:v>0.152811004784689</c:v>
                </c:pt>
                <c:pt idx="93">
                  <c:v>0.14445628997867804</c:v>
                </c:pt>
                <c:pt idx="94">
                  <c:v>0.1549970077797726</c:v>
                </c:pt>
                <c:pt idx="95">
                  <c:v>0.152</c:v>
                </c:pt>
                <c:pt idx="96">
                  <c:v>0.15142208572573107</c:v>
                </c:pt>
                <c:pt idx="97">
                  <c:v>0.1737817576009996</c:v>
                </c:pt>
                <c:pt idx="98">
                  <c:v>0.1791087141640647</c:v>
                </c:pt>
                <c:pt idx="99">
                  <c:v>0.1897945436173796</c:v>
                </c:pt>
                <c:pt idx="100">
                  <c:v>0.21133302368787737</c:v>
                </c:pt>
                <c:pt idx="101">
                  <c:v>0.19372644049542273</c:v>
                </c:pt>
                <c:pt idx="102">
                  <c:v>0.16303162486368594</c:v>
                </c:pt>
                <c:pt idx="103">
                  <c:v>0.1783828382838284</c:v>
                </c:pt>
                <c:pt idx="104">
                  <c:v>0.170976007453994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6.2014</c:v>
                </c:pt>
                <c:pt idx="1">
                  <c:v>1087.0092</c:v>
                </c:pt>
                <c:pt idx="2">
                  <c:v>1086.0983</c:v>
                </c:pt>
                <c:pt idx="3">
                  <c:v>1093.9267</c:v>
                </c:pt>
                <c:pt idx="4">
                  <c:v>1087.1102</c:v>
                </c:pt>
                <c:pt idx="5">
                  <c:v>1096.4041</c:v>
                </c:pt>
                <c:pt idx="6">
                  <c:v>1030.8894</c:v>
                </c:pt>
                <c:pt idx="7">
                  <c:v>1049.3048</c:v>
                </c:pt>
                <c:pt idx="8">
                  <c:v>1150.2909</c:v>
                </c:pt>
                <c:pt idx="9">
                  <c:v>1124.3297</c:v>
                </c:pt>
                <c:pt idx="10">
                  <c:v>1138.4726</c:v>
                </c:pt>
                <c:pt idx="11">
                  <c:v>1011.2417</c:v>
                </c:pt>
                <c:pt idx="12">
                  <c:v>1028.6266</c:v>
                </c:pt>
                <c:pt idx="13">
                  <c:v>1065.9361</c:v>
                </c:pt>
                <c:pt idx="14">
                  <c:v>1041.1175</c:v>
                </c:pt>
                <c:pt idx="15">
                  <c:v>1081.034</c:v>
                </c:pt>
                <c:pt idx="16">
                  <c:v>1105.4855</c:v>
                </c:pt>
                <c:pt idx="17">
                  <c:v>1110.5685</c:v>
                </c:pt>
                <c:pt idx="18">
                  <c:v>984.1317</c:v>
                </c:pt>
                <c:pt idx="19">
                  <c:v>1146.22</c:v>
                </c:pt>
                <c:pt idx="20">
                  <c:v>1200.1467</c:v>
                </c:pt>
                <c:pt idx="21">
                  <c:v>1173.1029</c:v>
                </c:pt>
                <c:pt idx="22">
                  <c:v>1159.9297</c:v>
                </c:pt>
                <c:pt idx="23">
                  <c:v>1143.437</c:v>
                </c:pt>
                <c:pt idx="24">
                  <c:v>1154.8063</c:v>
                </c:pt>
                <c:pt idx="25">
                  <c:v>1029.7726</c:v>
                </c:pt>
                <c:pt idx="26">
                  <c:v>1138.4152</c:v>
                </c:pt>
                <c:pt idx="27">
                  <c:v>1145.4966</c:v>
                </c:pt>
                <c:pt idx="28">
                  <c:v>1152.4757</c:v>
                </c:pt>
                <c:pt idx="29">
                  <c:v>1117.4848</c:v>
                </c:pt>
                <c:pt idx="30">
                  <c:v>1042.8788</c:v>
                </c:pt>
                <c:pt idx="31">
                  <c:v>1067.5842</c:v>
                </c:pt>
                <c:pt idx="32">
                  <c:v>1066.0433</c:v>
                </c:pt>
                <c:pt idx="33">
                  <c:v>1073.91</c:v>
                </c:pt>
                <c:pt idx="34">
                  <c:v>1088.5361</c:v>
                </c:pt>
                <c:pt idx="35">
                  <c:v>1038.6421</c:v>
                </c:pt>
                <c:pt idx="36">
                  <c:v>1098.8548</c:v>
                </c:pt>
                <c:pt idx="37">
                  <c:v>1170.6942</c:v>
                </c:pt>
                <c:pt idx="38">
                  <c:v>1180.3276</c:v>
                </c:pt>
                <c:pt idx="39">
                  <c:v>1207.3285</c:v>
                </c:pt>
                <c:pt idx="40">
                  <c:v>1209.3623</c:v>
                </c:pt>
                <c:pt idx="41">
                  <c:v>1260.246</c:v>
                </c:pt>
                <c:pt idx="42">
                  <c:v>1278.3034</c:v>
                </c:pt>
                <c:pt idx="43">
                  <c:v>1261.8416</c:v>
                </c:pt>
                <c:pt idx="44">
                  <c:v>1199.2134</c:v>
                </c:pt>
                <c:pt idx="45">
                  <c:v>1149.2466</c:v>
                </c:pt>
                <c:pt idx="46">
                  <c:v>1122.8701</c:v>
                </c:pt>
                <c:pt idx="47">
                  <c:v>1127.2004</c:v>
                </c:pt>
                <c:pt idx="48">
                  <c:v>1109.1569</c:v>
                </c:pt>
                <c:pt idx="49">
                  <c:v>1127.4541</c:v>
                </c:pt>
                <c:pt idx="50">
                  <c:v>1012.4986</c:v>
                </c:pt>
                <c:pt idx="51">
                  <c:v>961.2852</c:v>
                </c:pt>
              </c:numCache>
            </c:numRef>
          </c:xVal>
          <c:yVal>
            <c:numRef>
              <c:f>Sheet1!$B$109:$B$160</c:f>
              <c:numCache>
                <c:formatCode>General</c:formatCode>
                <c:ptCount val="52"/>
                <c:pt idx="0">
                  <c:v>0.17422152148206543</c:v>
                </c:pt>
                <c:pt idx="1">
                  <c:v>0.20834134153373055</c:v>
                </c:pt>
                <c:pt idx="2">
                  <c:v>0.21032599702134702</c:v>
                </c:pt>
                <c:pt idx="3">
                  <c:v>0.21450777202072538</c:v>
                </c:pt>
                <c:pt idx="4">
                  <c:v>0.2</c:v>
                </c:pt>
                <c:pt idx="5">
                  <c:v>0.20297360507851653</c:v>
                </c:pt>
                <c:pt idx="6">
                  <c:v>0.18488599348534202</c:v>
                </c:pt>
                <c:pt idx="7">
                  <c:v>0.17829593267882188</c:v>
                </c:pt>
                <c:pt idx="8">
                  <c:v>0.16054158607350097</c:v>
                </c:pt>
                <c:pt idx="9">
                  <c:v>0.16272040302267002</c:v>
                </c:pt>
                <c:pt idx="10">
                  <c:v>0.16276826621654208</c:v>
                </c:pt>
                <c:pt idx="11">
                  <c:v>0.18934497816593887</c:v>
                </c:pt>
                <c:pt idx="12">
                  <c:v>0.19076923076923077</c:v>
                </c:pt>
                <c:pt idx="13">
                  <c:v>0.18639861007694217</c:v>
                </c:pt>
                <c:pt idx="14">
                  <c:v>0.18697698744769875</c:v>
                </c:pt>
                <c:pt idx="15">
                  <c:v>0.1847733105218135</c:v>
                </c:pt>
                <c:pt idx="16">
                  <c:v>0.16026490066225166</c:v>
                </c:pt>
                <c:pt idx="17">
                  <c:v>0.15777414075286417</c:v>
                </c:pt>
                <c:pt idx="18">
                  <c:v>0.15700237368599526</c:v>
                </c:pt>
                <c:pt idx="19">
                  <c:v>0.16641509433962265</c:v>
                </c:pt>
                <c:pt idx="20">
                  <c:v>0.15096618357487923</c:v>
                </c:pt>
                <c:pt idx="21">
                  <c:v>0.14270724029380902</c:v>
                </c:pt>
                <c:pt idx="22">
                  <c:v>0.13675213675213677</c:v>
                </c:pt>
                <c:pt idx="23">
                  <c:v>0.1430084745762712</c:v>
                </c:pt>
                <c:pt idx="24">
                  <c:v>0.137016093953893</c:v>
                </c:pt>
                <c:pt idx="25">
                  <c:v>0.15120113047574188</c:v>
                </c:pt>
                <c:pt idx="26">
                  <c:v>0.14423076923076922</c:v>
                </c:pt>
                <c:pt idx="27">
                  <c:v>0.1475354490209318</c:v>
                </c:pt>
                <c:pt idx="28">
                  <c:v>0.14992721979621543</c:v>
                </c:pt>
                <c:pt idx="29">
                  <c:v>0.16067415730337078</c:v>
                </c:pt>
                <c:pt idx="30">
                  <c:v>0.16061400224634967</c:v>
                </c:pt>
                <c:pt idx="31">
                  <c:v>0.1682209469153515</c:v>
                </c:pt>
                <c:pt idx="32">
                  <c:v>0.19249106078665076</c:v>
                </c:pt>
                <c:pt idx="33">
                  <c:v>0.19935210565661599</c:v>
                </c:pt>
                <c:pt idx="34">
                  <c:v>0.21430246189917937</c:v>
                </c:pt>
                <c:pt idx="35">
                  <c:v>0.1993006993006993</c:v>
                </c:pt>
                <c:pt idx="36">
                  <c:v>0.19257221458046767</c:v>
                </c:pt>
                <c:pt idx="37">
                  <c:v>0.1642651296829971</c:v>
                </c:pt>
                <c:pt idx="38">
                  <c:v>0.16545307443365695</c:v>
                </c:pt>
                <c:pt idx="39">
                  <c:v>0.1751987281399046</c:v>
                </c:pt>
                <c:pt idx="40">
                  <c:v>0.15330894579314933</c:v>
                </c:pt>
                <c:pt idx="41">
                  <c:v>0.15644555694618273</c:v>
                </c:pt>
                <c:pt idx="42">
                  <c:v>0.15298923134051243</c:v>
                </c:pt>
                <c:pt idx="43">
                  <c:v>0.15314632297194844</c:v>
                </c:pt>
                <c:pt idx="44">
                  <c:v>0.1472977746379371</c:v>
                </c:pt>
                <c:pt idx="45">
                  <c:v>0.15697969543147208</c:v>
                </c:pt>
                <c:pt idx="46">
                  <c:v>0.1505803784385435</c:v>
                </c:pt>
                <c:pt idx="47">
                  <c:v>0.14263273641218976</c:v>
                </c:pt>
                <c:pt idx="48">
                  <c:v>0.1420908332339969</c:v>
                </c:pt>
                <c:pt idx="49">
                  <c:v>0.16083916083916083</c:v>
                </c:pt>
                <c:pt idx="50">
                  <c:v>0.19821991470424624</c:v>
                </c:pt>
                <c:pt idx="51">
                  <c:v>0.1886206896551724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9.7726820159169</c:v>
                </c:pt>
              </c:numCache>
            </c:numRef>
          </c:xVal>
          <c:yVal>
            <c:numRef>
              <c:f>Sheet1!$B$163:$B$164</c:f>
              <c:numCache>
                <c:formatCode>General</c:formatCode>
                <c:ptCount val="2"/>
                <c:pt idx="0">
                  <c:v>0.20122104494176865</c:v>
                </c:pt>
                <c:pt idx="1">
                  <c:v>0.201221044941768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9.7726820159169</c:v>
                </c:pt>
                <c:pt idx="1">
                  <c:v>929.7726820159169</c:v>
                </c:pt>
              </c:numCache>
            </c:numRef>
          </c:xVal>
          <c:yVal>
            <c:numRef>
              <c:f>Sheet1!$B$167:$B$168</c:f>
              <c:numCache>
                <c:formatCode>General</c:formatCode>
                <c:ptCount val="2"/>
                <c:pt idx="0">
                  <c:v>0.201221044941768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0.265009794727</c:v>
                </c:pt>
              </c:numCache>
            </c:numRef>
          </c:xVal>
          <c:yVal>
            <c:numRef>
              <c:f>Sheet1!$B$171:$B$172</c:f>
              <c:numCache>
                <c:formatCode>General</c:formatCode>
                <c:ptCount val="2"/>
                <c:pt idx="0">
                  <c:v>0.1926770832637833</c:v>
                </c:pt>
                <c:pt idx="1">
                  <c:v>0.192677083263783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0.265009794727</c:v>
                </c:pt>
                <c:pt idx="1">
                  <c:v>980.265009794727</c:v>
                </c:pt>
              </c:numCache>
            </c:numRef>
          </c:xVal>
          <c:yVal>
            <c:numRef>
              <c:f>Sheet1!$B$175:$B$176</c:f>
              <c:numCache>
                <c:formatCode>General</c:formatCode>
                <c:ptCount val="2"/>
                <c:pt idx="0">
                  <c:v>0.19267708326378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4.1271577319303</c:v>
                </c:pt>
              </c:numCache>
            </c:numRef>
          </c:xVal>
          <c:yVal>
            <c:numRef>
              <c:f>Sheet1!$B$179:$B$180</c:f>
              <c:numCache>
                <c:formatCode>General</c:formatCode>
                <c:ptCount val="2"/>
                <c:pt idx="0">
                  <c:v>0.15987307450341665</c:v>
                </c:pt>
                <c:pt idx="1">
                  <c:v>0.159873074503416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4.1271577319303</c:v>
                </c:pt>
                <c:pt idx="1">
                  <c:v>1174.1271577319303</c:v>
                </c:pt>
              </c:numCache>
            </c:numRef>
          </c:xVal>
          <c:yVal>
            <c:numRef>
              <c:f>Sheet1!$B$183:$B$184</c:f>
              <c:numCache>
                <c:formatCode>General</c:formatCode>
                <c:ptCount val="2"/>
                <c:pt idx="0">
                  <c:v>0.159873074503416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6.2014</c:v>
                </c:pt>
                <c:pt idx="1">
                  <c:v>1087.0092</c:v>
                </c:pt>
                <c:pt idx="2">
                  <c:v>1086.0983</c:v>
                </c:pt>
                <c:pt idx="3">
                  <c:v>1093.9267</c:v>
                </c:pt>
                <c:pt idx="4">
                  <c:v>1087.1102</c:v>
                </c:pt>
                <c:pt idx="5">
                  <c:v>1096.4041</c:v>
                </c:pt>
                <c:pt idx="6">
                  <c:v>1030.8894</c:v>
                </c:pt>
                <c:pt idx="7">
                  <c:v>1049.3048</c:v>
                </c:pt>
                <c:pt idx="8">
                  <c:v>1150.2909</c:v>
                </c:pt>
                <c:pt idx="9">
                  <c:v>1124.3297</c:v>
                </c:pt>
                <c:pt idx="10">
                  <c:v>1138.4726</c:v>
                </c:pt>
                <c:pt idx="11">
                  <c:v>1011.2417</c:v>
                </c:pt>
                <c:pt idx="12">
                  <c:v>1028.6266</c:v>
                </c:pt>
                <c:pt idx="13">
                  <c:v>1065.9361</c:v>
                </c:pt>
                <c:pt idx="14">
                  <c:v>1041.1175</c:v>
                </c:pt>
                <c:pt idx="15">
                  <c:v>1081.034</c:v>
                </c:pt>
                <c:pt idx="16">
                  <c:v>1105.4855</c:v>
                </c:pt>
                <c:pt idx="17">
                  <c:v>1110.5685</c:v>
                </c:pt>
                <c:pt idx="18">
                  <c:v>984.1317</c:v>
                </c:pt>
                <c:pt idx="19">
                  <c:v>1146.22</c:v>
                </c:pt>
                <c:pt idx="20">
                  <c:v>1200.1467</c:v>
                </c:pt>
                <c:pt idx="21">
                  <c:v>1173.1029</c:v>
                </c:pt>
                <c:pt idx="22">
                  <c:v>1159.9297</c:v>
                </c:pt>
                <c:pt idx="23">
                  <c:v>1143.437</c:v>
                </c:pt>
                <c:pt idx="24">
                  <c:v>1154.8063</c:v>
                </c:pt>
                <c:pt idx="25">
                  <c:v>1029.7726</c:v>
                </c:pt>
                <c:pt idx="26">
                  <c:v>1138.4152</c:v>
                </c:pt>
                <c:pt idx="27">
                  <c:v>1145.4966</c:v>
                </c:pt>
                <c:pt idx="28">
                  <c:v>1152.4757</c:v>
                </c:pt>
                <c:pt idx="29">
                  <c:v>1117.4848</c:v>
                </c:pt>
                <c:pt idx="30">
                  <c:v>1042.8788</c:v>
                </c:pt>
                <c:pt idx="31">
                  <c:v>1067.5842</c:v>
                </c:pt>
                <c:pt idx="32">
                  <c:v>1066.0433</c:v>
                </c:pt>
                <c:pt idx="33">
                  <c:v>1073.91</c:v>
                </c:pt>
                <c:pt idx="34">
                  <c:v>1088.5361</c:v>
                </c:pt>
                <c:pt idx="35">
                  <c:v>1038.6421</c:v>
                </c:pt>
                <c:pt idx="36">
                  <c:v>1098.8548</c:v>
                </c:pt>
                <c:pt idx="37">
                  <c:v>1170.6942</c:v>
                </c:pt>
                <c:pt idx="38">
                  <c:v>1180.3276</c:v>
                </c:pt>
                <c:pt idx="39">
                  <c:v>1207.3285</c:v>
                </c:pt>
                <c:pt idx="40">
                  <c:v>1209.3623</c:v>
                </c:pt>
                <c:pt idx="41">
                  <c:v>1260.246</c:v>
                </c:pt>
                <c:pt idx="42">
                  <c:v>1278.3034</c:v>
                </c:pt>
                <c:pt idx="43">
                  <c:v>1261.8416</c:v>
                </c:pt>
                <c:pt idx="44">
                  <c:v>1199.2134</c:v>
                </c:pt>
                <c:pt idx="45">
                  <c:v>1149.2466</c:v>
                </c:pt>
                <c:pt idx="46">
                  <c:v>1122.8701</c:v>
                </c:pt>
                <c:pt idx="47">
                  <c:v>1127.2004</c:v>
                </c:pt>
                <c:pt idx="48">
                  <c:v>1109.1569</c:v>
                </c:pt>
                <c:pt idx="49">
                  <c:v>1127.4541</c:v>
                </c:pt>
                <c:pt idx="50">
                  <c:v>1012.4986</c:v>
                </c:pt>
                <c:pt idx="51">
                  <c:v>961.2852</c:v>
                </c:pt>
                <c:pt idx="52">
                  <c:v>980.265009794727</c:v>
                </c:pt>
                <c:pt idx="53">
                  <c:v>929.7726820159169</c:v>
                </c:pt>
                <c:pt idx="54">
                  <c:v>1174.1271577319303</c:v>
                </c:pt>
              </c:numCache>
            </c:numRef>
          </c:xVal>
          <c:yVal>
            <c:numRef>
              <c:f>Sheet1!$B$187:$B$241</c:f>
              <c:numCache>
                <c:formatCode>General</c:formatCode>
                <c:ptCount val="55"/>
                <c:pt idx="0">
                  <c:v>0.16121421628296098</c:v>
                </c:pt>
                <c:pt idx="1">
                  <c:v>0.17461457138164793</c:v>
                </c:pt>
                <c:pt idx="2">
                  <c:v>0.17476870756500174</c:v>
                </c:pt>
                <c:pt idx="3">
                  <c:v>0.17344403998594018</c:v>
                </c:pt>
                <c:pt idx="4">
                  <c:v>0.17459748086181176</c:v>
                </c:pt>
                <c:pt idx="5">
                  <c:v>0.17302483153205853</c:v>
                </c:pt>
                <c:pt idx="6">
                  <c:v>0.18411077489749028</c:v>
                </c:pt>
                <c:pt idx="7">
                  <c:v>0.1809946485708526</c:v>
                </c:pt>
                <c:pt idx="8">
                  <c:v>0.1639064807963557</c:v>
                </c:pt>
                <c:pt idx="9">
                  <c:v>0.16829945508912736</c:v>
                </c:pt>
                <c:pt idx="10">
                  <c:v>0.1659062915941718</c:v>
                </c:pt>
                <c:pt idx="11">
                  <c:v>0.18743542248743567</c:v>
                </c:pt>
                <c:pt idx="12">
                  <c:v>0.18449367022704685</c:v>
                </c:pt>
                <c:pt idx="13">
                  <c:v>0.17818041527827083</c:v>
                </c:pt>
                <c:pt idx="14">
                  <c:v>0.18238004671990612</c:v>
                </c:pt>
                <c:pt idx="15">
                  <c:v>0.17562565330367652</c:v>
                </c:pt>
                <c:pt idx="16">
                  <c:v>0.17148813997918821</c:v>
                </c:pt>
                <c:pt idx="17">
                  <c:v>0.17062802995614773</c:v>
                </c:pt>
                <c:pt idx="18">
                  <c:v>0.1920227887523633</c:v>
                </c:pt>
                <c:pt idx="19">
                  <c:v>0.16459533027359266</c:v>
                </c:pt>
                <c:pt idx="20">
                  <c:v>0.15547022793648924</c:v>
                </c:pt>
                <c:pt idx="21">
                  <c:v>0.16004639229633616</c:v>
                </c:pt>
                <c:pt idx="22">
                  <c:v>0.16227546987955807</c:v>
                </c:pt>
                <c:pt idx="23">
                  <c:v>0.16506625024095872</c:v>
                </c:pt>
                <c:pt idx="24">
                  <c:v>0.16314241611053298</c:v>
                </c:pt>
                <c:pt idx="25">
                  <c:v>0.1842997520514804</c:v>
                </c:pt>
                <c:pt idx="26">
                  <c:v>0.1659160044242569</c:v>
                </c:pt>
                <c:pt idx="27">
                  <c:v>0.16471773900675565</c:v>
                </c:pt>
                <c:pt idx="28">
                  <c:v>0.16353678408607855</c:v>
                </c:pt>
                <c:pt idx="29">
                  <c:v>0.16945770161612123</c:v>
                </c:pt>
                <c:pt idx="30">
                  <c:v>0.18208201174379338</c:v>
                </c:pt>
                <c:pt idx="31">
                  <c:v>0.17790153522141994</c:v>
                </c:pt>
                <c:pt idx="32">
                  <c:v>0.17816227563741505</c:v>
                </c:pt>
                <c:pt idx="33">
                  <c:v>0.17683112719786112</c:v>
                </c:pt>
                <c:pt idx="34">
                  <c:v>0.1743561999486004</c:v>
                </c:pt>
                <c:pt idx="35">
                  <c:v>0.18279891674765242</c:v>
                </c:pt>
                <c:pt idx="36">
                  <c:v>0.17261014106708403</c:v>
                </c:pt>
                <c:pt idx="37">
                  <c:v>0.16045397581246792</c:v>
                </c:pt>
                <c:pt idx="38">
                  <c:v>0.15882387864623573</c:v>
                </c:pt>
                <c:pt idx="39">
                  <c:v>0.15425497352699247</c:v>
                </c:pt>
                <c:pt idx="40">
                  <c:v>0.15391082798993566</c:v>
                </c:pt>
                <c:pt idx="41">
                  <c:v>0.14530064101779624</c:v>
                </c:pt>
                <c:pt idx="42">
                  <c:v>0.1422450929693896</c:v>
                </c:pt>
                <c:pt idx="43">
                  <c:v>0.14503064464699883</c:v>
                </c:pt>
                <c:pt idx="44">
                  <c:v>0.1556281544925592</c:v>
                </c:pt>
                <c:pt idx="45">
                  <c:v>0.16408319000293867</c:v>
                </c:pt>
                <c:pt idx="46">
                  <c:v>0.1685464384827197</c:v>
                </c:pt>
                <c:pt idx="47">
                  <c:v>0.1678136951357254</c:v>
                </c:pt>
                <c:pt idx="48">
                  <c:v>0.17086689112249123</c:v>
                </c:pt>
                <c:pt idx="49">
                  <c:v>0.16777076578045383</c:v>
                </c:pt>
                <c:pt idx="50">
                  <c:v>0.18722273858266297</c:v>
                </c:pt>
                <c:pt idx="51">
                  <c:v>0.19588871510321795</c:v>
                </c:pt>
                <c:pt idx="52">
                  <c:v>0.1926770832637833</c:v>
                </c:pt>
                <c:pt idx="53">
                  <c:v>0.20122104494176865</c:v>
                </c:pt>
                <c:pt idx="54">
                  <c:v>0.159873074503416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4.0"/>
          <c:min val="6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1990471148756"/>
          <c:min val="0.106219265258895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703.0</c:v>
                </c:pt>
                <c:pt idx="1">
                  <c:v>759.9091</c:v>
                </c:pt>
                <c:pt idx="2">
                  <c:v>790.1579</c:v>
                </c:pt>
                <c:pt idx="3">
                  <c:v>1023.6667</c:v>
                </c:pt>
                <c:pt idx="4">
                  <c:v>784.3333</c:v>
                </c:pt>
                <c:pt idx="5">
                  <c:v>741.2766</c:v>
                </c:pt>
                <c:pt idx="6">
                  <c:v>829.4167</c:v>
                </c:pt>
                <c:pt idx="7">
                  <c:v>992.0</c:v>
                </c:pt>
                <c:pt idx="8">
                  <c:v>981.4286</c:v>
                </c:pt>
                <c:pt idx="9">
                  <c:v>1017.6</c:v>
                </c:pt>
                <c:pt idx="10">
                  <c:v>1055.1667</c:v>
                </c:pt>
                <c:pt idx="11">
                  <c:v>938.0</c:v>
                </c:pt>
                <c:pt idx="12">
                  <c:v>891.1111</c:v>
                </c:pt>
                <c:pt idx="13">
                  <c:v>746.5</c:v>
                </c:pt>
                <c:pt idx="14">
                  <c:v>844.2917</c:v>
                </c:pt>
                <c:pt idx="15">
                  <c:v>819.8974</c:v>
                </c:pt>
                <c:pt idx="16">
                  <c:v>730.3043</c:v>
                </c:pt>
                <c:pt idx="17">
                  <c:v>822.5</c:v>
                </c:pt>
                <c:pt idx="18">
                  <c:v>972.4286</c:v>
                </c:pt>
                <c:pt idx="19">
                  <c:v>977.0</c:v>
                </c:pt>
                <c:pt idx="20">
                  <c:v>815.75</c:v>
                </c:pt>
                <c:pt idx="21">
                  <c:v>729.4211</c:v>
                </c:pt>
                <c:pt idx="22">
                  <c:v>784.7143</c:v>
                </c:pt>
                <c:pt idx="23">
                  <c:v>927.7143</c:v>
                </c:pt>
                <c:pt idx="24">
                  <c:v>768.8</c:v>
                </c:pt>
                <c:pt idx="25">
                  <c:v>1054.5</c:v>
                </c:pt>
                <c:pt idx="26">
                  <c:v>649.4</c:v>
                </c:pt>
                <c:pt idx="27">
                  <c:v>810.6667</c:v>
                </c:pt>
                <c:pt idx="28">
                  <c:v>806.0</c:v>
                </c:pt>
                <c:pt idx="29">
                  <c:v>632.0</c:v>
                </c:pt>
                <c:pt idx="30">
                  <c:v>770.75</c:v>
                </c:pt>
                <c:pt idx="31">
                  <c:v>682.0</c:v>
                </c:pt>
                <c:pt idx="32">
                  <c:v>455.8571</c:v>
                </c:pt>
                <c:pt idx="33">
                  <c:v>328.0</c:v>
                </c:pt>
                <c:pt idx="34">
                  <c:v>276.2</c:v>
                </c:pt>
                <c:pt idx="35">
                  <c:v>285.75</c:v>
                </c:pt>
                <c:pt idx="36">
                  <c:v>430.0</c:v>
                </c:pt>
                <c:pt idx="37">
                  <c:v>140.0</c:v>
                </c:pt>
                <c:pt idx="38">
                  <c:v>316.0</c:v>
                </c:pt>
                <c:pt idx="39">
                  <c:v>465.5</c:v>
                </c:pt>
                <c:pt idx="40">
                  <c:v>316.0</c:v>
                </c:pt>
                <c:pt idx="41">
                  <c:v>773.0</c:v>
                </c:pt>
                <c:pt idx="42">
                  <c:v>568.0</c:v>
                </c:pt>
                <c:pt idx="43">
                  <c:v>621.0</c:v>
                </c:pt>
                <c:pt idx="44">
                  <c:v>808.0</c:v>
                </c:pt>
                <c:pt idx="45">
                  <c:v>703.0</c:v>
                </c:pt>
                <c:pt idx="46">
                  <c:v>914.3333</c:v>
                </c:pt>
                <c:pt idx="47">
                  <c:v>738.5</c:v>
                </c:pt>
                <c:pt idx="48">
                  <c:v>914.5</c:v>
                </c:pt>
                <c:pt idx="49">
                  <c:v>817.75</c:v>
                </c:pt>
                <c:pt idx="50">
                  <c:v>711.2222</c:v>
                </c:pt>
                <c:pt idx="51">
                  <c:v>706.8</c:v>
                </c:pt>
                <c:pt idx="52">
                  <c:v>1054.0</c:v>
                </c:pt>
                <c:pt idx="53">
                  <c:v>1406.0</c:v>
                </c:pt>
                <c:pt idx="54">
                  <c:v>879.0</c:v>
                </c:pt>
              </c:numCache>
            </c:numRef>
          </c:xVal>
          <c:yVal>
            <c:numRef>
              <c:f>Sheet1!$B$2:$B$56</c:f>
              <c:numCache>
                <c:formatCode>General</c:formatCode>
                <c:ptCount val="55"/>
                <c:pt idx="0">
                  <c:v>0.0072992700729927005</c:v>
                </c:pt>
                <c:pt idx="1">
                  <c:v>0.0763888888888889</c:v>
                </c:pt>
                <c:pt idx="2">
                  <c:v>0.15079365079365079</c:v>
                </c:pt>
                <c:pt idx="3">
                  <c:v>0.07964601769911504</c:v>
                </c:pt>
                <c:pt idx="4">
                  <c:v>0.1782178217821782</c:v>
                </c:pt>
                <c:pt idx="5">
                  <c:v>0.2175925925925926</c:v>
                </c:pt>
                <c:pt idx="6">
                  <c:v>0.11650485436893204</c:v>
                </c:pt>
                <c:pt idx="7">
                  <c:v>0.10526315789473684</c:v>
                </c:pt>
                <c:pt idx="8">
                  <c:v>0.09333333333333334</c:v>
                </c:pt>
                <c:pt idx="9">
                  <c:v>0.10638297872340426</c:v>
                </c:pt>
                <c:pt idx="10">
                  <c:v>0.07407407407407407</c:v>
                </c:pt>
                <c:pt idx="11">
                  <c:v>0.12244897959183673</c:v>
                </c:pt>
                <c:pt idx="12">
                  <c:v>0.13846153846153847</c:v>
                </c:pt>
                <c:pt idx="13">
                  <c:v>0.21176470588235294</c:v>
                </c:pt>
                <c:pt idx="14">
                  <c:v>0.22018348623853212</c:v>
                </c:pt>
                <c:pt idx="15">
                  <c:v>0.19117647058823528</c:v>
                </c:pt>
                <c:pt idx="16">
                  <c:v>0.25555555555555554</c:v>
                </c:pt>
                <c:pt idx="17">
                  <c:v>0.24113475177304963</c:v>
                </c:pt>
                <c:pt idx="18">
                  <c:v>0.1111111111111111</c:v>
                </c:pt>
                <c:pt idx="19">
                  <c:v>0.08737864077669903</c:v>
                </c:pt>
                <c:pt idx="20">
                  <c:v>0.16494845360824742</c:v>
                </c:pt>
                <c:pt idx="21">
                  <c:v>0.20430107526881722</c:v>
                </c:pt>
                <c:pt idx="22">
                  <c:v>0.1728395061728395</c:v>
                </c:pt>
                <c:pt idx="23">
                  <c:v>0.1</c:v>
                </c:pt>
                <c:pt idx="24">
                  <c:v>0.07352941176470588</c:v>
                </c:pt>
                <c:pt idx="25">
                  <c:v>0.044444444444444446</c:v>
                </c:pt>
                <c:pt idx="26">
                  <c:v>0.11627906976744186</c:v>
                </c:pt>
                <c:pt idx="27">
                  <c:v>0.075</c:v>
                </c:pt>
                <c:pt idx="28">
                  <c:v>0.06451612903225806</c:v>
                </c:pt>
                <c:pt idx="29">
                  <c:v>0.030303030303030304</c:v>
                </c:pt>
                <c:pt idx="30">
                  <c:v>0.0975609756097561</c:v>
                </c:pt>
                <c:pt idx="31">
                  <c:v>0.07407407407407407</c:v>
                </c:pt>
                <c:pt idx="32">
                  <c:v>0.2692307692307692</c:v>
                </c:pt>
                <c:pt idx="33">
                  <c:v>0.04</c:v>
                </c:pt>
                <c:pt idx="34">
                  <c:v>0.25</c:v>
                </c:pt>
                <c:pt idx="35">
                  <c:v>0.2</c:v>
                </c:pt>
                <c:pt idx="36">
                  <c:v>0.10526315789473684</c:v>
                </c:pt>
                <c:pt idx="37">
                  <c:v>0.16666666666666666</c:v>
                </c:pt>
                <c:pt idx="38">
                  <c:v>0.08333333333333333</c:v>
                </c:pt>
                <c:pt idx="39">
                  <c:v>0.14285714285714285</c:v>
                </c:pt>
                <c:pt idx="40">
                  <c:v>0.125</c:v>
                </c:pt>
                <c:pt idx="41">
                  <c:v>0.09090909090909091</c:v>
                </c:pt>
                <c:pt idx="42">
                  <c:v>0.16666666666666666</c:v>
                </c:pt>
                <c:pt idx="43">
                  <c:v>0.09090909090909091</c:v>
                </c:pt>
                <c:pt idx="44">
                  <c:v>0.037037037037037035</c:v>
                </c:pt>
                <c:pt idx="45">
                  <c:v>0.05263157894736842</c:v>
                </c:pt>
                <c:pt idx="46">
                  <c:v>0.03488372093023256</c:v>
                </c:pt>
                <c:pt idx="47">
                  <c:v>0.061855670103092786</c:v>
                </c:pt>
                <c:pt idx="48">
                  <c:v>0.021739130434782608</c:v>
                </c:pt>
                <c:pt idx="49">
                  <c:v>0.0449438202247191</c:v>
                </c:pt>
                <c:pt idx="50">
                  <c:v>0.06716417910447761</c:v>
                </c:pt>
                <c:pt idx="51">
                  <c:v>0.05952380952380952</c:v>
                </c:pt>
                <c:pt idx="52">
                  <c:v>0.022222222222222223</c:v>
                </c:pt>
                <c:pt idx="53">
                  <c:v>0.027777777777777776</c:v>
                </c:pt>
                <c:pt idx="54">
                  <c:v>0.06666666666666667</c:v>
                </c:pt>
              </c:numCache>
            </c:numRef>
          </c:yVal>
          <c:smooth val="0"/>
          <c:extLst>
            <c:ext xmlns:c16="http://schemas.microsoft.com/office/drawing/2014/chart" uri="{C3380CC4-5D6E-409C-BE32-E72D297353CC}">
              <c16:uniqueId val="{00000000-F32D-48B7-BC20-E66FC6253BAD}"/>
            </c:ext>
          </c:extLst>
        </c:ser>
        <c:ser>
          <c:idx val="1"/>
          <c:order val="1"/>
          <c:tx>
            <c:strRef>
              <c:f>Sheet1!$B$5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9:$A$98</c:f>
              <c:numCache>
                <c:formatCode>General</c:formatCode>
                <c:ptCount val="40"/>
                <c:pt idx="0">
                  <c:v>0.0</c:v>
                </c:pt>
                <c:pt idx="1">
                  <c:v>0.0</c:v>
                </c:pt>
                <c:pt idx="2">
                  <c:v>0.0</c:v>
                </c:pt>
                <c:pt idx="3">
                  <c:v>0.0</c:v>
                </c:pt>
                <c:pt idx="4">
                  <c:v>0.0</c:v>
                </c:pt>
                <c:pt idx="5">
                  <c:v>715.5</c:v>
                </c:pt>
                <c:pt idx="6">
                  <c:v>1054.0</c:v>
                </c:pt>
                <c:pt idx="7">
                  <c:v>593.25</c:v>
                </c:pt>
                <c:pt idx="8">
                  <c:v>844.0</c:v>
                </c:pt>
                <c:pt idx="9">
                  <c:v>677.0</c:v>
                </c:pt>
                <c:pt idx="10">
                  <c:v>844.0</c:v>
                </c:pt>
                <c:pt idx="11">
                  <c:v>896.5</c:v>
                </c:pt>
                <c:pt idx="12">
                  <c:v>677.0</c:v>
                </c:pt>
                <c:pt idx="13">
                  <c:v>720.0</c:v>
                </c:pt>
                <c:pt idx="14">
                  <c:v>703.0</c:v>
                </c:pt>
                <c:pt idx="15">
                  <c:v>1054.0</c:v>
                </c:pt>
                <c:pt idx="16">
                  <c:v>914.0</c:v>
                </c:pt>
                <c:pt idx="17">
                  <c:v>656.3333</c:v>
                </c:pt>
                <c:pt idx="18">
                  <c:v>492.0</c:v>
                </c:pt>
                <c:pt idx="19">
                  <c:v>0.0</c:v>
                </c:pt>
                <c:pt idx="20">
                  <c:v>1054.0</c:v>
                </c:pt>
                <c:pt idx="21">
                  <c:v>1406.0</c:v>
                </c:pt>
                <c:pt idx="22">
                  <c:v>703.0</c:v>
                </c:pt>
                <c:pt idx="23">
                  <c:v>0.0</c:v>
                </c:pt>
                <c:pt idx="24">
                  <c:v>0.0</c:v>
                </c:pt>
                <c:pt idx="25">
                  <c:v>122.0</c:v>
                </c:pt>
                <c:pt idx="26">
                  <c:v>0.0</c:v>
                </c:pt>
                <c:pt idx="27">
                  <c:v>351.0</c:v>
                </c:pt>
                <c:pt idx="28">
                  <c:v>231.0</c:v>
                </c:pt>
                <c:pt idx="29">
                  <c:v>316.25</c:v>
                </c:pt>
                <c:pt idx="30">
                  <c:v>0.0</c:v>
                </c:pt>
                <c:pt idx="31">
                  <c:v>0.0</c:v>
                </c:pt>
                <c:pt idx="32">
                  <c:v>0.0</c:v>
                </c:pt>
                <c:pt idx="33">
                  <c:v>0.0</c:v>
                </c:pt>
                <c:pt idx="34">
                  <c:v>260.0</c:v>
                </c:pt>
                <c:pt idx="35">
                  <c:v>0.0</c:v>
                </c:pt>
                <c:pt idx="36">
                  <c:v>0.0</c:v>
                </c:pt>
                <c:pt idx="37">
                  <c:v>0.0</c:v>
                </c:pt>
                <c:pt idx="38">
                  <c:v>0.0</c:v>
                </c:pt>
                <c:pt idx="39">
                  <c:v>984.0</c:v>
                </c:pt>
              </c:numCache>
            </c:numRef>
          </c:xVal>
          <c:yVal>
            <c:numRef>
              <c:f>Sheet1!$B$59:$B$98</c:f>
              <c:numCache>
                <c:formatCode>General</c:formatCode>
                <c:ptCount val="40"/>
                <c:pt idx="0">
                  <c:v>0.0</c:v>
                </c:pt>
                <c:pt idx="1">
                  <c:v>0.0</c:v>
                </c:pt>
                <c:pt idx="2">
                  <c:v>0.0</c:v>
                </c:pt>
                <c:pt idx="3">
                  <c:v>0.0</c:v>
                </c:pt>
                <c:pt idx="4">
                  <c:v>0.0</c:v>
                </c:pt>
                <c:pt idx="5">
                  <c:v>0.0425531914893617</c:v>
                </c:pt>
                <c:pt idx="6">
                  <c:v>0.02040816326530612</c:v>
                </c:pt>
                <c:pt idx="7">
                  <c:v>0.12121212121212122</c:v>
                </c:pt>
                <c:pt idx="8">
                  <c:v>0.07317073170731707</c:v>
                </c:pt>
                <c:pt idx="9">
                  <c:v>0.05194805194805195</c:v>
                </c:pt>
                <c:pt idx="10">
                  <c:v>0.03260869565217391</c:v>
                </c:pt>
                <c:pt idx="11">
                  <c:v>0.014285714285714285</c:v>
                </c:pt>
                <c:pt idx="12">
                  <c:v>0.04878048780487805</c:v>
                </c:pt>
                <c:pt idx="13">
                  <c:v>0.008695652173913044</c:v>
                </c:pt>
                <c:pt idx="14">
                  <c:v>0.01098901098901099</c:v>
                </c:pt>
                <c:pt idx="15">
                  <c:v>0.014084507042253521</c:v>
                </c:pt>
                <c:pt idx="16">
                  <c:v>0.03389830508474576</c:v>
                </c:pt>
                <c:pt idx="17">
                  <c:v>0.06521739130434782</c:v>
                </c:pt>
                <c:pt idx="18">
                  <c:v>0.02127659574468085</c:v>
                </c:pt>
                <c:pt idx="19">
                  <c:v>0.0</c:v>
                </c:pt>
                <c:pt idx="20">
                  <c:v>0.025</c:v>
                </c:pt>
                <c:pt idx="21">
                  <c:v>0.03225806451612903</c:v>
                </c:pt>
                <c:pt idx="22">
                  <c:v>0.034482758620689655</c:v>
                </c:pt>
                <c:pt idx="23">
                  <c:v>0.0</c:v>
                </c:pt>
                <c:pt idx="24">
                  <c:v>0.0</c:v>
                </c:pt>
                <c:pt idx="25">
                  <c:v>0.02702702702702703</c:v>
                </c:pt>
                <c:pt idx="26">
                  <c:v>0.0</c:v>
                </c:pt>
                <c:pt idx="27">
                  <c:v>0.027777777777777776</c:v>
                </c:pt>
                <c:pt idx="28">
                  <c:v>0.047619047619047616</c:v>
                </c:pt>
                <c:pt idx="29">
                  <c:v>0.06666666666666667</c:v>
                </c:pt>
                <c:pt idx="30">
                  <c:v>0.0</c:v>
                </c:pt>
                <c:pt idx="31">
                  <c:v>0.0</c:v>
                </c:pt>
                <c:pt idx="32">
                  <c:v>0.0</c:v>
                </c:pt>
                <c:pt idx="33">
                  <c:v>0.0</c:v>
                </c:pt>
                <c:pt idx="34">
                  <c:v>0.025</c:v>
                </c:pt>
                <c:pt idx="35">
                  <c:v>0.0</c:v>
                </c:pt>
                <c:pt idx="36">
                  <c:v>0.0</c:v>
                </c:pt>
                <c:pt idx="37">
                  <c:v>0.0</c:v>
                </c:pt>
                <c:pt idx="38">
                  <c:v>0.0</c:v>
                </c:pt>
                <c:pt idx="39">
                  <c:v>0.008</c:v>
                </c:pt>
              </c:numCache>
            </c:numRef>
          </c:yVal>
          <c:smooth val="0"/>
          <c:extLst>
            <c:ext xmlns:c16="http://schemas.microsoft.com/office/drawing/2014/chart" uri="{C3380CC4-5D6E-409C-BE32-E72D297353CC}">
              <c16:uniqueId val="{00000002-F32D-48B7-BC20-E66FC6253BAD}"/>
            </c:ext>
          </c:extLst>
        </c:ser>
        <c:ser>
          <c:idx val="2"/>
          <c:order val="2"/>
          <c:tx>
            <c:strRef>
              <c:f>Sheet1!$B$100</c:f>
              <c:strCache>
                <c:ptCount val="1"/>
                <c:pt idx="0">
                  <c:v>Custom Linep3yQ</c:v>
                </c:pt>
              </c:strCache>
            </c:strRef>
          </c:tx>
          <c:spPr>
            <a:ln w="19050" cap="rnd">
              <a:solidFill>
                <a:srgbClr val="C00000"/>
              </a:solidFill>
              <a:prstDash val="sysDot"/>
              <a:round/>
            </a:ln>
            <a:effectLst/>
          </c:spPr>
          <c:marker>
            <c:symbol val="none"/>
          </c:marker>
          <c:xVal>
            <c:numRef>
              <c:f>Sheet1!$A$101:$A$102</c:f>
              <c:numCache>
                <c:formatCode>General</c:formatCode>
                <c:ptCount val="2"/>
                <c:pt idx="0">
                  <c:v>0</c:v>
                </c:pt>
                <c:pt idx="1">
                  <c:v>4810.958145821579</c:v>
                </c:pt>
              </c:numCache>
            </c:numRef>
          </c:xVal>
          <c:yVal>
            <c:numRef>
              <c:f>Sheet1!$B$101:$B$102</c:f>
              <c:numCache>
                <c:formatCode>General</c:formatCode>
                <c:ptCount val="2"/>
                <c:pt idx="0">
                  <c:v>0.1562276576221002</c:v>
                </c:pt>
                <c:pt idx="1">
                  <c:v>0.1562276576221002</c:v>
                </c:pt>
              </c:numCache>
            </c:numRef>
          </c:yVal>
          <c:smooth val="0"/>
          <c:extLst>
            <c:ext xmlns:c16="http://schemas.microsoft.com/office/drawing/2014/chart" uri="{C3380CC4-5D6E-409C-BE32-E72D297353CC}">
              <c16:uniqueId val="{00000003-F32D-48B7-BC20-E66FC6253BAD}"/>
            </c:ext>
          </c:extLst>
        </c:ser>
        <c:ser>
          <c:idx val="3"/>
          <c:order val="3"/>
          <c:tx>
            <c:strRef>
              <c:f>Sheet1!$B$10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5:$A$106</c:f>
              <c:numCache>
                <c:formatCode>General</c:formatCode>
                <c:ptCount val="2"/>
                <c:pt idx="0">
                  <c:v>4810.958145821579</c:v>
                </c:pt>
                <c:pt idx="1">
                  <c:v>4810.958145821579</c:v>
                </c:pt>
              </c:numCache>
            </c:numRef>
          </c:xVal>
          <c:yVal>
            <c:numRef>
              <c:f>Sheet1!$B$105:$B$106</c:f>
              <c:numCache>
                <c:formatCode>General</c:formatCode>
                <c:ptCount val="2"/>
                <c:pt idx="0">
                  <c:v>0.15622765762210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9:$A$110</c:f>
              <c:numCache>
                <c:formatCode>General</c:formatCode>
                <c:ptCount val="2"/>
                <c:pt idx="0">
                  <c:v>0</c:v>
                </c:pt>
                <c:pt idx="1">
                  <c:v>1211.0815239059152</c:v>
                </c:pt>
              </c:numCache>
            </c:numRef>
          </c:xVal>
          <c:yVal>
            <c:numRef>
              <c:f>Sheet1!$B$109:$B$110</c:f>
              <c:numCache>
                <c:formatCode>General</c:formatCode>
                <c:ptCount val="2"/>
                <c:pt idx="0">
                  <c:v>0.04596253439320415</c:v>
                </c:pt>
                <c:pt idx="1">
                  <c:v>0.04596253439320415</c:v>
                </c:pt>
              </c:numCache>
            </c:numRef>
          </c:yVal>
          <c:smooth val="0"/>
          <c:extLst>
            <c:ext xmlns:c16="http://schemas.microsoft.com/office/drawing/2014/chart" uri="{C3380CC4-5D6E-409C-BE32-E72D297353CC}">
              <c16:uniqueId val="{0000000A-F32D-48B7-BC20-E66FC6253BAD}"/>
            </c:ext>
          </c:extLst>
        </c:ser>
        <c:ser>
          <c:idx val="5"/>
          <c:order val="5"/>
          <c:tx>
            <c:strRef>
              <c:f>Sheet1!$B$11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1211.0815239059152</c:v>
                </c:pt>
                <c:pt idx="1">
                  <c:v>1211.0815239059152</c:v>
                </c:pt>
              </c:numCache>
            </c:numRef>
          </c:xVal>
          <c:yVal>
            <c:numRef>
              <c:f>Sheet1!$B$113:$B$114</c:f>
              <c:numCache>
                <c:formatCode>General</c:formatCode>
                <c:ptCount val="2"/>
                <c:pt idx="0">
                  <c:v>0.045962534393204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7:$A$118</c:f>
              <c:numCache>
                <c:formatCode>General</c:formatCode>
                <c:ptCount val="2"/>
                <c:pt idx="0">
                  <c:v>0</c:v>
                </c:pt>
                <c:pt idx="1">
                  <c:v>-135.56918273646653</c:v>
                </c:pt>
              </c:numCache>
            </c:numRef>
          </c:xVal>
          <c:yVal>
            <c:numRef>
              <c:f>Sheet1!$B$117:$B$118</c:f>
              <c:numCache>
                <c:formatCode>General</c:formatCode>
                <c:ptCount val="2"/>
                <c:pt idx="0">
                  <c:v>0.004714285714285714</c:v>
                </c:pt>
                <c:pt idx="1">
                  <c:v>0.004714285714285714</c:v>
                </c:pt>
              </c:numCache>
            </c:numRef>
          </c:yVal>
          <c:smooth val="0"/>
          <c:extLst>
            <c:ext xmlns:c16="http://schemas.microsoft.com/office/drawing/2014/chart" uri="{C3380CC4-5D6E-409C-BE32-E72D297353CC}">
              <c16:uniqueId val="{00000011-F32D-48B7-BC20-E66FC6253BAD}"/>
            </c:ext>
          </c:extLst>
        </c:ser>
        <c:ser>
          <c:idx val="7"/>
          <c:order val="7"/>
          <c:tx>
            <c:strRef>
              <c:f>Sheet1!$B$12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135.56918273646653</c:v>
                </c:pt>
                <c:pt idx="1">
                  <c:v>-135.56918273646653</c:v>
                </c:pt>
              </c:numCache>
            </c:numRef>
          </c:xVal>
          <c:yVal>
            <c:numRef>
              <c:f>Sheet1!$B$121:$B$122</c:f>
              <c:numCache>
                <c:formatCode>General</c:formatCode>
                <c:ptCount val="2"/>
                <c:pt idx="0">
                  <c:v>0.004714285714285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5:$A$167</c:f>
              <c:numCache>
                <c:formatCode>General</c:formatCode>
                <c:ptCount val="43"/>
                <c:pt idx="0">
                  <c:v>0.0</c:v>
                </c:pt>
                <c:pt idx="1">
                  <c:v>0.0</c:v>
                </c:pt>
                <c:pt idx="2">
                  <c:v>0.0</c:v>
                </c:pt>
                <c:pt idx="3">
                  <c:v>0.0</c:v>
                </c:pt>
                <c:pt idx="4">
                  <c:v>0.0</c:v>
                </c:pt>
                <c:pt idx="5">
                  <c:v>715.5</c:v>
                </c:pt>
                <c:pt idx="6">
                  <c:v>1054.0</c:v>
                </c:pt>
                <c:pt idx="7">
                  <c:v>593.25</c:v>
                </c:pt>
                <c:pt idx="8">
                  <c:v>844.0</c:v>
                </c:pt>
                <c:pt idx="9">
                  <c:v>677.0</c:v>
                </c:pt>
                <c:pt idx="10">
                  <c:v>844.0</c:v>
                </c:pt>
                <c:pt idx="11">
                  <c:v>896.5</c:v>
                </c:pt>
                <c:pt idx="12">
                  <c:v>677.0</c:v>
                </c:pt>
                <c:pt idx="13">
                  <c:v>720.0</c:v>
                </c:pt>
                <c:pt idx="14">
                  <c:v>703.0</c:v>
                </c:pt>
                <c:pt idx="15">
                  <c:v>1054.0</c:v>
                </c:pt>
                <c:pt idx="16">
                  <c:v>914.0</c:v>
                </c:pt>
                <c:pt idx="17">
                  <c:v>656.3333</c:v>
                </c:pt>
                <c:pt idx="18">
                  <c:v>492.0</c:v>
                </c:pt>
                <c:pt idx="19">
                  <c:v>0.0</c:v>
                </c:pt>
                <c:pt idx="20">
                  <c:v>1054.0</c:v>
                </c:pt>
                <c:pt idx="21">
                  <c:v>1406.0</c:v>
                </c:pt>
                <c:pt idx="22">
                  <c:v>703.0</c:v>
                </c:pt>
                <c:pt idx="23">
                  <c:v>0.0</c:v>
                </c:pt>
                <c:pt idx="24">
                  <c:v>0.0</c:v>
                </c:pt>
                <c:pt idx="25">
                  <c:v>122.0</c:v>
                </c:pt>
                <c:pt idx="26">
                  <c:v>0.0</c:v>
                </c:pt>
                <c:pt idx="27">
                  <c:v>351.0</c:v>
                </c:pt>
                <c:pt idx="28">
                  <c:v>231.0</c:v>
                </c:pt>
                <c:pt idx="29">
                  <c:v>316.25</c:v>
                </c:pt>
                <c:pt idx="30">
                  <c:v>0.0</c:v>
                </c:pt>
                <c:pt idx="31">
                  <c:v>0.0</c:v>
                </c:pt>
                <c:pt idx="32">
                  <c:v>0.0</c:v>
                </c:pt>
                <c:pt idx="33">
                  <c:v>0.0</c:v>
                </c:pt>
                <c:pt idx="34">
                  <c:v>260.0</c:v>
                </c:pt>
                <c:pt idx="35">
                  <c:v>0.0</c:v>
                </c:pt>
                <c:pt idx="36">
                  <c:v>0.0</c:v>
                </c:pt>
                <c:pt idx="37">
                  <c:v>0.0</c:v>
                </c:pt>
                <c:pt idx="38">
                  <c:v>0.0</c:v>
                </c:pt>
                <c:pt idx="39">
                  <c:v>984.0</c:v>
                </c:pt>
                <c:pt idx="40">
                  <c:v>1211.0815239059152</c:v>
                </c:pt>
                <c:pt idx="41">
                  <c:v>4810.958145821579</c:v>
                </c:pt>
                <c:pt idx="42">
                  <c:v>-135.56918273646653</c:v>
                </c:pt>
              </c:numCache>
            </c:numRef>
          </c:xVal>
          <c:yVal>
            <c:numRef>
              <c:f>Sheet1!$B$125:$B$167</c:f>
              <c:numCache>
                <c:formatCode>General</c:formatCode>
                <c:ptCount val="43"/>
                <c:pt idx="0">
                  <c:v>0.008866803761563229</c:v>
                </c:pt>
                <c:pt idx="1">
                  <c:v>0.008866803761563229</c:v>
                </c:pt>
                <c:pt idx="2">
                  <c:v>0.008866803761563229</c:v>
                </c:pt>
                <c:pt idx="3">
                  <c:v>0.008866803761563229</c:v>
                </c:pt>
                <c:pt idx="4">
                  <c:v>0.008866803761563229</c:v>
                </c:pt>
                <c:pt idx="5">
                  <c:v>0.03078274809975878</c:v>
                </c:pt>
                <c:pt idx="6">
                  <c:v>0.04115108794389462</c:v>
                </c:pt>
                <c:pt idx="7">
                  <c:v>0.0270381999581174</c:v>
                </c:pt>
                <c:pt idx="8">
                  <c:v>0.03471873530794624</c:v>
                </c:pt>
                <c:pt idx="9">
                  <c:v>0.02960348344983491</c:v>
                </c:pt>
                <c:pt idx="10">
                  <c:v>0.03471873530794624</c:v>
                </c:pt>
                <c:pt idx="11">
                  <c:v>0.03632682346693333</c:v>
                </c:pt>
                <c:pt idx="12">
                  <c:v>0.02960348344983491</c:v>
                </c:pt>
                <c:pt idx="13">
                  <c:v>0.03092058422767196</c:v>
                </c:pt>
                <c:pt idx="14">
                  <c:v>0.030399869966666614</c:v>
                </c:pt>
                <c:pt idx="15">
                  <c:v>0.04115108794389462</c:v>
                </c:pt>
                <c:pt idx="16">
                  <c:v>0.036862852853262365</c:v>
                </c:pt>
                <c:pt idx="17">
                  <c:v>0.02897045724878084</c:v>
                </c:pt>
                <c:pt idx="18">
                  <c:v>0.02393688708007086</c:v>
                </c:pt>
                <c:pt idx="19">
                  <c:v>0.008866803761563229</c:v>
                </c:pt>
                <c:pt idx="20">
                  <c:v>0.04115108794389462</c:v>
                </c:pt>
                <c:pt idx="21">
                  <c:v>0.05193293617177</c:v>
                </c:pt>
                <c:pt idx="22">
                  <c:v>0.030399869966666614</c:v>
                </c:pt>
                <c:pt idx="23">
                  <c:v>0.008866803761563229</c:v>
                </c:pt>
                <c:pt idx="24">
                  <c:v>0.008866803761563229</c:v>
                </c:pt>
                <c:pt idx="25">
                  <c:v>0.012603694340542763</c:v>
                </c:pt>
                <c:pt idx="26">
                  <c:v>0.008866803761563229</c:v>
                </c:pt>
                <c:pt idx="27">
                  <c:v>0.019618021738791236</c:v>
                </c:pt>
                <c:pt idx="28">
                  <c:v>0.015942391661106448</c:v>
                </c:pt>
                <c:pt idx="29">
                  <c:v>0.018553620528795015</c:v>
                </c:pt>
                <c:pt idx="30">
                  <c:v>0.008866803761563229</c:v>
                </c:pt>
                <c:pt idx="31">
                  <c:v>0.008866803761563229</c:v>
                </c:pt>
                <c:pt idx="32">
                  <c:v>0.008866803761563229</c:v>
                </c:pt>
                <c:pt idx="33">
                  <c:v>0.008866803761563229</c:v>
                </c:pt>
                <c:pt idx="34">
                  <c:v>0.01683066892988027</c:v>
                </c:pt>
                <c:pt idx="35">
                  <c:v>0.008866803761563229</c:v>
                </c:pt>
                <c:pt idx="36">
                  <c:v>0.008866803761563229</c:v>
                </c:pt>
                <c:pt idx="37">
                  <c:v>0.008866803761563229</c:v>
                </c:pt>
                <c:pt idx="38">
                  <c:v>0.008866803761563229</c:v>
                </c:pt>
                <c:pt idx="39">
                  <c:v>0.03900697039857849</c:v>
                </c:pt>
                <c:pt idx="40">
                  <c:v>0.04596253439320415</c:v>
                </c:pt>
                <c:pt idx="41">
                  <c:v>0.1562276576221002</c:v>
                </c:pt>
                <c:pt idx="42">
                  <c:v>0.004714285714285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77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0769230769230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143847076293204</c:v>
                </c:pt>
                <c:pt idx="1">
                  <c:v>0.7844972230066837</c:v>
                </c:pt>
                <c:pt idx="2">
                  <c:v>0.6848653713298791</c:v>
                </c:pt>
                <c:pt idx="3">
                  <c:v>0.7296543026975648</c:v>
                </c:pt>
                <c:pt idx="4">
                  <c:v>0.7587012450082218</c:v>
                </c:pt>
                <c:pt idx="5">
                  <c:v>0.7885285955743249</c:v>
                </c:pt>
                <c:pt idx="6">
                  <c:v>0.7299180662912526</c:v>
                </c:pt>
                <c:pt idx="7">
                  <c:v>0.7692825845532558</c:v>
                </c:pt>
                <c:pt idx="8">
                  <c:v>0.712435470364891</c:v>
                </c:pt>
                <c:pt idx="9">
                  <c:v>0.7145135880267821</c:v>
                </c:pt>
                <c:pt idx="10">
                  <c:v>0.6515822422334229</c:v>
                </c:pt>
                <c:pt idx="11">
                  <c:v>0.7012123069290938</c:v>
                </c:pt>
                <c:pt idx="12">
                  <c:v>0.7540030024213075</c:v>
                </c:pt>
                <c:pt idx="13">
                  <c:v>0.729689646895332</c:v>
                </c:pt>
                <c:pt idx="14">
                  <c:v>0.7253737435818788</c:v>
                </c:pt>
                <c:pt idx="15">
                  <c:v>0.7138862555066079</c:v>
                </c:pt>
                <c:pt idx="16">
                  <c:v>0.6922647554913574</c:v>
                </c:pt>
                <c:pt idx="17">
                  <c:v>0.631155836373967</c:v>
                </c:pt>
                <c:pt idx="18">
                  <c:v>0.7825970559839398</c:v>
                </c:pt>
                <c:pt idx="19">
                  <c:v>0.7403934126258005</c:v>
                </c:pt>
                <c:pt idx="20">
                  <c:v>0.7301853331067302</c:v>
                </c:pt>
                <c:pt idx="21">
                  <c:v>0.6243971696261675</c:v>
                </c:pt>
                <c:pt idx="22">
                  <c:v>0.7785045577523413</c:v>
                </c:pt>
                <c:pt idx="23">
                  <c:v>0.8788850448654038</c:v>
                </c:pt>
                <c:pt idx="24">
                  <c:v>0.6797899729104372</c:v>
                </c:pt>
                <c:pt idx="25">
                  <c:v>0.5810408921933086</c:v>
                </c:pt>
                <c:pt idx="26">
                  <c:v>0.5515421279503564</c:v>
                </c:pt>
                <c:pt idx="27">
                  <c:v>0.5848547864455317</c:v>
                </c:pt>
                <c:pt idx="28">
                  <c:v>0.47673306386418757</c:v>
                </c:pt>
                <c:pt idx="29">
                  <c:v>0.5819695756605284</c:v>
                </c:pt>
                <c:pt idx="30">
                  <c:v>0.36027137232845896</c:v>
                </c:pt>
                <c:pt idx="31">
                  <c:v>0.4541018217306442</c:v>
                </c:pt>
                <c:pt idx="32">
                  <c:v>0.8415331807780321</c:v>
                </c:pt>
                <c:pt idx="33">
                  <c:v>0.32249093577981647</c:v>
                </c:pt>
                <c:pt idx="34">
                  <c:v>0.43295830696202536</c:v>
                </c:pt>
                <c:pt idx="35">
                  <c:v>0.33217382079939384</c:v>
                </c:pt>
                <c:pt idx="36">
                  <c:v>0.28100509915014166</c:v>
                </c:pt>
                <c:pt idx="37">
                  <c:v>0.4425308171491389</c:v>
                </c:pt>
                <c:pt idx="38">
                  <c:v>0.35939193537566694</c:v>
                </c:pt>
                <c:pt idx="39">
                  <c:v>0.38389833332050116</c:v>
                </c:pt>
                <c:pt idx="40">
                  <c:v>0.5195309853733642</c:v>
                </c:pt>
                <c:pt idx="41">
                  <c:v>0.5858022498602613</c:v>
                </c:pt>
                <c:pt idx="42">
                  <c:v>0.5801587301587302</c:v>
                </c:pt>
                <c:pt idx="43">
                  <c:v>0.6665756756756757</c:v>
                </c:pt>
                <c:pt idx="44">
                  <c:v>0.7146295729113492</c:v>
                </c:pt>
                <c:pt idx="45">
                  <c:v>0.7486237632787639</c:v>
                </c:pt>
                <c:pt idx="46">
                  <c:v>0.7496592306259003</c:v>
                </c:pt>
                <c:pt idx="47">
                  <c:v>0.7056548951048951</c:v>
                </c:pt>
                <c:pt idx="48">
                  <c:v>0.7767124699298421</c:v>
                </c:pt>
                <c:pt idx="49">
                  <c:v>0.7517090859580648</c:v>
                </c:pt>
                <c:pt idx="50">
                  <c:v>0.7609850967531678</c:v>
                </c:pt>
                <c:pt idx="51">
                  <c:v>0.7461431588466872</c:v>
                </c:pt>
                <c:pt idx="52">
                  <c:v>0.7449356868513525</c:v>
                </c:pt>
                <c:pt idx="53">
                  <c:v>0.8929263086921558</c:v>
                </c:pt>
                <c:pt idx="54">
                  <c:v>0.8838034542314335</c:v>
                </c:pt>
                <c:pt idx="55">
                  <c:v>0.7750857022332753</c:v>
                </c:pt>
                <c:pt idx="56">
                  <c:v>0.850160136869119</c:v>
                </c:pt>
                <c:pt idx="57">
                  <c:v>0.7812474913336982</c:v>
                </c:pt>
                <c:pt idx="58">
                  <c:v>0.7531012678288431</c:v>
                </c:pt>
                <c:pt idx="59">
                  <c:v>0.8056905188650334</c:v>
                </c:pt>
                <c:pt idx="60">
                  <c:v>0.7928320797462619</c:v>
                </c:pt>
                <c:pt idx="61">
                  <c:v>0.7774964644112293</c:v>
                </c:pt>
                <c:pt idx="62">
                  <c:v>0.7505263561749638</c:v>
                </c:pt>
                <c:pt idx="63">
                  <c:v>0.7574565037282519</c:v>
                </c:pt>
                <c:pt idx="64">
                  <c:v>0.7842497570630661</c:v>
                </c:pt>
                <c:pt idx="65">
                  <c:v>0.8008426217209196</c:v>
                </c:pt>
                <c:pt idx="66">
                  <c:v>0.9544821886510114</c:v>
                </c:pt>
                <c:pt idx="67">
                  <c:v>0.8712030358026729</c:v>
                </c:pt>
                <c:pt idx="68">
                  <c:v>0.9688427273615317</c:v>
                </c:pt>
                <c:pt idx="69">
                  <c:v>0.8079507563566142</c:v>
                </c:pt>
                <c:pt idx="70">
                  <c:v>1.0026901529140122</c:v>
                </c:pt>
                <c:pt idx="71">
                  <c:v>1.0381459019095163</c:v>
                </c:pt>
                <c:pt idx="72">
                  <c:v>0.9682383184344044</c:v>
                </c:pt>
                <c:pt idx="73">
                  <c:v>0.9989648984746449</c:v>
                </c:pt>
                <c:pt idx="74">
                  <c:v>1.1247541099139504</c:v>
                </c:pt>
                <c:pt idx="75">
                  <c:v>3.2338061869765853</c:v>
                </c:pt>
                <c:pt idx="76">
                  <c:v>1.842211375212224</c:v>
                </c:pt>
                <c:pt idx="77">
                  <c:v>0.7712150275373721</c:v>
                </c:pt>
                <c:pt idx="78">
                  <c:v>1.1592538419618528</c:v>
                </c:pt>
                <c:pt idx="79">
                  <c:v>1.0299313501144165</c:v>
                </c:pt>
                <c:pt idx="80">
                  <c:v>1.7082945810016115</c:v>
                </c:pt>
                <c:pt idx="81">
                  <c:v>2.352273838630807</c:v>
                </c:pt>
                <c:pt idx="82">
                  <c:v>1.213832580321285</c:v>
                </c:pt>
                <c:pt idx="83">
                  <c:v>2.4599134480337077</c:v>
                </c:pt>
                <c:pt idx="84">
                  <c:v>1.023864410011919</c:v>
                </c:pt>
                <c:pt idx="85">
                  <c:v>0.8424583557993003</c:v>
                </c:pt>
                <c:pt idx="86">
                  <c:v>0.8303853219270599</c:v>
                </c:pt>
                <c:pt idx="87">
                  <c:v>1.1456350374168376</c:v>
                </c:pt>
                <c:pt idx="88">
                  <c:v>1.4106376609442062</c:v>
                </c:pt>
                <c:pt idx="89">
                  <c:v>4.0413117546848385</c:v>
                </c:pt>
                <c:pt idx="90">
                  <c:v>0.9434947768281101</c:v>
                </c:pt>
                <c:pt idx="91">
                  <c:v>2.2797484759917053</c:v>
                </c:pt>
                <c:pt idx="92">
                  <c:v>1.2418666629469972</c:v>
                </c:pt>
                <c:pt idx="93">
                  <c:v>1.04446223738113</c:v>
                </c:pt>
                <c:pt idx="94">
                  <c:v>1.0008788399570354</c:v>
                </c:pt>
                <c:pt idx="95">
                  <c:v>0.9717892521608418</c:v>
                </c:pt>
                <c:pt idx="96">
                  <c:v>0.4093766570008285</c:v>
                </c:pt>
                <c:pt idx="97">
                  <c:v>0.7286001933114247</c:v>
                </c:pt>
                <c:pt idx="98">
                  <c:v>0.7964112252381759</c:v>
                </c:pt>
                <c:pt idx="99">
                  <c:v>1.1912314310798946</c:v>
                </c:pt>
                <c:pt idx="100">
                  <c:v>0.9161750859560963</c:v>
                </c:pt>
                <c:pt idx="101">
                  <c:v>0.8160785019805545</c:v>
                </c:pt>
                <c:pt idx="102">
                  <c:v>1.1893972118687637</c:v>
                </c:pt>
                <c:pt idx="103">
                  <c:v>1.0582618905233436</c:v>
                </c:pt>
                <c:pt idx="104">
                  <c:v>0.9430677870622478</c:v>
                </c:pt>
              </c:numCache>
            </c:numRef>
          </c:xVal>
          <c:yVal>
            <c:numRef>
              <c:f>Sheet1!$B$2:$B$106</c:f>
              <c:numCache>
                <c:formatCode>General</c:formatCode>
                <c:ptCount val="105"/>
                <c:pt idx="0">
                  <c:v>0.6166666666666667</c:v>
                </c:pt>
                <c:pt idx="1">
                  <c:v>0.5785123966942148</c:v>
                </c:pt>
                <c:pt idx="2">
                  <c:v>0.6377952755905512</c:v>
                </c:pt>
                <c:pt idx="3">
                  <c:v>0.5891472868217055</c:v>
                </c:pt>
                <c:pt idx="4">
                  <c:v>0.6203703703703703</c:v>
                </c:pt>
                <c:pt idx="5">
                  <c:v>0.572463768115942</c:v>
                </c:pt>
                <c:pt idx="6">
                  <c:v>0.609271523178808</c:v>
                </c:pt>
                <c:pt idx="7">
                  <c:v>0.5735294117647058</c:v>
                </c:pt>
                <c:pt idx="8">
                  <c:v>0.6193548387096774</c:v>
                </c:pt>
                <c:pt idx="9">
                  <c:v>0.5988023952095808</c:v>
                </c:pt>
                <c:pt idx="10">
                  <c:v>0.5868263473053892</c:v>
                </c:pt>
                <c:pt idx="11">
                  <c:v>0.5363128491620112</c:v>
                </c:pt>
                <c:pt idx="12">
                  <c:v>0.62</c:v>
                </c:pt>
                <c:pt idx="13">
                  <c:v>0.5854922279792746</c:v>
                </c:pt>
                <c:pt idx="14">
                  <c:v>0.562874251497006</c:v>
                </c:pt>
                <c:pt idx="15">
                  <c:v>0.5948275862068966</c:v>
                </c:pt>
                <c:pt idx="16">
                  <c:v>0.5604395604395604</c:v>
                </c:pt>
                <c:pt idx="17">
                  <c:v>0.573170731707317</c:v>
                </c:pt>
                <c:pt idx="18">
                  <c:v>0.5555555555555556</c:v>
                </c:pt>
                <c:pt idx="19">
                  <c:v>0.5925925925925926</c:v>
                </c:pt>
                <c:pt idx="20">
                  <c:v>0.5735294117647058</c:v>
                </c:pt>
                <c:pt idx="21">
                  <c:v>0.5714285714285714</c:v>
                </c:pt>
                <c:pt idx="22">
                  <c:v>0.5283018867924528</c:v>
                </c:pt>
                <c:pt idx="23">
                  <c:v>0.575</c:v>
                </c:pt>
                <c:pt idx="24">
                  <c:v>0.5714285714285714</c:v>
                </c:pt>
                <c:pt idx="25">
                  <c:v>0.5641025641025641</c:v>
                </c:pt>
                <c:pt idx="26">
                  <c:v>0.5789473684210527</c:v>
                </c:pt>
                <c:pt idx="27">
                  <c:v>0.5869565217391305</c:v>
                </c:pt>
                <c:pt idx="28">
                  <c:v>0.5818181818181818</c:v>
                </c:pt>
                <c:pt idx="29">
                  <c:v>0.5813953488372093</c:v>
                </c:pt>
                <c:pt idx="30">
                  <c:v>0.5333333333333333</c:v>
                </c:pt>
                <c:pt idx="31">
                  <c:v>0.5641025641025641</c:v>
                </c:pt>
                <c:pt idx="32">
                  <c:v>0.5517241379310345</c:v>
                </c:pt>
                <c:pt idx="33">
                  <c:v>0.6470588235294118</c:v>
                </c:pt>
                <c:pt idx="34">
                  <c:v>0.6</c:v>
                </c:pt>
                <c:pt idx="35">
                  <c:v>0.6666666666666666</c:v>
                </c:pt>
                <c:pt idx="36">
                  <c:v>0.7638888888888888</c:v>
                </c:pt>
                <c:pt idx="37">
                  <c:v>0.6666666666666666</c:v>
                </c:pt>
                <c:pt idx="38">
                  <c:v>0.6511627906976745</c:v>
                </c:pt>
                <c:pt idx="39">
                  <c:v>0.5897435897435898</c:v>
                </c:pt>
                <c:pt idx="40">
                  <c:v>0.5918367346938775</c:v>
                </c:pt>
                <c:pt idx="41">
                  <c:v>0.6</c:v>
                </c:pt>
                <c:pt idx="42">
                  <c:v>0.5238095238095238</c:v>
                </c:pt>
                <c:pt idx="43">
                  <c:v>0.4426229508196721</c:v>
                </c:pt>
                <c:pt idx="44">
                  <c:v>0.5189873417721519</c:v>
                </c:pt>
                <c:pt idx="45">
                  <c:v>0.4811320754716981</c:v>
                </c:pt>
                <c:pt idx="46">
                  <c:v>0.5106382978723404</c:v>
                </c:pt>
                <c:pt idx="47">
                  <c:v>0.5048543689320388</c:v>
                </c:pt>
                <c:pt idx="48">
                  <c:v>0.4966442953020134</c:v>
                </c:pt>
                <c:pt idx="49">
                  <c:v>0.510752688172043</c:v>
                </c:pt>
                <c:pt idx="50">
                  <c:v>0.44</c:v>
                </c:pt>
                <c:pt idx="51">
                  <c:v>0.4387755102040816</c:v>
                </c:pt>
                <c:pt idx="52">
                  <c:v>0.4368932038834951</c:v>
                </c:pt>
                <c:pt idx="53">
                  <c:v>0.43010752688172044</c:v>
                </c:pt>
                <c:pt idx="54">
                  <c:v>0.42857142857142855</c:v>
                </c:pt>
                <c:pt idx="55">
                  <c:v>0.4418604651162791</c:v>
                </c:pt>
                <c:pt idx="56">
                  <c:v>0.4673913043478261</c:v>
                </c:pt>
                <c:pt idx="57">
                  <c:v>0.4523809523809524</c:v>
                </c:pt>
                <c:pt idx="58">
                  <c:v>0.464</c:v>
                </c:pt>
                <c:pt idx="59">
                  <c:v>0.45121951219512196</c:v>
                </c:pt>
                <c:pt idx="60">
                  <c:v>0.4880952380952381</c:v>
                </c:pt>
                <c:pt idx="61">
                  <c:v>0.5067567567567568</c:v>
                </c:pt>
                <c:pt idx="62">
                  <c:v>0.4930555555555556</c:v>
                </c:pt>
                <c:pt idx="63">
                  <c:v>0.47904191616766467</c:v>
                </c:pt>
                <c:pt idx="64">
                  <c:v>0.4437869822485207</c:v>
                </c:pt>
                <c:pt idx="65">
                  <c:v>0.5088757396449705</c:v>
                </c:pt>
                <c:pt idx="66">
                  <c:v>0.49019607843137253</c:v>
                </c:pt>
                <c:pt idx="67">
                  <c:v>0.47580645161290325</c:v>
                </c:pt>
                <c:pt idx="68">
                  <c:v>0.4791666666666667</c:v>
                </c:pt>
                <c:pt idx="69">
                  <c:v>0.5076923076923077</c:v>
                </c:pt>
                <c:pt idx="70">
                  <c:v>0.41025641025641024</c:v>
                </c:pt>
                <c:pt idx="71">
                  <c:v>0.47297297297297297</c:v>
                </c:pt>
                <c:pt idx="72">
                  <c:v>0.27956989247311825</c:v>
                </c:pt>
                <c:pt idx="73">
                  <c:v>0.36585365853658536</c:v>
                </c:pt>
                <c:pt idx="74">
                  <c:v>0.4</c:v>
                </c:pt>
                <c:pt idx="75">
                  <c:v>0.2711864406779661</c:v>
                </c:pt>
                <c:pt idx="76">
                  <c:v>0.43243243243243246</c:v>
                </c:pt>
                <c:pt idx="77">
                  <c:v>0.3783783783783784</c:v>
                </c:pt>
                <c:pt idx="78">
                  <c:v>0.4482758620689655</c:v>
                </c:pt>
                <c:pt idx="79">
                  <c:v>0.4</c:v>
                </c:pt>
                <c:pt idx="80">
                  <c:v>0.3</c:v>
                </c:pt>
                <c:pt idx="81">
                  <c:v>0.39473684210526316</c:v>
                </c:pt>
                <c:pt idx="82">
                  <c:v>0.3548387096774194</c:v>
                </c:pt>
                <c:pt idx="83">
                  <c:v>0.3157894736842105</c:v>
                </c:pt>
                <c:pt idx="84">
                  <c:v>0.4090909090909091</c:v>
                </c:pt>
                <c:pt idx="85">
                  <c:v>0.375</c:v>
                </c:pt>
                <c:pt idx="86">
                  <c:v>0.45161290322580644</c:v>
                </c:pt>
                <c:pt idx="87">
                  <c:v>0.41935483870967744</c:v>
                </c:pt>
                <c:pt idx="88">
                  <c:v>0.3333333333333333</c:v>
                </c:pt>
                <c:pt idx="89">
                  <c:v>0.25806451612903225</c:v>
                </c:pt>
                <c:pt idx="90">
                  <c:v>0.38095238095238093</c:v>
                </c:pt>
                <c:pt idx="91">
                  <c:v>0.16666666666666666</c:v>
                </c:pt>
                <c:pt idx="92">
                  <c:v>0.3684210526315789</c:v>
                </c:pt>
                <c:pt idx="93">
                  <c:v>0.4838709677419355</c:v>
                </c:pt>
                <c:pt idx="94">
                  <c:v>0.4074074074074074</c:v>
                </c:pt>
                <c:pt idx="95">
                  <c:v>0.4915254237288136</c:v>
                </c:pt>
                <c:pt idx="96">
                  <c:v>0.6415094339622641</c:v>
                </c:pt>
                <c:pt idx="97">
                  <c:v>0.5495495495495496</c:v>
                </c:pt>
                <c:pt idx="98">
                  <c:v>0.5080645161290323</c:v>
                </c:pt>
                <c:pt idx="99">
                  <c:v>0.49230769230769234</c:v>
                </c:pt>
                <c:pt idx="100">
                  <c:v>0.46</c:v>
                </c:pt>
                <c:pt idx="101">
                  <c:v>0.4235294117647059</c:v>
                </c:pt>
                <c:pt idx="102">
                  <c:v>0.40789473684210525</c:v>
                </c:pt>
                <c:pt idx="103">
                  <c:v>0.3888888888888889</c:v>
                </c:pt>
                <c:pt idx="104">
                  <c:v>0.35616438356164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537800282618936</c:v>
                </c:pt>
                <c:pt idx="1">
                  <c:v>0.8604825157955188</c:v>
                </c:pt>
                <c:pt idx="2">
                  <c:v>1.0287258806113158</c:v>
                </c:pt>
                <c:pt idx="3">
                  <c:v>0.7836065573770492</c:v>
                </c:pt>
                <c:pt idx="4">
                  <c:v>0.7118266274918236</c:v>
                </c:pt>
                <c:pt idx="5">
                  <c:v>0.8900290268787132</c:v>
                </c:pt>
                <c:pt idx="6">
                  <c:v>0.8431225404020545</c:v>
                </c:pt>
                <c:pt idx="7">
                  <c:v>0.9160986297651277</c:v>
                </c:pt>
                <c:pt idx="8">
                  <c:v>0.9840762525314782</c:v>
                </c:pt>
                <c:pt idx="9">
                  <c:v>0.8388079149829337</c:v>
                </c:pt>
                <c:pt idx="10">
                  <c:v>0.9078462850399059</c:v>
                </c:pt>
                <c:pt idx="11">
                  <c:v>0.9066152826855125</c:v>
                </c:pt>
                <c:pt idx="12">
                  <c:v>0.7777841553531535</c:v>
                </c:pt>
                <c:pt idx="13">
                  <c:v>0.7029027788964962</c:v>
                </c:pt>
                <c:pt idx="14">
                  <c:v>0.6228533174023053</c:v>
                </c:pt>
                <c:pt idx="15">
                  <c:v>0.6222139203354992</c:v>
                </c:pt>
                <c:pt idx="16">
                  <c:v>0.7626298455284923</c:v>
                </c:pt>
                <c:pt idx="17">
                  <c:v>0.624817125300561</c:v>
                </c:pt>
                <c:pt idx="18">
                  <c:v>0.8457246085909272</c:v>
                </c:pt>
                <c:pt idx="19">
                  <c:v>0.7279065075412704</c:v>
                </c:pt>
                <c:pt idx="20">
                  <c:v>0.859048009848174</c:v>
                </c:pt>
                <c:pt idx="21">
                  <c:v>0.7997446945337621</c:v>
                </c:pt>
                <c:pt idx="22">
                  <c:v>0.5942713554298032</c:v>
                </c:pt>
                <c:pt idx="23">
                  <c:v>0.8078820754716981</c:v>
                </c:pt>
                <c:pt idx="24">
                  <c:v>0.885342066845947</c:v>
                </c:pt>
                <c:pt idx="25">
                  <c:v>0.8254668247505595</c:v>
                </c:pt>
                <c:pt idx="26">
                  <c:v>0.7248044803474266</c:v>
                </c:pt>
                <c:pt idx="27">
                  <c:v>0.8139660721363455</c:v>
                </c:pt>
                <c:pt idx="28">
                  <c:v>0.8151388423988843</c:v>
                </c:pt>
                <c:pt idx="29">
                  <c:v>0.938800655498375</c:v>
                </c:pt>
                <c:pt idx="30">
                  <c:v>0.9781659388646288</c:v>
                </c:pt>
                <c:pt idx="31">
                  <c:v>0.9272702780441036</c:v>
                </c:pt>
                <c:pt idx="32">
                  <c:v>0.4773838630806846</c:v>
                </c:pt>
                <c:pt idx="33">
                  <c:v>0.9113337953044361</c:v>
                </c:pt>
                <c:pt idx="34">
                  <c:v>0.9389540557180237</c:v>
                </c:pt>
                <c:pt idx="35">
                  <c:v>0.843774551932515</c:v>
                </c:pt>
                <c:pt idx="36">
                  <c:v>0.9895155459146783</c:v>
                </c:pt>
                <c:pt idx="37">
                  <c:v>0.9044585987261147</c:v>
                </c:pt>
                <c:pt idx="38">
                  <c:v>0.6027568922305765</c:v>
                </c:pt>
                <c:pt idx="39">
                  <c:v>0.8424590938098276</c:v>
                </c:pt>
                <c:pt idx="40">
                  <c:v>0.8083410303587857</c:v>
                </c:pt>
                <c:pt idx="41">
                  <c:v>0.7899012074643249</c:v>
                </c:pt>
                <c:pt idx="42">
                  <c:v>0.5459684912281519</c:v>
                </c:pt>
                <c:pt idx="43">
                  <c:v>0.7080278920078671</c:v>
                </c:pt>
                <c:pt idx="44">
                  <c:v>0.9886107393973991</c:v>
                </c:pt>
                <c:pt idx="45">
                  <c:v>0.8910764306869208</c:v>
                </c:pt>
                <c:pt idx="46">
                  <c:v>0.8889176790571169</c:v>
                </c:pt>
                <c:pt idx="47">
                  <c:v>0.824666661034839</c:v>
                </c:pt>
                <c:pt idx="48">
                  <c:v>1.0106047071794295</c:v>
                </c:pt>
                <c:pt idx="49">
                  <c:v>0.9690171077136299</c:v>
                </c:pt>
                <c:pt idx="50">
                  <c:v>0.8804039919333913</c:v>
                </c:pt>
                <c:pt idx="51">
                  <c:v>0.8634437406794125</c:v>
                </c:pt>
              </c:numCache>
            </c:numRef>
          </c:xVal>
          <c:yVal>
            <c:numRef>
              <c:f>Sheet1!$B$109:$B$160</c:f>
              <c:numCache>
                <c:formatCode>General</c:formatCode>
                <c:ptCount val="52"/>
                <c:pt idx="0">
                  <c:v>0.3764705882352941</c:v>
                </c:pt>
                <c:pt idx="1">
                  <c:v>0.41333333333333333</c:v>
                </c:pt>
                <c:pt idx="2">
                  <c:v>0.3917525773195876</c:v>
                </c:pt>
                <c:pt idx="3">
                  <c:v>0.4166666666666667</c:v>
                </c:pt>
                <c:pt idx="4">
                  <c:v>0.4329896907216495</c:v>
                </c:pt>
                <c:pt idx="5">
                  <c:v>0.4090909090909091</c:v>
                </c:pt>
                <c:pt idx="6">
                  <c:v>0.4215686274509804</c:v>
                </c:pt>
                <c:pt idx="7">
                  <c:v>0.41975308641975306</c:v>
                </c:pt>
                <c:pt idx="8">
                  <c:v>0.3333333333333333</c:v>
                </c:pt>
                <c:pt idx="9">
                  <c:v>0.38461538461538464</c:v>
                </c:pt>
                <c:pt idx="10">
                  <c:v>0.44086021505376344</c:v>
                </c:pt>
                <c:pt idx="11">
                  <c:v>0.4642857142857143</c:v>
                </c:pt>
                <c:pt idx="12">
                  <c:v>0.5510204081632653</c:v>
                </c:pt>
                <c:pt idx="13">
                  <c:v>0.4642857142857143</c:v>
                </c:pt>
                <c:pt idx="14">
                  <c:v>0.48936170212765956</c:v>
                </c:pt>
                <c:pt idx="15">
                  <c:v>0.47674418604651164</c:v>
                </c:pt>
                <c:pt idx="16">
                  <c:v>0.4426229508196721</c:v>
                </c:pt>
                <c:pt idx="17">
                  <c:v>0.42857142857142855</c:v>
                </c:pt>
                <c:pt idx="18">
                  <c:v>0.425531914893617</c:v>
                </c:pt>
                <c:pt idx="19">
                  <c:v>0.4727272727272727</c:v>
                </c:pt>
                <c:pt idx="20">
                  <c:v>0.41025641025641024</c:v>
                </c:pt>
                <c:pt idx="21">
                  <c:v>0.4358974358974359</c:v>
                </c:pt>
                <c:pt idx="22">
                  <c:v>0.4782608695652174</c:v>
                </c:pt>
                <c:pt idx="23">
                  <c:v>0.425</c:v>
                </c:pt>
                <c:pt idx="24">
                  <c:v>0.3793103448275862</c:v>
                </c:pt>
                <c:pt idx="25">
                  <c:v>0.38461538461538464</c:v>
                </c:pt>
                <c:pt idx="26">
                  <c:v>0.34615384615384615</c:v>
                </c:pt>
                <c:pt idx="27">
                  <c:v>0.34375</c:v>
                </c:pt>
                <c:pt idx="28">
                  <c:v>0.4230769230769231</c:v>
                </c:pt>
                <c:pt idx="29">
                  <c:v>0.2857142857142857</c:v>
                </c:pt>
                <c:pt idx="30">
                  <c:v>0.29411764705882354</c:v>
                </c:pt>
                <c:pt idx="31">
                  <c:v>0.3684210526315789</c:v>
                </c:pt>
                <c:pt idx="32">
                  <c:v>0.38095238095238093</c:v>
                </c:pt>
                <c:pt idx="33">
                  <c:v>0.32</c:v>
                </c:pt>
                <c:pt idx="34">
                  <c:v>0.37142857142857144</c:v>
                </c:pt>
                <c:pt idx="35">
                  <c:v>0.47619047619047616</c:v>
                </c:pt>
                <c:pt idx="36">
                  <c:v>0.4</c:v>
                </c:pt>
                <c:pt idx="37">
                  <c:v>0.3333333333333333</c:v>
                </c:pt>
                <c:pt idx="38">
                  <c:v>0.5</c:v>
                </c:pt>
                <c:pt idx="39">
                  <c:v>0.625</c:v>
                </c:pt>
                <c:pt idx="40">
                  <c:v>0.36363636363636365</c:v>
                </c:pt>
                <c:pt idx="41">
                  <c:v>0.35714285714285715</c:v>
                </c:pt>
                <c:pt idx="42">
                  <c:v>0.2962962962962963</c:v>
                </c:pt>
                <c:pt idx="43">
                  <c:v>0.46808510638297873</c:v>
                </c:pt>
                <c:pt idx="44">
                  <c:v>0.32608695652173914</c:v>
                </c:pt>
                <c:pt idx="45">
                  <c:v>0.4027777777777778</c:v>
                </c:pt>
                <c:pt idx="46">
                  <c:v>0.3620689655172414</c:v>
                </c:pt>
                <c:pt idx="47">
                  <c:v>0.36</c:v>
                </c:pt>
                <c:pt idx="48">
                  <c:v>0.3561643835616438</c:v>
                </c:pt>
                <c:pt idx="49">
                  <c:v>0.41904761904761906</c:v>
                </c:pt>
                <c:pt idx="50">
                  <c:v>0.39759036144578314</c:v>
                </c:pt>
                <c:pt idx="51">
                  <c:v>0.3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39941267232328</c:v>
                </c:pt>
              </c:numCache>
            </c:numRef>
          </c:xVal>
          <c:yVal>
            <c:numRef>
              <c:f>Sheet1!$B$163:$B$164</c:f>
              <c:numCache>
                <c:formatCode>General</c:formatCode>
                <c:ptCount val="2"/>
                <c:pt idx="0">
                  <c:v>0.6019012819902936</c:v>
                </c:pt>
                <c:pt idx="1">
                  <c:v>0.60190128199029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39941267232328</c:v>
                </c:pt>
                <c:pt idx="1">
                  <c:v>-0.2839941267232328</c:v>
                </c:pt>
              </c:numCache>
            </c:numRef>
          </c:xVal>
          <c:yVal>
            <c:numRef>
              <c:f>Sheet1!$B$167:$B$168</c:f>
              <c:numCache>
                <c:formatCode>General</c:formatCode>
                <c:ptCount val="2"/>
                <c:pt idx="0">
                  <c:v>0.6019012819902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615419745828804</c:v>
                </c:pt>
              </c:numCache>
            </c:numRef>
          </c:xVal>
          <c:yVal>
            <c:numRef>
              <c:f>Sheet1!$B$171:$B$172</c:f>
              <c:numCache>
                <c:formatCode>General</c:formatCode>
                <c:ptCount val="2"/>
                <c:pt idx="0">
                  <c:v>0.4528292875187577</c:v>
                </c:pt>
                <c:pt idx="1">
                  <c:v>0.452829287518757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615419745828804</c:v>
                </c:pt>
                <c:pt idx="1">
                  <c:v>0.5615419745828804</c:v>
                </c:pt>
              </c:numCache>
            </c:numRef>
          </c:xVal>
          <c:yVal>
            <c:numRef>
              <c:f>Sheet1!$B$175:$B$176</c:f>
              <c:numCache>
                <c:formatCode>General</c:formatCode>
                <c:ptCount val="2"/>
                <c:pt idx="0">
                  <c:v>0.452829287518757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009386686157755</c:v>
                </c:pt>
              </c:numCache>
            </c:numRef>
          </c:xVal>
          <c:yVal>
            <c:numRef>
              <c:f>Sheet1!$B$179:$B$180</c:f>
              <c:numCache>
                <c:formatCode>General</c:formatCode>
                <c:ptCount val="2"/>
                <c:pt idx="0">
                  <c:v>0.3929920528715615</c:v>
                </c:pt>
                <c:pt idx="1">
                  <c:v>0.39299205287156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009386686157755</c:v>
                </c:pt>
                <c:pt idx="1">
                  <c:v>0.9009386686157755</c:v>
                </c:pt>
              </c:numCache>
            </c:numRef>
          </c:xVal>
          <c:yVal>
            <c:numRef>
              <c:f>Sheet1!$B$183:$B$184</c:f>
              <c:numCache>
                <c:formatCode>General</c:formatCode>
                <c:ptCount val="2"/>
                <c:pt idx="0">
                  <c:v>0.39299205287156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537800282618936</c:v>
                </c:pt>
                <c:pt idx="1">
                  <c:v>0.8604825157955188</c:v>
                </c:pt>
                <c:pt idx="2">
                  <c:v>1.0287258806113158</c:v>
                </c:pt>
                <c:pt idx="3">
                  <c:v>0.7836065573770492</c:v>
                </c:pt>
                <c:pt idx="4">
                  <c:v>0.7118266274918236</c:v>
                </c:pt>
                <c:pt idx="5">
                  <c:v>0.8900290268787132</c:v>
                </c:pt>
                <c:pt idx="6">
                  <c:v>0.8431225404020545</c:v>
                </c:pt>
                <c:pt idx="7">
                  <c:v>0.9160986297651277</c:v>
                </c:pt>
                <c:pt idx="8">
                  <c:v>0.9840762525314782</c:v>
                </c:pt>
                <c:pt idx="9">
                  <c:v>0.8388079149829337</c:v>
                </c:pt>
                <c:pt idx="10">
                  <c:v>0.9078462850399059</c:v>
                </c:pt>
                <c:pt idx="11">
                  <c:v>0.9066152826855125</c:v>
                </c:pt>
                <c:pt idx="12">
                  <c:v>0.7777841553531535</c:v>
                </c:pt>
                <c:pt idx="13">
                  <c:v>0.7029027788964962</c:v>
                </c:pt>
                <c:pt idx="14">
                  <c:v>0.6228533174023053</c:v>
                </c:pt>
                <c:pt idx="15">
                  <c:v>0.6222139203354992</c:v>
                </c:pt>
                <c:pt idx="16">
                  <c:v>0.7626298455284923</c:v>
                </c:pt>
                <c:pt idx="17">
                  <c:v>0.624817125300561</c:v>
                </c:pt>
                <c:pt idx="18">
                  <c:v>0.8457246085909272</c:v>
                </c:pt>
                <c:pt idx="19">
                  <c:v>0.7279065075412704</c:v>
                </c:pt>
                <c:pt idx="20">
                  <c:v>0.859048009848174</c:v>
                </c:pt>
                <c:pt idx="21">
                  <c:v>0.7997446945337621</c:v>
                </c:pt>
                <c:pt idx="22">
                  <c:v>0.5942713554298032</c:v>
                </c:pt>
                <c:pt idx="23">
                  <c:v>0.8078820754716981</c:v>
                </c:pt>
                <c:pt idx="24">
                  <c:v>0.885342066845947</c:v>
                </c:pt>
                <c:pt idx="25">
                  <c:v>0.8254668247505595</c:v>
                </c:pt>
                <c:pt idx="26">
                  <c:v>0.7248044803474266</c:v>
                </c:pt>
                <c:pt idx="27">
                  <c:v>0.8139660721363455</c:v>
                </c:pt>
                <c:pt idx="28">
                  <c:v>0.8151388423988843</c:v>
                </c:pt>
                <c:pt idx="29">
                  <c:v>0.938800655498375</c:v>
                </c:pt>
                <c:pt idx="30">
                  <c:v>0.9781659388646288</c:v>
                </c:pt>
                <c:pt idx="31">
                  <c:v>0.9272702780441036</c:v>
                </c:pt>
                <c:pt idx="32">
                  <c:v>0.4773838630806846</c:v>
                </c:pt>
                <c:pt idx="33">
                  <c:v>0.9113337953044361</c:v>
                </c:pt>
                <c:pt idx="34">
                  <c:v>0.9389540557180237</c:v>
                </c:pt>
                <c:pt idx="35">
                  <c:v>0.843774551932515</c:v>
                </c:pt>
                <c:pt idx="36">
                  <c:v>0.9895155459146783</c:v>
                </c:pt>
                <c:pt idx="37">
                  <c:v>0.9044585987261147</c:v>
                </c:pt>
                <c:pt idx="38">
                  <c:v>0.6027568922305765</c:v>
                </c:pt>
                <c:pt idx="39">
                  <c:v>0.8424590938098276</c:v>
                </c:pt>
                <c:pt idx="40">
                  <c:v>0.8083410303587857</c:v>
                </c:pt>
                <c:pt idx="41">
                  <c:v>0.7899012074643249</c:v>
                </c:pt>
                <c:pt idx="42">
                  <c:v>0.5459684912281519</c:v>
                </c:pt>
                <c:pt idx="43">
                  <c:v>0.7080278920078671</c:v>
                </c:pt>
                <c:pt idx="44">
                  <c:v>0.9886107393973991</c:v>
                </c:pt>
                <c:pt idx="45">
                  <c:v>0.8910764306869208</c:v>
                </c:pt>
                <c:pt idx="46">
                  <c:v>0.8889176790571169</c:v>
                </c:pt>
                <c:pt idx="47">
                  <c:v>0.824666661034839</c:v>
                </c:pt>
                <c:pt idx="48">
                  <c:v>1.0106047071794295</c:v>
                </c:pt>
                <c:pt idx="49">
                  <c:v>0.9690171077136299</c:v>
                </c:pt>
                <c:pt idx="50">
                  <c:v>0.8804039919333913</c:v>
                </c:pt>
                <c:pt idx="51">
                  <c:v>0.8634437406794125</c:v>
                </c:pt>
                <c:pt idx="52">
                  <c:v>0.5615419745828804</c:v>
                </c:pt>
                <c:pt idx="53">
                  <c:v>-0.2839941267232328</c:v>
                </c:pt>
                <c:pt idx="54">
                  <c:v>0.9009386686157755</c:v>
                </c:pt>
              </c:numCache>
            </c:numRef>
          </c:xVal>
          <c:yVal>
            <c:numRef>
              <c:f>Sheet1!$B$187:$B$241</c:f>
              <c:numCache>
                <c:formatCode>General</c:formatCode>
                <c:ptCount val="55"/>
                <c:pt idx="0">
                  <c:v>0.38367587244961787</c:v>
                </c:pt>
                <c:pt idx="1">
                  <c:v>0.4001246630347999</c:v>
                </c:pt>
                <c:pt idx="2">
                  <c:v>0.3704625659215589</c:v>
                </c:pt>
                <c:pt idx="3">
                  <c:v>0.41367825634755095</c:v>
                </c:pt>
                <c:pt idx="4">
                  <c:v>0.42633339584365115</c:v>
                </c:pt>
                <c:pt idx="5">
                  <c:v>0.39491547405984856</c:v>
                </c:pt>
                <c:pt idx="6">
                  <c:v>0.40318530840746103</c:v>
                </c:pt>
                <c:pt idx="7">
                  <c:v>0.3903192803652735</c:v>
                </c:pt>
                <c:pt idx="8">
                  <c:v>0.37833450551111875</c:v>
                </c:pt>
                <c:pt idx="9">
                  <c:v>0.40394599717714497</c:v>
                </c:pt>
                <c:pt idx="10">
                  <c:v>0.3917742075828756</c:v>
                </c:pt>
                <c:pt idx="11">
                  <c:v>0.3919912390920982</c:v>
                </c:pt>
                <c:pt idx="12">
                  <c:v>0.4147047732295344</c:v>
                </c:pt>
                <c:pt idx="13">
                  <c:v>0.4279067123542206</c:v>
                </c:pt>
                <c:pt idx="14">
                  <c:v>0.44201980919642303</c:v>
                </c:pt>
                <c:pt idx="15">
                  <c:v>0.4421325379088468</c:v>
                </c:pt>
                <c:pt idx="16">
                  <c:v>0.4173765493806795</c:v>
                </c:pt>
                <c:pt idx="17">
                  <c:v>0.4416735806206121</c:v>
                </c:pt>
                <c:pt idx="18">
                  <c:v>0.4027265515382191</c:v>
                </c:pt>
                <c:pt idx="19">
                  <c:v>0.4234984373053565</c:v>
                </c:pt>
                <c:pt idx="20">
                  <c:v>0.4003775731853205</c:v>
                </c:pt>
                <c:pt idx="21">
                  <c:v>0.41083302680703787</c:v>
                </c:pt>
                <c:pt idx="22">
                  <c:v>0.4470589436231717</c:v>
                </c:pt>
                <c:pt idx="23">
                  <c:v>0.4093983682462514</c:v>
                </c:pt>
                <c:pt idx="24">
                  <c:v>0.39574180717444124</c:v>
                </c:pt>
                <c:pt idx="25">
                  <c:v>0.40629809417961793</c:v>
                </c:pt>
                <c:pt idx="26">
                  <c:v>0.42404533930040667</c:v>
                </c:pt>
                <c:pt idx="27">
                  <c:v>0.40832573099781677</c:v>
                </c:pt>
                <c:pt idx="28">
                  <c:v>0.40811896608047793</c:v>
                </c:pt>
                <c:pt idx="29">
                  <c:v>0.3863168063734811</c:v>
                </c:pt>
                <c:pt idx="30">
                  <c:v>0.3793765216295419</c:v>
                </c:pt>
                <c:pt idx="31">
                  <c:v>0.38834966619042177</c:v>
                </c:pt>
                <c:pt idx="32">
                  <c:v>0.467666758696169</c:v>
                </c:pt>
                <c:pt idx="33">
                  <c:v>0.39115934310805267</c:v>
                </c:pt>
                <c:pt idx="34">
                  <c:v>0.38628976119272523</c:v>
                </c:pt>
                <c:pt idx="35">
                  <c:v>0.4030703557057206</c:v>
                </c:pt>
                <c:pt idx="36">
                  <c:v>0.37737553248572464</c:v>
                </c:pt>
                <c:pt idx="37">
                  <c:v>0.39237147262532707</c:v>
                </c:pt>
                <c:pt idx="38">
                  <c:v>0.4455629035450498</c:v>
                </c:pt>
                <c:pt idx="39">
                  <c:v>0.40330227716441397</c:v>
                </c:pt>
                <c:pt idx="40">
                  <c:v>0.4093174523394263</c:v>
                </c:pt>
                <c:pt idx="41">
                  <c:v>0.4125684799091929</c:v>
                </c:pt>
                <c:pt idx="42">
                  <c:v>0.45557496593624036</c:v>
                </c:pt>
                <c:pt idx="43">
                  <c:v>0.4270031307895493</c:v>
                </c:pt>
                <c:pt idx="44">
                  <c:v>0.3775350541335092</c:v>
                </c:pt>
                <c:pt idx="45">
                  <c:v>0.39473081183848935</c:v>
                </c:pt>
                <c:pt idx="46">
                  <c:v>0.39511140991174304</c:v>
                </c:pt>
                <c:pt idx="47">
                  <c:v>0.40643916680894976</c:v>
                </c:pt>
                <c:pt idx="48">
                  <c:v>0.37365741409123854</c:v>
                </c:pt>
                <c:pt idx="49">
                  <c:v>0.3809895036236353</c:v>
                </c:pt>
                <c:pt idx="50">
                  <c:v>0.3966124130243008</c:v>
                </c:pt>
                <c:pt idx="51">
                  <c:v>0.39960258514972924</c:v>
                </c:pt>
                <c:pt idx="52">
                  <c:v>0.4528292875187577</c:v>
                </c:pt>
                <c:pt idx="53">
                  <c:v>0.6019012819902936</c:v>
                </c:pt>
                <c:pt idx="54">
                  <c:v>0.39299205287156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166666666666665"/>
          <c:min val="0.133333333333333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6.6216</c:v>
                </c:pt>
                <c:pt idx="1">
                  <c:v>833.3714</c:v>
                </c:pt>
                <c:pt idx="2">
                  <c:v>793.0741</c:v>
                </c:pt>
                <c:pt idx="3">
                  <c:v>815.6974</c:v>
                </c:pt>
                <c:pt idx="4">
                  <c:v>807.4478</c:v>
                </c:pt>
                <c:pt idx="5">
                  <c:v>739.2152</c:v>
                </c:pt>
                <c:pt idx="6">
                  <c:v>761.6087</c:v>
                </c:pt>
                <c:pt idx="7">
                  <c:v>761.9744</c:v>
                </c:pt>
                <c:pt idx="8">
                  <c:v>694.8438</c:v>
                </c:pt>
                <c:pt idx="9">
                  <c:v>725.66</c:v>
                </c:pt>
                <c:pt idx="10">
                  <c:v>771.9388</c:v>
                </c:pt>
                <c:pt idx="11">
                  <c:v>822.6458</c:v>
                </c:pt>
                <c:pt idx="12">
                  <c:v>778.5081</c:v>
                </c:pt>
                <c:pt idx="13">
                  <c:v>721.9823</c:v>
                </c:pt>
                <c:pt idx="14">
                  <c:v>754.8723</c:v>
                </c:pt>
                <c:pt idx="15">
                  <c:v>810.2609</c:v>
                </c:pt>
                <c:pt idx="16">
                  <c:v>836.1569</c:v>
                </c:pt>
                <c:pt idx="17">
                  <c:v>793.4681</c:v>
                </c:pt>
                <c:pt idx="18">
                  <c:v>839.8571</c:v>
                </c:pt>
                <c:pt idx="19">
                  <c:v>809.25</c:v>
                </c:pt>
                <c:pt idx="20">
                  <c:v>859.2821</c:v>
                </c:pt>
                <c:pt idx="21">
                  <c:v>863.125</c:v>
                </c:pt>
                <c:pt idx="22">
                  <c:v>935.1786</c:v>
                </c:pt>
                <c:pt idx="23">
                  <c:v>881.5217</c:v>
                </c:pt>
                <c:pt idx="24">
                  <c:v>903.2143</c:v>
                </c:pt>
                <c:pt idx="25">
                  <c:v>781.5</c:v>
                </c:pt>
                <c:pt idx="26">
                  <c:v>702.8485</c:v>
                </c:pt>
                <c:pt idx="27">
                  <c:v>651.3333</c:v>
                </c:pt>
                <c:pt idx="28">
                  <c:v>589.7188</c:v>
                </c:pt>
                <c:pt idx="29">
                  <c:v>726.88</c:v>
                </c:pt>
                <c:pt idx="30">
                  <c:v>640.5625</c:v>
                </c:pt>
                <c:pt idx="31">
                  <c:v>697.9545</c:v>
                </c:pt>
                <c:pt idx="32">
                  <c:v>735.5</c:v>
                </c:pt>
                <c:pt idx="33">
                  <c:v>439.3939</c:v>
                </c:pt>
                <c:pt idx="34">
                  <c:v>547.2593</c:v>
                </c:pt>
                <c:pt idx="35">
                  <c:v>438.3864</c:v>
                </c:pt>
                <c:pt idx="36">
                  <c:v>347.1818</c:v>
                </c:pt>
                <c:pt idx="37">
                  <c:v>603.8333</c:v>
                </c:pt>
                <c:pt idx="38">
                  <c:v>504.1071</c:v>
                </c:pt>
                <c:pt idx="39">
                  <c:v>563.4348</c:v>
                </c:pt>
                <c:pt idx="40">
                  <c:v>539.8966</c:v>
                </c:pt>
                <c:pt idx="41">
                  <c:v>586.5833</c:v>
                </c:pt>
                <c:pt idx="42">
                  <c:v>731.0</c:v>
                </c:pt>
                <c:pt idx="43">
                  <c:v>813.8889</c:v>
                </c:pt>
                <c:pt idx="44">
                  <c:v>839.9756</c:v>
                </c:pt>
                <c:pt idx="45">
                  <c:v>817.1569</c:v>
                </c:pt>
                <c:pt idx="46">
                  <c:v>785.75</c:v>
                </c:pt>
                <c:pt idx="47">
                  <c:v>807.2692</c:v>
                </c:pt>
                <c:pt idx="48">
                  <c:v>862.2703</c:v>
                </c:pt>
                <c:pt idx="49">
                  <c:v>828.1579</c:v>
                </c:pt>
                <c:pt idx="50">
                  <c:v>901.0909</c:v>
                </c:pt>
                <c:pt idx="51">
                  <c:v>857.0698</c:v>
                </c:pt>
                <c:pt idx="52">
                  <c:v>911.5778</c:v>
                </c:pt>
                <c:pt idx="53">
                  <c:v>1035.1</c:v>
                </c:pt>
                <c:pt idx="54">
                  <c:v>1023.4444</c:v>
                </c:pt>
                <c:pt idx="55">
                  <c:v>1030.4211</c:v>
                </c:pt>
                <c:pt idx="56">
                  <c:v>993.8372</c:v>
                </c:pt>
                <c:pt idx="57">
                  <c:v>856.4035</c:v>
                </c:pt>
                <c:pt idx="58">
                  <c:v>950.4138</c:v>
                </c:pt>
                <c:pt idx="59">
                  <c:v>921.473</c:v>
                </c:pt>
                <c:pt idx="60">
                  <c:v>874.8902</c:v>
                </c:pt>
                <c:pt idx="61">
                  <c:v>918.1067</c:v>
                </c:pt>
                <c:pt idx="62">
                  <c:v>954.6338</c:v>
                </c:pt>
                <c:pt idx="63">
                  <c:v>959.9625</c:v>
                </c:pt>
                <c:pt idx="64">
                  <c:v>955.3867</c:v>
                </c:pt>
                <c:pt idx="65">
                  <c:v>865.4884</c:v>
                </c:pt>
                <c:pt idx="66">
                  <c:v>922.08</c:v>
                </c:pt>
                <c:pt idx="67">
                  <c:v>990.0678</c:v>
                </c:pt>
                <c:pt idx="68">
                  <c:v>991.8043</c:v>
                </c:pt>
                <c:pt idx="69">
                  <c:v>1004.1212</c:v>
                </c:pt>
                <c:pt idx="70">
                  <c:v>924.0625</c:v>
                </c:pt>
                <c:pt idx="71">
                  <c:v>958.1143</c:v>
                </c:pt>
                <c:pt idx="72">
                  <c:v>1001.8846</c:v>
                </c:pt>
                <c:pt idx="73">
                  <c:v>1103.0</c:v>
                </c:pt>
                <c:pt idx="74">
                  <c:v>1091.6364</c:v>
                </c:pt>
                <c:pt idx="75">
                  <c:v>1182.5625</c:v>
                </c:pt>
                <c:pt idx="76">
                  <c:v>1085.0625</c:v>
                </c:pt>
                <c:pt idx="77">
                  <c:v>980.2143</c:v>
                </c:pt>
                <c:pt idx="78">
                  <c:v>1063.6154</c:v>
                </c:pt>
                <c:pt idx="79">
                  <c:v>1125.2</c:v>
                </c:pt>
                <c:pt idx="80">
                  <c:v>1222.0</c:v>
                </c:pt>
                <c:pt idx="81">
                  <c:v>1202.6</c:v>
                </c:pt>
                <c:pt idx="82">
                  <c:v>967.1818</c:v>
                </c:pt>
                <c:pt idx="83">
                  <c:v>1401.1667</c:v>
                </c:pt>
                <c:pt idx="84">
                  <c:v>1073.7778</c:v>
                </c:pt>
                <c:pt idx="85">
                  <c:v>948.8889</c:v>
                </c:pt>
                <c:pt idx="86">
                  <c:v>922.1429</c:v>
                </c:pt>
                <c:pt idx="87">
                  <c:v>923.0</c:v>
                </c:pt>
                <c:pt idx="88">
                  <c:v>1314.7143</c:v>
                </c:pt>
                <c:pt idx="89">
                  <c:v>1186.125</c:v>
                </c:pt>
                <c:pt idx="90">
                  <c:v>993.5</c:v>
                </c:pt>
                <c:pt idx="91">
                  <c:v>1360.25</c:v>
                </c:pt>
                <c:pt idx="92">
                  <c:v>872.5</c:v>
                </c:pt>
                <c:pt idx="93">
                  <c:v>867.6</c:v>
                </c:pt>
                <c:pt idx="94">
                  <c:v>931.8182</c:v>
                </c:pt>
                <c:pt idx="95">
                  <c:v>646.4828</c:v>
                </c:pt>
                <c:pt idx="96">
                  <c:v>395.2941</c:v>
                </c:pt>
                <c:pt idx="97">
                  <c:v>471.1311</c:v>
                </c:pt>
                <c:pt idx="98">
                  <c:v>434.7937</c:v>
                </c:pt>
                <c:pt idx="99">
                  <c:v>678.4063</c:v>
                </c:pt>
                <c:pt idx="100">
                  <c:v>866.0145</c:v>
                </c:pt>
                <c:pt idx="101">
                  <c:v>906.5</c:v>
                </c:pt>
                <c:pt idx="102">
                  <c:v>999.2258</c:v>
                </c:pt>
                <c:pt idx="103">
                  <c:v>926.2143</c:v>
                </c:pt>
                <c:pt idx="104">
                  <c:v>1004.4615</c:v>
                </c:pt>
              </c:numCache>
            </c:numRef>
          </c:xVal>
          <c:yVal>
            <c:numRef>
              <c:f>Sheet1!$B$2:$B$106</c:f>
              <c:numCache>
                <c:formatCode>General</c:formatCode>
                <c:ptCount val="105"/>
                <c:pt idx="0">
                  <c:v>0.6166666666666667</c:v>
                </c:pt>
                <c:pt idx="1">
                  <c:v>0.5785123966942148</c:v>
                </c:pt>
                <c:pt idx="2">
                  <c:v>0.6377952755905512</c:v>
                </c:pt>
                <c:pt idx="3">
                  <c:v>0.5891472868217055</c:v>
                </c:pt>
                <c:pt idx="4">
                  <c:v>0.6203703703703703</c:v>
                </c:pt>
                <c:pt idx="5">
                  <c:v>0.572463768115942</c:v>
                </c:pt>
                <c:pt idx="6">
                  <c:v>0.609271523178808</c:v>
                </c:pt>
                <c:pt idx="7">
                  <c:v>0.5735294117647058</c:v>
                </c:pt>
                <c:pt idx="8">
                  <c:v>0.6193548387096774</c:v>
                </c:pt>
                <c:pt idx="9">
                  <c:v>0.5988023952095808</c:v>
                </c:pt>
                <c:pt idx="10">
                  <c:v>0.5868263473053892</c:v>
                </c:pt>
                <c:pt idx="11">
                  <c:v>0.5363128491620112</c:v>
                </c:pt>
                <c:pt idx="12">
                  <c:v>0.62</c:v>
                </c:pt>
                <c:pt idx="13">
                  <c:v>0.5854922279792746</c:v>
                </c:pt>
                <c:pt idx="14">
                  <c:v>0.562874251497006</c:v>
                </c:pt>
                <c:pt idx="15">
                  <c:v>0.5948275862068966</c:v>
                </c:pt>
                <c:pt idx="16">
                  <c:v>0.5604395604395604</c:v>
                </c:pt>
                <c:pt idx="17">
                  <c:v>0.573170731707317</c:v>
                </c:pt>
                <c:pt idx="18">
                  <c:v>0.5555555555555556</c:v>
                </c:pt>
                <c:pt idx="19">
                  <c:v>0.5925925925925926</c:v>
                </c:pt>
                <c:pt idx="20">
                  <c:v>0.5735294117647058</c:v>
                </c:pt>
                <c:pt idx="21">
                  <c:v>0.5714285714285714</c:v>
                </c:pt>
                <c:pt idx="22">
                  <c:v>0.5283018867924528</c:v>
                </c:pt>
                <c:pt idx="23">
                  <c:v>0.575</c:v>
                </c:pt>
                <c:pt idx="24">
                  <c:v>0.5714285714285714</c:v>
                </c:pt>
                <c:pt idx="25">
                  <c:v>0.5641025641025641</c:v>
                </c:pt>
                <c:pt idx="26">
                  <c:v>0.5789473684210527</c:v>
                </c:pt>
                <c:pt idx="27">
                  <c:v>0.5869565217391305</c:v>
                </c:pt>
                <c:pt idx="28">
                  <c:v>0.5818181818181818</c:v>
                </c:pt>
                <c:pt idx="29">
                  <c:v>0.5813953488372093</c:v>
                </c:pt>
                <c:pt idx="30">
                  <c:v>0.5333333333333333</c:v>
                </c:pt>
                <c:pt idx="31">
                  <c:v>0.5641025641025641</c:v>
                </c:pt>
                <c:pt idx="32">
                  <c:v>0.5517241379310345</c:v>
                </c:pt>
                <c:pt idx="33">
                  <c:v>0.6470588235294118</c:v>
                </c:pt>
                <c:pt idx="34">
                  <c:v>0.6</c:v>
                </c:pt>
                <c:pt idx="35">
                  <c:v>0.6666666666666666</c:v>
                </c:pt>
                <c:pt idx="36">
                  <c:v>0.7638888888888888</c:v>
                </c:pt>
                <c:pt idx="37">
                  <c:v>0.6666666666666666</c:v>
                </c:pt>
                <c:pt idx="38">
                  <c:v>0.6511627906976745</c:v>
                </c:pt>
                <c:pt idx="39">
                  <c:v>0.5897435897435898</c:v>
                </c:pt>
                <c:pt idx="40">
                  <c:v>0.5918367346938775</c:v>
                </c:pt>
                <c:pt idx="41">
                  <c:v>0.6</c:v>
                </c:pt>
                <c:pt idx="42">
                  <c:v>0.5238095238095238</c:v>
                </c:pt>
                <c:pt idx="43">
                  <c:v>0.4426229508196721</c:v>
                </c:pt>
                <c:pt idx="44">
                  <c:v>0.5189873417721519</c:v>
                </c:pt>
                <c:pt idx="45">
                  <c:v>0.4811320754716981</c:v>
                </c:pt>
                <c:pt idx="46">
                  <c:v>0.5106382978723404</c:v>
                </c:pt>
                <c:pt idx="47">
                  <c:v>0.5048543689320388</c:v>
                </c:pt>
                <c:pt idx="48">
                  <c:v>0.4966442953020134</c:v>
                </c:pt>
                <c:pt idx="49">
                  <c:v>0.510752688172043</c:v>
                </c:pt>
                <c:pt idx="50">
                  <c:v>0.44</c:v>
                </c:pt>
                <c:pt idx="51">
                  <c:v>0.4387755102040816</c:v>
                </c:pt>
                <c:pt idx="52">
                  <c:v>0.4368932038834951</c:v>
                </c:pt>
                <c:pt idx="53">
                  <c:v>0.43010752688172044</c:v>
                </c:pt>
                <c:pt idx="54">
                  <c:v>0.42857142857142855</c:v>
                </c:pt>
                <c:pt idx="55">
                  <c:v>0.4418604651162791</c:v>
                </c:pt>
                <c:pt idx="56">
                  <c:v>0.4673913043478261</c:v>
                </c:pt>
                <c:pt idx="57">
                  <c:v>0.4523809523809524</c:v>
                </c:pt>
                <c:pt idx="58">
                  <c:v>0.464</c:v>
                </c:pt>
                <c:pt idx="59">
                  <c:v>0.45121951219512196</c:v>
                </c:pt>
                <c:pt idx="60">
                  <c:v>0.4880952380952381</c:v>
                </c:pt>
                <c:pt idx="61">
                  <c:v>0.5067567567567568</c:v>
                </c:pt>
                <c:pt idx="62">
                  <c:v>0.4930555555555556</c:v>
                </c:pt>
                <c:pt idx="63">
                  <c:v>0.47904191616766467</c:v>
                </c:pt>
                <c:pt idx="64">
                  <c:v>0.4437869822485207</c:v>
                </c:pt>
                <c:pt idx="65">
                  <c:v>0.5088757396449705</c:v>
                </c:pt>
                <c:pt idx="66">
                  <c:v>0.49019607843137253</c:v>
                </c:pt>
                <c:pt idx="67">
                  <c:v>0.47580645161290325</c:v>
                </c:pt>
                <c:pt idx="68">
                  <c:v>0.4791666666666667</c:v>
                </c:pt>
                <c:pt idx="69">
                  <c:v>0.5076923076923077</c:v>
                </c:pt>
                <c:pt idx="70">
                  <c:v>0.41025641025641024</c:v>
                </c:pt>
                <c:pt idx="71">
                  <c:v>0.47297297297297297</c:v>
                </c:pt>
                <c:pt idx="72">
                  <c:v>0.27956989247311825</c:v>
                </c:pt>
                <c:pt idx="73">
                  <c:v>0.36585365853658536</c:v>
                </c:pt>
                <c:pt idx="74">
                  <c:v>0.4</c:v>
                </c:pt>
                <c:pt idx="75">
                  <c:v>0.2711864406779661</c:v>
                </c:pt>
                <c:pt idx="76">
                  <c:v>0.43243243243243246</c:v>
                </c:pt>
                <c:pt idx="77">
                  <c:v>0.3783783783783784</c:v>
                </c:pt>
                <c:pt idx="78">
                  <c:v>0.4482758620689655</c:v>
                </c:pt>
                <c:pt idx="79">
                  <c:v>0.4</c:v>
                </c:pt>
                <c:pt idx="80">
                  <c:v>0.3</c:v>
                </c:pt>
                <c:pt idx="81">
                  <c:v>0.39473684210526316</c:v>
                </c:pt>
                <c:pt idx="82">
                  <c:v>0.3548387096774194</c:v>
                </c:pt>
                <c:pt idx="83">
                  <c:v>0.3157894736842105</c:v>
                </c:pt>
                <c:pt idx="84">
                  <c:v>0.4090909090909091</c:v>
                </c:pt>
                <c:pt idx="85">
                  <c:v>0.375</c:v>
                </c:pt>
                <c:pt idx="86">
                  <c:v>0.45161290322580644</c:v>
                </c:pt>
                <c:pt idx="87">
                  <c:v>0.41935483870967744</c:v>
                </c:pt>
                <c:pt idx="88">
                  <c:v>0.3333333333333333</c:v>
                </c:pt>
                <c:pt idx="89">
                  <c:v>0.25806451612903225</c:v>
                </c:pt>
                <c:pt idx="90">
                  <c:v>0.38095238095238093</c:v>
                </c:pt>
                <c:pt idx="91">
                  <c:v>0.16666666666666666</c:v>
                </c:pt>
                <c:pt idx="92">
                  <c:v>0.3684210526315789</c:v>
                </c:pt>
                <c:pt idx="93">
                  <c:v>0.4838709677419355</c:v>
                </c:pt>
                <c:pt idx="94">
                  <c:v>0.4074074074074074</c:v>
                </c:pt>
                <c:pt idx="95">
                  <c:v>0.4915254237288136</c:v>
                </c:pt>
                <c:pt idx="96">
                  <c:v>0.6415094339622641</c:v>
                </c:pt>
                <c:pt idx="97">
                  <c:v>0.5495495495495496</c:v>
                </c:pt>
                <c:pt idx="98">
                  <c:v>0.5080645161290323</c:v>
                </c:pt>
                <c:pt idx="99">
                  <c:v>0.49230769230769234</c:v>
                </c:pt>
                <c:pt idx="100">
                  <c:v>0.46</c:v>
                </c:pt>
                <c:pt idx="101">
                  <c:v>0.4235294117647059</c:v>
                </c:pt>
                <c:pt idx="102">
                  <c:v>0.40789473684210525</c:v>
                </c:pt>
                <c:pt idx="103">
                  <c:v>0.3888888888888889</c:v>
                </c:pt>
                <c:pt idx="104">
                  <c:v>0.35616438356164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12.4375</c:v>
                </c:pt>
                <c:pt idx="1">
                  <c:v>957.0</c:v>
                </c:pt>
                <c:pt idx="2">
                  <c:v>1086.7632</c:v>
                </c:pt>
                <c:pt idx="3">
                  <c:v>1045.625</c:v>
                </c:pt>
                <c:pt idx="4">
                  <c:v>875.3095</c:v>
                </c:pt>
                <c:pt idx="5">
                  <c:v>1089.0</c:v>
                </c:pt>
                <c:pt idx="6">
                  <c:v>1018.2326</c:v>
                </c:pt>
                <c:pt idx="7">
                  <c:v>1031.3235</c:v>
                </c:pt>
                <c:pt idx="8">
                  <c:v>1117.6154</c:v>
                </c:pt>
                <c:pt idx="9">
                  <c:v>1177.0</c:v>
                </c:pt>
                <c:pt idx="10">
                  <c:v>1121.3415</c:v>
                </c:pt>
                <c:pt idx="11">
                  <c:v>1026.2885</c:v>
                </c:pt>
                <c:pt idx="12">
                  <c:v>905.1852</c:v>
                </c:pt>
                <c:pt idx="13">
                  <c:v>872.6538</c:v>
                </c:pt>
                <c:pt idx="14">
                  <c:v>886.1957</c:v>
                </c:pt>
                <c:pt idx="15">
                  <c:v>828.0976</c:v>
                </c:pt>
                <c:pt idx="16">
                  <c:v>988.2593</c:v>
                </c:pt>
                <c:pt idx="17">
                  <c:v>935.4762</c:v>
                </c:pt>
                <c:pt idx="18">
                  <c:v>1053.35</c:v>
                </c:pt>
                <c:pt idx="19">
                  <c:v>966.5385</c:v>
                </c:pt>
                <c:pt idx="20">
                  <c:v>1046.75</c:v>
                </c:pt>
                <c:pt idx="21">
                  <c:v>994.8824</c:v>
                </c:pt>
                <c:pt idx="22">
                  <c:v>882.1364</c:v>
                </c:pt>
                <c:pt idx="23">
                  <c:v>959.1176</c:v>
                </c:pt>
                <c:pt idx="24">
                  <c:v>1152.2727</c:v>
                </c:pt>
                <c:pt idx="25">
                  <c:v>1016.7</c:v>
                </c:pt>
                <c:pt idx="26">
                  <c:v>1112.3333</c:v>
                </c:pt>
                <c:pt idx="27">
                  <c:v>1026.8182</c:v>
                </c:pt>
                <c:pt idx="28">
                  <c:v>1168.9091</c:v>
                </c:pt>
                <c:pt idx="29">
                  <c:v>1142.8333</c:v>
                </c:pt>
                <c:pt idx="30">
                  <c:v>1232.0</c:v>
                </c:pt>
                <c:pt idx="31">
                  <c:v>967.1429</c:v>
                </c:pt>
                <c:pt idx="32">
                  <c:v>976.25</c:v>
                </c:pt>
                <c:pt idx="33">
                  <c:v>1155.875</c:v>
                </c:pt>
                <c:pt idx="34">
                  <c:v>1220.0769</c:v>
                </c:pt>
                <c:pt idx="35">
                  <c:v>1073.0</c:v>
                </c:pt>
                <c:pt idx="36">
                  <c:v>1368.5</c:v>
                </c:pt>
                <c:pt idx="37">
                  <c:v>852.0</c:v>
                </c:pt>
                <c:pt idx="38">
                  <c:v>721.5</c:v>
                </c:pt>
                <c:pt idx="39">
                  <c:v>660.0667</c:v>
                </c:pt>
                <c:pt idx="40">
                  <c:v>878.6667</c:v>
                </c:pt>
                <c:pt idx="41">
                  <c:v>899.5</c:v>
                </c:pt>
                <c:pt idx="42">
                  <c:v>796.75</c:v>
                </c:pt>
                <c:pt idx="43">
                  <c:v>792.0</c:v>
                </c:pt>
                <c:pt idx="44">
                  <c:v>970.5333</c:v>
                </c:pt>
                <c:pt idx="45">
                  <c:v>932.6897</c:v>
                </c:pt>
                <c:pt idx="46">
                  <c:v>980.4762</c:v>
                </c:pt>
                <c:pt idx="47">
                  <c:v>1064.0556</c:v>
                </c:pt>
                <c:pt idx="48">
                  <c:v>1252.3077</c:v>
                </c:pt>
                <c:pt idx="49">
                  <c:v>1118.6818</c:v>
                </c:pt>
                <c:pt idx="50">
                  <c:v>963.5909</c:v>
                </c:pt>
                <c:pt idx="51">
                  <c:v>986.3667</c:v>
                </c:pt>
              </c:numCache>
            </c:numRef>
          </c:xVal>
          <c:yVal>
            <c:numRef>
              <c:f>Sheet1!$B$109:$B$160</c:f>
              <c:numCache>
                <c:formatCode>General</c:formatCode>
                <c:ptCount val="52"/>
                <c:pt idx="0">
                  <c:v>0.3764705882352941</c:v>
                </c:pt>
                <c:pt idx="1">
                  <c:v>0.41333333333333333</c:v>
                </c:pt>
                <c:pt idx="2">
                  <c:v>0.3917525773195876</c:v>
                </c:pt>
                <c:pt idx="3">
                  <c:v>0.4166666666666667</c:v>
                </c:pt>
                <c:pt idx="4">
                  <c:v>0.4329896907216495</c:v>
                </c:pt>
                <c:pt idx="5">
                  <c:v>0.4090909090909091</c:v>
                </c:pt>
                <c:pt idx="6">
                  <c:v>0.4215686274509804</c:v>
                </c:pt>
                <c:pt idx="7">
                  <c:v>0.41975308641975306</c:v>
                </c:pt>
                <c:pt idx="8">
                  <c:v>0.3333333333333333</c:v>
                </c:pt>
                <c:pt idx="9">
                  <c:v>0.38461538461538464</c:v>
                </c:pt>
                <c:pt idx="10">
                  <c:v>0.44086021505376344</c:v>
                </c:pt>
                <c:pt idx="11">
                  <c:v>0.4642857142857143</c:v>
                </c:pt>
                <c:pt idx="12">
                  <c:v>0.5510204081632653</c:v>
                </c:pt>
                <c:pt idx="13">
                  <c:v>0.4642857142857143</c:v>
                </c:pt>
                <c:pt idx="14">
                  <c:v>0.48936170212765956</c:v>
                </c:pt>
                <c:pt idx="15">
                  <c:v>0.47674418604651164</c:v>
                </c:pt>
                <c:pt idx="16">
                  <c:v>0.4426229508196721</c:v>
                </c:pt>
                <c:pt idx="17">
                  <c:v>0.42857142857142855</c:v>
                </c:pt>
                <c:pt idx="18">
                  <c:v>0.425531914893617</c:v>
                </c:pt>
                <c:pt idx="19">
                  <c:v>0.4727272727272727</c:v>
                </c:pt>
                <c:pt idx="20">
                  <c:v>0.41025641025641024</c:v>
                </c:pt>
                <c:pt idx="21">
                  <c:v>0.4358974358974359</c:v>
                </c:pt>
                <c:pt idx="22">
                  <c:v>0.4782608695652174</c:v>
                </c:pt>
                <c:pt idx="23">
                  <c:v>0.425</c:v>
                </c:pt>
                <c:pt idx="24">
                  <c:v>0.3793103448275862</c:v>
                </c:pt>
                <c:pt idx="25">
                  <c:v>0.38461538461538464</c:v>
                </c:pt>
                <c:pt idx="26">
                  <c:v>0.34615384615384615</c:v>
                </c:pt>
                <c:pt idx="27">
                  <c:v>0.34375</c:v>
                </c:pt>
                <c:pt idx="28">
                  <c:v>0.4230769230769231</c:v>
                </c:pt>
                <c:pt idx="29">
                  <c:v>0.2857142857142857</c:v>
                </c:pt>
                <c:pt idx="30">
                  <c:v>0.29411764705882354</c:v>
                </c:pt>
                <c:pt idx="31">
                  <c:v>0.3684210526315789</c:v>
                </c:pt>
                <c:pt idx="32">
                  <c:v>0.38095238095238093</c:v>
                </c:pt>
                <c:pt idx="33">
                  <c:v>0.32</c:v>
                </c:pt>
                <c:pt idx="34">
                  <c:v>0.37142857142857144</c:v>
                </c:pt>
                <c:pt idx="35">
                  <c:v>0.47619047619047616</c:v>
                </c:pt>
                <c:pt idx="36">
                  <c:v>0.4</c:v>
                </c:pt>
                <c:pt idx="37">
                  <c:v>0.3333333333333333</c:v>
                </c:pt>
                <c:pt idx="38">
                  <c:v>0.5</c:v>
                </c:pt>
                <c:pt idx="39">
                  <c:v>0.625</c:v>
                </c:pt>
                <c:pt idx="40">
                  <c:v>0.36363636363636365</c:v>
                </c:pt>
                <c:pt idx="41">
                  <c:v>0.35714285714285715</c:v>
                </c:pt>
                <c:pt idx="42">
                  <c:v>0.2962962962962963</c:v>
                </c:pt>
                <c:pt idx="43">
                  <c:v>0.46808510638297873</c:v>
                </c:pt>
                <c:pt idx="44">
                  <c:v>0.32608695652173914</c:v>
                </c:pt>
                <c:pt idx="45">
                  <c:v>0.4027777777777778</c:v>
                </c:pt>
                <c:pt idx="46">
                  <c:v>0.3620689655172414</c:v>
                </c:pt>
                <c:pt idx="47">
                  <c:v>0.36</c:v>
                </c:pt>
                <c:pt idx="48">
                  <c:v>0.3561643835616438</c:v>
                </c:pt>
                <c:pt idx="49">
                  <c:v>0.41904761904761906</c:v>
                </c:pt>
                <c:pt idx="50">
                  <c:v>0.39759036144578314</c:v>
                </c:pt>
                <c:pt idx="51">
                  <c:v>0.3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36.49085965616152</c:v>
                </c:pt>
              </c:numCache>
            </c:numRef>
          </c:xVal>
          <c:yVal>
            <c:numRef>
              <c:f>Sheet1!$B$163:$B$164</c:f>
              <c:numCache>
                <c:formatCode>General</c:formatCode>
                <c:ptCount val="2"/>
                <c:pt idx="0">
                  <c:v>0.6019012819902936</c:v>
                </c:pt>
                <c:pt idx="1">
                  <c:v>0.60190128199029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36.49085965616152</c:v>
                </c:pt>
                <c:pt idx="1">
                  <c:v>136.49085965616152</c:v>
                </c:pt>
              </c:numCache>
            </c:numRef>
          </c:xVal>
          <c:yVal>
            <c:numRef>
              <c:f>Sheet1!$B$167:$B$168</c:f>
              <c:numCache>
                <c:formatCode>General</c:formatCode>
                <c:ptCount val="2"/>
                <c:pt idx="0">
                  <c:v>0.6019012819902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99.4111846991044</c:v>
                </c:pt>
              </c:numCache>
            </c:numRef>
          </c:xVal>
          <c:yVal>
            <c:numRef>
              <c:f>Sheet1!$B$171:$B$172</c:f>
              <c:numCache>
                <c:formatCode>General</c:formatCode>
                <c:ptCount val="2"/>
                <c:pt idx="0">
                  <c:v>0.4528292875187577</c:v>
                </c:pt>
                <c:pt idx="1">
                  <c:v>0.452829287518757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99.4111846991044</c:v>
                </c:pt>
                <c:pt idx="1">
                  <c:v>799.4111846991044</c:v>
                </c:pt>
              </c:numCache>
            </c:numRef>
          </c:xVal>
          <c:yVal>
            <c:numRef>
              <c:f>Sheet1!$B$175:$B$176</c:f>
              <c:numCache>
                <c:formatCode>General</c:formatCode>
                <c:ptCount val="2"/>
                <c:pt idx="0">
                  <c:v>0.452829287518757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65.5062294632924</c:v>
                </c:pt>
              </c:numCache>
            </c:numRef>
          </c:xVal>
          <c:yVal>
            <c:numRef>
              <c:f>Sheet1!$B$179:$B$180</c:f>
              <c:numCache>
                <c:formatCode>General</c:formatCode>
                <c:ptCount val="2"/>
                <c:pt idx="0">
                  <c:v>0.3929920528715615</c:v>
                </c:pt>
                <c:pt idx="1">
                  <c:v>0.39299205287156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65.5062294632924</c:v>
                </c:pt>
                <c:pt idx="1">
                  <c:v>1065.5062294632924</c:v>
                </c:pt>
              </c:numCache>
            </c:numRef>
          </c:xVal>
          <c:yVal>
            <c:numRef>
              <c:f>Sheet1!$B$183:$B$184</c:f>
              <c:numCache>
                <c:formatCode>General</c:formatCode>
                <c:ptCount val="2"/>
                <c:pt idx="0">
                  <c:v>0.39299205287156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12.4375</c:v>
                </c:pt>
                <c:pt idx="1">
                  <c:v>957.0</c:v>
                </c:pt>
                <c:pt idx="2">
                  <c:v>1086.7632</c:v>
                </c:pt>
                <c:pt idx="3">
                  <c:v>1045.625</c:v>
                </c:pt>
                <c:pt idx="4">
                  <c:v>875.3095</c:v>
                </c:pt>
                <c:pt idx="5">
                  <c:v>1089.0</c:v>
                </c:pt>
                <c:pt idx="6">
                  <c:v>1018.2326</c:v>
                </c:pt>
                <c:pt idx="7">
                  <c:v>1031.3235</c:v>
                </c:pt>
                <c:pt idx="8">
                  <c:v>1117.6154</c:v>
                </c:pt>
                <c:pt idx="9">
                  <c:v>1177.0</c:v>
                </c:pt>
                <c:pt idx="10">
                  <c:v>1121.3415</c:v>
                </c:pt>
                <c:pt idx="11">
                  <c:v>1026.2885</c:v>
                </c:pt>
                <c:pt idx="12">
                  <c:v>905.1852</c:v>
                </c:pt>
                <c:pt idx="13">
                  <c:v>872.6538</c:v>
                </c:pt>
                <c:pt idx="14">
                  <c:v>886.1957</c:v>
                </c:pt>
                <c:pt idx="15">
                  <c:v>828.0976</c:v>
                </c:pt>
                <c:pt idx="16">
                  <c:v>988.2593</c:v>
                </c:pt>
                <c:pt idx="17">
                  <c:v>935.4762</c:v>
                </c:pt>
                <c:pt idx="18">
                  <c:v>1053.35</c:v>
                </c:pt>
                <c:pt idx="19">
                  <c:v>966.5385</c:v>
                </c:pt>
                <c:pt idx="20">
                  <c:v>1046.75</c:v>
                </c:pt>
                <c:pt idx="21">
                  <c:v>994.8824</c:v>
                </c:pt>
                <c:pt idx="22">
                  <c:v>882.1364</c:v>
                </c:pt>
                <c:pt idx="23">
                  <c:v>959.1176</c:v>
                </c:pt>
                <c:pt idx="24">
                  <c:v>1152.2727</c:v>
                </c:pt>
                <c:pt idx="25">
                  <c:v>1016.7</c:v>
                </c:pt>
                <c:pt idx="26">
                  <c:v>1112.3333</c:v>
                </c:pt>
                <c:pt idx="27">
                  <c:v>1026.8182</c:v>
                </c:pt>
                <c:pt idx="28">
                  <c:v>1168.9091</c:v>
                </c:pt>
                <c:pt idx="29">
                  <c:v>1142.8333</c:v>
                </c:pt>
                <c:pt idx="30">
                  <c:v>1232.0</c:v>
                </c:pt>
                <c:pt idx="31">
                  <c:v>967.1429</c:v>
                </c:pt>
                <c:pt idx="32">
                  <c:v>976.25</c:v>
                </c:pt>
                <c:pt idx="33">
                  <c:v>1155.875</c:v>
                </c:pt>
                <c:pt idx="34">
                  <c:v>1220.0769</c:v>
                </c:pt>
                <c:pt idx="35">
                  <c:v>1073.0</c:v>
                </c:pt>
                <c:pt idx="36">
                  <c:v>1368.5</c:v>
                </c:pt>
                <c:pt idx="37">
                  <c:v>852.0</c:v>
                </c:pt>
                <c:pt idx="38">
                  <c:v>721.5</c:v>
                </c:pt>
                <c:pt idx="39">
                  <c:v>660.0667</c:v>
                </c:pt>
                <c:pt idx="40">
                  <c:v>878.6667</c:v>
                </c:pt>
                <c:pt idx="41">
                  <c:v>899.5</c:v>
                </c:pt>
                <c:pt idx="42">
                  <c:v>796.75</c:v>
                </c:pt>
                <c:pt idx="43">
                  <c:v>792.0</c:v>
                </c:pt>
                <c:pt idx="44">
                  <c:v>970.5333</c:v>
                </c:pt>
                <c:pt idx="45">
                  <c:v>932.6897</c:v>
                </c:pt>
                <c:pt idx="46">
                  <c:v>980.4762</c:v>
                </c:pt>
                <c:pt idx="47">
                  <c:v>1064.0556</c:v>
                </c:pt>
                <c:pt idx="48">
                  <c:v>1252.3077</c:v>
                </c:pt>
                <c:pt idx="49">
                  <c:v>1118.6818</c:v>
                </c:pt>
                <c:pt idx="50">
                  <c:v>963.5909</c:v>
                </c:pt>
                <c:pt idx="51">
                  <c:v>986.3667</c:v>
                </c:pt>
                <c:pt idx="52">
                  <c:v>799.4111846991044</c:v>
                </c:pt>
                <c:pt idx="53">
                  <c:v>136.49085965616152</c:v>
                </c:pt>
                <c:pt idx="54">
                  <c:v>1065.5062294632924</c:v>
                </c:pt>
              </c:numCache>
            </c:numRef>
          </c:xVal>
          <c:yVal>
            <c:numRef>
              <c:f>Sheet1!$B$187:$B$241</c:f>
              <c:numCache>
                <c:formatCode>General</c:formatCode>
                <c:ptCount val="55"/>
                <c:pt idx="0">
                  <c:v>0.40492570620260226</c:v>
                </c:pt>
                <c:pt idx="1">
                  <c:v>0.4173920288982904</c:v>
                </c:pt>
                <c:pt idx="2">
                  <c:v>0.3882119626033616</c:v>
                </c:pt>
                <c:pt idx="3">
                  <c:v>0.3974627779597496</c:v>
                </c:pt>
                <c:pt idx="4">
                  <c:v>0.43576190730500264</c:v>
                </c:pt>
                <c:pt idx="5">
                  <c:v>0.38770896967248064</c:v>
                </c:pt>
                <c:pt idx="6">
                  <c:v>0.403622552441091</c:v>
                </c:pt>
                <c:pt idx="7">
                  <c:v>0.40067878001670354</c:v>
                </c:pt>
                <c:pt idx="8">
                  <c:v>0.38127417714997885</c:v>
                </c:pt>
                <c:pt idx="9">
                  <c:v>0.3679202635219408</c:v>
                </c:pt>
                <c:pt idx="10">
                  <c:v>0.380436282854666</c:v>
                </c:pt>
                <c:pt idx="11">
                  <c:v>0.40181100882883947</c:v>
                </c:pt>
                <c:pt idx="12">
                  <c:v>0.4290437090283926</c:v>
                </c:pt>
                <c:pt idx="13">
                  <c:v>0.4363590989745934</c:v>
                </c:pt>
                <c:pt idx="14">
                  <c:v>0.43331390943118436</c:v>
                </c:pt>
                <c:pt idx="15">
                  <c:v>0.44637852566760117</c:v>
                </c:pt>
                <c:pt idx="16">
                  <c:v>0.41036269819179527</c:v>
                </c:pt>
                <c:pt idx="17">
                  <c:v>0.42223212155105166</c:v>
                </c:pt>
                <c:pt idx="18">
                  <c:v>0.3957256443800573</c:v>
                </c:pt>
                <c:pt idx="19">
                  <c:v>0.4152470905617345</c:v>
                </c:pt>
                <c:pt idx="20">
                  <c:v>0.39720979734134776</c:v>
                </c:pt>
                <c:pt idx="21">
                  <c:v>0.4088733506951403</c:v>
                </c:pt>
                <c:pt idx="22">
                  <c:v>0.43422673096387626</c:v>
                </c:pt>
                <c:pt idx="23">
                  <c:v>0.4169158406693769</c:v>
                </c:pt>
                <c:pt idx="24">
                  <c:v>0.3734807325400799</c:v>
                </c:pt>
                <c:pt idx="25">
                  <c:v>0.4039671907484355</c:v>
                </c:pt>
                <c:pt idx="26">
                  <c:v>0.3824619717494989</c:v>
                </c:pt>
                <c:pt idx="27">
                  <c:v>0.4016918943101129</c:v>
                </c:pt>
                <c:pt idx="28">
                  <c:v>0.36973967764232035</c:v>
                </c:pt>
                <c:pt idx="29">
                  <c:v>0.37560338609505045</c:v>
                </c:pt>
                <c:pt idx="30">
                  <c:v>0.3555523221778534</c:v>
                </c:pt>
                <c:pt idx="31">
                  <c:v>0.41511117812994597</c:v>
                </c:pt>
                <c:pt idx="32">
                  <c:v>0.4130632494278598</c:v>
                </c:pt>
                <c:pt idx="33">
                  <c:v>0.3726706773563744</c:v>
                </c:pt>
                <c:pt idx="34">
                  <c:v>0.3582334894767568</c:v>
                </c:pt>
                <c:pt idx="35">
                  <c:v>0.39130691624530606</c:v>
                </c:pt>
                <c:pt idx="36">
                  <c:v>0.32485734047843645</c:v>
                </c:pt>
                <c:pt idx="37">
                  <c:v>0.4410035532824573</c:v>
                </c:pt>
                <c:pt idx="38">
                  <c:v>0.4703493050170646</c:v>
                </c:pt>
                <c:pt idx="39">
                  <c:v>0.4841639132165869</c:v>
                </c:pt>
                <c:pt idx="40">
                  <c:v>0.43500696816535955</c:v>
                </c:pt>
                <c:pt idx="41">
                  <c:v>0.4303221493943818</c:v>
                </c:pt>
                <c:pt idx="42">
                  <c:v>0.4534277125417451</c:v>
                </c:pt>
                <c:pt idx="43">
                  <c:v>0.4544958529305526</c:v>
                </c:pt>
                <c:pt idx="44">
                  <c:v>0.41434877325116426</c:v>
                </c:pt>
                <c:pt idx="45">
                  <c:v>0.4228587264338753</c:v>
                </c:pt>
                <c:pt idx="46">
                  <c:v>0.41211289681498015</c:v>
                </c:pt>
                <c:pt idx="47">
                  <c:v>0.3933182583281798</c:v>
                </c:pt>
                <c:pt idx="48">
                  <c:v>0.3509856959517929</c:v>
                </c:pt>
                <c:pt idx="49">
                  <c:v>0.3810343740109</c:v>
                </c:pt>
                <c:pt idx="50">
                  <c:v>0.41590992226911316</c:v>
                </c:pt>
                <c:pt idx="51">
                  <c:v>0.41078829029702835</c:v>
                </c:pt>
                <c:pt idx="52">
                  <c:v>0.4528292875187577</c:v>
                </c:pt>
                <c:pt idx="53">
                  <c:v>0.6019012819902936</c:v>
                </c:pt>
                <c:pt idx="54">
                  <c:v>0.39299205287156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1.0"/>
          <c:min val="1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166666666666665"/>
          <c:min val="0.133333333333333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0.16422162839248433</c:v>
                </c:pt>
                <c:pt idx="1">
                  <c:v>0.35477709663686674</c:v>
                </c:pt>
                <c:pt idx="2">
                  <c:v>0.0</c:v>
                </c:pt>
                <c:pt idx="3">
                  <c:v>0.2735862485326178</c:v>
                </c:pt>
                <c:pt idx="4">
                  <c:v>0.0</c:v>
                </c:pt>
                <c:pt idx="5">
                  <c:v>0.30172048979591837</c:v>
                </c:pt>
                <c:pt idx="6">
                  <c:v>0.27258722261989976</c:v>
                </c:pt>
                <c:pt idx="7">
                  <c:v>0.28613383402177994</c:v>
                </c:pt>
                <c:pt idx="8">
                  <c:v>0.0</c:v>
                </c:pt>
                <c:pt idx="9">
                  <c:v>0.17277619047619047</c:v>
                </c:pt>
                <c:pt idx="10">
                  <c:v>0.16295942579691788</c:v>
                </c:pt>
                <c:pt idx="11">
                  <c:v>0.32971775551102206</c:v>
                </c:pt>
                <c:pt idx="12">
                  <c:v>0.0</c:v>
                </c:pt>
                <c:pt idx="13">
                  <c:v>0.34363745835316517</c:v>
                </c:pt>
                <c:pt idx="14">
                  <c:v>0.1913976419878296</c:v>
                </c:pt>
                <c:pt idx="15">
                  <c:v>0.22389082619508152</c:v>
                </c:pt>
                <c:pt idx="16">
                  <c:v>0.31793038022813686</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30005721014492753</c:v>
                </c:pt>
                <c:pt idx="48">
                  <c:v>0.24486165760869566</c:v>
                </c:pt>
                <c:pt idx="49">
                  <c:v>0.38816567028985505</c:v>
                </c:pt>
                <c:pt idx="50">
                  <c:v>0.2711415229030339</c:v>
                </c:pt>
                <c:pt idx="51">
                  <c:v>0.0</c:v>
                </c:pt>
                <c:pt idx="52">
                  <c:v>0.0</c:v>
                </c:pt>
                <c:pt idx="53">
                  <c:v>0.30041431486880465</c:v>
                </c:pt>
                <c:pt idx="54">
                  <c:v>0.0</c:v>
                </c:pt>
                <c:pt idx="55">
                  <c:v>0.0</c:v>
                </c:pt>
                <c:pt idx="56">
                  <c:v>0.37640150495049507</c:v>
                </c:pt>
                <c:pt idx="57">
                  <c:v>0.27286733787385253</c:v>
                </c:pt>
                <c:pt idx="58">
                  <c:v>0.3396312888198758</c:v>
                </c:pt>
                <c:pt idx="59">
                  <c:v>0.4069621897163121</c:v>
                </c:pt>
                <c:pt idx="60">
                  <c:v>0.26688112943807657</c:v>
                </c:pt>
                <c:pt idx="61">
                  <c:v>0.2511675824175824</c:v>
                </c:pt>
                <c:pt idx="62">
                  <c:v>0.27853839650145773</c:v>
                </c:pt>
                <c:pt idx="63">
                  <c:v>0.22078785714285712</c:v>
                </c:pt>
                <c:pt idx="64">
                  <c:v>0.2509061224489796</c:v>
                </c:pt>
                <c:pt idx="65">
                  <c:v>0.39729847512038524</c:v>
                </c:pt>
                <c:pt idx="66">
                  <c:v>0.0</c:v>
                </c:pt>
                <c:pt idx="67">
                  <c:v>0.0</c:v>
                </c:pt>
                <c:pt idx="68">
                  <c:v>0.0</c:v>
                </c:pt>
                <c:pt idx="69">
                  <c:v>0.0</c:v>
                </c:pt>
                <c:pt idx="70">
                  <c:v>0.0</c:v>
                </c:pt>
                <c:pt idx="71">
                  <c:v>0.0</c:v>
                </c:pt>
                <c:pt idx="72">
                  <c:v>0.0</c:v>
                </c:pt>
                <c:pt idx="73">
                  <c:v>0.0</c:v>
                </c:pt>
                <c:pt idx="74">
                  <c:v>0.0</c:v>
                </c:pt>
                <c:pt idx="75">
                  <c:v>0.0</c:v>
                </c:pt>
                <c:pt idx="76">
                  <c:v>0.0</c:v>
                </c:pt>
                <c:pt idx="77">
                  <c:v>0.2899857617465591</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numCache>
            </c:numRef>
          </c:xVal>
          <c:yVal>
            <c:numRef>
              <c:f>Sheet1!$B$2:$B$95</c:f>
              <c:numCache>
                <c:formatCode>General</c:formatCode>
                <c:ptCount val="94"/>
                <c:pt idx="0">
                  <c:v>0.6166666666666667</c:v>
                </c:pt>
                <c:pt idx="1">
                  <c:v>0.5785123966942148</c:v>
                </c:pt>
                <c:pt idx="2">
                  <c:v>0.6377952755905512</c:v>
                </c:pt>
                <c:pt idx="3">
                  <c:v>0.5891472868217055</c:v>
                </c:pt>
                <c:pt idx="4">
                  <c:v>0.6203703703703703</c:v>
                </c:pt>
                <c:pt idx="5">
                  <c:v>0.572463768115942</c:v>
                </c:pt>
                <c:pt idx="6">
                  <c:v>0.609271523178808</c:v>
                </c:pt>
                <c:pt idx="7">
                  <c:v>0.5735294117647058</c:v>
                </c:pt>
                <c:pt idx="8">
                  <c:v>0.6193548387096774</c:v>
                </c:pt>
                <c:pt idx="9">
                  <c:v>0.5988023952095808</c:v>
                </c:pt>
                <c:pt idx="10">
                  <c:v>0.5868263473053892</c:v>
                </c:pt>
                <c:pt idx="11">
                  <c:v>0.5363128491620112</c:v>
                </c:pt>
                <c:pt idx="12">
                  <c:v>0.62</c:v>
                </c:pt>
                <c:pt idx="13">
                  <c:v>0.5854922279792746</c:v>
                </c:pt>
                <c:pt idx="14">
                  <c:v>0.562874251497006</c:v>
                </c:pt>
                <c:pt idx="15">
                  <c:v>0.5948275862068966</c:v>
                </c:pt>
                <c:pt idx="16">
                  <c:v>0.5604395604395604</c:v>
                </c:pt>
                <c:pt idx="17">
                  <c:v>0.573170731707317</c:v>
                </c:pt>
                <c:pt idx="18">
                  <c:v>0.5555555555555556</c:v>
                </c:pt>
                <c:pt idx="19">
                  <c:v>0.5925925925925926</c:v>
                </c:pt>
                <c:pt idx="20">
                  <c:v>0.5735294117647058</c:v>
                </c:pt>
                <c:pt idx="21">
                  <c:v>0.5714285714285714</c:v>
                </c:pt>
                <c:pt idx="22">
                  <c:v>0.5283018867924528</c:v>
                </c:pt>
                <c:pt idx="23">
                  <c:v>0.575</c:v>
                </c:pt>
                <c:pt idx="24">
                  <c:v>0.5714285714285714</c:v>
                </c:pt>
                <c:pt idx="25">
                  <c:v>0.5641025641025641</c:v>
                </c:pt>
                <c:pt idx="26">
                  <c:v>0.5789473684210527</c:v>
                </c:pt>
                <c:pt idx="27">
                  <c:v>0.5869565217391305</c:v>
                </c:pt>
                <c:pt idx="28">
                  <c:v>0.5818181818181818</c:v>
                </c:pt>
                <c:pt idx="29">
                  <c:v>0.5813953488372093</c:v>
                </c:pt>
                <c:pt idx="30">
                  <c:v>0.5333333333333333</c:v>
                </c:pt>
                <c:pt idx="31">
                  <c:v>0.5641025641025641</c:v>
                </c:pt>
                <c:pt idx="32">
                  <c:v>0.5517241379310345</c:v>
                </c:pt>
                <c:pt idx="33">
                  <c:v>0.6470588235294118</c:v>
                </c:pt>
                <c:pt idx="34">
                  <c:v>0.6</c:v>
                </c:pt>
                <c:pt idx="35">
                  <c:v>0.6666666666666666</c:v>
                </c:pt>
                <c:pt idx="36">
                  <c:v>0.6666666666666666</c:v>
                </c:pt>
                <c:pt idx="37">
                  <c:v>0.6511627906976745</c:v>
                </c:pt>
                <c:pt idx="38">
                  <c:v>0.5897435897435898</c:v>
                </c:pt>
                <c:pt idx="39">
                  <c:v>0.5918367346938775</c:v>
                </c:pt>
                <c:pt idx="40">
                  <c:v>0.6</c:v>
                </c:pt>
                <c:pt idx="41">
                  <c:v>0.5238095238095238</c:v>
                </c:pt>
                <c:pt idx="42">
                  <c:v>0.5189873417721519</c:v>
                </c:pt>
                <c:pt idx="43">
                  <c:v>0.4811320754716981</c:v>
                </c:pt>
                <c:pt idx="44">
                  <c:v>0.5106382978723404</c:v>
                </c:pt>
                <c:pt idx="45">
                  <c:v>0.5048543689320388</c:v>
                </c:pt>
                <c:pt idx="46">
                  <c:v>0.4966442953020134</c:v>
                </c:pt>
                <c:pt idx="47">
                  <c:v>0.510752688172043</c:v>
                </c:pt>
                <c:pt idx="48">
                  <c:v>0.44</c:v>
                </c:pt>
                <c:pt idx="49">
                  <c:v>0.4387755102040816</c:v>
                </c:pt>
                <c:pt idx="50">
                  <c:v>0.4368932038834951</c:v>
                </c:pt>
                <c:pt idx="51">
                  <c:v>0.43010752688172044</c:v>
                </c:pt>
                <c:pt idx="52">
                  <c:v>0.42857142857142855</c:v>
                </c:pt>
                <c:pt idx="53">
                  <c:v>0.4418604651162791</c:v>
                </c:pt>
                <c:pt idx="54">
                  <c:v>0.4673913043478261</c:v>
                </c:pt>
                <c:pt idx="55">
                  <c:v>0.4523809523809524</c:v>
                </c:pt>
                <c:pt idx="56">
                  <c:v>0.464</c:v>
                </c:pt>
                <c:pt idx="57">
                  <c:v>0.45121951219512196</c:v>
                </c:pt>
                <c:pt idx="58">
                  <c:v>0.4880952380952381</c:v>
                </c:pt>
                <c:pt idx="59">
                  <c:v>0.5067567567567568</c:v>
                </c:pt>
                <c:pt idx="60">
                  <c:v>0.4930555555555556</c:v>
                </c:pt>
                <c:pt idx="61">
                  <c:v>0.47904191616766467</c:v>
                </c:pt>
                <c:pt idx="62">
                  <c:v>0.4437869822485207</c:v>
                </c:pt>
                <c:pt idx="63">
                  <c:v>0.5088757396449705</c:v>
                </c:pt>
                <c:pt idx="64">
                  <c:v>0.49019607843137253</c:v>
                </c:pt>
                <c:pt idx="65">
                  <c:v>0.47580645161290325</c:v>
                </c:pt>
                <c:pt idx="66">
                  <c:v>0.4791666666666667</c:v>
                </c:pt>
                <c:pt idx="67">
                  <c:v>0.5076923076923077</c:v>
                </c:pt>
                <c:pt idx="68">
                  <c:v>0.41025641025641024</c:v>
                </c:pt>
                <c:pt idx="69">
                  <c:v>0.47297297297297297</c:v>
                </c:pt>
                <c:pt idx="70">
                  <c:v>0.27956989247311825</c:v>
                </c:pt>
                <c:pt idx="71">
                  <c:v>0.36585365853658536</c:v>
                </c:pt>
                <c:pt idx="72">
                  <c:v>0.2711864406779661</c:v>
                </c:pt>
                <c:pt idx="73">
                  <c:v>0.43243243243243246</c:v>
                </c:pt>
                <c:pt idx="74">
                  <c:v>0.3783783783783784</c:v>
                </c:pt>
                <c:pt idx="75">
                  <c:v>0.4482758620689655</c:v>
                </c:pt>
                <c:pt idx="76">
                  <c:v>0.4</c:v>
                </c:pt>
                <c:pt idx="77">
                  <c:v>0.3</c:v>
                </c:pt>
                <c:pt idx="78">
                  <c:v>0.39473684210526316</c:v>
                </c:pt>
                <c:pt idx="79">
                  <c:v>0.3548387096774194</c:v>
                </c:pt>
                <c:pt idx="80">
                  <c:v>0.3157894736842105</c:v>
                </c:pt>
                <c:pt idx="81">
                  <c:v>0.4090909090909091</c:v>
                </c:pt>
                <c:pt idx="82">
                  <c:v>0.375</c:v>
                </c:pt>
                <c:pt idx="83">
                  <c:v>0.45161290322580644</c:v>
                </c:pt>
                <c:pt idx="84">
                  <c:v>0.41935483870967744</c:v>
                </c:pt>
                <c:pt idx="85">
                  <c:v>0.3333333333333333</c:v>
                </c:pt>
                <c:pt idx="86">
                  <c:v>0.25806451612903225</c:v>
                </c:pt>
                <c:pt idx="87">
                  <c:v>0.38095238095238093</c:v>
                </c:pt>
                <c:pt idx="88">
                  <c:v>0.16666666666666666</c:v>
                </c:pt>
                <c:pt idx="89">
                  <c:v>0.3684210526315789</c:v>
                </c:pt>
                <c:pt idx="90">
                  <c:v>0.4838709677419355</c:v>
                </c:pt>
                <c:pt idx="91">
                  <c:v>0.4074074074074074</c:v>
                </c:pt>
                <c:pt idx="92">
                  <c:v>0.3764705882352941</c:v>
                </c:pt>
                <c:pt idx="93">
                  <c:v>0.4166666666666667</c:v>
                </c:pt>
              </c:numCache>
            </c:numRef>
          </c:yVal>
          <c:smooth val="0"/>
          <c:extLst>
            <c:ext xmlns:c16="http://schemas.microsoft.com/office/drawing/2014/chart" uri="{C3380CC4-5D6E-409C-BE32-E72D297353CC}">
              <c16:uniqueId val="{00000000-096C-4121-9522-6AB7243CCAAE}"/>
            </c:ext>
          </c:extLst>
        </c:ser>
        <c:ser>
          <c:idx val="1"/>
          <c:order val="1"/>
          <c:tx>
            <c:strRef>
              <c:f>Sheet1!$B$9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8:$A$97</c:f>
              <c:numCache>
                <c:formatCode>General</c:formatCode>
                <c:ptCount val="0"/>
              </c:numCache>
            </c:numRef>
          </c:xVal>
          <c:yVal>
            <c:numRef>
              <c:f>Sheet1!$B$98:$B$9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9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0:$A$101</c:f>
              <c:numCache>
                <c:formatCode>General</c:formatCode>
                <c:ptCount val="2"/>
                <c:pt idx="0">
                  <c:v>0</c:v>
                </c:pt>
                <c:pt idx="1">
                  <c:v>0.6019012819902936</c:v>
                </c:pt>
              </c:numCache>
            </c:numRef>
          </c:xVal>
          <c:yVal>
            <c:numRef>
              <c:f>Sheet1!$B$100:$B$101</c:f>
              <c:numCache>
                <c:formatCode>General</c:formatCode>
                <c:ptCount val="2"/>
                <c:pt idx="0">
                  <c:v>0.6019012819902936</c:v>
                </c:pt>
                <c:pt idx="1">
                  <c:v>0.6019012819902936</c:v>
                </c:pt>
              </c:numCache>
            </c:numRef>
          </c:yVal>
          <c:smooth val="0"/>
          <c:extLst>
            <c:ext xmlns:c16="http://schemas.microsoft.com/office/drawing/2014/chart" uri="{C3380CC4-5D6E-409C-BE32-E72D297353CC}">
              <c16:uniqueId val="{00000005-096C-4121-9522-6AB7243CCAAE}"/>
            </c:ext>
          </c:extLst>
        </c:ser>
        <c:ser>
          <c:idx val="3"/>
          <c:order val="3"/>
          <c:tx>
            <c:strRef>
              <c:f>Sheet1!$B$10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0.6019012819902936</c:v>
                </c:pt>
                <c:pt idx="1">
                  <c:v>0.6019012819902936</c:v>
                </c:pt>
              </c:numCache>
            </c:numRef>
          </c:xVal>
          <c:yVal>
            <c:numRef>
              <c:f>Sheet1!$B$104:$B$105</c:f>
              <c:numCache>
                <c:formatCode>General</c:formatCode>
                <c:ptCount val="2"/>
                <c:pt idx="0">
                  <c:v>0.6019012819902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8:$A$109</c:f>
              <c:numCache>
                <c:formatCode>General</c:formatCode>
                <c:ptCount val="2"/>
                <c:pt idx="0">
                  <c:v>0</c:v>
                </c:pt>
                <c:pt idx="1">
                  <c:v>0.3965686274509804</c:v>
                </c:pt>
              </c:numCache>
            </c:numRef>
          </c:xVal>
          <c:yVal>
            <c:numRef>
              <c:f>Sheet1!$B$108:$B$109</c:f>
              <c:numCache>
                <c:formatCode>General</c:formatCode>
                <c:ptCount val="2"/>
                <c:pt idx="0">
                  <c:v>0.3965686274509804</c:v>
                </c:pt>
                <c:pt idx="1">
                  <c:v>0.3965686274509804</c:v>
                </c:pt>
              </c:numCache>
            </c:numRef>
          </c:yVal>
          <c:smooth val="0"/>
          <c:extLst>
            <c:ext xmlns:c16="http://schemas.microsoft.com/office/drawing/2014/chart" uri="{C3380CC4-5D6E-409C-BE32-E72D297353CC}">
              <c16:uniqueId val="{0000000D-096C-4121-9522-6AB7243CCAAE}"/>
            </c:ext>
          </c:extLst>
        </c:ser>
        <c:ser>
          <c:idx val="5"/>
          <c:order val="5"/>
          <c:tx>
            <c:strRef>
              <c:f>Sheet1!$B$11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0.3965686274509804</c:v>
                </c:pt>
                <c:pt idx="1">
                  <c:v>0.3965686274509804</c:v>
                </c:pt>
              </c:numCache>
            </c:numRef>
          </c:xVal>
          <c:yVal>
            <c:numRef>
              <c:f>Sheet1!$B$112:$B$113</c:f>
              <c:numCache>
                <c:formatCode>General</c:formatCode>
                <c:ptCount val="2"/>
                <c:pt idx="0">
                  <c:v>0.39656862745098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5</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6:$A$118</c:f>
              <c:numCache>
                <c:formatCode>General</c:formatCode>
                <c:ptCount val="3"/>
                <c:pt idx="0">
                  <c:v>0.3965686274509804</c:v>
                </c:pt>
                <c:pt idx="1">
                  <c:v>0.6019012819902936</c:v>
                </c:pt>
                <c:pt idx="2">
                  <c:v>0</c:v>
                </c:pt>
              </c:numCache>
            </c:numRef>
          </c:xVal>
          <c:yVal>
            <c:numRef>
              <c:f>Sheet1!$B$116:$B$118</c:f>
              <c:numCache>
                <c:formatCode>General</c:formatCode>
                <c:ptCount val="3"/>
                <c:pt idx="0">
                  <c:v>0.3965686274509804</c:v>
                </c:pt>
                <c:pt idx="1">
                  <c:v>0.6019012819902936</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133333333333333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984788173621486</c:v>
                </c:pt>
                <c:pt idx="1">
                  <c:v>0.19166320485471303</c:v>
                </c:pt>
                <c:pt idx="2">
                  <c:v>0.20672880550525596</c:v>
                </c:pt>
                <c:pt idx="3">
                  <c:v>0.22654028306256166</c:v>
                </c:pt>
                <c:pt idx="4">
                  <c:v>0.20646889123738</c:v>
                </c:pt>
                <c:pt idx="5">
                  <c:v>0.20687969898929465</c:v>
                </c:pt>
                <c:pt idx="6">
                  <c:v>0.19094209552132432</c:v>
                </c:pt>
                <c:pt idx="7">
                  <c:v>0.1861213929869969</c:v>
                </c:pt>
                <c:pt idx="8">
                  <c:v>0.18686556611173555</c:v>
                </c:pt>
                <c:pt idx="9">
                  <c:v>0.18750415273382998</c:v>
                </c:pt>
                <c:pt idx="10">
                  <c:v>0.1973742377349584</c:v>
                </c:pt>
                <c:pt idx="11">
                  <c:v>0.19116000581795467</c:v>
                </c:pt>
                <c:pt idx="12">
                  <c:v>0.20783868569140673</c:v>
                </c:pt>
                <c:pt idx="13">
                  <c:v>0.20324486262697533</c:v>
                </c:pt>
                <c:pt idx="14">
                  <c:v>0.19008786406998007</c:v>
                </c:pt>
                <c:pt idx="15">
                  <c:v>0.19300608108108108</c:v>
                </c:pt>
                <c:pt idx="16">
                  <c:v>0.16881067605362296</c:v>
                </c:pt>
                <c:pt idx="17">
                  <c:v>0.16722192528309637</c:v>
                </c:pt>
                <c:pt idx="18">
                  <c:v>0.18211333651558276</c:v>
                </c:pt>
                <c:pt idx="19">
                  <c:v>0.2038473326871805</c:v>
                </c:pt>
                <c:pt idx="20">
                  <c:v>0.2247961739605432</c:v>
                </c:pt>
                <c:pt idx="21">
                  <c:v>0.182927914873454</c:v>
                </c:pt>
                <c:pt idx="22">
                  <c:v>0.1789174588236518</c:v>
                </c:pt>
                <c:pt idx="23">
                  <c:v>0.15218710552253673</c:v>
                </c:pt>
                <c:pt idx="24">
                  <c:v>0.17032149025413276</c:v>
                </c:pt>
                <c:pt idx="25">
                  <c:v>0.15937862590981122</c:v>
                </c:pt>
                <c:pt idx="26">
                  <c:v>0.17588303947684936</c:v>
                </c:pt>
                <c:pt idx="27">
                  <c:v>0.17848957353370645</c:v>
                </c:pt>
                <c:pt idx="28">
                  <c:v>0.16462041969502714</c:v>
                </c:pt>
                <c:pt idx="29">
                  <c:v>0.18151632718010233</c:v>
                </c:pt>
                <c:pt idx="30">
                  <c:v>0.15768252944570788</c:v>
                </c:pt>
                <c:pt idx="31">
                  <c:v>0.17994617893729156</c:v>
                </c:pt>
                <c:pt idx="32">
                  <c:v>0.16294140634011653</c:v>
                </c:pt>
                <c:pt idx="33">
                  <c:v>0.15757515281967333</c:v>
                </c:pt>
                <c:pt idx="34">
                  <c:v>0.18709453926873693</c:v>
                </c:pt>
                <c:pt idx="35">
                  <c:v>0.1953076319683216</c:v>
                </c:pt>
                <c:pt idx="36">
                  <c:v>0.15961843781144303</c:v>
                </c:pt>
                <c:pt idx="37">
                  <c:v>0.15391288052109994</c:v>
                </c:pt>
                <c:pt idx="38">
                  <c:v>0.19396247172272874</c:v>
                </c:pt>
                <c:pt idx="39">
                  <c:v>0.19082514772970893</c:v>
                </c:pt>
                <c:pt idx="40">
                  <c:v>0.19625849281927002</c:v>
                </c:pt>
                <c:pt idx="41">
                  <c:v>0.19905894467115975</c:v>
                </c:pt>
                <c:pt idx="42">
                  <c:v>0.19470310038656533</c:v>
                </c:pt>
                <c:pt idx="43">
                  <c:v>0.23227038115147644</c:v>
                </c:pt>
                <c:pt idx="44">
                  <c:v>0.21058548918058928</c:v>
                </c:pt>
                <c:pt idx="45">
                  <c:v>0.1919018583388532</c:v>
                </c:pt>
                <c:pt idx="46">
                  <c:v>0.20998706573882536</c:v>
                </c:pt>
                <c:pt idx="47">
                  <c:v>0.19251839915186983</c:v>
                </c:pt>
                <c:pt idx="48">
                  <c:v>0.22463602959674767</c:v>
                </c:pt>
                <c:pt idx="49">
                  <c:v>0.23587109040504936</c:v>
                </c:pt>
                <c:pt idx="50">
                  <c:v>0.18966851168779536</c:v>
                </c:pt>
                <c:pt idx="51">
                  <c:v>0.1859237093215434</c:v>
                </c:pt>
                <c:pt idx="52">
                  <c:v>0.2099836366531652</c:v>
                </c:pt>
                <c:pt idx="53">
                  <c:v>0.1984942481043909</c:v>
                </c:pt>
                <c:pt idx="54">
                  <c:v>0.19727896266837627</c:v>
                </c:pt>
                <c:pt idx="55">
                  <c:v>0.18123834980878595</c:v>
                </c:pt>
                <c:pt idx="56">
                  <c:v>0.1946333134171326</c:v>
                </c:pt>
                <c:pt idx="57">
                  <c:v>0.19614806423687758</c:v>
                </c:pt>
                <c:pt idx="58">
                  <c:v>0.17178696839925858</c:v>
                </c:pt>
                <c:pt idx="59">
                  <c:v>0.21323346536539706</c:v>
                </c:pt>
                <c:pt idx="60">
                  <c:v>0.22167039302545227</c:v>
                </c:pt>
                <c:pt idx="61">
                  <c:v>0.20470472075998852</c:v>
                </c:pt>
                <c:pt idx="62">
                  <c:v>0.2352156484779191</c:v>
                </c:pt>
                <c:pt idx="63">
                  <c:v>0.2262128438823877</c:v>
                </c:pt>
                <c:pt idx="64">
                  <c:v>0.22445408382279441</c:v>
                </c:pt>
                <c:pt idx="65">
                  <c:v>0.19805732573095378</c:v>
                </c:pt>
                <c:pt idx="66">
                  <c:v>0.178673459671855</c:v>
                </c:pt>
                <c:pt idx="67">
                  <c:v>0.17330363791917636</c:v>
                </c:pt>
                <c:pt idx="68">
                  <c:v>0.15830360192098428</c:v>
                </c:pt>
                <c:pt idx="69">
                  <c:v>0.14406721852150642</c:v>
                </c:pt>
                <c:pt idx="70">
                  <c:v>0.13924028183784454</c:v>
                </c:pt>
                <c:pt idx="71">
                  <c:v>0.15121220304744523</c:v>
                </c:pt>
                <c:pt idx="72">
                  <c:v>0.16541268311648372</c:v>
                </c:pt>
                <c:pt idx="73">
                  <c:v>0.15278125923171762</c:v>
                </c:pt>
                <c:pt idx="74">
                  <c:v>0.17007782570918253</c:v>
                </c:pt>
                <c:pt idx="75">
                  <c:v>0.1627201081602804</c:v>
                </c:pt>
                <c:pt idx="76">
                  <c:v>0.14880849303967097</c:v>
                </c:pt>
                <c:pt idx="77">
                  <c:v>0.164784066930396</c:v>
                </c:pt>
                <c:pt idx="78">
                  <c:v>0.17451957134021417</c:v>
                </c:pt>
                <c:pt idx="79">
                  <c:v>0.12212887190355293</c:v>
                </c:pt>
                <c:pt idx="80">
                  <c:v>0.12382255114220773</c:v>
                </c:pt>
                <c:pt idx="81">
                  <c:v>0.14218641050252345</c:v>
                </c:pt>
                <c:pt idx="82">
                  <c:v>0.15108313591585393</c:v>
                </c:pt>
                <c:pt idx="83">
                  <c:v>0.12977463181208249</c:v>
                </c:pt>
                <c:pt idx="84">
                  <c:v>0.1269345946177624</c:v>
                </c:pt>
                <c:pt idx="85">
                  <c:v>0.1601328329194889</c:v>
                </c:pt>
                <c:pt idx="86">
                  <c:v>0.1810047588307731</c:v>
                </c:pt>
                <c:pt idx="87">
                  <c:v>0.1772101214169083</c:v>
                </c:pt>
                <c:pt idx="88">
                  <c:v>0.15060204140668296</c:v>
                </c:pt>
                <c:pt idx="89">
                  <c:v>0.1429599948862841</c:v>
                </c:pt>
                <c:pt idx="90">
                  <c:v>0.14762114842133445</c:v>
                </c:pt>
                <c:pt idx="91">
                  <c:v>0.15894036001864537</c:v>
                </c:pt>
                <c:pt idx="92">
                  <c:v>0.17671087027523774</c:v>
                </c:pt>
                <c:pt idx="93">
                  <c:v>0.16883283063651539</c:v>
                </c:pt>
                <c:pt idx="94">
                  <c:v>0.1662071953257986</c:v>
                </c:pt>
                <c:pt idx="95">
                  <c:v>0.16596017089687184</c:v>
                </c:pt>
                <c:pt idx="96">
                  <c:v>0.17811667202436862</c:v>
                </c:pt>
                <c:pt idx="97">
                  <c:v>0.18773156610300842</c:v>
                </c:pt>
                <c:pt idx="98">
                  <c:v>0.18630373811775577</c:v>
                </c:pt>
                <c:pt idx="99">
                  <c:v>0.22460469685231363</c:v>
                </c:pt>
                <c:pt idx="100">
                  <c:v>0.2064704172569712</c:v>
                </c:pt>
                <c:pt idx="101">
                  <c:v>0.2117659963119139</c:v>
                </c:pt>
                <c:pt idx="102">
                  <c:v>0.21534327210111787</c:v>
                </c:pt>
                <c:pt idx="103">
                  <c:v>0.1839185450231817</c:v>
                </c:pt>
                <c:pt idx="104">
                  <c:v>0.1813599701288528</c:v>
                </c:pt>
              </c:numCache>
            </c:numRef>
          </c:xVal>
          <c:yVal>
            <c:numRef>
              <c:f>Sheet1!$B$2:$B$106</c:f>
              <c:numCache>
                <c:formatCode>General</c:formatCode>
                <c:ptCount val="105"/>
                <c:pt idx="0">
                  <c:v>0.19852700490998362</c:v>
                </c:pt>
                <c:pt idx="1">
                  <c:v>0.20894996476391825</c:v>
                </c:pt>
                <c:pt idx="2">
                  <c:v>0.1818754925137904</c:v>
                </c:pt>
                <c:pt idx="3">
                  <c:v>0.18375499334221038</c:v>
                </c:pt>
                <c:pt idx="4">
                  <c:v>0.17928685897435898</c:v>
                </c:pt>
                <c:pt idx="5">
                  <c:v>0.16685823754789272</c:v>
                </c:pt>
                <c:pt idx="6">
                  <c:v>0.18851615558756946</c:v>
                </c:pt>
                <c:pt idx="7">
                  <c:v>0.18602029312288612</c:v>
                </c:pt>
                <c:pt idx="8">
                  <c:v>0.18450797872340424</c:v>
                </c:pt>
                <c:pt idx="9">
                  <c:v>0.1888421052631579</c:v>
                </c:pt>
                <c:pt idx="10">
                  <c:v>0.20257438278117745</c:v>
                </c:pt>
                <c:pt idx="11">
                  <c:v>0.19839449541284404</c:v>
                </c:pt>
                <c:pt idx="12">
                  <c:v>0.20647773279352227</c:v>
                </c:pt>
                <c:pt idx="13">
                  <c:v>0.21793275217932753</c:v>
                </c:pt>
                <c:pt idx="14">
                  <c:v>0.21451355661881977</c:v>
                </c:pt>
                <c:pt idx="15">
                  <c:v>0.21304863582443653</c:v>
                </c:pt>
                <c:pt idx="16">
                  <c:v>0.20061815116605788</c:v>
                </c:pt>
                <c:pt idx="17">
                  <c:v>0.18091079226450404</c:v>
                </c:pt>
                <c:pt idx="18">
                  <c:v>0.1557759626604434</c:v>
                </c:pt>
                <c:pt idx="19">
                  <c:v>0.15400340715502556</c:v>
                </c:pt>
                <c:pt idx="20">
                  <c:v>0.16055321707757064</c:v>
                </c:pt>
                <c:pt idx="21">
                  <c:v>0.16191709844559585</c:v>
                </c:pt>
                <c:pt idx="22">
                  <c:v>0.1594147092799384</c:v>
                </c:pt>
                <c:pt idx="23">
                  <c:v>0.1728744939271255</c:v>
                </c:pt>
                <c:pt idx="24">
                  <c:v>0.18342776203966005</c:v>
                </c:pt>
                <c:pt idx="25">
                  <c:v>0.18113654301499604</c:v>
                </c:pt>
                <c:pt idx="26">
                  <c:v>0.1944739638682253</c:v>
                </c:pt>
                <c:pt idx="27">
                  <c:v>0.17828200972447325</c:v>
                </c:pt>
                <c:pt idx="28">
                  <c:v>0.1889060092449923</c:v>
                </c:pt>
                <c:pt idx="29">
                  <c:v>0.20620486761166087</c:v>
                </c:pt>
                <c:pt idx="30">
                  <c:v>0.18532384874578808</c:v>
                </c:pt>
                <c:pt idx="31">
                  <c:v>0.1858224363386098</c:v>
                </c:pt>
                <c:pt idx="32">
                  <c:v>0.17261709793645594</c:v>
                </c:pt>
                <c:pt idx="33">
                  <c:v>0.2081854743316773</c:v>
                </c:pt>
                <c:pt idx="34">
                  <c:v>0.19414833295531866</c:v>
                </c:pt>
                <c:pt idx="35">
                  <c:v>0.18894242962211513</c:v>
                </c:pt>
                <c:pt idx="36">
                  <c:v>0.14145383104125736</c:v>
                </c:pt>
                <c:pt idx="37">
                  <c:v>0.14045307443365695</c:v>
                </c:pt>
                <c:pt idx="38">
                  <c:v>0.13460914693480378</c:v>
                </c:pt>
                <c:pt idx="39">
                  <c:v>0.14440759722640942</c:v>
                </c:pt>
                <c:pt idx="40">
                  <c:v>0.14512922465208747</c:v>
                </c:pt>
                <c:pt idx="41">
                  <c:v>0.13277408157361875</c:v>
                </c:pt>
                <c:pt idx="42">
                  <c:v>0.13987757878032192</c:v>
                </c:pt>
                <c:pt idx="43">
                  <c:v>0.14689025684568033</c:v>
                </c:pt>
                <c:pt idx="44">
                  <c:v>0.18151511668007816</c:v>
                </c:pt>
                <c:pt idx="45">
                  <c:v>0.20697699077510337</c:v>
                </c:pt>
                <c:pt idx="46">
                  <c:v>0.21270066100094429</c:v>
                </c:pt>
                <c:pt idx="47">
                  <c:v>0.22022391615054787</c:v>
                </c:pt>
                <c:pt idx="48">
                  <c:v>0.23636363636363636</c:v>
                </c:pt>
                <c:pt idx="49">
                  <c:v>0.263499205929063</c:v>
                </c:pt>
                <c:pt idx="50">
                  <c:v>0.2211988524837687</c:v>
                </c:pt>
                <c:pt idx="51">
                  <c:v>0.18564857405703772</c:v>
                </c:pt>
                <c:pt idx="52">
                  <c:v>0.20031455533314269</c:v>
                </c:pt>
                <c:pt idx="53">
                  <c:v>0.18304535637149028</c:v>
                </c:pt>
                <c:pt idx="54">
                  <c:v>0.17479499352611136</c:v>
                </c:pt>
                <c:pt idx="55">
                  <c:v>0.16054746904192918</c:v>
                </c:pt>
                <c:pt idx="56">
                  <c:v>0.16686279124499884</c:v>
                </c:pt>
                <c:pt idx="57">
                  <c:v>0.16641143440530884</c:v>
                </c:pt>
                <c:pt idx="58">
                  <c:v>0.2008888888888889</c:v>
                </c:pt>
                <c:pt idx="59">
                  <c:v>0.21755725190839695</c:v>
                </c:pt>
                <c:pt idx="60">
                  <c:v>0.23874057468921947</c:v>
                </c:pt>
                <c:pt idx="61">
                  <c:v>0.23394833948339483</c:v>
                </c:pt>
                <c:pt idx="62">
                  <c:v>0.2199195793380761</c:v>
                </c:pt>
                <c:pt idx="63">
                  <c:v>0.2316900299259726</c:v>
                </c:pt>
                <c:pt idx="64">
                  <c:v>0.20771414259475707</c:v>
                </c:pt>
                <c:pt idx="65">
                  <c:v>0.19233644859813084</c:v>
                </c:pt>
                <c:pt idx="66">
                  <c:v>0.20592142721579046</c:v>
                </c:pt>
                <c:pt idx="67">
                  <c:v>0.20718336483931948</c:v>
                </c:pt>
                <c:pt idx="68">
                  <c:v>0.18377028714107366</c:v>
                </c:pt>
                <c:pt idx="69">
                  <c:v>0.16040181464679196</c:v>
                </c:pt>
                <c:pt idx="70">
                  <c:v>0.1570458404074703</c:v>
                </c:pt>
                <c:pt idx="71">
                  <c:v>0.16774992262457444</c:v>
                </c:pt>
                <c:pt idx="72">
                  <c:v>0.17906095071449402</c:v>
                </c:pt>
                <c:pt idx="73">
                  <c:v>0.1701430274135876</c:v>
                </c:pt>
                <c:pt idx="74">
                  <c:v>0.17015233668990445</c:v>
                </c:pt>
                <c:pt idx="75">
                  <c:v>0.1777975660433363</c:v>
                </c:pt>
                <c:pt idx="76">
                  <c:v>0.17853593905266646</c:v>
                </c:pt>
                <c:pt idx="77">
                  <c:v>0.1723543605653223</c:v>
                </c:pt>
                <c:pt idx="78">
                  <c:v>0.1661698956780924</c:v>
                </c:pt>
                <c:pt idx="79">
                  <c:v>0.18717074682367524</c:v>
                </c:pt>
                <c:pt idx="80">
                  <c:v>0.15863937387116195</c:v>
                </c:pt>
                <c:pt idx="81">
                  <c:v>0.1535412262156448</c:v>
                </c:pt>
                <c:pt idx="82">
                  <c:v>0.1357615894039735</c:v>
                </c:pt>
                <c:pt idx="83">
                  <c:v>0.13561417971970322</c:v>
                </c:pt>
                <c:pt idx="84">
                  <c:v>0.1468155500413565</c:v>
                </c:pt>
                <c:pt idx="85">
                  <c:v>0.13865248226950355</c:v>
                </c:pt>
                <c:pt idx="86">
                  <c:v>0.14773673979450153</c:v>
                </c:pt>
                <c:pt idx="87">
                  <c:v>0.17619872905834777</c:v>
                </c:pt>
                <c:pt idx="88">
                  <c:v>0.13754940711462452</c:v>
                </c:pt>
                <c:pt idx="89">
                  <c:v>0.15186915887850466</c:v>
                </c:pt>
                <c:pt idx="90">
                  <c:v>0.1519368183527642</c:v>
                </c:pt>
                <c:pt idx="91">
                  <c:v>0.14889637111859333</c:v>
                </c:pt>
                <c:pt idx="92">
                  <c:v>0.152811004784689</c:v>
                </c:pt>
                <c:pt idx="93">
                  <c:v>0.14445628997867804</c:v>
                </c:pt>
                <c:pt idx="94">
                  <c:v>0.1549970077797726</c:v>
                </c:pt>
                <c:pt idx="95">
                  <c:v>0.152</c:v>
                </c:pt>
                <c:pt idx="96">
                  <c:v>0.15142208572573107</c:v>
                </c:pt>
                <c:pt idx="97">
                  <c:v>0.1737817576009996</c:v>
                </c:pt>
                <c:pt idx="98">
                  <c:v>0.1791087141640647</c:v>
                </c:pt>
                <c:pt idx="99">
                  <c:v>0.1897945436173796</c:v>
                </c:pt>
                <c:pt idx="100">
                  <c:v>0.21133302368787737</c:v>
                </c:pt>
                <c:pt idx="101">
                  <c:v>0.19372644049542273</c:v>
                </c:pt>
                <c:pt idx="102">
                  <c:v>0.16303162486368594</c:v>
                </c:pt>
                <c:pt idx="103">
                  <c:v>0.1783828382838284</c:v>
                </c:pt>
                <c:pt idx="104">
                  <c:v>0.170976007453994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9174405858844315</c:v>
                </c:pt>
                <c:pt idx="1">
                  <c:v>0.19083487038664995</c:v>
                </c:pt>
                <c:pt idx="2">
                  <c:v>0.21483161751944796</c:v>
                </c:pt>
                <c:pt idx="3">
                  <c:v>0.20096001024634058</c:v>
                </c:pt>
                <c:pt idx="4">
                  <c:v>0.17754437640936063</c:v>
                </c:pt>
                <c:pt idx="5">
                  <c:v>0.19257134066159037</c:v>
                </c:pt>
                <c:pt idx="6">
                  <c:v>0.18660785855062148</c:v>
                </c:pt>
                <c:pt idx="7">
                  <c:v>0.16903715776716868</c:v>
                </c:pt>
                <c:pt idx="8">
                  <c:v>0.21759494226887927</c:v>
                </c:pt>
                <c:pt idx="9">
                  <c:v>0.20060588406495897</c:v>
                </c:pt>
                <c:pt idx="10">
                  <c:v>0.19470652642055</c:v>
                </c:pt>
                <c:pt idx="11">
                  <c:v>0.16278172254271953</c:v>
                </c:pt>
                <c:pt idx="12">
                  <c:v>0.18220795433886838</c:v>
                </c:pt>
                <c:pt idx="13">
                  <c:v>0.1836631453206657</c:v>
                </c:pt>
                <c:pt idx="14">
                  <c:v>0.15256060636011562</c:v>
                </c:pt>
                <c:pt idx="15">
                  <c:v>0.15770659055829397</c:v>
                </c:pt>
                <c:pt idx="16">
                  <c:v>0.15778543756473945</c:v>
                </c:pt>
                <c:pt idx="17">
                  <c:v>0.15178518919133607</c:v>
                </c:pt>
                <c:pt idx="18">
                  <c:v>0.13722188469784188</c:v>
                </c:pt>
                <c:pt idx="19">
                  <c:v>0.1520058124565595</c:v>
                </c:pt>
                <c:pt idx="20">
                  <c:v>0.16110394204167225</c:v>
                </c:pt>
                <c:pt idx="21">
                  <c:v>0.14571044466181649</c:v>
                </c:pt>
                <c:pt idx="22">
                  <c:v>0.14305413611283974</c:v>
                </c:pt>
                <c:pt idx="23">
                  <c:v>0.1594406266446924</c:v>
                </c:pt>
                <c:pt idx="24">
                  <c:v>0.1529207188129741</c:v>
                </c:pt>
                <c:pt idx="25">
                  <c:v>0.14785138779908166</c:v>
                </c:pt>
                <c:pt idx="26">
                  <c:v>0.14054614832398485</c:v>
                </c:pt>
                <c:pt idx="27">
                  <c:v>0.13916892034727335</c:v>
                </c:pt>
                <c:pt idx="28">
                  <c:v>0.16521394553226484</c:v>
                </c:pt>
                <c:pt idx="29">
                  <c:v>0.13226470519760963</c:v>
                </c:pt>
                <c:pt idx="30">
                  <c:v>0.1389508326027463</c:v>
                </c:pt>
                <c:pt idx="31">
                  <c:v>0.14780603844783255</c:v>
                </c:pt>
                <c:pt idx="32">
                  <c:v>0.1638343682757253</c:v>
                </c:pt>
                <c:pt idx="33">
                  <c:v>0.15659429892113672</c:v>
                </c:pt>
                <c:pt idx="34">
                  <c:v>0.18721248207846056</c:v>
                </c:pt>
                <c:pt idx="35">
                  <c:v>0.1271318212603942</c:v>
                </c:pt>
                <c:pt idx="36">
                  <c:v>0.11958306897883896</c:v>
                </c:pt>
                <c:pt idx="37">
                  <c:v>0.13462960810123967</c:v>
                </c:pt>
                <c:pt idx="38">
                  <c:v>0.14622421556129211</c:v>
                </c:pt>
                <c:pt idx="39">
                  <c:v>0.15400894718177807</c:v>
                </c:pt>
                <c:pt idx="40">
                  <c:v>0.16834875432237137</c:v>
                </c:pt>
                <c:pt idx="41">
                  <c:v>0.15736609785181765</c:v>
                </c:pt>
                <c:pt idx="42">
                  <c:v>0.16025519911276298</c:v>
                </c:pt>
                <c:pt idx="43">
                  <c:v>0.1690897418573337</c:v>
                </c:pt>
                <c:pt idx="44">
                  <c:v>0.17352478880697747</c:v>
                </c:pt>
                <c:pt idx="45">
                  <c:v>0.18642736627193315</c:v>
                </c:pt>
                <c:pt idx="46">
                  <c:v>0.17793563746549268</c:v>
                </c:pt>
                <c:pt idx="47">
                  <c:v>0.15794722709252468</c:v>
                </c:pt>
                <c:pt idx="48">
                  <c:v>0.16077506274341327</c:v>
                </c:pt>
                <c:pt idx="49">
                  <c:v>0.1882643845188845</c:v>
                </c:pt>
                <c:pt idx="50">
                  <c:v>0.17850073525656374</c:v>
                </c:pt>
                <c:pt idx="51">
                  <c:v>0.1505481812574135</c:v>
                </c:pt>
              </c:numCache>
            </c:numRef>
          </c:xVal>
          <c:yVal>
            <c:numRef>
              <c:f>Sheet1!$B$109:$B$160</c:f>
              <c:numCache>
                <c:formatCode>General</c:formatCode>
                <c:ptCount val="52"/>
                <c:pt idx="0">
                  <c:v>0.17422152148206543</c:v>
                </c:pt>
                <c:pt idx="1">
                  <c:v>0.20834134153373055</c:v>
                </c:pt>
                <c:pt idx="2">
                  <c:v>0.21032599702134702</c:v>
                </c:pt>
                <c:pt idx="3">
                  <c:v>0.21450777202072538</c:v>
                </c:pt>
                <c:pt idx="4">
                  <c:v>0.2</c:v>
                </c:pt>
                <c:pt idx="5">
                  <c:v>0.20297360507851653</c:v>
                </c:pt>
                <c:pt idx="6">
                  <c:v>0.18488599348534202</c:v>
                </c:pt>
                <c:pt idx="7">
                  <c:v>0.17829593267882188</c:v>
                </c:pt>
                <c:pt idx="8">
                  <c:v>0.16054158607350097</c:v>
                </c:pt>
                <c:pt idx="9">
                  <c:v>0.16272040302267002</c:v>
                </c:pt>
                <c:pt idx="10">
                  <c:v>0.16276826621654208</c:v>
                </c:pt>
                <c:pt idx="11">
                  <c:v>0.18934497816593887</c:v>
                </c:pt>
                <c:pt idx="12">
                  <c:v>0.19076923076923077</c:v>
                </c:pt>
                <c:pt idx="13">
                  <c:v>0.18639861007694217</c:v>
                </c:pt>
                <c:pt idx="14">
                  <c:v>0.18697698744769875</c:v>
                </c:pt>
                <c:pt idx="15">
                  <c:v>0.1847733105218135</c:v>
                </c:pt>
                <c:pt idx="16">
                  <c:v>0.16026490066225166</c:v>
                </c:pt>
                <c:pt idx="17">
                  <c:v>0.15777414075286417</c:v>
                </c:pt>
                <c:pt idx="18">
                  <c:v>0.15700237368599526</c:v>
                </c:pt>
                <c:pt idx="19">
                  <c:v>0.16641509433962265</c:v>
                </c:pt>
                <c:pt idx="20">
                  <c:v>0.15096618357487923</c:v>
                </c:pt>
                <c:pt idx="21">
                  <c:v>0.14270724029380902</c:v>
                </c:pt>
                <c:pt idx="22">
                  <c:v>0.13675213675213677</c:v>
                </c:pt>
                <c:pt idx="23">
                  <c:v>0.1430084745762712</c:v>
                </c:pt>
                <c:pt idx="24">
                  <c:v>0.137016093953893</c:v>
                </c:pt>
                <c:pt idx="25">
                  <c:v>0.15120113047574188</c:v>
                </c:pt>
                <c:pt idx="26">
                  <c:v>0.14423076923076922</c:v>
                </c:pt>
                <c:pt idx="27">
                  <c:v>0.1475354490209318</c:v>
                </c:pt>
                <c:pt idx="28">
                  <c:v>0.14992721979621543</c:v>
                </c:pt>
                <c:pt idx="29">
                  <c:v>0.16067415730337078</c:v>
                </c:pt>
                <c:pt idx="30">
                  <c:v>0.16061400224634967</c:v>
                </c:pt>
                <c:pt idx="31">
                  <c:v>0.1682209469153515</c:v>
                </c:pt>
                <c:pt idx="32">
                  <c:v>0.19249106078665076</c:v>
                </c:pt>
                <c:pt idx="33">
                  <c:v>0.19935210565661599</c:v>
                </c:pt>
                <c:pt idx="34">
                  <c:v>0.21430246189917937</c:v>
                </c:pt>
                <c:pt idx="35">
                  <c:v>0.1993006993006993</c:v>
                </c:pt>
                <c:pt idx="36">
                  <c:v>0.19257221458046767</c:v>
                </c:pt>
                <c:pt idx="37">
                  <c:v>0.1642651296829971</c:v>
                </c:pt>
                <c:pt idx="38">
                  <c:v>0.16545307443365695</c:v>
                </c:pt>
                <c:pt idx="39">
                  <c:v>0.1751987281399046</c:v>
                </c:pt>
                <c:pt idx="40">
                  <c:v>0.15330894579314933</c:v>
                </c:pt>
                <c:pt idx="41">
                  <c:v>0.15644555694618273</c:v>
                </c:pt>
                <c:pt idx="42">
                  <c:v>0.15298923134051243</c:v>
                </c:pt>
                <c:pt idx="43">
                  <c:v>0.15314632297194844</c:v>
                </c:pt>
                <c:pt idx="44">
                  <c:v>0.1472977746379371</c:v>
                </c:pt>
                <c:pt idx="45">
                  <c:v>0.15697969543147208</c:v>
                </c:pt>
                <c:pt idx="46">
                  <c:v>0.1505803784385435</c:v>
                </c:pt>
                <c:pt idx="47">
                  <c:v>0.14263273641218976</c:v>
                </c:pt>
                <c:pt idx="48">
                  <c:v>0.1420908332339969</c:v>
                </c:pt>
                <c:pt idx="49">
                  <c:v>0.16083916083916083</c:v>
                </c:pt>
                <c:pt idx="50">
                  <c:v>0.19821991470424624</c:v>
                </c:pt>
                <c:pt idx="51">
                  <c:v>0.1886206896551724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567372960884058</c:v>
                </c:pt>
              </c:numCache>
            </c:numRef>
          </c:xVal>
          <c:yVal>
            <c:numRef>
              <c:f>Sheet1!$B$163:$B$164</c:f>
              <c:numCache>
                <c:formatCode>General</c:formatCode>
                <c:ptCount val="2"/>
                <c:pt idx="0">
                  <c:v>0.20122104494176865</c:v>
                </c:pt>
                <c:pt idx="1">
                  <c:v>0.201221044941768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567372960884058</c:v>
                </c:pt>
                <c:pt idx="1">
                  <c:v>0.2567372960884058</c:v>
                </c:pt>
              </c:numCache>
            </c:numRef>
          </c:xVal>
          <c:yVal>
            <c:numRef>
              <c:f>Sheet1!$B$167:$B$168</c:f>
              <c:numCache>
                <c:formatCode>General</c:formatCode>
                <c:ptCount val="2"/>
                <c:pt idx="0">
                  <c:v>0.201221044941768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1591194039757</c:v>
                </c:pt>
              </c:numCache>
            </c:numRef>
          </c:xVal>
          <c:yVal>
            <c:numRef>
              <c:f>Sheet1!$B$171:$B$172</c:f>
              <c:numCache>
                <c:formatCode>General</c:formatCode>
                <c:ptCount val="2"/>
                <c:pt idx="0">
                  <c:v>0.1926770832637833</c:v>
                </c:pt>
                <c:pt idx="1">
                  <c:v>0.192677083263783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1591194039757</c:v>
                </c:pt>
                <c:pt idx="1">
                  <c:v>0.231591194039757</c:v>
                </c:pt>
              </c:numCache>
            </c:numRef>
          </c:xVal>
          <c:yVal>
            <c:numRef>
              <c:f>Sheet1!$B$175:$B$176</c:f>
              <c:numCache>
                <c:formatCode>General</c:formatCode>
                <c:ptCount val="2"/>
                <c:pt idx="0">
                  <c:v>0.19267708326378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504430127707118</c:v>
                </c:pt>
              </c:numCache>
            </c:numRef>
          </c:xVal>
          <c:yVal>
            <c:numRef>
              <c:f>Sheet1!$B$179:$B$180</c:f>
              <c:numCache>
                <c:formatCode>General</c:formatCode>
                <c:ptCount val="2"/>
                <c:pt idx="0">
                  <c:v>0.15987307450341665</c:v>
                </c:pt>
                <c:pt idx="1">
                  <c:v>0.159873074503416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504430127707118</c:v>
                </c:pt>
                <c:pt idx="1">
                  <c:v>0.13504430127707118</c:v>
                </c:pt>
              </c:numCache>
            </c:numRef>
          </c:xVal>
          <c:yVal>
            <c:numRef>
              <c:f>Sheet1!$B$183:$B$184</c:f>
              <c:numCache>
                <c:formatCode>General</c:formatCode>
                <c:ptCount val="2"/>
                <c:pt idx="0">
                  <c:v>0.159873074503416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9174405858844315</c:v>
                </c:pt>
                <c:pt idx="1">
                  <c:v>0.19083487038664995</c:v>
                </c:pt>
                <c:pt idx="2">
                  <c:v>0.21483161751944796</c:v>
                </c:pt>
                <c:pt idx="3">
                  <c:v>0.20096001024634058</c:v>
                </c:pt>
                <c:pt idx="4">
                  <c:v>0.17754437640936063</c:v>
                </c:pt>
                <c:pt idx="5">
                  <c:v>0.19257134066159037</c:v>
                </c:pt>
                <c:pt idx="6">
                  <c:v>0.18660785855062148</c:v>
                </c:pt>
                <c:pt idx="7">
                  <c:v>0.16903715776716868</c:v>
                </c:pt>
                <c:pt idx="8">
                  <c:v>0.21759494226887927</c:v>
                </c:pt>
                <c:pt idx="9">
                  <c:v>0.20060588406495897</c:v>
                </c:pt>
                <c:pt idx="10">
                  <c:v>0.19470652642055</c:v>
                </c:pt>
                <c:pt idx="11">
                  <c:v>0.16278172254271953</c:v>
                </c:pt>
                <c:pt idx="12">
                  <c:v>0.18220795433886838</c:v>
                </c:pt>
                <c:pt idx="13">
                  <c:v>0.1836631453206657</c:v>
                </c:pt>
                <c:pt idx="14">
                  <c:v>0.15256060636011562</c:v>
                </c:pt>
                <c:pt idx="15">
                  <c:v>0.15770659055829397</c:v>
                </c:pt>
                <c:pt idx="16">
                  <c:v>0.15778543756473945</c:v>
                </c:pt>
                <c:pt idx="17">
                  <c:v>0.15178518919133607</c:v>
                </c:pt>
                <c:pt idx="18">
                  <c:v>0.13722188469784188</c:v>
                </c:pt>
                <c:pt idx="19">
                  <c:v>0.1520058124565595</c:v>
                </c:pt>
                <c:pt idx="20">
                  <c:v>0.16110394204167225</c:v>
                </c:pt>
                <c:pt idx="21">
                  <c:v>0.14571044466181649</c:v>
                </c:pt>
                <c:pt idx="22">
                  <c:v>0.14305413611283974</c:v>
                </c:pt>
                <c:pt idx="23">
                  <c:v>0.1594406266446924</c:v>
                </c:pt>
                <c:pt idx="24">
                  <c:v>0.1529207188129741</c:v>
                </c:pt>
                <c:pt idx="25">
                  <c:v>0.14785138779908166</c:v>
                </c:pt>
                <c:pt idx="26">
                  <c:v>0.14054614832398485</c:v>
                </c:pt>
                <c:pt idx="27">
                  <c:v>0.13916892034727335</c:v>
                </c:pt>
                <c:pt idx="28">
                  <c:v>0.16521394553226484</c:v>
                </c:pt>
                <c:pt idx="29">
                  <c:v>0.13226470519760963</c:v>
                </c:pt>
                <c:pt idx="30">
                  <c:v>0.1389508326027463</c:v>
                </c:pt>
                <c:pt idx="31">
                  <c:v>0.14780603844783255</c:v>
                </c:pt>
                <c:pt idx="32">
                  <c:v>0.1638343682757253</c:v>
                </c:pt>
                <c:pt idx="33">
                  <c:v>0.15659429892113672</c:v>
                </c:pt>
                <c:pt idx="34">
                  <c:v>0.18721248207846056</c:v>
                </c:pt>
                <c:pt idx="35">
                  <c:v>0.1271318212603942</c:v>
                </c:pt>
                <c:pt idx="36">
                  <c:v>0.11958306897883896</c:v>
                </c:pt>
                <c:pt idx="37">
                  <c:v>0.13462960810123967</c:v>
                </c:pt>
                <c:pt idx="38">
                  <c:v>0.14622421556129211</c:v>
                </c:pt>
                <c:pt idx="39">
                  <c:v>0.15400894718177807</c:v>
                </c:pt>
                <c:pt idx="40">
                  <c:v>0.16834875432237137</c:v>
                </c:pt>
                <c:pt idx="41">
                  <c:v>0.15736609785181765</c:v>
                </c:pt>
                <c:pt idx="42">
                  <c:v>0.16025519911276298</c:v>
                </c:pt>
                <c:pt idx="43">
                  <c:v>0.1690897418573337</c:v>
                </c:pt>
                <c:pt idx="44">
                  <c:v>0.17352478880697747</c:v>
                </c:pt>
                <c:pt idx="45">
                  <c:v>0.18642736627193315</c:v>
                </c:pt>
                <c:pt idx="46">
                  <c:v>0.17793563746549268</c:v>
                </c:pt>
                <c:pt idx="47">
                  <c:v>0.15794722709252468</c:v>
                </c:pt>
                <c:pt idx="48">
                  <c:v>0.16077506274341327</c:v>
                </c:pt>
                <c:pt idx="49">
                  <c:v>0.1882643845188845</c:v>
                </c:pt>
                <c:pt idx="50">
                  <c:v>0.17850073525656374</c:v>
                </c:pt>
                <c:pt idx="51">
                  <c:v>0.1505481812574135</c:v>
                </c:pt>
                <c:pt idx="52">
                  <c:v>0.231591194039757</c:v>
                </c:pt>
                <c:pt idx="53">
                  <c:v>0.2567372960884058</c:v>
                </c:pt>
                <c:pt idx="54">
                  <c:v>0.13504430127707118</c:v>
                </c:pt>
              </c:numCache>
            </c:numRef>
          </c:xVal>
          <c:yVal>
            <c:numRef>
              <c:f>Sheet1!$B$187:$B$241</c:f>
              <c:numCache>
                <c:formatCode>General</c:formatCode>
                <c:ptCount val="55"/>
                <c:pt idx="0">
                  <c:v>0.1791381102008862</c:v>
                </c:pt>
                <c:pt idx="1">
                  <c:v>0.17882919277347864</c:v>
                </c:pt>
                <c:pt idx="2">
                  <c:v>0.1869826349054749</c:v>
                </c:pt>
                <c:pt idx="3">
                  <c:v>0.18226943996479578</c:v>
                </c:pt>
                <c:pt idx="4">
                  <c:v>0.17431344432850018</c:v>
                </c:pt>
                <c:pt idx="5">
                  <c:v>0.1794191981530539</c:v>
                </c:pt>
                <c:pt idx="6">
                  <c:v>0.17739296909676136</c:v>
                </c:pt>
                <c:pt idx="7">
                  <c:v>0.17142292277074503</c:v>
                </c:pt>
                <c:pt idx="8">
                  <c:v>0.1879215375122206</c:v>
                </c:pt>
                <c:pt idx="9">
                  <c:v>0.18214911751811827</c:v>
                </c:pt>
                <c:pt idx="10">
                  <c:v>0.1801446762118257</c:v>
                </c:pt>
                <c:pt idx="11">
                  <c:v>0.16929749598557514</c:v>
                </c:pt>
                <c:pt idx="12">
                  <c:v>0.17589800129223657</c:v>
                </c:pt>
                <c:pt idx="13">
                  <c:v>0.1763924356168318</c:v>
                </c:pt>
                <c:pt idx="14">
                  <c:v>0.16582463864961694</c:v>
                </c:pt>
                <c:pt idx="15">
                  <c:v>0.16757310414537024</c:v>
                </c:pt>
                <c:pt idx="16">
                  <c:v>0.16759989421407318</c:v>
                </c:pt>
                <c:pt idx="17">
                  <c:v>0.16556117298159065</c:v>
                </c:pt>
                <c:pt idx="18">
                  <c:v>0.1606129581347519</c:v>
                </c:pt>
                <c:pt idx="19">
                  <c:v>0.16563613476770345</c:v>
                </c:pt>
                <c:pt idx="20">
                  <c:v>0.1687274317952173</c:v>
                </c:pt>
                <c:pt idx="21">
                  <c:v>0.16349713998103438</c:v>
                </c:pt>
                <c:pt idx="22">
                  <c:v>0.1625945985691108</c:v>
                </c:pt>
                <c:pt idx="23">
                  <c:v>0.16816228245387185</c:v>
                </c:pt>
                <c:pt idx="24">
                  <c:v>0.16594699506855756</c:v>
                </c:pt>
                <c:pt idx="25">
                  <c:v>0.16422457424039397</c:v>
                </c:pt>
                <c:pt idx="26">
                  <c:v>0.16174245251818906</c:v>
                </c:pt>
                <c:pt idx="27">
                  <c:v>0.1612745079026734</c:v>
                </c:pt>
                <c:pt idx="28">
                  <c:v>0.17012389921796428</c:v>
                </c:pt>
                <c:pt idx="29">
                  <c:v>0.15892864334119308</c:v>
                </c:pt>
                <c:pt idx="30">
                  <c:v>0.1612004076175448</c:v>
                </c:pt>
                <c:pt idx="31">
                  <c:v>0.16420916576402478</c:v>
                </c:pt>
                <c:pt idx="32">
                  <c:v>0.16965515638104703</c:v>
                </c:pt>
                <c:pt idx="33">
                  <c:v>0.16719517769361922</c:v>
                </c:pt>
                <c:pt idx="34">
                  <c:v>0.17759840372998886</c:v>
                </c:pt>
                <c:pt idx="35">
                  <c:v>0.1571846289578795</c:v>
                </c:pt>
                <c:pt idx="36">
                  <c:v>0.15461976820588558</c:v>
                </c:pt>
                <c:pt idx="37">
                  <c:v>0.15973217303902382</c:v>
                </c:pt>
                <c:pt idx="38">
                  <c:v>0.1636717053617002</c:v>
                </c:pt>
                <c:pt idx="39">
                  <c:v>0.16631674547607478</c:v>
                </c:pt>
                <c:pt idx="40">
                  <c:v>0.17118902199996303</c:v>
                </c:pt>
                <c:pt idx="41">
                  <c:v>0.16745741398273037</c:v>
                </c:pt>
                <c:pt idx="42">
                  <c:v>0.16843905202784687</c:v>
                </c:pt>
                <c:pt idx="43">
                  <c:v>0.1714407894146635</c:v>
                </c:pt>
                <c:pt idx="44">
                  <c:v>0.1729476977658868</c:v>
                </c:pt>
                <c:pt idx="45">
                  <c:v>0.17733164272859098</c:v>
                </c:pt>
                <c:pt idx="46">
                  <c:v>0.17444638419580896</c:v>
                </c:pt>
                <c:pt idx="47">
                  <c:v>0.1676548658960707</c:v>
                </c:pt>
                <c:pt idx="48">
                  <c:v>0.16861568755288617</c:v>
                </c:pt>
                <c:pt idx="49">
                  <c:v>0.1779558115748538</c:v>
                </c:pt>
                <c:pt idx="50">
                  <c:v>0.17463838905850634</c:v>
                </c:pt>
                <c:pt idx="51">
                  <c:v>0.16514087132361</c:v>
                </c:pt>
                <c:pt idx="52">
                  <c:v>0.1926770832637833</c:v>
                </c:pt>
                <c:pt idx="53">
                  <c:v>0.20122104494176865</c:v>
                </c:pt>
                <c:pt idx="54">
                  <c:v>0.159873074503416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1990471148756"/>
          <c:min val="0.106219265258895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3</c:f>
              <c:numCache>
                <c:formatCode>General</c:formatCode>
                <c:ptCount val="92"/>
                <c:pt idx="0">
                  <c:v>786.6216</c:v>
                </c:pt>
                <c:pt idx="1">
                  <c:v>833.3714</c:v>
                </c:pt>
                <c:pt idx="2">
                  <c:v>793.0741</c:v>
                </c:pt>
                <c:pt idx="3">
                  <c:v>815.6974</c:v>
                </c:pt>
                <c:pt idx="4">
                  <c:v>807.4478</c:v>
                </c:pt>
                <c:pt idx="5">
                  <c:v>739.2152</c:v>
                </c:pt>
                <c:pt idx="6">
                  <c:v>761.6087</c:v>
                </c:pt>
                <c:pt idx="7">
                  <c:v>761.9744</c:v>
                </c:pt>
                <c:pt idx="8">
                  <c:v>694.8438</c:v>
                </c:pt>
                <c:pt idx="9">
                  <c:v>725.66</c:v>
                </c:pt>
                <c:pt idx="10">
                  <c:v>771.9388</c:v>
                </c:pt>
                <c:pt idx="11">
                  <c:v>822.6458</c:v>
                </c:pt>
                <c:pt idx="12">
                  <c:v>778.5081</c:v>
                </c:pt>
                <c:pt idx="13">
                  <c:v>721.9823</c:v>
                </c:pt>
                <c:pt idx="14">
                  <c:v>754.8723</c:v>
                </c:pt>
                <c:pt idx="15">
                  <c:v>810.2609</c:v>
                </c:pt>
                <c:pt idx="16">
                  <c:v>836.1569</c:v>
                </c:pt>
                <c:pt idx="17">
                  <c:v>793.4681</c:v>
                </c:pt>
                <c:pt idx="18">
                  <c:v>839.8571</c:v>
                </c:pt>
                <c:pt idx="19">
                  <c:v>809.25</c:v>
                </c:pt>
                <c:pt idx="20">
                  <c:v>859.2821</c:v>
                </c:pt>
                <c:pt idx="21">
                  <c:v>863.125</c:v>
                </c:pt>
                <c:pt idx="22">
                  <c:v>935.1786</c:v>
                </c:pt>
                <c:pt idx="23">
                  <c:v>881.5217</c:v>
                </c:pt>
                <c:pt idx="24">
                  <c:v>903.2143</c:v>
                </c:pt>
                <c:pt idx="25">
                  <c:v>781.5</c:v>
                </c:pt>
                <c:pt idx="26">
                  <c:v>702.8485</c:v>
                </c:pt>
                <c:pt idx="27">
                  <c:v>651.3333</c:v>
                </c:pt>
                <c:pt idx="28">
                  <c:v>589.7188</c:v>
                </c:pt>
                <c:pt idx="29">
                  <c:v>726.88</c:v>
                </c:pt>
                <c:pt idx="30">
                  <c:v>640.5625</c:v>
                </c:pt>
                <c:pt idx="31">
                  <c:v>697.9545</c:v>
                </c:pt>
                <c:pt idx="32">
                  <c:v>735.5</c:v>
                </c:pt>
                <c:pt idx="33">
                  <c:v>439.3939</c:v>
                </c:pt>
                <c:pt idx="34">
                  <c:v>547.2593</c:v>
                </c:pt>
                <c:pt idx="35">
                  <c:v>438.3864</c:v>
                </c:pt>
                <c:pt idx="36">
                  <c:v>603.8333</c:v>
                </c:pt>
                <c:pt idx="37">
                  <c:v>504.1071</c:v>
                </c:pt>
                <c:pt idx="38">
                  <c:v>563.4348</c:v>
                </c:pt>
                <c:pt idx="39">
                  <c:v>539.8966</c:v>
                </c:pt>
                <c:pt idx="40">
                  <c:v>586.5833</c:v>
                </c:pt>
                <c:pt idx="41">
                  <c:v>731.0</c:v>
                </c:pt>
                <c:pt idx="42">
                  <c:v>839.9756</c:v>
                </c:pt>
                <c:pt idx="43">
                  <c:v>817.1569</c:v>
                </c:pt>
                <c:pt idx="44">
                  <c:v>785.75</c:v>
                </c:pt>
                <c:pt idx="45">
                  <c:v>807.2692</c:v>
                </c:pt>
                <c:pt idx="46">
                  <c:v>862.2703</c:v>
                </c:pt>
                <c:pt idx="47">
                  <c:v>828.1579</c:v>
                </c:pt>
                <c:pt idx="48">
                  <c:v>901.0909</c:v>
                </c:pt>
                <c:pt idx="49">
                  <c:v>857.0698</c:v>
                </c:pt>
                <c:pt idx="50">
                  <c:v>911.5778</c:v>
                </c:pt>
                <c:pt idx="51">
                  <c:v>1035.1</c:v>
                </c:pt>
                <c:pt idx="52">
                  <c:v>1023.4444</c:v>
                </c:pt>
                <c:pt idx="53">
                  <c:v>1030.4211</c:v>
                </c:pt>
                <c:pt idx="54">
                  <c:v>993.8372</c:v>
                </c:pt>
                <c:pt idx="55">
                  <c:v>856.4035</c:v>
                </c:pt>
                <c:pt idx="56">
                  <c:v>950.4138</c:v>
                </c:pt>
                <c:pt idx="57">
                  <c:v>921.473</c:v>
                </c:pt>
                <c:pt idx="58">
                  <c:v>874.8902</c:v>
                </c:pt>
                <c:pt idx="59">
                  <c:v>918.1067</c:v>
                </c:pt>
                <c:pt idx="60">
                  <c:v>954.6338</c:v>
                </c:pt>
                <c:pt idx="61">
                  <c:v>959.9625</c:v>
                </c:pt>
                <c:pt idx="62">
                  <c:v>955.3867</c:v>
                </c:pt>
                <c:pt idx="63">
                  <c:v>865.4884</c:v>
                </c:pt>
                <c:pt idx="64">
                  <c:v>922.08</c:v>
                </c:pt>
                <c:pt idx="65">
                  <c:v>990.0678</c:v>
                </c:pt>
                <c:pt idx="66">
                  <c:v>991.8043</c:v>
                </c:pt>
                <c:pt idx="67">
                  <c:v>1004.1212</c:v>
                </c:pt>
                <c:pt idx="68">
                  <c:v>924.0625</c:v>
                </c:pt>
                <c:pt idx="69">
                  <c:v>958.1143</c:v>
                </c:pt>
                <c:pt idx="70">
                  <c:v>1001.8846</c:v>
                </c:pt>
                <c:pt idx="71">
                  <c:v>1103.0</c:v>
                </c:pt>
                <c:pt idx="72">
                  <c:v>1182.5625</c:v>
                </c:pt>
                <c:pt idx="73">
                  <c:v>1085.0625</c:v>
                </c:pt>
                <c:pt idx="74">
                  <c:v>980.2143</c:v>
                </c:pt>
                <c:pt idx="75">
                  <c:v>1063.6154</c:v>
                </c:pt>
                <c:pt idx="76">
                  <c:v>1125.2</c:v>
                </c:pt>
                <c:pt idx="77">
                  <c:v>1222.0</c:v>
                </c:pt>
                <c:pt idx="78">
                  <c:v>1202.6</c:v>
                </c:pt>
                <c:pt idx="79">
                  <c:v>967.1818</c:v>
                </c:pt>
                <c:pt idx="80">
                  <c:v>1401.1667</c:v>
                </c:pt>
                <c:pt idx="81">
                  <c:v>1073.7778</c:v>
                </c:pt>
                <c:pt idx="82">
                  <c:v>948.8889</c:v>
                </c:pt>
                <c:pt idx="83">
                  <c:v>922.1429</c:v>
                </c:pt>
                <c:pt idx="84">
                  <c:v>923.0</c:v>
                </c:pt>
                <c:pt idx="85">
                  <c:v>1314.7143</c:v>
                </c:pt>
                <c:pt idx="86">
                  <c:v>1186.125</c:v>
                </c:pt>
                <c:pt idx="87">
                  <c:v>993.5</c:v>
                </c:pt>
                <c:pt idx="88">
                  <c:v>1360.25</c:v>
                </c:pt>
                <c:pt idx="89">
                  <c:v>872.5</c:v>
                </c:pt>
                <c:pt idx="90">
                  <c:v>867.6</c:v>
                </c:pt>
                <c:pt idx="91">
                  <c:v>931.8182</c:v>
                </c:pt>
              </c:numCache>
            </c:numRef>
          </c:xVal>
          <c:yVal>
            <c:numRef>
              <c:f>Sheet1!$B$2:$B$93</c:f>
              <c:numCache>
                <c:formatCode>General</c:formatCode>
                <c:ptCount val="92"/>
                <c:pt idx="0">
                  <c:v>0.6166666666666667</c:v>
                </c:pt>
                <c:pt idx="1">
                  <c:v>0.5785123966942148</c:v>
                </c:pt>
                <c:pt idx="2">
                  <c:v>0.6377952755905512</c:v>
                </c:pt>
                <c:pt idx="3">
                  <c:v>0.5891472868217055</c:v>
                </c:pt>
                <c:pt idx="4">
                  <c:v>0.6203703703703703</c:v>
                </c:pt>
                <c:pt idx="5">
                  <c:v>0.572463768115942</c:v>
                </c:pt>
                <c:pt idx="6">
                  <c:v>0.609271523178808</c:v>
                </c:pt>
                <c:pt idx="7">
                  <c:v>0.5735294117647058</c:v>
                </c:pt>
                <c:pt idx="8">
                  <c:v>0.6193548387096774</c:v>
                </c:pt>
                <c:pt idx="9">
                  <c:v>0.5988023952095808</c:v>
                </c:pt>
                <c:pt idx="10">
                  <c:v>0.5868263473053892</c:v>
                </c:pt>
                <c:pt idx="11">
                  <c:v>0.5363128491620112</c:v>
                </c:pt>
                <c:pt idx="12">
                  <c:v>0.62</c:v>
                </c:pt>
                <c:pt idx="13">
                  <c:v>0.5854922279792746</c:v>
                </c:pt>
                <c:pt idx="14">
                  <c:v>0.562874251497006</c:v>
                </c:pt>
                <c:pt idx="15">
                  <c:v>0.5948275862068966</c:v>
                </c:pt>
                <c:pt idx="16">
                  <c:v>0.5604395604395604</c:v>
                </c:pt>
                <c:pt idx="17">
                  <c:v>0.573170731707317</c:v>
                </c:pt>
                <c:pt idx="18">
                  <c:v>0.5555555555555556</c:v>
                </c:pt>
                <c:pt idx="19">
                  <c:v>0.5925925925925926</c:v>
                </c:pt>
                <c:pt idx="20">
                  <c:v>0.5735294117647058</c:v>
                </c:pt>
                <c:pt idx="21">
                  <c:v>0.5714285714285714</c:v>
                </c:pt>
                <c:pt idx="22">
                  <c:v>0.5283018867924528</c:v>
                </c:pt>
                <c:pt idx="23">
                  <c:v>0.575</c:v>
                </c:pt>
                <c:pt idx="24">
                  <c:v>0.5714285714285714</c:v>
                </c:pt>
                <c:pt idx="25">
                  <c:v>0.5641025641025641</c:v>
                </c:pt>
                <c:pt idx="26">
                  <c:v>0.5789473684210527</c:v>
                </c:pt>
                <c:pt idx="27">
                  <c:v>0.5869565217391305</c:v>
                </c:pt>
                <c:pt idx="28">
                  <c:v>0.5818181818181818</c:v>
                </c:pt>
                <c:pt idx="29">
                  <c:v>0.5813953488372093</c:v>
                </c:pt>
                <c:pt idx="30">
                  <c:v>0.5333333333333333</c:v>
                </c:pt>
                <c:pt idx="31">
                  <c:v>0.5641025641025641</c:v>
                </c:pt>
                <c:pt idx="32">
                  <c:v>0.5517241379310345</c:v>
                </c:pt>
                <c:pt idx="33">
                  <c:v>0.6470588235294118</c:v>
                </c:pt>
                <c:pt idx="34">
                  <c:v>0.6</c:v>
                </c:pt>
                <c:pt idx="35">
                  <c:v>0.6666666666666666</c:v>
                </c:pt>
                <c:pt idx="36">
                  <c:v>0.6666666666666666</c:v>
                </c:pt>
                <c:pt idx="37">
                  <c:v>0.6511627906976745</c:v>
                </c:pt>
                <c:pt idx="38">
                  <c:v>0.5897435897435898</c:v>
                </c:pt>
                <c:pt idx="39">
                  <c:v>0.5918367346938775</c:v>
                </c:pt>
                <c:pt idx="40">
                  <c:v>0.6</c:v>
                </c:pt>
                <c:pt idx="41">
                  <c:v>0.5238095238095238</c:v>
                </c:pt>
                <c:pt idx="42">
                  <c:v>0.5189873417721519</c:v>
                </c:pt>
                <c:pt idx="43">
                  <c:v>0.4811320754716981</c:v>
                </c:pt>
                <c:pt idx="44">
                  <c:v>0.5106382978723404</c:v>
                </c:pt>
                <c:pt idx="45">
                  <c:v>0.5048543689320388</c:v>
                </c:pt>
                <c:pt idx="46">
                  <c:v>0.4966442953020134</c:v>
                </c:pt>
                <c:pt idx="47">
                  <c:v>0.510752688172043</c:v>
                </c:pt>
                <c:pt idx="48">
                  <c:v>0.44</c:v>
                </c:pt>
                <c:pt idx="49">
                  <c:v>0.4387755102040816</c:v>
                </c:pt>
                <c:pt idx="50">
                  <c:v>0.4368932038834951</c:v>
                </c:pt>
                <c:pt idx="51">
                  <c:v>0.43010752688172044</c:v>
                </c:pt>
                <c:pt idx="52">
                  <c:v>0.42857142857142855</c:v>
                </c:pt>
                <c:pt idx="53">
                  <c:v>0.4418604651162791</c:v>
                </c:pt>
                <c:pt idx="54">
                  <c:v>0.4673913043478261</c:v>
                </c:pt>
                <c:pt idx="55">
                  <c:v>0.4523809523809524</c:v>
                </c:pt>
                <c:pt idx="56">
                  <c:v>0.464</c:v>
                </c:pt>
                <c:pt idx="57">
                  <c:v>0.45121951219512196</c:v>
                </c:pt>
                <c:pt idx="58">
                  <c:v>0.4880952380952381</c:v>
                </c:pt>
                <c:pt idx="59">
                  <c:v>0.5067567567567568</c:v>
                </c:pt>
                <c:pt idx="60">
                  <c:v>0.4930555555555556</c:v>
                </c:pt>
                <c:pt idx="61">
                  <c:v>0.47904191616766467</c:v>
                </c:pt>
                <c:pt idx="62">
                  <c:v>0.4437869822485207</c:v>
                </c:pt>
                <c:pt idx="63">
                  <c:v>0.5088757396449705</c:v>
                </c:pt>
                <c:pt idx="64">
                  <c:v>0.49019607843137253</c:v>
                </c:pt>
                <c:pt idx="65">
                  <c:v>0.47580645161290325</c:v>
                </c:pt>
                <c:pt idx="66">
                  <c:v>0.4791666666666667</c:v>
                </c:pt>
                <c:pt idx="67">
                  <c:v>0.5076923076923077</c:v>
                </c:pt>
                <c:pt idx="68">
                  <c:v>0.41025641025641024</c:v>
                </c:pt>
                <c:pt idx="69">
                  <c:v>0.47297297297297297</c:v>
                </c:pt>
                <c:pt idx="70">
                  <c:v>0.27956989247311825</c:v>
                </c:pt>
                <c:pt idx="71">
                  <c:v>0.36585365853658536</c:v>
                </c:pt>
                <c:pt idx="72">
                  <c:v>0.2711864406779661</c:v>
                </c:pt>
                <c:pt idx="73">
                  <c:v>0.43243243243243246</c:v>
                </c:pt>
                <c:pt idx="74">
                  <c:v>0.3783783783783784</c:v>
                </c:pt>
                <c:pt idx="75">
                  <c:v>0.4482758620689655</c:v>
                </c:pt>
                <c:pt idx="76">
                  <c:v>0.4</c:v>
                </c:pt>
                <c:pt idx="77">
                  <c:v>0.3</c:v>
                </c:pt>
                <c:pt idx="78">
                  <c:v>0.39473684210526316</c:v>
                </c:pt>
                <c:pt idx="79">
                  <c:v>0.3548387096774194</c:v>
                </c:pt>
                <c:pt idx="80">
                  <c:v>0.3157894736842105</c:v>
                </c:pt>
                <c:pt idx="81">
                  <c:v>0.4090909090909091</c:v>
                </c:pt>
                <c:pt idx="82">
                  <c:v>0.375</c:v>
                </c:pt>
                <c:pt idx="83">
                  <c:v>0.45161290322580644</c:v>
                </c:pt>
                <c:pt idx="84">
                  <c:v>0.41935483870967744</c:v>
                </c:pt>
                <c:pt idx="85">
                  <c:v>0.3333333333333333</c:v>
                </c:pt>
                <c:pt idx="86">
                  <c:v>0.25806451612903225</c:v>
                </c:pt>
                <c:pt idx="87">
                  <c:v>0.38095238095238093</c:v>
                </c:pt>
                <c:pt idx="88">
                  <c:v>0.16666666666666666</c:v>
                </c:pt>
                <c:pt idx="89">
                  <c:v>0.3684210526315789</c:v>
                </c:pt>
                <c:pt idx="90">
                  <c:v>0.4838709677419355</c:v>
                </c:pt>
                <c:pt idx="91">
                  <c:v>0.4074074074074074</c:v>
                </c:pt>
              </c:numCache>
            </c:numRef>
          </c:yVal>
          <c:smooth val="0"/>
          <c:extLst>
            <c:ext xmlns:c16="http://schemas.microsoft.com/office/drawing/2014/chart" uri="{C3380CC4-5D6E-409C-BE32-E72D297353CC}">
              <c16:uniqueId val="{00000000-F32D-48B7-BC20-E66FC6253BAD}"/>
            </c:ext>
          </c:extLst>
        </c:ser>
        <c:ser>
          <c:idx val="1"/>
          <c:order val="1"/>
          <c:tx>
            <c:strRef>
              <c:f>Sheet1!$B$9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6:$A$97</c:f>
              <c:numCache>
                <c:formatCode>General</c:formatCode>
                <c:ptCount val="2"/>
                <c:pt idx="0">
                  <c:v>1012.4375</c:v>
                </c:pt>
                <c:pt idx="1">
                  <c:v>1045.625</c:v>
                </c:pt>
              </c:numCache>
            </c:numRef>
          </c:xVal>
          <c:yVal>
            <c:numRef>
              <c:f>Sheet1!$B$96:$B$97</c:f>
              <c:numCache>
                <c:formatCode>General</c:formatCode>
                <c:ptCount val="2"/>
                <c:pt idx="0">
                  <c:v>0.3764705882352941</c:v>
                </c:pt>
                <c:pt idx="1">
                  <c:v>0.4166666666666667</c:v>
                </c:pt>
              </c:numCache>
            </c:numRef>
          </c:yVal>
          <c:smooth val="0"/>
          <c:extLst>
            <c:ext xmlns:c16="http://schemas.microsoft.com/office/drawing/2014/chart" uri="{C3380CC4-5D6E-409C-BE32-E72D297353CC}">
              <c16:uniqueId val="{00000002-F32D-48B7-BC20-E66FC6253BAD}"/>
            </c:ext>
          </c:extLst>
        </c:ser>
        <c:ser>
          <c:idx val="2"/>
          <c:order val="2"/>
          <c:tx>
            <c:strRef>
              <c:f>Sheet1!$B$99</c:f>
              <c:strCache>
                <c:ptCount val="1"/>
                <c:pt idx="0">
                  <c:v>Custom Linep3yQ</c:v>
                </c:pt>
              </c:strCache>
            </c:strRef>
          </c:tx>
          <c:spPr>
            <a:ln w="19050" cap="rnd">
              <a:solidFill>
                <a:srgbClr val="C00000"/>
              </a:solidFill>
              <a:prstDash val="sysDot"/>
              <a:round/>
            </a:ln>
            <a:effectLst/>
          </c:spPr>
          <c:marker>
            <c:symbol val="none"/>
          </c:marker>
          <c:xVal>
            <c:numRef>
              <c:f>Sheet1!$A$100:$A$101</c:f>
              <c:numCache>
                <c:formatCode>General</c:formatCode>
                <c:ptCount val="2"/>
                <c:pt idx="0">
                  <c:v>0</c:v>
                </c:pt>
                <c:pt idx="1">
                  <c:v>1198.5621529749744</c:v>
                </c:pt>
              </c:numCache>
            </c:numRef>
          </c:xVal>
          <c:yVal>
            <c:numRef>
              <c:f>Sheet1!$B$100:$B$101</c:f>
              <c:numCache>
                <c:formatCode>General</c:formatCode>
                <c:ptCount val="2"/>
                <c:pt idx="0">
                  <c:v>0.6019012819902936</c:v>
                </c:pt>
                <c:pt idx="1">
                  <c:v>0.6019012819902936</c:v>
                </c:pt>
              </c:numCache>
            </c:numRef>
          </c:yVal>
          <c:smooth val="0"/>
          <c:extLst>
            <c:ext xmlns:c16="http://schemas.microsoft.com/office/drawing/2014/chart" uri="{C3380CC4-5D6E-409C-BE32-E72D297353CC}">
              <c16:uniqueId val="{00000003-F32D-48B7-BC20-E66FC6253BAD}"/>
            </c:ext>
          </c:extLst>
        </c:ser>
        <c:ser>
          <c:idx val="3"/>
          <c:order val="3"/>
          <c:tx>
            <c:strRef>
              <c:f>Sheet1!$B$10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1198.5621529749744</c:v>
                </c:pt>
                <c:pt idx="1">
                  <c:v>1198.5621529749744</c:v>
                </c:pt>
              </c:numCache>
            </c:numRef>
          </c:xVal>
          <c:yVal>
            <c:numRef>
              <c:f>Sheet1!$B$104:$B$105</c:f>
              <c:numCache>
                <c:formatCode>General</c:formatCode>
                <c:ptCount val="2"/>
                <c:pt idx="0">
                  <c:v>0.6019012819902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8:$A$109</c:f>
              <c:numCache>
                <c:formatCode>General</c:formatCode>
                <c:ptCount val="2"/>
                <c:pt idx="0">
                  <c:v>0</c:v>
                </c:pt>
                <c:pt idx="1">
                  <c:v>1029.0312500000002</c:v>
                </c:pt>
              </c:numCache>
            </c:numRef>
          </c:xVal>
          <c:yVal>
            <c:numRef>
              <c:f>Sheet1!$B$108:$B$109</c:f>
              <c:numCache>
                <c:formatCode>General</c:formatCode>
                <c:ptCount val="2"/>
                <c:pt idx="0">
                  <c:v>0.3965686274509804</c:v>
                </c:pt>
                <c:pt idx="1">
                  <c:v>0.3965686274509804</c:v>
                </c:pt>
              </c:numCache>
            </c:numRef>
          </c:yVal>
          <c:smooth val="0"/>
          <c:extLst>
            <c:ext xmlns:c16="http://schemas.microsoft.com/office/drawing/2014/chart" uri="{C3380CC4-5D6E-409C-BE32-E72D297353CC}">
              <c16:uniqueId val="{0000000A-F32D-48B7-BC20-E66FC6253BAD}"/>
            </c:ext>
          </c:extLst>
        </c:ser>
        <c:ser>
          <c:idx val="5"/>
          <c:order val="5"/>
          <c:tx>
            <c:strRef>
              <c:f>Sheet1!$B$11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1029.0312500000002</c:v>
                </c:pt>
                <c:pt idx="1">
                  <c:v>1029.0312500000002</c:v>
                </c:pt>
              </c:numCache>
            </c:numRef>
          </c:xVal>
          <c:yVal>
            <c:numRef>
              <c:f>Sheet1!$B$112:$B$113</c:f>
              <c:numCache>
                <c:formatCode>General</c:formatCode>
                <c:ptCount val="2"/>
                <c:pt idx="0">
                  <c:v>0.39656862745098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5</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6:$A$120</c:f>
              <c:numCache>
                <c:formatCode>General</c:formatCode>
                <c:ptCount val="5"/>
                <c:pt idx="0">
                  <c:v>1012.4375</c:v>
                </c:pt>
                <c:pt idx="1">
                  <c:v>1045.625</c:v>
                </c:pt>
                <c:pt idx="2">
                  <c:v>1029.0312500000002</c:v>
                </c:pt>
                <c:pt idx="3">
                  <c:v>1198.5621529749744</c:v>
                </c:pt>
                <c:pt idx="4">
                  <c:v>0</c:v>
                </c:pt>
              </c:numCache>
            </c:numRef>
          </c:xVal>
          <c:yVal>
            <c:numRef>
              <c:f>Sheet1!$B$116:$B$120</c:f>
              <c:numCache>
                <c:formatCode>General</c:formatCode>
                <c:ptCount val="5"/>
                <c:pt idx="0">
                  <c:v>0.3764705882352941</c:v>
                </c:pt>
                <c:pt idx="1">
                  <c:v>0.4166666666666665</c:v>
                </c:pt>
                <c:pt idx="2">
                  <c:v>0.39656862745098054</c:v>
                </c:pt>
                <c:pt idx="3">
                  <c:v>0.6019012819902936</c:v>
                </c:pt>
                <c:pt idx="4">
                  <c:v>-0.8497747498245964</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133333333333333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643591349481148</c:v>
                </c:pt>
                <c:pt idx="1">
                  <c:v>0.9892008015478164</c:v>
                </c:pt>
                <c:pt idx="2">
                  <c:v>1.0680364144622323</c:v>
                </c:pt>
                <c:pt idx="3">
                  <c:v>1.0047029221216552</c:v>
                </c:pt>
                <c:pt idx="4">
                  <c:v>0.9402073705164687</c:v>
                </c:pt>
                <c:pt idx="5">
                  <c:v>1.0414418856524437</c:v>
                </c:pt>
                <c:pt idx="6">
                  <c:v>0.9244265569470222</c:v>
                </c:pt>
                <c:pt idx="7">
                  <c:v>0.8219499692685925</c:v>
                </c:pt>
                <c:pt idx="8">
                  <c:v>0.8700747452631579</c:v>
                </c:pt>
                <c:pt idx="9">
                  <c:v>0.9299915358361774</c:v>
                </c:pt>
                <c:pt idx="10">
                  <c:v>0.9045984733078913</c:v>
                </c:pt>
                <c:pt idx="11">
                  <c:v>0.92550043810875</c:v>
                </c:pt>
                <c:pt idx="12">
                  <c:v>0.9048474049378437</c:v>
                </c:pt>
                <c:pt idx="13">
                  <c:v>1.0085528645469226</c:v>
                </c:pt>
                <c:pt idx="14">
                  <c:v>0.8429597239464259</c:v>
                </c:pt>
                <c:pt idx="15">
                  <c:v>0.7682061359043564</c:v>
                </c:pt>
                <c:pt idx="16">
                  <c:v>0.8086198781010842</c:v>
                </c:pt>
                <c:pt idx="17">
                  <c:v>0.8862634925972399</c:v>
                </c:pt>
                <c:pt idx="18">
                  <c:v>0.8967708689215351</c:v>
                </c:pt>
                <c:pt idx="19">
                  <c:v>0.8726234141312824</c:v>
                </c:pt>
                <c:pt idx="20">
                  <c:v>0.9627416347981732</c:v>
                </c:pt>
                <c:pt idx="21">
                  <c:v>0.7668643464810518</c:v>
                </c:pt>
                <c:pt idx="22">
                  <c:v>0.8632357741268631</c:v>
                </c:pt>
                <c:pt idx="23">
                  <c:v>1.07796016921575</c:v>
                </c:pt>
                <c:pt idx="24">
                  <c:v>1.0478877493121257</c:v>
                </c:pt>
                <c:pt idx="25">
                  <c:v>0.7359146588203522</c:v>
                </c:pt>
                <c:pt idx="26">
                  <c:v>0.7716814159292035</c:v>
                </c:pt>
                <c:pt idx="27">
                  <c:v>0.6760293661089188</c:v>
                </c:pt>
                <c:pt idx="28">
                  <c:v>0.5288287960687961</c:v>
                </c:pt>
                <c:pt idx="29">
                  <c:v>0.7589166710981122</c:v>
                </c:pt>
                <c:pt idx="30">
                  <c:v>0.8178000498621114</c:v>
                </c:pt>
                <c:pt idx="31">
                  <c:v>0.7881751983480056</c:v>
                </c:pt>
                <c:pt idx="32">
                  <c:v>0.6685738753313659</c:v>
                </c:pt>
                <c:pt idx="33">
                  <c:v>0.8294821661334282</c:v>
                </c:pt>
                <c:pt idx="34">
                  <c:v>0.8239716574979364</c:v>
                </c:pt>
                <c:pt idx="35">
                  <c:v>0.7434322449498157</c:v>
                </c:pt>
                <c:pt idx="36">
                  <c:v>0.9289987264061138</c:v>
                </c:pt>
                <c:pt idx="37">
                  <c:v>0.9086305839990998</c:v>
                </c:pt>
                <c:pt idx="38">
                  <c:v>1.0135494155154092</c:v>
                </c:pt>
                <c:pt idx="39">
                  <c:v>0.939766004995399</c:v>
                </c:pt>
                <c:pt idx="40">
                  <c:v>0.9340188474697694</c:v>
                </c:pt>
                <c:pt idx="41">
                  <c:v>0.9446561975910962</c:v>
                </c:pt>
                <c:pt idx="42">
                  <c:v>0.866007572570467</c:v>
                </c:pt>
                <c:pt idx="43">
                  <c:v>0.9382746593463481</c:v>
                </c:pt>
                <c:pt idx="44">
                  <c:v>0.9558644820382848</c:v>
                </c:pt>
                <c:pt idx="45">
                  <c:v>1.006468729460539</c:v>
                </c:pt>
                <c:pt idx="46">
                  <c:v>1.0132131766425136</c:v>
                </c:pt>
                <c:pt idx="47">
                  <c:v>0.9920529606039161</c:v>
                </c:pt>
                <c:pt idx="48">
                  <c:v>0.9358559054314554</c:v>
                </c:pt>
                <c:pt idx="49">
                  <c:v>0.9029105857279411</c:v>
                </c:pt>
                <c:pt idx="50">
                  <c:v>0.8929923125019317</c:v>
                </c:pt>
                <c:pt idx="51">
                  <c:v>0.7992966637407869</c:v>
                </c:pt>
                <c:pt idx="52">
                  <c:v>0.8322814980941</c:v>
                </c:pt>
                <c:pt idx="53">
                  <c:v>0.8087233851889024</c:v>
                </c:pt>
                <c:pt idx="54">
                  <c:v>0.7944512790823895</c:v>
                </c:pt>
                <c:pt idx="55">
                  <c:v>0.857020358411322</c:v>
                </c:pt>
                <c:pt idx="56">
                  <c:v>0.7626706421543853</c:v>
                </c:pt>
                <c:pt idx="57">
                  <c:v>0.7957608710940511</c:v>
                </c:pt>
                <c:pt idx="58">
                  <c:v>0.8444375095989838</c:v>
                </c:pt>
                <c:pt idx="59">
                  <c:v>0.858392414568604</c:v>
                </c:pt>
                <c:pt idx="60">
                  <c:v>0.8123972269975335</c:v>
                </c:pt>
                <c:pt idx="61">
                  <c:v>0.8171951077299845</c:v>
                </c:pt>
                <c:pt idx="62">
                  <c:v>0.8675044594074685</c:v>
                </c:pt>
                <c:pt idx="63">
                  <c:v>0.7947593057644255</c:v>
                </c:pt>
                <c:pt idx="64">
                  <c:v>0.7666230466521597</c:v>
                </c:pt>
                <c:pt idx="65">
                  <c:v>0.67691193021719</c:v>
                </c:pt>
                <c:pt idx="66">
                  <c:v>0.7576734853670433</c:v>
                </c:pt>
                <c:pt idx="67">
                  <c:v>0.701032549781463</c:v>
                </c:pt>
                <c:pt idx="68">
                  <c:v>0.6434231493359809</c:v>
                </c:pt>
                <c:pt idx="69">
                  <c:v>0.6617797589135034</c:v>
                </c:pt>
                <c:pt idx="70">
                  <c:v>0.7364762681522156</c:v>
                </c:pt>
                <c:pt idx="71">
                  <c:v>0.7752194114610221</c:v>
                </c:pt>
                <c:pt idx="72">
                  <c:v>0.3145421193232413</c:v>
                </c:pt>
                <c:pt idx="73">
                  <c:v>0.38733329900623037</c:v>
                </c:pt>
                <c:pt idx="74">
                  <c:v>0.8978484762445581</c:v>
                </c:pt>
                <c:pt idx="75">
                  <c:v>1.0548635404004862</c:v>
                </c:pt>
                <c:pt idx="76">
                  <c:v>0.8098358719330989</c:v>
                </c:pt>
                <c:pt idx="77">
                  <c:v>1.0935753103662302</c:v>
                </c:pt>
                <c:pt idx="78">
                  <c:v>0.9288844088208068</c:v>
                </c:pt>
                <c:pt idx="79">
                  <c:v>0.7716979039591881</c:v>
                </c:pt>
                <c:pt idx="80">
                  <c:v>0.7926275992438564</c:v>
                </c:pt>
                <c:pt idx="81">
                  <c:v>0.8483060390480458</c:v>
                </c:pt>
                <c:pt idx="82">
                  <c:v>0.6108176794457228</c:v>
                </c:pt>
                <c:pt idx="83">
                  <c:v>1.1317993964786945</c:v>
                </c:pt>
                <c:pt idx="84">
                  <c:v>0.3613216889909401</c:v>
                </c:pt>
                <c:pt idx="85">
                  <c:v>0.5444965959108887</c:v>
                </c:pt>
                <c:pt idx="86">
                  <c:v>0.5243223145903629</c:v>
                </c:pt>
                <c:pt idx="87">
                  <c:v>0.918140863641358</c:v>
                </c:pt>
                <c:pt idx="88">
                  <c:v>0.3627991025251934</c:v>
                </c:pt>
                <c:pt idx="89">
                  <c:v>0.1903407174941383</c:v>
                </c:pt>
                <c:pt idx="90">
                  <c:v>0.42195153640465993</c:v>
                </c:pt>
                <c:pt idx="91">
                  <c:v>0.4283819564749065</c:v>
                </c:pt>
                <c:pt idx="92">
                  <c:v>0.6112871054792913</c:v>
                </c:pt>
                <c:pt idx="93">
                  <c:v>0.33567518692737625</c:v>
                </c:pt>
                <c:pt idx="94">
                  <c:v>0.6762903879767806</c:v>
                </c:pt>
                <c:pt idx="95">
                  <c:v>0.734891076294747</c:v>
                </c:pt>
                <c:pt idx="96">
                  <c:v>1.107473482648273</c:v>
                </c:pt>
                <c:pt idx="97">
                  <c:v>0.7663215243415364</c:v>
                </c:pt>
                <c:pt idx="98">
                  <c:v>1.0970538320259229</c:v>
                </c:pt>
                <c:pt idx="99">
                  <c:v>0.7420127161925104</c:v>
                </c:pt>
                <c:pt idx="100">
                  <c:v>0.9574197003053683</c:v>
                </c:pt>
                <c:pt idx="101">
                  <c:v>0.9311451554068421</c:v>
                </c:pt>
                <c:pt idx="102">
                  <c:v>0.7589432259475841</c:v>
                </c:pt>
                <c:pt idx="103">
                  <c:v>0.6981019348315639</c:v>
                </c:pt>
                <c:pt idx="104">
                  <c:v>0.7994043918655537</c:v>
                </c:pt>
              </c:numCache>
            </c:numRef>
          </c:xVal>
          <c:yVal>
            <c:numRef>
              <c:f>Sheet1!$B$2:$B$106</c:f>
              <c:numCache>
                <c:formatCode>General</c:formatCode>
                <c:ptCount val="105"/>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8333333333333333</c:v>
                </c:pt>
                <c:pt idx="37">
                  <c:v>0.07407407407407407</c:v>
                </c:pt>
                <c:pt idx="38">
                  <c:v>0.09302325581395349</c:v>
                </c:pt>
                <c:pt idx="39">
                  <c:v>0.1282051282051282</c:v>
                </c:pt>
                <c:pt idx="40">
                  <c:v>0.10204081632653061</c:v>
                </c:pt>
                <c:pt idx="41">
                  <c:v>0.1</c:v>
                </c:pt>
                <c:pt idx="42">
                  <c:v>0.11904761904761904</c:v>
                </c:pt>
                <c:pt idx="43">
                  <c:v>0.14754098360655737</c:v>
                </c:pt>
                <c:pt idx="44">
                  <c:v>0.13924050632911392</c:v>
                </c:pt>
                <c:pt idx="45">
                  <c:v>0.16981132075471697</c:v>
                </c:pt>
                <c:pt idx="46">
                  <c:v>0.19148936170212766</c:v>
                </c:pt>
                <c:pt idx="47">
                  <c:v>0.1553398058252427</c:v>
                </c:pt>
                <c:pt idx="48">
                  <c:v>0.174496644295302</c:v>
                </c:pt>
                <c:pt idx="49">
                  <c:v>0.17204301075268819</c:v>
                </c:pt>
                <c:pt idx="50">
                  <c:v>0.19</c:v>
                </c:pt>
                <c:pt idx="51">
                  <c:v>0.14285714285714285</c:v>
                </c:pt>
                <c:pt idx="52">
                  <c:v>0.18446601941747573</c:v>
                </c:pt>
                <c:pt idx="53">
                  <c:v>0.1827956989247312</c:v>
                </c:pt>
                <c:pt idx="54">
                  <c:v>0.19047619047619047</c:v>
                </c:pt>
                <c:pt idx="55">
                  <c:v>0.16279069767441862</c:v>
                </c:pt>
                <c:pt idx="56">
                  <c:v>0.18478260869565216</c:v>
                </c:pt>
                <c:pt idx="57">
                  <c:v>0.16666666666666666</c:v>
                </c:pt>
                <c:pt idx="58">
                  <c:v>0.168</c:v>
                </c:pt>
                <c:pt idx="59">
                  <c:v>0.17682926829268292</c:v>
                </c:pt>
                <c:pt idx="60">
                  <c:v>0.16071428571428573</c:v>
                </c:pt>
                <c:pt idx="61">
                  <c:v>0.14189189189189189</c:v>
                </c:pt>
                <c:pt idx="62">
                  <c:v>0.1388888888888889</c:v>
                </c:pt>
                <c:pt idx="63">
                  <c:v>0.17964071856287425</c:v>
                </c:pt>
                <c:pt idx="64">
                  <c:v>0.21301775147928995</c:v>
                </c:pt>
                <c:pt idx="65">
                  <c:v>0.20118343195266272</c:v>
                </c:pt>
                <c:pt idx="66">
                  <c:v>0.17647058823529413</c:v>
                </c:pt>
                <c:pt idx="67">
                  <c:v>0.1935483870967742</c:v>
                </c:pt>
                <c:pt idx="68">
                  <c:v>0.16666666666666666</c:v>
                </c:pt>
                <c:pt idx="69">
                  <c:v>0.23076923076923078</c:v>
                </c:pt>
                <c:pt idx="70">
                  <c:v>0.1794871794871795</c:v>
                </c:pt>
                <c:pt idx="71">
                  <c:v>0.13513513513513514</c:v>
                </c:pt>
                <c:pt idx="72">
                  <c:v>0.41935483870967744</c:v>
                </c:pt>
                <c:pt idx="73">
                  <c:v>0.3048780487804878</c:v>
                </c:pt>
                <c:pt idx="74">
                  <c:v>0.16363636363636364</c:v>
                </c:pt>
                <c:pt idx="75">
                  <c:v>0.11864406779661017</c:v>
                </c:pt>
                <c:pt idx="76">
                  <c:v>0.10810810810810811</c:v>
                </c:pt>
                <c:pt idx="77">
                  <c:v>0.16216216216216217</c:v>
                </c:pt>
                <c:pt idx="78">
                  <c:v>0.10344827586206896</c:v>
                </c:pt>
                <c:pt idx="79">
                  <c:v>0.2</c:v>
                </c:pt>
                <c:pt idx="80">
                  <c:v>0.16666666666666666</c:v>
                </c:pt>
                <c:pt idx="81">
                  <c:v>0.10526315789473684</c:v>
                </c:pt>
                <c:pt idx="82">
                  <c:v>0.0967741935483871</c:v>
                </c:pt>
                <c:pt idx="83">
                  <c:v>0.05263157894736842</c:v>
                </c:pt>
                <c:pt idx="84">
                  <c:v>0.13636363636363635</c:v>
                </c:pt>
                <c:pt idx="85">
                  <c:v>0.20833333333333334</c:v>
                </c:pt>
                <c:pt idx="86">
                  <c:v>0.12903225806451613</c:v>
                </c:pt>
                <c:pt idx="87">
                  <c:v>0.16129032258064516</c:v>
                </c:pt>
                <c:pt idx="88">
                  <c:v>0.23809523809523808</c:v>
                </c:pt>
                <c:pt idx="89">
                  <c:v>0.3225806451612903</c:v>
                </c:pt>
                <c:pt idx="90">
                  <c:v>0.19047619047619047</c:v>
                </c:pt>
                <c:pt idx="91">
                  <c:v>0.20833333333333334</c:v>
                </c:pt>
                <c:pt idx="92">
                  <c:v>0.18421052631578946</c:v>
                </c:pt>
                <c:pt idx="93">
                  <c:v>0.0967741935483871</c:v>
                </c:pt>
                <c:pt idx="94">
                  <c:v>0.1111111111111111</c:v>
                </c:pt>
                <c:pt idx="95">
                  <c:v>0.11864406779661017</c:v>
                </c:pt>
                <c:pt idx="96">
                  <c:v>0.0660377358490566</c:v>
                </c:pt>
                <c:pt idx="97">
                  <c:v>0.11711711711711711</c:v>
                </c:pt>
                <c:pt idx="98">
                  <c:v>0.08064516129032258</c:v>
                </c:pt>
                <c:pt idx="99">
                  <c:v>0.13076923076923078</c:v>
                </c:pt>
                <c:pt idx="100">
                  <c:v>0.2</c:v>
                </c:pt>
                <c:pt idx="101">
                  <c:v>0.10588235294117647</c:v>
                </c:pt>
                <c:pt idx="102">
                  <c:v>0.15789473684210525</c:v>
                </c:pt>
                <c:pt idx="103">
                  <c:v>0.16666666666666666</c:v>
                </c:pt>
                <c:pt idx="104">
                  <c:v>0.178082191780821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06813157126678</c:v>
                </c:pt>
                <c:pt idx="1">
                  <c:v>1.0119273275622491</c:v>
                </c:pt>
                <c:pt idx="2">
                  <c:v>1.126395070124101</c:v>
                </c:pt>
                <c:pt idx="3">
                  <c:v>0.7942364945813882</c:v>
                </c:pt>
                <c:pt idx="4">
                  <c:v>0.9218563819963419</c:v>
                </c:pt>
                <c:pt idx="5">
                  <c:v>0.9358258582192435</c:v>
                </c:pt>
                <c:pt idx="6">
                  <c:v>0.7098613448423959</c:v>
                </c:pt>
                <c:pt idx="7">
                  <c:v>0.7887169846850111</c:v>
                </c:pt>
                <c:pt idx="8">
                  <c:v>0.9039681031636762</c:v>
                </c:pt>
                <c:pt idx="9">
                  <c:v>0.8135579524601175</c:v>
                </c:pt>
                <c:pt idx="10">
                  <c:v>0.8849252384337053</c:v>
                </c:pt>
                <c:pt idx="11">
                  <c:v>0.8127662696654548</c:v>
                </c:pt>
                <c:pt idx="12">
                  <c:v>0.7148309908917829</c:v>
                </c:pt>
                <c:pt idx="13">
                  <c:v>0.7819023819084113</c:v>
                </c:pt>
                <c:pt idx="14">
                  <c:v>0.7568943572337717</c:v>
                </c:pt>
                <c:pt idx="15">
                  <c:v>0.69283856266485</c:v>
                </c:pt>
                <c:pt idx="16">
                  <c:v>0.9112402653297579</c:v>
                </c:pt>
                <c:pt idx="17">
                  <c:v>0.8185087886817863</c:v>
                </c:pt>
                <c:pt idx="18">
                  <c:v>0.8180998805800399</c:v>
                </c:pt>
                <c:pt idx="19">
                  <c:v>0.8807740887766149</c:v>
                </c:pt>
                <c:pt idx="20">
                  <c:v>0.7673972265023112</c:v>
                </c:pt>
                <c:pt idx="21">
                  <c:v>0.965102054933728</c:v>
                </c:pt>
                <c:pt idx="22">
                  <c:v>0.9153955291683737</c:v>
                </c:pt>
                <c:pt idx="23">
                  <c:v>0.8375564717162033</c:v>
                </c:pt>
                <c:pt idx="24">
                  <c:v>0.977314158395787</c:v>
                </c:pt>
                <c:pt idx="25">
                  <c:v>0.79602886533264</c:v>
                </c:pt>
                <c:pt idx="26">
                  <c:v>0.9191274053154684</c:v>
                </c:pt>
                <c:pt idx="27">
                  <c:v>0.8127525819488101</c:v>
                </c:pt>
                <c:pt idx="28">
                  <c:v>0.7920377160817181</c:v>
                </c:pt>
                <c:pt idx="29">
                  <c:v>0.5173057905724646</c:v>
                </c:pt>
                <c:pt idx="30">
                  <c:v>0.9167345988121579</c:v>
                </c:pt>
                <c:pt idx="31">
                  <c:v>1.0101605703048182</c:v>
                </c:pt>
                <c:pt idx="32">
                  <c:v>0.9668096214805147</c:v>
                </c:pt>
                <c:pt idx="33">
                  <c:v>1.0138265027272957</c:v>
                </c:pt>
                <c:pt idx="34">
                  <c:v>1.245495684734246</c:v>
                </c:pt>
                <c:pt idx="35">
                  <c:v>0.47522470770699116</c:v>
                </c:pt>
                <c:pt idx="36">
                  <c:v>1.1958511287370348</c:v>
                </c:pt>
                <c:pt idx="37">
                  <c:v>0.8591992802519118</c:v>
                </c:pt>
                <c:pt idx="38">
                  <c:v>1.2598647125140925</c:v>
                </c:pt>
                <c:pt idx="39">
                  <c:v>0.7616226071103008</c:v>
                </c:pt>
                <c:pt idx="40">
                  <c:v>0.9717011846001974</c:v>
                </c:pt>
                <c:pt idx="41">
                  <c:v>1.0290580198210335</c:v>
                </c:pt>
                <c:pt idx="42">
                  <c:v>0.6789150344777375</c:v>
                </c:pt>
                <c:pt idx="43">
                  <c:v>0.8222222222222222</c:v>
                </c:pt>
                <c:pt idx="44">
                  <c:v>0.5977692927619587</c:v>
                </c:pt>
                <c:pt idx="45">
                  <c:v>0.9517325284226925</c:v>
                </c:pt>
                <c:pt idx="46">
                  <c:v>0.8826966677336162</c:v>
                </c:pt>
                <c:pt idx="47">
                  <c:v>0.8489564509907115</c:v>
                </c:pt>
                <c:pt idx="48">
                  <c:v>0.8590079513184584</c:v>
                </c:pt>
                <c:pt idx="49">
                  <c:v>0.8921424382616776</c:v>
                </c:pt>
                <c:pt idx="50">
                  <c:v>0.8036490788428597</c:v>
                </c:pt>
                <c:pt idx="51">
                  <c:v>0.9901403197746358</c:v>
                </c:pt>
              </c:numCache>
            </c:numRef>
          </c:xVal>
          <c:yVal>
            <c:numRef>
              <c:f>Sheet1!$B$109:$B$160</c:f>
              <c:numCache>
                <c:formatCode>General</c:formatCode>
                <c:ptCount val="52"/>
                <c:pt idx="0">
                  <c:v>0.16470588235294117</c:v>
                </c:pt>
                <c:pt idx="1">
                  <c:v>0.16</c:v>
                </c:pt>
                <c:pt idx="2">
                  <c:v>0.13402061855670103</c:v>
                </c:pt>
                <c:pt idx="3">
                  <c:v>0.19791666666666666</c:v>
                </c:pt>
                <c:pt idx="4">
                  <c:v>0.16494845360824742</c:v>
                </c:pt>
                <c:pt idx="5">
                  <c:v>0.17045454545454544</c:v>
                </c:pt>
                <c:pt idx="6">
                  <c:v>0.1568627450980392</c:v>
                </c:pt>
                <c:pt idx="7">
                  <c:v>0.13580246913580246</c:v>
                </c:pt>
                <c:pt idx="8">
                  <c:v>0.1794871794871795</c:v>
                </c:pt>
                <c:pt idx="9">
                  <c:v>0.14102564102564102</c:v>
                </c:pt>
                <c:pt idx="10">
                  <c:v>0.1827956989247312</c:v>
                </c:pt>
                <c:pt idx="11">
                  <c:v>0.20535714285714285</c:v>
                </c:pt>
                <c:pt idx="12">
                  <c:v>0.14285714285714285</c:v>
                </c:pt>
                <c:pt idx="13">
                  <c:v>0.20535714285714285</c:v>
                </c:pt>
                <c:pt idx="14">
                  <c:v>0.19148936170212766</c:v>
                </c:pt>
                <c:pt idx="15">
                  <c:v>0.18604651162790697</c:v>
                </c:pt>
                <c:pt idx="16">
                  <c:v>0.18032786885245902</c:v>
                </c:pt>
                <c:pt idx="17">
                  <c:v>0.1836734693877551</c:v>
                </c:pt>
                <c:pt idx="18">
                  <c:v>0.14893617021276595</c:v>
                </c:pt>
                <c:pt idx="19">
                  <c:v>0.14545454545454545</c:v>
                </c:pt>
                <c:pt idx="20">
                  <c:v>0.1794871794871795</c:v>
                </c:pt>
                <c:pt idx="21">
                  <c:v>0.1282051282051282</c:v>
                </c:pt>
                <c:pt idx="22">
                  <c:v>0.08695652173913043</c:v>
                </c:pt>
                <c:pt idx="23">
                  <c:v>0.175</c:v>
                </c:pt>
                <c:pt idx="24">
                  <c:v>0.13793103448275862</c:v>
                </c:pt>
                <c:pt idx="25">
                  <c:v>0.15384615384615385</c:v>
                </c:pt>
                <c:pt idx="26">
                  <c:v>0.19230769230769232</c:v>
                </c:pt>
                <c:pt idx="27">
                  <c:v>0.15625</c:v>
                </c:pt>
                <c:pt idx="28">
                  <c:v>0.15384615384615385</c:v>
                </c:pt>
                <c:pt idx="29">
                  <c:v>0.19047619047619047</c:v>
                </c:pt>
                <c:pt idx="30">
                  <c:v>0.11764705882352941</c:v>
                </c:pt>
                <c:pt idx="31">
                  <c:v>0.15789473684210525</c:v>
                </c:pt>
                <c:pt idx="32">
                  <c:v>0.09523809523809523</c:v>
                </c:pt>
                <c:pt idx="33">
                  <c:v>0.12</c:v>
                </c:pt>
                <c:pt idx="34">
                  <c:v>0.17142857142857143</c:v>
                </c:pt>
                <c:pt idx="35">
                  <c:v>0.14285714285714285</c:v>
                </c:pt>
                <c:pt idx="36">
                  <c:v>0.1</c:v>
                </c:pt>
                <c:pt idx="37">
                  <c:v>0.08333333333333333</c:v>
                </c:pt>
                <c:pt idx="38">
                  <c:v>0.08333333333333333</c:v>
                </c:pt>
                <c:pt idx="39">
                  <c:v>0.08333333333333333</c:v>
                </c:pt>
                <c:pt idx="40">
                  <c:v>0.09090909090909091</c:v>
                </c:pt>
                <c:pt idx="41">
                  <c:v>0.14285714285714285</c:v>
                </c:pt>
                <c:pt idx="42">
                  <c:v>0.18518518518518517</c:v>
                </c:pt>
                <c:pt idx="43">
                  <c:v>0.1276595744680851</c:v>
                </c:pt>
                <c:pt idx="44">
                  <c:v>0.17391304347826086</c:v>
                </c:pt>
                <c:pt idx="45">
                  <c:v>0.1527777777777778</c:v>
                </c:pt>
                <c:pt idx="46">
                  <c:v>0.1206896551724138</c:v>
                </c:pt>
                <c:pt idx="47">
                  <c:v>0.16</c:v>
                </c:pt>
                <c:pt idx="48">
                  <c:v>0.1506849315068493</c:v>
                </c:pt>
                <c:pt idx="49">
                  <c:v>0.12380952380952381</c:v>
                </c:pt>
                <c:pt idx="50">
                  <c:v>0.13253012048192772</c:v>
                </c:pt>
                <c:pt idx="51">
                  <c:v>0.13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622313094213651</c:v>
                </c:pt>
              </c:numCache>
            </c:numRef>
          </c:xVal>
          <c:yVal>
            <c:numRef>
              <c:f>Sheet1!$B$163:$B$164</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622313094213651</c:v>
                </c:pt>
                <c:pt idx="1">
                  <c:v>0.04622313094213651</c:v>
                </c:pt>
              </c:numCache>
            </c:numRef>
          </c:xVal>
          <c:yVal>
            <c:numRef>
              <c:f>Sheet1!$B$167:$B$168</c:f>
              <c:numCache>
                <c:formatCode>General</c:formatCode>
                <c:ptCount val="2"/>
                <c:pt idx="0">
                  <c:v>0.217756655388960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140924795235947</c:v>
                </c:pt>
              </c:numCache>
            </c:numRef>
          </c:xVal>
          <c:yVal>
            <c:numRef>
              <c:f>Sheet1!$B$171:$B$172</c:f>
              <c:numCache>
                <c:formatCode>General</c:formatCode>
                <c:ptCount val="2"/>
                <c:pt idx="0">
                  <c:v>0.1708471541116668</c:v>
                </c:pt>
                <c:pt idx="1">
                  <c:v>0.17084715411166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140924795235947</c:v>
                </c:pt>
                <c:pt idx="1">
                  <c:v>0.6140924795235947</c:v>
                </c:pt>
              </c:numCache>
            </c:numRef>
          </c:xVal>
          <c:yVal>
            <c:numRef>
              <c:f>Sheet1!$B$175:$B$176</c:f>
              <c:numCache>
                <c:formatCode>General</c:formatCode>
                <c:ptCount val="2"/>
                <c:pt idx="0">
                  <c:v>0.17084715411166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230428636250364</c:v>
                </c:pt>
              </c:numCache>
            </c:numRef>
          </c:xVal>
          <c:yVal>
            <c:numRef>
              <c:f>Sheet1!$B$179:$B$180</c:f>
              <c:numCache>
                <c:formatCode>General</c:formatCode>
                <c:ptCount val="2"/>
                <c:pt idx="0">
                  <c:v>0.13706533684458388</c:v>
                </c:pt>
                <c:pt idx="1">
                  <c:v>0.137065336844583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230428636250364</c:v>
                </c:pt>
                <c:pt idx="1">
                  <c:v>1.0230428636250364</c:v>
                </c:pt>
              </c:numCache>
            </c:numRef>
          </c:xVal>
          <c:yVal>
            <c:numRef>
              <c:f>Sheet1!$B$183:$B$184</c:f>
              <c:numCache>
                <c:formatCode>General</c:formatCode>
                <c:ptCount val="2"/>
                <c:pt idx="0">
                  <c:v>0.137065336844583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06813157126678</c:v>
                </c:pt>
                <c:pt idx="1">
                  <c:v>1.0119273275622491</c:v>
                </c:pt>
                <c:pt idx="2">
                  <c:v>1.126395070124101</c:v>
                </c:pt>
                <c:pt idx="3">
                  <c:v>0.7942364945813882</c:v>
                </c:pt>
                <c:pt idx="4">
                  <c:v>0.9218563819963419</c:v>
                </c:pt>
                <c:pt idx="5">
                  <c:v>0.9358258582192435</c:v>
                </c:pt>
                <c:pt idx="6">
                  <c:v>0.7098613448423959</c:v>
                </c:pt>
                <c:pt idx="7">
                  <c:v>0.7887169846850111</c:v>
                </c:pt>
                <c:pt idx="8">
                  <c:v>0.9039681031636762</c:v>
                </c:pt>
                <c:pt idx="9">
                  <c:v>0.8135579524601175</c:v>
                </c:pt>
                <c:pt idx="10">
                  <c:v>0.8849252384337053</c:v>
                </c:pt>
                <c:pt idx="11">
                  <c:v>0.8127662696654548</c:v>
                </c:pt>
                <c:pt idx="12">
                  <c:v>0.7148309908917829</c:v>
                </c:pt>
                <c:pt idx="13">
                  <c:v>0.7819023819084113</c:v>
                </c:pt>
                <c:pt idx="14">
                  <c:v>0.7568943572337717</c:v>
                </c:pt>
                <c:pt idx="15">
                  <c:v>0.69283856266485</c:v>
                </c:pt>
                <c:pt idx="16">
                  <c:v>0.9112402653297579</c:v>
                </c:pt>
                <c:pt idx="17">
                  <c:v>0.8185087886817863</c:v>
                </c:pt>
                <c:pt idx="18">
                  <c:v>0.8180998805800399</c:v>
                </c:pt>
                <c:pt idx="19">
                  <c:v>0.8807740887766149</c:v>
                </c:pt>
                <c:pt idx="20">
                  <c:v>0.7673972265023112</c:v>
                </c:pt>
                <c:pt idx="21">
                  <c:v>0.965102054933728</c:v>
                </c:pt>
                <c:pt idx="22">
                  <c:v>0.9153955291683737</c:v>
                </c:pt>
                <c:pt idx="23">
                  <c:v>0.8375564717162033</c:v>
                </c:pt>
                <c:pt idx="24">
                  <c:v>0.977314158395787</c:v>
                </c:pt>
                <c:pt idx="25">
                  <c:v>0.79602886533264</c:v>
                </c:pt>
                <c:pt idx="26">
                  <c:v>0.9191274053154684</c:v>
                </c:pt>
                <c:pt idx="27">
                  <c:v>0.8127525819488101</c:v>
                </c:pt>
                <c:pt idx="28">
                  <c:v>0.7920377160817181</c:v>
                </c:pt>
                <c:pt idx="29">
                  <c:v>0.5173057905724646</c:v>
                </c:pt>
                <c:pt idx="30">
                  <c:v>0.9167345988121579</c:v>
                </c:pt>
                <c:pt idx="31">
                  <c:v>1.0101605703048182</c:v>
                </c:pt>
                <c:pt idx="32">
                  <c:v>0.9668096214805147</c:v>
                </c:pt>
                <c:pt idx="33">
                  <c:v>1.0138265027272957</c:v>
                </c:pt>
                <c:pt idx="34">
                  <c:v>1.245495684734246</c:v>
                </c:pt>
                <c:pt idx="35">
                  <c:v>0.47522470770699116</c:v>
                </c:pt>
                <c:pt idx="36">
                  <c:v>1.1958511287370348</c:v>
                </c:pt>
                <c:pt idx="37">
                  <c:v>0.8591992802519118</c:v>
                </c:pt>
                <c:pt idx="38">
                  <c:v>1.2598647125140925</c:v>
                </c:pt>
                <c:pt idx="39">
                  <c:v>0.7616226071103008</c:v>
                </c:pt>
                <c:pt idx="40">
                  <c:v>0.9717011846001974</c:v>
                </c:pt>
                <c:pt idx="41">
                  <c:v>1.0290580198210335</c:v>
                </c:pt>
                <c:pt idx="42">
                  <c:v>0.6789150344777375</c:v>
                </c:pt>
                <c:pt idx="43">
                  <c:v>0.8222222222222222</c:v>
                </c:pt>
                <c:pt idx="44">
                  <c:v>0.5977692927619587</c:v>
                </c:pt>
                <c:pt idx="45">
                  <c:v>0.9517325284226925</c:v>
                </c:pt>
                <c:pt idx="46">
                  <c:v>0.8826966677336162</c:v>
                </c:pt>
                <c:pt idx="47">
                  <c:v>0.8489564509907115</c:v>
                </c:pt>
                <c:pt idx="48">
                  <c:v>0.8590079513184584</c:v>
                </c:pt>
                <c:pt idx="49">
                  <c:v>0.8921424382616776</c:v>
                </c:pt>
                <c:pt idx="50">
                  <c:v>0.8036490788428597</c:v>
                </c:pt>
                <c:pt idx="51">
                  <c:v>0.9901403197746358</c:v>
                </c:pt>
                <c:pt idx="52">
                  <c:v>0.6140924795235947</c:v>
                </c:pt>
                <c:pt idx="53">
                  <c:v>0.04622313094213651</c:v>
                </c:pt>
                <c:pt idx="54">
                  <c:v>1.0230428636250364</c:v>
                </c:pt>
              </c:numCache>
            </c:numRef>
          </c:xVal>
          <c:yVal>
            <c:numRef>
              <c:f>Sheet1!$B$187:$B$241</c:f>
              <c:numCache>
                <c:formatCode>General</c:formatCode>
                <c:ptCount val="55"/>
                <c:pt idx="0">
                  <c:v>0.15378164547082532</c:v>
                </c:pt>
                <c:pt idx="1">
                  <c:v>0.1379835484973833</c:v>
                </c:pt>
                <c:pt idx="2">
                  <c:v>0.1285278088464804</c:v>
                </c:pt>
                <c:pt idx="3">
                  <c:v>0.15596615036395675</c:v>
                </c:pt>
                <c:pt idx="4">
                  <c:v>0.14542396264656304</c:v>
                </c:pt>
                <c:pt idx="5">
                  <c:v>0.14426999798134865</c:v>
                </c:pt>
                <c:pt idx="6">
                  <c:v>0.16293605674178854</c:v>
                </c:pt>
                <c:pt idx="7">
                  <c:v>0.15642209583307023</c:v>
                </c:pt>
                <c:pt idx="8">
                  <c:v>0.14690164451272764</c:v>
                </c:pt>
                <c:pt idx="9">
                  <c:v>0.1543700790927999</c:v>
                </c:pt>
                <c:pt idx="10">
                  <c:v>0.14847470227611165</c:v>
                </c:pt>
                <c:pt idx="11">
                  <c:v>0.15443547696144733</c:v>
                </c:pt>
                <c:pt idx="12">
                  <c:v>0.16252553340876527</c:v>
                </c:pt>
                <c:pt idx="13">
                  <c:v>0.1569850239404803</c:v>
                </c:pt>
                <c:pt idx="14">
                  <c:v>0.15905084060825442</c:v>
                </c:pt>
                <c:pt idx="15">
                  <c:v>0.16434224326038724</c:v>
                </c:pt>
                <c:pt idx="16">
                  <c:v>0.14630091918520177</c:v>
                </c:pt>
                <c:pt idx="17">
                  <c:v>0.15396110956724937</c:v>
                </c:pt>
                <c:pt idx="18">
                  <c:v>0.15399488789173385</c:v>
                </c:pt>
                <c:pt idx="19">
                  <c:v>0.1488176127723868</c:v>
                </c:pt>
                <c:pt idx="20">
                  <c:v>0.15818323900130285</c:v>
                </c:pt>
                <c:pt idx="21">
                  <c:v>0.14185160404865443</c:v>
                </c:pt>
                <c:pt idx="22">
                  <c:v>0.14595766883222538</c:v>
                </c:pt>
                <c:pt idx="23">
                  <c:v>0.1523876537822797</c:v>
                </c:pt>
                <c:pt idx="24">
                  <c:v>0.14084280918345715</c:v>
                </c:pt>
                <c:pt idx="25">
                  <c:v>0.1558180895146518</c:v>
                </c:pt>
                <c:pt idx="26">
                  <c:v>0.14564939290691592</c:v>
                </c:pt>
                <c:pt idx="27">
                  <c:v>0.15443660765103823</c:v>
                </c:pt>
                <c:pt idx="28">
                  <c:v>0.1561477829931811</c:v>
                </c:pt>
                <c:pt idx="29">
                  <c:v>0.17884232997442384</c:v>
                </c:pt>
                <c:pt idx="30">
                  <c:v>0.14584705344274823</c:v>
                </c:pt>
                <c:pt idx="31">
                  <c:v>0.13812949351454468</c:v>
                </c:pt>
                <c:pt idx="32">
                  <c:v>0.14171054854828688</c:v>
                </c:pt>
                <c:pt idx="33">
                  <c:v>0.13782666494652235</c:v>
                </c:pt>
                <c:pt idx="34">
                  <c:v>0.11868936546661273</c:v>
                </c:pt>
                <c:pt idx="35">
                  <c:v>0.1823184862687526</c:v>
                </c:pt>
                <c:pt idx="36">
                  <c:v>0.12279031116614592</c:v>
                </c:pt>
                <c:pt idx="37">
                  <c:v>0.1505998246677375</c:v>
                </c:pt>
                <c:pt idx="38">
                  <c:v>0.11750239538506854</c:v>
                </c:pt>
                <c:pt idx="39">
                  <c:v>0.1586602580839881</c:v>
                </c:pt>
                <c:pt idx="40">
                  <c:v>0.1413064753455618</c:v>
                </c:pt>
                <c:pt idx="41">
                  <c:v>0.13656844794229658</c:v>
                </c:pt>
                <c:pt idx="42">
                  <c:v>0.1654924123352094</c:v>
                </c:pt>
                <c:pt idx="43">
                  <c:v>0.15365435711469427</c:v>
                </c:pt>
                <c:pt idx="44">
                  <c:v>0.17219554974555198</c:v>
                </c:pt>
                <c:pt idx="45">
                  <c:v>0.14295600917725115</c:v>
                </c:pt>
                <c:pt idx="46">
                  <c:v>0.14865879592434872</c:v>
                </c:pt>
                <c:pt idx="47">
                  <c:v>0.15144594537052175</c:v>
                </c:pt>
                <c:pt idx="48">
                  <c:v>0.1506156296145455</c:v>
                </c:pt>
                <c:pt idx="49">
                  <c:v>0.14787851717579859</c:v>
                </c:pt>
                <c:pt idx="50">
                  <c:v>0.15518861300516268</c:v>
                </c:pt>
                <c:pt idx="51">
                  <c:v>0.13978328935713294</c:v>
                </c:pt>
                <c:pt idx="52">
                  <c:v>0.1708471541116668</c:v>
                </c:pt>
                <c:pt idx="53">
                  <c:v>0.21775665538896025</c:v>
                </c:pt>
                <c:pt idx="54">
                  <c:v>0.137065336844583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6.16</c:v>
                </c:pt>
                <c:pt idx="1">
                  <c:v>715.7857</c:v>
                </c:pt>
                <c:pt idx="2">
                  <c:v>684.4333</c:v>
                </c:pt>
                <c:pt idx="3">
                  <c:v>697.4074</c:v>
                </c:pt>
                <c:pt idx="4">
                  <c:v>680.0833</c:v>
                </c:pt>
                <c:pt idx="5">
                  <c:v>634.0645</c:v>
                </c:pt>
                <c:pt idx="6">
                  <c:v>657.8065</c:v>
                </c:pt>
                <c:pt idx="7">
                  <c:v>668.6563</c:v>
                </c:pt>
                <c:pt idx="8">
                  <c:v>645.7586</c:v>
                </c:pt>
                <c:pt idx="9">
                  <c:v>681.2188</c:v>
                </c:pt>
                <c:pt idx="10">
                  <c:v>738.0571</c:v>
                </c:pt>
                <c:pt idx="11">
                  <c:v>737.7872</c:v>
                </c:pt>
                <c:pt idx="12">
                  <c:v>715.8636</c:v>
                </c:pt>
                <c:pt idx="13">
                  <c:v>651.3659</c:v>
                </c:pt>
                <c:pt idx="14">
                  <c:v>662.3889</c:v>
                </c:pt>
                <c:pt idx="15">
                  <c:v>736.3</c:v>
                </c:pt>
                <c:pt idx="16">
                  <c:v>742.65</c:v>
                </c:pt>
                <c:pt idx="17">
                  <c:v>733.2353</c:v>
                </c:pt>
                <c:pt idx="18">
                  <c:v>787.4545</c:v>
                </c:pt>
                <c:pt idx="19">
                  <c:v>752.7</c:v>
                </c:pt>
                <c:pt idx="20">
                  <c:v>801.6429</c:v>
                </c:pt>
                <c:pt idx="21">
                  <c:v>743.6667</c:v>
                </c:pt>
                <c:pt idx="22">
                  <c:v>793.4</c:v>
                </c:pt>
                <c:pt idx="23">
                  <c:v>828.1429</c:v>
                </c:pt>
                <c:pt idx="24">
                  <c:v>781.375</c:v>
                </c:pt>
                <c:pt idx="25">
                  <c:v>658.8889</c:v>
                </c:pt>
                <c:pt idx="26">
                  <c:v>610.4</c:v>
                </c:pt>
                <c:pt idx="27">
                  <c:v>622.3333</c:v>
                </c:pt>
                <c:pt idx="28">
                  <c:v>538.0833</c:v>
                </c:pt>
                <c:pt idx="29">
                  <c:v>713.5714</c:v>
                </c:pt>
                <c:pt idx="30">
                  <c:v>745.6</c:v>
                </c:pt>
                <c:pt idx="31">
                  <c:v>725.2</c:v>
                </c:pt>
                <c:pt idx="32">
                  <c:v>786.8</c:v>
                </c:pt>
                <c:pt idx="33">
                  <c:v>700.0</c:v>
                </c:pt>
                <c:pt idx="34">
                  <c:v>621.0</c:v>
                </c:pt>
                <c:pt idx="35">
                  <c:v>731.4444</c:v>
                </c:pt>
                <c:pt idx="36">
                  <c:v>776.3333</c:v>
                </c:pt>
                <c:pt idx="37">
                  <c:v>807.5</c:v>
                </c:pt>
                <c:pt idx="38">
                  <c:v>953.75</c:v>
                </c:pt>
                <c:pt idx="39">
                  <c:v>893.6</c:v>
                </c:pt>
                <c:pt idx="40">
                  <c:v>746.8</c:v>
                </c:pt>
                <c:pt idx="41">
                  <c:v>774.5</c:v>
                </c:pt>
                <c:pt idx="42">
                  <c:v>823.4</c:v>
                </c:pt>
                <c:pt idx="43">
                  <c:v>845.3333</c:v>
                </c:pt>
                <c:pt idx="44">
                  <c:v>823.5455</c:v>
                </c:pt>
                <c:pt idx="45">
                  <c:v>796.2778</c:v>
                </c:pt>
                <c:pt idx="46">
                  <c:v>832.0</c:v>
                </c:pt>
                <c:pt idx="47">
                  <c:v>841.0625</c:v>
                </c:pt>
                <c:pt idx="48">
                  <c:v>829.9231</c:v>
                </c:pt>
                <c:pt idx="49">
                  <c:v>799.6875</c:v>
                </c:pt>
                <c:pt idx="50">
                  <c:v>840.7895</c:v>
                </c:pt>
                <c:pt idx="51">
                  <c:v>866.7143</c:v>
                </c:pt>
                <c:pt idx="52">
                  <c:v>836.4737</c:v>
                </c:pt>
                <c:pt idx="53">
                  <c:v>902.4706</c:v>
                </c:pt>
                <c:pt idx="54">
                  <c:v>878.25</c:v>
                </c:pt>
                <c:pt idx="55">
                  <c:v>884.2143</c:v>
                </c:pt>
                <c:pt idx="56">
                  <c:v>840.5294</c:v>
                </c:pt>
                <c:pt idx="57">
                  <c:v>775.0952</c:v>
                </c:pt>
                <c:pt idx="58">
                  <c:v>861.5714</c:v>
                </c:pt>
                <c:pt idx="59">
                  <c:v>856.6552</c:v>
                </c:pt>
                <c:pt idx="60">
                  <c:v>799.963</c:v>
                </c:pt>
                <c:pt idx="61">
                  <c:v>864.0476</c:v>
                </c:pt>
                <c:pt idx="62">
                  <c:v>900.35</c:v>
                </c:pt>
                <c:pt idx="63">
                  <c:v>832.3</c:v>
                </c:pt>
                <c:pt idx="64">
                  <c:v>781.4444</c:v>
                </c:pt>
                <c:pt idx="65">
                  <c:v>709.7647</c:v>
                </c:pt>
                <c:pt idx="66">
                  <c:v>770.0741</c:v>
                </c:pt>
                <c:pt idx="67">
                  <c:v>738.3333</c:v>
                </c:pt>
                <c:pt idx="68">
                  <c:v>649.5625</c:v>
                </c:pt>
                <c:pt idx="69">
                  <c:v>710.2</c:v>
                </c:pt>
                <c:pt idx="70">
                  <c:v>657.2857</c:v>
                </c:pt>
                <c:pt idx="71">
                  <c:v>750.8</c:v>
                </c:pt>
                <c:pt idx="72">
                  <c:v>264.9231</c:v>
                </c:pt>
                <c:pt idx="73">
                  <c:v>376.12</c:v>
                </c:pt>
                <c:pt idx="74">
                  <c:v>948.6667</c:v>
                </c:pt>
                <c:pt idx="75">
                  <c:v>824.4286</c:v>
                </c:pt>
                <c:pt idx="76">
                  <c:v>811.75</c:v>
                </c:pt>
                <c:pt idx="77">
                  <c:v>847.8333</c:v>
                </c:pt>
                <c:pt idx="78">
                  <c:v>925.0</c:v>
                </c:pt>
                <c:pt idx="79">
                  <c:v>869.8</c:v>
                </c:pt>
                <c:pt idx="80">
                  <c:v>838.6</c:v>
                </c:pt>
                <c:pt idx="81">
                  <c:v>780.75</c:v>
                </c:pt>
                <c:pt idx="82">
                  <c:v>559.0</c:v>
                </c:pt>
                <c:pt idx="83">
                  <c:v>1293.0</c:v>
                </c:pt>
                <c:pt idx="84">
                  <c:v>421.0</c:v>
                </c:pt>
                <c:pt idx="85">
                  <c:v>580.2</c:v>
                </c:pt>
                <c:pt idx="86">
                  <c:v>554.5</c:v>
                </c:pt>
                <c:pt idx="87">
                  <c:v>835.6</c:v>
                </c:pt>
                <c:pt idx="88">
                  <c:v>344.4</c:v>
                </c:pt>
                <c:pt idx="89">
                  <c:v>200.1</c:v>
                </c:pt>
                <c:pt idx="90">
                  <c:v>480.0</c:v>
                </c:pt>
                <c:pt idx="91">
                  <c:v>311.2</c:v>
                </c:pt>
                <c:pt idx="92">
                  <c:v>521.0</c:v>
                </c:pt>
                <c:pt idx="93">
                  <c:v>361.0</c:v>
                </c:pt>
                <c:pt idx="94">
                  <c:v>637.6667</c:v>
                </c:pt>
                <c:pt idx="95">
                  <c:v>715.0</c:v>
                </c:pt>
                <c:pt idx="96">
                  <c:v>731.5714</c:v>
                </c:pt>
                <c:pt idx="97">
                  <c:v>503.0769</c:v>
                </c:pt>
                <c:pt idx="98">
                  <c:v>695.1</c:v>
                </c:pt>
                <c:pt idx="99">
                  <c:v>665.0588</c:v>
                </c:pt>
                <c:pt idx="100">
                  <c:v>696.6</c:v>
                </c:pt>
                <c:pt idx="101">
                  <c:v>859.2222</c:v>
                </c:pt>
                <c:pt idx="102">
                  <c:v>709.8333</c:v>
                </c:pt>
                <c:pt idx="103">
                  <c:v>759.5</c:v>
                </c:pt>
                <c:pt idx="104">
                  <c:v>829.5385</c:v>
                </c:pt>
              </c:numCache>
            </c:numRef>
          </c:xVal>
          <c:yVal>
            <c:numRef>
              <c:f>Sheet1!$B$2:$B$106</c:f>
              <c:numCache>
                <c:formatCode>General</c:formatCode>
                <c:ptCount val="105"/>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8333333333333333</c:v>
                </c:pt>
                <c:pt idx="37">
                  <c:v>0.07407407407407407</c:v>
                </c:pt>
                <c:pt idx="38">
                  <c:v>0.09302325581395349</c:v>
                </c:pt>
                <c:pt idx="39">
                  <c:v>0.1282051282051282</c:v>
                </c:pt>
                <c:pt idx="40">
                  <c:v>0.10204081632653061</c:v>
                </c:pt>
                <c:pt idx="41">
                  <c:v>0.1</c:v>
                </c:pt>
                <c:pt idx="42">
                  <c:v>0.11904761904761904</c:v>
                </c:pt>
                <c:pt idx="43">
                  <c:v>0.14754098360655737</c:v>
                </c:pt>
                <c:pt idx="44">
                  <c:v>0.13924050632911392</c:v>
                </c:pt>
                <c:pt idx="45">
                  <c:v>0.16981132075471697</c:v>
                </c:pt>
                <c:pt idx="46">
                  <c:v>0.19148936170212766</c:v>
                </c:pt>
                <c:pt idx="47">
                  <c:v>0.1553398058252427</c:v>
                </c:pt>
                <c:pt idx="48">
                  <c:v>0.174496644295302</c:v>
                </c:pt>
                <c:pt idx="49">
                  <c:v>0.17204301075268819</c:v>
                </c:pt>
                <c:pt idx="50">
                  <c:v>0.19</c:v>
                </c:pt>
                <c:pt idx="51">
                  <c:v>0.14285714285714285</c:v>
                </c:pt>
                <c:pt idx="52">
                  <c:v>0.18446601941747573</c:v>
                </c:pt>
                <c:pt idx="53">
                  <c:v>0.1827956989247312</c:v>
                </c:pt>
                <c:pt idx="54">
                  <c:v>0.19047619047619047</c:v>
                </c:pt>
                <c:pt idx="55">
                  <c:v>0.16279069767441862</c:v>
                </c:pt>
                <c:pt idx="56">
                  <c:v>0.18478260869565216</c:v>
                </c:pt>
                <c:pt idx="57">
                  <c:v>0.16666666666666666</c:v>
                </c:pt>
                <c:pt idx="58">
                  <c:v>0.168</c:v>
                </c:pt>
                <c:pt idx="59">
                  <c:v>0.17682926829268292</c:v>
                </c:pt>
                <c:pt idx="60">
                  <c:v>0.16071428571428573</c:v>
                </c:pt>
                <c:pt idx="61">
                  <c:v>0.14189189189189189</c:v>
                </c:pt>
                <c:pt idx="62">
                  <c:v>0.1388888888888889</c:v>
                </c:pt>
                <c:pt idx="63">
                  <c:v>0.17964071856287425</c:v>
                </c:pt>
                <c:pt idx="64">
                  <c:v>0.21301775147928995</c:v>
                </c:pt>
                <c:pt idx="65">
                  <c:v>0.20118343195266272</c:v>
                </c:pt>
                <c:pt idx="66">
                  <c:v>0.17647058823529413</c:v>
                </c:pt>
                <c:pt idx="67">
                  <c:v>0.1935483870967742</c:v>
                </c:pt>
                <c:pt idx="68">
                  <c:v>0.16666666666666666</c:v>
                </c:pt>
                <c:pt idx="69">
                  <c:v>0.23076923076923078</c:v>
                </c:pt>
                <c:pt idx="70">
                  <c:v>0.1794871794871795</c:v>
                </c:pt>
                <c:pt idx="71">
                  <c:v>0.13513513513513514</c:v>
                </c:pt>
                <c:pt idx="72">
                  <c:v>0.41935483870967744</c:v>
                </c:pt>
                <c:pt idx="73">
                  <c:v>0.3048780487804878</c:v>
                </c:pt>
                <c:pt idx="74">
                  <c:v>0.16363636363636364</c:v>
                </c:pt>
                <c:pt idx="75">
                  <c:v>0.11864406779661017</c:v>
                </c:pt>
                <c:pt idx="76">
                  <c:v>0.10810810810810811</c:v>
                </c:pt>
                <c:pt idx="77">
                  <c:v>0.16216216216216217</c:v>
                </c:pt>
                <c:pt idx="78">
                  <c:v>0.10344827586206896</c:v>
                </c:pt>
                <c:pt idx="79">
                  <c:v>0.2</c:v>
                </c:pt>
                <c:pt idx="80">
                  <c:v>0.16666666666666666</c:v>
                </c:pt>
                <c:pt idx="81">
                  <c:v>0.10526315789473684</c:v>
                </c:pt>
                <c:pt idx="82">
                  <c:v>0.0967741935483871</c:v>
                </c:pt>
                <c:pt idx="83">
                  <c:v>0.05263157894736842</c:v>
                </c:pt>
                <c:pt idx="84">
                  <c:v>0.13636363636363635</c:v>
                </c:pt>
                <c:pt idx="85">
                  <c:v>0.20833333333333334</c:v>
                </c:pt>
                <c:pt idx="86">
                  <c:v>0.12903225806451613</c:v>
                </c:pt>
                <c:pt idx="87">
                  <c:v>0.16129032258064516</c:v>
                </c:pt>
                <c:pt idx="88">
                  <c:v>0.23809523809523808</c:v>
                </c:pt>
                <c:pt idx="89">
                  <c:v>0.3225806451612903</c:v>
                </c:pt>
                <c:pt idx="90">
                  <c:v>0.19047619047619047</c:v>
                </c:pt>
                <c:pt idx="91">
                  <c:v>0.20833333333333334</c:v>
                </c:pt>
                <c:pt idx="92">
                  <c:v>0.18421052631578946</c:v>
                </c:pt>
                <c:pt idx="93">
                  <c:v>0.0967741935483871</c:v>
                </c:pt>
                <c:pt idx="94">
                  <c:v>0.1111111111111111</c:v>
                </c:pt>
                <c:pt idx="95">
                  <c:v>0.11864406779661017</c:v>
                </c:pt>
                <c:pt idx="96">
                  <c:v>0.0660377358490566</c:v>
                </c:pt>
                <c:pt idx="97">
                  <c:v>0.11711711711711711</c:v>
                </c:pt>
                <c:pt idx="98">
                  <c:v>0.08064516129032258</c:v>
                </c:pt>
                <c:pt idx="99">
                  <c:v>0.13076923076923078</c:v>
                </c:pt>
                <c:pt idx="100">
                  <c:v>0.2</c:v>
                </c:pt>
                <c:pt idx="101">
                  <c:v>0.10588235294117647</c:v>
                </c:pt>
                <c:pt idx="102">
                  <c:v>0.15789473684210525</c:v>
                </c:pt>
                <c:pt idx="103">
                  <c:v>0.16666666666666666</c:v>
                </c:pt>
                <c:pt idx="104">
                  <c:v>0.178082191780821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91.9286</c:v>
                </c:pt>
                <c:pt idx="1">
                  <c:v>958.0</c:v>
                </c:pt>
                <c:pt idx="2">
                  <c:v>941.4615</c:v>
                </c:pt>
                <c:pt idx="3">
                  <c:v>817.2105</c:v>
                </c:pt>
                <c:pt idx="4">
                  <c:v>801.125</c:v>
                </c:pt>
                <c:pt idx="5">
                  <c:v>924.2</c:v>
                </c:pt>
                <c:pt idx="6">
                  <c:v>728.5625</c:v>
                </c:pt>
                <c:pt idx="7">
                  <c:v>741.3636</c:v>
                </c:pt>
                <c:pt idx="8">
                  <c:v>851.5714</c:v>
                </c:pt>
                <c:pt idx="9">
                  <c:v>886.0</c:v>
                </c:pt>
                <c:pt idx="10">
                  <c:v>956.4118</c:v>
                </c:pt>
                <c:pt idx="11">
                  <c:v>834.1304</c:v>
                </c:pt>
                <c:pt idx="12">
                  <c:v>793.5</c:v>
                </c:pt>
                <c:pt idx="13">
                  <c:v>853.3043</c:v>
                </c:pt>
                <c:pt idx="14">
                  <c:v>892.0</c:v>
                </c:pt>
                <c:pt idx="15">
                  <c:v>746.6875</c:v>
                </c:pt>
                <c:pt idx="16">
                  <c:v>976.3636</c:v>
                </c:pt>
                <c:pt idx="17">
                  <c:v>931.7778</c:v>
                </c:pt>
                <c:pt idx="18">
                  <c:v>899.1429</c:v>
                </c:pt>
                <c:pt idx="19">
                  <c:v>976.25</c:v>
                </c:pt>
                <c:pt idx="20">
                  <c:v>871.5714</c:v>
                </c:pt>
                <c:pt idx="21">
                  <c:v>1036.6</c:v>
                </c:pt>
                <c:pt idx="22">
                  <c:v>964.5</c:v>
                </c:pt>
                <c:pt idx="23">
                  <c:v>873.5714</c:v>
                </c:pt>
                <c:pt idx="24">
                  <c:v>965.0</c:v>
                </c:pt>
                <c:pt idx="25">
                  <c:v>906.5</c:v>
                </c:pt>
                <c:pt idx="26">
                  <c:v>1090.8</c:v>
                </c:pt>
                <c:pt idx="27">
                  <c:v>905.0</c:v>
                </c:pt>
                <c:pt idx="28">
                  <c:v>945.0</c:v>
                </c:pt>
                <c:pt idx="29">
                  <c:v>588.5</c:v>
                </c:pt>
                <c:pt idx="30">
                  <c:v>984.0</c:v>
                </c:pt>
                <c:pt idx="31">
                  <c:v>1027.3333</c:v>
                </c:pt>
                <c:pt idx="32">
                  <c:v>1037.0</c:v>
                </c:pt>
                <c:pt idx="33">
                  <c:v>924.3333</c:v>
                </c:pt>
                <c:pt idx="34">
                  <c:v>1049.5</c:v>
                </c:pt>
                <c:pt idx="35">
                  <c:v>796.6667</c:v>
                </c:pt>
                <c:pt idx="36">
                  <c:v>1470.0</c:v>
                </c:pt>
                <c:pt idx="37">
                  <c:v>955.0</c:v>
                </c:pt>
                <c:pt idx="38">
                  <c:v>1117.5</c:v>
                </c:pt>
                <c:pt idx="39">
                  <c:v>835.5</c:v>
                </c:pt>
                <c:pt idx="40">
                  <c:v>984.3333</c:v>
                </c:pt>
                <c:pt idx="41">
                  <c:v>1069.5</c:v>
                </c:pt>
                <c:pt idx="42">
                  <c:v>723.6</c:v>
                </c:pt>
                <c:pt idx="43">
                  <c:v>832.5</c:v>
                </c:pt>
                <c:pt idx="44">
                  <c:v>648.5</c:v>
                </c:pt>
                <c:pt idx="45">
                  <c:v>921.3636</c:v>
                </c:pt>
                <c:pt idx="46">
                  <c:v>954.7143</c:v>
                </c:pt>
                <c:pt idx="47">
                  <c:v>976.25</c:v>
                </c:pt>
                <c:pt idx="48">
                  <c:v>1058.7273</c:v>
                </c:pt>
                <c:pt idx="49">
                  <c:v>907.0</c:v>
                </c:pt>
                <c:pt idx="50">
                  <c:v>781.7273</c:v>
                </c:pt>
                <c:pt idx="51">
                  <c:v>962.6364</c:v>
                </c:pt>
              </c:numCache>
            </c:numRef>
          </c:xVal>
          <c:yVal>
            <c:numRef>
              <c:f>Sheet1!$B$109:$B$160</c:f>
              <c:numCache>
                <c:formatCode>General</c:formatCode>
                <c:ptCount val="52"/>
                <c:pt idx="0">
                  <c:v>0.16470588235294117</c:v>
                </c:pt>
                <c:pt idx="1">
                  <c:v>0.16</c:v>
                </c:pt>
                <c:pt idx="2">
                  <c:v>0.13402061855670103</c:v>
                </c:pt>
                <c:pt idx="3">
                  <c:v>0.19791666666666666</c:v>
                </c:pt>
                <c:pt idx="4">
                  <c:v>0.16494845360824742</c:v>
                </c:pt>
                <c:pt idx="5">
                  <c:v>0.17045454545454544</c:v>
                </c:pt>
                <c:pt idx="6">
                  <c:v>0.1568627450980392</c:v>
                </c:pt>
                <c:pt idx="7">
                  <c:v>0.13580246913580246</c:v>
                </c:pt>
                <c:pt idx="8">
                  <c:v>0.1794871794871795</c:v>
                </c:pt>
                <c:pt idx="9">
                  <c:v>0.14102564102564102</c:v>
                </c:pt>
                <c:pt idx="10">
                  <c:v>0.1827956989247312</c:v>
                </c:pt>
                <c:pt idx="11">
                  <c:v>0.20535714285714285</c:v>
                </c:pt>
                <c:pt idx="12">
                  <c:v>0.14285714285714285</c:v>
                </c:pt>
                <c:pt idx="13">
                  <c:v>0.20535714285714285</c:v>
                </c:pt>
                <c:pt idx="14">
                  <c:v>0.19148936170212766</c:v>
                </c:pt>
                <c:pt idx="15">
                  <c:v>0.18604651162790697</c:v>
                </c:pt>
                <c:pt idx="16">
                  <c:v>0.18032786885245902</c:v>
                </c:pt>
                <c:pt idx="17">
                  <c:v>0.1836734693877551</c:v>
                </c:pt>
                <c:pt idx="18">
                  <c:v>0.14893617021276595</c:v>
                </c:pt>
                <c:pt idx="19">
                  <c:v>0.14545454545454545</c:v>
                </c:pt>
                <c:pt idx="20">
                  <c:v>0.1794871794871795</c:v>
                </c:pt>
                <c:pt idx="21">
                  <c:v>0.1282051282051282</c:v>
                </c:pt>
                <c:pt idx="22">
                  <c:v>0.08695652173913043</c:v>
                </c:pt>
                <c:pt idx="23">
                  <c:v>0.175</c:v>
                </c:pt>
                <c:pt idx="24">
                  <c:v>0.13793103448275862</c:v>
                </c:pt>
                <c:pt idx="25">
                  <c:v>0.15384615384615385</c:v>
                </c:pt>
                <c:pt idx="26">
                  <c:v>0.19230769230769232</c:v>
                </c:pt>
                <c:pt idx="27">
                  <c:v>0.15625</c:v>
                </c:pt>
                <c:pt idx="28">
                  <c:v>0.15384615384615385</c:v>
                </c:pt>
                <c:pt idx="29">
                  <c:v>0.19047619047619047</c:v>
                </c:pt>
                <c:pt idx="30">
                  <c:v>0.11764705882352941</c:v>
                </c:pt>
                <c:pt idx="31">
                  <c:v>0.15789473684210525</c:v>
                </c:pt>
                <c:pt idx="32">
                  <c:v>0.09523809523809523</c:v>
                </c:pt>
                <c:pt idx="33">
                  <c:v>0.12</c:v>
                </c:pt>
                <c:pt idx="34">
                  <c:v>0.17142857142857143</c:v>
                </c:pt>
                <c:pt idx="35">
                  <c:v>0.14285714285714285</c:v>
                </c:pt>
                <c:pt idx="36">
                  <c:v>0.1</c:v>
                </c:pt>
                <c:pt idx="37">
                  <c:v>0.08333333333333333</c:v>
                </c:pt>
                <c:pt idx="38">
                  <c:v>0.08333333333333333</c:v>
                </c:pt>
                <c:pt idx="39">
                  <c:v>0.08333333333333333</c:v>
                </c:pt>
                <c:pt idx="40">
                  <c:v>0.09090909090909091</c:v>
                </c:pt>
                <c:pt idx="41">
                  <c:v>0.14285714285714285</c:v>
                </c:pt>
                <c:pt idx="42">
                  <c:v>0.18518518518518517</c:v>
                </c:pt>
                <c:pt idx="43">
                  <c:v>0.1276595744680851</c:v>
                </c:pt>
                <c:pt idx="44">
                  <c:v>0.17391304347826086</c:v>
                </c:pt>
                <c:pt idx="45">
                  <c:v>0.1527777777777778</c:v>
                </c:pt>
                <c:pt idx="46">
                  <c:v>0.1206896551724138</c:v>
                </c:pt>
                <c:pt idx="47">
                  <c:v>0.16</c:v>
                </c:pt>
                <c:pt idx="48">
                  <c:v>0.1506849315068493</c:v>
                </c:pt>
                <c:pt idx="49">
                  <c:v>0.12380952380952381</c:v>
                </c:pt>
                <c:pt idx="50">
                  <c:v>0.13253012048192772</c:v>
                </c:pt>
                <c:pt idx="51">
                  <c:v>0.13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0.99774992603275</c:v>
                </c:pt>
              </c:numCache>
            </c:numRef>
          </c:xVal>
          <c:yVal>
            <c:numRef>
              <c:f>Sheet1!$B$163:$B$164</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0.99774992603275</c:v>
                </c:pt>
                <c:pt idx="1">
                  <c:v>210.99774992603275</c:v>
                </c:pt>
              </c:numCache>
            </c:numRef>
          </c:xVal>
          <c:yVal>
            <c:numRef>
              <c:f>Sheet1!$B$167:$B$168</c:f>
              <c:numCache>
                <c:formatCode>General</c:formatCode>
                <c:ptCount val="2"/>
                <c:pt idx="0">
                  <c:v>0.217756655388960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96.1950842836097</c:v>
                </c:pt>
              </c:numCache>
            </c:numRef>
          </c:xVal>
          <c:yVal>
            <c:numRef>
              <c:f>Sheet1!$B$171:$B$172</c:f>
              <c:numCache>
                <c:formatCode>General</c:formatCode>
                <c:ptCount val="2"/>
                <c:pt idx="0">
                  <c:v>0.1708471541116668</c:v>
                </c:pt>
                <c:pt idx="1">
                  <c:v>0.17084715411166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96.1950842836097</c:v>
                </c:pt>
                <c:pt idx="1">
                  <c:v>696.1950842836097</c:v>
                </c:pt>
              </c:numCache>
            </c:numRef>
          </c:xVal>
          <c:yVal>
            <c:numRef>
              <c:f>Sheet1!$B$175:$B$176</c:f>
              <c:numCache>
                <c:formatCode>General</c:formatCode>
                <c:ptCount val="2"/>
                <c:pt idx="0">
                  <c:v>0.17084715411166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45.6093232211144</c:v>
                </c:pt>
              </c:numCache>
            </c:numRef>
          </c:xVal>
          <c:yVal>
            <c:numRef>
              <c:f>Sheet1!$B$179:$B$180</c:f>
              <c:numCache>
                <c:formatCode>General</c:formatCode>
                <c:ptCount val="2"/>
                <c:pt idx="0">
                  <c:v>0.13706533684458388</c:v>
                </c:pt>
                <c:pt idx="1">
                  <c:v>0.137065336844583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45.6093232211144</c:v>
                </c:pt>
                <c:pt idx="1">
                  <c:v>1045.6093232211144</c:v>
                </c:pt>
              </c:numCache>
            </c:numRef>
          </c:xVal>
          <c:yVal>
            <c:numRef>
              <c:f>Sheet1!$B$183:$B$184</c:f>
              <c:numCache>
                <c:formatCode>General</c:formatCode>
                <c:ptCount val="2"/>
                <c:pt idx="0">
                  <c:v>0.137065336844583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91.9286</c:v>
                </c:pt>
                <c:pt idx="1">
                  <c:v>958.0</c:v>
                </c:pt>
                <c:pt idx="2">
                  <c:v>941.4615</c:v>
                </c:pt>
                <c:pt idx="3">
                  <c:v>817.2105</c:v>
                </c:pt>
                <c:pt idx="4">
                  <c:v>801.125</c:v>
                </c:pt>
                <c:pt idx="5">
                  <c:v>924.2</c:v>
                </c:pt>
                <c:pt idx="6">
                  <c:v>728.5625</c:v>
                </c:pt>
                <c:pt idx="7">
                  <c:v>741.3636</c:v>
                </c:pt>
                <c:pt idx="8">
                  <c:v>851.5714</c:v>
                </c:pt>
                <c:pt idx="9">
                  <c:v>886.0</c:v>
                </c:pt>
                <c:pt idx="10">
                  <c:v>956.4118</c:v>
                </c:pt>
                <c:pt idx="11">
                  <c:v>834.1304</c:v>
                </c:pt>
                <c:pt idx="12">
                  <c:v>793.5</c:v>
                </c:pt>
                <c:pt idx="13">
                  <c:v>853.3043</c:v>
                </c:pt>
                <c:pt idx="14">
                  <c:v>892.0</c:v>
                </c:pt>
                <c:pt idx="15">
                  <c:v>746.6875</c:v>
                </c:pt>
                <c:pt idx="16">
                  <c:v>976.3636</c:v>
                </c:pt>
                <c:pt idx="17">
                  <c:v>931.7778</c:v>
                </c:pt>
                <c:pt idx="18">
                  <c:v>899.1429</c:v>
                </c:pt>
                <c:pt idx="19">
                  <c:v>976.25</c:v>
                </c:pt>
                <c:pt idx="20">
                  <c:v>871.5714</c:v>
                </c:pt>
                <c:pt idx="21">
                  <c:v>1036.6</c:v>
                </c:pt>
                <c:pt idx="22">
                  <c:v>964.5</c:v>
                </c:pt>
                <c:pt idx="23">
                  <c:v>873.5714</c:v>
                </c:pt>
                <c:pt idx="24">
                  <c:v>965.0</c:v>
                </c:pt>
                <c:pt idx="25">
                  <c:v>906.5</c:v>
                </c:pt>
                <c:pt idx="26">
                  <c:v>1090.8</c:v>
                </c:pt>
                <c:pt idx="27">
                  <c:v>905.0</c:v>
                </c:pt>
                <c:pt idx="28">
                  <c:v>945.0</c:v>
                </c:pt>
                <c:pt idx="29">
                  <c:v>588.5</c:v>
                </c:pt>
                <c:pt idx="30">
                  <c:v>984.0</c:v>
                </c:pt>
                <c:pt idx="31">
                  <c:v>1027.3333</c:v>
                </c:pt>
                <c:pt idx="32">
                  <c:v>1037.0</c:v>
                </c:pt>
                <c:pt idx="33">
                  <c:v>924.3333</c:v>
                </c:pt>
                <c:pt idx="34">
                  <c:v>1049.5</c:v>
                </c:pt>
                <c:pt idx="35">
                  <c:v>796.6667</c:v>
                </c:pt>
                <c:pt idx="36">
                  <c:v>1470.0</c:v>
                </c:pt>
                <c:pt idx="37">
                  <c:v>955.0</c:v>
                </c:pt>
                <c:pt idx="38">
                  <c:v>1117.5</c:v>
                </c:pt>
                <c:pt idx="39">
                  <c:v>835.5</c:v>
                </c:pt>
                <c:pt idx="40">
                  <c:v>984.3333</c:v>
                </c:pt>
                <c:pt idx="41">
                  <c:v>1069.5</c:v>
                </c:pt>
                <c:pt idx="42">
                  <c:v>723.6</c:v>
                </c:pt>
                <c:pt idx="43">
                  <c:v>832.5</c:v>
                </c:pt>
                <c:pt idx="44">
                  <c:v>648.5</c:v>
                </c:pt>
                <c:pt idx="45">
                  <c:v>921.3636</c:v>
                </c:pt>
                <c:pt idx="46">
                  <c:v>954.7143</c:v>
                </c:pt>
                <c:pt idx="47">
                  <c:v>976.25</c:v>
                </c:pt>
                <c:pt idx="48">
                  <c:v>1058.7273</c:v>
                </c:pt>
                <c:pt idx="49">
                  <c:v>907.0</c:v>
                </c:pt>
                <c:pt idx="50">
                  <c:v>781.7273</c:v>
                </c:pt>
                <c:pt idx="51">
                  <c:v>962.6364</c:v>
                </c:pt>
                <c:pt idx="52">
                  <c:v>696.1950842836097</c:v>
                </c:pt>
                <c:pt idx="53">
                  <c:v>210.99774992603275</c:v>
                </c:pt>
                <c:pt idx="54">
                  <c:v>1045.6093232211144</c:v>
                </c:pt>
              </c:numCache>
            </c:numRef>
          </c:xVal>
          <c:yVal>
            <c:numRef>
              <c:f>Sheet1!$B$187:$B$241</c:f>
              <c:numCache>
                <c:formatCode>General</c:formatCode>
                <c:ptCount val="55"/>
                <c:pt idx="0">
                  <c:v>0.15192338649108783</c:v>
                </c:pt>
                <c:pt idx="1">
                  <c:v>0.14553551870365183</c:v>
                </c:pt>
                <c:pt idx="2">
                  <c:v>0.14713448211902536</c:v>
                </c:pt>
                <c:pt idx="3">
                  <c:v>0.15914722833685496</c:v>
                </c:pt>
                <c:pt idx="4">
                  <c:v>0.16070239513057816</c:v>
                </c:pt>
                <c:pt idx="5">
                  <c:v>0.14880334610272822</c:v>
                </c:pt>
                <c:pt idx="6">
                  <c:v>0.16771783080056277</c:v>
                </c:pt>
                <c:pt idx="7">
                  <c:v>0.16648020401599717</c:v>
                </c:pt>
                <c:pt idx="8">
                  <c:v>0.15582517240558502</c:v>
                </c:pt>
                <c:pt idx="9">
                  <c:v>0.15249657115138854</c:v>
                </c:pt>
                <c:pt idx="10">
                  <c:v>0.14568906791889485</c:v>
                </c:pt>
                <c:pt idx="11">
                  <c:v>0.15751139067976525</c:v>
                </c:pt>
                <c:pt idx="12">
                  <c:v>0.16143958992105026</c:v>
                </c:pt>
                <c:pt idx="13">
                  <c:v>0.15565763340854777</c:v>
                </c:pt>
                <c:pt idx="14">
                  <c:v>0.1519164834474105</c:v>
                </c:pt>
                <c:pt idx="15">
                  <c:v>0.16596548252812904</c:v>
                </c:pt>
                <c:pt idx="16">
                  <c:v>0.1437601022768566</c:v>
                </c:pt>
                <c:pt idx="17">
                  <c:v>0.14807071466886074</c:v>
                </c:pt>
                <c:pt idx="18">
                  <c:v>0.15122589870395298</c:v>
                </c:pt>
                <c:pt idx="19">
                  <c:v>0.14377108527071858</c:v>
                </c:pt>
                <c:pt idx="20">
                  <c:v>0.15389154672565816</c:v>
                </c:pt>
                <c:pt idx="21">
                  <c:v>0.13793636978153928</c:v>
                </c:pt>
                <c:pt idx="22">
                  <c:v>0.14490709035767563</c:v>
                </c:pt>
                <c:pt idx="23">
                  <c:v>0.15369818415766548</c:v>
                </c:pt>
                <c:pt idx="24">
                  <c:v>0.14485874971567744</c:v>
                </c:pt>
                <c:pt idx="25">
                  <c:v>0.1505146048294635</c:v>
                </c:pt>
                <c:pt idx="26">
                  <c:v>0.1326962441889375</c:v>
                </c:pt>
                <c:pt idx="27">
                  <c:v>0.15065962675545802</c:v>
                </c:pt>
                <c:pt idx="28">
                  <c:v>0.1467923753956043</c:v>
                </c:pt>
                <c:pt idx="29">
                  <c:v>0.18125925314030056</c:v>
                </c:pt>
                <c:pt idx="30">
                  <c:v>0.14302180531974693</c:v>
                </c:pt>
                <c:pt idx="31">
                  <c:v>0.13883228623594818</c:v>
                </c:pt>
                <c:pt idx="32">
                  <c:v>0.13789769726794077</c:v>
                </c:pt>
                <c:pt idx="33">
                  <c:v>0.1487904584875715</c:v>
                </c:pt>
                <c:pt idx="34">
                  <c:v>0.13668918121798646</c:v>
                </c:pt>
                <c:pt idx="35">
                  <c:v>0.16113342929901903</c:v>
                </c:pt>
                <c:pt idx="36">
                  <c:v>0.09603470129752426</c:v>
                </c:pt>
                <c:pt idx="37">
                  <c:v>0.1458255625556409</c:v>
                </c:pt>
                <c:pt idx="38">
                  <c:v>0.13011485390623515</c:v>
                </c:pt>
                <c:pt idx="39">
                  <c:v>0.15737897599320383</c:v>
                </c:pt>
                <c:pt idx="40">
                  <c:v>0.14298958144779095</c:v>
                </c:pt>
                <c:pt idx="41">
                  <c:v>0.13475555553805962</c:v>
                </c:pt>
                <c:pt idx="42">
                  <c:v>0.1681976116723946</c:v>
                </c:pt>
                <c:pt idx="43">
                  <c:v>0.15766901984519288</c:v>
                </c:pt>
                <c:pt idx="44">
                  <c:v>0.17545837610051998</c:v>
                </c:pt>
                <c:pt idx="45">
                  <c:v>0.14907757289665546</c:v>
                </c:pt>
                <c:pt idx="46">
                  <c:v>0.1458531843984786</c:v>
                </c:pt>
                <c:pt idx="47">
                  <c:v>0.14377108527071858</c:v>
                </c:pt>
                <c:pt idx="48">
                  <c:v>0.135797074006167</c:v>
                </c:pt>
                <c:pt idx="49">
                  <c:v>0.15046626418746534</c:v>
                </c:pt>
                <c:pt idx="50">
                  <c:v>0.162577789673154</c:v>
                </c:pt>
                <c:pt idx="51">
                  <c:v>0.1450872655985312</c:v>
                </c:pt>
                <c:pt idx="52">
                  <c:v>0.1708471541116668</c:v>
                </c:pt>
                <c:pt idx="53">
                  <c:v>0.21775665538896025</c:v>
                </c:pt>
                <c:pt idx="54">
                  <c:v>0.137065336844583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4.0"/>
          <c:min val="1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00244639997697</c:v>
                </c:pt>
                <c:pt idx="1">
                  <c:v>0.673807493175186</c:v>
                </c:pt>
                <c:pt idx="2">
                  <c:v>0.5910477547495683</c:v>
                </c:pt>
                <c:pt idx="3">
                  <c:v>0.6238420156091238</c:v>
                </c:pt>
                <c:pt idx="4">
                  <c:v>0.6390258867747239</c:v>
                </c:pt>
                <c:pt idx="5">
                  <c:v>0.6763632426504981</c:v>
                </c:pt>
                <c:pt idx="6">
                  <c:v>0.6304350888767642</c:v>
                </c:pt>
                <c:pt idx="7">
                  <c:v>0.6750694598687531</c:v>
                </c:pt>
                <c:pt idx="8">
                  <c:v>0.6621075584659077</c:v>
                </c:pt>
                <c:pt idx="9">
                  <c:v>0.6707550216620717</c:v>
                </c:pt>
                <c:pt idx="10">
                  <c:v>0.622983195188916</c:v>
                </c:pt>
                <c:pt idx="11">
                  <c:v>0.6288799681889298</c:v>
                </c:pt>
                <c:pt idx="12">
                  <c:v>0.693330363196126</c:v>
                </c:pt>
                <c:pt idx="13">
                  <c:v>0.6583193986482219</c:v>
                </c:pt>
                <c:pt idx="14">
                  <c:v>0.6365043678249722</c:v>
                </c:pt>
                <c:pt idx="15">
                  <c:v>0.6487224669603524</c:v>
                </c:pt>
                <c:pt idx="16">
                  <c:v>0.6148492234718825</c:v>
                </c:pt>
                <c:pt idx="17">
                  <c:v>0.5832442905145356</c:v>
                </c:pt>
                <c:pt idx="18">
                  <c:v>0.7337671770844176</c:v>
                </c:pt>
                <c:pt idx="19">
                  <c:v>0.6886550777676121</c:v>
                </c:pt>
                <c:pt idx="20">
                  <c:v>0.6812057273963291</c:v>
                </c:pt>
                <c:pt idx="21">
                  <c:v>0.5379792992037449</c:v>
                </c:pt>
                <c:pt idx="22">
                  <c:v>0.6604786680541103</c:v>
                </c:pt>
                <c:pt idx="23">
                  <c:v>0.8256659022931206</c:v>
                </c:pt>
                <c:pt idx="24">
                  <c:v>0.5880895487182752</c:v>
                </c:pt>
                <c:pt idx="25">
                  <c:v>0.4898802230483272</c:v>
                </c:pt>
                <c:pt idx="26">
                  <c:v>0.47899556575975843</c:v>
                </c:pt>
                <c:pt idx="27">
                  <c:v>0.5588146794727723</c:v>
                </c:pt>
                <c:pt idx="28">
                  <c:v>0.434990541632983</c:v>
                </c:pt>
                <c:pt idx="29">
                  <c:v>0.5713141713370697</c:v>
                </c:pt>
                <c:pt idx="30">
                  <c:v>0.41934758155230595</c:v>
                </c:pt>
                <c:pt idx="31">
                  <c:v>0.47182823682498376</c:v>
                </c:pt>
                <c:pt idx="32">
                  <c:v>0.900228832951945</c:v>
                </c:pt>
                <c:pt idx="33">
                  <c:v>0.5137614678899083</c:v>
                </c:pt>
                <c:pt idx="34">
                  <c:v>0.4912974683544304</c:v>
                </c:pt>
                <c:pt idx="35">
                  <c:v>0.5542295131653722</c:v>
                </c:pt>
                <c:pt idx="36">
                  <c:v>0.6283555645487657</c:v>
                </c:pt>
                <c:pt idx="37">
                  <c:v>0.5917918651520704</c:v>
                </c:pt>
                <c:pt idx="38">
                  <c:v>0.6799548317501228</c:v>
                </c:pt>
                <c:pt idx="39">
                  <c:v>0.6088575832646472</c:v>
                </c:pt>
                <c:pt idx="40">
                  <c:v>0.7186297151655119</c:v>
                </c:pt>
                <c:pt idx="41">
                  <c:v>0.7734687341367754</c:v>
                </c:pt>
                <c:pt idx="42">
                  <c:v>0.6534920634920635</c:v>
                </c:pt>
                <c:pt idx="43">
                  <c:v>0.6923286650286651</c:v>
                </c:pt>
                <c:pt idx="44">
                  <c:v>0.7006512676535647</c:v>
                </c:pt>
                <c:pt idx="45">
                  <c:v>0.7294957470852108</c:v>
                </c:pt>
                <c:pt idx="46">
                  <c:v>0.7937848932621687</c:v>
                </c:pt>
                <c:pt idx="47">
                  <c:v>0.735194493006993</c:v>
                </c:pt>
                <c:pt idx="48">
                  <c:v>0.7475748855699093</c:v>
                </c:pt>
                <c:pt idx="49">
                  <c:v>0.7258668421530362</c:v>
                </c:pt>
                <c:pt idx="50">
                  <c:v>0.7100596388294983</c:v>
                </c:pt>
                <c:pt idx="51">
                  <c:v>0.7545394151323443</c:v>
                </c:pt>
                <c:pt idx="52">
                  <c:v>0.6835610852333088</c:v>
                </c:pt>
                <c:pt idx="53">
                  <c:v>0.7785139035467058</c:v>
                </c:pt>
                <c:pt idx="54">
                  <c:v>0.758419689119171</c:v>
                </c:pt>
                <c:pt idx="55">
                  <c:v>0.665108528581377</c:v>
                </c:pt>
                <c:pt idx="56">
                  <c:v>0.7190157399486741</c:v>
                </c:pt>
                <c:pt idx="57">
                  <c:v>0.707074621419449</c:v>
                </c:pt>
                <c:pt idx="58">
                  <c:v>0.6827031695721077</c:v>
                </c:pt>
                <c:pt idx="59">
                  <c:v>0.7490170331376275</c:v>
                </c:pt>
                <c:pt idx="60">
                  <c:v>0.7249324875396466</c:v>
                </c:pt>
                <c:pt idx="61">
                  <c:v>0.7317166447897702</c:v>
                </c:pt>
                <c:pt idx="62">
                  <c:v>0.7078488157261231</c:v>
                </c:pt>
                <c:pt idx="63">
                  <c:v>0.6567246616956642</c:v>
                </c:pt>
                <c:pt idx="64">
                  <c:v>0.6414654724189623</c:v>
                </c:pt>
                <c:pt idx="65">
                  <c:v>0.656750365635128</c:v>
                </c:pt>
                <c:pt idx="66">
                  <c:v>0.7971347522898857</c:v>
                </c:pt>
                <c:pt idx="67">
                  <c:v>0.6496910740801848</c:v>
                </c:pt>
                <c:pt idx="68">
                  <c:v>0.6345242746898505</c:v>
                </c:pt>
                <c:pt idx="69">
                  <c:v>0.57145156099131</c:v>
                </c:pt>
                <c:pt idx="70">
                  <c:v>0.7132135532403854</c:v>
                </c:pt>
                <c:pt idx="71">
                  <c:v>0.8135145703948525</c:v>
                </c:pt>
                <c:pt idx="72">
                  <c:v>0.2560261899009422</c:v>
                </c:pt>
                <c:pt idx="73">
                  <c:v>0.3406443133402388</c:v>
                </c:pt>
                <c:pt idx="74">
                  <c:v>0.9774470416738619</c:v>
                </c:pt>
                <c:pt idx="75">
                  <c:v>2.2544620748589983</c:v>
                </c:pt>
                <c:pt idx="76">
                  <c:v>1.378183361629881</c:v>
                </c:pt>
                <c:pt idx="77">
                  <c:v>0.6670600314712825</c:v>
                </c:pt>
                <c:pt idx="78">
                  <c:v>1.008174386920981</c:v>
                </c:pt>
                <c:pt idx="79">
                  <c:v>0.7961556064073226</c:v>
                </c:pt>
                <c:pt idx="80">
                  <c:v>1.1723206510867032</c:v>
                </c:pt>
                <c:pt idx="81">
                  <c:v>1.5271393643031785</c:v>
                </c:pt>
                <c:pt idx="82">
                  <c:v>0.7015562248995985</c:v>
                </c:pt>
                <c:pt idx="83">
                  <c:v>2.27001404494382</c:v>
                </c:pt>
                <c:pt idx="84">
                  <c:v>0.40143027413587606</c:v>
                </c:pt>
                <c:pt idx="85">
                  <c:v>0.5151228326464289</c:v>
                </c:pt>
                <c:pt idx="86">
                  <c:v>0.49932462854570014</c:v>
                </c:pt>
                <c:pt idx="87">
                  <c:v>1.0371534531587319</c:v>
                </c:pt>
                <c:pt idx="88">
                  <c:v>0.36952789699570815</c:v>
                </c:pt>
                <c:pt idx="89">
                  <c:v>0.6817717206132878</c:v>
                </c:pt>
                <c:pt idx="90">
                  <c:v>0.45584045584045585</c:v>
                </c:pt>
                <c:pt idx="91">
                  <c:v>0.5215642166723902</c:v>
                </c:pt>
                <c:pt idx="92">
                  <c:v>0.7415616405677772</c:v>
                </c:pt>
                <c:pt idx="93">
                  <c:v>0.43459067276923463</c:v>
                </c:pt>
                <c:pt idx="94">
                  <c:v>0.6849266380236305</c:v>
                </c:pt>
                <c:pt idx="95">
                  <c:v>1.0747839158211199</c:v>
                </c:pt>
                <c:pt idx="96">
                  <c:v>0.757634009942005</c:v>
                </c:pt>
                <c:pt idx="97">
                  <c:v>0.7780040982022037</c:v>
                </c:pt>
                <c:pt idx="98">
                  <c:v>1.2732140384349084</c:v>
                </c:pt>
                <c:pt idx="99">
                  <c:v>1.1677942054433714</c:v>
                </c:pt>
                <c:pt idx="100">
                  <c:v>0.7369478973816451</c:v>
                </c:pt>
                <c:pt idx="101">
                  <c:v>0.7735165646380987</c:v>
                </c:pt>
                <c:pt idx="102">
                  <c:v>0.8449278910848815</c:v>
                </c:pt>
                <c:pt idx="103">
                  <c:v>0.8677796335604833</c:v>
                </c:pt>
                <c:pt idx="104">
                  <c:v>0.7788362595061498</c:v>
                </c:pt>
              </c:numCache>
            </c:numRef>
          </c:xVal>
          <c:yVal>
            <c:numRef>
              <c:f>Sheet1!$B$2:$B$106</c:f>
              <c:numCache>
                <c:formatCode>General</c:formatCode>
                <c:ptCount val="105"/>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8333333333333333</c:v>
                </c:pt>
                <c:pt idx="37">
                  <c:v>0.07407407407407407</c:v>
                </c:pt>
                <c:pt idx="38">
                  <c:v>0.09302325581395349</c:v>
                </c:pt>
                <c:pt idx="39">
                  <c:v>0.1282051282051282</c:v>
                </c:pt>
                <c:pt idx="40">
                  <c:v>0.10204081632653061</c:v>
                </c:pt>
                <c:pt idx="41">
                  <c:v>0.1</c:v>
                </c:pt>
                <c:pt idx="42">
                  <c:v>0.11904761904761904</c:v>
                </c:pt>
                <c:pt idx="43">
                  <c:v>0.14754098360655737</c:v>
                </c:pt>
                <c:pt idx="44">
                  <c:v>0.13924050632911392</c:v>
                </c:pt>
                <c:pt idx="45">
                  <c:v>0.16981132075471697</c:v>
                </c:pt>
                <c:pt idx="46">
                  <c:v>0.19148936170212766</c:v>
                </c:pt>
                <c:pt idx="47">
                  <c:v>0.1553398058252427</c:v>
                </c:pt>
                <c:pt idx="48">
                  <c:v>0.174496644295302</c:v>
                </c:pt>
                <c:pt idx="49">
                  <c:v>0.17204301075268819</c:v>
                </c:pt>
                <c:pt idx="50">
                  <c:v>0.19</c:v>
                </c:pt>
                <c:pt idx="51">
                  <c:v>0.14285714285714285</c:v>
                </c:pt>
                <c:pt idx="52">
                  <c:v>0.18446601941747573</c:v>
                </c:pt>
                <c:pt idx="53">
                  <c:v>0.1827956989247312</c:v>
                </c:pt>
                <c:pt idx="54">
                  <c:v>0.19047619047619047</c:v>
                </c:pt>
                <c:pt idx="55">
                  <c:v>0.16279069767441862</c:v>
                </c:pt>
                <c:pt idx="56">
                  <c:v>0.18478260869565216</c:v>
                </c:pt>
                <c:pt idx="57">
                  <c:v>0.16666666666666666</c:v>
                </c:pt>
                <c:pt idx="58">
                  <c:v>0.168</c:v>
                </c:pt>
                <c:pt idx="59">
                  <c:v>0.17682926829268292</c:v>
                </c:pt>
                <c:pt idx="60">
                  <c:v>0.16071428571428573</c:v>
                </c:pt>
                <c:pt idx="61">
                  <c:v>0.14189189189189189</c:v>
                </c:pt>
                <c:pt idx="62">
                  <c:v>0.1388888888888889</c:v>
                </c:pt>
                <c:pt idx="63">
                  <c:v>0.17964071856287425</c:v>
                </c:pt>
                <c:pt idx="64">
                  <c:v>0.21301775147928995</c:v>
                </c:pt>
                <c:pt idx="65">
                  <c:v>0.20118343195266272</c:v>
                </c:pt>
                <c:pt idx="66">
                  <c:v>0.17647058823529413</c:v>
                </c:pt>
                <c:pt idx="67">
                  <c:v>0.1935483870967742</c:v>
                </c:pt>
                <c:pt idx="68">
                  <c:v>0.16666666666666666</c:v>
                </c:pt>
                <c:pt idx="69">
                  <c:v>0.23076923076923078</c:v>
                </c:pt>
                <c:pt idx="70">
                  <c:v>0.1794871794871795</c:v>
                </c:pt>
                <c:pt idx="71">
                  <c:v>0.13513513513513514</c:v>
                </c:pt>
                <c:pt idx="72">
                  <c:v>0.41935483870967744</c:v>
                </c:pt>
                <c:pt idx="73">
                  <c:v>0.3048780487804878</c:v>
                </c:pt>
                <c:pt idx="74">
                  <c:v>0.16363636363636364</c:v>
                </c:pt>
                <c:pt idx="75">
                  <c:v>0.11864406779661017</c:v>
                </c:pt>
                <c:pt idx="76">
                  <c:v>0.10810810810810811</c:v>
                </c:pt>
                <c:pt idx="77">
                  <c:v>0.16216216216216217</c:v>
                </c:pt>
                <c:pt idx="78">
                  <c:v>0.10344827586206896</c:v>
                </c:pt>
                <c:pt idx="79">
                  <c:v>0.2</c:v>
                </c:pt>
                <c:pt idx="80">
                  <c:v>0.16666666666666666</c:v>
                </c:pt>
                <c:pt idx="81">
                  <c:v>0.10526315789473684</c:v>
                </c:pt>
                <c:pt idx="82">
                  <c:v>0.0967741935483871</c:v>
                </c:pt>
                <c:pt idx="83">
                  <c:v>0.05263157894736842</c:v>
                </c:pt>
                <c:pt idx="84">
                  <c:v>0.13636363636363635</c:v>
                </c:pt>
                <c:pt idx="85">
                  <c:v>0.20833333333333334</c:v>
                </c:pt>
                <c:pt idx="86">
                  <c:v>0.12903225806451613</c:v>
                </c:pt>
                <c:pt idx="87">
                  <c:v>0.16129032258064516</c:v>
                </c:pt>
                <c:pt idx="88">
                  <c:v>0.23809523809523808</c:v>
                </c:pt>
                <c:pt idx="89">
                  <c:v>0.3225806451612903</c:v>
                </c:pt>
                <c:pt idx="90">
                  <c:v>0.19047619047619047</c:v>
                </c:pt>
                <c:pt idx="91">
                  <c:v>0.20833333333333334</c:v>
                </c:pt>
                <c:pt idx="92">
                  <c:v>0.18421052631578946</c:v>
                </c:pt>
                <c:pt idx="93">
                  <c:v>0.0967741935483871</c:v>
                </c:pt>
                <c:pt idx="94">
                  <c:v>0.1111111111111111</c:v>
                </c:pt>
                <c:pt idx="95">
                  <c:v>0.11864406779661017</c:v>
                </c:pt>
                <c:pt idx="96">
                  <c:v>0.0660377358490566</c:v>
                </c:pt>
                <c:pt idx="97">
                  <c:v>0.11711711711711711</c:v>
                </c:pt>
                <c:pt idx="98">
                  <c:v>0.08064516129032258</c:v>
                </c:pt>
                <c:pt idx="99">
                  <c:v>0.13076923076923078</c:v>
                </c:pt>
                <c:pt idx="100">
                  <c:v>0.2</c:v>
                </c:pt>
                <c:pt idx="101">
                  <c:v>0.10588235294117647</c:v>
                </c:pt>
                <c:pt idx="102">
                  <c:v>0.15789473684210525</c:v>
                </c:pt>
                <c:pt idx="103">
                  <c:v>0.16666666666666666</c:v>
                </c:pt>
                <c:pt idx="104">
                  <c:v>0.178082191780821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02530381535562</c:v>
                </c:pt>
                <c:pt idx="1">
                  <c:v>0.8613816615800491</c:v>
                </c:pt>
                <c:pt idx="2">
                  <c:v>0.891183848191722</c:v>
                </c:pt>
                <c:pt idx="3">
                  <c:v>0.6124294145199063</c:v>
                </c:pt>
                <c:pt idx="4">
                  <c:v>0.6514976781919849</c:v>
                </c:pt>
                <c:pt idx="5">
                  <c:v>0.755339602058133</c:v>
                </c:pt>
                <c:pt idx="6">
                  <c:v>0.6032683159443842</c:v>
                </c:pt>
                <c:pt idx="7">
                  <c:v>0.6585345704987254</c:v>
                </c:pt>
                <c:pt idx="8">
                  <c:v>0.749820727304746</c:v>
                </c:pt>
                <c:pt idx="9">
                  <c:v>0.6314221008282747</c:v>
                </c:pt>
                <c:pt idx="10">
                  <c:v>0.7743179928668737</c:v>
                </c:pt>
                <c:pt idx="11">
                  <c:v>0.7368643109540636</c:v>
                </c:pt>
                <c:pt idx="12">
                  <c:v>0.6818181818181819</c:v>
                </c:pt>
                <c:pt idx="13">
                  <c:v>0.6873171969391865</c:v>
                </c:pt>
                <c:pt idx="14">
                  <c:v>0.626932808546528</c:v>
                </c:pt>
                <c:pt idx="15">
                  <c:v>0.5610442013604592</c:v>
                </c:pt>
                <c:pt idx="16">
                  <c:v>0.7534500524787803</c:v>
                </c:pt>
                <c:pt idx="17">
                  <c:v>0.6223469142399145</c:v>
                </c:pt>
                <c:pt idx="18">
                  <c:v>0.7219132075471698</c:v>
                </c:pt>
                <c:pt idx="19">
                  <c:v>0.7352203021267805</c:v>
                </c:pt>
                <c:pt idx="20">
                  <c:v>0.7152822322527699</c:v>
                </c:pt>
                <c:pt idx="21">
                  <c:v>0.8332797427652733</c:v>
                </c:pt>
                <c:pt idx="22">
                  <c:v>0.6497574777687954</c:v>
                </c:pt>
                <c:pt idx="23">
                  <c:v>0.7358249663072777</c:v>
                </c:pt>
                <c:pt idx="24">
                  <c:v>0.7414521705724164</c:v>
                </c:pt>
                <c:pt idx="25">
                  <c:v>0.7359945673614461</c:v>
                </c:pt>
                <c:pt idx="26">
                  <c:v>0.710773225222128</c:v>
                </c:pt>
                <c:pt idx="27">
                  <c:v>0.7173999207292905</c:v>
                </c:pt>
                <c:pt idx="28">
                  <c:v>0.6589958158995816</c:v>
                </c:pt>
                <c:pt idx="29">
                  <c:v>0.4834337481772658</c:v>
                </c:pt>
                <c:pt idx="30">
                  <c:v>0.7812624057165541</c:v>
                </c:pt>
                <c:pt idx="31">
                  <c:v>0.9849791946308725</c:v>
                </c:pt>
                <c:pt idx="32">
                  <c:v>0.5070904645476773</c:v>
                </c:pt>
                <c:pt idx="33">
                  <c:v>0.7287779166564499</c:v>
                </c:pt>
                <c:pt idx="34">
                  <c:v>0.8076804679082653</c:v>
                </c:pt>
                <c:pt idx="35">
                  <c:v>0.6264744527791756</c:v>
                </c:pt>
                <c:pt idx="36">
                  <c:v>1.0629067245119306</c:v>
                </c:pt>
                <c:pt idx="37">
                  <c:v>1.0138004246284502</c:v>
                </c:pt>
                <c:pt idx="38">
                  <c:v>0.9335839598997494</c:v>
                </c:pt>
                <c:pt idx="39">
                  <c:v>1.0663688576898531</c:v>
                </c:pt>
                <c:pt idx="40">
                  <c:v>0.9055504139834407</c:v>
                </c:pt>
                <c:pt idx="41">
                  <c:v>0.9391877058177827</c:v>
                </c:pt>
                <c:pt idx="42">
                  <c:v>0.4958428619425049</c:v>
                </c:pt>
                <c:pt idx="43">
                  <c:v>0.7442338637582693</c:v>
                </c:pt>
                <c:pt idx="44">
                  <c:v>0.6605791522034465</c:v>
                </c:pt>
                <c:pt idx="45">
                  <c:v>0.8802556606477501</c:v>
                </c:pt>
                <c:pt idx="46">
                  <c:v>0.8655614687216682</c:v>
                </c:pt>
                <c:pt idx="47">
                  <c:v>0.7566153759589834</c:v>
                </c:pt>
                <c:pt idx="48">
                  <c:v>0.8543865002182516</c:v>
                </c:pt>
                <c:pt idx="49">
                  <c:v>0.7856555069513621</c:v>
                </c:pt>
                <c:pt idx="50">
                  <c:v>0.7142406964649747</c:v>
                </c:pt>
                <c:pt idx="51">
                  <c:v>0.8426707573665688</c:v>
                </c:pt>
              </c:numCache>
            </c:numRef>
          </c:xVal>
          <c:yVal>
            <c:numRef>
              <c:f>Sheet1!$B$109:$B$160</c:f>
              <c:numCache>
                <c:formatCode>General</c:formatCode>
                <c:ptCount val="52"/>
                <c:pt idx="0">
                  <c:v>0.16470588235294117</c:v>
                </c:pt>
                <c:pt idx="1">
                  <c:v>0.16</c:v>
                </c:pt>
                <c:pt idx="2">
                  <c:v>0.13402061855670103</c:v>
                </c:pt>
                <c:pt idx="3">
                  <c:v>0.19791666666666666</c:v>
                </c:pt>
                <c:pt idx="4">
                  <c:v>0.16494845360824742</c:v>
                </c:pt>
                <c:pt idx="5">
                  <c:v>0.17045454545454544</c:v>
                </c:pt>
                <c:pt idx="6">
                  <c:v>0.1568627450980392</c:v>
                </c:pt>
                <c:pt idx="7">
                  <c:v>0.13580246913580246</c:v>
                </c:pt>
                <c:pt idx="8">
                  <c:v>0.1794871794871795</c:v>
                </c:pt>
                <c:pt idx="9">
                  <c:v>0.14102564102564102</c:v>
                </c:pt>
                <c:pt idx="10">
                  <c:v>0.1827956989247312</c:v>
                </c:pt>
                <c:pt idx="11">
                  <c:v>0.20535714285714285</c:v>
                </c:pt>
                <c:pt idx="12">
                  <c:v>0.14285714285714285</c:v>
                </c:pt>
                <c:pt idx="13">
                  <c:v>0.20535714285714285</c:v>
                </c:pt>
                <c:pt idx="14">
                  <c:v>0.19148936170212766</c:v>
                </c:pt>
                <c:pt idx="15">
                  <c:v>0.18604651162790697</c:v>
                </c:pt>
                <c:pt idx="16">
                  <c:v>0.18032786885245902</c:v>
                </c:pt>
                <c:pt idx="17">
                  <c:v>0.1836734693877551</c:v>
                </c:pt>
                <c:pt idx="18">
                  <c:v>0.14893617021276595</c:v>
                </c:pt>
                <c:pt idx="19">
                  <c:v>0.14545454545454545</c:v>
                </c:pt>
                <c:pt idx="20">
                  <c:v>0.1794871794871795</c:v>
                </c:pt>
                <c:pt idx="21">
                  <c:v>0.1282051282051282</c:v>
                </c:pt>
                <c:pt idx="22">
                  <c:v>0.08695652173913043</c:v>
                </c:pt>
                <c:pt idx="23">
                  <c:v>0.175</c:v>
                </c:pt>
                <c:pt idx="24">
                  <c:v>0.13793103448275862</c:v>
                </c:pt>
                <c:pt idx="25">
                  <c:v>0.15384615384615385</c:v>
                </c:pt>
                <c:pt idx="26">
                  <c:v>0.19230769230769232</c:v>
                </c:pt>
                <c:pt idx="27">
                  <c:v>0.15625</c:v>
                </c:pt>
                <c:pt idx="28">
                  <c:v>0.15384615384615385</c:v>
                </c:pt>
                <c:pt idx="29">
                  <c:v>0.19047619047619047</c:v>
                </c:pt>
                <c:pt idx="30">
                  <c:v>0.11764705882352941</c:v>
                </c:pt>
                <c:pt idx="31">
                  <c:v>0.15789473684210525</c:v>
                </c:pt>
                <c:pt idx="32">
                  <c:v>0.09523809523809523</c:v>
                </c:pt>
                <c:pt idx="33">
                  <c:v>0.12</c:v>
                </c:pt>
                <c:pt idx="34">
                  <c:v>0.17142857142857143</c:v>
                </c:pt>
                <c:pt idx="35">
                  <c:v>0.14285714285714285</c:v>
                </c:pt>
                <c:pt idx="36">
                  <c:v>0.1</c:v>
                </c:pt>
                <c:pt idx="37">
                  <c:v>0.08333333333333333</c:v>
                </c:pt>
                <c:pt idx="38">
                  <c:v>0.08333333333333333</c:v>
                </c:pt>
                <c:pt idx="39">
                  <c:v>0.08333333333333333</c:v>
                </c:pt>
                <c:pt idx="40">
                  <c:v>0.09090909090909091</c:v>
                </c:pt>
                <c:pt idx="41">
                  <c:v>0.14285714285714285</c:v>
                </c:pt>
                <c:pt idx="42">
                  <c:v>0.18518518518518517</c:v>
                </c:pt>
                <c:pt idx="43">
                  <c:v>0.1276595744680851</c:v>
                </c:pt>
                <c:pt idx="44">
                  <c:v>0.17391304347826086</c:v>
                </c:pt>
                <c:pt idx="45">
                  <c:v>0.1527777777777778</c:v>
                </c:pt>
                <c:pt idx="46">
                  <c:v>0.1206896551724138</c:v>
                </c:pt>
                <c:pt idx="47">
                  <c:v>0.16</c:v>
                </c:pt>
                <c:pt idx="48">
                  <c:v>0.1506849315068493</c:v>
                </c:pt>
                <c:pt idx="49">
                  <c:v>0.12380952380952381</c:v>
                </c:pt>
                <c:pt idx="50">
                  <c:v>0.13253012048192772</c:v>
                </c:pt>
                <c:pt idx="51">
                  <c:v>0.13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9138097014722788</c:v>
                </c:pt>
              </c:numCache>
            </c:numRef>
          </c:xVal>
          <c:yVal>
            <c:numRef>
              <c:f>Sheet1!$B$163:$B$164</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9138097014722788</c:v>
                </c:pt>
                <c:pt idx="1">
                  <c:v>0.19138097014722788</c:v>
                </c:pt>
              </c:numCache>
            </c:numRef>
          </c:xVal>
          <c:yVal>
            <c:numRef>
              <c:f>Sheet1!$B$167:$B$168</c:f>
              <c:numCache>
                <c:formatCode>General</c:formatCode>
                <c:ptCount val="2"/>
                <c:pt idx="0">
                  <c:v>0.217756655388960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778068822003539</c:v>
                </c:pt>
              </c:numCache>
            </c:numRef>
          </c:xVal>
          <c:yVal>
            <c:numRef>
              <c:f>Sheet1!$B$171:$B$172</c:f>
              <c:numCache>
                <c:formatCode>General</c:formatCode>
                <c:ptCount val="2"/>
                <c:pt idx="0">
                  <c:v>0.1708471541116668</c:v>
                </c:pt>
                <c:pt idx="1">
                  <c:v>0.17084715411166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778068822003539</c:v>
                </c:pt>
                <c:pt idx="1">
                  <c:v>0.5778068822003539</c:v>
                </c:pt>
              </c:numCache>
            </c:numRef>
          </c:xVal>
          <c:yVal>
            <c:numRef>
              <c:f>Sheet1!$B$175:$B$176</c:f>
              <c:numCache>
                <c:formatCode>General</c:formatCode>
                <c:ptCount val="2"/>
                <c:pt idx="0">
                  <c:v>0.17084715411166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60910078634724</c:v>
                </c:pt>
              </c:numCache>
            </c:numRef>
          </c:xVal>
          <c:yVal>
            <c:numRef>
              <c:f>Sheet1!$B$179:$B$180</c:f>
              <c:numCache>
                <c:formatCode>General</c:formatCode>
                <c:ptCount val="2"/>
                <c:pt idx="0">
                  <c:v>0.13706533684458388</c:v>
                </c:pt>
                <c:pt idx="1">
                  <c:v>0.137065336844583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60910078634724</c:v>
                </c:pt>
                <c:pt idx="1">
                  <c:v>0.8560910078634724</c:v>
                </c:pt>
              </c:numCache>
            </c:numRef>
          </c:xVal>
          <c:yVal>
            <c:numRef>
              <c:f>Sheet1!$B$183:$B$184</c:f>
              <c:numCache>
                <c:formatCode>General</c:formatCode>
                <c:ptCount val="2"/>
                <c:pt idx="0">
                  <c:v>0.137065336844583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02530381535562</c:v>
                </c:pt>
                <c:pt idx="1">
                  <c:v>0.8613816615800491</c:v>
                </c:pt>
                <c:pt idx="2">
                  <c:v>0.891183848191722</c:v>
                </c:pt>
                <c:pt idx="3">
                  <c:v>0.6124294145199063</c:v>
                </c:pt>
                <c:pt idx="4">
                  <c:v>0.6514976781919849</c:v>
                </c:pt>
                <c:pt idx="5">
                  <c:v>0.755339602058133</c:v>
                </c:pt>
                <c:pt idx="6">
                  <c:v>0.6032683159443842</c:v>
                </c:pt>
                <c:pt idx="7">
                  <c:v>0.6585345704987254</c:v>
                </c:pt>
                <c:pt idx="8">
                  <c:v>0.749820727304746</c:v>
                </c:pt>
                <c:pt idx="9">
                  <c:v>0.6314221008282747</c:v>
                </c:pt>
                <c:pt idx="10">
                  <c:v>0.7743179928668737</c:v>
                </c:pt>
                <c:pt idx="11">
                  <c:v>0.7368643109540636</c:v>
                </c:pt>
                <c:pt idx="12">
                  <c:v>0.6818181818181819</c:v>
                </c:pt>
                <c:pt idx="13">
                  <c:v>0.6873171969391865</c:v>
                </c:pt>
                <c:pt idx="14">
                  <c:v>0.626932808546528</c:v>
                </c:pt>
                <c:pt idx="15">
                  <c:v>0.5610442013604592</c:v>
                </c:pt>
                <c:pt idx="16">
                  <c:v>0.7534500524787803</c:v>
                </c:pt>
                <c:pt idx="17">
                  <c:v>0.6223469142399145</c:v>
                </c:pt>
                <c:pt idx="18">
                  <c:v>0.7219132075471698</c:v>
                </c:pt>
                <c:pt idx="19">
                  <c:v>0.7352203021267805</c:v>
                </c:pt>
                <c:pt idx="20">
                  <c:v>0.7152822322527699</c:v>
                </c:pt>
                <c:pt idx="21">
                  <c:v>0.8332797427652733</c:v>
                </c:pt>
                <c:pt idx="22">
                  <c:v>0.6497574777687954</c:v>
                </c:pt>
                <c:pt idx="23">
                  <c:v>0.7358249663072777</c:v>
                </c:pt>
                <c:pt idx="24">
                  <c:v>0.7414521705724164</c:v>
                </c:pt>
                <c:pt idx="25">
                  <c:v>0.7359945673614461</c:v>
                </c:pt>
                <c:pt idx="26">
                  <c:v>0.710773225222128</c:v>
                </c:pt>
                <c:pt idx="27">
                  <c:v>0.7173999207292905</c:v>
                </c:pt>
                <c:pt idx="28">
                  <c:v>0.6589958158995816</c:v>
                </c:pt>
                <c:pt idx="29">
                  <c:v>0.4834337481772658</c:v>
                </c:pt>
                <c:pt idx="30">
                  <c:v>0.7812624057165541</c:v>
                </c:pt>
                <c:pt idx="31">
                  <c:v>0.9849791946308725</c:v>
                </c:pt>
                <c:pt idx="32">
                  <c:v>0.5070904645476773</c:v>
                </c:pt>
                <c:pt idx="33">
                  <c:v>0.7287779166564499</c:v>
                </c:pt>
                <c:pt idx="34">
                  <c:v>0.8076804679082653</c:v>
                </c:pt>
                <c:pt idx="35">
                  <c:v>0.6264744527791756</c:v>
                </c:pt>
                <c:pt idx="36">
                  <c:v>1.0629067245119306</c:v>
                </c:pt>
                <c:pt idx="37">
                  <c:v>1.0138004246284502</c:v>
                </c:pt>
                <c:pt idx="38">
                  <c:v>0.9335839598997494</c:v>
                </c:pt>
                <c:pt idx="39">
                  <c:v>1.0663688576898531</c:v>
                </c:pt>
                <c:pt idx="40">
                  <c:v>0.9055504139834407</c:v>
                </c:pt>
                <c:pt idx="41">
                  <c:v>0.9391877058177827</c:v>
                </c:pt>
                <c:pt idx="42">
                  <c:v>0.4958428619425049</c:v>
                </c:pt>
                <c:pt idx="43">
                  <c:v>0.7442338637582693</c:v>
                </c:pt>
                <c:pt idx="44">
                  <c:v>0.6605791522034465</c:v>
                </c:pt>
                <c:pt idx="45">
                  <c:v>0.8802556606477501</c:v>
                </c:pt>
                <c:pt idx="46">
                  <c:v>0.8655614687216682</c:v>
                </c:pt>
                <c:pt idx="47">
                  <c:v>0.7566153759589834</c:v>
                </c:pt>
                <c:pt idx="48">
                  <c:v>0.8543865002182516</c:v>
                </c:pt>
                <c:pt idx="49">
                  <c:v>0.7856555069513621</c:v>
                </c:pt>
                <c:pt idx="50">
                  <c:v>0.7142406964649747</c:v>
                </c:pt>
                <c:pt idx="51">
                  <c:v>0.8426707573665688</c:v>
                </c:pt>
                <c:pt idx="52">
                  <c:v>0.5778068822003539</c:v>
                </c:pt>
                <c:pt idx="53">
                  <c:v>0.19138097014722788</c:v>
                </c:pt>
                <c:pt idx="54">
                  <c:v>0.8560910078634724</c:v>
                </c:pt>
              </c:numCache>
            </c:numRef>
          </c:xVal>
          <c:yVal>
            <c:numRef>
              <c:f>Sheet1!$B$187:$B$241</c:f>
              <c:numCache>
                <c:formatCode>General</c:formatCode>
                <c:ptCount val="55"/>
                <c:pt idx="0">
                  <c:v>0.13898795962210328</c:v>
                </c:pt>
                <c:pt idx="1">
                  <c:v>0.1364230871415118</c:v>
                </c:pt>
                <c:pt idx="2">
                  <c:v>0.13280530254860334</c:v>
                </c:pt>
                <c:pt idx="3">
                  <c:v>0.16664421203814483</c:v>
                </c:pt>
                <c:pt idx="4">
                  <c:v>0.16190158814191125</c:v>
                </c:pt>
                <c:pt idx="5">
                  <c:v>0.14929587846174366</c:v>
                </c:pt>
                <c:pt idx="6">
                  <c:v>0.16775630766094246</c:v>
                </c:pt>
                <c:pt idx="7">
                  <c:v>0.1610473568433491</c:v>
                </c:pt>
                <c:pt idx="8">
                  <c:v>0.14996583266051292</c:v>
                </c:pt>
                <c:pt idx="9">
                  <c:v>0.1643386279278351</c:v>
                </c:pt>
                <c:pt idx="10">
                  <c:v>0.14699202972873943</c:v>
                </c:pt>
                <c:pt idx="11">
                  <c:v>0.15153865428140856</c:v>
                </c:pt>
                <c:pt idx="12">
                  <c:v>0.15822088335680945</c:v>
                </c:pt>
                <c:pt idx="13">
                  <c:v>0.15755333998356083</c:v>
                </c:pt>
                <c:pt idx="14">
                  <c:v>0.1648835977537607</c:v>
                </c:pt>
                <c:pt idx="15">
                  <c:v>0.17288203058796736</c:v>
                </c:pt>
                <c:pt idx="16">
                  <c:v>0.14952525704542924</c:v>
                </c:pt>
                <c:pt idx="17">
                  <c:v>0.16544029441442368</c:v>
                </c:pt>
                <c:pt idx="18">
                  <c:v>0.15335361746707146</c:v>
                </c:pt>
                <c:pt idx="19">
                  <c:v>0.15173822587269647</c:v>
                </c:pt>
                <c:pt idx="20">
                  <c:v>0.15415857317614823</c:v>
                </c:pt>
                <c:pt idx="21">
                  <c:v>0.13983447068339733</c:v>
                </c:pt>
                <c:pt idx="22">
                  <c:v>0.16211283674462695</c:v>
                </c:pt>
                <c:pt idx="23">
                  <c:v>0.15166482371651946</c:v>
                </c:pt>
                <c:pt idx="24">
                  <c:v>0.15098171904514632</c:v>
                </c:pt>
                <c:pt idx="25">
                  <c:v>0.15164423529162613</c:v>
                </c:pt>
                <c:pt idx="26">
                  <c:v>0.1547059362397156</c:v>
                </c:pt>
                <c:pt idx="27">
                  <c:v>0.15390150006796444</c:v>
                </c:pt>
                <c:pt idx="28">
                  <c:v>0.16099136476040193</c:v>
                </c:pt>
                <c:pt idx="29">
                  <c:v>0.1823034165229453</c:v>
                </c:pt>
                <c:pt idx="30">
                  <c:v>0.14614902481296826</c:v>
                </c:pt>
                <c:pt idx="31">
                  <c:v>0.12141917965582329</c:v>
                </c:pt>
                <c:pt idx="32">
                  <c:v>0.17943165059788532</c:v>
                </c:pt>
                <c:pt idx="33">
                  <c:v>0.15252028804819506</c:v>
                </c:pt>
                <c:pt idx="34">
                  <c:v>0.14294205011621108</c:v>
                </c:pt>
                <c:pt idx="35">
                  <c:v>0.16493923905467614</c:v>
                </c:pt>
                <c:pt idx="36">
                  <c:v>0.11195930274676846</c:v>
                </c:pt>
                <c:pt idx="37">
                  <c:v>0.1179204765843826</c:v>
                </c:pt>
                <c:pt idx="38">
                  <c:v>0.12765821475690356</c:v>
                </c:pt>
                <c:pt idx="39">
                  <c:v>0.11153902311316669</c:v>
                </c:pt>
                <c:pt idx="40">
                  <c:v>0.13106129828973703</c:v>
                </c:pt>
                <c:pt idx="41">
                  <c:v>0.1269779577707637</c:v>
                </c:pt>
                <c:pt idx="42">
                  <c:v>0.18079703374719464</c:v>
                </c:pt>
                <c:pt idx="43">
                  <c:v>0.15064404024053019</c:v>
                </c:pt>
                <c:pt idx="44">
                  <c:v>0.16079915840453435</c:v>
                </c:pt>
                <c:pt idx="45">
                  <c:v>0.13413191086228696</c:v>
                </c:pt>
                <c:pt idx="46">
                  <c:v>0.13591568672571966</c:v>
                </c:pt>
                <c:pt idx="47">
                  <c:v>0.14914100810868292</c:v>
                </c:pt>
                <c:pt idx="48">
                  <c:v>0.1372722525846175</c:v>
                </c:pt>
                <c:pt idx="49">
                  <c:v>0.14561573193182947</c:v>
                </c:pt>
                <c:pt idx="50">
                  <c:v>0.15428500860100972</c:v>
                </c:pt>
                <c:pt idx="51">
                  <c:v>0.1386944648046663</c:v>
                </c:pt>
                <c:pt idx="52">
                  <c:v>0.1708471541116668</c:v>
                </c:pt>
                <c:pt idx="53">
                  <c:v>0.21775665538896025</c:v>
                </c:pt>
                <c:pt idx="54">
                  <c:v>0.137065336844583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6.16</c:v>
                </c:pt>
                <c:pt idx="1">
                  <c:v>715.7857</c:v>
                </c:pt>
                <c:pt idx="2">
                  <c:v>684.4333</c:v>
                </c:pt>
                <c:pt idx="3">
                  <c:v>697.4074</c:v>
                </c:pt>
                <c:pt idx="4">
                  <c:v>680.0833</c:v>
                </c:pt>
                <c:pt idx="5">
                  <c:v>634.0645</c:v>
                </c:pt>
                <c:pt idx="6">
                  <c:v>657.8065</c:v>
                </c:pt>
                <c:pt idx="7">
                  <c:v>668.6563</c:v>
                </c:pt>
                <c:pt idx="8">
                  <c:v>645.7586</c:v>
                </c:pt>
                <c:pt idx="9">
                  <c:v>681.2188</c:v>
                </c:pt>
                <c:pt idx="10">
                  <c:v>738.0571</c:v>
                </c:pt>
                <c:pt idx="11">
                  <c:v>737.7872</c:v>
                </c:pt>
                <c:pt idx="12">
                  <c:v>715.8636</c:v>
                </c:pt>
                <c:pt idx="13">
                  <c:v>651.3659</c:v>
                </c:pt>
                <c:pt idx="14">
                  <c:v>662.3889</c:v>
                </c:pt>
                <c:pt idx="15">
                  <c:v>736.3</c:v>
                </c:pt>
                <c:pt idx="16">
                  <c:v>742.65</c:v>
                </c:pt>
                <c:pt idx="17">
                  <c:v>733.2353</c:v>
                </c:pt>
                <c:pt idx="18">
                  <c:v>787.4545</c:v>
                </c:pt>
                <c:pt idx="19">
                  <c:v>752.7</c:v>
                </c:pt>
                <c:pt idx="20">
                  <c:v>801.6429</c:v>
                </c:pt>
                <c:pt idx="21">
                  <c:v>743.6667</c:v>
                </c:pt>
                <c:pt idx="22">
                  <c:v>793.4</c:v>
                </c:pt>
                <c:pt idx="23">
                  <c:v>828.1429</c:v>
                </c:pt>
                <c:pt idx="24">
                  <c:v>781.375</c:v>
                </c:pt>
                <c:pt idx="25">
                  <c:v>658.8889</c:v>
                </c:pt>
                <c:pt idx="26">
                  <c:v>610.4</c:v>
                </c:pt>
                <c:pt idx="27">
                  <c:v>622.3333</c:v>
                </c:pt>
                <c:pt idx="28">
                  <c:v>538.0833</c:v>
                </c:pt>
                <c:pt idx="29">
                  <c:v>713.5714</c:v>
                </c:pt>
                <c:pt idx="30">
                  <c:v>745.6</c:v>
                </c:pt>
                <c:pt idx="31">
                  <c:v>725.2</c:v>
                </c:pt>
                <c:pt idx="32">
                  <c:v>786.8</c:v>
                </c:pt>
                <c:pt idx="33">
                  <c:v>700.0</c:v>
                </c:pt>
                <c:pt idx="34">
                  <c:v>621.0</c:v>
                </c:pt>
                <c:pt idx="35">
                  <c:v>731.4444</c:v>
                </c:pt>
                <c:pt idx="36">
                  <c:v>776.3333</c:v>
                </c:pt>
                <c:pt idx="37">
                  <c:v>807.5</c:v>
                </c:pt>
                <c:pt idx="38">
                  <c:v>953.75</c:v>
                </c:pt>
                <c:pt idx="39">
                  <c:v>893.6</c:v>
                </c:pt>
                <c:pt idx="40">
                  <c:v>746.8</c:v>
                </c:pt>
                <c:pt idx="41">
                  <c:v>774.5</c:v>
                </c:pt>
                <c:pt idx="42">
                  <c:v>823.4</c:v>
                </c:pt>
                <c:pt idx="43">
                  <c:v>845.3333</c:v>
                </c:pt>
                <c:pt idx="44">
                  <c:v>823.5455</c:v>
                </c:pt>
                <c:pt idx="45">
                  <c:v>796.2778</c:v>
                </c:pt>
                <c:pt idx="46">
                  <c:v>832.0</c:v>
                </c:pt>
                <c:pt idx="47">
                  <c:v>841.0625</c:v>
                </c:pt>
                <c:pt idx="48">
                  <c:v>829.9231</c:v>
                </c:pt>
                <c:pt idx="49">
                  <c:v>799.6875</c:v>
                </c:pt>
                <c:pt idx="50">
                  <c:v>840.7895</c:v>
                </c:pt>
                <c:pt idx="51">
                  <c:v>866.7143</c:v>
                </c:pt>
                <c:pt idx="52">
                  <c:v>836.4737</c:v>
                </c:pt>
                <c:pt idx="53">
                  <c:v>902.4706</c:v>
                </c:pt>
                <c:pt idx="54">
                  <c:v>878.25</c:v>
                </c:pt>
                <c:pt idx="55">
                  <c:v>884.2143</c:v>
                </c:pt>
                <c:pt idx="56">
                  <c:v>840.5294</c:v>
                </c:pt>
                <c:pt idx="57">
                  <c:v>775.0952</c:v>
                </c:pt>
                <c:pt idx="58">
                  <c:v>861.5714</c:v>
                </c:pt>
                <c:pt idx="59">
                  <c:v>856.6552</c:v>
                </c:pt>
                <c:pt idx="60">
                  <c:v>799.963</c:v>
                </c:pt>
                <c:pt idx="61">
                  <c:v>864.0476</c:v>
                </c:pt>
                <c:pt idx="62">
                  <c:v>900.35</c:v>
                </c:pt>
                <c:pt idx="63">
                  <c:v>832.3</c:v>
                </c:pt>
                <c:pt idx="64">
                  <c:v>781.4444</c:v>
                </c:pt>
                <c:pt idx="65">
                  <c:v>709.7647</c:v>
                </c:pt>
                <c:pt idx="66">
                  <c:v>770.0741</c:v>
                </c:pt>
                <c:pt idx="67">
                  <c:v>738.3333</c:v>
                </c:pt>
                <c:pt idx="68">
                  <c:v>649.5625</c:v>
                </c:pt>
                <c:pt idx="69">
                  <c:v>710.2</c:v>
                </c:pt>
                <c:pt idx="70">
                  <c:v>657.2857</c:v>
                </c:pt>
                <c:pt idx="71">
                  <c:v>750.8</c:v>
                </c:pt>
                <c:pt idx="72">
                  <c:v>264.9231</c:v>
                </c:pt>
                <c:pt idx="73">
                  <c:v>376.12</c:v>
                </c:pt>
                <c:pt idx="74">
                  <c:v>948.6667</c:v>
                </c:pt>
                <c:pt idx="75">
                  <c:v>824.4286</c:v>
                </c:pt>
                <c:pt idx="76">
                  <c:v>811.75</c:v>
                </c:pt>
                <c:pt idx="77">
                  <c:v>847.8333</c:v>
                </c:pt>
                <c:pt idx="78">
                  <c:v>925.0</c:v>
                </c:pt>
                <c:pt idx="79">
                  <c:v>869.8</c:v>
                </c:pt>
                <c:pt idx="80">
                  <c:v>838.6</c:v>
                </c:pt>
                <c:pt idx="81">
                  <c:v>780.75</c:v>
                </c:pt>
                <c:pt idx="82">
                  <c:v>559.0</c:v>
                </c:pt>
                <c:pt idx="83">
                  <c:v>1293.0</c:v>
                </c:pt>
                <c:pt idx="84">
                  <c:v>421.0</c:v>
                </c:pt>
                <c:pt idx="85">
                  <c:v>580.2</c:v>
                </c:pt>
                <c:pt idx="86">
                  <c:v>554.5</c:v>
                </c:pt>
                <c:pt idx="87">
                  <c:v>835.6</c:v>
                </c:pt>
                <c:pt idx="88">
                  <c:v>344.4</c:v>
                </c:pt>
                <c:pt idx="89">
                  <c:v>200.1</c:v>
                </c:pt>
                <c:pt idx="90">
                  <c:v>480.0</c:v>
                </c:pt>
                <c:pt idx="91">
                  <c:v>311.2</c:v>
                </c:pt>
                <c:pt idx="92">
                  <c:v>521.0</c:v>
                </c:pt>
                <c:pt idx="93">
                  <c:v>361.0</c:v>
                </c:pt>
                <c:pt idx="94">
                  <c:v>637.6667</c:v>
                </c:pt>
                <c:pt idx="95">
                  <c:v>715.0</c:v>
                </c:pt>
                <c:pt idx="96">
                  <c:v>731.5714</c:v>
                </c:pt>
                <c:pt idx="97">
                  <c:v>503.0769</c:v>
                </c:pt>
                <c:pt idx="98">
                  <c:v>695.1</c:v>
                </c:pt>
                <c:pt idx="99">
                  <c:v>665.0588</c:v>
                </c:pt>
                <c:pt idx="100">
                  <c:v>696.6</c:v>
                </c:pt>
                <c:pt idx="101">
                  <c:v>859.2222</c:v>
                </c:pt>
                <c:pt idx="102">
                  <c:v>709.8333</c:v>
                </c:pt>
                <c:pt idx="103">
                  <c:v>759.5</c:v>
                </c:pt>
                <c:pt idx="104">
                  <c:v>829.5385</c:v>
                </c:pt>
              </c:numCache>
            </c:numRef>
          </c:xVal>
          <c:yVal>
            <c:numRef>
              <c:f>Sheet1!$B$2:$B$106</c:f>
              <c:numCache>
                <c:formatCode>General</c:formatCode>
                <c:ptCount val="105"/>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8333333333333333</c:v>
                </c:pt>
                <c:pt idx="37">
                  <c:v>0.07407407407407407</c:v>
                </c:pt>
                <c:pt idx="38">
                  <c:v>0.09302325581395349</c:v>
                </c:pt>
                <c:pt idx="39">
                  <c:v>0.1282051282051282</c:v>
                </c:pt>
                <c:pt idx="40">
                  <c:v>0.10204081632653061</c:v>
                </c:pt>
                <c:pt idx="41">
                  <c:v>0.1</c:v>
                </c:pt>
                <c:pt idx="42">
                  <c:v>0.11904761904761904</c:v>
                </c:pt>
                <c:pt idx="43">
                  <c:v>0.14754098360655737</c:v>
                </c:pt>
                <c:pt idx="44">
                  <c:v>0.13924050632911392</c:v>
                </c:pt>
                <c:pt idx="45">
                  <c:v>0.16981132075471697</c:v>
                </c:pt>
                <c:pt idx="46">
                  <c:v>0.19148936170212766</c:v>
                </c:pt>
                <c:pt idx="47">
                  <c:v>0.1553398058252427</c:v>
                </c:pt>
                <c:pt idx="48">
                  <c:v>0.174496644295302</c:v>
                </c:pt>
                <c:pt idx="49">
                  <c:v>0.17204301075268819</c:v>
                </c:pt>
                <c:pt idx="50">
                  <c:v>0.19</c:v>
                </c:pt>
                <c:pt idx="51">
                  <c:v>0.14285714285714285</c:v>
                </c:pt>
                <c:pt idx="52">
                  <c:v>0.18446601941747573</c:v>
                </c:pt>
                <c:pt idx="53">
                  <c:v>0.1827956989247312</c:v>
                </c:pt>
                <c:pt idx="54">
                  <c:v>0.19047619047619047</c:v>
                </c:pt>
                <c:pt idx="55">
                  <c:v>0.16279069767441862</c:v>
                </c:pt>
                <c:pt idx="56">
                  <c:v>0.18478260869565216</c:v>
                </c:pt>
                <c:pt idx="57">
                  <c:v>0.16666666666666666</c:v>
                </c:pt>
                <c:pt idx="58">
                  <c:v>0.168</c:v>
                </c:pt>
                <c:pt idx="59">
                  <c:v>0.17682926829268292</c:v>
                </c:pt>
                <c:pt idx="60">
                  <c:v>0.16071428571428573</c:v>
                </c:pt>
                <c:pt idx="61">
                  <c:v>0.14189189189189189</c:v>
                </c:pt>
                <c:pt idx="62">
                  <c:v>0.1388888888888889</c:v>
                </c:pt>
                <c:pt idx="63">
                  <c:v>0.17964071856287425</c:v>
                </c:pt>
                <c:pt idx="64">
                  <c:v>0.21301775147928995</c:v>
                </c:pt>
                <c:pt idx="65">
                  <c:v>0.20118343195266272</c:v>
                </c:pt>
                <c:pt idx="66">
                  <c:v>0.17647058823529413</c:v>
                </c:pt>
                <c:pt idx="67">
                  <c:v>0.1935483870967742</c:v>
                </c:pt>
                <c:pt idx="68">
                  <c:v>0.16666666666666666</c:v>
                </c:pt>
                <c:pt idx="69">
                  <c:v>0.23076923076923078</c:v>
                </c:pt>
                <c:pt idx="70">
                  <c:v>0.1794871794871795</c:v>
                </c:pt>
                <c:pt idx="71">
                  <c:v>0.13513513513513514</c:v>
                </c:pt>
                <c:pt idx="72">
                  <c:v>0.41935483870967744</c:v>
                </c:pt>
                <c:pt idx="73">
                  <c:v>0.3048780487804878</c:v>
                </c:pt>
                <c:pt idx="74">
                  <c:v>0.16363636363636364</c:v>
                </c:pt>
                <c:pt idx="75">
                  <c:v>0.11864406779661017</c:v>
                </c:pt>
                <c:pt idx="76">
                  <c:v>0.10810810810810811</c:v>
                </c:pt>
                <c:pt idx="77">
                  <c:v>0.16216216216216217</c:v>
                </c:pt>
                <c:pt idx="78">
                  <c:v>0.10344827586206896</c:v>
                </c:pt>
                <c:pt idx="79">
                  <c:v>0.2</c:v>
                </c:pt>
                <c:pt idx="80">
                  <c:v>0.16666666666666666</c:v>
                </c:pt>
                <c:pt idx="81">
                  <c:v>0.10526315789473684</c:v>
                </c:pt>
                <c:pt idx="82">
                  <c:v>0.0967741935483871</c:v>
                </c:pt>
                <c:pt idx="83">
                  <c:v>0.05263157894736842</c:v>
                </c:pt>
                <c:pt idx="84">
                  <c:v>0.13636363636363635</c:v>
                </c:pt>
                <c:pt idx="85">
                  <c:v>0.20833333333333334</c:v>
                </c:pt>
                <c:pt idx="86">
                  <c:v>0.12903225806451613</c:v>
                </c:pt>
                <c:pt idx="87">
                  <c:v>0.16129032258064516</c:v>
                </c:pt>
                <c:pt idx="88">
                  <c:v>0.23809523809523808</c:v>
                </c:pt>
                <c:pt idx="89">
                  <c:v>0.3225806451612903</c:v>
                </c:pt>
                <c:pt idx="90">
                  <c:v>0.19047619047619047</c:v>
                </c:pt>
                <c:pt idx="91">
                  <c:v>0.20833333333333334</c:v>
                </c:pt>
                <c:pt idx="92">
                  <c:v>0.18421052631578946</c:v>
                </c:pt>
                <c:pt idx="93">
                  <c:v>0.0967741935483871</c:v>
                </c:pt>
                <c:pt idx="94">
                  <c:v>0.1111111111111111</c:v>
                </c:pt>
                <c:pt idx="95">
                  <c:v>0.11864406779661017</c:v>
                </c:pt>
                <c:pt idx="96">
                  <c:v>0.0660377358490566</c:v>
                </c:pt>
                <c:pt idx="97">
                  <c:v>0.11711711711711711</c:v>
                </c:pt>
                <c:pt idx="98">
                  <c:v>0.08064516129032258</c:v>
                </c:pt>
                <c:pt idx="99">
                  <c:v>0.13076923076923078</c:v>
                </c:pt>
                <c:pt idx="100">
                  <c:v>0.2</c:v>
                </c:pt>
                <c:pt idx="101">
                  <c:v>0.10588235294117647</c:v>
                </c:pt>
                <c:pt idx="102">
                  <c:v>0.15789473684210525</c:v>
                </c:pt>
                <c:pt idx="103">
                  <c:v>0.16666666666666666</c:v>
                </c:pt>
                <c:pt idx="104">
                  <c:v>0.178082191780821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91.9286</c:v>
                </c:pt>
                <c:pt idx="1">
                  <c:v>958.0</c:v>
                </c:pt>
                <c:pt idx="2">
                  <c:v>941.4615</c:v>
                </c:pt>
                <c:pt idx="3">
                  <c:v>817.2105</c:v>
                </c:pt>
                <c:pt idx="4">
                  <c:v>801.125</c:v>
                </c:pt>
                <c:pt idx="5">
                  <c:v>924.2</c:v>
                </c:pt>
                <c:pt idx="6">
                  <c:v>728.5625</c:v>
                </c:pt>
                <c:pt idx="7">
                  <c:v>741.3636</c:v>
                </c:pt>
                <c:pt idx="8">
                  <c:v>851.5714</c:v>
                </c:pt>
                <c:pt idx="9">
                  <c:v>886.0</c:v>
                </c:pt>
                <c:pt idx="10">
                  <c:v>956.4118</c:v>
                </c:pt>
                <c:pt idx="11">
                  <c:v>834.1304</c:v>
                </c:pt>
                <c:pt idx="12">
                  <c:v>793.5</c:v>
                </c:pt>
                <c:pt idx="13">
                  <c:v>853.3043</c:v>
                </c:pt>
                <c:pt idx="14">
                  <c:v>892.0</c:v>
                </c:pt>
                <c:pt idx="15">
                  <c:v>746.6875</c:v>
                </c:pt>
                <c:pt idx="16">
                  <c:v>976.3636</c:v>
                </c:pt>
                <c:pt idx="17">
                  <c:v>931.7778</c:v>
                </c:pt>
                <c:pt idx="18">
                  <c:v>899.1429</c:v>
                </c:pt>
                <c:pt idx="19">
                  <c:v>976.25</c:v>
                </c:pt>
                <c:pt idx="20">
                  <c:v>871.5714</c:v>
                </c:pt>
                <c:pt idx="21">
                  <c:v>1036.6</c:v>
                </c:pt>
                <c:pt idx="22">
                  <c:v>964.5</c:v>
                </c:pt>
                <c:pt idx="23">
                  <c:v>873.5714</c:v>
                </c:pt>
                <c:pt idx="24">
                  <c:v>965.0</c:v>
                </c:pt>
                <c:pt idx="25">
                  <c:v>906.5</c:v>
                </c:pt>
                <c:pt idx="26">
                  <c:v>1090.8</c:v>
                </c:pt>
                <c:pt idx="27">
                  <c:v>905.0</c:v>
                </c:pt>
                <c:pt idx="28">
                  <c:v>945.0</c:v>
                </c:pt>
                <c:pt idx="29">
                  <c:v>588.5</c:v>
                </c:pt>
                <c:pt idx="30">
                  <c:v>984.0</c:v>
                </c:pt>
                <c:pt idx="31">
                  <c:v>1027.3333</c:v>
                </c:pt>
                <c:pt idx="32">
                  <c:v>1037.0</c:v>
                </c:pt>
                <c:pt idx="33">
                  <c:v>924.3333</c:v>
                </c:pt>
                <c:pt idx="34">
                  <c:v>1049.5</c:v>
                </c:pt>
                <c:pt idx="35">
                  <c:v>796.6667</c:v>
                </c:pt>
                <c:pt idx="36">
                  <c:v>1470.0</c:v>
                </c:pt>
                <c:pt idx="37">
                  <c:v>955.0</c:v>
                </c:pt>
                <c:pt idx="38">
                  <c:v>1117.5</c:v>
                </c:pt>
                <c:pt idx="39">
                  <c:v>835.5</c:v>
                </c:pt>
                <c:pt idx="40">
                  <c:v>984.3333</c:v>
                </c:pt>
                <c:pt idx="41">
                  <c:v>1069.5</c:v>
                </c:pt>
                <c:pt idx="42">
                  <c:v>723.6</c:v>
                </c:pt>
                <c:pt idx="43">
                  <c:v>832.5</c:v>
                </c:pt>
                <c:pt idx="44">
                  <c:v>648.5</c:v>
                </c:pt>
                <c:pt idx="45">
                  <c:v>921.3636</c:v>
                </c:pt>
                <c:pt idx="46">
                  <c:v>954.7143</c:v>
                </c:pt>
                <c:pt idx="47">
                  <c:v>976.25</c:v>
                </c:pt>
                <c:pt idx="48">
                  <c:v>1058.7273</c:v>
                </c:pt>
                <c:pt idx="49">
                  <c:v>907.0</c:v>
                </c:pt>
                <c:pt idx="50">
                  <c:v>781.7273</c:v>
                </c:pt>
                <c:pt idx="51">
                  <c:v>962.6364</c:v>
                </c:pt>
              </c:numCache>
            </c:numRef>
          </c:xVal>
          <c:yVal>
            <c:numRef>
              <c:f>Sheet1!$B$109:$B$160</c:f>
              <c:numCache>
                <c:formatCode>General</c:formatCode>
                <c:ptCount val="52"/>
                <c:pt idx="0">
                  <c:v>0.16470588235294117</c:v>
                </c:pt>
                <c:pt idx="1">
                  <c:v>0.16</c:v>
                </c:pt>
                <c:pt idx="2">
                  <c:v>0.13402061855670103</c:v>
                </c:pt>
                <c:pt idx="3">
                  <c:v>0.19791666666666666</c:v>
                </c:pt>
                <c:pt idx="4">
                  <c:v>0.16494845360824742</c:v>
                </c:pt>
                <c:pt idx="5">
                  <c:v>0.17045454545454544</c:v>
                </c:pt>
                <c:pt idx="6">
                  <c:v>0.1568627450980392</c:v>
                </c:pt>
                <c:pt idx="7">
                  <c:v>0.13580246913580246</c:v>
                </c:pt>
                <c:pt idx="8">
                  <c:v>0.1794871794871795</c:v>
                </c:pt>
                <c:pt idx="9">
                  <c:v>0.14102564102564102</c:v>
                </c:pt>
                <c:pt idx="10">
                  <c:v>0.1827956989247312</c:v>
                </c:pt>
                <c:pt idx="11">
                  <c:v>0.20535714285714285</c:v>
                </c:pt>
                <c:pt idx="12">
                  <c:v>0.14285714285714285</c:v>
                </c:pt>
                <c:pt idx="13">
                  <c:v>0.20535714285714285</c:v>
                </c:pt>
                <c:pt idx="14">
                  <c:v>0.19148936170212766</c:v>
                </c:pt>
                <c:pt idx="15">
                  <c:v>0.18604651162790697</c:v>
                </c:pt>
                <c:pt idx="16">
                  <c:v>0.18032786885245902</c:v>
                </c:pt>
                <c:pt idx="17">
                  <c:v>0.1836734693877551</c:v>
                </c:pt>
                <c:pt idx="18">
                  <c:v>0.14893617021276595</c:v>
                </c:pt>
                <c:pt idx="19">
                  <c:v>0.14545454545454545</c:v>
                </c:pt>
                <c:pt idx="20">
                  <c:v>0.1794871794871795</c:v>
                </c:pt>
                <c:pt idx="21">
                  <c:v>0.1282051282051282</c:v>
                </c:pt>
                <c:pt idx="22">
                  <c:v>0.08695652173913043</c:v>
                </c:pt>
                <c:pt idx="23">
                  <c:v>0.175</c:v>
                </c:pt>
                <c:pt idx="24">
                  <c:v>0.13793103448275862</c:v>
                </c:pt>
                <c:pt idx="25">
                  <c:v>0.15384615384615385</c:v>
                </c:pt>
                <c:pt idx="26">
                  <c:v>0.19230769230769232</c:v>
                </c:pt>
                <c:pt idx="27">
                  <c:v>0.15625</c:v>
                </c:pt>
                <c:pt idx="28">
                  <c:v>0.15384615384615385</c:v>
                </c:pt>
                <c:pt idx="29">
                  <c:v>0.19047619047619047</c:v>
                </c:pt>
                <c:pt idx="30">
                  <c:v>0.11764705882352941</c:v>
                </c:pt>
                <c:pt idx="31">
                  <c:v>0.15789473684210525</c:v>
                </c:pt>
                <c:pt idx="32">
                  <c:v>0.09523809523809523</c:v>
                </c:pt>
                <c:pt idx="33">
                  <c:v>0.12</c:v>
                </c:pt>
                <c:pt idx="34">
                  <c:v>0.17142857142857143</c:v>
                </c:pt>
                <c:pt idx="35">
                  <c:v>0.14285714285714285</c:v>
                </c:pt>
                <c:pt idx="36">
                  <c:v>0.1</c:v>
                </c:pt>
                <c:pt idx="37">
                  <c:v>0.08333333333333333</c:v>
                </c:pt>
                <c:pt idx="38">
                  <c:v>0.08333333333333333</c:v>
                </c:pt>
                <c:pt idx="39">
                  <c:v>0.08333333333333333</c:v>
                </c:pt>
                <c:pt idx="40">
                  <c:v>0.09090909090909091</c:v>
                </c:pt>
                <c:pt idx="41">
                  <c:v>0.14285714285714285</c:v>
                </c:pt>
                <c:pt idx="42">
                  <c:v>0.18518518518518517</c:v>
                </c:pt>
                <c:pt idx="43">
                  <c:v>0.1276595744680851</c:v>
                </c:pt>
                <c:pt idx="44">
                  <c:v>0.17391304347826086</c:v>
                </c:pt>
                <c:pt idx="45">
                  <c:v>0.1527777777777778</c:v>
                </c:pt>
                <c:pt idx="46">
                  <c:v>0.1206896551724138</c:v>
                </c:pt>
                <c:pt idx="47">
                  <c:v>0.16</c:v>
                </c:pt>
                <c:pt idx="48">
                  <c:v>0.1506849315068493</c:v>
                </c:pt>
                <c:pt idx="49">
                  <c:v>0.12380952380952381</c:v>
                </c:pt>
                <c:pt idx="50">
                  <c:v>0.13253012048192772</c:v>
                </c:pt>
                <c:pt idx="51">
                  <c:v>0.13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0.99774992603275</c:v>
                </c:pt>
              </c:numCache>
            </c:numRef>
          </c:xVal>
          <c:yVal>
            <c:numRef>
              <c:f>Sheet1!$B$163:$B$164</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0.99774992603275</c:v>
                </c:pt>
                <c:pt idx="1">
                  <c:v>210.99774992603275</c:v>
                </c:pt>
              </c:numCache>
            </c:numRef>
          </c:xVal>
          <c:yVal>
            <c:numRef>
              <c:f>Sheet1!$B$167:$B$168</c:f>
              <c:numCache>
                <c:formatCode>General</c:formatCode>
                <c:ptCount val="2"/>
                <c:pt idx="0">
                  <c:v>0.217756655388960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96.1950842836097</c:v>
                </c:pt>
              </c:numCache>
            </c:numRef>
          </c:xVal>
          <c:yVal>
            <c:numRef>
              <c:f>Sheet1!$B$171:$B$172</c:f>
              <c:numCache>
                <c:formatCode>General</c:formatCode>
                <c:ptCount val="2"/>
                <c:pt idx="0">
                  <c:v>0.1708471541116668</c:v>
                </c:pt>
                <c:pt idx="1">
                  <c:v>0.17084715411166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96.1950842836097</c:v>
                </c:pt>
                <c:pt idx="1">
                  <c:v>696.1950842836097</c:v>
                </c:pt>
              </c:numCache>
            </c:numRef>
          </c:xVal>
          <c:yVal>
            <c:numRef>
              <c:f>Sheet1!$B$175:$B$176</c:f>
              <c:numCache>
                <c:formatCode>General</c:formatCode>
                <c:ptCount val="2"/>
                <c:pt idx="0">
                  <c:v>0.17084715411166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45.6093232211144</c:v>
                </c:pt>
              </c:numCache>
            </c:numRef>
          </c:xVal>
          <c:yVal>
            <c:numRef>
              <c:f>Sheet1!$B$179:$B$180</c:f>
              <c:numCache>
                <c:formatCode>General</c:formatCode>
                <c:ptCount val="2"/>
                <c:pt idx="0">
                  <c:v>0.13706533684458388</c:v>
                </c:pt>
                <c:pt idx="1">
                  <c:v>0.137065336844583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45.6093232211144</c:v>
                </c:pt>
                <c:pt idx="1">
                  <c:v>1045.6093232211144</c:v>
                </c:pt>
              </c:numCache>
            </c:numRef>
          </c:xVal>
          <c:yVal>
            <c:numRef>
              <c:f>Sheet1!$B$183:$B$184</c:f>
              <c:numCache>
                <c:formatCode>General</c:formatCode>
                <c:ptCount val="2"/>
                <c:pt idx="0">
                  <c:v>0.137065336844583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91.9286</c:v>
                </c:pt>
                <c:pt idx="1">
                  <c:v>958.0</c:v>
                </c:pt>
                <c:pt idx="2">
                  <c:v>941.4615</c:v>
                </c:pt>
                <c:pt idx="3">
                  <c:v>817.2105</c:v>
                </c:pt>
                <c:pt idx="4">
                  <c:v>801.125</c:v>
                </c:pt>
                <c:pt idx="5">
                  <c:v>924.2</c:v>
                </c:pt>
                <c:pt idx="6">
                  <c:v>728.5625</c:v>
                </c:pt>
                <c:pt idx="7">
                  <c:v>741.3636</c:v>
                </c:pt>
                <c:pt idx="8">
                  <c:v>851.5714</c:v>
                </c:pt>
                <c:pt idx="9">
                  <c:v>886.0</c:v>
                </c:pt>
                <c:pt idx="10">
                  <c:v>956.4118</c:v>
                </c:pt>
                <c:pt idx="11">
                  <c:v>834.1304</c:v>
                </c:pt>
                <c:pt idx="12">
                  <c:v>793.5</c:v>
                </c:pt>
                <c:pt idx="13">
                  <c:v>853.3043</c:v>
                </c:pt>
                <c:pt idx="14">
                  <c:v>892.0</c:v>
                </c:pt>
                <c:pt idx="15">
                  <c:v>746.6875</c:v>
                </c:pt>
                <c:pt idx="16">
                  <c:v>976.3636</c:v>
                </c:pt>
                <c:pt idx="17">
                  <c:v>931.7778</c:v>
                </c:pt>
                <c:pt idx="18">
                  <c:v>899.1429</c:v>
                </c:pt>
                <c:pt idx="19">
                  <c:v>976.25</c:v>
                </c:pt>
                <c:pt idx="20">
                  <c:v>871.5714</c:v>
                </c:pt>
                <c:pt idx="21">
                  <c:v>1036.6</c:v>
                </c:pt>
                <c:pt idx="22">
                  <c:v>964.5</c:v>
                </c:pt>
                <c:pt idx="23">
                  <c:v>873.5714</c:v>
                </c:pt>
                <c:pt idx="24">
                  <c:v>965.0</c:v>
                </c:pt>
                <c:pt idx="25">
                  <c:v>906.5</c:v>
                </c:pt>
                <c:pt idx="26">
                  <c:v>1090.8</c:v>
                </c:pt>
                <c:pt idx="27">
                  <c:v>905.0</c:v>
                </c:pt>
                <c:pt idx="28">
                  <c:v>945.0</c:v>
                </c:pt>
                <c:pt idx="29">
                  <c:v>588.5</c:v>
                </c:pt>
                <c:pt idx="30">
                  <c:v>984.0</c:v>
                </c:pt>
                <c:pt idx="31">
                  <c:v>1027.3333</c:v>
                </c:pt>
                <c:pt idx="32">
                  <c:v>1037.0</c:v>
                </c:pt>
                <c:pt idx="33">
                  <c:v>924.3333</c:v>
                </c:pt>
                <c:pt idx="34">
                  <c:v>1049.5</c:v>
                </c:pt>
                <c:pt idx="35">
                  <c:v>796.6667</c:v>
                </c:pt>
                <c:pt idx="36">
                  <c:v>1470.0</c:v>
                </c:pt>
                <c:pt idx="37">
                  <c:v>955.0</c:v>
                </c:pt>
                <c:pt idx="38">
                  <c:v>1117.5</c:v>
                </c:pt>
                <c:pt idx="39">
                  <c:v>835.5</c:v>
                </c:pt>
                <c:pt idx="40">
                  <c:v>984.3333</c:v>
                </c:pt>
                <c:pt idx="41">
                  <c:v>1069.5</c:v>
                </c:pt>
                <c:pt idx="42">
                  <c:v>723.6</c:v>
                </c:pt>
                <c:pt idx="43">
                  <c:v>832.5</c:v>
                </c:pt>
                <c:pt idx="44">
                  <c:v>648.5</c:v>
                </c:pt>
                <c:pt idx="45">
                  <c:v>921.3636</c:v>
                </c:pt>
                <c:pt idx="46">
                  <c:v>954.7143</c:v>
                </c:pt>
                <c:pt idx="47">
                  <c:v>976.25</c:v>
                </c:pt>
                <c:pt idx="48">
                  <c:v>1058.7273</c:v>
                </c:pt>
                <c:pt idx="49">
                  <c:v>907.0</c:v>
                </c:pt>
                <c:pt idx="50">
                  <c:v>781.7273</c:v>
                </c:pt>
                <c:pt idx="51">
                  <c:v>962.6364</c:v>
                </c:pt>
                <c:pt idx="52">
                  <c:v>696.1950842836097</c:v>
                </c:pt>
                <c:pt idx="53">
                  <c:v>210.99774992603275</c:v>
                </c:pt>
                <c:pt idx="54">
                  <c:v>1045.6093232211144</c:v>
                </c:pt>
              </c:numCache>
            </c:numRef>
          </c:xVal>
          <c:yVal>
            <c:numRef>
              <c:f>Sheet1!$B$187:$B$241</c:f>
              <c:numCache>
                <c:formatCode>General</c:formatCode>
                <c:ptCount val="55"/>
                <c:pt idx="0">
                  <c:v>0.15192338649108783</c:v>
                </c:pt>
                <c:pt idx="1">
                  <c:v>0.14553551870365183</c:v>
                </c:pt>
                <c:pt idx="2">
                  <c:v>0.14713448211902536</c:v>
                </c:pt>
                <c:pt idx="3">
                  <c:v>0.15914722833685496</c:v>
                </c:pt>
                <c:pt idx="4">
                  <c:v>0.16070239513057816</c:v>
                </c:pt>
                <c:pt idx="5">
                  <c:v>0.14880334610272822</c:v>
                </c:pt>
                <c:pt idx="6">
                  <c:v>0.16771783080056277</c:v>
                </c:pt>
                <c:pt idx="7">
                  <c:v>0.16648020401599717</c:v>
                </c:pt>
                <c:pt idx="8">
                  <c:v>0.15582517240558502</c:v>
                </c:pt>
                <c:pt idx="9">
                  <c:v>0.15249657115138854</c:v>
                </c:pt>
                <c:pt idx="10">
                  <c:v>0.14568906791889485</c:v>
                </c:pt>
                <c:pt idx="11">
                  <c:v>0.15751139067976525</c:v>
                </c:pt>
                <c:pt idx="12">
                  <c:v>0.16143958992105026</c:v>
                </c:pt>
                <c:pt idx="13">
                  <c:v>0.15565763340854777</c:v>
                </c:pt>
                <c:pt idx="14">
                  <c:v>0.1519164834474105</c:v>
                </c:pt>
                <c:pt idx="15">
                  <c:v>0.16596548252812904</c:v>
                </c:pt>
                <c:pt idx="16">
                  <c:v>0.1437601022768566</c:v>
                </c:pt>
                <c:pt idx="17">
                  <c:v>0.14807071466886074</c:v>
                </c:pt>
                <c:pt idx="18">
                  <c:v>0.15122589870395298</c:v>
                </c:pt>
                <c:pt idx="19">
                  <c:v>0.14377108527071858</c:v>
                </c:pt>
                <c:pt idx="20">
                  <c:v>0.15389154672565816</c:v>
                </c:pt>
                <c:pt idx="21">
                  <c:v>0.13793636978153928</c:v>
                </c:pt>
                <c:pt idx="22">
                  <c:v>0.14490709035767563</c:v>
                </c:pt>
                <c:pt idx="23">
                  <c:v>0.15369818415766548</c:v>
                </c:pt>
                <c:pt idx="24">
                  <c:v>0.14485874971567744</c:v>
                </c:pt>
                <c:pt idx="25">
                  <c:v>0.1505146048294635</c:v>
                </c:pt>
                <c:pt idx="26">
                  <c:v>0.1326962441889375</c:v>
                </c:pt>
                <c:pt idx="27">
                  <c:v>0.15065962675545802</c:v>
                </c:pt>
                <c:pt idx="28">
                  <c:v>0.1467923753956043</c:v>
                </c:pt>
                <c:pt idx="29">
                  <c:v>0.18125925314030056</c:v>
                </c:pt>
                <c:pt idx="30">
                  <c:v>0.14302180531974693</c:v>
                </c:pt>
                <c:pt idx="31">
                  <c:v>0.13883228623594818</c:v>
                </c:pt>
                <c:pt idx="32">
                  <c:v>0.13789769726794077</c:v>
                </c:pt>
                <c:pt idx="33">
                  <c:v>0.1487904584875715</c:v>
                </c:pt>
                <c:pt idx="34">
                  <c:v>0.13668918121798646</c:v>
                </c:pt>
                <c:pt idx="35">
                  <c:v>0.16113342929901903</c:v>
                </c:pt>
                <c:pt idx="36">
                  <c:v>0.09603470129752426</c:v>
                </c:pt>
                <c:pt idx="37">
                  <c:v>0.1458255625556409</c:v>
                </c:pt>
                <c:pt idx="38">
                  <c:v>0.13011485390623515</c:v>
                </c:pt>
                <c:pt idx="39">
                  <c:v>0.15737897599320383</c:v>
                </c:pt>
                <c:pt idx="40">
                  <c:v>0.14298958144779095</c:v>
                </c:pt>
                <c:pt idx="41">
                  <c:v>0.13475555553805962</c:v>
                </c:pt>
                <c:pt idx="42">
                  <c:v>0.1681976116723946</c:v>
                </c:pt>
                <c:pt idx="43">
                  <c:v>0.15766901984519288</c:v>
                </c:pt>
                <c:pt idx="44">
                  <c:v>0.17545837610051998</c:v>
                </c:pt>
                <c:pt idx="45">
                  <c:v>0.14907757289665546</c:v>
                </c:pt>
                <c:pt idx="46">
                  <c:v>0.1458531843984786</c:v>
                </c:pt>
                <c:pt idx="47">
                  <c:v>0.14377108527071858</c:v>
                </c:pt>
                <c:pt idx="48">
                  <c:v>0.135797074006167</c:v>
                </c:pt>
                <c:pt idx="49">
                  <c:v>0.15046626418746534</c:v>
                </c:pt>
                <c:pt idx="50">
                  <c:v>0.162577789673154</c:v>
                </c:pt>
                <c:pt idx="51">
                  <c:v>0.1450872655985312</c:v>
                </c:pt>
                <c:pt idx="52">
                  <c:v>0.1708471541116668</c:v>
                </c:pt>
                <c:pt idx="53">
                  <c:v>0.21775665538896025</c:v>
                </c:pt>
                <c:pt idx="54">
                  <c:v>0.137065336844583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4.0"/>
          <c:min val="1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0.141160751565762</c:v>
                </c:pt>
                <c:pt idx="1">
                  <c:v>0.3047193273733504</c:v>
                </c:pt>
                <c:pt idx="2">
                  <c:v>0.0</c:v>
                </c:pt>
                <c:pt idx="3">
                  <c:v>0.23391158812678184</c:v>
                </c:pt>
                <c:pt idx="4">
                  <c:v>0.0</c:v>
                </c:pt>
                <c:pt idx="5">
                  <c:v>0.25880183673469387</c:v>
                </c:pt>
                <c:pt idx="6">
                  <c:v>0.23543539727988547</c:v>
                </c:pt>
                <c:pt idx="7">
                  <c:v>0.2510913631242959</c:v>
                </c:pt>
                <c:pt idx="8">
                  <c:v>0.0</c:v>
                </c:pt>
                <c:pt idx="9">
                  <c:v>0.16219495238095238</c:v>
                </c:pt>
                <c:pt idx="10">
                  <c:v>0.15580686088241502</c:v>
                </c:pt>
                <c:pt idx="11">
                  <c:v>0.29570629258517034</c:v>
                </c:pt>
                <c:pt idx="12">
                  <c:v>0.0</c:v>
                </c:pt>
                <c:pt idx="13">
                  <c:v>0.3100266063779153</c:v>
                </c:pt>
                <c:pt idx="14">
                  <c:v>0.16794850405679515</c:v>
                </c:pt>
                <c:pt idx="15">
                  <c:v>0.20345399281569493</c:v>
                </c:pt>
                <c:pt idx="16">
                  <c:v>0.2823764258555133</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289741847826087</c:v>
                </c:pt>
                <c:pt idx="48">
                  <c:v>0.22847540760869564</c:v>
                </c:pt>
                <c:pt idx="49">
                  <c:v>0.39253365036231885</c:v>
                </c:pt>
                <c:pt idx="50">
                  <c:v>0.24880240928019037</c:v>
                </c:pt>
                <c:pt idx="51">
                  <c:v>0.0</c:v>
                </c:pt>
                <c:pt idx="52">
                  <c:v>0.0</c:v>
                </c:pt>
                <c:pt idx="53">
                  <c:v>0.25778842565597665</c:v>
                </c:pt>
                <c:pt idx="54">
                  <c:v>0.0</c:v>
                </c:pt>
                <c:pt idx="55">
                  <c:v>0.0</c:v>
                </c:pt>
                <c:pt idx="56">
                  <c:v>0.34121639603960396</c:v>
                </c:pt>
                <c:pt idx="57">
                  <c:v>0.25367343796268876</c:v>
                </c:pt>
                <c:pt idx="58">
                  <c:v>0.31054464285714284</c:v>
                </c:pt>
                <c:pt idx="59">
                  <c:v>0.38299982269503546</c:v>
                </c:pt>
                <c:pt idx="60">
                  <c:v>0.2517053396701146</c:v>
                </c:pt>
                <c:pt idx="61">
                  <c:v>0.21776556776556774</c:v>
                </c:pt>
                <c:pt idx="62">
                  <c:v>0.22782635568513118</c:v>
                </c:pt>
                <c:pt idx="63">
                  <c:v>0.18106242346938775</c:v>
                </c:pt>
                <c:pt idx="64">
                  <c:v>0.20954397278911566</c:v>
                </c:pt>
                <c:pt idx="65">
                  <c:v>0.2962814205457464</c:v>
                </c:pt>
                <c:pt idx="66">
                  <c:v>0.0</c:v>
                </c:pt>
                <c:pt idx="67">
                  <c:v>0.0</c:v>
                </c:pt>
                <c:pt idx="68">
                  <c:v>0.0</c:v>
                </c:pt>
                <c:pt idx="69">
                  <c:v>0.0</c:v>
                </c:pt>
                <c:pt idx="70">
                  <c:v>0.0</c:v>
                </c:pt>
                <c:pt idx="71">
                  <c:v>0.0</c:v>
                </c:pt>
                <c:pt idx="72">
                  <c:v>0.0</c:v>
                </c:pt>
                <c:pt idx="73">
                  <c:v>0.0</c:v>
                </c:pt>
                <c:pt idx="74">
                  <c:v>0.0</c:v>
                </c:pt>
                <c:pt idx="75">
                  <c:v>0.0</c:v>
                </c:pt>
                <c:pt idx="76">
                  <c:v>0.0</c:v>
                </c:pt>
                <c:pt idx="77">
                  <c:v>0.19900332225913622</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numCache>
            </c:numRef>
          </c:xVal>
          <c:yVal>
            <c:numRef>
              <c:f>Sheet1!$B$2:$B$95</c:f>
              <c:numCache>
                <c:formatCode>General</c:formatCode>
                <c:ptCount val="94"/>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7407407407407407</c:v>
                </c:pt>
                <c:pt idx="37">
                  <c:v>0.09302325581395349</c:v>
                </c:pt>
                <c:pt idx="38">
                  <c:v>0.1282051282051282</c:v>
                </c:pt>
                <c:pt idx="39">
                  <c:v>0.10204081632653061</c:v>
                </c:pt>
                <c:pt idx="40">
                  <c:v>0.1</c:v>
                </c:pt>
                <c:pt idx="41">
                  <c:v>0.11904761904761904</c:v>
                </c:pt>
                <c:pt idx="42">
                  <c:v>0.13924050632911392</c:v>
                </c:pt>
                <c:pt idx="43">
                  <c:v>0.16981132075471697</c:v>
                </c:pt>
                <c:pt idx="44">
                  <c:v>0.19148936170212766</c:v>
                </c:pt>
                <c:pt idx="45">
                  <c:v>0.1553398058252427</c:v>
                </c:pt>
                <c:pt idx="46">
                  <c:v>0.174496644295302</c:v>
                </c:pt>
                <c:pt idx="47">
                  <c:v>0.17204301075268819</c:v>
                </c:pt>
                <c:pt idx="48">
                  <c:v>0.19</c:v>
                </c:pt>
                <c:pt idx="49">
                  <c:v>0.14285714285714285</c:v>
                </c:pt>
                <c:pt idx="50">
                  <c:v>0.18446601941747573</c:v>
                </c:pt>
                <c:pt idx="51">
                  <c:v>0.1827956989247312</c:v>
                </c:pt>
                <c:pt idx="52">
                  <c:v>0.19047619047619047</c:v>
                </c:pt>
                <c:pt idx="53">
                  <c:v>0.16279069767441862</c:v>
                </c:pt>
                <c:pt idx="54">
                  <c:v>0.18478260869565216</c:v>
                </c:pt>
                <c:pt idx="55">
                  <c:v>0.16666666666666666</c:v>
                </c:pt>
                <c:pt idx="56">
                  <c:v>0.168</c:v>
                </c:pt>
                <c:pt idx="57">
                  <c:v>0.17682926829268292</c:v>
                </c:pt>
                <c:pt idx="58">
                  <c:v>0.16071428571428573</c:v>
                </c:pt>
                <c:pt idx="59">
                  <c:v>0.14189189189189189</c:v>
                </c:pt>
                <c:pt idx="60">
                  <c:v>0.1388888888888889</c:v>
                </c:pt>
                <c:pt idx="61">
                  <c:v>0.17964071856287425</c:v>
                </c:pt>
                <c:pt idx="62">
                  <c:v>0.21301775147928995</c:v>
                </c:pt>
                <c:pt idx="63">
                  <c:v>0.20118343195266272</c:v>
                </c:pt>
                <c:pt idx="64">
                  <c:v>0.17647058823529413</c:v>
                </c:pt>
                <c:pt idx="65">
                  <c:v>0.1935483870967742</c:v>
                </c:pt>
                <c:pt idx="66">
                  <c:v>0.16666666666666666</c:v>
                </c:pt>
                <c:pt idx="67">
                  <c:v>0.23076923076923078</c:v>
                </c:pt>
                <c:pt idx="68">
                  <c:v>0.1794871794871795</c:v>
                </c:pt>
                <c:pt idx="69">
                  <c:v>0.13513513513513514</c:v>
                </c:pt>
                <c:pt idx="70">
                  <c:v>0.41935483870967744</c:v>
                </c:pt>
                <c:pt idx="71">
                  <c:v>0.3048780487804878</c:v>
                </c:pt>
                <c:pt idx="72">
                  <c:v>0.11864406779661017</c:v>
                </c:pt>
                <c:pt idx="73">
                  <c:v>0.10810810810810811</c:v>
                </c:pt>
                <c:pt idx="74">
                  <c:v>0.16216216216216217</c:v>
                </c:pt>
                <c:pt idx="75">
                  <c:v>0.10344827586206896</c:v>
                </c:pt>
                <c:pt idx="76">
                  <c:v>0.2</c:v>
                </c:pt>
                <c:pt idx="77">
                  <c:v>0.16666666666666666</c:v>
                </c:pt>
                <c:pt idx="78">
                  <c:v>0.10526315789473684</c:v>
                </c:pt>
                <c:pt idx="79">
                  <c:v>0.0967741935483871</c:v>
                </c:pt>
                <c:pt idx="80">
                  <c:v>0.05263157894736842</c:v>
                </c:pt>
                <c:pt idx="81">
                  <c:v>0.13636363636363635</c:v>
                </c:pt>
                <c:pt idx="82">
                  <c:v>0.20833333333333334</c:v>
                </c:pt>
                <c:pt idx="83">
                  <c:v>0.12903225806451613</c:v>
                </c:pt>
                <c:pt idx="84">
                  <c:v>0.16129032258064516</c:v>
                </c:pt>
                <c:pt idx="85">
                  <c:v>0.23809523809523808</c:v>
                </c:pt>
                <c:pt idx="86">
                  <c:v>0.3225806451612903</c:v>
                </c:pt>
                <c:pt idx="87">
                  <c:v>0.19047619047619047</c:v>
                </c:pt>
                <c:pt idx="88">
                  <c:v>0.20833333333333334</c:v>
                </c:pt>
                <c:pt idx="89">
                  <c:v>0.18421052631578946</c:v>
                </c:pt>
                <c:pt idx="90">
                  <c:v>0.0967741935483871</c:v>
                </c:pt>
                <c:pt idx="91">
                  <c:v>0.1111111111111111</c:v>
                </c:pt>
                <c:pt idx="92">
                  <c:v>0.16470588235294117</c:v>
                </c:pt>
                <c:pt idx="93">
                  <c:v>0.19791666666666666</c:v>
                </c:pt>
              </c:numCache>
            </c:numRef>
          </c:yVal>
          <c:smooth val="0"/>
          <c:extLst>
            <c:ext xmlns:c16="http://schemas.microsoft.com/office/drawing/2014/chart" uri="{C3380CC4-5D6E-409C-BE32-E72D297353CC}">
              <c16:uniqueId val="{00000000-096C-4121-9522-6AB7243CCAAE}"/>
            </c:ext>
          </c:extLst>
        </c:ser>
        <c:ser>
          <c:idx val="1"/>
          <c:order val="1"/>
          <c:tx>
            <c:strRef>
              <c:f>Sheet1!$B$9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8:$A$97</c:f>
              <c:numCache>
                <c:formatCode>General</c:formatCode>
                <c:ptCount val="0"/>
              </c:numCache>
            </c:numRef>
          </c:xVal>
          <c:yVal>
            <c:numRef>
              <c:f>Sheet1!$B$98:$B$9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9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0:$A$101</c:f>
              <c:numCache>
                <c:formatCode>General</c:formatCode>
                <c:ptCount val="2"/>
                <c:pt idx="0">
                  <c:v>0</c:v>
                </c:pt>
                <c:pt idx="1">
                  <c:v>0.21775665538896025</c:v>
                </c:pt>
              </c:numCache>
            </c:numRef>
          </c:xVal>
          <c:yVal>
            <c:numRef>
              <c:f>Sheet1!$B$100:$B$101</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5-096C-4121-9522-6AB7243CCAAE}"/>
            </c:ext>
          </c:extLst>
        </c:ser>
        <c:ser>
          <c:idx val="3"/>
          <c:order val="3"/>
          <c:tx>
            <c:strRef>
              <c:f>Sheet1!$B$10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0.21775665538896025</c:v>
                </c:pt>
                <c:pt idx="1">
                  <c:v>0.21775665538896025</c:v>
                </c:pt>
              </c:numCache>
            </c:numRef>
          </c:xVal>
          <c:yVal>
            <c:numRef>
              <c:f>Sheet1!$B$104:$B$105</c:f>
              <c:numCache>
                <c:formatCode>General</c:formatCode>
                <c:ptCount val="2"/>
                <c:pt idx="0">
                  <c:v>0.217756655388960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8:$A$109</c:f>
              <c:numCache>
                <c:formatCode>General</c:formatCode>
                <c:ptCount val="2"/>
                <c:pt idx="0">
                  <c:v>0</c:v>
                </c:pt>
                <c:pt idx="1">
                  <c:v>0.18131127450980392</c:v>
                </c:pt>
              </c:numCache>
            </c:numRef>
          </c:xVal>
          <c:yVal>
            <c:numRef>
              <c:f>Sheet1!$B$108:$B$109</c:f>
              <c:numCache>
                <c:formatCode>General</c:formatCode>
                <c:ptCount val="2"/>
                <c:pt idx="0">
                  <c:v>0.18131127450980392</c:v>
                </c:pt>
                <c:pt idx="1">
                  <c:v>0.18131127450980392</c:v>
                </c:pt>
              </c:numCache>
            </c:numRef>
          </c:yVal>
          <c:smooth val="0"/>
          <c:extLst>
            <c:ext xmlns:c16="http://schemas.microsoft.com/office/drawing/2014/chart" uri="{C3380CC4-5D6E-409C-BE32-E72D297353CC}">
              <c16:uniqueId val="{0000000D-096C-4121-9522-6AB7243CCAAE}"/>
            </c:ext>
          </c:extLst>
        </c:ser>
        <c:ser>
          <c:idx val="5"/>
          <c:order val="5"/>
          <c:tx>
            <c:strRef>
              <c:f>Sheet1!$B$11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0.18131127450980392</c:v>
                </c:pt>
                <c:pt idx="1">
                  <c:v>0.18131127450980392</c:v>
                </c:pt>
              </c:numCache>
            </c:numRef>
          </c:xVal>
          <c:yVal>
            <c:numRef>
              <c:f>Sheet1!$B$112:$B$113</c:f>
              <c:numCache>
                <c:formatCode>General</c:formatCode>
                <c:ptCount val="2"/>
                <c:pt idx="0">
                  <c:v>0.181311274509803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5</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6:$A$118</c:f>
              <c:numCache>
                <c:formatCode>General</c:formatCode>
                <c:ptCount val="3"/>
                <c:pt idx="0">
                  <c:v>0.18131127450980392</c:v>
                </c:pt>
                <c:pt idx="1">
                  <c:v>0.21775665538896025</c:v>
                </c:pt>
                <c:pt idx="2">
                  <c:v>0</c:v>
                </c:pt>
              </c:numCache>
            </c:numRef>
          </c:xVal>
          <c:yVal>
            <c:numRef>
              <c:f>Sheet1!$B$116:$B$118</c:f>
              <c:numCache>
                <c:formatCode>General</c:formatCode>
                <c:ptCount val="3"/>
                <c:pt idx="0">
                  <c:v>0.18131127450980392</c:v>
                </c:pt>
                <c:pt idx="1">
                  <c:v>0.21775665538896025</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3</c:f>
              <c:numCache>
                <c:formatCode>General</c:formatCode>
                <c:ptCount val="92"/>
                <c:pt idx="0">
                  <c:v>676.16</c:v>
                </c:pt>
                <c:pt idx="1">
                  <c:v>715.7857</c:v>
                </c:pt>
                <c:pt idx="2">
                  <c:v>684.4333</c:v>
                </c:pt>
                <c:pt idx="3">
                  <c:v>697.4074</c:v>
                </c:pt>
                <c:pt idx="4">
                  <c:v>680.0833</c:v>
                </c:pt>
                <c:pt idx="5">
                  <c:v>634.0645</c:v>
                </c:pt>
                <c:pt idx="6">
                  <c:v>657.8065</c:v>
                </c:pt>
                <c:pt idx="7">
                  <c:v>668.6563</c:v>
                </c:pt>
                <c:pt idx="8">
                  <c:v>645.7586</c:v>
                </c:pt>
                <c:pt idx="9">
                  <c:v>681.2188</c:v>
                </c:pt>
                <c:pt idx="10">
                  <c:v>738.0571</c:v>
                </c:pt>
                <c:pt idx="11">
                  <c:v>737.7872</c:v>
                </c:pt>
                <c:pt idx="12">
                  <c:v>715.8636</c:v>
                </c:pt>
                <c:pt idx="13">
                  <c:v>651.3659</c:v>
                </c:pt>
                <c:pt idx="14">
                  <c:v>662.3889</c:v>
                </c:pt>
                <c:pt idx="15">
                  <c:v>736.3</c:v>
                </c:pt>
                <c:pt idx="16">
                  <c:v>742.65</c:v>
                </c:pt>
                <c:pt idx="17">
                  <c:v>733.2353</c:v>
                </c:pt>
                <c:pt idx="18">
                  <c:v>787.4545</c:v>
                </c:pt>
                <c:pt idx="19">
                  <c:v>752.7</c:v>
                </c:pt>
                <c:pt idx="20">
                  <c:v>801.6429</c:v>
                </c:pt>
                <c:pt idx="21">
                  <c:v>743.6667</c:v>
                </c:pt>
                <c:pt idx="22">
                  <c:v>793.4</c:v>
                </c:pt>
                <c:pt idx="23">
                  <c:v>828.1429</c:v>
                </c:pt>
                <c:pt idx="24">
                  <c:v>781.375</c:v>
                </c:pt>
                <c:pt idx="25">
                  <c:v>658.8889</c:v>
                </c:pt>
                <c:pt idx="26">
                  <c:v>610.4</c:v>
                </c:pt>
                <c:pt idx="27">
                  <c:v>622.3333</c:v>
                </c:pt>
                <c:pt idx="28">
                  <c:v>538.0833</c:v>
                </c:pt>
                <c:pt idx="29">
                  <c:v>713.5714</c:v>
                </c:pt>
                <c:pt idx="30">
                  <c:v>745.6</c:v>
                </c:pt>
                <c:pt idx="31">
                  <c:v>725.2</c:v>
                </c:pt>
                <c:pt idx="32">
                  <c:v>786.8</c:v>
                </c:pt>
                <c:pt idx="33">
                  <c:v>700.0</c:v>
                </c:pt>
                <c:pt idx="34">
                  <c:v>621.0</c:v>
                </c:pt>
                <c:pt idx="35">
                  <c:v>731.4444</c:v>
                </c:pt>
                <c:pt idx="36">
                  <c:v>807.5</c:v>
                </c:pt>
                <c:pt idx="37">
                  <c:v>953.75</c:v>
                </c:pt>
                <c:pt idx="38">
                  <c:v>893.6</c:v>
                </c:pt>
                <c:pt idx="39">
                  <c:v>746.8</c:v>
                </c:pt>
                <c:pt idx="40">
                  <c:v>774.5</c:v>
                </c:pt>
                <c:pt idx="41">
                  <c:v>823.4</c:v>
                </c:pt>
                <c:pt idx="42">
                  <c:v>823.5455</c:v>
                </c:pt>
                <c:pt idx="43">
                  <c:v>796.2778</c:v>
                </c:pt>
                <c:pt idx="44">
                  <c:v>832.0</c:v>
                </c:pt>
                <c:pt idx="45">
                  <c:v>841.0625</c:v>
                </c:pt>
                <c:pt idx="46">
                  <c:v>829.9231</c:v>
                </c:pt>
                <c:pt idx="47">
                  <c:v>799.6875</c:v>
                </c:pt>
                <c:pt idx="48">
                  <c:v>840.7895</c:v>
                </c:pt>
                <c:pt idx="49">
                  <c:v>866.7143</c:v>
                </c:pt>
                <c:pt idx="50">
                  <c:v>836.4737</c:v>
                </c:pt>
                <c:pt idx="51">
                  <c:v>902.4706</c:v>
                </c:pt>
                <c:pt idx="52">
                  <c:v>878.25</c:v>
                </c:pt>
                <c:pt idx="53">
                  <c:v>884.2143</c:v>
                </c:pt>
                <c:pt idx="54">
                  <c:v>840.5294</c:v>
                </c:pt>
                <c:pt idx="55">
                  <c:v>775.0952</c:v>
                </c:pt>
                <c:pt idx="56">
                  <c:v>861.5714</c:v>
                </c:pt>
                <c:pt idx="57">
                  <c:v>856.6552</c:v>
                </c:pt>
                <c:pt idx="58">
                  <c:v>799.963</c:v>
                </c:pt>
                <c:pt idx="59">
                  <c:v>864.0476</c:v>
                </c:pt>
                <c:pt idx="60">
                  <c:v>900.35</c:v>
                </c:pt>
                <c:pt idx="61">
                  <c:v>832.3</c:v>
                </c:pt>
                <c:pt idx="62">
                  <c:v>781.4444</c:v>
                </c:pt>
                <c:pt idx="63">
                  <c:v>709.7647</c:v>
                </c:pt>
                <c:pt idx="64">
                  <c:v>770.0741</c:v>
                </c:pt>
                <c:pt idx="65">
                  <c:v>738.3333</c:v>
                </c:pt>
                <c:pt idx="66">
                  <c:v>649.5625</c:v>
                </c:pt>
                <c:pt idx="67">
                  <c:v>710.2</c:v>
                </c:pt>
                <c:pt idx="68">
                  <c:v>657.2857</c:v>
                </c:pt>
                <c:pt idx="69">
                  <c:v>750.8</c:v>
                </c:pt>
                <c:pt idx="70">
                  <c:v>264.9231</c:v>
                </c:pt>
                <c:pt idx="71">
                  <c:v>376.12</c:v>
                </c:pt>
                <c:pt idx="72">
                  <c:v>824.4286</c:v>
                </c:pt>
                <c:pt idx="73">
                  <c:v>811.75</c:v>
                </c:pt>
                <c:pt idx="74">
                  <c:v>847.8333</c:v>
                </c:pt>
                <c:pt idx="75">
                  <c:v>925.0</c:v>
                </c:pt>
                <c:pt idx="76">
                  <c:v>869.8</c:v>
                </c:pt>
                <c:pt idx="77">
                  <c:v>838.6</c:v>
                </c:pt>
                <c:pt idx="78">
                  <c:v>780.75</c:v>
                </c:pt>
                <c:pt idx="79">
                  <c:v>559.0</c:v>
                </c:pt>
                <c:pt idx="80">
                  <c:v>1293.0</c:v>
                </c:pt>
                <c:pt idx="81">
                  <c:v>421.0</c:v>
                </c:pt>
                <c:pt idx="82">
                  <c:v>580.2</c:v>
                </c:pt>
                <c:pt idx="83">
                  <c:v>554.5</c:v>
                </c:pt>
                <c:pt idx="84">
                  <c:v>835.6</c:v>
                </c:pt>
                <c:pt idx="85">
                  <c:v>344.4</c:v>
                </c:pt>
                <c:pt idx="86">
                  <c:v>200.1</c:v>
                </c:pt>
                <c:pt idx="87">
                  <c:v>480.0</c:v>
                </c:pt>
                <c:pt idx="88">
                  <c:v>311.2</c:v>
                </c:pt>
                <c:pt idx="89">
                  <c:v>521.0</c:v>
                </c:pt>
                <c:pt idx="90">
                  <c:v>361.0</c:v>
                </c:pt>
                <c:pt idx="91">
                  <c:v>637.6667</c:v>
                </c:pt>
              </c:numCache>
            </c:numRef>
          </c:xVal>
          <c:yVal>
            <c:numRef>
              <c:f>Sheet1!$B$2:$B$93</c:f>
              <c:numCache>
                <c:formatCode>General</c:formatCode>
                <c:ptCount val="92"/>
                <c:pt idx="0">
                  <c:v>0.20833333333333334</c:v>
                </c:pt>
                <c:pt idx="1">
                  <c:v>0.23140495867768596</c:v>
                </c:pt>
                <c:pt idx="2">
                  <c:v>0.23622047244094488</c:v>
                </c:pt>
                <c:pt idx="3">
                  <c:v>0.20930232558139536</c:v>
                </c:pt>
                <c:pt idx="4">
                  <c:v>0.2222222222222222</c:v>
                </c:pt>
                <c:pt idx="5">
                  <c:v>0.2246376811594203</c:v>
                </c:pt>
                <c:pt idx="6">
                  <c:v>0.2052980132450331</c:v>
                </c:pt>
                <c:pt idx="7">
                  <c:v>0.23529411764705882</c:v>
                </c:pt>
                <c:pt idx="8">
                  <c:v>0.1870967741935484</c:v>
                </c:pt>
                <c:pt idx="9">
                  <c:v>0.19161676646706588</c:v>
                </c:pt>
                <c:pt idx="10">
                  <c:v>0.20958083832335328</c:v>
                </c:pt>
                <c:pt idx="11">
                  <c:v>0.26256983240223464</c:v>
                </c:pt>
                <c:pt idx="12">
                  <c:v>0.22</c:v>
                </c:pt>
                <c:pt idx="13">
                  <c:v>0.21243523316062177</c:v>
                </c:pt>
                <c:pt idx="14">
                  <c:v>0.2155688622754491</c:v>
                </c:pt>
                <c:pt idx="15">
                  <c:v>0.1724137931034483</c:v>
                </c:pt>
                <c:pt idx="16">
                  <c:v>0.21978021978021978</c:v>
                </c:pt>
                <c:pt idx="17">
                  <c:v>0.2073170731707317</c:v>
                </c:pt>
                <c:pt idx="18">
                  <c:v>0.1746031746031746</c:v>
                </c:pt>
                <c:pt idx="19">
                  <c:v>0.18518518518518517</c:v>
                </c:pt>
                <c:pt idx="20">
                  <c:v>0.20588235294117646</c:v>
                </c:pt>
                <c:pt idx="21">
                  <c:v>0.21428571428571427</c:v>
                </c:pt>
                <c:pt idx="22">
                  <c:v>0.18867924528301888</c:v>
                </c:pt>
                <c:pt idx="23">
                  <c:v>0.175</c:v>
                </c:pt>
                <c:pt idx="24">
                  <c:v>0.16326530612244897</c:v>
                </c:pt>
                <c:pt idx="25">
                  <c:v>0.23076923076923078</c:v>
                </c:pt>
                <c:pt idx="26">
                  <c:v>0.17543859649122806</c:v>
                </c:pt>
                <c:pt idx="27">
                  <c:v>0.1956521739130435</c:v>
                </c:pt>
                <c:pt idx="28">
                  <c:v>0.21818181818181817</c:v>
                </c:pt>
                <c:pt idx="29">
                  <c:v>0.16279069767441862</c:v>
                </c:pt>
                <c:pt idx="30">
                  <c:v>0.16666666666666666</c:v>
                </c:pt>
                <c:pt idx="31">
                  <c:v>0.1282051282051282</c:v>
                </c:pt>
                <c:pt idx="32">
                  <c:v>0.1724137931034483</c:v>
                </c:pt>
                <c:pt idx="33">
                  <c:v>0.09803921568627451</c:v>
                </c:pt>
                <c:pt idx="34">
                  <c:v>0.13333333333333333</c:v>
                </c:pt>
                <c:pt idx="35">
                  <c:v>0.13636363636363635</c:v>
                </c:pt>
                <c:pt idx="36">
                  <c:v>0.07407407407407407</c:v>
                </c:pt>
                <c:pt idx="37">
                  <c:v>0.09302325581395349</c:v>
                </c:pt>
                <c:pt idx="38">
                  <c:v>0.1282051282051282</c:v>
                </c:pt>
                <c:pt idx="39">
                  <c:v>0.10204081632653061</c:v>
                </c:pt>
                <c:pt idx="40">
                  <c:v>0.1</c:v>
                </c:pt>
                <c:pt idx="41">
                  <c:v>0.11904761904761904</c:v>
                </c:pt>
                <c:pt idx="42">
                  <c:v>0.13924050632911392</c:v>
                </c:pt>
                <c:pt idx="43">
                  <c:v>0.16981132075471697</c:v>
                </c:pt>
                <c:pt idx="44">
                  <c:v>0.19148936170212766</c:v>
                </c:pt>
                <c:pt idx="45">
                  <c:v>0.1553398058252427</c:v>
                </c:pt>
                <c:pt idx="46">
                  <c:v>0.174496644295302</c:v>
                </c:pt>
                <c:pt idx="47">
                  <c:v>0.17204301075268819</c:v>
                </c:pt>
                <c:pt idx="48">
                  <c:v>0.19</c:v>
                </c:pt>
                <c:pt idx="49">
                  <c:v>0.14285714285714285</c:v>
                </c:pt>
                <c:pt idx="50">
                  <c:v>0.18446601941747573</c:v>
                </c:pt>
                <c:pt idx="51">
                  <c:v>0.1827956989247312</c:v>
                </c:pt>
                <c:pt idx="52">
                  <c:v>0.19047619047619047</c:v>
                </c:pt>
                <c:pt idx="53">
                  <c:v>0.16279069767441862</c:v>
                </c:pt>
                <c:pt idx="54">
                  <c:v>0.18478260869565216</c:v>
                </c:pt>
                <c:pt idx="55">
                  <c:v>0.16666666666666666</c:v>
                </c:pt>
                <c:pt idx="56">
                  <c:v>0.168</c:v>
                </c:pt>
                <c:pt idx="57">
                  <c:v>0.17682926829268292</c:v>
                </c:pt>
                <c:pt idx="58">
                  <c:v>0.16071428571428573</c:v>
                </c:pt>
                <c:pt idx="59">
                  <c:v>0.14189189189189189</c:v>
                </c:pt>
                <c:pt idx="60">
                  <c:v>0.1388888888888889</c:v>
                </c:pt>
                <c:pt idx="61">
                  <c:v>0.17964071856287425</c:v>
                </c:pt>
                <c:pt idx="62">
                  <c:v>0.21301775147928995</c:v>
                </c:pt>
                <c:pt idx="63">
                  <c:v>0.20118343195266272</c:v>
                </c:pt>
                <c:pt idx="64">
                  <c:v>0.17647058823529413</c:v>
                </c:pt>
                <c:pt idx="65">
                  <c:v>0.1935483870967742</c:v>
                </c:pt>
                <c:pt idx="66">
                  <c:v>0.16666666666666666</c:v>
                </c:pt>
                <c:pt idx="67">
                  <c:v>0.23076923076923078</c:v>
                </c:pt>
                <c:pt idx="68">
                  <c:v>0.1794871794871795</c:v>
                </c:pt>
                <c:pt idx="69">
                  <c:v>0.13513513513513514</c:v>
                </c:pt>
                <c:pt idx="70">
                  <c:v>0.41935483870967744</c:v>
                </c:pt>
                <c:pt idx="71">
                  <c:v>0.3048780487804878</c:v>
                </c:pt>
                <c:pt idx="72">
                  <c:v>0.11864406779661017</c:v>
                </c:pt>
                <c:pt idx="73">
                  <c:v>0.10810810810810811</c:v>
                </c:pt>
                <c:pt idx="74">
                  <c:v>0.16216216216216217</c:v>
                </c:pt>
                <c:pt idx="75">
                  <c:v>0.10344827586206896</c:v>
                </c:pt>
                <c:pt idx="76">
                  <c:v>0.2</c:v>
                </c:pt>
                <c:pt idx="77">
                  <c:v>0.16666666666666666</c:v>
                </c:pt>
                <c:pt idx="78">
                  <c:v>0.10526315789473684</c:v>
                </c:pt>
                <c:pt idx="79">
                  <c:v>0.0967741935483871</c:v>
                </c:pt>
                <c:pt idx="80">
                  <c:v>0.05263157894736842</c:v>
                </c:pt>
                <c:pt idx="81">
                  <c:v>0.13636363636363635</c:v>
                </c:pt>
                <c:pt idx="82">
                  <c:v>0.20833333333333334</c:v>
                </c:pt>
                <c:pt idx="83">
                  <c:v>0.12903225806451613</c:v>
                </c:pt>
                <c:pt idx="84">
                  <c:v>0.16129032258064516</c:v>
                </c:pt>
                <c:pt idx="85">
                  <c:v>0.23809523809523808</c:v>
                </c:pt>
                <c:pt idx="86">
                  <c:v>0.3225806451612903</c:v>
                </c:pt>
                <c:pt idx="87">
                  <c:v>0.19047619047619047</c:v>
                </c:pt>
                <c:pt idx="88">
                  <c:v>0.20833333333333334</c:v>
                </c:pt>
                <c:pt idx="89">
                  <c:v>0.18421052631578946</c:v>
                </c:pt>
                <c:pt idx="90">
                  <c:v>0.0967741935483871</c:v>
                </c:pt>
                <c:pt idx="91">
                  <c:v>0.1111111111111111</c:v>
                </c:pt>
              </c:numCache>
            </c:numRef>
          </c:yVal>
          <c:smooth val="0"/>
          <c:extLst>
            <c:ext xmlns:c16="http://schemas.microsoft.com/office/drawing/2014/chart" uri="{C3380CC4-5D6E-409C-BE32-E72D297353CC}">
              <c16:uniqueId val="{00000000-F32D-48B7-BC20-E66FC6253BAD}"/>
            </c:ext>
          </c:extLst>
        </c:ser>
        <c:ser>
          <c:idx val="1"/>
          <c:order val="1"/>
          <c:tx>
            <c:strRef>
              <c:f>Sheet1!$B$9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6:$A$97</c:f>
              <c:numCache>
                <c:formatCode>General</c:formatCode>
                <c:ptCount val="2"/>
                <c:pt idx="0">
                  <c:v>891.9286</c:v>
                </c:pt>
                <c:pt idx="1">
                  <c:v>817.2105</c:v>
                </c:pt>
              </c:numCache>
            </c:numRef>
          </c:xVal>
          <c:yVal>
            <c:numRef>
              <c:f>Sheet1!$B$96:$B$97</c:f>
              <c:numCache>
                <c:formatCode>General</c:formatCode>
                <c:ptCount val="2"/>
                <c:pt idx="0">
                  <c:v>0.16470588235294117</c:v>
                </c:pt>
                <c:pt idx="1">
                  <c:v>0.19791666666666666</c:v>
                </c:pt>
              </c:numCache>
            </c:numRef>
          </c:yVal>
          <c:smooth val="0"/>
          <c:extLst>
            <c:ext xmlns:c16="http://schemas.microsoft.com/office/drawing/2014/chart" uri="{C3380CC4-5D6E-409C-BE32-E72D297353CC}">
              <c16:uniqueId val="{00000002-F32D-48B7-BC20-E66FC6253BAD}"/>
            </c:ext>
          </c:extLst>
        </c:ser>
        <c:ser>
          <c:idx val="2"/>
          <c:order val="2"/>
          <c:tx>
            <c:strRef>
              <c:f>Sheet1!$B$99</c:f>
              <c:strCache>
                <c:ptCount val="1"/>
                <c:pt idx="0">
                  <c:v>Custom Linep3yQ</c:v>
                </c:pt>
              </c:strCache>
            </c:strRef>
          </c:tx>
          <c:spPr>
            <a:ln w="19050" cap="rnd">
              <a:solidFill>
                <a:srgbClr val="C00000"/>
              </a:solidFill>
              <a:prstDash val="sysDot"/>
              <a:round/>
            </a:ln>
            <a:effectLst/>
          </c:spPr>
          <c:marker>
            <c:symbol val="none"/>
          </c:marker>
          <c:xVal>
            <c:numRef>
              <c:f>Sheet1!$A$100:$A$101</c:f>
              <c:numCache>
                <c:formatCode>General</c:formatCode>
                <c:ptCount val="2"/>
                <c:pt idx="0">
                  <c:v>0</c:v>
                </c:pt>
                <c:pt idx="1">
                  <c:v>772.5742081452921</c:v>
                </c:pt>
              </c:numCache>
            </c:numRef>
          </c:xVal>
          <c:yVal>
            <c:numRef>
              <c:f>Sheet1!$B$100:$B$101</c:f>
              <c:numCache>
                <c:formatCode>General</c:formatCode>
                <c:ptCount val="2"/>
                <c:pt idx="0">
                  <c:v>0.21775665538896025</c:v>
                </c:pt>
                <c:pt idx="1">
                  <c:v>0.21775665538896025</c:v>
                </c:pt>
              </c:numCache>
            </c:numRef>
          </c:yVal>
          <c:smooth val="0"/>
          <c:extLst>
            <c:ext xmlns:c16="http://schemas.microsoft.com/office/drawing/2014/chart" uri="{C3380CC4-5D6E-409C-BE32-E72D297353CC}">
              <c16:uniqueId val="{00000003-F32D-48B7-BC20-E66FC6253BAD}"/>
            </c:ext>
          </c:extLst>
        </c:ser>
        <c:ser>
          <c:idx val="3"/>
          <c:order val="3"/>
          <c:tx>
            <c:strRef>
              <c:f>Sheet1!$B$10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772.5742081452921</c:v>
                </c:pt>
                <c:pt idx="1">
                  <c:v>772.5742081452921</c:v>
                </c:pt>
              </c:numCache>
            </c:numRef>
          </c:xVal>
          <c:yVal>
            <c:numRef>
              <c:f>Sheet1!$B$104:$B$105</c:f>
              <c:numCache>
                <c:formatCode>General</c:formatCode>
                <c:ptCount val="2"/>
                <c:pt idx="0">
                  <c:v>0.217756655388960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8:$A$109</c:f>
              <c:numCache>
                <c:formatCode>General</c:formatCode>
                <c:ptCount val="2"/>
                <c:pt idx="0">
                  <c:v>0</c:v>
                </c:pt>
                <c:pt idx="1">
                  <c:v>854.5695499999997</c:v>
                </c:pt>
              </c:numCache>
            </c:numRef>
          </c:xVal>
          <c:yVal>
            <c:numRef>
              <c:f>Sheet1!$B$108:$B$109</c:f>
              <c:numCache>
                <c:formatCode>General</c:formatCode>
                <c:ptCount val="2"/>
                <c:pt idx="0">
                  <c:v>0.18131127450980392</c:v>
                </c:pt>
                <c:pt idx="1">
                  <c:v>0.18131127450980392</c:v>
                </c:pt>
              </c:numCache>
            </c:numRef>
          </c:yVal>
          <c:smooth val="0"/>
          <c:extLst>
            <c:ext xmlns:c16="http://schemas.microsoft.com/office/drawing/2014/chart" uri="{C3380CC4-5D6E-409C-BE32-E72D297353CC}">
              <c16:uniqueId val="{0000000A-F32D-48B7-BC20-E66FC6253BAD}"/>
            </c:ext>
          </c:extLst>
        </c:ser>
        <c:ser>
          <c:idx val="5"/>
          <c:order val="5"/>
          <c:tx>
            <c:strRef>
              <c:f>Sheet1!$B$11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854.5695499999997</c:v>
                </c:pt>
                <c:pt idx="1">
                  <c:v>854.5695499999997</c:v>
                </c:pt>
              </c:numCache>
            </c:numRef>
          </c:xVal>
          <c:yVal>
            <c:numRef>
              <c:f>Sheet1!$B$112:$B$113</c:f>
              <c:numCache>
                <c:formatCode>General</c:formatCode>
                <c:ptCount val="2"/>
                <c:pt idx="0">
                  <c:v>0.181311274509803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5</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6:$A$120</c:f>
              <c:numCache>
                <c:formatCode>General</c:formatCode>
                <c:ptCount val="5"/>
                <c:pt idx="0">
                  <c:v>891.9286</c:v>
                </c:pt>
                <c:pt idx="1">
                  <c:v>817.2105</c:v>
                </c:pt>
                <c:pt idx="2">
                  <c:v>854.5695499999997</c:v>
                </c:pt>
                <c:pt idx="3">
                  <c:v>772.5742081452921</c:v>
                </c:pt>
                <c:pt idx="4">
                  <c:v>0</c:v>
                </c:pt>
              </c:numCache>
            </c:numRef>
          </c:xVal>
          <c:yVal>
            <c:numRef>
              <c:f>Sheet1!$B$116:$B$120</c:f>
              <c:numCache>
                <c:formatCode>General</c:formatCode>
                <c:ptCount val="5"/>
                <c:pt idx="0">
                  <c:v>0.16470588235294092</c:v>
                </c:pt>
                <c:pt idx="1">
                  <c:v>0.19791666666666657</c:v>
                </c:pt>
                <c:pt idx="2">
                  <c:v>0.1813112745098039</c:v>
                </c:pt>
                <c:pt idx="3">
                  <c:v>0.21775665538896027</c:v>
                </c:pt>
                <c:pt idx="4">
                  <c:v>0.5611512999671908</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32258064516129"/>
          <c:min val="0.0421052631578947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5</c:f>
              <c:numCache>
                <c:formatCode>General</c:formatCode>
                <c:ptCount val="114"/>
                <c:pt idx="0">
                  <c:v>3.1526269506713938</c:v>
                </c:pt>
                <c:pt idx="1">
                  <c:v>3.2598731006370287</c:v>
                </c:pt>
                <c:pt idx="2">
                  <c:v>3.217677140930546</c:v>
                </c:pt>
                <c:pt idx="3">
                  <c:v>3.204557267591166</c:v>
                </c:pt>
                <c:pt idx="4">
                  <c:v>3.2129921135646686</c:v>
                </c:pt>
                <c:pt idx="5">
                  <c:v>3.1682511932098616</c:v>
                </c:pt>
                <c:pt idx="6">
                  <c:v>3.0929349828264177</c:v>
                </c:pt>
                <c:pt idx="7">
                  <c:v>3.4223194444444447</c:v>
                </c:pt>
                <c:pt idx="8">
                  <c:v>3.4252431411987203</c:v>
                </c:pt>
                <c:pt idx="9">
                  <c:v>3.3661739956561525</c:v>
                </c:pt>
                <c:pt idx="10">
                  <c:v>3.2661382260955505</c:v>
                </c:pt>
                <c:pt idx="11">
                  <c:v>3.431376782125111</c:v>
                </c:pt>
                <c:pt idx="12">
                  <c:v>3.256026016945217</c:v>
                </c:pt>
                <c:pt idx="13">
                  <c:v>3.242985632818423</c:v>
                </c:pt>
                <c:pt idx="14">
                  <c:v>6.314932188373203</c:v>
                </c:pt>
                <c:pt idx="15">
                  <c:v>7.001907365150849</c:v>
                </c:pt>
                <c:pt idx="16">
                  <c:v>6.770378364275677</c:v>
                </c:pt>
                <c:pt idx="17">
                  <c:v>7.138880245404184</c:v>
                </c:pt>
                <c:pt idx="18">
                  <c:v>11.38194823936672</c:v>
                </c:pt>
                <c:pt idx="19">
                  <c:v>14.696758515881223</c:v>
                </c:pt>
                <c:pt idx="20">
                  <c:v>15.94436328676131</c:v>
                </c:pt>
                <c:pt idx="21">
                  <c:v>14.157370712137388</c:v>
                </c:pt>
                <c:pt idx="22">
                  <c:v>21.402091232367003</c:v>
                </c:pt>
                <c:pt idx="23">
                  <c:v>32.91276244795755</c:v>
                </c:pt>
                <c:pt idx="24">
                  <c:v>29.245333165812152</c:v>
                </c:pt>
                <c:pt idx="25">
                  <c:v>24.287270953299323</c:v>
                </c:pt>
                <c:pt idx="26">
                  <c:v>4.224233577171131</c:v>
                </c:pt>
                <c:pt idx="27">
                  <c:v>3.1291131318700933</c:v>
                </c:pt>
                <c:pt idx="28">
                  <c:v>2.99949</c:v>
                </c:pt>
                <c:pt idx="29">
                  <c:v>4.423461802575107</c:v>
                </c:pt>
                <c:pt idx="30">
                  <c:v>3.2985455089820355</c:v>
                </c:pt>
                <c:pt idx="31">
                  <c:v>4.846154128440367</c:v>
                </c:pt>
                <c:pt idx="32">
                  <c:v>3.7716725274725276</c:v>
                </c:pt>
                <c:pt idx="33">
                  <c:v>1.8126912844036698</c:v>
                </c:pt>
                <c:pt idx="34">
                  <c:v>0.0</c:v>
                </c:pt>
                <c:pt idx="35">
                  <c:v>1.827755905511811</c:v>
                </c:pt>
                <c:pt idx="36">
                  <c:v>5.068400709830337</c:v>
                </c:pt>
                <c:pt idx="37">
                  <c:v>2.476702419354839</c:v>
                </c:pt>
                <c:pt idx="38">
                  <c:v>4.391260504201681</c:v>
                </c:pt>
                <c:pt idx="39">
                  <c:v>6.263917525773196</c:v>
                </c:pt>
                <c:pt idx="40">
                  <c:v>3.43976897689769</c:v>
                </c:pt>
                <c:pt idx="41">
                  <c:v>3.1036982481829978</c:v>
                </c:pt>
                <c:pt idx="42">
                  <c:v>2.020446096654275</c:v>
                </c:pt>
                <c:pt idx="43">
                  <c:v>0.0</c:v>
                </c:pt>
                <c:pt idx="44">
                  <c:v>4.9821576642335765</c:v>
                </c:pt>
                <c:pt idx="45">
                  <c:v>1.9143730886850152</c:v>
                </c:pt>
                <c:pt idx="46">
                  <c:v>3.80056975308642</c:v>
                </c:pt>
                <c:pt idx="47">
                  <c:v>2.3975109919571045</c:v>
                </c:pt>
                <c:pt idx="48">
                  <c:v>2.2048538932633424</c:v>
                </c:pt>
                <c:pt idx="49">
                  <c:v>1.8701804062126641</c:v>
                </c:pt>
                <c:pt idx="50">
                  <c:v>2.5041090225563907</c:v>
                </c:pt>
                <c:pt idx="51">
                  <c:v>1.6383044554455446</c:v>
                </c:pt>
                <c:pt idx="52">
                  <c:v>2.422671596032462</c:v>
                </c:pt>
                <c:pt idx="53">
                  <c:v>1.9080253164556962</c:v>
                </c:pt>
                <c:pt idx="54">
                  <c:v>1.6026686075949366</c:v>
                </c:pt>
                <c:pt idx="55">
                  <c:v>2.3231106126496317</c:v>
                </c:pt>
                <c:pt idx="56">
                  <c:v>1.8721736170212766</c:v>
                </c:pt>
                <c:pt idx="57">
                  <c:v>1.7014084507042253</c:v>
                </c:pt>
                <c:pt idx="58">
                  <c:v>1.6791074509803923</c:v>
                </c:pt>
                <c:pt idx="59">
                  <c:v>1.96937685975788</c:v>
                </c:pt>
                <c:pt idx="60">
                  <c:v>1.9554711477488904</c:v>
                </c:pt>
                <c:pt idx="61">
                  <c:v>1.9584163027656478</c:v>
                </c:pt>
                <c:pt idx="62">
                  <c:v>2.0832619883040935</c:v>
                </c:pt>
                <c:pt idx="63">
                  <c:v>2.138942727272727</c:v>
                </c:pt>
                <c:pt idx="64">
                  <c:v>2.0516788452310646</c:v>
                </c:pt>
                <c:pt idx="65">
                  <c:v>1.9108288046688737</c:v>
                </c:pt>
                <c:pt idx="66">
                  <c:v>2.375922680705865</c:v>
                </c:pt>
                <c:pt idx="67">
                  <c:v>2.075280244088482</c:v>
                </c:pt>
                <c:pt idx="68">
                  <c:v>1.9469244444444445</c:v>
                </c:pt>
                <c:pt idx="69">
                  <c:v>2.198089070146819</c:v>
                </c:pt>
                <c:pt idx="70">
                  <c:v>2.2669618782391923</c:v>
                </c:pt>
                <c:pt idx="71">
                  <c:v>2.2810408921933085</c:v>
                </c:pt>
                <c:pt idx="72">
                  <c:v>1.4546236559139785</c:v>
                </c:pt>
                <c:pt idx="73">
                  <c:v>3.2392157142857148</c:v>
                </c:pt>
                <c:pt idx="74">
                  <c:v>3.2929975798644726</c:v>
                </c:pt>
                <c:pt idx="75">
                  <c:v>2.725751555555555</c:v>
                </c:pt>
                <c:pt idx="76">
                  <c:v>2.5153769516728626</c:v>
                </c:pt>
                <c:pt idx="77">
                  <c:v>2.1955326460481097</c:v>
                </c:pt>
                <c:pt idx="78">
                  <c:v>1.6946741046831955</c:v>
                </c:pt>
                <c:pt idx="79">
                  <c:v>2.8374898230088497</c:v>
                </c:pt>
                <c:pt idx="80">
                  <c:v>0.0</c:v>
                </c:pt>
                <c:pt idx="81">
                  <c:v>0.0</c:v>
                </c:pt>
                <c:pt idx="82">
                  <c:v>3.2788461538461537</c:v>
                </c:pt>
                <c:pt idx="83">
                  <c:v>0.0</c:v>
                </c:pt>
                <c:pt idx="84">
                  <c:v>1.9982684848484846</c:v>
                </c:pt>
                <c:pt idx="85">
                  <c:v>2.6457142222222223</c:v>
                </c:pt>
                <c:pt idx="86">
                  <c:v>0.0</c:v>
                </c:pt>
                <c:pt idx="87">
                  <c:v>1.516820580474934</c:v>
                </c:pt>
                <c:pt idx="88">
                  <c:v>2.4324999999999997</c:v>
                </c:pt>
                <c:pt idx="89">
                  <c:v>0.0</c:v>
                </c:pt>
                <c:pt idx="90">
                  <c:v>2.1222742990654204</c:v>
                </c:pt>
                <c:pt idx="91">
                  <c:v>0.0</c:v>
                </c:pt>
                <c:pt idx="92">
                  <c:v>0.0</c:v>
                </c:pt>
                <c:pt idx="93">
                  <c:v>0.9679972549019609</c:v>
                </c:pt>
                <c:pt idx="94">
                  <c:v>0.4714313131313131</c:v>
                </c:pt>
                <c:pt idx="95">
                  <c:v>0.47760076433121024</c:v>
                </c:pt>
                <c:pt idx="96">
                  <c:v>1.4953976109215017</c:v>
                </c:pt>
                <c:pt idx="97">
                  <c:v>2.1777389997520835</c:v>
                </c:pt>
                <c:pt idx="98">
                  <c:v>1.6912889098210901</c:v>
                </c:pt>
                <c:pt idx="99">
                  <c:v>1.5131537604456826</c:v>
                </c:pt>
                <c:pt idx="100">
                  <c:v>1.632804126984127</c:v>
                </c:pt>
                <c:pt idx="101">
                  <c:v>3.5114247311827955</c:v>
                </c:pt>
                <c:pt idx="102">
                  <c:v>0.0</c:v>
                </c:pt>
                <c:pt idx="103">
                  <c:v>0.0</c:v>
                </c:pt>
                <c:pt idx="104">
                  <c:v>0.0</c:v>
                </c:pt>
                <c:pt idx="105">
                  <c:v>0.0</c:v>
                </c:pt>
                <c:pt idx="106">
                  <c:v>0.0</c:v>
                </c:pt>
                <c:pt idx="107">
                  <c:v>0.0</c:v>
                </c:pt>
                <c:pt idx="108">
                  <c:v>0.0</c:v>
                </c:pt>
                <c:pt idx="109">
                  <c:v>0.0</c:v>
                </c:pt>
                <c:pt idx="110">
                  <c:v>0.0</c:v>
                </c:pt>
                <c:pt idx="111">
                  <c:v>0.0</c:v>
                </c:pt>
                <c:pt idx="112">
                  <c:v>0.0</c:v>
                </c:pt>
                <c:pt idx="113">
                  <c:v>0.0</c:v>
                </c:pt>
              </c:numCache>
            </c:numRef>
          </c:xVal>
          <c:yVal>
            <c:numRef>
              <c:f>Sheet1!$B$2:$B$115</c:f>
              <c:numCache>
                <c:formatCode>General</c:formatCode>
                <c:ptCount val="114"/>
                <c:pt idx="0">
                  <c:v>0.2935323383084577</c:v>
                </c:pt>
                <c:pt idx="1">
                  <c:v>0.2446351931330472</c:v>
                </c:pt>
                <c:pt idx="2">
                  <c:v>0.2674897119341564</c:v>
                </c:pt>
                <c:pt idx="3">
                  <c:v>0.270935960591133</c:v>
                </c:pt>
                <c:pt idx="4">
                  <c:v>0.27835051546391754</c:v>
                </c:pt>
                <c:pt idx="5">
                  <c:v>0.2878787878787879</c:v>
                </c:pt>
                <c:pt idx="6">
                  <c:v>0.29515418502202645</c:v>
                </c:pt>
                <c:pt idx="7">
                  <c:v>0.25333333333333335</c:v>
                </c:pt>
                <c:pt idx="8">
                  <c:v>0.2875</c:v>
                </c:pt>
                <c:pt idx="9">
                  <c:v>0.291044776119403</c:v>
                </c:pt>
                <c:pt idx="10">
                  <c:v>0.3076923076923077</c:v>
                </c:pt>
                <c:pt idx="11">
                  <c:v>0.34036144578313254</c:v>
                </c:pt>
                <c:pt idx="12">
                  <c:v>0.30606060606060603</c:v>
                </c:pt>
                <c:pt idx="13">
                  <c:v>0.2811594202898551</c:v>
                </c:pt>
                <c:pt idx="14">
                  <c:v>0.2647058823529412</c:v>
                </c:pt>
                <c:pt idx="15">
                  <c:v>0.24701195219123506</c:v>
                </c:pt>
                <c:pt idx="16">
                  <c:v>0.26424870466321243</c:v>
                </c:pt>
                <c:pt idx="17">
                  <c:v>0.23030303030303031</c:v>
                </c:pt>
                <c:pt idx="18">
                  <c:v>0.12109375</c:v>
                </c:pt>
                <c:pt idx="19">
                  <c:v>0.14906832298136646</c:v>
                </c:pt>
                <c:pt idx="20">
                  <c:v>0.20833333333333334</c:v>
                </c:pt>
                <c:pt idx="21">
                  <c:v>0.17355371900826447</c:v>
                </c:pt>
                <c:pt idx="22">
                  <c:v>0.1386861313868613</c:v>
                </c:pt>
                <c:pt idx="23">
                  <c:v>0.06806282722513089</c:v>
                </c:pt>
                <c:pt idx="24">
                  <c:v>0.125</c:v>
                </c:pt>
                <c:pt idx="25">
                  <c:v>0.2127659574468085</c:v>
                </c:pt>
                <c:pt idx="26">
                  <c:v>0.35</c:v>
                </c:pt>
                <c:pt idx="27">
                  <c:v>0.3</c:v>
                </c:pt>
                <c:pt idx="28">
                  <c:v>0.2413793103448276</c:v>
                </c:pt>
                <c:pt idx="29">
                  <c:v>0.2608695652173913</c:v>
                </c:pt>
                <c:pt idx="30">
                  <c:v>0.21875</c:v>
                </c:pt>
                <c:pt idx="31">
                  <c:v>0.29545454545454547</c:v>
                </c:pt>
                <c:pt idx="32">
                  <c:v>0.21818181818181817</c:v>
                </c:pt>
                <c:pt idx="33">
                  <c:v>0.3157894736842105</c:v>
                </c:pt>
                <c:pt idx="34">
                  <c:v>0.2631578947368421</c:v>
                </c:pt>
                <c:pt idx="35">
                  <c:v>0.17391304347826086</c:v>
                </c:pt>
                <c:pt idx="36">
                  <c:v>0.1702127659574468</c:v>
                </c:pt>
                <c:pt idx="37">
                  <c:v>0.2</c:v>
                </c:pt>
                <c:pt idx="38">
                  <c:v>0.1111111111111111</c:v>
                </c:pt>
                <c:pt idx="39">
                  <c:v>0.13157894736842105</c:v>
                </c:pt>
                <c:pt idx="40">
                  <c:v>0.20512820512820512</c:v>
                </c:pt>
                <c:pt idx="41">
                  <c:v>0.14814814814814814</c:v>
                </c:pt>
                <c:pt idx="42">
                  <c:v>0.21739130434782608</c:v>
                </c:pt>
                <c:pt idx="43">
                  <c:v>0.16666666666666666</c:v>
                </c:pt>
                <c:pt idx="44">
                  <c:v>0.17647058823529413</c:v>
                </c:pt>
                <c:pt idx="45">
                  <c:v>0.192</c:v>
                </c:pt>
                <c:pt idx="46">
                  <c:v>0.2222222222222222</c:v>
                </c:pt>
                <c:pt idx="47">
                  <c:v>0.2125984251968504</c:v>
                </c:pt>
                <c:pt idx="48">
                  <c:v>0.24324324324324326</c:v>
                </c:pt>
                <c:pt idx="49">
                  <c:v>0.22525597269624573</c:v>
                </c:pt>
                <c:pt idx="50">
                  <c:v>0.2606060606060606</c:v>
                </c:pt>
                <c:pt idx="51">
                  <c:v>0.24806201550387597</c:v>
                </c:pt>
                <c:pt idx="52">
                  <c:v>0.2046783625730994</c:v>
                </c:pt>
                <c:pt idx="53">
                  <c:v>0.19879518072289157</c:v>
                </c:pt>
                <c:pt idx="54">
                  <c:v>0.24342105263157895</c:v>
                </c:pt>
                <c:pt idx="55">
                  <c:v>0.22727272727272727</c:v>
                </c:pt>
                <c:pt idx="56">
                  <c:v>0.20238095238095238</c:v>
                </c:pt>
                <c:pt idx="57">
                  <c:v>0.19491525423728814</c:v>
                </c:pt>
                <c:pt idx="58">
                  <c:v>0.27358490566037735</c:v>
                </c:pt>
                <c:pt idx="59">
                  <c:v>0.25474254742547425</c:v>
                </c:pt>
                <c:pt idx="60">
                  <c:v>0.2571428571428571</c:v>
                </c:pt>
                <c:pt idx="61">
                  <c:v>0.30223880597014924</c:v>
                </c:pt>
                <c:pt idx="62">
                  <c:v>0.31297709923664124</c:v>
                </c:pt>
                <c:pt idx="63">
                  <c:v>0.2822822822822823</c:v>
                </c:pt>
                <c:pt idx="64">
                  <c:v>0.29245283018867924</c:v>
                </c:pt>
                <c:pt idx="65">
                  <c:v>0.2847222222222222</c:v>
                </c:pt>
                <c:pt idx="66">
                  <c:v>0.250996015936255</c:v>
                </c:pt>
                <c:pt idx="67">
                  <c:v>0.26804123711340205</c:v>
                </c:pt>
                <c:pt idx="68">
                  <c:v>0.2787878787878788</c:v>
                </c:pt>
                <c:pt idx="69">
                  <c:v>0.27450980392156865</c:v>
                </c:pt>
                <c:pt idx="70">
                  <c:v>0.2903225806451613</c:v>
                </c:pt>
                <c:pt idx="71">
                  <c:v>0.23529411764705882</c:v>
                </c:pt>
                <c:pt idx="72">
                  <c:v>0.22727272727272727</c:v>
                </c:pt>
                <c:pt idx="73">
                  <c:v>0.24285714285714285</c:v>
                </c:pt>
                <c:pt idx="74">
                  <c:v>0.2692307692307692</c:v>
                </c:pt>
                <c:pt idx="75">
                  <c:v>0.29310344827586204</c:v>
                </c:pt>
                <c:pt idx="76">
                  <c:v>0.21153846153846154</c:v>
                </c:pt>
                <c:pt idx="77">
                  <c:v>0.2222222222222222</c:v>
                </c:pt>
                <c:pt idx="78">
                  <c:v>0.3076923076923077</c:v>
                </c:pt>
                <c:pt idx="79">
                  <c:v>0.2894736842105263</c:v>
                </c:pt>
                <c:pt idx="80">
                  <c:v>0.2692307692307692</c:v>
                </c:pt>
                <c:pt idx="81">
                  <c:v>0.2926829268292683</c:v>
                </c:pt>
                <c:pt idx="82">
                  <c:v>0.24242424242424243</c:v>
                </c:pt>
                <c:pt idx="83">
                  <c:v>0.2608695652173913</c:v>
                </c:pt>
                <c:pt idx="84">
                  <c:v>0.25</c:v>
                </c:pt>
                <c:pt idx="85">
                  <c:v>0.2916666666666667</c:v>
                </c:pt>
                <c:pt idx="86">
                  <c:v>0.3225806451612903</c:v>
                </c:pt>
                <c:pt idx="87">
                  <c:v>0.2962962962962963</c:v>
                </c:pt>
                <c:pt idx="88">
                  <c:v>0.22727272727272727</c:v>
                </c:pt>
                <c:pt idx="89">
                  <c:v>0.3</c:v>
                </c:pt>
                <c:pt idx="90">
                  <c:v>0.3157894736842105</c:v>
                </c:pt>
                <c:pt idx="91">
                  <c:v>0.375</c:v>
                </c:pt>
                <c:pt idx="92">
                  <c:v>0.5344827586206896</c:v>
                </c:pt>
                <c:pt idx="93">
                  <c:v>0.5833333333333334</c:v>
                </c:pt>
                <c:pt idx="94">
                  <c:v>0.53</c:v>
                </c:pt>
                <c:pt idx="95">
                  <c:v>0.44036697247706424</c:v>
                </c:pt>
                <c:pt idx="96">
                  <c:v>0.27049180327868855</c:v>
                </c:pt>
                <c:pt idx="97">
                  <c:v>0.22439024390243903</c:v>
                </c:pt>
                <c:pt idx="98">
                  <c:v>0.2222222222222222</c:v>
                </c:pt>
                <c:pt idx="99">
                  <c:v>0.24324324324324326</c:v>
                </c:pt>
                <c:pt idx="100">
                  <c:v>0.175</c:v>
                </c:pt>
                <c:pt idx="101">
                  <c:v>0.16326530612244897</c:v>
                </c:pt>
                <c:pt idx="102">
                  <c:v>0.2727272727272727</c:v>
                </c:pt>
                <c:pt idx="103">
                  <c:v>0.2647058823529412</c:v>
                </c:pt>
                <c:pt idx="104">
                  <c:v>0.2571428571428571</c:v>
                </c:pt>
                <c:pt idx="105">
                  <c:v>0.18181818181818182</c:v>
                </c:pt>
                <c:pt idx="106">
                  <c:v>0.21212121212121213</c:v>
                </c:pt>
                <c:pt idx="107">
                  <c:v>0.3055555555555556</c:v>
                </c:pt>
                <c:pt idx="108">
                  <c:v>0.2222222222222222</c:v>
                </c:pt>
                <c:pt idx="109">
                  <c:v>0.425</c:v>
                </c:pt>
                <c:pt idx="110">
                  <c:v>0.2926829268292683</c:v>
                </c:pt>
                <c:pt idx="111">
                  <c:v>0.3333333333333333</c:v>
                </c:pt>
                <c:pt idx="112">
                  <c:v>0.18888888888888888</c:v>
                </c:pt>
                <c:pt idx="113">
                  <c:v>0.1984126984126984</c:v>
                </c:pt>
              </c:numCache>
            </c:numRef>
          </c:yVal>
          <c:smooth val="0"/>
          <c:extLst>
            <c:ext xmlns:c16="http://schemas.microsoft.com/office/drawing/2014/chart" uri="{C3380CC4-5D6E-409C-BE32-E72D297353CC}">
              <c16:uniqueId val="{00000000-096C-4121-9522-6AB7243CCAAE}"/>
            </c:ext>
          </c:extLst>
        </c:ser>
        <c:ser>
          <c:idx val="1"/>
          <c:order val="1"/>
          <c:tx>
            <c:strRef>
              <c:f>Sheet1!$B$1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8:$A$138</c:f>
              <c:numCache>
                <c:formatCode>General</c:formatCode>
                <c:ptCount val="21"/>
                <c:pt idx="0">
                  <c:v>5.304630749602637</c:v>
                </c:pt>
                <c:pt idx="1">
                  <c:v>2.238871379310345</c:v>
                </c:pt>
                <c:pt idx="2">
                  <c:v>3.7981529467353896</c:v>
                </c:pt>
                <c:pt idx="3">
                  <c:v>2.881056222388556</c:v>
                </c:pt>
                <c:pt idx="4">
                  <c:v>2.2715278125</c:v>
                </c:pt>
                <c:pt idx="5">
                  <c:v>2.1492876923076922</c:v>
                </c:pt>
                <c:pt idx="6">
                  <c:v>2.488679888785913</c:v>
                </c:pt>
                <c:pt idx="7">
                  <c:v>2.441036301369863</c:v>
                </c:pt>
                <c:pt idx="8">
                  <c:v>1.2964285416666668</c:v>
                </c:pt>
                <c:pt idx="9">
                  <c:v>1.9354813953488372</c:v>
                </c:pt>
                <c:pt idx="10">
                  <c:v>2.3921617260787995</c:v>
                </c:pt>
                <c:pt idx="11">
                  <c:v>1.6021453400503778</c:v>
                </c:pt>
                <c:pt idx="12">
                  <c:v>3.6125</c:v>
                </c:pt>
                <c:pt idx="13">
                  <c:v>1.473483709273183</c:v>
                </c:pt>
                <c:pt idx="14">
                  <c:v>2.4729449814126396</c:v>
                </c:pt>
                <c:pt idx="15">
                  <c:v>2.207189250814332</c:v>
                </c:pt>
                <c:pt idx="16">
                  <c:v>8.404197241379311</c:v>
                </c:pt>
                <c:pt idx="17">
                  <c:v>4.270578360655738</c:v>
                </c:pt>
                <c:pt idx="18">
                  <c:v>5.65</c:v>
                </c:pt>
                <c:pt idx="19">
                  <c:v>1.9657922668688401</c:v>
                </c:pt>
                <c:pt idx="20">
                  <c:v>2.1100506756756756</c:v>
                </c:pt>
              </c:numCache>
            </c:numRef>
          </c:xVal>
          <c:yVal>
            <c:numRef>
              <c:f>Sheet1!$B$118:$B$138</c:f>
              <c:numCache>
                <c:formatCode>General</c:formatCode>
                <c:ptCount val="21"/>
                <c:pt idx="0">
                  <c:v>0.1732283464566929</c:v>
                </c:pt>
                <c:pt idx="1">
                  <c:v>0.20754716981132076</c:v>
                </c:pt>
                <c:pt idx="2">
                  <c:v>0.18421052631578946</c:v>
                </c:pt>
                <c:pt idx="3">
                  <c:v>0.21323529411764705</c:v>
                </c:pt>
                <c:pt idx="4">
                  <c:v>0.19148936170212766</c:v>
                </c:pt>
                <c:pt idx="5">
                  <c:v>0.226890756302521</c:v>
                </c:pt>
                <c:pt idx="6">
                  <c:v>0.2074074074074074</c:v>
                </c:pt>
                <c:pt idx="7">
                  <c:v>0.21495327102803738</c:v>
                </c:pt>
                <c:pt idx="8">
                  <c:v>0.2545454545454545</c:v>
                </c:pt>
                <c:pt idx="9">
                  <c:v>0.2535211267605634</c:v>
                </c:pt>
                <c:pt idx="10">
                  <c:v>0.2710843373493976</c:v>
                </c:pt>
                <c:pt idx="11">
                  <c:v>0.30526315789473685</c:v>
                </c:pt>
                <c:pt idx="12">
                  <c:v>0.2981366459627329</c:v>
                </c:pt>
                <c:pt idx="13">
                  <c:v>0.3184713375796178</c:v>
                </c:pt>
                <c:pt idx="14">
                  <c:v>0.24161073825503357</c:v>
                </c:pt>
                <c:pt idx="15">
                  <c:v>0.29473684210526313</c:v>
                </c:pt>
                <c:pt idx="16">
                  <c:v>0.2875</c:v>
                </c:pt>
                <c:pt idx="17">
                  <c:v>0.296875</c:v>
                </c:pt>
                <c:pt idx="18">
                  <c:v>0.29411764705882354</c:v>
                </c:pt>
                <c:pt idx="19">
                  <c:v>0.23148148148148148</c:v>
                </c:pt>
                <c:pt idx="20">
                  <c:v>0.30303030303030304</c:v>
                </c:pt>
              </c:numCache>
            </c:numRef>
          </c:yVal>
          <c:smooth val="0"/>
          <c:extLst>
            <c:ext xmlns:c16="http://schemas.microsoft.com/office/drawing/2014/chart" uri="{C3380CC4-5D6E-409C-BE32-E72D297353CC}">
              <c16:uniqueId val="{00000002-096C-4121-9522-6AB7243CCAAE}"/>
            </c:ext>
          </c:extLst>
        </c:ser>
        <c:ser>
          <c:idx val="2"/>
          <c:order val="2"/>
          <c:tx>
            <c:strRef>
              <c:f>Sheet1!$B$1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1:$A$142</c:f>
              <c:numCache>
                <c:formatCode>General</c:formatCode>
                <c:ptCount val="2"/>
                <c:pt idx="0">
                  <c:v>0</c:v>
                </c:pt>
                <c:pt idx="1">
                  <c:v>132.78851849521715</c:v>
                </c:pt>
              </c:numCache>
            </c:numRef>
          </c:xVal>
          <c:yVal>
            <c:numRef>
              <c:f>Sheet1!$B$141:$B$142</c:f>
              <c:numCache>
                <c:formatCode>General</c:formatCode>
                <c:ptCount val="2"/>
                <c:pt idx="0">
                  <c:v>0.3724930553514044</c:v>
                </c:pt>
                <c:pt idx="1">
                  <c:v>0.3724930553514044</c:v>
                </c:pt>
              </c:numCache>
            </c:numRef>
          </c:yVal>
          <c:smooth val="0"/>
          <c:extLst>
            <c:ext xmlns:c16="http://schemas.microsoft.com/office/drawing/2014/chart" uri="{C3380CC4-5D6E-409C-BE32-E72D297353CC}">
              <c16:uniqueId val="{00000005-096C-4121-9522-6AB7243CCAAE}"/>
            </c:ext>
          </c:extLst>
        </c:ser>
        <c:ser>
          <c:idx val="3"/>
          <c:order val="3"/>
          <c:tx>
            <c:strRef>
              <c:f>Sheet1!$B$1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5:$A$146</c:f>
              <c:numCache>
                <c:formatCode>General</c:formatCode>
                <c:ptCount val="2"/>
                <c:pt idx="0">
                  <c:v>132.78851849521715</c:v>
                </c:pt>
                <c:pt idx="1">
                  <c:v>132.78851849521715</c:v>
                </c:pt>
              </c:numCache>
            </c:numRef>
          </c:xVal>
          <c:yVal>
            <c:numRef>
              <c:f>Sheet1!$B$145:$B$146</c:f>
              <c:numCache>
                <c:formatCode>General</c:formatCode>
                <c:ptCount val="2"/>
                <c:pt idx="0">
                  <c:v>0.37249305535140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9:$A$150</c:f>
              <c:numCache>
                <c:formatCode>General</c:formatCode>
                <c:ptCount val="2"/>
                <c:pt idx="0">
                  <c:v>0</c:v>
                </c:pt>
                <c:pt idx="1">
                  <c:v>69.28262848090002</c:v>
                </c:pt>
              </c:numCache>
            </c:numRef>
          </c:xVal>
          <c:yVal>
            <c:numRef>
              <c:f>Sheet1!$B$149:$B$150</c:f>
              <c:numCache>
                <c:formatCode>General</c:formatCode>
                <c:ptCount val="2"/>
                <c:pt idx="0">
                  <c:v>0.3130081300813008</c:v>
                </c:pt>
                <c:pt idx="1">
                  <c:v>0.3130081300813008</c:v>
                </c:pt>
              </c:numCache>
            </c:numRef>
          </c:yVal>
          <c:smooth val="0"/>
          <c:extLst>
            <c:ext xmlns:c16="http://schemas.microsoft.com/office/drawing/2014/chart" uri="{C3380CC4-5D6E-409C-BE32-E72D297353CC}">
              <c16:uniqueId val="{0000000D-096C-4121-9522-6AB7243CCAAE}"/>
            </c:ext>
          </c:extLst>
        </c:ser>
        <c:ser>
          <c:idx val="5"/>
          <c:order val="5"/>
          <c:tx>
            <c:strRef>
              <c:f>Sheet1!$B$15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69.28262848090002</c:v>
                </c:pt>
                <c:pt idx="1">
                  <c:v>69.28262848090002</c:v>
                </c:pt>
              </c:numCache>
            </c:numRef>
          </c:xVal>
          <c:yVal>
            <c:numRef>
              <c:f>Sheet1!$B$153:$B$154</c:f>
              <c:numCache>
                <c:formatCode>General</c:formatCode>
                <c:ptCount val="2"/>
                <c:pt idx="0">
                  <c:v>0.31300813008130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7:$A$158</c:f>
              <c:numCache>
                <c:formatCode>General</c:formatCode>
                <c:ptCount val="2"/>
                <c:pt idx="0">
                  <c:v>0</c:v>
                </c:pt>
                <c:pt idx="1">
                  <c:v>10.52583469157362</c:v>
                </c:pt>
              </c:numCache>
            </c:numRef>
          </c:xVal>
          <c:yVal>
            <c:numRef>
              <c:f>Sheet1!$B$157:$B$158</c:f>
              <c:numCache>
                <c:formatCode>General</c:formatCode>
                <c:ptCount val="2"/>
                <c:pt idx="0">
                  <c:v>0.2579716053293289</c:v>
                </c:pt>
                <c:pt idx="1">
                  <c:v>0.2579716053293289</c:v>
                </c:pt>
              </c:numCache>
            </c:numRef>
          </c:yVal>
          <c:smooth val="0"/>
          <c:extLst>
            <c:ext xmlns:c16="http://schemas.microsoft.com/office/drawing/2014/chart" uri="{C3380CC4-5D6E-409C-BE32-E72D297353CC}">
              <c16:uniqueId val="{00000015-096C-4121-9522-6AB7243CCAAE}"/>
            </c:ext>
          </c:extLst>
        </c:ser>
        <c:ser>
          <c:idx val="7"/>
          <c:order val="7"/>
          <c:tx>
            <c:strRef>
              <c:f>Sheet1!$B$16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0.52583469157362</c:v>
                </c:pt>
                <c:pt idx="1">
                  <c:v>10.52583469157362</c:v>
                </c:pt>
              </c:numCache>
            </c:numRef>
          </c:xVal>
          <c:yVal>
            <c:numRef>
              <c:f>Sheet1!$B$161:$B$162</c:f>
              <c:numCache>
                <c:formatCode>General</c:formatCode>
                <c:ptCount val="2"/>
                <c:pt idx="0">
                  <c:v>0.257971605329328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5:$A$188</c:f>
              <c:numCache>
                <c:formatCode>General</c:formatCode>
                <c:ptCount val="24"/>
                <c:pt idx="0">
                  <c:v>5.304630749602637</c:v>
                </c:pt>
                <c:pt idx="1">
                  <c:v>2.238871379310345</c:v>
                </c:pt>
                <c:pt idx="2">
                  <c:v>3.7981529467353896</c:v>
                </c:pt>
                <c:pt idx="3">
                  <c:v>2.881056222388556</c:v>
                </c:pt>
                <c:pt idx="4">
                  <c:v>2.2715278125</c:v>
                </c:pt>
                <c:pt idx="5">
                  <c:v>2.1492876923076922</c:v>
                </c:pt>
                <c:pt idx="6">
                  <c:v>2.488679888785913</c:v>
                </c:pt>
                <c:pt idx="7">
                  <c:v>2.441036301369863</c:v>
                </c:pt>
                <c:pt idx="8">
                  <c:v>1.2964285416666668</c:v>
                </c:pt>
                <c:pt idx="9">
                  <c:v>1.9354813953488372</c:v>
                </c:pt>
                <c:pt idx="10">
                  <c:v>2.3921617260787995</c:v>
                </c:pt>
                <c:pt idx="11">
                  <c:v>1.6021453400503778</c:v>
                </c:pt>
                <c:pt idx="12">
                  <c:v>3.6125</c:v>
                </c:pt>
                <c:pt idx="13">
                  <c:v>1.473483709273183</c:v>
                </c:pt>
                <c:pt idx="14">
                  <c:v>2.4729449814126396</c:v>
                </c:pt>
                <c:pt idx="15">
                  <c:v>2.207189250814332</c:v>
                </c:pt>
                <c:pt idx="16">
                  <c:v>8.404197241379311</c:v>
                </c:pt>
                <c:pt idx="17">
                  <c:v>4.270578360655738</c:v>
                </c:pt>
                <c:pt idx="18">
                  <c:v>5.65</c:v>
                </c:pt>
                <c:pt idx="19">
                  <c:v>1.9657922668688401</c:v>
                </c:pt>
                <c:pt idx="20">
                  <c:v>2.1100506756756756</c:v>
                </c:pt>
                <c:pt idx="21">
                  <c:v>69.28262848090002</c:v>
                </c:pt>
                <c:pt idx="22">
                  <c:v>132.78851849521715</c:v>
                </c:pt>
                <c:pt idx="23">
                  <c:v>10.52583469157362</c:v>
                </c:pt>
              </c:numCache>
            </c:numRef>
          </c:xVal>
          <c:yVal>
            <c:numRef>
              <c:f>Sheet1!$B$165:$B$188</c:f>
              <c:numCache>
                <c:formatCode>General</c:formatCode>
                <c:ptCount val="24"/>
                <c:pt idx="0">
                  <c:v>0.2530809892583141</c:v>
                </c:pt>
                <c:pt idx="1">
                  <c:v>0.2502093427543939</c:v>
                </c:pt>
                <c:pt idx="2">
                  <c:v>0.25166989621632346</c:v>
                </c:pt>
                <c:pt idx="3">
                  <c:v>0.25081086676093073</c:v>
                </c:pt>
                <c:pt idx="4">
                  <c:v>0.25023993149958645</c:v>
                </c:pt>
                <c:pt idx="5">
                  <c:v>0.25012543118452896</c:v>
                </c:pt>
                <c:pt idx="6">
                  <c:v>0.2504433342867485</c:v>
                </c:pt>
                <c:pt idx="7">
                  <c:v>0.2503987073200781</c:v>
                </c:pt>
                <c:pt idx="8">
                  <c:v>0.2493265720105158</c:v>
                </c:pt>
                <c:pt idx="9">
                  <c:v>0.24992516233397022</c:v>
                </c:pt>
                <c:pt idx="10">
                  <c:v>0.2503529273072613</c:v>
                </c:pt>
                <c:pt idx="11">
                  <c:v>0.249612931919834</c:v>
                </c:pt>
                <c:pt idx="12">
                  <c:v>0.2514959981470225</c:v>
                </c:pt>
                <c:pt idx="13">
                  <c:v>0.2494924166811658</c:v>
                </c:pt>
                <c:pt idx="14">
                  <c:v>0.2504285956571659</c:v>
                </c:pt>
                <c:pt idx="15">
                  <c:v>0.250179666624423</c:v>
                </c:pt>
                <c:pt idx="16">
                  <c:v>0.2559843023382739</c:v>
                </c:pt>
                <c:pt idx="17">
                  <c:v>0.252112409350718</c:v>
                </c:pt>
                <c:pt idx="18">
                  <c:v>0.25340449096887746</c:v>
                </c:pt>
                <c:pt idx="19">
                  <c:v>0.24995355403002917</c:v>
                </c:pt>
                <c:pt idx="20">
                  <c:v>0.25008867851478994</c:v>
                </c:pt>
                <c:pt idx="21">
                  <c:v>0.3130081300813008</c:v>
                </c:pt>
                <c:pt idx="22">
                  <c:v>0.3724930553514044</c:v>
                </c:pt>
                <c:pt idx="23">
                  <c:v>0.257971605329328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5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00000000000001"/>
          <c:min val="0.054450261780104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8.6505</c:v>
                </c:pt>
                <c:pt idx="1">
                  <c:v>858.1113</c:v>
                </c:pt>
                <c:pt idx="2">
                  <c:v>922.5121</c:v>
                </c:pt>
                <c:pt idx="3">
                  <c:v>943.2301</c:v>
                </c:pt>
                <c:pt idx="4">
                  <c:v>918.2291</c:v>
                </c:pt>
                <c:pt idx="5">
                  <c:v>931.5166</c:v>
                </c:pt>
                <c:pt idx="6">
                  <c:v>866.8559</c:v>
                </c:pt>
                <c:pt idx="7">
                  <c:v>893.6652</c:v>
                </c:pt>
                <c:pt idx="8">
                  <c:v>921.9441</c:v>
                </c:pt>
                <c:pt idx="9">
                  <c:v>880.7458</c:v>
                </c:pt>
                <c:pt idx="10">
                  <c:v>872.4656</c:v>
                </c:pt>
                <c:pt idx="11">
                  <c:v>912.6335</c:v>
                </c:pt>
                <c:pt idx="12">
                  <c:v>921.1449</c:v>
                </c:pt>
                <c:pt idx="13">
                  <c:v>899.4752</c:v>
                </c:pt>
                <c:pt idx="14">
                  <c:v>901.1794</c:v>
                </c:pt>
                <c:pt idx="15">
                  <c:v>914.0768</c:v>
                </c:pt>
                <c:pt idx="16">
                  <c:v>909.1709</c:v>
                </c:pt>
                <c:pt idx="17">
                  <c:v>921.1293</c:v>
                </c:pt>
                <c:pt idx="18">
                  <c:v>979.0543</c:v>
                </c:pt>
                <c:pt idx="19">
                  <c:v>1004.2102</c:v>
                </c:pt>
                <c:pt idx="20">
                  <c:v>1026.6816</c:v>
                </c:pt>
                <c:pt idx="21">
                  <c:v>1024.376</c:v>
                </c:pt>
                <c:pt idx="22">
                  <c:v>1018.372</c:v>
                </c:pt>
                <c:pt idx="23">
                  <c:v>996.3255</c:v>
                </c:pt>
                <c:pt idx="24">
                  <c:v>966.4382</c:v>
                </c:pt>
                <c:pt idx="25">
                  <c:v>966.4575</c:v>
                </c:pt>
                <c:pt idx="26">
                  <c:v>987.082</c:v>
                </c:pt>
                <c:pt idx="27">
                  <c:v>980.7055</c:v>
                </c:pt>
                <c:pt idx="28">
                  <c:v>972.9641</c:v>
                </c:pt>
                <c:pt idx="29">
                  <c:v>903.5032</c:v>
                </c:pt>
                <c:pt idx="30">
                  <c:v>929.097</c:v>
                </c:pt>
                <c:pt idx="31">
                  <c:v>943.2444</c:v>
                </c:pt>
                <c:pt idx="32">
                  <c:v>925.2486</c:v>
                </c:pt>
                <c:pt idx="33">
                  <c:v>872.4807</c:v>
                </c:pt>
                <c:pt idx="34">
                  <c:v>927.3353</c:v>
                </c:pt>
                <c:pt idx="35">
                  <c:v>959.443</c:v>
                </c:pt>
                <c:pt idx="36">
                  <c:v>1037.037</c:v>
                </c:pt>
                <c:pt idx="37">
                  <c:v>1012.3387</c:v>
                </c:pt>
                <c:pt idx="38">
                  <c:v>1122.6627</c:v>
                </c:pt>
                <c:pt idx="39">
                  <c:v>1096.3361</c:v>
                </c:pt>
                <c:pt idx="40">
                  <c:v>1128.5479</c:v>
                </c:pt>
                <c:pt idx="41">
                  <c:v>1134.2266</c:v>
                </c:pt>
                <c:pt idx="42">
                  <c:v>1180.2253</c:v>
                </c:pt>
                <c:pt idx="43">
                  <c:v>1188.5939</c:v>
                </c:pt>
                <c:pt idx="44">
                  <c:v>1023.8068</c:v>
                </c:pt>
                <c:pt idx="45">
                  <c:v>970.7121</c:v>
                </c:pt>
                <c:pt idx="46">
                  <c:v>948.121</c:v>
                </c:pt>
                <c:pt idx="47">
                  <c:v>936.0043</c:v>
                </c:pt>
                <c:pt idx="48">
                  <c:v>953.1838</c:v>
                </c:pt>
                <c:pt idx="49">
                  <c:v>947.1673</c:v>
                </c:pt>
                <c:pt idx="50">
                  <c:v>923.2416</c:v>
                </c:pt>
                <c:pt idx="51">
                  <c:v>959.5362</c:v>
                </c:pt>
                <c:pt idx="52">
                  <c:v>975.6724</c:v>
                </c:pt>
                <c:pt idx="53">
                  <c:v>1035.0531</c:v>
                </c:pt>
                <c:pt idx="54">
                  <c:v>1026.8037</c:v>
                </c:pt>
                <c:pt idx="55">
                  <c:v>1048.5886</c:v>
                </c:pt>
                <c:pt idx="56">
                  <c:v>1056.9732</c:v>
                </c:pt>
                <c:pt idx="57">
                  <c:v>1056.5102</c:v>
                </c:pt>
                <c:pt idx="58">
                  <c:v>988.3901</c:v>
                </c:pt>
                <c:pt idx="59">
                  <c:v>1026.599</c:v>
                </c:pt>
                <c:pt idx="60">
                  <c:v>1055.7776</c:v>
                </c:pt>
                <c:pt idx="61">
                  <c:v>1038.25</c:v>
                </c:pt>
                <c:pt idx="62">
                  <c:v>1001.9592</c:v>
                </c:pt>
                <c:pt idx="63">
                  <c:v>1017.8389</c:v>
                </c:pt>
                <c:pt idx="64">
                  <c:v>1033.9887</c:v>
                </c:pt>
                <c:pt idx="65">
                  <c:v>1006.8688</c:v>
                </c:pt>
                <c:pt idx="66">
                  <c:v>947.0747</c:v>
                </c:pt>
                <c:pt idx="67">
                  <c:v>925.5182</c:v>
                </c:pt>
                <c:pt idx="68">
                  <c:v>933.4171</c:v>
                </c:pt>
                <c:pt idx="69">
                  <c:v>901.602</c:v>
                </c:pt>
                <c:pt idx="70">
                  <c:v>873.8432</c:v>
                </c:pt>
                <c:pt idx="71">
                  <c:v>941.0148</c:v>
                </c:pt>
                <c:pt idx="72">
                  <c:v>962.5456</c:v>
                </c:pt>
                <c:pt idx="73">
                  <c:v>1016.7145</c:v>
                </c:pt>
                <c:pt idx="74">
                  <c:v>1049.1275</c:v>
                </c:pt>
                <c:pt idx="75">
                  <c:v>1019.02</c:v>
                </c:pt>
                <c:pt idx="76">
                  <c:v>1010.2208</c:v>
                </c:pt>
                <c:pt idx="77">
                  <c:v>1001.57</c:v>
                </c:pt>
                <c:pt idx="78">
                  <c:v>1056.2018</c:v>
                </c:pt>
                <c:pt idx="79">
                  <c:v>794.9768</c:v>
                </c:pt>
                <c:pt idx="80">
                  <c:v>831.4099</c:v>
                </c:pt>
                <c:pt idx="81">
                  <c:v>918.4389</c:v>
                </c:pt>
                <c:pt idx="82">
                  <c:v>976.4688</c:v>
                </c:pt>
                <c:pt idx="83">
                  <c:v>975.69</c:v>
                </c:pt>
                <c:pt idx="84">
                  <c:v>883.7352</c:v>
                </c:pt>
                <c:pt idx="85">
                  <c:v>1060.376</c:v>
                </c:pt>
                <c:pt idx="86">
                  <c:v>1109.0977</c:v>
                </c:pt>
                <c:pt idx="87">
                  <c:v>988.7984</c:v>
                </c:pt>
                <c:pt idx="88">
                  <c:v>1049.569</c:v>
                </c:pt>
                <c:pt idx="89">
                  <c:v>990.5436</c:v>
                </c:pt>
                <c:pt idx="90">
                  <c:v>1057.146</c:v>
                </c:pt>
                <c:pt idx="91">
                  <c:v>1088.3266</c:v>
                </c:pt>
                <c:pt idx="92">
                  <c:v>1103.5186</c:v>
                </c:pt>
                <c:pt idx="93">
                  <c:v>1147.5074</c:v>
                </c:pt>
                <c:pt idx="94">
                  <c:v>1083.8205</c:v>
                </c:pt>
                <c:pt idx="95">
                  <c:v>1167.0292</c:v>
                </c:pt>
                <c:pt idx="96">
                  <c:v>1173.8801</c:v>
                </c:pt>
                <c:pt idx="97">
                  <c:v>1158.1312</c:v>
                </c:pt>
                <c:pt idx="98">
                  <c:v>1125.6508</c:v>
                </c:pt>
                <c:pt idx="99">
                  <c:v>1084.1025</c:v>
                </c:pt>
                <c:pt idx="100">
                  <c:v>1085.8297</c:v>
                </c:pt>
                <c:pt idx="101">
                  <c:v>1076.9152</c:v>
                </c:pt>
                <c:pt idx="102">
                  <c:v>1116.8818</c:v>
                </c:pt>
                <c:pt idx="103">
                  <c:v>1052.5486</c:v>
                </c:pt>
                <c:pt idx="104">
                  <c:v>1166.6335</c:v>
                </c:pt>
              </c:numCache>
            </c:numRef>
          </c:xVal>
          <c:yVal>
            <c:numRef>
              <c:f>Sheet1!$B$2:$B$106</c:f>
              <c:numCache>
                <c:formatCode>General</c:formatCode>
                <c:ptCount val="105"/>
                <c:pt idx="0">
                  <c:v>0.19852700490998362</c:v>
                </c:pt>
                <c:pt idx="1">
                  <c:v>0.20894996476391825</c:v>
                </c:pt>
                <c:pt idx="2">
                  <c:v>0.1818754925137904</c:v>
                </c:pt>
                <c:pt idx="3">
                  <c:v>0.18375499334221038</c:v>
                </c:pt>
                <c:pt idx="4">
                  <c:v>0.17928685897435898</c:v>
                </c:pt>
                <c:pt idx="5">
                  <c:v>0.16685823754789272</c:v>
                </c:pt>
                <c:pt idx="6">
                  <c:v>0.18851615558756946</c:v>
                </c:pt>
                <c:pt idx="7">
                  <c:v>0.18602029312288612</c:v>
                </c:pt>
                <c:pt idx="8">
                  <c:v>0.18450797872340424</c:v>
                </c:pt>
                <c:pt idx="9">
                  <c:v>0.1888421052631579</c:v>
                </c:pt>
                <c:pt idx="10">
                  <c:v>0.20257438278117745</c:v>
                </c:pt>
                <c:pt idx="11">
                  <c:v>0.19839449541284404</c:v>
                </c:pt>
                <c:pt idx="12">
                  <c:v>0.20647773279352227</c:v>
                </c:pt>
                <c:pt idx="13">
                  <c:v>0.21793275217932753</c:v>
                </c:pt>
                <c:pt idx="14">
                  <c:v>0.21451355661881977</c:v>
                </c:pt>
                <c:pt idx="15">
                  <c:v>0.21304863582443653</c:v>
                </c:pt>
                <c:pt idx="16">
                  <c:v>0.20061815116605788</c:v>
                </c:pt>
                <c:pt idx="17">
                  <c:v>0.18091079226450404</c:v>
                </c:pt>
                <c:pt idx="18">
                  <c:v>0.1557759626604434</c:v>
                </c:pt>
                <c:pt idx="19">
                  <c:v>0.15400340715502556</c:v>
                </c:pt>
                <c:pt idx="20">
                  <c:v>0.16055321707757064</c:v>
                </c:pt>
                <c:pt idx="21">
                  <c:v>0.16191709844559585</c:v>
                </c:pt>
                <c:pt idx="22">
                  <c:v>0.1594147092799384</c:v>
                </c:pt>
                <c:pt idx="23">
                  <c:v>0.1728744939271255</c:v>
                </c:pt>
                <c:pt idx="24">
                  <c:v>0.18342776203966005</c:v>
                </c:pt>
                <c:pt idx="25">
                  <c:v>0.18113654301499604</c:v>
                </c:pt>
                <c:pt idx="26">
                  <c:v>0.1944739638682253</c:v>
                </c:pt>
                <c:pt idx="27">
                  <c:v>0.17828200972447325</c:v>
                </c:pt>
                <c:pt idx="28">
                  <c:v>0.1889060092449923</c:v>
                </c:pt>
                <c:pt idx="29">
                  <c:v>0.20620486761166087</c:v>
                </c:pt>
                <c:pt idx="30">
                  <c:v>0.18532384874578808</c:v>
                </c:pt>
                <c:pt idx="31">
                  <c:v>0.1858224363386098</c:v>
                </c:pt>
                <c:pt idx="32">
                  <c:v>0.17261709793645594</c:v>
                </c:pt>
                <c:pt idx="33">
                  <c:v>0.2081854743316773</c:v>
                </c:pt>
                <c:pt idx="34">
                  <c:v>0.19414833295531866</c:v>
                </c:pt>
                <c:pt idx="35">
                  <c:v>0.18894242962211513</c:v>
                </c:pt>
                <c:pt idx="36">
                  <c:v>0.14145383104125736</c:v>
                </c:pt>
                <c:pt idx="37">
                  <c:v>0.14045307443365695</c:v>
                </c:pt>
                <c:pt idx="38">
                  <c:v>0.13460914693480378</c:v>
                </c:pt>
                <c:pt idx="39">
                  <c:v>0.14440759722640942</c:v>
                </c:pt>
                <c:pt idx="40">
                  <c:v>0.14512922465208747</c:v>
                </c:pt>
                <c:pt idx="41">
                  <c:v>0.13277408157361875</c:v>
                </c:pt>
                <c:pt idx="42">
                  <c:v>0.13987757878032192</c:v>
                </c:pt>
                <c:pt idx="43">
                  <c:v>0.14689025684568033</c:v>
                </c:pt>
                <c:pt idx="44">
                  <c:v>0.18151511668007816</c:v>
                </c:pt>
                <c:pt idx="45">
                  <c:v>0.20697699077510337</c:v>
                </c:pt>
                <c:pt idx="46">
                  <c:v>0.21270066100094429</c:v>
                </c:pt>
                <c:pt idx="47">
                  <c:v>0.22022391615054787</c:v>
                </c:pt>
                <c:pt idx="48">
                  <c:v>0.23636363636363636</c:v>
                </c:pt>
                <c:pt idx="49">
                  <c:v>0.263499205929063</c:v>
                </c:pt>
                <c:pt idx="50">
                  <c:v>0.2211988524837687</c:v>
                </c:pt>
                <c:pt idx="51">
                  <c:v>0.18564857405703772</c:v>
                </c:pt>
                <c:pt idx="52">
                  <c:v>0.20031455533314269</c:v>
                </c:pt>
                <c:pt idx="53">
                  <c:v>0.18304535637149028</c:v>
                </c:pt>
                <c:pt idx="54">
                  <c:v>0.17479499352611136</c:v>
                </c:pt>
                <c:pt idx="55">
                  <c:v>0.16054746904192918</c:v>
                </c:pt>
                <c:pt idx="56">
                  <c:v>0.16686279124499884</c:v>
                </c:pt>
                <c:pt idx="57">
                  <c:v>0.16641143440530884</c:v>
                </c:pt>
                <c:pt idx="58">
                  <c:v>0.2008888888888889</c:v>
                </c:pt>
                <c:pt idx="59">
                  <c:v>0.21755725190839695</c:v>
                </c:pt>
                <c:pt idx="60">
                  <c:v>0.23874057468921947</c:v>
                </c:pt>
                <c:pt idx="61">
                  <c:v>0.23394833948339483</c:v>
                </c:pt>
                <c:pt idx="62">
                  <c:v>0.2199195793380761</c:v>
                </c:pt>
                <c:pt idx="63">
                  <c:v>0.2316900299259726</c:v>
                </c:pt>
                <c:pt idx="64">
                  <c:v>0.20771414259475707</c:v>
                </c:pt>
                <c:pt idx="65">
                  <c:v>0.19233644859813084</c:v>
                </c:pt>
                <c:pt idx="66">
                  <c:v>0.20592142721579046</c:v>
                </c:pt>
                <c:pt idx="67">
                  <c:v>0.20718336483931948</c:v>
                </c:pt>
                <c:pt idx="68">
                  <c:v>0.18377028714107366</c:v>
                </c:pt>
                <c:pt idx="69">
                  <c:v>0.16040181464679196</c:v>
                </c:pt>
                <c:pt idx="70">
                  <c:v>0.1570458404074703</c:v>
                </c:pt>
                <c:pt idx="71">
                  <c:v>0.16774992262457444</c:v>
                </c:pt>
                <c:pt idx="72">
                  <c:v>0.17906095071449402</c:v>
                </c:pt>
                <c:pt idx="73">
                  <c:v>0.1701430274135876</c:v>
                </c:pt>
                <c:pt idx="74">
                  <c:v>0.17015233668990445</c:v>
                </c:pt>
                <c:pt idx="75">
                  <c:v>0.1777975660433363</c:v>
                </c:pt>
                <c:pt idx="76">
                  <c:v>0.17853593905266646</c:v>
                </c:pt>
                <c:pt idx="77">
                  <c:v>0.1723543605653223</c:v>
                </c:pt>
                <c:pt idx="78">
                  <c:v>0.1661698956780924</c:v>
                </c:pt>
                <c:pt idx="79">
                  <c:v>0.18717074682367524</c:v>
                </c:pt>
                <c:pt idx="80">
                  <c:v>0.15863937387116195</c:v>
                </c:pt>
                <c:pt idx="81">
                  <c:v>0.1535412262156448</c:v>
                </c:pt>
                <c:pt idx="82">
                  <c:v>0.1357615894039735</c:v>
                </c:pt>
                <c:pt idx="83">
                  <c:v>0.13561417971970322</c:v>
                </c:pt>
                <c:pt idx="84">
                  <c:v>0.1468155500413565</c:v>
                </c:pt>
                <c:pt idx="85">
                  <c:v>0.13865248226950355</c:v>
                </c:pt>
                <c:pt idx="86">
                  <c:v>0.14773673979450153</c:v>
                </c:pt>
                <c:pt idx="87">
                  <c:v>0.17619872905834777</c:v>
                </c:pt>
                <c:pt idx="88">
                  <c:v>0.13754940711462452</c:v>
                </c:pt>
                <c:pt idx="89">
                  <c:v>0.15186915887850466</c:v>
                </c:pt>
                <c:pt idx="90">
                  <c:v>0.1519368183527642</c:v>
                </c:pt>
                <c:pt idx="91">
                  <c:v>0.14889637111859333</c:v>
                </c:pt>
                <c:pt idx="92">
                  <c:v>0.152811004784689</c:v>
                </c:pt>
                <c:pt idx="93">
                  <c:v>0.14445628997867804</c:v>
                </c:pt>
                <c:pt idx="94">
                  <c:v>0.1549970077797726</c:v>
                </c:pt>
                <c:pt idx="95">
                  <c:v>0.152</c:v>
                </c:pt>
                <c:pt idx="96">
                  <c:v>0.15142208572573107</c:v>
                </c:pt>
                <c:pt idx="97">
                  <c:v>0.1737817576009996</c:v>
                </c:pt>
                <c:pt idx="98">
                  <c:v>0.1791087141640647</c:v>
                </c:pt>
                <c:pt idx="99">
                  <c:v>0.1897945436173796</c:v>
                </c:pt>
                <c:pt idx="100">
                  <c:v>0.21133302368787737</c:v>
                </c:pt>
                <c:pt idx="101">
                  <c:v>0.19372644049542273</c:v>
                </c:pt>
                <c:pt idx="102">
                  <c:v>0.16303162486368594</c:v>
                </c:pt>
                <c:pt idx="103">
                  <c:v>0.1783828382838284</c:v>
                </c:pt>
                <c:pt idx="104">
                  <c:v>0.170976007453994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6.2014</c:v>
                </c:pt>
                <c:pt idx="1">
                  <c:v>1087.0092</c:v>
                </c:pt>
                <c:pt idx="2">
                  <c:v>1086.0983</c:v>
                </c:pt>
                <c:pt idx="3">
                  <c:v>1093.9267</c:v>
                </c:pt>
                <c:pt idx="4">
                  <c:v>1087.1102</c:v>
                </c:pt>
                <c:pt idx="5">
                  <c:v>1096.4041</c:v>
                </c:pt>
                <c:pt idx="6">
                  <c:v>1030.8894</c:v>
                </c:pt>
                <c:pt idx="7">
                  <c:v>1049.3048</c:v>
                </c:pt>
                <c:pt idx="8">
                  <c:v>1150.2909</c:v>
                </c:pt>
                <c:pt idx="9">
                  <c:v>1124.3297</c:v>
                </c:pt>
                <c:pt idx="10">
                  <c:v>1138.4726</c:v>
                </c:pt>
                <c:pt idx="11">
                  <c:v>1011.2417</c:v>
                </c:pt>
                <c:pt idx="12">
                  <c:v>1028.6266</c:v>
                </c:pt>
                <c:pt idx="13">
                  <c:v>1065.9361</c:v>
                </c:pt>
                <c:pt idx="14">
                  <c:v>1041.1175</c:v>
                </c:pt>
                <c:pt idx="15">
                  <c:v>1081.034</c:v>
                </c:pt>
                <c:pt idx="16">
                  <c:v>1105.4855</c:v>
                </c:pt>
                <c:pt idx="17">
                  <c:v>1110.5685</c:v>
                </c:pt>
                <c:pt idx="18">
                  <c:v>984.1317</c:v>
                </c:pt>
                <c:pt idx="19">
                  <c:v>1146.22</c:v>
                </c:pt>
                <c:pt idx="20">
                  <c:v>1200.1467</c:v>
                </c:pt>
                <c:pt idx="21">
                  <c:v>1173.1029</c:v>
                </c:pt>
                <c:pt idx="22">
                  <c:v>1159.9297</c:v>
                </c:pt>
                <c:pt idx="23">
                  <c:v>1143.437</c:v>
                </c:pt>
                <c:pt idx="24">
                  <c:v>1154.8063</c:v>
                </c:pt>
                <c:pt idx="25">
                  <c:v>1029.7726</c:v>
                </c:pt>
                <c:pt idx="26">
                  <c:v>1138.4152</c:v>
                </c:pt>
                <c:pt idx="27">
                  <c:v>1145.4966</c:v>
                </c:pt>
                <c:pt idx="28">
                  <c:v>1152.4757</c:v>
                </c:pt>
                <c:pt idx="29">
                  <c:v>1117.4848</c:v>
                </c:pt>
                <c:pt idx="30">
                  <c:v>1042.8788</c:v>
                </c:pt>
                <c:pt idx="31">
                  <c:v>1067.5842</c:v>
                </c:pt>
                <c:pt idx="32">
                  <c:v>1066.0433</c:v>
                </c:pt>
                <c:pt idx="33">
                  <c:v>1073.91</c:v>
                </c:pt>
                <c:pt idx="34">
                  <c:v>1088.5361</c:v>
                </c:pt>
                <c:pt idx="35">
                  <c:v>1038.6421</c:v>
                </c:pt>
                <c:pt idx="36">
                  <c:v>1098.8548</c:v>
                </c:pt>
                <c:pt idx="37">
                  <c:v>1170.6942</c:v>
                </c:pt>
                <c:pt idx="38">
                  <c:v>1180.3276</c:v>
                </c:pt>
                <c:pt idx="39">
                  <c:v>1207.3285</c:v>
                </c:pt>
                <c:pt idx="40">
                  <c:v>1209.3623</c:v>
                </c:pt>
                <c:pt idx="41">
                  <c:v>1260.246</c:v>
                </c:pt>
                <c:pt idx="42">
                  <c:v>1278.3034</c:v>
                </c:pt>
                <c:pt idx="43">
                  <c:v>1261.8416</c:v>
                </c:pt>
                <c:pt idx="44">
                  <c:v>1199.2134</c:v>
                </c:pt>
                <c:pt idx="45">
                  <c:v>1149.2466</c:v>
                </c:pt>
                <c:pt idx="46">
                  <c:v>1122.8701</c:v>
                </c:pt>
                <c:pt idx="47">
                  <c:v>1127.2004</c:v>
                </c:pt>
                <c:pt idx="48">
                  <c:v>1109.1569</c:v>
                </c:pt>
                <c:pt idx="49">
                  <c:v>1127.4541</c:v>
                </c:pt>
                <c:pt idx="50">
                  <c:v>1012.4986</c:v>
                </c:pt>
                <c:pt idx="51">
                  <c:v>961.2852</c:v>
                </c:pt>
              </c:numCache>
            </c:numRef>
          </c:xVal>
          <c:yVal>
            <c:numRef>
              <c:f>Sheet1!$B$109:$B$160</c:f>
              <c:numCache>
                <c:formatCode>General</c:formatCode>
                <c:ptCount val="52"/>
                <c:pt idx="0">
                  <c:v>0.17422152148206543</c:v>
                </c:pt>
                <c:pt idx="1">
                  <c:v>0.20834134153373055</c:v>
                </c:pt>
                <c:pt idx="2">
                  <c:v>0.21032599702134702</c:v>
                </c:pt>
                <c:pt idx="3">
                  <c:v>0.21450777202072538</c:v>
                </c:pt>
                <c:pt idx="4">
                  <c:v>0.2</c:v>
                </c:pt>
                <c:pt idx="5">
                  <c:v>0.20297360507851653</c:v>
                </c:pt>
                <c:pt idx="6">
                  <c:v>0.18488599348534202</c:v>
                </c:pt>
                <c:pt idx="7">
                  <c:v>0.17829593267882188</c:v>
                </c:pt>
                <c:pt idx="8">
                  <c:v>0.16054158607350097</c:v>
                </c:pt>
                <c:pt idx="9">
                  <c:v>0.16272040302267002</c:v>
                </c:pt>
                <c:pt idx="10">
                  <c:v>0.16276826621654208</c:v>
                </c:pt>
                <c:pt idx="11">
                  <c:v>0.18934497816593887</c:v>
                </c:pt>
                <c:pt idx="12">
                  <c:v>0.19076923076923077</c:v>
                </c:pt>
                <c:pt idx="13">
                  <c:v>0.18639861007694217</c:v>
                </c:pt>
                <c:pt idx="14">
                  <c:v>0.18697698744769875</c:v>
                </c:pt>
                <c:pt idx="15">
                  <c:v>0.1847733105218135</c:v>
                </c:pt>
                <c:pt idx="16">
                  <c:v>0.16026490066225166</c:v>
                </c:pt>
                <c:pt idx="17">
                  <c:v>0.15777414075286417</c:v>
                </c:pt>
                <c:pt idx="18">
                  <c:v>0.15700237368599526</c:v>
                </c:pt>
                <c:pt idx="19">
                  <c:v>0.16641509433962265</c:v>
                </c:pt>
                <c:pt idx="20">
                  <c:v>0.15096618357487923</c:v>
                </c:pt>
                <c:pt idx="21">
                  <c:v>0.14270724029380902</c:v>
                </c:pt>
                <c:pt idx="22">
                  <c:v>0.13675213675213677</c:v>
                </c:pt>
                <c:pt idx="23">
                  <c:v>0.1430084745762712</c:v>
                </c:pt>
                <c:pt idx="24">
                  <c:v>0.137016093953893</c:v>
                </c:pt>
                <c:pt idx="25">
                  <c:v>0.15120113047574188</c:v>
                </c:pt>
                <c:pt idx="26">
                  <c:v>0.14423076923076922</c:v>
                </c:pt>
                <c:pt idx="27">
                  <c:v>0.1475354490209318</c:v>
                </c:pt>
                <c:pt idx="28">
                  <c:v>0.14992721979621543</c:v>
                </c:pt>
                <c:pt idx="29">
                  <c:v>0.16067415730337078</c:v>
                </c:pt>
                <c:pt idx="30">
                  <c:v>0.16061400224634967</c:v>
                </c:pt>
                <c:pt idx="31">
                  <c:v>0.1682209469153515</c:v>
                </c:pt>
                <c:pt idx="32">
                  <c:v>0.19249106078665076</c:v>
                </c:pt>
                <c:pt idx="33">
                  <c:v>0.19935210565661599</c:v>
                </c:pt>
                <c:pt idx="34">
                  <c:v>0.21430246189917937</c:v>
                </c:pt>
                <c:pt idx="35">
                  <c:v>0.1993006993006993</c:v>
                </c:pt>
                <c:pt idx="36">
                  <c:v>0.19257221458046767</c:v>
                </c:pt>
                <c:pt idx="37">
                  <c:v>0.1642651296829971</c:v>
                </c:pt>
                <c:pt idx="38">
                  <c:v>0.16545307443365695</c:v>
                </c:pt>
                <c:pt idx="39">
                  <c:v>0.1751987281399046</c:v>
                </c:pt>
                <c:pt idx="40">
                  <c:v>0.15330894579314933</c:v>
                </c:pt>
                <c:pt idx="41">
                  <c:v>0.15644555694618273</c:v>
                </c:pt>
                <c:pt idx="42">
                  <c:v>0.15298923134051243</c:v>
                </c:pt>
                <c:pt idx="43">
                  <c:v>0.15314632297194844</c:v>
                </c:pt>
                <c:pt idx="44">
                  <c:v>0.1472977746379371</c:v>
                </c:pt>
                <c:pt idx="45">
                  <c:v>0.15697969543147208</c:v>
                </c:pt>
                <c:pt idx="46">
                  <c:v>0.1505803784385435</c:v>
                </c:pt>
                <c:pt idx="47">
                  <c:v>0.14263273641218976</c:v>
                </c:pt>
                <c:pt idx="48">
                  <c:v>0.1420908332339969</c:v>
                </c:pt>
                <c:pt idx="49">
                  <c:v>0.16083916083916083</c:v>
                </c:pt>
                <c:pt idx="50">
                  <c:v>0.19821991470424624</c:v>
                </c:pt>
                <c:pt idx="51">
                  <c:v>0.1886206896551724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9.7726820159169</c:v>
                </c:pt>
              </c:numCache>
            </c:numRef>
          </c:xVal>
          <c:yVal>
            <c:numRef>
              <c:f>Sheet1!$B$163:$B$164</c:f>
              <c:numCache>
                <c:formatCode>General</c:formatCode>
                <c:ptCount val="2"/>
                <c:pt idx="0">
                  <c:v>0.20122104494176865</c:v>
                </c:pt>
                <c:pt idx="1">
                  <c:v>0.201221044941768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9.7726820159169</c:v>
                </c:pt>
                <c:pt idx="1">
                  <c:v>929.7726820159169</c:v>
                </c:pt>
              </c:numCache>
            </c:numRef>
          </c:xVal>
          <c:yVal>
            <c:numRef>
              <c:f>Sheet1!$B$167:$B$168</c:f>
              <c:numCache>
                <c:formatCode>General</c:formatCode>
                <c:ptCount val="2"/>
                <c:pt idx="0">
                  <c:v>0.201221044941768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0.265009794727</c:v>
                </c:pt>
              </c:numCache>
            </c:numRef>
          </c:xVal>
          <c:yVal>
            <c:numRef>
              <c:f>Sheet1!$B$171:$B$172</c:f>
              <c:numCache>
                <c:formatCode>General</c:formatCode>
                <c:ptCount val="2"/>
                <c:pt idx="0">
                  <c:v>0.1926770832637833</c:v>
                </c:pt>
                <c:pt idx="1">
                  <c:v>0.192677083263783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0.265009794727</c:v>
                </c:pt>
                <c:pt idx="1">
                  <c:v>980.265009794727</c:v>
                </c:pt>
              </c:numCache>
            </c:numRef>
          </c:xVal>
          <c:yVal>
            <c:numRef>
              <c:f>Sheet1!$B$175:$B$176</c:f>
              <c:numCache>
                <c:formatCode>General</c:formatCode>
                <c:ptCount val="2"/>
                <c:pt idx="0">
                  <c:v>0.19267708326378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4.1271577319303</c:v>
                </c:pt>
              </c:numCache>
            </c:numRef>
          </c:xVal>
          <c:yVal>
            <c:numRef>
              <c:f>Sheet1!$B$179:$B$180</c:f>
              <c:numCache>
                <c:formatCode>General</c:formatCode>
                <c:ptCount val="2"/>
                <c:pt idx="0">
                  <c:v>0.15987307450341665</c:v>
                </c:pt>
                <c:pt idx="1">
                  <c:v>0.159873074503416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4.1271577319303</c:v>
                </c:pt>
                <c:pt idx="1">
                  <c:v>1174.1271577319303</c:v>
                </c:pt>
              </c:numCache>
            </c:numRef>
          </c:xVal>
          <c:yVal>
            <c:numRef>
              <c:f>Sheet1!$B$183:$B$184</c:f>
              <c:numCache>
                <c:formatCode>General</c:formatCode>
                <c:ptCount val="2"/>
                <c:pt idx="0">
                  <c:v>0.159873074503416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6.2014</c:v>
                </c:pt>
                <c:pt idx="1">
                  <c:v>1087.0092</c:v>
                </c:pt>
                <c:pt idx="2">
                  <c:v>1086.0983</c:v>
                </c:pt>
                <c:pt idx="3">
                  <c:v>1093.9267</c:v>
                </c:pt>
                <c:pt idx="4">
                  <c:v>1087.1102</c:v>
                </c:pt>
                <c:pt idx="5">
                  <c:v>1096.4041</c:v>
                </c:pt>
                <c:pt idx="6">
                  <c:v>1030.8894</c:v>
                </c:pt>
                <c:pt idx="7">
                  <c:v>1049.3048</c:v>
                </c:pt>
                <c:pt idx="8">
                  <c:v>1150.2909</c:v>
                </c:pt>
                <c:pt idx="9">
                  <c:v>1124.3297</c:v>
                </c:pt>
                <c:pt idx="10">
                  <c:v>1138.4726</c:v>
                </c:pt>
                <c:pt idx="11">
                  <c:v>1011.2417</c:v>
                </c:pt>
                <c:pt idx="12">
                  <c:v>1028.6266</c:v>
                </c:pt>
                <c:pt idx="13">
                  <c:v>1065.9361</c:v>
                </c:pt>
                <c:pt idx="14">
                  <c:v>1041.1175</c:v>
                </c:pt>
                <c:pt idx="15">
                  <c:v>1081.034</c:v>
                </c:pt>
                <c:pt idx="16">
                  <c:v>1105.4855</c:v>
                </c:pt>
                <c:pt idx="17">
                  <c:v>1110.5685</c:v>
                </c:pt>
                <c:pt idx="18">
                  <c:v>984.1317</c:v>
                </c:pt>
                <c:pt idx="19">
                  <c:v>1146.22</c:v>
                </c:pt>
                <c:pt idx="20">
                  <c:v>1200.1467</c:v>
                </c:pt>
                <c:pt idx="21">
                  <c:v>1173.1029</c:v>
                </c:pt>
                <c:pt idx="22">
                  <c:v>1159.9297</c:v>
                </c:pt>
                <c:pt idx="23">
                  <c:v>1143.437</c:v>
                </c:pt>
                <c:pt idx="24">
                  <c:v>1154.8063</c:v>
                </c:pt>
                <c:pt idx="25">
                  <c:v>1029.7726</c:v>
                </c:pt>
                <c:pt idx="26">
                  <c:v>1138.4152</c:v>
                </c:pt>
                <c:pt idx="27">
                  <c:v>1145.4966</c:v>
                </c:pt>
                <c:pt idx="28">
                  <c:v>1152.4757</c:v>
                </c:pt>
                <c:pt idx="29">
                  <c:v>1117.4848</c:v>
                </c:pt>
                <c:pt idx="30">
                  <c:v>1042.8788</c:v>
                </c:pt>
                <c:pt idx="31">
                  <c:v>1067.5842</c:v>
                </c:pt>
                <c:pt idx="32">
                  <c:v>1066.0433</c:v>
                </c:pt>
                <c:pt idx="33">
                  <c:v>1073.91</c:v>
                </c:pt>
                <c:pt idx="34">
                  <c:v>1088.5361</c:v>
                </c:pt>
                <c:pt idx="35">
                  <c:v>1038.6421</c:v>
                </c:pt>
                <c:pt idx="36">
                  <c:v>1098.8548</c:v>
                </c:pt>
                <c:pt idx="37">
                  <c:v>1170.6942</c:v>
                </c:pt>
                <c:pt idx="38">
                  <c:v>1180.3276</c:v>
                </c:pt>
                <c:pt idx="39">
                  <c:v>1207.3285</c:v>
                </c:pt>
                <c:pt idx="40">
                  <c:v>1209.3623</c:v>
                </c:pt>
                <c:pt idx="41">
                  <c:v>1260.246</c:v>
                </c:pt>
                <c:pt idx="42">
                  <c:v>1278.3034</c:v>
                </c:pt>
                <c:pt idx="43">
                  <c:v>1261.8416</c:v>
                </c:pt>
                <c:pt idx="44">
                  <c:v>1199.2134</c:v>
                </c:pt>
                <c:pt idx="45">
                  <c:v>1149.2466</c:v>
                </c:pt>
                <c:pt idx="46">
                  <c:v>1122.8701</c:v>
                </c:pt>
                <c:pt idx="47">
                  <c:v>1127.2004</c:v>
                </c:pt>
                <c:pt idx="48">
                  <c:v>1109.1569</c:v>
                </c:pt>
                <c:pt idx="49">
                  <c:v>1127.4541</c:v>
                </c:pt>
                <c:pt idx="50">
                  <c:v>1012.4986</c:v>
                </c:pt>
                <c:pt idx="51">
                  <c:v>961.2852</c:v>
                </c:pt>
                <c:pt idx="52">
                  <c:v>980.265009794727</c:v>
                </c:pt>
                <c:pt idx="53">
                  <c:v>929.7726820159169</c:v>
                </c:pt>
                <c:pt idx="54">
                  <c:v>1174.1271577319303</c:v>
                </c:pt>
              </c:numCache>
            </c:numRef>
          </c:xVal>
          <c:yVal>
            <c:numRef>
              <c:f>Sheet1!$B$187:$B$241</c:f>
              <c:numCache>
                <c:formatCode>General</c:formatCode>
                <c:ptCount val="55"/>
                <c:pt idx="0">
                  <c:v>0.16121421628296098</c:v>
                </c:pt>
                <c:pt idx="1">
                  <c:v>0.17461457138164793</c:v>
                </c:pt>
                <c:pt idx="2">
                  <c:v>0.17476870756500174</c:v>
                </c:pt>
                <c:pt idx="3">
                  <c:v>0.17344403998594018</c:v>
                </c:pt>
                <c:pt idx="4">
                  <c:v>0.17459748086181176</c:v>
                </c:pt>
                <c:pt idx="5">
                  <c:v>0.17302483153205853</c:v>
                </c:pt>
                <c:pt idx="6">
                  <c:v>0.18411077489749028</c:v>
                </c:pt>
                <c:pt idx="7">
                  <c:v>0.1809946485708526</c:v>
                </c:pt>
                <c:pt idx="8">
                  <c:v>0.1639064807963557</c:v>
                </c:pt>
                <c:pt idx="9">
                  <c:v>0.16829945508912736</c:v>
                </c:pt>
                <c:pt idx="10">
                  <c:v>0.1659062915941718</c:v>
                </c:pt>
                <c:pt idx="11">
                  <c:v>0.18743542248743567</c:v>
                </c:pt>
                <c:pt idx="12">
                  <c:v>0.18449367022704685</c:v>
                </c:pt>
                <c:pt idx="13">
                  <c:v>0.17818041527827083</c:v>
                </c:pt>
                <c:pt idx="14">
                  <c:v>0.18238004671990612</c:v>
                </c:pt>
                <c:pt idx="15">
                  <c:v>0.17562565330367652</c:v>
                </c:pt>
                <c:pt idx="16">
                  <c:v>0.17148813997918821</c:v>
                </c:pt>
                <c:pt idx="17">
                  <c:v>0.17062802995614773</c:v>
                </c:pt>
                <c:pt idx="18">
                  <c:v>0.1920227887523633</c:v>
                </c:pt>
                <c:pt idx="19">
                  <c:v>0.16459533027359266</c:v>
                </c:pt>
                <c:pt idx="20">
                  <c:v>0.15547022793648924</c:v>
                </c:pt>
                <c:pt idx="21">
                  <c:v>0.16004639229633616</c:v>
                </c:pt>
                <c:pt idx="22">
                  <c:v>0.16227546987955807</c:v>
                </c:pt>
                <c:pt idx="23">
                  <c:v>0.16506625024095872</c:v>
                </c:pt>
                <c:pt idx="24">
                  <c:v>0.16314241611053298</c:v>
                </c:pt>
                <c:pt idx="25">
                  <c:v>0.1842997520514804</c:v>
                </c:pt>
                <c:pt idx="26">
                  <c:v>0.1659160044242569</c:v>
                </c:pt>
                <c:pt idx="27">
                  <c:v>0.16471773900675565</c:v>
                </c:pt>
                <c:pt idx="28">
                  <c:v>0.16353678408607855</c:v>
                </c:pt>
                <c:pt idx="29">
                  <c:v>0.16945770161612123</c:v>
                </c:pt>
                <c:pt idx="30">
                  <c:v>0.18208201174379338</c:v>
                </c:pt>
                <c:pt idx="31">
                  <c:v>0.17790153522141994</c:v>
                </c:pt>
                <c:pt idx="32">
                  <c:v>0.17816227563741505</c:v>
                </c:pt>
                <c:pt idx="33">
                  <c:v>0.17683112719786112</c:v>
                </c:pt>
                <c:pt idx="34">
                  <c:v>0.1743561999486004</c:v>
                </c:pt>
                <c:pt idx="35">
                  <c:v>0.18279891674765242</c:v>
                </c:pt>
                <c:pt idx="36">
                  <c:v>0.17261014106708403</c:v>
                </c:pt>
                <c:pt idx="37">
                  <c:v>0.16045397581246792</c:v>
                </c:pt>
                <c:pt idx="38">
                  <c:v>0.15882387864623573</c:v>
                </c:pt>
                <c:pt idx="39">
                  <c:v>0.15425497352699247</c:v>
                </c:pt>
                <c:pt idx="40">
                  <c:v>0.15391082798993566</c:v>
                </c:pt>
                <c:pt idx="41">
                  <c:v>0.14530064101779624</c:v>
                </c:pt>
                <c:pt idx="42">
                  <c:v>0.1422450929693896</c:v>
                </c:pt>
                <c:pt idx="43">
                  <c:v>0.14503064464699883</c:v>
                </c:pt>
                <c:pt idx="44">
                  <c:v>0.1556281544925592</c:v>
                </c:pt>
                <c:pt idx="45">
                  <c:v>0.16408319000293867</c:v>
                </c:pt>
                <c:pt idx="46">
                  <c:v>0.1685464384827197</c:v>
                </c:pt>
                <c:pt idx="47">
                  <c:v>0.1678136951357254</c:v>
                </c:pt>
                <c:pt idx="48">
                  <c:v>0.17086689112249123</c:v>
                </c:pt>
                <c:pt idx="49">
                  <c:v>0.16777076578045383</c:v>
                </c:pt>
                <c:pt idx="50">
                  <c:v>0.18722273858266297</c:v>
                </c:pt>
                <c:pt idx="51">
                  <c:v>0.19588871510321795</c:v>
                </c:pt>
                <c:pt idx="52">
                  <c:v>0.1926770832637833</c:v>
                </c:pt>
                <c:pt idx="53">
                  <c:v>0.20122104494176865</c:v>
                </c:pt>
                <c:pt idx="54">
                  <c:v>0.159873074503416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4.0"/>
          <c:min val="6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1990471148756"/>
          <c:min val="0.106219265258895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587.2373</c:v>
                </c:pt>
                <c:pt idx="1">
                  <c:v>618.0175</c:v>
                </c:pt>
                <c:pt idx="2">
                  <c:v>596.4769</c:v>
                </c:pt>
                <c:pt idx="3">
                  <c:v>623.9273</c:v>
                </c:pt>
                <c:pt idx="4">
                  <c:v>611.1111</c:v>
                </c:pt>
                <c:pt idx="5">
                  <c:v>616.8772</c:v>
                </c:pt>
                <c:pt idx="6">
                  <c:v>586.8507</c:v>
                </c:pt>
                <c:pt idx="7">
                  <c:v>616.0175</c:v>
                </c:pt>
                <c:pt idx="8">
                  <c:v>607.2754</c:v>
                </c:pt>
                <c:pt idx="9">
                  <c:v>615.4487</c:v>
                </c:pt>
                <c:pt idx="10">
                  <c:v>602.7841</c:v>
                </c:pt>
                <c:pt idx="11">
                  <c:v>615.1062</c:v>
                </c:pt>
                <c:pt idx="12">
                  <c:v>574.9901</c:v>
                </c:pt>
                <c:pt idx="13">
                  <c:v>583.0619</c:v>
                </c:pt>
                <c:pt idx="14">
                  <c:v>537.4222</c:v>
                </c:pt>
                <c:pt idx="15">
                  <c:v>581.4839</c:v>
                </c:pt>
                <c:pt idx="16">
                  <c:v>570.902</c:v>
                </c:pt>
                <c:pt idx="17">
                  <c:v>582.7368</c:v>
                </c:pt>
                <c:pt idx="18">
                  <c:v>510.2903</c:v>
                </c:pt>
                <c:pt idx="19">
                  <c:v>581.2083</c:v>
                </c:pt>
                <c:pt idx="20">
                  <c:v>638.5</c:v>
                </c:pt>
                <c:pt idx="21">
                  <c:v>580.8571</c:v>
                </c:pt>
                <c:pt idx="22">
                  <c:v>636.1579</c:v>
                </c:pt>
                <c:pt idx="23">
                  <c:v>662.4615</c:v>
                </c:pt>
                <c:pt idx="24">
                  <c:v>605.2</c:v>
                </c:pt>
                <c:pt idx="25">
                  <c:v>532.7</c:v>
                </c:pt>
                <c:pt idx="26">
                  <c:v>466.4762</c:v>
                </c:pt>
                <c:pt idx="27">
                  <c:v>412.0</c:v>
                </c:pt>
                <c:pt idx="28">
                  <c:v>419.9286</c:v>
                </c:pt>
                <c:pt idx="29">
                  <c:v>515.3333</c:v>
                </c:pt>
                <c:pt idx="30">
                  <c:v>550.8571</c:v>
                </c:pt>
                <c:pt idx="31">
                  <c:v>528.2308</c:v>
                </c:pt>
                <c:pt idx="32">
                  <c:v>514.8333</c:v>
                </c:pt>
                <c:pt idx="33">
                  <c:v>395.1667</c:v>
                </c:pt>
                <c:pt idx="34">
                  <c:v>439.5</c:v>
                </c:pt>
                <c:pt idx="35">
                  <c:v>464.25</c:v>
                </c:pt>
                <c:pt idx="36">
                  <c:v>697.75</c:v>
                </c:pt>
                <c:pt idx="37">
                  <c:v>614.2222</c:v>
                </c:pt>
                <c:pt idx="38">
                  <c:v>653.2</c:v>
                </c:pt>
                <c:pt idx="39">
                  <c:v>607.6</c:v>
                </c:pt>
                <c:pt idx="40">
                  <c:v>521.125</c:v>
                </c:pt>
                <c:pt idx="41">
                  <c:v>643.5</c:v>
                </c:pt>
                <c:pt idx="42">
                  <c:v>543.5</c:v>
                </c:pt>
                <c:pt idx="43">
                  <c:v>639.4545</c:v>
                </c:pt>
                <c:pt idx="44">
                  <c:v>682.5556</c:v>
                </c:pt>
                <c:pt idx="45">
                  <c:v>626.0</c:v>
                </c:pt>
                <c:pt idx="46">
                  <c:v>615.6923</c:v>
                </c:pt>
                <c:pt idx="47">
                  <c:v>670.7037</c:v>
                </c:pt>
                <c:pt idx="48">
                  <c:v>630.037</c:v>
                </c:pt>
                <c:pt idx="49">
                  <c:v>626.1364</c:v>
                </c:pt>
                <c:pt idx="50">
                  <c:v>666.093</c:v>
                </c:pt>
                <c:pt idx="51">
                  <c:v>661.875</c:v>
                </c:pt>
                <c:pt idx="52">
                  <c:v>671.6857</c:v>
                </c:pt>
                <c:pt idx="53">
                  <c:v>678.303</c:v>
                </c:pt>
                <c:pt idx="54">
                  <c:v>633.0541</c:v>
                </c:pt>
                <c:pt idx="55">
                  <c:v>654.3429</c:v>
                </c:pt>
                <c:pt idx="56">
                  <c:v>659.9412</c:v>
                </c:pt>
                <c:pt idx="57">
                  <c:v>604.0</c:v>
                </c:pt>
                <c:pt idx="58">
                  <c:v>642.2586</c:v>
                </c:pt>
                <c:pt idx="59">
                  <c:v>629.8723</c:v>
                </c:pt>
                <c:pt idx="60">
                  <c:v>616.7556</c:v>
                </c:pt>
                <c:pt idx="61">
                  <c:v>672.716</c:v>
                </c:pt>
                <c:pt idx="62">
                  <c:v>712.4756</c:v>
                </c:pt>
                <c:pt idx="63">
                  <c:v>705.8511</c:v>
                </c:pt>
                <c:pt idx="64">
                  <c:v>648.6237</c:v>
                </c:pt>
                <c:pt idx="65">
                  <c:v>638.8537</c:v>
                </c:pt>
                <c:pt idx="66">
                  <c:v>638.4444</c:v>
                </c:pt>
                <c:pt idx="67">
                  <c:v>680.1731</c:v>
                </c:pt>
                <c:pt idx="68">
                  <c:v>657.087</c:v>
                </c:pt>
                <c:pt idx="69">
                  <c:v>673.7143</c:v>
                </c:pt>
                <c:pt idx="70">
                  <c:v>624.9259</c:v>
                </c:pt>
                <c:pt idx="71">
                  <c:v>613.6</c:v>
                </c:pt>
                <c:pt idx="72">
                  <c:v>676.4</c:v>
                </c:pt>
                <c:pt idx="73">
                  <c:v>680.2353</c:v>
                </c:pt>
                <c:pt idx="74">
                  <c:v>680.3333</c:v>
                </c:pt>
                <c:pt idx="75">
                  <c:v>613.2941</c:v>
                </c:pt>
                <c:pt idx="76">
                  <c:v>676.6364</c:v>
                </c:pt>
                <c:pt idx="77">
                  <c:v>638.9</c:v>
                </c:pt>
                <c:pt idx="78">
                  <c:v>615.1667</c:v>
                </c:pt>
                <c:pt idx="79">
                  <c:v>641.2727</c:v>
                </c:pt>
                <c:pt idx="80">
                  <c:v>690.1429</c:v>
                </c:pt>
                <c:pt idx="81">
                  <c:v>691.8333</c:v>
                </c:pt>
                <c:pt idx="82">
                  <c:v>639.375</c:v>
                </c:pt>
                <c:pt idx="83">
                  <c:v>707.8333</c:v>
                </c:pt>
                <c:pt idx="84">
                  <c:v>659.4286</c:v>
                </c:pt>
                <c:pt idx="85">
                  <c:v>595.2857</c:v>
                </c:pt>
                <c:pt idx="86">
                  <c:v>560.8</c:v>
                </c:pt>
                <c:pt idx="87">
                  <c:v>574.875</c:v>
                </c:pt>
                <c:pt idx="88">
                  <c:v>583.8</c:v>
                </c:pt>
                <c:pt idx="89">
                  <c:v>543.6667</c:v>
                </c:pt>
                <c:pt idx="90">
                  <c:v>454.1667</c:v>
                </c:pt>
                <c:pt idx="91">
                  <c:v>413.0</c:v>
                </c:pt>
                <c:pt idx="92">
                  <c:v>302.871</c:v>
                </c:pt>
                <c:pt idx="93">
                  <c:v>246.8393</c:v>
                </c:pt>
                <c:pt idx="94">
                  <c:v>233.3585</c:v>
                </c:pt>
                <c:pt idx="95">
                  <c:v>187.4583</c:v>
                </c:pt>
                <c:pt idx="96">
                  <c:v>438.1515</c:v>
                </c:pt>
                <c:pt idx="97">
                  <c:v>567.4565</c:v>
                </c:pt>
                <c:pt idx="98">
                  <c:v>532.1923</c:v>
                </c:pt>
                <c:pt idx="99">
                  <c:v>543.2222</c:v>
                </c:pt>
                <c:pt idx="100">
                  <c:v>514.3333</c:v>
                </c:pt>
                <c:pt idx="101">
                  <c:v>653.125</c:v>
                </c:pt>
              </c:numCache>
            </c:numRef>
          </c:xVal>
          <c:yVal>
            <c:numRef>
              <c:f>Sheet1!$B$2:$B$103</c:f>
              <c:numCache>
                <c:formatCode>General</c:formatCode>
                <c:ptCount val="102"/>
                <c:pt idx="0">
                  <c:v>0.2935323383084577</c:v>
                </c:pt>
                <c:pt idx="1">
                  <c:v>0.2446351931330472</c:v>
                </c:pt>
                <c:pt idx="2">
                  <c:v>0.2674897119341564</c:v>
                </c:pt>
                <c:pt idx="3">
                  <c:v>0.270935960591133</c:v>
                </c:pt>
                <c:pt idx="4">
                  <c:v>0.27835051546391754</c:v>
                </c:pt>
                <c:pt idx="5">
                  <c:v>0.2878787878787879</c:v>
                </c:pt>
                <c:pt idx="6">
                  <c:v>0.29515418502202645</c:v>
                </c:pt>
                <c:pt idx="7">
                  <c:v>0.25333333333333335</c:v>
                </c:pt>
                <c:pt idx="8">
                  <c:v>0.2875</c:v>
                </c:pt>
                <c:pt idx="9">
                  <c:v>0.291044776119403</c:v>
                </c:pt>
                <c:pt idx="10">
                  <c:v>0.3076923076923077</c:v>
                </c:pt>
                <c:pt idx="11">
                  <c:v>0.34036144578313254</c:v>
                </c:pt>
                <c:pt idx="12">
                  <c:v>0.30606060606060603</c:v>
                </c:pt>
                <c:pt idx="13">
                  <c:v>0.2811594202898551</c:v>
                </c:pt>
                <c:pt idx="14">
                  <c:v>0.2647058823529412</c:v>
                </c:pt>
                <c:pt idx="15">
                  <c:v>0.24701195219123506</c:v>
                </c:pt>
                <c:pt idx="16">
                  <c:v>0.26424870466321243</c:v>
                </c:pt>
                <c:pt idx="17">
                  <c:v>0.23030303030303031</c:v>
                </c:pt>
                <c:pt idx="18">
                  <c:v>0.12109375</c:v>
                </c:pt>
                <c:pt idx="19">
                  <c:v>0.14906832298136646</c:v>
                </c:pt>
                <c:pt idx="20">
                  <c:v>0.20833333333333334</c:v>
                </c:pt>
                <c:pt idx="21">
                  <c:v>0.17355371900826447</c:v>
                </c:pt>
                <c:pt idx="22">
                  <c:v>0.1386861313868613</c:v>
                </c:pt>
                <c:pt idx="23">
                  <c:v>0.06806282722513089</c:v>
                </c:pt>
                <c:pt idx="24">
                  <c:v>0.125</c:v>
                </c:pt>
                <c:pt idx="25">
                  <c:v>0.2127659574468085</c:v>
                </c:pt>
                <c:pt idx="26">
                  <c:v>0.35</c:v>
                </c:pt>
                <c:pt idx="27">
                  <c:v>0.3</c:v>
                </c:pt>
                <c:pt idx="28">
                  <c:v>0.2413793103448276</c:v>
                </c:pt>
                <c:pt idx="29">
                  <c:v>0.2608695652173913</c:v>
                </c:pt>
                <c:pt idx="30">
                  <c:v>0.21875</c:v>
                </c:pt>
                <c:pt idx="31">
                  <c:v>0.29545454545454547</c:v>
                </c:pt>
                <c:pt idx="32">
                  <c:v>0.21818181818181817</c:v>
                </c:pt>
                <c:pt idx="33">
                  <c:v>0.3157894736842105</c:v>
                </c:pt>
                <c:pt idx="34">
                  <c:v>0.2631578947368421</c:v>
                </c:pt>
                <c:pt idx="35">
                  <c:v>0.17391304347826086</c:v>
                </c:pt>
                <c:pt idx="36">
                  <c:v>0.1702127659574468</c:v>
                </c:pt>
                <c:pt idx="37">
                  <c:v>0.2</c:v>
                </c:pt>
                <c:pt idx="38">
                  <c:v>0.1111111111111111</c:v>
                </c:pt>
                <c:pt idx="39">
                  <c:v>0.13157894736842105</c:v>
                </c:pt>
                <c:pt idx="40">
                  <c:v>0.20512820512820512</c:v>
                </c:pt>
                <c:pt idx="41">
                  <c:v>0.14814814814814814</c:v>
                </c:pt>
                <c:pt idx="42">
                  <c:v>0.21739130434782608</c:v>
                </c:pt>
                <c:pt idx="43">
                  <c:v>0.16666666666666666</c:v>
                </c:pt>
                <c:pt idx="44">
                  <c:v>0.17647058823529413</c:v>
                </c:pt>
                <c:pt idx="45">
                  <c:v>0.192</c:v>
                </c:pt>
                <c:pt idx="46">
                  <c:v>0.2222222222222222</c:v>
                </c:pt>
                <c:pt idx="47">
                  <c:v>0.2125984251968504</c:v>
                </c:pt>
                <c:pt idx="48">
                  <c:v>0.24324324324324326</c:v>
                </c:pt>
                <c:pt idx="49">
                  <c:v>0.22525597269624573</c:v>
                </c:pt>
                <c:pt idx="50">
                  <c:v>0.2606060606060606</c:v>
                </c:pt>
                <c:pt idx="51">
                  <c:v>0.24806201550387597</c:v>
                </c:pt>
                <c:pt idx="52">
                  <c:v>0.2046783625730994</c:v>
                </c:pt>
                <c:pt idx="53">
                  <c:v>0.19879518072289157</c:v>
                </c:pt>
                <c:pt idx="54">
                  <c:v>0.24342105263157895</c:v>
                </c:pt>
                <c:pt idx="55">
                  <c:v>0.22727272727272727</c:v>
                </c:pt>
                <c:pt idx="56">
                  <c:v>0.20238095238095238</c:v>
                </c:pt>
                <c:pt idx="57">
                  <c:v>0.19491525423728814</c:v>
                </c:pt>
                <c:pt idx="58">
                  <c:v>0.27358490566037735</c:v>
                </c:pt>
                <c:pt idx="59">
                  <c:v>0.25474254742547425</c:v>
                </c:pt>
                <c:pt idx="60">
                  <c:v>0.2571428571428571</c:v>
                </c:pt>
                <c:pt idx="61">
                  <c:v>0.30223880597014924</c:v>
                </c:pt>
                <c:pt idx="62">
                  <c:v>0.31297709923664124</c:v>
                </c:pt>
                <c:pt idx="63">
                  <c:v>0.2822822822822823</c:v>
                </c:pt>
                <c:pt idx="64">
                  <c:v>0.29245283018867924</c:v>
                </c:pt>
                <c:pt idx="65">
                  <c:v>0.2847222222222222</c:v>
                </c:pt>
                <c:pt idx="66">
                  <c:v>0.250996015936255</c:v>
                </c:pt>
                <c:pt idx="67">
                  <c:v>0.26804123711340205</c:v>
                </c:pt>
                <c:pt idx="68">
                  <c:v>0.2787878787878788</c:v>
                </c:pt>
                <c:pt idx="69">
                  <c:v>0.27450980392156865</c:v>
                </c:pt>
                <c:pt idx="70">
                  <c:v>0.2903225806451613</c:v>
                </c:pt>
                <c:pt idx="71">
                  <c:v>0.23529411764705882</c:v>
                </c:pt>
                <c:pt idx="72">
                  <c:v>0.22727272727272727</c:v>
                </c:pt>
                <c:pt idx="73">
                  <c:v>0.24285714285714285</c:v>
                </c:pt>
                <c:pt idx="74">
                  <c:v>0.2692307692307692</c:v>
                </c:pt>
                <c:pt idx="75">
                  <c:v>0.29310344827586204</c:v>
                </c:pt>
                <c:pt idx="76">
                  <c:v>0.21153846153846154</c:v>
                </c:pt>
                <c:pt idx="77">
                  <c:v>0.2222222222222222</c:v>
                </c:pt>
                <c:pt idx="78">
                  <c:v>0.3076923076923077</c:v>
                </c:pt>
                <c:pt idx="79">
                  <c:v>0.2894736842105263</c:v>
                </c:pt>
                <c:pt idx="80">
                  <c:v>0.2692307692307692</c:v>
                </c:pt>
                <c:pt idx="81">
                  <c:v>0.2926829268292683</c:v>
                </c:pt>
                <c:pt idx="82">
                  <c:v>0.24242424242424243</c:v>
                </c:pt>
                <c:pt idx="83">
                  <c:v>0.2608695652173913</c:v>
                </c:pt>
                <c:pt idx="84">
                  <c:v>0.25</c:v>
                </c:pt>
                <c:pt idx="85">
                  <c:v>0.2916666666666667</c:v>
                </c:pt>
                <c:pt idx="86">
                  <c:v>0.3225806451612903</c:v>
                </c:pt>
                <c:pt idx="87">
                  <c:v>0.2962962962962963</c:v>
                </c:pt>
                <c:pt idx="88">
                  <c:v>0.22727272727272727</c:v>
                </c:pt>
                <c:pt idx="89">
                  <c:v>0.3</c:v>
                </c:pt>
                <c:pt idx="90">
                  <c:v>0.3157894736842105</c:v>
                </c:pt>
                <c:pt idx="91">
                  <c:v>0.375</c:v>
                </c:pt>
                <c:pt idx="92">
                  <c:v>0.5344827586206896</c:v>
                </c:pt>
                <c:pt idx="93">
                  <c:v>0.5833333333333334</c:v>
                </c:pt>
                <c:pt idx="94">
                  <c:v>0.53</c:v>
                </c:pt>
                <c:pt idx="95">
                  <c:v>0.44036697247706424</c:v>
                </c:pt>
                <c:pt idx="96">
                  <c:v>0.27049180327868855</c:v>
                </c:pt>
                <c:pt idx="97">
                  <c:v>0.22439024390243903</c:v>
                </c:pt>
                <c:pt idx="98">
                  <c:v>0.2222222222222222</c:v>
                </c:pt>
                <c:pt idx="99">
                  <c:v>0.24324324324324326</c:v>
                </c:pt>
                <c:pt idx="100">
                  <c:v>0.175</c:v>
                </c:pt>
                <c:pt idx="101">
                  <c:v>0.16326530612244897</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38</c:f>
              <c:numCache>
                <c:formatCode>General</c:formatCode>
                <c:ptCount val="33"/>
                <c:pt idx="0">
                  <c:v>720.5455</c:v>
                </c:pt>
                <c:pt idx="1">
                  <c:v>649.2727</c:v>
                </c:pt>
                <c:pt idx="2">
                  <c:v>577.9524</c:v>
                </c:pt>
                <c:pt idx="3">
                  <c:v>673.2069</c:v>
                </c:pt>
                <c:pt idx="4">
                  <c:v>726.8889</c:v>
                </c:pt>
                <c:pt idx="5">
                  <c:v>698.5185</c:v>
                </c:pt>
                <c:pt idx="6">
                  <c:v>671.3214</c:v>
                </c:pt>
                <c:pt idx="7">
                  <c:v>712.7826</c:v>
                </c:pt>
                <c:pt idx="8">
                  <c:v>622.2857</c:v>
                </c:pt>
                <c:pt idx="9">
                  <c:v>665.8056</c:v>
                </c:pt>
                <c:pt idx="10">
                  <c:v>637.5111</c:v>
                </c:pt>
                <c:pt idx="11">
                  <c:v>636.0517</c:v>
                </c:pt>
                <c:pt idx="12">
                  <c:v>596.0625</c:v>
                </c:pt>
                <c:pt idx="13">
                  <c:v>587.92</c:v>
                </c:pt>
                <c:pt idx="14">
                  <c:v>665.2222</c:v>
                </c:pt>
                <c:pt idx="15">
                  <c:v>677.6071</c:v>
                </c:pt>
                <c:pt idx="16">
                  <c:v>609.3043</c:v>
                </c:pt>
                <c:pt idx="17">
                  <c:v>651.2632</c:v>
                </c:pt>
                <c:pt idx="18">
                  <c:v>480.25</c:v>
                </c:pt>
                <c:pt idx="19">
                  <c:v>682.5833</c:v>
                </c:pt>
                <c:pt idx="20">
                  <c:v>654.6667</c:v>
                </c:pt>
                <c:pt idx="21">
                  <c:v>683.1111</c:v>
                </c:pt>
                <c:pt idx="22">
                  <c:v>822.0</c:v>
                </c:pt>
                <c:pt idx="23">
                  <c:v>435.0</c:v>
                </c:pt>
                <c:pt idx="24">
                  <c:v>492.1818</c:v>
                </c:pt>
                <c:pt idx="25">
                  <c:v>690.3333</c:v>
                </c:pt>
                <c:pt idx="26">
                  <c:v>270.5294</c:v>
                </c:pt>
                <c:pt idx="27">
                  <c:v>689.1667</c:v>
                </c:pt>
                <c:pt idx="28">
                  <c:v>394.25</c:v>
                </c:pt>
                <c:pt idx="29">
                  <c:v>695.0</c:v>
                </c:pt>
                <c:pt idx="30">
                  <c:v>738.2</c:v>
                </c:pt>
                <c:pt idx="31">
                  <c:v>648.22</c:v>
                </c:pt>
                <c:pt idx="32">
                  <c:v>624.575</c:v>
                </c:pt>
              </c:numCache>
            </c:numRef>
          </c:xVal>
          <c:yVal>
            <c:numRef>
              <c:f>Sheet1!$B$106:$B$138</c:f>
              <c:numCache>
                <c:formatCode>General</c:formatCode>
                <c:ptCount val="33"/>
                <c:pt idx="0">
                  <c:v>0.1732283464566929</c:v>
                </c:pt>
                <c:pt idx="1">
                  <c:v>0.20754716981132076</c:v>
                </c:pt>
                <c:pt idx="2">
                  <c:v>0.18421052631578946</c:v>
                </c:pt>
                <c:pt idx="3">
                  <c:v>0.21323529411764705</c:v>
                </c:pt>
                <c:pt idx="4">
                  <c:v>0.19148936170212766</c:v>
                </c:pt>
                <c:pt idx="5">
                  <c:v>0.226890756302521</c:v>
                </c:pt>
                <c:pt idx="6">
                  <c:v>0.2074074074074074</c:v>
                </c:pt>
                <c:pt idx="7">
                  <c:v>0.21495327102803738</c:v>
                </c:pt>
                <c:pt idx="8">
                  <c:v>0.2545454545454545</c:v>
                </c:pt>
                <c:pt idx="9">
                  <c:v>0.2535211267605634</c:v>
                </c:pt>
                <c:pt idx="10">
                  <c:v>0.2710843373493976</c:v>
                </c:pt>
                <c:pt idx="11">
                  <c:v>0.30526315789473685</c:v>
                </c:pt>
                <c:pt idx="12">
                  <c:v>0.2981366459627329</c:v>
                </c:pt>
                <c:pt idx="13">
                  <c:v>0.3184713375796178</c:v>
                </c:pt>
                <c:pt idx="14">
                  <c:v>0.24161073825503357</c:v>
                </c:pt>
                <c:pt idx="15">
                  <c:v>0.29473684210526313</c:v>
                </c:pt>
                <c:pt idx="16">
                  <c:v>0.2875</c:v>
                </c:pt>
                <c:pt idx="17">
                  <c:v>0.296875</c:v>
                </c:pt>
                <c:pt idx="18">
                  <c:v>0.29411764705882354</c:v>
                </c:pt>
                <c:pt idx="19">
                  <c:v>0.2727272727272727</c:v>
                </c:pt>
                <c:pt idx="20">
                  <c:v>0.2647058823529412</c:v>
                </c:pt>
                <c:pt idx="21">
                  <c:v>0.2571428571428571</c:v>
                </c:pt>
                <c:pt idx="22">
                  <c:v>0.18181818181818182</c:v>
                </c:pt>
                <c:pt idx="23">
                  <c:v>0.21212121212121213</c:v>
                </c:pt>
                <c:pt idx="24">
                  <c:v>0.3055555555555556</c:v>
                </c:pt>
                <c:pt idx="25">
                  <c:v>0.2222222222222222</c:v>
                </c:pt>
                <c:pt idx="26">
                  <c:v>0.425</c:v>
                </c:pt>
                <c:pt idx="27">
                  <c:v>0.2926829268292683</c:v>
                </c:pt>
                <c:pt idx="28">
                  <c:v>0.3333333333333333</c:v>
                </c:pt>
                <c:pt idx="29">
                  <c:v>0.18888888888888888</c:v>
                </c:pt>
                <c:pt idx="30">
                  <c:v>0.1984126984126984</c:v>
                </c:pt>
                <c:pt idx="31">
                  <c:v>0.23148148148148148</c:v>
                </c:pt>
                <c:pt idx="32">
                  <c:v>0.30303030303030304</c:v>
                </c:pt>
              </c:numCache>
            </c:numRef>
          </c:yVal>
          <c:smooth val="0"/>
          <c:extLst>
            <c:ext xmlns:c16="http://schemas.microsoft.com/office/drawing/2014/chart" uri="{C3380CC4-5D6E-409C-BE32-E72D297353CC}">
              <c16:uniqueId val="{00000002-F32D-48B7-BC20-E66FC6253BAD}"/>
            </c:ext>
          </c:extLst>
        </c:ser>
        <c:ser>
          <c:idx val="2"/>
          <c:order val="2"/>
          <c:tx>
            <c:strRef>
              <c:f>Sheet1!$B$140</c:f>
              <c:strCache>
                <c:ptCount val="1"/>
                <c:pt idx="0">
                  <c:v>Custom Linep3yQ</c:v>
                </c:pt>
              </c:strCache>
            </c:strRef>
          </c:tx>
          <c:spPr>
            <a:ln w="19050" cap="rnd">
              <a:solidFill>
                <a:srgbClr val="C00000"/>
              </a:solidFill>
              <a:prstDash val="sysDot"/>
              <a:round/>
            </a:ln>
            <a:effectLst/>
          </c:spPr>
          <c:marker>
            <c:symbol val="none"/>
          </c:marker>
          <c:xVal>
            <c:numRef>
              <c:f>Sheet1!$A$141:$A$142</c:f>
              <c:numCache>
                <c:formatCode>General</c:formatCode>
                <c:ptCount val="2"/>
                <c:pt idx="0">
                  <c:v>0</c:v>
                </c:pt>
                <c:pt idx="1">
                  <c:v>290.2156049525616</c:v>
                </c:pt>
              </c:numCache>
            </c:numRef>
          </c:xVal>
          <c:yVal>
            <c:numRef>
              <c:f>Sheet1!$B$141:$B$142</c:f>
              <c:numCache>
                <c:formatCode>General</c:formatCode>
                <c:ptCount val="2"/>
                <c:pt idx="0">
                  <c:v>0.3724930553514044</c:v>
                </c:pt>
                <c:pt idx="1">
                  <c:v>0.3724930553514044</c:v>
                </c:pt>
              </c:numCache>
            </c:numRef>
          </c:yVal>
          <c:smooth val="0"/>
          <c:extLst>
            <c:ext xmlns:c16="http://schemas.microsoft.com/office/drawing/2014/chart" uri="{C3380CC4-5D6E-409C-BE32-E72D297353CC}">
              <c16:uniqueId val="{00000003-F32D-48B7-BC20-E66FC6253BAD}"/>
            </c:ext>
          </c:extLst>
        </c:ser>
        <c:ser>
          <c:idx val="3"/>
          <c:order val="3"/>
          <c:tx>
            <c:strRef>
              <c:f>Sheet1!$B$1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5:$A$146</c:f>
              <c:numCache>
                <c:formatCode>General</c:formatCode>
                <c:ptCount val="2"/>
                <c:pt idx="0">
                  <c:v>290.2156049525616</c:v>
                </c:pt>
                <c:pt idx="1">
                  <c:v>290.2156049525616</c:v>
                </c:pt>
              </c:numCache>
            </c:numRef>
          </c:xVal>
          <c:yVal>
            <c:numRef>
              <c:f>Sheet1!$B$145:$B$146</c:f>
              <c:numCache>
                <c:formatCode>General</c:formatCode>
                <c:ptCount val="2"/>
                <c:pt idx="0">
                  <c:v>0.37249305535140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9:$A$150</c:f>
              <c:numCache>
                <c:formatCode>General</c:formatCode>
                <c:ptCount val="2"/>
                <c:pt idx="0">
                  <c:v>0</c:v>
                </c:pt>
                <c:pt idx="1">
                  <c:v>462.481019437104</c:v>
                </c:pt>
              </c:numCache>
            </c:numRef>
          </c:xVal>
          <c:yVal>
            <c:numRef>
              <c:f>Sheet1!$B$149:$B$150</c:f>
              <c:numCache>
                <c:formatCode>General</c:formatCode>
                <c:ptCount val="2"/>
                <c:pt idx="0">
                  <c:v>0.3130081300813008</c:v>
                </c:pt>
                <c:pt idx="1">
                  <c:v>0.3130081300813008</c:v>
                </c:pt>
              </c:numCache>
            </c:numRef>
          </c:yVal>
          <c:smooth val="0"/>
          <c:extLst>
            <c:ext xmlns:c16="http://schemas.microsoft.com/office/drawing/2014/chart" uri="{C3380CC4-5D6E-409C-BE32-E72D297353CC}">
              <c16:uniqueId val="{0000000A-F32D-48B7-BC20-E66FC6253BAD}"/>
            </c:ext>
          </c:extLst>
        </c:ser>
        <c:ser>
          <c:idx val="5"/>
          <c:order val="5"/>
          <c:tx>
            <c:strRef>
              <c:f>Sheet1!$B$15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462.481019437104</c:v>
                </c:pt>
                <c:pt idx="1">
                  <c:v>462.481019437104</c:v>
                </c:pt>
              </c:numCache>
            </c:numRef>
          </c:xVal>
          <c:yVal>
            <c:numRef>
              <c:f>Sheet1!$B$153:$B$154</c:f>
              <c:numCache>
                <c:formatCode>General</c:formatCode>
                <c:ptCount val="2"/>
                <c:pt idx="0">
                  <c:v>0.31300813008130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7:$A$158</c:f>
              <c:numCache>
                <c:formatCode>General</c:formatCode>
                <c:ptCount val="2"/>
                <c:pt idx="0">
                  <c:v>0</c:v>
                </c:pt>
                <c:pt idx="1">
                  <c:v>621.8640850648623</c:v>
                </c:pt>
              </c:numCache>
            </c:numRef>
          </c:xVal>
          <c:yVal>
            <c:numRef>
              <c:f>Sheet1!$B$157:$B$158</c:f>
              <c:numCache>
                <c:formatCode>General</c:formatCode>
                <c:ptCount val="2"/>
                <c:pt idx="0">
                  <c:v>0.2579716053293289</c:v>
                </c:pt>
                <c:pt idx="1">
                  <c:v>0.2579716053293289</c:v>
                </c:pt>
              </c:numCache>
            </c:numRef>
          </c:yVal>
          <c:smooth val="0"/>
          <c:extLst>
            <c:ext xmlns:c16="http://schemas.microsoft.com/office/drawing/2014/chart" uri="{C3380CC4-5D6E-409C-BE32-E72D297353CC}">
              <c16:uniqueId val="{00000011-F32D-48B7-BC20-E66FC6253BAD}"/>
            </c:ext>
          </c:extLst>
        </c:ser>
        <c:ser>
          <c:idx val="7"/>
          <c:order val="7"/>
          <c:tx>
            <c:strRef>
              <c:f>Sheet1!$B$16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621.8640850648623</c:v>
                </c:pt>
                <c:pt idx="1">
                  <c:v>621.8640850648623</c:v>
                </c:pt>
              </c:numCache>
            </c:numRef>
          </c:xVal>
          <c:yVal>
            <c:numRef>
              <c:f>Sheet1!$B$161:$B$162</c:f>
              <c:numCache>
                <c:formatCode>General</c:formatCode>
                <c:ptCount val="2"/>
                <c:pt idx="0">
                  <c:v>0.257971605329328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5:$A$200</c:f>
              <c:numCache>
                <c:formatCode>General</c:formatCode>
                <c:ptCount val="36"/>
                <c:pt idx="0">
                  <c:v>720.5455</c:v>
                </c:pt>
                <c:pt idx="1">
                  <c:v>649.2727</c:v>
                </c:pt>
                <c:pt idx="2">
                  <c:v>577.9524</c:v>
                </c:pt>
                <c:pt idx="3">
                  <c:v>673.2069</c:v>
                </c:pt>
                <c:pt idx="4">
                  <c:v>726.8889</c:v>
                </c:pt>
                <c:pt idx="5">
                  <c:v>698.5185</c:v>
                </c:pt>
                <c:pt idx="6">
                  <c:v>671.3214</c:v>
                </c:pt>
                <c:pt idx="7">
                  <c:v>712.7826</c:v>
                </c:pt>
                <c:pt idx="8">
                  <c:v>622.2857</c:v>
                </c:pt>
                <c:pt idx="9">
                  <c:v>665.8056</c:v>
                </c:pt>
                <c:pt idx="10">
                  <c:v>637.5111</c:v>
                </c:pt>
                <c:pt idx="11">
                  <c:v>636.0517</c:v>
                </c:pt>
                <c:pt idx="12">
                  <c:v>596.0625</c:v>
                </c:pt>
                <c:pt idx="13">
                  <c:v>587.92</c:v>
                </c:pt>
                <c:pt idx="14">
                  <c:v>665.2222</c:v>
                </c:pt>
                <c:pt idx="15">
                  <c:v>677.6071</c:v>
                </c:pt>
                <c:pt idx="16">
                  <c:v>609.3043</c:v>
                </c:pt>
                <c:pt idx="17">
                  <c:v>651.2632</c:v>
                </c:pt>
                <c:pt idx="18">
                  <c:v>480.25</c:v>
                </c:pt>
                <c:pt idx="19">
                  <c:v>682.5833</c:v>
                </c:pt>
                <c:pt idx="20">
                  <c:v>654.6667</c:v>
                </c:pt>
                <c:pt idx="21">
                  <c:v>683.1111</c:v>
                </c:pt>
                <c:pt idx="22">
                  <c:v>822.0</c:v>
                </c:pt>
                <c:pt idx="23">
                  <c:v>435.0</c:v>
                </c:pt>
                <c:pt idx="24">
                  <c:v>492.1818</c:v>
                </c:pt>
                <c:pt idx="25">
                  <c:v>690.3333</c:v>
                </c:pt>
                <c:pt idx="26">
                  <c:v>270.5294</c:v>
                </c:pt>
                <c:pt idx="27">
                  <c:v>689.1667</c:v>
                </c:pt>
                <c:pt idx="28">
                  <c:v>394.25</c:v>
                </c:pt>
                <c:pt idx="29">
                  <c:v>695.0</c:v>
                </c:pt>
                <c:pt idx="30">
                  <c:v>738.2</c:v>
                </c:pt>
                <c:pt idx="31">
                  <c:v>648.22</c:v>
                </c:pt>
                <c:pt idx="32">
                  <c:v>624.575</c:v>
                </c:pt>
                <c:pt idx="33">
                  <c:v>462.481019437104</c:v>
                </c:pt>
                <c:pt idx="34">
                  <c:v>290.2156049525616</c:v>
                </c:pt>
                <c:pt idx="35">
                  <c:v>621.8640850648623</c:v>
                </c:pt>
              </c:numCache>
            </c:numRef>
          </c:xVal>
          <c:yVal>
            <c:numRef>
              <c:f>Sheet1!$B$165:$B$200</c:f>
              <c:numCache>
                <c:formatCode>General</c:formatCode>
                <c:ptCount val="36"/>
                <c:pt idx="0">
                  <c:v>0.22389595171929166</c:v>
                </c:pt>
                <c:pt idx="1">
                  <c:v>0.2485071436667703</c:v>
                </c:pt>
                <c:pt idx="2">
                  <c:v>0.2731347378268392</c:v>
                </c:pt>
                <c:pt idx="3">
                  <c:v>0.24024243131774875</c:v>
                </c:pt>
                <c:pt idx="4">
                  <c:v>0.2217055139225496</c:v>
                </c:pt>
                <c:pt idx="5">
                  <c:v>0.23150208933458263</c:v>
                </c:pt>
                <c:pt idx="6">
                  <c:v>0.24089351283014857</c:v>
                </c:pt>
                <c:pt idx="7">
                  <c:v>0.22657655669017931</c:v>
                </c:pt>
                <c:pt idx="8">
                  <c:v>0.25782601758622636</c:v>
                </c:pt>
                <c:pt idx="9">
                  <c:v>0.24279817228710696</c:v>
                </c:pt>
                <c:pt idx="10">
                  <c:v>0.25256853868996937</c:v>
                </c:pt>
                <c:pt idx="11">
                  <c:v>0.25307248372269087</c:v>
                </c:pt>
                <c:pt idx="12">
                  <c:v>0.2668811439272305</c:v>
                </c:pt>
                <c:pt idx="13">
                  <c:v>0.269692828474945</c:v>
                </c:pt>
                <c:pt idx="14">
                  <c:v>0.24299962598868957</c:v>
                </c:pt>
                <c:pt idx="15">
                  <c:v>0.23872299940533204</c:v>
                </c:pt>
                <c:pt idx="16">
                  <c:v>0.2623086214287441</c:v>
                </c:pt>
                <c:pt idx="17">
                  <c:v>0.24781980463180245</c:v>
                </c:pt>
                <c:pt idx="18">
                  <c:v>0.3068723280453986</c:v>
                </c:pt>
                <c:pt idx="19">
                  <c:v>0.23700466908339934</c:v>
                </c:pt>
                <c:pt idx="20">
                  <c:v>0.24664454293599083</c:v>
                </c:pt>
                <c:pt idx="21">
                  <c:v>0.23682241460329082</c:v>
                </c:pt>
                <c:pt idx="22">
                  <c:v>0.1888627248299949</c:v>
                </c:pt>
                <c:pt idx="23">
                  <c:v>0.32249759372351716</c:v>
                </c:pt>
                <c:pt idx="24">
                  <c:v>0.3027521613046654</c:v>
                </c:pt>
                <c:pt idx="25">
                  <c:v>0.23432851860814147</c:v>
                </c:pt>
                <c:pt idx="26">
                  <c:v>0.3792908936404137</c:v>
                </c:pt>
                <c:pt idx="27">
                  <c:v>0.23473135694935898</c:v>
                </c:pt>
                <c:pt idx="28">
                  <c:v>0.33656896557729243</c:v>
                </c:pt>
                <c:pt idx="29">
                  <c:v>0.23271706165034972</c:v>
                </c:pt>
                <c:pt idx="30">
                  <c:v>0.2177996809366542</c:v>
                </c:pt>
                <c:pt idx="31">
                  <c:v>0.248870651228745</c:v>
                </c:pt>
                <c:pt idx="32">
                  <c:v>0.2570355000013221</c:v>
                </c:pt>
                <c:pt idx="33">
                  <c:v>0.3130081300813008</c:v>
                </c:pt>
                <c:pt idx="34">
                  <c:v>0.3724930553514044</c:v>
                </c:pt>
                <c:pt idx="35">
                  <c:v>0.257971605329328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86.0"/>
          <c:min val="1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00000000000001"/>
          <c:min val="0.054450261780104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7</c:f>
              <c:numCache>
                <c:formatCode>General</c:formatCode>
                <c:ptCount val="126"/>
                <c:pt idx="0">
                  <c:v>0.7433383544303798</c:v>
                </c:pt>
                <c:pt idx="1">
                  <c:v>0.0</c:v>
                </c:pt>
                <c:pt idx="2">
                  <c:v>0.465997578125</c:v>
                </c:pt>
                <c:pt idx="3">
                  <c:v>0.0</c:v>
                </c:pt>
                <c:pt idx="4">
                  <c:v>0.0</c:v>
                </c:pt>
                <c:pt idx="5">
                  <c:v>0.0</c:v>
                </c:pt>
                <c:pt idx="6">
                  <c:v>0.0</c:v>
                </c:pt>
                <c:pt idx="7">
                  <c:v>0.0</c:v>
                </c:pt>
                <c:pt idx="8">
                  <c:v>0.0</c:v>
                </c:pt>
                <c:pt idx="9">
                  <c:v>0.0</c:v>
                </c:pt>
                <c:pt idx="10">
                  <c:v>0.6842115684093436</c:v>
                </c:pt>
                <c:pt idx="11">
                  <c:v>0.0</c:v>
                </c:pt>
                <c:pt idx="12">
                  <c:v>0.0</c:v>
                </c:pt>
                <c:pt idx="13">
                  <c:v>0.0</c:v>
                </c:pt>
                <c:pt idx="14">
                  <c:v>0.7943769125683059</c:v>
                </c:pt>
                <c:pt idx="15">
                  <c:v>0.0</c:v>
                </c:pt>
                <c:pt idx="16">
                  <c:v>0.0</c:v>
                </c:pt>
                <c:pt idx="17">
                  <c:v>0.0</c:v>
                </c:pt>
                <c:pt idx="18">
                  <c:v>0.0</c:v>
                </c:pt>
                <c:pt idx="19">
                  <c:v>0.0</c:v>
                </c:pt>
                <c:pt idx="20">
                  <c:v>0.0</c:v>
                </c:pt>
                <c:pt idx="21">
                  <c:v>0.0</c:v>
                </c:pt>
                <c:pt idx="22">
                  <c:v>0.0</c:v>
                </c:pt>
                <c:pt idx="23">
                  <c:v>0.6762135265700483</c:v>
                </c:pt>
                <c:pt idx="24">
                  <c:v>0.0</c:v>
                </c:pt>
                <c:pt idx="25">
                  <c:v>0.0</c:v>
                </c:pt>
                <c:pt idx="26">
                  <c:v>0.0</c:v>
                </c:pt>
                <c:pt idx="27">
                  <c:v>0.0</c:v>
                </c:pt>
                <c:pt idx="28">
                  <c:v>0.6954113924050633</c:v>
                </c:pt>
                <c:pt idx="29">
                  <c:v>0.0</c:v>
                </c:pt>
                <c:pt idx="30">
                  <c:v>0.0</c:v>
                </c:pt>
                <c:pt idx="31">
                  <c:v>0.0</c:v>
                </c:pt>
                <c:pt idx="32">
                  <c:v>0.0</c:v>
                </c:pt>
                <c:pt idx="33">
                  <c:v>0.0</c:v>
                </c:pt>
                <c:pt idx="34">
                  <c:v>0.0</c:v>
                </c:pt>
                <c:pt idx="35">
                  <c:v>0.0</c:v>
                </c:pt>
                <c:pt idx="36">
                  <c:v>0.6032186459489456</c:v>
                </c:pt>
                <c:pt idx="37">
                  <c:v>0.49455104408352674</c:v>
                </c:pt>
                <c:pt idx="38">
                  <c:v>0.9186481830417228</c:v>
                </c:pt>
                <c:pt idx="39">
                  <c:v>0.6446961894953656</c:v>
                </c:pt>
                <c:pt idx="40">
                  <c:v>0.8884448773448774</c:v>
                </c:pt>
                <c:pt idx="41">
                  <c:v>0.0</c:v>
                </c:pt>
                <c:pt idx="42">
                  <c:v>0.0</c:v>
                </c:pt>
                <c:pt idx="43">
                  <c:v>0.6835550218340611</c:v>
                </c:pt>
                <c:pt idx="44">
                  <c:v>3.330465</c:v>
                </c:pt>
                <c:pt idx="45">
                  <c:v>1.1904226618705036</c:v>
                </c:pt>
                <c:pt idx="46">
                  <c:v>1.0478716068642746</c:v>
                </c:pt>
                <c:pt idx="47">
                  <c:v>2.2628957464553796</c:v>
                </c:pt>
                <c:pt idx="48">
                  <c:v>2.348994805194805</c:v>
                </c:pt>
                <c:pt idx="49">
                  <c:v>1.411235484454674</c:v>
                </c:pt>
                <c:pt idx="50">
                  <c:v>1.9029446366782006</c:v>
                </c:pt>
                <c:pt idx="51">
                  <c:v>0.9364341085271318</c:v>
                </c:pt>
                <c:pt idx="52">
                  <c:v>0.8609364611260054</c:v>
                </c:pt>
                <c:pt idx="53">
                  <c:v>0.9310750923872875</c:v>
                </c:pt>
                <c:pt idx="54">
                  <c:v>0.8437149110807113</c:v>
                </c:pt>
                <c:pt idx="55">
                  <c:v>0.9892882352941177</c:v>
                </c:pt>
                <c:pt idx="56">
                  <c:v>1.696370476190476</c:v>
                </c:pt>
                <c:pt idx="57">
                  <c:v>1.3317945283018868</c:v>
                </c:pt>
                <c:pt idx="58">
                  <c:v>0.0</c:v>
                </c:pt>
                <c:pt idx="59">
                  <c:v>0.5866425160697888</c:v>
                </c:pt>
                <c:pt idx="60">
                  <c:v>0.6429450151057402</c:v>
                </c:pt>
                <c:pt idx="61">
                  <c:v>0.0</c:v>
                </c:pt>
                <c:pt idx="62">
                  <c:v>2.0728296529968455</c:v>
                </c:pt>
                <c:pt idx="63">
                  <c:v>2.3072407534246575</c:v>
                </c:pt>
                <c:pt idx="64">
                  <c:v>0.8584146978021977</c:v>
                </c:pt>
                <c:pt idx="65">
                  <c:v>1.164326375711575</c:v>
                </c:pt>
                <c:pt idx="66">
                  <c:v>1.8305818673883625</c:v>
                </c:pt>
                <c:pt idx="67">
                  <c:v>1.5746187500000002</c:v>
                </c:pt>
                <c:pt idx="68">
                  <c:v>3.87654301994302</c:v>
                </c:pt>
                <c:pt idx="69">
                  <c:v>0.0</c:v>
                </c:pt>
                <c:pt idx="70">
                  <c:v>2.8671033898305085</c:v>
                </c:pt>
                <c:pt idx="71">
                  <c:v>0.0</c:v>
                </c:pt>
                <c:pt idx="72">
                  <c:v>0.7535519388954172</c:v>
                </c:pt>
                <c:pt idx="73">
                  <c:v>0.0</c:v>
                </c:pt>
                <c:pt idx="74">
                  <c:v>0.0</c:v>
                </c:pt>
                <c:pt idx="75">
                  <c:v>0.0</c:v>
                </c:pt>
                <c:pt idx="76">
                  <c:v>0.0</c:v>
                </c:pt>
                <c:pt idx="77">
                  <c:v>0.0</c:v>
                </c:pt>
                <c:pt idx="78">
                  <c:v>0.6463471226927253</c:v>
                </c:pt>
                <c:pt idx="79">
                  <c:v>1.2862385321100915</c:v>
                </c:pt>
                <c:pt idx="80">
                  <c:v>0.0</c:v>
                </c:pt>
                <c:pt idx="81">
                  <c:v>0.0</c:v>
                </c:pt>
                <c:pt idx="82">
                  <c:v>0.0</c:v>
                </c:pt>
                <c:pt idx="83">
                  <c:v>0.0</c:v>
                </c:pt>
                <c:pt idx="84">
                  <c:v>0.39694757536041936</c:v>
                </c:pt>
                <c:pt idx="85">
                  <c:v>0.0</c:v>
                </c:pt>
                <c:pt idx="86">
                  <c:v>0.9804978991596638</c:v>
                </c:pt>
                <c:pt idx="87">
                  <c:v>0.3465033271719039</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numCache>
            </c:numRef>
          </c:xVal>
          <c:yVal>
            <c:numRef>
              <c:f>Sheet1!$B$2:$B$127</c:f>
              <c:numCache>
                <c:formatCode>General</c:formatCode>
                <c:ptCount val="126"/>
                <c:pt idx="0">
                  <c:v>0.2935323383084577</c:v>
                </c:pt>
                <c:pt idx="1">
                  <c:v>0.2446351931330472</c:v>
                </c:pt>
                <c:pt idx="2">
                  <c:v>0.2674897119341564</c:v>
                </c:pt>
                <c:pt idx="3">
                  <c:v>0.270935960591133</c:v>
                </c:pt>
                <c:pt idx="4">
                  <c:v>0.27835051546391754</c:v>
                </c:pt>
                <c:pt idx="5">
                  <c:v>0.2878787878787879</c:v>
                </c:pt>
                <c:pt idx="6">
                  <c:v>0.25333333333333335</c:v>
                </c:pt>
                <c:pt idx="7">
                  <c:v>0.2875</c:v>
                </c:pt>
                <c:pt idx="8">
                  <c:v>0.291044776119403</c:v>
                </c:pt>
                <c:pt idx="9">
                  <c:v>0.3076923076923077</c:v>
                </c:pt>
                <c:pt idx="10">
                  <c:v>0.34036144578313254</c:v>
                </c:pt>
                <c:pt idx="11">
                  <c:v>0.30606060606060603</c:v>
                </c:pt>
                <c:pt idx="12">
                  <c:v>0.2811594202898551</c:v>
                </c:pt>
                <c:pt idx="13">
                  <c:v>0.2647058823529412</c:v>
                </c:pt>
                <c:pt idx="14">
                  <c:v>0.24701195219123506</c:v>
                </c:pt>
                <c:pt idx="15">
                  <c:v>0.26424870466321243</c:v>
                </c:pt>
                <c:pt idx="16">
                  <c:v>0.23030303030303031</c:v>
                </c:pt>
                <c:pt idx="17">
                  <c:v>0.12109375</c:v>
                </c:pt>
                <c:pt idx="18">
                  <c:v>0.14906832298136646</c:v>
                </c:pt>
                <c:pt idx="19">
                  <c:v>0.20833333333333334</c:v>
                </c:pt>
                <c:pt idx="20">
                  <c:v>0.1386861313868613</c:v>
                </c:pt>
                <c:pt idx="21">
                  <c:v>0.06806282722513089</c:v>
                </c:pt>
                <c:pt idx="22">
                  <c:v>0.3</c:v>
                </c:pt>
                <c:pt idx="23">
                  <c:v>0.2413793103448276</c:v>
                </c:pt>
                <c:pt idx="24">
                  <c:v>0.21875</c:v>
                </c:pt>
                <c:pt idx="25">
                  <c:v>0.29545454545454547</c:v>
                </c:pt>
                <c:pt idx="26">
                  <c:v>0.21818181818181817</c:v>
                </c:pt>
                <c:pt idx="27">
                  <c:v>0.3157894736842105</c:v>
                </c:pt>
                <c:pt idx="28">
                  <c:v>0.2631578947368421</c:v>
                </c:pt>
                <c:pt idx="29">
                  <c:v>0.17391304347826086</c:v>
                </c:pt>
                <c:pt idx="30">
                  <c:v>0.1702127659574468</c:v>
                </c:pt>
                <c:pt idx="31">
                  <c:v>0.2</c:v>
                </c:pt>
                <c:pt idx="32">
                  <c:v>0.1111111111111111</c:v>
                </c:pt>
                <c:pt idx="33">
                  <c:v>0.13157894736842105</c:v>
                </c:pt>
                <c:pt idx="34">
                  <c:v>0.20512820512820512</c:v>
                </c:pt>
                <c:pt idx="35">
                  <c:v>0.14814814814814814</c:v>
                </c:pt>
                <c:pt idx="36">
                  <c:v>0.21739130434782608</c:v>
                </c:pt>
                <c:pt idx="37">
                  <c:v>0.16666666666666666</c:v>
                </c:pt>
                <c:pt idx="38">
                  <c:v>0.17647058823529413</c:v>
                </c:pt>
                <c:pt idx="39">
                  <c:v>0.192</c:v>
                </c:pt>
                <c:pt idx="40">
                  <c:v>0.2222222222222222</c:v>
                </c:pt>
                <c:pt idx="41">
                  <c:v>0.2125984251968504</c:v>
                </c:pt>
                <c:pt idx="42">
                  <c:v>0.24324324324324326</c:v>
                </c:pt>
                <c:pt idx="43">
                  <c:v>0.22525597269624573</c:v>
                </c:pt>
                <c:pt idx="44">
                  <c:v>0.2606060606060606</c:v>
                </c:pt>
                <c:pt idx="45">
                  <c:v>0.24806201550387597</c:v>
                </c:pt>
                <c:pt idx="46">
                  <c:v>0.2046783625730994</c:v>
                </c:pt>
                <c:pt idx="47">
                  <c:v>0.19879518072289157</c:v>
                </c:pt>
                <c:pt idx="48">
                  <c:v>0.24342105263157895</c:v>
                </c:pt>
                <c:pt idx="49">
                  <c:v>0.22727272727272727</c:v>
                </c:pt>
                <c:pt idx="50">
                  <c:v>0.20238095238095238</c:v>
                </c:pt>
                <c:pt idx="51">
                  <c:v>0.19491525423728814</c:v>
                </c:pt>
                <c:pt idx="52">
                  <c:v>0.27358490566037735</c:v>
                </c:pt>
                <c:pt idx="53">
                  <c:v>0.25474254742547425</c:v>
                </c:pt>
                <c:pt idx="54">
                  <c:v>0.2571428571428571</c:v>
                </c:pt>
                <c:pt idx="55">
                  <c:v>0.30223880597014924</c:v>
                </c:pt>
                <c:pt idx="56">
                  <c:v>0.31297709923664124</c:v>
                </c:pt>
                <c:pt idx="57">
                  <c:v>0.2822822822822823</c:v>
                </c:pt>
                <c:pt idx="58">
                  <c:v>0.29245283018867924</c:v>
                </c:pt>
                <c:pt idx="59">
                  <c:v>0.2847222222222222</c:v>
                </c:pt>
                <c:pt idx="60">
                  <c:v>0.250996015936255</c:v>
                </c:pt>
                <c:pt idx="61">
                  <c:v>0.26804123711340205</c:v>
                </c:pt>
                <c:pt idx="62">
                  <c:v>0.2787878787878788</c:v>
                </c:pt>
                <c:pt idx="63">
                  <c:v>0.27450980392156865</c:v>
                </c:pt>
                <c:pt idx="64">
                  <c:v>0.2903225806451613</c:v>
                </c:pt>
                <c:pt idx="65">
                  <c:v>0.23529411764705882</c:v>
                </c:pt>
                <c:pt idx="66">
                  <c:v>0.22727272727272727</c:v>
                </c:pt>
                <c:pt idx="67">
                  <c:v>0.24285714285714285</c:v>
                </c:pt>
                <c:pt idx="68">
                  <c:v>0.2692307692307692</c:v>
                </c:pt>
                <c:pt idx="69">
                  <c:v>0.29310344827586204</c:v>
                </c:pt>
                <c:pt idx="70">
                  <c:v>0.21153846153846154</c:v>
                </c:pt>
                <c:pt idx="71">
                  <c:v>0.3076923076923077</c:v>
                </c:pt>
                <c:pt idx="72">
                  <c:v>0.2894736842105263</c:v>
                </c:pt>
                <c:pt idx="73">
                  <c:v>0.2692307692307692</c:v>
                </c:pt>
                <c:pt idx="74">
                  <c:v>0.2926829268292683</c:v>
                </c:pt>
                <c:pt idx="75">
                  <c:v>0.2608695652173913</c:v>
                </c:pt>
                <c:pt idx="76">
                  <c:v>0.25</c:v>
                </c:pt>
                <c:pt idx="77">
                  <c:v>0.2903225806451613</c:v>
                </c:pt>
                <c:pt idx="78">
                  <c:v>0.2916666666666667</c:v>
                </c:pt>
                <c:pt idx="79">
                  <c:v>0.3225806451612903</c:v>
                </c:pt>
                <c:pt idx="80">
                  <c:v>0.22727272727272727</c:v>
                </c:pt>
                <c:pt idx="81">
                  <c:v>0.3</c:v>
                </c:pt>
                <c:pt idx="82">
                  <c:v>0.3157894736842105</c:v>
                </c:pt>
                <c:pt idx="83">
                  <c:v>0.375</c:v>
                </c:pt>
                <c:pt idx="84">
                  <c:v>0.5344827586206896</c:v>
                </c:pt>
                <c:pt idx="85">
                  <c:v>0.5833333333333334</c:v>
                </c:pt>
                <c:pt idx="86">
                  <c:v>0.53</c:v>
                </c:pt>
                <c:pt idx="87">
                  <c:v>0.44036697247706424</c:v>
                </c:pt>
                <c:pt idx="88">
                  <c:v>0.27049180327868855</c:v>
                </c:pt>
                <c:pt idx="89">
                  <c:v>0.22439024390243903</c:v>
                </c:pt>
                <c:pt idx="90">
                  <c:v>0.2222222222222222</c:v>
                </c:pt>
                <c:pt idx="91">
                  <c:v>0.24324324324324326</c:v>
                </c:pt>
                <c:pt idx="92">
                  <c:v>0.175</c:v>
                </c:pt>
                <c:pt idx="93">
                  <c:v>0.16326530612244897</c:v>
                </c:pt>
                <c:pt idx="94">
                  <c:v>0.20754716981132076</c:v>
                </c:pt>
                <c:pt idx="95">
                  <c:v>0.21323529411764705</c:v>
                </c:pt>
                <c:pt idx="96">
                  <c:v>0.226890756302521</c:v>
                </c:pt>
                <c:pt idx="97">
                  <c:v>0.2074074074074074</c:v>
                </c:pt>
                <c:pt idx="98">
                  <c:v>0.21495327102803738</c:v>
                </c:pt>
                <c:pt idx="99">
                  <c:v>0.2545454545454545</c:v>
                </c:pt>
                <c:pt idx="100">
                  <c:v>0.2710843373493976</c:v>
                </c:pt>
                <c:pt idx="101">
                  <c:v>0.30526315789473685</c:v>
                </c:pt>
                <c:pt idx="102">
                  <c:v>0.2981366459627329</c:v>
                </c:pt>
                <c:pt idx="103">
                  <c:v>0.3184713375796178</c:v>
                </c:pt>
                <c:pt idx="104">
                  <c:v>0.24161073825503357</c:v>
                </c:pt>
                <c:pt idx="105">
                  <c:v>0.2875</c:v>
                </c:pt>
                <c:pt idx="106">
                  <c:v>0.296875</c:v>
                </c:pt>
                <c:pt idx="107">
                  <c:v>0.22950819672131148</c:v>
                </c:pt>
                <c:pt idx="108">
                  <c:v>0.29411764705882354</c:v>
                </c:pt>
                <c:pt idx="109">
                  <c:v>0.2727272727272727</c:v>
                </c:pt>
                <c:pt idx="110">
                  <c:v>0.2647058823529412</c:v>
                </c:pt>
                <c:pt idx="111">
                  <c:v>0.2571428571428571</c:v>
                </c:pt>
                <c:pt idx="112">
                  <c:v>0.18181818181818182</c:v>
                </c:pt>
                <c:pt idx="113">
                  <c:v>0.21212121212121213</c:v>
                </c:pt>
                <c:pt idx="114">
                  <c:v>0.2222222222222222</c:v>
                </c:pt>
                <c:pt idx="115">
                  <c:v>0.4</c:v>
                </c:pt>
                <c:pt idx="116">
                  <c:v>0.32</c:v>
                </c:pt>
                <c:pt idx="117">
                  <c:v>0.3</c:v>
                </c:pt>
                <c:pt idx="118">
                  <c:v>0.3125</c:v>
                </c:pt>
                <c:pt idx="119">
                  <c:v>0.2857142857142857</c:v>
                </c:pt>
                <c:pt idx="120">
                  <c:v>0.2727272727272727</c:v>
                </c:pt>
                <c:pt idx="121">
                  <c:v>0.4444444444444444</c:v>
                </c:pt>
                <c:pt idx="122">
                  <c:v>0.24615384615384617</c:v>
                </c:pt>
                <c:pt idx="123">
                  <c:v>0.3333333333333333</c:v>
                </c:pt>
                <c:pt idx="124">
                  <c:v>0.18888888888888888</c:v>
                </c:pt>
                <c:pt idx="125">
                  <c:v>0.30303030303030304</c:v>
                </c:pt>
              </c:numCache>
            </c:numRef>
          </c:yVal>
          <c:smooth val="0"/>
          <c:extLst>
            <c:ext xmlns:c16="http://schemas.microsoft.com/office/drawing/2014/chart" uri="{C3380CC4-5D6E-409C-BE32-E72D297353CC}">
              <c16:uniqueId val="{00000000-096C-4121-9522-6AB7243CCAAE}"/>
            </c:ext>
          </c:extLst>
        </c:ser>
        <c:ser>
          <c:idx val="1"/>
          <c:order val="1"/>
          <c:tx>
            <c:strRef>
              <c:f>Sheet1!$B$12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0:$A$142</c:f>
              <c:numCache>
                <c:formatCode>General</c:formatCode>
                <c:ptCount val="13"/>
                <c:pt idx="0">
                  <c:v>2.024004213483146</c:v>
                </c:pt>
                <c:pt idx="1">
                  <c:v>0.6393278761061947</c:v>
                </c:pt>
                <c:pt idx="2">
                  <c:v>0.8491692757009346</c:v>
                </c:pt>
                <c:pt idx="3">
                  <c:v>0.8012101083032491</c:v>
                </c:pt>
                <c:pt idx="4">
                  <c:v>0.789740758873929</c:v>
                </c:pt>
                <c:pt idx="5">
                  <c:v>1.3983880829015543</c:v>
                </c:pt>
                <c:pt idx="6">
                  <c:v>1.082109479305741</c:v>
                </c:pt>
                <c:pt idx="7">
                  <c:v>1.2087020648967552</c:v>
                </c:pt>
                <c:pt idx="8">
                  <c:v>1.1079850482315112</c:v>
                </c:pt>
                <c:pt idx="9">
                  <c:v>0.8361153262518968</c:v>
                </c:pt>
                <c:pt idx="10">
                  <c:v>1.2756607929515418</c:v>
                </c:pt>
                <c:pt idx="11">
                  <c:v>1.0545714285714287</c:v>
                </c:pt>
                <c:pt idx="12">
                  <c:v>0.8551715039577836</c:v>
                </c:pt>
              </c:numCache>
            </c:numRef>
          </c:xVal>
          <c:yVal>
            <c:numRef>
              <c:f>Sheet1!$B$130:$B$142</c:f>
              <c:numCache>
                <c:formatCode>General</c:formatCode>
                <c:ptCount val="13"/>
                <c:pt idx="0">
                  <c:v>0.1732283464566929</c:v>
                </c:pt>
                <c:pt idx="1">
                  <c:v>0.18421052631578946</c:v>
                </c:pt>
                <c:pt idx="2">
                  <c:v>0.19148936170212766</c:v>
                </c:pt>
                <c:pt idx="3">
                  <c:v>0.2535211267605634</c:v>
                </c:pt>
                <c:pt idx="4">
                  <c:v>0.28061224489795916</c:v>
                </c:pt>
                <c:pt idx="5">
                  <c:v>0.2727272727272727</c:v>
                </c:pt>
                <c:pt idx="6">
                  <c:v>0.14285714285714285</c:v>
                </c:pt>
                <c:pt idx="7">
                  <c:v>0.2857142857142857</c:v>
                </c:pt>
                <c:pt idx="8">
                  <c:v>0.2926829268292683</c:v>
                </c:pt>
                <c:pt idx="9">
                  <c:v>0.25287356321839083</c:v>
                </c:pt>
                <c:pt idx="10">
                  <c:v>0.2777777777777778</c:v>
                </c:pt>
                <c:pt idx="11">
                  <c:v>0.1984126984126984</c:v>
                </c:pt>
                <c:pt idx="12">
                  <c:v>0.23148148148148148</c:v>
                </c:pt>
              </c:numCache>
            </c:numRef>
          </c:yVal>
          <c:smooth val="0"/>
          <c:extLst>
            <c:ext xmlns:c16="http://schemas.microsoft.com/office/drawing/2014/chart" uri="{C3380CC4-5D6E-409C-BE32-E72D297353CC}">
              <c16:uniqueId val="{00000002-096C-4121-9522-6AB7243CCAAE}"/>
            </c:ext>
          </c:extLst>
        </c:ser>
        <c:ser>
          <c:idx val="2"/>
          <c:order val="2"/>
          <c:tx>
            <c:strRef>
              <c:f>Sheet1!$B$14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5:$A$146</c:f>
              <c:numCache>
                <c:formatCode>General</c:formatCode>
                <c:ptCount val="2"/>
                <c:pt idx="0">
                  <c:v>0</c:v>
                </c:pt>
                <c:pt idx="1">
                  <c:v>-11.165446961130051</c:v>
                </c:pt>
              </c:numCache>
            </c:numRef>
          </c:xVal>
          <c:yVal>
            <c:numRef>
              <c:f>Sheet1!$B$145:$B$146</c:f>
              <c:numCache>
                <c:formatCode>General</c:formatCode>
                <c:ptCount val="2"/>
                <c:pt idx="0">
                  <c:v>0.38011273125691525</c:v>
                </c:pt>
                <c:pt idx="1">
                  <c:v>0.38011273125691525</c:v>
                </c:pt>
              </c:numCache>
            </c:numRef>
          </c:yVal>
          <c:smooth val="0"/>
          <c:extLst>
            <c:ext xmlns:c16="http://schemas.microsoft.com/office/drawing/2014/chart" uri="{C3380CC4-5D6E-409C-BE32-E72D297353CC}">
              <c16:uniqueId val="{00000005-096C-4121-9522-6AB7243CCAAE}"/>
            </c:ext>
          </c:extLst>
        </c:ser>
        <c:ser>
          <c:idx val="3"/>
          <c:order val="3"/>
          <c:tx>
            <c:strRef>
              <c:f>Sheet1!$B$14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9:$A$150</c:f>
              <c:numCache>
                <c:formatCode>General</c:formatCode>
                <c:ptCount val="2"/>
                <c:pt idx="0">
                  <c:v>-11.165446961130051</c:v>
                </c:pt>
                <c:pt idx="1">
                  <c:v>-11.165446961130051</c:v>
                </c:pt>
              </c:numCache>
            </c:numRef>
          </c:xVal>
          <c:yVal>
            <c:numRef>
              <c:f>Sheet1!$B$149:$B$150</c:f>
              <c:numCache>
                <c:formatCode>General</c:formatCode>
                <c:ptCount val="2"/>
                <c:pt idx="0">
                  <c:v>0.38011273125691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3:$A$154</c:f>
              <c:numCache>
                <c:formatCode>General</c:formatCode>
                <c:ptCount val="2"/>
                <c:pt idx="0">
                  <c:v>0</c:v>
                </c:pt>
                <c:pt idx="1">
                  <c:v>-3.4050279499261347</c:v>
                </c:pt>
              </c:numCache>
            </c:numRef>
          </c:xVal>
          <c:yVal>
            <c:numRef>
              <c:f>Sheet1!$B$153:$B$154</c:f>
              <c:numCache>
                <c:formatCode>General</c:formatCode>
                <c:ptCount val="2"/>
                <c:pt idx="0">
                  <c:v>0.2872315732308373</c:v>
                </c:pt>
                <c:pt idx="1">
                  <c:v>0.2872315732308373</c:v>
                </c:pt>
              </c:numCache>
            </c:numRef>
          </c:yVal>
          <c:smooth val="0"/>
          <c:extLst>
            <c:ext xmlns:c16="http://schemas.microsoft.com/office/drawing/2014/chart" uri="{C3380CC4-5D6E-409C-BE32-E72D297353CC}">
              <c16:uniqueId val="{0000000D-096C-4121-9522-6AB7243CCAAE}"/>
            </c:ext>
          </c:extLst>
        </c:ser>
        <c:ser>
          <c:idx val="5"/>
          <c:order val="5"/>
          <c:tx>
            <c:strRef>
              <c:f>Sheet1!$B$15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7:$A$158</c:f>
              <c:numCache>
                <c:formatCode>General</c:formatCode>
                <c:ptCount val="2"/>
                <c:pt idx="0">
                  <c:v>-3.4050279499261347</c:v>
                </c:pt>
                <c:pt idx="1">
                  <c:v>-3.4050279499261347</c:v>
                </c:pt>
              </c:numCache>
            </c:numRef>
          </c:xVal>
          <c:yVal>
            <c:numRef>
              <c:f>Sheet1!$B$157:$B$158</c:f>
              <c:numCache>
                <c:formatCode>General</c:formatCode>
                <c:ptCount val="2"/>
                <c:pt idx="0">
                  <c:v>0.28723157323083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1:$A$162</c:f>
              <c:numCache>
                <c:formatCode>General</c:formatCode>
                <c:ptCount val="2"/>
                <c:pt idx="0">
                  <c:v>0</c:v>
                </c:pt>
                <c:pt idx="1">
                  <c:v>-2.62879427197243</c:v>
                </c:pt>
              </c:numCache>
            </c:numRef>
          </c:xVal>
          <c:yVal>
            <c:numRef>
              <c:f>Sheet1!$B$161:$B$162</c:f>
              <c:numCache>
                <c:formatCode>General</c:formatCode>
                <c:ptCount val="2"/>
                <c:pt idx="0">
                  <c:v>0.2779411621327906</c:v>
                </c:pt>
                <c:pt idx="1">
                  <c:v>0.2779411621327906</c:v>
                </c:pt>
              </c:numCache>
            </c:numRef>
          </c:yVal>
          <c:smooth val="0"/>
          <c:extLst>
            <c:ext xmlns:c16="http://schemas.microsoft.com/office/drawing/2014/chart" uri="{C3380CC4-5D6E-409C-BE32-E72D297353CC}">
              <c16:uniqueId val="{00000015-096C-4121-9522-6AB7243CCAAE}"/>
            </c:ext>
          </c:extLst>
        </c:ser>
        <c:ser>
          <c:idx val="7"/>
          <c:order val="7"/>
          <c:tx>
            <c:strRef>
              <c:f>Sheet1!$B$16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5:$A$166</c:f>
              <c:numCache>
                <c:formatCode>General</c:formatCode>
                <c:ptCount val="2"/>
                <c:pt idx="0">
                  <c:v>-2.62879427197243</c:v>
                </c:pt>
                <c:pt idx="1">
                  <c:v>-2.62879427197243</c:v>
                </c:pt>
              </c:numCache>
            </c:numRef>
          </c:xVal>
          <c:yVal>
            <c:numRef>
              <c:f>Sheet1!$B$165:$B$166</c:f>
              <c:numCache>
                <c:formatCode>General</c:formatCode>
                <c:ptCount val="2"/>
                <c:pt idx="0">
                  <c:v>0.27794116213279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9:$A$184</c:f>
              <c:numCache>
                <c:formatCode>General</c:formatCode>
                <c:ptCount val="16"/>
                <c:pt idx="0">
                  <c:v>2.024004213483146</c:v>
                </c:pt>
                <c:pt idx="1">
                  <c:v>0.6393278761061947</c:v>
                </c:pt>
                <c:pt idx="2">
                  <c:v>0.8491692757009346</c:v>
                </c:pt>
                <c:pt idx="3">
                  <c:v>0.8012101083032491</c:v>
                </c:pt>
                <c:pt idx="4">
                  <c:v>0.789740758873929</c:v>
                </c:pt>
                <c:pt idx="5">
                  <c:v>1.3983880829015543</c:v>
                </c:pt>
                <c:pt idx="6">
                  <c:v>1.082109479305741</c:v>
                </c:pt>
                <c:pt idx="7">
                  <c:v>1.2087020648967552</c:v>
                </c:pt>
                <c:pt idx="8">
                  <c:v>1.1079850482315112</c:v>
                </c:pt>
                <c:pt idx="9">
                  <c:v>0.8361153262518968</c:v>
                </c:pt>
                <c:pt idx="10">
                  <c:v>1.2756607929515418</c:v>
                </c:pt>
                <c:pt idx="11">
                  <c:v>1.0545714285714287</c:v>
                </c:pt>
                <c:pt idx="12">
                  <c:v>0.8551715039577836</c:v>
                </c:pt>
                <c:pt idx="13">
                  <c:v>-3.4050279499261347</c:v>
                </c:pt>
                <c:pt idx="14">
                  <c:v>-11.165446961130051</c:v>
                </c:pt>
                <c:pt idx="15">
                  <c:v>-2.62879427197243</c:v>
                </c:pt>
              </c:numCache>
            </c:numRef>
          </c:xVal>
          <c:yVal>
            <c:numRef>
              <c:f>Sheet1!$B$169:$B$184</c:f>
              <c:numCache>
                <c:formatCode>General</c:formatCode>
                <c:ptCount val="16"/>
                <c:pt idx="0">
                  <c:v>0.22225379386476551</c:v>
                </c:pt>
                <c:pt idx="1">
                  <c:v>0.2388263966483525</c:v>
                </c:pt>
                <c:pt idx="2">
                  <c:v>0.236314894090561</c:v>
                </c:pt>
                <c:pt idx="3">
                  <c:v>0.2368888969890427</c:v>
                </c:pt>
                <c:pt idx="4">
                  <c:v>0.23702616875945395</c:v>
                </c:pt>
                <c:pt idx="5">
                  <c:v>0.2297415275302184</c:v>
                </c:pt>
                <c:pt idx="6">
                  <c:v>0.23352693176141245</c:v>
                </c:pt>
                <c:pt idx="7">
                  <c:v>0.2320117988890465</c:v>
                </c:pt>
                <c:pt idx="8">
                  <c:v>0.23321723807052547</c:v>
                </c:pt>
                <c:pt idx="9">
                  <c:v>0.23647113126536948</c:v>
                </c:pt>
                <c:pt idx="10">
                  <c:v>0.23121039832128037</c:v>
                </c:pt>
                <c:pt idx="11">
                  <c:v>0.23385652299073797</c:v>
                </c:pt>
                <c:pt idx="12">
                  <c:v>0.23624305597068268</c:v>
                </c:pt>
                <c:pt idx="13">
                  <c:v>0.2872315732308373</c:v>
                </c:pt>
                <c:pt idx="14">
                  <c:v>0.38011273125691525</c:v>
                </c:pt>
                <c:pt idx="15">
                  <c:v>0.27794116213279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00000000000001"/>
          <c:min val="0.054450261780104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587.2373</c:v>
                </c:pt>
                <c:pt idx="1">
                  <c:v>618.0175</c:v>
                </c:pt>
                <c:pt idx="2">
                  <c:v>596.4769</c:v>
                </c:pt>
                <c:pt idx="3">
                  <c:v>623.9273</c:v>
                </c:pt>
                <c:pt idx="4">
                  <c:v>611.1111</c:v>
                </c:pt>
                <c:pt idx="5">
                  <c:v>616.8772</c:v>
                </c:pt>
                <c:pt idx="6">
                  <c:v>616.0175</c:v>
                </c:pt>
                <c:pt idx="7">
                  <c:v>607.2754</c:v>
                </c:pt>
                <c:pt idx="8">
                  <c:v>615.4487</c:v>
                </c:pt>
                <c:pt idx="9">
                  <c:v>602.7841</c:v>
                </c:pt>
                <c:pt idx="10">
                  <c:v>615.1062</c:v>
                </c:pt>
                <c:pt idx="11">
                  <c:v>574.9901</c:v>
                </c:pt>
                <c:pt idx="12">
                  <c:v>583.0619</c:v>
                </c:pt>
                <c:pt idx="13">
                  <c:v>537.4222</c:v>
                </c:pt>
                <c:pt idx="14">
                  <c:v>581.4839</c:v>
                </c:pt>
                <c:pt idx="15">
                  <c:v>570.902</c:v>
                </c:pt>
                <c:pt idx="16">
                  <c:v>582.7368</c:v>
                </c:pt>
                <c:pt idx="17">
                  <c:v>510.2903</c:v>
                </c:pt>
                <c:pt idx="18">
                  <c:v>581.2083</c:v>
                </c:pt>
                <c:pt idx="19">
                  <c:v>638.5</c:v>
                </c:pt>
                <c:pt idx="20">
                  <c:v>636.1579</c:v>
                </c:pt>
                <c:pt idx="21">
                  <c:v>662.4615</c:v>
                </c:pt>
                <c:pt idx="22">
                  <c:v>412.0</c:v>
                </c:pt>
                <c:pt idx="23">
                  <c:v>419.9286</c:v>
                </c:pt>
                <c:pt idx="24">
                  <c:v>550.8571</c:v>
                </c:pt>
                <c:pt idx="25">
                  <c:v>528.2308</c:v>
                </c:pt>
                <c:pt idx="26">
                  <c:v>514.8333</c:v>
                </c:pt>
                <c:pt idx="27">
                  <c:v>395.1667</c:v>
                </c:pt>
                <c:pt idx="28">
                  <c:v>439.5</c:v>
                </c:pt>
                <c:pt idx="29">
                  <c:v>464.25</c:v>
                </c:pt>
                <c:pt idx="30">
                  <c:v>697.75</c:v>
                </c:pt>
                <c:pt idx="31">
                  <c:v>614.2222</c:v>
                </c:pt>
                <c:pt idx="32">
                  <c:v>653.2</c:v>
                </c:pt>
                <c:pt idx="33">
                  <c:v>607.6</c:v>
                </c:pt>
                <c:pt idx="34">
                  <c:v>521.125</c:v>
                </c:pt>
                <c:pt idx="35">
                  <c:v>643.5</c:v>
                </c:pt>
                <c:pt idx="36">
                  <c:v>543.5</c:v>
                </c:pt>
                <c:pt idx="37">
                  <c:v>639.4545</c:v>
                </c:pt>
                <c:pt idx="38">
                  <c:v>682.5556</c:v>
                </c:pt>
                <c:pt idx="39">
                  <c:v>626.0</c:v>
                </c:pt>
                <c:pt idx="40">
                  <c:v>615.6923</c:v>
                </c:pt>
                <c:pt idx="41">
                  <c:v>670.7037</c:v>
                </c:pt>
                <c:pt idx="42">
                  <c:v>630.037</c:v>
                </c:pt>
                <c:pt idx="43">
                  <c:v>626.1364</c:v>
                </c:pt>
                <c:pt idx="44">
                  <c:v>666.093</c:v>
                </c:pt>
                <c:pt idx="45">
                  <c:v>661.875</c:v>
                </c:pt>
                <c:pt idx="46">
                  <c:v>671.6857</c:v>
                </c:pt>
                <c:pt idx="47">
                  <c:v>678.303</c:v>
                </c:pt>
                <c:pt idx="48">
                  <c:v>633.0541</c:v>
                </c:pt>
                <c:pt idx="49">
                  <c:v>654.3429</c:v>
                </c:pt>
                <c:pt idx="50">
                  <c:v>659.9412</c:v>
                </c:pt>
                <c:pt idx="51">
                  <c:v>604.0</c:v>
                </c:pt>
                <c:pt idx="52">
                  <c:v>642.2586</c:v>
                </c:pt>
                <c:pt idx="53">
                  <c:v>629.8723</c:v>
                </c:pt>
                <c:pt idx="54">
                  <c:v>616.7556</c:v>
                </c:pt>
                <c:pt idx="55">
                  <c:v>672.716</c:v>
                </c:pt>
                <c:pt idx="56">
                  <c:v>712.4756</c:v>
                </c:pt>
                <c:pt idx="57">
                  <c:v>705.8511</c:v>
                </c:pt>
                <c:pt idx="58">
                  <c:v>648.6237</c:v>
                </c:pt>
                <c:pt idx="59">
                  <c:v>638.8537</c:v>
                </c:pt>
                <c:pt idx="60">
                  <c:v>638.4444</c:v>
                </c:pt>
                <c:pt idx="61">
                  <c:v>680.1731</c:v>
                </c:pt>
                <c:pt idx="62">
                  <c:v>657.087</c:v>
                </c:pt>
                <c:pt idx="63">
                  <c:v>673.7143</c:v>
                </c:pt>
                <c:pt idx="64">
                  <c:v>624.9259</c:v>
                </c:pt>
                <c:pt idx="65">
                  <c:v>613.6</c:v>
                </c:pt>
                <c:pt idx="66">
                  <c:v>676.4</c:v>
                </c:pt>
                <c:pt idx="67">
                  <c:v>680.2353</c:v>
                </c:pt>
                <c:pt idx="68">
                  <c:v>680.3333</c:v>
                </c:pt>
                <c:pt idx="69">
                  <c:v>613.2941</c:v>
                </c:pt>
                <c:pt idx="70">
                  <c:v>676.6364</c:v>
                </c:pt>
                <c:pt idx="71">
                  <c:v>615.1667</c:v>
                </c:pt>
                <c:pt idx="72">
                  <c:v>641.2727</c:v>
                </c:pt>
                <c:pt idx="73">
                  <c:v>690.1429</c:v>
                </c:pt>
                <c:pt idx="74">
                  <c:v>691.8333</c:v>
                </c:pt>
                <c:pt idx="75">
                  <c:v>707.8333</c:v>
                </c:pt>
                <c:pt idx="76">
                  <c:v>659.4286</c:v>
                </c:pt>
                <c:pt idx="77">
                  <c:v>607.1111</c:v>
                </c:pt>
                <c:pt idx="78">
                  <c:v>595.2857</c:v>
                </c:pt>
                <c:pt idx="79">
                  <c:v>560.8</c:v>
                </c:pt>
                <c:pt idx="80">
                  <c:v>583.8</c:v>
                </c:pt>
                <c:pt idx="81">
                  <c:v>543.6667</c:v>
                </c:pt>
                <c:pt idx="82">
                  <c:v>454.1667</c:v>
                </c:pt>
                <c:pt idx="83">
                  <c:v>413.0</c:v>
                </c:pt>
                <c:pt idx="84">
                  <c:v>302.871</c:v>
                </c:pt>
                <c:pt idx="85">
                  <c:v>246.8393</c:v>
                </c:pt>
                <c:pt idx="86">
                  <c:v>233.3585</c:v>
                </c:pt>
                <c:pt idx="87">
                  <c:v>187.4583</c:v>
                </c:pt>
                <c:pt idx="88">
                  <c:v>438.1515</c:v>
                </c:pt>
                <c:pt idx="89">
                  <c:v>567.4565</c:v>
                </c:pt>
                <c:pt idx="90">
                  <c:v>532.1923</c:v>
                </c:pt>
                <c:pt idx="91">
                  <c:v>543.2222</c:v>
                </c:pt>
                <c:pt idx="92">
                  <c:v>514.3333</c:v>
                </c:pt>
                <c:pt idx="93">
                  <c:v>653.125</c:v>
                </c:pt>
              </c:numCache>
            </c:numRef>
          </c:xVal>
          <c:yVal>
            <c:numRef>
              <c:f>Sheet1!$B$2:$B$95</c:f>
              <c:numCache>
                <c:formatCode>General</c:formatCode>
                <c:ptCount val="94"/>
                <c:pt idx="0">
                  <c:v>0.2935323383084577</c:v>
                </c:pt>
                <c:pt idx="1">
                  <c:v>0.2446351931330472</c:v>
                </c:pt>
                <c:pt idx="2">
                  <c:v>0.2674897119341564</c:v>
                </c:pt>
                <c:pt idx="3">
                  <c:v>0.270935960591133</c:v>
                </c:pt>
                <c:pt idx="4">
                  <c:v>0.27835051546391754</c:v>
                </c:pt>
                <c:pt idx="5">
                  <c:v>0.2878787878787879</c:v>
                </c:pt>
                <c:pt idx="6">
                  <c:v>0.25333333333333335</c:v>
                </c:pt>
                <c:pt idx="7">
                  <c:v>0.2875</c:v>
                </c:pt>
                <c:pt idx="8">
                  <c:v>0.291044776119403</c:v>
                </c:pt>
                <c:pt idx="9">
                  <c:v>0.3076923076923077</c:v>
                </c:pt>
                <c:pt idx="10">
                  <c:v>0.34036144578313254</c:v>
                </c:pt>
                <c:pt idx="11">
                  <c:v>0.30606060606060603</c:v>
                </c:pt>
                <c:pt idx="12">
                  <c:v>0.2811594202898551</c:v>
                </c:pt>
                <c:pt idx="13">
                  <c:v>0.2647058823529412</c:v>
                </c:pt>
                <c:pt idx="14">
                  <c:v>0.24701195219123506</c:v>
                </c:pt>
                <c:pt idx="15">
                  <c:v>0.26424870466321243</c:v>
                </c:pt>
                <c:pt idx="16">
                  <c:v>0.23030303030303031</c:v>
                </c:pt>
                <c:pt idx="17">
                  <c:v>0.12109375</c:v>
                </c:pt>
                <c:pt idx="18">
                  <c:v>0.14906832298136646</c:v>
                </c:pt>
                <c:pt idx="19">
                  <c:v>0.20833333333333334</c:v>
                </c:pt>
                <c:pt idx="20">
                  <c:v>0.1386861313868613</c:v>
                </c:pt>
                <c:pt idx="21">
                  <c:v>0.06806282722513089</c:v>
                </c:pt>
                <c:pt idx="22">
                  <c:v>0.3</c:v>
                </c:pt>
                <c:pt idx="23">
                  <c:v>0.2413793103448276</c:v>
                </c:pt>
                <c:pt idx="24">
                  <c:v>0.21875</c:v>
                </c:pt>
                <c:pt idx="25">
                  <c:v>0.29545454545454547</c:v>
                </c:pt>
                <c:pt idx="26">
                  <c:v>0.21818181818181817</c:v>
                </c:pt>
                <c:pt idx="27">
                  <c:v>0.3157894736842105</c:v>
                </c:pt>
                <c:pt idx="28">
                  <c:v>0.2631578947368421</c:v>
                </c:pt>
                <c:pt idx="29">
                  <c:v>0.17391304347826086</c:v>
                </c:pt>
                <c:pt idx="30">
                  <c:v>0.1702127659574468</c:v>
                </c:pt>
                <c:pt idx="31">
                  <c:v>0.2</c:v>
                </c:pt>
                <c:pt idx="32">
                  <c:v>0.1111111111111111</c:v>
                </c:pt>
                <c:pt idx="33">
                  <c:v>0.13157894736842105</c:v>
                </c:pt>
                <c:pt idx="34">
                  <c:v>0.20512820512820512</c:v>
                </c:pt>
                <c:pt idx="35">
                  <c:v>0.14814814814814814</c:v>
                </c:pt>
                <c:pt idx="36">
                  <c:v>0.21739130434782608</c:v>
                </c:pt>
                <c:pt idx="37">
                  <c:v>0.16666666666666666</c:v>
                </c:pt>
                <c:pt idx="38">
                  <c:v>0.17647058823529413</c:v>
                </c:pt>
                <c:pt idx="39">
                  <c:v>0.192</c:v>
                </c:pt>
                <c:pt idx="40">
                  <c:v>0.2222222222222222</c:v>
                </c:pt>
                <c:pt idx="41">
                  <c:v>0.2125984251968504</c:v>
                </c:pt>
                <c:pt idx="42">
                  <c:v>0.24324324324324326</c:v>
                </c:pt>
                <c:pt idx="43">
                  <c:v>0.22525597269624573</c:v>
                </c:pt>
                <c:pt idx="44">
                  <c:v>0.2606060606060606</c:v>
                </c:pt>
                <c:pt idx="45">
                  <c:v>0.24806201550387597</c:v>
                </c:pt>
                <c:pt idx="46">
                  <c:v>0.2046783625730994</c:v>
                </c:pt>
                <c:pt idx="47">
                  <c:v>0.19879518072289157</c:v>
                </c:pt>
                <c:pt idx="48">
                  <c:v>0.24342105263157895</c:v>
                </c:pt>
                <c:pt idx="49">
                  <c:v>0.22727272727272727</c:v>
                </c:pt>
                <c:pt idx="50">
                  <c:v>0.20238095238095238</c:v>
                </c:pt>
                <c:pt idx="51">
                  <c:v>0.19491525423728814</c:v>
                </c:pt>
                <c:pt idx="52">
                  <c:v>0.27358490566037735</c:v>
                </c:pt>
                <c:pt idx="53">
                  <c:v>0.25474254742547425</c:v>
                </c:pt>
                <c:pt idx="54">
                  <c:v>0.2571428571428571</c:v>
                </c:pt>
                <c:pt idx="55">
                  <c:v>0.30223880597014924</c:v>
                </c:pt>
                <c:pt idx="56">
                  <c:v>0.31297709923664124</c:v>
                </c:pt>
                <c:pt idx="57">
                  <c:v>0.2822822822822823</c:v>
                </c:pt>
                <c:pt idx="58">
                  <c:v>0.29245283018867924</c:v>
                </c:pt>
                <c:pt idx="59">
                  <c:v>0.2847222222222222</c:v>
                </c:pt>
                <c:pt idx="60">
                  <c:v>0.250996015936255</c:v>
                </c:pt>
                <c:pt idx="61">
                  <c:v>0.26804123711340205</c:v>
                </c:pt>
                <c:pt idx="62">
                  <c:v>0.2787878787878788</c:v>
                </c:pt>
                <c:pt idx="63">
                  <c:v>0.27450980392156865</c:v>
                </c:pt>
                <c:pt idx="64">
                  <c:v>0.2903225806451613</c:v>
                </c:pt>
                <c:pt idx="65">
                  <c:v>0.23529411764705882</c:v>
                </c:pt>
                <c:pt idx="66">
                  <c:v>0.22727272727272727</c:v>
                </c:pt>
                <c:pt idx="67">
                  <c:v>0.24285714285714285</c:v>
                </c:pt>
                <c:pt idx="68">
                  <c:v>0.2692307692307692</c:v>
                </c:pt>
                <c:pt idx="69">
                  <c:v>0.29310344827586204</c:v>
                </c:pt>
                <c:pt idx="70">
                  <c:v>0.21153846153846154</c:v>
                </c:pt>
                <c:pt idx="71">
                  <c:v>0.3076923076923077</c:v>
                </c:pt>
                <c:pt idx="72">
                  <c:v>0.2894736842105263</c:v>
                </c:pt>
                <c:pt idx="73">
                  <c:v>0.2692307692307692</c:v>
                </c:pt>
                <c:pt idx="74">
                  <c:v>0.2926829268292683</c:v>
                </c:pt>
                <c:pt idx="75">
                  <c:v>0.2608695652173913</c:v>
                </c:pt>
                <c:pt idx="76">
                  <c:v>0.25</c:v>
                </c:pt>
                <c:pt idx="77">
                  <c:v>0.2903225806451613</c:v>
                </c:pt>
                <c:pt idx="78">
                  <c:v>0.2916666666666667</c:v>
                </c:pt>
                <c:pt idx="79">
                  <c:v>0.3225806451612903</c:v>
                </c:pt>
                <c:pt idx="80">
                  <c:v>0.22727272727272727</c:v>
                </c:pt>
                <c:pt idx="81">
                  <c:v>0.3</c:v>
                </c:pt>
                <c:pt idx="82">
                  <c:v>0.3157894736842105</c:v>
                </c:pt>
                <c:pt idx="83">
                  <c:v>0.375</c:v>
                </c:pt>
                <c:pt idx="84">
                  <c:v>0.5344827586206896</c:v>
                </c:pt>
                <c:pt idx="85">
                  <c:v>0.5833333333333334</c:v>
                </c:pt>
                <c:pt idx="86">
                  <c:v>0.53</c:v>
                </c:pt>
                <c:pt idx="87">
                  <c:v>0.44036697247706424</c:v>
                </c:pt>
                <c:pt idx="88">
                  <c:v>0.27049180327868855</c:v>
                </c:pt>
                <c:pt idx="89">
                  <c:v>0.22439024390243903</c:v>
                </c:pt>
                <c:pt idx="90">
                  <c:v>0.2222222222222222</c:v>
                </c:pt>
                <c:pt idx="91">
                  <c:v>0.24324324324324326</c:v>
                </c:pt>
                <c:pt idx="92">
                  <c:v>0.175</c:v>
                </c:pt>
                <c:pt idx="93">
                  <c:v>0.16326530612244897</c:v>
                </c:pt>
              </c:numCache>
            </c:numRef>
          </c:yVal>
          <c:smooth val="0"/>
          <c:extLst>
            <c:ext xmlns:c16="http://schemas.microsoft.com/office/drawing/2014/chart" uri="{C3380CC4-5D6E-409C-BE32-E72D297353CC}">
              <c16:uniqueId val="{00000000-F32D-48B7-BC20-E66FC6253BAD}"/>
            </c:ext>
          </c:extLst>
        </c:ser>
        <c:ser>
          <c:idx val="1"/>
          <c:order val="1"/>
          <c:tx>
            <c:strRef>
              <c:f>Sheet1!$B$9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8:$A$142</c:f>
              <c:numCache>
                <c:formatCode>General</c:formatCode>
                <c:ptCount val="45"/>
                <c:pt idx="0">
                  <c:v>720.5455</c:v>
                </c:pt>
                <c:pt idx="1">
                  <c:v>649.2727</c:v>
                </c:pt>
                <c:pt idx="2">
                  <c:v>577.9524</c:v>
                </c:pt>
                <c:pt idx="3">
                  <c:v>673.2069</c:v>
                </c:pt>
                <c:pt idx="4">
                  <c:v>726.8889</c:v>
                </c:pt>
                <c:pt idx="5">
                  <c:v>698.5185</c:v>
                </c:pt>
                <c:pt idx="6">
                  <c:v>671.3214</c:v>
                </c:pt>
                <c:pt idx="7">
                  <c:v>712.7826</c:v>
                </c:pt>
                <c:pt idx="8">
                  <c:v>622.2857</c:v>
                </c:pt>
                <c:pt idx="9">
                  <c:v>665.8056</c:v>
                </c:pt>
                <c:pt idx="10">
                  <c:v>637.5111</c:v>
                </c:pt>
                <c:pt idx="11">
                  <c:v>636.0517</c:v>
                </c:pt>
                <c:pt idx="12">
                  <c:v>596.0625</c:v>
                </c:pt>
                <c:pt idx="13">
                  <c:v>645.2182</c:v>
                </c:pt>
                <c:pt idx="14">
                  <c:v>587.92</c:v>
                </c:pt>
                <c:pt idx="15">
                  <c:v>665.2222</c:v>
                </c:pt>
                <c:pt idx="16">
                  <c:v>609.3043</c:v>
                </c:pt>
                <c:pt idx="17">
                  <c:v>651.2632</c:v>
                </c:pt>
                <c:pt idx="18">
                  <c:v>651.5714</c:v>
                </c:pt>
                <c:pt idx="19">
                  <c:v>480.25</c:v>
                </c:pt>
                <c:pt idx="20">
                  <c:v>682.5833</c:v>
                </c:pt>
                <c:pt idx="21">
                  <c:v>654.6667</c:v>
                </c:pt>
                <c:pt idx="22">
                  <c:v>683.1111</c:v>
                </c:pt>
                <c:pt idx="23">
                  <c:v>822.0</c:v>
                </c:pt>
                <c:pt idx="24">
                  <c:v>435.0</c:v>
                </c:pt>
                <c:pt idx="25">
                  <c:v>690.3333</c:v>
                </c:pt>
                <c:pt idx="26">
                  <c:v>431.5</c:v>
                </c:pt>
                <c:pt idx="27">
                  <c:v>739.75</c:v>
                </c:pt>
                <c:pt idx="28">
                  <c:v>539.7778</c:v>
                </c:pt>
                <c:pt idx="29">
                  <c:v>494.7778</c:v>
                </c:pt>
                <c:pt idx="30">
                  <c:v>810.5</c:v>
                </c:pt>
                <c:pt idx="31">
                  <c:v>663.8</c:v>
                </c:pt>
                <c:pt idx="32">
                  <c:v>409.75</c:v>
                </c:pt>
                <c:pt idx="33">
                  <c:v>601.125</c:v>
                </c:pt>
                <c:pt idx="34">
                  <c:v>616.6667</c:v>
                </c:pt>
                <c:pt idx="35">
                  <c:v>458.3333</c:v>
                </c:pt>
                <c:pt idx="36">
                  <c:v>689.1667</c:v>
                </c:pt>
                <c:pt idx="37">
                  <c:v>481.1875</c:v>
                </c:pt>
                <c:pt idx="38">
                  <c:v>551.0</c:v>
                </c:pt>
                <c:pt idx="39">
                  <c:v>579.15</c:v>
                </c:pt>
                <c:pt idx="40">
                  <c:v>394.25</c:v>
                </c:pt>
                <c:pt idx="41">
                  <c:v>695.0</c:v>
                </c:pt>
                <c:pt idx="42">
                  <c:v>738.2</c:v>
                </c:pt>
                <c:pt idx="43">
                  <c:v>648.22</c:v>
                </c:pt>
                <c:pt idx="44">
                  <c:v>624.575</c:v>
                </c:pt>
              </c:numCache>
            </c:numRef>
          </c:xVal>
          <c:yVal>
            <c:numRef>
              <c:f>Sheet1!$B$98:$B$142</c:f>
              <c:numCache>
                <c:formatCode>General</c:formatCode>
                <c:ptCount val="45"/>
                <c:pt idx="0">
                  <c:v>0.1732283464566929</c:v>
                </c:pt>
                <c:pt idx="1">
                  <c:v>0.20754716981132076</c:v>
                </c:pt>
                <c:pt idx="2">
                  <c:v>0.18421052631578946</c:v>
                </c:pt>
                <c:pt idx="3">
                  <c:v>0.21323529411764705</c:v>
                </c:pt>
                <c:pt idx="4">
                  <c:v>0.19148936170212766</c:v>
                </c:pt>
                <c:pt idx="5">
                  <c:v>0.226890756302521</c:v>
                </c:pt>
                <c:pt idx="6">
                  <c:v>0.2074074074074074</c:v>
                </c:pt>
                <c:pt idx="7">
                  <c:v>0.21495327102803738</c:v>
                </c:pt>
                <c:pt idx="8">
                  <c:v>0.2545454545454545</c:v>
                </c:pt>
                <c:pt idx="9">
                  <c:v>0.2535211267605634</c:v>
                </c:pt>
                <c:pt idx="10">
                  <c:v>0.2710843373493976</c:v>
                </c:pt>
                <c:pt idx="11">
                  <c:v>0.30526315789473685</c:v>
                </c:pt>
                <c:pt idx="12">
                  <c:v>0.2981366459627329</c:v>
                </c:pt>
                <c:pt idx="13">
                  <c:v>0.28061224489795916</c:v>
                </c:pt>
                <c:pt idx="14">
                  <c:v>0.3184713375796178</c:v>
                </c:pt>
                <c:pt idx="15">
                  <c:v>0.24161073825503357</c:v>
                </c:pt>
                <c:pt idx="16">
                  <c:v>0.2875</c:v>
                </c:pt>
                <c:pt idx="17">
                  <c:v>0.296875</c:v>
                </c:pt>
                <c:pt idx="18">
                  <c:v>0.22950819672131148</c:v>
                </c:pt>
                <c:pt idx="19">
                  <c:v>0.29411764705882354</c:v>
                </c:pt>
                <c:pt idx="20">
                  <c:v>0.2727272727272727</c:v>
                </c:pt>
                <c:pt idx="21">
                  <c:v>0.2647058823529412</c:v>
                </c:pt>
                <c:pt idx="22">
                  <c:v>0.2571428571428571</c:v>
                </c:pt>
                <c:pt idx="23">
                  <c:v>0.18181818181818182</c:v>
                </c:pt>
                <c:pt idx="24">
                  <c:v>0.21212121212121213</c:v>
                </c:pt>
                <c:pt idx="25">
                  <c:v>0.2222222222222222</c:v>
                </c:pt>
                <c:pt idx="26">
                  <c:v>0.4</c:v>
                </c:pt>
                <c:pt idx="27">
                  <c:v>0.32</c:v>
                </c:pt>
                <c:pt idx="28">
                  <c:v>0.2727272727272727</c:v>
                </c:pt>
                <c:pt idx="29">
                  <c:v>0.3</c:v>
                </c:pt>
                <c:pt idx="30">
                  <c:v>0.14285714285714285</c:v>
                </c:pt>
                <c:pt idx="31">
                  <c:v>0.3125</c:v>
                </c:pt>
                <c:pt idx="32">
                  <c:v>0.2857142857142857</c:v>
                </c:pt>
                <c:pt idx="33">
                  <c:v>0.2857142857142857</c:v>
                </c:pt>
                <c:pt idx="34">
                  <c:v>0.2727272727272727</c:v>
                </c:pt>
                <c:pt idx="35">
                  <c:v>0.4444444444444444</c:v>
                </c:pt>
                <c:pt idx="36">
                  <c:v>0.2926829268292683</c:v>
                </c:pt>
                <c:pt idx="37">
                  <c:v>0.24615384615384617</c:v>
                </c:pt>
                <c:pt idx="38">
                  <c:v>0.25287356321839083</c:v>
                </c:pt>
                <c:pt idx="39">
                  <c:v>0.2777777777777778</c:v>
                </c:pt>
                <c:pt idx="40">
                  <c:v>0.3333333333333333</c:v>
                </c:pt>
                <c:pt idx="41">
                  <c:v>0.18888888888888888</c:v>
                </c:pt>
                <c:pt idx="42">
                  <c:v>0.1984126984126984</c:v>
                </c:pt>
                <c:pt idx="43">
                  <c:v>0.23148148148148148</c:v>
                </c:pt>
                <c:pt idx="44">
                  <c:v>0.30303030303030304</c:v>
                </c:pt>
              </c:numCache>
            </c:numRef>
          </c:yVal>
          <c:smooth val="0"/>
          <c:extLst>
            <c:ext xmlns:c16="http://schemas.microsoft.com/office/drawing/2014/chart" uri="{C3380CC4-5D6E-409C-BE32-E72D297353CC}">
              <c16:uniqueId val="{00000002-F32D-48B7-BC20-E66FC6253BAD}"/>
            </c:ext>
          </c:extLst>
        </c:ser>
        <c:ser>
          <c:idx val="2"/>
          <c:order val="2"/>
          <c:tx>
            <c:strRef>
              <c:f>Sheet1!$B$144</c:f>
              <c:strCache>
                <c:ptCount val="1"/>
                <c:pt idx="0">
                  <c:v>Custom Linep3yQ</c:v>
                </c:pt>
              </c:strCache>
            </c:strRef>
          </c:tx>
          <c:spPr>
            <a:ln w="19050" cap="rnd">
              <a:solidFill>
                <a:srgbClr val="C00000"/>
              </a:solidFill>
              <a:prstDash val="sysDot"/>
              <a:round/>
            </a:ln>
            <a:effectLst/>
          </c:spPr>
          <c:marker>
            <c:symbol val="none"/>
          </c:marker>
          <c:xVal>
            <c:numRef>
              <c:f>Sheet1!$A$145:$A$146</c:f>
              <c:numCache>
                <c:formatCode>General</c:formatCode>
                <c:ptCount val="2"/>
                <c:pt idx="0">
                  <c:v>0</c:v>
                </c:pt>
                <c:pt idx="1">
                  <c:v>266.66666197714375</c:v>
                </c:pt>
              </c:numCache>
            </c:numRef>
          </c:xVal>
          <c:yVal>
            <c:numRef>
              <c:f>Sheet1!$B$145:$B$146</c:f>
              <c:numCache>
                <c:formatCode>General</c:formatCode>
                <c:ptCount val="2"/>
                <c:pt idx="0">
                  <c:v>0.38011273125691525</c:v>
                </c:pt>
                <c:pt idx="1">
                  <c:v>0.38011273125691525</c:v>
                </c:pt>
              </c:numCache>
            </c:numRef>
          </c:yVal>
          <c:smooth val="0"/>
          <c:extLst>
            <c:ext xmlns:c16="http://schemas.microsoft.com/office/drawing/2014/chart" uri="{C3380CC4-5D6E-409C-BE32-E72D297353CC}">
              <c16:uniqueId val="{00000003-F32D-48B7-BC20-E66FC6253BAD}"/>
            </c:ext>
          </c:extLst>
        </c:ser>
        <c:ser>
          <c:idx val="3"/>
          <c:order val="3"/>
          <c:tx>
            <c:strRef>
              <c:f>Sheet1!$B$14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9:$A$150</c:f>
              <c:numCache>
                <c:formatCode>General</c:formatCode>
                <c:ptCount val="2"/>
                <c:pt idx="0">
                  <c:v>266.66666197714375</c:v>
                </c:pt>
                <c:pt idx="1">
                  <c:v>266.66666197714375</c:v>
                </c:pt>
              </c:numCache>
            </c:numRef>
          </c:xVal>
          <c:yVal>
            <c:numRef>
              <c:f>Sheet1!$B$149:$B$150</c:f>
              <c:numCache>
                <c:formatCode>General</c:formatCode>
                <c:ptCount val="2"/>
                <c:pt idx="0">
                  <c:v>0.38011273125691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3:$A$154</c:f>
              <c:numCache>
                <c:formatCode>General</c:formatCode>
                <c:ptCount val="2"/>
                <c:pt idx="0">
                  <c:v>0</c:v>
                </c:pt>
                <c:pt idx="1">
                  <c:v>542.9799316195571</c:v>
                </c:pt>
              </c:numCache>
            </c:numRef>
          </c:xVal>
          <c:yVal>
            <c:numRef>
              <c:f>Sheet1!$B$153:$B$154</c:f>
              <c:numCache>
                <c:formatCode>General</c:formatCode>
                <c:ptCount val="2"/>
                <c:pt idx="0">
                  <c:v>0.2872315732308373</c:v>
                </c:pt>
                <c:pt idx="1">
                  <c:v>0.2872315732308373</c:v>
                </c:pt>
              </c:numCache>
            </c:numRef>
          </c:yVal>
          <c:smooth val="0"/>
          <c:extLst>
            <c:ext xmlns:c16="http://schemas.microsoft.com/office/drawing/2014/chart" uri="{C3380CC4-5D6E-409C-BE32-E72D297353CC}">
              <c16:uniqueId val="{0000000A-F32D-48B7-BC20-E66FC6253BAD}"/>
            </c:ext>
          </c:extLst>
        </c:ser>
        <c:ser>
          <c:idx val="5"/>
          <c:order val="5"/>
          <c:tx>
            <c:strRef>
              <c:f>Sheet1!$B$15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7:$A$158</c:f>
              <c:numCache>
                <c:formatCode>General</c:formatCode>
                <c:ptCount val="2"/>
                <c:pt idx="0">
                  <c:v>542.9799316195571</c:v>
                </c:pt>
                <c:pt idx="1">
                  <c:v>542.9799316195571</c:v>
                </c:pt>
              </c:numCache>
            </c:numRef>
          </c:xVal>
          <c:yVal>
            <c:numRef>
              <c:f>Sheet1!$B$157:$B$158</c:f>
              <c:numCache>
                <c:formatCode>General</c:formatCode>
                <c:ptCount val="2"/>
                <c:pt idx="0">
                  <c:v>0.28723157323083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1:$A$162</c:f>
              <c:numCache>
                <c:formatCode>General</c:formatCode>
                <c:ptCount val="2"/>
                <c:pt idx="0">
                  <c:v>0</c:v>
                </c:pt>
                <c:pt idx="1">
                  <c:v>570.6180868856953</c:v>
                </c:pt>
              </c:numCache>
            </c:numRef>
          </c:xVal>
          <c:yVal>
            <c:numRef>
              <c:f>Sheet1!$B$161:$B$162</c:f>
              <c:numCache>
                <c:formatCode>General</c:formatCode>
                <c:ptCount val="2"/>
                <c:pt idx="0">
                  <c:v>0.2779411621327906</c:v>
                </c:pt>
                <c:pt idx="1">
                  <c:v>0.2779411621327906</c:v>
                </c:pt>
              </c:numCache>
            </c:numRef>
          </c:yVal>
          <c:smooth val="0"/>
          <c:extLst>
            <c:ext xmlns:c16="http://schemas.microsoft.com/office/drawing/2014/chart" uri="{C3380CC4-5D6E-409C-BE32-E72D297353CC}">
              <c16:uniqueId val="{00000011-F32D-48B7-BC20-E66FC6253BAD}"/>
            </c:ext>
          </c:extLst>
        </c:ser>
        <c:ser>
          <c:idx val="7"/>
          <c:order val="7"/>
          <c:tx>
            <c:strRef>
              <c:f>Sheet1!$B$16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5:$A$166</c:f>
              <c:numCache>
                <c:formatCode>General</c:formatCode>
                <c:ptCount val="2"/>
                <c:pt idx="0">
                  <c:v>570.6180868856953</c:v>
                </c:pt>
                <c:pt idx="1">
                  <c:v>570.6180868856953</c:v>
                </c:pt>
              </c:numCache>
            </c:numRef>
          </c:xVal>
          <c:yVal>
            <c:numRef>
              <c:f>Sheet1!$B$165:$B$166</c:f>
              <c:numCache>
                <c:formatCode>General</c:formatCode>
                <c:ptCount val="2"/>
                <c:pt idx="0">
                  <c:v>0.27794116213279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9:$A$216</c:f>
              <c:numCache>
                <c:formatCode>General</c:formatCode>
                <c:ptCount val="48"/>
                <c:pt idx="0">
                  <c:v>720.5455</c:v>
                </c:pt>
                <c:pt idx="1">
                  <c:v>649.2727</c:v>
                </c:pt>
                <c:pt idx="2">
                  <c:v>577.9524</c:v>
                </c:pt>
                <c:pt idx="3">
                  <c:v>673.2069</c:v>
                </c:pt>
                <c:pt idx="4">
                  <c:v>726.8889</c:v>
                </c:pt>
                <c:pt idx="5">
                  <c:v>698.5185</c:v>
                </c:pt>
                <c:pt idx="6">
                  <c:v>671.3214</c:v>
                </c:pt>
                <c:pt idx="7">
                  <c:v>712.7826</c:v>
                </c:pt>
                <c:pt idx="8">
                  <c:v>622.2857</c:v>
                </c:pt>
                <c:pt idx="9">
                  <c:v>665.8056</c:v>
                </c:pt>
                <c:pt idx="10">
                  <c:v>637.5111</c:v>
                </c:pt>
                <c:pt idx="11">
                  <c:v>636.0517</c:v>
                </c:pt>
                <c:pt idx="12">
                  <c:v>596.0625</c:v>
                </c:pt>
                <c:pt idx="13">
                  <c:v>645.2182</c:v>
                </c:pt>
                <c:pt idx="14">
                  <c:v>587.92</c:v>
                </c:pt>
                <c:pt idx="15">
                  <c:v>665.2222</c:v>
                </c:pt>
                <c:pt idx="16">
                  <c:v>609.3043</c:v>
                </c:pt>
                <c:pt idx="17">
                  <c:v>651.2632</c:v>
                </c:pt>
                <c:pt idx="18">
                  <c:v>651.5714</c:v>
                </c:pt>
                <c:pt idx="19">
                  <c:v>480.25</c:v>
                </c:pt>
                <c:pt idx="20">
                  <c:v>682.5833</c:v>
                </c:pt>
                <c:pt idx="21">
                  <c:v>654.6667</c:v>
                </c:pt>
                <c:pt idx="22">
                  <c:v>683.1111</c:v>
                </c:pt>
                <c:pt idx="23">
                  <c:v>822.0</c:v>
                </c:pt>
                <c:pt idx="24">
                  <c:v>435.0</c:v>
                </c:pt>
                <c:pt idx="25">
                  <c:v>690.3333</c:v>
                </c:pt>
                <c:pt idx="26">
                  <c:v>431.5</c:v>
                </c:pt>
                <c:pt idx="27">
                  <c:v>739.75</c:v>
                </c:pt>
                <c:pt idx="28">
                  <c:v>539.7778</c:v>
                </c:pt>
                <c:pt idx="29">
                  <c:v>494.7778</c:v>
                </c:pt>
                <c:pt idx="30">
                  <c:v>810.5</c:v>
                </c:pt>
                <c:pt idx="31">
                  <c:v>663.8</c:v>
                </c:pt>
                <c:pt idx="32">
                  <c:v>409.75</c:v>
                </c:pt>
                <c:pt idx="33">
                  <c:v>601.125</c:v>
                </c:pt>
                <c:pt idx="34">
                  <c:v>616.6667</c:v>
                </c:pt>
                <c:pt idx="35">
                  <c:v>458.3333</c:v>
                </c:pt>
                <c:pt idx="36">
                  <c:v>689.1667</c:v>
                </c:pt>
                <c:pt idx="37">
                  <c:v>481.1875</c:v>
                </c:pt>
                <c:pt idx="38">
                  <c:v>551.0</c:v>
                </c:pt>
                <c:pt idx="39">
                  <c:v>579.15</c:v>
                </c:pt>
                <c:pt idx="40">
                  <c:v>394.25</c:v>
                </c:pt>
                <c:pt idx="41">
                  <c:v>695.0</c:v>
                </c:pt>
                <c:pt idx="42">
                  <c:v>738.2</c:v>
                </c:pt>
                <c:pt idx="43">
                  <c:v>648.22</c:v>
                </c:pt>
                <c:pt idx="44">
                  <c:v>624.575</c:v>
                </c:pt>
                <c:pt idx="45">
                  <c:v>542.9799316195571</c:v>
                </c:pt>
                <c:pt idx="46">
                  <c:v>266.66666197714375</c:v>
                </c:pt>
                <c:pt idx="47">
                  <c:v>570.6180868856953</c:v>
                </c:pt>
              </c:numCache>
            </c:numRef>
          </c:xVal>
          <c:yVal>
            <c:numRef>
              <c:f>Sheet1!$B$169:$B$216</c:f>
              <c:numCache>
                <c:formatCode>General</c:formatCode>
                <c:ptCount val="48"/>
                <c:pt idx="0">
                  <c:v>0.2275439019218272</c:v>
                </c:pt>
                <c:pt idx="1">
                  <c:v>0.2515018544600027</c:v>
                </c:pt>
                <c:pt idx="2">
                  <c:v>0.27547577385714217</c:v>
                </c:pt>
                <c:pt idx="3">
                  <c:v>0.24345650717970502</c:v>
                </c:pt>
                <c:pt idx="4">
                  <c:v>0.2254116035396861</c:v>
                </c:pt>
                <c:pt idx="5">
                  <c:v>0.2349481546038937</c:v>
                </c:pt>
                <c:pt idx="6">
                  <c:v>0.24409030744447263</c:v>
                </c:pt>
                <c:pt idx="7">
                  <c:v>0.23015335727868985</c:v>
                </c:pt>
                <c:pt idx="8">
                  <c:v>0.2605733833623013</c:v>
                </c:pt>
                <c:pt idx="9">
                  <c:v>0.24594441272180242</c:v>
                </c:pt>
                <c:pt idx="10">
                  <c:v>0.2554554504261077</c:v>
                </c:pt>
                <c:pt idx="11">
                  <c:v>0.255946019562359</c:v>
                </c:pt>
                <c:pt idx="12">
                  <c:v>0.26938816517246006</c:v>
                </c:pt>
                <c:pt idx="13">
                  <c:v>0.25286475192672264</c:v>
                </c:pt>
                <c:pt idx="14">
                  <c:v>0.2721252209432744</c:v>
                </c:pt>
                <c:pt idx="15">
                  <c:v>0.24614051936431922</c:v>
                </c:pt>
                <c:pt idx="16">
                  <c:v>0.2649370082665996</c:v>
                </c:pt>
                <c:pt idx="17">
                  <c:v>0.25083275903331487</c:v>
                </c:pt>
                <c:pt idx="18">
                  <c:v>0.250729159329469</c:v>
                </c:pt>
                <c:pt idx="19">
                  <c:v>0.30831788840947977</c:v>
                </c:pt>
                <c:pt idx="20">
                  <c:v>0.24030468283466808</c:v>
                </c:pt>
                <c:pt idx="21">
                  <c:v>0.24968869157050044</c:v>
                </c:pt>
                <c:pt idx="22">
                  <c:v>0.24012726582074906</c:v>
                </c:pt>
                <c:pt idx="23">
                  <c:v>0.1934405399691</c:v>
                </c:pt>
                <c:pt idx="24">
                  <c:v>0.32352842247510427</c:v>
                </c:pt>
                <c:pt idx="25">
                  <c:v>0.2376995637405556</c:v>
                </c:pt>
                <c:pt idx="26">
                  <c:v>0.3247049278724454</c:v>
                </c:pt>
                <c:pt idx="27">
                  <c:v>0.22108841680661642</c:v>
                </c:pt>
                <c:pt idx="28">
                  <c:v>0.2883079518403818</c:v>
                </c:pt>
                <c:pt idx="29">
                  <c:v>0.3034344498061962</c:v>
                </c:pt>
                <c:pt idx="30">
                  <c:v>0.1973062005603637</c:v>
                </c:pt>
                <c:pt idx="31">
                  <c:v>0.24661858392891883</c:v>
                </c:pt>
                <c:pt idx="32">
                  <c:v>0.3320160685559224</c:v>
                </c:pt>
                <c:pt idx="33">
                  <c:v>0.26768643415130594</c:v>
                </c:pt>
                <c:pt idx="34">
                  <c:v>0.26246217874163263</c:v>
                </c:pt>
                <c:pt idx="35">
                  <c:v>0.3156850643643101</c:v>
                </c:pt>
                <c:pt idx="36">
                  <c:v>0.23809170979670935</c:v>
                </c:pt>
                <c:pt idx="37">
                  <c:v>0.308002753035192</c:v>
                </c:pt>
                <c:pt idx="38">
                  <c:v>0.28453567216322706</c:v>
                </c:pt>
                <c:pt idx="39">
                  <c:v>0.27507320732461205</c:v>
                </c:pt>
                <c:pt idx="40">
                  <c:v>0.3372263067441474</c:v>
                </c:pt>
                <c:pt idx="41">
                  <c:v>0.23613087867262078</c:v>
                </c:pt>
                <c:pt idx="42">
                  <c:v>0.22160944062543889</c:v>
                </c:pt>
                <c:pt idx="43">
                  <c:v>0.251855713669083</c:v>
                </c:pt>
                <c:pt idx="44">
                  <c:v>0.2598038479891204</c:v>
                </c:pt>
                <c:pt idx="45">
                  <c:v>0.2872315732308373</c:v>
                </c:pt>
                <c:pt idx="46">
                  <c:v>0.38011273125691525</c:v>
                </c:pt>
                <c:pt idx="47">
                  <c:v>0.27794116213279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86.0"/>
          <c:min val="1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00000000000001"/>
          <c:min val="0.054450261780104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5</c:f>
              <c:numCache>
                <c:formatCode>General</c:formatCode>
                <c:ptCount val="114"/>
                <c:pt idx="0">
                  <c:v>1.9019585631977802</c:v>
                </c:pt>
                <c:pt idx="1">
                  <c:v>1.8063737681536296</c:v>
                </c:pt>
                <c:pt idx="2">
                  <c:v>1.9215994605529332</c:v>
                </c:pt>
                <c:pt idx="3">
                  <c:v>1.8625552131484335</c:v>
                </c:pt>
                <c:pt idx="4">
                  <c:v>1.6984411146161935</c:v>
                </c:pt>
                <c:pt idx="5">
                  <c:v>1.6902364026976069</c:v>
                </c:pt>
                <c:pt idx="6">
                  <c:v>1.7821740484697144</c:v>
                </c:pt>
                <c:pt idx="7">
                  <c:v>1.8779955555555554</c:v>
                </c:pt>
                <c:pt idx="8">
                  <c:v>1.837468364711516</c:v>
                </c:pt>
                <c:pt idx="9">
                  <c:v>1.8592876680560926</c:v>
                </c:pt>
                <c:pt idx="10">
                  <c:v>2.0406679613081367</c:v>
                </c:pt>
                <c:pt idx="11">
                  <c:v>2.1093176197831855</c:v>
                </c:pt>
                <c:pt idx="12">
                  <c:v>2.0123657503202286</c:v>
                </c:pt>
                <c:pt idx="13">
                  <c:v>1.7940299802493664</c:v>
                </c:pt>
                <c:pt idx="14">
                  <c:v>4.049171948476794</c:v>
                </c:pt>
                <c:pt idx="15">
                  <c:v>4.45980023239992</c:v>
                </c:pt>
                <c:pt idx="16">
                  <c:v>4.4239636637473545</c:v>
                </c:pt>
                <c:pt idx="17">
                  <c:v>4.604841930401844</c:v>
                </c:pt>
                <c:pt idx="18">
                  <c:v>7.665554398181708</c:v>
                </c:pt>
                <c:pt idx="19">
                  <c:v>9.875375189333118</c:v>
                </c:pt>
                <c:pt idx="20">
                  <c:v>9.4675206952092</c:v>
                </c:pt>
                <c:pt idx="21">
                  <c:v>8.622777769653364</c:v>
                </c:pt>
                <c:pt idx="22">
                  <c:v>12.88258012858253</c:v>
                </c:pt>
                <c:pt idx="23">
                  <c:v>17.523738312185134</c:v>
                </c:pt>
                <c:pt idx="24">
                  <c:v>17.873469959746593</c:v>
                </c:pt>
                <c:pt idx="25">
                  <c:v>18.122284380371397</c:v>
                </c:pt>
                <c:pt idx="26">
                  <c:v>3.7404766518818495</c:v>
                </c:pt>
                <c:pt idx="27">
                  <c:v>2.7431522169234897</c:v>
                </c:pt>
                <c:pt idx="28">
                  <c:v>2.75989</c:v>
                </c:pt>
                <c:pt idx="29">
                  <c:v>3.3471622317596563</c:v>
                </c:pt>
                <c:pt idx="30">
                  <c:v>2.392814371257485</c:v>
                </c:pt>
                <c:pt idx="31">
                  <c:v>3.335080733944954</c:v>
                </c:pt>
                <c:pt idx="32">
                  <c:v>2.7982908424908426</c:v>
                </c:pt>
                <c:pt idx="33">
                  <c:v>1.6685279816513763</c:v>
                </c:pt>
                <c:pt idx="34">
                  <c:v>0.0</c:v>
                </c:pt>
                <c:pt idx="35">
                  <c:v>1.4957051181102363</c:v>
                </c:pt>
                <c:pt idx="36">
                  <c:v>2.8149421755587953</c:v>
                </c:pt>
                <c:pt idx="37">
                  <c:v>1.462011693548387</c:v>
                </c:pt>
                <c:pt idx="38">
                  <c:v>2.4444974789915968</c:v>
                </c:pt>
                <c:pt idx="39">
                  <c:v>3.928441237113402</c:v>
                </c:pt>
                <c:pt idx="40">
                  <c:v>2.2733452145214526</c:v>
                </c:pt>
                <c:pt idx="41">
                  <c:v>1.600729839345633</c:v>
                </c:pt>
                <c:pt idx="42">
                  <c:v>1.429553903345725</c:v>
                </c:pt>
                <c:pt idx="43">
                  <c:v>0.0</c:v>
                </c:pt>
                <c:pt idx="44">
                  <c:v>2.705943795620438</c:v>
                </c:pt>
                <c:pt idx="45">
                  <c:v>1.0475302752293578</c:v>
                </c:pt>
                <c:pt idx="46">
                  <c:v>2.2122061728395064</c:v>
                </c:pt>
                <c:pt idx="47">
                  <c:v>1.3531613941018767</c:v>
                </c:pt>
                <c:pt idx="48">
                  <c:v>1.2834726159230097</c:v>
                </c:pt>
                <c:pt idx="49">
                  <c:v>1.0543811230585425</c:v>
                </c:pt>
                <c:pt idx="50">
                  <c:v>1.4282296992481205</c:v>
                </c:pt>
                <c:pt idx="51">
                  <c:v>0.994430693069307</c:v>
                </c:pt>
                <c:pt idx="52">
                  <c:v>1.3826128043282238</c:v>
                </c:pt>
                <c:pt idx="53">
                  <c:v>1.0918320675105486</c:v>
                </c:pt>
                <c:pt idx="54">
                  <c:v>0.9968546835443038</c:v>
                </c:pt>
                <c:pt idx="55">
                  <c:v>1.288173575364074</c:v>
                </c:pt>
                <c:pt idx="56">
                  <c:v>0.951254184397163</c:v>
                </c:pt>
                <c:pt idx="57">
                  <c:v>0.7815799999999999</c:v>
                </c:pt>
                <c:pt idx="58">
                  <c:v>0.9206420915032679</c:v>
                </c:pt>
                <c:pt idx="59">
                  <c:v>1.162225446818702</c:v>
                </c:pt>
                <c:pt idx="60">
                  <c:v>1.1256398224476856</c:v>
                </c:pt>
                <c:pt idx="61">
                  <c:v>1.1602634643377001</c:v>
                </c:pt>
                <c:pt idx="62">
                  <c:v>1.2099470760233917</c:v>
                </c:pt>
                <c:pt idx="63">
                  <c:v>1.3045848484848483</c:v>
                </c:pt>
                <c:pt idx="64">
                  <c:v>1.3520806571964765</c:v>
                </c:pt>
                <c:pt idx="65">
                  <c:v>1.2585635352506017</c:v>
                </c:pt>
                <c:pt idx="66">
                  <c:v>1.552216610727453</c:v>
                </c:pt>
                <c:pt idx="67">
                  <c:v>1.2933638443935926</c:v>
                </c:pt>
                <c:pt idx="68">
                  <c:v>1.2951487407407407</c:v>
                </c:pt>
                <c:pt idx="69">
                  <c:v>1.5597879282218596</c:v>
                </c:pt>
                <c:pt idx="70">
                  <c:v>1.621108751982013</c:v>
                </c:pt>
                <c:pt idx="71">
                  <c:v>1.644589962825279</c:v>
                </c:pt>
                <c:pt idx="72">
                  <c:v>1.02848</c:v>
                </c:pt>
                <c:pt idx="73">
                  <c:v>2.2764880952380953</c:v>
                </c:pt>
                <c:pt idx="74">
                  <c:v>2.3323189738625363</c:v>
                </c:pt>
                <c:pt idx="75">
                  <c:v>2.229899111111111</c:v>
                </c:pt>
                <c:pt idx="76">
                  <c:v>1.6325899628252787</c:v>
                </c:pt>
                <c:pt idx="77">
                  <c:v>1.6352233676975947</c:v>
                </c:pt>
                <c:pt idx="78">
                  <c:v>1.2271005509641872</c:v>
                </c:pt>
                <c:pt idx="79">
                  <c:v>2.0605641592920354</c:v>
                </c:pt>
                <c:pt idx="80">
                  <c:v>0.0</c:v>
                </c:pt>
                <c:pt idx="81">
                  <c:v>0.0</c:v>
                </c:pt>
                <c:pt idx="82">
                  <c:v>2.4036630769230767</c:v>
                </c:pt>
                <c:pt idx="83">
                  <c:v>0.0</c:v>
                </c:pt>
                <c:pt idx="84">
                  <c:v>1.3142857575757576</c:v>
                </c:pt>
                <c:pt idx="85">
                  <c:v>2.013333333333333</c:v>
                </c:pt>
                <c:pt idx="86">
                  <c:v>0.0</c:v>
                </c:pt>
                <c:pt idx="87">
                  <c:v>1.0730870712401055</c:v>
                </c:pt>
                <c:pt idx="88">
                  <c:v>1.6270833333333334</c:v>
                </c:pt>
                <c:pt idx="89">
                  <c:v>0.0</c:v>
                </c:pt>
                <c:pt idx="90">
                  <c:v>2.2889406542056077</c:v>
                </c:pt>
                <c:pt idx="91">
                  <c:v>0.0</c:v>
                </c:pt>
                <c:pt idx="92">
                  <c:v>0.0</c:v>
                </c:pt>
                <c:pt idx="93">
                  <c:v>2.0245615686274507</c:v>
                </c:pt>
                <c:pt idx="94">
                  <c:v>0.9184705050505051</c:v>
                </c:pt>
                <c:pt idx="95">
                  <c:v>1.1261895541401274</c:v>
                </c:pt>
                <c:pt idx="96">
                  <c:v>1.6225255972696244</c:v>
                </c:pt>
                <c:pt idx="97">
                  <c:v>1.6588436029433777</c:v>
                </c:pt>
                <c:pt idx="98">
                  <c:v>1.487582257671371</c:v>
                </c:pt>
                <c:pt idx="99">
                  <c:v>1.3825440111420613</c:v>
                </c:pt>
                <c:pt idx="100">
                  <c:v>1.008888888888889</c:v>
                </c:pt>
                <c:pt idx="101">
                  <c:v>2.2018870967741937</c:v>
                </c:pt>
                <c:pt idx="102">
                  <c:v>0.0</c:v>
                </c:pt>
                <c:pt idx="103">
                  <c:v>0.0</c:v>
                </c:pt>
                <c:pt idx="104">
                  <c:v>0.0</c:v>
                </c:pt>
                <c:pt idx="105">
                  <c:v>0.0</c:v>
                </c:pt>
                <c:pt idx="106">
                  <c:v>0.0</c:v>
                </c:pt>
                <c:pt idx="107">
                  <c:v>0.0</c:v>
                </c:pt>
                <c:pt idx="108">
                  <c:v>0.0</c:v>
                </c:pt>
                <c:pt idx="109">
                  <c:v>0.0</c:v>
                </c:pt>
                <c:pt idx="110">
                  <c:v>0.0</c:v>
                </c:pt>
                <c:pt idx="111">
                  <c:v>0.0</c:v>
                </c:pt>
                <c:pt idx="112">
                  <c:v>0.0</c:v>
                </c:pt>
                <c:pt idx="113">
                  <c:v>0.0</c:v>
                </c:pt>
              </c:numCache>
            </c:numRef>
          </c:xVal>
          <c:yVal>
            <c:numRef>
              <c:f>Sheet1!$B$2:$B$115</c:f>
              <c:numCache>
                <c:formatCode>General</c:formatCode>
                <c:ptCount val="114"/>
                <c:pt idx="0">
                  <c:v>0.3781094527363184</c:v>
                </c:pt>
                <c:pt idx="1">
                  <c:v>0.41201716738197425</c:v>
                </c:pt>
                <c:pt idx="2">
                  <c:v>0.3991769547325103</c:v>
                </c:pt>
                <c:pt idx="3">
                  <c:v>0.4236453201970443</c:v>
                </c:pt>
                <c:pt idx="4">
                  <c:v>0.4742268041237113</c:v>
                </c:pt>
                <c:pt idx="5">
                  <c:v>0.51010101010101</c:v>
                </c:pt>
                <c:pt idx="6">
                  <c:v>0.47577092511013214</c:v>
                </c:pt>
                <c:pt idx="7">
                  <c:v>0.4533333333333333</c:v>
                </c:pt>
                <c:pt idx="8">
                  <c:v>0.42083333333333334</c:v>
                </c:pt>
                <c:pt idx="9">
                  <c:v>0.43283582089552236</c:v>
                </c:pt>
                <c:pt idx="10">
                  <c:v>0.4195804195804196</c:v>
                </c:pt>
                <c:pt idx="11">
                  <c:v>0.3674698795180723</c:v>
                </c:pt>
                <c:pt idx="12">
                  <c:v>0.3696969696969697</c:v>
                </c:pt>
                <c:pt idx="13">
                  <c:v>0.42028985507246375</c:v>
                </c:pt>
                <c:pt idx="14">
                  <c:v>0.34411764705882353</c:v>
                </c:pt>
                <c:pt idx="15">
                  <c:v>0.3545816733067729</c:v>
                </c:pt>
                <c:pt idx="16">
                  <c:v>0.35233160621761656</c:v>
                </c:pt>
                <c:pt idx="17">
                  <c:v>0.3212121212121212</c:v>
                </c:pt>
                <c:pt idx="18">
                  <c:v>0.23828125</c:v>
                </c:pt>
                <c:pt idx="19">
                  <c:v>0.2422360248447205</c:v>
                </c:pt>
                <c:pt idx="20">
                  <c:v>0.2638888888888889</c:v>
                </c:pt>
                <c:pt idx="21">
                  <c:v>0.33884297520661155</c:v>
                </c:pt>
                <c:pt idx="22">
                  <c:v>0.2846715328467153</c:v>
                </c:pt>
                <c:pt idx="23">
                  <c:v>0.14659685863874344</c:v>
                </c:pt>
                <c:pt idx="24">
                  <c:v>0.325</c:v>
                </c:pt>
                <c:pt idx="25">
                  <c:v>0.2872340425531915</c:v>
                </c:pt>
                <c:pt idx="26">
                  <c:v>0.3</c:v>
                </c:pt>
                <c:pt idx="27">
                  <c:v>0.4714285714285714</c:v>
                </c:pt>
                <c:pt idx="28">
                  <c:v>0.4482758620689655</c:v>
                </c:pt>
                <c:pt idx="29">
                  <c:v>0.391304347826087</c:v>
                </c:pt>
                <c:pt idx="30">
                  <c:v>0.46875</c:v>
                </c:pt>
                <c:pt idx="31">
                  <c:v>0.4772727272727273</c:v>
                </c:pt>
                <c:pt idx="32">
                  <c:v>0.5454545454545454</c:v>
                </c:pt>
                <c:pt idx="33">
                  <c:v>0.40350877192982454</c:v>
                </c:pt>
                <c:pt idx="34">
                  <c:v>0.42105263157894735</c:v>
                </c:pt>
                <c:pt idx="35">
                  <c:v>0.4782608695652174</c:v>
                </c:pt>
                <c:pt idx="36">
                  <c:v>0.44680851063829785</c:v>
                </c:pt>
                <c:pt idx="37">
                  <c:v>0.4222222222222222</c:v>
                </c:pt>
                <c:pt idx="38">
                  <c:v>0.4666666666666667</c:v>
                </c:pt>
                <c:pt idx="39">
                  <c:v>0.4473684210526316</c:v>
                </c:pt>
                <c:pt idx="40">
                  <c:v>0.4358974358974359</c:v>
                </c:pt>
                <c:pt idx="41">
                  <c:v>0.48148148148148145</c:v>
                </c:pt>
                <c:pt idx="42">
                  <c:v>0.43478260869565216</c:v>
                </c:pt>
                <c:pt idx="43">
                  <c:v>0.4090909090909091</c:v>
                </c:pt>
                <c:pt idx="44">
                  <c:v>0.4803921568627451</c:v>
                </c:pt>
                <c:pt idx="45">
                  <c:v>0.472</c:v>
                </c:pt>
                <c:pt idx="46">
                  <c:v>0.452991452991453</c:v>
                </c:pt>
                <c:pt idx="47">
                  <c:v>0.5039370078740157</c:v>
                </c:pt>
                <c:pt idx="48">
                  <c:v>0.49099099099099097</c:v>
                </c:pt>
                <c:pt idx="49">
                  <c:v>0.5017064846416383</c:v>
                </c:pt>
                <c:pt idx="50">
                  <c:v>0.4666666666666667</c:v>
                </c:pt>
                <c:pt idx="51">
                  <c:v>0.43410852713178294</c:v>
                </c:pt>
                <c:pt idx="52">
                  <c:v>0.49707602339181284</c:v>
                </c:pt>
                <c:pt idx="53">
                  <c:v>0.4939759036144578</c:v>
                </c:pt>
                <c:pt idx="54">
                  <c:v>0.4342105263157895</c:v>
                </c:pt>
                <c:pt idx="55">
                  <c:v>0.474025974025974</c:v>
                </c:pt>
                <c:pt idx="56">
                  <c:v>0.4880952380952381</c:v>
                </c:pt>
                <c:pt idx="57">
                  <c:v>0.5423728813559322</c:v>
                </c:pt>
                <c:pt idx="58">
                  <c:v>0.4858490566037736</c:v>
                </c:pt>
                <c:pt idx="59">
                  <c:v>0.4715447154471545</c:v>
                </c:pt>
                <c:pt idx="60">
                  <c:v>0.4257142857142857</c:v>
                </c:pt>
                <c:pt idx="61">
                  <c:v>0.40671641791044777</c:v>
                </c:pt>
                <c:pt idx="62">
                  <c:v>0.40458015267175573</c:v>
                </c:pt>
                <c:pt idx="63">
                  <c:v>0.4624624624624625</c:v>
                </c:pt>
                <c:pt idx="64">
                  <c:v>0.44654088050314467</c:v>
                </c:pt>
                <c:pt idx="65">
                  <c:v>0.4097222222222222</c:v>
                </c:pt>
                <c:pt idx="66">
                  <c:v>0.4262948207171315</c:v>
                </c:pt>
                <c:pt idx="67">
                  <c:v>0.41237113402061853</c:v>
                </c:pt>
                <c:pt idx="68">
                  <c:v>0.4303030303030303</c:v>
                </c:pt>
                <c:pt idx="69">
                  <c:v>0.39215686274509803</c:v>
                </c:pt>
                <c:pt idx="70">
                  <c:v>0.3763440860215054</c:v>
                </c:pt>
                <c:pt idx="71">
                  <c:v>0.4470588235294118</c:v>
                </c:pt>
                <c:pt idx="72">
                  <c:v>0.42045454545454547</c:v>
                </c:pt>
                <c:pt idx="73">
                  <c:v>0.45714285714285713</c:v>
                </c:pt>
                <c:pt idx="74">
                  <c:v>0.358974358974359</c:v>
                </c:pt>
                <c:pt idx="75">
                  <c:v>0.3793103448275862</c:v>
                </c:pt>
                <c:pt idx="76">
                  <c:v>0.46153846153846156</c:v>
                </c:pt>
                <c:pt idx="77">
                  <c:v>0.4444444444444444</c:v>
                </c:pt>
                <c:pt idx="78">
                  <c:v>0.41025641025641024</c:v>
                </c:pt>
                <c:pt idx="79">
                  <c:v>0.42105263157894735</c:v>
                </c:pt>
                <c:pt idx="80">
                  <c:v>0.46153846153846156</c:v>
                </c:pt>
                <c:pt idx="81">
                  <c:v>0.43902439024390244</c:v>
                </c:pt>
                <c:pt idx="82">
                  <c:v>0.42424242424242425</c:v>
                </c:pt>
                <c:pt idx="83">
                  <c:v>0.5217391304347826</c:v>
                </c:pt>
                <c:pt idx="84">
                  <c:v>0.5</c:v>
                </c:pt>
                <c:pt idx="85">
                  <c:v>0.375</c:v>
                </c:pt>
                <c:pt idx="86">
                  <c:v>0.3548387096774194</c:v>
                </c:pt>
                <c:pt idx="87">
                  <c:v>0.37037037037037035</c:v>
                </c:pt>
                <c:pt idx="88">
                  <c:v>0.45454545454545453</c:v>
                </c:pt>
                <c:pt idx="89">
                  <c:v>0.4</c:v>
                </c:pt>
                <c:pt idx="90">
                  <c:v>0.3157894736842105</c:v>
                </c:pt>
                <c:pt idx="91">
                  <c:v>0.375</c:v>
                </c:pt>
                <c:pt idx="92">
                  <c:v>0.22413793103448276</c:v>
                </c:pt>
                <c:pt idx="93">
                  <c:v>0.19791666666666666</c:v>
                </c:pt>
                <c:pt idx="94">
                  <c:v>0.28</c:v>
                </c:pt>
                <c:pt idx="95">
                  <c:v>0.3119266055045872</c:v>
                </c:pt>
                <c:pt idx="96">
                  <c:v>0.4098360655737705</c:v>
                </c:pt>
                <c:pt idx="97">
                  <c:v>0.43414634146341463</c:v>
                </c:pt>
                <c:pt idx="98">
                  <c:v>0.46153846153846156</c:v>
                </c:pt>
                <c:pt idx="99">
                  <c:v>0.44594594594594594</c:v>
                </c:pt>
                <c:pt idx="100">
                  <c:v>0.5416666666666666</c:v>
                </c:pt>
                <c:pt idx="101">
                  <c:v>0.5</c:v>
                </c:pt>
                <c:pt idx="102">
                  <c:v>0.4772727272727273</c:v>
                </c:pt>
                <c:pt idx="103">
                  <c:v>0.4411764705882353</c:v>
                </c:pt>
                <c:pt idx="104">
                  <c:v>0.5142857142857142</c:v>
                </c:pt>
                <c:pt idx="105">
                  <c:v>0.5151515151515151</c:v>
                </c:pt>
                <c:pt idx="106">
                  <c:v>0.5454545454545454</c:v>
                </c:pt>
                <c:pt idx="107">
                  <c:v>0.5</c:v>
                </c:pt>
                <c:pt idx="108">
                  <c:v>0.4444444444444444</c:v>
                </c:pt>
                <c:pt idx="109">
                  <c:v>0.45</c:v>
                </c:pt>
                <c:pt idx="110">
                  <c:v>0.36585365853658536</c:v>
                </c:pt>
                <c:pt idx="111">
                  <c:v>0.4166666666666667</c:v>
                </c:pt>
                <c:pt idx="112">
                  <c:v>0.5111111111111111</c:v>
                </c:pt>
                <c:pt idx="113">
                  <c:v>0.5079365079365079</c:v>
                </c:pt>
              </c:numCache>
            </c:numRef>
          </c:yVal>
          <c:smooth val="0"/>
          <c:extLst>
            <c:ext xmlns:c16="http://schemas.microsoft.com/office/drawing/2014/chart" uri="{C3380CC4-5D6E-409C-BE32-E72D297353CC}">
              <c16:uniqueId val="{00000000-096C-4121-9522-6AB7243CCAAE}"/>
            </c:ext>
          </c:extLst>
        </c:ser>
        <c:ser>
          <c:idx val="1"/>
          <c:order val="1"/>
          <c:tx>
            <c:strRef>
              <c:f>Sheet1!$B$1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8:$A$138</c:f>
              <c:numCache>
                <c:formatCode>General</c:formatCode>
                <c:ptCount val="21"/>
                <c:pt idx="0">
                  <c:v>3.4298577741982266</c:v>
                </c:pt>
                <c:pt idx="1">
                  <c:v>1.7073699999999998</c:v>
                </c:pt>
                <c:pt idx="2">
                  <c:v>3.1646582333716906</c:v>
                </c:pt>
                <c:pt idx="3">
                  <c:v>2.0173049903987175</c:v>
                </c:pt>
                <c:pt idx="4">
                  <c:v>1.4008246874999999</c:v>
                </c:pt>
                <c:pt idx="5">
                  <c:v>1.4372027692307692</c:v>
                </c:pt>
                <c:pt idx="6">
                  <c:v>1.7396826691380909</c:v>
                </c:pt>
                <c:pt idx="7">
                  <c:v>1.5429051369863014</c:v>
                </c:pt>
                <c:pt idx="8">
                  <c:v>0.94437125</c:v>
                </c:pt>
                <c:pt idx="9">
                  <c:v>1.4461302325581396</c:v>
                </c:pt>
                <c:pt idx="10">
                  <c:v>1.931158724202627</c:v>
                </c:pt>
                <c:pt idx="11">
                  <c:v>1.2247604534005037</c:v>
                </c:pt>
                <c:pt idx="12">
                  <c:v>2.8119321212121213</c:v>
                </c:pt>
                <c:pt idx="13">
                  <c:v>1.3479082706766916</c:v>
                </c:pt>
                <c:pt idx="14">
                  <c:v>1.8442092936802974</c:v>
                </c:pt>
                <c:pt idx="15">
                  <c:v>1.749185667752443</c:v>
                </c:pt>
                <c:pt idx="16">
                  <c:v>6.725070344827587</c:v>
                </c:pt>
                <c:pt idx="17">
                  <c:v>3.401513442622951</c:v>
                </c:pt>
                <c:pt idx="18">
                  <c:v>5.712868235294118</c:v>
                </c:pt>
                <c:pt idx="19">
                  <c:v>1.39158453373768</c:v>
                </c:pt>
                <c:pt idx="20">
                  <c:v>1.5434361486486488</c:v>
                </c:pt>
              </c:numCache>
            </c:numRef>
          </c:xVal>
          <c:yVal>
            <c:numRef>
              <c:f>Sheet1!$B$118:$B$138</c:f>
              <c:numCache>
                <c:formatCode>General</c:formatCode>
                <c:ptCount val="21"/>
                <c:pt idx="0">
                  <c:v>0.4251968503937008</c:v>
                </c:pt>
                <c:pt idx="1">
                  <c:v>0.4811320754716981</c:v>
                </c:pt>
                <c:pt idx="2">
                  <c:v>0.47368421052631576</c:v>
                </c:pt>
                <c:pt idx="3">
                  <c:v>0.4485294117647059</c:v>
                </c:pt>
                <c:pt idx="4">
                  <c:v>0.5106382978723404</c:v>
                </c:pt>
                <c:pt idx="5">
                  <c:v>0.46218487394957986</c:v>
                </c:pt>
                <c:pt idx="6">
                  <c:v>0.5037037037037037</c:v>
                </c:pt>
                <c:pt idx="7">
                  <c:v>0.4953271028037383</c:v>
                </c:pt>
                <c:pt idx="8">
                  <c:v>0.5181818181818182</c:v>
                </c:pt>
                <c:pt idx="9">
                  <c:v>0.4507042253521127</c:v>
                </c:pt>
                <c:pt idx="10">
                  <c:v>0.46987951807228917</c:v>
                </c:pt>
                <c:pt idx="11">
                  <c:v>0.45789473684210524</c:v>
                </c:pt>
                <c:pt idx="12">
                  <c:v>0.39751552795031053</c:v>
                </c:pt>
                <c:pt idx="13">
                  <c:v>0.4140127388535032</c:v>
                </c:pt>
                <c:pt idx="14">
                  <c:v>0.436241610738255</c:v>
                </c:pt>
                <c:pt idx="15">
                  <c:v>0.4421052631578947</c:v>
                </c:pt>
                <c:pt idx="16">
                  <c:v>0.4625</c:v>
                </c:pt>
                <c:pt idx="17">
                  <c:v>0.40625</c:v>
                </c:pt>
                <c:pt idx="18">
                  <c:v>0.47058823529411764</c:v>
                </c:pt>
                <c:pt idx="19">
                  <c:v>0.48148148148148145</c:v>
                </c:pt>
                <c:pt idx="20">
                  <c:v>0.4772727272727273</c:v>
                </c:pt>
              </c:numCache>
            </c:numRef>
          </c:yVal>
          <c:smooth val="0"/>
          <c:extLst>
            <c:ext xmlns:c16="http://schemas.microsoft.com/office/drawing/2014/chart" uri="{C3380CC4-5D6E-409C-BE32-E72D297353CC}">
              <c16:uniqueId val="{00000002-096C-4121-9522-6AB7243CCAAE}"/>
            </c:ext>
          </c:extLst>
        </c:ser>
        <c:ser>
          <c:idx val="2"/>
          <c:order val="2"/>
          <c:tx>
            <c:strRef>
              <c:f>Sheet1!$B$1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1:$A$142</c:f>
              <c:numCache>
                <c:formatCode>General</c:formatCode>
                <c:ptCount val="2"/>
                <c:pt idx="0">
                  <c:v>0</c:v>
                </c:pt>
                <c:pt idx="1">
                  <c:v>-4.379581796182687</c:v>
                </c:pt>
              </c:numCache>
            </c:numRef>
          </c:xVal>
          <c:yVal>
            <c:numRef>
              <c:f>Sheet1!$B$141:$B$142</c:f>
              <c:numCache>
                <c:formatCode>General</c:formatCode>
                <c:ptCount val="2"/>
                <c:pt idx="0">
                  <c:v>0.4944504569504569</c:v>
                </c:pt>
                <c:pt idx="1">
                  <c:v>0.4944504569504569</c:v>
                </c:pt>
              </c:numCache>
            </c:numRef>
          </c:yVal>
          <c:smooth val="0"/>
          <c:extLst>
            <c:ext xmlns:c16="http://schemas.microsoft.com/office/drawing/2014/chart" uri="{C3380CC4-5D6E-409C-BE32-E72D297353CC}">
              <c16:uniqueId val="{00000005-096C-4121-9522-6AB7243CCAAE}"/>
            </c:ext>
          </c:extLst>
        </c:ser>
        <c:ser>
          <c:idx val="3"/>
          <c:order val="3"/>
          <c:tx>
            <c:strRef>
              <c:f>Sheet1!$B$1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5:$A$146</c:f>
              <c:numCache>
                <c:formatCode>General</c:formatCode>
                <c:ptCount val="2"/>
                <c:pt idx="0">
                  <c:v>-4.379581796182687</c:v>
                </c:pt>
                <c:pt idx="1">
                  <c:v>-4.379581796182687</c:v>
                </c:pt>
              </c:numCache>
            </c:numRef>
          </c:xVal>
          <c:yVal>
            <c:numRef>
              <c:f>Sheet1!$B$145:$B$146</c:f>
              <c:numCache>
                <c:formatCode>General</c:formatCode>
                <c:ptCount val="2"/>
                <c:pt idx="0">
                  <c:v>0.49445045695045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9:$A$150</c:f>
              <c:numCache>
                <c:formatCode>General</c:formatCode>
                <c:ptCount val="2"/>
                <c:pt idx="0">
                  <c:v>0</c:v>
                </c:pt>
                <c:pt idx="1">
                  <c:v>-4.379581796182687</c:v>
                </c:pt>
              </c:numCache>
            </c:numRef>
          </c:xVal>
          <c:yVal>
            <c:numRef>
              <c:f>Sheet1!$B$149:$B$150</c:f>
              <c:numCache>
                <c:formatCode>General</c:formatCode>
                <c:ptCount val="2"/>
                <c:pt idx="0">
                  <c:v>0.4944504569504569</c:v>
                </c:pt>
                <c:pt idx="1">
                  <c:v>0.4944504569504569</c:v>
                </c:pt>
              </c:numCache>
            </c:numRef>
          </c:yVal>
          <c:smooth val="0"/>
          <c:extLst>
            <c:ext xmlns:c16="http://schemas.microsoft.com/office/drawing/2014/chart" uri="{C3380CC4-5D6E-409C-BE32-E72D297353CC}">
              <c16:uniqueId val="{0000000D-096C-4121-9522-6AB7243CCAAE}"/>
            </c:ext>
          </c:extLst>
        </c:ser>
        <c:ser>
          <c:idx val="5"/>
          <c:order val="5"/>
          <c:tx>
            <c:strRef>
              <c:f>Sheet1!$B$15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4.379581796182687</c:v>
                </c:pt>
                <c:pt idx="1">
                  <c:v>-4.379581796182687</c:v>
                </c:pt>
              </c:numCache>
            </c:numRef>
          </c:xVal>
          <c:yVal>
            <c:numRef>
              <c:f>Sheet1!$B$153:$B$154</c:f>
              <c:numCache>
                <c:formatCode>General</c:formatCode>
                <c:ptCount val="2"/>
                <c:pt idx="0">
                  <c:v>0.494450456950456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7:$A$158</c:f>
              <c:numCache>
                <c:formatCode>General</c:formatCode>
                <c:ptCount val="2"/>
                <c:pt idx="0">
                  <c:v>0</c:v>
                </c:pt>
                <c:pt idx="1">
                  <c:v>2.5390770111572083</c:v>
                </c:pt>
              </c:numCache>
            </c:numRef>
          </c:xVal>
          <c:yVal>
            <c:numRef>
              <c:f>Sheet1!$B$157:$B$158</c:f>
              <c:numCache>
                <c:formatCode>General</c:formatCode>
                <c:ptCount val="2"/>
                <c:pt idx="0">
                  <c:v>0.46005369216751335</c:v>
                </c:pt>
                <c:pt idx="1">
                  <c:v>0.46005369216751335</c:v>
                </c:pt>
              </c:numCache>
            </c:numRef>
          </c:yVal>
          <c:smooth val="0"/>
          <c:extLst>
            <c:ext xmlns:c16="http://schemas.microsoft.com/office/drawing/2014/chart" uri="{C3380CC4-5D6E-409C-BE32-E72D297353CC}">
              <c16:uniqueId val="{00000015-096C-4121-9522-6AB7243CCAAE}"/>
            </c:ext>
          </c:extLst>
        </c:ser>
        <c:ser>
          <c:idx val="7"/>
          <c:order val="7"/>
          <c:tx>
            <c:strRef>
              <c:f>Sheet1!$B$16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2.5390770111572083</c:v>
                </c:pt>
                <c:pt idx="1">
                  <c:v>2.5390770111572083</c:v>
                </c:pt>
              </c:numCache>
            </c:numRef>
          </c:xVal>
          <c:yVal>
            <c:numRef>
              <c:f>Sheet1!$B$161:$B$162</c:f>
              <c:numCache>
                <c:formatCode>General</c:formatCode>
                <c:ptCount val="2"/>
                <c:pt idx="0">
                  <c:v>0.460053692167513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5:$A$188</c:f>
              <c:numCache>
                <c:formatCode>General</c:formatCode>
                <c:ptCount val="24"/>
                <c:pt idx="0">
                  <c:v>3.4298577741982266</c:v>
                </c:pt>
                <c:pt idx="1">
                  <c:v>1.7073699999999998</c:v>
                </c:pt>
                <c:pt idx="2">
                  <c:v>3.1646582333716906</c:v>
                </c:pt>
                <c:pt idx="3">
                  <c:v>2.0173049903987175</c:v>
                </c:pt>
                <c:pt idx="4">
                  <c:v>1.4008246874999999</c:v>
                </c:pt>
                <c:pt idx="5">
                  <c:v>1.4372027692307692</c:v>
                </c:pt>
                <c:pt idx="6">
                  <c:v>1.7396826691380909</c:v>
                </c:pt>
                <c:pt idx="7">
                  <c:v>1.5429051369863014</c:v>
                </c:pt>
                <c:pt idx="8">
                  <c:v>0.94437125</c:v>
                </c:pt>
                <c:pt idx="9">
                  <c:v>1.4461302325581396</c:v>
                </c:pt>
                <c:pt idx="10">
                  <c:v>1.931158724202627</c:v>
                </c:pt>
                <c:pt idx="11">
                  <c:v>1.2247604534005037</c:v>
                </c:pt>
                <c:pt idx="12">
                  <c:v>2.8119321212121213</c:v>
                </c:pt>
                <c:pt idx="13">
                  <c:v>1.3479082706766916</c:v>
                </c:pt>
                <c:pt idx="14">
                  <c:v>1.8442092936802974</c:v>
                </c:pt>
                <c:pt idx="15">
                  <c:v>1.749185667752443</c:v>
                </c:pt>
                <c:pt idx="16">
                  <c:v>6.725070344827587</c:v>
                </c:pt>
                <c:pt idx="17">
                  <c:v>3.401513442622951</c:v>
                </c:pt>
                <c:pt idx="18">
                  <c:v>5.712868235294118</c:v>
                </c:pt>
                <c:pt idx="19">
                  <c:v>1.39158453373768</c:v>
                </c:pt>
                <c:pt idx="20">
                  <c:v>1.5434361486486488</c:v>
                </c:pt>
                <c:pt idx="21">
                  <c:v>-4.379581796182687</c:v>
                </c:pt>
                <c:pt idx="22">
                  <c:v>-4.379581796182687</c:v>
                </c:pt>
                <c:pt idx="23">
                  <c:v>2.5390770111572083</c:v>
                </c:pt>
              </c:numCache>
            </c:numRef>
          </c:xVal>
          <c:yVal>
            <c:numRef>
              <c:f>Sheet1!$B$165:$B$188</c:f>
              <c:numCache>
                <c:formatCode>General</c:formatCode>
                <c:ptCount val="24"/>
                <c:pt idx="0">
                  <c:v>0.4556250915914902</c:v>
                </c:pt>
                <c:pt idx="1">
                  <c:v>0.46418860201459955</c:v>
                </c:pt>
                <c:pt idx="2">
                  <c:v>0.4569435561205804</c:v>
                </c:pt>
                <c:pt idx="3">
                  <c:v>0.46264773097880885</c:v>
                </c:pt>
                <c:pt idx="4">
                  <c:v>0.46571262094702476</c:v>
                </c:pt>
                <c:pt idx="5">
                  <c:v>0.4655317638827596</c:v>
                </c:pt>
                <c:pt idx="6">
                  <c:v>0.46402795653246176</c:v>
                </c:pt>
                <c:pt idx="7">
                  <c:v>0.465006254592313</c:v>
                </c:pt>
                <c:pt idx="8">
                  <c:v>0.4679819222612328</c:v>
                </c:pt>
                <c:pt idx="9">
                  <c:v>0.46548738015684815</c:v>
                </c:pt>
                <c:pt idx="10">
                  <c:v>0.46307601526595016</c:v>
                </c:pt>
                <c:pt idx="11">
                  <c:v>0.4665879408920674</c:v>
                </c:pt>
                <c:pt idx="12">
                  <c:v>0.4586971672539815</c:v>
                </c:pt>
                <c:pt idx="13">
                  <c:v>0.4659756999039892</c:v>
                </c:pt>
                <c:pt idx="14">
                  <c:v>0.4635082925602886</c:v>
                </c:pt>
                <c:pt idx="15">
                  <c:v>0.4639807114785904</c:v>
                </c:pt>
                <c:pt idx="16">
                  <c:v>0.43924263151389664</c:v>
                </c:pt>
                <c:pt idx="17">
                  <c:v>0.45576600810916706</c:v>
                </c:pt>
                <c:pt idx="18">
                  <c:v>0.4442748897656673</c:v>
                </c:pt>
                <c:pt idx="19">
                  <c:v>0.4657585592429245</c:v>
                </c:pt>
                <c:pt idx="20">
                  <c:v>0.46500361461775214</c:v>
                </c:pt>
                <c:pt idx="21">
                  <c:v>0.4944504569504569</c:v>
                </c:pt>
                <c:pt idx="22">
                  <c:v>0.4944504569504569</c:v>
                </c:pt>
                <c:pt idx="23">
                  <c:v>0.460053692167513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45454545454544"/>
          <c:min val="0.117277486910994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354.2763</c:v>
                </c:pt>
                <c:pt idx="1">
                  <c:v>342.4583</c:v>
                </c:pt>
                <c:pt idx="2">
                  <c:v>356.2165</c:v>
                </c:pt>
                <c:pt idx="3">
                  <c:v>362.6395</c:v>
                </c:pt>
                <c:pt idx="4">
                  <c:v>323.0435</c:v>
                </c:pt>
                <c:pt idx="5">
                  <c:v>329.099</c:v>
                </c:pt>
                <c:pt idx="6">
                  <c:v>338.1481</c:v>
                </c:pt>
                <c:pt idx="7">
                  <c:v>338.0392</c:v>
                </c:pt>
                <c:pt idx="8">
                  <c:v>325.7723</c:v>
                </c:pt>
                <c:pt idx="9">
                  <c:v>339.9397</c:v>
                </c:pt>
                <c:pt idx="10">
                  <c:v>376.6167</c:v>
                </c:pt>
                <c:pt idx="11">
                  <c:v>378.1148</c:v>
                </c:pt>
                <c:pt idx="12">
                  <c:v>355.3689</c:v>
                </c:pt>
                <c:pt idx="13">
                  <c:v>322.5517</c:v>
                </c:pt>
                <c:pt idx="14">
                  <c:v>344.5983</c:v>
                </c:pt>
                <c:pt idx="15">
                  <c:v>370.3708</c:v>
                </c:pt>
                <c:pt idx="16">
                  <c:v>373.0441</c:v>
                </c:pt>
                <c:pt idx="17">
                  <c:v>375.8868</c:v>
                </c:pt>
                <c:pt idx="18">
                  <c:v>343.6721</c:v>
                </c:pt>
                <c:pt idx="19">
                  <c:v>390.5385</c:v>
                </c:pt>
                <c:pt idx="20">
                  <c:v>379.1316</c:v>
                </c:pt>
                <c:pt idx="21">
                  <c:v>353.7805</c:v>
                </c:pt>
                <c:pt idx="22">
                  <c:v>382.9231</c:v>
                </c:pt>
                <c:pt idx="23">
                  <c:v>352.7143</c:v>
                </c:pt>
                <c:pt idx="24">
                  <c:v>369.8718</c:v>
                </c:pt>
                <c:pt idx="25">
                  <c:v>397.4815</c:v>
                </c:pt>
                <c:pt idx="26">
                  <c:v>413.0556</c:v>
                </c:pt>
                <c:pt idx="27">
                  <c:v>361.1818</c:v>
                </c:pt>
                <c:pt idx="28">
                  <c:v>386.3846</c:v>
                </c:pt>
                <c:pt idx="29">
                  <c:v>389.9444</c:v>
                </c:pt>
                <c:pt idx="30">
                  <c:v>399.6</c:v>
                </c:pt>
                <c:pt idx="31">
                  <c:v>363.5238</c:v>
                </c:pt>
                <c:pt idx="32">
                  <c:v>381.9667</c:v>
                </c:pt>
                <c:pt idx="33">
                  <c:v>363.7391</c:v>
                </c:pt>
                <c:pt idx="34">
                  <c:v>380.375</c:v>
                </c:pt>
                <c:pt idx="35">
                  <c:v>379.9091</c:v>
                </c:pt>
                <c:pt idx="36">
                  <c:v>387.5238</c:v>
                </c:pt>
                <c:pt idx="37">
                  <c:v>362.5789</c:v>
                </c:pt>
                <c:pt idx="38">
                  <c:v>363.619</c:v>
                </c:pt>
                <c:pt idx="39">
                  <c:v>381.0588</c:v>
                </c:pt>
                <c:pt idx="40">
                  <c:v>344.4118</c:v>
                </c:pt>
                <c:pt idx="41">
                  <c:v>331.8846</c:v>
                </c:pt>
                <c:pt idx="42">
                  <c:v>384.55</c:v>
                </c:pt>
                <c:pt idx="43">
                  <c:v>404.963</c:v>
                </c:pt>
                <c:pt idx="44">
                  <c:v>370.7143</c:v>
                </c:pt>
                <c:pt idx="45">
                  <c:v>342.5424</c:v>
                </c:pt>
                <c:pt idx="46">
                  <c:v>358.3774</c:v>
                </c:pt>
                <c:pt idx="47">
                  <c:v>378.5469</c:v>
                </c:pt>
                <c:pt idx="48">
                  <c:v>366.7523</c:v>
                </c:pt>
                <c:pt idx="49">
                  <c:v>353.0068</c:v>
                </c:pt>
                <c:pt idx="50">
                  <c:v>379.9091</c:v>
                </c:pt>
                <c:pt idx="51">
                  <c:v>401.75</c:v>
                </c:pt>
                <c:pt idx="52">
                  <c:v>383.3294</c:v>
                </c:pt>
                <c:pt idx="53">
                  <c:v>388.1463</c:v>
                </c:pt>
                <c:pt idx="54">
                  <c:v>393.7576</c:v>
                </c:pt>
                <c:pt idx="55">
                  <c:v>362.8356</c:v>
                </c:pt>
                <c:pt idx="56">
                  <c:v>335.3171</c:v>
                </c:pt>
                <c:pt idx="57">
                  <c:v>277.4609</c:v>
                </c:pt>
                <c:pt idx="58">
                  <c:v>352.1456</c:v>
                </c:pt>
                <c:pt idx="59">
                  <c:v>371.7184</c:v>
                </c:pt>
                <c:pt idx="60">
                  <c:v>355.0268</c:v>
                </c:pt>
                <c:pt idx="61">
                  <c:v>398.5505</c:v>
                </c:pt>
                <c:pt idx="62">
                  <c:v>413.8019</c:v>
                </c:pt>
                <c:pt idx="63">
                  <c:v>430.513</c:v>
                </c:pt>
                <c:pt idx="64">
                  <c:v>427.4507</c:v>
                </c:pt>
                <c:pt idx="65">
                  <c:v>420.7797</c:v>
                </c:pt>
                <c:pt idx="66">
                  <c:v>417.1028</c:v>
                </c:pt>
                <c:pt idx="67">
                  <c:v>423.9</c:v>
                </c:pt>
                <c:pt idx="68">
                  <c:v>437.1127</c:v>
                </c:pt>
                <c:pt idx="69">
                  <c:v>478.075</c:v>
                </c:pt>
                <c:pt idx="70">
                  <c:v>446.8857</c:v>
                </c:pt>
                <c:pt idx="71">
                  <c:v>442.3947</c:v>
                </c:pt>
                <c:pt idx="72">
                  <c:v>478.2432</c:v>
                </c:pt>
                <c:pt idx="73">
                  <c:v>478.0625</c:v>
                </c:pt>
                <c:pt idx="74">
                  <c:v>481.8571</c:v>
                </c:pt>
                <c:pt idx="75">
                  <c:v>501.7273</c:v>
                </c:pt>
                <c:pt idx="76">
                  <c:v>439.1667</c:v>
                </c:pt>
                <c:pt idx="77">
                  <c:v>475.85</c:v>
                </c:pt>
                <c:pt idx="78">
                  <c:v>445.4375</c:v>
                </c:pt>
                <c:pt idx="79">
                  <c:v>465.6875</c:v>
                </c:pt>
                <c:pt idx="80">
                  <c:v>472.1667</c:v>
                </c:pt>
                <c:pt idx="81">
                  <c:v>344.2222</c:v>
                </c:pt>
                <c:pt idx="82">
                  <c:v>468.7143</c:v>
                </c:pt>
                <c:pt idx="83">
                  <c:v>379.0</c:v>
                </c:pt>
                <c:pt idx="84">
                  <c:v>433.7143</c:v>
                </c:pt>
                <c:pt idx="85">
                  <c:v>453.0</c:v>
                </c:pt>
                <c:pt idx="86">
                  <c:v>514.5455</c:v>
                </c:pt>
                <c:pt idx="87">
                  <c:v>406.7</c:v>
                </c:pt>
                <c:pt idx="88">
                  <c:v>390.5</c:v>
                </c:pt>
                <c:pt idx="89">
                  <c:v>437.0</c:v>
                </c:pt>
                <c:pt idx="90">
                  <c:v>489.8333</c:v>
                </c:pt>
                <c:pt idx="91">
                  <c:v>483.8889</c:v>
                </c:pt>
                <c:pt idx="92">
                  <c:v>520.7692</c:v>
                </c:pt>
                <c:pt idx="93">
                  <c:v>516.2632</c:v>
                </c:pt>
                <c:pt idx="94">
                  <c:v>454.6429</c:v>
                </c:pt>
                <c:pt idx="95">
                  <c:v>442.0294</c:v>
                </c:pt>
                <c:pt idx="96">
                  <c:v>475.4</c:v>
                </c:pt>
                <c:pt idx="97">
                  <c:v>432.2472</c:v>
                </c:pt>
                <c:pt idx="98">
                  <c:v>468.0926</c:v>
                </c:pt>
                <c:pt idx="99">
                  <c:v>496.3333</c:v>
                </c:pt>
                <c:pt idx="100">
                  <c:v>317.8</c:v>
                </c:pt>
                <c:pt idx="101">
                  <c:v>409.551</c:v>
                </c:pt>
              </c:numCache>
            </c:numRef>
          </c:xVal>
          <c:yVal>
            <c:numRef>
              <c:f>Sheet1!$B$2:$B$103</c:f>
              <c:numCache>
                <c:formatCode>General</c:formatCode>
                <c:ptCount val="102"/>
                <c:pt idx="0">
                  <c:v>0.3781094527363184</c:v>
                </c:pt>
                <c:pt idx="1">
                  <c:v>0.41201716738197425</c:v>
                </c:pt>
                <c:pt idx="2">
                  <c:v>0.3991769547325103</c:v>
                </c:pt>
                <c:pt idx="3">
                  <c:v>0.4236453201970443</c:v>
                </c:pt>
                <c:pt idx="4">
                  <c:v>0.4742268041237113</c:v>
                </c:pt>
                <c:pt idx="5">
                  <c:v>0.51010101010101</c:v>
                </c:pt>
                <c:pt idx="6">
                  <c:v>0.47577092511013214</c:v>
                </c:pt>
                <c:pt idx="7">
                  <c:v>0.4533333333333333</c:v>
                </c:pt>
                <c:pt idx="8">
                  <c:v>0.42083333333333334</c:v>
                </c:pt>
                <c:pt idx="9">
                  <c:v>0.43283582089552236</c:v>
                </c:pt>
                <c:pt idx="10">
                  <c:v>0.4195804195804196</c:v>
                </c:pt>
                <c:pt idx="11">
                  <c:v>0.3674698795180723</c:v>
                </c:pt>
                <c:pt idx="12">
                  <c:v>0.3696969696969697</c:v>
                </c:pt>
                <c:pt idx="13">
                  <c:v>0.42028985507246375</c:v>
                </c:pt>
                <c:pt idx="14">
                  <c:v>0.34411764705882353</c:v>
                </c:pt>
                <c:pt idx="15">
                  <c:v>0.3545816733067729</c:v>
                </c:pt>
                <c:pt idx="16">
                  <c:v>0.35233160621761656</c:v>
                </c:pt>
                <c:pt idx="17">
                  <c:v>0.3212121212121212</c:v>
                </c:pt>
                <c:pt idx="18">
                  <c:v>0.23828125</c:v>
                </c:pt>
                <c:pt idx="19">
                  <c:v>0.2422360248447205</c:v>
                </c:pt>
                <c:pt idx="20">
                  <c:v>0.2638888888888889</c:v>
                </c:pt>
                <c:pt idx="21">
                  <c:v>0.33884297520661155</c:v>
                </c:pt>
                <c:pt idx="22">
                  <c:v>0.2846715328467153</c:v>
                </c:pt>
                <c:pt idx="23">
                  <c:v>0.14659685863874344</c:v>
                </c:pt>
                <c:pt idx="24">
                  <c:v>0.325</c:v>
                </c:pt>
                <c:pt idx="25">
                  <c:v>0.2872340425531915</c:v>
                </c:pt>
                <c:pt idx="26">
                  <c:v>0.3</c:v>
                </c:pt>
                <c:pt idx="27">
                  <c:v>0.4714285714285714</c:v>
                </c:pt>
                <c:pt idx="28">
                  <c:v>0.4482758620689655</c:v>
                </c:pt>
                <c:pt idx="29">
                  <c:v>0.391304347826087</c:v>
                </c:pt>
                <c:pt idx="30">
                  <c:v>0.46875</c:v>
                </c:pt>
                <c:pt idx="31">
                  <c:v>0.4772727272727273</c:v>
                </c:pt>
                <c:pt idx="32">
                  <c:v>0.5454545454545454</c:v>
                </c:pt>
                <c:pt idx="33">
                  <c:v>0.40350877192982454</c:v>
                </c:pt>
                <c:pt idx="34">
                  <c:v>0.42105263157894735</c:v>
                </c:pt>
                <c:pt idx="35">
                  <c:v>0.4782608695652174</c:v>
                </c:pt>
                <c:pt idx="36">
                  <c:v>0.44680851063829785</c:v>
                </c:pt>
                <c:pt idx="37">
                  <c:v>0.4222222222222222</c:v>
                </c:pt>
                <c:pt idx="38">
                  <c:v>0.4666666666666667</c:v>
                </c:pt>
                <c:pt idx="39">
                  <c:v>0.4473684210526316</c:v>
                </c:pt>
                <c:pt idx="40">
                  <c:v>0.4358974358974359</c:v>
                </c:pt>
                <c:pt idx="41">
                  <c:v>0.48148148148148145</c:v>
                </c:pt>
                <c:pt idx="42">
                  <c:v>0.43478260869565216</c:v>
                </c:pt>
                <c:pt idx="43">
                  <c:v>0.4090909090909091</c:v>
                </c:pt>
                <c:pt idx="44">
                  <c:v>0.4803921568627451</c:v>
                </c:pt>
                <c:pt idx="45">
                  <c:v>0.472</c:v>
                </c:pt>
                <c:pt idx="46">
                  <c:v>0.452991452991453</c:v>
                </c:pt>
                <c:pt idx="47">
                  <c:v>0.5039370078740157</c:v>
                </c:pt>
                <c:pt idx="48">
                  <c:v>0.49099099099099097</c:v>
                </c:pt>
                <c:pt idx="49">
                  <c:v>0.5017064846416383</c:v>
                </c:pt>
                <c:pt idx="50">
                  <c:v>0.4666666666666667</c:v>
                </c:pt>
                <c:pt idx="51">
                  <c:v>0.43410852713178294</c:v>
                </c:pt>
                <c:pt idx="52">
                  <c:v>0.49707602339181284</c:v>
                </c:pt>
                <c:pt idx="53">
                  <c:v>0.4939759036144578</c:v>
                </c:pt>
                <c:pt idx="54">
                  <c:v>0.4342105263157895</c:v>
                </c:pt>
                <c:pt idx="55">
                  <c:v>0.474025974025974</c:v>
                </c:pt>
                <c:pt idx="56">
                  <c:v>0.4880952380952381</c:v>
                </c:pt>
                <c:pt idx="57">
                  <c:v>0.5423728813559322</c:v>
                </c:pt>
                <c:pt idx="58">
                  <c:v>0.4858490566037736</c:v>
                </c:pt>
                <c:pt idx="59">
                  <c:v>0.4715447154471545</c:v>
                </c:pt>
                <c:pt idx="60">
                  <c:v>0.4257142857142857</c:v>
                </c:pt>
                <c:pt idx="61">
                  <c:v>0.40671641791044777</c:v>
                </c:pt>
                <c:pt idx="62">
                  <c:v>0.40458015267175573</c:v>
                </c:pt>
                <c:pt idx="63">
                  <c:v>0.4624624624624625</c:v>
                </c:pt>
                <c:pt idx="64">
                  <c:v>0.44654088050314467</c:v>
                </c:pt>
                <c:pt idx="65">
                  <c:v>0.4097222222222222</c:v>
                </c:pt>
                <c:pt idx="66">
                  <c:v>0.4262948207171315</c:v>
                </c:pt>
                <c:pt idx="67">
                  <c:v>0.41237113402061853</c:v>
                </c:pt>
                <c:pt idx="68">
                  <c:v>0.4303030303030303</c:v>
                </c:pt>
                <c:pt idx="69">
                  <c:v>0.39215686274509803</c:v>
                </c:pt>
                <c:pt idx="70">
                  <c:v>0.3763440860215054</c:v>
                </c:pt>
                <c:pt idx="71">
                  <c:v>0.4470588235294118</c:v>
                </c:pt>
                <c:pt idx="72">
                  <c:v>0.42045454545454547</c:v>
                </c:pt>
                <c:pt idx="73">
                  <c:v>0.45714285714285713</c:v>
                </c:pt>
                <c:pt idx="74">
                  <c:v>0.358974358974359</c:v>
                </c:pt>
                <c:pt idx="75">
                  <c:v>0.3793103448275862</c:v>
                </c:pt>
                <c:pt idx="76">
                  <c:v>0.46153846153846156</c:v>
                </c:pt>
                <c:pt idx="77">
                  <c:v>0.4444444444444444</c:v>
                </c:pt>
                <c:pt idx="78">
                  <c:v>0.41025641025641024</c:v>
                </c:pt>
                <c:pt idx="79">
                  <c:v>0.42105263157894735</c:v>
                </c:pt>
                <c:pt idx="80">
                  <c:v>0.46153846153846156</c:v>
                </c:pt>
                <c:pt idx="81">
                  <c:v>0.43902439024390244</c:v>
                </c:pt>
                <c:pt idx="82">
                  <c:v>0.42424242424242425</c:v>
                </c:pt>
                <c:pt idx="83">
                  <c:v>0.5217391304347826</c:v>
                </c:pt>
                <c:pt idx="84">
                  <c:v>0.5</c:v>
                </c:pt>
                <c:pt idx="85">
                  <c:v>0.375</c:v>
                </c:pt>
                <c:pt idx="86">
                  <c:v>0.3548387096774194</c:v>
                </c:pt>
                <c:pt idx="87">
                  <c:v>0.37037037037037035</c:v>
                </c:pt>
                <c:pt idx="88">
                  <c:v>0.45454545454545453</c:v>
                </c:pt>
                <c:pt idx="89">
                  <c:v>0.4</c:v>
                </c:pt>
                <c:pt idx="90">
                  <c:v>0.3157894736842105</c:v>
                </c:pt>
                <c:pt idx="91">
                  <c:v>0.375</c:v>
                </c:pt>
                <c:pt idx="92">
                  <c:v>0.22413793103448276</c:v>
                </c:pt>
                <c:pt idx="93">
                  <c:v>0.19791666666666666</c:v>
                </c:pt>
                <c:pt idx="94">
                  <c:v>0.28</c:v>
                </c:pt>
                <c:pt idx="95">
                  <c:v>0.3119266055045872</c:v>
                </c:pt>
                <c:pt idx="96">
                  <c:v>0.4098360655737705</c:v>
                </c:pt>
                <c:pt idx="97">
                  <c:v>0.43414634146341463</c:v>
                </c:pt>
                <c:pt idx="98">
                  <c:v>0.46153846153846156</c:v>
                </c:pt>
                <c:pt idx="99">
                  <c:v>0.44594594594594594</c:v>
                </c:pt>
                <c:pt idx="100">
                  <c:v>0.5416666666666666</c:v>
                </c:pt>
                <c:pt idx="101">
                  <c:v>0.5</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38</c:f>
              <c:numCache>
                <c:formatCode>General</c:formatCode>
                <c:ptCount val="33"/>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537.8154</c:v>
                </c:pt>
                <c:pt idx="14">
                  <c:v>496.0923</c:v>
                </c:pt>
                <c:pt idx="15">
                  <c:v>537.0</c:v>
                </c:pt>
                <c:pt idx="16">
                  <c:v>487.5676</c:v>
                </c:pt>
                <c:pt idx="17">
                  <c:v>518.7308</c:v>
                </c:pt>
                <c:pt idx="18">
                  <c:v>485.5938</c:v>
                </c:pt>
                <c:pt idx="19">
                  <c:v>506.7619</c:v>
                </c:pt>
                <c:pt idx="20">
                  <c:v>496.5333</c:v>
                </c:pt>
                <c:pt idx="21">
                  <c:v>477.2222</c:v>
                </c:pt>
                <c:pt idx="22">
                  <c:v>469.1765</c:v>
                </c:pt>
                <c:pt idx="23">
                  <c:v>525.8333</c:v>
                </c:pt>
                <c:pt idx="24">
                  <c:v>496.7778</c:v>
                </c:pt>
                <c:pt idx="25">
                  <c:v>477.0833</c:v>
                </c:pt>
                <c:pt idx="26">
                  <c:v>423.6667</c:v>
                </c:pt>
                <c:pt idx="27">
                  <c:v>429.3333</c:v>
                </c:pt>
                <c:pt idx="28">
                  <c:v>480.1667</c:v>
                </c:pt>
                <c:pt idx="29">
                  <c:v>462.3043</c:v>
                </c:pt>
                <c:pt idx="30">
                  <c:v>465.2344</c:v>
                </c:pt>
                <c:pt idx="31">
                  <c:v>458.875</c:v>
                </c:pt>
                <c:pt idx="32">
                  <c:v>456.8571</c:v>
                </c:pt>
              </c:numCache>
            </c:numRef>
          </c:xVal>
          <c:yVal>
            <c:numRef>
              <c:f>Sheet1!$B$106:$B$138</c:f>
              <c:numCache>
                <c:formatCode>General</c:formatCode>
                <c:ptCount val="33"/>
                <c:pt idx="0">
                  <c:v>0.4251968503937008</c:v>
                </c:pt>
                <c:pt idx="1">
                  <c:v>0.4811320754716981</c:v>
                </c:pt>
                <c:pt idx="2">
                  <c:v>0.47368421052631576</c:v>
                </c:pt>
                <c:pt idx="3">
                  <c:v>0.4485294117647059</c:v>
                </c:pt>
                <c:pt idx="4">
                  <c:v>0.5106382978723404</c:v>
                </c:pt>
                <c:pt idx="5">
                  <c:v>0.46218487394957986</c:v>
                </c:pt>
                <c:pt idx="6">
                  <c:v>0.5037037037037037</c:v>
                </c:pt>
                <c:pt idx="7">
                  <c:v>0.4953271028037383</c:v>
                </c:pt>
                <c:pt idx="8">
                  <c:v>0.5181818181818182</c:v>
                </c:pt>
                <c:pt idx="9">
                  <c:v>0.4507042253521127</c:v>
                </c:pt>
                <c:pt idx="10">
                  <c:v>0.46987951807228917</c:v>
                </c:pt>
                <c:pt idx="11">
                  <c:v>0.45789473684210524</c:v>
                </c:pt>
                <c:pt idx="12">
                  <c:v>0.39751552795031053</c:v>
                </c:pt>
                <c:pt idx="13">
                  <c:v>0.4140127388535032</c:v>
                </c:pt>
                <c:pt idx="14">
                  <c:v>0.436241610738255</c:v>
                </c:pt>
                <c:pt idx="15">
                  <c:v>0.4421052631578947</c:v>
                </c:pt>
                <c:pt idx="16">
                  <c:v>0.4625</c:v>
                </c:pt>
                <c:pt idx="17">
                  <c:v>0.40625</c:v>
                </c:pt>
                <c:pt idx="18">
                  <c:v>0.47058823529411764</c:v>
                </c:pt>
                <c:pt idx="19">
                  <c:v>0.4772727272727273</c:v>
                </c:pt>
                <c:pt idx="20">
                  <c:v>0.4411764705882353</c:v>
                </c:pt>
                <c:pt idx="21">
                  <c:v>0.5142857142857142</c:v>
                </c:pt>
                <c:pt idx="22">
                  <c:v>0.5151515151515151</c:v>
                </c:pt>
                <c:pt idx="23">
                  <c:v>0.5454545454545454</c:v>
                </c:pt>
                <c:pt idx="24">
                  <c:v>0.5</c:v>
                </c:pt>
                <c:pt idx="25">
                  <c:v>0.4444444444444444</c:v>
                </c:pt>
                <c:pt idx="26">
                  <c:v>0.45</c:v>
                </c:pt>
                <c:pt idx="27">
                  <c:v>0.36585365853658536</c:v>
                </c:pt>
                <c:pt idx="28">
                  <c:v>0.4166666666666667</c:v>
                </c:pt>
                <c:pt idx="29">
                  <c:v>0.5111111111111111</c:v>
                </c:pt>
                <c:pt idx="30">
                  <c:v>0.5079365079365079</c:v>
                </c:pt>
                <c:pt idx="31">
                  <c:v>0.48148148148148145</c:v>
                </c:pt>
                <c:pt idx="32">
                  <c:v>0.4772727272727273</c:v>
                </c:pt>
              </c:numCache>
            </c:numRef>
          </c:yVal>
          <c:smooth val="0"/>
          <c:extLst>
            <c:ext xmlns:c16="http://schemas.microsoft.com/office/drawing/2014/chart" uri="{C3380CC4-5D6E-409C-BE32-E72D297353CC}">
              <c16:uniqueId val="{00000002-F32D-48B7-BC20-E66FC6253BAD}"/>
            </c:ext>
          </c:extLst>
        </c:ser>
        <c:ser>
          <c:idx val="2"/>
          <c:order val="2"/>
          <c:tx>
            <c:strRef>
              <c:f>Sheet1!$B$140</c:f>
              <c:strCache>
                <c:ptCount val="1"/>
                <c:pt idx="0">
                  <c:v>Custom Linep3yQ</c:v>
                </c:pt>
              </c:strCache>
            </c:strRef>
          </c:tx>
          <c:spPr>
            <a:ln w="19050" cap="rnd">
              <a:solidFill>
                <a:srgbClr val="C00000"/>
              </a:solidFill>
              <a:prstDash val="sysDot"/>
              <a:round/>
            </a:ln>
            <a:effectLst/>
          </c:spPr>
          <c:marker>
            <c:symbol val="none"/>
          </c:marker>
          <c:xVal>
            <c:numRef>
              <c:f>Sheet1!$A$141:$A$142</c:f>
              <c:numCache>
                <c:formatCode>General</c:formatCode>
                <c:ptCount val="2"/>
                <c:pt idx="0">
                  <c:v>0</c:v>
                </c:pt>
                <c:pt idx="1">
                  <c:v>103.24073139320068</c:v>
                </c:pt>
              </c:numCache>
            </c:numRef>
          </c:xVal>
          <c:yVal>
            <c:numRef>
              <c:f>Sheet1!$B$141:$B$142</c:f>
              <c:numCache>
                <c:formatCode>General</c:formatCode>
                <c:ptCount val="2"/>
                <c:pt idx="0">
                  <c:v>0.4944504569504569</c:v>
                </c:pt>
                <c:pt idx="1">
                  <c:v>0.4944504569504569</c:v>
                </c:pt>
              </c:numCache>
            </c:numRef>
          </c:yVal>
          <c:smooth val="0"/>
          <c:extLst>
            <c:ext xmlns:c16="http://schemas.microsoft.com/office/drawing/2014/chart" uri="{C3380CC4-5D6E-409C-BE32-E72D297353CC}">
              <c16:uniqueId val="{00000003-F32D-48B7-BC20-E66FC6253BAD}"/>
            </c:ext>
          </c:extLst>
        </c:ser>
        <c:ser>
          <c:idx val="3"/>
          <c:order val="3"/>
          <c:tx>
            <c:strRef>
              <c:f>Sheet1!$B$1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5:$A$146</c:f>
              <c:numCache>
                <c:formatCode>General</c:formatCode>
                <c:ptCount val="2"/>
                <c:pt idx="0">
                  <c:v>103.24073139320068</c:v>
                </c:pt>
                <c:pt idx="1">
                  <c:v>103.24073139320068</c:v>
                </c:pt>
              </c:numCache>
            </c:numRef>
          </c:xVal>
          <c:yVal>
            <c:numRef>
              <c:f>Sheet1!$B$145:$B$146</c:f>
              <c:numCache>
                <c:formatCode>General</c:formatCode>
                <c:ptCount val="2"/>
                <c:pt idx="0">
                  <c:v>0.49445045695045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9:$A$150</c:f>
              <c:numCache>
                <c:formatCode>General</c:formatCode>
                <c:ptCount val="2"/>
                <c:pt idx="0">
                  <c:v>0</c:v>
                </c:pt>
                <c:pt idx="1">
                  <c:v>103.24073139320068</c:v>
                </c:pt>
              </c:numCache>
            </c:numRef>
          </c:xVal>
          <c:yVal>
            <c:numRef>
              <c:f>Sheet1!$B$149:$B$150</c:f>
              <c:numCache>
                <c:formatCode>General</c:formatCode>
                <c:ptCount val="2"/>
                <c:pt idx="0">
                  <c:v>0.4944504569504569</c:v>
                </c:pt>
                <c:pt idx="1">
                  <c:v>0.4944504569504569</c:v>
                </c:pt>
              </c:numCache>
            </c:numRef>
          </c:yVal>
          <c:smooth val="0"/>
          <c:extLst>
            <c:ext xmlns:c16="http://schemas.microsoft.com/office/drawing/2014/chart" uri="{C3380CC4-5D6E-409C-BE32-E72D297353CC}">
              <c16:uniqueId val="{0000000A-F32D-48B7-BC20-E66FC6253BAD}"/>
            </c:ext>
          </c:extLst>
        </c:ser>
        <c:ser>
          <c:idx val="5"/>
          <c:order val="5"/>
          <c:tx>
            <c:strRef>
              <c:f>Sheet1!$B$15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103.24073139320068</c:v>
                </c:pt>
                <c:pt idx="1">
                  <c:v>103.24073139320068</c:v>
                </c:pt>
              </c:numCache>
            </c:numRef>
          </c:xVal>
          <c:yVal>
            <c:numRef>
              <c:f>Sheet1!$B$153:$B$154</c:f>
              <c:numCache>
                <c:formatCode>General</c:formatCode>
                <c:ptCount val="2"/>
                <c:pt idx="0">
                  <c:v>0.494450456950456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7:$A$158</c:f>
              <c:numCache>
                <c:formatCode>General</c:formatCode>
                <c:ptCount val="2"/>
                <c:pt idx="0">
                  <c:v>0</c:v>
                </c:pt>
                <c:pt idx="1">
                  <c:v>557.4820338531955</c:v>
                </c:pt>
              </c:numCache>
            </c:numRef>
          </c:xVal>
          <c:yVal>
            <c:numRef>
              <c:f>Sheet1!$B$157:$B$158</c:f>
              <c:numCache>
                <c:formatCode>General</c:formatCode>
                <c:ptCount val="2"/>
                <c:pt idx="0">
                  <c:v>0.46005369216751335</c:v>
                </c:pt>
                <c:pt idx="1">
                  <c:v>0.46005369216751335</c:v>
                </c:pt>
              </c:numCache>
            </c:numRef>
          </c:yVal>
          <c:smooth val="0"/>
          <c:extLst>
            <c:ext xmlns:c16="http://schemas.microsoft.com/office/drawing/2014/chart" uri="{C3380CC4-5D6E-409C-BE32-E72D297353CC}">
              <c16:uniqueId val="{00000011-F32D-48B7-BC20-E66FC6253BAD}"/>
            </c:ext>
          </c:extLst>
        </c:ser>
        <c:ser>
          <c:idx val="7"/>
          <c:order val="7"/>
          <c:tx>
            <c:strRef>
              <c:f>Sheet1!$B$16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557.4820338531955</c:v>
                </c:pt>
                <c:pt idx="1">
                  <c:v>557.4820338531955</c:v>
                </c:pt>
              </c:numCache>
            </c:numRef>
          </c:xVal>
          <c:yVal>
            <c:numRef>
              <c:f>Sheet1!$B$161:$B$162</c:f>
              <c:numCache>
                <c:formatCode>General</c:formatCode>
                <c:ptCount val="2"/>
                <c:pt idx="0">
                  <c:v>0.460053692167513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5:$A$200</c:f>
              <c:numCache>
                <c:formatCode>General</c:formatCode>
                <c:ptCount val="36"/>
                <c:pt idx="0">
                  <c:v>465.8889</c:v>
                </c:pt>
                <c:pt idx="1">
                  <c:v>495.1373</c:v>
                </c:pt>
                <c:pt idx="2">
                  <c:v>481.5556</c:v>
                </c:pt>
                <c:pt idx="3">
                  <c:v>471.377</c:v>
                </c:pt>
                <c:pt idx="4">
                  <c:v>448.2639</c:v>
                </c:pt>
                <c:pt idx="5">
                  <c:v>467.0909</c:v>
                </c:pt>
                <c:pt idx="6">
                  <c:v>469.2794</c:v>
                </c:pt>
                <c:pt idx="7">
                  <c:v>450.5283</c:v>
                </c:pt>
                <c:pt idx="8">
                  <c:v>453.2982</c:v>
                </c:pt>
                <c:pt idx="9">
                  <c:v>497.4688</c:v>
                </c:pt>
                <c:pt idx="10">
                  <c:v>514.6538</c:v>
                </c:pt>
                <c:pt idx="11">
                  <c:v>486.2299</c:v>
                </c:pt>
                <c:pt idx="12">
                  <c:v>463.9688</c:v>
                </c:pt>
                <c:pt idx="13">
                  <c:v>537.8154</c:v>
                </c:pt>
                <c:pt idx="14">
                  <c:v>496.0923</c:v>
                </c:pt>
                <c:pt idx="15">
                  <c:v>537.0</c:v>
                </c:pt>
                <c:pt idx="16">
                  <c:v>487.5676</c:v>
                </c:pt>
                <c:pt idx="17">
                  <c:v>518.7308</c:v>
                </c:pt>
                <c:pt idx="18">
                  <c:v>485.5938</c:v>
                </c:pt>
                <c:pt idx="19">
                  <c:v>506.7619</c:v>
                </c:pt>
                <c:pt idx="20">
                  <c:v>496.5333</c:v>
                </c:pt>
                <c:pt idx="21">
                  <c:v>477.2222</c:v>
                </c:pt>
                <c:pt idx="22">
                  <c:v>469.1765</c:v>
                </c:pt>
                <c:pt idx="23">
                  <c:v>525.8333</c:v>
                </c:pt>
                <c:pt idx="24">
                  <c:v>496.7778</c:v>
                </c:pt>
                <c:pt idx="25">
                  <c:v>477.0833</c:v>
                </c:pt>
                <c:pt idx="26">
                  <c:v>423.6667</c:v>
                </c:pt>
                <c:pt idx="27">
                  <c:v>429.3333</c:v>
                </c:pt>
                <c:pt idx="28">
                  <c:v>480.1667</c:v>
                </c:pt>
                <c:pt idx="29">
                  <c:v>462.3043</c:v>
                </c:pt>
                <c:pt idx="30">
                  <c:v>465.2344</c:v>
                </c:pt>
                <c:pt idx="31">
                  <c:v>458.875</c:v>
                </c:pt>
                <c:pt idx="32">
                  <c:v>456.8571</c:v>
                </c:pt>
                <c:pt idx="33">
                  <c:v>103.24073139320068</c:v>
                </c:pt>
                <c:pt idx="34">
                  <c:v>103.24073139320068</c:v>
                </c:pt>
                <c:pt idx="35">
                  <c:v>557.4820338531955</c:v>
                </c:pt>
              </c:numCache>
            </c:numRef>
          </c:xVal>
          <c:yVal>
            <c:numRef>
              <c:f>Sheet1!$B$165:$B$200</c:f>
              <c:numCache>
                <c:formatCode>General</c:formatCode>
                <c:ptCount val="36"/>
                <c:pt idx="0">
                  <c:v>0.4669894495806308</c:v>
                </c:pt>
                <c:pt idx="1">
                  <c:v>0.4647746568490384</c:v>
                </c:pt>
                <c:pt idx="2">
                  <c:v>0.4658031114121143</c:v>
                </c:pt>
                <c:pt idx="3">
                  <c:v>0.46657387115616133</c:v>
                </c:pt>
                <c:pt idx="4">
                  <c:v>0.46832407718057867</c:v>
                </c:pt>
                <c:pt idx="5">
                  <c:v>0.4668984298714032</c:v>
                </c:pt>
                <c:pt idx="6">
                  <c:v>0.4667327088783543</c:v>
                </c:pt>
                <c:pt idx="7">
                  <c:v>0.46815260876995046</c:v>
                </c:pt>
                <c:pt idx="8">
                  <c:v>0.4679428621039025</c:v>
                </c:pt>
                <c:pt idx="9">
                  <c:v>0.46459810738808643</c:v>
                </c:pt>
                <c:pt idx="10">
                  <c:v>0.4632967981509174</c:v>
                </c:pt>
                <c:pt idx="11">
                  <c:v>0.46544915681407534</c:v>
                </c:pt>
                <c:pt idx="12">
                  <c:v>0.46713484637238456</c:v>
                </c:pt>
                <c:pt idx="13">
                  <c:v>0.46154291953423926</c:v>
                </c:pt>
                <c:pt idx="14">
                  <c:v>0.464702340857098</c:v>
                </c:pt>
                <c:pt idx="15">
                  <c:v>0.4616046645183526</c:v>
                </c:pt>
                <c:pt idx="16">
                  <c:v>0.4653478614188725</c:v>
                </c:pt>
                <c:pt idx="17">
                  <c:v>0.46298807323035074</c:v>
                </c:pt>
                <c:pt idx="18">
                  <c:v>0.4654973245653563</c:v>
                </c:pt>
                <c:pt idx="19">
                  <c:v>0.4638944008491318</c:v>
                </c:pt>
                <c:pt idx="20">
                  <c:v>0.46466894677076737</c:v>
                </c:pt>
                <c:pt idx="21">
                  <c:v>0.4661312518513548</c:v>
                </c:pt>
                <c:pt idx="22">
                  <c:v>0.46674050083183144</c:v>
                </c:pt>
                <c:pt idx="23">
                  <c:v>0.46245024670390367</c:v>
                </c:pt>
                <c:pt idx="24">
                  <c:v>0.4646504323623596</c:v>
                </c:pt>
                <c:pt idx="25">
                  <c:v>0.4661417698526957</c:v>
                </c:pt>
                <c:pt idx="26">
                  <c:v>0.470186664528178</c:v>
                </c:pt>
                <c:pt idx="27">
                  <c:v>0.4697575694497176</c:v>
                </c:pt>
                <c:pt idx="28">
                  <c:v>0.4659082838531678</c:v>
                </c:pt>
                <c:pt idx="29">
                  <c:v>0.4672608882243059</c:v>
                </c:pt>
                <c:pt idx="30">
                  <c:v>0.4670390106452643</c:v>
                </c:pt>
                <c:pt idx="31">
                  <c:v>0.467520567000391</c:v>
                </c:pt>
                <c:pt idx="32">
                  <c:v>0.4676733695555079</c:v>
                </c:pt>
                <c:pt idx="33">
                  <c:v>0.4944504569504569</c:v>
                </c:pt>
                <c:pt idx="34">
                  <c:v>0.4944504569504569</c:v>
                </c:pt>
                <c:pt idx="35">
                  <c:v>0.460053692167513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9.0"/>
          <c:min val="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45454545454544"/>
          <c:min val="0.117277486910994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21693049885292</c:v>
                </c:pt>
                <c:pt idx="1">
                  <c:v>0.7196470323060868</c:v>
                </c:pt>
                <c:pt idx="2">
                  <c:v>0.6651892965455507</c:v>
                </c:pt>
                <c:pt idx="3">
                  <c:v>0.674015095007205</c:v>
                </c:pt>
                <c:pt idx="4">
                  <c:v>0.6599189668196224</c:v>
                </c:pt>
                <c:pt idx="5">
                  <c:v>0.625654518777626</c:v>
                </c:pt>
                <c:pt idx="6">
                  <c:v>0.6151435733199543</c:v>
                </c:pt>
                <c:pt idx="7">
                  <c:v>0.6082533255882205</c:v>
                </c:pt>
                <c:pt idx="8">
                  <c:v>0.6387944218557072</c:v>
                </c:pt>
                <c:pt idx="9">
                  <c:v>0.6516920075962117</c:v>
                </c:pt>
                <c:pt idx="10">
                  <c:v>0.6779930159561255</c:v>
                </c:pt>
                <c:pt idx="11">
                  <c:v>0.7409312015292735</c:v>
                </c:pt>
                <c:pt idx="12">
                  <c:v>0.7947055590288116</c:v>
                </c:pt>
                <c:pt idx="13">
                  <c:v>0.7891081854271472</c:v>
                </c:pt>
                <c:pt idx="14">
                  <c:v>0.8208350928023144</c:v>
                </c:pt>
                <c:pt idx="15">
                  <c:v>0.8614412655405409</c:v>
                </c:pt>
                <c:pt idx="16">
                  <c:v>0.8664445653077701</c:v>
                </c:pt>
                <c:pt idx="17">
                  <c:v>0.8207086783504832</c:v>
                </c:pt>
                <c:pt idx="18">
                  <c:v>0.8365193663883099</c:v>
                </c:pt>
                <c:pt idx="19">
                  <c:v>0.8387391245863282</c:v>
                </c:pt>
                <c:pt idx="20">
                  <c:v>0.9136114581668127</c:v>
                </c:pt>
                <c:pt idx="21">
                  <c:v>0.8853217878605889</c:v>
                </c:pt>
                <c:pt idx="22">
                  <c:v>0.874822261036497</c:v>
                </c:pt>
                <c:pt idx="23">
                  <c:v>0.7949903864593014</c:v>
                </c:pt>
                <c:pt idx="24">
                  <c:v>0.7191715975260443</c:v>
                </c:pt>
                <c:pt idx="25">
                  <c:v>0.7424518744098186</c:v>
                </c:pt>
                <c:pt idx="26">
                  <c:v>0.7185232052480157</c:v>
                </c:pt>
                <c:pt idx="27">
                  <c:v>0.7534916544800687</c:v>
                </c:pt>
                <c:pt idx="28">
                  <c:v>0.7442873316764753</c:v>
                </c:pt>
                <c:pt idx="29">
                  <c:v>0.737780997323897</c:v>
                </c:pt>
                <c:pt idx="30">
                  <c:v>0.7600446283419199</c:v>
                </c:pt>
                <c:pt idx="31">
                  <c:v>0.7162740352355221</c:v>
                </c:pt>
                <c:pt idx="32">
                  <c:v>0.7350737632087944</c:v>
                </c:pt>
                <c:pt idx="33">
                  <c:v>0.751335917183309</c:v>
                </c:pt>
                <c:pt idx="34">
                  <c:v>0.7504621119308716</c:v>
                </c:pt>
                <c:pt idx="35">
                  <c:v>0.7984013538714093</c:v>
                </c:pt>
                <c:pt idx="36">
                  <c:v>0.8721029612677497</c:v>
                </c:pt>
                <c:pt idx="37">
                  <c:v>0.8184677636692431</c:v>
                </c:pt>
                <c:pt idx="38">
                  <c:v>0.8758598997665356</c:v>
                </c:pt>
                <c:pt idx="39">
                  <c:v>0.915340272219068</c:v>
                </c:pt>
                <c:pt idx="40">
                  <c:v>0.9169168955150098</c:v>
                </c:pt>
                <c:pt idx="41">
                  <c:v>0.9393139310093398</c:v>
                </c:pt>
                <c:pt idx="42">
                  <c:v>0.9128393135907672</c:v>
                </c:pt>
                <c:pt idx="43">
                  <c:v>0.9192589668322039</c:v>
                </c:pt>
                <c:pt idx="44">
                  <c:v>0.8992879704167219</c:v>
                </c:pt>
                <c:pt idx="45">
                  <c:v>0.8923294661472618</c:v>
                </c:pt>
                <c:pt idx="46">
                  <c:v>0.8915783677408001</c:v>
                </c:pt>
                <c:pt idx="47">
                  <c:v>0.8717721513933089</c:v>
                </c:pt>
                <c:pt idx="48">
                  <c:v>0.8752116070164117</c:v>
                </c:pt>
                <c:pt idx="49">
                  <c:v>0.8698832374574399</c:v>
                </c:pt>
                <c:pt idx="50">
                  <c:v>0.8390395273137536</c:v>
                </c:pt>
                <c:pt idx="51">
                  <c:v>0.8424045635226742</c:v>
                </c:pt>
                <c:pt idx="52">
                  <c:v>0.821692198134048</c:v>
                </c:pt>
                <c:pt idx="53">
                  <c:v>0.7593522903568937</c:v>
                </c:pt>
                <c:pt idx="54">
                  <c:v>0.7082219938805867</c:v>
                </c:pt>
                <c:pt idx="55">
                  <c:v>0.6993473726137547</c:v>
                </c:pt>
                <c:pt idx="56">
                  <c:v>0.7094048290816131</c:v>
                </c:pt>
                <c:pt idx="57">
                  <c:v>0.6966363304387145</c:v>
                </c:pt>
                <c:pt idx="58">
                  <c:v>0.6747505263399262</c:v>
                </c:pt>
                <c:pt idx="59">
                  <c:v>0.6590032922548019</c:v>
                </c:pt>
                <c:pt idx="60">
                  <c:v>0.6434295225445351</c:v>
                </c:pt>
                <c:pt idx="61">
                  <c:v>0.6948556336726542</c:v>
                </c:pt>
                <c:pt idx="62">
                  <c:v>0.7465067070923297</c:v>
                </c:pt>
                <c:pt idx="63">
                  <c:v>0.7660718707902151</c:v>
                </c:pt>
                <c:pt idx="64">
                  <c:v>0.7972731045276157</c:v>
                </c:pt>
                <c:pt idx="65">
                  <c:v>0.7866786192175876</c:v>
                </c:pt>
                <c:pt idx="66">
                  <c:v>0.7699937921651815</c:v>
                </c:pt>
                <c:pt idx="67">
                  <c:v>0.7857835617184692</c:v>
                </c:pt>
                <c:pt idx="68">
                  <c:v>0.8260060055091107</c:v>
                </c:pt>
                <c:pt idx="69">
                  <c:v>0.822456785380412</c:v>
                </c:pt>
                <c:pt idx="70">
                  <c:v>0.748379568243086</c:v>
                </c:pt>
                <c:pt idx="71">
                  <c:v>0.7874370627419304</c:v>
                </c:pt>
                <c:pt idx="72">
                  <c:v>0.9279346715383114</c:v>
                </c:pt>
                <c:pt idx="73">
                  <c:v>0.8400619962114987</c:v>
                </c:pt>
                <c:pt idx="74">
                  <c:v>0.828824116207479</c:v>
                </c:pt>
                <c:pt idx="75">
                  <c:v>0.8096701932929454</c:v>
                </c:pt>
                <c:pt idx="76">
                  <c:v>0.7829869649856762</c:v>
                </c:pt>
                <c:pt idx="77">
                  <c:v>0.8272023527617101</c:v>
                </c:pt>
                <c:pt idx="78">
                  <c:v>0.8117706518912973</c:v>
                </c:pt>
                <c:pt idx="79">
                  <c:v>0.7729887250322865</c:v>
                </c:pt>
                <c:pt idx="80">
                  <c:v>0.8470091353954758</c:v>
                </c:pt>
                <c:pt idx="81">
                  <c:v>0.8614014240996989</c:v>
                </c:pt>
                <c:pt idx="82">
                  <c:v>0.8628356602492895</c:v>
                </c:pt>
                <c:pt idx="83">
                  <c:v>0.8195075851281083</c:v>
                </c:pt>
                <c:pt idx="84">
                  <c:v>0.817327007489039</c:v>
                </c:pt>
                <c:pt idx="85">
                  <c:v>0.7859584643145842</c:v>
                </c:pt>
                <c:pt idx="86">
                  <c:v>0.8159789120196786</c:v>
                </c:pt>
                <c:pt idx="87">
                  <c:v>0.8295447227407576</c:v>
                </c:pt>
                <c:pt idx="88">
                  <c:v>0.8888415903050086</c:v>
                </c:pt>
                <c:pt idx="89">
                  <c:v>0.8782870829556533</c:v>
                </c:pt>
                <c:pt idx="90">
                  <c:v>0.8567687220562107</c:v>
                </c:pt>
                <c:pt idx="91">
                  <c:v>0.8864534317266891</c:v>
                </c:pt>
                <c:pt idx="92">
                  <c:v>0.8540783365017593</c:v>
                </c:pt>
                <c:pt idx="93">
                  <c:v>0.8729677487196441</c:v>
                </c:pt>
                <c:pt idx="94">
                  <c:v>0.9076484751842824</c:v>
                </c:pt>
                <c:pt idx="95">
                  <c:v>0.916337177971886</c:v>
                </c:pt>
                <c:pt idx="96">
                  <c:v>0.9443275750866096</c:v>
                </c:pt>
                <c:pt idx="97">
                  <c:v>0.9683311319785647</c:v>
                </c:pt>
                <c:pt idx="98">
                  <c:v>0.9750651121666831</c:v>
                </c:pt>
                <c:pt idx="99">
                  <c:v>0.9333272057927774</c:v>
                </c:pt>
                <c:pt idx="100">
                  <c:v>0.9178218181985792</c:v>
                </c:pt>
                <c:pt idx="101">
                  <c:v>0.8283850280197499</c:v>
                </c:pt>
                <c:pt idx="102">
                  <c:v>0.8121498195909644</c:v>
                </c:pt>
                <c:pt idx="103">
                  <c:v>0.8133619284055705</c:v>
                </c:pt>
                <c:pt idx="104">
                  <c:v>0.8036947285236048</c:v>
                </c:pt>
              </c:numCache>
            </c:numRef>
          </c:xVal>
          <c:yVal>
            <c:numRef>
              <c:f>Sheet1!$B$2:$B$106</c:f>
              <c:numCache>
                <c:formatCode>General</c:formatCode>
                <c:ptCount val="105"/>
                <c:pt idx="0">
                  <c:v>0.27097784739315284</c:v>
                </c:pt>
                <c:pt idx="1">
                  <c:v>0.25309362596310997</c:v>
                </c:pt>
                <c:pt idx="2">
                  <c:v>0.26281179138322</c:v>
                </c:pt>
                <c:pt idx="3">
                  <c:v>0.253411306042885</c:v>
                </c:pt>
                <c:pt idx="4">
                  <c:v>0.252719925396332</c:v>
                </c:pt>
                <c:pt idx="5">
                  <c:v>0.26605101143359716</c:v>
                </c:pt>
                <c:pt idx="6">
                  <c:v>0.29114342366159945</c:v>
                </c:pt>
                <c:pt idx="7">
                  <c:v>0.32126524390243905</c:v>
                </c:pt>
                <c:pt idx="8">
                  <c:v>0.3048148148148148</c:v>
                </c:pt>
                <c:pt idx="9">
                  <c:v>0.2748743718592965</c:v>
                </c:pt>
                <c:pt idx="10">
                  <c:v>0.2593058350100604</c:v>
                </c:pt>
                <c:pt idx="11">
                  <c:v>0.2216867469879518</c:v>
                </c:pt>
                <c:pt idx="12">
                  <c:v>0.20717391304347826</c:v>
                </c:pt>
                <c:pt idx="13">
                  <c:v>0.18612059158134245</c:v>
                </c:pt>
                <c:pt idx="14">
                  <c:v>0.16404736275565124</c:v>
                </c:pt>
                <c:pt idx="15">
                  <c:v>0.1568279706105903</c:v>
                </c:pt>
                <c:pt idx="16">
                  <c:v>0.15012594458438286</c:v>
                </c:pt>
                <c:pt idx="17">
                  <c:v>0.16107954545454545</c:v>
                </c:pt>
                <c:pt idx="18">
                  <c:v>0.15587114651887773</c:v>
                </c:pt>
                <c:pt idx="19">
                  <c:v>0.15576073865917303</c:v>
                </c:pt>
                <c:pt idx="20">
                  <c:v>0.15050651230101303</c:v>
                </c:pt>
                <c:pt idx="21">
                  <c:v>0.18506998444790046</c:v>
                </c:pt>
                <c:pt idx="22">
                  <c:v>0.18345746765974127</c:v>
                </c:pt>
                <c:pt idx="23">
                  <c:v>0.21529968454258674</c:v>
                </c:pt>
                <c:pt idx="24">
                  <c:v>0.21590440873506386</c:v>
                </c:pt>
                <c:pt idx="25">
                  <c:v>0.22104779411764705</c:v>
                </c:pt>
                <c:pt idx="26">
                  <c:v>0.23942093541202672</c:v>
                </c:pt>
                <c:pt idx="27">
                  <c:v>0.22708093594169543</c:v>
                </c:pt>
                <c:pt idx="28">
                  <c:v>0.2274645186037591</c:v>
                </c:pt>
                <c:pt idx="29">
                  <c:v>0.2121524201853759</c:v>
                </c:pt>
                <c:pt idx="30">
                  <c:v>0.2084176446782679</c:v>
                </c:pt>
                <c:pt idx="31">
                  <c:v>0.2248995983935743</c:v>
                </c:pt>
                <c:pt idx="32">
                  <c:v>0.2361963190184049</c:v>
                </c:pt>
                <c:pt idx="33">
                  <c:v>0.2164705882352941</c:v>
                </c:pt>
                <c:pt idx="34">
                  <c:v>0.2143052143052143</c:v>
                </c:pt>
                <c:pt idx="35">
                  <c:v>0.22861150070126227</c:v>
                </c:pt>
                <c:pt idx="36">
                  <c:v>0.20395185101067453</c:v>
                </c:pt>
                <c:pt idx="37">
                  <c:v>0.208710407239819</c:v>
                </c:pt>
                <c:pt idx="38">
                  <c:v>0.18395303326810175</c:v>
                </c:pt>
                <c:pt idx="39">
                  <c:v>0.17969250480461244</c:v>
                </c:pt>
                <c:pt idx="40">
                  <c:v>0.17581792318634423</c:v>
                </c:pt>
                <c:pt idx="41">
                  <c:v>0.18222222222222223</c:v>
                </c:pt>
                <c:pt idx="42">
                  <c:v>0.18814110582937202</c:v>
                </c:pt>
                <c:pt idx="43">
                  <c:v>0.16986120290812953</c:v>
                </c:pt>
                <c:pt idx="44">
                  <c:v>0.15857553497285212</c:v>
                </c:pt>
                <c:pt idx="45">
                  <c:v>0.18501023460872304</c:v>
                </c:pt>
                <c:pt idx="46">
                  <c:v>0.17886557886557886</c:v>
                </c:pt>
                <c:pt idx="47">
                  <c:v>0.1835907034783965</c:v>
                </c:pt>
                <c:pt idx="48">
                  <c:v>0.17207177086816003</c:v>
                </c:pt>
                <c:pt idx="49">
                  <c:v>0.18725003999360101</c:v>
                </c:pt>
                <c:pt idx="50">
                  <c:v>0.18284023668639054</c:v>
                </c:pt>
                <c:pt idx="51">
                  <c:v>0.1761544585987261</c:v>
                </c:pt>
                <c:pt idx="52">
                  <c:v>0.18808895589898228</c:v>
                </c:pt>
                <c:pt idx="53">
                  <c:v>0.19502407704654895</c:v>
                </c:pt>
                <c:pt idx="54">
                  <c:v>0.2009163802978236</c:v>
                </c:pt>
                <c:pt idx="55">
                  <c:v>0.202776513427401</c:v>
                </c:pt>
                <c:pt idx="56">
                  <c:v>0.21318124207858047</c:v>
                </c:pt>
                <c:pt idx="57">
                  <c:v>0.2047514082782268</c:v>
                </c:pt>
                <c:pt idx="58">
                  <c:v>0.21432186234817813</c:v>
                </c:pt>
                <c:pt idx="59">
                  <c:v>0.19719419924337958</c:v>
                </c:pt>
                <c:pt idx="60">
                  <c:v>0.21196163249952982</c:v>
                </c:pt>
                <c:pt idx="61">
                  <c:v>0.22620309518761925</c:v>
                </c:pt>
                <c:pt idx="62">
                  <c:v>0.20974347919810304</c:v>
                </c:pt>
                <c:pt idx="63">
                  <c:v>0.2112334390744542</c:v>
                </c:pt>
                <c:pt idx="64">
                  <c:v>0.2064876177188699</c:v>
                </c:pt>
                <c:pt idx="65">
                  <c:v>0.1928962781031551</c:v>
                </c:pt>
                <c:pt idx="66">
                  <c:v>0.2095203087667708</c:v>
                </c:pt>
                <c:pt idx="67">
                  <c:v>0.2049463538825241</c:v>
                </c:pt>
                <c:pt idx="68">
                  <c:v>0.18160871386677838</c:v>
                </c:pt>
                <c:pt idx="69">
                  <c:v>0.16906792119964717</c:v>
                </c:pt>
                <c:pt idx="70">
                  <c:v>0.18329342910348498</c:v>
                </c:pt>
                <c:pt idx="71">
                  <c:v>0.17935103244837758</c:v>
                </c:pt>
                <c:pt idx="72">
                  <c:v>0.15633496465470365</c:v>
                </c:pt>
                <c:pt idx="73">
                  <c:v>0.1658291457286432</c:v>
                </c:pt>
                <c:pt idx="74">
                  <c:v>0.15436863229391787</c:v>
                </c:pt>
                <c:pt idx="75">
                  <c:v>0.17626471524021636</c:v>
                </c:pt>
                <c:pt idx="76">
                  <c:v>0.17921918229326775</c:v>
                </c:pt>
                <c:pt idx="77">
                  <c:v>0.17167530224525043</c:v>
                </c:pt>
                <c:pt idx="78">
                  <c:v>0.17554975773387999</c:v>
                </c:pt>
                <c:pt idx="79">
                  <c:v>0.15052667346245327</c:v>
                </c:pt>
                <c:pt idx="80">
                  <c:v>0.1500339443312967</c:v>
                </c:pt>
                <c:pt idx="81">
                  <c:v>0.15227963525835866</c:v>
                </c:pt>
                <c:pt idx="82">
                  <c:v>0.14672765657987333</c:v>
                </c:pt>
                <c:pt idx="83">
                  <c:v>0.14893617021276595</c:v>
                </c:pt>
                <c:pt idx="84">
                  <c:v>0.16831683168316833</c:v>
                </c:pt>
                <c:pt idx="85">
                  <c:v>0.163062743707905</c:v>
                </c:pt>
                <c:pt idx="86">
                  <c:v>0.17321073558648112</c:v>
                </c:pt>
                <c:pt idx="87">
                  <c:v>0.1880095923261391</c:v>
                </c:pt>
                <c:pt idx="88">
                  <c:v>0.1805</c:v>
                </c:pt>
                <c:pt idx="89">
                  <c:v>0.1697513013302487</c:v>
                </c:pt>
                <c:pt idx="90">
                  <c:v>0.17143797301743996</c:v>
                </c:pt>
                <c:pt idx="91">
                  <c:v>0.1587826662256037</c:v>
                </c:pt>
                <c:pt idx="92">
                  <c:v>0.16217658042144573</c:v>
                </c:pt>
                <c:pt idx="93">
                  <c:v>0.16402258671685938</c:v>
                </c:pt>
                <c:pt idx="94">
                  <c:v>0.17814786777693667</c:v>
                </c:pt>
                <c:pt idx="95">
                  <c:v>0.1774654074236767</c:v>
                </c:pt>
                <c:pt idx="96">
                  <c:v>0.1563338065941</c:v>
                </c:pt>
                <c:pt idx="97">
                  <c:v>0.14903983949555746</c:v>
                </c:pt>
                <c:pt idx="98">
                  <c:v>0.15463520964226182</c:v>
                </c:pt>
                <c:pt idx="99">
                  <c:v>0.16085384346203196</c:v>
                </c:pt>
                <c:pt idx="100">
                  <c:v>0.1653812445223488</c:v>
                </c:pt>
                <c:pt idx="101">
                  <c:v>0.18936170212765957</c:v>
                </c:pt>
                <c:pt idx="102">
                  <c:v>0.18584070796460178</c:v>
                </c:pt>
                <c:pt idx="103">
                  <c:v>0.18085953044170314</c:v>
                </c:pt>
                <c:pt idx="104">
                  <c:v>0.17791127541589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864769061835877</c:v>
                </c:pt>
                <c:pt idx="1">
                  <c:v>0.7854787440696558</c:v>
                </c:pt>
                <c:pt idx="2">
                  <c:v>0.7684897402090857</c:v>
                </c:pt>
                <c:pt idx="3">
                  <c:v>0.7153113169457964</c:v>
                </c:pt>
                <c:pt idx="4">
                  <c:v>0.7610786475213296</c:v>
                </c:pt>
                <c:pt idx="5">
                  <c:v>0.7356250714101396</c:v>
                </c:pt>
                <c:pt idx="6">
                  <c:v>0.7221938638823965</c:v>
                </c:pt>
                <c:pt idx="7">
                  <c:v>0.7335391004647177</c:v>
                </c:pt>
                <c:pt idx="8">
                  <c:v>0.7741611267217332</c:v>
                </c:pt>
                <c:pt idx="9">
                  <c:v>0.7401932309428811</c:v>
                </c:pt>
                <c:pt idx="10">
                  <c:v>0.7732137767749953</c:v>
                </c:pt>
                <c:pt idx="11">
                  <c:v>0.7378995240380313</c:v>
                </c:pt>
                <c:pt idx="12">
                  <c:v>0.7567612676038189</c:v>
                </c:pt>
                <c:pt idx="13">
                  <c:v>0.7196229921473563</c:v>
                </c:pt>
                <c:pt idx="14">
                  <c:v>0.7167340685427909</c:v>
                </c:pt>
                <c:pt idx="15">
                  <c:v>0.7200230598659701</c:v>
                </c:pt>
                <c:pt idx="16">
                  <c:v>0.751597522440092</c:v>
                </c:pt>
                <c:pt idx="17">
                  <c:v>0.6867011727130022</c:v>
                </c:pt>
                <c:pt idx="18">
                  <c:v>0.7489991148927395</c:v>
                </c:pt>
                <c:pt idx="19">
                  <c:v>0.7857786531160147</c:v>
                </c:pt>
                <c:pt idx="20">
                  <c:v>0.7164967940359307</c:v>
                </c:pt>
                <c:pt idx="21">
                  <c:v>0.6968871047345899</c:v>
                </c:pt>
                <c:pt idx="22">
                  <c:v>0.7148706742071828</c:v>
                </c:pt>
                <c:pt idx="23">
                  <c:v>0.6974292697473272</c:v>
                </c:pt>
                <c:pt idx="24">
                  <c:v>0.6816919453759768</c:v>
                </c:pt>
                <c:pt idx="25">
                  <c:v>0.6980672392299901</c:v>
                </c:pt>
                <c:pt idx="26">
                  <c:v>0.6962904255092723</c:v>
                </c:pt>
                <c:pt idx="27">
                  <c:v>0.7143418108603887</c:v>
                </c:pt>
                <c:pt idx="28">
                  <c:v>0.7017707464703683</c:v>
                </c:pt>
                <c:pt idx="29">
                  <c:v>0.6730286556979679</c:v>
                </c:pt>
                <c:pt idx="30">
                  <c:v>0.6920295567164018</c:v>
                </c:pt>
                <c:pt idx="31">
                  <c:v>0.6669493790225123</c:v>
                </c:pt>
                <c:pt idx="32">
                  <c:v>0.6794835526590322</c:v>
                </c:pt>
                <c:pt idx="33">
                  <c:v>0.7202281115515092</c:v>
                </c:pt>
                <c:pt idx="34">
                  <c:v>0.7346982597489818</c:v>
                </c:pt>
                <c:pt idx="35">
                  <c:v>0.7307363492592466</c:v>
                </c:pt>
                <c:pt idx="36">
                  <c:v>0.7032767559948302</c:v>
                </c:pt>
                <c:pt idx="37">
                  <c:v>0.6867386347587853</c:v>
                </c:pt>
                <c:pt idx="38">
                  <c:v>0.6894193462715964</c:v>
                </c:pt>
                <c:pt idx="39">
                  <c:v>0.7381180629483896</c:v>
                </c:pt>
                <c:pt idx="40">
                  <c:v>0.7823779555053805</c:v>
                </c:pt>
                <c:pt idx="41">
                  <c:v>0.7834567537445233</c:v>
                </c:pt>
                <c:pt idx="42">
                  <c:v>0.7366070303999263</c:v>
                </c:pt>
                <c:pt idx="43">
                  <c:v>0.8056590044368929</c:v>
                </c:pt>
                <c:pt idx="44">
                  <c:v>0.8517576313184877</c:v>
                </c:pt>
                <c:pt idx="45">
                  <c:v>0.8398239562600084</c:v>
                </c:pt>
                <c:pt idx="46">
                  <c:v>0.7873160662304166</c:v>
                </c:pt>
                <c:pt idx="47">
                  <c:v>0.7701152318699499</c:v>
                </c:pt>
                <c:pt idx="48">
                  <c:v>0.7951047938971665</c:v>
                </c:pt>
                <c:pt idx="49">
                  <c:v>0.8032702516043713</c:v>
                </c:pt>
                <c:pt idx="50">
                  <c:v>0.8264216536904626</c:v>
                </c:pt>
                <c:pt idx="51">
                  <c:v>0.8006536344369691</c:v>
                </c:pt>
              </c:numCache>
            </c:numRef>
          </c:xVal>
          <c:yVal>
            <c:numRef>
              <c:f>Sheet1!$B$109:$B$160</c:f>
              <c:numCache>
                <c:formatCode>General</c:formatCode>
                <c:ptCount val="52"/>
                <c:pt idx="0">
                  <c:v>0.1769530449046545</c:v>
                </c:pt>
                <c:pt idx="1">
                  <c:v>0.182370820668693</c:v>
                </c:pt>
                <c:pt idx="2">
                  <c:v>0.19719169719169719</c:v>
                </c:pt>
                <c:pt idx="3">
                  <c:v>0.22010557723204038</c:v>
                </c:pt>
                <c:pt idx="4">
                  <c:v>0.2003565856919991</c:v>
                </c:pt>
                <c:pt idx="5">
                  <c:v>0.21241750183329258</c:v>
                </c:pt>
                <c:pt idx="6">
                  <c:v>0.21563260340632603</c:v>
                </c:pt>
                <c:pt idx="7">
                  <c:v>0.1938877755511022</c:v>
                </c:pt>
                <c:pt idx="8">
                  <c:v>0.1978021978021978</c:v>
                </c:pt>
                <c:pt idx="9">
                  <c:v>0.20198310686742563</c:v>
                </c:pt>
                <c:pt idx="10">
                  <c:v>0.2053941908713693</c:v>
                </c:pt>
                <c:pt idx="11">
                  <c:v>0.19589786521557137</c:v>
                </c:pt>
                <c:pt idx="12">
                  <c:v>0.20179465776293823</c:v>
                </c:pt>
                <c:pt idx="13">
                  <c:v>0.2043322912014292</c:v>
                </c:pt>
                <c:pt idx="14">
                  <c:v>0.2113095238095238</c:v>
                </c:pt>
                <c:pt idx="15">
                  <c:v>0.20698607505310362</c:v>
                </c:pt>
                <c:pt idx="16">
                  <c:v>0.2022307014969181</c:v>
                </c:pt>
                <c:pt idx="17">
                  <c:v>0.2194452910697958</c:v>
                </c:pt>
                <c:pt idx="18">
                  <c:v>0.20615159282314172</c:v>
                </c:pt>
                <c:pt idx="19">
                  <c:v>0.19359803016312713</c:v>
                </c:pt>
                <c:pt idx="20">
                  <c:v>0.19565990750622556</c:v>
                </c:pt>
                <c:pt idx="21">
                  <c:v>0.2070124879923151</c:v>
                </c:pt>
                <c:pt idx="22">
                  <c:v>0.21911540416878494</c:v>
                </c:pt>
                <c:pt idx="23">
                  <c:v>0.21428571428571427</c:v>
                </c:pt>
                <c:pt idx="24">
                  <c:v>0.22407307898979043</c:v>
                </c:pt>
                <c:pt idx="25">
                  <c:v>0.22927100723427934</c:v>
                </c:pt>
                <c:pt idx="26">
                  <c:v>0.21155595996360327</c:v>
                </c:pt>
                <c:pt idx="27">
                  <c:v>0.2102970297029703</c:v>
                </c:pt>
                <c:pt idx="28">
                  <c:v>0.21089494163424125</c:v>
                </c:pt>
                <c:pt idx="29">
                  <c:v>0.2245340268747291</c:v>
                </c:pt>
                <c:pt idx="30">
                  <c:v>0.22052130740587506</c:v>
                </c:pt>
                <c:pt idx="31">
                  <c:v>0.20972780008924588</c:v>
                </c:pt>
                <c:pt idx="32">
                  <c:v>0.2119876597620097</c:v>
                </c:pt>
                <c:pt idx="33">
                  <c:v>0.21551444336254463</c:v>
                </c:pt>
                <c:pt idx="34">
                  <c:v>0.22535211267605634</c:v>
                </c:pt>
                <c:pt idx="35">
                  <c:v>0.22949946751863684</c:v>
                </c:pt>
                <c:pt idx="36">
                  <c:v>0.21570247933884298</c:v>
                </c:pt>
                <c:pt idx="37">
                  <c:v>0.2223869532987398</c:v>
                </c:pt>
                <c:pt idx="38">
                  <c:v>0.20243362831858408</c:v>
                </c:pt>
                <c:pt idx="39">
                  <c:v>0.20834758809442352</c:v>
                </c:pt>
                <c:pt idx="40">
                  <c:v>0.20768229166666666</c:v>
                </c:pt>
                <c:pt idx="41">
                  <c:v>0.20116699083078632</c:v>
                </c:pt>
                <c:pt idx="42">
                  <c:v>0.20061307901907358</c:v>
                </c:pt>
                <c:pt idx="43">
                  <c:v>0.19267605633802817</c:v>
                </c:pt>
                <c:pt idx="44">
                  <c:v>0.19033440219880898</c:v>
                </c:pt>
                <c:pt idx="45">
                  <c:v>0.20527704485488127</c:v>
                </c:pt>
                <c:pt idx="46">
                  <c:v>0.22538751571009635</c:v>
                </c:pt>
                <c:pt idx="47">
                  <c:v>0.21755162241887904</c:v>
                </c:pt>
                <c:pt idx="48">
                  <c:v>0.2107331821617536</c:v>
                </c:pt>
                <c:pt idx="49">
                  <c:v>0.22798367902074124</c:v>
                </c:pt>
                <c:pt idx="50">
                  <c:v>0.2132434225071855</c:v>
                </c:pt>
                <c:pt idx="51">
                  <c:v>0.215437579271607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1810315671374182</c:v>
                </c:pt>
              </c:numCache>
            </c:numRef>
          </c:xVal>
          <c:yVal>
            <c:numRef>
              <c:f>Sheet1!$B$163:$B$164</c:f>
              <c:numCache>
                <c:formatCode>General</c:formatCode>
                <c:ptCount val="2"/>
                <c:pt idx="0">
                  <c:v>0.2751432211101278</c:v>
                </c:pt>
                <c:pt idx="1">
                  <c:v>0.27514322111012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1810315671374182</c:v>
                </c:pt>
                <c:pt idx="1">
                  <c:v>0.11810315671374182</c:v>
                </c:pt>
              </c:numCache>
            </c:numRef>
          </c:xVal>
          <c:yVal>
            <c:numRef>
              <c:f>Sheet1!$B$167:$B$168</c:f>
              <c:numCache>
                <c:formatCode>General</c:formatCode>
                <c:ptCount val="2"/>
                <c:pt idx="0">
                  <c:v>0.2751432211101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03400598433075</c:v>
                </c:pt>
              </c:numCache>
            </c:numRef>
          </c:xVal>
          <c:yVal>
            <c:numRef>
              <c:f>Sheet1!$B$171:$B$172</c:f>
              <c:numCache>
                <c:formatCode>General</c:formatCode>
                <c:ptCount val="2"/>
                <c:pt idx="0">
                  <c:v>0.21747157585768034</c:v>
                </c:pt>
                <c:pt idx="1">
                  <c:v>0.217471575857680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03400598433075</c:v>
                </c:pt>
                <c:pt idx="1">
                  <c:v>0.6603400598433075</c:v>
                </c:pt>
              </c:numCache>
            </c:numRef>
          </c:xVal>
          <c:yVal>
            <c:numRef>
              <c:f>Sheet1!$B$175:$B$176</c:f>
              <c:numCache>
                <c:formatCode>General</c:formatCode>
                <c:ptCount val="2"/>
                <c:pt idx="0">
                  <c:v>0.217471575857680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404000313870217</c:v>
                </c:pt>
              </c:numCache>
            </c:numRef>
          </c:xVal>
          <c:yVal>
            <c:numRef>
              <c:f>Sheet1!$B$179:$B$180</c:f>
              <c:numCache>
                <c:formatCode>General</c:formatCode>
                <c:ptCount val="2"/>
                <c:pt idx="0">
                  <c:v>0.20895649646868703</c:v>
                </c:pt>
                <c:pt idx="1">
                  <c:v>0.2089564964686870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404000313870217</c:v>
                </c:pt>
                <c:pt idx="1">
                  <c:v>0.7404000313870217</c:v>
                </c:pt>
              </c:numCache>
            </c:numRef>
          </c:xVal>
          <c:yVal>
            <c:numRef>
              <c:f>Sheet1!$B$183:$B$184</c:f>
              <c:numCache>
                <c:formatCode>General</c:formatCode>
                <c:ptCount val="2"/>
                <c:pt idx="0">
                  <c:v>0.208956496468687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864769061835877</c:v>
                </c:pt>
                <c:pt idx="1">
                  <c:v>0.7854787440696558</c:v>
                </c:pt>
                <c:pt idx="2">
                  <c:v>0.7684897402090857</c:v>
                </c:pt>
                <c:pt idx="3">
                  <c:v>0.7153113169457964</c:v>
                </c:pt>
                <c:pt idx="4">
                  <c:v>0.7610786475213296</c:v>
                </c:pt>
                <c:pt idx="5">
                  <c:v>0.7356250714101396</c:v>
                </c:pt>
                <c:pt idx="6">
                  <c:v>0.7221938638823965</c:v>
                </c:pt>
                <c:pt idx="7">
                  <c:v>0.7335391004647177</c:v>
                </c:pt>
                <c:pt idx="8">
                  <c:v>0.7741611267217332</c:v>
                </c:pt>
                <c:pt idx="9">
                  <c:v>0.7401932309428811</c:v>
                </c:pt>
                <c:pt idx="10">
                  <c:v>0.7732137767749953</c:v>
                </c:pt>
                <c:pt idx="11">
                  <c:v>0.7378995240380313</c:v>
                </c:pt>
                <c:pt idx="12">
                  <c:v>0.7567612676038189</c:v>
                </c:pt>
                <c:pt idx="13">
                  <c:v>0.7196229921473563</c:v>
                </c:pt>
                <c:pt idx="14">
                  <c:v>0.7167340685427909</c:v>
                </c:pt>
                <c:pt idx="15">
                  <c:v>0.7200230598659701</c:v>
                </c:pt>
                <c:pt idx="16">
                  <c:v>0.751597522440092</c:v>
                </c:pt>
                <c:pt idx="17">
                  <c:v>0.6867011727130022</c:v>
                </c:pt>
                <c:pt idx="18">
                  <c:v>0.7489991148927395</c:v>
                </c:pt>
                <c:pt idx="19">
                  <c:v>0.7857786531160147</c:v>
                </c:pt>
                <c:pt idx="20">
                  <c:v>0.7164967940359307</c:v>
                </c:pt>
                <c:pt idx="21">
                  <c:v>0.6968871047345899</c:v>
                </c:pt>
                <c:pt idx="22">
                  <c:v>0.7148706742071828</c:v>
                </c:pt>
                <c:pt idx="23">
                  <c:v>0.6974292697473272</c:v>
                </c:pt>
                <c:pt idx="24">
                  <c:v>0.6816919453759768</c:v>
                </c:pt>
                <c:pt idx="25">
                  <c:v>0.6980672392299901</c:v>
                </c:pt>
                <c:pt idx="26">
                  <c:v>0.6962904255092723</c:v>
                </c:pt>
                <c:pt idx="27">
                  <c:v>0.7143418108603887</c:v>
                </c:pt>
                <c:pt idx="28">
                  <c:v>0.7017707464703683</c:v>
                </c:pt>
                <c:pt idx="29">
                  <c:v>0.6730286556979679</c:v>
                </c:pt>
                <c:pt idx="30">
                  <c:v>0.6920295567164018</c:v>
                </c:pt>
                <c:pt idx="31">
                  <c:v>0.6669493790225123</c:v>
                </c:pt>
                <c:pt idx="32">
                  <c:v>0.6794835526590322</c:v>
                </c:pt>
                <c:pt idx="33">
                  <c:v>0.7202281115515092</c:v>
                </c:pt>
                <c:pt idx="34">
                  <c:v>0.7346982597489818</c:v>
                </c:pt>
                <c:pt idx="35">
                  <c:v>0.7307363492592466</c:v>
                </c:pt>
                <c:pt idx="36">
                  <c:v>0.7032767559948302</c:v>
                </c:pt>
                <c:pt idx="37">
                  <c:v>0.6867386347587853</c:v>
                </c:pt>
                <c:pt idx="38">
                  <c:v>0.6894193462715964</c:v>
                </c:pt>
                <c:pt idx="39">
                  <c:v>0.7381180629483896</c:v>
                </c:pt>
                <c:pt idx="40">
                  <c:v>0.7823779555053805</c:v>
                </c:pt>
                <c:pt idx="41">
                  <c:v>0.7834567537445233</c:v>
                </c:pt>
                <c:pt idx="42">
                  <c:v>0.7366070303999263</c:v>
                </c:pt>
                <c:pt idx="43">
                  <c:v>0.8056590044368929</c:v>
                </c:pt>
                <c:pt idx="44">
                  <c:v>0.8517576313184877</c:v>
                </c:pt>
                <c:pt idx="45">
                  <c:v>0.8398239562600084</c:v>
                </c:pt>
                <c:pt idx="46">
                  <c:v>0.7873160662304166</c:v>
                </c:pt>
                <c:pt idx="47">
                  <c:v>0.7701152318699499</c:v>
                </c:pt>
                <c:pt idx="48">
                  <c:v>0.7951047938971665</c:v>
                </c:pt>
                <c:pt idx="49">
                  <c:v>0.8032702516043713</c:v>
                </c:pt>
                <c:pt idx="50">
                  <c:v>0.8264216536904626</c:v>
                </c:pt>
                <c:pt idx="51">
                  <c:v>0.8006536344369691</c:v>
                </c:pt>
                <c:pt idx="52">
                  <c:v>0.6603400598433075</c:v>
                </c:pt>
                <c:pt idx="53">
                  <c:v>0.11810315671374182</c:v>
                </c:pt>
                <c:pt idx="54">
                  <c:v>0.7404000313870217</c:v>
                </c:pt>
              </c:numCache>
            </c:numRef>
          </c:xVal>
          <c:yVal>
            <c:numRef>
              <c:f>Sheet1!$B$187:$B$241</c:f>
              <c:numCache>
                <c:formatCode>General</c:formatCode>
                <c:ptCount val="55"/>
                <c:pt idx="0">
                  <c:v>0.20405581714886944</c:v>
                </c:pt>
                <c:pt idx="1">
                  <c:v>0.20416198043470793</c:v>
                </c:pt>
                <c:pt idx="2">
                  <c:v>0.205968909838045</c:v>
                </c:pt>
                <c:pt idx="3">
                  <c:v>0.21162490105484366</c:v>
                </c:pt>
                <c:pt idx="4">
                  <c:v>0.20675714447488813</c:v>
                </c:pt>
                <c:pt idx="5">
                  <c:v>0.20946435529624377</c:v>
                </c:pt>
                <c:pt idx="6">
                  <c:v>0.21089288188929073</c:v>
                </c:pt>
                <c:pt idx="7">
                  <c:v>0.20968621658173903</c:v>
                </c:pt>
                <c:pt idx="8">
                  <c:v>0.2053657081947058</c:v>
                </c:pt>
                <c:pt idx="9">
                  <c:v>0.20897849150772568</c:v>
                </c:pt>
                <c:pt idx="10">
                  <c:v>0.2054664671613915</c:v>
                </c:pt>
                <c:pt idx="11">
                  <c:v>0.2092224473325065</c:v>
                </c:pt>
                <c:pt idx="12">
                  <c:v>0.2072163356542152</c:v>
                </c:pt>
                <c:pt idx="13">
                  <c:v>0.2111663166220377</c:v>
                </c:pt>
                <c:pt idx="14">
                  <c:v>0.21147357895760047</c:v>
                </c:pt>
                <c:pt idx="15">
                  <c:v>0.2111237659151203</c:v>
                </c:pt>
                <c:pt idx="16">
                  <c:v>0.20776554519258802</c:v>
                </c:pt>
                <c:pt idx="17">
                  <c:v>0.21466784055101587</c:v>
                </c:pt>
                <c:pt idx="18">
                  <c:v>0.2080419086002191</c:v>
                </c:pt>
                <c:pt idx="19">
                  <c:v>0.20413008248008738</c:v>
                </c:pt>
                <c:pt idx="20">
                  <c:v>0.21149881518019636</c:v>
                </c:pt>
                <c:pt idx="21">
                  <c:v>0.21358447744030892</c:v>
                </c:pt>
                <c:pt idx="22">
                  <c:v>0.2116717672706208</c:v>
                </c:pt>
                <c:pt idx="23">
                  <c:v>0.21352681344122953</c:v>
                </c:pt>
                <c:pt idx="24">
                  <c:v>0.21520061576476918</c:v>
                </c:pt>
                <c:pt idx="25">
                  <c:v>0.21345895979741875</c:v>
                </c:pt>
                <c:pt idx="26">
                  <c:v>0.21364793950350197</c:v>
                </c:pt>
                <c:pt idx="27">
                  <c:v>0.21172801652098958</c:v>
                </c:pt>
                <c:pt idx="28">
                  <c:v>0.21306505935551923</c:v>
                </c:pt>
                <c:pt idx="29">
                  <c:v>0.21612203252217851</c:v>
                </c:pt>
                <c:pt idx="30">
                  <c:v>0.2141011202296226</c:v>
                </c:pt>
                <c:pt idx="31">
                  <c:v>0.21676861685790857</c:v>
                </c:pt>
                <c:pt idx="32">
                  <c:v>0.21543549767821818</c:v>
                </c:pt>
                <c:pt idx="33">
                  <c:v>0.21110195687188005</c:v>
                </c:pt>
                <c:pt idx="34">
                  <c:v>0.20956292983631958</c:v>
                </c:pt>
                <c:pt idx="35">
                  <c:v>0.20998431372769105</c:v>
                </c:pt>
                <c:pt idx="36">
                  <c:v>0.21290488204825686</c:v>
                </c:pt>
                <c:pt idx="37">
                  <c:v>0.21466385613423722</c:v>
                </c:pt>
                <c:pt idx="38">
                  <c:v>0.21437873897880444</c:v>
                </c:pt>
                <c:pt idx="39">
                  <c:v>0.2091992038047435</c:v>
                </c:pt>
                <c:pt idx="40">
                  <c:v>0.20449177646491098</c:v>
                </c:pt>
                <c:pt idx="41">
                  <c:v>0.20437703682069325</c:v>
                </c:pt>
                <c:pt idx="42">
                  <c:v>0.20935991535461573</c:v>
                </c:pt>
                <c:pt idx="43">
                  <c:v>0.2020156329428936</c:v>
                </c:pt>
                <c:pt idx="44">
                  <c:v>0.19711264009826046</c:v>
                </c:pt>
                <c:pt idx="45">
                  <c:v>0.1983818909931339</c:v>
                </c:pt>
                <c:pt idx="46">
                  <c:v>0.20396656512590416</c:v>
                </c:pt>
                <c:pt idx="47">
                  <c:v>0.2057960245587785</c:v>
                </c:pt>
                <c:pt idx="48">
                  <c:v>0.20313816570053828</c:v>
                </c:pt>
                <c:pt idx="49">
                  <c:v>0.20226969773479148</c:v>
                </c:pt>
                <c:pt idx="50">
                  <c:v>0.19980734329063665</c:v>
                </c:pt>
                <c:pt idx="51">
                  <c:v>0.2025479978950515</c:v>
                </c:pt>
                <c:pt idx="52">
                  <c:v>0.21747157585768034</c:v>
                </c:pt>
                <c:pt idx="53">
                  <c:v>0.2751432211101278</c:v>
                </c:pt>
                <c:pt idx="54">
                  <c:v>0.208956496468687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551829268292687"/>
          <c:min val="0.117382125263898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7.455</c:v>
                </c:pt>
                <c:pt idx="1">
                  <c:v>865.8819</c:v>
                </c:pt>
                <c:pt idx="2">
                  <c:v>856.0647</c:v>
                </c:pt>
                <c:pt idx="3">
                  <c:v>859.524</c:v>
                </c:pt>
                <c:pt idx="4">
                  <c:v>855.54</c:v>
                </c:pt>
                <c:pt idx="5">
                  <c:v>853.3917</c:v>
                </c:pt>
                <c:pt idx="6">
                  <c:v>847.9569</c:v>
                </c:pt>
                <c:pt idx="7">
                  <c:v>849.9454</c:v>
                </c:pt>
                <c:pt idx="8">
                  <c:v>844.7351</c:v>
                </c:pt>
                <c:pt idx="9">
                  <c:v>859.2898</c:v>
                </c:pt>
                <c:pt idx="10">
                  <c:v>860.8438</c:v>
                </c:pt>
                <c:pt idx="11">
                  <c:v>904.5011</c:v>
                </c:pt>
                <c:pt idx="12">
                  <c:v>923.745</c:v>
                </c:pt>
                <c:pt idx="13">
                  <c:v>929.0929</c:v>
                </c:pt>
                <c:pt idx="14">
                  <c:v>945.6837</c:v>
                </c:pt>
                <c:pt idx="15">
                  <c:v>954.5784</c:v>
                </c:pt>
                <c:pt idx="16">
                  <c:v>962.849</c:v>
                </c:pt>
                <c:pt idx="17">
                  <c:v>1001.0265</c:v>
                </c:pt>
                <c:pt idx="18">
                  <c:v>1033.32</c:v>
                </c:pt>
                <c:pt idx="19">
                  <c:v>1050.6495</c:v>
                </c:pt>
                <c:pt idx="20">
                  <c:v>1084.7212</c:v>
                </c:pt>
                <c:pt idx="21">
                  <c:v>1084.8256</c:v>
                </c:pt>
                <c:pt idx="22">
                  <c:v>1061.9722</c:v>
                </c:pt>
                <c:pt idx="23">
                  <c:v>1042.2033</c:v>
                </c:pt>
                <c:pt idx="24">
                  <c:v>1033.1489</c:v>
                </c:pt>
                <c:pt idx="25">
                  <c:v>1048.3909</c:v>
                </c:pt>
                <c:pt idx="26">
                  <c:v>1032.7426</c:v>
                </c:pt>
                <c:pt idx="27">
                  <c:v>1033.4291</c:v>
                </c:pt>
                <c:pt idx="28">
                  <c:v>1040.2648</c:v>
                </c:pt>
                <c:pt idx="29">
                  <c:v>1019.2896</c:v>
                </c:pt>
                <c:pt idx="30">
                  <c:v>1040.2252</c:v>
                </c:pt>
                <c:pt idx="31">
                  <c:v>984.1929</c:v>
                </c:pt>
                <c:pt idx="32">
                  <c:v>988.9481</c:v>
                </c:pt>
                <c:pt idx="33">
                  <c:v>971.0747</c:v>
                </c:pt>
                <c:pt idx="34">
                  <c:v>969.4369</c:v>
                </c:pt>
                <c:pt idx="35">
                  <c:v>991.3855</c:v>
                </c:pt>
                <c:pt idx="36">
                  <c:v>1049.1737</c:v>
                </c:pt>
                <c:pt idx="37">
                  <c:v>1047.7656</c:v>
                </c:pt>
                <c:pt idx="38">
                  <c:v>1103.8267</c:v>
                </c:pt>
                <c:pt idx="39">
                  <c:v>1132.8913</c:v>
                </c:pt>
                <c:pt idx="40">
                  <c:v>1132.1812</c:v>
                </c:pt>
                <c:pt idx="41">
                  <c:v>1174.8732</c:v>
                </c:pt>
                <c:pt idx="42">
                  <c:v>1172.1263</c:v>
                </c:pt>
                <c:pt idx="43">
                  <c:v>1189.6589</c:v>
                </c:pt>
                <c:pt idx="44">
                  <c:v>1135.5186</c:v>
                </c:pt>
                <c:pt idx="45">
                  <c:v>1107.8936</c:v>
                </c:pt>
                <c:pt idx="46">
                  <c:v>1106.5265</c:v>
                </c:pt>
                <c:pt idx="47">
                  <c:v>1091.6636</c:v>
                </c:pt>
                <c:pt idx="48">
                  <c:v>1105.6108</c:v>
                </c:pt>
                <c:pt idx="49">
                  <c:v>1080.0666</c:v>
                </c:pt>
                <c:pt idx="50">
                  <c:v>1056.6206</c:v>
                </c:pt>
                <c:pt idx="51">
                  <c:v>1080.591</c:v>
                </c:pt>
                <c:pt idx="52">
                  <c:v>1053.2375</c:v>
                </c:pt>
                <c:pt idx="53">
                  <c:v>1082.7356</c:v>
                </c:pt>
                <c:pt idx="54">
                  <c:v>1082.179</c:v>
                </c:pt>
                <c:pt idx="55">
                  <c:v>1096.6734</c:v>
                </c:pt>
                <c:pt idx="56">
                  <c:v>1115.9929</c:v>
                </c:pt>
                <c:pt idx="57">
                  <c:v>1085.8529</c:v>
                </c:pt>
                <c:pt idx="58">
                  <c:v>1094.6718</c:v>
                </c:pt>
                <c:pt idx="59">
                  <c:v>1048.9992</c:v>
                </c:pt>
                <c:pt idx="60">
                  <c:v>1033.614</c:v>
                </c:pt>
                <c:pt idx="61">
                  <c:v>1037.5979</c:v>
                </c:pt>
                <c:pt idx="62">
                  <c:v>1043.2641</c:v>
                </c:pt>
                <c:pt idx="63">
                  <c:v>1040.9488</c:v>
                </c:pt>
                <c:pt idx="64">
                  <c:v>1038.6174</c:v>
                </c:pt>
                <c:pt idx="65">
                  <c:v>1053.7708</c:v>
                </c:pt>
                <c:pt idx="66">
                  <c:v>1058.6456</c:v>
                </c:pt>
                <c:pt idx="67">
                  <c:v>1052.8545</c:v>
                </c:pt>
                <c:pt idx="68">
                  <c:v>1088.2549</c:v>
                </c:pt>
                <c:pt idx="69">
                  <c:v>1096.2904</c:v>
                </c:pt>
                <c:pt idx="70">
                  <c:v>1033.4354</c:v>
                </c:pt>
                <c:pt idx="71">
                  <c:v>1110.4391</c:v>
                </c:pt>
                <c:pt idx="72">
                  <c:v>1276.6</c:v>
                </c:pt>
                <c:pt idx="73">
                  <c:v>1197.3512</c:v>
                </c:pt>
                <c:pt idx="74">
                  <c:v>1190.868</c:v>
                </c:pt>
                <c:pt idx="75">
                  <c:v>1169.3899</c:v>
                </c:pt>
                <c:pt idx="76">
                  <c:v>1142.8834</c:v>
                </c:pt>
                <c:pt idx="77">
                  <c:v>1165.8652</c:v>
                </c:pt>
                <c:pt idx="78">
                  <c:v>1172.9788</c:v>
                </c:pt>
                <c:pt idx="79">
                  <c:v>1113.2235</c:v>
                </c:pt>
                <c:pt idx="80">
                  <c:v>1178.3348</c:v>
                </c:pt>
                <c:pt idx="81">
                  <c:v>1204.7525</c:v>
                </c:pt>
                <c:pt idx="82">
                  <c:v>1204.9544</c:v>
                </c:pt>
                <c:pt idx="83">
                  <c:v>1164.4212</c:v>
                </c:pt>
                <c:pt idx="84">
                  <c:v>1173.8824</c:v>
                </c:pt>
                <c:pt idx="85">
                  <c:v>1167.4304</c:v>
                </c:pt>
                <c:pt idx="86">
                  <c:v>1173.2339</c:v>
                </c:pt>
                <c:pt idx="87">
                  <c:v>1187.662</c:v>
                </c:pt>
                <c:pt idx="88">
                  <c:v>1238.6108</c:v>
                </c:pt>
                <c:pt idx="89">
                  <c:v>1213.4157</c:v>
                </c:pt>
                <c:pt idx="90">
                  <c:v>1250.6008</c:v>
                </c:pt>
                <c:pt idx="91">
                  <c:v>1217.8146</c:v>
                </c:pt>
                <c:pt idx="92">
                  <c:v>1139.6513</c:v>
                </c:pt>
                <c:pt idx="93">
                  <c:v>1177.1902</c:v>
                </c:pt>
                <c:pt idx="94">
                  <c:v>1197.0354</c:v>
                </c:pt>
                <c:pt idx="95">
                  <c:v>1176.1918</c:v>
                </c:pt>
                <c:pt idx="96">
                  <c:v>1168.666</c:v>
                </c:pt>
                <c:pt idx="97">
                  <c:v>1156.6635</c:v>
                </c:pt>
                <c:pt idx="98">
                  <c:v>1153.7612</c:v>
                </c:pt>
                <c:pt idx="99">
                  <c:v>1110.897</c:v>
                </c:pt>
                <c:pt idx="100">
                  <c:v>1115.0933</c:v>
                </c:pt>
                <c:pt idx="101">
                  <c:v>1108.6918</c:v>
                </c:pt>
                <c:pt idx="102">
                  <c:v>1108.8396</c:v>
                </c:pt>
                <c:pt idx="103">
                  <c:v>1083.9868</c:v>
                </c:pt>
                <c:pt idx="104">
                  <c:v>1120.026</c:v>
                </c:pt>
              </c:numCache>
            </c:numRef>
          </c:xVal>
          <c:yVal>
            <c:numRef>
              <c:f>Sheet1!$B$2:$B$106</c:f>
              <c:numCache>
                <c:formatCode>General</c:formatCode>
                <c:ptCount val="105"/>
                <c:pt idx="0">
                  <c:v>0.27097784739315284</c:v>
                </c:pt>
                <c:pt idx="1">
                  <c:v>0.25309362596310997</c:v>
                </c:pt>
                <c:pt idx="2">
                  <c:v>0.26281179138322</c:v>
                </c:pt>
                <c:pt idx="3">
                  <c:v>0.253411306042885</c:v>
                </c:pt>
                <c:pt idx="4">
                  <c:v>0.252719925396332</c:v>
                </c:pt>
                <c:pt idx="5">
                  <c:v>0.26605101143359716</c:v>
                </c:pt>
                <c:pt idx="6">
                  <c:v>0.29114342366159945</c:v>
                </c:pt>
                <c:pt idx="7">
                  <c:v>0.32126524390243905</c:v>
                </c:pt>
                <c:pt idx="8">
                  <c:v>0.3048148148148148</c:v>
                </c:pt>
                <c:pt idx="9">
                  <c:v>0.2748743718592965</c:v>
                </c:pt>
                <c:pt idx="10">
                  <c:v>0.2593058350100604</c:v>
                </c:pt>
                <c:pt idx="11">
                  <c:v>0.2216867469879518</c:v>
                </c:pt>
                <c:pt idx="12">
                  <c:v>0.20717391304347826</c:v>
                </c:pt>
                <c:pt idx="13">
                  <c:v>0.18612059158134245</c:v>
                </c:pt>
                <c:pt idx="14">
                  <c:v>0.16404736275565124</c:v>
                </c:pt>
                <c:pt idx="15">
                  <c:v>0.1568279706105903</c:v>
                </c:pt>
                <c:pt idx="16">
                  <c:v>0.15012594458438286</c:v>
                </c:pt>
                <c:pt idx="17">
                  <c:v>0.16107954545454545</c:v>
                </c:pt>
                <c:pt idx="18">
                  <c:v>0.15587114651887773</c:v>
                </c:pt>
                <c:pt idx="19">
                  <c:v>0.15576073865917303</c:v>
                </c:pt>
                <c:pt idx="20">
                  <c:v>0.15050651230101303</c:v>
                </c:pt>
                <c:pt idx="21">
                  <c:v>0.18506998444790046</c:v>
                </c:pt>
                <c:pt idx="22">
                  <c:v>0.18345746765974127</c:v>
                </c:pt>
                <c:pt idx="23">
                  <c:v>0.21529968454258674</c:v>
                </c:pt>
                <c:pt idx="24">
                  <c:v>0.21590440873506386</c:v>
                </c:pt>
                <c:pt idx="25">
                  <c:v>0.22104779411764705</c:v>
                </c:pt>
                <c:pt idx="26">
                  <c:v>0.23942093541202672</c:v>
                </c:pt>
                <c:pt idx="27">
                  <c:v>0.22708093594169543</c:v>
                </c:pt>
                <c:pt idx="28">
                  <c:v>0.2274645186037591</c:v>
                </c:pt>
                <c:pt idx="29">
                  <c:v>0.2121524201853759</c:v>
                </c:pt>
                <c:pt idx="30">
                  <c:v>0.2084176446782679</c:v>
                </c:pt>
                <c:pt idx="31">
                  <c:v>0.2248995983935743</c:v>
                </c:pt>
                <c:pt idx="32">
                  <c:v>0.2361963190184049</c:v>
                </c:pt>
                <c:pt idx="33">
                  <c:v>0.2164705882352941</c:v>
                </c:pt>
                <c:pt idx="34">
                  <c:v>0.2143052143052143</c:v>
                </c:pt>
                <c:pt idx="35">
                  <c:v>0.22861150070126227</c:v>
                </c:pt>
                <c:pt idx="36">
                  <c:v>0.20395185101067453</c:v>
                </c:pt>
                <c:pt idx="37">
                  <c:v>0.208710407239819</c:v>
                </c:pt>
                <c:pt idx="38">
                  <c:v>0.18395303326810175</c:v>
                </c:pt>
                <c:pt idx="39">
                  <c:v>0.17969250480461244</c:v>
                </c:pt>
                <c:pt idx="40">
                  <c:v>0.17581792318634423</c:v>
                </c:pt>
                <c:pt idx="41">
                  <c:v>0.18222222222222223</c:v>
                </c:pt>
                <c:pt idx="42">
                  <c:v>0.18814110582937202</c:v>
                </c:pt>
                <c:pt idx="43">
                  <c:v>0.16986120290812953</c:v>
                </c:pt>
                <c:pt idx="44">
                  <c:v>0.15857553497285212</c:v>
                </c:pt>
                <c:pt idx="45">
                  <c:v>0.18501023460872304</c:v>
                </c:pt>
                <c:pt idx="46">
                  <c:v>0.17886557886557886</c:v>
                </c:pt>
                <c:pt idx="47">
                  <c:v>0.1835907034783965</c:v>
                </c:pt>
                <c:pt idx="48">
                  <c:v>0.17207177086816003</c:v>
                </c:pt>
                <c:pt idx="49">
                  <c:v>0.18725003999360101</c:v>
                </c:pt>
                <c:pt idx="50">
                  <c:v>0.18284023668639054</c:v>
                </c:pt>
                <c:pt idx="51">
                  <c:v>0.1761544585987261</c:v>
                </c:pt>
                <c:pt idx="52">
                  <c:v>0.18808895589898228</c:v>
                </c:pt>
                <c:pt idx="53">
                  <c:v>0.19502407704654895</c:v>
                </c:pt>
                <c:pt idx="54">
                  <c:v>0.2009163802978236</c:v>
                </c:pt>
                <c:pt idx="55">
                  <c:v>0.202776513427401</c:v>
                </c:pt>
                <c:pt idx="56">
                  <c:v>0.21318124207858047</c:v>
                </c:pt>
                <c:pt idx="57">
                  <c:v>0.2047514082782268</c:v>
                </c:pt>
                <c:pt idx="58">
                  <c:v>0.21432186234817813</c:v>
                </c:pt>
                <c:pt idx="59">
                  <c:v>0.19719419924337958</c:v>
                </c:pt>
                <c:pt idx="60">
                  <c:v>0.21196163249952982</c:v>
                </c:pt>
                <c:pt idx="61">
                  <c:v>0.22620309518761925</c:v>
                </c:pt>
                <c:pt idx="62">
                  <c:v>0.20974347919810304</c:v>
                </c:pt>
                <c:pt idx="63">
                  <c:v>0.2112334390744542</c:v>
                </c:pt>
                <c:pt idx="64">
                  <c:v>0.2064876177188699</c:v>
                </c:pt>
                <c:pt idx="65">
                  <c:v>0.1928962781031551</c:v>
                </c:pt>
                <c:pt idx="66">
                  <c:v>0.2095203087667708</c:v>
                </c:pt>
                <c:pt idx="67">
                  <c:v>0.2049463538825241</c:v>
                </c:pt>
                <c:pt idx="68">
                  <c:v>0.18160871386677838</c:v>
                </c:pt>
                <c:pt idx="69">
                  <c:v>0.16906792119964717</c:v>
                </c:pt>
                <c:pt idx="70">
                  <c:v>0.18329342910348498</c:v>
                </c:pt>
                <c:pt idx="71">
                  <c:v>0.17935103244837758</c:v>
                </c:pt>
                <c:pt idx="72">
                  <c:v>0.15633496465470365</c:v>
                </c:pt>
                <c:pt idx="73">
                  <c:v>0.1658291457286432</c:v>
                </c:pt>
                <c:pt idx="74">
                  <c:v>0.15436863229391787</c:v>
                </c:pt>
                <c:pt idx="75">
                  <c:v>0.17626471524021636</c:v>
                </c:pt>
                <c:pt idx="76">
                  <c:v>0.17921918229326775</c:v>
                </c:pt>
                <c:pt idx="77">
                  <c:v>0.17167530224525043</c:v>
                </c:pt>
                <c:pt idx="78">
                  <c:v>0.17554975773387999</c:v>
                </c:pt>
                <c:pt idx="79">
                  <c:v>0.15052667346245327</c:v>
                </c:pt>
                <c:pt idx="80">
                  <c:v>0.1500339443312967</c:v>
                </c:pt>
                <c:pt idx="81">
                  <c:v>0.15227963525835866</c:v>
                </c:pt>
                <c:pt idx="82">
                  <c:v>0.14672765657987333</c:v>
                </c:pt>
                <c:pt idx="83">
                  <c:v>0.14893617021276595</c:v>
                </c:pt>
                <c:pt idx="84">
                  <c:v>0.16831683168316833</c:v>
                </c:pt>
                <c:pt idx="85">
                  <c:v>0.163062743707905</c:v>
                </c:pt>
                <c:pt idx="86">
                  <c:v>0.17321073558648112</c:v>
                </c:pt>
                <c:pt idx="87">
                  <c:v>0.1880095923261391</c:v>
                </c:pt>
                <c:pt idx="88">
                  <c:v>0.1805</c:v>
                </c:pt>
                <c:pt idx="89">
                  <c:v>0.1697513013302487</c:v>
                </c:pt>
                <c:pt idx="90">
                  <c:v>0.17143797301743996</c:v>
                </c:pt>
                <c:pt idx="91">
                  <c:v>0.1587826662256037</c:v>
                </c:pt>
                <c:pt idx="92">
                  <c:v>0.16217658042144573</c:v>
                </c:pt>
                <c:pt idx="93">
                  <c:v>0.16402258671685938</c:v>
                </c:pt>
                <c:pt idx="94">
                  <c:v>0.17814786777693667</c:v>
                </c:pt>
                <c:pt idx="95">
                  <c:v>0.1774654074236767</c:v>
                </c:pt>
                <c:pt idx="96">
                  <c:v>0.1563338065941</c:v>
                </c:pt>
                <c:pt idx="97">
                  <c:v>0.14903983949555746</c:v>
                </c:pt>
                <c:pt idx="98">
                  <c:v>0.15463520964226182</c:v>
                </c:pt>
                <c:pt idx="99">
                  <c:v>0.16085384346203196</c:v>
                </c:pt>
                <c:pt idx="100">
                  <c:v>0.1653812445223488</c:v>
                </c:pt>
                <c:pt idx="101">
                  <c:v>0.18936170212765957</c:v>
                </c:pt>
                <c:pt idx="102">
                  <c:v>0.18584070796460178</c:v>
                </c:pt>
                <c:pt idx="103">
                  <c:v>0.18085953044170314</c:v>
                </c:pt>
                <c:pt idx="104">
                  <c:v>0.17791127541589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6.3998</c:v>
                </c:pt>
                <c:pt idx="1">
                  <c:v>1141.494</c:v>
                </c:pt>
                <c:pt idx="2">
                  <c:v>1152.2188</c:v>
                </c:pt>
                <c:pt idx="3">
                  <c:v>1140.2586</c:v>
                </c:pt>
                <c:pt idx="4">
                  <c:v>1176.3192</c:v>
                </c:pt>
                <c:pt idx="5">
                  <c:v>1158.2647</c:v>
                </c:pt>
                <c:pt idx="6">
                  <c:v>1110.6319</c:v>
                </c:pt>
                <c:pt idx="7">
                  <c:v>1194.0749</c:v>
                </c:pt>
                <c:pt idx="8">
                  <c:v>1213.0741</c:v>
                </c:pt>
                <c:pt idx="9">
                  <c:v>1164.66</c:v>
                </c:pt>
                <c:pt idx="10">
                  <c:v>1225.4502</c:v>
                </c:pt>
                <c:pt idx="11">
                  <c:v>1111.4647</c:v>
                </c:pt>
                <c:pt idx="12">
                  <c:v>1115.8625</c:v>
                </c:pt>
                <c:pt idx="13">
                  <c:v>1159.1377</c:v>
                </c:pt>
                <c:pt idx="14">
                  <c:v>1146.4413</c:v>
                </c:pt>
                <c:pt idx="15">
                  <c:v>1158.5382</c:v>
                </c:pt>
                <c:pt idx="16">
                  <c:v>1199.0929</c:v>
                </c:pt>
                <c:pt idx="17">
                  <c:v>1059.5236</c:v>
                </c:pt>
                <c:pt idx="18">
                  <c:v>1133.0941</c:v>
                </c:pt>
                <c:pt idx="19">
                  <c:v>1289.3959</c:v>
                </c:pt>
                <c:pt idx="20">
                  <c:v>1229.4673</c:v>
                </c:pt>
                <c:pt idx="21">
                  <c:v>1157.42</c:v>
                </c:pt>
                <c:pt idx="22">
                  <c:v>1186.819</c:v>
                </c:pt>
                <c:pt idx="23">
                  <c:v>1222.0129</c:v>
                </c:pt>
                <c:pt idx="24">
                  <c:v>1199.1703</c:v>
                </c:pt>
                <c:pt idx="25">
                  <c:v>1203.7209</c:v>
                </c:pt>
                <c:pt idx="26">
                  <c:v>1158.0882</c:v>
                </c:pt>
                <c:pt idx="27">
                  <c:v>1154.0772</c:v>
                </c:pt>
                <c:pt idx="28">
                  <c:v>1171.4631</c:v>
                </c:pt>
                <c:pt idx="29">
                  <c:v>1192.7008</c:v>
                </c:pt>
                <c:pt idx="30">
                  <c:v>1205.8105</c:v>
                </c:pt>
                <c:pt idx="31">
                  <c:v>1155.7277</c:v>
                </c:pt>
                <c:pt idx="32">
                  <c:v>1180.5405</c:v>
                </c:pt>
                <c:pt idx="33">
                  <c:v>1211.488</c:v>
                </c:pt>
                <c:pt idx="34">
                  <c:v>1205.7488</c:v>
                </c:pt>
                <c:pt idx="35">
                  <c:v>1241.087</c:v>
                </c:pt>
                <c:pt idx="36">
                  <c:v>1281.7567</c:v>
                </c:pt>
                <c:pt idx="37">
                  <c:v>1291.0367</c:v>
                </c:pt>
                <c:pt idx="38">
                  <c:v>1325.9836</c:v>
                </c:pt>
                <c:pt idx="39">
                  <c:v>1261.2726</c:v>
                </c:pt>
                <c:pt idx="40">
                  <c:v>1278.4828</c:v>
                </c:pt>
                <c:pt idx="41">
                  <c:v>1288.4378</c:v>
                </c:pt>
                <c:pt idx="42">
                  <c:v>1231.0696</c:v>
                </c:pt>
                <c:pt idx="43">
                  <c:v>1307.1711</c:v>
                </c:pt>
                <c:pt idx="44">
                  <c:v>1250.941</c:v>
                </c:pt>
                <c:pt idx="45">
                  <c:v>1208.8552</c:v>
                </c:pt>
                <c:pt idx="46">
                  <c:v>1176.0381</c:v>
                </c:pt>
                <c:pt idx="47">
                  <c:v>1135.011</c:v>
                </c:pt>
                <c:pt idx="48">
                  <c:v>1098.2152</c:v>
                </c:pt>
                <c:pt idx="49">
                  <c:v>1122.8412</c:v>
                </c:pt>
                <c:pt idx="50">
                  <c:v>1123.4152</c:v>
                </c:pt>
                <c:pt idx="51">
                  <c:v>1075.2153</c:v>
                </c:pt>
              </c:numCache>
            </c:numRef>
          </c:xVal>
          <c:yVal>
            <c:numRef>
              <c:f>Sheet1!$B$109:$B$160</c:f>
              <c:numCache>
                <c:formatCode>General</c:formatCode>
                <c:ptCount val="52"/>
                <c:pt idx="0">
                  <c:v>0.1769530449046545</c:v>
                </c:pt>
                <c:pt idx="1">
                  <c:v>0.182370820668693</c:v>
                </c:pt>
                <c:pt idx="2">
                  <c:v>0.19719169719169719</c:v>
                </c:pt>
                <c:pt idx="3">
                  <c:v>0.22010557723204038</c:v>
                </c:pt>
                <c:pt idx="4">
                  <c:v>0.2003565856919991</c:v>
                </c:pt>
                <c:pt idx="5">
                  <c:v>0.21241750183329258</c:v>
                </c:pt>
                <c:pt idx="6">
                  <c:v>0.21563260340632603</c:v>
                </c:pt>
                <c:pt idx="7">
                  <c:v>0.1938877755511022</c:v>
                </c:pt>
                <c:pt idx="8">
                  <c:v>0.1978021978021978</c:v>
                </c:pt>
                <c:pt idx="9">
                  <c:v>0.20198310686742563</c:v>
                </c:pt>
                <c:pt idx="10">
                  <c:v>0.2053941908713693</c:v>
                </c:pt>
                <c:pt idx="11">
                  <c:v>0.19589786521557137</c:v>
                </c:pt>
                <c:pt idx="12">
                  <c:v>0.20179465776293823</c:v>
                </c:pt>
                <c:pt idx="13">
                  <c:v>0.2043322912014292</c:v>
                </c:pt>
                <c:pt idx="14">
                  <c:v>0.2113095238095238</c:v>
                </c:pt>
                <c:pt idx="15">
                  <c:v>0.20698607505310362</c:v>
                </c:pt>
                <c:pt idx="16">
                  <c:v>0.2022307014969181</c:v>
                </c:pt>
                <c:pt idx="17">
                  <c:v>0.2194452910697958</c:v>
                </c:pt>
                <c:pt idx="18">
                  <c:v>0.20615159282314172</c:v>
                </c:pt>
                <c:pt idx="19">
                  <c:v>0.19359803016312713</c:v>
                </c:pt>
                <c:pt idx="20">
                  <c:v>0.19565990750622556</c:v>
                </c:pt>
                <c:pt idx="21">
                  <c:v>0.2070124879923151</c:v>
                </c:pt>
                <c:pt idx="22">
                  <c:v>0.21911540416878494</c:v>
                </c:pt>
                <c:pt idx="23">
                  <c:v>0.21428571428571427</c:v>
                </c:pt>
                <c:pt idx="24">
                  <c:v>0.22407307898979043</c:v>
                </c:pt>
                <c:pt idx="25">
                  <c:v>0.22927100723427934</c:v>
                </c:pt>
                <c:pt idx="26">
                  <c:v>0.21155595996360327</c:v>
                </c:pt>
                <c:pt idx="27">
                  <c:v>0.2102970297029703</c:v>
                </c:pt>
                <c:pt idx="28">
                  <c:v>0.21089494163424125</c:v>
                </c:pt>
                <c:pt idx="29">
                  <c:v>0.2245340268747291</c:v>
                </c:pt>
                <c:pt idx="30">
                  <c:v>0.22052130740587506</c:v>
                </c:pt>
                <c:pt idx="31">
                  <c:v>0.20972780008924588</c:v>
                </c:pt>
                <c:pt idx="32">
                  <c:v>0.2119876597620097</c:v>
                </c:pt>
                <c:pt idx="33">
                  <c:v>0.21551444336254463</c:v>
                </c:pt>
                <c:pt idx="34">
                  <c:v>0.22535211267605634</c:v>
                </c:pt>
                <c:pt idx="35">
                  <c:v>0.22949946751863684</c:v>
                </c:pt>
                <c:pt idx="36">
                  <c:v>0.21570247933884298</c:v>
                </c:pt>
                <c:pt idx="37">
                  <c:v>0.2223869532987398</c:v>
                </c:pt>
                <c:pt idx="38">
                  <c:v>0.20243362831858408</c:v>
                </c:pt>
                <c:pt idx="39">
                  <c:v>0.20834758809442352</c:v>
                </c:pt>
                <c:pt idx="40">
                  <c:v>0.20768229166666666</c:v>
                </c:pt>
                <c:pt idx="41">
                  <c:v>0.20116699083078632</c:v>
                </c:pt>
                <c:pt idx="42">
                  <c:v>0.20061307901907358</c:v>
                </c:pt>
                <c:pt idx="43">
                  <c:v>0.19267605633802817</c:v>
                </c:pt>
                <c:pt idx="44">
                  <c:v>0.19033440219880898</c:v>
                </c:pt>
                <c:pt idx="45">
                  <c:v>0.20527704485488127</c:v>
                </c:pt>
                <c:pt idx="46">
                  <c:v>0.22538751571009635</c:v>
                </c:pt>
                <c:pt idx="47">
                  <c:v>0.21755162241887904</c:v>
                </c:pt>
                <c:pt idx="48">
                  <c:v>0.2107331821617536</c:v>
                </c:pt>
                <c:pt idx="49">
                  <c:v>0.22798367902074124</c:v>
                </c:pt>
                <c:pt idx="50">
                  <c:v>0.2132434225071855</c:v>
                </c:pt>
                <c:pt idx="51">
                  <c:v>0.215437579271607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625.2257866456016</c:v>
                </c:pt>
              </c:numCache>
            </c:numRef>
          </c:xVal>
          <c:yVal>
            <c:numRef>
              <c:f>Sheet1!$B$163:$B$164</c:f>
              <c:numCache>
                <c:formatCode>General</c:formatCode>
                <c:ptCount val="2"/>
                <c:pt idx="0">
                  <c:v>0.2751432211101278</c:v>
                </c:pt>
                <c:pt idx="1">
                  <c:v>0.27514322111012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625.2257866456016</c:v>
                </c:pt>
                <c:pt idx="1">
                  <c:v>-2625.2257866456016</c:v>
                </c:pt>
              </c:numCache>
            </c:numRef>
          </c:xVal>
          <c:yVal>
            <c:numRef>
              <c:f>Sheet1!$B$167:$B$168</c:f>
              <c:numCache>
                <c:formatCode>General</c:formatCode>
                <c:ptCount val="2"/>
                <c:pt idx="0">
                  <c:v>0.2751432211101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92.5810960567522</c:v>
                </c:pt>
              </c:numCache>
            </c:numRef>
          </c:xVal>
          <c:yVal>
            <c:numRef>
              <c:f>Sheet1!$B$171:$B$172</c:f>
              <c:numCache>
                <c:formatCode>General</c:formatCode>
                <c:ptCount val="2"/>
                <c:pt idx="0">
                  <c:v>0.21747157585768034</c:v>
                </c:pt>
                <c:pt idx="1">
                  <c:v>0.217471575857680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92.5810960567522</c:v>
                </c:pt>
                <c:pt idx="1">
                  <c:v>692.5810960567522</c:v>
                </c:pt>
              </c:numCache>
            </c:numRef>
          </c:xVal>
          <c:yVal>
            <c:numRef>
              <c:f>Sheet1!$B$175:$B$176</c:f>
              <c:numCache>
                <c:formatCode>General</c:formatCode>
                <c:ptCount val="2"/>
                <c:pt idx="0">
                  <c:v>0.217471575857680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2.4472838496185</c:v>
                </c:pt>
              </c:numCache>
            </c:numRef>
          </c:xVal>
          <c:yVal>
            <c:numRef>
              <c:f>Sheet1!$B$179:$B$180</c:f>
              <c:numCache>
                <c:formatCode>General</c:formatCode>
                <c:ptCount val="2"/>
                <c:pt idx="0">
                  <c:v>0.20895649646868703</c:v>
                </c:pt>
                <c:pt idx="1">
                  <c:v>0.2089564964686870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2.4472838496185</c:v>
                </c:pt>
                <c:pt idx="1">
                  <c:v>1182.4472838496185</c:v>
                </c:pt>
              </c:numCache>
            </c:numRef>
          </c:xVal>
          <c:yVal>
            <c:numRef>
              <c:f>Sheet1!$B$183:$B$184</c:f>
              <c:numCache>
                <c:formatCode>General</c:formatCode>
                <c:ptCount val="2"/>
                <c:pt idx="0">
                  <c:v>0.208956496468687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6.3998</c:v>
                </c:pt>
                <c:pt idx="1">
                  <c:v>1141.494</c:v>
                </c:pt>
                <c:pt idx="2">
                  <c:v>1152.2188</c:v>
                </c:pt>
                <c:pt idx="3">
                  <c:v>1140.2586</c:v>
                </c:pt>
                <c:pt idx="4">
                  <c:v>1176.3192</c:v>
                </c:pt>
                <c:pt idx="5">
                  <c:v>1158.2647</c:v>
                </c:pt>
                <c:pt idx="6">
                  <c:v>1110.6319</c:v>
                </c:pt>
                <c:pt idx="7">
                  <c:v>1194.0749</c:v>
                </c:pt>
                <c:pt idx="8">
                  <c:v>1213.0741</c:v>
                </c:pt>
                <c:pt idx="9">
                  <c:v>1164.66</c:v>
                </c:pt>
                <c:pt idx="10">
                  <c:v>1225.4502</c:v>
                </c:pt>
                <c:pt idx="11">
                  <c:v>1111.4647</c:v>
                </c:pt>
                <c:pt idx="12">
                  <c:v>1115.8625</c:v>
                </c:pt>
                <c:pt idx="13">
                  <c:v>1159.1377</c:v>
                </c:pt>
                <c:pt idx="14">
                  <c:v>1146.4413</c:v>
                </c:pt>
                <c:pt idx="15">
                  <c:v>1158.5382</c:v>
                </c:pt>
                <c:pt idx="16">
                  <c:v>1199.0929</c:v>
                </c:pt>
                <c:pt idx="17">
                  <c:v>1059.5236</c:v>
                </c:pt>
                <c:pt idx="18">
                  <c:v>1133.0941</c:v>
                </c:pt>
                <c:pt idx="19">
                  <c:v>1289.3959</c:v>
                </c:pt>
                <c:pt idx="20">
                  <c:v>1229.4673</c:v>
                </c:pt>
                <c:pt idx="21">
                  <c:v>1157.42</c:v>
                </c:pt>
                <c:pt idx="22">
                  <c:v>1186.819</c:v>
                </c:pt>
                <c:pt idx="23">
                  <c:v>1222.0129</c:v>
                </c:pt>
                <c:pt idx="24">
                  <c:v>1199.1703</c:v>
                </c:pt>
                <c:pt idx="25">
                  <c:v>1203.7209</c:v>
                </c:pt>
                <c:pt idx="26">
                  <c:v>1158.0882</c:v>
                </c:pt>
                <c:pt idx="27">
                  <c:v>1154.0772</c:v>
                </c:pt>
                <c:pt idx="28">
                  <c:v>1171.4631</c:v>
                </c:pt>
                <c:pt idx="29">
                  <c:v>1192.7008</c:v>
                </c:pt>
                <c:pt idx="30">
                  <c:v>1205.8105</c:v>
                </c:pt>
                <c:pt idx="31">
                  <c:v>1155.7277</c:v>
                </c:pt>
                <c:pt idx="32">
                  <c:v>1180.5405</c:v>
                </c:pt>
                <c:pt idx="33">
                  <c:v>1211.488</c:v>
                </c:pt>
                <c:pt idx="34">
                  <c:v>1205.7488</c:v>
                </c:pt>
                <c:pt idx="35">
                  <c:v>1241.087</c:v>
                </c:pt>
                <c:pt idx="36">
                  <c:v>1281.7567</c:v>
                </c:pt>
                <c:pt idx="37">
                  <c:v>1291.0367</c:v>
                </c:pt>
                <c:pt idx="38">
                  <c:v>1325.9836</c:v>
                </c:pt>
                <c:pt idx="39">
                  <c:v>1261.2726</c:v>
                </c:pt>
                <c:pt idx="40">
                  <c:v>1278.4828</c:v>
                </c:pt>
                <c:pt idx="41">
                  <c:v>1288.4378</c:v>
                </c:pt>
                <c:pt idx="42">
                  <c:v>1231.0696</c:v>
                </c:pt>
                <c:pt idx="43">
                  <c:v>1307.1711</c:v>
                </c:pt>
                <c:pt idx="44">
                  <c:v>1250.941</c:v>
                </c:pt>
                <c:pt idx="45">
                  <c:v>1208.8552</c:v>
                </c:pt>
                <c:pt idx="46">
                  <c:v>1176.0381</c:v>
                </c:pt>
                <c:pt idx="47">
                  <c:v>1135.011</c:v>
                </c:pt>
                <c:pt idx="48">
                  <c:v>1098.2152</c:v>
                </c:pt>
                <c:pt idx="49">
                  <c:v>1122.8412</c:v>
                </c:pt>
                <c:pt idx="50">
                  <c:v>1123.4152</c:v>
                </c:pt>
                <c:pt idx="51">
                  <c:v>1075.2153</c:v>
                </c:pt>
                <c:pt idx="52">
                  <c:v>692.5810960567522</c:v>
                </c:pt>
                <c:pt idx="53">
                  <c:v>-2625.2257866456016</c:v>
                </c:pt>
                <c:pt idx="54">
                  <c:v>1182.4472838496185</c:v>
                </c:pt>
              </c:numCache>
            </c:numRef>
          </c:xVal>
          <c:yVal>
            <c:numRef>
              <c:f>Sheet1!$B$187:$B$241</c:f>
              <c:numCache>
                <c:formatCode>General</c:formatCode>
                <c:ptCount val="55"/>
                <c:pt idx="0">
                  <c:v>0.21010456421134283</c:v>
                </c:pt>
                <c:pt idx="1">
                  <c:v>0.20966836528492575</c:v>
                </c:pt>
                <c:pt idx="2">
                  <c:v>0.2094819418784797</c:v>
                </c:pt>
                <c:pt idx="3">
                  <c:v>0.209689839575945</c:v>
                </c:pt>
                <c:pt idx="4">
                  <c:v>0.20906301764075855</c:v>
                </c:pt>
                <c:pt idx="5">
                  <c:v>0.2093768492638825</c:v>
                </c:pt>
                <c:pt idx="6">
                  <c:v>0.2102048245020746</c:v>
                </c:pt>
                <c:pt idx="7">
                  <c:v>0.20875437989666695</c:v>
                </c:pt>
                <c:pt idx="8">
                  <c:v>0.2084241270636305</c:v>
                </c:pt>
                <c:pt idx="9">
                  <c:v>0.2092656832177796</c:v>
                </c:pt>
                <c:pt idx="10">
                  <c:v>0.20820900000107298</c:v>
                </c:pt>
                <c:pt idx="11">
                  <c:v>0.21019034838943024</c:v>
                </c:pt>
                <c:pt idx="12">
                  <c:v>0.21011390380707268</c:v>
                </c:pt>
                <c:pt idx="13">
                  <c:v>0.20936167437634826</c:v>
                </c:pt>
                <c:pt idx="14">
                  <c:v>0.20958236904082697</c:v>
                </c:pt>
                <c:pt idx="15">
                  <c:v>0.20937209516108685</c:v>
                </c:pt>
                <c:pt idx="16">
                  <c:v>0.20866715471264988</c:v>
                </c:pt>
                <c:pt idx="17">
                  <c:v>0.21109321247981455</c:v>
                </c:pt>
                <c:pt idx="18">
                  <c:v>0.2098143762102396</c:v>
                </c:pt>
                <c:pt idx="19">
                  <c:v>0.2070974664320017</c:v>
                </c:pt>
                <c:pt idx="20">
                  <c:v>0.20813917292121747</c:v>
                </c:pt>
                <c:pt idx="21">
                  <c:v>0.20939153222780024</c:v>
                </c:pt>
                <c:pt idx="22">
                  <c:v>0.20888050528780075</c:v>
                </c:pt>
                <c:pt idx="23">
                  <c:v>0.20826874873065088</c:v>
                </c:pt>
                <c:pt idx="24">
                  <c:v>0.20866580931024994</c:v>
                </c:pt>
                <c:pt idx="25">
                  <c:v>0.20858670868801238</c:v>
                </c:pt>
                <c:pt idx="26">
                  <c:v>0.20937991726806326</c:v>
                </c:pt>
                <c:pt idx="27">
                  <c:v>0.2094496383149131</c:v>
                </c:pt>
                <c:pt idx="28">
                  <c:v>0.2091474286045101</c:v>
                </c:pt>
                <c:pt idx="29">
                  <c:v>0.20877826513488093</c:v>
                </c:pt>
                <c:pt idx="30">
                  <c:v>0.20855038629970588</c:v>
                </c:pt>
                <c:pt idx="31">
                  <c:v>0.2094209485647696</c:v>
                </c:pt>
                <c:pt idx="32">
                  <c:v>0.20898964106258175</c:v>
                </c:pt>
                <c:pt idx="33">
                  <c:v>0.20845169738335337</c:v>
                </c:pt>
                <c:pt idx="34">
                  <c:v>0.20855145879748466</c:v>
                </c:pt>
                <c:pt idx="35">
                  <c:v>0.20793719395136434</c:v>
                </c:pt>
                <c:pt idx="36">
                  <c:v>0.2072302545200334</c:v>
                </c:pt>
                <c:pt idx="37">
                  <c:v>0.20706894529171968</c:v>
                </c:pt>
                <c:pt idx="38">
                  <c:v>0.20646148220217686</c:v>
                </c:pt>
                <c:pt idx="39">
                  <c:v>0.20758631856784607</c:v>
                </c:pt>
                <c:pt idx="40">
                  <c:v>0.20728716295565586</c:v>
                </c:pt>
                <c:pt idx="41">
                  <c:v>0.2071141205668775</c:v>
                </c:pt>
                <c:pt idx="42">
                  <c:v>0.20811132100564345</c:v>
                </c:pt>
                <c:pt idx="43">
                  <c:v>0.2067884897299411</c:v>
                </c:pt>
                <c:pt idx="44">
                  <c:v>0.20776590719104068</c:v>
                </c:pt>
                <c:pt idx="45">
                  <c:v>0.20849746192390342</c:v>
                </c:pt>
                <c:pt idx="46">
                  <c:v>0.20906790385024981</c:v>
                </c:pt>
                <c:pt idx="47">
                  <c:v>0.20978105577276604</c:v>
                </c:pt>
                <c:pt idx="48">
                  <c:v>0.21042065729250595</c:v>
                </c:pt>
                <c:pt idx="49">
                  <c:v>0.20999259683383634</c:v>
                </c:pt>
                <c:pt idx="50">
                  <c:v>0.20998261930182643</c:v>
                </c:pt>
                <c:pt idx="51">
                  <c:v>0.21082045213305478</c:v>
                </c:pt>
                <c:pt idx="52">
                  <c:v>0.21747157585768034</c:v>
                </c:pt>
                <c:pt idx="53">
                  <c:v>0.2751432211101278</c:v>
                </c:pt>
                <c:pt idx="54">
                  <c:v>0.2089564964686870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551829268292687"/>
          <c:min val="0.117382125263898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941569490816069</c:v>
                </c:pt>
                <c:pt idx="1">
                  <c:v>0.7767387057014655</c:v>
                </c:pt>
                <c:pt idx="2">
                  <c:v>0.7652465413872782</c:v>
                </c:pt>
                <c:pt idx="3">
                  <c:v>0.7524905691795297</c:v>
                </c:pt>
                <c:pt idx="4">
                  <c:v>0.7321238978114071</c:v>
                </c:pt>
                <c:pt idx="5">
                  <c:v>0.6802898410470667</c:v>
                </c:pt>
                <c:pt idx="6">
                  <c:v>0.7069642014483498</c:v>
                </c:pt>
                <c:pt idx="7">
                  <c:v>0.7104470595590983</c:v>
                </c:pt>
                <c:pt idx="8">
                  <c:v>0.7519860437474429</c:v>
                </c:pt>
                <c:pt idx="9">
                  <c:v>0.781625604077418</c:v>
                </c:pt>
                <c:pt idx="10">
                  <c:v>0.745288979582649</c:v>
                </c:pt>
                <c:pt idx="11">
                  <c:v>0.7990377106471093</c:v>
                </c:pt>
                <c:pt idx="12">
                  <c:v>0.7950108079023168</c:v>
                </c:pt>
                <c:pt idx="13">
                  <c:v>0.8123156953426528</c:v>
                </c:pt>
                <c:pt idx="14">
                  <c:v>0.8424754077038341</c:v>
                </c:pt>
                <c:pt idx="15">
                  <c:v>0.8076057096122229</c:v>
                </c:pt>
                <c:pt idx="16">
                  <c:v>0.8270223976124423</c:v>
                </c:pt>
                <c:pt idx="17">
                  <c:v>0.8614634732375513</c:v>
                </c:pt>
                <c:pt idx="18">
                  <c:v>0.8752809370415569</c:v>
                </c:pt>
                <c:pt idx="19">
                  <c:v>0.9268463672351163</c:v>
                </c:pt>
                <c:pt idx="20">
                  <c:v>0.9519331843196931</c:v>
                </c:pt>
                <c:pt idx="21">
                  <c:v>1.0508482095850245</c:v>
                </c:pt>
                <c:pt idx="22">
                  <c:v>1.0379387287361153</c:v>
                </c:pt>
                <c:pt idx="23">
                  <c:v>0.9167054929765645</c:v>
                </c:pt>
                <c:pt idx="24">
                  <c:v>0.7949007044359606</c:v>
                </c:pt>
                <c:pt idx="25">
                  <c:v>0.8866535826900445</c:v>
                </c:pt>
                <c:pt idx="26">
                  <c:v>0.8789738584364903</c:v>
                </c:pt>
                <c:pt idx="27">
                  <c:v>0.8834717049523547</c:v>
                </c:pt>
                <c:pt idx="28">
                  <c:v>0.8547453901511067</c:v>
                </c:pt>
                <c:pt idx="29">
                  <c:v>0.8212685340235293</c:v>
                </c:pt>
                <c:pt idx="30">
                  <c:v>0.8312597227342109</c:v>
                </c:pt>
                <c:pt idx="31">
                  <c:v>0.807601602873448</c:v>
                </c:pt>
                <c:pt idx="32">
                  <c:v>0.7778979339629891</c:v>
                </c:pt>
                <c:pt idx="33">
                  <c:v>0.777252490138217</c:v>
                </c:pt>
                <c:pt idx="34">
                  <c:v>0.7990171655223781</c:v>
                </c:pt>
                <c:pt idx="35">
                  <c:v>0.8368435158239936</c:v>
                </c:pt>
                <c:pt idx="36">
                  <c:v>0.8425009672301308</c:v>
                </c:pt>
                <c:pt idx="37">
                  <c:v>0.8480125883581158</c:v>
                </c:pt>
                <c:pt idx="38">
                  <c:v>0.8810247831113598</c:v>
                </c:pt>
                <c:pt idx="39">
                  <c:v>0.897341989091932</c:v>
                </c:pt>
                <c:pt idx="40">
                  <c:v>0.8908959341988225</c:v>
                </c:pt>
                <c:pt idx="41">
                  <c:v>0.8940020673080434</c:v>
                </c:pt>
                <c:pt idx="42">
                  <c:v>0.8868302571129628</c:v>
                </c:pt>
                <c:pt idx="43">
                  <c:v>0.9318246865234084</c:v>
                </c:pt>
                <c:pt idx="44">
                  <c:v>0.8859413821473449</c:v>
                </c:pt>
                <c:pt idx="45">
                  <c:v>0.8852405520660127</c:v>
                </c:pt>
                <c:pt idx="46">
                  <c:v>0.8827827421981904</c:v>
                </c:pt>
                <c:pt idx="47">
                  <c:v>0.8685599151285953</c:v>
                </c:pt>
                <c:pt idx="48">
                  <c:v>0.9058060981062971</c:v>
                </c:pt>
                <c:pt idx="49">
                  <c:v>0.9242030780225738</c:v>
                </c:pt>
                <c:pt idx="50">
                  <c:v>0.8660556964756089</c:v>
                </c:pt>
                <c:pt idx="51">
                  <c:v>0.8384799224054316</c:v>
                </c:pt>
                <c:pt idx="52">
                  <c:v>0.8422190193663495</c:v>
                </c:pt>
                <c:pt idx="53">
                  <c:v>0.8181085049583211</c:v>
                </c:pt>
                <c:pt idx="54">
                  <c:v>0.8158821608676113</c:v>
                </c:pt>
                <c:pt idx="55">
                  <c:v>0.7965262854602427</c:v>
                </c:pt>
                <c:pt idx="56">
                  <c:v>0.8202077696512668</c:v>
                </c:pt>
                <c:pt idx="57">
                  <c:v>0.8241178505491297</c:v>
                </c:pt>
                <c:pt idx="58">
                  <c:v>0.802558487764022</c:v>
                </c:pt>
                <c:pt idx="59">
                  <c:v>0.82145591229444</c:v>
                </c:pt>
                <c:pt idx="60">
                  <c:v>0.8317237813210855</c:v>
                </c:pt>
                <c:pt idx="61">
                  <c:v>0.7907013907410936</c:v>
                </c:pt>
                <c:pt idx="62">
                  <c:v>0.7978664654584129</c:v>
                </c:pt>
                <c:pt idx="63">
                  <c:v>0.8051311886966087</c:v>
                </c:pt>
                <c:pt idx="64">
                  <c:v>0.7313177017321505</c:v>
                </c:pt>
                <c:pt idx="65">
                  <c:v>0.7027464288848656</c:v>
                </c:pt>
                <c:pt idx="66">
                  <c:v>0.7125692926287526</c:v>
                </c:pt>
                <c:pt idx="67">
                  <c:v>0.7082411920761277</c:v>
                </c:pt>
                <c:pt idx="68">
                  <c:v>0.7335800811710372</c:v>
                </c:pt>
                <c:pt idx="69">
                  <c:v>0.6762378737360369</c:v>
                </c:pt>
                <c:pt idx="70">
                  <c:v>0.6954604154988012</c:v>
                </c:pt>
                <c:pt idx="71">
                  <c:v>0.7202909732958801</c:v>
                </c:pt>
                <c:pt idx="72">
                  <c:v>0.8069719442922602</c:v>
                </c:pt>
                <c:pt idx="73">
                  <c:v>0.7941210100325701</c:v>
                </c:pt>
                <c:pt idx="74">
                  <c:v>0.7911064201914331</c:v>
                </c:pt>
                <c:pt idx="75">
                  <c:v>0.7833438123945702</c:v>
                </c:pt>
                <c:pt idx="76">
                  <c:v>0.786299869088011</c:v>
                </c:pt>
                <c:pt idx="77">
                  <c:v>0.7630159158260794</c:v>
                </c:pt>
                <c:pt idx="78">
                  <c:v>0.772204608294931</c:v>
                </c:pt>
                <c:pt idx="79">
                  <c:v>0.729109174065508</c:v>
                </c:pt>
                <c:pt idx="80">
                  <c:v>0.80055857404639</c:v>
                </c:pt>
                <c:pt idx="81">
                  <c:v>0.8320849494982981</c:v>
                </c:pt>
                <c:pt idx="82">
                  <c:v>0.8666233458465056</c:v>
                </c:pt>
                <c:pt idx="83">
                  <c:v>0.771994992599087</c:v>
                </c:pt>
                <c:pt idx="84">
                  <c:v>0.8103813205375064</c:v>
                </c:pt>
                <c:pt idx="85">
                  <c:v>0.7876138034866351</c:v>
                </c:pt>
                <c:pt idx="86">
                  <c:v>0.7612799619604611</c:v>
                </c:pt>
                <c:pt idx="87">
                  <c:v>0.802132009069643</c:v>
                </c:pt>
                <c:pt idx="88">
                  <c:v>0.8259327554166105</c:v>
                </c:pt>
                <c:pt idx="89">
                  <c:v>0.8130051400770837</c:v>
                </c:pt>
                <c:pt idx="90">
                  <c:v>0.8073124150510154</c:v>
                </c:pt>
                <c:pt idx="91">
                  <c:v>0.7909348701714615</c:v>
                </c:pt>
                <c:pt idx="92">
                  <c:v>0.7771026205235592</c:v>
                </c:pt>
                <c:pt idx="93">
                  <c:v>0.7466861877382096</c:v>
                </c:pt>
                <c:pt idx="94">
                  <c:v>0.7691212538734422</c:v>
                </c:pt>
                <c:pt idx="95">
                  <c:v>0.8056837197392998</c:v>
                </c:pt>
                <c:pt idx="96">
                  <c:v>0.8444404655042139</c:v>
                </c:pt>
                <c:pt idx="97">
                  <c:v>0.8509255937833904</c:v>
                </c:pt>
                <c:pt idx="98">
                  <c:v>0.9036283016377932</c:v>
                </c:pt>
                <c:pt idx="99">
                  <c:v>0.9114076400434661</c:v>
                </c:pt>
                <c:pt idx="100">
                  <c:v>0.9375933731232045</c:v>
                </c:pt>
                <c:pt idx="101">
                  <c:v>0.8760613343871116</c:v>
                </c:pt>
                <c:pt idx="102">
                  <c:v>0.8054081282447516</c:v>
                </c:pt>
                <c:pt idx="103">
                  <c:v>0.7987010192845908</c:v>
                </c:pt>
                <c:pt idx="104">
                  <c:v>0.8196587664129199</c:v>
                </c:pt>
              </c:numCache>
            </c:numRef>
          </c:xVal>
          <c:yVal>
            <c:numRef>
              <c:f>Sheet1!$B$2:$B$106</c:f>
              <c:numCache>
                <c:formatCode>General</c:formatCode>
                <c:ptCount val="105"/>
                <c:pt idx="0">
                  <c:v>0.27097784739315284</c:v>
                </c:pt>
                <c:pt idx="1">
                  <c:v>0.25309362596310997</c:v>
                </c:pt>
                <c:pt idx="2">
                  <c:v>0.26281179138322</c:v>
                </c:pt>
                <c:pt idx="3">
                  <c:v>0.253411306042885</c:v>
                </c:pt>
                <c:pt idx="4">
                  <c:v>0.252719925396332</c:v>
                </c:pt>
                <c:pt idx="5">
                  <c:v>0.26605101143359716</c:v>
                </c:pt>
                <c:pt idx="6">
                  <c:v>0.29114342366159945</c:v>
                </c:pt>
                <c:pt idx="7">
                  <c:v>0.32126524390243905</c:v>
                </c:pt>
                <c:pt idx="8">
                  <c:v>0.3048148148148148</c:v>
                </c:pt>
                <c:pt idx="9">
                  <c:v>0.2748743718592965</c:v>
                </c:pt>
                <c:pt idx="10">
                  <c:v>0.2593058350100604</c:v>
                </c:pt>
                <c:pt idx="11">
                  <c:v>0.2216867469879518</c:v>
                </c:pt>
                <c:pt idx="12">
                  <c:v>0.20717391304347826</c:v>
                </c:pt>
                <c:pt idx="13">
                  <c:v>0.18612059158134245</c:v>
                </c:pt>
                <c:pt idx="14">
                  <c:v>0.16404736275565124</c:v>
                </c:pt>
                <c:pt idx="15">
                  <c:v>0.1568279706105903</c:v>
                </c:pt>
                <c:pt idx="16">
                  <c:v>0.15012594458438286</c:v>
                </c:pt>
                <c:pt idx="17">
                  <c:v>0.16107954545454545</c:v>
                </c:pt>
                <c:pt idx="18">
                  <c:v>0.15587114651887773</c:v>
                </c:pt>
                <c:pt idx="19">
                  <c:v>0.15576073865917303</c:v>
                </c:pt>
                <c:pt idx="20">
                  <c:v>0.15050651230101303</c:v>
                </c:pt>
                <c:pt idx="21">
                  <c:v>0.18506998444790046</c:v>
                </c:pt>
                <c:pt idx="22">
                  <c:v>0.18345746765974127</c:v>
                </c:pt>
                <c:pt idx="23">
                  <c:v>0.21529968454258674</c:v>
                </c:pt>
                <c:pt idx="24">
                  <c:v>0.21590440873506386</c:v>
                </c:pt>
                <c:pt idx="25">
                  <c:v>0.22104779411764705</c:v>
                </c:pt>
                <c:pt idx="26">
                  <c:v>0.23942093541202672</c:v>
                </c:pt>
                <c:pt idx="27">
                  <c:v>0.22708093594169543</c:v>
                </c:pt>
                <c:pt idx="28">
                  <c:v>0.2274645186037591</c:v>
                </c:pt>
                <c:pt idx="29">
                  <c:v>0.2121524201853759</c:v>
                </c:pt>
                <c:pt idx="30">
                  <c:v>0.2084176446782679</c:v>
                </c:pt>
                <c:pt idx="31">
                  <c:v>0.2248995983935743</c:v>
                </c:pt>
                <c:pt idx="32">
                  <c:v>0.2361963190184049</c:v>
                </c:pt>
                <c:pt idx="33">
                  <c:v>0.2164705882352941</c:v>
                </c:pt>
                <c:pt idx="34">
                  <c:v>0.2143052143052143</c:v>
                </c:pt>
                <c:pt idx="35">
                  <c:v>0.22861150070126227</c:v>
                </c:pt>
                <c:pt idx="36">
                  <c:v>0.20395185101067453</c:v>
                </c:pt>
                <c:pt idx="37">
                  <c:v>0.208710407239819</c:v>
                </c:pt>
                <c:pt idx="38">
                  <c:v>0.18395303326810175</c:v>
                </c:pt>
                <c:pt idx="39">
                  <c:v>0.17969250480461244</c:v>
                </c:pt>
                <c:pt idx="40">
                  <c:v>0.17581792318634423</c:v>
                </c:pt>
                <c:pt idx="41">
                  <c:v>0.18222222222222223</c:v>
                </c:pt>
                <c:pt idx="42">
                  <c:v>0.18814110582937202</c:v>
                </c:pt>
                <c:pt idx="43">
                  <c:v>0.16986120290812953</c:v>
                </c:pt>
                <c:pt idx="44">
                  <c:v>0.15857553497285212</c:v>
                </c:pt>
                <c:pt idx="45">
                  <c:v>0.18501023460872304</c:v>
                </c:pt>
                <c:pt idx="46">
                  <c:v>0.17886557886557886</c:v>
                </c:pt>
                <c:pt idx="47">
                  <c:v>0.1835907034783965</c:v>
                </c:pt>
                <c:pt idx="48">
                  <c:v>0.17207177086816003</c:v>
                </c:pt>
                <c:pt idx="49">
                  <c:v>0.18725003999360101</c:v>
                </c:pt>
                <c:pt idx="50">
                  <c:v>0.18284023668639054</c:v>
                </c:pt>
                <c:pt idx="51">
                  <c:v>0.1761544585987261</c:v>
                </c:pt>
                <c:pt idx="52">
                  <c:v>0.18808895589898228</c:v>
                </c:pt>
                <c:pt idx="53">
                  <c:v>0.19502407704654895</c:v>
                </c:pt>
                <c:pt idx="54">
                  <c:v>0.2009163802978236</c:v>
                </c:pt>
                <c:pt idx="55">
                  <c:v>0.202776513427401</c:v>
                </c:pt>
                <c:pt idx="56">
                  <c:v>0.21318124207858047</c:v>
                </c:pt>
                <c:pt idx="57">
                  <c:v>0.2047514082782268</c:v>
                </c:pt>
                <c:pt idx="58">
                  <c:v>0.21432186234817813</c:v>
                </c:pt>
                <c:pt idx="59">
                  <c:v>0.19719419924337958</c:v>
                </c:pt>
                <c:pt idx="60">
                  <c:v>0.21196163249952982</c:v>
                </c:pt>
                <c:pt idx="61">
                  <c:v>0.22620309518761925</c:v>
                </c:pt>
                <c:pt idx="62">
                  <c:v>0.20974347919810304</c:v>
                </c:pt>
                <c:pt idx="63">
                  <c:v>0.2112334390744542</c:v>
                </c:pt>
                <c:pt idx="64">
                  <c:v>0.2064876177188699</c:v>
                </c:pt>
                <c:pt idx="65">
                  <c:v>0.1928962781031551</c:v>
                </c:pt>
                <c:pt idx="66">
                  <c:v>0.2095203087667708</c:v>
                </c:pt>
                <c:pt idx="67">
                  <c:v>0.2049463538825241</c:v>
                </c:pt>
                <c:pt idx="68">
                  <c:v>0.18160871386677838</c:v>
                </c:pt>
                <c:pt idx="69">
                  <c:v>0.16906792119964717</c:v>
                </c:pt>
                <c:pt idx="70">
                  <c:v>0.18329342910348498</c:v>
                </c:pt>
                <c:pt idx="71">
                  <c:v>0.17935103244837758</c:v>
                </c:pt>
                <c:pt idx="72">
                  <c:v>0.15633496465470365</c:v>
                </c:pt>
                <c:pt idx="73">
                  <c:v>0.1658291457286432</c:v>
                </c:pt>
                <c:pt idx="74">
                  <c:v>0.15436863229391787</c:v>
                </c:pt>
                <c:pt idx="75">
                  <c:v>0.17626471524021636</c:v>
                </c:pt>
                <c:pt idx="76">
                  <c:v>0.17921918229326775</c:v>
                </c:pt>
                <c:pt idx="77">
                  <c:v>0.17167530224525043</c:v>
                </c:pt>
                <c:pt idx="78">
                  <c:v>0.17554975773387999</c:v>
                </c:pt>
                <c:pt idx="79">
                  <c:v>0.15052667346245327</c:v>
                </c:pt>
                <c:pt idx="80">
                  <c:v>0.1500339443312967</c:v>
                </c:pt>
                <c:pt idx="81">
                  <c:v>0.15227963525835866</c:v>
                </c:pt>
                <c:pt idx="82">
                  <c:v>0.14672765657987333</c:v>
                </c:pt>
                <c:pt idx="83">
                  <c:v>0.14893617021276595</c:v>
                </c:pt>
                <c:pt idx="84">
                  <c:v>0.16831683168316833</c:v>
                </c:pt>
                <c:pt idx="85">
                  <c:v>0.163062743707905</c:v>
                </c:pt>
                <c:pt idx="86">
                  <c:v>0.17321073558648112</c:v>
                </c:pt>
                <c:pt idx="87">
                  <c:v>0.1880095923261391</c:v>
                </c:pt>
                <c:pt idx="88">
                  <c:v>0.1805</c:v>
                </c:pt>
                <c:pt idx="89">
                  <c:v>0.1697513013302487</c:v>
                </c:pt>
                <c:pt idx="90">
                  <c:v>0.17143797301743996</c:v>
                </c:pt>
                <c:pt idx="91">
                  <c:v>0.1587826662256037</c:v>
                </c:pt>
                <c:pt idx="92">
                  <c:v>0.16217658042144573</c:v>
                </c:pt>
                <c:pt idx="93">
                  <c:v>0.16402258671685938</c:v>
                </c:pt>
                <c:pt idx="94">
                  <c:v>0.17814786777693667</c:v>
                </c:pt>
                <c:pt idx="95">
                  <c:v>0.1774654074236767</c:v>
                </c:pt>
                <c:pt idx="96">
                  <c:v>0.1563338065941</c:v>
                </c:pt>
                <c:pt idx="97">
                  <c:v>0.14903983949555746</c:v>
                </c:pt>
                <c:pt idx="98">
                  <c:v>0.15463520964226182</c:v>
                </c:pt>
                <c:pt idx="99">
                  <c:v>0.16085384346203196</c:v>
                </c:pt>
                <c:pt idx="100">
                  <c:v>0.1653812445223488</c:v>
                </c:pt>
                <c:pt idx="101">
                  <c:v>0.18936170212765957</c:v>
                </c:pt>
                <c:pt idx="102">
                  <c:v>0.18584070796460178</c:v>
                </c:pt>
                <c:pt idx="103">
                  <c:v>0.18085953044170314</c:v>
                </c:pt>
                <c:pt idx="104">
                  <c:v>0.17791127541589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9667115981637</c:v>
                </c:pt>
                <c:pt idx="1">
                  <c:v>0.8676668464085547</c:v>
                </c:pt>
                <c:pt idx="2">
                  <c:v>0.9257083376985478</c:v>
                </c:pt>
                <c:pt idx="3">
                  <c:v>0.874446328764186</c:v>
                </c:pt>
                <c:pt idx="4">
                  <c:v>0.944539274222183</c:v>
                </c:pt>
                <c:pt idx="5">
                  <c:v>0.9266077570544895</c:v>
                </c:pt>
                <c:pt idx="6">
                  <c:v>0.9433008074052679</c:v>
                </c:pt>
                <c:pt idx="7">
                  <c:v>0.9205281711748132</c:v>
                </c:pt>
                <c:pt idx="8">
                  <c:v>0.9642203883989038</c:v>
                </c:pt>
                <c:pt idx="9">
                  <c:v>0.9375373564756658</c:v>
                </c:pt>
                <c:pt idx="10">
                  <c:v>1.0996986676279439</c:v>
                </c:pt>
                <c:pt idx="11">
                  <c:v>1.012977552287798</c:v>
                </c:pt>
                <c:pt idx="12">
                  <c:v>1.0142237873328745</c:v>
                </c:pt>
                <c:pt idx="13">
                  <c:v>1.0357226465887224</c:v>
                </c:pt>
                <c:pt idx="14">
                  <c:v>1.0123740251703286</c:v>
                </c:pt>
                <c:pt idx="15">
                  <c:v>1.2933254772587628</c:v>
                </c:pt>
                <c:pt idx="16">
                  <c:v>0.9879995778050361</c:v>
                </c:pt>
                <c:pt idx="17">
                  <c:v>0.9529378793678569</c:v>
                </c:pt>
                <c:pt idx="18">
                  <c:v>1.2148398211792788</c:v>
                </c:pt>
                <c:pt idx="19">
                  <c:v>1.4622925449494213</c:v>
                </c:pt>
                <c:pt idx="20">
                  <c:v>1.502763471572508</c:v>
                </c:pt>
                <c:pt idx="21">
                  <c:v>1.5717164370534644</c:v>
                </c:pt>
                <c:pt idx="22">
                  <c:v>1.3285210477327463</c:v>
                </c:pt>
                <c:pt idx="23">
                  <c:v>1.4178477298664267</c:v>
                </c:pt>
                <c:pt idx="24">
                  <c:v>1.321191737411266</c:v>
                </c:pt>
                <c:pt idx="25">
                  <c:v>1.30119652439439</c:v>
                </c:pt>
                <c:pt idx="26">
                  <c:v>1.4060044687626112</c:v>
                </c:pt>
                <c:pt idx="27">
                  <c:v>1.197642400429545</c:v>
                </c:pt>
                <c:pt idx="28">
                  <c:v>1.0973539588045125</c:v>
                </c:pt>
                <c:pt idx="29">
                  <c:v>1.2326483442764777</c:v>
                </c:pt>
                <c:pt idx="30">
                  <c:v>1.0203723201074217</c:v>
                </c:pt>
                <c:pt idx="31">
                  <c:v>1.2667784383408702</c:v>
                </c:pt>
                <c:pt idx="32">
                  <c:v>1.2310574342368843</c:v>
                </c:pt>
                <c:pt idx="33">
                  <c:v>1.2517730613702418</c:v>
                </c:pt>
                <c:pt idx="34">
                  <c:v>1.4406329017583566</c:v>
                </c:pt>
                <c:pt idx="35">
                  <c:v>1.291525057211798</c:v>
                </c:pt>
                <c:pt idx="36">
                  <c:v>1.4090310973488915</c:v>
                </c:pt>
                <c:pt idx="37">
                  <c:v>1.137404715329172</c:v>
                </c:pt>
                <c:pt idx="38">
                  <c:v>1.342076710247925</c:v>
                </c:pt>
                <c:pt idx="39">
                  <c:v>1.2042272703967623</c:v>
                </c:pt>
                <c:pt idx="40">
                  <c:v>1.1603521092054416</c:v>
                </c:pt>
                <c:pt idx="41">
                  <c:v>1.3218466817738244</c:v>
                </c:pt>
                <c:pt idx="42">
                  <c:v>1.121038954037816</c:v>
                </c:pt>
                <c:pt idx="43">
                  <c:v>1.1116303237210163</c:v>
                </c:pt>
                <c:pt idx="44">
                  <c:v>1.248491085942056</c:v>
                </c:pt>
                <c:pt idx="45">
                  <c:v>1.2277505261475155</c:v>
                </c:pt>
                <c:pt idx="46">
                  <c:v>1.010551413230989</c:v>
                </c:pt>
                <c:pt idx="47">
                  <c:v>0.9310954991197745</c:v>
                </c:pt>
                <c:pt idx="48">
                  <c:v>0.8858806755734813</c:v>
                </c:pt>
                <c:pt idx="49">
                  <c:v>0.8708986641720644</c:v>
                </c:pt>
                <c:pt idx="50">
                  <c:v>0.8732304768703545</c:v>
                </c:pt>
                <c:pt idx="51">
                  <c:v>0.8271247040448069</c:v>
                </c:pt>
              </c:numCache>
            </c:numRef>
          </c:xVal>
          <c:yVal>
            <c:numRef>
              <c:f>Sheet1!$B$109:$B$160</c:f>
              <c:numCache>
                <c:formatCode>General</c:formatCode>
                <c:ptCount val="52"/>
                <c:pt idx="0">
                  <c:v>0.1769530449046545</c:v>
                </c:pt>
                <c:pt idx="1">
                  <c:v>0.182370820668693</c:v>
                </c:pt>
                <c:pt idx="2">
                  <c:v>0.19719169719169719</c:v>
                </c:pt>
                <c:pt idx="3">
                  <c:v>0.22010557723204038</c:v>
                </c:pt>
                <c:pt idx="4">
                  <c:v>0.2003565856919991</c:v>
                </c:pt>
                <c:pt idx="5">
                  <c:v>0.21241750183329258</c:v>
                </c:pt>
                <c:pt idx="6">
                  <c:v>0.21563260340632603</c:v>
                </c:pt>
                <c:pt idx="7">
                  <c:v>0.1938877755511022</c:v>
                </c:pt>
                <c:pt idx="8">
                  <c:v>0.1978021978021978</c:v>
                </c:pt>
                <c:pt idx="9">
                  <c:v>0.20198310686742563</c:v>
                </c:pt>
                <c:pt idx="10">
                  <c:v>0.2053941908713693</c:v>
                </c:pt>
                <c:pt idx="11">
                  <c:v>0.19589786521557137</c:v>
                </c:pt>
                <c:pt idx="12">
                  <c:v>0.20179465776293823</c:v>
                </c:pt>
                <c:pt idx="13">
                  <c:v>0.2043322912014292</c:v>
                </c:pt>
                <c:pt idx="14">
                  <c:v>0.2113095238095238</c:v>
                </c:pt>
                <c:pt idx="15">
                  <c:v>0.20698607505310362</c:v>
                </c:pt>
                <c:pt idx="16">
                  <c:v>0.2022307014969181</c:v>
                </c:pt>
                <c:pt idx="17">
                  <c:v>0.2194452910697958</c:v>
                </c:pt>
                <c:pt idx="18">
                  <c:v>0.20615159282314172</c:v>
                </c:pt>
                <c:pt idx="19">
                  <c:v>0.19359803016312713</c:v>
                </c:pt>
                <c:pt idx="20">
                  <c:v>0.19565990750622556</c:v>
                </c:pt>
                <c:pt idx="21">
                  <c:v>0.2070124879923151</c:v>
                </c:pt>
                <c:pt idx="22">
                  <c:v>0.21911540416878494</c:v>
                </c:pt>
                <c:pt idx="23">
                  <c:v>0.21428571428571427</c:v>
                </c:pt>
                <c:pt idx="24">
                  <c:v>0.22407307898979043</c:v>
                </c:pt>
                <c:pt idx="25">
                  <c:v>0.22927100723427934</c:v>
                </c:pt>
                <c:pt idx="26">
                  <c:v>0.21155595996360327</c:v>
                </c:pt>
                <c:pt idx="27">
                  <c:v>0.2102970297029703</c:v>
                </c:pt>
                <c:pt idx="28">
                  <c:v>0.21089494163424125</c:v>
                </c:pt>
                <c:pt idx="29">
                  <c:v>0.2245340268747291</c:v>
                </c:pt>
                <c:pt idx="30">
                  <c:v>0.22052130740587506</c:v>
                </c:pt>
                <c:pt idx="31">
                  <c:v>0.20972780008924588</c:v>
                </c:pt>
                <c:pt idx="32">
                  <c:v>0.2119876597620097</c:v>
                </c:pt>
                <c:pt idx="33">
                  <c:v>0.21551444336254463</c:v>
                </c:pt>
                <c:pt idx="34">
                  <c:v>0.22535211267605634</c:v>
                </c:pt>
                <c:pt idx="35">
                  <c:v>0.22949946751863684</c:v>
                </c:pt>
                <c:pt idx="36">
                  <c:v>0.21570247933884298</c:v>
                </c:pt>
                <c:pt idx="37">
                  <c:v>0.2223869532987398</c:v>
                </c:pt>
                <c:pt idx="38">
                  <c:v>0.20243362831858408</c:v>
                </c:pt>
                <c:pt idx="39">
                  <c:v>0.20834758809442352</c:v>
                </c:pt>
                <c:pt idx="40">
                  <c:v>0.20768229166666666</c:v>
                </c:pt>
                <c:pt idx="41">
                  <c:v>0.20116699083078632</c:v>
                </c:pt>
                <c:pt idx="42">
                  <c:v>0.20061307901907358</c:v>
                </c:pt>
                <c:pt idx="43">
                  <c:v>0.19267605633802817</c:v>
                </c:pt>
                <c:pt idx="44">
                  <c:v>0.19033440219880898</c:v>
                </c:pt>
                <c:pt idx="45">
                  <c:v>0.20527704485488127</c:v>
                </c:pt>
                <c:pt idx="46">
                  <c:v>0.22538751571009635</c:v>
                </c:pt>
                <c:pt idx="47">
                  <c:v>0.21755162241887904</c:v>
                </c:pt>
                <c:pt idx="48">
                  <c:v>0.2107331821617536</c:v>
                </c:pt>
                <c:pt idx="49">
                  <c:v>0.22798367902074124</c:v>
                </c:pt>
                <c:pt idx="50">
                  <c:v>0.2132434225071855</c:v>
                </c:pt>
                <c:pt idx="51">
                  <c:v>0.215437579271607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047449357027697</c:v>
                </c:pt>
              </c:numCache>
            </c:numRef>
          </c:xVal>
          <c:yVal>
            <c:numRef>
              <c:f>Sheet1!$B$163:$B$164</c:f>
              <c:numCache>
                <c:formatCode>General</c:formatCode>
                <c:ptCount val="2"/>
                <c:pt idx="0">
                  <c:v>0.2751432211101278</c:v>
                </c:pt>
                <c:pt idx="1">
                  <c:v>0.27514322111012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047449357027697</c:v>
                </c:pt>
                <c:pt idx="1">
                  <c:v>9.047449357027697</c:v>
                </c:pt>
              </c:numCache>
            </c:numRef>
          </c:xVal>
          <c:yVal>
            <c:numRef>
              <c:f>Sheet1!$B$167:$B$168</c:f>
              <c:numCache>
                <c:formatCode>General</c:formatCode>
                <c:ptCount val="2"/>
                <c:pt idx="0">
                  <c:v>0.2751432211101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5658849377923</c:v>
                </c:pt>
              </c:numCache>
            </c:numRef>
          </c:xVal>
          <c:yVal>
            <c:numRef>
              <c:f>Sheet1!$B$171:$B$172</c:f>
              <c:numCache>
                <c:formatCode>General</c:formatCode>
                <c:ptCount val="2"/>
                <c:pt idx="0">
                  <c:v>0.21747157585768034</c:v>
                </c:pt>
                <c:pt idx="1">
                  <c:v>0.217471575857680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5658849377923</c:v>
                </c:pt>
                <c:pt idx="1">
                  <c:v>2.15658849377923</c:v>
                </c:pt>
              </c:numCache>
            </c:numRef>
          </c:xVal>
          <c:yVal>
            <c:numRef>
              <c:f>Sheet1!$B$175:$B$176</c:f>
              <c:numCache>
                <c:formatCode>General</c:formatCode>
                <c:ptCount val="2"/>
                <c:pt idx="0">
                  <c:v>0.217471575857680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391694995365151</c:v>
                </c:pt>
              </c:numCache>
            </c:numRef>
          </c:xVal>
          <c:yVal>
            <c:numRef>
              <c:f>Sheet1!$B$179:$B$180</c:f>
              <c:numCache>
                <c:formatCode>General</c:formatCode>
                <c:ptCount val="2"/>
                <c:pt idx="0">
                  <c:v>0.20895649646868703</c:v>
                </c:pt>
                <c:pt idx="1">
                  <c:v>0.2089564964686870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391694995365151</c:v>
                </c:pt>
                <c:pt idx="1">
                  <c:v>1.1391694995365151</c:v>
                </c:pt>
              </c:numCache>
            </c:numRef>
          </c:xVal>
          <c:yVal>
            <c:numRef>
              <c:f>Sheet1!$B$183:$B$184</c:f>
              <c:numCache>
                <c:formatCode>General</c:formatCode>
                <c:ptCount val="2"/>
                <c:pt idx="0">
                  <c:v>0.208956496468687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9667115981637</c:v>
                </c:pt>
                <c:pt idx="1">
                  <c:v>0.8676668464085547</c:v>
                </c:pt>
                <c:pt idx="2">
                  <c:v>0.9257083376985478</c:v>
                </c:pt>
                <c:pt idx="3">
                  <c:v>0.874446328764186</c:v>
                </c:pt>
                <c:pt idx="4">
                  <c:v>0.944539274222183</c:v>
                </c:pt>
                <c:pt idx="5">
                  <c:v>0.9266077570544895</c:v>
                </c:pt>
                <c:pt idx="6">
                  <c:v>0.9433008074052679</c:v>
                </c:pt>
                <c:pt idx="7">
                  <c:v>0.9205281711748132</c:v>
                </c:pt>
                <c:pt idx="8">
                  <c:v>0.9642203883989038</c:v>
                </c:pt>
                <c:pt idx="9">
                  <c:v>0.9375373564756658</c:v>
                </c:pt>
                <c:pt idx="10">
                  <c:v>1.0996986676279439</c:v>
                </c:pt>
                <c:pt idx="11">
                  <c:v>1.012977552287798</c:v>
                </c:pt>
                <c:pt idx="12">
                  <c:v>1.0142237873328745</c:v>
                </c:pt>
                <c:pt idx="13">
                  <c:v>1.0357226465887224</c:v>
                </c:pt>
                <c:pt idx="14">
                  <c:v>1.0123740251703286</c:v>
                </c:pt>
                <c:pt idx="15">
                  <c:v>1.2933254772587628</c:v>
                </c:pt>
                <c:pt idx="16">
                  <c:v>0.9879995778050361</c:v>
                </c:pt>
                <c:pt idx="17">
                  <c:v>0.9529378793678569</c:v>
                </c:pt>
                <c:pt idx="18">
                  <c:v>1.2148398211792788</c:v>
                </c:pt>
                <c:pt idx="19">
                  <c:v>1.4622925449494213</c:v>
                </c:pt>
                <c:pt idx="20">
                  <c:v>1.502763471572508</c:v>
                </c:pt>
                <c:pt idx="21">
                  <c:v>1.5717164370534644</c:v>
                </c:pt>
                <c:pt idx="22">
                  <c:v>1.3285210477327463</c:v>
                </c:pt>
                <c:pt idx="23">
                  <c:v>1.4178477298664267</c:v>
                </c:pt>
                <c:pt idx="24">
                  <c:v>1.321191737411266</c:v>
                </c:pt>
                <c:pt idx="25">
                  <c:v>1.30119652439439</c:v>
                </c:pt>
                <c:pt idx="26">
                  <c:v>1.4060044687626112</c:v>
                </c:pt>
                <c:pt idx="27">
                  <c:v>1.197642400429545</c:v>
                </c:pt>
                <c:pt idx="28">
                  <c:v>1.0973539588045125</c:v>
                </c:pt>
                <c:pt idx="29">
                  <c:v>1.2326483442764777</c:v>
                </c:pt>
                <c:pt idx="30">
                  <c:v>1.0203723201074217</c:v>
                </c:pt>
                <c:pt idx="31">
                  <c:v>1.2667784383408702</c:v>
                </c:pt>
                <c:pt idx="32">
                  <c:v>1.2310574342368843</c:v>
                </c:pt>
                <c:pt idx="33">
                  <c:v>1.2517730613702418</c:v>
                </c:pt>
                <c:pt idx="34">
                  <c:v>1.4406329017583566</c:v>
                </c:pt>
                <c:pt idx="35">
                  <c:v>1.291525057211798</c:v>
                </c:pt>
                <c:pt idx="36">
                  <c:v>1.4090310973488915</c:v>
                </c:pt>
                <c:pt idx="37">
                  <c:v>1.137404715329172</c:v>
                </c:pt>
                <c:pt idx="38">
                  <c:v>1.342076710247925</c:v>
                </c:pt>
                <c:pt idx="39">
                  <c:v>1.2042272703967623</c:v>
                </c:pt>
                <c:pt idx="40">
                  <c:v>1.1603521092054416</c:v>
                </c:pt>
                <c:pt idx="41">
                  <c:v>1.3218466817738244</c:v>
                </c:pt>
                <c:pt idx="42">
                  <c:v>1.121038954037816</c:v>
                </c:pt>
                <c:pt idx="43">
                  <c:v>1.1116303237210163</c:v>
                </c:pt>
                <c:pt idx="44">
                  <c:v>1.248491085942056</c:v>
                </c:pt>
                <c:pt idx="45">
                  <c:v>1.2277505261475155</c:v>
                </c:pt>
                <c:pt idx="46">
                  <c:v>1.010551413230989</c:v>
                </c:pt>
                <c:pt idx="47">
                  <c:v>0.9310954991197745</c:v>
                </c:pt>
                <c:pt idx="48">
                  <c:v>0.8858806755734813</c:v>
                </c:pt>
                <c:pt idx="49">
                  <c:v>0.8708986641720644</c:v>
                </c:pt>
                <c:pt idx="50">
                  <c:v>0.8732304768703545</c:v>
                </c:pt>
                <c:pt idx="51">
                  <c:v>0.8271247040448069</c:v>
                </c:pt>
                <c:pt idx="52">
                  <c:v>2.15658849377923</c:v>
                </c:pt>
                <c:pt idx="53">
                  <c:v>9.047449357027697</c:v>
                </c:pt>
                <c:pt idx="54">
                  <c:v>1.1391694995365151</c:v>
                </c:pt>
              </c:numCache>
            </c:numRef>
          </c:xVal>
          <c:yVal>
            <c:numRef>
              <c:f>Sheet1!$B$187:$B$241</c:f>
              <c:numCache>
                <c:formatCode>General</c:formatCode>
                <c:ptCount val="55"/>
                <c:pt idx="0">
                  <c:v>0.20653356570641299</c:v>
                </c:pt>
                <c:pt idx="1">
                  <c:v>0.20668421075474902</c:v>
                </c:pt>
                <c:pt idx="2">
                  <c:v>0.2071699770997716</c:v>
                </c:pt>
                <c:pt idx="3">
                  <c:v>0.20674095024044875</c:v>
                </c:pt>
                <c:pt idx="4">
                  <c:v>0.20732757875688163</c:v>
                </c:pt>
                <c:pt idx="5">
                  <c:v>0.207177504605414</c:v>
                </c:pt>
                <c:pt idx="6">
                  <c:v>0.20731721366312345</c:v>
                </c:pt>
                <c:pt idx="7">
                  <c:v>0.20712662275957608</c:v>
                </c:pt>
                <c:pt idx="8">
                  <c:v>0.20749229580131165</c:v>
                </c:pt>
                <c:pt idx="9">
                  <c:v>0.20726897764384541</c:v>
                </c:pt>
                <c:pt idx="10">
                  <c:v>0.20862615344466942</c:v>
                </c:pt>
                <c:pt idx="11">
                  <c:v>0.20790035887428887</c:v>
                </c:pt>
                <c:pt idx="12">
                  <c:v>0.20791078898263776</c:v>
                </c:pt>
                <c:pt idx="13">
                  <c:v>0.20809071927131162</c:v>
                </c:pt>
                <c:pt idx="14">
                  <c:v>0.20789530777798762</c:v>
                </c:pt>
                <c:pt idx="15">
                  <c:v>0.21024667327492</c:v>
                </c:pt>
                <c:pt idx="16">
                  <c:v>0.20769131084501036</c:v>
                </c:pt>
                <c:pt idx="17">
                  <c:v>0.20739786915835526</c:v>
                </c:pt>
                <c:pt idx="18">
                  <c:v>0.2095898036900235</c:v>
                </c:pt>
                <c:pt idx="19">
                  <c:v>0.21166080845782198</c:v>
                </c:pt>
                <c:pt idx="20">
                  <c:v>0.2119995215692262</c:v>
                </c:pt>
                <c:pt idx="21">
                  <c:v>0.21257660925728716</c:v>
                </c:pt>
                <c:pt idx="22">
                  <c:v>0.21054123537610225</c:v>
                </c:pt>
                <c:pt idx="23">
                  <c:v>0.21128883670281998</c:v>
                </c:pt>
                <c:pt idx="24">
                  <c:v>0.2104798942181259</c:v>
                </c:pt>
                <c:pt idx="25">
                  <c:v>0.21031254838793995</c:v>
                </c:pt>
                <c:pt idx="26">
                  <c:v>0.21118971696051692</c:v>
                </c:pt>
                <c:pt idx="27">
                  <c:v>0.2094458734078108</c:v>
                </c:pt>
                <c:pt idx="28">
                  <c:v>0.20860652988555703</c:v>
                </c:pt>
                <c:pt idx="29">
                  <c:v>0.20973884846786964</c:v>
                </c:pt>
                <c:pt idx="30">
                  <c:v>0.20796224786535705</c:v>
                </c:pt>
                <c:pt idx="31">
                  <c:v>0.2100244932829917</c:v>
                </c:pt>
                <c:pt idx="32">
                  <c:v>0.20972553367291835</c:v>
                </c:pt>
                <c:pt idx="33">
                  <c:v>0.20989890886114612</c:v>
                </c:pt>
                <c:pt idx="34">
                  <c:v>0.21147953252101243</c:v>
                </c:pt>
                <c:pt idx="35">
                  <c:v>0.2102316050289759</c:v>
                </c:pt>
                <c:pt idx="36">
                  <c:v>0.21121504770708152</c:v>
                </c:pt>
                <c:pt idx="37">
                  <c:v>0.20894172646958636</c:v>
                </c:pt>
                <c:pt idx="38">
                  <c:v>0.21065468671044957</c:v>
                </c:pt>
                <c:pt idx="39">
                  <c:v>0.209500984125081</c:v>
                </c:pt>
                <c:pt idx="40">
                  <c:v>0.2091337799713714</c:v>
                </c:pt>
                <c:pt idx="41">
                  <c:v>0.21048537564050362</c:v>
                </c:pt>
                <c:pt idx="42">
                  <c:v>0.208804756590465</c:v>
                </c:pt>
                <c:pt idx="43">
                  <c:v>0.20872601299068694</c:v>
                </c:pt>
                <c:pt idx="44">
                  <c:v>0.2098714410416127</c:v>
                </c:pt>
                <c:pt idx="45">
                  <c:v>0.20969785718459602</c:v>
                </c:pt>
                <c:pt idx="46">
                  <c:v>0.20788005380155644</c:v>
                </c:pt>
                <c:pt idx="47">
                  <c:v>0.2072150638412642</c:v>
                </c:pt>
                <c:pt idx="48">
                  <c:v>0.2068366476585168</c:v>
                </c:pt>
                <c:pt idx="49">
                  <c:v>0.20671125879000565</c:v>
                </c:pt>
                <c:pt idx="50">
                  <c:v>0.20673077441764634</c:v>
                </c:pt>
                <c:pt idx="51">
                  <c:v>0.20634490161782443</c:v>
                </c:pt>
                <c:pt idx="52">
                  <c:v>0.21747157585768034</c:v>
                </c:pt>
                <c:pt idx="53">
                  <c:v>0.2751432211101278</c:v>
                </c:pt>
                <c:pt idx="54">
                  <c:v>0.208956496468687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551829268292687"/>
          <c:min val="0.117382125263898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7.455</c:v>
                </c:pt>
                <c:pt idx="1">
                  <c:v>865.8819</c:v>
                </c:pt>
                <c:pt idx="2">
                  <c:v>856.0647</c:v>
                </c:pt>
                <c:pt idx="3">
                  <c:v>859.524</c:v>
                </c:pt>
                <c:pt idx="4">
                  <c:v>855.54</c:v>
                </c:pt>
                <c:pt idx="5">
                  <c:v>853.3917</c:v>
                </c:pt>
                <c:pt idx="6">
                  <c:v>847.9569</c:v>
                </c:pt>
                <c:pt idx="7">
                  <c:v>849.9454</c:v>
                </c:pt>
                <c:pt idx="8">
                  <c:v>844.7351</c:v>
                </c:pt>
                <c:pt idx="9">
                  <c:v>859.2898</c:v>
                </c:pt>
                <c:pt idx="10">
                  <c:v>860.8438</c:v>
                </c:pt>
                <c:pt idx="11">
                  <c:v>904.5011</c:v>
                </c:pt>
                <c:pt idx="12">
                  <c:v>923.745</c:v>
                </c:pt>
                <c:pt idx="13">
                  <c:v>929.0929</c:v>
                </c:pt>
                <c:pt idx="14">
                  <c:v>945.6837</c:v>
                </c:pt>
                <c:pt idx="15">
                  <c:v>954.5784</c:v>
                </c:pt>
                <c:pt idx="16">
                  <c:v>962.849</c:v>
                </c:pt>
                <c:pt idx="17">
                  <c:v>1001.0265</c:v>
                </c:pt>
                <c:pt idx="18">
                  <c:v>1033.32</c:v>
                </c:pt>
                <c:pt idx="19">
                  <c:v>1050.6495</c:v>
                </c:pt>
                <c:pt idx="20">
                  <c:v>1084.7212</c:v>
                </c:pt>
                <c:pt idx="21">
                  <c:v>1084.8256</c:v>
                </c:pt>
                <c:pt idx="22">
                  <c:v>1061.9722</c:v>
                </c:pt>
                <c:pt idx="23">
                  <c:v>1042.2033</c:v>
                </c:pt>
                <c:pt idx="24">
                  <c:v>1033.1489</c:v>
                </c:pt>
                <c:pt idx="25">
                  <c:v>1048.3909</c:v>
                </c:pt>
                <c:pt idx="26">
                  <c:v>1032.7426</c:v>
                </c:pt>
                <c:pt idx="27">
                  <c:v>1033.4291</c:v>
                </c:pt>
                <c:pt idx="28">
                  <c:v>1040.2648</c:v>
                </c:pt>
                <c:pt idx="29">
                  <c:v>1019.2896</c:v>
                </c:pt>
                <c:pt idx="30">
                  <c:v>1040.2252</c:v>
                </c:pt>
                <c:pt idx="31">
                  <c:v>984.1929</c:v>
                </c:pt>
                <c:pt idx="32">
                  <c:v>988.9481</c:v>
                </c:pt>
                <c:pt idx="33">
                  <c:v>971.0747</c:v>
                </c:pt>
                <c:pt idx="34">
                  <c:v>969.4369</c:v>
                </c:pt>
                <c:pt idx="35">
                  <c:v>991.3855</c:v>
                </c:pt>
                <c:pt idx="36">
                  <c:v>1049.1737</c:v>
                </c:pt>
                <c:pt idx="37">
                  <c:v>1047.7656</c:v>
                </c:pt>
                <c:pt idx="38">
                  <c:v>1103.8267</c:v>
                </c:pt>
                <c:pt idx="39">
                  <c:v>1132.8913</c:v>
                </c:pt>
                <c:pt idx="40">
                  <c:v>1132.1812</c:v>
                </c:pt>
                <c:pt idx="41">
                  <c:v>1174.8732</c:v>
                </c:pt>
                <c:pt idx="42">
                  <c:v>1172.1263</c:v>
                </c:pt>
                <c:pt idx="43">
                  <c:v>1189.6589</c:v>
                </c:pt>
                <c:pt idx="44">
                  <c:v>1135.5186</c:v>
                </c:pt>
                <c:pt idx="45">
                  <c:v>1107.8936</c:v>
                </c:pt>
                <c:pt idx="46">
                  <c:v>1106.5265</c:v>
                </c:pt>
                <c:pt idx="47">
                  <c:v>1091.6636</c:v>
                </c:pt>
                <c:pt idx="48">
                  <c:v>1105.6108</c:v>
                </c:pt>
                <c:pt idx="49">
                  <c:v>1080.0666</c:v>
                </c:pt>
                <c:pt idx="50">
                  <c:v>1056.6206</c:v>
                </c:pt>
                <c:pt idx="51">
                  <c:v>1080.591</c:v>
                </c:pt>
                <c:pt idx="52">
                  <c:v>1053.2375</c:v>
                </c:pt>
                <c:pt idx="53">
                  <c:v>1082.7356</c:v>
                </c:pt>
                <c:pt idx="54">
                  <c:v>1082.179</c:v>
                </c:pt>
                <c:pt idx="55">
                  <c:v>1096.6734</c:v>
                </c:pt>
                <c:pt idx="56">
                  <c:v>1115.9929</c:v>
                </c:pt>
                <c:pt idx="57">
                  <c:v>1085.8529</c:v>
                </c:pt>
                <c:pt idx="58">
                  <c:v>1094.6718</c:v>
                </c:pt>
                <c:pt idx="59">
                  <c:v>1048.9992</c:v>
                </c:pt>
                <c:pt idx="60">
                  <c:v>1033.614</c:v>
                </c:pt>
                <c:pt idx="61">
                  <c:v>1037.5979</c:v>
                </c:pt>
                <c:pt idx="62">
                  <c:v>1043.2641</c:v>
                </c:pt>
                <c:pt idx="63">
                  <c:v>1040.9488</c:v>
                </c:pt>
                <c:pt idx="64">
                  <c:v>1038.6174</c:v>
                </c:pt>
                <c:pt idx="65">
                  <c:v>1053.7708</c:v>
                </c:pt>
                <c:pt idx="66">
                  <c:v>1058.6456</c:v>
                </c:pt>
                <c:pt idx="67">
                  <c:v>1052.8545</c:v>
                </c:pt>
                <c:pt idx="68">
                  <c:v>1088.2549</c:v>
                </c:pt>
                <c:pt idx="69">
                  <c:v>1096.2904</c:v>
                </c:pt>
                <c:pt idx="70">
                  <c:v>1033.4354</c:v>
                </c:pt>
                <c:pt idx="71">
                  <c:v>1110.4391</c:v>
                </c:pt>
                <c:pt idx="72">
                  <c:v>1276.6</c:v>
                </c:pt>
                <c:pt idx="73">
                  <c:v>1197.3512</c:v>
                </c:pt>
                <c:pt idx="74">
                  <c:v>1190.868</c:v>
                </c:pt>
                <c:pt idx="75">
                  <c:v>1169.3899</c:v>
                </c:pt>
                <c:pt idx="76">
                  <c:v>1142.8834</c:v>
                </c:pt>
                <c:pt idx="77">
                  <c:v>1165.8652</c:v>
                </c:pt>
                <c:pt idx="78">
                  <c:v>1172.9788</c:v>
                </c:pt>
                <c:pt idx="79">
                  <c:v>1113.2235</c:v>
                </c:pt>
                <c:pt idx="80">
                  <c:v>1178.3348</c:v>
                </c:pt>
                <c:pt idx="81">
                  <c:v>1204.7525</c:v>
                </c:pt>
                <c:pt idx="82">
                  <c:v>1204.9544</c:v>
                </c:pt>
                <c:pt idx="83">
                  <c:v>1164.4212</c:v>
                </c:pt>
                <c:pt idx="84">
                  <c:v>1173.8824</c:v>
                </c:pt>
                <c:pt idx="85">
                  <c:v>1167.4304</c:v>
                </c:pt>
                <c:pt idx="86">
                  <c:v>1173.2339</c:v>
                </c:pt>
                <c:pt idx="87">
                  <c:v>1187.662</c:v>
                </c:pt>
                <c:pt idx="88">
                  <c:v>1238.6108</c:v>
                </c:pt>
                <c:pt idx="89">
                  <c:v>1213.4157</c:v>
                </c:pt>
                <c:pt idx="90">
                  <c:v>1250.6008</c:v>
                </c:pt>
                <c:pt idx="91">
                  <c:v>1217.8146</c:v>
                </c:pt>
                <c:pt idx="92">
                  <c:v>1139.6513</c:v>
                </c:pt>
                <c:pt idx="93">
                  <c:v>1177.1902</c:v>
                </c:pt>
                <c:pt idx="94">
                  <c:v>1197.0354</c:v>
                </c:pt>
                <c:pt idx="95">
                  <c:v>1176.1918</c:v>
                </c:pt>
                <c:pt idx="96">
                  <c:v>1168.666</c:v>
                </c:pt>
                <c:pt idx="97">
                  <c:v>1156.6635</c:v>
                </c:pt>
                <c:pt idx="98">
                  <c:v>1153.7612</c:v>
                </c:pt>
                <c:pt idx="99">
                  <c:v>1110.897</c:v>
                </c:pt>
                <c:pt idx="100">
                  <c:v>1115.0933</c:v>
                </c:pt>
                <c:pt idx="101">
                  <c:v>1108.6918</c:v>
                </c:pt>
                <c:pt idx="102">
                  <c:v>1108.8396</c:v>
                </c:pt>
                <c:pt idx="103">
                  <c:v>1083.9868</c:v>
                </c:pt>
                <c:pt idx="104">
                  <c:v>1120.026</c:v>
                </c:pt>
              </c:numCache>
            </c:numRef>
          </c:xVal>
          <c:yVal>
            <c:numRef>
              <c:f>Sheet1!$B$2:$B$106</c:f>
              <c:numCache>
                <c:formatCode>General</c:formatCode>
                <c:ptCount val="105"/>
                <c:pt idx="0">
                  <c:v>0.27097784739315284</c:v>
                </c:pt>
                <c:pt idx="1">
                  <c:v>0.25309362596310997</c:v>
                </c:pt>
                <c:pt idx="2">
                  <c:v>0.26281179138322</c:v>
                </c:pt>
                <c:pt idx="3">
                  <c:v>0.253411306042885</c:v>
                </c:pt>
                <c:pt idx="4">
                  <c:v>0.252719925396332</c:v>
                </c:pt>
                <c:pt idx="5">
                  <c:v>0.26605101143359716</c:v>
                </c:pt>
                <c:pt idx="6">
                  <c:v>0.29114342366159945</c:v>
                </c:pt>
                <c:pt idx="7">
                  <c:v>0.32126524390243905</c:v>
                </c:pt>
                <c:pt idx="8">
                  <c:v>0.3048148148148148</c:v>
                </c:pt>
                <c:pt idx="9">
                  <c:v>0.2748743718592965</c:v>
                </c:pt>
                <c:pt idx="10">
                  <c:v>0.2593058350100604</c:v>
                </c:pt>
                <c:pt idx="11">
                  <c:v>0.2216867469879518</c:v>
                </c:pt>
                <c:pt idx="12">
                  <c:v>0.20717391304347826</c:v>
                </c:pt>
                <c:pt idx="13">
                  <c:v>0.18612059158134245</c:v>
                </c:pt>
                <c:pt idx="14">
                  <c:v>0.16404736275565124</c:v>
                </c:pt>
                <c:pt idx="15">
                  <c:v>0.1568279706105903</c:v>
                </c:pt>
                <c:pt idx="16">
                  <c:v>0.15012594458438286</c:v>
                </c:pt>
                <c:pt idx="17">
                  <c:v>0.16107954545454545</c:v>
                </c:pt>
                <c:pt idx="18">
                  <c:v>0.15587114651887773</c:v>
                </c:pt>
                <c:pt idx="19">
                  <c:v>0.15576073865917303</c:v>
                </c:pt>
                <c:pt idx="20">
                  <c:v>0.15050651230101303</c:v>
                </c:pt>
                <c:pt idx="21">
                  <c:v>0.18506998444790046</c:v>
                </c:pt>
                <c:pt idx="22">
                  <c:v>0.18345746765974127</c:v>
                </c:pt>
                <c:pt idx="23">
                  <c:v>0.21529968454258674</c:v>
                </c:pt>
                <c:pt idx="24">
                  <c:v>0.21590440873506386</c:v>
                </c:pt>
                <c:pt idx="25">
                  <c:v>0.22104779411764705</c:v>
                </c:pt>
                <c:pt idx="26">
                  <c:v>0.23942093541202672</c:v>
                </c:pt>
                <c:pt idx="27">
                  <c:v>0.22708093594169543</c:v>
                </c:pt>
                <c:pt idx="28">
                  <c:v>0.2274645186037591</c:v>
                </c:pt>
                <c:pt idx="29">
                  <c:v>0.2121524201853759</c:v>
                </c:pt>
                <c:pt idx="30">
                  <c:v>0.2084176446782679</c:v>
                </c:pt>
                <c:pt idx="31">
                  <c:v>0.2248995983935743</c:v>
                </c:pt>
                <c:pt idx="32">
                  <c:v>0.2361963190184049</c:v>
                </c:pt>
                <c:pt idx="33">
                  <c:v>0.2164705882352941</c:v>
                </c:pt>
                <c:pt idx="34">
                  <c:v>0.2143052143052143</c:v>
                </c:pt>
                <c:pt idx="35">
                  <c:v>0.22861150070126227</c:v>
                </c:pt>
                <c:pt idx="36">
                  <c:v>0.20395185101067453</c:v>
                </c:pt>
                <c:pt idx="37">
                  <c:v>0.208710407239819</c:v>
                </c:pt>
                <c:pt idx="38">
                  <c:v>0.18395303326810175</c:v>
                </c:pt>
                <c:pt idx="39">
                  <c:v>0.17969250480461244</c:v>
                </c:pt>
                <c:pt idx="40">
                  <c:v>0.17581792318634423</c:v>
                </c:pt>
                <c:pt idx="41">
                  <c:v>0.18222222222222223</c:v>
                </c:pt>
                <c:pt idx="42">
                  <c:v>0.18814110582937202</c:v>
                </c:pt>
                <c:pt idx="43">
                  <c:v>0.16986120290812953</c:v>
                </c:pt>
                <c:pt idx="44">
                  <c:v>0.15857553497285212</c:v>
                </c:pt>
                <c:pt idx="45">
                  <c:v>0.18501023460872304</c:v>
                </c:pt>
                <c:pt idx="46">
                  <c:v>0.17886557886557886</c:v>
                </c:pt>
                <c:pt idx="47">
                  <c:v>0.1835907034783965</c:v>
                </c:pt>
                <c:pt idx="48">
                  <c:v>0.17207177086816003</c:v>
                </c:pt>
                <c:pt idx="49">
                  <c:v>0.18725003999360101</c:v>
                </c:pt>
                <c:pt idx="50">
                  <c:v>0.18284023668639054</c:v>
                </c:pt>
                <c:pt idx="51">
                  <c:v>0.1761544585987261</c:v>
                </c:pt>
                <c:pt idx="52">
                  <c:v>0.18808895589898228</c:v>
                </c:pt>
                <c:pt idx="53">
                  <c:v>0.19502407704654895</c:v>
                </c:pt>
                <c:pt idx="54">
                  <c:v>0.2009163802978236</c:v>
                </c:pt>
                <c:pt idx="55">
                  <c:v>0.202776513427401</c:v>
                </c:pt>
                <c:pt idx="56">
                  <c:v>0.21318124207858047</c:v>
                </c:pt>
                <c:pt idx="57">
                  <c:v>0.2047514082782268</c:v>
                </c:pt>
                <c:pt idx="58">
                  <c:v>0.21432186234817813</c:v>
                </c:pt>
                <c:pt idx="59">
                  <c:v>0.19719419924337958</c:v>
                </c:pt>
                <c:pt idx="60">
                  <c:v>0.21196163249952982</c:v>
                </c:pt>
                <c:pt idx="61">
                  <c:v>0.22620309518761925</c:v>
                </c:pt>
                <c:pt idx="62">
                  <c:v>0.20974347919810304</c:v>
                </c:pt>
                <c:pt idx="63">
                  <c:v>0.2112334390744542</c:v>
                </c:pt>
                <c:pt idx="64">
                  <c:v>0.2064876177188699</c:v>
                </c:pt>
                <c:pt idx="65">
                  <c:v>0.1928962781031551</c:v>
                </c:pt>
                <c:pt idx="66">
                  <c:v>0.2095203087667708</c:v>
                </c:pt>
                <c:pt idx="67">
                  <c:v>0.2049463538825241</c:v>
                </c:pt>
                <c:pt idx="68">
                  <c:v>0.18160871386677838</c:v>
                </c:pt>
                <c:pt idx="69">
                  <c:v>0.16906792119964717</c:v>
                </c:pt>
                <c:pt idx="70">
                  <c:v>0.18329342910348498</c:v>
                </c:pt>
                <c:pt idx="71">
                  <c:v>0.17935103244837758</c:v>
                </c:pt>
                <c:pt idx="72">
                  <c:v>0.15633496465470365</c:v>
                </c:pt>
                <c:pt idx="73">
                  <c:v>0.1658291457286432</c:v>
                </c:pt>
                <c:pt idx="74">
                  <c:v>0.15436863229391787</c:v>
                </c:pt>
                <c:pt idx="75">
                  <c:v>0.17626471524021636</c:v>
                </c:pt>
                <c:pt idx="76">
                  <c:v>0.17921918229326775</c:v>
                </c:pt>
                <c:pt idx="77">
                  <c:v>0.17167530224525043</c:v>
                </c:pt>
                <c:pt idx="78">
                  <c:v>0.17554975773387999</c:v>
                </c:pt>
                <c:pt idx="79">
                  <c:v>0.15052667346245327</c:v>
                </c:pt>
                <c:pt idx="80">
                  <c:v>0.1500339443312967</c:v>
                </c:pt>
                <c:pt idx="81">
                  <c:v>0.15227963525835866</c:v>
                </c:pt>
                <c:pt idx="82">
                  <c:v>0.14672765657987333</c:v>
                </c:pt>
                <c:pt idx="83">
                  <c:v>0.14893617021276595</c:v>
                </c:pt>
                <c:pt idx="84">
                  <c:v>0.16831683168316833</c:v>
                </c:pt>
                <c:pt idx="85">
                  <c:v>0.163062743707905</c:v>
                </c:pt>
                <c:pt idx="86">
                  <c:v>0.17321073558648112</c:v>
                </c:pt>
                <c:pt idx="87">
                  <c:v>0.1880095923261391</c:v>
                </c:pt>
                <c:pt idx="88">
                  <c:v>0.1805</c:v>
                </c:pt>
                <c:pt idx="89">
                  <c:v>0.1697513013302487</c:v>
                </c:pt>
                <c:pt idx="90">
                  <c:v>0.17143797301743996</c:v>
                </c:pt>
                <c:pt idx="91">
                  <c:v>0.1587826662256037</c:v>
                </c:pt>
                <c:pt idx="92">
                  <c:v>0.16217658042144573</c:v>
                </c:pt>
                <c:pt idx="93">
                  <c:v>0.16402258671685938</c:v>
                </c:pt>
                <c:pt idx="94">
                  <c:v>0.17814786777693667</c:v>
                </c:pt>
                <c:pt idx="95">
                  <c:v>0.1774654074236767</c:v>
                </c:pt>
                <c:pt idx="96">
                  <c:v>0.1563338065941</c:v>
                </c:pt>
                <c:pt idx="97">
                  <c:v>0.14903983949555746</c:v>
                </c:pt>
                <c:pt idx="98">
                  <c:v>0.15463520964226182</c:v>
                </c:pt>
                <c:pt idx="99">
                  <c:v>0.16085384346203196</c:v>
                </c:pt>
                <c:pt idx="100">
                  <c:v>0.1653812445223488</c:v>
                </c:pt>
                <c:pt idx="101">
                  <c:v>0.18936170212765957</c:v>
                </c:pt>
                <c:pt idx="102">
                  <c:v>0.18584070796460178</c:v>
                </c:pt>
                <c:pt idx="103">
                  <c:v>0.18085953044170314</c:v>
                </c:pt>
                <c:pt idx="104">
                  <c:v>0.17791127541589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6.3998</c:v>
                </c:pt>
                <c:pt idx="1">
                  <c:v>1141.494</c:v>
                </c:pt>
                <c:pt idx="2">
                  <c:v>1152.2188</c:v>
                </c:pt>
                <c:pt idx="3">
                  <c:v>1140.2586</c:v>
                </c:pt>
                <c:pt idx="4">
                  <c:v>1176.3192</c:v>
                </c:pt>
                <c:pt idx="5">
                  <c:v>1158.2647</c:v>
                </c:pt>
                <c:pt idx="6">
                  <c:v>1110.6319</c:v>
                </c:pt>
                <c:pt idx="7">
                  <c:v>1194.0749</c:v>
                </c:pt>
                <c:pt idx="8">
                  <c:v>1213.0741</c:v>
                </c:pt>
                <c:pt idx="9">
                  <c:v>1164.66</c:v>
                </c:pt>
                <c:pt idx="10">
                  <c:v>1225.4502</c:v>
                </c:pt>
                <c:pt idx="11">
                  <c:v>1111.4647</c:v>
                </c:pt>
                <c:pt idx="12">
                  <c:v>1115.8625</c:v>
                </c:pt>
                <c:pt idx="13">
                  <c:v>1159.1377</c:v>
                </c:pt>
                <c:pt idx="14">
                  <c:v>1146.4413</c:v>
                </c:pt>
                <c:pt idx="15">
                  <c:v>1158.5382</c:v>
                </c:pt>
                <c:pt idx="16">
                  <c:v>1199.0929</c:v>
                </c:pt>
                <c:pt idx="17">
                  <c:v>1059.5236</c:v>
                </c:pt>
                <c:pt idx="18">
                  <c:v>1133.0941</c:v>
                </c:pt>
                <c:pt idx="19">
                  <c:v>1289.3959</c:v>
                </c:pt>
                <c:pt idx="20">
                  <c:v>1229.4673</c:v>
                </c:pt>
                <c:pt idx="21">
                  <c:v>1157.42</c:v>
                </c:pt>
                <c:pt idx="22">
                  <c:v>1186.819</c:v>
                </c:pt>
                <c:pt idx="23">
                  <c:v>1222.0129</c:v>
                </c:pt>
                <c:pt idx="24">
                  <c:v>1199.1703</c:v>
                </c:pt>
                <c:pt idx="25">
                  <c:v>1203.7209</c:v>
                </c:pt>
                <c:pt idx="26">
                  <c:v>1158.0882</c:v>
                </c:pt>
                <c:pt idx="27">
                  <c:v>1154.0772</c:v>
                </c:pt>
                <c:pt idx="28">
                  <c:v>1171.4631</c:v>
                </c:pt>
                <c:pt idx="29">
                  <c:v>1192.7008</c:v>
                </c:pt>
                <c:pt idx="30">
                  <c:v>1205.8105</c:v>
                </c:pt>
                <c:pt idx="31">
                  <c:v>1155.7277</c:v>
                </c:pt>
                <c:pt idx="32">
                  <c:v>1180.5405</c:v>
                </c:pt>
                <c:pt idx="33">
                  <c:v>1211.488</c:v>
                </c:pt>
                <c:pt idx="34">
                  <c:v>1205.7488</c:v>
                </c:pt>
                <c:pt idx="35">
                  <c:v>1241.087</c:v>
                </c:pt>
                <c:pt idx="36">
                  <c:v>1281.7567</c:v>
                </c:pt>
                <c:pt idx="37">
                  <c:v>1291.0367</c:v>
                </c:pt>
                <c:pt idx="38">
                  <c:v>1325.9836</c:v>
                </c:pt>
                <c:pt idx="39">
                  <c:v>1261.2726</c:v>
                </c:pt>
                <c:pt idx="40">
                  <c:v>1278.4828</c:v>
                </c:pt>
                <c:pt idx="41">
                  <c:v>1288.4378</c:v>
                </c:pt>
                <c:pt idx="42">
                  <c:v>1231.0696</c:v>
                </c:pt>
                <c:pt idx="43">
                  <c:v>1307.1711</c:v>
                </c:pt>
                <c:pt idx="44">
                  <c:v>1250.941</c:v>
                </c:pt>
                <c:pt idx="45">
                  <c:v>1208.8552</c:v>
                </c:pt>
                <c:pt idx="46">
                  <c:v>1176.0381</c:v>
                </c:pt>
                <c:pt idx="47">
                  <c:v>1135.011</c:v>
                </c:pt>
                <c:pt idx="48">
                  <c:v>1098.2152</c:v>
                </c:pt>
                <c:pt idx="49">
                  <c:v>1122.8412</c:v>
                </c:pt>
                <c:pt idx="50">
                  <c:v>1123.4152</c:v>
                </c:pt>
                <c:pt idx="51">
                  <c:v>1075.2153</c:v>
                </c:pt>
              </c:numCache>
            </c:numRef>
          </c:xVal>
          <c:yVal>
            <c:numRef>
              <c:f>Sheet1!$B$109:$B$160</c:f>
              <c:numCache>
                <c:formatCode>General</c:formatCode>
                <c:ptCount val="52"/>
                <c:pt idx="0">
                  <c:v>0.1769530449046545</c:v>
                </c:pt>
                <c:pt idx="1">
                  <c:v>0.182370820668693</c:v>
                </c:pt>
                <c:pt idx="2">
                  <c:v>0.19719169719169719</c:v>
                </c:pt>
                <c:pt idx="3">
                  <c:v>0.22010557723204038</c:v>
                </c:pt>
                <c:pt idx="4">
                  <c:v>0.2003565856919991</c:v>
                </c:pt>
                <c:pt idx="5">
                  <c:v>0.21241750183329258</c:v>
                </c:pt>
                <c:pt idx="6">
                  <c:v>0.21563260340632603</c:v>
                </c:pt>
                <c:pt idx="7">
                  <c:v>0.1938877755511022</c:v>
                </c:pt>
                <c:pt idx="8">
                  <c:v>0.1978021978021978</c:v>
                </c:pt>
                <c:pt idx="9">
                  <c:v>0.20198310686742563</c:v>
                </c:pt>
                <c:pt idx="10">
                  <c:v>0.2053941908713693</c:v>
                </c:pt>
                <c:pt idx="11">
                  <c:v>0.19589786521557137</c:v>
                </c:pt>
                <c:pt idx="12">
                  <c:v>0.20179465776293823</c:v>
                </c:pt>
                <c:pt idx="13">
                  <c:v>0.2043322912014292</c:v>
                </c:pt>
                <c:pt idx="14">
                  <c:v>0.2113095238095238</c:v>
                </c:pt>
                <c:pt idx="15">
                  <c:v>0.20698607505310362</c:v>
                </c:pt>
                <c:pt idx="16">
                  <c:v>0.2022307014969181</c:v>
                </c:pt>
                <c:pt idx="17">
                  <c:v>0.2194452910697958</c:v>
                </c:pt>
                <c:pt idx="18">
                  <c:v>0.20615159282314172</c:v>
                </c:pt>
                <c:pt idx="19">
                  <c:v>0.19359803016312713</c:v>
                </c:pt>
                <c:pt idx="20">
                  <c:v>0.19565990750622556</c:v>
                </c:pt>
                <c:pt idx="21">
                  <c:v>0.2070124879923151</c:v>
                </c:pt>
                <c:pt idx="22">
                  <c:v>0.21911540416878494</c:v>
                </c:pt>
                <c:pt idx="23">
                  <c:v>0.21428571428571427</c:v>
                </c:pt>
                <c:pt idx="24">
                  <c:v>0.22407307898979043</c:v>
                </c:pt>
                <c:pt idx="25">
                  <c:v>0.22927100723427934</c:v>
                </c:pt>
                <c:pt idx="26">
                  <c:v>0.21155595996360327</c:v>
                </c:pt>
                <c:pt idx="27">
                  <c:v>0.2102970297029703</c:v>
                </c:pt>
                <c:pt idx="28">
                  <c:v>0.21089494163424125</c:v>
                </c:pt>
                <c:pt idx="29">
                  <c:v>0.2245340268747291</c:v>
                </c:pt>
                <c:pt idx="30">
                  <c:v>0.22052130740587506</c:v>
                </c:pt>
                <c:pt idx="31">
                  <c:v>0.20972780008924588</c:v>
                </c:pt>
                <c:pt idx="32">
                  <c:v>0.2119876597620097</c:v>
                </c:pt>
                <c:pt idx="33">
                  <c:v>0.21551444336254463</c:v>
                </c:pt>
                <c:pt idx="34">
                  <c:v>0.22535211267605634</c:v>
                </c:pt>
                <c:pt idx="35">
                  <c:v>0.22949946751863684</c:v>
                </c:pt>
                <c:pt idx="36">
                  <c:v>0.21570247933884298</c:v>
                </c:pt>
                <c:pt idx="37">
                  <c:v>0.2223869532987398</c:v>
                </c:pt>
                <c:pt idx="38">
                  <c:v>0.20243362831858408</c:v>
                </c:pt>
                <c:pt idx="39">
                  <c:v>0.20834758809442352</c:v>
                </c:pt>
                <c:pt idx="40">
                  <c:v>0.20768229166666666</c:v>
                </c:pt>
                <c:pt idx="41">
                  <c:v>0.20116699083078632</c:v>
                </c:pt>
                <c:pt idx="42">
                  <c:v>0.20061307901907358</c:v>
                </c:pt>
                <c:pt idx="43">
                  <c:v>0.19267605633802817</c:v>
                </c:pt>
                <c:pt idx="44">
                  <c:v>0.19033440219880898</c:v>
                </c:pt>
                <c:pt idx="45">
                  <c:v>0.20527704485488127</c:v>
                </c:pt>
                <c:pt idx="46">
                  <c:v>0.22538751571009635</c:v>
                </c:pt>
                <c:pt idx="47">
                  <c:v>0.21755162241887904</c:v>
                </c:pt>
                <c:pt idx="48">
                  <c:v>0.2107331821617536</c:v>
                </c:pt>
                <c:pt idx="49">
                  <c:v>0.22798367902074124</c:v>
                </c:pt>
                <c:pt idx="50">
                  <c:v>0.2132434225071855</c:v>
                </c:pt>
                <c:pt idx="51">
                  <c:v>0.215437579271607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625.2257866456016</c:v>
                </c:pt>
              </c:numCache>
            </c:numRef>
          </c:xVal>
          <c:yVal>
            <c:numRef>
              <c:f>Sheet1!$B$163:$B$164</c:f>
              <c:numCache>
                <c:formatCode>General</c:formatCode>
                <c:ptCount val="2"/>
                <c:pt idx="0">
                  <c:v>0.2751432211101278</c:v>
                </c:pt>
                <c:pt idx="1">
                  <c:v>0.27514322111012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625.2257866456016</c:v>
                </c:pt>
                <c:pt idx="1">
                  <c:v>-2625.2257866456016</c:v>
                </c:pt>
              </c:numCache>
            </c:numRef>
          </c:xVal>
          <c:yVal>
            <c:numRef>
              <c:f>Sheet1!$B$167:$B$168</c:f>
              <c:numCache>
                <c:formatCode>General</c:formatCode>
                <c:ptCount val="2"/>
                <c:pt idx="0">
                  <c:v>0.2751432211101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92.5810960567522</c:v>
                </c:pt>
              </c:numCache>
            </c:numRef>
          </c:xVal>
          <c:yVal>
            <c:numRef>
              <c:f>Sheet1!$B$171:$B$172</c:f>
              <c:numCache>
                <c:formatCode>General</c:formatCode>
                <c:ptCount val="2"/>
                <c:pt idx="0">
                  <c:v>0.21747157585768034</c:v>
                </c:pt>
                <c:pt idx="1">
                  <c:v>0.217471575857680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92.5810960567522</c:v>
                </c:pt>
                <c:pt idx="1">
                  <c:v>692.5810960567522</c:v>
                </c:pt>
              </c:numCache>
            </c:numRef>
          </c:xVal>
          <c:yVal>
            <c:numRef>
              <c:f>Sheet1!$B$175:$B$176</c:f>
              <c:numCache>
                <c:formatCode>General</c:formatCode>
                <c:ptCount val="2"/>
                <c:pt idx="0">
                  <c:v>0.217471575857680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2.4472838496185</c:v>
                </c:pt>
              </c:numCache>
            </c:numRef>
          </c:xVal>
          <c:yVal>
            <c:numRef>
              <c:f>Sheet1!$B$179:$B$180</c:f>
              <c:numCache>
                <c:formatCode>General</c:formatCode>
                <c:ptCount val="2"/>
                <c:pt idx="0">
                  <c:v>0.20895649646868703</c:v>
                </c:pt>
                <c:pt idx="1">
                  <c:v>0.2089564964686870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2.4472838496185</c:v>
                </c:pt>
                <c:pt idx="1">
                  <c:v>1182.4472838496185</c:v>
                </c:pt>
              </c:numCache>
            </c:numRef>
          </c:xVal>
          <c:yVal>
            <c:numRef>
              <c:f>Sheet1!$B$183:$B$184</c:f>
              <c:numCache>
                <c:formatCode>General</c:formatCode>
                <c:ptCount val="2"/>
                <c:pt idx="0">
                  <c:v>0.208956496468687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6.3998</c:v>
                </c:pt>
                <c:pt idx="1">
                  <c:v>1141.494</c:v>
                </c:pt>
                <c:pt idx="2">
                  <c:v>1152.2188</c:v>
                </c:pt>
                <c:pt idx="3">
                  <c:v>1140.2586</c:v>
                </c:pt>
                <c:pt idx="4">
                  <c:v>1176.3192</c:v>
                </c:pt>
                <c:pt idx="5">
                  <c:v>1158.2647</c:v>
                </c:pt>
                <c:pt idx="6">
                  <c:v>1110.6319</c:v>
                </c:pt>
                <c:pt idx="7">
                  <c:v>1194.0749</c:v>
                </c:pt>
                <c:pt idx="8">
                  <c:v>1213.0741</c:v>
                </c:pt>
                <c:pt idx="9">
                  <c:v>1164.66</c:v>
                </c:pt>
                <c:pt idx="10">
                  <c:v>1225.4502</c:v>
                </c:pt>
                <c:pt idx="11">
                  <c:v>1111.4647</c:v>
                </c:pt>
                <c:pt idx="12">
                  <c:v>1115.8625</c:v>
                </c:pt>
                <c:pt idx="13">
                  <c:v>1159.1377</c:v>
                </c:pt>
                <c:pt idx="14">
                  <c:v>1146.4413</c:v>
                </c:pt>
                <c:pt idx="15">
                  <c:v>1158.5382</c:v>
                </c:pt>
                <c:pt idx="16">
                  <c:v>1199.0929</c:v>
                </c:pt>
                <c:pt idx="17">
                  <c:v>1059.5236</c:v>
                </c:pt>
                <c:pt idx="18">
                  <c:v>1133.0941</c:v>
                </c:pt>
                <c:pt idx="19">
                  <c:v>1289.3959</c:v>
                </c:pt>
                <c:pt idx="20">
                  <c:v>1229.4673</c:v>
                </c:pt>
                <c:pt idx="21">
                  <c:v>1157.42</c:v>
                </c:pt>
                <c:pt idx="22">
                  <c:v>1186.819</c:v>
                </c:pt>
                <c:pt idx="23">
                  <c:v>1222.0129</c:v>
                </c:pt>
                <c:pt idx="24">
                  <c:v>1199.1703</c:v>
                </c:pt>
                <c:pt idx="25">
                  <c:v>1203.7209</c:v>
                </c:pt>
                <c:pt idx="26">
                  <c:v>1158.0882</c:v>
                </c:pt>
                <c:pt idx="27">
                  <c:v>1154.0772</c:v>
                </c:pt>
                <c:pt idx="28">
                  <c:v>1171.4631</c:v>
                </c:pt>
                <c:pt idx="29">
                  <c:v>1192.7008</c:v>
                </c:pt>
                <c:pt idx="30">
                  <c:v>1205.8105</c:v>
                </c:pt>
                <c:pt idx="31">
                  <c:v>1155.7277</c:v>
                </c:pt>
                <c:pt idx="32">
                  <c:v>1180.5405</c:v>
                </c:pt>
                <c:pt idx="33">
                  <c:v>1211.488</c:v>
                </c:pt>
                <c:pt idx="34">
                  <c:v>1205.7488</c:v>
                </c:pt>
                <c:pt idx="35">
                  <c:v>1241.087</c:v>
                </c:pt>
                <c:pt idx="36">
                  <c:v>1281.7567</c:v>
                </c:pt>
                <c:pt idx="37">
                  <c:v>1291.0367</c:v>
                </c:pt>
                <c:pt idx="38">
                  <c:v>1325.9836</c:v>
                </c:pt>
                <c:pt idx="39">
                  <c:v>1261.2726</c:v>
                </c:pt>
                <c:pt idx="40">
                  <c:v>1278.4828</c:v>
                </c:pt>
                <c:pt idx="41">
                  <c:v>1288.4378</c:v>
                </c:pt>
                <c:pt idx="42">
                  <c:v>1231.0696</c:v>
                </c:pt>
                <c:pt idx="43">
                  <c:v>1307.1711</c:v>
                </c:pt>
                <c:pt idx="44">
                  <c:v>1250.941</c:v>
                </c:pt>
                <c:pt idx="45">
                  <c:v>1208.8552</c:v>
                </c:pt>
                <c:pt idx="46">
                  <c:v>1176.0381</c:v>
                </c:pt>
                <c:pt idx="47">
                  <c:v>1135.011</c:v>
                </c:pt>
                <c:pt idx="48">
                  <c:v>1098.2152</c:v>
                </c:pt>
                <c:pt idx="49">
                  <c:v>1122.8412</c:v>
                </c:pt>
                <c:pt idx="50">
                  <c:v>1123.4152</c:v>
                </c:pt>
                <c:pt idx="51">
                  <c:v>1075.2153</c:v>
                </c:pt>
                <c:pt idx="52">
                  <c:v>692.5810960567522</c:v>
                </c:pt>
                <c:pt idx="53">
                  <c:v>-2625.2257866456016</c:v>
                </c:pt>
                <c:pt idx="54">
                  <c:v>1182.4472838496185</c:v>
                </c:pt>
              </c:numCache>
            </c:numRef>
          </c:xVal>
          <c:yVal>
            <c:numRef>
              <c:f>Sheet1!$B$187:$B$241</c:f>
              <c:numCache>
                <c:formatCode>General</c:formatCode>
                <c:ptCount val="55"/>
                <c:pt idx="0">
                  <c:v>0.21010456421134283</c:v>
                </c:pt>
                <c:pt idx="1">
                  <c:v>0.20966836528492575</c:v>
                </c:pt>
                <c:pt idx="2">
                  <c:v>0.2094819418784797</c:v>
                </c:pt>
                <c:pt idx="3">
                  <c:v>0.209689839575945</c:v>
                </c:pt>
                <c:pt idx="4">
                  <c:v>0.20906301764075855</c:v>
                </c:pt>
                <c:pt idx="5">
                  <c:v>0.2093768492638825</c:v>
                </c:pt>
                <c:pt idx="6">
                  <c:v>0.2102048245020746</c:v>
                </c:pt>
                <c:pt idx="7">
                  <c:v>0.20875437989666695</c:v>
                </c:pt>
                <c:pt idx="8">
                  <c:v>0.2084241270636305</c:v>
                </c:pt>
                <c:pt idx="9">
                  <c:v>0.2092656832177796</c:v>
                </c:pt>
                <c:pt idx="10">
                  <c:v>0.20820900000107298</c:v>
                </c:pt>
                <c:pt idx="11">
                  <c:v>0.21019034838943024</c:v>
                </c:pt>
                <c:pt idx="12">
                  <c:v>0.21011390380707268</c:v>
                </c:pt>
                <c:pt idx="13">
                  <c:v>0.20936167437634826</c:v>
                </c:pt>
                <c:pt idx="14">
                  <c:v>0.20958236904082697</c:v>
                </c:pt>
                <c:pt idx="15">
                  <c:v>0.20937209516108685</c:v>
                </c:pt>
                <c:pt idx="16">
                  <c:v>0.20866715471264988</c:v>
                </c:pt>
                <c:pt idx="17">
                  <c:v>0.21109321247981455</c:v>
                </c:pt>
                <c:pt idx="18">
                  <c:v>0.2098143762102396</c:v>
                </c:pt>
                <c:pt idx="19">
                  <c:v>0.2070974664320017</c:v>
                </c:pt>
                <c:pt idx="20">
                  <c:v>0.20813917292121747</c:v>
                </c:pt>
                <c:pt idx="21">
                  <c:v>0.20939153222780024</c:v>
                </c:pt>
                <c:pt idx="22">
                  <c:v>0.20888050528780075</c:v>
                </c:pt>
                <c:pt idx="23">
                  <c:v>0.20826874873065088</c:v>
                </c:pt>
                <c:pt idx="24">
                  <c:v>0.20866580931024994</c:v>
                </c:pt>
                <c:pt idx="25">
                  <c:v>0.20858670868801238</c:v>
                </c:pt>
                <c:pt idx="26">
                  <c:v>0.20937991726806326</c:v>
                </c:pt>
                <c:pt idx="27">
                  <c:v>0.2094496383149131</c:v>
                </c:pt>
                <c:pt idx="28">
                  <c:v>0.2091474286045101</c:v>
                </c:pt>
                <c:pt idx="29">
                  <c:v>0.20877826513488093</c:v>
                </c:pt>
                <c:pt idx="30">
                  <c:v>0.20855038629970588</c:v>
                </c:pt>
                <c:pt idx="31">
                  <c:v>0.2094209485647696</c:v>
                </c:pt>
                <c:pt idx="32">
                  <c:v>0.20898964106258175</c:v>
                </c:pt>
                <c:pt idx="33">
                  <c:v>0.20845169738335337</c:v>
                </c:pt>
                <c:pt idx="34">
                  <c:v>0.20855145879748466</c:v>
                </c:pt>
                <c:pt idx="35">
                  <c:v>0.20793719395136434</c:v>
                </c:pt>
                <c:pt idx="36">
                  <c:v>0.2072302545200334</c:v>
                </c:pt>
                <c:pt idx="37">
                  <c:v>0.20706894529171968</c:v>
                </c:pt>
                <c:pt idx="38">
                  <c:v>0.20646148220217686</c:v>
                </c:pt>
                <c:pt idx="39">
                  <c:v>0.20758631856784607</c:v>
                </c:pt>
                <c:pt idx="40">
                  <c:v>0.20728716295565586</c:v>
                </c:pt>
                <c:pt idx="41">
                  <c:v>0.2071141205668775</c:v>
                </c:pt>
                <c:pt idx="42">
                  <c:v>0.20811132100564345</c:v>
                </c:pt>
                <c:pt idx="43">
                  <c:v>0.2067884897299411</c:v>
                </c:pt>
                <c:pt idx="44">
                  <c:v>0.20776590719104068</c:v>
                </c:pt>
                <c:pt idx="45">
                  <c:v>0.20849746192390342</c:v>
                </c:pt>
                <c:pt idx="46">
                  <c:v>0.20906790385024981</c:v>
                </c:pt>
                <c:pt idx="47">
                  <c:v>0.20978105577276604</c:v>
                </c:pt>
                <c:pt idx="48">
                  <c:v>0.21042065729250595</c:v>
                </c:pt>
                <c:pt idx="49">
                  <c:v>0.20999259683383634</c:v>
                </c:pt>
                <c:pt idx="50">
                  <c:v>0.20998261930182643</c:v>
                </c:pt>
                <c:pt idx="51">
                  <c:v>0.21082045213305478</c:v>
                </c:pt>
                <c:pt idx="52">
                  <c:v>0.21747157585768034</c:v>
                </c:pt>
                <c:pt idx="53">
                  <c:v>0.2751432211101278</c:v>
                </c:pt>
                <c:pt idx="54">
                  <c:v>0.2089564964686870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551829268292687"/>
          <c:min val="0.117382125263898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266880207176475</c:v>
                </c:pt>
                <c:pt idx="1">
                  <c:v>0.7754973472486285</c:v>
                </c:pt>
                <c:pt idx="2">
                  <c:v>0.7060592144677061</c:v>
                </c:pt>
                <c:pt idx="3">
                  <c:v>0.7249644299348134</c:v>
                </c:pt>
                <c:pt idx="4">
                  <c:v>0.7021445553754115</c:v>
                </c:pt>
                <c:pt idx="5">
                  <c:v>0.6645104323077236</c:v>
                </c:pt>
                <c:pt idx="6">
                  <c:v>0.6455337907632223</c:v>
                </c:pt>
                <c:pt idx="7">
                  <c:v>0.6683252057119659</c:v>
                </c:pt>
                <c:pt idx="8">
                  <c:v>0.7047903280546066</c:v>
                </c:pt>
                <c:pt idx="9">
                  <c:v>0.7089150067649969</c:v>
                </c:pt>
                <c:pt idx="10">
                  <c:v>0.7326731113680759</c:v>
                </c:pt>
                <c:pt idx="11">
                  <c:v>0.7736431309412658</c:v>
                </c:pt>
                <c:pt idx="12">
                  <c:v>0.8288955042779264</c:v>
                </c:pt>
                <c:pt idx="13">
                  <c:v>0.81052773998487</c:v>
                </c:pt>
                <c:pt idx="14">
                  <c:v>0.8310088668556839</c:v>
                </c:pt>
                <c:pt idx="15">
                  <c:v>0.8610186570416972</c:v>
                </c:pt>
                <c:pt idx="16">
                  <c:v>0.8585627326853987</c:v>
                </c:pt>
                <c:pt idx="17">
                  <c:v>0.8075703903034648</c:v>
                </c:pt>
                <c:pt idx="18">
                  <c:v>0.8398095204634032</c:v>
                </c:pt>
                <c:pt idx="19">
                  <c:v>0.8653126343398234</c:v>
                </c:pt>
                <c:pt idx="20">
                  <c:v>0.9133256811692247</c:v>
                </c:pt>
                <c:pt idx="21">
                  <c:v>0.8972491119039756</c:v>
                </c:pt>
                <c:pt idx="22">
                  <c:v>0.9104852169702496</c:v>
                </c:pt>
                <c:pt idx="23">
                  <c:v>0.8205364085679279</c:v>
                </c:pt>
                <c:pt idx="24">
                  <c:v>0.7358630928038283</c:v>
                </c:pt>
                <c:pt idx="25">
                  <c:v>0.7375532358336275</c:v>
                </c:pt>
                <c:pt idx="26">
                  <c:v>0.732331264287078</c:v>
                </c:pt>
                <c:pt idx="27">
                  <c:v>0.7697738779367685</c:v>
                </c:pt>
                <c:pt idx="28">
                  <c:v>0.7956686492105122</c:v>
                </c:pt>
                <c:pt idx="29">
                  <c:v>0.7205609132624743</c:v>
                </c:pt>
                <c:pt idx="30">
                  <c:v>0.7568340619170753</c:v>
                </c:pt>
                <c:pt idx="31">
                  <c:v>0.739990795062637</c:v>
                </c:pt>
                <c:pt idx="32">
                  <c:v>0.7375401431543946</c:v>
                </c:pt>
                <c:pt idx="33">
                  <c:v>0.7438765997446274</c:v>
                </c:pt>
                <c:pt idx="34">
                  <c:v>0.7877386249400636</c:v>
                </c:pt>
                <c:pt idx="35">
                  <c:v>0.8484170901944186</c:v>
                </c:pt>
                <c:pt idx="36">
                  <c:v>0.949750914101856</c:v>
                </c:pt>
                <c:pt idx="37">
                  <c:v>0.8849039374138289</c:v>
                </c:pt>
                <c:pt idx="38">
                  <c:v>0.9254990388229514</c:v>
                </c:pt>
                <c:pt idx="39">
                  <c:v>0.9764806079929236</c:v>
                </c:pt>
                <c:pt idx="40">
                  <c:v>1.0010117676195003</c:v>
                </c:pt>
                <c:pt idx="41">
                  <c:v>0.9938850859225218</c:v>
                </c:pt>
                <c:pt idx="42">
                  <c:v>0.9953787427149137</c:v>
                </c:pt>
                <c:pt idx="43">
                  <c:v>0.9807343801517893</c:v>
                </c:pt>
                <c:pt idx="44">
                  <c:v>0.8918572253456777</c:v>
                </c:pt>
                <c:pt idx="45">
                  <c:v>0.8810818133682825</c:v>
                </c:pt>
                <c:pt idx="46">
                  <c:v>0.874044305670061</c:v>
                </c:pt>
                <c:pt idx="47">
                  <c:v>0.8738961137486175</c:v>
                </c:pt>
                <c:pt idx="48">
                  <c:v>0.8499367939687615</c:v>
                </c:pt>
                <c:pt idx="49">
                  <c:v>0.8469569454483952</c:v>
                </c:pt>
                <c:pt idx="50">
                  <c:v>0.8424305594377164</c:v>
                </c:pt>
                <c:pt idx="51">
                  <c:v>0.8752069291353808</c:v>
                </c:pt>
                <c:pt idx="52">
                  <c:v>0.8437687335562091</c:v>
                </c:pt>
                <c:pt idx="53">
                  <c:v>0.7480579714535849</c:v>
                </c:pt>
                <c:pt idx="54">
                  <c:v>0.71941666034586</c:v>
                </c:pt>
                <c:pt idx="55">
                  <c:v>0.6891514606843031</c:v>
                </c:pt>
                <c:pt idx="56">
                  <c:v>0.718576678218724</c:v>
                </c:pt>
                <c:pt idx="57">
                  <c:v>0.6963444862425838</c:v>
                </c:pt>
                <c:pt idx="58">
                  <c:v>0.6798616143293656</c:v>
                </c:pt>
                <c:pt idx="59">
                  <c:v>0.6813514364837819</c:v>
                </c:pt>
                <c:pt idx="60">
                  <c:v>0.6767582970688061</c:v>
                </c:pt>
                <c:pt idx="61">
                  <c:v>0.7161640918025619</c:v>
                </c:pt>
                <c:pt idx="62">
                  <c:v>0.7855995167467474</c:v>
                </c:pt>
                <c:pt idx="63">
                  <c:v>0.8315260335579533</c:v>
                </c:pt>
                <c:pt idx="64">
                  <c:v>0.8461799160244297</c:v>
                </c:pt>
                <c:pt idx="65">
                  <c:v>0.8067590391415185</c:v>
                </c:pt>
                <c:pt idx="66">
                  <c:v>0.7460169302602307</c:v>
                </c:pt>
                <c:pt idx="67">
                  <c:v>0.7651907243828452</c:v>
                </c:pt>
                <c:pt idx="68">
                  <c:v>0.8015385767925578</c:v>
                </c:pt>
                <c:pt idx="69">
                  <c:v>0.7568259146901611</c:v>
                </c:pt>
                <c:pt idx="70">
                  <c:v>0.6596891992120486</c:v>
                </c:pt>
                <c:pt idx="71">
                  <c:v>0.7205339321728832</c:v>
                </c:pt>
                <c:pt idx="72">
                  <c:v>0.8152989867151098</c:v>
                </c:pt>
                <c:pt idx="73">
                  <c:v>0.7198608109138703</c:v>
                </c:pt>
                <c:pt idx="74">
                  <c:v>0.7252473402480192</c:v>
                </c:pt>
                <c:pt idx="75">
                  <c:v>0.6868420810296181</c:v>
                </c:pt>
                <c:pt idx="76">
                  <c:v>0.7034984179377801</c:v>
                </c:pt>
                <c:pt idx="77">
                  <c:v>0.7312159896977986</c:v>
                </c:pt>
                <c:pt idx="78">
                  <c:v>0.7184393541344615</c:v>
                </c:pt>
                <c:pt idx="79">
                  <c:v>0.3916463430426824</c:v>
                </c:pt>
                <c:pt idx="80">
                  <c:v>0.49488240592657423</c:v>
                </c:pt>
                <c:pt idx="81">
                  <c:v>0.6151687560359643</c:v>
                </c:pt>
                <c:pt idx="82">
                  <c:v>0.6345475573272163</c:v>
                </c:pt>
                <c:pt idx="83">
                  <c:v>0.5532339802872742</c:v>
                </c:pt>
                <c:pt idx="84">
                  <c:v>0.6658149089671774</c:v>
                </c:pt>
                <c:pt idx="85">
                  <c:v>0.5415482413038357</c:v>
                </c:pt>
                <c:pt idx="86">
                  <c:v>0.7482712415805053</c:v>
                </c:pt>
                <c:pt idx="87">
                  <c:v>0.7799350060913455</c:v>
                </c:pt>
                <c:pt idx="88">
                  <c:v>0.8149195489121618</c:v>
                </c:pt>
                <c:pt idx="89">
                  <c:v>0.778366101713072</c:v>
                </c:pt>
                <c:pt idx="90">
                  <c:v>0.7618559218191162</c:v>
                </c:pt>
                <c:pt idx="91">
                  <c:v>0.8454075194778301</c:v>
                </c:pt>
                <c:pt idx="92">
                  <c:v>0.8412456302212612</c:v>
                </c:pt>
                <c:pt idx="93">
                  <c:v>0.8597814655509317</c:v>
                </c:pt>
                <c:pt idx="94">
                  <c:v>0.9629857187972839</c:v>
                </c:pt>
                <c:pt idx="95">
                  <c:v>0.9583430619851654</c:v>
                </c:pt>
                <c:pt idx="96">
                  <c:v>0.8512117593576155</c:v>
                </c:pt>
                <c:pt idx="97">
                  <c:v>0.9769470143660268</c:v>
                </c:pt>
                <c:pt idx="98">
                  <c:v>1.0004432647339254</c:v>
                </c:pt>
                <c:pt idx="99">
                  <c:v>0.9613612919454375</c:v>
                </c:pt>
                <c:pt idx="100">
                  <c:v>0.9414495136527536</c:v>
                </c:pt>
                <c:pt idx="101">
                  <c:v>0.8721440604122574</c:v>
                </c:pt>
                <c:pt idx="102">
                  <c:v>0.88387104476545</c:v>
                </c:pt>
                <c:pt idx="103">
                  <c:v>0.7673461673003813</c:v>
                </c:pt>
                <c:pt idx="104">
                  <c:v>0.7729711968953994</c:v>
                </c:pt>
              </c:numCache>
            </c:numRef>
          </c:xVal>
          <c:yVal>
            <c:numRef>
              <c:f>Sheet1!$B$2:$B$106</c:f>
              <c:numCache>
                <c:formatCode>General</c:formatCode>
                <c:ptCount val="105"/>
                <c:pt idx="0">
                  <c:v>0.17632579995524725</c:v>
                </c:pt>
                <c:pt idx="1">
                  <c:v>0.18398318935325705</c:v>
                </c:pt>
                <c:pt idx="2">
                  <c:v>0.1852607709750567</c:v>
                </c:pt>
                <c:pt idx="3">
                  <c:v>0.1895711500974659</c:v>
                </c:pt>
                <c:pt idx="4">
                  <c:v>0.1980105688529686</c:v>
                </c:pt>
                <c:pt idx="5">
                  <c:v>0.19788918205804748</c:v>
                </c:pt>
                <c:pt idx="6">
                  <c:v>0.22967614011896895</c:v>
                </c:pt>
                <c:pt idx="7">
                  <c:v>0.21265243902439024</c:v>
                </c:pt>
                <c:pt idx="8">
                  <c:v>0.1988888888888889</c:v>
                </c:pt>
                <c:pt idx="9">
                  <c:v>0.2020100502512563</c:v>
                </c:pt>
                <c:pt idx="10">
                  <c:v>0.22107645875251508</c:v>
                </c:pt>
                <c:pt idx="11">
                  <c:v>0.19349397590361445</c:v>
                </c:pt>
                <c:pt idx="12">
                  <c:v>0.17652173913043478</c:v>
                </c:pt>
                <c:pt idx="13">
                  <c:v>0.16837315130830488</c:v>
                </c:pt>
                <c:pt idx="14">
                  <c:v>0.167491926803014</c:v>
                </c:pt>
                <c:pt idx="15">
                  <c:v>0.16569546491005827</c:v>
                </c:pt>
                <c:pt idx="16">
                  <c:v>0.1508816120906801</c:v>
                </c:pt>
                <c:pt idx="17">
                  <c:v>0.17386363636363636</c:v>
                </c:pt>
                <c:pt idx="18">
                  <c:v>0.14063041219258746</c:v>
                </c:pt>
                <c:pt idx="19">
                  <c:v>0.1336812525090325</c:v>
                </c:pt>
                <c:pt idx="20">
                  <c:v>0.14399421128798842</c:v>
                </c:pt>
                <c:pt idx="21">
                  <c:v>0.15085536547433903</c:v>
                </c:pt>
                <c:pt idx="22">
                  <c:v>0.13484907879263033</c:v>
                </c:pt>
                <c:pt idx="23">
                  <c:v>0.1632492113564669</c:v>
                </c:pt>
                <c:pt idx="24">
                  <c:v>0.161516275236918</c:v>
                </c:pt>
                <c:pt idx="25">
                  <c:v>0.15716911764705882</c:v>
                </c:pt>
                <c:pt idx="26">
                  <c:v>0.1562731997030438</c:v>
                </c:pt>
                <c:pt idx="27">
                  <c:v>0.15535097813578827</c:v>
                </c:pt>
                <c:pt idx="28">
                  <c:v>0.14614499424626007</c:v>
                </c:pt>
                <c:pt idx="29">
                  <c:v>0.16374871266735325</c:v>
                </c:pt>
                <c:pt idx="30">
                  <c:v>0.150951031970862</c:v>
                </c:pt>
                <c:pt idx="31">
                  <c:v>0.1465863453815261</c:v>
                </c:pt>
                <c:pt idx="32">
                  <c:v>0.1526073619631902</c:v>
                </c:pt>
                <c:pt idx="33">
                  <c:v>0.1688235294117647</c:v>
                </c:pt>
                <c:pt idx="34">
                  <c:v>0.16653016653016653</c:v>
                </c:pt>
                <c:pt idx="35">
                  <c:v>0.16292660121552127</c:v>
                </c:pt>
                <c:pt idx="36">
                  <c:v>0.13150124914830796</c:v>
                </c:pt>
                <c:pt idx="37">
                  <c:v>0.12330316742081449</c:v>
                </c:pt>
                <c:pt idx="38">
                  <c:v>0.12244897959183673</c:v>
                </c:pt>
                <c:pt idx="39">
                  <c:v>0.11434977578475336</c:v>
                </c:pt>
                <c:pt idx="40">
                  <c:v>0.10497866287339971</c:v>
                </c:pt>
                <c:pt idx="41">
                  <c:v>0.112</c:v>
                </c:pt>
                <c:pt idx="42">
                  <c:v>0.11533650237678258</c:v>
                </c:pt>
                <c:pt idx="43">
                  <c:v>0.1094954835866931</c:v>
                </c:pt>
                <c:pt idx="44">
                  <c:v>0.11402107952730757</c:v>
                </c:pt>
                <c:pt idx="45">
                  <c:v>0.12612187057156354</c:v>
                </c:pt>
                <c:pt idx="46">
                  <c:v>0.11981351981351981</c:v>
                </c:pt>
                <c:pt idx="47">
                  <c:v>0.12447356106691623</c:v>
                </c:pt>
                <c:pt idx="48">
                  <c:v>0.14175860916081578</c:v>
                </c:pt>
                <c:pt idx="49">
                  <c:v>0.17813149896016636</c:v>
                </c:pt>
                <c:pt idx="50">
                  <c:v>0.1547337278106509</c:v>
                </c:pt>
                <c:pt idx="51">
                  <c:v>0.13972929936305734</c:v>
                </c:pt>
                <c:pt idx="52">
                  <c:v>0.1454956652845835</c:v>
                </c:pt>
                <c:pt idx="53">
                  <c:v>0.15951043338683787</c:v>
                </c:pt>
                <c:pt idx="54">
                  <c:v>0.1665521191294387</c:v>
                </c:pt>
                <c:pt idx="55">
                  <c:v>0.16317705962676377</c:v>
                </c:pt>
                <c:pt idx="56">
                  <c:v>0.16958174904942966</c:v>
                </c:pt>
                <c:pt idx="57">
                  <c:v>0.1704628949301984</c:v>
                </c:pt>
                <c:pt idx="58">
                  <c:v>0.1811740890688259</c:v>
                </c:pt>
                <c:pt idx="59">
                  <c:v>0.16755989911727617</c:v>
                </c:pt>
                <c:pt idx="60">
                  <c:v>0.1724656761331578</c:v>
                </c:pt>
                <c:pt idx="61">
                  <c:v>0.19270722917108332</c:v>
                </c:pt>
                <c:pt idx="62">
                  <c:v>0.18064237982323778</c:v>
                </c:pt>
                <c:pt idx="63">
                  <c:v>0.18622877402500468</c:v>
                </c:pt>
                <c:pt idx="64">
                  <c:v>0.17178235088943147</c:v>
                </c:pt>
                <c:pt idx="65">
                  <c:v>0.16776875118080484</c:v>
                </c:pt>
                <c:pt idx="66">
                  <c:v>0.17882742142988423</c:v>
                </c:pt>
                <c:pt idx="67">
                  <c:v>0.17384979087106747</c:v>
                </c:pt>
                <c:pt idx="68">
                  <c:v>0.15165479681608715</c:v>
                </c:pt>
                <c:pt idx="69">
                  <c:v>0.15466039400176418</c:v>
                </c:pt>
                <c:pt idx="70">
                  <c:v>0.15137004522479383</c:v>
                </c:pt>
                <c:pt idx="71">
                  <c:v>0.1463126843657817</c:v>
                </c:pt>
                <c:pt idx="72">
                  <c:v>0.14437194127243066</c:v>
                </c:pt>
                <c:pt idx="73">
                  <c:v>0.16494235885308897</c:v>
                </c:pt>
                <c:pt idx="74">
                  <c:v>0.1373880827415869</c:v>
                </c:pt>
                <c:pt idx="75">
                  <c:v>0.1546293350302259</c:v>
                </c:pt>
                <c:pt idx="76">
                  <c:v>0.15185982170304335</c:v>
                </c:pt>
                <c:pt idx="77">
                  <c:v>0.1443868739205527</c:v>
                </c:pt>
                <c:pt idx="78">
                  <c:v>0.13529631010063362</c:v>
                </c:pt>
                <c:pt idx="79">
                  <c:v>0.2273190621814475</c:v>
                </c:pt>
                <c:pt idx="80">
                  <c:v>0.19585879158180583</c:v>
                </c:pt>
                <c:pt idx="81">
                  <c:v>0.15258358662613983</c:v>
                </c:pt>
                <c:pt idx="82">
                  <c:v>0.1653764954257565</c:v>
                </c:pt>
                <c:pt idx="83">
                  <c:v>0.14930300807043287</c:v>
                </c:pt>
                <c:pt idx="84">
                  <c:v>0.13214013709063213</c:v>
                </c:pt>
                <c:pt idx="85">
                  <c:v>0.16483516483516483</c:v>
                </c:pt>
                <c:pt idx="86">
                  <c:v>0.13295228628230615</c:v>
                </c:pt>
                <c:pt idx="87">
                  <c:v>0.14148681055155876</c:v>
                </c:pt>
                <c:pt idx="88">
                  <c:v>0.128</c:v>
                </c:pt>
                <c:pt idx="89">
                  <c:v>0.12579525737420474</c:v>
                </c:pt>
                <c:pt idx="90">
                  <c:v>0.1332675222112537</c:v>
                </c:pt>
                <c:pt idx="91">
                  <c:v>0.10883228580879921</c:v>
                </c:pt>
                <c:pt idx="92">
                  <c:v>0.1197652707388637</c:v>
                </c:pt>
                <c:pt idx="93">
                  <c:v>0.11320247378327507</c:v>
                </c:pt>
                <c:pt idx="94">
                  <c:v>0.11077466565733031</c:v>
                </c:pt>
                <c:pt idx="95">
                  <c:v>0.10410718207775094</c:v>
                </c:pt>
                <c:pt idx="96">
                  <c:v>0.11247830888152706</c:v>
                </c:pt>
                <c:pt idx="97">
                  <c:v>0.1117798796216681</c:v>
                </c:pt>
                <c:pt idx="98">
                  <c:v>0.1289908962687524</c:v>
                </c:pt>
                <c:pt idx="99">
                  <c:v>0.13530852677009214</c:v>
                </c:pt>
                <c:pt idx="100">
                  <c:v>0.13935144609991235</c:v>
                </c:pt>
                <c:pt idx="101">
                  <c:v>0.14498480243161094</c:v>
                </c:pt>
                <c:pt idx="102">
                  <c:v>0.12598975314392175</c:v>
                </c:pt>
                <c:pt idx="103">
                  <c:v>0.14942300039793077</c:v>
                </c:pt>
                <c:pt idx="104">
                  <c:v>0.1608133086876155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807341584297568</c:v>
                </c:pt>
                <c:pt idx="1">
                  <c:v>0.7860782295525699</c:v>
                </c:pt>
                <c:pt idx="2">
                  <c:v>0.7452818888025096</c:v>
                </c:pt>
                <c:pt idx="3">
                  <c:v>0.7273431985432036</c:v>
                </c:pt>
                <c:pt idx="4">
                  <c:v>0.754987141519886</c:v>
                </c:pt>
                <c:pt idx="5">
                  <c:v>0.7612471089015506</c:v>
                </c:pt>
                <c:pt idx="6">
                  <c:v>0.7526700767768996</c:v>
                </c:pt>
                <c:pt idx="7">
                  <c:v>0.7523350758606319</c:v>
                </c:pt>
                <c:pt idx="8">
                  <c:v>0.841643623005923</c:v>
                </c:pt>
                <c:pt idx="9">
                  <c:v>0.8001639704751458</c:v>
                </c:pt>
                <c:pt idx="10">
                  <c:v>0.8127002006273162</c:v>
                </c:pt>
                <c:pt idx="11">
                  <c:v>0.7911261759962525</c:v>
                </c:pt>
                <c:pt idx="12">
                  <c:v>0.8024906752946274</c:v>
                </c:pt>
                <c:pt idx="13">
                  <c:v>0.761661427618283</c:v>
                </c:pt>
                <c:pt idx="14">
                  <c:v>0.7611141512305668</c:v>
                </c:pt>
                <c:pt idx="15">
                  <c:v>0.7811231902364986</c:v>
                </c:pt>
                <c:pt idx="16">
                  <c:v>0.8104885550720032</c:v>
                </c:pt>
                <c:pt idx="17">
                  <c:v>0.792309571863184</c:v>
                </c:pt>
                <c:pt idx="18">
                  <c:v>0.8487711287133687</c:v>
                </c:pt>
                <c:pt idx="19">
                  <c:v>0.8670316175445784</c:v>
                </c:pt>
                <c:pt idx="20">
                  <c:v>0.8101760402810699</c:v>
                </c:pt>
                <c:pt idx="21">
                  <c:v>0.7709666579542231</c:v>
                </c:pt>
                <c:pt idx="22">
                  <c:v>0.760911692478016</c:v>
                </c:pt>
                <c:pt idx="23">
                  <c:v>0.6926571803209454</c:v>
                </c:pt>
                <c:pt idx="24">
                  <c:v>0.6468021193458869</c:v>
                </c:pt>
                <c:pt idx="25">
                  <c:v>0.650748009815106</c:v>
                </c:pt>
                <c:pt idx="26">
                  <c:v>0.6898191454221069</c:v>
                </c:pt>
                <c:pt idx="27">
                  <c:v>0.7276634563462363</c:v>
                </c:pt>
                <c:pt idx="28">
                  <c:v>0.7212872372545073</c:v>
                </c:pt>
                <c:pt idx="29">
                  <c:v>0.6889584382089065</c:v>
                </c:pt>
                <c:pt idx="30">
                  <c:v>0.6380741613002512</c:v>
                </c:pt>
                <c:pt idx="31">
                  <c:v>0.5474703707467559</c:v>
                </c:pt>
                <c:pt idx="32">
                  <c:v>0.6183949255457194</c:v>
                </c:pt>
                <c:pt idx="33">
                  <c:v>0.7354148795786287</c:v>
                </c:pt>
                <c:pt idx="34">
                  <c:v>0.7712955617722055</c:v>
                </c:pt>
                <c:pt idx="35">
                  <c:v>0.6914619943641274</c:v>
                </c:pt>
                <c:pt idx="36">
                  <c:v>0.6818928649125854</c:v>
                </c:pt>
                <c:pt idx="37">
                  <c:v>0.7154824308154429</c:v>
                </c:pt>
                <c:pt idx="38">
                  <c:v>0.6683356956376634</c:v>
                </c:pt>
                <c:pt idx="39">
                  <c:v>0.6945747641239323</c:v>
                </c:pt>
                <c:pt idx="40">
                  <c:v>0.7433701526107327</c:v>
                </c:pt>
                <c:pt idx="41">
                  <c:v>0.7499431305159674</c:v>
                </c:pt>
                <c:pt idx="42">
                  <c:v>0.6913289620082446</c:v>
                </c:pt>
                <c:pt idx="43">
                  <c:v>0.8131179249039192</c:v>
                </c:pt>
                <c:pt idx="44">
                  <c:v>0.859164254941789</c:v>
                </c:pt>
                <c:pt idx="45">
                  <c:v>0.8487440383767016</c:v>
                </c:pt>
                <c:pt idx="46">
                  <c:v>0.8180909596415845</c:v>
                </c:pt>
                <c:pt idx="47">
                  <c:v>0.7986354097451676</c:v>
                </c:pt>
                <c:pt idx="48">
                  <c:v>0.7933737164524105</c:v>
                </c:pt>
                <c:pt idx="49">
                  <c:v>0.8323057460045068</c:v>
                </c:pt>
                <c:pt idx="50">
                  <c:v>0.8389611121422238</c:v>
                </c:pt>
                <c:pt idx="51">
                  <c:v>0.8126623744835795</c:v>
                </c:pt>
              </c:numCache>
            </c:numRef>
          </c:xVal>
          <c:yVal>
            <c:numRef>
              <c:f>Sheet1!$B$109:$B$160</c:f>
              <c:numCache>
                <c:formatCode>General</c:formatCode>
                <c:ptCount val="52"/>
                <c:pt idx="0">
                  <c:v>0.1505023580069715</c:v>
                </c:pt>
                <c:pt idx="1">
                  <c:v>0.1498046026921407</c:v>
                </c:pt>
                <c:pt idx="2">
                  <c:v>0.1512006512006512</c:v>
                </c:pt>
                <c:pt idx="3">
                  <c:v>0.1748909800321322</c:v>
                </c:pt>
                <c:pt idx="4">
                  <c:v>0.16046356139959883</c:v>
                </c:pt>
                <c:pt idx="5">
                  <c:v>0.15937423612808604</c:v>
                </c:pt>
                <c:pt idx="6">
                  <c:v>0.14720194647201945</c:v>
                </c:pt>
                <c:pt idx="7">
                  <c:v>0.1372745490981964</c:v>
                </c:pt>
                <c:pt idx="8">
                  <c:v>0.15128205128205127</c:v>
                </c:pt>
                <c:pt idx="9">
                  <c:v>0.13881748071979436</c:v>
                </c:pt>
                <c:pt idx="10">
                  <c:v>0.16982809721398934</c:v>
                </c:pt>
                <c:pt idx="11">
                  <c:v>0.1582251988279615</c:v>
                </c:pt>
                <c:pt idx="12">
                  <c:v>0.1617278797996661</c:v>
                </c:pt>
                <c:pt idx="13">
                  <c:v>0.15475658776239393</c:v>
                </c:pt>
                <c:pt idx="14">
                  <c:v>0.1619543650793651</c:v>
                </c:pt>
                <c:pt idx="15">
                  <c:v>0.14798206278026907</c:v>
                </c:pt>
                <c:pt idx="16">
                  <c:v>0.14910478426768417</c:v>
                </c:pt>
                <c:pt idx="17">
                  <c:v>0.13136238951539164</c:v>
                </c:pt>
                <c:pt idx="18">
                  <c:v>0.1208348590259978</c:v>
                </c:pt>
                <c:pt idx="19">
                  <c:v>0.1298861188057864</c:v>
                </c:pt>
                <c:pt idx="20">
                  <c:v>0.12379935965848453</c:v>
                </c:pt>
                <c:pt idx="21">
                  <c:v>0.1373679154658982</c:v>
                </c:pt>
                <c:pt idx="22">
                  <c:v>0.13319776309100154</c:v>
                </c:pt>
                <c:pt idx="23">
                  <c:v>0.15725359911406422</c:v>
                </c:pt>
                <c:pt idx="24">
                  <c:v>0.1601289629231596</c:v>
                </c:pt>
                <c:pt idx="25">
                  <c:v>0.1686143572621035</c:v>
                </c:pt>
                <c:pt idx="26">
                  <c:v>0.14558689717925385</c:v>
                </c:pt>
                <c:pt idx="27">
                  <c:v>0.14336633663366335</c:v>
                </c:pt>
                <c:pt idx="28">
                  <c:v>0.14863813229571984</c:v>
                </c:pt>
                <c:pt idx="29">
                  <c:v>0.14997832683138274</c:v>
                </c:pt>
                <c:pt idx="30">
                  <c:v>0.1795614398014067</c:v>
                </c:pt>
                <c:pt idx="31">
                  <c:v>0.17715305667112896</c:v>
                </c:pt>
                <c:pt idx="32">
                  <c:v>0.15249008373732922</c:v>
                </c:pt>
                <c:pt idx="33">
                  <c:v>0.16488153197013958</c:v>
                </c:pt>
                <c:pt idx="34">
                  <c:v>0.17804942864735585</c:v>
                </c:pt>
                <c:pt idx="35">
                  <c:v>0.18343982960596378</c:v>
                </c:pt>
                <c:pt idx="36">
                  <c:v>0.16033057851239668</c:v>
                </c:pt>
                <c:pt idx="37">
                  <c:v>0.1608598962194218</c:v>
                </c:pt>
                <c:pt idx="38">
                  <c:v>0.15210176991150443</c:v>
                </c:pt>
                <c:pt idx="39">
                  <c:v>0.17516250427642832</c:v>
                </c:pt>
                <c:pt idx="40">
                  <c:v>0.16536458333333334</c:v>
                </c:pt>
                <c:pt idx="41">
                  <c:v>0.16699083078632954</c:v>
                </c:pt>
                <c:pt idx="42">
                  <c:v>0.17813351498637603</c:v>
                </c:pt>
                <c:pt idx="43">
                  <c:v>0.13718309859154929</c:v>
                </c:pt>
                <c:pt idx="44">
                  <c:v>0.12895098488318826</c:v>
                </c:pt>
                <c:pt idx="45">
                  <c:v>0.14353562005277046</c:v>
                </c:pt>
                <c:pt idx="46">
                  <c:v>0.14034352744030162</c:v>
                </c:pt>
                <c:pt idx="47">
                  <c:v>0.1404867256637168</c:v>
                </c:pt>
                <c:pt idx="48">
                  <c:v>0.127286470143613</c:v>
                </c:pt>
                <c:pt idx="49">
                  <c:v>0.1429785787147229</c:v>
                </c:pt>
                <c:pt idx="50">
                  <c:v>0.14315719655096176</c:v>
                </c:pt>
                <c:pt idx="51">
                  <c:v>0.137706106178655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57514387500343</c:v>
                </c:pt>
              </c:numCache>
            </c:numRef>
          </c:xVal>
          <c:yVal>
            <c:numRef>
              <c:f>Sheet1!$B$163:$B$164</c:f>
              <c:numCache>
                <c:formatCode>General</c:formatCode>
                <c:ptCount val="2"/>
                <c:pt idx="0">
                  <c:v>0.19691756992492124</c:v>
                </c:pt>
                <c:pt idx="1">
                  <c:v>0.196917569924921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57514387500343</c:v>
                </c:pt>
                <c:pt idx="1">
                  <c:v>0.4357514387500343</c:v>
                </c:pt>
              </c:numCache>
            </c:numRef>
          </c:xVal>
          <c:yVal>
            <c:numRef>
              <c:f>Sheet1!$B$167:$B$168</c:f>
              <c:numCache>
                <c:formatCode>General</c:formatCode>
                <c:ptCount val="2"/>
                <c:pt idx="0">
                  <c:v>0.196917569924921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10337835660684</c:v>
                </c:pt>
              </c:numCache>
            </c:numRef>
          </c:xVal>
          <c:yVal>
            <c:numRef>
              <c:f>Sheet1!$B$171:$B$172</c:f>
              <c:numCache>
                <c:formatCode>General</c:formatCode>
                <c:ptCount val="2"/>
                <c:pt idx="0">
                  <c:v>0.15837691662751607</c:v>
                </c:pt>
                <c:pt idx="1">
                  <c:v>0.1583769166275160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10337835660684</c:v>
                </c:pt>
                <c:pt idx="1">
                  <c:v>0.710337835660684</c:v>
                </c:pt>
              </c:numCache>
            </c:numRef>
          </c:xVal>
          <c:yVal>
            <c:numRef>
              <c:f>Sheet1!$B$175:$B$176</c:f>
              <c:numCache>
                <c:formatCode>General</c:formatCode>
                <c:ptCount val="2"/>
                <c:pt idx="0">
                  <c:v>0.1583769166275160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824716763635603</c:v>
                </c:pt>
              </c:numCache>
            </c:numRef>
          </c:xVal>
          <c:yVal>
            <c:numRef>
              <c:f>Sheet1!$B$179:$B$180</c:f>
              <c:numCache>
                <c:formatCode>General</c:formatCode>
                <c:ptCount val="2"/>
                <c:pt idx="0">
                  <c:v>0.14825228781553437</c:v>
                </c:pt>
                <c:pt idx="1">
                  <c:v>0.148252287815534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824716763635603</c:v>
                </c:pt>
                <c:pt idx="1">
                  <c:v>0.7824716763635603</c:v>
                </c:pt>
              </c:numCache>
            </c:numRef>
          </c:xVal>
          <c:yVal>
            <c:numRef>
              <c:f>Sheet1!$B$183:$B$184</c:f>
              <c:numCache>
                <c:formatCode>General</c:formatCode>
                <c:ptCount val="2"/>
                <c:pt idx="0">
                  <c:v>0.148252287815534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807341584297568</c:v>
                </c:pt>
                <c:pt idx="1">
                  <c:v>0.7860782295525699</c:v>
                </c:pt>
                <c:pt idx="2">
                  <c:v>0.7452818888025096</c:v>
                </c:pt>
                <c:pt idx="3">
                  <c:v>0.7273431985432036</c:v>
                </c:pt>
                <c:pt idx="4">
                  <c:v>0.754987141519886</c:v>
                </c:pt>
                <c:pt idx="5">
                  <c:v>0.7612471089015506</c:v>
                </c:pt>
                <c:pt idx="6">
                  <c:v>0.7526700767768996</c:v>
                </c:pt>
                <c:pt idx="7">
                  <c:v>0.7523350758606319</c:v>
                </c:pt>
                <c:pt idx="8">
                  <c:v>0.841643623005923</c:v>
                </c:pt>
                <c:pt idx="9">
                  <c:v>0.8001639704751458</c:v>
                </c:pt>
                <c:pt idx="10">
                  <c:v>0.8127002006273162</c:v>
                </c:pt>
                <c:pt idx="11">
                  <c:v>0.7911261759962525</c:v>
                </c:pt>
                <c:pt idx="12">
                  <c:v>0.8024906752946274</c:v>
                </c:pt>
                <c:pt idx="13">
                  <c:v>0.761661427618283</c:v>
                </c:pt>
                <c:pt idx="14">
                  <c:v>0.7611141512305668</c:v>
                </c:pt>
                <c:pt idx="15">
                  <c:v>0.7811231902364986</c:v>
                </c:pt>
                <c:pt idx="16">
                  <c:v>0.8104885550720032</c:v>
                </c:pt>
                <c:pt idx="17">
                  <c:v>0.792309571863184</c:v>
                </c:pt>
                <c:pt idx="18">
                  <c:v>0.8487711287133687</c:v>
                </c:pt>
                <c:pt idx="19">
                  <c:v>0.8670316175445784</c:v>
                </c:pt>
                <c:pt idx="20">
                  <c:v>0.8101760402810699</c:v>
                </c:pt>
                <c:pt idx="21">
                  <c:v>0.7709666579542231</c:v>
                </c:pt>
                <c:pt idx="22">
                  <c:v>0.760911692478016</c:v>
                </c:pt>
                <c:pt idx="23">
                  <c:v>0.6926571803209454</c:v>
                </c:pt>
                <c:pt idx="24">
                  <c:v>0.6468021193458869</c:v>
                </c:pt>
                <c:pt idx="25">
                  <c:v>0.650748009815106</c:v>
                </c:pt>
                <c:pt idx="26">
                  <c:v>0.6898191454221069</c:v>
                </c:pt>
                <c:pt idx="27">
                  <c:v>0.7276634563462363</c:v>
                </c:pt>
                <c:pt idx="28">
                  <c:v>0.7212872372545073</c:v>
                </c:pt>
                <c:pt idx="29">
                  <c:v>0.6889584382089065</c:v>
                </c:pt>
                <c:pt idx="30">
                  <c:v>0.6380741613002512</c:v>
                </c:pt>
                <c:pt idx="31">
                  <c:v>0.5474703707467559</c:v>
                </c:pt>
                <c:pt idx="32">
                  <c:v>0.6183949255457194</c:v>
                </c:pt>
                <c:pt idx="33">
                  <c:v>0.7354148795786287</c:v>
                </c:pt>
                <c:pt idx="34">
                  <c:v>0.7712955617722055</c:v>
                </c:pt>
                <c:pt idx="35">
                  <c:v>0.6914619943641274</c:v>
                </c:pt>
                <c:pt idx="36">
                  <c:v>0.6818928649125854</c:v>
                </c:pt>
                <c:pt idx="37">
                  <c:v>0.7154824308154429</c:v>
                </c:pt>
                <c:pt idx="38">
                  <c:v>0.6683356956376634</c:v>
                </c:pt>
                <c:pt idx="39">
                  <c:v>0.6945747641239323</c:v>
                </c:pt>
                <c:pt idx="40">
                  <c:v>0.7433701526107327</c:v>
                </c:pt>
                <c:pt idx="41">
                  <c:v>0.7499431305159674</c:v>
                </c:pt>
                <c:pt idx="42">
                  <c:v>0.6913289620082446</c:v>
                </c:pt>
                <c:pt idx="43">
                  <c:v>0.8131179249039192</c:v>
                </c:pt>
                <c:pt idx="44">
                  <c:v>0.859164254941789</c:v>
                </c:pt>
                <c:pt idx="45">
                  <c:v>0.8487440383767016</c:v>
                </c:pt>
                <c:pt idx="46">
                  <c:v>0.8180909596415845</c:v>
                </c:pt>
                <c:pt idx="47">
                  <c:v>0.7986354097451676</c:v>
                </c:pt>
                <c:pt idx="48">
                  <c:v>0.7933737164524105</c:v>
                </c:pt>
                <c:pt idx="49">
                  <c:v>0.8323057460045068</c:v>
                </c:pt>
                <c:pt idx="50">
                  <c:v>0.8389611121422238</c:v>
                </c:pt>
                <c:pt idx="51">
                  <c:v>0.8126623744835795</c:v>
                </c:pt>
                <c:pt idx="52">
                  <c:v>0.710337835660684</c:v>
                </c:pt>
                <c:pt idx="53">
                  <c:v>0.4357514387500343</c:v>
                </c:pt>
                <c:pt idx="54">
                  <c:v>0.7824716763635603</c:v>
                </c:pt>
              </c:numCache>
            </c:numRef>
          </c:xVal>
          <c:yVal>
            <c:numRef>
              <c:f>Sheet1!$B$187:$B$241</c:f>
              <c:numCache>
                <c:formatCode>General</c:formatCode>
                <c:ptCount val="55"/>
                <c:pt idx="0">
                  <c:v>0.1484961639763281</c:v>
                </c:pt>
                <c:pt idx="1">
                  <c:v>0.14774607586323035</c:v>
                </c:pt>
                <c:pt idx="2">
                  <c:v>0.15347220666337522</c:v>
                </c:pt>
                <c:pt idx="3">
                  <c:v>0.15599006206215676</c:v>
                </c:pt>
                <c:pt idx="4">
                  <c:v>0.1521099877612283</c:v>
                </c:pt>
                <c:pt idx="5">
                  <c:v>0.15123134542779798</c:v>
                </c:pt>
                <c:pt idx="6">
                  <c:v>0.15243520849296083</c:v>
                </c:pt>
                <c:pt idx="7">
                  <c:v>0.15248222886364723</c:v>
                </c:pt>
                <c:pt idx="8">
                  <c:v>0.13994697660516897</c:v>
                </c:pt>
                <c:pt idx="9">
                  <c:v>0.14576901631679287</c:v>
                </c:pt>
                <c:pt idx="10">
                  <c:v>0.14400944444656472</c:v>
                </c:pt>
                <c:pt idx="11">
                  <c:v>0.1470375514937105</c:v>
                </c:pt>
                <c:pt idx="12">
                  <c:v>0.1454424425142231</c:v>
                </c:pt>
                <c:pt idx="13">
                  <c:v>0.15117319209538285</c:v>
                </c:pt>
                <c:pt idx="14">
                  <c:v>0.15125000722444293</c:v>
                </c:pt>
                <c:pt idx="15">
                  <c:v>0.1484415598875823</c:v>
                </c:pt>
                <c:pt idx="16">
                  <c:v>0.14431986865374713</c:v>
                </c:pt>
                <c:pt idx="17">
                  <c:v>0.1468714513141891</c:v>
                </c:pt>
                <c:pt idx="18">
                  <c:v>0.13894656751922535</c:v>
                </c:pt>
                <c:pt idx="19">
                  <c:v>0.1363835448167067</c:v>
                </c:pt>
                <c:pt idx="20">
                  <c:v>0.1443637328959062</c:v>
                </c:pt>
                <c:pt idx="21">
                  <c:v>0.14986711990730334</c:v>
                </c:pt>
                <c:pt idx="22">
                  <c:v>0.1512784241186404</c:v>
                </c:pt>
                <c:pt idx="23">
                  <c:v>0.1608585545206762</c:v>
                </c:pt>
                <c:pt idx="24">
                  <c:v>0.16729472188677547</c:v>
                </c:pt>
                <c:pt idx="25">
                  <c:v>0.1667408809163752</c:v>
                </c:pt>
                <c:pt idx="26">
                  <c:v>0.1612568980668704</c:v>
                </c:pt>
                <c:pt idx="27">
                  <c:v>0.1559451110190922</c:v>
                </c:pt>
                <c:pt idx="28">
                  <c:v>0.1568400703183418</c:v>
                </c:pt>
                <c:pt idx="29">
                  <c:v>0.16137770601172036</c:v>
                </c:pt>
                <c:pt idx="30">
                  <c:v>0.16851976875295582</c:v>
                </c:pt>
                <c:pt idx="31">
                  <c:v>0.1812368199923486</c:v>
                </c:pt>
                <c:pt idx="32">
                  <c:v>0.1712819252578176</c:v>
                </c:pt>
                <c:pt idx="33">
                  <c:v>0.15485712953595157</c:v>
                </c:pt>
                <c:pt idx="34">
                  <c:v>0.149820955318818</c:v>
                </c:pt>
                <c:pt idx="35">
                  <c:v>0.16102630954461733</c:v>
                </c:pt>
                <c:pt idx="36">
                  <c:v>0.16236942233060825</c:v>
                </c:pt>
                <c:pt idx="37">
                  <c:v>0.15765482674817077</c:v>
                </c:pt>
                <c:pt idx="38">
                  <c:v>0.16427229212531635</c:v>
                </c:pt>
                <c:pt idx="39">
                  <c:v>0.1605894045068695</c:v>
                </c:pt>
                <c:pt idx="40">
                  <c:v>0.1537405359127202</c:v>
                </c:pt>
                <c:pt idx="41">
                  <c:v>0.15281795975662754</c:v>
                </c:pt>
                <c:pt idx="42">
                  <c:v>0.16104498182395494</c:v>
                </c:pt>
                <c:pt idx="43">
                  <c:v>0.14395081311340474</c:v>
                </c:pt>
                <c:pt idx="44">
                  <c:v>0.13748779942600453</c:v>
                </c:pt>
                <c:pt idx="45">
                  <c:v>0.13895036988993614</c:v>
                </c:pt>
                <c:pt idx="46">
                  <c:v>0.1432528032709045</c:v>
                </c:pt>
                <c:pt idx="47">
                  <c:v>0.14598356346771124</c:v>
                </c:pt>
                <c:pt idx="48">
                  <c:v>0.14672208911659623</c:v>
                </c:pt>
                <c:pt idx="49">
                  <c:v>0.14125763104433445</c:v>
                </c:pt>
                <c:pt idx="50">
                  <c:v>0.14032349096395563</c:v>
                </c:pt>
                <c:pt idx="51">
                  <c:v>0.1440147536836855</c:v>
                </c:pt>
                <c:pt idx="52">
                  <c:v>0.15837691662751607</c:v>
                </c:pt>
                <c:pt idx="53">
                  <c:v>0.19691756992492124</c:v>
                </c:pt>
                <c:pt idx="54">
                  <c:v>0.148252287815534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6113681427627"/>
          <c:min val="0.083285745662200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64.9607</c:v>
                </c:pt>
                <c:pt idx="1">
                  <c:v>933.0812</c:v>
                </c:pt>
                <c:pt idx="2">
                  <c:v>908.6622</c:v>
                </c:pt>
                <c:pt idx="3">
                  <c:v>924.4961</c:v>
                </c:pt>
                <c:pt idx="4">
                  <c:v>910.2826</c:v>
                </c:pt>
                <c:pt idx="5">
                  <c:v>906.3911</c:v>
                </c:pt>
                <c:pt idx="6">
                  <c:v>889.8489</c:v>
                </c:pt>
                <c:pt idx="7">
                  <c:v>933.8871</c:v>
                </c:pt>
                <c:pt idx="8">
                  <c:v>932.0074</c:v>
                </c:pt>
                <c:pt idx="9">
                  <c:v>934.7413</c:v>
                </c:pt>
                <c:pt idx="10">
                  <c:v>930.2708</c:v>
                </c:pt>
                <c:pt idx="11">
                  <c:v>944.4346</c:v>
                </c:pt>
                <c:pt idx="12">
                  <c:v>963.4865</c:v>
                </c:pt>
                <c:pt idx="13">
                  <c:v>954.3122</c:v>
                </c:pt>
                <c:pt idx="14">
                  <c:v>957.4049</c:v>
                </c:pt>
                <c:pt idx="15">
                  <c:v>954.1101</c:v>
                </c:pt>
                <c:pt idx="16">
                  <c:v>954.0902</c:v>
                </c:pt>
                <c:pt idx="17">
                  <c:v>985.0016</c:v>
                </c:pt>
                <c:pt idx="18">
                  <c:v>1037.3842</c:v>
                </c:pt>
                <c:pt idx="19">
                  <c:v>1083.9369</c:v>
                </c:pt>
                <c:pt idx="20">
                  <c:v>1084.3819</c:v>
                </c:pt>
                <c:pt idx="21">
                  <c:v>1099.4407</c:v>
                </c:pt>
                <c:pt idx="22">
                  <c:v>1105.2645</c:v>
                </c:pt>
                <c:pt idx="23">
                  <c:v>1075.6932</c:v>
                </c:pt>
                <c:pt idx="24">
                  <c:v>1057.1276</c:v>
                </c:pt>
                <c:pt idx="25">
                  <c:v>1041.4737</c:v>
                </c:pt>
                <c:pt idx="26">
                  <c:v>1052.5891</c:v>
                </c:pt>
                <c:pt idx="27">
                  <c:v>1055.7605</c:v>
                </c:pt>
                <c:pt idx="28">
                  <c:v>1112.0787</c:v>
                </c:pt>
                <c:pt idx="29">
                  <c:v>995.499</c:v>
                </c:pt>
                <c:pt idx="30">
                  <c:v>1035.8311</c:v>
                </c:pt>
                <c:pt idx="31">
                  <c:v>1016.7808</c:v>
                </c:pt>
                <c:pt idx="32">
                  <c:v>992.2663</c:v>
                </c:pt>
                <c:pt idx="33">
                  <c:v>961.4338</c:v>
                </c:pt>
                <c:pt idx="34">
                  <c:v>1017.5902</c:v>
                </c:pt>
                <c:pt idx="35">
                  <c:v>1053.4907</c:v>
                </c:pt>
                <c:pt idx="36">
                  <c:v>1142.5872</c:v>
                </c:pt>
                <c:pt idx="37">
                  <c:v>1132.8142</c:v>
                </c:pt>
                <c:pt idx="38">
                  <c:v>1166.3858</c:v>
                </c:pt>
                <c:pt idx="39">
                  <c:v>1208.563</c:v>
                </c:pt>
                <c:pt idx="40">
                  <c:v>1236.019</c:v>
                </c:pt>
                <c:pt idx="41">
                  <c:v>1243.1296</c:v>
                </c:pt>
                <c:pt idx="42">
                  <c:v>1278.1106</c:v>
                </c:pt>
                <c:pt idx="43">
                  <c:v>1269.2173</c:v>
                </c:pt>
                <c:pt idx="44">
                  <c:v>1126.1359</c:v>
                </c:pt>
                <c:pt idx="45">
                  <c:v>1093.9288</c:v>
                </c:pt>
                <c:pt idx="46">
                  <c:v>1084.7652</c:v>
                </c:pt>
                <c:pt idx="47">
                  <c:v>1094.3233</c:v>
                </c:pt>
                <c:pt idx="48">
                  <c:v>1073.6824</c:v>
                </c:pt>
                <c:pt idx="49">
                  <c:v>1051.6008</c:v>
                </c:pt>
                <c:pt idx="50">
                  <c:v>1060.891</c:v>
                </c:pt>
                <c:pt idx="51">
                  <c:v>1122.6681</c:v>
                </c:pt>
                <c:pt idx="52">
                  <c:v>1081.535</c:v>
                </c:pt>
                <c:pt idx="53">
                  <c:v>1066.6314</c:v>
                </c:pt>
                <c:pt idx="54">
                  <c:v>1099.2847</c:v>
                </c:pt>
                <c:pt idx="55">
                  <c:v>1080.6848</c:v>
                </c:pt>
                <c:pt idx="56">
                  <c:v>1130.4215</c:v>
                </c:pt>
                <c:pt idx="57">
                  <c:v>1085.398</c:v>
                </c:pt>
                <c:pt idx="58">
                  <c:v>1102.9637</c:v>
                </c:pt>
                <c:pt idx="59">
                  <c:v>1084.5729</c:v>
                </c:pt>
                <c:pt idx="60">
                  <c:v>1087.1538</c:v>
                </c:pt>
                <c:pt idx="61">
                  <c:v>1069.4169</c:v>
                </c:pt>
                <c:pt idx="62">
                  <c:v>1097.8974</c:v>
                </c:pt>
                <c:pt idx="63">
                  <c:v>1129.8888</c:v>
                </c:pt>
                <c:pt idx="64">
                  <c:v>1102.3289</c:v>
                </c:pt>
                <c:pt idx="65">
                  <c:v>1080.6689</c:v>
                </c:pt>
                <c:pt idx="66">
                  <c:v>1025.6804</c:v>
                </c:pt>
                <c:pt idx="67">
                  <c:v>1025.2626</c:v>
                </c:pt>
                <c:pt idx="68">
                  <c:v>1056.0193</c:v>
                </c:pt>
                <c:pt idx="69">
                  <c:v>1008.808</c:v>
                </c:pt>
                <c:pt idx="70">
                  <c:v>910.9631</c:v>
                </c:pt>
                <c:pt idx="71">
                  <c:v>1016.0927</c:v>
                </c:pt>
                <c:pt idx="72">
                  <c:v>1121.6422</c:v>
                </c:pt>
                <c:pt idx="73">
                  <c:v>1026.0269</c:v>
                </c:pt>
                <c:pt idx="74">
                  <c:v>1042.0472</c:v>
                </c:pt>
                <c:pt idx="75">
                  <c:v>991.9918</c:v>
                </c:pt>
                <c:pt idx="76">
                  <c:v>1026.8583</c:v>
                </c:pt>
                <c:pt idx="77">
                  <c:v>1030.5813</c:v>
                </c:pt>
                <c:pt idx="78">
                  <c:v>1038.1185</c:v>
                </c:pt>
                <c:pt idx="79">
                  <c:v>564.0314</c:v>
                </c:pt>
                <c:pt idx="80">
                  <c:v>688.4662</c:v>
                </c:pt>
                <c:pt idx="81">
                  <c:v>860.3725</c:v>
                </c:pt>
                <c:pt idx="82">
                  <c:v>886.1489</c:v>
                </c:pt>
                <c:pt idx="83">
                  <c:v>786.0786</c:v>
                </c:pt>
                <c:pt idx="84">
                  <c:v>956.2738</c:v>
                </c:pt>
                <c:pt idx="85">
                  <c:v>804.3935</c:v>
                </c:pt>
                <c:pt idx="86">
                  <c:v>1075.8822</c:v>
                </c:pt>
                <c:pt idx="87">
                  <c:v>1116.6356</c:v>
                </c:pt>
                <c:pt idx="88">
                  <c:v>1135.5996</c:v>
                </c:pt>
                <c:pt idx="89">
                  <c:v>1075.3678</c:v>
                </c:pt>
                <c:pt idx="90">
                  <c:v>1112.0593</c:v>
                </c:pt>
                <c:pt idx="91">
                  <c:v>1161.4255</c:v>
                </c:pt>
                <c:pt idx="92">
                  <c:v>1122.5278</c:v>
                </c:pt>
                <c:pt idx="93">
                  <c:v>1159.4086</c:v>
                </c:pt>
                <c:pt idx="94">
                  <c:v>1270.0159</c:v>
                </c:pt>
                <c:pt idx="95">
                  <c:v>1230.1097</c:v>
                </c:pt>
                <c:pt idx="96">
                  <c:v>1053.4292</c:v>
                </c:pt>
                <c:pt idx="97">
                  <c:v>1166.9551</c:v>
                </c:pt>
                <c:pt idx="98">
                  <c:v>1183.7903</c:v>
                </c:pt>
                <c:pt idx="99">
                  <c:v>1144.2647</c:v>
                </c:pt>
                <c:pt idx="100">
                  <c:v>1143.7994</c:v>
                </c:pt>
                <c:pt idx="101">
                  <c:v>1167.2579</c:v>
                </c:pt>
                <c:pt idx="102">
                  <c:v>1206.7616</c:v>
                </c:pt>
                <c:pt idx="103">
                  <c:v>1022.6605</c:v>
                </c:pt>
                <c:pt idx="104">
                  <c:v>1077.2098</c:v>
                </c:pt>
              </c:numCache>
            </c:numRef>
          </c:xVal>
          <c:yVal>
            <c:numRef>
              <c:f>Sheet1!$B$2:$B$106</c:f>
              <c:numCache>
                <c:formatCode>General</c:formatCode>
                <c:ptCount val="105"/>
                <c:pt idx="0">
                  <c:v>0.17632579995524725</c:v>
                </c:pt>
                <c:pt idx="1">
                  <c:v>0.18398318935325705</c:v>
                </c:pt>
                <c:pt idx="2">
                  <c:v>0.1852607709750567</c:v>
                </c:pt>
                <c:pt idx="3">
                  <c:v>0.1895711500974659</c:v>
                </c:pt>
                <c:pt idx="4">
                  <c:v>0.1980105688529686</c:v>
                </c:pt>
                <c:pt idx="5">
                  <c:v>0.19788918205804748</c:v>
                </c:pt>
                <c:pt idx="6">
                  <c:v>0.22967614011896895</c:v>
                </c:pt>
                <c:pt idx="7">
                  <c:v>0.21265243902439024</c:v>
                </c:pt>
                <c:pt idx="8">
                  <c:v>0.1988888888888889</c:v>
                </c:pt>
                <c:pt idx="9">
                  <c:v>0.2020100502512563</c:v>
                </c:pt>
                <c:pt idx="10">
                  <c:v>0.22107645875251508</c:v>
                </c:pt>
                <c:pt idx="11">
                  <c:v>0.19349397590361445</c:v>
                </c:pt>
                <c:pt idx="12">
                  <c:v>0.17652173913043478</c:v>
                </c:pt>
                <c:pt idx="13">
                  <c:v>0.16837315130830488</c:v>
                </c:pt>
                <c:pt idx="14">
                  <c:v>0.167491926803014</c:v>
                </c:pt>
                <c:pt idx="15">
                  <c:v>0.16569546491005827</c:v>
                </c:pt>
                <c:pt idx="16">
                  <c:v>0.1508816120906801</c:v>
                </c:pt>
                <c:pt idx="17">
                  <c:v>0.17386363636363636</c:v>
                </c:pt>
                <c:pt idx="18">
                  <c:v>0.14063041219258746</c:v>
                </c:pt>
                <c:pt idx="19">
                  <c:v>0.1336812525090325</c:v>
                </c:pt>
                <c:pt idx="20">
                  <c:v>0.14399421128798842</c:v>
                </c:pt>
                <c:pt idx="21">
                  <c:v>0.15085536547433903</c:v>
                </c:pt>
                <c:pt idx="22">
                  <c:v>0.13484907879263033</c:v>
                </c:pt>
                <c:pt idx="23">
                  <c:v>0.1632492113564669</c:v>
                </c:pt>
                <c:pt idx="24">
                  <c:v>0.161516275236918</c:v>
                </c:pt>
                <c:pt idx="25">
                  <c:v>0.15716911764705882</c:v>
                </c:pt>
                <c:pt idx="26">
                  <c:v>0.1562731997030438</c:v>
                </c:pt>
                <c:pt idx="27">
                  <c:v>0.15535097813578827</c:v>
                </c:pt>
                <c:pt idx="28">
                  <c:v>0.14614499424626007</c:v>
                </c:pt>
                <c:pt idx="29">
                  <c:v>0.16374871266735325</c:v>
                </c:pt>
                <c:pt idx="30">
                  <c:v>0.150951031970862</c:v>
                </c:pt>
                <c:pt idx="31">
                  <c:v>0.1465863453815261</c:v>
                </c:pt>
                <c:pt idx="32">
                  <c:v>0.1526073619631902</c:v>
                </c:pt>
                <c:pt idx="33">
                  <c:v>0.1688235294117647</c:v>
                </c:pt>
                <c:pt idx="34">
                  <c:v>0.16653016653016653</c:v>
                </c:pt>
                <c:pt idx="35">
                  <c:v>0.16292660121552127</c:v>
                </c:pt>
                <c:pt idx="36">
                  <c:v>0.13150124914830796</c:v>
                </c:pt>
                <c:pt idx="37">
                  <c:v>0.12330316742081449</c:v>
                </c:pt>
                <c:pt idx="38">
                  <c:v>0.12244897959183673</c:v>
                </c:pt>
                <c:pt idx="39">
                  <c:v>0.11434977578475336</c:v>
                </c:pt>
                <c:pt idx="40">
                  <c:v>0.10497866287339971</c:v>
                </c:pt>
                <c:pt idx="41">
                  <c:v>0.112</c:v>
                </c:pt>
                <c:pt idx="42">
                  <c:v>0.11533650237678258</c:v>
                </c:pt>
                <c:pt idx="43">
                  <c:v>0.1094954835866931</c:v>
                </c:pt>
                <c:pt idx="44">
                  <c:v>0.11402107952730757</c:v>
                </c:pt>
                <c:pt idx="45">
                  <c:v>0.12612187057156354</c:v>
                </c:pt>
                <c:pt idx="46">
                  <c:v>0.11981351981351981</c:v>
                </c:pt>
                <c:pt idx="47">
                  <c:v>0.12447356106691623</c:v>
                </c:pt>
                <c:pt idx="48">
                  <c:v>0.14175860916081578</c:v>
                </c:pt>
                <c:pt idx="49">
                  <c:v>0.17813149896016636</c:v>
                </c:pt>
                <c:pt idx="50">
                  <c:v>0.1547337278106509</c:v>
                </c:pt>
                <c:pt idx="51">
                  <c:v>0.13972929936305734</c:v>
                </c:pt>
                <c:pt idx="52">
                  <c:v>0.1454956652845835</c:v>
                </c:pt>
                <c:pt idx="53">
                  <c:v>0.15951043338683787</c:v>
                </c:pt>
                <c:pt idx="54">
                  <c:v>0.1665521191294387</c:v>
                </c:pt>
                <c:pt idx="55">
                  <c:v>0.16317705962676377</c:v>
                </c:pt>
                <c:pt idx="56">
                  <c:v>0.16958174904942966</c:v>
                </c:pt>
                <c:pt idx="57">
                  <c:v>0.1704628949301984</c:v>
                </c:pt>
                <c:pt idx="58">
                  <c:v>0.1811740890688259</c:v>
                </c:pt>
                <c:pt idx="59">
                  <c:v>0.16755989911727617</c:v>
                </c:pt>
                <c:pt idx="60">
                  <c:v>0.1724656761331578</c:v>
                </c:pt>
                <c:pt idx="61">
                  <c:v>0.19270722917108332</c:v>
                </c:pt>
                <c:pt idx="62">
                  <c:v>0.18064237982323778</c:v>
                </c:pt>
                <c:pt idx="63">
                  <c:v>0.18622877402500468</c:v>
                </c:pt>
                <c:pt idx="64">
                  <c:v>0.17178235088943147</c:v>
                </c:pt>
                <c:pt idx="65">
                  <c:v>0.16776875118080484</c:v>
                </c:pt>
                <c:pt idx="66">
                  <c:v>0.17882742142988423</c:v>
                </c:pt>
                <c:pt idx="67">
                  <c:v>0.17384979087106747</c:v>
                </c:pt>
                <c:pt idx="68">
                  <c:v>0.15165479681608715</c:v>
                </c:pt>
                <c:pt idx="69">
                  <c:v>0.15466039400176418</c:v>
                </c:pt>
                <c:pt idx="70">
                  <c:v>0.15137004522479383</c:v>
                </c:pt>
                <c:pt idx="71">
                  <c:v>0.1463126843657817</c:v>
                </c:pt>
                <c:pt idx="72">
                  <c:v>0.14437194127243066</c:v>
                </c:pt>
                <c:pt idx="73">
                  <c:v>0.16494235885308897</c:v>
                </c:pt>
                <c:pt idx="74">
                  <c:v>0.1373880827415869</c:v>
                </c:pt>
                <c:pt idx="75">
                  <c:v>0.1546293350302259</c:v>
                </c:pt>
                <c:pt idx="76">
                  <c:v>0.15185982170304335</c:v>
                </c:pt>
                <c:pt idx="77">
                  <c:v>0.1443868739205527</c:v>
                </c:pt>
                <c:pt idx="78">
                  <c:v>0.13529631010063362</c:v>
                </c:pt>
                <c:pt idx="79">
                  <c:v>0.2273190621814475</c:v>
                </c:pt>
                <c:pt idx="80">
                  <c:v>0.19585879158180583</c:v>
                </c:pt>
                <c:pt idx="81">
                  <c:v>0.15258358662613983</c:v>
                </c:pt>
                <c:pt idx="82">
                  <c:v>0.1653764954257565</c:v>
                </c:pt>
                <c:pt idx="83">
                  <c:v>0.14930300807043287</c:v>
                </c:pt>
                <c:pt idx="84">
                  <c:v>0.13214013709063213</c:v>
                </c:pt>
                <c:pt idx="85">
                  <c:v>0.16483516483516483</c:v>
                </c:pt>
                <c:pt idx="86">
                  <c:v>0.13295228628230615</c:v>
                </c:pt>
                <c:pt idx="87">
                  <c:v>0.14148681055155876</c:v>
                </c:pt>
                <c:pt idx="88">
                  <c:v>0.128</c:v>
                </c:pt>
                <c:pt idx="89">
                  <c:v>0.12579525737420474</c:v>
                </c:pt>
                <c:pt idx="90">
                  <c:v>0.1332675222112537</c:v>
                </c:pt>
                <c:pt idx="91">
                  <c:v>0.10883228580879921</c:v>
                </c:pt>
                <c:pt idx="92">
                  <c:v>0.1197652707388637</c:v>
                </c:pt>
                <c:pt idx="93">
                  <c:v>0.11320247378327507</c:v>
                </c:pt>
                <c:pt idx="94">
                  <c:v>0.11077466565733031</c:v>
                </c:pt>
                <c:pt idx="95">
                  <c:v>0.10410718207775094</c:v>
                </c:pt>
                <c:pt idx="96">
                  <c:v>0.11247830888152706</c:v>
                </c:pt>
                <c:pt idx="97">
                  <c:v>0.1117798796216681</c:v>
                </c:pt>
                <c:pt idx="98">
                  <c:v>0.1289908962687524</c:v>
                </c:pt>
                <c:pt idx="99">
                  <c:v>0.13530852677009214</c:v>
                </c:pt>
                <c:pt idx="100">
                  <c:v>0.13935144609991235</c:v>
                </c:pt>
                <c:pt idx="101">
                  <c:v>0.14498480243161094</c:v>
                </c:pt>
                <c:pt idx="102">
                  <c:v>0.12598975314392175</c:v>
                </c:pt>
                <c:pt idx="103">
                  <c:v>0.14942300039793077</c:v>
                </c:pt>
                <c:pt idx="104">
                  <c:v>0.1608133086876155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8.248</c:v>
                </c:pt>
                <c:pt idx="1">
                  <c:v>1142.3652</c:v>
                </c:pt>
                <c:pt idx="2">
                  <c:v>1117.4226</c:v>
                </c:pt>
                <c:pt idx="3">
                  <c:v>1159.4383</c:v>
                </c:pt>
                <c:pt idx="4">
                  <c:v>1166.9042</c:v>
                </c:pt>
                <c:pt idx="5">
                  <c:v>1198.6074</c:v>
                </c:pt>
                <c:pt idx="6">
                  <c:v>1157.5</c:v>
                </c:pt>
                <c:pt idx="7">
                  <c:v>1224.6715</c:v>
                </c:pt>
                <c:pt idx="8">
                  <c:v>1318.816</c:v>
                </c:pt>
                <c:pt idx="9">
                  <c:v>1259.0212</c:v>
                </c:pt>
                <c:pt idx="10">
                  <c:v>1288.0314</c:v>
                </c:pt>
                <c:pt idx="11">
                  <c:v>1191.6376</c:v>
                </c:pt>
                <c:pt idx="12">
                  <c:v>1183.2916</c:v>
                </c:pt>
                <c:pt idx="13">
                  <c:v>1226.8514</c:v>
                </c:pt>
                <c:pt idx="14">
                  <c:v>1217.4288</c:v>
                </c:pt>
                <c:pt idx="15">
                  <c:v>1256.8501</c:v>
                </c:pt>
                <c:pt idx="16">
                  <c:v>1293.0472</c:v>
                </c:pt>
                <c:pt idx="17">
                  <c:v>1222.4687</c:v>
                </c:pt>
                <c:pt idx="18">
                  <c:v>1284.0303</c:v>
                </c:pt>
                <c:pt idx="19">
                  <c:v>1422.7251</c:v>
                </c:pt>
                <c:pt idx="20">
                  <c:v>1390.2155</c:v>
                </c:pt>
                <c:pt idx="21">
                  <c:v>1280.4545</c:v>
                </c:pt>
                <c:pt idx="22">
                  <c:v>1263.2557</c:v>
                </c:pt>
                <c:pt idx="23">
                  <c:v>1213.6514</c:v>
                </c:pt>
                <c:pt idx="24">
                  <c:v>1137.7953</c:v>
                </c:pt>
                <c:pt idx="25">
                  <c:v>1122.1254</c:v>
                </c:pt>
                <c:pt idx="26">
                  <c:v>1147.325</c:v>
                </c:pt>
                <c:pt idx="27">
                  <c:v>1175.5994</c:v>
                </c:pt>
                <c:pt idx="28">
                  <c:v>1204.0419</c:v>
                </c:pt>
                <c:pt idx="29">
                  <c:v>1220.9306</c:v>
                </c:pt>
                <c:pt idx="30">
                  <c:v>1111.7972</c:v>
                </c:pt>
                <c:pt idx="31">
                  <c:v>948.6877</c:v>
                </c:pt>
                <c:pt idx="32">
                  <c:v>1074.4046</c:v>
                </c:pt>
                <c:pt idx="33">
                  <c:v>1237.0335</c:v>
                </c:pt>
                <c:pt idx="34">
                  <c:v>1265.8104</c:v>
                </c:pt>
                <c:pt idx="35">
                  <c:v>1174.3832</c:v>
                </c:pt>
                <c:pt idx="36">
                  <c:v>1242.7835</c:v>
                </c:pt>
                <c:pt idx="37">
                  <c:v>1345.0737</c:v>
                </c:pt>
                <c:pt idx="38">
                  <c:v>1285.4327</c:v>
                </c:pt>
                <c:pt idx="39">
                  <c:v>1186.8672</c:v>
                </c:pt>
                <c:pt idx="40">
                  <c:v>1214.7402</c:v>
                </c:pt>
                <c:pt idx="41">
                  <c:v>1233.3228</c:v>
                </c:pt>
                <c:pt idx="42">
                  <c:v>1155.3977</c:v>
                </c:pt>
                <c:pt idx="43">
                  <c:v>1319.2731</c:v>
                </c:pt>
                <c:pt idx="44">
                  <c:v>1261.8188</c:v>
                </c:pt>
                <c:pt idx="45">
                  <c:v>1221.6949</c:v>
                </c:pt>
                <c:pt idx="46">
                  <c:v>1222.0075</c:v>
                </c:pt>
                <c:pt idx="47">
                  <c:v>1177.0446</c:v>
                </c:pt>
                <c:pt idx="48">
                  <c:v>1095.8242</c:v>
                </c:pt>
                <c:pt idx="49">
                  <c:v>1163.4281</c:v>
                </c:pt>
                <c:pt idx="50">
                  <c:v>1140.461</c:v>
                </c:pt>
                <c:pt idx="51">
                  <c:v>1091.3421</c:v>
                </c:pt>
              </c:numCache>
            </c:numRef>
          </c:xVal>
          <c:yVal>
            <c:numRef>
              <c:f>Sheet1!$B$109:$B$160</c:f>
              <c:numCache>
                <c:formatCode>General</c:formatCode>
                <c:ptCount val="52"/>
                <c:pt idx="0">
                  <c:v>0.1505023580069715</c:v>
                </c:pt>
                <c:pt idx="1">
                  <c:v>0.1498046026921407</c:v>
                </c:pt>
                <c:pt idx="2">
                  <c:v>0.1512006512006512</c:v>
                </c:pt>
                <c:pt idx="3">
                  <c:v>0.1748909800321322</c:v>
                </c:pt>
                <c:pt idx="4">
                  <c:v>0.16046356139959883</c:v>
                </c:pt>
                <c:pt idx="5">
                  <c:v>0.15937423612808604</c:v>
                </c:pt>
                <c:pt idx="6">
                  <c:v>0.14720194647201945</c:v>
                </c:pt>
                <c:pt idx="7">
                  <c:v>0.1372745490981964</c:v>
                </c:pt>
                <c:pt idx="8">
                  <c:v>0.15128205128205127</c:v>
                </c:pt>
                <c:pt idx="9">
                  <c:v>0.13881748071979436</c:v>
                </c:pt>
                <c:pt idx="10">
                  <c:v>0.16982809721398934</c:v>
                </c:pt>
                <c:pt idx="11">
                  <c:v>0.1582251988279615</c:v>
                </c:pt>
                <c:pt idx="12">
                  <c:v>0.1617278797996661</c:v>
                </c:pt>
                <c:pt idx="13">
                  <c:v>0.15475658776239393</c:v>
                </c:pt>
                <c:pt idx="14">
                  <c:v>0.1619543650793651</c:v>
                </c:pt>
                <c:pt idx="15">
                  <c:v>0.14798206278026907</c:v>
                </c:pt>
                <c:pt idx="16">
                  <c:v>0.14910478426768417</c:v>
                </c:pt>
                <c:pt idx="17">
                  <c:v>0.13136238951539164</c:v>
                </c:pt>
                <c:pt idx="18">
                  <c:v>0.1208348590259978</c:v>
                </c:pt>
                <c:pt idx="19">
                  <c:v>0.1298861188057864</c:v>
                </c:pt>
                <c:pt idx="20">
                  <c:v>0.12379935965848453</c:v>
                </c:pt>
                <c:pt idx="21">
                  <c:v>0.1373679154658982</c:v>
                </c:pt>
                <c:pt idx="22">
                  <c:v>0.13319776309100154</c:v>
                </c:pt>
                <c:pt idx="23">
                  <c:v>0.15725359911406422</c:v>
                </c:pt>
                <c:pt idx="24">
                  <c:v>0.1601289629231596</c:v>
                </c:pt>
                <c:pt idx="25">
                  <c:v>0.1686143572621035</c:v>
                </c:pt>
                <c:pt idx="26">
                  <c:v>0.14558689717925385</c:v>
                </c:pt>
                <c:pt idx="27">
                  <c:v>0.14336633663366335</c:v>
                </c:pt>
                <c:pt idx="28">
                  <c:v>0.14863813229571984</c:v>
                </c:pt>
                <c:pt idx="29">
                  <c:v>0.14997832683138274</c:v>
                </c:pt>
                <c:pt idx="30">
                  <c:v>0.1795614398014067</c:v>
                </c:pt>
                <c:pt idx="31">
                  <c:v>0.17715305667112896</c:v>
                </c:pt>
                <c:pt idx="32">
                  <c:v>0.15249008373732922</c:v>
                </c:pt>
                <c:pt idx="33">
                  <c:v>0.16488153197013958</c:v>
                </c:pt>
                <c:pt idx="34">
                  <c:v>0.17804942864735585</c:v>
                </c:pt>
                <c:pt idx="35">
                  <c:v>0.18343982960596378</c:v>
                </c:pt>
                <c:pt idx="36">
                  <c:v>0.16033057851239668</c:v>
                </c:pt>
                <c:pt idx="37">
                  <c:v>0.1608598962194218</c:v>
                </c:pt>
                <c:pt idx="38">
                  <c:v>0.15210176991150443</c:v>
                </c:pt>
                <c:pt idx="39">
                  <c:v>0.17516250427642832</c:v>
                </c:pt>
                <c:pt idx="40">
                  <c:v>0.16536458333333334</c:v>
                </c:pt>
                <c:pt idx="41">
                  <c:v>0.16699083078632954</c:v>
                </c:pt>
                <c:pt idx="42">
                  <c:v>0.17813351498637603</c:v>
                </c:pt>
                <c:pt idx="43">
                  <c:v>0.13718309859154929</c:v>
                </c:pt>
                <c:pt idx="44">
                  <c:v>0.12895098488318826</c:v>
                </c:pt>
                <c:pt idx="45">
                  <c:v>0.14353562005277046</c:v>
                </c:pt>
                <c:pt idx="46">
                  <c:v>0.14034352744030162</c:v>
                </c:pt>
                <c:pt idx="47">
                  <c:v>0.1404867256637168</c:v>
                </c:pt>
                <c:pt idx="48">
                  <c:v>0.127286470143613</c:v>
                </c:pt>
                <c:pt idx="49">
                  <c:v>0.1429785787147229</c:v>
                </c:pt>
                <c:pt idx="50">
                  <c:v>0.14315719655096176</c:v>
                </c:pt>
                <c:pt idx="51">
                  <c:v>0.137706106178655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5.5300373126728</c:v>
                </c:pt>
              </c:numCache>
            </c:numRef>
          </c:xVal>
          <c:yVal>
            <c:numRef>
              <c:f>Sheet1!$B$163:$B$164</c:f>
              <c:numCache>
                <c:formatCode>General</c:formatCode>
                <c:ptCount val="2"/>
                <c:pt idx="0">
                  <c:v>0.19691756992492124</c:v>
                </c:pt>
                <c:pt idx="1">
                  <c:v>0.196917569924921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5.5300373126728</c:v>
                </c:pt>
                <c:pt idx="1">
                  <c:v>515.5300373126728</c:v>
                </c:pt>
              </c:numCache>
            </c:numRef>
          </c:xVal>
          <c:yVal>
            <c:numRef>
              <c:f>Sheet1!$B$167:$B$168</c:f>
              <c:numCache>
                <c:formatCode>General</c:formatCode>
                <c:ptCount val="2"/>
                <c:pt idx="0">
                  <c:v>0.196917569924921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0.4916526129646</c:v>
                </c:pt>
              </c:numCache>
            </c:numRef>
          </c:xVal>
          <c:yVal>
            <c:numRef>
              <c:f>Sheet1!$B$171:$B$172</c:f>
              <c:numCache>
                <c:formatCode>General</c:formatCode>
                <c:ptCount val="2"/>
                <c:pt idx="0">
                  <c:v>0.15837691662751607</c:v>
                </c:pt>
                <c:pt idx="1">
                  <c:v>0.1583769166275160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0.4916526129646</c:v>
                </c:pt>
                <c:pt idx="1">
                  <c:v>1110.4916526129646</c:v>
                </c:pt>
              </c:numCache>
            </c:numRef>
          </c:xVal>
          <c:yVal>
            <c:numRef>
              <c:f>Sheet1!$B$175:$B$176</c:f>
              <c:numCache>
                <c:formatCode>General</c:formatCode>
                <c:ptCount val="2"/>
                <c:pt idx="0">
                  <c:v>0.1583769166275160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7880564598104</c:v>
                </c:pt>
              </c:numCache>
            </c:numRef>
          </c:xVal>
          <c:yVal>
            <c:numRef>
              <c:f>Sheet1!$B$179:$B$180</c:f>
              <c:numCache>
                <c:formatCode>General</c:formatCode>
                <c:ptCount val="2"/>
                <c:pt idx="0">
                  <c:v>0.14825228781553437</c:v>
                </c:pt>
                <c:pt idx="1">
                  <c:v>0.148252287815534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7880564598104</c:v>
                </c:pt>
                <c:pt idx="1">
                  <c:v>1266.7880564598104</c:v>
                </c:pt>
              </c:numCache>
            </c:numRef>
          </c:xVal>
          <c:yVal>
            <c:numRef>
              <c:f>Sheet1!$B$183:$B$184</c:f>
              <c:numCache>
                <c:formatCode>General</c:formatCode>
                <c:ptCount val="2"/>
                <c:pt idx="0">
                  <c:v>0.148252287815534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8.248</c:v>
                </c:pt>
                <c:pt idx="1">
                  <c:v>1142.3652</c:v>
                </c:pt>
                <c:pt idx="2">
                  <c:v>1117.4226</c:v>
                </c:pt>
                <c:pt idx="3">
                  <c:v>1159.4383</c:v>
                </c:pt>
                <c:pt idx="4">
                  <c:v>1166.9042</c:v>
                </c:pt>
                <c:pt idx="5">
                  <c:v>1198.6074</c:v>
                </c:pt>
                <c:pt idx="6">
                  <c:v>1157.5</c:v>
                </c:pt>
                <c:pt idx="7">
                  <c:v>1224.6715</c:v>
                </c:pt>
                <c:pt idx="8">
                  <c:v>1318.816</c:v>
                </c:pt>
                <c:pt idx="9">
                  <c:v>1259.0212</c:v>
                </c:pt>
                <c:pt idx="10">
                  <c:v>1288.0314</c:v>
                </c:pt>
                <c:pt idx="11">
                  <c:v>1191.6376</c:v>
                </c:pt>
                <c:pt idx="12">
                  <c:v>1183.2916</c:v>
                </c:pt>
                <c:pt idx="13">
                  <c:v>1226.8514</c:v>
                </c:pt>
                <c:pt idx="14">
                  <c:v>1217.4288</c:v>
                </c:pt>
                <c:pt idx="15">
                  <c:v>1256.8501</c:v>
                </c:pt>
                <c:pt idx="16">
                  <c:v>1293.0472</c:v>
                </c:pt>
                <c:pt idx="17">
                  <c:v>1222.4687</c:v>
                </c:pt>
                <c:pt idx="18">
                  <c:v>1284.0303</c:v>
                </c:pt>
                <c:pt idx="19">
                  <c:v>1422.7251</c:v>
                </c:pt>
                <c:pt idx="20">
                  <c:v>1390.2155</c:v>
                </c:pt>
                <c:pt idx="21">
                  <c:v>1280.4545</c:v>
                </c:pt>
                <c:pt idx="22">
                  <c:v>1263.2557</c:v>
                </c:pt>
                <c:pt idx="23">
                  <c:v>1213.6514</c:v>
                </c:pt>
                <c:pt idx="24">
                  <c:v>1137.7953</c:v>
                </c:pt>
                <c:pt idx="25">
                  <c:v>1122.1254</c:v>
                </c:pt>
                <c:pt idx="26">
                  <c:v>1147.325</c:v>
                </c:pt>
                <c:pt idx="27">
                  <c:v>1175.5994</c:v>
                </c:pt>
                <c:pt idx="28">
                  <c:v>1204.0419</c:v>
                </c:pt>
                <c:pt idx="29">
                  <c:v>1220.9306</c:v>
                </c:pt>
                <c:pt idx="30">
                  <c:v>1111.7972</c:v>
                </c:pt>
                <c:pt idx="31">
                  <c:v>948.6877</c:v>
                </c:pt>
                <c:pt idx="32">
                  <c:v>1074.4046</c:v>
                </c:pt>
                <c:pt idx="33">
                  <c:v>1237.0335</c:v>
                </c:pt>
                <c:pt idx="34">
                  <c:v>1265.8104</c:v>
                </c:pt>
                <c:pt idx="35">
                  <c:v>1174.3832</c:v>
                </c:pt>
                <c:pt idx="36">
                  <c:v>1242.7835</c:v>
                </c:pt>
                <c:pt idx="37">
                  <c:v>1345.0737</c:v>
                </c:pt>
                <c:pt idx="38">
                  <c:v>1285.4327</c:v>
                </c:pt>
                <c:pt idx="39">
                  <c:v>1186.8672</c:v>
                </c:pt>
                <c:pt idx="40">
                  <c:v>1214.7402</c:v>
                </c:pt>
                <c:pt idx="41">
                  <c:v>1233.3228</c:v>
                </c:pt>
                <c:pt idx="42">
                  <c:v>1155.3977</c:v>
                </c:pt>
                <c:pt idx="43">
                  <c:v>1319.2731</c:v>
                </c:pt>
                <c:pt idx="44">
                  <c:v>1261.8188</c:v>
                </c:pt>
                <c:pt idx="45">
                  <c:v>1221.6949</c:v>
                </c:pt>
                <c:pt idx="46">
                  <c:v>1222.0075</c:v>
                </c:pt>
                <c:pt idx="47">
                  <c:v>1177.0446</c:v>
                </c:pt>
                <c:pt idx="48">
                  <c:v>1095.8242</c:v>
                </c:pt>
                <c:pt idx="49">
                  <c:v>1163.4281</c:v>
                </c:pt>
                <c:pt idx="50">
                  <c:v>1140.461</c:v>
                </c:pt>
                <c:pt idx="51">
                  <c:v>1091.3421</c:v>
                </c:pt>
                <c:pt idx="52">
                  <c:v>1110.4916526129646</c:v>
                </c:pt>
                <c:pt idx="53">
                  <c:v>515.5300373126728</c:v>
                </c:pt>
                <c:pt idx="54">
                  <c:v>1266.7880564598104</c:v>
                </c:pt>
              </c:numCache>
            </c:numRef>
          </c:xVal>
          <c:yVal>
            <c:numRef>
              <c:f>Sheet1!$B$187:$B$241</c:f>
              <c:numCache>
                <c:formatCode>General</c:formatCode>
                <c:ptCount val="55"/>
                <c:pt idx="0">
                  <c:v>0.1585222568230049</c:v>
                </c:pt>
                <c:pt idx="1">
                  <c:v>0.15631219966492324</c:v>
                </c:pt>
                <c:pt idx="2">
                  <c:v>0.15792794104086166</c:v>
                </c:pt>
                <c:pt idx="3">
                  <c:v>0.15520623179928233</c:v>
                </c:pt>
                <c:pt idx="4">
                  <c:v>0.15472260284566006</c:v>
                </c:pt>
                <c:pt idx="5">
                  <c:v>0.15266892071189486</c:v>
                </c:pt>
                <c:pt idx="6">
                  <c:v>0.15533179174527761</c:v>
                </c:pt>
                <c:pt idx="7">
                  <c:v>0.15098053037581932</c:v>
                </c:pt>
                <c:pt idx="8">
                  <c:v>0.1448820015950572</c:v>
                </c:pt>
                <c:pt idx="9">
                  <c:v>0.14875541224294334</c:v>
                </c:pt>
                <c:pt idx="10">
                  <c:v>0.14687617830324778</c:v>
                </c:pt>
                <c:pt idx="11">
                  <c:v>0.15312041310811722</c:v>
                </c:pt>
                <c:pt idx="12">
                  <c:v>0.15366105351944492</c:v>
                </c:pt>
                <c:pt idx="13">
                  <c:v>0.15083931997171518</c:v>
                </c:pt>
                <c:pt idx="14">
                  <c:v>0.151449700793639</c:v>
                </c:pt>
                <c:pt idx="15">
                  <c:v>0.1488960525972488</c:v>
                </c:pt>
                <c:pt idx="16">
                  <c:v>0.14655126287368425</c:v>
                </c:pt>
                <c:pt idx="17">
                  <c:v>0.15112322420496777</c:v>
                </c:pt>
                <c:pt idx="18">
                  <c:v>0.14713536310432176</c:v>
                </c:pt>
                <c:pt idx="19">
                  <c:v>0.1381509377842866</c:v>
                </c:pt>
                <c:pt idx="20">
                  <c:v>0.1402568572086934</c:v>
                </c:pt>
                <c:pt idx="21">
                  <c:v>0.14736699765773964</c:v>
                </c:pt>
                <c:pt idx="22">
                  <c:v>0.14848110816652743</c:v>
                </c:pt>
                <c:pt idx="23">
                  <c:v>0.1516943946697173</c:v>
                </c:pt>
                <c:pt idx="24">
                  <c:v>0.15660823041207472</c:v>
                </c:pt>
                <c:pt idx="25">
                  <c:v>0.15762330124618257</c:v>
                </c:pt>
                <c:pt idx="26">
                  <c:v>0.15599091182498756</c:v>
                </c:pt>
                <c:pt idx="27">
                  <c:v>0.15415934182186702</c:v>
                </c:pt>
                <c:pt idx="28">
                  <c:v>0.15231688257202422</c:v>
                </c:pt>
                <c:pt idx="29">
                  <c:v>0.15122285984080086</c:v>
                </c:pt>
                <c:pt idx="30">
                  <c:v>0.15829234537466025</c:v>
                </c:pt>
                <c:pt idx="31">
                  <c:v>0.1688583155605524</c:v>
                </c:pt>
                <c:pt idx="32">
                  <c:v>0.1607145776589416</c:v>
                </c:pt>
                <c:pt idx="33">
                  <c:v>0.1501797399654631</c:v>
                </c:pt>
                <c:pt idx="34">
                  <c:v>0.14831561882327088</c:v>
                </c:pt>
                <c:pt idx="35">
                  <c:v>0.1542381252951784</c:v>
                </c:pt>
                <c:pt idx="36">
                  <c:v>0.1498072642447425</c:v>
                </c:pt>
                <c:pt idx="37">
                  <c:v>0.14318107016341097</c:v>
                </c:pt>
                <c:pt idx="38">
                  <c:v>0.14704451789549766</c:v>
                </c:pt>
                <c:pt idx="39">
                  <c:v>0.15342943192170427</c:v>
                </c:pt>
                <c:pt idx="40">
                  <c:v>0.15162386396280936</c:v>
                </c:pt>
                <c:pt idx="41">
                  <c:v>0.15042011312318104</c:v>
                </c:pt>
                <c:pt idx="42">
                  <c:v>0.15546797534661166</c:v>
                </c:pt>
                <c:pt idx="43">
                  <c:v>0.14485239139471956</c:v>
                </c:pt>
                <c:pt idx="44">
                  <c:v>0.14857418822967583</c:v>
                </c:pt>
                <c:pt idx="45">
                  <c:v>0.1511733497202188</c:v>
                </c:pt>
                <c:pt idx="46">
                  <c:v>0.15115309999668886</c:v>
                </c:pt>
                <c:pt idx="47">
                  <c:v>0.15406572409811303</c:v>
                </c:pt>
                <c:pt idx="48">
                  <c:v>0.15932705053762902</c:v>
                </c:pt>
                <c:pt idx="49">
                  <c:v>0.15494777899397255</c:v>
                </c:pt>
                <c:pt idx="50">
                  <c:v>0.15643555066794868</c:v>
                </c:pt>
                <c:pt idx="51">
                  <c:v>0.15961739374247108</c:v>
                </c:pt>
                <c:pt idx="52">
                  <c:v>0.15837691662751607</c:v>
                </c:pt>
                <c:pt idx="53">
                  <c:v>0.19691756992492124</c:v>
                </c:pt>
                <c:pt idx="54">
                  <c:v>0.148252287815534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7.0"/>
          <c:min val="41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6113681427627"/>
          <c:min val="0.083285745662200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3795205034578895</c:v>
                </c:pt>
                <c:pt idx="1">
                  <c:v>2.573704708945673</c:v>
                </c:pt>
                <c:pt idx="2">
                  <c:v>2.4909923592134637</c:v>
                </c:pt>
                <c:pt idx="3">
                  <c:v>2.5217860594423898</c:v>
                </c:pt>
                <c:pt idx="4">
                  <c:v>2.5051466156619377</c:v>
                </c:pt>
                <c:pt idx="5">
                  <c:v>1.9685910644113944</c:v>
                </c:pt>
                <c:pt idx="6">
                  <c:v>1.7328360223141495</c:v>
                </c:pt>
                <c:pt idx="7">
                  <c:v>1.8119628452264724</c:v>
                </c:pt>
                <c:pt idx="8">
                  <c:v>1.822140908635022</c:v>
                </c:pt>
                <c:pt idx="9">
                  <c:v>1.932501473035694</c:v>
                </c:pt>
                <c:pt idx="10">
                  <c:v>1.9531522679364761</c:v>
                </c:pt>
                <c:pt idx="11">
                  <c:v>1.8970671861381776</c:v>
                </c:pt>
                <c:pt idx="12">
                  <c:v>1.9220433432332753</c:v>
                </c:pt>
                <c:pt idx="13">
                  <c:v>1.8809147637011545</c:v>
                </c:pt>
                <c:pt idx="14">
                  <c:v>1.8968019417256452</c:v>
                </c:pt>
                <c:pt idx="15">
                  <c:v>1.8837316880552812</c:v>
                </c:pt>
                <c:pt idx="16">
                  <c:v>1.819183748026067</c:v>
                </c:pt>
                <c:pt idx="17">
                  <c:v>2.2894980777544824</c:v>
                </c:pt>
                <c:pt idx="18">
                  <c:v>2.3718025104816793</c:v>
                </c:pt>
                <c:pt idx="19">
                  <c:v>2.528927812172783</c:v>
                </c:pt>
                <c:pt idx="20">
                  <c:v>2.5146306220985553</c:v>
                </c:pt>
                <c:pt idx="21">
                  <c:v>2.5843708004647654</c:v>
                </c:pt>
                <c:pt idx="22">
                  <c:v>2.590977819035965</c:v>
                </c:pt>
                <c:pt idx="23">
                  <c:v>2.6643578886619794</c:v>
                </c:pt>
                <c:pt idx="24">
                  <c:v>2.7722708818979447</c:v>
                </c:pt>
                <c:pt idx="25">
                  <c:v>2.7033100096117235</c:v>
                </c:pt>
                <c:pt idx="26">
                  <c:v>2.232523103862818</c:v>
                </c:pt>
                <c:pt idx="27">
                  <c:v>2.0567830110146628</c:v>
                </c:pt>
                <c:pt idx="28">
                  <c:v>2.1322898251722777</c:v>
                </c:pt>
                <c:pt idx="29">
                  <c:v>1.9309291124273211</c:v>
                </c:pt>
                <c:pt idx="30">
                  <c:v>2.0042764224024086</c:v>
                </c:pt>
                <c:pt idx="31">
                  <c:v>1.9459271595548782</c:v>
                </c:pt>
                <c:pt idx="32">
                  <c:v>1.8896833458834053</c:v>
                </c:pt>
                <c:pt idx="33">
                  <c:v>1.8158233602543197</c:v>
                </c:pt>
                <c:pt idx="34">
                  <c:v>1.96066607026597</c:v>
                </c:pt>
                <c:pt idx="35">
                  <c:v>2.0541927545924823</c:v>
                </c:pt>
                <c:pt idx="36">
                  <c:v>2.2501605517189223</c:v>
                </c:pt>
                <c:pt idx="37">
                  <c:v>2.2215183754409202</c:v>
                </c:pt>
                <c:pt idx="38">
                  <c:v>2.2977909496981748</c:v>
                </c:pt>
                <c:pt idx="39">
                  <c:v>2.3809915953506398</c:v>
                </c:pt>
                <c:pt idx="40">
                  <c:v>2.426446525650934</c:v>
                </c:pt>
                <c:pt idx="41">
                  <c:v>2.440862573343415</c:v>
                </c:pt>
                <c:pt idx="42">
                  <c:v>2.522264458054109</c:v>
                </c:pt>
                <c:pt idx="43">
                  <c:v>2.503346197685521</c:v>
                </c:pt>
                <c:pt idx="44">
                  <c:v>2.2089364430725147</c:v>
                </c:pt>
                <c:pt idx="45">
                  <c:v>2.1693074184037457</c:v>
                </c:pt>
                <c:pt idx="46">
                  <c:v>2.1829305373968646</c:v>
                </c:pt>
                <c:pt idx="47">
                  <c:v>2.197041495554514</c:v>
                </c:pt>
                <c:pt idx="48">
                  <c:v>2.1525390734246983</c:v>
                </c:pt>
                <c:pt idx="49">
                  <c:v>2.115331758435573</c:v>
                </c:pt>
                <c:pt idx="50">
                  <c:v>2.101256090010343</c:v>
                </c:pt>
                <c:pt idx="51">
                  <c:v>2.2484858790193303</c:v>
                </c:pt>
                <c:pt idx="52">
                  <c:v>2.167561186779006</c:v>
                </c:pt>
                <c:pt idx="53">
                  <c:v>2.1242821846362316</c:v>
                </c:pt>
                <c:pt idx="54">
                  <c:v>2.257454653136125</c:v>
                </c:pt>
                <c:pt idx="55">
                  <c:v>2.2221566964308663</c:v>
                </c:pt>
                <c:pt idx="56">
                  <c:v>2.3288807863984737</c:v>
                </c:pt>
                <c:pt idx="57">
                  <c:v>2.2477071439694902</c:v>
                </c:pt>
                <c:pt idx="58">
                  <c:v>2.2878621495908678</c:v>
                </c:pt>
                <c:pt idx="59">
                  <c:v>2.3105303892614533</c:v>
                </c:pt>
                <c:pt idx="60">
                  <c:v>2.3392806922602714</c:v>
                </c:pt>
                <c:pt idx="61">
                  <c:v>2.2041738899591716</c:v>
                </c:pt>
                <c:pt idx="62">
                  <c:v>2.318526461969656</c:v>
                </c:pt>
                <c:pt idx="63">
                  <c:v>2.467057286122747</c:v>
                </c:pt>
                <c:pt idx="64">
                  <c:v>2.373433102613464</c:v>
                </c:pt>
                <c:pt idx="65">
                  <c:v>2.2968969850207483</c:v>
                </c:pt>
                <c:pt idx="66">
                  <c:v>2.1713849729328527</c:v>
                </c:pt>
                <c:pt idx="67">
                  <c:v>2.198954638069705</c:v>
                </c:pt>
                <c:pt idx="68">
                  <c:v>2.230585756745128</c:v>
                </c:pt>
                <c:pt idx="69">
                  <c:v>2.090336724301733</c:v>
                </c:pt>
                <c:pt idx="70">
                  <c:v>1.9140795604372516</c:v>
                </c:pt>
                <c:pt idx="71">
                  <c:v>2.1393726777764934</c:v>
                </c:pt>
                <c:pt idx="72">
                  <c:v>2.3262134440372386</c:v>
                </c:pt>
                <c:pt idx="73">
                  <c:v>2.1018207107900877</c:v>
                </c:pt>
                <c:pt idx="74">
                  <c:v>2.239952537512669</c:v>
                </c:pt>
                <c:pt idx="75">
                  <c:v>2.1671952525797376</c:v>
                </c:pt>
                <c:pt idx="76">
                  <c:v>2.297966030614385</c:v>
                </c:pt>
                <c:pt idx="77">
                  <c:v>2.303103637074697</c:v>
                </c:pt>
                <c:pt idx="78">
                  <c:v>2.2717178682164523</c:v>
                </c:pt>
                <c:pt idx="79">
                  <c:v>1.3394518812076812</c:v>
                </c:pt>
                <c:pt idx="80">
                  <c:v>1.5125703291852963</c:v>
                </c:pt>
                <c:pt idx="81">
                  <c:v>1.916814412837631</c:v>
                </c:pt>
                <c:pt idx="82">
                  <c:v>1.9356656588042918</c:v>
                </c:pt>
                <c:pt idx="83">
                  <c:v>1.737044402900972</c:v>
                </c:pt>
                <c:pt idx="84">
                  <c:v>2.134854718519853</c:v>
                </c:pt>
                <c:pt idx="85">
                  <c:v>1.7351140613753027</c:v>
                </c:pt>
                <c:pt idx="86">
                  <c:v>2.3090068423621237</c:v>
                </c:pt>
                <c:pt idx="87">
                  <c:v>2.4082056679236414</c:v>
                </c:pt>
                <c:pt idx="88">
                  <c:v>2.410804552167846</c:v>
                </c:pt>
                <c:pt idx="89">
                  <c:v>2.2734361307892805</c:v>
                </c:pt>
                <c:pt idx="90">
                  <c:v>2.3797448715701774</c:v>
                </c:pt>
                <c:pt idx="91">
                  <c:v>2.5077444937820577</c:v>
                </c:pt>
                <c:pt idx="92">
                  <c:v>2.453440534554843</c:v>
                </c:pt>
                <c:pt idx="93">
                  <c:v>2.130450833054488</c:v>
                </c:pt>
                <c:pt idx="94">
                  <c:v>2.1395557461851524</c:v>
                </c:pt>
                <c:pt idx="95">
                  <c:v>2.096172151615732</c:v>
                </c:pt>
                <c:pt idx="96">
                  <c:v>1.7723431614838479</c:v>
                </c:pt>
                <c:pt idx="97">
                  <c:v>1.9775913501876239</c:v>
                </c:pt>
                <c:pt idx="98">
                  <c:v>2.067232765017203</c:v>
                </c:pt>
                <c:pt idx="99">
                  <c:v>2.251995723772385</c:v>
                </c:pt>
                <c:pt idx="100">
                  <c:v>1.9863042530689792</c:v>
                </c:pt>
                <c:pt idx="101">
                  <c:v>1.8531553596510044</c:v>
                </c:pt>
                <c:pt idx="102">
                  <c:v>1.9146573204892148</c:v>
                </c:pt>
                <c:pt idx="103">
                  <c:v>1.5810747611173854</c:v>
                </c:pt>
                <c:pt idx="104">
                  <c:v>1.7064204197040027</c:v>
                </c:pt>
              </c:numCache>
            </c:numRef>
          </c:xVal>
          <c:yVal>
            <c:numRef>
              <c:f>Sheet1!$B$2:$B$106</c:f>
              <c:numCache>
                <c:formatCode>General</c:formatCode>
                <c:ptCount val="105"/>
                <c:pt idx="0">
                  <c:v>0.17632579995524725</c:v>
                </c:pt>
                <c:pt idx="1">
                  <c:v>0.18398318935325705</c:v>
                </c:pt>
                <c:pt idx="2">
                  <c:v>0.1852607709750567</c:v>
                </c:pt>
                <c:pt idx="3">
                  <c:v>0.1895711500974659</c:v>
                </c:pt>
                <c:pt idx="4">
                  <c:v>0.1980105688529686</c:v>
                </c:pt>
                <c:pt idx="5">
                  <c:v>0.19788918205804748</c:v>
                </c:pt>
                <c:pt idx="6">
                  <c:v>0.22967614011896895</c:v>
                </c:pt>
                <c:pt idx="7">
                  <c:v>0.21265243902439024</c:v>
                </c:pt>
                <c:pt idx="8">
                  <c:v>0.1988888888888889</c:v>
                </c:pt>
                <c:pt idx="9">
                  <c:v>0.2020100502512563</c:v>
                </c:pt>
                <c:pt idx="10">
                  <c:v>0.22107645875251508</c:v>
                </c:pt>
                <c:pt idx="11">
                  <c:v>0.19349397590361445</c:v>
                </c:pt>
                <c:pt idx="12">
                  <c:v>0.17652173913043478</c:v>
                </c:pt>
                <c:pt idx="13">
                  <c:v>0.16837315130830488</c:v>
                </c:pt>
                <c:pt idx="14">
                  <c:v>0.167491926803014</c:v>
                </c:pt>
                <c:pt idx="15">
                  <c:v>0.16569546491005827</c:v>
                </c:pt>
                <c:pt idx="16">
                  <c:v>0.1508816120906801</c:v>
                </c:pt>
                <c:pt idx="17">
                  <c:v>0.17386363636363636</c:v>
                </c:pt>
                <c:pt idx="18">
                  <c:v>0.14063041219258746</c:v>
                </c:pt>
                <c:pt idx="19">
                  <c:v>0.1336812525090325</c:v>
                </c:pt>
                <c:pt idx="20">
                  <c:v>0.14399421128798842</c:v>
                </c:pt>
                <c:pt idx="21">
                  <c:v>0.15085536547433903</c:v>
                </c:pt>
                <c:pt idx="22">
                  <c:v>0.13484907879263033</c:v>
                </c:pt>
                <c:pt idx="23">
                  <c:v>0.1632492113564669</c:v>
                </c:pt>
                <c:pt idx="24">
                  <c:v>0.161516275236918</c:v>
                </c:pt>
                <c:pt idx="25">
                  <c:v>0.15716911764705882</c:v>
                </c:pt>
                <c:pt idx="26">
                  <c:v>0.1562731997030438</c:v>
                </c:pt>
                <c:pt idx="27">
                  <c:v>0.15535097813578827</c:v>
                </c:pt>
                <c:pt idx="28">
                  <c:v>0.14614499424626007</c:v>
                </c:pt>
                <c:pt idx="29">
                  <c:v>0.16374871266735325</c:v>
                </c:pt>
                <c:pt idx="30">
                  <c:v>0.150951031970862</c:v>
                </c:pt>
                <c:pt idx="31">
                  <c:v>0.1465863453815261</c:v>
                </c:pt>
                <c:pt idx="32">
                  <c:v>0.1526073619631902</c:v>
                </c:pt>
                <c:pt idx="33">
                  <c:v>0.1688235294117647</c:v>
                </c:pt>
                <c:pt idx="34">
                  <c:v>0.16653016653016653</c:v>
                </c:pt>
                <c:pt idx="35">
                  <c:v>0.16292660121552127</c:v>
                </c:pt>
                <c:pt idx="36">
                  <c:v>0.13150124914830796</c:v>
                </c:pt>
                <c:pt idx="37">
                  <c:v>0.12330316742081449</c:v>
                </c:pt>
                <c:pt idx="38">
                  <c:v>0.12244897959183673</c:v>
                </c:pt>
                <c:pt idx="39">
                  <c:v>0.11434977578475336</c:v>
                </c:pt>
                <c:pt idx="40">
                  <c:v>0.10497866287339971</c:v>
                </c:pt>
                <c:pt idx="41">
                  <c:v>0.112</c:v>
                </c:pt>
                <c:pt idx="42">
                  <c:v>0.11533650237678258</c:v>
                </c:pt>
                <c:pt idx="43">
                  <c:v>0.1094954835866931</c:v>
                </c:pt>
                <c:pt idx="44">
                  <c:v>0.11402107952730757</c:v>
                </c:pt>
                <c:pt idx="45">
                  <c:v>0.12612187057156354</c:v>
                </c:pt>
                <c:pt idx="46">
                  <c:v>0.11981351981351981</c:v>
                </c:pt>
                <c:pt idx="47">
                  <c:v>0.12447356106691623</c:v>
                </c:pt>
                <c:pt idx="48">
                  <c:v>0.14175860916081578</c:v>
                </c:pt>
                <c:pt idx="49">
                  <c:v>0.17813149896016636</c:v>
                </c:pt>
                <c:pt idx="50">
                  <c:v>0.1547337278106509</c:v>
                </c:pt>
                <c:pt idx="51">
                  <c:v>0.13972929936305734</c:v>
                </c:pt>
                <c:pt idx="52">
                  <c:v>0.1454956652845835</c:v>
                </c:pt>
                <c:pt idx="53">
                  <c:v>0.15951043338683787</c:v>
                </c:pt>
                <c:pt idx="54">
                  <c:v>0.1665521191294387</c:v>
                </c:pt>
                <c:pt idx="55">
                  <c:v>0.16317705962676377</c:v>
                </c:pt>
                <c:pt idx="56">
                  <c:v>0.16958174904942966</c:v>
                </c:pt>
                <c:pt idx="57">
                  <c:v>0.1704628949301984</c:v>
                </c:pt>
                <c:pt idx="58">
                  <c:v>0.1811740890688259</c:v>
                </c:pt>
                <c:pt idx="59">
                  <c:v>0.16755989911727617</c:v>
                </c:pt>
                <c:pt idx="60">
                  <c:v>0.1724656761331578</c:v>
                </c:pt>
                <c:pt idx="61">
                  <c:v>0.19270722917108332</c:v>
                </c:pt>
                <c:pt idx="62">
                  <c:v>0.18064237982323778</c:v>
                </c:pt>
                <c:pt idx="63">
                  <c:v>0.18622877402500468</c:v>
                </c:pt>
                <c:pt idx="64">
                  <c:v>0.17178235088943147</c:v>
                </c:pt>
                <c:pt idx="65">
                  <c:v>0.16776875118080484</c:v>
                </c:pt>
                <c:pt idx="66">
                  <c:v>0.17882742142988423</c:v>
                </c:pt>
                <c:pt idx="67">
                  <c:v>0.17384979087106747</c:v>
                </c:pt>
                <c:pt idx="68">
                  <c:v>0.15165479681608715</c:v>
                </c:pt>
                <c:pt idx="69">
                  <c:v>0.15466039400176418</c:v>
                </c:pt>
                <c:pt idx="70">
                  <c:v>0.15137004522479383</c:v>
                </c:pt>
                <c:pt idx="71">
                  <c:v>0.1463126843657817</c:v>
                </c:pt>
                <c:pt idx="72">
                  <c:v>0.14437194127243066</c:v>
                </c:pt>
                <c:pt idx="73">
                  <c:v>0.16494235885308897</c:v>
                </c:pt>
                <c:pt idx="74">
                  <c:v>0.1373880827415869</c:v>
                </c:pt>
                <c:pt idx="75">
                  <c:v>0.1546293350302259</c:v>
                </c:pt>
                <c:pt idx="76">
                  <c:v>0.15185982170304335</c:v>
                </c:pt>
                <c:pt idx="77">
                  <c:v>0.1443868739205527</c:v>
                </c:pt>
                <c:pt idx="78">
                  <c:v>0.13529631010063362</c:v>
                </c:pt>
                <c:pt idx="79">
                  <c:v>0.2273190621814475</c:v>
                </c:pt>
                <c:pt idx="80">
                  <c:v>0.19585879158180583</c:v>
                </c:pt>
                <c:pt idx="81">
                  <c:v>0.15258358662613983</c:v>
                </c:pt>
                <c:pt idx="82">
                  <c:v>0.1653764954257565</c:v>
                </c:pt>
                <c:pt idx="83">
                  <c:v>0.14930300807043287</c:v>
                </c:pt>
                <c:pt idx="84">
                  <c:v>0.13214013709063213</c:v>
                </c:pt>
                <c:pt idx="85">
                  <c:v>0.16483516483516483</c:v>
                </c:pt>
                <c:pt idx="86">
                  <c:v>0.13295228628230615</c:v>
                </c:pt>
                <c:pt idx="87">
                  <c:v>0.14148681055155876</c:v>
                </c:pt>
                <c:pt idx="88">
                  <c:v>0.128</c:v>
                </c:pt>
                <c:pt idx="89">
                  <c:v>0.12579525737420474</c:v>
                </c:pt>
                <c:pt idx="90">
                  <c:v>0.1332675222112537</c:v>
                </c:pt>
                <c:pt idx="91">
                  <c:v>0.10883228580879921</c:v>
                </c:pt>
                <c:pt idx="92">
                  <c:v>0.1197652707388637</c:v>
                </c:pt>
                <c:pt idx="93">
                  <c:v>0.11320247378327507</c:v>
                </c:pt>
                <c:pt idx="94">
                  <c:v>0.11077466565733031</c:v>
                </c:pt>
                <c:pt idx="95">
                  <c:v>0.10410718207775094</c:v>
                </c:pt>
                <c:pt idx="96">
                  <c:v>0.11247830888152706</c:v>
                </c:pt>
                <c:pt idx="97">
                  <c:v>0.1117798796216681</c:v>
                </c:pt>
                <c:pt idx="98">
                  <c:v>0.1289908962687524</c:v>
                </c:pt>
                <c:pt idx="99">
                  <c:v>0.13530852677009214</c:v>
                </c:pt>
                <c:pt idx="100">
                  <c:v>0.13935144609991235</c:v>
                </c:pt>
                <c:pt idx="101">
                  <c:v>0.14498480243161094</c:v>
                </c:pt>
                <c:pt idx="102">
                  <c:v>0.12598975314392175</c:v>
                </c:pt>
                <c:pt idx="103">
                  <c:v>0.14942300039793077</c:v>
                </c:pt>
                <c:pt idx="104">
                  <c:v>0.1608133086876155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630923684593983</c:v>
                </c:pt>
                <c:pt idx="1">
                  <c:v>1.7185078432626169</c:v>
                </c:pt>
                <c:pt idx="2">
                  <c:v>1.6618996464333164</c:v>
                </c:pt>
                <c:pt idx="3">
                  <c:v>1.684097971930207</c:v>
                </c:pt>
                <c:pt idx="4">
                  <c:v>1.7310989494022173</c:v>
                </c:pt>
                <c:pt idx="5">
                  <c:v>1.7205243246129636</c:v>
                </c:pt>
                <c:pt idx="6">
                  <c:v>1.7973368049236624</c:v>
                </c:pt>
                <c:pt idx="7">
                  <c:v>1.803410169396682</c:v>
                </c:pt>
                <c:pt idx="8">
                  <c:v>1.941418967497967</c:v>
                </c:pt>
                <c:pt idx="9">
                  <c:v>1.885050676914941</c:v>
                </c:pt>
                <c:pt idx="10">
                  <c:v>1.957162584582919</c:v>
                </c:pt>
                <c:pt idx="11">
                  <c:v>2.005649843033734</c:v>
                </c:pt>
                <c:pt idx="12">
                  <c:v>2.071612509596135</c:v>
                </c:pt>
                <c:pt idx="13">
                  <c:v>2.052928806615281</c:v>
                </c:pt>
                <c:pt idx="14">
                  <c:v>2.0507593896583125</c:v>
                </c:pt>
                <c:pt idx="15">
                  <c:v>2.290844968762782</c:v>
                </c:pt>
                <c:pt idx="16">
                  <c:v>2.116696953590044</c:v>
                </c:pt>
                <c:pt idx="17">
                  <c:v>2.3514561993762757</c:v>
                </c:pt>
                <c:pt idx="18">
                  <c:v>2.220479985888871</c:v>
                </c:pt>
                <c:pt idx="19">
                  <c:v>2.34254203230336</c:v>
                </c:pt>
                <c:pt idx="20">
                  <c:v>2.1464483022373027</c:v>
                </c:pt>
                <c:pt idx="21">
                  <c:v>2.036149335433215</c:v>
                </c:pt>
                <c:pt idx="22">
                  <c:v>1.8921635648754913</c:v>
                </c:pt>
                <c:pt idx="23">
                  <c:v>1.8768094415475784</c:v>
                </c:pt>
                <c:pt idx="24">
                  <c:v>1.7268587750604625</c:v>
                </c:pt>
                <c:pt idx="25">
                  <c:v>1.8018217561559777</c:v>
                </c:pt>
                <c:pt idx="26">
                  <c:v>1.7431151263484046</c:v>
                </c:pt>
                <c:pt idx="27">
                  <c:v>1.7576990577257012</c:v>
                </c:pt>
                <c:pt idx="28">
                  <c:v>1.7374061198433732</c:v>
                </c:pt>
                <c:pt idx="29">
                  <c:v>1.9695586679541845</c:v>
                </c:pt>
                <c:pt idx="30">
                  <c:v>1.800155372679084</c:v>
                </c:pt>
                <c:pt idx="31">
                  <c:v>1.3985137852761875</c:v>
                </c:pt>
                <c:pt idx="32">
                  <c:v>1.5579704186998573</c:v>
                </c:pt>
                <c:pt idx="33">
                  <c:v>1.712533969413338</c:v>
                </c:pt>
                <c:pt idx="34">
                  <c:v>1.7938686419372374</c:v>
                </c:pt>
                <c:pt idx="35">
                  <c:v>1.6120512437570556</c:v>
                </c:pt>
                <c:pt idx="36">
                  <c:v>1.7301294885748404</c:v>
                </c:pt>
                <c:pt idx="37">
                  <c:v>1.8739664317858562</c:v>
                </c:pt>
                <c:pt idx="38">
                  <c:v>1.7854690077467439</c:v>
                </c:pt>
                <c:pt idx="39">
                  <c:v>1.7379252298103192</c:v>
                </c:pt>
                <c:pt idx="40">
                  <c:v>1.6838768890658915</c:v>
                </c:pt>
                <c:pt idx="41">
                  <c:v>1.7433583135154207</c:v>
                </c:pt>
                <c:pt idx="42">
                  <c:v>1.6376482677731752</c:v>
                </c:pt>
                <c:pt idx="43">
                  <c:v>1.8971629839029063</c:v>
                </c:pt>
                <c:pt idx="44">
                  <c:v>1.8621899606168484</c:v>
                </c:pt>
                <c:pt idx="45">
                  <c:v>1.8415263282687755</c:v>
                </c:pt>
                <c:pt idx="46">
                  <c:v>1.8433876792464783</c:v>
                </c:pt>
                <c:pt idx="47">
                  <c:v>1.85307367145005</c:v>
                </c:pt>
                <c:pt idx="48">
                  <c:v>1.6756772213548556</c:v>
                </c:pt>
                <c:pt idx="49">
                  <c:v>1.7930719493969527</c:v>
                </c:pt>
                <c:pt idx="50">
                  <c:v>1.787474056838133</c:v>
                </c:pt>
                <c:pt idx="51">
                  <c:v>1.8068691491767663</c:v>
                </c:pt>
              </c:numCache>
            </c:numRef>
          </c:xVal>
          <c:yVal>
            <c:numRef>
              <c:f>Sheet1!$B$109:$B$160</c:f>
              <c:numCache>
                <c:formatCode>General</c:formatCode>
                <c:ptCount val="52"/>
                <c:pt idx="0">
                  <c:v>0.1505023580069715</c:v>
                </c:pt>
                <c:pt idx="1">
                  <c:v>0.1498046026921407</c:v>
                </c:pt>
                <c:pt idx="2">
                  <c:v>0.1512006512006512</c:v>
                </c:pt>
                <c:pt idx="3">
                  <c:v>0.1748909800321322</c:v>
                </c:pt>
                <c:pt idx="4">
                  <c:v>0.16046356139959883</c:v>
                </c:pt>
                <c:pt idx="5">
                  <c:v>0.15937423612808604</c:v>
                </c:pt>
                <c:pt idx="6">
                  <c:v>0.14720194647201945</c:v>
                </c:pt>
                <c:pt idx="7">
                  <c:v>0.1372745490981964</c:v>
                </c:pt>
                <c:pt idx="8">
                  <c:v>0.15128205128205127</c:v>
                </c:pt>
                <c:pt idx="9">
                  <c:v>0.13881748071979436</c:v>
                </c:pt>
                <c:pt idx="10">
                  <c:v>0.16982809721398934</c:v>
                </c:pt>
                <c:pt idx="11">
                  <c:v>0.1582251988279615</c:v>
                </c:pt>
                <c:pt idx="12">
                  <c:v>0.1617278797996661</c:v>
                </c:pt>
                <c:pt idx="13">
                  <c:v>0.15475658776239393</c:v>
                </c:pt>
                <c:pt idx="14">
                  <c:v>0.1619543650793651</c:v>
                </c:pt>
                <c:pt idx="15">
                  <c:v>0.14798206278026907</c:v>
                </c:pt>
                <c:pt idx="16">
                  <c:v>0.14910478426768417</c:v>
                </c:pt>
                <c:pt idx="17">
                  <c:v>0.13136238951539164</c:v>
                </c:pt>
                <c:pt idx="18">
                  <c:v>0.1208348590259978</c:v>
                </c:pt>
                <c:pt idx="19">
                  <c:v>0.1298861188057864</c:v>
                </c:pt>
                <c:pt idx="20">
                  <c:v>0.12379935965848453</c:v>
                </c:pt>
                <c:pt idx="21">
                  <c:v>0.1373679154658982</c:v>
                </c:pt>
                <c:pt idx="22">
                  <c:v>0.13319776309100154</c:v>
                </c:pt>
                <c:pt idx="23">
                  <c:v>0.15725359911406422</c:v>
                </c:pt>
                <c:pt idx="24">
                  <c:v>0.1601289629231596</c:v>
                </c:pt>
                <c:pt idx="25">
                  <c:v>0.1686143572621035</c:v>
                </c:pt>
                <c:pt idx="26">
                  <c:v>0.14558689717925385</c:v>
                </c:pt>
                <c:pt idx="27">
                  <c:v>0.14336633663366335</c:v>
                </c:pt>
                <c:pt idx="28">
                  <c:v>0.14863813229571984</c:v>
                </c:pt>
                <c:pt idx="29">
                  <c:v>0.14997832683138274</c:v>
                </c:pt>
                <c:pt idx="30">
                  <c:v>0.1795614398014067</c:v>
                </c:pt>
                <c:pt idx="31">
                  <c:v>0.17715305667112896</c:v>
                </c:pt>
                <c:pt idx="32">
                  <c:v>0.15249008373732922</c:v>
                </c:pt>
                <c:pt idx="33">
                  <c:v>0.16488153197013958</c:v>
                </c:pt>
                <c:pt idx="34">
                  <c:v>0.17804942864735585</c:v>
                </c:pt>
                <c:pt idx="35">
                  <c:v>0.18343982960596378</c:v>
                </c:pt>
                <c:pt idx="36">
                  <c:v>0.16033057851239668</c:v>
                </c:pt>
                <c:pt idx="37">
                  <c:v>0.1608598962194218</c:v>
                </c:pt>
                <c:pt idx="38">
                  <c:v>0.15210176991150443</c:v>
                </c:pt>
                <c:pt idx="39">
                  <c:v>0.17516250427642832</c:v>
                </c:pt>
                <c:pt idx="40">
                  <c:v>0.16536458333333334</c:v>
                </c:pt>
                <c:pt idx="41">
                  <c:v>0.16699083078632954</c:v>
                </c:pt>
                <c:pt idx="42">
                  <c:v>0.17813351498637603</c:v>
                </c:pt>
                <c:pt idx="43">
                  <c:v>0.13718309859154929</c:v>
                </c:pt>
                <c:pt idx="44">
                  <c:v>0.12895098488318826</c:v>
                </c:pt>
                <c:pt idx="45">
                  <c:v>0.14353562005277046</c:v>
                </c:pt>
                <c:pt idx="46">
                  <c:v>0.14034352744030162</c:v>
                </c:pt>
                <c:pt idx="47">
                  <c:v>0.1404867256637168</c:v>
                </c:pt>
                <c:pt idx="48">
                  <c:v>0.127286470143613</c:v>
                </c:pt>
                <c:pt idx="49">
                  <c:v>0.1429785787147229</c:v>
                </c:pt>
                <c:pt idx="50">
                  <c:v>0.14315719655096176</c:v>
                </c:pt>
                <c:pt idx="51">
                  <c:v>0.137706106178655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98169725685785</c:v>
                </c:pt>
              </c:numCache>
            </c:numRef>
          </c:xVal>
          <c:yVal>
            <c:numRef>
              <c:f>Sheet1!$B$163:$B$164</c:f>
              <c:numCache>
                <c:formatCode>General</c:formatCode>
                <c:ptCount val="2"/>
                <c:pt idx="0">
                  <c:v>0.19691756992492124</c:v>
                </c:pt>
                <c:pt idx="1">
                  <c:v>0.1969175699249212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98169725685785</c:v>
                </c:pt>
                <c:pt idx="1">
                  <c:v>0.698169725685785</c:v>
                </c:pt>
              </c:numCache>
            </c:numRef>
          </c:xVal>
          <c:yVal>
            <c:numRef>
              <c:f>Sheet1!$B$167:$B$168</c:f>
              <c:numCache>
                <c:formatCode>General</c:formatCode>
                <c:ptCount val="2"/>
                <c:pt idx="0">
                  <c:v>0.196917569924921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88966777158959</c:v>
                </c:pt>
              </c:numCache>
            </c:numRef>
          </c:xVal>
          <c:yVal>
            <c:numRef>
              <c:f>Sheet1!$B$171:$B$172</c:f>
              <c:numCache>
                <c:formatCode>General</c:formatCode>
                <c:ptCount val="2"/>
                <c:pt idx="0">
                  <c:v>0.15837691662751607</c:v>
                </c:pt>
                <c:pt idx="1">
                  <c:v>0.1583769166275160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88966777158959</c:v>
                </c:pt>
                <c:pt idx="1">
                  <c:v>1.688966777158959</c:v>
                </c:pt>
              </c:numCache>
            </c:numRef>
          </c:xVal>
          <c:yVal>
            <c:numRef>
              <c:f>Sheet1!$B$175:$B$176</c:f>
              <c:numCache>
                <c:formatCode>General</c:formatCode>
                <c:ptCount val="2"/>
                <c:pt idx="0">
                  <c:v>0.1583769166275160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492491417769766</c:v>
                </c:pt>
              </c:numCache>
            </c:numRef>
          </c:xVal>
          <c:yVal>
            <c:numRef>
              <c:f>Sheet1!$B$179:$B$180</c:f>
              <c:numCache>
                <c:formatCode>General</c:formatCode>
                <c:ptCount val="2"/>
                <c:pt idx="0">
                  <c:v>0.14825228781553437</c:v>
                </c:pt>
                <c:pt idx="1">
                  <c:v>0.148252287815534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492491417769766</c:v>
                </c:pt>
                <c:pt idx="1">
                  <c:v>1.9492491417769766</c:v>
                </c:pt>
              </c:numCache>
            </c:numRef>
          </c:xVal>
          <c:yVal>
            <c:numRef>
              <c:f>Sheet1!$B$183:$B$184</c:f>
              <c:numCache>
                <c:formatCode>General</c:formatCode>
                <c:ptCount val="2"/>
                <c:pt idx="0">
                  <c:v>0.148252287815534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630923684593983</c:v>
                </c:pt>
                <c:pt idx="1">
                  <c:v>1.7185078432626169</c:v>
                </c:pt>
                <c:pt idx="2">
                  <c:v>1.6618996464333164</c:v>
                </c:pt>
                <c:pt idx="3">
                  <c:v>1.684097971930207</c:v>
                </c:pt>
                <c:pt idx="4">
                  <c:v>1.7310989494022173</c:v>
                </c:pt>
                <c:pt idx="5">
                  <c:v>1.7205243246129636</c:v>
                </c:pt>
                <c:pt idx="6">
                  <c:v>1.7973368049236624</c:v>
                </c:pt>
                <c:pt idx="7">
                  <c:v>1.803410169396682</c:v>
                </c:pt>
                <c:pt idx="8">
                  <c:v>1.941418967497967</c:v>
                </c:pt>
                <c:pt idx="9">
                  <c:v>1.885050676914941</c:v>
                </c:pt>
                <c:pt idx="10">
                  <c:v>1.957162584582919</c:v>
                </c:pt>
                <c:pt idx="11">
                  <c:v>2.005649843033734</c:v>
                </c:pt>
                <c:pt idx="12">
                  <c:v>2.071612509596135</c:v>
                </c:pt>
                <c:pt idx="13">
                  <c:v>2.052928806615281</c:v>
                </c:pt>
                <c:pt idx="14">
                  <c:v>2.0507593896583125</c:v>
                </c:pt>
                <c:pt idx="15">
                  <c:v>2.290844968762782</c:v>
                </c:pt>
                <c:pt idx="16">
                  <c:v>2.116696953590044</c:v>
                </c:pt>
                <c:pt idx="17">
                  <c:v>2.3514561993762757</c:v>
                </c:pt>
                <c:pt idx="18">
                  <c:v>2.220479985888871</c:v>
                </c:pt>
                <c:pt idx="19">
                  <c:v>2.34254203230336</c:v>
                </c:pt>
                <c:pt idx="20">
                  <c:v>2.1464483022373027</c:v>
                </c:pt>
                <c:pt idx="21">
                  <c:v>2.036149335433215</c:v>
                </c:pt>
                <c:pt idx="22">
                  <c:v>1.8921635648754913</c:v>
                </c:pt>
                <c:pt idx="23">
                  <c:v>1.8768094415475784</c:v>
                </c:pt>
                <c:pt idx="24">
                  <c:v>1.7268587750604625</c:v>
                </c:pt>
                <c:pt idx="25">
                  <c:v>1.8018217561559777</c:v>
                </c:pt>
                <c:pt idx="26">
                  <c:v>1.7431151263484046</c:v>
                </c:pt>
                <c:pt idx="27">
                  <c:v>1.7576990577257012</c:v>
                </c:pt>
                <c:pt idx="28">
                  <c:v>1.7374061198433732</c:v>
                </c:pt>
                <c:pt idx="29">
                  <c:v>1.9695586679541845</c:v>
                </c:pt>
                <c:pt idx="30">
                  <c:v>1.800155372679084</c:v>
                </c:pt>
                <c:pt idx="31">
                  <c:v>1.3985137852761875</c:v>
                </c:pt>
                <c:pt idx="32">
                  <c:v>1.5579704186998573</c:v>
                </c:pt>
                <c:pt idx="33">
                  <c:v>1.712533969413338</c:v>
                </c:pt>
                <c:pt idx="34">
                  <c:v>1.7938686419372374</c:v>
                </c:pt>
                <c:pt idx="35">
                  <c:v>1.6120512437570556</c:v>
                </c:pt>
                <c:pt idx="36">
                  <c:v>1.7301294885748404</c:v>
                </c:pt>
                <c:pt idx="37">
                  <c:v>1.8739664317858562</c:v>
                </c:pt>
                <c:pt idx="38">
                  <c:v>1.7854690077467439</c:v>
                </c:pt>
                <c:pt idx="39">
                  <c:v>1.7379252298103192</c:v>
                </c:pt>
                <c:pt idx="40">
                  <c:v>1.6838768890658915</c:v>
                </c:pt>
                <c:pt idx="41">
                  <c:v>1.7433583135154207</c:v>
                </c:pt>
                <c:pt idx="42">
                  <c:v>1.6376482677731752</c:v>
                </c:pt>
                <c:pt idx="43">
                  <c:v>1.8971629839029063</c:v>
                </c:pt>
                <c:pt idx="44">
                  <c:v>1.8621899606168484</c:v>
                </c:pt>
                <c:pt idx="45">
                  <c:v>1.8415263282687755</c:v>
                </c:pt>
                <c:pt idx="46">
                  <c:v>1.8433876792464783</c:v>
                </c:pt>
                <c:pt idx="47">
                  <c:v>1.85307367145005</c:v>
                </c:pt>
                <c:pt idx="48">
                  <c:v>1.6756772213548556</c:v>
                </c:pt>
                <c:pt idx="49">
                  <c:v>1.7930719493969527</c:v>
                </c:pt>
                <c:pt idx="50">
                  <c:v>1.787474056838133</c:v>
                </c:pt>
                <c:pt idx="51">
                  <c:v>1.8068691491767663</c:v>
                </c:pt>
                <c:pt idx="52">
                  <c:v>1.688966777158959</c:v>
                </c:pt>
                <c:pt idx="53">
                  <c:v>0.698169725685785</c:v>
                </c:pt>
                <c:pt idx="54">
                  <c:v>1.9492491417769766</c:v>
                </c:pt>
              </c:numCache>
            </c:numRef>
          </c:xVal>
          <c:yVal>
            <c:numRef>
              <c:f>Sheet1!$B$187:$B$241</c:f>
              <c:numCache>
                <c:formatCode>General</c:formatCode>
                <c:ptCount val="55"/>
                <c:pt idx="0">
                  <c:v>0.15938339581867073</c:v>
                </c:pt>
                <c:pt idx="1">
                  <c:v>0.1572278094667267</c:v>
                </c:pt>
                <c:pt idx="2">
                  <c:v>0.15942979107794109</c:v>
                </c:pt>
                <c:pt idx="3">
                  <c:v>0.15856630650712353</c:v>
                </c:pt>
                <c:pt idx="4">
                  <c:v>0.15673803261925262</c:v>
                </c:pt>
                <c:pt idx="5">
                  <c:v>0.15714937109381388</c:v>
                </c:pt>
                <c:pt idx="6">
                  <c:v>0.15416147042518885</c:v>
                </c:pt>
                <c:pt idx="7">
                  <c:v>0.15392522483467624</c:v>
                </c:pt>
                <c:pt idx="8">
                  <c:v>0.14855687091022252</c:v>
                </c:pt>
                <c:pt idx="9">
                  <c:v>0.15074952049582394</c:v>
                </c:pt>
                <c:pt idx="10">
                  <c:v>0.1479444656887737</c:v>
                </c:pt>
                <c:pt idx="11">
                  <c:v>0.14605837749895118</c:v>
                </c:pt>
                <c:pt idx="12">
                  <c:v>0.1434925197798816</c:v>
                </c:pt>
                <c:pt idx="13">
                  <c:v>0.14421929033074882</c:v>
                </c:pt>
                <c:pt idx="14">
                  <c:v>0.14430367769006897</c:v>
                </c:pt>
                <c:pt idx="15">
                  <c:v>0.13496467627478004</c:v>
                </c:pt>
                <c:pt idx="16">
                  <c:v>0.14173879642907833</c:v>
                </c:pt>
                <c:pt idx="17">
                  <c:v>0.13260698211175195</c:v>
                </c:pt>
                <c:pt idx="18">
                  <c:v>0.13770177809112982</c:v>
                </c:pt>
                <c:pt idx="19">
                  <c:v>0.1329537310469467</c:v>
                </c:pt>
                <c:pt idx="20">
                  <c:v>0.14058150956428667</c:v>
                </c:pt>
                <c:pt idx="21">
                  <c:v>0.14487198886308728</c:v>
                </c:pt>
                <c:pt idx="22">
                  <c:v>0.15047283886014157</c:v>
                </c:pt>
                <c:pt idx="23">
                  <c:v>0.1510700933059303</c:v>
                </c:pt>
                <c:pt idx="24">
                  <c:v>0.15690296961516226</c:v>
                </c:pt>
                <c:pt idx="25">
                  <c:v>0.15398701194224984</c:v>
                </c:pt>
                <c:pt idx="26">
                  <c:v>0.1562706197328752</c:v>
                </c:pt>
                <c:pt idx="27">
                  <c:v>0.15570332470299014</c:v>
                </c:pt>
                <c:pt idx="28">
                  <c:v>0.15649269229562246</c:v>
                </c:pt>
                <c:pt idx="29">
                  <c:v>0.147462274960867</c:v>
                </c:pt>
                <c:pt idx="30">
                  <c:v>0.15405183198561595</c:v>
                </c:pt>
                <c:pt idx="31">
                  <c:v>0.16967514167037795</c:v>
                </c:pt>
                <c:pt idx="32">
                  <c:v>0.1634724962188039</c:v>
                </c:pt>
                <c:pt idx="33">
                  <c:v>0.157460185007737</c:v>
                </c:pt>
                <c:pt idx="34">
                  <c:v>0.15429637723283424</c:v>
                </c:pt>
                <c:pt idx="35">
                  <c:v>0.16136882592076654</c:v>
                </c:pt>
                <c:pt idx="36">
                  <c:v>0.1567757433225473</c:v>
                </c:pt>
                <c:pt idx="37">
                  <c:v>0.15118068250619562</c:v>
                </c:pt>
                <c:pt idx="38">
                  <c:v>0.1546231115410152</c:v>
                </c:pt>
                <c:pt idx="39">
                  <c:v>0.15647249962626647</c:v>
                </c:pt>
                <c:pt idx="40">
                  <c:v>0.15857490632886392</c:v>
                </c:pt>
                <c:pt idx="41">
                  <c:v>0.1562611600839225</c:v>
                </c:pt>
                <c:pt idx="42">
                  <c:v>0.1603731366152889</c:v>
                </c:pt>
                <c:pt idx="43">
                  <c:v>0.1502783682819969</c:v>
                </c:pt>
                <c:pt idx="44">
                  <c:v>0.15163877116493435</c:v>
                </c:pt>
                <c:pt idx="45">
                  <c:v>0.1524425582664482</c:v>
                </c:pt>
                <c:pt idx="46">
                  <c:v>0.15237015425334607</c:v>
                </c:pt>
                <c:pt idx="47">
                  <c:v>0.1519933823737728</c:v>
                </c:pt>
                <c:pt idx="48">
                  <c:v>0.15889386221386084</c:v>
                </c:pt>
                <c:pt idx="49">
                  <c:v>0.1543273674855142</c:v>
                </c:pt>
                <c:pt idx="50">
                  <c:v>0.15454511786737576</c:v>
                </c:pt>
                <c:pt idx="51">
                  <c:v>0.15379067524122647</c:v>
                </c:pt>
                <c:pt idx="52">
                  <c:v>0.15837691662751607</c:v>
                </c:pt>
                <c:pt idx="53">
                  <c:v>0.19691756992492124</c:v>
                </c:pt>
                <c:pt idx="54">
                  <c:v>0.148252287815534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6113681427627"/>
          <c:min val="0.083285745662200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64.9607</c:v>
                </c:pt>
                <c:pt idx="1">
                  <c:v>933.0812</c:v>
                </c:pt>
                <c:pt idx="2">
                  <c:v>908.6622</c:v>
                </c:pt>
                <c:pt idx="3">
                  <c:v>924.4961</c:v>
                </c:pt>
                <c:pt idx="4">
                  <c:v>910.2826</c:v>
                </c:pt>
                <c:pt idx="5">
                  <c:v>906.3911</c:v>
                </c:pt>
                <c:pt idx="6">
                  <c:v>889.8489</c:v>
                </c:pt>
                <c:pt idx="7">
                  <c:v>933.8871</c:v>
                </c:pt>
                <c:pt idx="8">
                  <c:v>932.0074</c:v>
                </c:pt>
                <c:pt idx="9">
                  <c:v>934.7413</c:v>
                </c:pt>
                <c:pt idx="10">
                  <c:v>930.2708</c:v>
                </c:pt>
                <c:pt idx="11">
                  <c:v>944.4346</c:v>
                </c:pt>
                <c:pt idx="12">
                  <c:v>963.4865</c:v>
                </c:pt>
                <c:pt idx="13">
                  <c:v>954.3122</c:v>
                </c:pt>
                <c:pt idx="14">
                  <c:v>957.4049</c:v>
                </c:pt>
                <c:pt idx="15">
                  <c:v>954.1101</c:v>
                </c:pt>
                <c:pt idx="16">
                  <c:v>954.0902</c:v>
                </c:pt>
                <c:pt idx="17">
                  <c:v>985.0016</c:v>
                </c:pt>
                <c:pt idx="18">
                  <c:v>1037.3842</c:v>
                </c:pt>
                <c:pt idx="19">
                  <c:v>1083.9369</c:v>
                </c:pt>
                <c:pt idx="20">
                  <c:v>1084.3819</c:v>
                </c:pt>
                <c:pt idx="21">
                  <c:v>1099.4407</c:v>
                </c:pt>
                <c:pt idx="22">
                  <c:v>1105.2645</c:v>
                </c:pt>
                <c:pt idx="23">
                  <c:v>1075.6932</c:v>
                </c:pt>
                <c:pt idx="24">
                  <c:v>1057.1276</c:v>
                </c:pt>
                <c:pt idx="25">
                  <c:v>1041.4737</c:v>
                </c:pt>
                <c:pt idx="26">
                  <c:v>1052.5891</c:v>
                </c:pt>
                <c:pt idx="27">
                  <c:v>1055.7605</c:v>
                </c:pt>
                <c:pt idx="28">
                  <c:v>1112.0787</c:v>
                </c:pt>
                <c:pt idx="29">
                  <c:v>995.499</c:v>
                </c:pt>
                <c:pt idx="30">
                  <c:v>1035.8311</c:v>
                </c:pt>
                <c:pt idx="31">
                  <c:v>1016.7808</c:v>
                </c:pt>
                <c:pt idx="32">
                  <c:v>992.2663</c:v>
                </c:pt>
                <c:pt idx="33">
                  <c:v>961.4338</c:v>
                </c:pt>
                <c:pt idx="34">
                  <c:v>1017.5902</c:v>
                </c:pt>
                <c:pt idx="35">
                  <c:v>1053.4907</c:v>
                </c:pt>
                <c:pt idx="36">
                  <c:v>1142.5872</c:v>
                </c:pt>
                <c:pt idx="37">
                  <c:v>1132.8142</c:v>
                </c:pt>
                <c:pt idx="38">
                  <c:v>1166.3858</c:v>
                </c:pt>
                <c:pt idx="39">
                  <c:v>1208.563</c:v>
                </c:pt>
                <c:pt idx="40">
                  <c:v>1236.019</c:v>
                </c:pt>
                <c:pt idx="41">
                  <c:v>1243.1296</c:v>
                </c:pt>
                <c:pt idx="42">
                  <c:v>1278.1106</c:v>
                </c:pt>
                <c:pt idx="43">
                  <c:v>1269.2173</c:v>
                </c:pt>
                <c:pt idx="44">
                  <c:v>1126.1359</c:v>
                </c:pt>
                <c:pt idx="45">
                  <c:v>1093.9288</c:v>
                </c:pt>
                <c:pt idx="46">
                  <c:v>1084.7652</c:v>
                </c:pt>
                <c:pt idx="47">
                  <c:v>1094.3233</c:v>
                </c:pt>
                <c:pt idx="48">
                  <c:v>1073.6824</c:v>
                </c:pt>
                <c:pt idx="49">
                  <c:v>1051.6008</c:v>
                </c:pt>
                <c:pt idx="50">
                  <c:v>1060.891</c:v>
                </c:pt>
                <c:pt idx="51">
                  <c:v>1122.6681</c:v>
                </c:pt>
                <c:pt idx="52">
                  <c:v>1081.535</c:v>
                </c:pt>
                <c:pt idx="53">
                  <c:v>1066.6314</c:v>
                </c:pt>
                <c:pt idx="54">
                  <c:v>1099.2847</c:v>
                </c:pt>
                <c:pt idx="55">
                  <c:v>1080.6848</c:v>
                </c:pt>
                <c:pt idx="56">
                  <c:v>1130.4215</c:v>
                </c:pt>
                <c:pt idx="57">
                  <c:v>1085.398</c:v>
                </c:pt>
                <c:pt idx="58">
                  <c:v>1102.9637</c:v>
                </c:pt>
                <c:pt idx="59">
                  <c:v>1084.5729</c:v>
                </c:pt>
                <c:pt idx="60">
                  <c:v>1087.1538</c:v>
                </c:pt>
                <c:pt idx="61">
                  <c:v>1069.4169</c:v>
                </c:pt>
                <c:pt idx="62">
                  <c:v>1097.8974</c:v>
                </c:pt>
                <c:pt idx="63">
                  <c:v>1129.8888</c:v>
                </c:pt>
                <c:pt idx="64">
                  <c:v>1102.3289</c:v>
                </c:pt>
                <c:pt idx="65">
                  <c:v>1080.6689</c:v>
                </c:pt>
                <c:pt idx="66">
                  <c:v>1025.6804</c:v>
                </c:pt>
                <c:pt idx="67">
                  <c:v>1025.2626</c:v>
                </c:pt>
                <c:pt idx="68">
                  <c:v>1056.0193</c:v>
                </c:pt>
                <c:pt idx="69">
                  <c:v>1008.808</c:v>
                </c:pt>
                <c:pt idx="70">
                  <c:v>910.9631</c:v>
                </c:pt>
                <c:pt idx="71">
                  <c:v>1016.0927</c:v>
                </c:pt>
                <c:pt idx="72">
                  <c:v>1121.6422</c:v>
                </c:pt>
                <c:pt idx="73">
                  <c:v>1026.0269</c:v>
                </c:pt>
                <c:pt idx="74">
                  <c:v>1042.0472</c:v>
                </c:pt>
                <c:pt idx="75">
                  <c:v>991.9918</c:v>
                </c:pt>
                <c:pt idx="76">
                  <c:v>1026.8583</c:v>
                </c:pt>
                <c:pt idx="77">
                  <c:v>1030.5813</c:v>
                </c:pt>
                <c:pt idx="78">
                  <c:v>1038.1185</c:v>
                </c:pt>
                <c:pt idx="79">
                  <c:v>564.0314</c:v>
                </c:pt>
                <c:pt idx="80">
                  <c:v>688.4662</c:v>
                </c:pt>
                <c:pt idx="81">
                  <c:v>860.3725</c:v>
                </c:pt>
                <c:pt idx="82">
                  <c:v>886.1489</c:v>
                </c:pt>
                <c:pt idx="83">
                  <c:v>786.0786</c:v>
                </c:pt>
                <c:pt idx="84">
                  <c:v>956.2738</c:v>
                </c:pt>
                <c:pt idx="85">
                  <c:v>804.3935</c:v>
                </c:pt>
                <c:pt idx="86">
                  <c:v>1075.8822</c:v>
                </c:pt>
                <c:pt idx="87">
                  <c:v>1116.6356</c:v>
                </c:pt>
                <c:pt idx="88">
                  <c:v>1135.5996</c:v>
                </c:pt>
                <c:pt idx="89">
                  <c:v>1075.3678</c:v>
                </c:pt>
                <c:pt idx="90">
                  <c:v>1112.0593</c:v>
                </c:pt>
                <c:pt idx="91">
                  <c:v>1161.4255</c:v>
                </c:pt>
                <c:pt idx="92">
                  <c:v>1122.5278</c:v>
                </c:pt>
                <c:pt idx="93">
                  <c:v>1159.4086</c:v>
                </c:pt>
                <c:pt idx="94">
                  <c:v>1270.0159</c:v>
                </c:pt>
                <c:pt idx="95">
                  <c:v>1230.1097</c:v>
                </c:pt>
                <c:pt idx="96">
                  <c:v>1053.4292</c:v>
                </c:pt>
                <c:pt idx="97">
                  <c:v>1166.9551</c:v>
                </c:pt>
                <c:pt idx="98">
                  <c:v>1183.7903</c:v>
                </c:pt>
                <c:pt idx="99">
                  <c:v>1144.2647</c:v>
                </c:pt>
                <c:pt idx="100">
                  <c:v>1143.7994</c:v>
                </c:pt>
                <c:pt idx="101">
                  <c:v>1167.2579</c:v>
                </c:pt>
                <c:pt idx="102">
                  <c:v>1206.7616</c:v>
                </c:pt>
                <c:pt idx="103">
                  <c:v>1022.6605</c:v>
                </c:pt>
                <c:pt idx="104">
                  <c:v>1077.2098</c:v>
                </c:pt>
              </c:numCache>
            </c:numRef>
          </c:xVal>
          <c:yVal>
            <c:numRef>
              <c:f>Sheet1!$B$2:$B$106</c:f>
              <c:numCache>
                <c:formatCode>General</c:formatCode>
                <c:ptCount val="105"/>
                <c:pt idx="0">
                  <c:v>0.17632579995524725</c:v>
                </c:pt>
                <c:pt idx="1">
                  <c:v>0.18398318935325705</c:v>
                </c:pt>
                <c:pt idx="2">
                  <c:v>0.1852607709750567</c:v>
                </c:pt>
                <c:pt idx="3">
                  <c:v>0.1895711500974659</c:v>
                </c:pt>
                <c:pt idx="4">
                  <c:v>0.1980105688529686</c:v>
                </c:pt>
                <c:pt idx="5">
                  <c:v>0.19788918205804748</c:v>
                </c:pt>
                <c:pt idx="6">
                  <c:v>0.22967614011896895</c:v>
                </c:pt>
                <c:pt idx="7">
                  <c:v>0.21265243902439024</c:v>
                </c:pt>
                <c:pt idx="8">
                  <c:v>0.1988888888888889</c:v>
                </c:pt>
                <c:pt idx="9">
                  <c:v>0.2020100502512563</c:v>
                </c:pt>
                <c:pt idx="10">
                  <c:v>0.22107645875251508</c:v>
                </c:pt>
                <c:pt idx="11">
                  <c:v>0.19349397590361445</c:v>
                </c:pt>
                <c:pt idx="12">
                  <c:v>0.17652173913043478</c:v>
                </c:pt>
                <c:pt idx="13">
                  <c:v>0.16837315130830488</c:v>
                </c:pt>
                <c:pt idx="14">
                  <c:v>0.167491926803014</c:v>
                </c:pt>
                <c:pt idx="15">
                  <c:v>0.16569546491005827</c:v>
                </c:pt>
                <c:pt idx="16">
                  <c:v>0.1508816120906801</c:v>
                </c:pt>
                <c:pt idx="17">
                  <c:v>0.17386363636363636</c:v>
                </c:pt>
                <c:pt idx="18">
                  <c:v>0.14063041219258746</c:v>
                </c:pt>
                <c:pt idx="19">
                  <c:v>0.1336812525090325</c:v>
                </c:pt>
                <c:pt idx="20">
                  <c:v>0.14399421128798842</c:v>
                </c:pt>
                <c:pt idx="21">
                  <c:v>0.15085536547433903</c:v>
                </c:pt>
                <c:pt idx="22">
                  <c:v>0.13484907879263033</c:v>
                </c:pt>
                <c:pt idx="23">
                  <c:v>0.1632492113564669</c:v>
                </c:pt>
                <c:pt idx="24">
                  <c:v>0.161516275236918</c:v>
                </c:pt>
                <c:pt idx="25">
                  <c:v>0.15716911764705882</c:v>
                </c:pt>
                <c:pt idx="26">
                  <c:v>0.1562731997030438</c:v>
                </c:pt>
                <c:pt idx="27">
                  <c:v>0.15535097813578827</c:v>
                </c:pt>
                <c:pt idx="28">
                  <c:v>0.14614499424626007</c:v>
                </c:pt>
                <c:pt idx="29">
                  <c:v>0.16374871266735325</c:v>
                </c:pt>
                <c:pt idx="30">
                  <c:v>0.150951031970862</c:v>
                </c:pt>
                <c:pt idx="31">
                  <c:v>0.1465863453815261</c:v>
                </c:pt>
                <c:pt idx="32">
                  <c:v>0.1526073619631902</c:v>
                </c:pt>
                <c:pt idx="33">
                  <c:v>0.1688235294117647</c:v>
                </c:pt>
                <c:pt idx="34">
                  <c:v>0.16653016653016653</c:v>
                </c:pt>
                <c:pt idx="35">
                  <c:v>0.16292660121552127</c:v>
                </c:pt>
                <c:pt idx="36">
                  <c:v>0.13150124914830796</c:v>
                </c:pt>
                <c:pt idx="37">
                  <c:v>0.12330316742081449</c:v>
                </c:pt>
                <c:pt idx="38">
                  <c:v>0.12244897959183673</c:v>
                </c:pt>
                <c:pt idx="39">
                  <c:v>0.11434977578475336</c:v>
                </c:pt>
                <c:pt idx="40">
                  <c:v>0.10497866287339971</c:v>
                </c:pt>
                <c:pt idx="41">
                  <c:v>0.112</c:v>
                </c:pt>
                <c:pt idx="42">
                  <c:v>0.11533650237678258</c:v>
                </c:pt>
                <c:pt idx="43">
                  <c:v>0.1094954835866931</c:v>
                </c:pt>
                <c:pt idx="44">
                  <c:v>0.11402107952730757</c:v>
                </c:pt>
                <c:pt idx="45">
                  <c:v>0.12612187057156354</c:v>
                </c:pt>
                <c:pt idx="46">
                  <c:v>0.11981351981351981</c:v>
                </c:pt>
                <c:pt idx="47">
                  <c:v>0.12447356106691623</c:v>
                </c:pt>
                <c:pt idx="48">
                  <c:v>0.14175860916081578</c:v>
                </c:pt>
                <c:pt idx="49">
                  <c:v>0.17813149896016636</c:v>
                </c:pt>
                <c:pt idx="50">
                  <c:v>0.1547337278106509</c:v>
                </c:pt>
                <c:pt idx="51">
                  <c:v>0.13972929936305734</c:v>
                </c:pt>
                <c:pt idx="52">
                  <c:v>0.1454956652845835</c:v>
                </c:pt>
                <c:pt idx="53">
                  <c:v>0.15951043338683787</c:v>
                </c:pt>
                <c:pt idx="54">
                  <c:v>0.1665521191294387</c:v>
                </c:pt>
                <c:pt idx="55">
                  <c:v>0.16317705962676377</c:v>
                </c:pt>
                <c:pt idx="56">
                  <c:v>0.16958174904942966</c:v>
                </c:pt>
                <c:pt idx="57">
                  <c:v>0.1704628949301984</c:v>
                </c:pt>
                <c:pt idx="58">
                  <c:v>0.1811740890688259</c:v>
                </c:pt>
                <c:pt idx="59">
                  <c:v>0.16755989911727617</c:v>
                </c:pt>
                <c:pt idx="60">
                  <c:v>0.1724656761331578</c:v>
                </c:pt>
                <c:pt idx="61">
                  <c:v>0.19270722917108332</c:v>
                </c:pt>
                <c:pt idx="62">
                  <c:v>0.18064237982323778</c:v>
                </c:pt>
                <c:pt idx="63">
                  <c:v>0.18622877402500468</c:v>
                </c:pt>
                <c:pt idx="64">
                  <c:v>0.17178235088943147</c:v>
                </c:pt>
                <c:pt idx="65">
                  <c:v>0.16776875118080484</c:v>
                </c:pt>
                <c:pt idx="66">
                  <c:v>0.17882742142988423</c:v>
                </c:pt>
                <c:pt idx="67">
                  <c:v>0.17384979087106747</c:v>
                </c:pt>
                <c:pt idx="68">
                  <c:v>0.15165479681608715</c:v>
                </c:pt>
                <c:pt idx="69">
                  <c:v>0.15466039400176418</c:v>
                </c:pt>
                <c:pt idx="70">
                  <c:v>0.15137004522479383</c:v>
                </c:pt>
                <c:pt idx="71">
                  <c:v>0.1463126843657817</c:v>
                </c:pt>
                <c:pt idx="72">
                  <c:v>0.14437194127243066</c:v>
                </c:pt>
                <c:pt idx="73">
                  <c:v>0.16494235885308897</c:v>
                </c:pt>
                <c:pt idx="74">
                  <c:v>0.1373880827415869</c:v>
                </c:pt>
                <c:pt idx="75">
                  <c:v>0.1546293350302259</c:v>
                </c:pt>
                <c:pt idx="76">
                  <c:v>0.15185982170304335</c:v>
                </c:pt>
                <c:pt idx="77">
                  <c:v>0.1443868739205527</c:v>
                </c:pt>
                <c:pt idx="78">
                  <c:v>0.13529631010063362</c:v>
                </c:pt>
                <c:pt idx="79">
                  <c:v>0.2273190621814475</c:v>
                </c:pt>
                <c:pt idx="80">
                  <c:v>0.19585879158180583</c:v>
                </c:pt>
                <c:pt idx="81">
                  <c:v>0.15258358662613983</c:v>
                </c:pt>
                <c:pt idx="82">
                  <c:v>0.1653764954257565</c:v>
                </c:pt>
                <c:pt idx="83">
                  <c:v>0.14930300807043287</c:v>
                </c:pt>
                <c:pt idx="84">
                  <c:v>0.13214013709063213</c:v>
                </c:pt>
                <c:pt idx="85">
                  <c:v>0.16483516483516483</c:v>
                </c:pt>
                <c:pt idx="86">
                  <c:v>0.13295228628230615</c:v>
                </c:pt>
                <c:pt idx="87">
                  <c:v>0.14148681055155876</c:v>
                </c:pt>
                <c:pt idx="88">
                  <c:v>0.128</c:v>
                </c:pt>
                <c:pt idx="89">
                  <c:v>0.12579525737420474</c:v>
                </c:pt>
                <c:pt idx="90">
                  <c:v>0.1332675222112537</c:v>
                </c:pt>
                <c:pt idx="91">
                  <c:v>0.10883228580879921</c:v>
                </c:pt>
                <c:pt idx="92">
                  <c:v>0.1197652707388637</c:v>
                </c:pt>
                <c:pt idx="93">
                  <c:v>0.11320247378327507</c:v>
                </c:pt>
                <c:pt idx="94">
                  <c:v>0.11077466565733031</c:v>
                </c:pt>
                <c:pt idx="95">
                  <c:v>0.10410718207775094</c:v>
                </c:pt>
                <c:pt idx="96">
                  <c:v>0.11247830888152706</c:v>
                </c:pt>
                <c:pt idx="97">
                  <c:v>0.1117798796216681</c:v>
                </c:pt>
                <c:pt idx="98">
                  <c:v>0.1289908962687524</c:v>
                </c:pt>
                <c:pt idx="99">
                  <c:v>0.13530852677009214</c:v>
                </c:pt>
                <c:pt idx="100">
                  <c:v>0.13935144609991235</c:v>
                </c:pt>
                <c:pt idx="101">
                  <c:v>0.14498480243161094</c:v>
                </c:pt>
                <c:pt idx="102">
                  <c:v>0.12598975314392175</c:v>
                </c:pt>
                <c:pt idx="103">
                  <c:v>0.14942300039793077</c:v>
                </c:pt>
                <c:pt idx="104">
                  <c:v>0.1608133086876155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8.248</c:v>
                </c:pt>
                <c:pt idx="1">
                  <c:v>1142.3652</c:v>
                </c:pt>
                <c:pt idx="2">
                  <c:v>1117.4226</c:v>
                </c:pt>
                <c:pt idx="3">
                  <c:v>1159.4383</c:v>
                </c:pt>
                <c:pt idx="4">
                  <c:v>1166.9042</c:v>
                </c:pt>
                <c:pt idx="5">
                  <c:v>1198.6074</c:v>
                </c:pt>
                <c:pt idx="6">
                  <c:v>1157.5</c:v>
                </c:pt>
                <c:pt idx="7">
                  <c:v>1224.6715</c:v>
                </c:pt>
                <c:pt idx="8">
                  <c:v>1318.816</c:v>
                </c:pt>
                <c:pt idx="9">
                  <c:v>1259.0212</c:v>
                </c:pt>
                <c:pt idx="10">
                  <c:v>1288.0314</c:v>
                </c:pt>
                <c:pt idx="11">
                  <c:v>1191.6376</c:v>
                </c:pt>
                <c:pt idx="12">
                  <c:v>1183.2916</c:v>
                </c:pt>
                <c:pt idx="13">
                  <c:v>1226.8514</c:v>
                </c:pt>
                <c:pt idx="14">
                  <c:v>1217.4288</c:v>
                </c:pt>
                <c:pt idx="15">
                  <c:v>1256.8501</c:v>
                </c:pt>
                <c:pt idx="16">
                  <c:v>1293.0472</c:v>
                </c:pt>
                <c:pt idx="17">
                  <c:v>1222.4687</c:v>
                </c:pt>
                <c:pt idx="18">
                  <c:v>1284.0303</c:v>
                </c:pt>
                <c:pt idx="19">
                  <c:v>1422.7251</c:v>
                </c:pt>
                <c:pt idx="20">
                  <c:v>1390.2155</c:v>
                </c:pt>
                <c:pt idx="21">
                  <c:v>1280.4545</c:v>
                </c:pt>
                <c:pt idx="22">
                  <c:v>1263.2557</c:v>
                </c:pt>
                <c:pt idx="23">
                  <c:v>1213.6514</c:v>
                </c:pt>
                <c:pt idx="24">
                  <c:v>1137.7953</c:v>
                </c:pt>
                <c:pt idx="25">
                  <c:v>1122.1254</c:v>
                </c:pt>
                <c:pt idx="26">
                  <c:v>1147.325</c:v>
                </c:pt>
                <c:pt idx="27">
                  <c:v>1175.5994</c:v>
                </c:pt>
                <c:pt idx="28">
                  <c:v>1204.0419</c:v>
                </c:pt>
                <c:pt idx="29">
                  <c:v>1220.9306</c:v>
                </c:pt>
                <c:pt idx="30">
                  <c:v>1111.7972</c:v>
                </c:pt>
                <c:pt idx="31">
                  <c:v>948.6877</c:v>
                </c:pt>
                <c:pt idx="32">
                  <c:v>1074.4046</c:v>
                </c:pt>
                <c:pt idx="33">
                  <c:v>1237.0335</c:v>
                </c:pt>
                <c:pt idx="34">
                  <c:v>1265.8104</c:v>
                </c:pt>
                <c:pt idx="35">
                  <c:v>1174.3832</c:v>
                </c:pt>
                <c:pt idx="36">
                  <c:v>1242.7835</c:v>
                </c:pt>
                <c:pt idx="37">
                  <c:v>1345.0737</c:v>
                </c:pt>
                <c:pt idx="38">
                  <c:v>1285.4327</c:v>
                </c:pt>
                <c:pt idx="39">
                  <c:v>1186.8672</c:v>
                </c:pt>
                <c:pt idx="40">
                  <c:v>1214.7402</c:v>
                </c:pt>
                <c:pt idx="41">
                  <c:v>1233.3228</c:v>
                </c:pt>
                <c:pt idx="42">
                  <c:v>1155.3977</c:v>
                </c:pt>
                <c:pt idx="43">
                  <c:v>1319.2731</c:v>
                </c:pt>
                <c:pt idx="44">
                  <c:v>1261.8188</c:v>
                </c:pt>
                <c:pt idx="45">
                  <c:v>1221.6949</c:v>
                </c:pt>
                <c:pt idx="46">
                  <c:v>1222.0075</c:v>
                </c:pt>
                <c:pt idx="47">
                  <c:v>1177.0446</c:v>
                </c:pt>
                <c:pt idx="48">
                  <c:v>1095.8242</c:v>
                </c:pt>
                <c:pt idx="49">
                  <c:v>1163.4281</c:v>
                </c:pt>
                <c:pt idx="50">
                  <c:v>1140.461</c:v>
                </c:pt>
                <c:pt idx="51">
                  <c:v>1091.3421</c:v>
                </c:pt>
              </c:numCache>
            </c:numRef>
          </c:xVal>
          <c:yVal>
            <c:numRef>
              <c:f>Sheet1!$B$109:$B$160</c:f>
              <c:numCache>
                <c:formatCode>General</c:formatCode>
                <c:ptCount val="52"/>
                <c:pt idx="0">
                  <c:v>0.1505023580069715</c:v>
                </c:pt>
                <c:pt idx="1">
                  <c:v>0.1498046026921407</c:v>
                </c:pt>
                <c:pt idx="2">
                  <c:v>0.1512006512006512</c:v>
                </c:pt>
                <c:pt idx="3">
                  <c:v>0.1748909800321322</c:v>
                </c:pt>
                <c:pt idx="4">
                  <c:v>0.16046356139959883</c:v>
                </c:pt>
                <c:pt idx="5">
                  <c:v>0.15937423612808604</c:v>
                </c:pt>
                <c:pt idx="6">
                  <c:v>0.14720194647201945</c:v>
                </c:pt>
                <c:pt idx="7">
                  <c:v>0.1372745490981964</c:v>
                </c:pt>
                <c:pt idx="8">
                  <c:v>0.15128205128205127</c:v>
                </c:pt>
                <c:pt idx="9">
                  <c:v>0.13881748071979436</c:v>
                </c:pt>
                <c:pt idx="10">
                  <c:v>0.16982809721398934</c:v>
                </c:pt>
                <c:pt idx="11">
                  <c:v>0.1582251988279615</c:v>
                </c:pt>
                <c:pt idx="12">
                  <c:v>0.1617278797996661</c:v>
                </c:pt>
                <c:pt idx="13">
                  <c:v>0.15475658776239393</c:v>
                </c:pt>
                <c:pt idx="14">
                  <c:v>0.1619543650793651</c:v>
                </c:pt>
                <c:pt idx="15">
                  <c:v>0.14798206278026907</c:v>
                </c:pt>
                <c:pt idx="16">
                  <c:v>0.14910478426768417</c:v>
                </c:pt>
                <c:pt idx="17">
                  <c:v>0.13136238951539164</c:v>
                </c:pt>
                <c:pt idx="18">
                  <c:v>0.1208348590259978</c:v>
                </c:pt>
                <c:pt idx="19">
                  <c:v>0.1298861188057864</c:v>
                </c:pt>
                <c:pt idx="20">
                  <c:v>0.12379935965848453</c:v>
                </c:pt>
                <c:pt idx="21">
                  <c:v>0.1373679154658982</c:v>
                </c:pt>
                <c:pt idx="22">
                  <c:v>0.13319776309100154</c:v>
                </c:pt>
                <c:pt idx="23">
                  <c:v>0.15725359911406422</c:v>
                </c:pt>
                <c:pt idx="24">
                  <c:v>0.1601289629231596</c:v>
                </c:pt>
                <c:pt idx="25">
                  <c:v>0.1686143572621035</c:v>
                </c:pt>
                <c:pt idx="26">
                  <c:v>0.14558689717925385</c:v>
                </c:pt>
                <c:pt idx="27">
                  <c:v>0.14336633663366335</c:v>
                </c:pt>
                <c:pt idx="28">
                  <c:v>0.14863813229571984</c:v>
                </c:pt>
                <c:pt idx="29">
                  <c:v>0.14997832683138274</c:v>
                </c:pt>
                <c:pt idx="30">
                  <c:v>0.1795614398014067</c:v>
                </c:pt>
                <c:pt idx="31">
                  <c:v>0.17715305667112896</c:v>
                </c:pt>
                <c:pt idx="32">
                  <c:v>0.15249008373732922</c:v>
                </c:pt>
                <c:pt idx="33">
                  <c:v>0.16488153197013958</c:v>
                </c:pt>
                <c:pt idx="34">
                  <c:v>0.17804942864735585</c:v>
                </c:pt>
                <c:pt idx="35">
                  <c:v>0.18343982960596378</c:v>
                </c:pt>
                <c:pt idx="36">
                  <c:v>0.16033057851239668</c:v>
                </c:pt>
                <c:pt idx="37">
                  <c:v>0.1608598962194218</c:v>
                </c:pt>
                <c:pt idx="38">
                  <c:v>0.15210176991150443</c:v>
                </c:pt>
                <c:pt idx="39">
                  <c:v>0.17516250427642832</c:v>
                </c:pt>
                <c:pt idx="40">
                  <c:v>0.16536458333333334</c:v>
                </c:pt>
                <c:pt idx="41">
                  <c:v>0.16699083078632954</c:v>
                </c:pt>
                <c:pt idx="42">
                  <c:v>0.17813351498637603</c:v>
                </c:pt>
                <c:pt idx="43">
                  <c:v>0.13718309859154929</c:v>
                </c:pt>
                <c:pt idx="44">
                  <c:v>0.12895098488318826</c:v>
                </c:pt>
                <c:pt idx="45">
                  <c:v>0.14353562005277046</c:v>
                </c:pt>
                <c:pt idx="46">
                  <c:v>0.14034352744030162</c:v>
                </c:pt>
                <c:pt idx="47">
                  <c:v>0.1404867256637168</c:v>
                </c:pt>
                <c:pt idx="48">
                  <c:v>0.127286470143613</c:v>
                </c:pt>
                <c:pt idx="49">
                  <c:v>0.1429785787147229</c:v>
                </c:pt>
                <c:pt idx="50">
                  <c:v>0.14315719655096176</c:v>
                </c:pt>
                <c:pt idx="51">
                  <c:v>0.137706106178655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5.5300373126728</c:v>
                </c:pt>
              </c:numCache>
            </c:numRef>
          </c:xVal>
          <c:yVal>
            <c:numRef>
              <c:f>Sheet1!$B$163:$B$164</c:f>
              <c:numCache>
                <c:formatCode>General</c:formatCode>
                <c:ptCount val="2"/>
                <c:pt idx="0">
                  <c:v>0.19691756992492124</c:v>
                </c:pt>
                <c:pt idx="1">
                  <c:v>0.1969175699249212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5.5300373126728</c:v>
                </c:pt>
                <c:pt idx="1">
                  <c:v>515.5300373126728</c:v>
                </c:pt>
              </c:numCache>
            </c:numRef>
          </c:xVal>
          <c:yVal>
            <c:numRef>
              <c:f>Sheet1!$B$167:$B$168</c:f>
              <c:numCache>
                <c:formatCode>General</c:formatCode>
                <c:ptCount val="2"/>
                <c:pt idx="0">
                  <c:v>0.196917569924921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0.4916526129646</c:v>
                </c:pt>
              </c:numCache>
            </c:numRef>
          </c:xVal>
          <c:yVal>
            <c:numRef>
              <c:f>Sheet1!$B$171:$B$172</c:f>
              <c:numCache>
                <c:formatCode>General</c:formatCode>
                <c:ptCount val="2"/>
                <c:pt idx="0">
                  <c:v>0.15837691662751607</c:v>
                </c:pt>
                <c:pt idx="1">
                  <c:v>0.1583769166275160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0.4916526129646</c:v>
                </c:pt>
                <c:pt idx="1">
                  <c:v>1110.4916526129646</c:v>
                </c:pt>
              </c:numCache>
            </c:numRef>
          </c:xVal>
          <c:yVal>
            <c:numRef>
              <c:f>Sheet1!$B$175:$B$176</c:f>
              <c:numCache>
                <c:formatCode>General</c:formatCode>
                <c:ptCount val="2"/>
                <c:pt idx="0">
                  <c:v>0.1583769166275160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7880564598104</c:v>
                </c:pt>
              </c:numCache>
            </c:numRef>
          </c:xVal>
          <c:yVal>
            <c:numRef>
              <c:f>Sheet1!$B$179:$B$180</c:f>
              <c:numCache>
                <c:formatCode>General</c:formatCode>
                <c:ptCount val="2"/>
                <c:pt idx="0">
                  <c:v>0.14825228781553437</c:v>
                </c:pt>
                <c:pt idx="1">
                  <c:v>0.148252287815534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7880564598104</c:v>
                </c:pt>
                <c:pt idx="1">
                  <c:v>1266.7880564598104</c:v>
                </c:pt>
              </c:numCache>
            </c:numRef>
          </c:xVal>
          <c:yVal>
            <c:numRef>
              <c:f>Sheet1!$B$183:$B$184</c:f>
              <c:numCache>
                <c:formatCode>General</c:formatCode>
                <c:ptCount val="2"/>
                <c:pt idx="0">
                  <c:v>0.148252287815534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8.248</c:v>
                </c:pt>
                <c:pt idx="1">
                  <c:v>1142.3652</c:v>
                </c:pt>
                <c:pt idx="2">
                  <c:v>1117.4226</c:v>
                </c:pt>
                <c:pt idx="3">
                  <c:v>1159.4383</c:v>
                </c:pt>
                <c:pt idx="4">
                  <c:v>1166.9042</c:v>
                </c:pt>
                <c:pt idx="5">
                  <c:v>1198.6074</c:v>
                </c:pt>
                <c:pt idx="6">
                  <c:v>1157.5</c:v>
                </c:pt>
                <c:pt idx="7">
                  <c:v>1224.6715</c:v>
                </c:pt>
                <c:pt idx="8">
                  <c:v>1318.816</c:v>
                </c:pt>
                <c:pt idx="9">
                  <c:v>1259.0212</c:v>
                </c:pt>
                <c:pt idx="10">
                  <c:v>1288.0314</c:v>
                </c:pt>
                <c:pt idx="11">
                  <c:v>1191.6376</c:v>
                </c:pt>
                <c:pt idx="12">
                  <c:v>1183.2916</c:v>
                </c:pt>
                <c:pt idx="13">
                  <c:v>1226.8514</c:v>
                </c:pt>
                <c:pt idx="14">
                  <c:v>1217.4288</c:v>
                </c:pt>
                <c:pt idx="15">
                  <c:v>1256.8501</c:v>
                </c:pt>
                <c:pt idx="16">
                  <c:v>1293.0472</c:v>
                </c:pt>
                <c:pt idx="17">
                  <c:v>1222.4687</c:v>
                </c:pt>
                <c:pt idx="18">
                  <c:v>1284.0303</c:v>
                </c:pt>
                <c:pt idx="19">
                  <c:v>1422.7251</c:v>
                </c:pt>
                <c:pt idx="20">
                  <c:v>1390.2155</c:v>
                </c:pt>
                <c:pt idx="21">
                  <c:v>1280.4545</c:v>
                </c:pt>
                <c:pt idx="22">
                  <c:v>1263.2557</c:v>
                </c:pt>
                <c:pt idx="23">
                  <c:v>1213.6514</c:v>
                </c:pt>
                <c:pt idx="24">
                  <c:v>1137.7953</c:v>
                </c:pt>
                <c:pt idx="25">
                  <c:v>1122.1254</c:v>
                </c:pt>
                <c:pt idx="26">
                  <c:v>1147.325</c:v>
                </c:pt>
                <c:pt idx="27">
                  <c:v>1175.5994</c:v>
                </c:pt>
                <c:pt idx="28">
                  <c:v>1204.0419</c:v>
                </c:pt>
                <c:pt idx="29">
                  <c:v>1220.9306</c:v>
                </c:pt>
                <c:pt idx="30">
                  <c:v>1111.7972</c:v>
                </c:pt>
                <c:pt idx="31">
                  <c:v>948.6877</c:v>
                </c:pt>
                <c:pt idx="32">
                  <c:v>1074.4046</c:v>
                </c:pt>
                <c:pt idx="33">
                  <c:v>1237.0335</c:v>
                </c:pt>
                <c:pt idx="34">
                  <c:v>1265.8104</c:v>
                </c:pt>
                <c:pt idx="35">
                  <c:v>1174.3832</c:v>
                </c:pt>
                <c:pt idx="36">
                  <c:v>1242.7835</c:v>
                </c:pt>
                <c:pt idx="37">
                  <c:v>1345.0737</c:v>
                </c:pt>
                <c:pt idx="38">
                  <c:v>1285.4327</c:v>
                </c:pt>
                <c:pt idx="39">
                  <c:v>1186.8672</c:v>
                </c:pt>
                <c:pt idx="40">
                  <c:v>1214.7402</c:v>
                </c:pt>
                <c:pt idx="41">
                  <c:v>1233.3228</c:v>
                </c:pt>
                <c:pt idx="42">
                  <c:v>1155.3977</c:v>
                </c:pt>
                <c:pt idx="43">
                  <c:v>1319.2731</c:v>
                </c:pt>
                <c:pt idx="44">
                  <c:v>1261.8188</c:v>
                </c:pt>
                <c:pt idx="45">
                  <c:v>1221.6949</c:v>
                </c:pt>
                <c:pt idx="46">
                  <c:v>1222.0075</c:v>
                </c:pt>
                <c:pt idx="47">
                  <c:v>1177.0446</c:v>
                </c:pt>
                <c:pt idx="48">
                  <c:v>1095.8242</c:v>
                </c:pt>
                <c:pt idx="49">
                  <c:v>1163.4281</c:v>
                </c:pt>
                <c:pt idx="50">
                  <c:v>1140.461</c:v>
                </c:pt>
                <c:pt idx="51">
                  <c:v>1091.3421</c:v>
                </c:pt>
                <c:pt idx="52">
                  <c:v>1110.4916526129646</c:v>
                </c:pt>
                <c:pt idx="53">
                  <c:v>515.5300373126728</c:v>
                </c:pt>
                <c:pt idx="54">
                  <c:v>1266.7880564598104</c:v>
                </c:pt>
              </c:numCache>
            </c:numRef>
          </c:xVal>
          <c:yVal>
            <c:numRef>
              <c:f>Sheet1!$B$187:$B$241</c:f>
              <c:numCache>
                <c:formatCode>General</c:formatCode>
                <c:ptCount val="55"/>
                <c:pt idx="0">
                  <c:v>0.1585222568230049</c:v>
                </c:pt>
                <c:pt idx="1">
                  <c:v>0.15631219966492324</c:v>
                </c:pt>
                <c:pt idx="2">
                  <c:v>0.15792794104086166</c:v>
                </c:pt>
                <c:pt idx="3">
                  <c:v>0.15520623179928233</c:v>
                </c:pt>
                <c:pt idx="4">
                  <c:v>0.15472260284566006</c:v>
                </c:pt>
                <c:pt idx="5">
                  <c:v>0.15266892071189486</c:v>
                </c:pt>
                <c:pt idx="6">
                  <c:v>0.15533179174527761</c:v>
                </c:pt>
                <c:pt idx="7">
                  <c:v>0.15098053037581932</c:v>
                </c:pt>
                <c:pt idx="8">
                  <c:v>0.1448820015950572</c:v>
                </c:pt>
                <c:pt idx="9">
                  <c:v>0.14875541224294334</c:v>
                </c:pt>
                <c:pt idx="10">
                  <c:v>0.14687617830324778</c:v>
                </c:pt>
                <c:pt idx="11">
                  <c:v>0.15312041310811722</c:v>
                </c:pt>
                <c:pt idx="12">
                  <c:v>0.15366105351944492</c:v>
                </c:pt>
                <c:pt idx="13">
                  <c:v>0.15083931997171518</c:v>
                </c:pt>
                <c:pt idx="14">
                  <c:v>0.151449700793639</c:v>
                </c:pt>
                <c:pt idx="15">
                  <c:v>0.1488960525972488</c:v>
                </c:pt>
                <c:pt idx="16">
                  <c:v>0.14655126287368425</c:v>
                </c:pt>
                <c:pt idx="17">
                  <c:v>0.15112322420496777</c:v>
                </c:pt>
                <c:pt idx="18">
                  <c:v>0.14713536310432176</c:v>
                </c:pt>
                <c:pt idx="19">
                  <c:v>0.1381509377842866</c:v>
                </c:pt>
                <c:pt idx="20">
                  <c:v>0.1402568572086934</c:v>
                </c:pt>
                <c:pt idx="21">
                  <c:v>0.14736699765773964</c:v>
                </c:pt>
                <c:pt idx="22">
                  <c:v>0.14848110816652743</c:v>
                </c:pt>
                <c:pt idx="23">
                  <c:v>0.1516943946697173</c:v>
                </c:pt>
                <c:pt idx="24">
                  <c:v>0.15660823041207472</c:v>
                </c:pt>
                <c:pt idx="25">
                  <c:v>0.15762330124618257</c:v>
                </c:pt>
                <c:pt idx="26">
                  <c:v>0.15599091182498756</c:v>
                </c:pt>
                <c:pt idx="27">
                  <c:v>0.15415934182186702</c:v>
                </c:pt>
                <c:pt idx="28">
                  <c:v>0.15231688257202422</c:v>
                </c:pt>
                <c:pt idx="29">
                  <c:v>0.15122285984080086</c:v>
                </c:pt>
                <c:pt idx="30">
                  <c:v>0.15829234537466025</c:v>
                </c:pt>
                <c:pt idx="31">
                  <c:v>0.1688583155605524</c:v>
                </c:pt>
                <c:pt idx="32">
                  <c:v>0.1607145776589416</c:v>
                </c:pt>
                <c:pt idx="33">
                  <c:v>0.1501797399654631</c:v>
                </c:pt>
                <c:pt idx="34">
                  <c:v>0.14831561882327088</c:v>
                </c:pt>
                <c:pt idx="35">
                  <c:v>0.1542381252951784</c:v>
                </c:pt>
                <c:pt idx="36">
                  <c:v>0.1498072642447425</c:v>
                </c:pt>
                <c:pt idx="37">
                  <c:v>0.14318107016341097</c:v>
                </c:pt>
                <c:pt idx="38">
                  <c:v>0.14704451789549766</c:v>
                </c:pt>
                <c:pt idx="39">
                  <c:v>0.15342943192170427</c:v>
                </c:pt>
                <c:pt idx="40">
                  <c:v>0.15162386396280936</c:v>
                </c:pt>
                <c:pt idx="41">
                  <c:v>0.15042011312318104</c:v>
                </c:pt>
                <c:pt idx="42">
                  <c:v>0.15546797534661166</c:v>
                </c:pt>
                <c:pt idx="43">
                  <c:v>0.14485239139471956</c:v>
                </c:pt>
                <c:pt idx="44">
                  <c:v>0.14857418822967583</c:v>
                </c:pt>
                <c:pt idx="45">
                  <c:v>0.1511733497202188</c:v>
                </c:pt>
                <c:pt idx="46">
                  <c:v>0.15115309999668886</c:v>
                </c:pt>
                <c:pt idx="47">
                  <c:v>0.15406572409811303</c:v>
                </c:pt>
                <c:pt idx="48">
                  <c:v>0.15932705053762902</c:v>
                </c:pt>
                <c:pt idx="49">
                  <c:v>0.15494777899397255</c:v>
                </c:pt>
                <c:pt idx="50">
                  <c:v>0.15643555066794868</c:v>
                </c:pt>
                <c:pt idx="51">
                  <c:v>0.15961739374247108</c:v>
                </c:pt>
                <c:pt idx="52">
                  <c:v>0.15837691662751607</c:v>
                </c:pt>
                <c:pt idx="53">
                  <c:v>0.19691756992492124</c:v>
                </c:pt>
                <c:pt idx="54">
                  <c:v>0.148252287815534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7.0"/>
          <c:min val="41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6113681427627"/>
          <c:min val="0.083285745662200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62223372576224</c:v>
                </c:pt>
                <c:pt idx="1">
                  <c:v>0.20228093770143885</c:v>
                </c:pt>
                <c:pt idx="2">
                  <c:v>0.1924895491620086</c:v>
                </c:pt>
                <c:pt idx="3">
                  <c:v>0.19424255298207999</c:v>
                </c:pt>
                <c:pt idx="4">
                  <c:v>0.1827949095095175</c:v>
                </c:pt>
                <c:pt idx="5">
                  <c:v>0.18485907517772024</c:v>
                </c:pt>
                <c:pt idx="6">
                  <c:v>0.1904099686705145</c:v>
                </c:pt>
                <c:pt idx="7">
                  <c:v>0.1792123414301199</c:v>
                </c:pt>
                <c:pt idx="8">
                  <c:v>0.1638381467564642</c:v>
                </c:pt>
                <c:pt idx="9">
                  <c:v>0.17202886333080586</c:v>
                </c:pt>
                <c:pt idx="10">
                  <c:v>0.17705564039577343</c:v>
                </c:pt>
                <c:pt idx="11">
                  <c:v>0.19095769098349197</c:v>
                </c:pt>
                <c:pt idx="12">
                  <c:v>0.19606413416778612</c:v>
                </c:pt>
                <c:pt idx="13">
                  <c:v>0.18844684840915404</c:v>
                </c:pt>
                <c:pt idx="14">
                  <c:v>0.1826536251144014</c:v>
                </c:pt>
                <c:pt idx="15">
                  <c:v>0.19998498015196403</c:v>
                </c:pt>
                <c:pt idx="16">
                  <c:v>0.18763772384254404</c:v>
                </c:pt>
                <c:pt idx="17">
                  <c:v>0.17577189120931616</c:v>
                </c:pt>
                <c:pt idx="18">
                  <c:v>0.179944554012006</c:v>
                </c:pt>
                <c:pt idx="19">
                  <c:v>0.1830255662011344</c:v>
                </c:pt>
                <c:pt idx="20">
                  <c:v>0.18856631601285223</c:v>
                </c:pt>
                <c:pt idx="21">
                  <c:v>0.1712249483098979</c:v>
                </c:pt>
                <c:pt idx="22">
                  <c:v>0.16116736451050967</c:v>
                </c:pt>
                <c:pt idx="23">
                  <c:v>0.15195512465521982</c:v>
                </c:pt>
                <c:pt idx="24">
                  <c:v>0.1718926570472536</c:v>
                </c:pt>
                <c:pt idx="25">
                  <c:v>0.16683613188759056</c:v>
                </c:pt>
                <c:pt idx="26">
                  <c:v>0.1579172931241033</c:v>
                </c:pt>
                <c:pt idx="27">
                  <c:v>0.16342638168865195</c:v>
                </c:pt>
                <c:pt idx="28">
                  <c:v>0.1546095750198973</c:v>
                </c:pt>
                <c:pt idx="29">
                  <c:v>0.16868469096046043</c:v>
                </c:pt>
                <c:pt idx="30">
                  <c:v>0.16295630291235533</c:v>
                </c:pt>
                <c:pt idx="31">
                  <c:v>0.15510981490164866</c:v>
                </c:pt>
                <c:pt idx="32">
                  <c:v>0.14964671375245972</c:v>
                </c:pt>
                <c:pt idx="33">
                  <c:v>0.1573607124866616</c:v>
                </c:pt>
                <c:pt idx="34">
                  <c:v>0.17408346747422027</c:v>
                </c:pt>
                <c:pt idx="35">
                  <c:v>0.17169995339479158</c:v>
                </c:pt>
                <c:pt idx="36">
                  <c:v>0.14851468114660926</c:v>
                </c:pt>
                <c:pt idx="37">
                  <c:v>0.1534092914454958</c:v>
                </c:pt>
                <c:pt idx="38">
                  <c:v>0.16762257187268573</c:v>
                </c:pt>
                <c:pt idx="39">
                  <c:v>0.17854741896136822</c:v>
                </c:pt>
                <c:pt idx="40">
                  <c:v>0.19636402549224768</c:v>
                </c:pt>
                <c:pt idx="41">
                  <c:v>0.19402939692343676</c:v>
                </c:pt>
                <c:pt idx="42">
                  <c:v>0.17890165902257257</c:v>
                </c:pt>
                <c:pt idx="43">
                  <c:v>0.19049598938948561</c:v>
                </c:pt>
                <c:pt idx="44">
                  <c:v>0.20720145355823286</c:v>
                </c:pt>
                <c:pt idx="45">
                  <c:v>0.2158300319866484</c:v>
                </c:pt>
                <c:pt idx="46">
                  <c:v>0.21996121650196682</c:v>
                </c:pt>
                <c:pt idx="47">
                  <c:v>0.1921959681074697</c:v>
                </c:pt>
                <c:pt idx="48">
                  <c:v>0.2435661931938346</c:v>
                </c:pt>
                <c:pt idx="49">
                  <c:v>0.24558921830566605</c:v>
                </c:pt>
                <c:pt idx="50">
                  <c:v>0.19996828140586195</c:v>
                </c:pt>
                <c:pt idx="51">
                  <c:v>0.18529086682848456</c:v>
                </c:pt>
                <c:pt idx="52">
                  <c:v>0.20874531955344694</c:v>
                </c:pt>
                <c:pt idx="53">
                  <c:v>0.21489735285100894</c:v>
                </c:pt>
                <c:pt idx="54">
                  <c:v>0.21070142712659085</c:v>
                </c:pt>
                <c:pt idx="55">
                  <c:v>0.18796527006997665</c:v>
                </c:pt>
                <c:pt idx="56">
                  <c:v>0.19608945799079258</c:v>
                </c:pt>
                <c:pt idx="57">
                  <c:v>0.19366813067260927</c:v>
                </c:pt>
                <c:pt idx="58">
                  <c:v>0.20238193851078698</c:v>
                </c:pt>
                <c:pt idx="59">
                  <c:v>0.22786250835296026</c:v>
                </c:pt>
                <c:pt idx="60">
                  <c:v>0.21788267143679138</c:v>
                </c:pt>
                <c:pt idx="61">
                  <c:v>0.21385849768328255</c:v>
                </c:pt>
                <c:pt idx="62">
                  <c:v>0.23903033672491386</c:v>
                </c:pt>
                <c:pt idx="63">
                  <c:v>0.2336246991992187</c:v>
                </c:pt>
                <c:pt idx="64">
                  <c:v>0.23642598814176766</c:v>
                </c:pt>
                <c:pt idx="65">
                  <c:v>0.20550803446000035</c:v>
                </c:pt>
                <c:pt idx="66">
                  <c:v>0.20511778412069664</c:v>
                </c:pt>
                <c:pt idx="67">
                  <c:v>0.23568725003353255</c:v>
                </c:pt>
                <c:pt idx="68">
                  <c:v>0.20797115396176238</c:v>
                </c:pt>
                <c:pt idx="69">
                  <c:v>0.18203128890182713</c:v>
                </c:pt>
                <c:pt idx="70">
                  <c:v>0.16988107900749386</c:v>
                </c:pt>
                <c:pt idx="71">
                  <c:v>0.18997522490616245</c:v>
                </c:pt>
                <c:pt idx="72">
                  <c:v>0.21847996552199836</c:v>
                </c:pt>
                <c:pt idx="73">
                  <c:v>0.20089471622360497</c:v>
                </c:pt>
                <c:pt idx="74">
                  <c:v>0.20606576261547419</c:v>
                </c:pt>
                <c:pt idx="75">
                  <c:v>0.19228897497465533</c:v>
                </c:pt>
                <c:pt idx="76">
                  <c:v>0.16940742459714467</c:v>
                </c:pt>
                <c:pt idx="77">
                  <c:v>0.1820518745811009</c:v>
                </c:pt>
                <c:pt idx="78">
                  <c:v>0.18143783589095697</c:v>
                </c:pt>
                <c:pt idx="79">
                  <c:v>0.17388660457555813</c:v>
                </c:pt>
                <c:pt idx="80">
                  <c:v>0.16889723066374351</c:v>
                </c:pt>
                <c:pt idx="81">
                  <c:v>0.19278518748640597</c:v>
                </c:pt>
                <c:pt idx="82">
                  <c:v>0.19381414164597383</c:v>
                </c:pt>
                <c:pt idx="83">
                  <c:v>0.16978115988027176</c:v>
                </c:pt>
                <c:pt idx="84">
                  <c:v>0.1595134022582278</c:v>
                </c:pt>
                <c:pt idx="85">
                  <c:v>0.1727503783083637</c:v>
                </c:pt>
                <c:pt idx="86">
                  <c:v>0.18383230220432173</c:v>
                </c:pt>
                <c:pt idx="87">
                  <c:v>0.19139092480498576</c:v>
                </c:pt>
                <c:pt idx="88">
                  <c:v>0.1604316802464369</c:v>
                </c:pt>
                <c:pt idx="89">
                  <c:v>0.15427688266975545</c:v>
                </c:pt>
                <c:pt idx="90">
                  <c:v>0.170823997628897</c:v>
                </c:pt>
                <c:pt idx="91">
                  <c:v>0.18274382349553098</c:v>
                </c:pt>
                <c:pt idx="92">
                  <c:v>0.18641871645144376</c:v>
                </c:pt>
                <c:pt idx="93">
                  <c:v>0.172541120460081</c:v>
                </c:pt>
                <c:pt idx="94">
                  <c:v>0.17338134262115232</c:v>
                </c:pt>
                <c:pt idx="95">
                  <c:v>0.16355454105376865</c:v>
                </c:pt>
                <c:pt idx="96">
                  <c:v>0.17946381969456243</c:v>
                </c:pt>
                <c:pt idx="97">
                  <c:v>0.1873547551878572</c:v>
                </c:pt>
                <c:pt idx="98">
                  <c:v>0.19200371179570883</c:v>
                </c:pt>
                <c:pt idx="99">
                  <c:v>0.20613888543884293</c:v>
                </c:pt>
                <c:pt idx="100">
                  <c:v>0.21621706293315338</c:v>
                </c:pt>
                <c:pt idx="101">
                  <c:v>0.2060289906797247</c:v>
                </c:pt>
                <c:pt idx="102">
                  <c:v>0.19304077882751852</c:v>
                </c:pt>
                <c:pt idx="103">
                  <c:v>0.18808069377398196</c:v>
                </c:pt>
                <c:pt idx="104">
                  <c:v>0.19601034098564468</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128189749619477</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128189749619477</c:v>
                </c:pt>
                <c:pt idx="1">
                  <c:v>1.6128189749619477</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800443187514431</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800443187514431</c:v>
                </c:pt>
                <c:pt idx="1">
                  <c:v>0.3800443187514431</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012993315387501</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012993315387501</c:v>
                </c:pt>
                <c:pt idx="1">
                  <c:v>0.10012993315387501</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pt idx="52">
                  <c:v>0.3800443187514431</c:v>
                </c:pt>
                <c:pt idx="53">
                  <c:v>1.6128189749619477</c:v>
                </c:pt>
                <c:pt idx="54">
                  <c:v>0.10012993315387501</c:v>
                </c:pt>
              </c:numCache>
            </c:numRef>
          </c:xVal>
          <c:yVal>
            <c:numRef>
              <c:f>Sheet1!$B$187:$B$241</c:f>
              <c:numCache>
                <c:formatCode>General</c:formatCode>
                <c:ptCount val="55"/>
                <c:pt idx="0">
                  <c:v>0.218454444502684</c:v>
                </c:pt>
                <c:pt idx="1">
                  <c:v>0.21877652134781675</c:v>
                </c:pt>
                <c:pt idx="2">
                  <c:v>0.2186115457482525</c:v>
                </c:pt>
                <c:pt idx="3">
                  <c:v>0.21836870657208612</c:v>
                </c:pt>
                <c:pt idx="4">
                  <c:v>0.2178997379590178</c:v>
                </c:pt>
                <c:pt idx="5">
                  <c:v>0.21848682347630438</c:v>
                </c:pt>
                <c:pt idx="6">
                  <c:v>0.2180463782344192</c:v>
                </c:pt>
                <c:pt idx="7">
                  <c:v>0.21745166133694238</c:v>
                </c:pt>
                <c:pt idx="8">
                  <c:v>0.21878125564034978</c:v>
                </c:pt>
                <c:pt idx="9">
                  <c:v>0.2183085006333934</c:v>
                </c:pt>
                <c:pt idx="10">
                  <c:v>0.21812735010893297</c:v>
                </c:pt>
                <c:pt idx="11">
                  <c:v>0.21754980255470627</c:v>
                </c:pt>
                <c:pt idx="12">
                  <c:v>0.21757709102785538</c:v>
                </c:pt>
                <c:pt idx="13">
                  <c:v>0.21785405449370607</c:v>
                </c:pt>
                <c:pt idx="14">
                  <c:v>0.21770736449490374</c:v>
                </c:pt>
                <c:pt idx="15">
                  <c:v>0.21757784081528078</c:v>
                </c:pt>
                <c:pt idx="16">
                  <c:v>0.21720251108745395</c:v>
                </c:pt>
                <c:pt idx="17">
                  <c:v>0.21677342807730665</c:v>
                </c:pt>
                <c:pt idx="18">
                  <c:v>0.2164105042972843</c:v>
                </c:pt>
                <c:pt idx="19">
                  <c:v>0.21720180605787134</c:v>
                </c:pt>
                <c:pt idx="20">
                  <c:v>0.21670185618246596</c:v>
                </c:pt>
                <c:pt idx="21">
                  <c:v>0.21622616720934362</c:v>
                </c:pt>
                <c:pt idx="22">
                  <c:v>0.21630325442528425</c:v>
                </c:pt>
                <c:pt idx="23">
                  <c:v>0.21701535258159013</c:v>
                </c:pt>
                <c:pt idx="24">
                  <c:v>0.2166449356847529</c:v>
                </c:pt>
                <c:pt idx="25">
                  <c:v>0.21644489162199648</c:v>
                </c:pt>
                <c:pt idx="26">
                  <c:v>0.2165197421630351</c:v>
                </c:pt>
                <c:pt idx="27">
                  <c:v>0.21656626395561385</c:v>
                </c:pt>
                <c:pt idx="28">
                  <c:v>0.2171608792348707</c:v>
                </c:pt>
                <c:pt idx="29">
                  <c:v>0.21659657821003184</c:v>
                </c:pt>
                <c:pt idx="30">
                  <c:v>0.21651878897648372</c:v>
                </c:pt>
                <c:pt idx="31">
                  <c:v>0.2163852039731127</c:v>
                </c:pt>
                <c:pt idx="32">
                  <c:v>0.2168558652251216</c:v>
                </c:pt>
                <c:pt idx="33">
                  <c:v>0.21711705812720625</c:v>
                </c:pt>
                <c:pt idx="34">
                  <c:v>0.21775273036726217</c:v>
                </c:pt>
                <c:pt idx="35">
                  <c:v>0.21655115416327442</c:v>
                </c:pt>
                <c:pt idx="36">
                  <c:v>0.21584487523899418</c:v>
                </c:pt>
                <c:pt idx="37">
                  <c:v>0.21589033267185706</c:v>
                </c:pt>
                <c:pt idx="38">
                  <c:v>0.21606454144297219</c:v>
                </c:pt>
                <c:pt idx="39">
                  <c:v>0.21629885555105596</c:v>
                </c:pt>
                <c:pt idx="40">
                  <c:v>0.2167675372000572</c:v>
                </c:pt>
                <c:pt idx="41">
                  <c:v>0.21688717348552725</c:v>
                </c:pt>
                <c:pt idx="42">
                  <c:v>0.2167635379605344</c:v>
                </c:pt>
                <c:pt idx="43">
                  <c:v>0.21742182444099312</c:v>
                </c:pt>
                <c:pt idx="44">
                  <c:v>0.21727317557958864</c:v>
                </c:pt>
                <c:pt idx="45">
                  <c:v>0.21731056674717297</c:v>
                </c:pt>
                <c:pt idx="46">
                  <c:v>0.21696329369721148</c:v>
                </c:pt>
                <c:pt idx="47">
                  <c:v>0.2165890620791454</c:v>
                </c:pt>
                <c:pt idx="48">
                  <c:v>0.21676503135346362</c:v>
                </c:pt>
                <c:pt idx="49">
                  <c:v>0.2178720263781608</c:v>
                </c:pt>
                <c:pt idx="50">
                  <c:v>0.2183172408174515</c:v>
                </c:pt>
                <c:pt idx="51">
                  <c:v>0.21708619112688718</c:v>
                </c:pt>
                <c:pt idx="52">
                  <c:v>0.2238631702834038</c:v>
                </c:pt>
                <c:pt idx="53">
                  <c:v>0.2650189013255837</c:v>
                </c:pt>
                <c:pt idx="54">
                  <c:v>0.21451833089166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1959829950410004</c:v>
                </c:pt>
                <c:pt idx="1">
                  <c:v>0.0</c:v>
                </c:pt>
                <c:pt idx="2">
                  <c:v>0.0</c:v>
                </c:pt>
                <c:pt idx="3">
                  <c:v>0.0</c:v>
                </c:pt>
                <c:pt idx="4">
                  <c:v>0.8715055630469437</c:v>
                </c:pt>
                <c:pt idx="5">
                  <c:v>0.9854312711729789</c:v>
                </c:pt>
                <c:pt idx="6">
                  <c:v>0.8586386195310021</c:v>
                </c:pt>
                <c:pt idx="7">
                  <c:v>2.069988087674016</c:v>
                </c:pt>
                <c:pt idx="8">
                  <c:v>1.105257008204051</c:v>
                </c:pt>
                <c:pt idx="9">
                  <c:v>1.1752834475624017</c:v>
                </c:pt>
                <c:pt idx="10">
                  <c:v>1.9956664914286875</c:v>
                </c:pt>
                <c:pt idx="11">
                  <c:v>1.437651303876507</c:v>
                </c:pt>
                <c:pt idx="12">
                  <c:v>1.9850892622330552</c:v>
                </c:pt>
                <c:pt idx="13">
                  <c:v>1.7476425116243235</c:v>
                </c:pt>
                <c:pt idx="14">
                  <c:v>1.3557591214622704</c:v>
                </c:pt>
                <c:pt idx="15">
                  <c:v>1.4359510955657546</c:v>
                </c:pt>
                <c:pt idx="16">
                  <c:v>0.9241054753875608</c:v>
                </c:pt>
                <c:pt idx="17">
                  <c:v>0.5589124059723655</c:v>
                </c:pt>
                <c:pt idx="18">
                  <c:v>0.6734750894599411</c:v>
                </c:pt>
                <c:pt idx="19">
                  <c:v>0.7715249978708605</c:v>
                </c:pt>
                <c:pt idx="20">
                  <c:v>0.8976964745024398</c:v>
                </c:pt>
                <c:pt idx="21">
                  <c:v>0.8720892093237913</c:v>
                </c:pt>
                <c:pt idx="22">
                  <c:v>0.640536511174045</c:v>
                </c:pt>
                <c:pt idx="23">
                  <c:v>2.5722171604896644</c:v>
                </c:pt>
                <c:pt idx="24">
                  <c:v>2.4907874548991518</c:v>
                </c:pt>
                <c:pt idx="25">
                  <c:v>2.656908452665393</c:v>
                </c:pt>
                <c:pt idx="26">
                  <c:v>2.8661627599815165</c:v>
                </c:pt>
                <c:pt idx="27">
                  <c:v>2.9253797629685527</c:v>
                </c:pt>
                <c:pt idx="28">
                  <c:v>4.320100623122401</c:v>
                </c:pt>
                <c:pt idx="29">
                  <c:v>2.3267978978059354</c:v>
                </c:pt>
                <c:pt idx="30">
                  <c:v>1.6535564388558264</c:v>
                </c:pt>
                <c:pt idx="31">
                  <c:v>2.497221614421663</c:v>
                </c:pt>
                <c:pt idx="32">
                  <c:v>2.0762464249675388</c:v>
                </c:pt>
                <c:pt idx="33">
                  <c:v>1.6189689912653433</c:v>
                </c:pt>
                <c:pt idx="34">
                  <c:v>2.7559705159978574</c:v>
                </c:pt>
                <c:pt idx="35">
                  <c:v>2.775190727353165</c:v>
                </c:pt>
                <c:pt idx="36">
                  <c:v>3.2589138674368847</c:v>
                </c:pt>
                <c:pt idx="37">
                  <c:v>2.5986525336705535</c:v>
                </c:pt>
                <c:pt idx="38">
                  <c:v>3.1508233291410654</c:v>
                </c:pt>
                <c:pt idx="39">
                  <c:v>3.0688478099701886</c:v>
                </c:pt>
                <c:pt idx="40">
                  <c:v>3.0738428999765355</c:v>
                </c:pt>
                <c:pt idx="41">
                  <c:v>3.1982810875732173</c:v>
                </c:pt>
                <c:pt idx="42">
                  <c:v>3.795134480788486</c:v>
                </c:pt>
                <c:pt idx="43">
                  <c:v>4.215109198127705</c:v>
                </c:pt>
                <c:pt idx="44">
                  <c:v>3.223902000397232</c:v>
                </c:pt>
                <c:pt idx="45">
                  <c:v>3.8676941832245464</c:v>
                </c:pt>
                <c:pt idx="46">
                  <c:v>3.943492662426312</c:v>
                </c:pt>
                <c:pt idx="47">
                  <c:v>3.366373967384793</c:v>
                </c:pt>
                <c:pt idx="48">
                  <c:v>3.1967681547250617</c:v>
                </c:pt>
                <c:pt idx="49">
                  <c:v>3.0843757523102227</c:v>
                </c:pt>
                <c:pt idx="50">
                  <c:v>3.3223124261296357</c:v>
                </c:pt>
                <c:pt idx="51">
                  <c:v>3.552936700012411</c:v>
                </c:pt>
                <c:pt idx="52">
                  <c:v>2.98880084569685</c:v>
                </c:pt>
              </c:numCache>
            </c:numRef>
          </c:xVal>
          <c:yVal>
            <c:numRef>
              <c:f>Sheet1!$B$2:$B$54</c:f>
              <c:numCache>
                <c:formatCode>General</c:formatCode>
                <c:ptCount val="53"/>
                <c:pt idx="0">
                  <c:v>0.00018846588767433095</c:v>
                </c:pt>
                <c:pt idx="1">
                  <c:v>0.0</c:v>
                </c:pt>
                <c:pt idx="2">
                  <c:v>0.0</c:v>
                </c:pt>
                <c:pt idx="3">
                  <c:v>0.0</c:v>
                </c:pt>
                <c:pt idx="4">
                  <c:v>0.00025348542458808617</c:v>
                </c:pt>
                <c:pt idx="5">
                  <c:v>0.0002449179524859172</c:v>
                </c:pt>
                <c:pt idx="6">
                  <c:v>0.00025303643724696357</c:v>
                </c:pt>
                <c:pt idx="7">
                  <c:v>0.00015762925598991173</c:v>
                </c:pt>
                <c:pt idx="8">
                  <c:v>0.0003761519653940192</c:v>
                </c:pt>
                <c:pt idx="9">
                  <c:v>0.00042399830400678397</c:v>
                </c:pt>
                <c:pt idx="10">
                  <c:v>0.0002155636990730761</c:v>
                </c:pt>
                <c:pt idx="11">
                  <c:v>0.0003732039559619332</c:v>
                </c:pt>
                <c:pt idx="12">
                  <c:v>0.00017439832577607255</c:v>
                </c:pt>
                <c:pt idx="13">
                  <c:v>0.0003778575477045154</c:v>
                </c:pt>
                <c:pt idx="14">
                  <c:v>0.0001837897445322551</c:v>
                </c:pt>
                <c:pt idx="15">
                  <c:v>0.0001818512456810329</c:v>
                </c:pt>
                <c:pt idx="16">
                  <c:v>0.00041893590280687055</c:v>
                </c:pt>
                <c:pt idx="17">
                  <c:v>0.00029403116730373417</c:v>
                </c:pt>
                <c:pt idx="18">
                  <c:v>0.0005320563979781857</c:v>
                </c:pt>
                <c:pt idx="19">
                  <c:v>0.0005899705014749262</c:v>
                </c:pt>
                <c:pt idx="20">
                  <c:v>0.0002718868950516585</c:v>
                </c:pt>
                <c:pt idx="21">
                  <c:v>0.0002955956251847473</c:v>
                </c:pt>
                <c:pt idx="22">
                  <c:v>0.0009262117937635072</c:v>
                </c:pt>
                <c:pt idx="23">
                  <c:v>0.0006363347120585428</c:v>
                </c:pt>
                <c:pt idx="24">
                  <c:v>0.0009222256378727329</c:v>
                </c:pt>
                <c:pt idx="25">
                  <c:v>0.0010362694300518134</c:v>
                </c:pt>
                <c:pt idx="26">
                  <c:v>0.0007454342154304882</c:v>
                </c:pt>
                <c:pt idx="27">
                  <c:v>0.0010193679918450561</c:v>
                </c:pt>
                <c:pt idx="28">
                  <c:v>0.0006788866259334691</c:v>
                </c:pt>
                <c:pt idx="29">
                  <c:v>0.0012158054711246201</c:v>
                </c:pt>
                <c:pt idx="30">
                  <c:v>0.0017593244194229415</c:v>
                </c:pt>
                <c:pt idx="31">
                  <c:v>0.001467351430667645</c:v>
                </c:pt>
                <c:pt idx="32">
                  <c:v>0.0011424219345011425</c:v>
                </c:pt>
                <c:pt idx="33">
                  <c:v>0.0014179369018078695</c:v>
                </c:pt>
                <c:pt idx="34">
                  <c:v>0.001242544731610338</c:v>
                </c:pt>
                <c:pt idx="35">
                  <c:v>0.0009592326139088729</c:v>
                </c:pt>
                <c:pt idx="36">
                  <c:v>0.0015</c:v>
                </c:pt>
                <c:pt idx="37">
                  <c:v>0.0026026604973973396</c:v>
                </c:pt>
                <c:pt idx="38">
                  <c:v>0.0019743336623889436</c:v>
                </c:pt>
                <c:pt idx="39">
                  <c:v>0.0019847833278200462</c:v>
                </c:pt>
                <c:pt idx="40">
                  <c:v>0.002133902373966391</c:v>
                </c:pt>
                <c:pt idx="41">
                  <c:v>0.0018822264049475664</c:v>
                </c:pt>
                <c:pt idx="42">
                  <c:v>0.0017663386323492304</c:v>
                </c:pt>
                <c:pt idx="43">
                  <c:v>0.0015374478365912585</c:v>
                </c:pt>
                <c:pt idx="44">
                  <c:v>0.0022085502445180626</c:v>
                </c:pt>
                <c:pt idx="45">
                  <c:v>0.002006305531670966</c:v>
                </c:pt>
                <c:pt idx="46">
                  <c:v>0.0019233235030132068</c:v>
                </c:pt>
                <c:pt idx="47">
                  <c:v>0.002216260352268751</c:v>
                </c:pt>
                <c:pt idx="48">
                  <c:v>0.0019281332164767747</c:v>
                </c:pt>
                <c:pt idx="49">
                  <c:v>0.0025835866261398176</c:v>
                </c:pt>
                <c:pt idx="50">
                  <c:v>0.0025617140195621797</c:v>
                </c:pt>
                <c:pt idx="51">
                  <c:v>0.00238758456028651</c:v>
                </c:pt>
                <c:pt idx="52">
                  <c:v>0.0025415896487985213</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725681821848296</c:v>
                </c:pt>
                <c:pt idx="1">
                  <c:v>2.946444380862651</c:v>
                </c:pt>
                <c:pt idx="2">
                  <c:v>2.742560537755294</c:v>
                </c:pt>
                <c:pt idx="3">
                  <c:v>2.497584991705525</c:v>
                </c:pt>
                <c:pt idx="4">
                  <c:v>2.5635869763536987</c:v>
                </c:pt>
                <c:pt idx="5">
                  <c:v>3.6182195933481918</c:v>
                </c:pt>
                <c:pt idx="6">
                  <c:v>3.3684830801067247</c:v>
                </c:pt>
                <c:pt idx="7">
                  <c:v>2.7821339390323496</c:v>
                </c:pt>
                <c:pt idx="8">
                  <c:v>2.640652144639948</c:v>
                </c:pt>
                <c:pt idx="9">
                  <c:v>2.7425333057083336</c:v>
                </c:pt>
                <c:pt idx="10">
                  <c:v>3.1268161876595117</c:v>
                </c:pt>
                <c:pt idx="11">
                  <c:v>2.4757716290763025</c:v>
                </c:pt>
                <c:pt idx="12">
                  <c:v>2.78514948351461</c:v>
                </c:pt>
                <c:pt idx="13">
                  <c:v>1.9041979581152189</c:v>
                </c:pt>
                <c:pt idx="14">
                  <c:v>1.8930239792799792</c:v>
                </c:pt>
                <c:pt idx="15">
                  <c:v>1.9827290901414911</c:v>
                </c:pt>
                <c:pt idx="16">
                  <c:v>1.9279384763233471</c:v>
                </c:pt>
                <c:pt idx="17">
                  <c:v>1.143783856303446</c:v>
                </c:pt>
                <c:pt idx="18">
                  <c:v>1.9119484853031874</c:v>
                </c:pt>
                <c:pt idx="19">
                  <c:v>2.199687503599364</c:v>
                </c:pt>
                <c:pt idx="20">
                  <c:v>2.0295641608037567</c:v>
                </c:pt>
                <c:pt idx="21">
                  <c:v>1.6365184208572645</c:v>
                </c:pt>
                <c:pt idx="22">
                  <c:v>2.022499453374831</c:v>
                </c:pt>
                <c:pt idx="23">
                  <c:v>0.8546389543237163</c:v>
                </c:pt>
                <c:pt idx="24">
                  <c:v>1.7351589054639485</c:v>
                </c:pt>
                <c:pt idx="25">
                  <c:v>2.169715020462056</c:v>
                </c:pt>
                <c:pt idx="26">
                  <c:v>2.2268473709342413</c:v>
                </c:pt>
                <c:pt idx="27">
                  <c:v>1.4823999561272438</c:v>
                </c:pt>
                <c:pt idx="28">
                  <c:v>1.867014597770557</c:v>
                </c:pt>
                <c:pt idx="29">
                  <c:v>1.4583124005404313</c:v>
                </c:pt>
                <c:pt idx="30">
                  <c:v>1.527802524560149</c:v>
                </c:pt>
                <c:pt idx="31">
                  <c:v>1.2765048604422973</c:v>
                </c:pt>
                <c:pt idx="32">
                  <c:v>1.6995427385096828</c:v>
                </c:pt>
                <c:pt idx="33">
                  <c:v>2.4630826674897697</c:v>
                </c:pt>
                <c:pt idx="34">
                  <c:v>2.8343975373828187</c:v>
                </c:pt>
                <c:pt idx="35">
                  <c:v>1.6590924078223934</c:v>
                </c:pt>
                <c:pt idx="36">
                  <c:v>2.1811935972109397</c:v>
                </c:pt>
                <c:pt idx="37">
                  <c:v>2.1192013525866464</c:v>
                </c:pt>
                <c:pt idx="38">
                  <c:v>1.5896442630164216</c:v>
                </c:pt>
                <c:pt idx="39">
                  <c:v>1.1418994771730582</c:v>
                </c:pt>
                <c:pt idx="40">
                  <c:v>1.1203140299909669</c:v>
                </c:pt>
                <c:pt idx="41">
                  <c:v>1.1776133253303585</c:v>
                </c:pt>
                <c:pt idx="42">
                  <c:v>1.074460597491549</c:v>
                </c:pt>
                <c:pt idx="43">
                  <c:v>1.1377864522534176</c:v>
                </c:pt>
                <c:pt idx="44">
                  <c:v>1.9858826940287815</c:v>
                </c:pt>
                <c:pt idx="45">
                  <c:v>2.2104466050444103</c:v>
                </c:pt>
                <c:pt idx="46">
                  <c:v>2.162249471223258</c:v>
                </c:pt>
                <c:pt idx="47">
                  <c:v>2.2685949984248412</c:v>
                </c:pt>
                <c:pt idx="48">
                  <c:v>1.9428466428283329</c:v>
                </c:pt>
                <c:pt idx="49">
                  <c:v>1.859613643189115</c:v>
                </c:pt>
                <c:pt idx="50">
                  <c:v>2.302808155142713</c:v>
                </c:pt>
                <c:pt idx="51">
                  <c:v>3.1743386566262712</c:v>
                </c:pt>
              </c:numCache>
            </c:numRef>
          </c:xVal>
          <c:yVal>
            <c:numRef>
              <c:f>Sheet1!$B$57:$B$108</c:f>
              <c:numCache>
                <c:formatCode>General</c:formatCode>
                <c:ptCount val="52"/>
                <c:pt idx="0">
                  <c:v>0.002255484929259791</c:v>
                </c:pt>
                <c:pt idx="1">
                  <c:v>0.0023881893182805037</c:v>
                </c:pt>
                <c:pt idx="2">
                  <c:v>0.0026455026455026454</c:v>
                </c:pt>
                <c:pt idx="3">
                  <c:v>0.002754188661923342</c:v>
                </c:pt>
                <c:pt idx="4">
                  <c:v>0.0033429908624916425</c:v>
                </c:pt>
                <c:pt idx="5">
                  <c:v>0.001955512099731117</c:v>
                </c:pt>
                <c:pt idx="6">
                  <c:v>0.0024330900243309003</c:v>
                </c:pt>
                <c:pt idx="7">
                  <c:v>0.003006012024048096</c:v>
                </c:pt>
                <c:pt idx="8">
                  <c:v>0.0032967032967032967</c:v>
                </c:pt>
                <c:pt idx="9">
                  <c:v>0.0029379360998898272</c:v>
                </c:pt>
                <c:pt idx="10">
                  <c:v>0.0023710729104919974</c:v>
                </c:pt>
                <c:pt idx="11">
                  <c:v>0.0029300962745918793</c:v>
                </c:pt>
                <c:pt idx="12">
                  <c:v>0.002712854757929883</c:v>
                </c:pt>
                <c:pt idx="13">
                  <c:v>0.005582849486377847</c:v>
                </c:pt>
                <c:pt idx="14">
                  <c:v>0.005952380952380952</c:v>
                </c:pt>
                <c:pt idx="15">
                  <c:v>0.006136417276374794</c:v>
                </c:pt>
                <c:pt idx="16">
                  <c:v>0.006457293806868212</c:v>
                </c:pt>
                <c:pt idx="17">
                  <c:v>0.010362694300518135</c:v>
                </c:pt>
                <c:pt idx="18">
                  <c:v>0.004393994873672647</c:v>
                </c:pt>
                <c:pt idx="19">
                  <c:v>0.003693444136657433</c:v>
                </c:pt>
                <c:pt idx="20">
                  <c:v>0.004624688722874422</c:v>
                </c:pt>
                <c:pt idx="21">
                  <c:v>0.0067243035542747355</c:v>
                </c:pt>
                <c:pt idx="22">
                  <c:v>0.005592272496187087</c:v>
                </c:pt>
                <c:pt idx="23">
                  <c:v>0.009413067552602437</c:v>
                </c:pt>
                <c:pt idx="24">
                  <c:v>0.004836109618484685</c:v>
                </c:pt>
                <c:pt idx="25">
                  <c:v>0.004451864218141347</c:v>
                </c:pt>
                <c:pt idx="26">
                  <c:v>0.003639672429481347</c:v>
                </c:pt>
                <c:pt idx="27">
                  <c:v>0.006336633663366337</c:v>
                </c:pt>
                <c:pt idx="28">
                  <c:v>0.0038910505836575876</c:v>
                </c:pt>
                <c:pt idx="29">
                  <c:v>0.005201560468140442</c:v>
                </c:pt>
                <c:pt idx="30">
                  <c:v>0.004964832436905255</c:v>
                </c:pt>
                <c:pt idx="31">
                  <c:v>0.006247211066488175</c:v>
                </c:pt>
                <c:pt idx="32">
                  <c:v>0.004407227853680035</c:v>
                </c:pt>
                <c:pt idx="33">
                  <c:v>0.002596559558584875</c:v>
                </c:pt>
                <c:pt idx="34">
                  <c:v>0.0023917087430241827</c:v>
                </c:pt>
                <c:pt idx="35">
                  <c:v>0.004259850905218318</c:v>
                </c:pt>
                <c:pt idx="36">
                  <c:v>0.00371900826446281</c:v>
                </c:pt>
                <c:pt idx="37">
                  <c:v>0.0037064492216456633</c:v>
                </c:pt>
                <c:pt idx="38">
                  <c:v>0.00663716814159292</c:v>
                </c:pt>
                <c:pt idx="39">
                  <c:v>0.009921313718782073</c:v>
                </c:pt>
                <c:pt idx="40">
                  <c:v>0.0087890625</c:v>
                </c:pt>
                <c:pt idx="41">
                  <c:v>0.005557099194220617</c:v>
                </c:pt>
                <c:pt idx="42">
                  <c:v>0.009536784741144414</c:v>
                </c:pt>
                <c:pt idx="43">
                  <c:v>0.006478873239436619</c:v>
                </c:pt>
                <c:pt idx="44">
                  <c:v>0.002748511223087494</c:v>
                </c:pt>
                <c:pt idx="45">
                  <c:v>0.0021108179419525065</c:v>
                </c:pt>
                <c:pt idx="46">
                  <c:v>0.002304147465437788</c:v>
                </c:pt>
                <c:pt idx="47">
                  <c:v>0.0018436578171091445</c:v>
                </c:pt>
                <c:pt idx="48">
                  <c:v>0.002418745275888133</c:v>
                </c:pt>
                <c:pt idx="49">
                  <c:v>0.0027201632097925877</c:v>
                </c:pt>
                <c:pt idx="50">
                  <c:v>0.0017687375635640063</c:v>
                </c:pt>
                <c:pt idx="51">
                  <c:v>0.001630730204747237</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8097283551942112</c:v>
                </c:pt>
              </c:numCache>
            </c:numRef>
          </c:xVal>
          <c:yVal>
            <c:numRef>
              <c:f>Sheet1!$B$111:$B$112</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8097283551942112</c:v>
                </c:pt>
                <c:pt idx="1">
                  <c:v>1.8097283551942112</c:v>
                </c:pt>
              </c:numCache>
            </c:numRef>
          </c:xVal>
          <c:yVal>
            <c:numRef>
              <c:f>Sheet1!$B$115:$B$116</c:f>
              <c:numCache>
                <c:formatCode>General</c:formatCode>
                <c:ptCount val="2"/>
                <c:pt idx="0">
                  <c:v>0.005200980336468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1.8097283551942112</c:v>
                </c:pt>
              </c:numCache>
            </c:numRef>
          </c:xVal>
          <c:yVal>
            <c:numRef>
              <c:f>Sheet1!$B$119:$B$120</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1.8097283551942112</c:v>
                </c:pt>
                <c:pt idx="1">
                  <c:v>1.8097283551942112</c:v>
                </c:pt>
              </c:numCache>
            </c:numRef>
          </c:xVal>
          <c:yVal>
            <c:numRef>
              <c:f>Sheet1!$B$123:$B$124</c:f>
              <c:numCache>
                <c:formatCode>General</c:formatCode>
                <c:ptCount val="2"/>
                <c:pt idx="0">
                  <c:v>0.0052009803364684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069229897696256</c:v>
                </c:pt>
              </c:numCache>
            </c:numRef>
          </c:xVal>
          <c:yVal>
            <c:numRef>
              <c:f>Sheet1!$B$127:$B$128</c:f>
              <c:numCache>
                <c:formatCode>General</c:formatCode>
                <c:ptCount val="2"/>
                <c:pt idx="0">
                  <c:v>0.004448357238089432</c:v>
                </c:pt>
                <c:pt idx="1">
                  <c:v>0.00444835723808943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069229897696256</c:v>
                </c:pt>
                <c:pt idx="1">
                  <c:v>2.069229897696256</c:v>
                </c:pt>
              </c:numCache>
            </c:numRef>
          </c:xVal>
          <c:yVal>
            <c:numRef>
              <c:f>Sheet1!$B$131:$B$132</c:f>
              <c:numCache>
                <c:formatCode>General</c:formatCode>
                <c:ptCount val="2"/>
                <c:pt idx="0">
                  <c:v>0.0044483572380894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725681821848296</c:v>
                </c:pt>
                <c:pt idx="1">
                  <c:v>2.946444380862651</c:v>
                </c:pt>
                <c:pt idx="2">
                  <c:v>2.742560537755294</c:v>
                </c:pt>
                <c:pt idx="3">
                  <c:v>2.497584991705525</c:v>
                </c:pt>
                <c:pt idx="4">
                  <c:v>2.5635869763536987</c:v>
                </c:pt>
                <c:pt idx="5">
                  <c:v>3.6182195933481918</c:v>
                </c:pt>
                <c:pt idx="6">
                  <c:v>3.3684830801067247</c:v>
                </c:pt>
                <c:pt idx="7">
                  <c:v>2.7821339390323496</c:v>
                </c:pt>
                <c:pt idx="8">
                  <c:v>2.640652144639948</c:v>
                </c:pt>
                <c:pt idx="9">
                  <c:v>2.7425333057083336</c:v>
                </c:pt>
                <c:pt idx="10">
                  <c:v>3.1268161876595117</c:v>
                </c:pt>
                <c:pt idx="11">
                  <c:v>2.4757716290763025</c:v>
                </c:pt>
                <c:pt idx="12">
                  <c:v>2.78514948351461</c:v>
                </c:pt>
                <c:pt idx="13">
                  <c:v>1.9041979581152189</c:v>
                </c:pt>
                <c:pt idx="14">
                  <c:v>1.8930239792799792</c:v>
                </c:pt>
                <c:pt idx="15">
                  <c:v>1.9827290901414911</c:v>
                </c:pt>
                <c:pt idx="16">
                  <c:v>1.9279384763233471</c:v>
                </c:pt>
                <c:pt idx="17">
                  <c:v>1.143783856303446</c:v>
                </c:pt>
                <c:pt idx="18">
                  <c:v>1.9119484853031874</c:v>
                </c:pt>
                <c:pt idx="19">
                  <c:v>2.199687503599364</c:v>
                </c:pt>
                <c:pt idx="20">
                  <c:v>2.0295641608037567</c:v>
                </c:pt>
                <c:pt idx="21">
                  <c:v>1.6365184208572645</c:v>
                </c:pt>
                <c:pt idx="22">
                  <c:v>2.022499453374831</c:v>
                </c:pt>
                <c:pt idx="23">
                  <c:v>0.8546389543237163</c:v>
                </c:pt>
                <c:pt idx="24">
                  <c:v>1.7351589054639485</c:v>
                </c:pt>
                <c:pt idx="25">
                  <c:v>2.169715020462056</c:v>
                </c:pt>
                <c:pt idx="26">
                  <c:v>2.2268473709342413</c:v>
                </c:pt>
                <c:pt idx="27">
                  <c:v>1.4823999561272438</c:v>
                </c:pt>
                <c:pt idx="28">
                  <c:v>1.867014597770557</c:v>
                </c:pt>
                <c:pt idx="29">
                  <c:v>1.4583124005404313</c:v>
                </c:pt>
                <c:pt idx="30">
                  <c:v>1.527802524560149</c:v>
                </c:pt>
                <c:pt idx="31">
                  <c:v>1.2765048604422973</c:v>
                </c:pt>
                <c:pt idx="32">
                  <c:v>1.6995427385096828</c:v>
                </c:pt>
                <c:pt idx="33">
                  <c:v>2.4630826674897697</c:v>
                </c:pt>
                <c:pt idx="34">
                  <c:v>2.8343975373828187</c:v>
                </c:pt>
                <c:pt idx="35">
                  <c:v>1.6590924078223934</c:v>
                </c:pt>
                <c:pt idx="36">
                  <c:v>2.1811935972109397</c:v>
                </c:pt>
                <c:pt idx="37">
                  <c:v>2.1192013525866464</c:v>
                </c:pt>
                <c:pt idx="38">
                  <c:v>1.5896442630164216</c:v>
                </c:pt>
                <c:pt idx="39">
                  <c:v>1.1418994771730582</c:v>
                </c:pt>
                <c:pt idx="40">
                  <c:v>1.1203140299909669</c:v>
                </c:pt>
                <c:pt idx="41">
                  <c:v>1.1776133253303585</c:v>
                </c:pt>
                <c:pt idx="42">
                  <c:v>1.074460597491549</c:v>
                </c:pt>
                <c:pt idx="43">
                  <c:v>1.1377864522534176</c:v>
                </c:pt>
                <c:pt idx="44">
                  <c:v>1.9858826940287815</c:v>
                </c:pt>
                <c:pt idx="45">
                  <c:v>2.2104466050444103</c:v>
                </c:pt>
                <c:pt idx="46">
                  <c:v>2.162249471223258</c:v>
                </c:pt>
                <c:pt idx="47">
                  <c:v>2.2685949984248412</c:v>
                </c:pt>
                <c:pt idx="48">
                  <c:v>1.9428466428283329</c:v>
                </c:pt>
                <c:pt idx="49">
                  <c:v>1.859613643189115</c:v>
                </c:pt>
                <c:pt idx="50">
                  <c:v>2.302808155142713</c:v>
                </c:pt>
                <c:pt idx="51">
                  <c:v>3.1743386566262712</c:v>
                </c:pt>
                <c:pt idx="52">
                  <c:v>1.8097283551942112</c:v>
                </c:pt>
                <c:pt idx="53">
                  <c:v>1.8097283551942112</c:v>
                </c:pt>
                <c:pt idx="54">
                  <c:v>2.069229897696256</c:v>
                </c:pt>
              </c:numCache>
            </c:numRef>
          </c:xVal>
          <c:yVal>
            <c:numRef>
              <c:f>Sheet1!$B$135:$B$189</c:f>
              <c:numCache>
                <c:formatCode>General</c:formatCode>
                <c:ptCount val="55"/>
                <c:pt idx="0">
                  <c:v>0.0025444730594884144</c:v>
                </c:pt>
                <c:pt idx="1">
                  <c:v>0.0019042032577389154</c:v>
                </c:pt>
                <c:pt idx="2">
                  <c:v>0.0024955203197855862</c:v>
                </c:pt>
                <c:pt idx="3">
                  <c:v>0.00320601418705663</c:v>
                </c:pt>
                <c:pt idx="4">
                  <c:v>0.0030145909773672923</c:v>
                </c:pt>
                <c:pt idx="5">
                  <c:v>-4.412250926932523e-05</c:v>
                </c:pt>
                <c:pt idx="6">
                  <c:v>0.0006801794218943193</c:v>
                </c:pt>
                <c:pt idx="7">
                  <c:v>0.002380746990905276</c:v>
                </c:pt>
                <c:pt idx="8">
                  <c:v>0.0027910816094711714</c:v>
                </c:pt>
                <c:pt idx="9">
                  <c:v>0.00249559929992328</c:v>
                </c:pt>
                <c:pt idx="10">
                  <c:v>0.0013810773187452677</c:v>
                </c:pt>
                <c:pt idx="11">
                  <c:v>0.003269278707220097</c:v>
                </c:pt>
                <c:pt idx="12">
                  <c:v>0.002372001114446678</c:v>
                </c:pt>
                <c:pt idx="13">
                  <c:v>0.004926993505532841</c:v>
                </c:pt>
                <c:pt idx="14">
                  <c:v>0.004959400999111164</c:v>
                </c:pt>
                <c:pt idx="15">
                  <c:v>0.004699232455116879</c:v>
                </c:pt>
                <c:pt idx="16">
                  <c:v>0.0048581397245546975</c:v>
                </c:pt>
                <c:pt idx="17">
                  <c:v>0.007132395492121014</c:v>
                </c:pt>
                <c:pt idx="18">
                  <c:v>0.0049045149270626025</c:v>
                </c:pt>
                <c:pt idx="19">
                  <c:v>0.0040699956814865944</c:v>
                </c:pt>
                <c:pt idx="20">
                  <c:v>0.004563398364672663</c:v>
                </c:pt>
                <c:pt idx="21">
                  <c:v>0.005703334951372865</c:v>
                </c:pt>
                <c:pt idx="22">
                  <c:v>0.0045838878844768</c:v>
                </c:pt>
                <c:pt idx="23">
                  <c:v>0.007970992172164943</c:v>
                </c:pt>
                <c:pt idx="24">
                  <c:v>0.005417251460560053</c:v>
                </c:pt>
                <c:pt idx="25">
                  <c:v>0.004156923808801048</c:v>
                </c:pt>
                <c:pt idx="26">
                  <c:v>0.003991224883794791</c:v>
                </c:pt>
                <c:pt idx="27">
                  <c:v>0.006150319255682416</c:v>
                </c:pt>
                <c:pt idx="28">
                  <c:v>0.005034835083663436</c:v>
                </c:pt>
                <c:pt idx="29">
                  <c:v>0.006220179536832697</c:v>
                </c:pt>
                <c:pt idx="30">
                  <c:v>0.006018639800528229</c:v>
                </c:pt>
                <c:pt idx="31">
                  <c:v>0.006747469482079379</c:v>
                </c:pt>
                <c:pt idx="32">
                  <c:v>0.005520547763414569</c:v>
                </c:pt>
                <c:pt idx="33">
                  <c:v>0.0033060800514140105</c:v>
                </c:pt>
                <c:pt idx="34">
                  <c:v>0.0022291687345923714</c:v>
                </c:pt>
                <c:pt idx="35">
                  <c:v>0.005637864419488339</c:v>
                </c:pt>
                <c:pt idx="36">
                  <c:v>0.004123632900722308</c:v>
                </c:pt>
                <c:pt idx="37">
                  <c:v>0.004303426803967567</c:v>
                </c:pt>
                <c:pt idx="38">
                  <c:v>0.005839282404971551</c:v>
                </c:pt>
                <c:pt idx="39">
                  <c:v>0.007137860689922766</c:v>
                </c:pt>
                <c:pt idx="40">
                  <c:v>0.007200464195017365</c:v>
                </c:pt>
                <c:pt idx="41">
                  <c:v>0.007034281085747678</c:v>
                </c:pt>
                <c:pt idx="42">
                  <c:v>0.0073334512751953365</c:v>
                </c:pt>
                <c:pt idx="43">
                  <c:v>0.007149789549878216</c:v>
                </c:pt>
                <c:pt idx="44">
                  <c:v>0.004690086169873916</c:v>
                </c:pt>
                <c:pt idx="45">
                  <c:v>0.004038791442054062</c:v>
                </c:pt>
                <c:pt idx="46">
                  <c:v>0.004178575875856338</c:v>
                </c:pt>
                <c:pt idx="47">
                  <c:v>0.003870145723921579</c:v>
                </c:pt>
                <c:pt idx="48">
                  <c:v>0.004814902099229042</c:v>
                </c:pt>
                <c:pt idx="49">
                  <c:v>0.005056299809130352</c:v>
                </c:pt>
                <c:pt idx="50">
                  <c:v>0.003770918521778339</c:v>
                </c:pt>
                <c:pt idx="51">
                  <c:v>0.0012432495914356956</c:v>
                </c:pt>
                <c:pt idx="52">
                  <c:v>0.00520098033646849</c:v>
                </c:pt>
                <c:pt idx="53">
                  <c:v>0.00520098033646849</c:v>
                </c:pt>
                <c:pt idx="54">
                  <c:v>0.0044483572380894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4352331606217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18846588767433095</c:v>
                </c:pt>
                <c:pt idx="1">
                  <c:v>0.0</c:v>
                </c:pt>
                <c:pt idx="2">
                  <c:v>0.0</c:v>
                </c:pt>
                <c:pt idx="3">
                  <c:v>0.0</c:v>
                </c:pt>
                <c:pt idx="4">
                  <c:v>0.00025348542458808617</c:v>
                </c:pt>
                <c:pt idx="5">
                  <c:v>0.0002449179524859172</c:v>
                </c:pt>
                <c:pt idx="6">
                  <c:v>0.00025303643724696357</c:v>
                </c:pt>
                <c:pt idx="7">
                  <c:v>0.00015762925598991173</c:v>
                </c:pt>
                <c:pt idx="8">
                  <c:v>0.0003761519653940192</c:v>
                </c:pt>
                <c:pt idx="9">
                  <c:v>0.00042399830400678397</c:v>
                </c:pt>
                <c:pt idx="10">
                  <c:v>0.0002155636990730761</c:v>
                </c:pt>
                <c:pt idx="11">
                  <c:v>0.0003732039559619332</c:v>
                </c:pt>
                <c:pt idx="12">
                  <c:v>0.00017439832577607255</c:v>
                </c:pt>
                <c:pt idx="13">
                  <c:v>0.0003778575477045154</c:v>
                </c:pt>
                <c:pt idx="14">
                  <c:v>0.0001837897445322551</c:v>
                </c:pt>
                <c:pt idx="15">
                  <c:v>0.0001818512456810329</c:v>
                </c:pt>
                <c:pt idx="16">
                  <c:v>0.00041893590280687055</c:v>
                </c:pt>
                <c:pt idx="17">
                  <c:v>0.00029403116730373417</c:v>
                </c:pt>
                <c:pt idx="18">
                  <c:v>0.0005320563979781857</c:v>
                </c:pt>
                <c:pt idx="19">
                  <c:v>0.0005899705014749262</c:v>
                </c:pt>
                <c:pt idx="20">
                  <c:v>0.0002718868950516585</c:v>
                </c:pt>
                <c:pt idx="21">
                  <c:v>0.0002955956251847473</c:v>
                </c:pt>
                <c:pt idx="22">
                  <c:v>0.0009262117937635072</c:v>
                </c:pt>
                <c:pt idx="23">
                  <c:v>0.0006363347120585428</c:v>
                </c:pt>
                <c:pt idx="24">
                  <c:v>0.0009222256378727329</c:v>
                </c:pt>
                <c:pt idx="25">
                  <c:v>0.0010362694300518134</c:v>
                </c:pt>
                <c:pt idx="26">
                  <c:v>0.0007454342154304882</c:v>
                </c:pt>
                <c:pt idx="27">
                  <c:v>0.0010193679918450561</c:v>
                </c:pt>
                <c:pt idx="28">
                  <c:v>0.0006788866259334691</c:v>
                </c:pt>
                <c:pt idx="29">
                  <c:v>0.0012158054711246201</c:v>
                </c:pt>
                <c:pt idx="30">
                  <c:v>0.0017593244194229415</c:v>
                </c:pt>
                <c:pt idx="31">
                  <c:v>0.001467351430667645</c:v>
                </c:pt>
                <c:pt idx="32">
                  <c:v>0.0011424219345011425</c:v>
                </c:pt>
                <c:pt idx="33">
                  <c:v>0.0014179369018078695</c:v>
                </c:pt>
                <c:pt idx="34">
                  <c:v>0.001242544731610338</c:v>
                </c:pt>
                <c:pt idx="35">
                  <c:v>0.0009592326139088729</c:v>
                </c:pt>
                <c:pt idx="36">
                  <c:v>0.0015</c:v>
                </c:pt>
                <c:pt idx="37">
                  <c:v>0.0026026604973973396</c:v>
                </c:pt>
                <c:pt idx="38">
                  <c:v>0.0019743336623889436</c:v>
                </c:pt>
                <c:pt idx="39">
                  <c:v>0.0019847833278200462</c:v>
                </c:pt>
                <c:pt idx="40">
                  <c:v>0.002133902373966391</c:v>
                </c:pt>
                <c:pt idx="41">
                  <c:v>0.0018822264049475664</c:v>
                </c:pt>
                <c:pt idx="42">
                  <c:v>0.0017663386323492304</c:v>
                </c:pt>
                <c:pt idx="43">
                  <c:v>0.0015374478365912585</c:v>
                </c:pt>
                <c:pt idx="44">
                  <c:v>0.0022085502445180626</c:v>
                </c:pt>
                <c:pt idx="45">
                  <c:v>0.002006305531670966</c:v>
                </c:pt>
                <c:pt idx="46">
                  <c:v>0.0019233235030132068</c:v>
                </c:pt>
                <c:pt idx="47">
                  <c:v>0.002216260352268751</c:v>
                </c:pt>
                <c:pt idx="48">
                  <c:v>0.0019281332164767747</c:v>
                </c:pt>
                <c:pt idx="49">
                  <c:v>0.0025835866261398176</c:v>
                </c:pt>
                <c:pt idx="50">
                  <c:v>0.0025617140195621797</c:v>
                </c:pt>
                <c:pt idx="51">
                  <c:v>0.00238758456028651</c:v>
                </c:pt>
                <c:pt idx="52">
                  <c:v>0.0025415896487985213</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2255484929259791</c:v>
                </c:pt>
                <c:pt idx="1">
                  <c:v>0.0023881893182805037</c:v>
                </c:pt>
                <c:pt idx="2">
                  <c:v>0.0026455026455026454</c:v>
                </c:pt>
                <c:pt idx="3">
                  <c:v>0.002754188661923342</c:v>
                </c:pt>
                <c:pt idx="4">
                  <c:v>0.0033429908624916425</c:v>
                </c:pt>
                <c:pt idx="5">
                  <c:v>0.001955512099731117</c:v>
                </c:pt>
                <c:pt idx="6">
                  <c:v>0.0024330900243309003</c:v>
                </c:pt>
                <c:pt idx="7">
                  <c:v>0.003006012024048096</c:v>
                </c:pt>
                <c:pt idx="8">
                  <c:v>0.0032967032967032967</c:v>
                </c:pt>
                <c:pt idx="9">
                  <c:v>0.0029379360998898272</c:v>
                </c:pt>
                <c:pt idx="10">
                  <c:v>0.0023710729104919974</c:v>
                </c:pt>
                <c:pt idx="11">
                  <c:v>0.0029300962745918793</c:v>
                </c:pt>
                <c:pt idx="12">
                  <c:v>0.002712854757929883</c:v>
                </c:pt>
                <c:pt idx="13">
                  <c:v>0.005582849486377847</c:v>
                </c:pt>
                <c:pt idx="14">
                  <c:v>0.005952380952380952</c:v>
                </c:pt>
                <c:pt idx="15">
                  <c:v>0.006136417276374794</c:v>
                </c:pt>
                <c:pt idx="16">
                  <c:v>0.006457293806868212</c:v>
                </c:pt>
                <c:pt idx="17">
                  <c:v>0.010362694300518135</c:v>
                </c:pt>
                <c:pt idx="18">
                  <c:v>0.004393994873672647</c:v>
                </c:pt>
                <c:pt idx="19">
                  <c:v>0.003693444136657433</c:v>
                </c:pt>
                <c:pt idx="20">
                  <c:v>0.004624688722874422</c:v>
                </c:pt>
                <c:pt idx="21">
                  <c:v>0.0067243035542747355</c:v>
                </c:pt>
                <c:pt idx="22">
                  <c:v>0.005592272496187087</c:v>
                </c:pt>
                <c:pt idx="23">
                  <c:v>0.009413067552602437</c:v>
                </c:pt>
                <c:pt idx="24">
                  <c:v>0.004836109618484685</c:v>
                </c:pt>
                <c:pt idx="25">
                  <c:v>0.004451864218141347</c:v>
                </c:pt>
                <c:pt idx="26">
                  <c:v>0.003639672429481347</c:v>
                </c:pt>
                <c:pt idx="27">
                  <c:v>0.006336633663366337</c:v>
                </c:pt>
                <c:pt idx="28">
                  <c:v>0.0038910505836575876</c:v>
                </c:pt>
                <c:pt idx="29">
                  <c:v>0.005201560468140442</c:v>
                </c:pt>
                <c:pt idx="30">
                  <c:v>0.004964832436905255</c:v>
                </c:pt>
                <c:pt idx="31">
                  <c:v>0.006247211066488175</c:v>
                </c:pt>
                <c:pt idx="32">
                  <c:v>0.004407227853680035</c:v>
                </c:pt>
                <c:pt idx="33">
                  <c:v>0.002596559558584875</c:v>
                </c:pt>
                <c:pt idx="34">
                  <c:v>0.0023917087430241827</c:v>
                </c:pt>
                <c:pt idx="35">
                  <c:v>0.004259850905218318</c:v>
                </c:pt>
                <c:pt idx="36">
                  <c:v>0.00371900826446281</c:v>
                </c:pt>
                <c:pt idx="37">
                  <c:v>0.0037064492216456633</c:v>
                </c:pt>
                <c:pt idx="38">
                  <c:v>0.00663716814159292</c:v>
                </c:pt>
                <c:pt idx="39">
                  <c:v>0.009921313718782073</c:v>
                </c:pt>
                <c:pt idx="40">
                  <c:v>0.0087890625</c:v>
                </c:pt>
                <c:pt idx="41">
                  <c:v>0.005557099194220617</c:v>
                </c:pt>
                <c:pt idx="42">
                  <c:v>0.009536784741144414</c:v>
                </c:pt>
                <c:pt idx="43">
                  <c:v>0.006478873239436619</c:v>
                </c:pt>
                <c:pt idx="44">
                  <c:v>0.002748511223087494</c:v>
                </c:pt>
                <c:pt idx="45">
                  <c:v>0.0021108179419525065</c:v>
                </c:pt>
                <c:pt idx="46">
                  <c:v>0.002304147465437788</c:v>
                </c:pt>
                <c:pt idx="47">
                  <c:v>0.0018436578171091445</c:v>
                </c:pt>
                <c:pt idx="48">
                  <c:v>0.002418745275888133</c:v>
                </c:pt>
                <c:pt idx="49">
                  <c:v>0.0027201632097925877</c:v>
                </c:pt>
                <c:pt idx="50">
                  <c:v>0.0017687375635640063</c:v>
                </c:pt>
                <c:pt idx="51">
                  <c:v>0.001630730204747237</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79.631235583249</c:v>
                </c:pt>
              </c:numCache>
            </c:numRef>
          </c:xVal>
          <c:yVal>
            <c:numRef>
              <c:f>Sheet1!$B$111:$B$112</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79.631235583249</c:v>
                </c:pt>
                <c:pt idx="1">
                  <c:v>2879.631235583249</c:v>
                </c:pt>
              </c:numCache>
            </c:numRef>
          </c:xVal>
          <c:yVal>
            <c:numRef>
              <c:f>Sheet1!$B$115:$B$116</c:f>
              <c:numCache>
                <c:formatCode>General</c:formatCode>
                <c:ptCount val="2"/>
                <c:pt idx="0">
                  <c:v>0.005200980336468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79.631235583249</c:v>
                </c:pt>
              </c:numCache>
            </c:numRef>
          </c:xVal>
          <c:yVal>
            <c:numRef>
              <c:f>Sheet1!$B$119:$B$120</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79.631235583249</c:v>
                </c:pt>
                <c:pt idx="1">
                  <c:v>2879.631235583249</c:v>
                </c:pt>
              </c:numCache>
            </c:numRef>
          </c:xVal>
          <c:yVal>
            <c:numRef>
              <c:f>Sheet1!$B$123:$B$124</c:f>
              <c:numCache>
                <c:formatCode>General</c:formatCode>
                <c:ptCount val="2"/>
                <c:pt idx="0">
                  <c:v>0.0052009803364684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289.9924990716536</c:v>
                </c:pt>
              </c:numCache>
            </c:numRef>
          </c:xVal>
          <c:yVal>
            <c:numRef>
              <c:f>Sheet1!$B$127:$B$128</c:f>
              <c:numCache>
                <c:formatCode>General</c:formatCode>
                <c:ptCount val="2"/>
                <c:pt idx="0">
                  <c:v>0.004448357238089432</c:v>
                </c:pt>
                <c:pt idx="1">
                  <c:v>0.00444835723808943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289.9924990716536</c:v>
                </c:pt>
                <c:pt idx="1">
                  <c:v>3289.9924990716536</c:v>
                </c:pt>
              </c:numCache>
            </c:numRef>
          </c:xVal>
          <c:yVal>
            <c:numRef>
              <c:f>Sheet1!$B$131:$B$132</c:f>
              <c:numCache>
                <c:formatCode>General</c:formatCode>
                <c:ptCount val="2"/>
                <c:pt idx="0">
                  <c:v>0.0044483572380894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79.631235583249</c:v>
                </c:pt>
                <c:pt idx="53">
                  <c:v>2879.631235583249</c:v>
                </c:pt>
                <c:pt idx="54">
                  <c:v>3289.9924990716536</c:v>
                </c:pt>
              </c:numCache>
            </c:numRef>
          </c:xVal>
          <c:yVal>
            <c:numRef>
              <c:f>Sheet1!$B$135:$B$189</c:f>
              <c:numCache>
                <c:formatCode>General</c:formatCode>
                <c:ptCount val="55"/>
                <c:pt idx="0">
                  <c:v>0.003386261783299105</c:v>
                </c:pt>
                <c:pt idx="1">
                  <c:v>0.0026291325403727805</c:v>
                </c:pt>
                <c:pt idx="2">
                  <c:v>0.0029407543347832335</c:v>
                </c:pt>
                <c:pt idx="3">
                  <c:v>0.0031804036032667482</c:v>
                </c:pt>
                <c:pt idx="4">
                  <c:v>0.0032153727020690264</c:v>
                </c:pt>
                <c:pt idx="5">
                  <c:v>3.3784995645025004e-05</c:v>
                </c:pt>
                <c:pt idx="6">
                  <c:v>0.0009815303622063305</c:v>
                </c:pt>
                <c:pt idx="7">
                  <c:v>0.0021762611974761054</c:v>
                </c:pt>
                <c:pt idx="8">
                  <c:v>0.0028934765592435255</c:v>
                </c:pt>
                <c:pt idx="9">
                  <c:v>0.0025679836608527348</c:v>
                </c:pt>
                <c:pt idx="10">
                  <c:v>0.0013935038560889297</c:v>
                </c:pt>
                <c:pt idx="11">
                  <c:v>0.003642933420569587</c:v>
                </c:pt>
                <c:pt idx="12">
                  <c:v>0.0029503478838174063</c:v>
                </c:pt>
                <c:pt idx="13">
                  <c:v>0.00485696983354134</c:v>
                </c:pt>
                <c:pt idx="14">
                  <c:v>0.004928941075633239</c:v>
                </c:pt>
                <c:pt idx="15">
                  <c:v>0.004631254760360098</c:v>
                </c:pt>
                <c:pt idx="16">
                  <c:v>0.004841163623346664</c:v>
                </c:pt>
                <c:pt idx="17">
                  <c:v>0.007245701368753499</c:v>
                </c:pt>
                <c:pt idx="18">
                  <c:v>0.005177531154735911</c:v>
                </c:pt>
                <c:pt idx="19">
                  <c:v>0.003862364488043138</c:v>
                </c:pt>
                <c:pt idx="20">
                  <c:v>0.004095077195808952</c:v>
                </c:pt>
                <c:pt idx="21">
                  <c:v>0.005497420113179865</c:v>
                </c:pt>
                <c:pt idx="22">
                  <c:v>0.004324128222637487</c:v>
                </c:pt>
                <c:pt idx="23">
                  <c:v>0.007735932127890749</c:v>
                </c:pt>
                <c:pt idx="24">
                  <c:v>0.004884236105512423</c:v>
                </c:pt>
                <c:pt idx="25">
                  <c:v>0.0036204991368766707</c:v>
                </c:pt>
                <c:pt idx="26">
                  <c:v>0.0036895052702426486</c:v>
                </c:pt>
                <c:pt idx="27">
                  <c:v>0.006089932909473453</c:v>
                </c:pt>
                <c:pt idx="28">
                  <c:v>0.004766367760763153</c:v>
                </c:pt>
                <c:pt idx="29">
                  <c:v>0.005742571531832096</c:v>
                </c:pt>
                <c:pt idx="30">
                  <c:v>0.005599974139959543</c:v>
                </c:pt>
                <c:pt idx="31">
                  <c:v>0.006425449441636605</c:v>
                </c:pt>
                <c:pt idx="32">
                  <c:v>0.005066785159975037</c:v>
                </c:pt>
                <c:pt idx="33">
                  <c:v>0.002883669526782806</c:v>
                </c:pt>
                <c:pt idx="34">
                  <c:v>0.001950978593298125</c:v>
                </c:pt>
                <c:pt idx="35">
                  <c:v>0.005314358991941548</c:v>
                </c:pt>
                <c:pt idx="36">
                  <c:v>0.0031914079036041796</c:v>
                </c:pt>
                <c:pt idx="37">
                  <c:v>0.0031755127419817765</c:v>
                </c:pt>
                <c:pt idx="38">
                  <c:v>0.004874912895456539</c:v>
                </c:pt>
                <c:pt idx="39">
                  <c:v>0.006903693766631308</c:v>
                </c:pt>
                <c:pt idx="40">
                  <c:v>0.007124765942095181</c:v>
                </c:pt>
                <c:pt idx="41">
                  <c:v>0.006930455124621908</c:v>
                </c:pt>
                <c:pt idx="42">
                  <c:v>0.007188938253132937</c:v>
                </c:pt>
                <c:pt idx="43">
                  <c:v>0.007096631981042492</c:v>
                </c:pt>
                <c:pt idx="44">
                  <c:v>0.005133208400646815</c:v>
                </c:pt>
                <c:pt idx="45">
                  <c:v>0.004646879399599207</c:v>
                </c:pt>
                <c:pt idx="46">
                  <c:v>0.0045587199146859166</c:v>
                </c:pt>
                <c:pt idx="47">
                  <c:v>0.00435022180300261</c:v>
                </c:pt>
                <c:pt idx="48">
                  <c:v>0.005560694840120097</c:v>
                </c:pt>
                <c:pt idx="49">
                  <c:v>0.005714869672972656</c:v>
                </c:pt>
                <c:pt idx="50">
                  <c:v>0.004741103721238466</c:v>
                </c:pt>
                <c:pt idx="51">
                  <c:v>0.00266401653925245</c:v>
                </c:pt>
                <c:pt idx="52">
                  <c:v>0.00520098033646849</c:v>
                </c:pt>
                <c:pt idx="53">
                  <c:v>0.00520098033646849</c:v>
                </c:pt>
                <c:pt idx="54">
                  <c:v>0.0044483572380894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4352331606217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3.0723659422323055</c:v>
                </c:pt>
                <c:pt idx="1">
                  <c:v>0.0</c:v>
                </c:pt>
                <c:pt idx="2">
                  <c:v>0.0</c:v>
                </c:pt>
                <c:pt idx="3">
                  <c:v>0.0</c:v>
                </c:pt>
                <c:pt idx="4">
                  <c:v>2.8245177202948706</c:v>
                </c:pt>
                <c:pt idx="5">
                  <c:v>3.180840735967025</c:v>
                </c:pt>
                <c:pt idx="6">
                  <c:v>2.8894803830625424</c:v>
                </c:pt>
                <c:pt idx="7">
                  <c:v>7.019535185340229</c:v>
                </c:pt>
                <c:pt idx="8">
                  <c:v>3.8204280471706134</c:v>
                </c:pt>
                <c:pt idx="9">
                  <c:v>3.617228395098625</c:v>
                </c:pt>
                <c:pt idx="10">
                  <c:v>5.889776496814156</c:v>
                </c:pt>
                <c:pt idx="11">
                  <c:v>4.265372316674691</c:v>
                </c:pt>
                <c:pt idx="12">
                  <c:v>5.567937122358325</c:v>
                </c:pt>
                <c:pt idx="13">
                  <c:v>4.975655209411109</c:v>
                </c:pt>
                <c:pt idx="14">
                  <c:v>3.94612355812477</c:v>
                </c:pt>
                <c:pt idx="15">
                  <c:v>4.126541554959785</c:v>
                </c:pt>
                <c:pt idx="16">
                  <c:v>2.571674740070748</c:v>
                </c:pt>
                <c:pt idx="17">
                  <c:v>1.543703915516918</c:v>
                </c:pt>
                <c:pt idx="18">
                  <c:v>1.9540791402051783</c:v>
                </c:pt>
                <c:pt idx="19">
                  <c:v>2.2907727547110857</c:v>
                </c:pt>
                <c:pt idx="20">
                  <c:v>2.561310196233692</c:v>
                </c:pt>
                <c:pt idx="21">
                  <c:v>2.546291080196902</c:v>
                </c:pt>
                <c:pt idx="22">
                  <c:v>1.9783200901959226</c:v>
                </c:pt>
                <c:pt idx="23">
                  <c:v>8.116125922949891</c:v>
                </c:pt>
                <c:pt idx="24">
                  <c:v>8.136116322218848</c:v>
                </c:pt>
                <c:pt idx="25">
                  <c:v>8.36843778982066</c:v>
                </c:pt>
                <c:pt idx="26">
                  <c:v>9.062857035317679</c:v>
                </c:pt>
                <c:pt idx="27">
                  <c:v>10.004958545797205</c:v>
                </c:pt>
                <c:pt idx="28">
                  <c:v>13.204058061824432</c:v>
                </c:pt>
                <c:pt idx="29">
                  <c:v>7.250107718432262</c:v>
                </c:pt>
                <c:pt idx="30">
                  <c:v>5.04411746074601</c:v>
                </c:pt>
                <c:pt idx="31">
                  <c:v>7.840778012012251</c:v>
                </c:pt>
                <c:pt idx="32">
                  <c:v>6.657232238953114</c:v>
                </c:pt>
                <c:pt idx="33">
                  <c:v>5.187157204890714</c:v>
                </c:pt>
                <c:pt idx="34">
                  <c:v>8.50434230954295</c:v>
                </c:pt>
                <c:pt idx="35">
                  <c:v>8.568957652861513</c:v>
                </c:pt>
                <c:pt idx="36">
                  <c:v>9.640957070213327</c:v>
                </c:pt>
                <c:pt idx="37">
                  <c:v>7.590092307991535</c:v>
                </c:pt>
                <c:pt idx="38">
                  <c:v>9.841960197465493</c:v>
                </c:pt>
                <c:pt idx="39">
                  <c:v>9.103167431561607</c:v>
                </c:pt>
                <c:pt idx="40">
                  <c:v>8.964671549821313</c:v>
                </c:pt>
                <c:pt idx="41">
                  <c:v>7.92501453028722</c:v>
                </c:pt>
                <c:pt idx="42">
                  <c:v>8.432006443519972</c:v>
                </c:pt>
                <c:pt idx="43">
                  <c:v>9.219657205877894</c:v>
                </c:pt>
                <c:pt idx="44">
                  <c:v>6.71261951081387</c:v>
                </c:pt>
                <c:pt idx="45">
                  <c:v>7.829205114956368</c:v>
                </c:pt>
                <c:pt idx="46">
                  <c:v>8.14850529534097</c:v>
                </c:pt>
                <c:pt idx="47">
                  <c:v>7.885755171011711</c:v>
                </c:pt>
                <c:pt idx="48">
                  <c:v>6.7446571374489235</c:v>
                </c:pt>
                <c:pt idx="49">
                  <c:v>6.5537652734451335</c:v>
                </c:pt>
                <c:pt idx="50">
                  <c:v>7.196852804844866</c:v>
                </c:pt>
                <c:pt idx="51">
                  <c:v>7.3206315267074675</c:v>
                </c:pt>
                <c:pt idx="52">
                  <c:v>6.5981123410680755</c:v>
                </c:pt>
              </c:numCache>
            </c:numRef>
          </c:xVal>
          <c:yVal>
            <c:numRef>
              <c:f>Sheet1!$B$2:$B$54</c:f>
              <c:numCache>
                <c:formatCode>General</c:formatCode>
                <c:ptCount val="53"/>
                <c:pt idx="0">
                  <c:v>0.00018846588767433095</c:v>
                </c:pt>
                <c:pt idx="1">
                  <c:v>0.0</c:v>
                </c:pt>
                <c:pt idx="2">
                  <c:v>0.0</c:v>
                </c:pt>
                <c:pt idx="3">
                  <c:v>0.0</c:v>
                </c:pt>
                <c:pt idx="4">
                  <c:v>0.00025348542458808617</c:v>
                </c:pt>
                <c:pt idx="5">
                  <c:v>0.0002449179524859172</c:v>
                </c:pt>
                <c:pt idx="6">
                  <c:v>0.00025303643724696357</c:v>
                </c:pt>
                <c:pt idx="7">
                  <c:v>0.00015762925598991173</c:v>
                </c:pt>
                <c:pt idx="8">
                  <c:v>0.0003761519653940192</c:v>
                </c:pt>
                <c:pt idx="9">
                  <c:v>0.00042399830400678397</c:v>
                </c:pt>
                <c:pt idx="10">
                  <c:v>0.0002155636990730761</c:v>
                </c:pt>
                <c:pt idx="11">
                  <c:v>0.0003732039559619332</c:v>
                </c:pt>
                <c:pt idx="12">
                  <c:v>0.00017439832577607255</c:v>
                </c:pt>
                <c:pt idx="13">
                  <c:v>0.0003778575477045154</c:v>
                </c:pt>
                <c:pt idx="14">
                  <c:v>0.0001837897445322551</c:v>
                </c:pt>
                <c:pt idx="15">
                  <c:v>0.0001818512456810329</c:v>
                </c:pt>
                <c:pt idx="16">
                  <c:v>0.00041893590280687055</c:v>
                </c:pt>
                <c:pt idx="17">
                  <c:v>0.00029403116730373417</c:v>
                </c:pt>
                <c:pt idx="18">
                  <c:v>0.0005320563979781857</c:v>
                </c:pt>
                <c:pt idx="19">
                  <c:v>0.0005899705014749262</c:v>
                </c:pt>
                <c:pt idx="20">
                  <c:v>0.0002718868950516585</c:v>
                </c:pt>
                <c:pt idx="21">
                  <c:v>0.0002955956251847473</c:v>
                </c:pt>
                <c:pt idx="22">
                  <c:v>0.0009262117937635072</c:v>
                </c:pt>
                <c:pt idx="23">
                  <c:v>0.0006363347120585428</c:v>
                </c:pt>
                <c:pt idx="24">
                  <c:v>0.0009222256378727329</c:v>
                </c:pt>
                <c:pt idx="25">
                  <c:v>0.0010362694300518134</c:v>
                </c:pt>
                <c:pt idx="26">
                  <c:v>0.0007454342154304882</c:v>
                </c:pt>
                <c:pt idx="27">
                  <c:v>0.0010193679918450561</c:v>
                </c:pt>
                <c:pt idx="28">
                  <c:v>0.0006788866259334691</c:v>
                </c:pt>
                <c:pt idx="29">
                  <c:v>0.0012158054711246201</c:v>
                </c:pt>
                <c:pt idx="30">
                  <c:v>0.0017593244194229415</c:v>
                </c:pt>
                <c:pt idx="31">
                  <c:v>0.001467351430667645</c:v>
                </c:pt>
                <c:pt idx="32">
                  <c:v>0.0011424219345011425</c:v>
                </c:pt>
                <c:pt idx="33">
                  <c:v>0.0014179369018078695</c:v>
                </c:pt>
                <c:pt idx="34">
                  <c:v>0.001242544731610338</c:v>
                </c:pt>
                <c:pt idx="35">
                  <c:v>0.0009592326139088729</c:v>
                </c:pt>
                <c:pt idx="36">
                  <c:v>0.0015</c:v>
                </c:pt>
                <c:pt idx="37">
                  <c:v>0.0026026604973973396</c:v>
                </c:pt>
                <c:pt idx="38">
                  <c:v>0.0019743336623889436</c:v>
                </c:pt>
                <c:pt idx="39">
                  <c:v>0.0019847833278200462</c:v>
                </c:pt>
                <c:pt idx="40">
                  <c:v>0.002133902373966391</c:v>
                </c:pt>
                <c:pt idx="41">
                  <c:v>0.0018822264049475664</c:v>
                </c:pt>
                <c:pt idx="42">
                  <c:v>0.0017663386323492304</c:v>
                </c:pt>
                <c:pt idx="43">
                  <c:v>0.0015374478365912585</c:v>
                </c:pt>
                <c:pt idx="44">
                  <c:v>0.0022085502445180626</c:v>
                </c:pt>
                <c:pt idx="45">
                  <c:v>0.002006305531670966</c:v>
                </c:pt>
                <c:pt idx="46">
                  <c:v>0.0019233235030132068</c:v>
                </c:pt>
                <c:pt idx="47">
                  <c:v>0.002216260352268751</c:v>
                </c:pt>
                <c:pt idx="48">
                  <c:v>0.0019281332164767747</c:v>
                </c:pt>
                <c:pt idx="49">
                  <c:v>0.0025835866261398176</c:v>
                </c:pt>
                <c:pt idx="50">
                  <c:v>0.0025617140195621797</c:v>
                </c:pt>
                <c:pt idx="51">
                  <c:v>0.00238758456028651</c:v>
                </c:pt>
                <c:pt idx="52">
                  <c:v>0.0025415896487985213</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5.806151284428851</c:v>
                </c:pt>
                <c:pt idx="1">
                  <c:v>6.4414553003606665</c:v>
                </c:pt>
                <c:pt idx="2">
                  <c:v>6.115619413938645</c:v>
                </c:pt>
                <c:pt idx="3">
                  <c:v>5.782934146740018</c:v>
                </c:pt>
                <c:pt idx="4">
                  <c:v>5.8780109983505</c:v>
                </c:pt>
                <c:pt idx="5">
                  <c:v>8.177679428076328</c:v>
                </c:pt>
                <c:pt idx="6">
                  <c:v>8.043761540998533</c:v>
                </c:pt>
                <c:pt idx="7">
                  <c:v>6.669007998244701</c:v>
                </c:pt>
                <c:pt idx="8">
                  <c:v>6.091191117041353</c:v>
                </c:pt>
                <c:pt idx="9">
                  <c:v>6.460943575499126</c:v>
                </c:pt>
                <c:pt idx="10">
                  <c:v>7.530067848674906</c:v>
                </c:pt>
                <c:pt idx="11">
                  <c:v>6.27653480557794</c:v>
                </c:pt>
                <c:pt idx="12">
                  <c:v>7.189803805540504</c:v>
                </c:pt>
                <c:pt idx="13">
                  <c:v>5.132441659723735</c:v>
                </c:pt>
                <c:pt idx="14">
                  <c:v>5.10059718910775</c:v>
                </c:pt>
                <c:pt idx="15">
                  <c:v>5.814863797853749</c:v>
                </c:pt>
                <c:pt idx="16">
                  <c:v>5.035063695847153</c:v>
                </c:pt>
                <c:pt idx="17">
                  <c:v>3.394579259375241</c:v>
                </c:pt>
                <c:pt idx="18">
                  <c:v>5.001870589191498</c:v>
                </c:pt>
                <c:pt idx="19">
                  <c:v>5.943105569444847</c:v>
                </c:pt>
                <c:pt idx="20">
                  <c:v>5.377046877031283</c:v>
                </c:pt>
                <c:pt idx="21">
                  <c:v>4.322101170879152</c:v>
                </c:pt>
                <c:pt idx="22">
                  <c:v>5.029361243212882</c:v>
                </c:pt>
                <c:pt idx="23">
                  <c:v>2.3157118761778857</c:v>
                </c:pt>
                <c:pt idx="24">
                  <c:v>4.632598274500043</c:v>
                </c:pt>
                <c:pt idx="25">
                  <c:v>6.007609196742247</c:v>
                </c:pt>
                <c:pt idx="26">
                  <c:v>5.62705654388504</c:v>
                </c:pt>
                <c:pt idx="27">
                  <c:v>3.580794092836341</c:v>
                </c:pt>
                <c:pt idx="28">
                  <c:v>4.497185615470572</c:v>
                </c:pt>
                <c:pt idx="29">
                  <c:v>4.16894789261375</c:v>
                </c:pt>
                <c:pt idx="30">
                  <c:v>4.310285684308492</c:v>
                </c:pt>
                <c:pt idx="31">
                  <c:v>3.2608333522516704</c:v>
                </c:pt>
                <c:pt idx="32">
                  <c:v>4.2817901676304615</c:v>
                </c:pt>
                <c:pt idx="33">
                  <c:v>5.735691314766848</c:v>
                </c:pt>
                <c:pt idx="34">
                  <c:v>6.592202928553652</c:v>
                </c:pt>
                <c:pt idx="35">
                  <c:v>3.867952253829226</c:v>
                </c:pt>
                <c:pt idx="36">
                  <c:v>5.5342232731956384</c:v>
                </c:pt>
                <c:pt idx="37">
                  <c:v>5.550537687440363</c:v>
                </c:pt>
                <c:pt idx="38">
                  <c:v>4.246758901976995</c:v>
                </c:pt>
                <c:pt idx="39">
                  <c:v>2.8571955299720218</c:v>
                </c:pt>
                <c:pt idx="40">
                  <c:v>2.537727533144468</c:v>
                </c:pt>
                <c:pt idx="41">
                  <c:v>2.7375435513473354</c:v>
                </c:pt>
                <c:pt idx="42">
                  <c:v>2.5452261267358587</c:v>
                </c:pt>
                <c:pt idx="43">
                  <c:v>2.6546780911962538</c:v>
                </c:pt>
                <c:pt idx="44">
                  <c:v>4.30428849258131</c:v>
                </c:pt>
                <c:pt idx="45">
                  <c:v>4.7960226362319895</c:v>
                </c:pt>
                <c:pt idx="46">
                  <c:v>4.8721526472513785</c:v>
                </c:pt>
                <c:pt idx="47">
                  <c:v>5.263820776624134</c:v>
                </c:pt>
                <c:pt idx="48">
                  <c:v>4.103468260242615</c:v>
                </c:pt>
                <c:pt idx="49">
                  <c:v>4.006245392784084</c:v>
                </c:pt>
                <c:pt idx="50">
                  <c:v>4.906317796640719</c:v>
                </c:pt>
                <c:pt idx="51">
                  <c:v>7.057807482894759</c:v>
                </c:pt>
              </c:numCache>
            </c:numRef>
          </c:xVal>
          <c:yVal>
            <c:numRef>
              <c:f>Sheet1!$B$57:$B$108</c:f>
              <c:numCache>
                <c:formatCode>General</c:formatCode>
                <c:ptCount val="52"/>
                <c:pt idx="0">
                  <c:v>0.002255484929259791</c:v>
                </c:pt>
                <c:pt idx="1">
                  <c:v>0.0023881893182805037</c:v>
                </c:pt>
                <c:pt idx="2">
                  <c:v>0.0026455026455026454</c:v>
                </c:pt>
                <c:pt idx="3">
                  <c:v>0.002754188661923342</c:v>
                </c:pt>
                <c:pt idx="4">
                  <c:v>0.0033429908624916425</c:v>
                </c:pt>
                <c:pt idx="5">
                  <c:v>0.001955512099731117</c:v>
                </c:pt>
                <c:pt idx="6">
                  <c:v>0.0024330900243309003</c:v>
                </c:pt>
                <c:pt idx="7">
                  <c:v>0.003006012024048096</c:v>
                </c:pt>
                <c:pt idx="8">
                  <c:v>0.0032967032967032967</c:v>
                </c:pt>
                <c:pt idx="9">
                  <c:v>0.0029379360998898272</c:v>
                </c:pt>
                <c:pt idx="10">
                  <c:v>0.0023710729104919974</c:v>
                </c:pt>
                <c:pt idx="11">
                  <c:v>0.0029300962745918793</c:v>
                </c:pt>
                <c:pt idx="12">
                  <c:v>0.002712854757929883</c:v>
                </c:pt>
                <c:pt idx="13">
                  <c:v>0.005582849486377847</c:v>
                </c:pt>
                <c:pt idx="14">
                  <c:v>0.005952380952380952</c:v>
                </c:pt>
                <c:pt idx="15">
                  <c:v>0.006136417276374794</c:v>
                </c:pt>
                <c:pt idx="16">
                  <c:v>0.006457293806868212</c:v>
                </c:pt>
                <c:pt idx="17">
                  <c:v>0.010362694300518135</c:v>
                </c:pt>
                <c:pt idx="18">
                  <c:v>0.004393994873672647</c:v>
                </c:pt>
                <c:pt idx="19">
                  <c:v>0.003693444136657433</c:v>
                </c:pt>
                <c:pt idx="20">
                  <c:v>0.004624688722874422</c:v>
                </c:pt>
                <c:pt idx="21">
                  <c:v>0.0067243035542747355</c:v>
                </c:pt>
                <c:pt idx="22">
                  <c:v>0.005592272496187087</c:v>
                </c:pt>
                <c:pt idx="23">
                  <c:v>0.009413067552602437</c:v>
                </c:pt>
                <c:pt idx="24">
                  <c:v>0.004836109618484685</c:v>
                </c:pt>
                <c:pt idx="25">
                  <c:v>0.004451864218141347</c:v>
                </c:pt>
                <c:pt idx="26">
                  <c:v>0.003639672429481347</c:v>
                </c:pt>
                <c:pt idx="27">
                  <c:v>0.006336633663366337</c:v>
                </c:pt>
                <c:pt idx="28">
                  <c:v>0.0038910505836575876</c:v>
                </c:pt>
                <c:pt idx="29">
                  <c:v>0.005201560468140442</c:v>
                </c:pt>
                <c:pt idx="30">
                  <c:v>0.004964832436905255</c:v>
                </c:pt>
                <c:pt idx="31">
                  <c:v>0.006247211066488175</c:v>
                </c:pt>
                <c:pt idx="32">
                  <c:v>0.004407227853680035</c:v>
                </c:pt>
                <c:pt idx="33">
                  <c:v>0.002596559558584875</c:v>
                </c:pt>
                <c:pt idx="34">
                  <c:v>0.0023917087430241827</c:v>
                </c:pt>
                <c:pt idx="35">
                  <c:v>0.004259850905218318</c:v>
                </c:pt>
                <c:pt idx="36">
                  <c:v>0.00371900826446281</c:v>
                </c:pt>
                <c:pt idx="37">
                  <c:v>0.0037064492216456633</c:v>
                </c:pt>
                <c:pt idx="38">
                  <c:v>0.00663716814159292</c:v>
                </c:pt>
                <c:pt idx="39">
                  <c:v>0.009921313718782073</c:v>
                </c:pt>
                <c:pt idx="40">
                  <c:v>0.0087890625</c:v>
                </c:pt>
                <c:pt idx="41">
                  <c:v>0.005557099194220617</c:v>
                </c:pt>
                <c:pt idx="42">
                  <c:v>0.009536784741144414</c:v>
                </c:pt>
                <c:pt idx="43">
                  <c:v>0.006478873239436619</c:v>
                </c:pt>
                <c:pt idx="44">
                  <c:v>0.002748511223087494</c:v>
                </c:pt>
                <c:pt idx="45">
                  <c:v>0.0021108179419525065</c:v>
                </c:pt>
                <c:pt idx="46">
                  <c:v>0.002304147465437788</c:v>
                </c:pt>
                <c:pt idx="47">
                  <c:v>0.0018436578171091445</c:v>
                </c:pt>
                <c:pt idx="48">
                  <c:v>0.002418745275888133</c:v>
                </c:pt>
                <c:pt idx="49">
                  <c:v>0.0027201632097925877</c:v>
                </c:pt>
                <c:pt idx="50">
                  <c:v>0.0017687375635640063</c:v>
                </c:pt>
                <c:pt idx="51">
                  <c:v>0.001630730204747237</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4.381226299128888</c:v>
                </c:pt>
              </c:numCache>
            </c:numRef>
          </c:xVal>
          <c:yVal>
            <c:numRef>
              <c:f>Sheet1!$B$111:$B$112</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4.381226299128888</c:v>
                </c:pt>
                <c:pt idx="1">
                  <c:v>4.381226299128888</c:v>
                </c:pt>
              </c:numCache>
            </c:numRef>
          </c:xVal>
          <c:yVal>
            <c:numRef>
              <c:f>Sheet1!$B$115:$B$116</c:f>
              <c:numCache>
                <c:formatCode>General</c:formatCode>
                <c:ptCount val="2"/>
                <c:pt idx="0">
                  <c:v>0.005200980336468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4.381226299128888</c:v>
                </c:pt>
              </c:numCache>
            </c:numRef>
          </c:xVal>
          <c:yVal>
            <c:numRef>
              <c:f>Sheet1!$B$119:$B$120</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4.381226299128888</c:v>
                </c:pt>
                <c:pt idx="1">
                  <c:v>4.381226299128888</c:v>
                </c:pt>
              </c:numCache>
            </c:numRef>
          </c:xVal>
          <c:yVal>
            <c:numRef>
              <c:f>Sheet1!$B$123:$B$124</c:f>
              <c:numCache>
                <c:formatCode>General</c:formatCode>
                <c:ptCount val="2"/>
                <c:pt idx="0">
                  <c:v>0.0052009803364684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5.02962543896737</c:v>
                </c:pt>
              </c:numCache>
            </c:numRef>
          </c:xVal>
          <c:yVal>
            <c:numRef>
              <c:f>Sheet1!$B$127:$B$128</c:f>
              <c:numCache>
                <c:formatCode>General</c:formatCode>
                <c:ptCount val="2"/>
                <c:pt idx="0">
                  <c:v>0.004448357238089432</c:v>
                </c:pt>
                <c:pt idx="1">
                  <c:v>0.00444835723808943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5.02962543896737</c:v>
                </c:pt>
                <c:pt idx="1">
                  <c:v>5.02962543896737</c:v>
                </c:pt>
              </c:numCache>
            </c:numRef>
          </c:xVal>
          <c:yVal>
            <c:numRef>
              <c:f>Sheet1!$B$131:$B$132</c:f>
              <c:numCache>
                <c:formatCode>General</c:formatCode>
                <c:ptCount val="2"/>
                <c:pt idx="0">
                  <c:v>0.0044483572380894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5.806151284428851</c:v>
                </c:pt>
                <c:pt idx="1">
                  <c:v>6.4414553003606665</c:v>
                </c:pt>
                <c:pt idx="2">
                  <c:v>6.115619413938645</c:v>
                </c:pt>
                <c:pt idx="3">
                  <c:v>5.782934146740018</c:v>
                </c:pt>
                <c:pt idx="4">
                  <c:v>5.8780109983505</c:v>
                </c:pt>
                <c:pt idx="5">
                  <c:v>8.177679428076328</c:v>
                </c:pt>
                <c:pt idx="6">
                  <c:v>8.043761540998533</c:v>
                </c:pt>
                <c:pt idx="7">
                  <c:v>6.669007998244701</c:v>
                </c:pt>
                <c:pt idx="8">
                  <c:v>6.091191117041353</c:v>
                </c:pt>
                <c:pt idx="9">
                  <c:v>6.460943575499126</c:v>
                </c:pt>
                <c:pt idx="10">
                  <c:v>7.530067848674906</c:v>
                </c:pt>
                <c:pt idx="11">
                  <c:v>6.27653480557794</c:v>
                </c:pt>
                <c:pt idx="12">
                  <c:v>7.189803805540504</c:v>
                </c:pt>
                <c:pt idx="13">
                  <c:v>5.132441659723735</c:v>
                </c:pt>
                <c:pt idx="14">
                  <c:v>5.10059718910775</c:v>
                </c:pt>
                <c:pt idx="15">
                  <c:v>5.814863797853749</c:v>
                </c:pt>
                <c:pt idx="16">
                  <c:v>5.035063695847153</c:v>
                </c:pt>
                <c:pt idx="17">
                  <c:v>3.394579259375241</c:v>
                </c:pt>
                <c:pt idx="18">
                  <c:v>5.001870589191498</c:v>
                </c:pt>
                <c:pt idx="19">
                  <c:v>5.943105569444847</c:v>
                </c:pt>
                <c:pt idx="20">
                  <c:v>5.377046877031283</c:v>
                </c:pt>
                <c:pt idx="21">
                  <c:v>4.322101170879152</c:v>
                </c:pt>
                <c:pt idx="22">
                  <c:v>5.029361243212882</c:v>
                </c:pt>
                <c:pt idx="23">
                  <c:v>2.3157118761778857</c:v>
                </c:pt>
                <c:pt idx="24">
                  <c:v>4.632598274500043</c:v>
                </c:pt>
                <c:pt idx="25">
                  <c:v>6.007609196742247</c:v>
                </c:pt>
                <c:pt idx="26">
                  <c:v>5.62705654388504</c:v>
                </c:pt>
                <c:pt idx="27">
                  <c:v>3.580794092836341</c:v>
                </c:pt>
                <c:pt idx="28">
                  <c:v>4.497185615470572</c:v>
                </c:pt>
                <c:pt idx="29">
                  <c:v>4.16894789261375</c:v>
                </c:pt>
                <c:pt idx="30">
                  <c:v>4.310285684308492</c:v>
                </c:pt>
                <c:pt idx="31">
                  <c:v>3.2608333522516704</c:v>
                </c:pt>
                <c:pt idx="32">
                  <c:v>4.2817901676304615</c:v>
                </c:pt>
                <c:pt idx="33">
                  <c:v>5.735691314766848</c:v>
                </c:pt>
                <c:pt idx="34">
                  <c:v>6.592202928553652</c:v>
                </c:pt>
                <c:pt idx="35">
                  <c:v>3.867952253829226</c:v>
                </c:pt>
                <c:pt idx="36">
                  <c:v>5.5342232731956384</c:v>
                </c:pt>
                <c:pt idx="37">
                  <c:v>5.550537687440363</c:v>
                </c:pt>
                <c:pt idx="38">
                  <c:v>4.246758901976995</c:v>
                </c:pt>
                <c:pt idx="39">
                  <c:v>2.8571955299720218</c:v>
                </c:pt>
                <c:pt idx="40">
                  <c:v>2.537727533144468</c:v>
                </c:pt>
                <c:pt idx="41">
                  <c:v>2.7375435513473354</c:v>
                </c:pt>
                <c:pt idx="42">
                  <c:v>2.5452261267358587</c:v>
                </c:pt>
                <c:pt idx="43">
                  <c:v>2.6546780911962538</c:v>
                </c:pt>
                <c:pt idx="44">
                  <c:v>4.30428849258131</c:v>
                </c:pt>
                <c:pt idx="45">
                  <c:v>4.7960226362319895</c:v>
                </c:pt>
                <c:pt idx="46">
                  <c:v>4.8721526472513785</c:v>
                </c:pt>
                <c:pt idx="47">
                  <c:v>5.263820776624134</c:v>
                </c:pt>
                <c:pt idx="48">
                  <c:v>4.103468260242615</c:v>
                </c:pt>
                <c:pt idx="49">
                  <c:v>4.006245392784084</c:v>
                </c:pt>
                <c:pt idx="50">
                  <c:v>4.906317796640719</c:v>
                </c:pt>
                <c:pt idx="51">
                  <c:v>7.057807482894759</c:v>
                </c:pt>
                <c:pt idx="52">
                  <c:v>4.381226299128888</c:v>
                </c:pt>
                <c:pt idx="53">
                  <c:v>4.381226299128888</c:v>
                </c:pt>
                <c:pt idx="54">
                  <c:v>5.02962543896737</c:v>
                </c:pt>
              </c:numCache>
            </c:numRef>
          </c:xVal>
          <c:yVal>
            <c:numRef>
              <c:f>Sheet1!$B$135:$B$189</c:f>
              <c:numCache>
                <c:formatCode>General</c:formatCode>
                <c:ptCount val="55"/>
                <c:pt idx="0">
                  <c:v>0.003547012291937558</c:v>
                </c:pt>
                <c:pt idx="1">
                  <c:v>0.002809589233353043</c:v>
                </c:pt>
                <c:pt idx="2">
                  <c:v>0.0031878001212686516</c:v>
                </c:pt>
                <c:pt idx="3">
                  <c:v>0.0035739613623931655</c:v>
                </c:pt>
                <c:pt idx="4">
                  <c:v>0.003463601816479777</c:v>
                </c:pt>
                <c:pt idx="5">
                  <c:v>0.0007942836874398462</c:v>
                </c:pt>
                <c:pt idx="6">
                  <c:v>0.0009497275936824947</c:v>
                </c:pt>
                <c:pt idx="7">
                  <c:v>0.0025454596162646287</c:v>
                </c:pt>
                <c:pt idx="8">
                  <c:v>0.0032161550331884043</c:v>
                </c:pt>
                <c:pt idx="9">
                  <c:v>0.002786968404429019</c:v>
                </c:pt>
                <c:pt idx="10">
                  <c:v>0.0015459926325761212</c:v>
                </c:pt>
                <c:pt idx="11">
                  <c:v>0.003001019119889448</c:v>
                </c:pt>
                <c:pt idx="12">
                  <c:v>0.0019409508653624764</c:v>
                </c:pt>
                <c:pt idx="13">
                  <c:v>0.004329014293481953</c:v>
                </c:pt>
                <c:pt idx="14">
                  <c:v>0.004365977458095672</c:v>
                </c:pt>
                <c:pt idx="15">
                  <c:v>0.0035368993253316033</c:v>
                </c:pt>
                <c:pt idx="16">
                  <c:v>0.00444204483344364</c:v>
                </c:pt>
                <c:pt idx="17">
                  <c:v>0.006346221448680473</c:v>
                </c:pt>
                <c:pt idx="18">
                  <c:v>0.004480573414438102</c:v>
                </c:pt>
                <c:pt idx="19">
                  <c:v>0.003388043915837146</c:v>
                </c:pt>
                <c:pt idx="20">
                  <c:v>0.004045091127612936</c:v>
                </c:pt>
                <c:pt idx="21">
                  <c:v>0.005269609263438475</c:v>
                </c:pt>
                <c:pt idx="22">
                  <c:v>0.004448663900783912</c:v>
                </c:pt>
                <c:pt idx="23">
                  <c:v>0.007598506442279273</c:v>
                </c:pt>
                <c:pt idx="24">
                  <c:v>0.004909202720914234</c:v>
                </c:pt>
                <c:pt idx="25">
                  <c:v>0.0033131719475533042</c:v>
                </c:pt>
                <c:pt idx="26">
                  <c:v>0.0037548947986371407</c:v>
                </c:pt>
                <c:pt idx="27">
                  <c:v>0.00613007436224457</c:v>
                </c:pt>
                <c:pt idx="28">
                  <c:v>0.0050663816693994135</c:v>
                </c:pt>
                <c:pt idx="29">
                  <c:v>0.005447380465978518</c:v>
                </c:pt>
                <c:pt idx="30">
                  <c:v>0.005283323976437448</c:v>
                </c:pt>
                <c:pt idx="31">
                  <c:v>0.006501465730836575</c:v>
                </c:pt>
                <c:pt idx="32">
                  <c:v>0.00531639987480689</c:v>
                </c:pt>
                <c:pt idx="33">
                  <c:v>0.0036287980276372084</c:v>
                </c:pt>
                <c:pt idx="34">
                  <c:v>0.002634610366119874</c:v>
                </c:pt>
                <c:pt idx="35">
                  <c:v>0.005796758274093783</c:v>
                </c:pt>
                <c:pt idx="36">
                  <c:v>0.0038626501294605643</c:v>
                </c:pt>
                <c:pt idx="37">
                  <c:v>0.0038437133292048417</c:v>
                </c:pt>
                <c:pt idx="38">
                  <c:v>0.005357062081272524</c:v>
                </c:pt>
                <c:pt idx="39">
                  <c:v>0.006969984471473336</c:v>
                </c:pt>
                <c:pt idx="40">
                  <c:v>0.007340803892463313</c:v>
                </c:pt>
                <c:pt idx="41">
                  <c:v>0.007108869360959971</c:v>
                </c:pt>
                <c:pt idx="42">
                  <c:v>0.0073320999716906185</c:v>
                </c:pt>
                <c:pt idx="43">
                  <c:v>0.007205054651062375</c:v>
                </c:pt>
                <c:pt idx="44">
                  <c:v>0.005290285159360068</c:v>
                </c:pt>
                <c:pt idx="45">
                  <c:v>0.004719509456503124</c:v>
                </c:pt>
                <c:pt idx="46">
                  <c:v>0.004631142274542769</c:v>
                </c:pt>
                <c:pt idx="47">
                  <c:v>0.004176517240434483</c:v>
                </c:pt>
                <c:pt idx="48">
                  <c:v>0.005523385322814326</c:v>
                </c:pt>
                <c:pt idx="49">
                  <c:v>0.005636235836092557</c:v>
                </c:pt>
                <c:pt idx="50">
                  <c:v>0.004591485404244647</c:v>
                </c:pt>
                <c:pt idx="51">
                  <c:v>0.002094164334074094</c:v>
                </c:pt>
                <c:pt idx="52">
                  <c:v>0.00520098033646849</c:v>
                </c:pt>
                <c:pt idx="53">
                  <c:v>0.00520098033646849</c:v>
                </c:pt>
                <c:pt idx="54">
                  <c:v>0.0044483572380894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43523316062176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18846588767433095</c:v>
                </c:pt>
                <c:pt idx="1">
                  <c:v>0.0</c:v>
                </c:pt>
                <c:pt idx="2">
                  <c:v>0.0</c:v>
                </c:pt>
                <c:pt idx="3">
                  <c:v>0.0</c:v>
                </c:pt>
                <c:pt idx="4">
                  <c:v>0.00025348542458808617</c:v>
                </c:pt>
                <c:pt idx="5">
                  <c:v>0.0002449179524859172</c:v>
                </c:pt>
                <c:pt idx="6">
                  <c:v>0.00025303643724696357</c:v>
                </c:pt>
                <c:pt idx="7">
                  <c:v>0.00015762925598991173</c:v>
                </c:pt>
                <c:pt idx="8">
                  <c:v>0.0003761519653940192</c:v>
                </c:pt>
                <c:pt idx="9">
                  <c:v>0.00042399830400678397</c:v>
                </c:pt>
                <c:pt idx="10">
                  <c:v>0.0002155636990730761</c:v>
                </c:pt>
                <c:pt idx="11">
                  <c:v>0.0003732039559619332</c:v>
                </c:pt>
                <c:pt idx="12">
                  <c:v>0.00017439832577607255</c:v>
                </c:pt>
                <c:pt idx="13">
                  <c:v>0.0003778575477045154</c:v>
                </c:pt>
                <c:pt idx="14">
                  <c:v>0.0001837897445322551</c:v>
                </c:pt>
                <c:pt idx="15">
                  <c:v>0.0001818512456810329</c:v>
                </c:pt>
                <c:pt idx="16">
                  <c:v>0.00041893590280687055</c:v>
                </c:pt>
                <c:pt idx="17">
                  <c:v>0.00029403116730373417</c:v>
                </c:pt>
                <c:pt idx="18">
                  <c:v>0.0005320563979781857</c:v>
                </c:pt>
                <c:pt idx="19">
                  <c:v>0.0005899705014749262</c:v>
                </c:pt>
                <c:pt idx="20">
                  <c:v>0.0002718868950516585</c:v>
                </c:pt>
                <c:pt idx="21">
                  <c:v>0.0002955956251847473</c:v>
                </c:pt>
                <c:pt idx="22">
                  <c:v>0.0009262117937635072</c:v>
                </c:pt>
                <c:pt idx="23">
                  <c:v>0.0006363347120585428</c:v>
                </c:pt>
                <c:pt idx="24">
                  <c:v>0.0009222256378727329</c:v>
                </c:pt>
                <c:pt idx="25">
                  <c:v>0.0010362694300518134</c:v>
                </c:pt>
                <c:pt idx="26">
                  <c:v>0.0007454342154304882</c:v>
                </c:pt>
                <c:pt idx="27">
                  <c:v>0.0010193679918450561</c:v>
                </c:pt>
                <c:pt idx="28">
                  <c:v>0.0006788866259334691</c:v>
                </c:pt>
                <c:pt idx="29">
                  <c:v>0.0012158054711246201</c:v>
                </c:pt>
                <c:pt idx="30">
                  <c:v>0.0017593244194229415</c:v>
                </c:pt>
                <c:pt idx="31">
                  <c:v>0.001467351430667645</c:v>
                </c:pt>
                <c:pt idx="32">
                  <c:v>0.0011424219345011425</c:v>
                </c:pt>
                <c:pt idx="33">
                  <c:v>0.0014179369018078695</c:v>
                </c:pt>
                <c:pt idx="34">
                  <c:v>0.001242544731610338</c:v>
                </c:pt>
                <c:pt idx="35">
                  <c:v>0.0009592326139088729</c:v>
                </c:pt>
                <c:pt idx="36">
                  <c:v>0.0015</c:v>
                </c:pt>
                <c:pt idx="37">
                  <c:v>0.0026026604973973396</c:v>
                </c:pt>
                <c:pt idx="38">
                  <c:v>0.0019743336623889436</c:v>
                </c:pt>
                <c:pt idx="39">
                  <c:v>0.0019847833278200462</c:v>
                </c:pt>
                <c:pt idx="40">
                  <c:v>0.002133902373966391</c:v>
                </c:pt>
                <c:pt idx="41">
                  <c:v>0.0018822264049475664</c:v>
                </c:pt>
                <c:pt idx="42">
                  <c:v>0.0017663386323492304</c:v>
                </c:pt>
                <c:pt idx="43">
                  <c:v>0.0015374478365912585</c:v>
                </c:pt>
                <c:pt idx="44">
                  <c:v>0.0022085502445180626</c:v>
                </c:pt>
                <c:pt idx="45">
                  <c:v>0.002006305531670966</c:v>
                </c:pt>
                <c:pt idx="46">
                  <c:v>0.0019233235030132068</c:v>
                </c:pt>
                <c:pt idx="47">
                  <c:v>0.002216260352268751</c:v>
                </c:pt>
                <c:pt idx="48">
                  <c:v>0.0019281332164767747</c:v>
                </c:pt>
                <c:pt idx="49">
                  <c:v>0.0025835866261398176</c:v>
                </c:pt>
                <c:pt idx="50">
                  <c:v>0.0025617140195621797</c:v>
                </c:pt>
                <c:pt idx="51">
                  <c:v>0.00238758456028651</c:v>
                </c:pt>
                <c:pt idx="52">
                  <c:v>0.0025415896487985213</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2255484929259791</c:v>
                </c:pt>
                <c:pt idx="1">
                  <c:v>0.0023881893182805037</c:v>
                </c:pt>
                <c:pt idx="2">
                  <c:v>0.0026455026455026454</c:v>
                </c:pt>
                <c:pt idx="3">
                  <c:v>0.002754188661923342</c:v>
                </c:pt>
                <c:pt idx="4">
                  <c:v>0.0033429908624916425</c:v>
                </c:pt>
                <c:pt idx="5">
                  <c:v>0.001955512099731117</c:v>
                </c:pt>
                <c:pt idx="6">
                  <c:v>0.0024330900243309003</c:v>
                </c:pt>
                <c:pt idx="7">
                  <c:v>0.003006012024048096</c:v>
                </c:pt>
                <c:pt idx="8">
                  <c:v>0.0032967032967032967</c:v>
                </c:pt>
                <c:pt idx="9">
                  <c:v>0.0029379360998898272</c:v>
                </c:pt>
                <c:pt idx="10">
                  <c:v>0.0023710729104919974</c:v>
                </c:pt>
                <c:pt idx="11">
                  <c:v>0.0029300962745918793</c:v>
                </c:pt>
                <c:pt idx="12">
                  <c:v>0.002712854757929883</c:v>
                </c:pt>
                <c:pt idx="13">
                  <c:v>0.005582849486377847</c:v>
                </c:pt>
                <c:pt idx="14">
                  <c:v>0.005952380952380952</c:v>
                </c:pt>
                <c:pt idx="15">
                  <c:v>0.006136417276374794</c:v>
                </c:pt>
                <c:pt idx="16">
                  <c:v>0.006457293806868212</c:v>
                </c:pt>
                <c:pt idx="17">
                  <c:v>0.010362694300518135</c:v>
                </c:pt>
                <c:pt idx="18">
                  <c:v>0.004393994873672647</c:v>
                </c:pt>
                <c:pt idx="19">
                  <c:v>0.003693444136657433</c:v>
                </c:pt>
                <c:pt idx="20">
                  <c:v>0.004624688722874422</c:v>
                </c:pt>
                <c:pt idx="21">
                  <c:v>0.0067243035542747355</c:v>
                </c:pt>
                <c:pt idx="22">
                  <c:v>0.005592272496187087</c:v>
                </c:pt>
                <c:pt idx="23">
                  <c:v>0.009413067552602437</c:v>
                </c:pt>
                <c:pt idx="24">
                  <c:v>0.004836109618484685</c:v>
                </c:pt>
                <c:pt idx="25">
                  <c:v>0.004451864218141347</c:v>
                </c:pt>
                <c:pt idx="26">
                  <c:v>0.003639672429481347</c:v>
                </c:pt>
                <c:pt idx="27">
                  <c:v>0.006336633663366337</c:v>
                </c:pt>
                <c:pt idx="28">
                  <c:v>0.0038910505836575876</c:v>
                </c:pt>
                <c:pt idx="29">
                  <c:v>0.005201560468140442</c:v>
                </c:pt>
                <c:pt idx="30">
                  <c:v>0.004964832436905255</c:v>
                </c:pt>
                <c:pt idx="31">
                  <c:v>0.006247211066488175</c:v>
                </c:pt>
                <c:pt idx="32">
                  <c:v>0.004407227853680035</c:v>
                </c:pt>
                <c:pt idx="33">
                  <c:v>0.002596559558584875</c:v>
                </c:pt>
                <c:pt idx="34">
                  <c:v>0.0023917087430241827</c:v>
                </c:pt>
                <c:pt idx="35">
                  <c:v>0.004259850905218318</c:v>
                </c:pt>
                <c:pt idx="36">
                  <c:v>0.00371900826446281</c:v>
                </c:pt>
                <c:pt idx="37">
                  <c:v>0.0037064492216456633</c:v>
                </c:pt>
                <c:pt idx="38">
                  <c:v>0.00663716814159292</c:v>
                </c:pt>
                <c:pt idx="39">
                  <c:v>0.009921313718782073</c:v>
                </c:pt>
                <c:pt idx="40">
                  <c:v>0.0087890625</c:v>
                </c:pt>
                <c:pt idx="41">
                  <c:v>0.005557099194220617</c:v>
                </c:pt>
                <c:pt idx="42">
                  <c:v>0.009536784741144414</c:v>
                </c:pt>
                <c:pt idx="43">
                  <c:v>0.006478873239436619</c:v>
                </c:pt>
                <c:pt idx="44">
                  <c:v>0.002748511223087494</c:v>
                </c:pt>
                <c:pt idx="45">
                  <c:v>0.0021108179419525065</c:v>
                </c:pt>
                <c:pt idx="46">
                  <c:v>0.002304147465437788</c:v>
                </c:pt>
                <c:pt idx="47">
                  <c:v>0.0018436578171091445</c:v>
                </c:pt>
                <c:pt idx="48">
                  <c:v>0.002418745275888133</c:v>
                </c:pt>
                <c:pt idx="49">
                  <c:v>0.0027201632097925877</c:v>
                </c:pt>
                <c:pt idx="50">
                  <c:v>0.0017687375635640063</c:v>
                </c:pt>
                <c:pt idx="51">
                  <c:v>0.001630730204747237</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79.631235583249</c:v>
                </c:pt>
              </c:numCache>
            </c:numRef>
          </c:xVal>
          <c:yVal>
            <c:numRef>
              <c:f>Sheet1!$B$111:$B$112</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79.631235583249</c:v>
                </c:pt>
                <c:pt idx="1">
                  <c:v>2879.631235583249</c:v>
                </c:pt>
              </c:numCache>
            </c:numRef>
          </c:xVal>
          <c:yVal>
            <c:numRef>
              <c:f>Sheet1!$B$115:$B$116</c:f>
              <c:numCache>
                <c:formatCode>General</c:formatCode>
                <c:ptCount val="2"/>
                <c:pt idx="0">
                  <c:v>0.005200980336468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79.631235583249</c:v>
                </c:pt>
              </c:numCache>
            </c:numRef>
          </c:xVal>
          <c:yVal>
            <c:numRef>
              <c:f>Sheet1!$B$119:$B$120</c:f>
              <c:numCache>
                <c:formatCode>General</c:formatCode>
                <c:ptCount val="2"/>
                <c:pt idx="0">
                  <c:v>0.00520098033646849</c:v>
                </c:pt>
                <c:pt idx="1">
                  <c:v>0.00520098033646849</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79.631235583249</c:v>
                </c:pt>
                <c:pt idx="1">
                  <c:v>2879.631235583249</c:v>
                </c:pt>
              </c:numCache>
            </c:numRef>
          </c:xVal>
          <c:yVal>
            <c:numRef>
              <c:f>Sheet1!$B$123:$B$124</c:f>
              <c:numCache>
                <c:formatCode>General</c:formatCode>
                <c:ptCount val="2"/>
                <c:pt idx="0">
                  <c:v>0.0052009803364684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289.9924990716536</c:v>
                </c:pt>
              </c:numCache>
            </c:numRef>
          </c:xVal>
          <c:yVal>
            <c:numRef>
              <c:f>Sheet1!$B$127:$B$128</c:f>
              <c:numCache>
                <c:formatCode>General</c:formatCode>
                <c:ptCount val="2"/>
                <c:pt idx="0">
                  <c:v>0.004448357238089432</c:v>
                </c:pt>
                <c:pt idx="1">
                  <c:v>0.00444835723808943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289.9924990716536</c:v>
                </c:pt>
                <c:pt idx="1">
                  <c:v>3289.9924990716536</c:v>
                </c:pt>
              </c:numCache>
            </c:numRef>
          </c:xVal>
          <c:yVal>
            <c:numRef>
              <c:f>Sheet1!$B$131:$B$132</c:f>
              <c:numCache>
                <c:formatCode>General</c:formatCode>
                <c:ptCount val="2"/>
                <c:pt idx="0">
                  <c:v>0.0044483572380894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79.631235583249</c:v>
                </c:pt>
                <c:pt idx="53">
                  <c:v>2879.631235583249</c:v>
                </c:pt>
                <c:pt idx="54">
                  <c:v>3289.9924990716536</c:v>
                </c:pt>
              </c:numCache>
            </c:numRef>
          </c:xVal>
          <c:yVal>
            <c:numRef>
              <c:f>Sheet1!$B$135:$B$189</c:f>
              <c:numCache>
                <c:formatCode>General</c:formatCode>
                <c:ptCount val="55"/>
                <c:pt idx="0">
                  <c:v>0.003386261783299105</c:v>
                </c:pt>
                <c:pt idx="1">
                  <c:v>0.0026291325403727805</c:v>
                </c:pt>
                <c:pt idx="2">
                  <c:v>0.0029407543347832335</c:v>
                </c:pt>
                <c:pt idx="3">
                  <c:v>0.0031804036032667482</c:v>
                </c:pt>
                <c:pt idx="4">
                  <c:v>0.0032153727020690264</c:v>
                </c:pt>
                <c:pt idx="5">
                  <c:v>3.3784995645025004e-05</c:v>
                </c:pt>
                <c:pt idx="6">
                  <c:v>0.0009815303622063305</c:v>
                </c:pt>
                <c:pt idx="7">
                  <c:v>0.0021762611974761054</c:v>
                </c:pt>
                <c:pt idx="8">
                  <c:v>0.0028934765592435255</c:v>
                </c:pt>
                <c:pt idx="9">
                  <c:v>0.0025679836608527348</c:v>
                </c:pt>
                <c:pt idx="10">
                  <c:v>0.0013935038560889297</c:v>
                </c:pt>
                <c:pt idx="11">
                  <c:v>0.003642933420569587</c:v>
                </c:pt>
                <c:pt idx="12">
                  <c:v>0.0029503478838174063</c:v>
                </c:pt>
                <c:pt idx="13">
                  <c:v>0.00485696983354134</c:v>
                </c:pt>
                <c:pt idx="14">
                  <c:v>0.004928941075633239</c:v>
                </c:pt>
                <c:pt idx="15">
                  <c:v>0.004631254760360098</c:v>
                </c:pt>
                <c:pt idx="16">
                  <c:v>0.004841163623346664</c:v>
                </c:pt>
                <c:pt idx="17">
                  <c:v>0.007245701368753499</c:v>
                </c:pt>
                <c:pt idx="18">
                  <c:v>0.005177531154735911</c:v>
                </c:pt>
                <c:pt idx="19">
                  <c:v>0.003862364488043138</c:v>
                </c:pt>
                <c:pt idx="20">
                  <c:v>0.004095077195808952</c:v>
                </c:pt>
                <c:pt idx="21">
                  <c:v>0.005497420113179865</c:v>
                </c:pt>
                <c:pt idx="22">
                  <c:v>0.004324128222637487</c:v>
                </c:pt>
                <c:pt idx="23">
                  <c:v>0.007735932127890749</c:v>
                </c:pt>
                <c:pt idx="24">
                  <c:v>0.004884236105512423</c:v>
                </c:pt>
                <c:pt idx="25">
                  <c:v>0.0036204991368766707</c:v>
                </c:pt>
                <c:pt idx="26">
                  <c:v>0.0036895052702426486</c:v>
                </c:pt>
                <c:pt idx="27">
                  <c:v>0.006089932909473453</c:v>
                </c:pt>
                <c:pt idx="28">
                  <c:v>0.004766367760763153</c:v>
                </c:pt>
                <c:pt idx="29">
                  <c:v>0.005742571531832096</c:v>
                </c:pt>
                <c:pt idx="30">
                  <c:v>0.005599974139959543</c:v>
                </c:pt>
                <c:pt idx="31">
                  <c:v>0.006425449441636605</c:v>
                </c:pt>
                <c:pt idx="32">
                  <c:v>0.005066785159975037</c:v>
                </c:pt>
                <c:pt idx="33">
                  <c:v>0.002883669526782806</c:v>
                </c:pt>
                <c:pt idx="34">
                  <c:v>0.001950978593298125</c:v>
                </c:pt>
                <c:pt idx="35">
                  <c:v>0.005314358991941548</c:v>
                </c:pt>
                <c:pt idx="36">
                  <c:v>0.0031914079036041796</c:v>
                </c:pt>
                <c:pt idx="37">
                  <c:v>0.0031755127419817765</c:v>
                </c:pt>
                <c:pt idx="38">
                  <c:v>0.004874912895456539</c:v>
                </c:pt>
                <c:pt idx="39">
                  <c:v>0.006903693766631308</c:v>
                </c:pt>
                <c:pt idx="40">
                  <c:v>0.007124765942095181</c:v>
                </c:pt>
                <c:pt idx="41">
                  <c:v>0.006930455124621908</c:v>
                </c:pt>
                <c:pt idx="42">
                  <c:v>0.007188938253132937</c:v>
                </c:pt>
                <c:pt idx="43">
                  <c:v>0.007096631981042492</c:v>
                </c:pt>
                <c:pt idx="44">
                  <c:v>0.005133208400646815</c:v>
                </c:pt>
                <c:pt idx="45">
                  <c:v>0.004646879399599207</c:v>
                </c:pt>
                <c:pt idx="46">
                  <c:v>0.0045587199146859166</c:v>
                </c:pt>
                <c:pt idx="47">
                  <c:v>0.00435022180300261</c:v>
                </c:pt>
                <c:pt idx="48">
                  <c:v>0.005560694840120097</c:v>
                </c:pt>
                <c:pt idx="49">
                  <c:v>0.005714869672972656</c:v>
                </c:pt>
                <c:pt idx="50">
                  <c:v>0.004741103721238466</c:v>
                </c:pt>
                <c:pt idx="51">
                  <c:v>0.00266401653925245</c:v>
                </c:pt>
                <c:pt idx="52">
                  <c:v>0.00520098033646849</c:v>
                </c:pt>
                <c:pt idx="53">
                  <c:v>0.00520098033646849</c:v>
                </c:pt>
                <c:pt idx="54">
                  <c:v>0.0044483572380894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43523316062176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8</c:f>
              <c:numCache>
                <c:formatCode>General</c:formatCode>
                <c:ptCount val="17"/>
                <c:pt idx="0">
                  <c:v>0.7244198302684337</c:v>
                </c:pt>
                <c:pt idx="1">
                  <c:v>0.0</c:v>
                </c:pt>
                <c:pt idx="2">
                  <c:v>2.7460840245597407</c:v>
                </c:pt>
                <c:pt idx="3">
                  <c:v>0.0</c:v>
                </c:pt>
                <c:pt idx="4">
                  <c:v>1.9096193967578177</c:v>
                </c:pt>
                <c:pt idx="5">
                  <c:v>3.143063583815029</c:v>
                </c:pt>
                <c:pt idx="6">
                  <c:v>4.687267656991141</c:v>
                </c:pt>
                <c:pt idx="7">
                  <c:v>2.1847533632286997</c:v>
                </c:pt>
                <c:pt idx="8">
                  <c:v>2.172351196656207</c:v>
                </c:pt>
                <c:pt idx="9">
                  <c:v>0.34131734609693876</c:v>
                </c:pt>
                <c:pt idx="10">
                  <c:v>0.0</c:v>
                </c:pt>
                <c:pt idx="11">
                  <c:v>0.0</c:v>
                </c:pt>
                <c:pt idx="12">
                  <c:v>0.0</c:v>
                </c:pt>
                <c:pt idx="13">
                  <c:v>0.0</c:v>
                </c:pt>
                <c:pt idx="14">
                  <c:v>0.0</c:v>
                </c:pt>
                <c:pt idx="15">
                  <c:v>0.0</c:v>
                </c:pt>
                <c:pt idx="16">
                  <c:v>0.24354731965585705</c:v>
                </c:pt>
              </c:numCache>
            </c:numRef>
          </c:xVal>
          <c:yVal>
            <c:numRef>
              <c:f>Sheet1!$B$2:$B$18</c:f>
              <c:numCache>
                <c:formatCode>General</c:formatCode>
                <c:ptCount val="17"/>
                <c:pt idx="0">
                  <c:v>0.030303030303030304</c:v>
                </c:pt>
                <c:pt idx="1">
                  <c:v>0.0</c:v>
                </c:pt>
                <c:pt idx="2">
                  <c:v>0.0625</c:v>
                </c:pt>
                <c:pt idx="3">
                  <c:v>0.0</c:v>
                </c:pt>
                <c:pt idx="4">
                  <c:v>0.05555555555555555</c:v>
                </c:pt>
                <c:pt idx="5">
                  <c:v>0.047619047619047616</c:v>
                </c:pt>
                <c:pt idx="6">
                  <c:v>0.03225806451612903</c:v>
                </c:pt>
                <c:pt idx="7">
                  <c:v>0.034482758620689655</c:v>
                </c:pt>
                <c:pt idx="8">
                  <c:v>0.06451612903225806</c:v>
                </c:pt>
                <c:pt idx="9">
                  <c:v>0.4358974358974359</c:v>
                </c:pt>
                <c:pt idx="10">
                  <c:v>0.0</c:v>
                </c:pt>
                <c:pt idx="11">
                  <c:v>0.0</c:v>
                </c:pt>
                <c:pt idx="12">
                  <c:v>0.0</c:v>
                </c:pt>
                <c:pt idx="13">
                  <c:v>0.0</c:v>
                </c:pt>
                <c:pt idx="14">
                  <c:v>0.0</c:v>
                </c:pt>
                <c:pt idx="15">
                  <c:v>0.0</c:v>
                </c:pt>
                <c:pt idx="16">
                  <c:v>0.058823529411764705</c:v>
                </c:pt>
              </c:numCache>
            </c:numRef>
          </c:yVal>
          <c:smooth val="0"/>
          <c:extLst>
            <c:ext xmlns:c16="http://schemas.microsoft.com/office/drawing/2014/chart" uri="{C3380CC4-5D6E-409C-BE32-E72D297353CC}">
              <c16:uniqueId val="{00000000-096C-4121-9522-6AB7243CCAAE}"/>
            </c:ext>
          </c:extLst>
        </c:ser>
        <c:ser>
          <c:idx val="1"/>
          <c:order val="1"/>
          <c:tx>
            <c:strRef>
              <c:f>Sheet1!$B$2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1:$A$20</c:f>
              <c:numCache>
                <c:formatCode>General</c:formatCode>
                <c:ptCount val="0"/>
              </c:numCache>
            </c:numRef>
          </c:xVal>
          <c:yVal>
            <c:numRef>
              <c:f>Sheet1!$B$21:$B$2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61069082603426326</c:v>
                </c:pt>
              </c:numCache>
            </c:numRef>
          </c:xVal>
          <c:yVal>
            <c:numRef>
              <c:f>Sheet1!$B$23:$B$24</c:f>
              <c:numCache>
                <c:formatCode>General</c:formatCode>
                <c:ptCount val="2"/>
                <c:pt idx="0">
                  <c:v>0.061069082603426326</c:v>
                </c:pt>
                <c:pt idx="1">
                  <c:v>0.06106908260342632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61069082603426326</c:v>
                </c:pt>
                <c:pt idx="1">
                  <c:v>0.061069082603426326</c:v>
                </c:pt>
              </c:numCache>
            </c:numRef>
          </c:xVal>
          <c:yVal>
            <c:numRef>
              <c:f>Sheet1!$B$27:$B$28</c:f>
              <c:numCache>
                <c:formatCode>General</c:formatCode>
                <c:ptCount val="2"/>
                <c:pt idx="0">
                  <c:v>0.0610690826034263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3</c:f>
              <c:numCache>
                <c:formatCode>General</c:formatCode>
                <c:ptCount val="3"/>
                <c:pt idx="0">
                  <c:v>0</c:v>
                </c:pt>
                <c:pt idx="1">
                  <c:v>0.061069082603426326</c:v>
                </c:pt>
                <c:pt idx="2">
                  <c:v>0</c:v>
                </c:pt>
              </c:numCache>
            </c:numRef>
          </c:xVal>
          <c:yVal>
            <c:numRef>
              <c:f>Sheet1!$B$31:$B$33</c:f>
              <c:numCache>
                <c:formatCode>General</c:formatCode>
                <c:ptCount val="3"/>
                <c:pt idx="0">
                  <c:v>0</c:v>
                </c:pt>
                <c:pt idx="1">
                  <c:v>0.0610690826034263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3076923076923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8</c:f>
              <c:numCache>
                <c:formatCode>General</c:formatCode>
                <c:ptCount val="17"/>
                <c:pt idx="0">
                  <c:v>140.0</c:v>
                </c:pt>
                <c:pt idx="1">
                  <c:v>0.0</c:v>
                </c:pt>
                <c:pt idx="2">
                  <c:v>783.0</c:v>
                </c:pt>
                <c:pt idx="3">
                  <c:v>0.0</c:v>
                </c:pt>
                <c:pt idx="4">
                  <c:v>522.0</c:v>
                </c:pt>
                <c:pt idx="5">
                  <c:v>870.0</c:v>
                </c:pt>
                <c:pt idx="6">
                  <c:v>1305.0</c:v>
                </c:pt>
                <c:pt idx="7">
                  <c:v>609.0</c:v>
                </c:pt>
                <c:pt idx="8">
                  <c:v>600.5</c:v>
                </c:pt>
                <c:pt idx="9">
                  <c:v>95.9412</c:v>
                </c:pt>
                <c:pt idx="10">
                  <c:v>0.0</c:v>
                </c:pt>
                <c:pt idx="11">
                  <c:v>0.0</c:v>
                </c:pt>
                <c:pt idx="12">
                  <c:v>0.0</c:v>
                </c:pt>
                <c:pt idx="13">
                  <c:v>0.0</c:v>
                </c:pt>
                <c:pt idx="14">
                  <c:v>0.0</c:v>
                </c:pt>
                <c:pt idx="15">
                  <c:v>0.0</c:v>
                </c:pt>
                <c:pt idx="16">
                  <c:v>69.0</c:v>
                </c:pt>
              </c:numCache>
            </c:numRef>
          </c:xVal>
          <c:yVal>
            <c:numRef>
              <c:f>Sheet1!$B$2:$B$18</c:f>
              <c:numCache>
                <c:formatCode>General</c:formatCode>
                <c:ptCount val="17"/>
                <c:pt idx="0">
                  <c:v>0.030303030303030304</c:v>
                </c:pt>
                <c:pt idx="1">
                  <c:v>0.0</c:v>
                </c:pt>
                <c:pt idx="2">
                  <c:v>0.0625</c:v>
                </c:pt>
                <c:pt idx="3">
                  <c:v>0.0</c:v>
                </c:pt>
                <c:pt idx="4">
                  <c:v>0.05555555555555555</c:v>
                </c:pt>
                <c:pt idx="5">
                  <c:v>0.047619047619047616</c:v>
                </c:pt>
                <c:pt idx="6">
                  <c:v>0.03225806451612903</c:v>
                </c:pt>
                <c:pt idx="7">
                  <c:v>0.034482758620689655</c:v>
                </c:pt>
                <c:pt idx="8">
                  <c:v>0.06451612903225806</c:v>
                </c:pt>
                <c:pt idx="9">
                  <c:v>0.4358974358974359</c:v>
                </c:pt>
                <c:pt idx="10">
                  <c:v>0.0</c:v>
                </c:pt>
                <c:pt idx="11">
                  <c:v>0.0</c:v>
                </c:pt>
                <c:pt idx="12">
                  <c:v>0.0</c:v>
                </c:pt>
                <c:pt idx="13">
                  <c:v>0.0</c:v>
                </c:pt>
                <c:pt idx="14">
                  <c:v>0.0</c:v>
                </c:pt>
                <c:pt idx="15">
                  <c:v>0.0</c:v>
                </c:pt>
                <c:pt idx="16">
                  <c:v>0.058823529411764705</c:v>
                </c:pt>
              </c:numCache>
            </c:numRef>
          </c:yVal>
          <c:smooth val="0"/>
          <c:extLst>
            <c:ext xmlns:c16="http://schemas.microsoft.com/office/drawing/2014/chart" uri="{C3380CC4-5D6E-409C-BE32-E72D297353CC}">
              <c16:uniqueId val="{00000000-F32D-48B7-BC20-E66FC6253BAD}"/>
            </c:ext>
          </c:extLst>
        </c:ser>
        <c:ser>
          <c:idx val="1"/>
          <c:order val="1"/>
          <c:tx>
            <c:strRef>
              <c:f>Sheet1!$B$2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1:$A$20</c:f>
              <c:numCache>
                <c:formatCode>General</c:formatCode>
                <c:ptCount val="0"/>
              </c:numCache>
            </c:numRef>
          </c:xVal>
          <c:yVal>
            <c:numRef>
              <c:f>Sheet1!$B$21:$B$20</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0.061069082603426326</c:v>
                </c:pt>
              </c:numCache>
            </c:numRef>
          </c:xVal>
          <c:yVal>
            <c:numRef>
              <c:f>Sheet1!$B$23:$B$24</c:f>
              <c:numCache>
                <c:formatCode>General</c:formatCode>
                <c:ptCount val="2"/>
                <c:pt idx="0">
                  <c:v>0.061069082603426326</c:v>
                </c:pt>
                <c:pt idx="1">
                  <c:v>0.06106908260342632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0.061069082603426326</c:v>
                </c:pt>
                <c:pt idx="1">
                  <c:v>0.061069082603426326</c:v>
                </c:pt>
              </c:numCache>
            </c:numRef>
          </c:xVal>
          <c:yVal>
            <c:numRef>
              <c:f>Sheet1!$B$27:$B$28</c:f>
              <c:numCache>
                <c:formatCode>General</c:formatCode>
                <c:ptCount val="2"/>
                <c:pt idx="0">
                  <c:v>0.0610690826034263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3</c:f>
              <c:numCache>
                <c:formatCode>General</c:formatCode>
                <c:ptCount val="3"/>
                <c:pt idx="0">
                  <c:v>0</c:v>
                </c:pt>
                <c:pt idx="1">
                  <c:v>0.061069082603426326</c:v>
                </c:pt>
                <c:pt idx="2">
                  <c:v>0</c:v>
                </c:pt>
              </c:numCache>
            </c:numRef>
          </c:xVal>
          <c:yVal>
            <c:numRef>
              <c:f>Sheet1!$B$31:$B$33</c:f>
              <c:numCache>
                <c:formatCode>General</c:formatCode>
                <c:ptCount val="3"/>
                <c:pt idx="0">
                  <c:v>0</c:v>
                </c:pt>
                <c:pt idx="1">
                  <c:v>0.0610690826034263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3076923076923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8722459555014943</c:v>
                </c:pt>
                <c:pt idx="8">
                  <c:v>1.394021709564757</c:v>
                </c:pt>
                <c:pt idx="9">
                  <c:v>1.7043427398759088</c:v>
                </c:pt>
                <c:pt idx="10">
                  <c:v>1.8777866319569525</c:v>
                </c:pt>
                <c:pt idx="11">
                  <c:v>1.482110788846801</c:v>
                </c:pt>
                <c:pt idx="12">
                  <c:v>2.044611495983355</c:v>
                </c:pt>
                <c:pt idx="13">
                  <c:v>1.497885518646472</c:v>
                </c:pt>
                <c:pt idx="14">
                  <c:v>1.2576194176154274</c:v>
                </c:pt>
                <c:pt idx="15">
                  <c:v>1.2666634934664782</c:v>
                </c:pt>
                <c:pt idx="16">
                  <c:v>1.321711237570575</c:v>
                </c:pt>
                <c:pt idx="17">
                  <c:v>1.4653491534708118</c:v>
                </c:pt>
                <c:pt idx="18">
                  <c:v>1.686209156304574</c:v>
                </c:pt>
                <c:pt idx="19">
                  <c:v>0.9319528380388072</c:v>
                </c:pt>
                <c:pt idx="20">
                  <c:v>1.401041822260506</c:v>
                </c:pt>
                <c:pt idx="21">
                  <c:v>0.3939893628448045</c:v>
                </c:pt>
                <c:pt idx="22">
                  <c:v>1.3102901885681544</c:v>
                </c:pt>
                <c:pt idx="23">
                  <c:v>1.7766027891530716</c:v>
                </c:pt>
                <c:pt idx="24">
                  <c:v>2.3961014195754293</c:v>
                </c:pt>
                <c:pt idx="25">
                  <c:v>2.2966275978688384</c:v>
                </c:pt>
                <c:pt idx="26">
                  <c:v>2.2441459717533374</c:v>
                </c:pt>
                <c:pt idx="27">
                  <c:v>2.4767063877252817</c:v>
                </c:pt>
                <c:pt idx="28">
                  <c:v>2.676456634344408</c:v>
                </c:pt>
                <c:pt idx="29">
                  <c:v>2.2278735933700395</c:v>
                </c:pt>
                <c:pt idx="30">
                  <c:v>2.617644543659606</c:v>
                </c:pt>
                <c:pt idx="31">
                  <c:v>2.4091496590145227</c:v>
                </c:pt>
                <c:pt idx="32">
                  <c:v>2.9426835875538413</c:v>
                </c:pt>
                <c:pt idx="33">
                  <c:v>2.387316261950916</c:v>
                </c:pt>
                <c:pt idx="34">
                  <c:v>3.040462209535366</c:v>
                </c:pt>
                <c:pt idx="35">
                  <c:v>3.1846211041992047</c:v>
                </c:pt>
                <c:pt idx="36">
                  <c:v>2.4299782564953833</c:v>
                </c:pt>
                <c:pt idx="37">
                  <c:v>2.5538053870392994</c:v>
                </c:pt>
                <c:pt idx="38">
                  <c:v>2.435534424701351</c:v>
                </c:pt>
                <c:pt idx="39">
                  <c:v>2.886694345505781</c:v>
                </c:pt>
                <c:pt idx="40">
                  <c:v>3.0822961672487885</c:v>
                </c:pt>
                <c:pt idx="41">
                  <c:v>2.774328319776132</c:v>
                </c:pt>
                <c:pt idx="42">
                  <c:v>3.887873778896405</c:v>
                </c:pt>
                <c:pt idx="43">
                  <c:v>3.0997149262716848</c:v>
                </c:pt>
                <c:pt idx="44">
                  <c:v>2.8427629031788237</c:v>
                </c:pt>
                <c:pt idx="45">
                  <c:v>3.133859747654093</c:v>
                </c:pt>
                <c:pt idx="46">
                  <c:v>2.833961602500406</c:v>
                </c:pt>
                <c:pt idx="47">
                  <c:v>2.643266610693635</c:v>
                </c:pt>
                <c:pt idx="48">
                  <c:v>2.835982016057298</c:v>
                </c:pt>
                <c:pt idx="49">
                  <c:v>2.5976304717986096</c:v>
                </c:pt>
                <c:pt idx="50">
                  <c:v>2.259298783224337</c:v>
                </c:pt>
                <c:pt idx="51">
                  <c:v>2.842389581199654</c:v>
                </c:pt>
                <c:pt idx="52">
                  <c:v>2.604670304871431</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2203731148233827</c:v>
                </c:pt>
                <c:pt idx="1">
                  <c:v>2.190183218109668</c:v>
                </c:pt>
                <c:pt idx="2">
                  <c:v>2.5627394789647595</c:v>
                </c:pt>
                <c:pt idx="3">
                  <c:v>2.260341776978845</c:v>
                </c:pt>
                <c:pt idx="4">
                  <c:v>2.6436496218253693</c:v>
                </c:pt>
                <c:pt idx="5">
                  <c:v>2.673505753715081</c:v>
                </c:pt>
                <c:pt idx="6">
                  <c:v>2.767155051058778</c:v>
                </c:pt>
                <c:pt idx="7">
                  <c:v>2.685352492150794</c:v>
                </c:pt>
                <c:pt idx="8">
                  <c:v>2.4232577171680942</c:v>
                </c:pt>
                <c:pt idx="9">
                  <c:v>2.392960700704964</c:v>
                </c:pt>
                <c:pt idx="10">
                  <c:v>2.5092500080672364</c:v>
                </c:pt>
                <c:pt idx="11">
                  <c:v>2.6080848884960823</c:v>
                </c:pt>
                <c:pt idx="12">
                  <c:v>2.3380312994340415</c:v>
                </c:pt>
                <c:pt idx="13">
                  <c:v>2.0255322878951443</c:v>
                </c:pt>
                <c:pt idx="14">
                  <c:v>2.098569707831522</c:v>
                </c:pt>
                <c:pt idx="15">
                  <c:v>2.413939183882782</c:v>
                </c:pt>
                <c:pt idx="16">
                  <c:v>2.1433200890629087</c:v>
                </c:pt>
                <c:pt idx="17">
                  <c:v>2.2250265384967403</c:v>
                </c:pt>
                <c:pt idx="18">
                  <c:v>2.9975945972927236</c:v>
                </c:pt>
                <c:pt idx="19">
                  <c:v>2.0830424750184307</c:v>
                </c:pt>
                <c:pt idx="20">
                  <c:v>2.434855263697373</c:v>
                </c:pt>
                <c:pt idx="21">
                  <c:v>2.200635421066058</c:v>
                </c:pt>
                <c:pt idx="22">
                  <c:v>1.8102602574548277</c:v>
                </c:pt>
                <c:pt idx="23">
                  <c:v>1.9951314410673084</c:v>
                </c:pt>
                <c:pt idx="24">
                  <c:v>2.2187180080410234</c:v>
                </c:pt>
                <c:pt idx="25">
                  <c:v>1.8827662538887584</c:v>
                </c:pt>
                <c:pt idx="26">
                  <c:v>1.9836048828770245</c:v>
                </c:pt>
                <c:pt idx="27">
                  <c:v>2.457295830336104</c:v>
                </c:pt>
                <c:pt idx="28">
                  <c:v>2.457272367308728</c:v>
                </c:pt>
                <c:pt idx="29">
                  <c:v>1.9713626777889415</c:v>
                </c:pt>
                <c:pt idx="30">
                  <c:v>2.557433977228301</c:v>
                </c:pt>
                <c:pt idx="31">
                  <c:v>2.6702243082087835</c:v>
                </c:pt>
                <c:pt idx="32">
                  <c:v>2.680372857396094</c:v>
                </c:pt>
                <c:pt idx="33">
                  <c:v>2.8695317502408315</c:v>
                </c:pt>
                <c:pt idx="34">
                  <c:v>2.6521423273491336</c:v>
                </c:pt>
                <c:pt idx="35">
                  <c:v>2.2351710730191687</c:v>
                </c:pt>
                <c:pt idx="36">
                  <c:v>2.2029393079202104</c:v>
                </c:pt>
                <c:pt idx="37">
                  <c:v>2.2982518016592866</c:v>
                </c:pt>
                <c:pt idx="38">
                  <c:v>1.9462794283400506</c:v>
                </c:pt>
                <c:pt idx="39">
                  <c:v>2.3308226041982034</c:v>
                </c:pt>
                <c:pt idx="40">
                  <c:v>2.6674777368615885</c:v>
                </c:pt>
                <c:pt idx="41">
                  <c:v>2.5297880022832144</c:v>
                </c:pt>
                <c:pt idx="42">
                  <c:v>2.4396072639845676</c:v>
                </c:pt>
                <c:pt idx="43">
                  <c:v>2.6322265854885134</c:v>
                </c:pt>
                <c:pt idx="44">
                  <c:v>2.799047402404287</c:v>
                </c:pt>
                <c:pt idx="45">
                  <c:v>3.02044531114238</c:v>
                </c:pt>
                <c:pt idx="46">
                  <c:v>2.818527972244594</c:v>
                </c:pt>
                <c:pt idx="47">
                  <c:v>2.7078097057427173</c:v>
                </c:pt>
                <c:pt idx="48">
                  <c:v>2.797233719895224</c:v>
                </c:pt>
                <c:pt idx="49">
                  <c:v>3.040247637408133</c:v>
                </c:pt>
                <c:pt idx="50">
                  <c:v>3.3476910555205968</c:v>
                </c:pt>
                <c:pt idx="51">
                  <c:v>3.361729453017473</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1147566242343943</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1147566242343943</c:v>
                </c:pt>
                <c:pt idx="1">
                  <c:v>2.1147566242343943</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1147566242343943</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1147566242343943</c:v>
                </c:pt>
                <c:pt idx="1">
                  <c:v>2.1147566242343943</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9383020848048886</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9383020848048886</c:v>
                </c:pt>
                <c:pt idx="1">
                  <c:v>2.9383020848048886</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2203731148233827</c:v>
                </c:pt>
                <c:pt idx="1">
                  <c:v>2.190183218109668</c:v>
                </c:pt>
                <c:pt idx="2">
                  <c:v>2.5627394789647595</c:v>
                </c:pt>
                <c:pt idx="3">
                  <c:v>2.260341776978845</c:v>
                </c:pt>
                <c:pt idx="4">
                  <c:v>2.6436496218253693</c:v>
                </c:pt>
                <c:pt idx="5">
                  <c:v>2.673505753715081</c:v>
                </c:pt>
                <c:pt idx="6">
                  <c:v>2.767155051058778</c:v>
                </c:pt>
                <c:pt idx="7">
                  <c:v>2.685352492150794</c:v>
                </c:pt>
                <c:pt idx="8">
                  <c:v>2.4232577171680942</c:v>
                </c:pt>
                <c:pt idx="9">
                  <c:v>2.392960700704964</c:v>
                </c:pt>
                <c:pt idx="10">
                  <c:v>2.5092500080672364</c:v>
                </c:pt>
                <c:pt idx="11">
                  <c:v>2.6080848884960823</c:v>
                </c:pt>
                <c:pt idx="12">
                  <c:v>2.3380312994340415</c:v>
                </c:pt>
                <c:pt idx="13">
                  <c:v>2.0255322878951443</c:v>
                </c:pt>
                <c:pt idx="14">
                  <c:v>2.098569707831522</c:v>
                </c:pt>
                <c:pt idx="15">
                  <c:v>2.413939183882782</c:v>
                </c:pt>
                <c:pt idx="16">
                  <c:v>2.1433200890629087</c:v>
                </c:pt>
                <c:pt idx="17">
                  <c:v>2.2250265384967403</c:v>
                </c:pt>
                <c:pt idx="18">
                  <c:v>2.9975945972927236</c:v>
                </c:pt>
                <c:pt idx="19">
                  <c:v>2.0830424750184307</c:v>
                </c:pt>
                <c:pt idx="20">
                  <c:v>2.434855263697373</c:v>
                </c:pt>
                <c:pt idx="21">
                  <c:v>2.200635421066058</c:v>
                </c:pt>
                <c:pt idx="22">
                  <c:v>1.8102602574548277</c:v>
                </c:pt>
                <c:pt idx="23">
                  <c:v>1.9951314410673084</c:v>
                </c:pt>
                <c:pt idx="24">
                  <c:v>2.2187180080410234</c:v>
                </c:pt>
                <c:pt idx="25">
                  <c:v>1.8827662538887584</c:v>
                </c:pt>
                <c:pt idx="26">
                  <c:v>1.9836048828770245</c:v>
                </c:pt>
                <c:pt idx="27">
                  <c:v>2.457295830336104</c:v>
                </c:pt>
                <c:pt idx="28">
                  <c:v>2.457272367308728</c:v>
                </c:pt>
                <c:pt idx="29">
                  <c:v>1.9713626777889415</c:v>
                </c:pt>
                <c:pt idx="30">
                  <c:v>2.557433977228301</c:v>
                </c:pt>
                <c:pt idx="31">
                  <c:v>2.6702243082087835</c:v>
                </c:pt>
                <c:pt idx="32">
                  <c:v>2.680372857396094</c:v>
                </c:pt>
                <c:pt idx="33">
                  <c:v>2.8695317502408315</c:v>
                </c:pt>
                <c:pt idx="34">
                  <c:v>2.6521423273491336</c:v>
                </c:pt>
                <c:pt idx="35">
                  <c:v>2.2351710730191687</c:v>
                </c:pt>
                <c:pt idx="36">
                  <c:v>2.2029393079202104</c:v>
                </c:pt>
                <c:pt idx="37">
                  <c:v>2.2982518016592866</c:v>
                </c:pt>
                <c:pt idx="38">
                  <c:v>1.9462794283400506</c:v>
                </c:pt>
                <c:pt idx="39">
                  <c:v>2.3308226041982034</c:v>
                </c:pt>
                <c:pt idx="40">
                  <c:v>2.6674777368615885</c:v>
                </c:pt>
                <c:pt idx="41">
                  <c:v>2.5297880022832144</c:v>
                </c:pt>
                <c:pt idx="42">
                  <c:v>2.4396072639845676</c:v>
                </c:pt>
                <c:pt idx="43">
                  <c:v>2.6322265854885134</c:v>
                </c:pt>
                <c:pt idx="44">
                  <c:v>2.799047402404287</c:v>
                </c:pt>
                <c:pt idx="45">
                  <c:v>3.02044531114238</c:v>
                </c:pt>
                <c:pt idx="46">
                  <c:v>2.818527972244594</c:v>
                </c:pt>
                <c:pt idx="47">
                  <c:v>2.7078097057427173</c:v>
                </c:pt>
                <c:pt idx="48">
                  <c:v>2.797233719895224</c:v>
                </c:pt>
                <c:pt idx="49">
                  <c:v>3.040247637408133</c:v>
                </c:pt>
                <c:pt idx="50">
                  <c:v>3.3476910555205968</c:v>
                </c:pt>
                <c:pt idx="51">
                  <c:v>3.361729453017473</c:v>
                </c:pt>
                <c:pt idx="52">
                  <c:v>2.1147566242343943</c:v>
                </c:pt>
                <c:pt idx="53">
                  <c:v>2.1147566242343943</c:v>
                </c:pt>
                <c:pt idx="54">
                  <c:v>2.9383020848048886</c:v>
                </c:pt>
              </c:numCache>
            </c:numRef>
          </c:xVal>
          <c:yVal>
            <c:numRef>
              <c:f>Sheet1!$B$135:$B$189</c:f>
              <c:numCache>
                <c:formatCode>General</c:formatCode>
                <c:ptCount val="55"/>
                <c:pt idx="0">
                  <c:v>0.001739601097202564</c:v>
                </c:pt>
                <c:pt idx="1">
                  <c:v>0.004370960925350065</c:v>
                </c:pt>
                <c:pt idx="2">
                  <c:v>0.003419360078102231</c:v>
                </c:pt>
                <c:pt idx="3">
                  <c:v>0.004191758611293225</c:v>
                </c:pt>
                <c:pt idx="4">
                  <c:v>0.003212695558975959</c:v>
                </c:pt>
                <c:pt idx="5">
                  <c:v>0.003136435612796063</c:v>
                </c:pt>
                <c:pt idx="6">
                  <c:v>0.002897232141911194</c:v>
                </c:pt>
                <c:pt idx="7">
                  <c:v>0.0031061761123741044</c:v>
                </c:pt>
                <c:pt idx="8">
                  <c:v>0.003775631000503811</c:v>
                </c:pt>
                <c:pt idx="9">
                  <c:v>0.0038530170749432107</c:v>
                </c:pt>
                <c:pt idx="10">
                  <c:v>0.0035559854181464283</c:v>
                </c:pt>
                <c:pt idx="11">
                  <c:v>0.0033035366853352783</c:v>
                </c:pt>
                <c:pt idx="12">
                  <c:v>0.003993320353348072</c:v>
                </c:pt>
                <c:pt idx="13">
                  <c:v>0.0047915201298381815</c:v>
                </c:pt>
                <c:pt idx="14">
                  <c:v>0.004604964492488991</c:v>
                </c:pt>
                <c:pt idx="15">
                  <c:v>0.003799432839584592</c:v>
                </c:pt>
                <c:pt idx="16">
                  <c:v>0.004490660949188682</c:v>
                </c:pt>
                <c:pt idx="17">
                  <c:v>0.0042819624660967864</c:v>
                </c:pt>
                <c:pt idx="18">
                  <c:v>0.0023086325383712553</c:v>
                </c:pt>
                <c:pt idx="19">
                  <c:v>0.0046446248859727535</c:v>
                </c:pt>
                <c:pt idx="20">
                  <c:v>0.003746007997852004</c:v>
                </c:pt>
                <c:pt idx="21">
                  <c:v>0.004344263413500235</c:v>
                </c:pt>
                <c:pt idx="22">
                  <c:v>0.005341378146143122</c:v>
                </c:pt>
                <c:pt idx="23">
                  <c:v>0.004869171412712938</c:v>
                </c:pt>
                <c:pt idx="24">
                  <c:v>0.004298076013384303</c:v>
                </c:pt>
                <c:pt idx="25">
                  <c:v>0.005156179895874249</c:v>
                </c:pt>
                <c:pt idx="26">
                  <c:v>0.004898613093586989</c:v>
                </c:pt>
                <c:pt idx="27">
                  <c:v>0.003688689239667334</c:v>
                </c:pt>
                <c:pt idx="28">
                  <c:v>0.0036887491700431617</c:v>
                </c:pt>
                <c:pt idx="29">
                  <c:v>0.0049298827136633324</c:v>
                </c:pt>
                <c:pt idx="30">
                  <c:v>0.00343291164192752</c:v>
                </c:pt>
                <c:pt idx="31">
                  <c:v>0.0031448172363307825</c:v>
                </c:pt>
                <c:pt idx="32">
                  <c:v>0.0031188953313202074</c:v>
                </c:pt>
                <c:pt idx="33">
                  <c:v>0.0026357367278857366</c:v>
                </c:pt>
                <c:pt idx="34">
                  <c:v>0.003191003088278268</c:v>
                </c:pt>
                <c:pt idx="35">
                  <c:v>0.004256050815533403</c:v>
                </c:pt>
                <c:pt idx="36">
                  <c:v>0.004338378716575957</c:v>
                </c:pt>
                <c:pt idx="37">
                  <c:v>0.0040949270306823</c:v>
                </c:pt>
                <c:pt idx="38">
                  <c:v>0.004993951537449862</c:v>
                </c:pt>
                <c:pt idx="39">
                  <c:v>0.00401173314415242</c:v>
                </c:pt>
                <c:pt idx="40">
                  <c:v>0.003151832658954519</c:v>
                </c:pt>
                <c:pt idx="41">
                  <c:v>0.0035035263005574807</c:v>
                </c:pt>
                <c:pt idx="42">
                  <c:v>0.003733870213644493</c:v>
                </c:pt>
                <c:pt idx="43">
                  <c:v>0.003241872819428771</c:v>
                </c:pt>
                <c:pt idx="44">
                  <c:v>0.0028157711875537094</c:v>
                </c:pt>
                <c:pt idx="45">
                  <c:v>0.0022502661627542084</c:v>
                </c:pt>
                <c:pt idx="46">
                  <c:v>0.002766012993388997</c:v>
                </c:pt>
                <c:pt idx="47">
                  <c:v>0.0030488148337531234</c:v>
                </c:pt>
                <c:pt idx="48">
                  <c:v>0.0028204037813216983</c:v>
                </c:pt>
                <c:pt idx="49">
                  <c:v>0.0021996861230879367</c:v>
                </c:pt>
                <c:pt idx="50">
                  <c:v>0.0014143995827809817</c:v>
                </c:pt>
                <c:pt idx="51">
                  <c:v>0.0013785420429791601</c:v>
                </c:pt>
                <c:pt idx="52">
                  <c:v>0.004563619103934927</c:v>
                </c:pt>
                <c:pt idx="53">
                  <c:v>0.004563619103934927</c:v>
                </c:pt>
                <c:pt idx="54">
                  <c:v>0.00246008028210095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3</c:f>
              <c:numCache>
                <c:formatCode>General</c:formatCode>
                <c:ptCount val="32"/>
                <c:pt idx="0">
                  <c:v>1.2405882352941175</c:v>
                </c:pt>
                <c:pt idx="1">
                  <c:v>1.0075380591006236</c:v>
                </c:pt>
                <c:pt idx="2">
                  <c:v>0.8132333767926989</c:v>
                </c:pt>
                <c:pt idx="3">
                  <c:v>0.835097454448461</c:v>
                </c:pt>
                <c:pt idx="4">
                  <c:v>0.9970998901121307</c:v>
                </c:pt>
                <c:pt idx="5">
                  <c:v>0.9068781596653938</c:v>
                </c:pt>
                <c:pt idx="6">
                  <c:v>0.5728047089122335</c:v>
                </c:pt>
                <c:pt idx="7">
                  <c:v>0.5774242894417061</c:v>
                </c:pt>
                <c:pt idx="8">
                  <c:v>0.6731182795698926</c:v>
                </c:pt>
                <c:pt idx="9">
                  <c:v>0.7061967685885908</c:v>
                </c:pt>
                <c:pt idx="10">
                  <c:v>0.8100280538781705</c:v>
                </c:pt>
                <c:pt idx="11">
                  <c:v>0.6423211186394151</c:v>
                </c:pt>
                <c:pt idx="12">
                  <c:v>0.0</c:v>
                </c:pt>
                <c:pt idx="13">
                  <c:v>0.0</c:v>
                </c:pt>
                <c:pt idx="14">
                  <c:v>0.6226890546995276</c:v>
                </c:pt>
                <c:pt idx="15">
                  <c:v>0.6256630804311878</c:v>
                </c:pt>
                <c:pt idx="16">
                  <c:v>0.605701884186643</c:v>
                </c:pt>
                <c:pt idx="17">
                  <c:v>0.4393305439330544</c:v>
                </c:pt>
                <c:pt idx="18">
                  <c:v>0.2799806576402321</c:v>
                </c:pt>
                <c:pt idx="19">
                  <c:v>0.21940082414522777</c:v>
                </c:pt>
                <c:pt idx="20">
                  <c:v>0.2254415796268491</c:v>
                </c:pt>
                <c:pt idx="21">
                  <c:v>0.1614313073321854</c:v>
                </c:pt>
                <c:pt idx="22">
                  <c:v>0.1707845687039445</c:v>
                </c:pt>
                <c:pt idx="23">
                  <c:v>0.12776176753121998</c:v>
                </c:pt>
                <c:pt idx="24">
                  <c:v>0.0</c:v>
                </c:pt>
                <c:pt idx="25">
                  <c:v>0.1203602669361463</c:v>
                </c:pt>
                <c:pt idx="26">
                  <c:v>0.0</c:v>
                </c:pt>
                <c:pt idx="27">
                  <c:v>0.11039074820396004</c:v>
                </c:pt>
                <c:pt idx="28">
                  <c:v>0.0</c:v>
                </c:pt>
                <c:pt idx="29">
                  <c:v>0.0</c:v>
                </c:pt>
                <c:pt idx="30">
                  <c:v>0.0</c:v>
                </c:pt>
                <c:pt idx="31">
                  <c:v>0.0</c:v>
                </c:pt>
              </c:numCache>
            </c:numRef>
          </c:xVal>
          <c:yVal>
            <c:numRef>
              <c:f>Sheet1!$B$2:$B$33</c:f>
              <c:numCache>
                <c:formatCode>General</c:formatCode>
                <c:ptCount val="32"/>
                <c:pt idx="0">
                  <c:v>0.06666666666666667</c:v>
                </c:pt>
                <c:pt idx="1">
                  <c:v>0.15789473684210525</c:v>
                </c:pt>
                <c:pt idx="2">
                  <c:v>0.10810810810810811</c:v>
                </c:pt>
                <c:pt idx="3">
                  <c:v>0.12244897959183673</c:v>
                </c:pt>
                <c:pt idx="4">
                  <c:v>0.14893617021276595</c:v>
                </c:pt>
                <c:pt idx="5">
                  <c:v>0.24074074074074073</c:v>
                </c:pt>
                <c:pt idx="6">
                  <c:v>0.5483870967741935</c:v>
                </c:pt>
                <c:pt idx="7">
                  <c:v>0.3333333333333333</c:v>
                </c:pt>
                <c:pt idx="8">
                  <c:v>0.12195121951219512</c:v>
                </c:pt>
                <c:pt idx="9">
                  <c:v>0.14285714285714285</c:v>
                </c:pt>
                <c:pt idx="10">
                  <c:v>0.0625</c:v>
                </c:pt>
                <c:pt idx="11">
                  <c:v>0.03225806451612903</c:v>
                </c:pt>
                <c:pt idx="12">
                  <c:v>0.0</c:v>
                </c:pt>
                <c:pt idx="13">
                  <c:v>0.0</c:v>
                </c:pt>
                <c:pt idx="14">
                  <c:v>0.1</c:v>
                </c:pt>
                <c:pt idx="15">
                  <c:v>0.03571428571428571</c:v>
                </c:pt>
                <c:pt idx="16">
                  <c:v>0.03125</c:v>
                </c:pt>
                <c:pt idx="17">
                  <c:v>0.03571428571428571</c:v>
                </c:pt>
                <c:pt idx="18">
                  <c:v>0.08</c:v>
                </c:pt>
                <c:pt idx="19">
                  <c:v>0.12</c:v>
                </c:pt>
                <c:pt idx="20">
                  <c:v>0.1111111111111111</c:v>
                </c:pt>
                <c:pt idx="21">
                  <c:v>0.1</c:v>
                </c:pt>
                <c:pt idx="22">
                  <c:v>0.05555555555555555</c:v>
                </c:pt>
                <c:pt idx="23">
                  <c:v>0.047619047619047616</c:v>
                </c:pt>
                <c:pt idx="24">
                  <c:v>0.0</c:v>
                </c:pt>
                <c:pt idx="25">
                  <c:v>0.0625</c:v>
                </c:pt>
                <c:pt idx="26">
                  <c:v>0.0</c:v>
                </c:pt>
                <c:pt idx="27">
                  <c:v>0.05</c:v>
                </c:pt>
                <c:pt idx="28">
                  <c:v>0.0</c:v>
                </c:pt>
                <c:pt idx="29">
                  <c:v>0.0</c:v>
                </c:pt>
                <c:pt idx="30">
                  <c:v>0.0</c:v>
                </c:pt>
                <c:pt idx="31">
                  <c:v>0.0</c:v>
                </c:pt>
              </c:numCache>
            </c:numRef>
          </c:yVal>
          <c:smooth val="0"/>
          <c:extLst>
            <c:ext xmlns:c16="http://schemas.microsoft.com/office/drawing/2014/chart" uri="{C3380CC4-5D6E-409C-BE32-E72D297353CC}">
              <c16:uniqueId val="{00000000-096C-4121-9522-6AB7243CCAAE}"/>
            </c:ext>
          </c:extLst>
        </c:ser>
        <c:ser>
          <c:idx val="1"/>
          <c:order val="1"/>
          <c:tx>
            <c:strRef>
              <c:f>Sheet1!$B$3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6:$A$35</c:f>
              <c:numCache>
                <c:formatCode>General</c:formatCode>
                <c:ptCount val="0"/>
              </c:numCache>
            </c:numRef>
          </c:xVal>
          <c:yVal>
            <c:numRef>
              <c:f>Sheet1!$B$36:$B$3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8:$A$39</c:f>
              <c:numCache>
                <c:formatCode>General</c:formatCode>
                <c:ptCount val="2"/>
                <c:pt idx="0">
                  <c:v>0</c:v>
                </c:pt>
                <c:pt idx="1">
                  <c:v>0.15533966096065774</c:v>
                </c:pt>
              </c:numCache>
            </c:numRef>
          </c:xVal>
          <c:yVal>
            <c:numRef>
              <c:f>Sheet1!$B$38:$B$39</c:f>
              <c:numCache>
                <c:formatCode>General</c:formatCode>
                <c:ptCount val="2"/>
                <c:pt idx="0">
                  <c:v>0.15533966096065774</c:v>
                </c:pt>
                <c:pt idx="1">
                  <c:v>0.15533966096065774</c:v>
                </c:pt>
              </c:numCache>
            </c:numRef>
          </c:yVal>
          <c:smooth val="0"/>
          <c:extLst>
            <c:ext xmlns:c16="http://schemas.microsoft.com/office/drawing/2014/chart" uri="{C3380CC4-5D6E-409C-BE32-E72D297353CC}">
              <c16:uniqueId val="{00000005-096C-4121-9522-6AB7243CCAAE}"/>
            </c:ext>
          </c:extLst>
        </c:ser>
        <c:ser>
          <c:idx val="3"/>
          <c:order val="3"/>
          <c:tx>
            <c:strRef>
              <c:f>Sheet1!$B$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0.15533966096065774</c:v>
                </c:pt>
                <c:pt idx="1">
                  <c:v>0.15533966096065774</c:v>
                </c:pt>
              </c:numCache>
            </c:numRef>
          </c:xVal>
          <c:yVal>
            <c:numRef>
              <c:f>Sheet1!$B$42:$B$43</c:f>
              <c:numCache>
                <c:formatCode>General</c:formatCode>
                <c:ptCount val="2"/>
                <c:pt idx="0">
                  <c:v>0.155339660960657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6:$A$48</c:f>
              <c:numCache>
                <c:formatCode>General</c:formatCode>
                <c:ptCount val="3"/>
                <c:pt idx="0">
                  <c:v>0</c:v>
                </c:pt>
                <c:pt idx="1">
                  <c:v>0.15533966096065774</c:v>
                </c:pt>
                <c:pt idx="2">
                  <c:v>0</c:v>
                </c:pt>
              </c:numCache>
            </c:numRef>
          </c:xVal>
          <c:yVal>
            <c:numRef>
              <c:f>Sheet1!$B$46:$B$48</c:f>
              <c:numCache>
                <c:formatCode>General</c:formatCode>
                <c:ptCount val="3"/>
                <c:pt idx="0">
                  <c:v>0</c:v>
                </c:pt>
                <c:pt idx="1">
                  <c:v>0.15533966096065774</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8064516129032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3</c:f>
              <c:numCache>
                <c:formatCode>General</c:formatCode>
                <c:ptCount val="32"/>
                <c:pt idx="0">
                  <c:v>1054.5</c:v>
                </c:pt>
                <c:pt idx="1">
                  <c:v>1047.0</c:v>
                </c:pt>
                <c:pt idx="2">
                  <c:v>873.25</c:v>
                </c:pt>
                <c:pt idx="3">
                  <c:v>938.0</c:v>
                </c:pt>
                <c:pt idx="4">
                  <c:v>1046.5714</c:v>
                </c:pt>
                <c:pt idx="5">
                  <c:v>997.3846</c:v>
                </c:pt>
                <c:pt idx="6">
                  <c:v>607.902</c:v>
                </c:pt>
                <c:pt idx="7">
                  <c:v>639.5455</c:v>
                </c:pt>
                <c:pt idx="8">
                  <c:v>751.2</c:v>
                </c:pt>
                <c:pt idx="9">
                  <c:v>759.75</c:v>
                </c:pt>
                <c:pt idx="10">
                  <c:v>867.0</c:v>
                </c:pt>
                <c:pt idx="11">
                  <c:v>665.0</c:v>
                </c:pt>
                <c:pt idx="12">
                  <c:v>0.0</c:v>
                </c:pt>
                <c:pt idx="13">
                  <c:v>0.0</c:v>
                </c:pt>
                <c:pt idx="14">
                  <c:v>617.5</c:v>
                </c:pt>
                <c:pt idx="15">
                  <c:v>626.0</c:v>
                </c:pt>
                <c:pt idx="16">
                  <c:v>614.0</c:v>
                </c:pt>
                <c:pt idx="17">
                  <c:v>420.0</c:v>
                </c:pt>
                <c:pt idx="18">
                  <c:v>289.5</c:v>
                </c:pt>
                <c:pt idx="19">
                  <c:v>197.0</c:v>
                </c:pt>
                <c:pt idx="20">
                  <c:v>242.5</c:v>
                </c:pt>
                <c:pt idx="21">
                  <c:v>197.0</c:v>
                </c:pt>
                <c:pt idx="22">
                  <c:v>197.0</c:v>
                </c:pt>
                <c:pt idx="23">
                  <c:v>133.0</c:v>
                </c:pt>
                <c:pt idx="24">
                  <c:v>0.0</c:v>
                </c:pt>
                <c:pt idx="25">
                  <c:v>126.0</c:v>
                </c:pt>
                <c:pt idx="26">
                  <c:v>0.0</c:v>
                </c:pt>
                <c:pt idx="27">
                  <c:v>126.0</c:v>
                </c:pt>
                <c:pt idx="28">
                  <c:v>0.0</c:v>
                </c:pt>
                <c:pt idx="29">
                  <c:v>0.0</c:v>
                </c:pt>
                <c:pt idx="30">
                  <c:v>0.0</c:v>
                </c:pt>
                <c:pt idx="31">
                  <c:v>0.0</c:v>
                </c:pt>
              </c:numCache>
            </c:numRef>
          </c:xVal>
          <c:yVal>
            <c:numRef>
              <c:f>Sheet1!$B$2:$B$33</c:f>
              <c:numCache>
                <c:formatCode>General</c:formatCode>
                <c:ptCount val="32"/>
                <c:pt idx="0">
                  <c:v>0.06666666666666667</c:v>
                </c:pt>
                <c:pt idx="1">
                  <c:v>0.15789473684210525</c:v>
                </c:pt>
                <c:pt idx="2">
                  <c:v>0.10810810810810811</c:v>
                </c:pt>
                <c:pt idx="3">
                  <c:v>0.12244897959183673</c:v>
                </c:pt>
                <c:pt idx="4">
                  <c:v>0.14893617021276595</c:v>
                </c:pt>
                <c:pt idx="5">
                  <c:v>0.24074074074074073</c:v>
                </c:pt>
                <c:pt idx="6">
                  <c:v>0.5483870967741935</c:v>
                </c:pt>
                <c:pt idx="7">
                  <c:v>0.3333333333333333</c:v>
                </c:pt>
                <c:pt idx="8">
                  <c:v>0.12195121951219512</c:v>
                </c:pt>
                <c:pt idx="9">
                  <c:v>0.14285714285714285</c:v>
                </c:pt>
                <c:pt idx="10">
                  <c:v>0.0625</c:v>
                </c:pt>
                <c:pt idx="11">
                  <c:v>0.03225806451612903</c:v>
                </c:pt>
                <c:pt idx="12">
                  <c:v>0.0</c:v>
                </c:pt>
                <c:pt idx="13">
                  <c:v>0.0</c:v>
                </c:pt>
                <c:pt idx="14">
                  <c:v>0.1</c:v>
                </c:pt>
                <c:pt idx="15">
                  <c:v>0.03571428571428571</c:v>
                </c:pt>
                <c:pt idx="16">
                  <c:v>0.03125</c:v>
                </c:pt>
                <c:pt idx="17">
                  <c:v>0.03571428571428571</c:v>
                </c:pt>
                <c:pt idx="18">
                  <c:v>0.08</c:v>
                </c:pt>
                <c:pt idx="19">
                  <c:v>0.12</c:v>
                </c:pt>
                <c:pt idx="20">
                  <c:v>0.1111111111111111</c:v>
                </c:pt>
                <c:pt idx="21">
                  <c:v>0.1</c:v>
                </c:pt>
                <c:pt idx="22">
                  <c:v>0.05555555555555555</c:v>
                </c:pt>
                <c:pt idx="23">
                  <c:v>0.047619047619047616</c:v>
                </c:pt>
                <c:pt idx="24">
                  <c:v>0.0</c:v>
                </c:pt>
                <c:pt idx="25">
                  <c:v>0.0625</c:v>
                </c:pt>
                <c:pt idx="26">
                  <c:v>0.0</c:v>
                </c:pt>
                <c:pt idx="27">
                  <c:v>0.05</c:v>
                </c:pt>
                <c:pt idx="28">
                  <c:v>0.0</c:v>
                </c:pt>
                <c:pt idx="29">
                  <c:v>0.0</c:v>
                </c:pt>
                <c:pt idx="30">
                  <c:v>0.0</c:v>
                </c:pt>
                <c:pt idx="31">
                  <c:v>0.0</c:v>
                </c:pt>
              </c:numCache>
            </c:numRef>
          </c:yVal>
          <c:smooth val="0"/>
          <c:extLst>
            <c:ext xmlns:c16="http://schemas.microsoft.com/office/drawing/2014/chart" uri="{C3380CC4-5D6E-409C-BE32-E72D297353CC}">
              <c16:uniqueId val="{00000000-F32D-48B7-BC20-E66FC6253BAD}"/>
            </c:ext>
          </c:extLst>
        </c:ser>
        <c:ser>
          <c:idx val="1"/>
          <c:order val="1"/>
          <c:tx>
            <c:strRef>
              <c:f>Sheet1!$B$3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6:$A$35</c:f>
              <c:numCache>
                <c:formatCode>General</c:formatCode>
                <c:ptCount val="0"/>
              </c:numCache>
            </c:numRef>
          </c:xVal>
          <c:yVal>
            <c:numRef>
              <c:f>Sheet1!$B$36:$B$3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37</c:f>
              <c:strCache>
                <c:ptCount val="1"/>
                <c:pt idx="0">
                  <c:v>Custom Linep3yQ</c:v>
                </c:pt>
              </c:strCache>
            </c:strRef>
          </c:tx>
          <c:spPr>
            <a:ln w="19050" cap="rnd">
              <a:solidFill>
                <a:srgbClr val="C00000"/>
              </a:solidFill>
              <a:prstDash val="sysDot"/>
              <a:round/>
            </a:ln>
            <a:effectLst/>
          </c:spPr>
          <c:marker>
            <c:symbol val="none"/>
          </c:marker>
          <c:xVal>
            <c:numRef>
              <c:f>Sheet1!$A$38:$A$39</c:f>
              <c:numCache>
                <c:formatCode>General</c:formatCode>
                <c:ptCount val="2"/>
                <c:pt idx="0">
                  <c:v>0</c:v>
                </c:pt>
                <c:pt idx="1">
                  <c:v>0.15533966096065774</c:v>
                </c:pt>
              </c:numCache>
            </c:numRef>
          </c:xVal>
          <c:yVal>
            <c:numRef>
              <c:f>Sheet1!$B$38:$B$39</c:f>
              <c:numCache>
                <c:formatCode>General</c:formatCode>
                <c:ptCount val="2"/>
                <c:pt idx="0">
                  <c:v>0.15533966096065774</c:v>
                </c:pt>
                <c:pt idx="1">
                  <c:v>0.15533966096065774</c:v>
                </c:pt>
              </c:numCache>
            </c:numRef>
          </c:yVal>
          <c:smooth val="0"/>
          <c:extLst>
            <c:ext xmlns:c16="http://schemas.microsoft.com/office/drawing/2014/chart" uri="{C3380CC4-5D6E-409C-BE32-E72D297353CC}">
              <c16:uniqueId val="{00000003-F32D-48B7-BC20-E66FC6253BAD}"/>
            </c:ext>
          </c:extLst>
        </c:ser>
        <c:ser>
          <c:idx val="3"/>
          <c:order val="3"/>
          <c:tx>
            <c:strRef>
              <c:f>Sheet1!$B$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0.15533966096065774</c:v>
                </c:pt>
                <c:pt idx="1">
                  <c:v>0.15533966096065774</c:v>
                </c:pt>
              </c:numCache>
            </c:numRef>
          </c:xVal>
          <c:yVal>
            <c:numRef>
              <c:f>Sheet1!$B$42:$B$43</c:f>
              <c:numCache>
                <c:formatCode>General</c:formatCode>
                <c:ptCount val="2"/>
                <c:pt idx="0">
                  <c:v>0.155339660960657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6:$A$48</c:f>
              <c:numCache>
                <c:formatCode>General</c:formatCode>
                <c:ptCount val="3"/>
                <c:pt idx="0">
                  <c:v>0</c:v>
                </c:pt>
                <c:pt idx="1">
                  <c:v>0.15533966096065774</c:v>
                </c:pt>
                <c:pt idx="2">
                  <c:v>0</c:v>
                </c:pt>
              </c:numCache>
            </c:numRef>
          </c:xVal>
          <c:yVal>
            <c:numRef>
              <c:f>Sheet1!$B$46:$B$48</c:f>
              <c:numCache>
                <c:formatCode>General</c:formatCode>
                <c:ptCount val="3"/>
                <c:pt idx="0">
                  <c:v>0</c:v>
                </c:pt>
                <c:pt idx="1">
                  <c:v>0.15533966096065774</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8064516129032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3</c:f>
              <c:numCache>
                <c:formatCode>General</c:formatCode>
                <c:ptCount val="42"/>
                <c:pt idx="0">
                  <c:v>0.0</c:v>
                </c:pt>
                <c:pt idx="1">
                  <c:v>0.0</c:v>
                </c:pt>
                <c:pt idx="2">
                  <c:v>4.013698630136986</c:v>
                </c:pt>
                <c:pt idx="3">
                  <c:v>0.0</c:v>
                </c:pt>
                <c:pt idx="4">
                  <c:v>0.0</c:v>
                </c:pt>
                <c:pt idx="5">
                  <c:v>0.0</c:v>
                </c:pt>
                <c:pt idx="6">
                  <c:v>0.0</c:v>
                </c:pt>
                <c:pt idx="7">
                  <c:v>1.137448559670782</c:v>
                </c:pt>
                <c:pt idx="8">
                  <c:v>0.8488287853175561</c:v>
                </c:pt>
                <c:pt idx="9">
                  <c:v>0.7521845217920068</c:v>
                </c:pt>
                <c:pt idx="10">
                  <c:v>1.0872694980480975</c:v>
                </c:pt>
                <c:pt idx="11">
                  <c:v>0.8082445576655859</c:v>
                </c:pt>
                <c:pt idx="12">
                  <c:v>0.638224008770327</c:v>
                </c:pt>
                <c:pt idx="13">
                  <c:v>0.721330385465731</c:v>
                </c:pt>
                <c:pt idx="14">
                  <c:v>0.7888728947519373</c:v>
                </c:pt>
                <c:pt idx="15">
                  <c:v>0.7878926815773486</c:v>
                </c:pt>
                <c:pt idx="16">
                  <c:v>0.4875567567853698</c:v>
                </c:pt>
                <c:pt idx="17">
                  <c:v>0.5025239522649567</c:v>
                </c:pt>
                <c:pt idx="18">
                  <c:v>0.6280936454849498</c:v>
                </c:pt>
                <c:pt idx="19">
                  <c:v>0.6555220017256256</c:v>
                </c:pt>
                <c:pt idx="20">
                  <c:v>0.701314459049545</c:v>
                </c:pt>
                <c:pt idx="21">
                  <c:v>0.5944134078212291</c:v>
                </c:pt>
                <c:pt idx="22">
                  <c:v>0.0</c:v>
                </c:pt>
                <c:pt idx="23">
                  <c:v>0.0</c:v>
                </c:pt>
                <c:pt idx="24">
                  <c:v>0.5327868852459017</c:v>
                </c:pt>
                <c:pt idx="25">
                  <c:v>0.50220617729643</c:v>
                </c:pt>
                <c:pt idx="26">
                  <c:v>0.448748401242463</c:v>
                </c:pt>
                <c:pt idx="27">
                  <c:v>0.2809364548494983</c:v>
                </c:pt>
                <c:pt idx="28">
                  <c:v>0.2903711133400201</c:v>
                </c:pt>
                <c:pt idx="29">
                  <c:v>0.16963261106867425</c:v>
                </c:pt>
                <c:pt idx="30">
                  <c:v>0.0</c:v>
                </c:pt>
                <c:pt idx="31">
                  <c:v>0.13177257525083613</c:v>
                </c:pt>
                <c:pt idx="32">
                  <c:v>0.17459380131739444</c:v>
                </c:pt>
                <c:pt idx="33">
                  <c:v>0.10665597433841219</c:v>
                </c:pt>
                <c:pt idx="34">
                  <c:v>0.0</c:v>
                </c:pt>
                <c:pt idx="35">
                  <c:v>0.10108303249097472</c:v>
                </c:pt>
                <c:pt idx="36">
                  <c:v>0.0</c:v>
                </c:pt>
                <c:pt idx="37">
                  <c:v>0.12637913741223672</c:v>
                </c:pt>
                <c:pt idx="38">
                  <c:v>0.0</c:v>
                </c:pt>
                <c:pt idx="39">
                  <c:v>0.0</c:v>
                </c:pt>
                <c:pt idx="40">
                  <c:v>0.0</c:v>
                </c:pt>
                <c:pt idx="41">
                  <c:v>0.0</c:v>
                </c:pt>
              </c:numCache>
            </c:numRef>
          </c:xVal>
          <c:yVal>
            <c:numRef>
              <c:f>Sheet1!$B$2:$B$43</c:f>
              <c:numCache>
                <c:formatCode>General</c:formatCode>
                <c:ptCount val="42"/>
                <c:pt idx="0">
                  <c:v>0.0</c:v>
                </c:pt>
                <c:pt idx="1">
                  <c:v>0.0</c:v>
                </c:pt>
                <c:pt idx="2">
                  <c:v>0.05128205128205128</c:v>
                </c:pt>
                <c:pt idx="3">
                  <c:v>0.16279069767441862</c:v>
                </c:pt>
                <c:pt idx="4">
                  <c:v>0.0967741935483871</c:v>
                </c:pt>
                <c:pt idx="5">
                  <c:v>0.0958904109589041</c:v>
                </c:pt>
                <c:pt idx="6">
                  <c:v>0.13157894736842105</c:v>
                </c:pt>
                <c:pt idx="7">
                  <c:v>0.03125</c:v>
                </c:pt>
                <c:pt idx="8">
                  <c:v>0.06666666666666667</c:v>
                </c:pt>
                <c:pt idx="9">
                  <c:v>0.09090909090909091</c:v>
                </c:pt>
                <c:pt idx="10">
                  <c:v>0.1</c:v>
                </c:pt>
                <c:pt idx="11">
                  <c:v>0.15789473684210525</c:v>
                </c:pt>
                <c:pt idx="12">
                  <c:v>0.10810810810810811</c:v>
                </c:pt>
                <c:pt idx="13">
                  <c:v>0.12244897959183673</c:v>
                </c:pt>
                <c:pt idx="14">
                  <c:v>0.14893617021276595</c:v>
                </c:pt>
                <c:pt idx="15">
                  <c:v>0.24074074074074073</c:v>
                </c:pt>
                <c:pt idx="16">
                  <c:v>0.5483870967741935</c:v>
                </c:pt>
                <c:pt idx="17">
                  <c:v>0.3333333333333333</c:v>
                </c:pt>
                <c:pt idx="18">
                  <c:v>0.12195121951219512</c:v>
                </c:pt>
                <c:pt idx="19">
                  <c:v>0.14285714285714285</c:v>
                </c:pt>
                <c:pt idx="20">
                  <c:v>0.0625</c:v>
                </c:pt>
                <c:pt idx="21">
                  <c:v>0.03225806451612903</c:v>
                </c:pt>
                <c:pt idx="22">
                  <c:v>0.0</c:v>
                </c:pt>
                <c:pt idx="23">
                  <c:v>0.0</c:v>
                </c:pt>
                <c:pt idx="24">
                  <c:v>0.1</c:v>
                </c:pt>
                <c:pt idx="25">
                  <c:v>0.03571428571428571</c:v>
                </c:pt>
                <c:pt idx="26">
                  <c:v>0.03125</c:v>
                </c:pt>
                <c:pt idx="27">
                  <c:v>0.03571428571428571</c:v>
                </c:pt>
                <c:pt idx="28">
                  <c:v>0.08</c:v>
                </c:pt>
                <c:pt idx="29">
                  <c:v>0.12</c:v>
                </c:pt>
                <c:pt idx="30">
                  <c:v>0.1111111111111111</c:v>
                </c:pt>
                <c:pt idx="31">
                  <c:v>0.1</c:v>
                </c:pt>
                <c:pt idx="32">
                  <c:v>0.05555555555555555</c:v>
                </c:pt>
                <c:pt idx="33">
                  <c:v>0.047619047619047616</c:v>
                </c:pt>
                <c:pt idx="34">
                  <c:v>0.0</c:v>
                </c:pt>
                <c:pt idx="35">
                  <c:v>0.0625</c:v>
                </c:pt>
                <c:pt idx="36">
                  <c:v>0.0</c:v>
                </c:pt>
                <c:pt idx="37">
                  <c:v>0.05</c:v>
                </c:pt>
                <c:pt idx="38">
                  <c:v>0.0</c:v>
                </c:pt>
                <c:pt idx="39">
                  <c:v>0.0</c:v>
                </c:pt>
                <c:pt idx="40">
                  <c:v>0.0</c:v>
                </c:pt>
                <c:pt idx="41">
                  <c:v>0.0</c:v>
                </c:pt>
              </c:numCache>
            </c:numRef>
          </c:yVal>
          <c:smooth val="0"/>
          <c:extLst>
            <c:ext xmlns:c16="http://schemas.microsoft.com/office/drawing/2014/chart" uri="{C3380CC4-5D6E-409C-BE32-E72D297353CC}">
              <c16:uniqueId val="{00000000-096C-4121-9522-6AB7243CCAAE}"/>
            </c:ext>
          </c:extLst>
        </c:ser>
        <c:ser>
          <c:idx val="1"/>
          <c:order val="1"/>
          <c:tx>
            <c:strRef>
              <c:f>Sheet1!$B$4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6:$A$45</c:f>
              <c:numCache>
                <c:formatCode>General</c:formatCode>
                <c:ptCount val="0"/>
              </c:numCache>
            </c:numRef>
          </c:xVal>
          <c:yVal>
            <c:numRef>
              <c:f>Sheet1!$B$46:$B$4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4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8:$A$49</c:f>
              <c:numCache>
                <c:formatCode>General</c:formatCode>
                <c:ptCount val="2"/>
                <c:pt idx="0">
                  <c:v>0</c:v>
                </c:pt>
                <c:pt idx="1">
                  <c:v>0.15533966096065774</c:v>
                </c:pt>
              </c:numCache>
            </c:numRef>
          </c:xVal>
          <c:yVal>
            <c:numRef>
              <c:f>Sheet1!$B$48:$B$49</c:f>
              <c:numCache>
                <c:formatCode>General</c:formatCode>
                <c:ptCount val="2"/>
                <c:pt idx="0">
                  <c:v>0.15533966096065774</c:v>
                </c:pt>
                <c:pt idx="1">
                  <c:v>0.15533966096065774</c:v>
                </c:pt>
              </c:numCache>
            </c:numRef>
          </c:yVal>
          <c:smooth val="0"/>
          <c:extLst>
            <c:ext xmlns:c16="http://schemas.microsoft.com/office/drawing/2014/chart" uri="{C3380CC4-5D6E-409C-BE32-E72D297353CC}">
              <c16:uniqueId val="{00000005-096C-4121-9522-6AB7243CCAAE}"/>
            </c:ext>
          </c:extLst>
        </c:ser>
        <c:ser>
          <c:idx val="3"/>
          <c:order val="3"/>
          <c:tx>
            <c:strRef>
              <c:f>Sheet1!$B$5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2:$A$53</c:f>
              <c:numCache>
                <c:formatCode>General</c:formatCode>
                <c:ptCount val="2"/>
                <c:pt idx="0">
                  <c:v>0.15533966096065774</c:v>
                </c:pt>
                <c:pt idx="1">
                  <c:v>0.15533966096065774</c:v>
                </c:pt>
              </c:numCache>
            </c:numRef>
          </c:xVal>
          <c:yVal>
            <c:numRef>
              <c:f>Sheet1!$B$52:$B$53</c:f>
              <c:numCache>
                <c:formatCode>General</c:formatCode>
                <c:ptCount val="2"/>
                <c:pt idx="0">
                  <c:v>0.155339660960657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6:$A$58</c:f>
              <c:numCache>
                <c:formatCode>General</c:formatCode>
                <c:ptCount val="3"/>
                <c:pt idx="0">
                  <c:v>0</c:v>
                </c:pt>
                <c:pt idx="1">
                  <c:v>0.15533966096065774</c:v>
                </c:pt>
                <c:pt idx="2">
                  <c:v>0</c:v>
                </c:pt>
              </c:numCache>
            </c:numRef>
          </c:xVal>
          <c:yVal>
            <c:numRef>
              <c:f>Sheet1!$B$56:$B$58</c:f>
              <c:numCache>
                <c:formatCode>General</c:formatCode>
                <c:ptCount val="3"/>
                <c:pt idx="0">
                  <c:v>0</c:v>
                </c:pt>
                <c:pt idx="1">
                  <c:v>0.15533966096065774</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8064516129032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3</c:f>
              <c:numCache>
                <c:formatCode>General</c:formatCode>
                <c:ptCount val="42"/>
                <c:pt idx="0">
                  <c:v>0.0</c:v>
                </c:pt>
                <c:pt idx="1">
                  <c:v>0.0</c:v>
                </c:pt>
                <c:pt idx="2">
                  <c:v>879.0</c:v>
                </c:pt>
                <c:pt idx="3">
                  <c:v>1044.5714</c:v>
                </c:pt>
                <c:pt idx="4">
                  <c:v>913.0</c:v>
                </c:pt>
                <c:pt idx="5">
                  <c:v>1044.5714</c:v>
                </c:pt>
                <c:pt idx="6">
                  <c:v>966.8</c:v>
                </c:pt>
                <c:pt idx="7">
                  <c:v>1382.0</c:v>
                </c:pt>
                <c:pt idx="8">
                  <c:v>1054.5</c:v>
                </c:pt>
                <c:pt idx="9">
                  <c:v>879.25</c:v>
                </c:pt>
                <c:pt idx="10">
                  <c:v>996.5</c:v>
                </c:pt>
                <c:pt idx="11">
                  <c:v>1047.0</c:v>
                </c:pt>
                <c:pt idx="12">
                  <c:v>873.25</c:v>
                </c:pt>
                <c:pt idx="13">
                  <c:v>938.0</c:v>
                </c:pt>
                <c:pt idx="14">
                  <c:v>1046.5714</c:v>
                </c:pt>
                <c:pt idx="15">
                  <c:v>997.3846</c:v>
                </c:pt>
                <c:pt idx="16">
                  <c:v>607.902</c:v>
                </c:pt>
                <c:pt idx="17">
                  <c:v>639.5455</c:v>
                </c:pt>
                <c:pt idx="18">
                  <c:v>751.2</c:v>
                </c:pt>
                <c:pt idx="19">
                  <c:v>759.75</c:v>
                </c:pt>
                <c:pt idx="20">
                  <c:v>867.0</c:v>
                </c:pt>
                <c:pt idx="21">
                  <c:v>665.0</c:v>
                </c:pt>
                <c:pt idx="22">
                  <c:v>0.0</c:v>
                </c:pt>
                <c:pt idx="23">
                  <c:v>0.0</c:v>
                </c:pt>
                <c:pt idx="24">
                  <c:v>617.5</c:v>
                </c:pt>
                <c:pt idx="25">
                  <c:v>626.0</c:v>
                </c:pt>
                <c:pt idx="26">
                  <c:v>614.0</c:v>
                </c:pt>
                <c:pt idx="27">
                  <c:v>420.0</c:v>
                </c:pt>
                <c:pt idx="28">
                  <c:v>289.5</c:v>
                </c:pt>
                <c:pt idx="29">
                  <c:v>197.0</c:v>
                </c:pt>
                <c:pt idx="30">
                  <c:v>242.5</c:v>
                </c:pt>
                <c:pt idx="31">
                  <c:v>197.0</c:v>
                </c:pt>
                <c:pt idx="32">
                  <c:v>197.0</c:v>
                </c:pt>
                <c:pt idx="33">
                  <c:v>133.0</c:v>
                </c:pt>
                <c:pt idx="34">
                  <c:v>0.0</c:v>
                </c:pt>
                <c:pt idx="35">
                  <c:v>126.0</c:v>
                </c:pt>
                <c:pt idx="36">
                  <c:v>0.0</c:v>
                </c:pt>
                <c:pt idx="37">
                  <c:v>126.0</c:v>
                </c:pt>
                <c:pt idx="38">
                  <c:v>0.0</c:v>
                </c:pt>
                <c:pt idx="39">
                  <c:v>0.0</c:v>
                </c:pt>
                <c:pt idx="40">
                  <c:v>0.0</c:v>
                </c:pt>
                <c:pt idx="41">
                  <c:v>0.0</c:v>
                </c:pt>
              </c:numCache>
            </c:numRef>
          </c:xVal>
          <c:yVal>
            <c:numRef>
              <c:f>Sheet1!$B$2:$B$43</c:f>
              <c:numCache>
                <c:formatCode>General</c:formatCode>
                <c:ptCount val="42"/>
                <c:pt idx="0">
                  <c:v>0.0</c:v>
                </c:pt>
                <c:pt idx="1">
                  <c:v>0.0</c:v>
                </c:pt>
                <c:pt idx="2">
                  <c:v>0.05128205128205128</c:v>
                </c:pt>
                <c:pt idx="3">
                  <c:v>0.16279069767441862</c:v>
                </c:pt>
                <c:pt idx="4">
                  <c:v>0.0967741935483871</c:v>
                </c:pt>
                <c:pt idx="5">
                  <c:v>0.0958904109589041</c:v>
                </c:pt>
                <c:pt idx="6">
                  <c:v>0.13157894736842105</c:v>
                </c:pt>
                <c:pt idx="7">
                  <c:v>0.03125</c:v>
                </c:pt>
                <c:pt idx="8">
                  <c:v>0.06666666666666667</c:v>
                </c:pt>
                <c:pt idx="9">
                  <c:v>0.09090909090909091</c:v>
                </c:pt>
                <c:pt idx="10">
                  <c:v>0.1</c:v>
                </c:pt>
                <c:pt idx="11">
                  <c:v>0.15789473684210525</c:v>
                </c:pt>
                <c:pt idx="12">
                  <c:v>0.10810810810810811</c:v>
                </c:pt>
                <c:pt idx="13">
                  <c:v>0.12244897959183673</c:v>
                </c:pt>
                <c:pt idx="14">
                  <c:v>0.14893617021276595</c:v>
                </c:pt>
                <c:pt idx="15">
                  <c:v>0.24074074074074073</c:v>
                </c:pt>
                <c:pt idx="16">
                  <c:v>0.5483870967741935</c:v>
                </c:pt>
                <c:pt idx="17">
                  <c:v>0.3333333333333333</c:v>
                </c:pt>
                <c:pt idx="18">
                  <c:v>0.12195121951219512</c:v>
                </c:pt>
                <c:pt idx="19">
                  <c:v>0.14285714285714285</c:v>
                </c:pt>
                <c:pt idx="20">
                  <c:v>0.0625</c:v>
                </c:pt>
                <c:pt idx="21">
                  <c:v>0.03225806451612903</c:v>
                </c:pt>
                <c:pt idx="22">
                  <c:v>0.0</c:v>
                </c:pt>
                <c:pt idx="23">
                  <c:v>0.0</c:v>
                </c:pt>
                <c:pt idx="24">
                  <c:v>0.1</c:v>
                </c:pt>
                <c:pt idx="25">
                  <c:v>0.03571428571428571</c:v>
                </c:pt>
                <c:pt idx="26">
                  <c:v>0.03125</c:v>
                </c:pt>
                <c:pt idx="27">
                  <c:v>0.03571428571428571</c:v>
                </c:pt>
                <c:pt idx="28">
                  <c:v>0.08</c:v>
                </c:pt>
                <c:pt idx="29">
                  <c:v>0.12</c:v>
                </c:pt>
                <c:pt idx="30">
                  <c:v>0.1111111111111111</c:v>
                </c:pt>
                <c:pt idx="31">
                  <c:v>0.1</c:v>
                </c:pt>
                <c:pt idx="32">
                  <c:v>0.05555555555555555</c:v>
                </c:pt>
                <c:pt idx="33">
                  <c:v>0.047619047619047616</c:v>
                </c:pt>
                <c:pt idx="34">
                  <c:v>0.0</c:v>
                </c:pt>
                <c:pt idx="35">
                  <c:v>0.0625</c:v>
                </c:pt>
                <c:pt idx="36">
                  <c:v>0.0</c:v>
                </c:pt>
                <c:pt idx="37">
                  <c:v>0.05</c:v>
                </c:pt>
                <c:pt idx="38">
                  <c:v>0.0</c:v>
                </c:pt>
                <c:pt idx="39">
                  <c:v>0.0</c:v>
                </c:pt>
                <c:pt idx="40">
                  <c:v>0.0</c:v>
                </c:pt>
                <c:pt idx="41">
                  <c:v>0.0</c:v>
                </c:pt>
              </c:numCache>
            </c:numRef>
          </c:yVal>
          <c:smooth val="0"/>
          <c:extLst>
            <c:ext xmlns:c16="http://schemas.microsoft.com/office/drawing/2014/chart" uri="{C3380CC4-5D6E-409C-BE32-E72D297353CC}">
              <c16:uniqueId val="{00000000-F32D-48B7-BC20-E66FC6253BAD}"/>
            </c:ext>
          </c:extLst>
        </c:ser>
        <c:ser>
          <c:idx val="1"/>
          <c:order val="1"/>
          <c:tx>
            <c:strRef>
              <c:f>Sheet1!$B$4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6:$A$45</c:f>
              <c:numCache>
                <c:formatCode>General</c:formatCode>
                <c:ptCount val="0"/>
              </c:numCache>
            </c:numRef>
          </c:xVal>
          <c:yVal>
            <c:numRef>
              <c:f>Sheet1!$B$46:$B$4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47</c:f>
              <c:strCache>
                <c:ptCount val="1"/>
                <c:pt idx="0">
                  <c:v>Custom Linep3yQ</c:v>
                </c:pt>
              </c:strCache>
            </c:strRef>
          </c:tx>
          <c:spPr>
            <a:ln w="19050" cap="rnd">
              <a:solidFill>
                <a:srgbClr val="C00000"/>
              </a:solidFill>
              <a:prstDash val="sysDot"/>
              <a:round/>
            </a:ln>
            <a:effectLst/>
          </c:spPr>
          <c:marker>
            <c:symbol val="none"/>
          </c:marker>
          <c:xVal>
            <c:numRef>
              <c:f>Sheet1!$A$48:$A$49</c:f>
              <c:numCache>
                <c:formatCode>General</c:formatCode>
                <c:ptCount val="2"/>
                <c:pt idx="0">
                  <c:v>0</c:v>
                </c:pt>
                <c:pt idx="1">
                  <c:v>0.15533966096065774</c:v>
                </c:pt>
              </c:numCache>
            </c:numRef>
          </c:xVal>
          <c:yVal>
            <c:numRef>
              <c:f>Sheet1!$B$48:$B$49</c:f>
              <c:numCache>
                <c:formatCode>General</c:formatCode>
                <c:ptCount val="2"/>
                <c:pt idx="0">
                  <c:v>0.15533966096065774</c:v>
                </c:pt>
                <c:pt idx="1">
                  <c:v>0.15533966096065774</c:v>
                </c:pt>
              </c:numCache>
            </c:numRef>
          </c:yVal>
          <c:smooth val="0"/>
          <c:extLst>
            <c:ext xmlns:c16="http://schemas.microsoft.com/office/drawing/2014/chart" uri="{C3380CC4-5D6E-409C-BE32-E72D297353CC}">
              <c16:uniqueId val="{00000003-F32D-48B7-BC20-E66FC6253BAD}"/>
            </c:ext>
          </c:extLst>
        </c:ser>
        <c:ser>
          <c:idx val="3"/>
          <c:order val="3"/>
          <c:tx>
            <c:strRef>
              <c:f>Sheet1!$B$5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2:$A$53</c:f>
              <c:numCache>
                <c:formatCode>General</c:formatCode>
                <c:ptCount val="2"/>
                <c:pt idx="0">
                  <c:v>0.15533966096065774</c:v>
                </c:pt>
                <c:pt idx="1">
                  <c:v>0.15533966096065774</c:v>
                </c:pt>
              </c:numCache>
            </c:numRef>
          </c:xVal>
          <c:yVal>
            <c:numRef>
              <c:f>Sheet1!$B$52:$B$53</c:f>
              <c:numCache>
                <c:formatCode>General</c:formatCode>
                <c:ptCount val="2"/>
                <c:pt idx="0">
                  <c:v>0.155339660960657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6:$A$58</c:f>
              <c:numCache>
                <c:formatCode>General</c:formatCode>
                <c:ptCount val="3"/>
                <c:pt idx="0">
                  <c:v>0</c:v>
                </c:pt>
                <c:pt idx="1">
                  <c:v>0.15533966096065774</c:v>
                </c:pt>
                <c:pt idx="2">
                  <c:v>0</c:v>
                </c:pt>
              </c:numCache>
            </c:numRef>
          </c:xVal>
          <c:yVal>
            <c:numRef>
              <c:f>Sheet1!$B$56:$B$58</c:f>
              <c:numCache>
                <c:formatCode>General</c:formatCode>
                <c:ptCount val="3"/>
                <c:pt idx="0">
                  <c:v>0</c:v>
                </c:pt>
                <c:pt idx="1">
                  <c:v>0.15533966096065774</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58064516129032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15526597138849</c:v>
                </c:pt>
                <c:pt idx="1">
                  <c:v>0.7158329905879287</c:v>
                </c:pt>
                <c:pt idx="2">
                  <c:v>0.754178467941969</c:v>
                </c:pt>
                <c:pt idx="3">
                  <c:v>0.7924075628920014</c:v>
                </c:pt>
                <c:pt idx="4">
                  <c:v>0.8129741291728605</c:v>
                </c:pt>
                <c:pt idx="5">
                  <c:v>0.721575409023302</c:v>
                </c:pt>
                <c:pt idx="6">
                  <c:v>0.7074314986144119</c:v>
                </c:pt>
                <c:pt idx="7">
                  <c:v>0.7381983712592289</c:v>
                </c:pt>
                <c:pt idx="8">
                  <c:v>0.69135824991762</c:v>
                </c:pt>
                <c:pt idx="9">
                  <c:v>0.7117761132360945</c:v>
                </c:pt>
                <c:pt idx="10">
                  <c:v>0.7158358419182583</c:v>
                </c:pt>
                <c:pt idx="11">
                  <c:v>0.7548709928726567</c:v>
                </c:pt>
                <c:pt idx="12">
                  <c:v>0.7699822692964753</c:v>
                </c:pt>
                <c:pt idx="13">
                  <c:v>0.7765663821455645</c:v>
                </c:pt>
                <c:pt idx="14">
                  <c:v>0.7606559549969039</c:v>
                </c:pt>
                <c:pt idx="15">
                  <c:v>0.7750843705463183</c:v>
                </c:pt>
                <c:pt idx="16">
                  <c:v>0.7582964601769911</c:v>
                </c:pt>
                <c:pt idx="17">
                  <c:v>0.7791907635312667</c:v>
                </c:pt>
                <c:pt idx="18">
                  <c:v>0.7956380946679571</c:v>
                </c:pt>
                <c:pt idx="19">
                  <c:v>0.7444998895308766</c:v>
                </c:pt>
                <c:pt idx="20">
                  <c:v>0.8721735010317657</c:v>
                </c:pt>
                <c:pt idx="21">
                  <c:v>0.7320196335151681</c:v>
                </c:pt>
                <c:pt idx="22">
                  <c:v>0.7171642078792959</c:v>
                </c:pt>
                <c:pt idx="23">
                  <c:v>0.9028177957532861</c:v>
                </c:pt>
                <c:pt idx="24">
                  <c:v>0.7529192225689916</c:v>
                </c:pt>
                <c:pt idx="25">
                  <c:v>0.7452323986527614</c:v>
                </c:pt>
                <c:pt idx="26">
                  <c:v>0.6769422317260292</c:v>
                </c:pt>
                <c:pt idx="27">
                  <c:v>0.8462033161227721</c:v>
                </c:pt>
                <c:pt idx="28">
                  <c:v>0.7728569121236412</c:v>
                </c:pt>
                <c:pt idx="29">
                  <c:v>0.7260429205603833</c:v>
                </c:pt>
                <c:pt idx="30">
                  <c:v>0.6582407281501678</c:v>
                </c:pt>
                <c:pt idx="31">
                  <c:v>0.6777275537341867</c:v>
                </c:pt>
                <c:pt idx="32">
                  <c:v>0.7067188935170633</c:v>
                </c:pt>
                <c:pt idx="33">
                  <c:v>0.5832647922786404</c:v>
                </c:pt>
                <c:pt idx="34">
                  <c:v>0.638859527600485</c:v>
                </c:pt>
                <c:pt idx="35">
                  <c:v>0.7167141835137956</c:v>
                </c:pt>
                <c:pt idx="36">
                  <c:v>0.7451644262014934</c:v>
                </c:pt>
                <c:pt idx="37">
                  <c:v>0.784493810666945</c:v>
                </c:pt>
                <c:pt idx="38">
                  <c:v>0.7721860291834834</c:v>
                </c:pt>
                <c:pt idx="39">
                  <c:v>0.7511699062999341</c:v>
                </c:pt>
                <c:pt idx="40">
                  <c:v>0.7472562440392843</c:v>
                </c:pt>
                <c:pt idx="41">
                  <c:v>0.8019562809917355</c:v>
                </c:pt>
                <c:pt idx="42">
                  <c:v>0.8103579980579475</c:v>
                </c:pt>
                <c:pt idx="43">
                  <c:v>0.8102226954951619</c:v>
                </c:pt>
                <c:pt idx="44">
                  <c:v>0.7810159514340222</c:v>
                </c:pt>
                <c:pt idx="45">
                  <c:v>0.8344897410021227</c:v>
                </c:pt>
                <c:pt idx="46">
                  <c:v>0.7997575309741058</c:v>
                </c:pt>
                <c:pt idx="47">
                  <c:v>0.8096012203142606</c:v>
                </c:pt>
                <c:pt idx="48">
                  <c:v>0.838222561917674</c:v>
                </c:pt>
                <c:pt idx="49">
                  <c:v>0.8032411328611104</c:v>
                </c:pt>
                <c:pt idx="50">
                  <c:v>0.8898764287125056</c:v>
                </c:pt>
                <c:pt idx="51">
                  <c:v>0.7943857514454862</c:v>
                </c:pt>
                <c:pt idx="52">
                  <c:v>0.7802243093206211</c:v>
                </c:pt>
                <c:pt idx="53">
                  <c:v>0.7570662518141215</c:v>
                </c:pt>
                <c:pt idx="54">
                  <c:v>0.7778833420838168</c:v>
                </c:pt>
                <c:pt idx="55">
                  <c:v>0.7779732599292174</c:v>
                </c:pt>
                <c:pt idx="56">
                  <c:v>0.7856418327961965</c:v>
                </c:pt>
                <c:pt idx="57">
                  <c:v>0.7733497034340264</c:v>
                </c:pt>
                <c:pt idx="58">
                  <c:v>0.7146810433901483</c:v>
                </c:pt>
                <c:pt idx="59">
                  <c:v>0.7791700804589917</c:v>
                </c:pt>
                <c:pt idx="60">
                  <c:v>0.7533585997352266</c:v>
                </c:pt>
                <c:pt idx="61">
                  <c:v>0.7694290033980328</c:v>
                </c:pt>
                <c:pt idx="62">
                  <c:v>0.8093822721290275</c:v>
                </c:pt>
                <c:pt idx="63">
                  <c:v>0.813642194958971</c:v>
                </c:pt>
                <c:pt idx="64">
                  <c:v>0.8149015092978974</c:v>
                </c:pt>
                <c:pt idx="65">
                  <c:v>0.8213607030652967</c:v>
                </c:pt>
                <c:pt idx="66">
                  <c:v>0.7917086470196676</c:v>
                </c:pt>
                <c:pt idx="67">
                  <c:v>0.8728846911014946</c:v>
                </c:pt>
                <c:pt idx="68">
                  <c:v>0.8905852607156005</c:v>
                </c:pt>
                <c:pt idx="69">
                  <c:v>0.9324722414190278</c:v>
                </c:pt>
                <c:pt idx="70">
                  <c:v>0.9379266540573619</c:v>
                </c:pt>
                <c:pt idx="71">
                  <c:v>0.8328369841293677</c:v>
                </c:pt>
                <c:pt idx="72">
                  <c:v>0.9911825665959838</c:v>
                </c:pt>
                <c:pt idx="73">
                  <c:v>0.938567344027441</c:v>
                </c:pt>
                <c:pt idx="74">
                  <c:v>1.0011701962235278</c:v>
                </c:pt>
                <c:pt idx="75">
                  <c:v>1.8637590893232685</c:v>
                </c:pt>
                <c:pt idx="76">
                  <c:v>1.615207425652462</c:v>
                </c:pt>
                <c:pt idx="77">
                  <c:v>0.7706253553782748</c:v>
                </c:pt>
                <c:pt idx="78">
                  <c:v>0.8625793809913603</c:v>
                </c:pt>
                <c:pt idx="79">
                  <c:v>1.1030336122254725</c:v>
                </c:pt>
                <c:pt idx="80">
                  <c:v>0.8520038371136468</c:v>
                </c:pt>
                <c:pt idx="81">
                  <c:v>0.9195891042650962</c:v>
                </c:pt>
                <c:pt idx="82">
                  <c:v>0.9239790984596021</c:v>
                </c:pt>
                <c:pt idx="83">
                  <c:v>0.6757659482881431</c:v>
                </c:pt>
                <c:pt idx="84">
                  <c:v>0.9444068467478755</c:v>
                </c:pt>
                <c:pt idx="85">
                  <c:v>0.9027774957578428</c:v>
                </c:pt>
                <c:pt idx="86">
                  <c:v>0.8792222265727766</c:v>
                </c:pt>
                <c:pt idx="87">
                  <c:v>0.85708192905283</c:v>
                </c:pt>
                <c:pt idx="88">
                  <c:v>0.9084541546742595</c:v>
                </c:pt>
                <c:pt idx="89">
                  <c:v>0.8159642542063388</c:v>
                </c:pt>
                <c:pt idx="90">
                  <c:v>0.8894061163838559</c:v>
                </c:pt>
                <c:pt idx="91">
                  <c:v>0.8700442040185471</c:v>
                </c:pt>
                <c:pt idx="92">
                  <c:v>1.0188366151075154</c:v>
                </c:pt>
                <c:pt idx="93">
                  <c:v>0.9198384449509722</c:v>
                </c:pt>
                <c:pt idx="94">
                  <c:v>0.9157166484630987</c:v>
                </c:pt>
                <c:pt idx="95">
                  <c:v>0.9256377420354462</c:v>
                </c:pt>
                <c:pt idx="96">
                  <c:v>1.0298662717120626</c:v>
                </c:pt>
                <c:pt idx="97">
                  <c:v>0.9545173863374589</c:v>
                </c:pt>
                <c:pt idx="98">
                  <c:v>0.9875806431366422</c:v>
                </c:pt>
                <c:pt idx="99">
                  <c:v>0.9496242271265795</c:v>
                </c:pt>
                <c:pt idx="100">
                  <c:v>0.9034062980511424</c:v>
                </c:pt>
                <c:pt idx="101">
                  <c:v>0.8643795022215625</c:v>
                </c:pt>
                <c:pt idx="102">
                  <c:v>0.8646566057238679</c:v>
                </c:pt>
                <c:pt idx="103">
                  <c:v>0.8342933641665536</c:v>
                </c:pt>
                <c:pt idx="104">
                  <c:v>0.783781488864125</c:v>
                </c:pt>
              </c:numCache>
            </c:numRef>
          </c:xVal>
          <c:yVal>
            <c:numRef>
              <c:f>Sheet1!$B$2:$B$106</c:f>
              <c:numCache>
                <c:formatCode>General</c:formatCode>
                <c:ptCount val="105"/>
                <c:pt idx="0">
                  <c:v>0.475</c:v>
                </c:pt>
                <c:pt idx="1">
                  <c:v>0.5023041474654378</c:v>
                </c:pt>
                <c:pt idx="2">
                  <c:v>0.5088495575221239</c:v>
                </c:pt>
                <c:pt idx="3">
                  <c:v>0.43891402714932126</c:v>
                </c:pt>
                <c:pt idx="4">
                  <c:v>0.45962732919254656</c:v>
                </c:pt>
                <c:pt idx="5">
                  <c:v>0.5132743362831859</c:v>
                </c:pt>
                <c:pt idx="6">
                  <c:v>0.46875</c:v>
                </c:pt>
                <c:pt idx="7">
                  <c:v>0.46153846153846156</c:v>
                </c:pt>
                <c:pt idx="8">
                  <c:v>0.4972067039106145</c:v>
                </c:pt>
                <c:pt idx="9">
                  <c:v>0.5330188679245284</c:v>
                </c:pt>
                <c:pt idx="10">
                  <c:v>0.5136363636363637</c:v>
                </c:pt>
                <c:pt idx="11">
                  <c:v>0.4672489082969432</c:v>
                </c:pt>
                <c:pt idx="12">
                  <c:v>0.4641350210970464</c:v>
                </c:pt>
                <c:pt idx="13">
                  <c:v>0.4074074074074074</c:v>
                </c:pt>
                <c:pt idx="14">
                  <c:v>0.4258373205741627</c:v>
                </c:pt>
                <c:pt idx="15">
                  <c:v>0.4222222222222222</c:v>
                </c:pt>
                <c:pt idx="16">
                  <c:v>0.42207792207792205</c:v>
                </c:pt>
                <c:pt idx="17">
                  <c:v>0.4966442953020134</c:v>
                </c:pt>
                <c:pt idx="18">
                  <c:v>0.4017094017094017</c:v>
                </c:pt>
                <c:pt idx="19">
                  <c:v>0.38317757009345793</c:v>
                </c:pt>
                <c:pt idx="20">
                  <c:v>0.4132231404958678</c:v>
                </c:pt>
                <c:pt idx="21">
                  <c:v>0.45901639344262296</c:v>
                </c:pt>
                <c:pt idx="22">
                  <c:v>0.4369747899159664</c:v>
                </c:pt>
                <c:pt idx="23">
                  <c:v>0.424</c:v>
                </c:pt>
                <c:pt idx="24">
                  <c:v>0.45098039215686275</c:v>
                </c:pt>
                <c:pt idx="25">
                  <c:v>0.4077669902912621</c:v>
                </c:pt>
                <c:pt idx="26">
                  <c:v>0.4316546762589928</c:v>
                </c:pt>
                <c:pt idx="27">
                  <c:v>0.39090909090909093</c:v>
                </c:pt>
                <c:pt idx="28">
                  <c:v>0.4098360655737705</c:v>
                </c:pt>
                <c:pt idx="29">
                  <c:v>0.4652777777777778</c:v>
                </c:pt>
                <c:pt idx="30">
                  <c:v>0.456</c:v>
                </c:pt>
                <c:pt idx="31">
                  <c:v>0.45</c:v>
                </c:pt>
                <c:pt idx="32">
                  <c:v>0.4418604651162791</c:v>
                </c:pt>
                <c:pt idx="33">
                  <c:v>0.4807692307692308</c:v>
                </c:pt>
                <c:pt idx="34">
                  <c:v>0.4793814432989691</c:v>
                </c:pt>
                <c:pt idx="35">
                  <c:v>0.4065040650406504</c:v>
                </c:pt>
                <c:pt idx="36">
                  <c:v>0.3981042654028436</c:v>
                </c:pt>
                <c:pt idx="37">
                  <c:v>0.37988826815642457</c:v>
                </c:pt>
                <c:pt idx="38">
                  <c:v>0.4176470588235294</c:v>
                </c:pt>
                <c:pt idx="39">
                  <c:v>0.3961038961038961</c:v>
                </c:pt>
                <c:pt idx="40">
                  <c:v>0.38461538461538464</c:v>
                </c:pt>
                <c:pt idx="41">
                  <c:v>0.4388888888888889</c:v>
                </c:pt>
                <c:pt idx="42">
                  <c:v>0.3879781420765027</c:v>
                </c:pt>
                <c:pt idx="43">
                  <c:v>0.3431372549019608</c:v>
                </c:pt>
                <c:pt idx="44">
                  <c:v>0.3782608695652174</c:v>
                </c:pt>
                <c:pt idx="45">
                  <c:v>0.3922413793103448</c:v>
                </c:pt>
                <c:pt idx="46">
                  <c:v>0.423728813559322</c:v>
                </c:pt>
                <c:pt idx="47">
                  <c:v>0.4046511627906977</c:v>
                </c:pt>
                <c:pt idx="48">
                  <c:v>0.39322033898305087</c:v>
                </c:pt>
                <c:pt idx="49">
                  <c:v>0.43478260869565216</c:v>
                </c:pt>
                <c:pt idx="50">
                  <c:v>0.40772532188841204</c:v>
                </c:pt>
                <c:pt idx="51">
                  <c:v>0.4010416666666667</c:v>
                </c:pt>
                <c:pt idx="52">
                  <c:v>0.41450777202072536</c:v>
                </c:pt>
                <c:pt idx="53">
                  <c:v>0.3967391304347826</c:v>
                </c:pt>
                <c:pt idx="54">
                  <c:v>0.3974358974358974</c:v>
                </c:pt>
                <c:pt idx="55">
                  <c:v>0.36774193548387096</c:v>
                </c:pt>
                <c:pt idx="56">
                  <c:v>0.3870967741935484</c:v>
                </c:pt>
                <c:pt idx="57">
                  <c:v>0.41025641025641024</c:v>
                </c:pt>
                <c:pt idx="58">
                  <c:v>0.38461538461538464</c:v>
                </c:pt>
                <c:pt idx="59">
                  <c:v>0.40853658536585363</c:v>
                </c:pt>
                <c:pt idx="60">
                  <c:v>0.375</c:v>
                </c:pt>
                <c:pt idx="61">
                  <c:v>0.375</c:v>
                </c:pt>
                <c:pt idx="62">
                  <c:v>0.4110429447852761</c:v>
                </c:pt>
                <c:pt idx="63">
                  <c:v>0.358974358974359</c:v>
                </c:pt>
                <c:pt idx="64">
                  <c:v>0.38860103626943004</c:v>
                </c:pt>
                <c:pt idx="65">
                  <c:v>0.43646408839779005</c:v>
                </c:pt>
                <c:pt idx="66">
                  <c:v>0.41379310344827586</c:v>
                </c:pt>
                <c:pt idx="67">
                  <c:v>0.3597560975609756</c:v>
                </c:pt>
                <c:pt idx="68">
                  <c:v>0.3357142857142857</c:v>
                </c:pt>
                <c:pt idx="69">
                  <c:v>0.29292929292929293</c:v>
                </c:pt>
                <c:pt idx="70">
                  <c:v>0.3114754098360656</c:v>
                </c:pt>
                <c:pt idx="71">
                  <c:v>0.34210526315789475</c:v>
                </c:pt>
                <c:pt idx="72">
                  <c:v>0.2550335570469799</c:v>
                </c:pt>
                <c:pt idx="73">
                  <c:v>0.33043478260869563</c:v>
                </c:pt>
                <c:pt idx="74">
                  <c:v>0.21568627450980393</c:v>
                </c:pt>
                <c:pt idx="75">
                  <c:v>0.20279720279720279</c:v>
                </c:pt>
                <c:pt idx="76">
                  <c:v>0.23275862068965517</c:v>
                </c:pt>
                <c:pt idx="77">
                  <c:v>0.3211009174311927</c:v>
                </c:pt>
                <c:pt idx="78">
                  <c:v>0.32</c:v>
                </c:pt>
                <c:pt idx="79">
                  <c:v>0.25742574257425743</c:v>
                </c:pt>
                <c:pt idx="80">
                  <c:v>0.31683168316831684</c:v>
                </c:pt>
                <c:pt idx="81">
                  <c:v>0.3181818181818182</c:v>
                </c:pt>
                <c:pt idx="82">
                  <c:v>0.32142857142857145</c:v>
                </c:pt>
                <c:pt idx="83">
                  <c:v>0.35555555555555557</c:v>
                </c:pt>
                <c:pt idx="84">
                  <c:v>0.3020833333333333</c:v>
                </c:pt>
                <c:pt idx="85">
                  <c:v>0.32323232323232326</c:v>
                </c:pt>
                <c:pt idx="86">
                  <c:v>0.3273809523809524</c:v>
                </c:pt>
                <c:pt idx="87">
                  <c:v>0.35348837209302325</c:v>
                </c:pt>
                <c:pt idx="88">
                  <c:v>0.328125</c:v>
                </c:pt>
                <c:pt idx="89">
                  <c:v>0.3089430894308943</c:v>
                </c:pt>
                <c:pt idx="90">
                  <c:v>0.3805309734513274</c:v>
                </c:pt>
                <c:pt idx="91">
                  <c:v>0.3524590163934426</c:v>
                </c:pt>
                <c:pt idx="92">
                  <c:v>0.37012987012987014</c:v>
                </c:pt>
                <c:pt idx="93">
                  <c:v>0.35570469798657717</c:v>
                </c:pt>
                <c:pt idx="94">
                  <c:v>0.40764331210191085</c:v>
                </c:pt>
                <c:pt idx="95">
                  <c:v>0.3687150837988827</c:v>
                </c:pt>
                <c:pt idx="96">
                  <c:v>0.37566137566137564</c:v>
                </c:pt>
                <c:pt idx="97">
                  <c:v>0.3386243386243386</c:v>
                </c:pt>
                <c:pt idx="98">
                  <c:v>0.3794642857142857</c:v>
                </c:pt>
                <c:pt idx="99">
                  <c:v>0.38697318007662834</c:v>
                </c:pt>
                <c:pt idx="100">
                  <c:v>0.39275766016713093</c:v>
                </c:pt>
                <c:pt idx="101">
                  <c:v>0.3444976076555024</c:v>
                </c:pt>
                <c:pt idx="102">
                  <c:v>0.3767123287671233</c:v>
                </c:pt>
                <c:pt idx="103">
                  <c:v>0.3609467455621302</c:v>
                </c:pt>
                <c:pt idx="104">
                  <c:v>0.367088607594936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2894935988157</c:v>
                </c:pt>
                <c:pt idx="1">
                  <c:v>0.9213583282979166</c:v>
                </c:pt>
                <c:pt idx="2">
                  <c:v>0.9241945196865823</c:v>
                </c:pt>
                <c:pt idx="3">
                  <c:v>0.9321551431823756</c:v>
                </c:pt>
                <c:pt idx="4">
                  <c:v>1.0339273260403745</c:v>
                </c:pt>
                <c:pt idx="5">
                  <c:v>0.8451148919807355</c:v>
                </c:pt>
                <c:pt idx="6">
                  <c:v>0.8115391791298061</c:v>
                </c:pt>
                <c:pt idx="7">
                  <c:v>0.8868807240491585</c:v>
                </c:pt>
                <c:pt idx="8">
                  <c:v>0.9326517649438657</c:v>
                </c:pt>
                <c:pt idx="9">
                  <c:v>0.8882468162157576</c:v>
                </c:pt>
                <c:pt idx="10">
                  <c:v>0.9265426854627845</c:v>
                </c:pt>
                <c:pt idx="11">
                  <c:v>0.8191692313445754</c:v>
                </c:pt>
                <c:pt idx="12">
                  <c:v>0.8207574932556622</c:v>
                </c:pt>
                <c:pt idx="13">
                  <c:v>0.8379969409379106</c:v>
                </c:pt>
                <c:pt idx="14">
                  <c:v>0.7420821464144312</c:v>
                </c:pt>
                <c:pt idx="15">
                  <c:v>0.7636822398807952</c:v>
                </c:pt>
                <c:pt idx="16">
                  <c:v>0.8180545647723712</c:v>
                </c:pt>
                <c:pt idx="17">
                  <c:v>0.7826780222717149</c:v>
                </c:pt>
                <c:pt idx="18">
                  <c:v>0.8013785142024763</c:v>
                </c:pt>
                <c:pt idx="19">
                  <c:v>0.8340302122084714</c:v>
                </c:pt>
                <c:pt idx="20">
                  <c:v>0.8203330465603792</c:v>
                </c:pt>
                <c:pt idx="21">
                  <c:v>0.8148432411674347</c:v>
                </c:pt>
                <c:pt idx="22">
                  <c:v>0.7470978219230303</c:v>
                </c:pt>
                <c:pt idx="23">
                  <c:v>0.8273593822686691</c:v>
                </c:pt>
                <c:pt idx="24">
                  <c:v>0.829216126418222</c:v>
                </c:pt>
                <c:pt idx="25">
                  <c:v>0.8153861448397992</c:v>
                </c:pt>
                <c:pt idx="26">
                  <c:v>0.7583234390687382</c:v>
                </c:pt>
                <c:pt idx="27">
                  <c:v>0.7824868501918908</c:v>
                </c:pt>
                <c:pt idx="28">
                  <c:v>0.8791810397553518</c:v>
                </c:pt>
                <c:pt idx="29">
                  <c:v>0.9371874238362174</c:v>
                </c:pt>
                <c:pt idx="30">
                  <c:v>0.9642165550552444</c:v>
                </c:pt>
                <c:pt idx="31">
                  <c:v>0.9114019293430864</c:v>
                </c:pt>
                <c:pt idx="32">
                  <c:v>0.9087035618536959</c:v>
                </c:pt>
                <c:pt idx="33">
                  <c:v>0.9100173690914334</c:v>
                </c:pt>
                <c:pt idx="34">
                  <c:v>0.9362114072231408</c:v>
                </c:pt>
                <c:pt idx="35">
                  <c:v>1.0415968893421723</c:v>
                </c:pt>
                <c:pt idx="36">
                  <c:v>0.8269783312848638</c:v>
                </c:pt>
                <c:pt idx="37">
                  <c:v>0.8519075337625124</c:v>
                </c:pt>
                <c:pt idx="38">
                  <c:v>1.1238967173234653</c:v>
                </c:pt>
                <c:pt idx="39">
                  <c:v>0.9227787766569506</c:v>
                </c:pt>
                <c:pt idx="40">
                  <c:v>1.0097557737384868</c:v>
                </c:pt>
                <c:pt idx="41">
                  <c:v>1.1034003419378817</c:v>
                </c:pt>
                <c:pt idx="42">
                  <c:v>1.3755405488795225</c:v>
                </c:pt>
                <c:pt idx="43">
                  <c:v>1.0112455387466996</c:v>
                </c:pt>
                <c:pt idx="44">
                  <c:v>1.056641925829197</c:v>
                </c:pt>
                <c:pt idx="45">
                  <c:v>1.0720065655279036</c:v>
                </c:pt>
                <c:pt idx="46">
                  <c:v>0.9837154544316709</c:v>
                </c:pt>
                <c:pt idx="47">
                  <c:v>0.9780552734379379</c:v>
                </c:pt>
                <c:pt idx="48">
                  <c:v>1.001137987700324</c:v>
                </c:pt>
                <c:pt idx="49">
                  <c:v>1.0408742865149077</c:v>
                </c:pt>
                <c:pt idx="50">
                  <c:v>1.0329678478140123</c:v>
                </c:pt>
                <c:pt idx="51">
                  <c:v>1.0614420656806218</c:v>
                </c:pt>
              </c:numCache>
            </c:numRef>
          </c:xVal>
          <c:yVal>
            <c:numRef>
              <c:f>Sheet1!$B$109:$B$160</c:f>
              <c:numCache>
                <c:formatCode>General</c:formatCode>
                <c:ptCount val="52"/>
                <c:pt idx="0">
                  <c:v>0.3855421686746988</c:v>
                </c:pt>
                <c:pt idx="1">
                  <c:v>0.37142857142857144</c:v>
                </c:pt>
                <c:pt idx="2">
                  <c:v>0.3357664233576642</c:v>
                </c:pt>
                <c:pt idx="3">
                  <c:v>0.348993288590604</c:v>
                </c:pt>
                <c:pt idx="4">
                  <c:v>0.3287671232876712</c:v>
                </c:pt>
                <c:pt idx="5">
                  <c:v>0.4090909090909091</c:v>
                </c:pt>
                <c:pt idx="6">
                  <c:v>0.45794392523364486</c:v>
                </c:pt>
                <c:pt idx="7">
                  <c:v>0.31343283582089554</c:v>
                </c:pt>
                <c:pt idx="8">
                  <c:v>0.375</c:v>
                </c:pt>
                <c:pt idx="9">
                  <c:v>0.37373737373737376</c:v>
                </c:pt>
                <c:pt idx="10">
                  <c:v>0.41216216216216217</c:v>
                </c:pt>
                <c:pt idx="11">
                  <c:v>0.41711229946524064</c:v>
                </c:pt>
                <c:pt idx="12">
                  <c:v>0.40425531914893614</c:v>
                </c:pt>
                <c:pt idx="13">
                  <c:v>0.36585365853658536</c:v>
                </c:pt>
                <c:pt idx="14">
                  <c:v>0.4246575342465753</c:v>
                </c:pt>
                <c:pt idx="15">
                  <c:v>0.3835616438356164</c:v>
                </c:pt>
                <c:pt idx="16">
                  <c:v>0.4132231404958678</c:v>
                </c:pt>
                <c:pt idx="17">
                  <c:v>0.39805825242718446</c:v>
                </c:pt>
                <c:pt idx="18">
                  <c:v>0.39805825242718446</c:v>
                </c:pt>
                <c:pt idx="19">
                  <c:v>0.432</c:v>
                </c:pt>
                <c:pt idx="20">
                  <c:v>0.3645833333333333</c:v>
                </c:pt>
                <c:pt idx="21">
                  <c:v>0.375</c:v>
                </c:pt>
                <c:pt idx="22">
                  <c:v>0.4426229508196721</c:v>
                </c:pt>
                <c:pt idx="23">
                  <c:v>0.4583333333333333</c:v>
                </c:pt>
                <c:pt idx="24">
                  <c:v>0.4383561643835616</c:v>
                </c:pt>
                <c:pt idx="25">
                  <c:v>0.3888888888888889</c:v>
                </c:pt>
                <c:pt idx="26">
                  <c:v>0.42105263157894735</c:v>
                </c:pt>
                <c:pt idx="27">
                  <c:v>0.3763440860215054</c:v>
                </c:pt>
                <c:pt idx="28">
                  <c:v>0.34782608695652173</c:v>
                </c:pt>
                <c:pt idx="29">
                  <c:v>0.38095238095238093</c:v>
                </c:pt>
                <c:pt idx="30">
                  <c:v>0.4107142857142857</c:v>
                </c:pt>
                <c:pt idx="31">
                  <c:v>0.3333333333333333</c:v>
                </c:pt>
                <c:pt idx="32">
                  <c:v>0.3516483516483517</c:v>
                </c:pt>
                <c:pt idx="33">
                  <c:v>0.40458015267175573</c:v>
                </c:pt>
                <c:pt idx="34">
                  <c:v>0.3817204301075269</c:v>
                </c:pt>
                <c:pt idx="35">
                  <c:v>0.3763440860215054</c:v>
                </c:pt>
                <c:pt idx="36">
                  <c:v>0.3515625</c:v>
                </c:pt>
                <c:pt idx="37">
                  <c:v>0.39090909090909093</c:v>
                </c:pt>
                <c:pt idx="38">
                  <c:v>0.2962962962962963</c:v>
                </c:pt>
                <c:pt idx="39">
                  <c:v>0.35714285714285715</c:v>
                </c:pt>
                <c:pt idx="40">
                  <c:v>0.32450331125827814</c:v>
                </c:pt>
                <c:pt idx="41">
                  <c:v>0.3057324840764331</c:v>
                </c:pt>
                <c:pt idx="42">
                  <c:v>0.2116788321167883</c:v>
                </c:pt>
                <c:pt idx="43">
                  <c:v>0.32515337423312884</c:v>
                </c:pt>
                <c:pt idx="44">
                  <c:v>0.34415584415584416</c:v>
                </c:pt>
                <c:pt idx="45">
                  <c:v>0.3877551020408163</c:v>
                </c:pt>
                <c:pt idx="46">
                  <c:v>0.4126984126984127</c:v>
                </c:pt>
                <c:pt idx="47">
                  <c:v>0.37055837563451777</c:v>
                </c:pt>
                <c:pt idx="48">
                  <c:v>0.37158469945355194</c:v>
                </c:pt>
                <c:pt idx="49">
                  <c:v>0.37349397590361444</c:v>
                </c:pt>
                <c:pt idx="50">
                  <c:v>0.3638814016172507</c:v>
                </c:pt>
                <c:pt idx="51">
                  <c:v>0.32178217821782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268881466290366</c:v>
                </c:pt>
              </c:numCache>
            </c:numRef>
          </c:xVal>
          <c:yVal>
            <c:numRef>
              <c:f>Sheet1!$B$163:$B$164</c:f>
              <c:numCache>
                <c:formatCode>General</c:formatCode>
                <c:ptCount val="2"/>
                <c:pt idx="0">
                  <c:v>0.4806071736735213</c:v>
                </c:pt>
                <c:pt idx="1">
                  <c:v>0.480607173673521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268881466290366</c:v>
                </c:pt>
                <c:pt idx="1">
                  <c:v>0.5268881466290366</c:v>
                </c:pt>
              </c:numCache>
            </c:numRef>
          </c:xVal>
          <c:yVal>
            <c:numRef>
              <c:f>Sheet1!$B$167:$B$168</c:f>
              <c:numCache>
                <c:formatCode>General</c:formatCode>
                <c:ptCount val="2"/>
                <c:pt idx="0">
                  <c:v>0.48060717367352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40566473774732</c:v>
                </c:pt>
              </c:numCache>
            </c:numRef>
          </c:xVal>
          <c:yVal>
            <c:numRef>
              <c:f>Sheet1!$B$171:$B$172</c:f>
              <c:numCache>
                <c:formatCode>General</c:formatCode>
                <c:ptCount val="2"/>
                <c:pt idx="0">
                  <c:v>0.3970971515243123</c:v>
                </c:pt>
                <c:pt idx="1">
                  <c:v>0.39709715152431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40566473774732</c:v>
                </c:pt>
                <c:pt idx="1">
                  <c:v>0.8340566473774732</c:v>
                </c:pt>
              </c:numCache>
            </c:numRef>
          </c:xVal>
          <c:yVal>
            <c:numRef>
              <c:f>Sheet1!$B$175:$B$176</c:f>
              <c:numCache>
                <c:formatCode>General</c:formatCode>
                <c:ptCount val="2"/>
                <c:pt idx="0">
                  <c:v>0.39709715152431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298915094443966</c:v>
                </c:pt>
              </c:numCache>
            </c:numRef>
          </c:xVal>
          <c:yVal>
            <c:numRef>
              <c:f>Sheet1!$B$179:$B$180</c:f>
              <c:numCache>
                <c:formatCode>General</c:formatCode>
                <c:ptCount val="2"/>
                <c:pt idx="0">
                  <c:v>0.3438554498884088</c:v>
                </c:pt>
                <c:pt idx="1">
                  <c:v>0.34385544988840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298915094443966</c:v>
                </c:pt>
                <c:pt idx="1">
                  <c:v>1.0298915094443966</c:v>
                </c:pt>
              </c:numCache>
            </c:numRef>
          </c:xVal>
          <c:yVal>
            <c:numRef>
              <c:f>Sheet1!$B$183:$B$184</c:f>
              <c:numCache>
                <c:formatCode>General</c:formatCode>
                <c:ptCount val="2"/>
                <c:pt idx="0">
                  <c:v>0.34385544988840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2894935988157</c:v>
                </c:pt>
                <c:pt idx="1">
                  <c:v>0.9213583282979166</c:v>
                </c:pt>
                <c:pt idx="2">
                  <c:v>0.9241945196865823</c:v>
                </c:pt>
                <c:pt idx="3">
                  <c:v>0.9321551431823756</c:v>
                </c:pt>
                <c:pt idx="4">
                  <c:v>1.0339273260403745</c:v>
                </c:pt>
                <c:pt idx="5">
                  <c:v>0.8451148919807355</c:v>
                </c:pt>
                <c:pt idx="6">
                  <c:v>0.8115391791298061</c:v>
                </c:pt>
                <c:pt idx="7">
                  <c:v>0.8868807240491585</c:v>
                </c:pt>
                <c:pt idx="8">
                  <c:v>0.9326517649438657</c:v>
                </c:pt>
                <c:pt idx="9">
                  <c:v>0.8882468162157576</c:v>
                </c:pt>
                <c:pt idx="10">
                  <c:v>0.9265426854627845</c:v>
                </c:pt>
                <c:pt idx="11">
                  <c:v>0.8191692313445754</c:v>
                </c:pt>
                <c:pt idx="12">
                  <c:v>0.8207574932556622</c:v>
                </c:pt>
                <c:pt idx="13">
                  <c:v>0.8379969409379106</c:v>
                </c:pt>
                <c:pt idx="14">
                  <c:v>0.7420821464144312</c:v>
                </c:pt>
                <c:pt idx="15">
                  <c:v>0.7636822398807952</c:v>
                </c:pt>
                <c:pt idx="16">
                  <c:v>0.8180545647723712</c:v>
                </c:pt>
                <c:pt idx="17">
                  <c:v>0.7826780222717149</c:v>
                </c:pt>
                <c:pt idx="18">
                  <c:v>0.8013785142024763</c:v>
                </c:pt>
                <c:pt idx="19">
                  <c:v>0.8340302122084714</c:v>
                </c:pt>
                <c:pt idx="20">
                  <c:v>0.8203330465603792</c:v>
                </c:pt>
                <c:pt idx="21">
                  <c:v>0.8148432411674347</c:v>
                </c:pt>
                <c:pt idx="22">
                  <c:v>0.7470978219230303</c:v>
                </c:pt>
                <c:pt idx="23">
                  <c:v>0.8273593822686691</c:v>
                </c:pt>
                <c:pt idx="24">
                  <c:v>0.829216126418222</c:v>
                </c:pt>
                <c:pt idx="25">
                  <c:v>0.8153861448397992</c:v>
                </c:pt>
                <c:pt idx="26">
                  <c:v>0.7583234390687382</c:v>
                </c:pt>
                <c:pt idx="27">
                  <c:v>0.7824868501918908</c:v>
                </c:pt>
                <c:pt idx="28">
                  <c:v>0.8791810397553518</c:v>
                </c:pt>
                <c:pt idx="29">
                  <c:v>0.9371874238362174</c:v>
                </c:pt>
                <c:pt idx="30">
                  <c:v>0.9642165550552444</c:v>
                </c:pt>
                <c:pt idx="31">
                  <c:v>0.9114019293430864</c:v>
                </c:pt>
                <c:pt idx="32">
                  <c:v>0.9087035618536959</c:v>
                </c:pt>
                <c:pt idx="33">
                  <c:v>0.9100173690914334</c:v>
                </c:pt>
                <c:pt idx="34">
                  <c:v>0.9362114072231408</c:v>
                </c:pt>
                <c:pt idx="35">
                  <c:v>1.0415968893421723</c:v>
                </c:pt>
                <c:pt idx="36">
                  <c:v>0.8269783312848638</c:v>
                </c:pt>
                <c:pt idx="37">
                  <c:v>0.8519075337625124</c:v>
                </c:pt>
                <c:pt idx="38">
                  <c:v>1.1238967173234653</c:v>
                </c:pt>
                <c:pt idx="39">
                  <c:v>0.9227787766569506</c:v>
                </c:pt>
                <c:pt idx="40">
                  <c:v>1.0097557737384868</c:v>
                </c:pt>
                <c:pt idx="41">
                  <c:v>1.1034003419378817</c:v>
                </c:pt>
                <c:pt idx="42">
                  <c:v>1.3755405488795225</c:v>
                </c:pt>
                <c:pt idx="43">
                  <c:v>1.0112455387466996</c:v>
                </c:pt>
                <c:pt idx="44">
                  <c:v>1.056641925829197</c:v>
                </c:pt>
                <c:pt idx="45">
                  <c:v>1.0720065655279036</c:v>
                </c:pt>
                <c:pt idx="46">
                  <c:v>0.9837154544316709</c:v>
                </c:pt>
                <c:pt idx="47">
                  <c:v>0.9780552734379379</c:v>
                </c:pt>
                <c:pt idx="48">
                  <c:v>1.001137987700324</c:v>
                </c:pt>
                <c:pt idx="49">
                  <c:v>1.0408742865149077</c:v>
                </c:pt>
                <c:pt idx="50">
                  <c:v>1.0329678478140123</c:v>
                </c:pt>
                <c:pt idx="51">
                  <c:v>1.0614420656806218</c:v>
                </c:pt>
                <c:pt idx="52">
                  <c:v>0.8340566473774732</c:v>
                </c:pt>
                <c:pt idx="53">
                  <c:v>0.5268881466290366</c:v>
                </c:pt>
                <c:pt idx="54">
                  <c:v>1.0298915094443966</c:v>
                </c:pt>
              </c:numCache>
            </c:numRef>
          </c:xVal>
          <c:yVal>
            <c:numRef>
              <c:f>Sheet1!$B$187:$B$241</c:f>
              <c:numCache>
                <c:formatCode>General</c:formatCode>
                <c:ptCount val="55"/>
                <c:pt idx="0">
                  <c:v>0.3783820586922518</c:v>
                </c:pt>
                <c:pt idx="1">
                  <c:v>0.3733624089007508</c:v>
                </c:pt>
                <c:pt idx="2">
                  <c:v>0.37259133242282494</c:v>
                </c:pt>
                <c:pt idx="3">
                  <c:v>0.37042707455512236</c:v>
                </c:pt>
                <c:pt idx="4">
                  <c:v>0.3427582308294914</c:v>
                </c:pt>
                <c:pt idx="5">
                  <c:v>0.3940907421773262</c:v>
                </c:pt>
                <c:pt idx="6">
                  <c:v>0.40321898454926436</c:v>
                </c:pt>
                <c:pt idx="7">
                  <c:v>0.38273584884478806</c:v>
                </c:pt>
                <c:pt idx="8">
                  <c:v>0.37029205779982105</c:v>
                </c:pt>
                <c:pt idx="9">
                  <c:v>0.38236444882553944</c:v>
                </c:pt>
                <c:pt idx="10">
                  <c:v>0.3719529356617545</c:v>
                </c:pt>
                <c:pt idx="11">
                  <c:v>0.4011445992268682</c:v>
                </c:pt>
                <c:pt idx="12">
                  <c:v>0.40071279783105307</c:v>
                </c:pt>
                <c:pt idx="13">
                  <c:v>0.39602590235096036</c:v>
                </c:pt>
                <c:pt idx="14">
                  <c:v>0.422102295586517</c:v>
                </c:pt>
                <c:pt idx="15">
                  <c:v>0.4162298696072714</c:v>
                </c:pt>
                <c:pt idx="16">
                  <c:v>0.40144764407003064</c:v>
                </c:pt>
                <c:pt idx="17">
                  <c:v>0.4110654787132115</c:v>
                </c:pt>
                <c:pt idx="18">
                  <c:v>0.4059813685536936</c:v>
                </c:pt>
                <c:pt idx="19">
                  <c:v>0.3971043384641954</c:v>
                </c:pt>
                <c:pt idx="20">
                  <c:v>0.40082819232247346</c:v>
                </c:pt>
                <c:pt idx="21">
                  <c:v>0.40232070789240526</c:v>
                </c:pt>
                <c:pt idx="22">
                  <c:v>0.42073868189632485</c:v>
                </c:pt>
                <c:pt idx="23">
                  <c:v>0.3989179396461823</c:v>
                </c:pt>
                <c:pt idx="24">
                  <c:v>0.39841314587769117</c:v>
                </c:pt>
                <c:pt idx="25">
                  <c:v>0.402173108455635</c:v>
                </c:pt>
                <c:pt idx="26">
                  <c:v>0.41768676890982903</c:v>
                </c:pt>
                <c:pt idx="27">
                  <c:v>0.4111174527423893</c:v>
                </c:pt>
                <c:pt idx="28">
                  <c:v>0.3848291650681346</c:v>
                </c:pt>
                <c:pt idx="29">
                  <c:v>0.369058946417506</c:v>
                </c:pt>
                <c:pt idx="30">
                  <c:v>0.3617105257907979</c:v>
                </c:pt>
                <c:pt idx="31">
                  <c:v>0.3760692590342063</c:v>
                </c:pt>
                <c:pt idx="32">
                  <c:v>0.3768028652739628</c:v>
                </c:pt>
                <c:pt idx="33">
                  <c:v>0.37644567997906464</c:v>
                </c:pt>
                <c:pt idx="34">
                  <c:v>0.36932429644127934</c:v>
                </c:pt>
                <c:pt idx="35">
                  <c:v>0.3406731036121911</c:v>
                </c:pt>
                <c:pt idx="36">
                  <c:v>0.3990215361283086</c:v>
                </c:pt>
                <c:pt idx="37">
                  <c:v>0.3922440239615401</c:v>
                </c:pt>
                <c:pt idx="38">
                  <c:v>0.3182982167313824</c:v>
                </c:pt>
                <c:pt idx="39">
                  <c:v>0.3729762310419023</c:v>
                </c:pt>
                <c:pt idx="40">
                  <c:v>0.34932976034242336</c:v>
                </c:pt>
                <c:pt idx="41">
                  <c:v>0.32387057443817213</c:v>
                </c:pt>
                <c:pt idx="42">
                  <c:v>0.24988370842159735</c:v>
                </c:pt>
                <c:pt idx="43">
                  <c:v>0.34892473733866536</c:v>
                </c:pt>
                <c:pt idx="44">
                  <c:v>0.3365828035742453</c:v>
                </c:pt>
                <c:pt idx="45">
                  <c:v>0.33240561288435605</c:v>
                </c:pt>
                <c:pt idx="46">
                  <c:v>0.3564093522823067</c:v>
                </c:pt>
                <c:pt idx="47">
                  <c:v>0.3579481879344112</c:v>
                </c:pt>
                <c:pt idx="48">
                  <c:v>0.35167268125120993</c:v>
                </c:pt>
                <c:pt idx="49">
                  <c:v>0.34086955792948903</c:v>
                </c:pt>
                <c:pt idx="50">
                  <c:v>0.3430190845555081</c:v>
                </c:pt>
                <c:pt idx="51">
                  <c:v>0.33527778764867006</c:v>
                </c:pt>
                <c:pt idx="52">
                  <c:v>0.3970971515243123</c:v>
                </c:pt>
                <c:pt idx="53">
                  <c:v>0.4806071736735213</c:v>
                </c:pt>
                <c:pt idx="54">
                  <c:v>0.34385544988840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9622641509434"/>
          <c:min val="0.162237762237762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8.9211</c:v>
                </c:pt>
                <c:pt idx="1">
                  <c:v>798.3394</c:v>
                </c:pt>
                <c:pt idx="2">
                  <c:v>798.9913</c:v>
                </c:pt>
                <c:pt idx="3">
                  <c:v>822.3093</c:v>
                </c:pt>
                <c:pt idx="4">
                  <c:v>845.8243</c:v>
                </c:pt>
                <c:pt idx="5">
                  <c:v>818.6724</c:v>
                </c:pt>
                <c:pt idx="6">
                  <c:v>809.9333</c:v>
                </c:pt>
                <c:pt idx="7">
                  <c:v>821.2121</c:v>
                </c:pt>
                <c:pt idx="8">
                  <c:v>788.2472</c:v>
                </c:pt>
                <c:pt idx="9">
                  <c:v>784.5044</c:v>
                </c:pt>
                <c:pt idx="10">
                  <c:v>786.0088</c:v>
                </c:pt>
                <c:pt idx="11">
                  <c:v>807.8224</c:v>
                </c:pt>
                <c:pt idx="12">
                  <c:v>804.3455</c:v>
                </c:pt>
                <c:pt idx="13">
                  <c:v>803.3295</c:v>
                </c:pt>
                <c:pt idx="14">
                  <c:v>808.0112</c:v>
                </c:pt>
                <c:pt idx="15">
                  <c:v>815.7763</c:v>
                </c:pt>
                <c:pt idx="16">
                  <c:v>822.6</c:v>
                </c:pt>
                <c:pt idx="17">
                  <c:v>827.2973</c:v>
                </c:pt>
                <c:pt idx="18">
                  <c:v>861.234</c:v>
                </c:pt>
                <c:pt idx="19">
                  <c:v>880.1707</c:v>
                </c:pt>
                <c:pt idx="20">
                  <c:v>899.76</c:v>
                </c:pt>
                <c:pt idx="21">
                  <c:v>877.625</c:v>
                </c:pt>
                <c:pt idx="22">
                  <c:v>855.5769</c:v>
                </c:pt>
                <c:pt idx="23">
                  <c:v>892.8868</c:v>
                </c:pt>
                <c:pt idx="24">
                  <c:v>874.6957</c:v>
                </c:pt>
                <c:pt idx="25">
                  <c:v>918.2381</c:v>
                </c:pt>
                <c:pt idx="26">
                  <c:v>829.4167</c:v>
                </c:pt>
                <c:pt idx="27">
                  <c:v>874.3488</c:v>
                </c:pt>
                <c:pt idx="28">
                  <c:v>924.48</c:v>
                </c:pt>
                <c:pt idx="29">
                  <c:v>819.3284</c:v>
                </c:pt>
                <c:pt idx="30">
                  <c:v>782.7544</c:v>
                </c:pt>
                <c:pt idx="31">
                  <c:v>799.9444</c:v>
                </c:pt>
                <c:pt idx="32">
                  <c:v>803.3509</c:v>
                </c:pt>
                <c:pt idx="33">
                  <c:v>694.96</c:v>
                </c:pt>
                <c:pt idx="34">
                  <c:v>763.4839</c:v>
                </c:pt>
                <c:pt idx="35">
                  <c:v>858.47</c:v>
                </c:pt>
                <c:pt idx="36">
                  <c:v>901.75</c:v>
                </c:pt>
                <c:pt idx="37">
                  <c:v>939.5294</c:v>
                </c:pt>
                <c:pt idx="38">
                  <c:v>932.7042</c:v>
                </c:pt>
                <c:pt idx="39">
                  <c:v>879.9344</c:v>
                </c:pt>
                <c:pt idx="40">
                  <c:v>905.0462</c:v>
                </c:pt>
                <c:pt idx="41">
                  <c:v>970.3671</c:v>
                </c:pt>
                <c:pt idx="42">
                  <c:v>968.6479</c:v>
                </c:pt>
                <c:pt idx="43">
                  <c:v>969.5</c:v>
                </c:pt>
                <c:pt idx="44">
                  <c:v>962.4483</c:v>
                </c:pt>
                <c:pt idx="45">
                  <c:v>968.8022</c:v>
                </c:pt>
                <c:pt idx="46">
                  <c:v>938.59</c:v>
                </c:pt>
                <c:pt idx="47">
                  <c:v>950.6782</c:v>
                </c:pt>
                <c:pt idx="48">
                  <c:v>953.25</c:v>
                </c:pt>
                <c:pt idx="49">
                  <c:v>942.1947</c:v>
                </c:pt>
                <c:pt idx="50">
                  <c:v>953.3684</c:v>
                </c:pt>
                <c:pt idx="51">
                  <c:v>954.2338</c:v>
                </c:pt>
                <c:pt idx="52">
                  <c:v>948.2375</c:v>
                </c:pt>
                <c:pt idx="53">
                  <c:v>984.7671</c:v>
                </c:pt>
                <c:pt idx="54">
                  <c:v>987.3387</c:v>
                </c:pt>
                <c:pt idx="55">
                  <c:v>989.193</c:v>
                </c:pt>
                <c:pt idx="56">
                  <c:v>991.0167</c:v>
                </c:pt>
                <c:pt idx="57">
                  <c:v>952.3906</c:v>
                </c:pt>
                <c:pt idx="58">
                  <c:v>912.9455</c:v>
                </c:pt>
                <c:pt idx="59">
                  <c:v>980.2985</c:v>
                </c:pt>
                <c:pt idx="60">
                  <c:v>952.2632</c:v>
                </c:pt>
                <c:pt idx="61">
                  <c:v>980.6842</c:v>
                </c:pt>
                <c:pt idx="62">
                  <c:v>971.9552</c:v>
                </c:pt>
                <c:pt idx="63">
                  <c:v>957.3</c:v>
                </c:pt>
                <c:pt idx="64">
                  <c:v>975.6533</c:v>
                </c:pt>
                <c:pt idx="65">
                  <c:v>967.3165</c:v>
                </c:pt>
                <c:pt idx="66">
                  <c:v>953.1667</c:v>
                </c:pt>
                <c:pt idx="67">
                  <c:v>981.8983</c:v>
                </c:pt>
                <c:pt idx="68">
                  <c:v>1014.5745</c:v>
                </c:pt>
                <c:pt idx="69">
                  <c:v>1011.9655</c:v>
                </c:pt>
                <c:pt idx="70">
                  <c:v>985.2368</c:v>
                </c:pt>
                <c:pt idx="71">
                  <c:v>987.1795</c:v>
                </c:pt>
                <c:pt idx="72">
                  <c:v>1110.5263</c:v>
                </c:pt>
                <c:pt idx="73">
                  <c:v>1097.2895</c:v>
                </c:pt>
                <c:pt idx="74">
                  <c:v>1075.8636</c:v>
                </c:pt>
                <c:pt idx="75">
                  <c:v>1049.7241</c:v>
                </c:pt>
                <c:pt idx="76">
                  <c:v>1001.8148</c:v>
                </c:pt>
                <c:pt idx="77">
                  <c:v>956.4286</c:v>
                </c:pt>
                <c:pt idx="78">
                  <c:v>1028.6875</c:v>
                </c:pt>
                <c:pt idx="79">
                  <c:v>1063.0</c:v>
                </c:pt>
                <c:pt idx="80">
                  <c:v>1066.25</c:v>
                </c:pt>
                <c:pt idx="81">
                  <c:v>1136.6857</c:v>
                </c:pt>
                <c:pt idx="82">
                  <c:v>1135.8889</c:v>
                </c:pt>
                <c:pt idx="83">
                  <c:v>877.5625</c:v>
                </c:pt>
                <c:pt idx="84">
                  <c:v>1169.1379</c:v>
                </c:pt>
                <c:pt idx="85">
                  <c:v>1129.2813</c:v>
                </c:pt>
                <c:pt idx="86">
                  <c:v>1086.8182</c:v>
                </c:pt>
                <c:pt idx="87">
                  <c:v>1109.8947</c:v>
                </c:pt>
                <c:pt idx="88">
                  <c:v>1169.3968</c:v>
                </c:pt>
                <c:pt idx="89">
                  <c:v>1098.6842</c:v>
                </c:pt>
                <c:pt idx="90">
                  <c:v>1159.6744</c:v>
                </c:pt>
                <c:pt idx="91">
                  <c:v>1125.8372</c:v>
                </c:pt>
                <c:pt idx="92">
                  <c:v>1155.7544</c:v>
                </c:pt>
                <c:pt idx="93">
                  <c:v>1148.6604</c:v>
                </c:pt>
                <c:pt idx="94">
                  <c:v>1173.7656</c:v>
                </c:pt>
                <c:pt idx="95">
                  <c:v>1158.3788</c:v>
                </c:pt>
                <c:pt idx="96">
                  <c:v>1170.5493</c:v>
                </c:pt>
                <c:pt idx="97">
                  <c:v>1133.6719</c:v>
                </c:pt>
                <c:pt idx="98">
                  <c:v>1132.9059</c:v>
                </c:pt>
                <c:pt idx="99">
                  <c:v>1060.0396</c:v>
                </c:pt>
                <c:pt idx="100">
                  <c:v>1075.3546</c:v>
                </c:pt>
                <c:pt idx="101">
                  <c:v>1045.6111</c:v>
                </c:pt>
                <c:pt idx="102">
                  <c:v>1116.2364</c:v>
                </c:pt>
                <c:pt idx="103">
                  <c:v>1074.3934</c:v>
                </c:pt>
                <c:pt idx="104">
                  <c:v>998.7414</c:v>
                </c:pt>
              </c:numCache>
            </c:numRef>
          </c:xVal>
          <c:yVal>
            <c:numRef>
              <c:f>Sheet1!$B$2:$B$106</c:f>
              <c:numCache>
                <c:formatCode>General</c:formatCode>
                <c:ptCount val="105"/>
                <c:pt idx="0">
                  <c:v>0.475</c:v>
                </c:pt>
                <c:pt idx="1">
                  <c:v>0.5023041474654378</c:v>
                </c:pt>
                <c:pt idx="2">
                  <c:v>0.5088495575221239</c:v>
                </c:pt>
                <c:pt idx="3">
                  <c:v>0.43891402714932126</c:v>
                </c:pt>
                <c:pt idx="4">
                  <c:v>0.45962732919254656</c:v>
                </c:pt>
                <c:pt idx="5">
                  <c:v>0.5132743362831859</c:v>
                </c:pt>
                <c:pt idx="6">
                  <c:v>0.46875</c:v>
                </c:pt>
                <c:pt idx="7">
                  <c:v>0.46153846153846156</c:v>
                </c:pt>
                <c:pt idx="8">
                  <c:v>0.4972067039106145</c:v>
                </c:pt>
                <c:pt idx="9">
                  <c:v>0.5330188679245284</c:v>
                </c:pt>
                <c:pt idx="10">
                  <c:v>0.5136363636363637</c:v>
                </c:pt>
                <c:pt idx="11">
                  <c:v>0.4672489082969432</c:v>
                </c:pt>
                <c:pt idx="12">
                  <c:v>0.4641350210970464</c:v>
                </c:pt>
                <c:pt idx="13">
                  <c:v>0.4074074074074074</c:v>
                </c:pt>
                <c:pt idx="14">
                  <c:v>0.4258373205741627</c:v>
                </c:pt>
                <c:pt idx="15">
                  <c:v>0.4222222222222222</c:v>
                </c:pt>
                <c:pt idx="16">
                  <c:v>0.42207792207792205</c:v>
                </c:pt>
                <c:pt idx="17">
                  <c:v>0.4966442953020134</c:v>
                </c:pt>
                <c:pt idx="18">
                  <c:v>0.4017094017094017</c:v>
                </c:pt>
                <c:pt idx="19">
                  <c:v>0.38317757009345793</c:v>
                </c:pt>
                <c:pt idx="20">
                  <c:v>0.4132231404958678</c:v>
                </c:pt>
                <c:pt idx="21">
                  <c:v>0.45901639344262296</c:v>
                </c:pt>
                <c:pt idx="22">
                  <c:v>0.4369747899159664</c:v>
                </c:pt>
                <c:pt idx="23">
                  <c:v>0.424</c:v>
                </c:pt>
                <c:pt idx="24">
                  <c:v>0.45098039215686275</c:v>
                </c:pt>
                <c:pt idx="25">
                  <c:v>0.4077669902912621</c:v>
                </c:pt>
                <c:pt idx="26">
                  <c:v>0.4316546762589928</c:v>
                </c:pt>
                <c:pt idx="27">
                  <c:v>0.39090909090909093</c:v>
                </c:pt>
                <c:pt idx="28">
                  <c:v>0.4098360655737705</c:v>
                </c:pt>
                <c:pt idx="29">
                  <c:v>0.4652777777777778</c:v>
                </c:pt>
                <c:pt idx="30">
                  <c:v>0.456</c:v>
                </c:pt>
                <c:pt idx="31">
                  <c:v>0.45</c:v>
                </c:pt>
                <c:pt idx="32">
                  <c:v>0.4418604651162791</c:v>
                </c:pt>
                <c:pt idx="33">
                  <c:v>0.4807692307692308</c:v>
                </c:pt>
                <c:pt idx="34">
                  <c:v>0.4793814432989691</c:v>
                </c:pt>
                <c:pt idx="35">
                  <c:v>0.4065040650406504</c:v>
                </c:pt>
                <c:pt idx="36">
                  <c:v>0.3981042654028436</c:v>
                </c:pt>
                <c:pt idx="37">
                  <c:v>0.37988826815642457</c:v>
                </c:pt>
                <c:pt idx="38">
                  <c:v>0.4176470588235294</c:v>
                </c:pt>
                <c:pt idx="39">
                  <c:v>0.3961038961038961</c:v>
                </c:pt>
                <c:pt idx="40">
                  <c:v>0.38461538461538464</c:v>
                </c:pt>
                <c:pt idx="41">
                  <c:v>0.4388888888888889</c:v>
                </c:pt>
                <c:pt idx="42">
                  <c:v>0.3879781420765027</c:v>
                </c:pt>
                <c:pt idx="43">
                  <c:v>0.3431372549019608</c:v>
                </c:pt>
                <c:pt idx="44">
                  <c:v>0.3782608695652174</c:v>
                </c:pt>
                <c:pt idx="45">
                  <c:v>0.3922413793103448</c:v>
                </c:pt>
                <c:pt idx="46">
                  <c:v>0.423728813559322</c:v>
                </c:pt>
                <c:pt idx="47">
                  <c:v>0.4046511627906977</c:v>
                </c:pt>
                <c:pt idx="48">
                  <c:v>0.39322033898305087</c:v>
                </c:pt>
                <c:pt idx="49">
                  <c:v>0.43478260869565216</c:v>
                </c:pt>
                <c:pt idx="50">
                  <c:v>0.40772532188841204</c:v>
                </c:pt>
                <c:pt idx="51">
                  <c:v>0.4010416666666667</c:v>
                </c:pt>
                <c:pt idx="52">
                  <c:v>0.41450777202072536</c:v>
                </c:pt>
                <c:pt idx="53">
                  <c:v>0.3967391304347826</c:v>
                </c:pt>
                <c:pt idx="54">
                  <c:v>0.3974358974358974</c:v>
                </c:pt>
                <c:pt idx="55">
                  <c:v>0.36774193548387096</c:v>
                </c:pt>
                <c:pt idx="56">
                  <c:v>0.3870967741935484</c:v>
                </c:pt>
                <c:pt idx="57">
                  <c:v>0.41025641025641024</c:v>
                </c:pt>
                <c:pt idx="58">
                  <c:v>0.38461538461538464</c:v>
                </c:pt>
                <c:pt idx="59">
                  <c:v>0.40853658536585363</c:v>
                </c:pt>
                <c:pt idx="60">
                  <c:v>0.375</c:v>
                </c:pt>
                <c:pt idx="61">
                  <c:v>0.375</c:v>
                </c:pt>
                <c:pt idx="62">
                  <c:v>0.4110429447852761</c:v>
                </c:pt>
                <c:pt idx="63">
                  <c:v>0.358974358974359</c:v>
                </c:pt>
                <c:pt idx="64">
                  <c:v>0.38860103626943004</c:v>
                </c:pt>
                <c:pt idx="65">
                  <c:v>0.43646408839779005</c:v>
                </c:pt>
                <c:pt idx="66">
                  <c:v>0.41379310344827586</c:v>
                </c:pt>
                <c:pt idx="67">
                  <c:v>0.3597560975609756</c:v>
                </c:pt>
                <c:pt idx="68">
                  <c:v>0.3357142857142857</c:v>
                </c:pt>
                <c:pt idx="69">
                  <c:v>0.29292929292929293</c:v>
                </c:pt>
                <c:pt idx="70">
                  <c:v>0.3114754098360656</c:v>
                </c:pt>
                <c:pt idx="71">
                  <c:v>0.34210526315789475</c:v>
                </c:pt>
                <c:pt idx="72">
                  <c:v>0.2550335570469799</c:v>
                </c:pt>
                <c:pt idx="73">
                  <c:v>0.33043478260869563</c:v>
                </c:pt>
                <c:pt idx="74">
                  <c:v>0.21568627450980393</c:v>
                </c:pt>
                <c:pt idx="75">
                  <c:v>0.20279720279720279</c:v>
                </c:pt>
                <c:pt idx="76">
                  <c:v>0.23275862068965517</c:v>
                </c:pt>
                <c:pt idx="77">
                  <c:v>0.3211009174311927</c:v>
                </c:pt>
                <c:pt idx="78">
                  <c:v>0.32</c:v>
                </c:pt>
                <c:pt idx="79">
                  <c:v>0.25742574257425743</c:v>
                </c:pt>
                <c:pt idx="80">
                  <c:v>0.31683168316831684</c:v>
                </c:pt>
                <c:pt idx="81">
                  <c:v>0.3181818181818182</c:v>
                </c:pt>
                <c:pt idx="82">
                  <c:v>0.32142857142857145</c:v>
                </c:pt>
                <c:pt idx="83">
                  <c:v>0.35555555555555557</c:v>
                </c:pt>
                <c:pt idx="84">
                  <c:v>0.3020833333333333</c:v>
                </c:pt>
                <c:pt idx="85">
                  <c:v>0.32323232323232326</c:v>
                </c:pt>
                <c:pt idx="86">
                  <c:v>0.3273809523809524</c:v>
                </c:pt>
                <c:pt idx="87">
                  <c:v>0.35348837209302325</c:v>
                </c:pt>
                <c:pt idx="88">
                  <c:v>0.328125</c:v>
                </c:pt>
                <c:pt idx="89">
                  <c:v>0.3089430894308943</c:v>
                </c:pt>
                <c:pt idx="90">
                  <c:v>0.3805309734513274</c:v>
                </c:pt>
                <c:pt idx="91">
                  <c:v>0.3524590163934426</c:v>
                </c:pt>
                <c:pt idx="92">
                  <c:v>0.37012987012987014</c:v>
                </c:pt>
                <c:pt idx="93">
                  <c:v>0.35570469798657717</c:v>
                </c:pt>
                <c:pt idx="94">
                  <c:v>0.40764331210191085</c:v>
                </c:pt>
                <c:pt idx="95">
                  <c:v>0.3687150837988827</c:v>
                </c:pt>
                <c:pt idx="96">
                  <c:v>0.37566137566137564</c:v>
                </c:pt>
                <c:pt idx="97">
                  <c:v>0.3386243386243386</c:v>
                </c:pt>
                <c:pt idx="98">
                  <c:v>0.3794642857142857</c:v>
                </c:pt>
                <c:pt idx="99">
                  <c:v>0.38697318007662834</c:v>
                </c:pt>
                <c:pt idx="100">
                  <c:v>0.39275766016713093</c:v>
                </c:pt>
                <c:pt idx="101">
                  <c:v>0.3444976076555024</c:v>
                </c:pt>
                <c:pt idx="102">
                  <c:v>0.3767123287671233</c:v>
                </c:pt>
                <c:pt idx="103">
                  <c:v>0.3609467455621302</c:v>
                </c:pt>
                <c:pt idx="104">
                  <c:v>0.367088607594936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7.6563</c:v>
                </c:pt>
                <c:pt idx="1">
                  <c:v>1145.8846</c:v>
                </c:pt>
                <c:pt idx="2">
                  <c:v>1147.0217</c:v>
                </c:pt>
                <c:pt idx="3">
                  <c:v>1156.5192</c:v>
                </c:pt>
                <c:pt idx="4">
                  <c:v>1145.9792</c:v>
                </c:pt>
                <c:pt idx="5">
                  <c:v>1136.7037</c:v>
                </c:pt>
                <c:pt idx="6">
                  <c:v>1046.102</c:v>
                </c:pt>
                <c:pt idx="7">
                  <c:v>1137.9524</c:v>
                </c:pt>
                <c:pt idx="8">
                  <c:v>1152.641</c:v>
                </c:pt>
                <c:pt idx="9">
                  <c:v>1090.1081</c:v>
                </c:pt>
                <c:pt idx="10">
                  <c:v>1163.5902</c:v>
                </c:pt>
                <c:pt idx="11">
                  <c:v>1025.1282</c:v>
                </c:pt>
                <c:pt idx="12">
                  <c:v>1011.5658</c:v>
                </c:pt>
                <c:pt idx="13">
                  <c:v>1096.6333</c:v>
                </c:pt>
                <c:pt idx="14">
                  <c:v>1085.0645</c:v>
                </c:pt>
                <c:pt idx="15">
                  <c:v>1092.8929</c:v>
                </c:pt>
                <c:pt idx="16">
                  <c:v>1108.34</c:v>
                </c:pt>
                <c:pt idx="17">
                  <c:v>1098.1951</c:v>
                </c:pt>
                <c:pt idx="18">
                  <c:v>1100.2927</c:v>
                </c:pt>
                <c:pt idx="19">
                  <c:v>1135.0926</c:v>
                </c:pt>
                <c:pt idx="20">
                  <c:v>1098.1714</c:v>
                </c:pt>
                <c:pt idx="21">
                  <c:v>1060.9259</c:v>
                </c:pt>
                <c:pt idx="22">
                  <c:v>1116.7037</c:v>
                </c:pt>
                <c:pt idx="23">
                  <c:v>1172.7576</c:v>
                </c:pt>
                <c:pt idx="24">
                  <c:v>1157.125</c:v>
                </c:pt>
                <c:pt idx="25">
                  <c:v>1180.25</c:v>
                </c:pt>
                <c:pt idx="26">
                  <c:v>1067.25</c:v>
                </c:pt>
                <c:pt idx="27">
                  <c:v>1004.1714</c:v>
                </c:pt>
                <c:pt idx="28">
                  <c:v>1149.9688</c:v>
                </c:pt>
                <c:pt idx="29">
                  <c:v>1201.65</c:v>
                </c:pt>
                <c:pt idx="30">
                  <c:v>1170.1304</c:v>
                </c:pt>
                <c:pt idx="31">
                  <c:v>1113.5455</c:v>
                </c:pt>
                <c:pt idx="32">
                  <c:v>1186.3125</c:v>
                </c:pt>
                <c:pt idx="33">
                  <c:v>1215.3585</c:v>
                </c:pt>
                <c:pt idx="34">
                  <c:v>1234.0563</c:v>
                </c:pt>
                <c:pt idx="35">
                  <c:v>1225.5429</c:v>
                </c:pt>
                <c:pt idx="36">
                  <c:v>1150.0222</c:v>
                </c:pt>
                <c:pt idx="37">
                  <c:v>1140.3256</c:v>
                </c:pt>
                <c:pt idx="38">
                  <c:v>1124.0417</c:v>
                </c:pt>
                <c:pt idx="39">
                  <c:v>1146.1455</c:v>
                </c:pt>
                <c:pt idx="40">
                  <c:v>1157.551</c:v>
                </c:pt>
                <c:pt idx="41">
                  <c:v>1155.1667</c:v>
                </c:pt>
                <c:pt idx="42">
                  <c:v>1232.6897</c:v>
                </c:pt>
                <c:pt idx="43">
                  <c:v>1227.3208</c:v>
                </c:pt>
                <c:pt idx="44">
                  <c:v>1193.3585</c:v>
                </c:pt>
                <c:pt idx="45">
                  <c:v>1164.3684</c:v>
                </c:pt>
                <c:pt idx="46">
                  <c:v>1130.9872</c:v>
                </c:pt>
                <c:pt idx="47">
                  <c:v>1134.2329</c:v>
                </c:pt>
                <c:pt idx="48">
                  <c:v>1110.8529</c:v>
                </c:pt>
                <c:pt idx="49">
                  <c:v>1138.129</c:v>
                </c:pt>
                <c:pt idx="50">
                  <c:v>1107.4815</c:v>
                </c:pt>
                <c:pt idx="51">
                  <c:v>1058.5231</c:v>
                </c:pt>
              </c:numCache>
            </c:numRef>
          </c:xVal>
          <c:yVal>
            <c:numRef>
              <c:f>Sheet1!$B$109:$B$160</c:f>
              <c:numCache>
                <c:formatCode>General</c:formatCode>
                <c:ptCount val="52"/>
                <c:pt idx="0">
                  <c:v>0.3855421686746988</c:v>
                </c:pt>
                <c:pt idx="1">
                  <c:v>0.37142857142857144</c:v>
                </c:pt>
                <c:pt idx="2">
                  <c:v>0.3357664233576642</c:v>
                </c:pt>
                <c:pt idx="3">
                  <c:v>0.348993288590604</c:v>
                </c:pt>
                <c:pt idx="4">
                  <c:v>0.3287671232876712</c:v>
                </c:pt>
                <c:pt idx="5">
                  <c:v>0.4090909090909091</c:v>
                </c:pt>
                <c:pt idx="6">
                  <c:v>0.45794392523364486</c:v>
                </c:pt>
                <c:pt idx="7">
                  <c:v>0.31343283582089554</c:v>
                </c:pt>
                <c:pt idx="8">
                  <c:v>0.375</c:v>
                </c:pt>
                <c:pt idx="9">
                  <c:v>0.37373737373737376</c:v>
                </c:pt>
                <c:pt idx="10">
                  <c:v>0.41216216216216217</c:v>
                </c:pt>
                <c:pt idx="11">
                  <c:v>0.41711229946524064</c:v>
                </c:pt>
                <c:pt idx="12">
                  <c:v>0.40425531914893614</c:v>
                </c:pt>
                <c:pt idx="13">
                  <c:v>0.36585365853658536</c:v>
                </c:pt>
                <c:pt idx="14">
                  <c:v>0.4246575342465753</c:v>
                </c:pt>
                <c:pt idx="15">
                  <c:v>0.3835616438356164</c:v>
                </c:pt>
                <c:pt idx="16">
                  <c:v>0.4132231404958678</c:v>
                </c:pt>
                <c:pt idx="17">
                  <c:v>0.39805825242718446</c:v>
                </c:pt>
                <c:pt idx="18">
                  <c:v>0.39805825242718446</c:v>
                </c:pt>
                <c:pt idx="19">
                  <c:v>0.432</c:v>
                </c:pt>
                <c:pt idx="20">
                  <c:v>0.3645833333333333</c:v>
                </c:pt>
                <c:pt idx="21">
                  <c:v>0.375</c:v>
                </c:pt>
                <c:pt idx="22">
                  <c:v>0.4426229508196721</c:v>
                </c:pt>
                <c:pt idx="23">
                  <c:v>0.4583333333333333</c:v>
                </c:pt>
                <c:pt idx="24">
                  <c:v>0.4383561643835616</c:v>
                </c:pt>
                <c:pt idx="25">
                  <c:v>0.3888888888888889</c:v>
                </c:pt>
                <c:pt idx="26">
                  <c:v>0.42105263157894735</c:v>
                </c:pt>
                <c:pt idx="27">
                  <c:v>0.3763440860215054</c:v>
                </c:pt>
                <c:pt idx="28">
                  <c:v>0.34782608695652173</c:v>
                </c:pt>
                <c:pt idx="29">
                  <c:v>0.38095238095238093</c:v>
                </c:pt>
                <c:pt idx="30">
                  <c:v>0.4107142857142857</c:v>
                </c:pt>
                <c:pt idx="31">
                  <c:v>0.3333333333333333</c:v>
                </c:pt>
                <c:pt idx="32">
                  <c:v>0.3516483516483517</c:v>
                </c:pt>
                <c:pt idx="33">
                  <c:v>0.40458015267175573</c:v>
                </c:pt>
                <c:pt idx="34">
                  <c:v>0.3817204301075269</c:v>
                </c:pt>
                <c:pt idx="35">
                  <c:v>0.3763440860215054</c:v>
                </c:pt>
                <c:pt idx="36">
                  <c:v>0.3515625</c:v>
                </c:pt>
                <c:pt idx="37">
                  <c:v>0.39090909090909093</c:v>
                </c:pt>
                <c:pt idx="38">
                  <c:v>0.2962962962962963</c:v>
                </c:pt>
                <c:pt idx="39">
                  <c:v>0.35714285714285715</c:v>
                </c:pt>
                <c:pt idx="40">
                  <c:v>0.32450331125827814</c:v>
                </c:pt>
                <c:pt idx="41">
                  <c:v>0.3057324840764331</c:v>
                </c:pt>
                <c:pt idx="42">
                  <c:v>0.2116788321167883</c:v>
                </c:pt>
                <c:pt idx="43">
                  <c:v>0.32515337423312884</c:v>
                </c:pt>
                <c:pt idx="44">
                  <c:v>0.34415584415584416</c:v>
                </c:pt>
                <c:pt idx="45">
                  <c:v>0.3877551020408163</c:v>
                </c:pt>
                <c:pt idx="46">
                  <c:v>0.4126984126984127</c:v>
                </c:pt>
                <c:pt idx="47">
                  <c:v>0.37055837563451777</c:v>
                </c:pt>
                <c:pt idx="48">
                  <c:v>0.37158469945355194</c:v>
                </c:pt>
                <c:pt idx="49">
                  <c:v>0.37349397590361444</c:v>
                </c:pt>
                <c:pt idx="50">
                  <c:v>0.3638814016172507</c:v>
                </c:pt>
                <c:pt idx="51">
                  <c:v>0.32178217821782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6.0073719451259</c:v>
                </c:pt>
              </c:numCache>
            </c:numRef>
          </c:xVal>
          <c:yVal>
            <c:numRef>
              <c:f>Sheet1!$B$163:$B$164</c:f>
              <c:numCache>
                <c:formatCode>General</c:formatCode>
                <c:ptCount val="2"/>
                <c:pt idx="0">
                  <c:v>0.4806071736735213</c:v>
                </c:pt>
                <c:pt idx="1">
                  <c:v>0.480607173673521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6.0073719451259</c:v>
                </c:pt>
                <c:pt idx="1">
                  <c:v>706.0073719451259</c:v>
                </c:pt>
              </c:numCache>
            </c:numRef>
          </c:xVal>
          <c:yVal>
            <c:numRef>
              <c:f>Sheet1!$B$167:$B$168</c:f>
              <c:numCache>
                <c:formatCode>General</c:formatCode>
                <c:ptCount val="2"/>
                <c:pt idx="0">
                  <c:v>0.48060717367352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4.7569842083901</c:v>
                </c:pt>
              </c:numCache>
            </c:numRef>
          </c:xVal>
          <c:yVal>
            <c:numRef>
              <c:f>Sheet1!$B$171:$B$172</c:f>
              <c:numCache>
                <c:formatCode>General</c:formatCode>
                <c:ptCount val="2"/>
                <c:pt idx="0">
                  <c:v>0.3970971515243123</c:v>
                </c:pt>
                <c:pt idx="1">
                  <c:v>0.39709715152431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4.7569842083901</c:v>
                </c:pt>
                <c:pt idx="1">
                  <c:v>1044.7569842083901</c:v>
                </c:pt>
              </c:numCache>
            </c:numRef>
          </c:xVal>
          <c:yVal>
            <c:numRef>
              <c:f>Sheet1!$B$175:$B$176</c:f>
              <c:numCache>
                <c:formatCode>General</c:formatCode>
                <c:ptCount val="2"/>
                <c:pt idx="0">
                  <c:v>0.39709715152431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0.7263411937604</c:v>
                </c:pt>
              </c:numCache>
            </c:numRef>
          </c:xVal>
          <c:yVal>
            <c:numRef>
              <c:f>Sheet1!$B$179:$B$180</c:f>
              <c:numCache>
                <c:formatCode>General</c:formatCode>
                <c:ptCount val="2"/>
                <c:pt idx="0">
                  <c:v>0.3438554498884088</c:v>
                </c:pt>
                <c:pt idx="1">
                  <c:v>0.34385544988840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0.7263411937604</c:v>
                </c:pt>
                <c:pt idx="1">
                  <c:v>1260.7263411937604</c:v>
                </c:pt>
              </c:numCache>
            </c:numRef>
          </c:xVal>
          <c:yVal>
            <c:numRef>
              <c:f>Sheet1!$B$183:$B$184</c:f>
              <c:numCache>
                <c:formatCode>General</c:formatCode>
                <c:ptCount val="2"/>
                <c:pt idx="0">
                  <c:v>0.34385544988840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7.6563</c:v>
                </c:pt>
                <c:pt idx="1">
                  <c:v>1145.8846</c:v>
                </c:pt>
                <c:pt idx="2">
                  <c:v>1147.0217</c:v>
                </c:pt>
                <c:pt idx="3">
                  <c:v>1156.5192</c:v>
                </c:pt>
                <c:pt idx="4">
                  <c:v>1145.9792</c:v>
                </c:pt>
                <c:pt idx="5">
                  <c:v>1136.7037</c:v>
                </c:pt>
                <c:pt idx="6">
                  <c:v>1046.102</c:v>
                </c:pt>
                <c:pt idx="7">
                  <c:v>1137.9524</c:v>
                </c:pt>
                <c:pt idx="8">
                  <c:v>1152.641</c:v>
                </c:pt>
                <c:pt idx="9">
                  <c:v>1090.1081</c:v>
                </c:pt>
                <c:pt idx="10">
                  <c:v>1163.5902</c:v>
                </c:pt>
                <c:pt idx="11">
                  <c:v>1025.1282</c:v>
                </c:pt>
                <c:pt idx="12">
                  <c:v>1011.5658</c:v>
                </c:pt>
                <c:pt idx="13">
                  <c:v>1096.6333</c:v>
                </c:pt>
                <c:pt idx="14">
                  <c:v>1085.0645</c:v>
                </c:pt>
                <c:pt idx="15">
                  <c:v>1092.8929</c:v>
                </c:pt>
                <c:pt idx="16">
                  <c:v>1108.34</c:v>
                </c:pt>
                <c:pt idx="17">
                  <c:v>1098.1951</c:v>
                </c:pt>
                <c:pt idx="18">
                  <c:v>1100.2927</c:v>
                </c:pt>
                <c:pt idx="19">
                  <c:v>1135.0926</c:v>
                </c:pt>
                <c:pt idx="20">
                  <c:v>1098.1714</c:v>
                </c:pt>
                <c:pt idx="21">
                  <c:v>1060.9259</c:v>
                </c:pt>
                <c:pt idx="22">
                  <c:v>1116.7037</c:v>
                </c:pt>
                <c:pt idx="23">
                  <c:v>1172.7576</c:v>
                </c:pt>
                <c:pt idx="24">
                  <c:v>1157.125</c:v>
                </c:pt>
                <c:pt idx="25">
                  <c:v>1180.25</c:v>
                </c:pt>
                <c:pt idx="26">
                  <c:v>1067.25</c:v>
                </c:pt>
                <c:pt idx="27">
                  <c:v>1004.1714</c:v>
                </c:pt>
                <c:pt idx="28">
                  <c:v>1149.9688</c:v>
                </c:pt>
                <c:pt idx="29">
                  <c:v>1201.65</c:v>
                </c:pt>
                <c:pt idx="30">
                  <c:v>1170.1304</c:v>
                </c:pt>
                <c:pt idx="31">
                  <c:v>1113.5455</c:v>
                </c:pt>
                <c:pt idx="32">
                  <c:v>1186.3125</c:v>
                </c:pt>
                <c:pt idx="33">
                  <c:v>1215.3585</c:v>
                </c:pt>
                <c:pt idx="34">
                  <c:v>1234.0563</c:v>
                </c:pt>
                <c:pt idx="35">
                  <c:v>1225.5429</c:v>
                </c:pt>
                <c:pt idx="36">
                  <c:v>1150.0222</c:v>
                </c:pt>
                <c:pt idx="37">
                  <c:v>1140.3256</c:v>
                </c:pt>
                <c:pt idx="38">
                  <c:v>1124.0417</c:v>
                </c:pt>
                <c:pt idx="39">
                  <c:v>1146.1455</c:v>
                </c:pt>
                <c:pt idx="40">
                  <c:v>1157.551</c:v>
                </c:pt>
                <c:pt idx="41">
                  <c:v>1155.1667</c:v>
                </c:pt>
                <c:pt idx="42">
                  <c:v>1232.6897</c:v>
                </c:pt>
                <c:pt idx="43">
                  <c:v>1227.3208</c:v>
                </c:pt>
                <c:pt idx="44">
                  <c:v>1193.3585</c:v>
                </c:pt>
                <c:pt idx="45">
                  <c:v>1164.3684</c:v>
                </c:pt>
                <c:pt idx="46">
                  <c:v>1130.9872</c:v>
                </c:pt>
                <c:pt idx="47">
                  <c:v>1134.2329</c:v>
                </c:pt>
                <c:pt idx="48">
                  <c:v>1110.8529</c:v>
                </c:pt>
                <c:pt idx="49">
                  <c:v>1138.129</c:v>
                </c:pt>
                <c:pt idx="50">
                  <c:v>1107.4815</c:v>
                </c:pt>
                <c:pt idx="51">
                  <c:v>1058.5231</c:v>
                </c:pt>
                <c:pt idx="52">
                  <c:v>1044.7569842083901</c:v>
                </c:pt>
                <c:pt idx="53">
                  <c:v>706.0073719451259</c:v>
                </c:pt>
                <c:pt idx="54">
                  <c:v>1260.7263411937604</c:v>
                </c:pt>
              </c:numCache>
            </c:numRef>
          </c:xVal>
          <c:yVal>
            <c:numRef>
              <c:f>Sheet1!$B$187:$B$241</c:f>
              <c:numCache>
                <c:formatCode>General</c:formatCode>
                <c:ptCount val="55"/>
                <c:pt idx="0">
                  <c:v>0.37172996635328537</c:v>
                </c:pt>
                <c:pt idx="1">
                  <c:v>0.3721667335137058</c:v>
                </c:pt>
                <c:pt idx="2">
                  <c:v>0.3718864106948798</c:v>
                </c:pt>
                <c:pt idx="3">
                  <c:v>0.36954504584411885</c:v>
                </c:pt>
                <c:pt idx="4">
                  <c:v>0.372143412311823</c:v>
                </c:pt>
                <c:pt idx="5">
                  <c:v>0.37443004876070257</c:v>
                </c:pt>
                <c:pt idx="6">
                  <c:v>0.3967655724036812</c:v>
                </c:pt>
                <c:pt idx="7">
                  <c:v>0.37412221382633615</c:v>
                </c:pt>
                <c:pt idx="8">
                  <c:v>0.3705011165115809</c:v>
                </c:pt>
                <c:pt idx="9">
                  <c:v>0.38591699796208373</c:v>
                </c:pt>
                <c:pt idx="10">
                  <c:v>0.36780187228689526</c:v>
                </c:pt>
                <c:pt idx="11">
                  <c:v>0.4019361244549463</c:v>
                </c:pt>
                <c:pt idx="12">
                  <c:v>0.405279586066103</c:v>
                </c:pt>
                <c:pt idx="13">
                  <c:v>0.384308377385702</c:v>
                </c:pt>
                <c:pt idx="14">
                  <c:v>0.38716036808699006</c:v>
                </c:pt>
                <c:pt idx="15">
                  <c:v>0.3852304770001043</c:v>
                </c:pt>
                <c:pt idx="16">
                  <c:v>0.38142239097892094</c:v>
                </c:pt>
                <c:pt idx="17">
                  <c:v>0.3839233556827361</c:v>
                </c:pt>
                <c:pt idx="18">
                  <c:v>0.3834062462422564</c:v>
                </c:pt>
                <c:pt idx="19">
                  <c:v>0.37482722411327546</c:v>
                </c:pt>
                <c:pt idx="20">
                  <c:v>0.38392919830942346</c:v>
                </c:pt>
                <c:pt idx="21">
                  <c:v>0.39311112034669826</c:v>
                </c:pt>
                <c:pt idx="22">
                  <c:v>0.37936053541668774</c:v>
                </c:pt>
                <c:pt idx="23">
                  <c:v>0.36554188511839136</c:v>
                </c:pt>
                <c:pt idx="24">
                  <c:v>0.3693957014033091</c:v>
                </c:pt>
                <c:pt idx="25">
                  <c:v>0.3636948262073262</c:v>
                </c:pt>
                <c:pt idx="26">
                  <c:v>0.3915520758136425</c:v>
                </c:pt>
                <c:pt idx="27">
                  <c:v>0.40710248559255385</c:v>
                </c:pt>
                <c:pt idx="28">
                  <c:v>0.37115987883368706</c:v>
                </c:pt>
                <c:pt idx="29">
                  <c:v>0.358419205485422</c:v>
                </c:pt>
                <c:pt idx="30">
                  <c:v>0.36618955384552154</c:v>
                </c:pt>
                <c:pt idx="31">
                  <c:v>0.38013910856453437</c:v>
                </c:pt>
                <c:pt idx="32">
                  <c:v>0.3622002724397307</c:v>
                </c:pt>
                <c:pt idx="33">
                  <c:v>0.3550397266692434</c:v>
                </c:pt>
                <c:pt idx="34">
                  <c:v>0.3504302639994294</c:v>
                </c:pt>
                <c:pt idx="35">
                  <c:v>0.3525290242542826</c:v>
                </c:pt>
                <c:pt idx="36">
                  <c:v>0.37114671443431557</c:v>
                </c:pt>
                <c:pt idx="37">
                  <c:v>0.37353716227973693</c:v>
                </c:pt>
                <c:pt idx="38">
                  <c:v>0.3775515398626068</c:v>
                </c:pt>
                <c:pt idx="39">
                  <c:v>0.3721024153152785</c:v>
                </c:pt>
                <c:pt idx="40">
                  <c:v>0.36929068203753657</c:v>
                </c:pt>
                <c:pt idx="41">
                  <c:v>0.36987847000422985</c:v>
                </c:pt>
                <c:pt idx="42">
                  <c:v>0.35076716415263287</c:v>
                </c:pt>
                <c:pt idx="43">
                  <c:v>0.35209072864299884</c:v>
                </c:pt>
                <c:pt idx="44">
                  <c:v>0.36046326199082707</c:v>
                </c:pt>
                <c:pt idx="45">
                  <c:v>0.3676100270511109</c:v>
                </c:pt>
                <c:pt idx="46">
                  <c:v>0.37583930510914954</c:v>
                </c:pt>
                <c:pt idx="47">
                  <c:v>0.375039161082183</c:v>
                </c:pt>
                <c:pt idx="48">
                  <c:v>0.38080289998302963</c:v>
                </c:pt>
                <c:pt idx="49">
                  <c:v>0.3740786776291638</c:v>
                </c:pt>
                <c:pt idx="50">
                  <c:v>0.38163403211862906</c:v>
                </c:pt>
                <c:pt idx="51">
                  <c:v>0.3937034690135483</c:v>
                </c:pt>
                <c:pt idx="52">
                  <c:v>0.3970971515243123</c:v>
                </c:pt>
                <c:pt idx="53">
                  <c:v>0.4806071736735213</c:v>
                </c:pt>
                <c:pt idx="54">
                  <c:v>0.34385544988840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3.0"/>
          <c:min val="5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9622641509434"/>
          <c:min val="0.162237762237762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41469454910526</c:v>
                </c:pt>
                <c:pt idx="1">
                  <c:v>0.5321819181734855</c:v>
                </c:pt>
                <c:pt idx="2">
                  <c:v>0.5149798904286175</c:v>
                </c:pt>
                <c:pt idx="3">
                  <c:v>0.624262137027899</c:v>
                </c:pt>
                <c:pt idx="4">
                  <c:v>0.5306300501882057</c:v>
                </c:pt>
                <c:pt idx="5">
                  <c:v>0.4795269585590863</c:v>
                </c:pt>
                <c:pt idx="6">
                  <c:v>0.5062786219436224</c:v>
                </c:pt>
                <c:pt idx="7">
                  <c:v>0.5013122319725295</c:v>
                </c:pt>
                <c:pt idx="8">
                  <c:v>0.5676183269684725</c:v>
                </c:pt>
                <c:pt idx="9">
                  <c:v>0.4858538063258245</c:v>
                </c:pt>
                <c:pt idx="10">
                  <c:v>0.5329935955365744</c:v>
                </c:pt>
                <c:pt idx="11">
                  <c:v>0.5657019607843138</c:v>
                </c:pt>
                <c:pt idx="12">
                  <c:v>0.5600060237449174</c:v>
                </c:pt>
                <c:pt idx="13">
                  <c:v>0.5959937602865057</c:v>
                </c:pt>
                <c:pt idx="14">
                  <c:v>0.5499315623740679</c:v>
                </c:pt>
                <c:pt idx="15">
                  <c:v>0.5995324422396766</c:v>
                </c:pt>
                <c:pt idx="16">
                  <c:v>0.5785122978872768</c:v>
                </c:pt>
                <c:pt idx="17">
                  <c:v>0.5244996268007821</c:v>
                </c:pt>
                <c:pt idx="18">
                  <c:v>0.5853666692789176</c:v>
                </c:pt>
                <c:pt idx="19">
                  <c:v>0.6543371575144263</c:v>
                </c:pt>
                <c:pt idx="20">
                  <c:v>0.5697774406610067</c:v>
                </c:pt>
                <c:pt idx="21">
                  <c:v>0.6052864638669931</c:v>
                </c:pt>
                <c:pt idx="22">
                  <c:v>0.6124700288905246</c:v>
                </c:pt>
                <c:pt idx="23">
                  <c:v>0.6179758538058885</c:v>
                </c:pt>
                <c:pt idx="24">
                  <c:v>0.6525840762883265</c:v>
                </c:pt>
                <c:pt idx="25">
                  <c:v>0.7513138241489671</c:v>
                </c:pt>
                <c:pt idx="26">
                  <c:v>0.8042828606060606</c:v>
                </c:pt>
                <c:pt idx="27">
                  <c:v>0.8190419289904146</c:v>
                </c:pt>
                <c:pt idx="28">
                  <c:v>0.7975473142563135</c:v>
                </c:pt>
                <c:pt idx="29">
                  <c:v>0.6945272084932657</c:v>
                </c:pt>
                <c:pt idx="30">
                  <c:v>0.6205687556982599</c:v>
                </c:pt>
                <c:pt idx="31">
                  <c:v>0.6077389385344815</c:v>
                </c:pt>
                <c:pt idx="32">
                  <c:v>0.6000576640315748</c:v>
                </c:pt>
                <c:pt idx="33">
                  <c:v>0.5699643641050065</c:v>
                </c:pt>
                <c:pt idx="34">
                  <c:v>0.6007317830638218</c:v>
                </c:pt>
                <c:pt idx="35">
                  <c:v>0.7086625028159691</c:v>
                </c:pt>
                <c:pt idx="36">
                  <c:v>0.6753041190068959</c:v>
                </c:pt>
                <c:pt idx="37">
                  <c:v>0.7064307700335656</c:v>
                </c:pt>
                <c:pt idx="38">
                  <c:v>0.742362464183381</c:v>
                </c:pt>
                <c:pt idx="39">
                  <c:v>0.6646802324922638</c:v>
                </c:pt>
                <c:pt idx="40">
                  <c:v>0.7096865862516495</c:v>
                </c:pt>
                <c:pt idx="41">
                  <c:v>0.7672185888882205</c:v>
                </c:pt>
                <c:pt idx="42">
                  <c:v>0.7444423967185287</c:v>
                </c:pt>
                <c:pt idx="43">
                  <c:v>0.7375187222874202</c:v>
                </c:pt>
                <c:pt idx="44">
                  <c:v>0.7707679463436609</c:v>
                </c:pt>
                <c:pt idx="45">
                  <c:v>0.7729308549179847</c:v>
                </c:pt>
                <c:pt idx="46">
                  <c:v>0.7661407562328982</c:v>
                </c:pt>
                <c:pt idx="47">
                  <c:v>0.8230980086580086</c:v>
                </c:pt>
                <c:pt idx="48">
                  <c:v>0.7488043873927814</c:v>
                </c:pt>
                <c:pt idx="49">
                  <c:v>0.733820841719515</c:v>
                </c:pt>
                <c:pt idx="50">
                  <c:v>0.7355705273800398</c:v>
                </c:pt>
                <c:pt idx="51">
                  <c:v>0.7533744524471525</c:v>
                </c:pt>
                <c:pt idx="52">
                  <c:v>0.7944539388259471</c:v>
                </c:pt>
                <c:pt idx="53">
                  <c:v>0.7470677105835221</c:v>
                </c:pt>
                <c:pt idx="54">
                  <c:v>0.7370032411793173</c:v>
                </c:pt>
                <c:pt idx="55">
                  <c:v>0.748276708512313</c:v>
                </c:pt>
                <c:pt idx="56">
                  <c:v>0.7584162698440942</c:v>
                </c:pt>
                <c:pt idx="57">
                  <c:v>0.767890228992222</c:v>
                </c:pt>
                <c:pt idx="58">
                  <c:v>0.7122648722449776</c:v>
                </c:pt>
                <c:pt idx="59">
                  <c:v>0.8242420354327925</c:v>
                </c:pt>
                <c:pt idx="60">
                  <c:v>0.8164508471251383</c:v>
                </c:pt>
                <c:pt idx="61">
                  <c:v>0.8128688150167728</c:v>
                </c:pt>
                <c:pt idx="62">
                  <c:v>0.758052554337598</c:v>
                </c:pt>
                <c:pt idx="63">
                  <c:v>0.8067668294695667</c:v>
                </c:pt>
                <c:pt idx="64">
                  <c:v>0.7865528576001919</c:v>
                </c:pt>
                <c:pt idx="65">
                  <c:v>0.7686172562715174</c:v>
                </c:pt>
                <c:pt idx="66">
                  <c:v>0.7473796105962873</c:v>
                </c:pt>
                <c:pt idx="67">
                  <c:v>0.7549745442656973</c:v>
                </c:pt>
                <c:pt idx="68">
                  <c:v>0.8483570841938223</c:v>
                </c:pt>
                <c:pt idx="69">
                  <c:v>0.8585552432110315</c:v>
                </c:pt>
                <c:pt idx="70">
                  <c:v>0.9276818414945477</c:v>
                </c:pt>
                <c:pt idx="71">
                  <c:v>0.888550405040504</c:v>
                </c:pt>
                <c:pt idx="72">
                  <c:v>0.9330108214089868</c:v>
                </c:pt>
                <c:pt idx="73">
                  <c:v>0.9432875290487285</c:v>
                </c:pt>
                <c:pt idx="74">
                  <c:v>1.1239613922549032</c:v>
                </c:pt>
                <c:pt idx="75">
                  <c:v>1.3071002415907083</c:v>
                </c:pt>
                <c:pt idx="76">
                  <c:v>1.0777301088687121</c:v>
                </c:pt>
                <c:pt idx="77">
                  <c:v>0.8511772932196731</c:v>
                </c:pt>
                <c:pt idx="78">
                  <c:v>0.9869399405161662</c:v>
                </c:pt>
                <c:pt idx="79">
                  <c:v>1.104728581282198</c:v>
                </c:pt>
                <c:pt idx="80">
                  <c:v>0.9748125799963431</c:v>
                </c:pt>
                <c:pt idx="81">
                  <c:v>0.9610973473565516</c:v>
                </c:pt>
                <c:pt idx="82">
                  <c:v>0.9198722613003714</c:v>
                </c:pt>
                <c:pt idx="83">
                  <c:v>0.7005664244941773</c:v>
                </c:pt>
                <c:pt idx="84">
                  <c:v>0.9197251722766955</c:v>
                </c:pt>
                <c:pt idx="85">
                  <c:v>0.9635505972696247</c:v>
                </c:pt>
                <c:pt idx="86">
                  <c:v>0.9065211964177832</c:v>
                </c:pt>
                <c:pt idx="87">
                  <c:v>0.8823329921057094</c:v>
                </c:pt>
                <c:pt idx="88">
                  <c:v>0.8910488284512197</c:v>
                </c:pt>
                <c:pt idx="89">
                  <c:v>0.8709485683482893</c:v>
                </c:pt>
                <c:pt idx="90">
                  <c:v>0.9254861463309135</c:v>
                </c:pt>
                <c:pt idx="91">
                  <c:v>1.095172373540856</c:v>
                </c:pt>
                <c:pt idx="92">
                  <c:v>0.9433841089582256</c:v>
                </c:pt>
                <c:pt idx="93">
                  <c:v>0.9175936250167956</c:v>
                </c:pt>
                <c:pt idx="94">
                  <c:v>1.026654527449119</c:v>
                </c:pt>
                <c:pt idx="95">
                  <c:v>0.8956738178323539</c:v>
                </c:pt>
                <c:pt idx="96">
                  <c:v>1.0490673059688116</c:v>
                </c:pt>
                <c:pt idx="97">
                  <c:v>1.0446021240677523</c:v>
                </c:pt>
                <c:pt idx="98">
                  <c:v>0.9697021235073434</c:v>
                </c:pt>
                <c:pt idx="99">
                  <c:v>0.8779107762917623</c:v>
                </c:pt>
                <c:pt idx="100">
                  <c:v>0.9838559926806952</c:v>
                </c:pt>
                <c:pt idx="101">
                  <c:v>0.8123814286107197</c:v>
                </c:pt>
                <c:pt idx="102">
                  <c:v>0.8951032823446353</c:v>
                </c:pt>
                <c:pt idx="103">
                  <c:v>0.8558113845120287</c:v>
                </c:pt>
                <c:pt idx="104">
                  <c:v>0.8038930086664235</c:v>
                </c:pt>
              </c:numCache>
            </c:numRef>
          </c:xVal>
          <c:yVal>
            <c:numRef>
              <c:f>Sheet1!$B$2:$B$106</c:f>
              <c:numCache>
                <c:formatCode>General</c:formatCode>
                <c:ptCount val="105"/>
                <c:pt idx="0">
                  <c:v>0.475</c:v>
                </c:pt>
                <c:pt idx="1">
                  <c:v>0.5023041474654378</c:v>
                </c:pt>
                <c:pt idx="2">
                  <c:v>0.5088495575221239</c:v>
                </c:pt>
                <c:pt idx="3">
                  <c:v>0.43891402714932126</c:v>
                </c:pt>
                <c:pt idx="4">
                  <c:v>0.45962732919254656</c:v>
                </c:pt>
                <c:pt idx="5">
                  <c:v>0.5132743362831859</c:v>
                </c:pt>
                <c:pt idx="6">
                  <c:v>0.46875</c:v>
                </c:pt>
                <c:pt idx="7">
                  <c:v>0.46153846153846156</c:v>
                </c:pt>
                <c:pt idx="8">
                  <c:v>0.4972067039106145</c:v>
                </c:pt>
                <c:pt idx="9">
                  <c:v>0.5330188679245284</c:v>
                </c:pt>
                <c:pt idx="10">
                  <c:v>0.5136363636363637</c:v>
                </c:pt>
                <c:pt idx="11">
                  <c:v>0.4672489082969432</c:v>
                </c:pt>
                <c:pt idx="12">
                  <c:v>0.4641350210970464</c:v>
                </c:pt>
                <c:pt idx="13">
                  <c:v>0.4074074074074074</c:v>
                </c:pt>
                <c:pt idx="14">
                  <c:v>0.4258373205741627</c:v>
                </c:pt>
                <c:pt idx="15">
                  <c:v>0.4222222222222222</c:v>
                </c:pt>
                <c:pt idx="16">
                  <c:v>0.42207792207792205</c:v>
                </c:pt>
                <c:pt idx="17">
                  <c:v>0.4966442953020134</c:v>
                </c:pt>
                <c:pt idx="18">
                  <c:v>0.4017094017094017</c:v>
                </c:pt>
                <c:pt idx="19">
                  <c:v>0.38317757009345793</c:v>
                </c:pt>
                <c:pt idx="20">
                  <c:v>0.4132231404958678</c:v>
                </c:pt>
                <c:pt idx="21">
                  <c:v>0.45901639344262296</c:v>
                </c:pt>
                <c:pt idx="22">
                  <c:v>0.4369747899159664</c:v>
                </c:pt>
                <c:pt idx="23">
                  <c:v>0.424</c:v>
                </c:pt>
                <c:pt idx="24">
                  <c:v>0.45098039215686275</c:v>
                </c:pt>
                <c:pt idx="25">
                  <c:v>0.4077669902912621</c:v>
                </c:pt>
                <c:pt idx="26">
                  <c:v>0.4316546762589928</c:v>
                </c:pt>
                <c:pt idx="27">
                  <c:v>0.39090909090909093</c:v>
                </c:pt>
                <c:pt idx="28">
                  <c:v>0.4098360655737705</c:v>
                </c:pt>
                <c:pt idx="29">
                  <c:v>0.4652777777777778</c:v>
                </c:pt>
                <c:pt idx="30">
                  <c:v>0.456</c:v>
                </c:pt>
                <c:pt idx="31">
                  <c:v>0.45</c:v>
                </c:pt>
                <c:pt idx="32">
                  <c:v>0.4418604651162791</c:v>
                </c:pt>
                <c:pt idx="33">
                  <c:v>0.4807692307692308</c:v>
                </c:pt>
                <c:pt idx="34">
                  <c:v>0.4793814432989691</c:v>
                </c:pt>
                <c:pt idx="35">
                  <c:v>0.4065040650406504</c:v>
                </c:pt>
                <c:pt idx="36">
                  <c:v>0.3981042654028436</c:v>
                </c:pt>
                <c:pt idx="37">
                  <c:v>0.37988826815642457</c:v>
                </c:pt>
                <c:pt idx="38">
                  <c:v>0.4176470588235294</c:v>
                </c:pt>
                <c:pt idx="39">
                  <c:v>0.3961038961038961</c:v>
                </c:pt>
                <c:pt idx="40">
                  <c:v>0.38461538461538464</c:v>
                </c:pt>
                <c:pt idx="41">
                  <c:v>0.4388888888888889</c:v>
                </c:pt>
                <c:pt idx="42">
                  <c:v>0.3879781420765027</c:v>
                </c:pt>
                <c:pt idx="43">
                  <c:v>0.3431372549019608</c:v>
                </c:pt>
                <c:pt idx="44">
                  <c:v>0.3782608695652174</c:v>
                </c:pt>
                <c:pt idx="45">
                  <c:v>0.3922413793103448</c:v>
                </c:pt>
                <c:pt idx="46">
                  <c:v>0.423728813559322</c:v>
                </c:pt>
                <c:pt idx="47">
                  <c:v>0.4046511627906977</c:v>
                </c:pt>
                <c:pt idx="48">
                  <c:v>0.39322033898305087</c:v>
                </c:pt>
                <c:pt idx="49">
                  <c:v>0.43478260869565216</c:v>
                </c:pt>
                <c:pt idx="50">
                  <c:v>0.40772532188841204</c:v>
                </c:pt>
                <c:pt idx="51">
                  <c:v>0.4010416666666667</c:v>
                </c:pt>
                <c:pt idx="52">
                  <c:v>0.41450777202072536</c:v>
                </c:pt>
                <c:pt idx="53">
                  <c:v>0.3967391304347826</c:v>
                </c:pt>
                <c:pt idx="54">
                  <c:v>0.3974358974358974</c:v>
                </c:pt>
                <c:pt idx="55">
                  <c:v>0.36774193548387096</c:v>
                </c:pt>
                <c:pt idx="56">
                  <c:v>0.3870967741935484</c:v>
                </c:pt>
                <c:pt idx="57">
                  <c:v>0.41025641025641024</c:v>
                </c:pt>
                <c:pt idx="58">
                  <c:v>0.38461538461538464</c:v>
                </c:pt>
                <c:pt idx="59">
                  <c:v>0.40853658536585363</c:v>
                </c:pt>
                <c:pt idx="60">
                  <c:v>0.375</c:v>
                </c:pt>
                <c:pt idx="61">
                  <c:v>0.375</c:v>
                </c:pt>
                <c:pt idx="62">
                  <c:v>0.4110429447852761</c:v>
                </c:pt>
                <c:pt idx="63">
                  <c:v>0.358974358974359</c:v>
                </c:pt>
                <c:pt idx="64">
                  <c:v>0.38860103626943004</c:v>
                </c:pt>
                <c:pt idx="65">
                  <c:v>0.43646408839779005</c:v>
                </c:pt>
                <c:pt idx="66">
                  <c:v>0.41379310344827586</c:v>
                </c:pt>
                <c:pt idx="67">
                  <c:v>0.3597560975609756</c:v>
                </c:pt>
                <c:pt idx="68">
                  <c:v>0.3357142857142857</c:v>
                </c:pt>
                <c:pt idx="69">
                  <c:v>0.29292929292929293</c:v>
                </c:pt>
                <c:pt idx="70">
                  <c:v>0.3114754098360656</c:v>
                </c:pt>
                <c:pt idx="71">
                  <c:v>0.34210526315789475</c:v>
                </c:pt>
                <c:pt idx="72">
                  <c:v>0.2550335570469799</c:v>
                </c:pt>
                <c:pt idx="73">
                  <c:v>0.33043478260869563</c:v>
                </c:pt>
                <c:pt idx="74">
                  <c:v>0.21568627450980393</c:v>
                </c:pt>
                <c:pt idx="75">
                  <c:v>0.20279720279720279</c:v>
                </c:pt>
                <c:pt idx="76">
                  <c:v>0.23275862068965517</c:v>
                </c:pt>
                <c:pt idx="77">
                  <c:v>0.3211009174311927</c:v>
                </c:pt>
                <c:pt idx="78">
                  <c:v>0.32</c:v>
                </c:pt>
                <c:pt idx="79">
                  <c:v>0.25742574257425743</c:v>
                </c:pt>
                <c:pt idx="80">
                  <c:v>0.31683168316831684</c:v>
                </c:pt>
                <c:pt idx="81">
                  <c:v>0.3181818181818182</c:v>
                </c:pt>
                <c:pt idx="82">
                  <c:v>0.32142857142857145</c:v>
                </c:pt>
                <c:pt idx="83">
                  <c:v>0.35555555555555557</c:v>
                </c:pt>
                <c:pt idx="84">
                  <c:v>0.3020833333333333</c:v>
                </c:pt>
                <c:pt idx="85">
                  <c:v>0.32323232323232326</c:v>
                </c:pt>
                <c:pt idx="86">
                  <c:v>0.3273809523809524</c:v>
                </c:pt>
                <c:pt idx="87">
                  <c:v>0.35348837209302325</c:v>
                </c:pt>
                <c:pt idx="88">
                  <c:v>0.328125</c:v>
                </c:pt>
                <c:pt idx="89">
                  <c:v>0.3089430894308943</c:v>
                </c:pt>
                <c:pt idx="90">
                  <c:v>0.3805309734513274</c:v>
                </c:pt>
                <c:pt idx="91">
                  <c:v>0.3524590163934426</c:v>
                </c:pt>
                <c:pt idx="92">
                  <c:v>0.37012987012987014</c:v>
                </c:pt>
                <c:pt idx="93">
                  <c:v>0.35570469798657717</c:v>
                </c:pt>
                <c:pt idx="94">
                  <c:v>0.40764331210191085</c:v>
                </c:pt>
                <c:pt idx="95">
                  <c:v>0.3687150837988827</c:v>
                </c:pt>
                <c:pt idx="96">
                  <c:v>0.37566137566137564</c:v>
                </c:pt>
                <c:pt idx="97">
                  <c:v>0.3386243386243386</c:v>
                </c:pt>
                <c:pt idx="98">
                  <c:v>0.3794642857142857</c:v>
                </c:pt>
                <c:pt idx="99">
                  <c:v>0.38697318007662834</c:v>
                </c:pt>
                <c:pt idx="100">
                  <c:v>0.39275766016713093</c:v>
                </c:pt>
                <c:pt idx="101">
                  <c:v>0.3444976076555024</c:v>
                </c:pt>
                <c:pt idx="102">
                  <c:v>0.3767123287671233</c:v>
                </c:pt>
                <c:pt idx="103">
                  <c:v>0.3609467455621302</c:v>
                </c:pt>
                <c:pt idx="104">
                  <c:v>0.367088607594936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31233539575914</c:v>
                </c:pt>
                <c:pt idx="1">
                  <c:v>1.0250610625783187</c:v>
                </c:pt>
                <c:pt idx="2">
                  <c:v>1.1880639636564954</c:v>
                </c:pt>
                <c:pt idx="3">
                  <c:v>1.0815703748343652</c:v>
                </c:pt>
                <c:pt idx="4">
                  <c:v>1.1992420987243224</c:v>
                </c:pt>
                <c:pt idx="5">
                  <c:v>0.9120789121012988</c:v>
                </c:pt>
                <c:pt idx="6">
                  <c:v>0.913476614091579</c:v>
                </c:pt>
                <c:pt idx="7">
                  <c:v>0.9157720079760802</c:v>
                </c:pt>
                <c:pt idx="8">
                  <c:v>0.950762467714118</c:v>
                </c:pt>
                <c:pt idx="9">
                  <c:v>0.8794149614632594</c:v>
                </c:pt>
                <c:pt idx="10">
                  <c:v>0.8964171132676013</c:v>
                </c:pt>
                <c:pt idx="11">
                  <c:v>0.793033656703619</c:v>
                </c:pt>
                <c:pt idx="12">
                  <c:v>0.7393135757354284</c:v>
                </c:pt>
                <c:pt idx="13">
                  <c:v>0.8709775596261184</c:v>
                </c:pt>
                <c:pt idx="14">
                  <c:v>0.8571117682349563</c:v>
                </c:pt>
                <c:pt idx="15">
                  <c:v>0.7701038649896065</c:v>
                </c:pt>
                <c:pt idx="16">
                  <c:v>0.7953138523991521</c:v>
                </c:pt>
                <c:pt idx="17">
                  <c:v>0.7951761943661999</c:v>
                </c:pt>
                <c:pt idx="18">
                  <c:v>0.9447067693329818</c:v>
                </c:pt>
                <c:pt idx="19">
                  <c:v>0.8526917507864219</c:v>
                </c:pt>
                <c:pt idx="20">
                  <c:v>0.7799974245635413</c:v>
                </c:pt>
                <c:pt idx="21">
                  <c:v>0.8106715824864369</c:v>
                </c:pt>
                <c:pt idx="22">
                  <c:v>0.7096941213854465</c:v>
                </c:pt>
                <c:pt idx="23">
                  <c:v>0.8104191831939741</c:v>
                </c:pt>
                <c:pt idx="24">
                  <c:v>0.9108829942504065</c:v>
                </c:pt>
                <c:pt idx="25">
                  <c:v>1.0721191696905985</c:v>
                </c:pt>
                <c:pt idx="26">
                  <c:v>0.8880798835032244</c:v>
                </c:pt>
                <c:pt idx="27">
                  <c:v>0.8967595178257686</c:v>
                </c:pt>
                <c:pt idx="28">
                  <c:v>0.9589922935790222</c:v>
                </c:pt>
                <c:pt idx="29">
                  <c:v>1.3151152505652155</c:v>
                </c:pt>
                <c:pt idx="30">
                  <c:v>1.1053863726150168</c:v>
                </c:pt>
                <c:pt idx="31">
                  <c:v>1.0609124655789177</c:v>
                </c:pt>
                <c:pt idx="32">
                  <c:v>1.1038707929268896</c:v>
                </c:pt>
                <c:pt idx="33">
                  <c:v>1.101256139957273</c:v>
                </c:pt>
                <c:pt idx="34">
                  <c:v>1.0424974023231257</c:v>
                </c:pt>
                <c:pt idx="35">
                  <c:v>1.0947778201400622</c:v>
                </c:pt>
                <c:pt idx="36">
                  <c:v>0.9760943822608881</c:v>
                </c:pt>
                <c:pt idx="37">
                  <c:v>0.8199357181376954</c:v>
                </c:pt>
                <c:pt idx="38">
                  <c:v>0.902956284880815</c:v>
                </c:pt>
                <c:pt idx="39">
                  <c:v>0.9780789639618537</c:v>
                </c:pt>
                <c:pt idx="40">
                  <c:v>1.0235168611999863</c:v>
                </c:pt>
                <c:pt idx="41">
                  <c:v>0.9860577891591976</c:v>
                </c:pt>
                <c:pt idx="42">
                  <c:v>1.0058154520883267</c:v>
                </c:pt>
                <c:pt idx="43">
                  <c:v>0.8564126095740185</c:v>
                </c:pt>
                <c:pt idx="44">
                  <c:v>0.9131124259992823</c:v>
                </c:pt>
                <c:pt idx="45">
                  <c:v>0.776270233642081</c:v>
                </c:pt>
                <c:pt idx="46">
                  <c:v>0.822221428990489</c:v>
                </c:pt>
                <c:pt idx="47">
                  <c:v>0.8278467995036859</c:v>
                </c:pt>
                <c:pt idx="48">
                  <c:v>0.9125411088078698</c:v>
                </c:pt>
                <c:pt idx="49">
                  <c:v>0.7435793354630742</c:v>
                </c:pt>
                <c:pt idx="50">
                  <c:v>0.8208802666649077</c:v>
                </c:pt>
                <c:pt idx="51">
                  <c:v>0.7894843575124827</c:v>
                </c:pt>
              </c:numCache>
            </c:numRef>
          </c:xVal>
          <c:yVal>
            <c:numRef>
              <c:f>Sheet1!$B$109:$B$160</c:f>
              <c:numCache>
                <c:formatCode>General</c:formatCode>
                <c:ptCount val="52"/>
                <c:pt idx="0">
                  <c:v>0.3855421686746988</c:v>
                </c:pt>
                <c:pt idx="1">
                  <c:v>0.37142857142857144</c:v>
                </c:pt>
                <c:pt idx="2">
                  <c:v>0.3357664233576642</c:v>
                </c:pt>
                <c:pt idx="3">
                  <c:v>0.348993288590604</c:v>
                </c:pt>
                <c:pt idx="4">
                  <c:v>0.3287671232876712</c:v>
                </c:pt>
                <c:pt idx="5">
                  <c:v>0.4090909090909091</c:v>
                </c:pt>
                <c:pt idx="6">
                  <c:v>0.45794392523364486</c:v>
                </c:pt>
                <c:pt idx="7">
                  <c:v>0.31343283582089554</c:v>
                </c:pt>
                <c:pt idx="8">
                  <c:v>0.375</c:v>
                </c:pt>
                <c:pt idx="9">
                  <c:v>0.37373737373737376</c:v>
                </c:pt>
                <c:pt idx="10">
                  <c:v>0.41216216216216217</c:v>
                </c:pt>
                <c:pt idx="11">
                  <c:v>0.41711229946524064</c:v>
                </c:pt>
                <c:pt idx="12">
                  <c:v>0.40425531914893614</c:v>
                </c:pt>
                <c:pt idx="13">
                  <c:v>0.36585365853658536</c:v>
                </c:pt>
                <c:pt idx="14">
                  <c:v>0.4246575342465753</c:v>
                </c:pt>
                <c:pt idx="15">
                  <c:v>0.3835616438356164</c:v>
                </c:pt>
                <c:pt idx="16">
                  <c:v>0.4132231404958678</c:v>
                </c:pt>
                <c:pt idx="17">
                  <c:v>0.39805825242718446</c:v>
                </c:pt>
                <c:pt idx="18">
                  <c:v>0.39805825242718446</c:v>
                </c:pt>
                <c:pt idx="19">
                  <c:v>0.432</c:v>
                </c:pt>
                <c:pt idx="20">
                  <c:v>0.3645833333333333</c:v>
                </c:pt>
                <c:pt idx="21">
                  <c:v>0.375</c:v>
                </c:pt>
                <c:pt idx="22">
                  <c:v>0.4426229508196721</c:v>
                </c:pt>
                <c:pt idx="23">
                  <c:v>0.4583333333333333</c:v>
                </c:pt>
                <c:pt idx="24">
                  <c:v>0.4383561643835616</c:v>
                </c:pt>
                <c:pt idx="25">
                  <c:v>0.3888888888888889</c:v>
                </c:pt>
                <c:pt idx="26">
                  <c:v>0.42105263157894735</c:v>
                </c:pt>
                <c:pt idx="27">
                  <c:v>0.3763440860215054</c:v>
                </c:pt>
                <c:pt idx="28">
                  <c:v>0.34782608695652173</c:v>
                </c:pt>
                <c:pt idx="29">
                  <c:v>0.38095238095238093</c:v>
                </c:pt>
                <c:pt idx="30">
                  <c:v>0.4107142857142857</c:v>
                </c:pt>
                <c:pt idx="31">
                  <c:v>0.3333333333333333</c:v>
                </c:pt>
                <c:pt idx="32">
                  <c:v>0.3516483516483517</c:v>
                </c:pt>
                <c:pt idx="33">
                  <c:v>0.40458015267175573</c:v>
                </c:pt>
                <c:pt idx="34">
                  <c:v>0.3817204301075269</c:v>
                </c:pt>
                <c:pt idx="35">
                  <c:v>0.3763440860215054</c:v>
                </c:pt>
                <c:pt idx="36">
                  <c:v>0.3515625</c:v>
                </c:pt>
                <c:pt idx="37">
                  <c:v>0.39090909090909093</c:v>
                </c:pt>
                <c:pt idx="38">
                  <c:v>0.2962962962962963</c:v>
                </c:pt>
                <c:pt idx="39">
                  <c:v>0.35714285714285715</c:v>
                </c:pt>
                <c:pt idx="40">
                  <c:v>0.32450331125827814</c:v>
                </c:pt>
                <c:pt idx="41">
                  <c:v>0.3057324840764331</c:v>
                </c:pt>
                <c:pt idx="42">
                  <c:v>0.2116788321167883</c:v>
                </c:pt>
                <c:pt idx="43">
                  <c:v>0.32515337423312884</c:v>
                </c:pt>
                <c:pt idx="44">
                  <c:v>0.34415584415584416</c:v>
                </c:pt>
                <c:pt idx="45">
                  <c:v>0.3877551020408163</c:v>
                </c:pt>
                <c:pt idx="46">
                  <c:v>0.4126984126984127</c:v>
                </c:pt>
                <c:pt idx="47">
                  <c:v>0.37055837563451777</c:v>
                </c:pt>
                <c:pt idx="48">
                  <c:v>0.37158469945355194</c:v>
                </c:pt>
                <c:pt idx="49">
                  <c:v>0.37349397590361444</c:v>
                </c:pt>
                <c:pt idx="50">
                  <c:v>0.3638814016172507</c:v>
                </c:pt>
                <c:pt idx="51">
                  <c:v>0.32178217821782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007345348098626</c:v>
                </c:pt>
              </c:numCache>
            </c:numRef>
          </c:xVal>
          <c:yVal>
            <c:numRef>
              <c:f>Sheet1!$B$163:$B$164</c:f>
              <c:numCache>
                <c:formatCode>General</c:formatCode>
                <c:ptCount val="2"/>
                <c:pt idx="0">
                  <c:v>0.4806071736735213</c:v>
                </c:pt>
                <c:pt idx="1">
                  <c:v>0.480607173673521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007345348098626</c:v>
                </c:pt>
                <c:pt idx="1">
                  <c:v>-0.1007345348098626</c:v>
                </c:pt>
              </c:numCache>
            </c:numRef>
          </c:xVal>
          <c:yVal>
            <c:numRef>
              <c:f>Sheet1!$B$167:$B$168</c:f>
              <c:numCache>
                <c:formatCode>General</c:formatCode>
                <c:ptCount val="2"/>
                <c:pt idx="0">
                  <c:v>0.48060717367352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1377762989254</c:v>
                </c:pt>
              </c:numCache>
            </c:numRef>
          </c:xVal>
          <c:yVal>
            <c:numRef>
              <c:f>Sheet1!$B$171:$B$172</c:f>
              <c:numCache>
                <c:formatCode>General</c:formatCode>
                <c:ptCount val="2"/>
                <c:pt idx="0">
                  <c:v>0.3970971515243123</c:v>
                </c:pt>
                <c:pt idx="1">
                  <c:v>0.39709715152431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1377762989254</c:v>
                </c:pt>
                <c:pt idx="1">
                  <c:v>0.71377762989254</c:v>
                </c:pt>
              </c:numCache>
            </c:numRef>
          </c:xVal>
          <c:yVal>
            <c:numRef>
              <c:f>Sheet1!$B$175:$B$176</c:f>
              <c:numCache>
                <c:formatCode>General</c:formatCode>
                <c:ptCount val="2"/>
                <c:pt idx="0">
                  <c:v>0.39709715152431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330687585000295</c:v>
                </c:pt>
              </c:numCache>
            </c:numRef>
          </c:xVal>
          <c:yVal>
            <c:numRef>
              <c:f>Sheet1!$B$179:$B$180</c:f>
              <c:numCache>
                <c:formatCode>General</c:formatCode>
                <c:ptCount val="2"/>
                <c:pt idx="0">
                  <c:v>0.3438554498884088</c:v>
                </c:pt>
                <c:pt idx="1">
                  <c:v>0.34385544988840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330687585000295</c:v>
                </c:pt>
                <c:pt idx="1">
                  <c:v>1.2330687585000295</c:v>
                </c:pt>
              </c:numCache>
            </c:numRef>
          </c:xVal>
          <c:yVal>
            <c:numRef>
              <c:f>Sheet1!$B$183:$B$184</c:f>
              <c:numCache>
                <c:formatCode>General</c:formatCode>
                <c:ptCount val="2"/>
                <c:pt idx="0">
                  <c:v>0.34385544988840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31233539575914</c:v>
                </c:pt>
                <c:pt idx="1">
                  <c:v>1.0250610625783187</c:v>
                </c:pt>
                <c:pt idx="2">
                  <c:v>1.1880639636564954</c:v>
                </c:pt>
                <c:pt idx="3">
                  <c:v>1.0815703748343652</c:v>
                </c:pt>
                <c:pt idx="4">
                  <c:v>1.1992420987243224</c:v>
                </c:pt>
                <c:pt idx="5">
                  <c:v>0.9120789121012988</c:v>
                </c:pt>
                <c:pt idx="6">
                  <c:v>0.913476614091579</c:v>
                </c:pt>
                <c:pt idx="7">
                  <c:v>0.9157720079760802</c:v>
                </c:pt>
                <c:pt idx="8">
                  <c:v>0.950762467714118</c:v>
                </c:pt>
                <c:pt idx="9">
                  <c:v>0.8794149614632594</c:v>
                </c:pt>
                <c:pt idx="10">
                  <c:v>0.8964171132676013</c:v>
                </c:pt>
                <c:pt idx="11">
                  <c:v>0.793033656703619</c:v>
                </c:pt>
                <c:pt idx="12">
                  <c:v>0.7393135757354284</c:v>
                </c:pt>
                <c:pt idx="13">
                  <c:v>0.8709775596261184</c:v>
                </c:pt>
                <c:pt idx="14">
                  <c:v>0.8571117682349563</c:v>
                </c:pt>
                <c:pt idx="15">
                  <c:v>0.7701038649896065</c:v>
                </c:pt>
                <c:pt idx="16">
                  <c:v>0.7953138523991521</c:v>
                </c:pt>
                <c:pt idx="17">
                  <c:v>0.7951761943661999</c:v>
                </c:pt>
                <c:pt idx="18">
                  <c:v>0.9447067693329818</c:v>
                </c:pt>
                <c:pt idx="19">
                  <c:v>0.8526917507864219</c:v>
                </c:pt>
                <c:pt idx="20">
                  <c:v>0.7799974245635413</c:v>
                </c:pt>
                <c:pt idx="21">
                  <c:v>0.8106715824864369</c:v>
                </c:pt>
                <c:pt idx="22">
                  <c:v>0.7096941213854465</c:v>
                </c:pt>
                <c:pt idx="23">
                  <c:v>0.8104191831939741</c:v>
                </c:pt>
                <c:pt idx="24">
                  <c:v>0.9108829942504065</c:v>
                </c:pt>
                <c:pt idx="25">
                  <c:v>1.0721191696905985</c:v>
                </c:pt>
                <c:pt idx="26">
                  <c:v>0.8880798835032244</c:v>
                </c:pt>
                <c:pt idx="27">
                  <c:v>0.8967595178257686</c:v>
                </c:pt>
                <c:pt idx="28">
                  <c:v>0.9589922935790222</c:v>
                </c:pt>
                <c:pt idx="29">
                  <c:v>1.3151152505652155</c:v>
                </c:pt>
                <c:pt idx="30">
                  <c:v>1.1053863726150168</c:v>
                </c:pt>
                <c:pt idx="31">
                  <c:v>1.0609124655789177</c:v>
                </c:pt>
                <c:pt idx="32">
                  <c:v>1.1038707929268896</c:v>
                </c:pt>
                <c:pt idx="33">
                  <c:v>1.101256139957273</c:v>
                </c:pt>
                <c:pt idx="34">
                  <c:v>1.0424974023231257</c:v>
                </c:pt>
                <c:pt idx="35">
                  <c:v>1.0947778201400622</c:v>
                </c:pt>
                <c:pt idx="36">
                  <c:v>0.9760943822608881</c:v>
                </c:pt>
                <c:pt idx="37">
                  <c:v>0.8199357181376954</c:v>
                </c:pt>
                <c:pt idx="38">
                  <c:v>0.902956284880815</c:v>
                </c:pt>
                <c:pt idx="39">
                  <c:v>0.9780789639618537</c:v>
                </c:pt>
                <c:pt idx="40">
                  <c:v>1.0235168611999863</c:v>
                </c:pt>
                <c:pt idx="41">
                  <c:v>0.9860577891591976</c:v>
                </c:pt>
                <c:pt idx="42">
                  <c:v>1.0058154520883267</c:v>
                </c:pt>
                <c:pt idx="43">
                  <c:v>0.8564126095740185</c:v>
                </c:pt>
                <c:pt idx="44">
                  <c:v>0.9131124259992823</c:v>
                </c:pt>
                <c:pt idx="45">
                  <c:v>0.776270233642081</c:v>
                </c:pt>
                <c:pt idx="46">
                  <c:v>0.822221428990489</c:v>
                </c:pt>
                <c:pt idx="47">
                  <c:v>0.8278467995036859</c:v>
                </c:pt>
                <c:pt idx="48">
                  <c:v>0.9125411088078698</c:v>
                </c:pt>
                <c:pt idx="49">
                  <c:v>0.7435793354630742</c:v>
                </c:pt>
                <c:pt idx="50">
                  <c:v>0.8208802666649077</c:v>
                </c:pt>
                <c:pt idx="51">
                  <c:v>0.7894843575124827</c:v>
                </c:pt>
                <c:pt idx="52">
                  <c:v>0.71377762989254</c:v>
                </c:pt>
                <c:pt idx="53">
                  <c:v>-0.1007345348098626</c:v>
                </c:pt>
                <c:pt idx="54">
                  <c:v>1.2330687585000295</c:v>
                </c:pt>
              </c:numCache>
            </c:numRef>
          </c:xVal>
          <c:yVal>
            <c:numRef>
              <c:f>Sheet1!$B$187:$B$241</c:f>
              <c:numCache>
                <c:formatCode>General</c:formatCode>
                <c:ptCount val="55"/>
                <c:pt idx="0">
                  <c:v>0.3645491415645813</c:v>
                </c:pt>
                <c:pt idx="1">
                  <c:v>0.3651819911561807</c:v>
                </c:pt>
                <c:pt idx="2">
                  <c:v>0.3484696859637869</c:v>
                </c:pt>
                <c:pt idx="3">
                  <c:v>0.3593882238895332</c:v>
                </c:pt>
                <c:pt idx="4">
                  <c:v>0.34732361798892475</c:v>
                </c:pt>
                <c:pt idx="5">
                  <c:v>0.37676578609219435</c:v>
                </c:pt>
                <c:pt idx="6">
                  <c:v>0.37662248298485657</c:v>
                </c:pt>
                <c:pt idx="7">
                  <c:v>0.37638714163276527</c:v>
                </c:pt>
                <c:pt idx="8">
                  <c:v>0.3727996518513178</c:v>
                </c:pt>
                <c:pt idx="9">
                  <c:v>0.38011474435147335</c:v>
                </c:pt>
                <c:pt idx="10">
                  <c:v>0.3783715535984125</c:v>
                </c:pt>
                <c:pt idx="11">
                  <c:v>0.3889712169572457</c:v>
                </c:pt>
                <c:pt idx="12">
                  <c:v>0.39447901088092513</c:v>
                </c:pt>
                <c:pt idx="13">
                  <c:v>0.3809798113754371</c:v>
                </c:pt>
                <c:pt idx="14">
                  <c:v>0.3824014384503567</c:v>
                </c:pt>
                <c:pt idx="15">
                  <c:v>0.39132215472944404</c:v>
                </c:pt>
                <c:pt idx="16">
                  <c:v>0.3887374338398283</c:v>
                </c:pt>
                <c:pt idx="17">
                  <c:v>0.38875154759512753</c:v>
                </c:pt>
                <c:pt idx="18">
                  <c:v>0.37342052840522705</c:v>
                </c:pt>
                <c:pt idx="19">
                  <c:v>0.38285461247405206</c:v>
                </c:pt>
                <c:pt idx="20">
                  <c:v>0.3903077912675359</c:v>
                </c:pt>
                <c:pt idx="21">
                  <c:v>0.38716284178911375</c:v>
                </c:pt>
                <c:pt idx="22">
                  <c:v>0.3975158240753828</c:v>
                </c:pt>
                <c:pt idx="23">
                  <c:v>0.3871887196966729</c:v>
                </c:pt>
                <c:pt idx="24">
                  <c:v>0.376888400744921</c:v>
                </c:pt>
                <c:pt idx="25">
                  <c:v>0.36035723378907353</c:v>
                </c:pt>
                <c:pt idx="26">
                  <c:v>0.37922635021466755</c:v>
                </c:pt>
                <c:pt idx="27">
                  <c:v>0.37833644766203034</c:v>
                </c:pt>
                <c:pt idx="28">
                  <c:v>0.3719558671050048</c:v>
                </c:pt>
                <c:pt idx="29">
                  <c:v>0.33544341546270817</c:v>
                </c:pt>
                <c:pt idx="30">
                  <c:v>0.35694642548754807</c:v>
                </c:pt>
                <c:pt idx="31">
                  <c:v>0.3615062308810053</c:v>
                </c:pt>
                <c:pt idx="32">
                  <c:v>0.35710181431881327</c:v>
                </c:pt>
                <c:pt idx="33">
                  <c:v>0.35736988855621277</c:v>
                </c:pt>
                <c:pt idx="34">
                  <c:v>0.36339428413179026</c:v>
                </c:pt>
                <c:pt idx="35">
                  <c:v>0.35803409549488086</c:v>
                </c:pt>
                <c:pt idx="36">
                  <c:v>0.37020243005825154</c:v>
                </c:pt>
                <c:pt idx="37">
                  <c:v>0.38621301168594696</c:v>
                </c:pt>
                <c:pt idx="38">
                  <c:v>0.3777011076678026</c:v>
                </c:pt>
                <c:pt idx="39">
                  <c:v>0.36999895555045814</c:v>
                </c:pt>
                <c:pt idx="40">
                  <c:v>0.36534031450222243</c:v>
                </c:pt>
                <c:pt idx="41">
                  <c:v>0.36918090531397296</c:v>
                </c:pt>
                <c:pt idx="42">
                  <c:v>0.3671551984671869</c:v>
                </c:pt>
                <c:pt idx="43">
                  <c:v>0.38247312154827834</c:v>
                </c:pt>
                <c:pt idx="44">
                  <c:v>0.37665982233590883</c:v>
                </c:pt>
                <c:pt idx="45">
                  <c:v>0.3906899314121453</c:v>
                </c:pt>
                <c:pt idx="46">
                  <c:v>0.38597866311238915</c:v>
                </c:pt>
                <c:pt idx="47">
                  <c:v>0.3854019070656256</c:v>
                </c:pt>
                <c:pt idx="48">
                  <c:v>0.37671839814775876</c:v>
                </c:pt>
                <c:pt idx="49">
                  <c:v>0.39404165253960555</c:v>
                </c:pt>
                <c:pt idx="50">
                  <c:v>0.38611616934049553</c:v>
                </c:pt>
                <c:pt idx="51">
                  <c:v>0.3893351182799156</c:v>
                </c:pt>
                <c:pt idx="52">
                  <c:v>0.3970971515243123</c:v>
                </c:pt>
                <c:pt idx="53">
                  <c:v>0.4806071736735213</c:v>
                </c:pt>
                <c:pt idx="54">
                  <c:v>0.34385544988840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9622641509434"/>
          <c:min val="0.162237762237762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52.4544018330253</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52.4544018330253</c:v>
                </c:pt>
                <c:pt idx="1">
                  <c:v>3652.4544018330253</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52.4544018330253</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52.4544018330253</c:v>
                </c:pt>
                <c:pt idx="1">
                  <c:v>3652.4544018330253</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0.721891320054</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0.721891320054</c:v>
                </c:pt>
                <c:pt idx="1">
                  <c:v>5060.721891320054</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52.4544018330253</c:v>
                </c:pt>
                <c:pt idx="53">
                  <c:v>3652.4544018330253</c:v>
                </c:pt>
                <c:pt idx="54">
                  <c:v>5060.721891320054</c:v>
                </c:pt>
              </c:numCache>
            </c:numRef>
          </c:xVal>
          <c:yVal>
            <c:numRef>
              <c:f>Sheet1!$B$135:$B$189</c:f>
              <c:numCache>
                <c:formatCode>General</c:formatCode>
                <c:ptCount val="55"/>
                <c:pt idx="0">
                  <c:v>0.0017152557368890452</c:v>
                </c:pt>
                <c:pt idx="1">
                  <c:v>0.004082484025280127</c:v>
                </c:pt>
                <c:pt idx="2">
                  <c:v>0.003181592070172402</c:v>
                </c:pt>
                <c:pt idx="3">
                  <c:v>0.003851612957406406</c:v>
                </c:pt>
                <c:pt idx="4">
                  <c:v>0.0028020224835323005</c:v>
                </c:pt>
                <c:pt idx="5">
                  <c:v>0.002955015409545828</c:v>
                </c:pt>
                <c:pt idx="6">
                  <c:v>0.003604342183081256</c:v>
                </c:pt>
                <c:pt idx="7">
                  <c:v>0.003542602348970493</c:v>
                </c:pt>
                <c:pt idx="8">
                  <c:v>0.0038573077148428385</c:v>
                </c:pt>
                <c:pt idx="9">
                  <c:v>0.004122907467410866</c:v>
                </c:pt>
                <c:pt idx="10">
                  <c:v>0.0038168293042993347</c:v>
                </c:pt>
                <c:pt idx="11">
                  <c:v>0.00418906837511123</c:v>
                </c:pt>
                <c:pt idx="12">
                  <c:v>0.004460111792991084</c:v>
                </c:pt>
                <c:pt idx="13">
                  <c:v>0.004824590160396626</c:v>
                </c:pt>
                <c:pt idx="14">
                  <c:v>0.004696608758414596</c:v>
                </c:pt>
                <c:pt idx="15">
                  <c:v>0.00372427444686061</c:v>
                </c:pt>
                <c:pt idx="16">
                  <c:v>0.0044558173857439385</c:v>
                </c:pt>
                <c:pt idx="17">
                  <c:v>0.004194655137541066</c:v>
                </c:pt>
                <c:pt idx="18">
                  <c:v>0.002686148173202797</c:v>
                </c:pt>
                <c:pt idx="19">
                  <c:v>0.004274850616237161</c:v>
                </c:pt>
                <c:pt idx="20">
                  <c:v>0.002745460733652131</c:v>
                </c:pt>
                <c:pt idx="21">
                  <c:v>0.003509574847028802</c:v>
                </c:pt>
                <c:pt idx="22">
                  <c:v>0.004553675948160903</c:v>
                </c:pt>
                <c:pt idx="23">
                  <c:v>0.004340801956863864</c:v>
                </c:pt>
                <c:pt idx="24">
                  <c:v>0.003792458729885142</c:v>
                </c:pt>
                <c:pt idx="25">
                  <c:v>0.005199994545433713</c:v>
                </c:pt>
                <c:pt idx="26">
                  <c:v>0.004571766381416871</c:v>
                </c:pt>
                <c:pt idx="27">
                  <c:v>0.0035793225930326683</c:v>
                </c:pt>
                <c:pt idx="28">
                  <c:v>0.0036324737620198264</c:v>
                </c:pt>
                <c:pt idx="29">
                  <c:v>0.004522723055688973</c:v>
                </c:pt>
                <c:pt idx="30">
                  <c:v>0.002921552193310574</c:v>
                </c:pt>
                <c:pt idx="31">
                  <c:v>0.002856312006523999</c:v>
                </c:pt>
                <c:pt idx="32">
                  <c:v>0.0028912217284907775</c:v>
                </c:pt>
                <c:pt idx="33">
                  <c:v>0.002535395807492128</c:v>
                </c:pt>
                <c:pt idx="34">
                  <c:v>0.003208931237617196</c:v>
                </c:pt>
                <c:pt idx="35">
                  <c:v>0.0038116993174299096</c:v>
                </c:pt>
                <c:pt idx="36">
                  <c:v>0.0032104019413999934</c:v>
                </c:pt>
                <c:pt idx="37">
                  <c:v>0.0029285394553003816</c:v>
                </c:pt>
                <c:pt idx="38">
                  <c:v>0.0041326165620565875</c:v>
                </c:pt>
                <c:pt idx="39">
                  <c:v>0.003535823160347477</c:v>
                </c:pt>
                <c:pt idx="40">
                  <c:v>0.00257318659126701</c:v>
                </c:pt>
                <c:pt idx="41">
                  <c:v>0.0028808902061929226</c:v>
                </c:pt>
                <c:pt idx="42">
                  <c:v>0.0029889972408058494</c:v>
                </c:pt>
                <c:pt idx="43">
                  <c:v>0.0031112198053267854</c:v>
                </c:pt>
                <c:pt idx="44">
                  <c:v>0.003597409889504211</c:v>
                </c:pt>
                <c:pt idx="45">
                  <c:v>0.003346926749187509</c:v>
                </c:pt>
                <c:pt idx="46">
                  <c:v>0.003563638670912659</c:v>
                </c:pt>
                <c:pt idx="47">
                  <c:v>0.003984165102406268</c:v>
                </c:pt>
                <c:pt idx="48">
                  <c:v>0.004276090990420824</c:v>
                </c:pt>
                <c:pt idx="49">
                  <c:v>0.003891476259461432</c:v>
                </c:pt>
                <c:pt idx="50">
                  <c:v>0.0031518320520057133</c:v>
                </c:pt>
                <c:pt idx="51">
                  <c:v>0.0030972479700195335</c:v>
                </c:pt>
                <c:pt idx="52">
                  <c:v>0.004563619103934927</c:v>
                </c:pt>
                <c:pt idx="53">
                  <c:v>0.004563619103934927</c:v>
                </c:pt>
                <c:pt idx="54">
                  <c:v>0.00246008028210095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8.9211</c:v>
                </c:pt>
                <c:pt idx="1">
                  <c:v>798.3394</c:v>
                </c:pt>
                <c:pt idx="2">
                  <c:v>798.9913</c:v>
                </c:pt>
                <c:pt idx="3">
                  <c:v>822.3093</c:v>
                </c:pt>
                <c:pt idx="4">
                  <c:v>845.8243</c:v>
                </c:pt>
                <c:pt idx="5">
                  <c:v>818.6724</c:v>
                </c:pt>
                <c:pt idx="6">
                  <c:v>809.9333</c:v>
                </c:pt>
                <c:pt idx="7">
                  <c:v>821.2121</c:v>
                </c:pt>
                <c:pt idx="8">
                  <c:v>788.2472</c:v>
                </c:pt>
                <c:pt idx="9">
                  <c:v>784.5044</c:v>
                </c:pt>
                <c:pt idx="10">
                  <c:v>786.0088</c:v>
                </c:pt>
                <c:pt idx="11">
                  <c:v>807.8224</c:v>
                </c:pt>
                <c:pt idx="12">
                  <c:v>804.3455</c:v>
                </c:pt>
                <c:pt idx="13">
                  <c:v>803.3295</c:v>
                </c:pt>
                <c:pt idx="14">
                  <c:v>808.0112</c:v>
                </c:pt>
                <c:pt idx="15">
                  <c:v>815.7763</c:v>
                </c:pt>
                <c:pt idx="16">
                  <c:v>822.6</c:v>
                </c:pt>
                <c:pt idx="17">
                  <c:v>827.2973</c:v>
                </c:pt>
                <c:pt idx="18">
                  <c:v>861.234</c:v>
                </c:pt>
                <c:pt idx="19">
                  <c:v>880.1707</c:v>
                </c:pt>
                <c:pt idx="20">
                  <c:v>899.76</c:v>
                </c:pt>
                <c:pt idx="21">
                  <c:v>877.625</c:v>
                </c:pt>
                <c:pt idx="22">
                  <c:v>855.5769</c:v>
                </c:pt>
                <c:pt idx="23">
                  <c:v>892.8868</c:v>
                </c:pt>
                <c:pt idx="24">
                  <c:v>874.6957</c:v>
                </c:pt>
                <c:pt idx="25">
                  <c:v>918.2381</c:v>
                </c:pt>
                <c:pt idx="26">
                  <c:v>829.4167</c:v>
                </c:pt>
                <c:pt idx="27">
                  <c:v>874.3488</c:v>
                </c:pt>
                <c:pt idx="28">
                  <c:v>924.48</c:v>
                </c:pt>
                <c:pt idx="29">
                  <c:v>819.3284</c:v>
                </c:pt>
                <c:pt idx="30">
                  <c:v>782.7544</c:v>
                </c:pt>
                <c:pt idx="31">
                  <c:v>799.9444</c:v>
                </c:pt>
                <c:pt idx="32">
                  <c:v>803.3509</c:v>
                </c:pt>
                <c:pt idx="33">
                  <c:v>694.96</c:v>
                </c:pt>
                <c:pt idx="34">
                  <c:v>763.4839</c:v>
                </c:pt>
                <c:pt idx="35">
                  <c:v>858.47</c:v>
                </c:pt>
                <c:pt idx="36">
                  <c:v>901.75</c:v>
                </c:pt>
                <c:pt idx="37">
                  <c:v>939.5294</c:v>
                </c:pt>
                <c:pt idx="38">
                  <c:v>932.7042</c:v>
                </c:pt>
                <c:pt idx="39">
                  <c:v>879.9344</c:v>
                </c:pt>
                <c:pt idx="40">
                  <c:v>905.0462</c:v>
                </c:pt>
                <c:pt idx="41">
                  <c:v>970.3671</c:v>
                </c:pt>
                <c:pt idx="42">
                  <c:v>968.6479</c:v>
                </c:pt>
                <c:pt idx="43">
                  <c:v>969.5</c:v>
                </c:pt>
                <c:pt idx="44">
                  <c:v>962.4483</c:v>
                </c:pt>
                <c:pt idx="45">
                  <c:v>968.8022</c:v>
                </c:pt>
                <c:pt idx="46">
                  <c:v>938.59</c:v>
                </c:pt>
                <c:pt idx="47">
                  <c:v>950.6782</c:v>
                </c:pt>
                <c:pt idx="48">
                  <c:v>953.25</c:v>
                </c:pt>
                <c:pt idx="49">
                  <c:v>942.1947</c:v>
                </c:pt>
                <c:pt idx="50">
                  <c:v>953.3684</c:v>
                </c:pt>
                <c:pt idx="51">
                  <c:v>954.2338</c:v>
                </c:pt>
                <c:pt idx="52">
                  <c:v>948.2375</c:v>
                </c:pt>
                <c:pt idx="53">
                  <c:v>984.7671</c:v>
                </c:pt>
                <c:pt idx="54">
                  <c:v>987.3387</c:v>
                </c:pt>
                <c:pt idx="55">
                  <c:v>989.193</c:v>
                </c:pt>
                <c:pt idx="56">
                  <c:v>991.0167</c:v>
                </c:pt>
                <c:pt idx="57">
                  <c:v>952.3906</c:v>
                </c:pt>
                <c:pt idx="58">
                  <c:v>912.9455</c:v>
                </c:pt>
                <c:pt idx="59">
                  <c:v>980.2985</c:v>
                </c:pt>
                <c:pt idx="60">
                  <c:v>952.2632</c:v>
                </c:pt>
                <c:pt idx="61">
                  <c:v>980.6842</c:v>
                </c:pt>
                <c:pt idx="62">
                  <c:v>971.9552</c:v>
                </c:pt>
                <c:pt idx="63">
                  <c:v>957.3</c:v>
                </c:pt>
                <c:pt idx="64">
                  <c:v>975.6533</c:v>
                </c:pt>
                <c:pt idx="65">
                  <c:v>967.3165</c:v>
                </c:pt>
                <c:pt idx="66">
                  <c:v>953.1667</c:v>
                </c:pt>
                <c:pt idx="67">
                  <c:v>981.8983</c:v>
                </c:pt>
                <c:pt idx="68">
                  <c:v>1014.5745</c:v>
                </c:pt>
                <c:pt idx="69">
                  <c:v>1011.9655</c:v>
                </c:pt>
                <c:pt idx="70">
                  <c:v>985.2368</c:v>
                </c:pt>
                <c:pt idx="71">
                  <c:v>987.1795</c:v>
                </c:pt>
                <c:pt idx="72">
                  <c:v>1110.5263</c:v>
                </c:pt>
                <c:pt idx="73">
                  <c:v>1097.2895</c:v>
                </c:pt>
                <c:pt idx="74">
                  <c:v>1075.8636</c:v>
                </c:pt>
                <c:pt idx="75">
                  <c:v>1049.7241</c:v>
                </c:pt>
                <c:pt idx="76">
                  <c:v>1001.8148</c:v>
                </c:pt>
                <c:pt idx="77">
                  <c:v>956.4286</c:v>
                </c:pt>
                <c:pt idx="78">
                  <c:v>1028.6875</c:v>
                </c:pt>
                <c:pt idx="79">
                  <c:v>1063.0</c:v>
                </c:pt>
                <c:pt idx="80">
                  <c:v>1066.25</c:v>
                </c:pt>
                <c:pt idx="81">
                  <c:v>1136.6857</c:v>
                </c:pt>
                <c:pt idx="82">
                  <c:v>1135.8889</c:v>
                </c:pt>
                <c:pt idx="83">
                  <c:v>877.5625</c:v>
                </c:pt>
                <c:pt idx="84">
                  <c:v>1169.1379</c:v>
                </c:pt>
                <c:pt idx="85">
                  <c:v>1129.2813</c:v>
                </c:pt>
                <c:pt idx="86">
                  <c:v>1086.8182</c:v>
                </c:pt>
                <c:pt idx="87">
                  <c:v>1109.8947</c:v>
                </c:pt>
                <c:pt idx="88">
                  <c:v>1169.3968</c:v>
                </c:pt>
                <c:pt idx="89">
                  <c:v>1098.6842</c:v>
                </c:pt>
                <c:pt idx="90">
                  <c:v>1159.6744</c:v>
                </c:pt>
                <c:pt idx="91">
                  <c:v>1125.8372</c:v>
                </c:pt>
                <c:pt idx="92">
                  <c:v>1155.7544</c:v>
                </c:pt>
                <c:pt idx="93">
                  <c:v>1148.6604</c:v>
                </c:pt>
                <c:pt idx="94">
                  <c:v>1173.7656</c:v>
                </c:pt>
                <c:pt idx="95">
                  <c:v>1158.3788</c:v>
                </c:pt>
                <c:pt idx="96">
                  <c:v>1170.5493</c:v>
                </c:pt>
                <c:pt idx="97">
                  <c:v>1133.6719</c:v>
                </c:pt>
                <c:pt idx="98">
                  <c:v>1132.9059</c:v>
                </c:pt>
                <c:pt idx="99">
                  <c:v>1060.0396</c:v>
                </c:pt>
                <c:pt idx="100">
                  <c:v>1075.3546</c:v>
                </c:pt>
                <c:pt idx="101">
                  <c:v>1045.6111</c:v>
                </c:pt>
                <c:pt idx="102">
                  <c:v>1116.2364</c:v>
                </c:pt>
                <c:pt idx="103">
                  <c:v>1074.3934</c:v>
                </c:pt>
                <c:pt idx="104">
                  <c:v>998.7414</c:v>
                </c:pt>
              </c:numCache>
            </c:numRef>
          </c:xVal>
          <c:yVal>
            <c:numRef>
              <c:f>Sheet1!$B$2:$B$106</c:f>
              <c:numCache>
                <c:formatCode>General</c:formatCode>
                <c:ptCount val="105"/>
                <c:pt idx="0">
                  <c:v>0.475</c:v>
                </c:pt>
                <c:pt idx="1">
                  <c:v>0.5023041474654378</c:v>
                </c:pt>
                <c:pt idx="2">
                  <c:v>0.5088495575221239</c:v>
                </c:pt>
                <c:pt idx="3">
                  <c:v>0.43891402714932126</c:v>
                </c:pt>
                <c:pt idx="4">
                  <c:v>0.45962732919254656</c:v>
                </c:pt>
                <c:pt idx="5">
                  <c:v>0.5132743362831859</c:v>
                </c:pt>
                <c:pt idx="6">
                  <c:v>0.46875</c:v>
                </c:pt>
                <c:pt idx="7">
                  <c:v>0.46153846153846156</c:v>
                </c:pt>
                <c:pt idx="8">
                  <c:v>0.4972067039106145</c:v>
                </c:pt>
                <c:pt idx="9">
                  <c:v>0.5330188679245284</c:v>
                </c:pt>
                <c:pt idx="10">
                  <c:v>0.5136363636363637</c:v>
                </c:pt>
                <c:pt idx="11">
                  <c:v>0.4672489082969432</c:v>
                </c:pt>
                <c:pt idx="12">
                  <c:v>0.4641350210970464</c:v>
                </c:pt>
                <c:pt idx="13">
                  <c:v>0.4074074074074074</c:v>
                </c:pt>
                <c:pt idx="14">
                  <c:v>0.4258373205741627</c:v>
                </c:pt>
                <c:pt idx="15">
                  <c:v>0.4222222222222222</c:v>
                </c:pt>
                <c:pt idx="16">
                  <c:v>0.42207792207792205</c:v>
                </c:pt>
                <c:pt idx="17">
                  <c:v>0.4966442953020134</c:v>
                </c:pt>
                <c:pt idx="18">
                  <c:v>0.4017094017094017</c:v>
                </c:pt>
                <c:pt idx="19">
                  <c:v>0.38317757009345793</c:v>
                </c:pt>
                <c:pt idx="20">
                  <c:v>0.4132231404958678</c:v>
                </c:pt>
                <c:pt idx="21">
                  <c:v>0.45901639344262296</c:v>
                </c:pt>
                <c:pt idx="22">
                  <c:v>0.4369747899159664</c:v>
                </c:pt>
                <c:pt idx="23">
                  <c:v>0.424</c:v>
                </c:pt>
                <c:pt idx="24">
                  <c:v>0.45098039215686275</c:v>
                </c:pt>
                <c:pt idx="25">
                  <c:v>0.4077669902912621</c:v>
                </c:pt>
                <c:pt idx="26">
                  <c:v>0.4316546762589928</c:v>
                </c:pt>
                <c:pt idx="27">
                  <c:v>0.39090909090909093</c:v>
                </c:pt>
                <c:pt idx="28">
                  <c:v>0.4098360655737705</c:v>
                </c:pt>
                <c:pt idx="29">
                  <c:v>0.4652777777777778</c:v>
                </c:pt>
                <c:pt idx="30">
                  <c:v>0.456</c:v>
                </c:pt>
                <c:pt idx="31">
                  <c:v>0.45</c:v>
                </c:pt>
                <c:pt idx="32">
                  <c:v>0.4418604651162791</c:v>
                </c:pt>
                <c:pt idx="33">
                  <c:v>0.4807692307692308</c:v>
                </c:pt>
                <c:pt idx="34">
                  <c:v>0.4793814432989691</c:v>
                </c:pt>
                <c:pt idx="35">
                  <c:v>0.4065040650406504</c:v>
                </c:pt>
                <c:pt idx="36">
                  <c:v>0.3981042654028436</c:v>
                </c:pt>
                <c:pt idx="37">
                  <c:v>0.37988826815642457</c:v>
                </c:pt>
                <c:pt idx="38">
                  <c:v>0.4176470588235294</c:v>
                </c:pt>
                <c:pt idx="39">
                  <c:v>0.3961038961038961</c:v>
                </c:pt>
                <c:pt idx="40">
                  <c:v>0.38461538461538464</c:v>
                </c:pt>
                <c:pt idx="41">
                  <c:v>0.4388888888888889</c:v>
                </c:pt>
                <c:pt idx="42">
                  <c:v>0.3879781420765027</c:v>
                </c:pt>
                <c:pt idx="43">
                  <c:v>0.3431372549019608</c:v>
                </c:pt>
                <c:pt idx="44">
                  <c:v>0.3782608695652174</c:v>
                </c:pt>
                <c:pt idx="45">
                  <c:v>0.3922413793103448</c:v>
                </c:pt>
                <c:pt idx="46">
                  <c:v>0.423728813559322</c:v>
                </c:pt>
                <c:pt idx="47">
                  <c:v>0.4046511627906977</c:v>
                </c:pt>
                <c:pt idx="48">
                  <c:v>0.39322033898305087</c:v>
                </c:pt>
                <c:pt idx="49">
                  <c:v>0.43478260869565216</c:v>
                </c:pt>
                <c:pt idx="50">
                  <c:v>0.40772532188841204</c:v>
                </c:pt>
                <c:pt idx="51">
                  <c:v>0.4010416666666667</c:v>
                </c:pt>
                <c:pt idx="52">
                  <c:v>0.41450777202072536</c:v>
                </c:pt>
                <c:pt idx="53">
                  <c:v>0.3967391304347826</c:v>
                </c:pt>
                <c:pt idx="54">
                  <c:v>0.3974358974358974</c:v>
                </c:pt>
                <c:pt idx="55">
                  <c:v>0.36774193548387096</c:v>
                </c:pt>
                <c:pt idx="56">
                  <c:v>0.3870967741935484</c:v>
                </c:pt>
                <c:pt idx="57">
                  <c:v>0.41025641025641024</c:v>
                </c:pt>
                <c:pt idx="58">
                  <c:v>0.38461538461538464</c:v>
                </c:pt>
                <c:pt idx="59">
                  <c:v>0.40853658536585363</c:v>
                </c:pt>
                <c:pt idx="60">
                  <c:v>0.375</c:v>
                </c:pt>
                <c:pt idx="61">
                  <c:v>0.375</c:v>
                </c:pt>
                <c:pt idx="62">
                  <c:v>0.4110429447852761</c:v>
                </c:pt>
                <c:pt idx="63">
                  <c:v>0.358974358974359</c:v>
                </c:pt>
                <c:pt idx="64">
                  <c:v>0.38860103626943004</c:v>
                </c:pt>
                <c:pt idx="65">
                  <c:v>0.43646408839779005</c:v>
                </c:pt>
                <c:pt idx="66">
                  <c:v>0.41379310344827586</c:v>
                </c:pt>
                <c:pt idx="67">
                  <c:v>0.3597560975609756</c:v>
                </c:pt>
                <c:pt idx="68">
                  <c:v>0.3357142857142857</c:v>
                </c:pt>
                <c:pt idx="69">
                  <c:v>0.29292929292929293</c:v>
                </c:pt>
                <c:pt idx="70">
                  <c:v>0.3114754098360656</c:v>
                </c:pt>
                <c:pt idx="71">
                  <c:v>0.34210526315789475</c:v>
                </c:pt>
                <c:pt idx="72">
                  <c:v>0.2550335570469799</c:v>
                </c:pt>
                <c:pt idx="73">
                  <c:v>0.33043478260869563</c:v>
                </c:pt>
                <c:pt idx="74">
                  <c:v>0.21568627450980393</c:v>
                </c:pt>
                <c:pt idx="75">
                  <c:v>0.20279720279720279</c:v>
                </c:pt>
                <c:pt idx="76">
                  <c:v>0.23275862068965517</c:v>
                </c:pt>
                <c:pt idx="77">
                  <c:v>0.3211009174311927</c:v>
                </c:pt>
                <c:pt idx="78">
                  <c:v>0.32</c:v>
                </c:pt>
                <c:pt idx="79">
                  <c:v>0.25742574257425743</c:v>
                </c:pt>
                <c:pt idx="80">
                  <c:v>0.31683168316831684</c:v>
                </c:pt>
                <c:pt idx="81">
                  <c:v>0.3181818181818182</c:v>
                </c:pt>
                <c:pt idx="82">
                  <c:v>0.32142857142857145</c:v>
                </c:pt>
                <c:pt idx="83">
                  <c:v>0.35555555555555557</c:v>
                </c:pt>
                <c:pt idx="84">
                  <c:v>0.3020833333333333</c:v>
                </c:pt>
                <c:pt idx="85">
                  <c:v>0.32323232323232326</c:v>
                </c:pt>
                <c:pt idx="86">
                  <c:v>0.3273809523809524</c:v>
                </c:pt>
                <c:pt idx="87">
                  <c:v>0.35348837209302325</c:v>
                </c:pt>
                <c:pt idx="88">
                  <c:v>0.328125</c:v>
                </c:pt>
                <c:pt idx="89">
                  <c:v>0.3089430894308943</c:v>
                </c:pt>
                <c:pt idx="90">
                  <c:v>0.3805309734513274</c:v>
                </c:pt>
                <c:pt idx="91">
                  <c:v>0.3524590163934426</c:v>
                </c:pt>
                <c:pt idx="92">
                  <c:v>0.37012987012987014</c:v>
                </c:pt>
                <c:pt idx="93">
                  <c:v>0.35570469798657717</c:v>
                </c:pt>
                <c:pt idx="94">
                  <c:v>0.40764331210191085</c:v>
                </c:pt>
                <c:pt idx="95">
                  <c:v>0.3687150837988827</c:v>
                </c:pt>
                <c:pt idx="96">
                  <c:v>0.37566137566137564</c:v>
                </c:pt>
                <c:pt idx="97">
                  <c:v>0.3386243386243386</c:v>
                </c:pt>
                <c:pt idx="98">
                  <c:v>0.3794642857142857</c:v>
                </c:pt>
                <c:pt idx="99">
                  <c:v>0.38697318007662834</c:v>
                </c:pt>
                <c:pt idx="100">
                  <c:v>0.39275766016713093</c:v>
                </c:pt>
                <c:pt idx="101">
                  <c:v>0.3444976076555024</c:v>
                </c:pt>
                <c:pt idx="102">
                  <c:v>0.3767123287671233</c:v>
                </c:pt>
                <c:pt idx="103">
                  <c:v>0.3609467455621302</c:v>
                </c:pt>
                <c:pt idx="104">
                  <c:v>0.367088607594936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7.6563</c:v>
                </c:pt>
                <c:pt idx="1">
                  <c:v>1145.8846</c:v>
                </c:pt>
                <c:pt idx="2">
                  <c:v>1147.0217</c:v>
                </c:pt>
                <c:pt idx="3">
                  <c:v>1156.5192</c:v>
                </c:pt>
                <c:pt idx="4">
                  <c:v>1145.9792</c:v>
                </c:pt>
                <c:pt idx="5">
                  <c:v>1136.7037</c:v>
                </c:pt>
                <c:pt idx="6">
                  <c:v>1046.102</c:v>
                </c:pt>
                <c:pt idx="7">
                  <c:v>1137.9524</c:v>
                </c:pt>
                <c:pt idx="8">
                  <c:v>1152.641</c:v>
                </c:pt>
                <c:pt idx="9">
                  <c:v>1090.1081</c:v>
                </c:pt>
                <c:pt idx="10">
                  <c:v>1163.5902</c:v>
                </c:pt>
                <c:pt idx="11">
                  <c:v>1025.1282</c:v>
                </c:pt>
                <c:pt idx="12">
                  <c:v>1011.5658</c:v>
                </c:pt>
                <c:pt idx="13">
                  <c:v>1096.6333</c:v>
                </c:pt>
                <c:pt idx="14">
                  <c:v>1085.0645</c:v>
                </c:pt>
                <c:pt idx="15">
                  <c:v>1092.8929</c:v>
                </c:pt>
                <c:pt idx="16">
                  <c:v>1108.34</c:v>
                </c:pt>
                <c:pt idx="17">
                  <c:v>1098.1951</c:v>
                </c:pt>
                <c:pt idx="18">
                  <c:v>1100.2927</c:v>
                </c:pt>
                <c:pt idx="19">
                  <c:v>1135.0926</c:v>
                </c:pt>
                <c:pt idx="20">
                  <c:v>1098.1714</c:v>
                </c:pt>
                <c:pt idx="21">
                  <c:v>1060.9259</c:v>
                </c:pt>
                <c:pt idx="22">
                  <c:v>1116.7037</c:v>
                </c:pt>
                <c:pt idx="23">
                  <c:v>1172.7576</c:v>
                </c:pt>
                <c:pt idx="24">
                  <c:v>1157.125</c:v>
                </c:pt>
                <c:pt idx="25">
                  <c:v>1180.25</c:v>
                </c:pt>
                <c:pt idx="26">
                  <c:v>1067.25</c:v>
                </c:pt>
                <c:pt idx="27">
                  <c:v>1004.1714</c:v>
                </c:pt>
                <c:pt idx="28">
                  <c:v>1149.9688</c:v>
                </c:pt>
                <c:pt idx="29">
                  <c:v>1201.65</c:v>
                </c:pt>
                <c:pt idx="30">
                  <c:v>1170.1304</c:v>
                </c:pt>
                <c:pt idx="31">
                  <c:v>1113.5455</c:v>
                </c:pt>
                <c:pt idx="32">
                  <c:v>1186.3125</c:v>
                </c:pt>
                <c:pt idx="33">
                  <c:v>1215.3585</c:v>
                </c:pt>
                <c:pt idx="34">
                  <c:v>1234.0563</c:v>
                </c:pt>
                <c:pt idx="35">
                  <c:v>1225.5429</c:v>
                </c:pt>
                <c:pt idx="36">
                  <c:v>1150.0222</c:v>
                </c:pt>
                <c:pt idx="37">
                  <c:v>1140.3256</c:v>
                </c:pt>
                <c:pt idx="38">
                  <c:v>1124.0417</c:v>
                </c:pt>
                <c:pt idx="39">
                  <c:v>1146.1455</c:v>
                </c:pt>
                <c:pt idx="40">
                  <c:v>1157.551</c:v>
                </c:pt>
                <c:pt idx="41">
                  <c:v>1155.1667</c:v>
                </c:pt>
                <c:pt idx="42">
                  <c:v>1232.6897</c:v>
                </c:pt>
                <c:pt idx="43">
                  <c:v>1227.3208</c:v>
                </c:pt>
                <c:pt idx="44">
                  <c:v>1193.3585</c:v>
                </c:pt>
                <c:pt idx="45">
                  <c:v>1164.3684</c:v>
                </c:pt>
                <c:pt idx="46">
                  <c:v>1130.9872</c:v>
                </c:pt>
                <c:pt idx="47">
                  <c:v>1134.2329</c:v>
                </c:pt>
                <c:pt idx="48">
                  <c:v>1110.8529</c:v>
                </c:pt>
                <c:pt idx="49">
                  <c:v>1138.129</c:v>
                </c:pt>
                <c:pt idx="50">
                  <c:v>1107.4815</c:v>
                </c:pt>
                <c:pt idx="51">
                  <c:v>1058.5231</c:v>
                </c:pt>
              </c:numCache>
            </c:numRef>
          </c:xVal>
          <c:yVal>
            <c:numRef>
              <c:f>Sheet1!$B$109:$B$160</c:f>
              <c:numCache>
                <c:formatCode>General</c:formatCode>
                <c:ptCount val="52"/>
                <c:pt idx="0">
                  <c:v>0.3855421686746988</c:v>
                </c:pt>
                <c:pt idx="1">
                  <c:v>0.37142857142857144</c:v>
                </c:pt>
                <c:pt idx="2">
                  <c:v>0.3357664233576642</c:v>
                </c:pt>
                <c:pt idx="3">
                  <c:v>0.348993288590604</c:v>
                </c:pt>
                <c:pt idx="4">
                  <c:v>0.3287671232876712</c:v>
                </c:pt>
                <c:pt idx="5">
                  <c:v>0.4090909090909091</c:v>
                </c:pt>
                <c:pt idx="6">
                  <c:v>0.45794392523364486</c:v>
                </c:pt>
                <c:pt idx="7">
                  <c:v>0.31343283582089554</c:v>
                </c:pt>
                <c:pt idx="8">
                  <c:v>0.375</c:v>
                </c:pt>
                <c:pt idx="9">
                  <c:v>0.37373737373737376</c:v>
                </c:pt>
                <c:pt idx="10">
                  <c:v>0.41216216216216217</c:v>
                </c:pt>
                <c:pt idx="11">
                  <c:v>0.41711229946524064</c:v>
                </c:pt>
                <c:pt idx="12">
                  <c:v>0.40425531914893614</c:v>
                </c:pt>
                <c:pt idx="13">
                  <c:v>0.36585365853658536</c:v>
                </c:pt>
                <c:pt idx="14">
                  <c:v>0.4246575342465753</c:v>
                </c:pt>
                <c:pt idx="15">
                  <c:v>0.3835616438356164</c:v>
                </c:pt>
                <c:pt idx="16">
                  <c:v>0.4132231404958678</c:v>
                </c:pt>
                <c:pt idx="17">
                  <c:v>0.39805825242718446</c:v>
                </c:pt>
                <c:pt idx="18">
                  <c:v>0.39805825242718446</c:v>
                </c:pt>
                <c:pt idx="19">
                  <c:v>0.432</c:v>
                </c:pt>
                <c:pt idx="20">
                  <c:v>0.3645833333333333</c:v>
                </c:pt>
                <c:pt idx="21">
                  <c:v>0.375</c:v>
                </c:pt>
                <c:pt idx="22">
                  <c:v>0.4426229508196721</c:v>
                </c:pt>
                <c:pt idx="23">
                  <c:v>0.4583333333333333</c:v>
                </c:pt>
                <c:pt idx="24">
                  <c:v>0.4383561643835616</c:v>
                </c:pt>
                <c:pt idx="25">
                  <c:v>0.3888888888888889</c:v>
                </c:pt>
                <c:pt idx="26">
                  <c:v>0.42105263157894735</c:v>
                </c:pt>
                <c:pt idx="27">
                  <c:v>0.3763440860215054</c:v>
                </c:pt>
                <c:pt idx="28">
                  <c:v>0.34782608695652173</c:v>
                </c:pt>
                <c:pt idx="29">
                  <c:v>0.38095238095238093</c:v>
                </c:pt>
                <c:pt idx="30">
                  <c:v>0.4107142857142857</c:v>
                </c:pt>
                <c:pt idx="31">
                  <c:v>0.3333333333333333</c:v>
                </c:pt>
                <c:pt idx="32">
                  <c:v>0.3516483516483517</c:v>
                </c:pt>
                <c:pt idx="33">
                  <c:v>0.40458015267175573</c:v>
                </c:pt>
                <c:pt idx="34">
                  <c:v>0.3817204301075269</c:v>
                </c:pt>
                <c:pt idx="35">
                  <c:v>0.3763440860215054</c:v>
                </c:pt>
                <c:pt idx="36">
                  <c:v>0.3515625</c:v>
                </c:pt>
                <c:pt idx="37">
                  <c:v>0.39090909090909093</c:v>
                </c:pt>
                <c:pt idx="38">
                  <c:v>0.2962962962962963</c:v>
                </c:pt>
                <c:pt idx="39">
                  <c:v>0.35714285714285715</c:v>
                </c:pt>
                <c:pt idx="40">
                  <c:v>0.32450331125827814</c:v>
                </c:pt>
                <c:pt idx="41">
                  <c:v>0.3057324840764331</c:v>
                </c:pt>
                <c:pt idx="42">
                  <c:v>0.2116788321167883</c:v>
                </c:pt>
                <c:pt idx="43">
                  <c:v>0.32515337423312884</c:v>
                </c:pt>
                <c:pt idx="44">
                  <c:v>0.34415584415584416</c:v>
                </c:pt>
                <c:pt idx="45">
                  <c:v>0.3877551020408163</c:v>
                </c:pt>
                <c:pt idx="46">
                  <c:v>0.4126984126984127</c:v>
                </c:pt>
                <c:pt idx="47">
                  <c:v>0.37055837563451777</c:v>
                </c:pt>
                <c:pt idx="48">
                  <c:v>0.37158469945355194</c:v>
                </c:pt>
                <c:pt idx="49">
                  <c:v>0.37349397590361444</c:v>
                </c:pt>
                <c:pt idx="50">
                  <c:v>0.3638814016172507</c:v>
                </c:pt>
                <c:pt idx="51">
                  <c:v>0.32178217821782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6.0073719451259</c:v>
                </c:pt>
              </c:numCache>
            </c:numRef>
          </c:xVal>
          <c:yVal>
            <c:numRef>
              <c:f>Sheet1!$B$163:$B$164</c:f>
              <c:numCache>
                <c:formatCode>General</c:formatCode>
                <c:ptCount val="2"/>
                <c:pt idx="0">
                  <c:v>0.4806071736735213</c:v>
                </c:pt>
                <c:pt idx="1">
                  <c:v>0.480607173673521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6.0073719451259</c:v>
                </c:pt>
                <c:pt idx="1">
                  <c:v>706.0073719451259</c:v>
                </c:pt>
              </c:numCache>
            </c:numRef>
          </c:xVal>
          <c:yVal>
            <c:numRef>
              <c:f>Sheet1!$B$167:$B$168</c:f>
              <c:numCache>
                <c:formatCode>General</c:formatCode>
                <c:ptCount val="2"/>
                <c:pt idx="0">
                  <c:v>0.48060717367352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4.7569842083901</c:v>
                </c:pt>
              </c:numCache>
            </c:numRef>
          </c:xVal>
          <c:yVal>
            <c:numRef>
              <c:f>Sheet1!$B$171:$B$172</c:f>
              <c:numCache>
                <c:formatCode>General</c:formatCode>
                <c:ptCount val="2"/>
                <c:pt idx="0">
                  <c:v>0.3970971515243123</c:v>
                </c:pt>
                <c:pt idx="1">
                  <c:v>0.39709715152431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4.7569842083901</c:v>
                </c:pt>
                <c:pt idx="1">
                  <c:v>1044.7569842083901</c:v>
                </c:pt>
              </c:numCache>
            </c:numRef>
          </c:xVal>
          <c:yVal>
            <c:numRef>
              <c:f>Sheet1!$B$175:$B$176</c:f>
              <c:numCache>
                <c:formatCode>General</c:formatCode>
                <c:ptCount val="2"/>
                <c:pt idx="0">
                  <c:v>0.39709715152431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0.7263411937604</c:v>
                </c:pt>
              </c:numCache>
            </c:numRef>
          </c:xVal>
          <c:yVal>
            <c:numRef>
              <c:f>Sheet1!$B$179:$B$180</c:f>
              <c:numCache>
                <c:formatCode>General</c:formatCode>
                <c:ptCount val="2"/>
                <c:pt idx="0">
                  <c:v>0.3438554498884088</c:v>
                </c:pt>
                <c:pt idx="1">
                  <c:v>0.34385544988840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0.7263411937604</c:v>
                </c:pt>
                <c:pt idx="1">
                  <c:v>1260.7263411937604</c:v>
                </c:pt>
              </c:numCache>
            </c:numRef>
          </c:xVal>
          <c:yVal>
            <c:numRef>
              <c:f>Sheet1!$B$183:$B$184</c:f>
              <c:numCache>
                <c:formatCode>General</c:formatCode>
                <c:ptCount val="2"/>
                <c:pt idx="0">
                  <c:v>0.34385544988840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7.6563</c:v>
                </c:pt>
                <c:pt idx="1">
                  <c:v>1145.8846</c:v>
                </c:pt>
                <c:pt idx="2">
                  <c:v>1147.0217</c:v>
                </c:pt>
                <c:pt idx="3">
                  <c:v>1156.5192</c:v>
                </c:pt>
                <c:pt idx="4">
                  <c:v>1145.9792</c:v>
                </c:pt>
                <c:pt idx="5">
                  <c:v>1136.7037</c:v>
                </c:pt>
                <c:pt idx="6">
                  <c:v>1046.102</c:v>
                </c:pt>
                <c:pt idx="7">
                  <c:v>1137.9524</c:v>
                </c:pt>
                <c:pt idx="8">
                  <c:v>1152.641</c:v>
                </c:pt>
                <c:pt idx="9">
                  <c:v>1090.1081</c:v>
                </c:pt>
                <c:pt idx="10">
                  <c:v>1163.5902</c:v>
                </c:pt>
                <c:pt idx="11">
                  <c:v>1025.1282</c:v>
                </c:pt>
                <c:pt idx="12">
                  <c:v>1011.5658</c:v>
                </c:pt>
                <c:pt idx="13">
                  <c:v>1096.6333</c:v>
                </c:pt>
                <c:pt idx="14">
                  <c:v>1085.0645</c:v>
                </c:pt>
                <c:pt idx="15">
                  <c:v>1092.8929</c:v>
                </c:pt>
                <c:pt idx="16">
                  <c:v>1108.34</c:v>
                </c:pt>
                <c:pt idx="17">
                  <c:v>1098.1951</c:v>
                </c:pt>
                <c:pt idx="18">
                  <c:v>1100.2927</c:v>
                </c:pt>
                <c:pt idx="19">
                  <c:v>1135.0926</c:v>
                </c:pt>
                <c:pt idx="20">
                  <c:v>1098.1714</c:v>
                </c:pt>
                <c:pt idx="21">
                  <c:v>1060.9259</c:v>
                </c:pt>
                <c:pt idx="22">
                  <c:v>1116.7037</c:v>
                </c:pt>
                <c:pt idx="23">
                  <c:v>1172.7576</c:v>
                </c:pt>
                <c:pt idx="24">
                  <c:v>1157.125</c:v>
                </c:pt>
                <c:pt idx="25">
                  <c:v>1180.25</c:v>
                </c:pt>
                <c:pt idx="26">
                  <c:v>1067.25</c:v>
                </c:pt>
                <c:pt idx="27">
                  <c:v>1004.1714</c:v>
                </c:pt>
                <c:pt idx="28">
                  <c:v>1149.9688</c:v>
                </c:pt>
                <c:pt idx="29">
                  <c:v>1201.65</c:v>
                </c:pt>
                <c:pt idx="30">
                  <c:v>1170.1304</c:v>
                </c:pt>
                <c:pt idx="31">
                  <c:v>1113.5455</c:v>
                </c:pt>
                <c:pt idx="32">
                  <c:v>1186.3125</c:v>
                </c:pt>
                <c:pt idx="33">
                  <c:v>1215.3585</c:v>
                </c:pt>
                <c:pt idx="34">
                  <c:v>1234.0563</c:v>
                </c:pt>
                <c:pt idx="35">
                  <c:v>1225.5429</c:v>
                </c:pt>
                <c:pt idx="36">
                  <c:v>1150.0222</c:v>
                </c:pt>
                <c:pt idx="37">
                  <c:v>1140.3256</c:v>
                </c:pt>
                <c:pt idx="38">
                  <c:v>1124.0417</c:v>
                </c:pt>
                <c:pt idx="39">
                  <c:v>1146.1455</c:v>
                </c:pt>
                <c:pt idx="40">
                  <c:v>1157.551</c:v>
                </c:pt>
                <c:pt idx="41">
                  <c:v>1155.1667</c:v>
                </c:pt>
                <c:pt idx="42">
                  <c:v>1232.6897</c:v>
                </c:pt>
                <c:pt idx="43">
                  <c:v>1227.3208</c:v>
                </c:pt>
                <c:pt idx="44">
                  <c:v>1193.3585</c:v>
                </c:pt>
                <c:pt idx="45">
                  <c:v>1164.3684</c:v>
                </c:pt>
                <c:pt idx="46">
                  <c:v>1130.9872</c:v>
                </c:pt>
                <c:pt idx="47">
                  <c:v>1134.2329</c:v>
                </c:pt>
                <c:pt idx="48">
                  <c:v>1110.8529</c:v>
                </c:pt>
                <c:pt idx="49">
                  <c:v>1138.129</c:v>
                </c:pt>
                <c:pt idx="50">
                  <c:v>1107.4815</c:v>
                </c:pt>
                <c:pt idx="51">
                  <c:v>1058.5231</c:v>
                </c:pt>
                <c:pt idx="52">
                  <c:v>1044.7569842083901</c:v>
                </c:pt>
                <c:pt idx="53">
                  <c:v>706.0073719451259</c:v>
                </c:pt>
                <c:pt idx="54">
                  <c:v>1260.7263411937604</c:v>
                </c:pt>
              </c:numCache>
            </c:numRef>
          </c:xVal>
          <c:yVal>
            <c:numRef>
              <c:f>Sheet1!$B$187:$B$241</c:f>
              <c:numCache>
                <c:formatCode>General</c:formatCode>
                <c:ptCount val="55"/>
                <c:pt idx="0">
                  <c:v>0.37172996635328537</c:v>
                </c:pt>
                <c:pt idx="1">
                  <c:v>0.3721667335137058</c:v>
                </c:pt>
                <c:pt idx="2">
                  <c:v>0.3718864106948798</c:v>
                </c:pt>
                <c:pt idx="3">
                  <c:v>0.36954504584411885</c:v>
                </c:pt>
                <c:pt idx="4">
                  <c:v>0.372143412311823</c:v>
                </c:pt>
                <c:pt idx="5">
                  <c:v>0.37443004876070257</c:v>
                </c:pt>
                <c:pt idx="6">
                  <c:v>0.3967655724036812</c:v>
                </c:pt>
                <c:pt idx="7">
                  <c:v>0.37412221382633615</c:v>
                </c:pt>
                <c:pt idx="8">
                  <c:v>0.3705011165115809</c:v>
                </c:pt>
                <c:pt idx="9">
                  <c:v>0.38591699796208373</c:v>
                </c:pt>
                <c:pt idx="10">
                  <c:v>0.36780187228689526</c:v>
                </c:pt>
                <c:pt idx="11">
                  <c:v>0.4019361244549463</c:v>
                </c:pt>
                <c:pt idx="12">
                  <c:v>0.405279586066103</c:v>
                </c:pt>
                <c:pt idx="13">
                  <c:v>0.384308377385702</c:v>
                </c:pt>
                <c:pt idx="14">
                  <c:v>0.38716036808699006</c:v>
                </c:pt>
                <c:pt idx="15">
                  <c:v>0.3852304770001043</c:v>
                </c:pt>
                <c:pt idx="16">
                  <c:v>0.38142239097892094</c:v>
                </c:pt>
                <c:pt idx="17">
                  <c:v>0.3839233556827361</c:v>
                </c:pt>
                <c:pt idx="18">
                  <c:v>0.3834062462422564</c:v>
                </c:pt>
                <c:pt idx="19">
                  <c:v>0.37482722411327546</c:v>
                </c:pt>
                <c:pt idx="20">
                  <c:v>0.38392919830942346</c:v>
                </c:pt>
                <c:pt idx="21">
                  <c:v>0.39311112034669826</c:v>
                </c:pt>
                <c:pt idx="22">
                  <c:v>0.37936053541668774</c:v>
                </c:pt>
                <c:pt idx="23">
                  <c:v>0.36554188511839136</c:v>
                </c:pt>
                <c:pt idx="24">
                  <c:v>0.3693957014033091</c:v>
                </c:pt>
                <c:pt idx="25">
                  <c:v>0.3636948262073262</c:v>
                </c:pt>
                <c:pt idx="26">
                  <c:v>0.3915520758136425</c:v>
                </c:pt>
                <c:pt idx="27">
                  <c:v>0.40710248559255385</c:v>
                </c:pt>
                <c:pt idx="28">
                  <c:v>0.37115987883368706</c:v>
                </c:pt>
                <c:pt idx="29">
                  <c:v>0.358419205485422</c:v>
                </c:pt>
                <c:pt idx="30">
                  <c:v>0.36618955384552154</c:v>
                </c:pt>
                <c:pt idx="31">
                  <c:v>0.38013910856453437</c:v>
                </c:pt>
                <c:pt idx="32">
                  <c:v>0.3622002724397307</c:v>
                </c:pt>
                <c:pt idx="33">
                  <c:v>0.3550397266692434</c:v>
                </c:pt>
                <c:pt idx="34">
                  <c:v>0.3504302639994294</c:v>
                </c:pt>
                <c:pt idx="35">
                  <c:v>0.3525290242542826</c:v>
                </c:pt>
                <c:pt idx="36">
                  <c:v>0.37114671443431557</c:v>
                </c:pt>
                <c:pt idx="37">
                  <c:v>0.37353716227973693</c:v>
                </c:pt>
                <c:pt idx="38">
                  <c:v>0.3775515398626068</c:v>
                </c:pt>
                <c:pt idx="39">
                  <c:v>0.3721024153152785</c:v>
                </c:pt>
                <c:pt idx="40">
                  <c:v>0.36929068203753657</c:v>
                </c:pt>
                <c:pt idx="41">
                  <c:v>0.36987847000422985</c:v>
                </c:pt>
                <c:pt idx="42">
                  <c:v>0.35076716415263287</c:v>
                </c:pt>
                <c:pt idx="43">
                  <c:v>0.35209072864299884</c:v>
                </c:pt>
                <c:pt idx="44">
                  <c:v>0.36046326199082707</c:v>
                </c:pt>
                <c:pt idx="45">
                  <c:v>0.3676100270511109</c:v>
                </c:pt>
                <c:pt idx="46">
                  <c:v>0.37583930510914954</c:v>
                </c:pt>
                <c:pt idx="47">
                  <c:v>0.375039161082183</c:v>
                </c:pt>
                <c:pt idx="48">
                  <c:v>0.38080289998302963</c:v>
                </c:pt>
                <c:pt idx="49">
                  <c:v>0.3740786776291638</c:v>
                </c:pt>
                <c:pt idx="50">
                  <c:v>0.38163403211862906</c:v>
                </c:pt>
                <c:pt idx="51">
                  <c:v>0.3937034690135483</c:v>
                </c:pt>
                <c:pt idx="52">
                  <c:v>0.3970971515243123</c:v>
                </c:pt>
                <c:pt idx="53">
                  <c:v>0.4806071736735213</c:v>
                </c:pt>
                <c:pt idx="54">
                  <c:v>0.34385544988840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13.0"/>
          <c:min val="5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9622641509434"/>
          <c:min val="0.162237762237762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290365665320102</c:v>
                </c:pt>
                <c:pt idx="1">
                  <c:v>0.6491165776425268</c:v>
                </c:pt>
                <c:pt idx="2">
                  <c:v>0.6774821189795089</c:v>
                </c:pt>
                <c:pt idx="3">
                  <c:v>0.6980982529938029</c:v>
                </c:pt>
                <c:pt idx="4">
                  <c:v>0.7149163875612572</c:v>
                </c:pt>
                <c:pt idx="5">
                  <c:v>0.6546135624965571</c:v>
                </c:pt>
                <c:pt idx="6">
                  <c:v>0.6561263503337299</c:v>
                </c:pt>
                <c:pt idx="7">
                  <c:v>0.6671258015496364</c:v>
                </c:pt>
                <c:pt idx="8">
                  <c:v>0.6577091345304171</c:v>
                </c:pt>
                <c:pt idx="9">
                  <c:v>0.6521794199234136</c:v>
                </c:pt>
                <c:pt idx="10">
                  <c:v>0.6505662780978361</c:v>
                </c:pt>
                <c:pt idx="11">
                  <c:v>0.6859740579395545</c:v>
                </c:pt>
                <c:pt idx="12">
                  <c:v>0.7140017992997703</c:v>
                </c:pt>
                <c:pt idx="13">
                  <c:v>0.7153467198549508</c:v>
                </c:pt>
                <c:pt idx="14">
                  <c:v>0.6874170985933897</c:v>
                </c:pt>
                <c:pt idx="15">
                  <c:v>0.70541567695962</c:v>
                </c:pt>
                <c:pt idx="16">
                  <c:v>0.6844579646017699</c:v>
                </c:pt>
                <c:pt idx="17">
                  <c:v>0.7100700162591732</c:v>
                </c:pt>
                <c:pt idx="18">
                  <c:v>0.7122767691347471</c:v>
                </c:pt>
                <c:pt idx="19">
                  <c:v>0.6884759727119273</c:v>
                </c:pt>
                <c:pt idx="20">
                  <c:v>0.7669011242019423</c:v>
                </c:pt>
                <c:pt idx="21">
                  <c:v>0.694315440595121</c:v>
                </c:pt>
                <c:pt idx="22">
                  <c:v>0.6792399832355407</c:v>
                </c:pt>
                <c:pt idx="23">
                  <c:v>0.8359008088978767</c:v>
                </c:pt>
                <c:pt idx="24">
                  <c:v>0.6941563729756535</c:v>
                </c:pt>
                <c:pt idx="25">
                  <c:v>0.6677217059611248</c:v>
                </c:pt>
                <c:pt idx="26">
                  <c:v>0.6678283438346773</c:v>
                </c:pt>
                <c:pt idx="27">
                  <c:v>0.7882205743002566</c:v>
                </c:pt>
                <c:pt idx="28">
                  <c:v>0.7013321181368906</c:v>
                </c:pt>
                <c:pt idx="29">
                  <c:v>0.722275479474779</c:v>
                </c:pt>
                <c:pt idx="30">
                  <c:v>0.685837488993293</c:v>
                </c:pt>
                <c:pt idx="31">
                  <c:v>0.6958486217409947</c:v>
                </c:pt>
                <c:pt idx="32">
                  <c:v>0.6943288280549184</c:v>
                </c:pt>
                <c:pt idx="33">
                  <c:v>0.6434681493915233</c:v>
                </c:pt>
                <c:pt idx="34">
                  <c:v>0.6477471840218658</c:v>
                </c:pt>
                <c:pt idx="35">
                  <c:v>0.6925111896059538</c:v>
                </c:pt>
                <c:pt idx="36">
                  <c:v>0.7117821341674436</c:v>
                </c:pt>
                <c:pt idx="37">
                  <c:v>0.745531113662457</c:v>
                </c:pt>
                <c:pt idx="38">
                  <c:v>0.73476146124392</c:v>
                </c:pt>
                <c:pt idx="39">
                  <c:v>0.7697737597815162</c:v>
                </c:pt>
                <c:pt idx="40">
                  <c:v>0.7319709689668351</c:v>
                </c:pt>
                <c:pt idx="41">
                  <c:v>0.718595041322314</c:v>
                </c:pt>
                <c:pt idx="42">
                  <c:v>0.7397936625709332</c:v>
                </c:pt>
                <c:pt idx="43">
                  <c:v>0.6638337982955823</c:v>
                </c:pt>
                <c:pt idx="44">
                  <c:v>0.6608382029419712</c:v>
                </c:pt>
                <c:pt idx="45">
                  <c:v>0.7646983732999721</c:v>
                </c:pt>
                <c:pt idx="46">
                  <c:v>0.7506228734113319</c:v>
                </c:pt>
                <c:pt idx="47">
                  <c:v>0.7295014906899687</c:v>
                </c:pt>
                <c:pt idx="48">
                  <c:v>0.7588029416797585</c:v>
                </c:pt>
                <c:pt idx="49">
                  <c:v>0.728511324595728</c:v>
                </c:pt>
                <c:pt idx="50">
                  <c:v>0.7947057784707358</c:v>
                </c:pt>
                <c:pt idx="51">
                  <c:v>0.7330768612168507</c:v>
                </c:pt>
                <c:pt idx="52">
                  <c:v>0.7041653213636747</c:v>
                </c:pt>
                <c:pt idx="53">
                  <c:v>0.6908591805114428</c:v>
                </c:pt>
                <c:pt idx="54">
                  <c:v>0.693158046337434</c:v>
                </c:pt>
                <c:pt idx="55">
                  <c:v>0.7155590247738891</c:v>
                </c:pt>
                <c:pt idx="56">
                  <c:v>0.708202002155841</c:v>
                </c:pt>
                <c:pt idx="57">
                  <c:v>0.6955308244692405</c:v>
                </c:pt>
                <c:pt idx="58">
                  <c:v>0.7169801365521524</c:v>
                </c:pt>
                <c:pt idx="59">
                  <c:v>0.7244075262079103</c:v>
                </c:pt>
                <c:pt idx="60">
                  <c:v>0.7244438751865273</c:v>
                </c:pt>
                <c:pt idx="61">
                  <c:v>0.7199462403133314</c:v>
                </c:pt>
                <c:pt idx="62">
                  <c:v>0.7338784979604209</c:v>
                </c:pt>
                <c:pt idx="63">
                  <c:v>0.6558660686981571</c:v>
                </c:pt>
                <c:pt idx="64">
                  <c:v>0.6115691317538393</c:v>
                </c:pt>
                <c:pt idx="65">
                  <c:v>0.6152764710877133</c:v>
                </c:pt>
                <c:pt idx="66">
                  <c:v>0.6549594571539588</c:v>
                </c:pt>
                <c:pt idx="67">
                  <c:v>0.5699553084753526</c:v>
                </c:pt>
                <c:pt idx="68">
                  <c:v>0.5170194190387091</c:v>
                </c:pt>
                <c:pt idx="69">
                  <c:v>0.3741731398295324</c:v>
                </c:pt>
                <c:pt idx="70">
                  <c:v>0.6402504966484559</c:v>
                </c:pt>
                <c:pt idx="71">
                  <c:v>0.6142496878905586</c:v>
                </c:pt>
                <c:pt idx="72">
                  <c:v>0.20683843544488448</c:v>
                </c:pt>
                <c:pt idx="73">
                  <c:v>0.3321093264788949</c:v>
                </c:pt>
                <c:pt idx="74">
                  <c:v>0.8846032048394291</c:v>
                </c:pt>
                <c:pt idx="75">
                  <c:v>1.5455511474452244</c:v>
                </c:pt>
                <c:pt idx="76">
                  <c:v>1.5458554612245503</c:v>
                </c:pt>
                <c:pt idx="77">
                  <c:v>0.7426165719300132</c:v>
                </c:pt>
                <c:pt idx="78">
                  <c:v>0.6645903129992887</c:v>
                </c:pt>
                <c:pt idx="79">
                  <c:v>1.0362082456898936</c:v>
                </c:pt>
                <c:pt idx="80">
                  <c:v>0.6508390389956064</c:v>
                </c:pt>
                <c:pt idx="81">
                  <c:v>0.7832826354281277</c:v>
                </c:pt>
                <c:pt idx="82">
                  <c:v>0.7595916133537148</c:v>
                </c:pt>
                <c:pt idx="83">
                  <c:v>0.8254923114477765</c:v>
                </c:pt>
                <c:pt idx="84">
                  <c:v>0.8035396943358428</c:v>
                </c:pt>
                <c:pt idx="85">
                  <c:v>0.7618535376944825</c:v>
                </c:pt>
                <c:pt idx="86">
                  <c:v>0.6038079683964219</c:v>
                </c:pt>
                <c:pt idx="87">
                  <c:v>0.7497144333625849</c:v>
                </c:pt>
                <c:pt idx="88">
                  <c:v>0.5217027059718012</c:v>
                </c:pt>
                <c:pt idx="89">
                  <c:v>0.3832198143656483</c:v>
                </c:pt>
                <c:pt idx="90">
                  <c:v>0.3465631291343112</c:v>
                </c:pt>
                <c:pt idx="91">
                  <c:v>0.6278979907264297</c:v>
                </c:pt>
                <c:pt idx="92">
                  <c:v>0.4572222480805482</c:v>
                </c:pt>
                <c:pt idx="93">
                  <c:v>0.7284207286057116</c:v>
                </c:pt>
                <c:pt idx="94">
                  <c:v>0.6674988297706351</c:v>
                </c:pt>
                <c:pt idx="95">
                  <c:v>0.6806166918616703</c:v>
                </c:pt>
                <c:pt idx="96">
                  <c:v>0.7652919682084302</c:v>
                </c:pt>
                <c:pt idx="97">
                  <c:v>0.6666716062222234</c:v>
                </c:pt>
                <c:pt idx="98">
                  <c:v>0.8480125751338443</c:v>
                </c:pt>
                <c:pt idx="99">
                  <c:v>0.8108084162588586</c:v>
                </c:pt>
                <c:pt idx="100">
                  <c:v>0.6387566406820678</c:v>
                </c:pt>
                <c:pt idx="101">
                  <c:v>0.7134947998485864</c:v>
                </c:pt>
                <c:pt idx="102">
                  <c:v>0.6900295532190327</c:v>
                </c:pt>
                <c:pt idx="103">
                  <c:v>0.6370956100322374</c:v>
                </c:pt>
                <c:pt idx="104">
                  <c:v>0.7096929198122832</c:v>
                </c:pt>
              </c:numCache>
            </c:numRef>
          </c:xVal>
          <c:yVal>
            <c:numRef>
              <c:f>Sheet1!$B$2:$B$106</c:f>
              <c:numCache>
                <c:formatCode>General</c:formatCode>
                <c:ptCount val="105"/>
                <c:pt idx="0">
                  <c:v>0.30416666666666664</c:v>
                </c:pt>
                <c:pt idx="1">
                  <c:v>0.2764976958525346</c:v>
                </c:pt>
                <c:pt idx="2">
                  <c:v>0.26991150442477874</c:v>
                </c:pt>
                <c:pt idx="3">
                  <c:v>0.3076923076923077</c:v>
                </c:pt>
                <c:pt idx="4">
                  <c:v>0.2857142857142857</c:v>
                </c:pt>
                <c:pt idx="5">
                  <c:v>0.26548672566371684</c:v>
                </c:pt>
                <c:pt idx="6">
                  <c:v>0.225</c:v>
                </c:pt>
                <c:pt idx="7">
                  <c:v>0.23776223776223776</c:v>
                </c:pt>
                <c:pt idx="8">
                  <c:v>0.18994413407821228</c:v>
                </c:pt>
                <c:pt idx="9">
                  <c:v>0.20754716981132076</c:v>
                </c:pt>
                <c:pt idx="10">
                  <c:v>0.2</c:v>
                </c:pt>
                <c:pt idx="11">
                  <c:v>0.23580786026200873</c:v>
                </c:pt>
                <c:pt idx="12">
                  <c:v>0.25316455696202533</c:v>
                </c:pt>
                <c:pt idx="13">
                  <c:v>0.2361111111111111</c:v>
                </c:pt>
                <c:pt idx="14">
                  <c:v>0.22488038277511962</c:v>
                </c:pt>
                <c:pt idx="15">
                  <c:v>0.2222222222222222</c:v>
                </c:pt>
                <c:pt idx="16">
                  <c:v>0.18181818181818182</c:v>
                </c:pt>
                <c:pt idx="17">
                  <c:v>0.1476510067114094</c:v>
                </c:pt>
                <c:pt idx="18">
                  <c:v>0.17094017094017094</c:v>
                </c:pt>
                <c:pt idx="19">
                  <c:v>0.14953271028037382</c:v>
                </c:pt>
                <c:pt idx="20">
                  <c:v>0.15702479338842976</c:v>
                </c:pt>
                <c:pt idx="21">
                  <c:v>0.1557377049180328</c:v>
                </c:pt>
                <c:pt idx="22">
                  <c:v>0.15126050420168066</c:v>
                </c:pt>
                <c:pt idx="23">
                  <c:v>0.136</c:v>
                </c:pt>
                <c:pt idx="24">
                  <c:v>0.13725490196078433</c:v>
                </c:pt>
                <c:pt idx="25">
                  <c:v>0.14563106796116504</c:v>
                </c:pt>
                <c:pt idx="26">
                  <c:v>0.11510791366906475</c:v>
                </c:pt>
                <c:pt idx="27">
                  <c:v>0.14545454545454545</c:v>
                </c:pt>
                <c:pt idx="28">
                  <c:v>0.10655737704918032</c:v>
                </c:pt>
                <c:pt idx="29">
                  <c:v>0.09027777777777778</c:v>
                </c:pt>
                <c:pt idx="30">
                  <c:v>0.112</c:v>
                </c:pt>
                <c:pt idx="31">
                  <c:v>0.1</c:v>
                </c:pt>
                <c:pt idx="32">
                  <c:v>0.11627906976744186</c:v>
                </c:pt>
                <c:pt idx="33">
                  <c:v>0.08333333333333333</c:v>
                </c:pt>
                <c:pt idx="34">
                  <c:v>0.0979381443298969</c:v>
                </c:pt>
                <c:pt idx="35">
                  <c:v>0.1016260162601626</c:v>
                </c:pt>
                <c:pt idx="36">
                  <c:v>0.08056872037914692</c:v>
                </c:pt>
                <c:pt idx="37">
                  <c:v>0.08379888268156424</c:v>
                </c:pt>
                <c:pt idx="38">
                  <c:v>0.09411764705882353</c:v>
                </c:pt>
                <c:pt idx="39">
                  <c:v>0.07142857142857142</c:v>
                </c:pt>
                <c:pt idx="40">
                  <c:v>0.08875739644970414</c:v>
                </c:pt>
                <c:pt idx="41">
                  <c:v>0.08888888888888889</c:v>
                </c:pt>
                <c:pt idx="42">
                  <c:v>0.1092896174863388</c:v>
                </c:pt>
                <c:pt idx="43">
                  <c:v>0.08823529411764706</c:v>
                </c:pt>
                <c:pt idx="44">
                  <c:v>0.14782608695652175</c:v>
                </c:pt>
                <c:pt idx="45">
                  <c:v>0.15517241379310345</c:v>
                </c:pt>
                <c:pt idx="46">
                  <c:v>0.11440677966101695</c:v>
                </c:pt>
                <c:pt idx="47">
                  <c:v>0.13488372093023257</c:v>
                </c:pt>
                <c:pt idx="48">
                  <c:v>0.14915254237288136</c:v>
                </c:pt>
                <c:pt idx="49">
                  <c:v>0.15331807780320367</c:v>
                </c:pt>
                <c:pt idx="50">
                  <c:v>0.11587982832618025</c:v>
                </c:pt>
                <c:pt idx="51">
                  <c:v>0.08854166666666667</c:v>
                </c:pt>
                <c:pt idx="52">
                  <c:v>0.07772020725388601</c:v>
                </c:pt>
                <c:pt idx="53">
                  <c:v>0.09239130434782608</c:v>
                </c:pt>
                <c:pt idx="54">
                  <c:v>0.1282051282051282</c:v>
                </c:pt>
                <c:pt idx="55">
                  <c:v>0.11612903225806452</c:v>
                </c:pt>
                <c:pt idx="56">
                  <c:v>0.0967741935483871</c:v>
                </c:pt>
                <c:pt idx="57">
                  <c:v>0.11538461538461539</c:v>
                </c:pt>
                <c:pt idx="58">
                  <c:v>0.11888111888111888</c:v>
                </c:pt>
                <c:pt idx="59">
                  <c:v>0.09146341463414634</c:v>
                </c:pt>
                <c:pt idx="60">
                  <c:v>0.09210526315789473</c:v>
                </c:pt>
                <c:pt idx="61">
                  <c:v>0.08552631578947369</c:v>
                </c:pt>
                <c:pt idx="62">
                  <c:v>0.12883435582822086</c:v>
                </c:pt>
                <c:pt idx="63">
                  <c:v>0.1076923076923077</c:v>
                </c:pt>
                <c:pt idx="64">
                  <c:v>0.09844559585492228</c:v>
                </c:pt>
                <c:pt idx="65">
                  <c:v>0.09944751381215469</c:v>
                </c:pt>
                <c:pt idx="66">
                  <c:v>0.09770114942528736</c:v>
                </c:pt>
                <c:pt idx="67">
                  <c:v>0.13414634146341464</c:v>
                </c:pt>
                <c:pt idx="68">
                  <c:v>0.11428571428571428</c:v>
                </c:pt>
                <c:pt idx="69">
                  <c:v>0.1414141414141414</c:v>
                </c:pt>
                <c:pt idx="70">
                  <c:v>0.09016393442622951</c:v>
                </c:pt>
                <c:pt idx="71">
                  <c:v>0.10526315789473684</c:v>
                </c:pt>
                <c:pt idx="72">
                  <c:v>0.2348993288590604</c:v>
                </c:pt>
                <c:pt idx="73">
                  <c:v>0.09565217391304348</c:v>
                </c:pt>
                <c:pt idx="74">
                  <c:v>0.049019607843137254</c:v>
                </c:pt>
                <c:pt idx="75">
                  <c:v>0.055944055944055944</c:v>
                </c:pt>
                <c:pt idx="76">
                  <c:v>0.04310344827586207</c:v>
                </c:pt>
                <c:pt idx="77">
                  <c:v>0.027522935779816515</c:v>
                </c:pt>
                <c:pt idx="78">
                  <c:v>0.07</c:v>
                </c:pt>
                <c:pt idx="79">
                  <c:v>0.04950495049504951</c:v>
                </c:pt>
                <c:pt idx="80">
                  <c:v>0.019801980198019802</c:v>
                </c:pt>
                <c:pt idx="81">
                  <c:v>0.045454545454545456</c:v>
                </c:pt>
                <c:pt idx="82">
                  <c:v>0.044642857142857144</c:v>
                </c:pt>
                <c:pt idx="83">
                  <c:v>0.022222222222222223</c:v>
                </c:pt>
                <c:pt idx="84">
                  <c:v>0.041666666666666664</c:v>
                </c:pt>
                <c:pt idx="85">
                  <c:v>0.04040404040404041</c:v>
                </c:pt>
                <c:pt idx="86">
                  <c:v>0.047619047619047616</c:v>
                </c:pt>
                <c:pt idx="87">
                  <c:v>0.03255813953488372</c:v>
                </c:pt>
                <c:pt idx="88">
                  <c:v>0.046875</c:v>
                </c:pt>
                <c:pt idx="89">
                  <c:v>0.07317073170731707</c:v>
                </c:pt>
                <c:pt idx="90">
                  <c:v>0.07079646017699115</c:v>
                </c:pt>
                <c:pt idx="91">
                  <c:v>0.03278688524590164</c:v>
                </c:pt>
                <c:pt idx="92">
                  <c:v>0.03896103896103896</c:v>
                </c:pt>
                <c:pt idx="93">
                  <c:v>0.053691275167785234</c:v>
                </c:pt>
                <c:pt idx="94">
                  <c:v>0.03184713375796178</c:v>
                </c:pt>
                <c:pt idx="95">
                  <c:v>0.0446927374301676</c:v>
                </c:pt>
                <c:pt idx="96">
                  <c:v>0.031746031746031744</c:v>
                </c:pt>
                <c:pt idx="97">
                  <c:v>0.026455026455026454</c:v>
                </c:pt>
                <c:pt idx="98">
                  <c:v>0.044642857142857144</c:v>
                </c:pt>
                <c:pt idx="99">
                  <c:v>0.04597701149425287</c:v>
                </c:pt>
                <c:pt idx="100">
                  <c:v>0.06685236768802229</c:v>
                </c:pt>
                <c:pt idx="101">
                  <c:v>0.05263157894736842</c:v>
                </c:pt>
                <c:pt idx="102">
                  <c:v>0.03424657534246575</c:v>
                </c:pt>
                <c:pt idx="103">
                  <c:v>0.05325443786982249</c:v>
                </c:pt>
                <c:pt idx="104">
                  <c:v>0.03797468354430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08770262510354</c:v>
                </c:pt>
                <c:pt idx="1">
                  <c:v>0.7606394034528687</c:v>
                </c:pt>
                <c:pt idx="2">
                  <c:v>0.8089570561440369</c:v>
                </c:pt>
                <c:pt idx="3">
                  <c:v>0.7212553394515762</c:v>
                </c:pt>
                <c:pt idx="4">
                  <c:v>0.9223713093492726</c:v>
                </c:pt>
                <c:pt idx="5">
                  <c:v>0.6204742412168782</c:v>
                </c:pt>
                <c:pt idx="6">
                  <c:v>0.7245733143682346</c:v>
                </c:pt>
                <c:pt idx="7">
                  <c:v>0.6186212839078503</c:v>
                </c:pt>
                <c:pt idx="8">
                  <c:v>0.7680388388793365</c:v>
                </c:pt>
                <c:pt idx="9">
                  <c:v>0.6301852886528106</c:v>
                </c:pt>
                <c:pt idx="10">
                  <c:v>0.8277322390121233</c:v>
                </c:pt>
                <c:pt idx="11">
                  <c:v>0.6995584710604126</c:v>
                </c:pt>
                <c:pt idx="12">
                  <c:v>0.773401040813457</c:v>
                </c:pt>
                <c:pt idx="13">
                  <c:v>0.6973331935440585</c:v>
                </c:pt>
                <c:pt idx="14">
                  <c:v>0.6569405655574532</c:v>
                </c:pt>
                <c:pt idx="15">
                  <c:v>0.7047108997778117</c:v>
                </c:pt>
                <c:pt idx="16">
                  <c:v>0.736466106727062</c:v>
                </c:pt>
                <c:pt idx="17">
                  <c:v>0.6754922048997772</c:v>
                </c:pt>
                <c:pt idx="18">
                  <c:v>0.531864530225783</c:v>
                </c:pt>
                <c:pt idx="19">
                  <c:v>0.7655062223864838</c:v>
                </c:pt>
                <c:pt idx="20">
                  <c:v>0.5923702856606725</c:v>
                </c:pt>
                <c:pt idx="21">
                  <c:v>0.7322068356374808</c:v>
                </c:pt>
                <c:pt idx="22">
                  <c:v>0.6737037825490249</c:v>
                </c:pt>
                <c:pt idx="23">
                  <c:v>0.6171203833081265</c:v>
                </c:pt>
                <c:pt idx="24">
                  <c:v>0.41587704963379407</c:v>
                </c:pt>
                <c:pt idx="25">
                  <c:v>0.6010471900111207</c:v>
                </c:pt>
                <c:pt idx="26">
                  <c:v>0.8005413601576261</c:v>
                </c:pt>
                <c:pt idx="27">
                  <c:v>0.7428719550268419</c:v>
                </c:pt>
                <c:pt idx="28">
                  <c:v>0.9276248470948012</c:v>
                </c:pt>
                <c:pt idx="29">
                  <c:v>0.8111138191567145</c:v>
                </c:pt>
                <c:pt idx="30">
                  <c:v>0.7589269086640942</c:v>
                </c:pt>
                <c:pt idx="31">
                  <c:v>0.851207253333438</c:v>
                </c:pt>
                <c:pt idx="32">
                  <c:v>0.6055151283033321</c:v>
                </c:pt>
                <c:pt idx="33">
                  <c:v>0.7787151394877238</c:v>
                </c:pt>
                <c:pt idx="34">
                  <c:v>0.8075240955332084</c:v>
                </c:pt>
                <c:pt idx="35">
                  <c:v>0.7715936596974333</c:v>
                </c:pt>
                <c:pt idx="36">
                  <c:v>0.6898201507861608</c:v>
                </c:pt>
                <c:pt idx="37">
                  <c:v>0.6310284757689558</c:v>
                </c:pt>
                <c:pt idx="38">
                  <c:v>0.8765536245824288</c:v>
                </c:pt>
                <c:pt idx="39">
                  <c:v>0.7424769262131552</c:v>
                </c:pt>
                <c:pt idx="40">
                  <c:v>0.9833962465607664</c:v>
                </c:pt>
                <c:pt idx="41">
                  <c:v>0.9929701094252802</c:v>
                </c:pt>
                <c:pt idx="42">
                  <c:v>1.102494863300122</c:v>
                </c:pt>
                <c:pt idx="43">
                  <c:v>0.7334489109252217</c:v>
                </c:pt>
                <c:pt idx="44">
                  <c:v>0.8687597829549779</c:v>
                </c:pt>
                <c:pt idx="45">
                  <c:v>1.000161486649409</c:v>
                </c:pt>
                <c:pt idx="46">
                  <c:v>0.8684801041515088</c:v>
                </c:pt>
                <c:pt idx="47">
                  <c:v>0.8418453234326864</c:v>
                </c:pt>
                <c:pt idx="48">
                  <c:v>0.9127994281131898</c:v>
                </c:pt>
                <c:pt idx="49">
                  <c:v>1.013319851667533</c:v>
                </c:pt>
                <c:pt idx="50">
                  <c:v>0.9478412943140115</c:v>
                </c:pt>
                <c:pt idx="51">
                  <c:v>1.0417218350463775</c:v>
                </c:pt>
              </c:numCache>
            </c:numRef>
          </c:xVal>
          <c:yVal>
            <c:numRef>
              <c:f>Sheet1!$B$109:$B$160</c:f>
              <c:numCache>
                <c:formatCode>General</c:formatCode>
                <c:ptCount val="52"/>
                <c:pt idx="0">
                  <c:v>0.04216867469879518</c:v>
                </c:pt>
                <c:pt idx="1">
                  <c:v>0.04285714285714286</c:v>
                </c:pt>
                <c:pt idx="2">
                  <c:v>0.029197080291970802</c:v>
                </c:pt>
                <c:pt idx="3">
                  <c:v>0.04697986577181208</c:v>
                </c:pt>
                <c:pt idx="4">
                  <c:v>0.0410958904109589</c:v>
                </c:pt>
                <c:pt idx="5">
                  <c:v>0.06818181818181818</c:v>
                </c:pt>
                <c:pt idx="6">
                  <c:v>0.037383177570093455</c:v>
                </c:pt>
                <c:pt idx="7">
                  <c:v>0.05970149253731343</c:v>
                </c:pt>
                <c:pt idx="8">
                  <c:v>0.04807692307692308</c:v>
                </c:pt>
                <c:pt idx="9">
                  <c:v>0.050505050505050504</c:v>
                </c:pt>
                <c:pt idx="10">
                  <c:v>0.02702702702702703</c:v>
                </c:pt>
                <c:pt idx="11">
                  <c:v>0.0481283422459893</c:v>
                </c:pt>
                <c:pt idx="12">
                  <c:v>0.05319148936170213</c:v>
                </c:pt>
                <c:pt idx="13">
                  <c:v>0.054878048780487805</c:v>
                </c:pt>
                <c:pt idx="14">
                  <c:v>0.04794520547945205</c:v>
                </c:pt>
                <c:pt idx="15">
                  <c:v>0.0273972602739726</c:v>
                </c:pt>
                <c:pt idx="16">
                  <c:v>0.04132231404958678</c:v>
                </c:pt>
                <c:pt idx="17">
                  <c:v>0.04854368932038835</c:v>
                </c:pt>
                <c:pt idx="18">
                  <c:v>0.07766990291262135</c:v>
                </c:pt>
                <c:pt idx="19">
                  <c:v>0.048</c:v>
                </c:pt>
                <c:pt idx="20">
                  <c:v>0.07291666666666667</c:v>
                </c:pt>
                <c:pt idx="21">
                  <c:v>0.041666666666666664</c:v>
                </c:pt>
                <c:pt idx="22">
                  <c:v>0.03278688524590164</c:v>
                </c:pt>
                <c:pt idx="23">
                  <c:v>0.05555555555555555</c:v>
                </c:pt>
                <c:pt idx="24">
                  <c:v>0.0410958904109589</c:v>
                </c:pt>
                <c:pt idx="25">
                  <c:v>0.041666666666666664</c:v>
                </c:pt>
                <c:pt idx="26">
                  <c:v>0.039473684210526314</c:v>
                </c:pt>
                <c:pt idx="27">
                  <c:v>0.03225806451612903</c:v>
                </c:pt>
                <c:pt idx="28">
                  <c:v>0.03260869565217391</c:v>
                </c:pt>
                <c:pt idx="29">
                  <c:v>0.02857142857142857</c:v>
                </c:pt>
                <c:pt idx="30">
                  <c:v>0.044642857142857144</c:v>
                </c:pt>
                <c:pt idx="31">
                  <c:v>0.010101010101010102</c:v>
                </c:pt>
                <c:pt idx="32">
                  <c:v>0.02197802197802198</c:v>
                </c:pt>
                <c:pt idx="33">
                  <c:v>0.022900763358778626</c:v>
                </c:pt>
                <c:pt idx="34">
                  <c:v>0.03763440860215054</c:v>
                </c:pt>
                <c:pt idx="35">
                  <c:v>0.03763440860215054</c:v>
                </c:pt>
                <c:pt idx="36">
                  <c:v>0.0546875</c:v>
                </c:pt>
                <c:pt idx="37">
                  <c:v>0.02727272727272727</c:v>
                </c:pt>
                <c:pt idx="38">
                  <c:v>0.037037037037037035</c:v>
                </c:pt>
                <c:pt idx="39">
                  <c:v>0.06493506493506493</c:v>
                </c:pt>
                <c:pt idx="40">
                  <c:v>0.059602649006622516</c:v>
                </c:pt>
                <c:pt idx="41">
                  <c:v>0.05732484076433121</c:v>
                </c:pt>
                <c:pt idx="42">
                  <c:v>0.0364963503649635</c:v>
                </c:pt>
                <c:pt idx="43">
                  <c:v>0.03680981595092025</c:v>
                </c:pt>
                <c:pt idx="44">
                  <c:v>0.03896103896103896</c:v>
                </c:pt>
                <c:pt idx="45">
                  <c:v>0.04591836734693878</c:v>
                </c:pt>
                <c:pt idx="46">
                  <c:v>0.05291005291005291</c:v>
                </c:pt>
                <c:pt idx="47">
                  <c:v>0.05583756345177665</c:v>
                </c:pt>
                <c:pt idx="48">
                  <c:v>0.03278688524590164</c:v>
                </c:pt>
                <c:pt idx="49">
                  <c:v>0.028112449799196786</c:v>
                </c:pt>
                <c:pt idx="50">
                  <c:v>0.03773584905660377</c:v>
                </c:pt>
                <c:pt idx="51">
                  <c:v>0.034653465346534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7.283719429037488</c:v>
                </c:pt>
              </c:numCache>
            </c:numRef>
          </c:xVal>
          <c:yVal>
            <c:numRef>
              <c:f>Sheet1!$B$163:$B$164</c:f>
              <c:numCache>
                <c:formatCode>General</c:formatCode>
                <c:ptCount val="2"/>
                <c:pt idx="0">
                  <c:v>0.26246395087274893</c:v>
                </c:pt>
                <c:pt idx="1">
                  <c:v>0.2624639508727489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7.283719429037488</c:v>
                </c:pt>
                <c:pt idx="1">
                  <c:v>-7.283719429037488</c:v>
                </c:pt>
              </c:numCache>
            </c:numRef>
          </c:xVal>
          <c:yVal>
            <c:numRef>
              <c:f>Sheet1!$B$167:$B$168</c:f>
              <c:numCache>
                <c:formatCode>General</c:formatCode>
                <c:ptCount val="2"/>
                <c:pt idx="0">
                  <c:v>0.262463950872748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445065252559054</c:v>
                </c:pt>
              </c:numCache>
            </c:numRef>
          </c:xVal>
          <c:yVal>
            <c:numRef>
              <c:f>Sheet1!$B$171:$B$172</c:f>
              <c:numCache>
                <c:formatCode>General</c:formatCode>
                <c:ptCount val="2"/>
                <c:pt idx="0">
                  <c:v>0.04916858948381624</c:v>
                </c:pt>
                <c:pt idx="1">
                  <c:v>0.0491685894838162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445065252559054</c:v>
                </c:pt>
                <c:pt idx="1">
                  <c:v>0.5445065252559054</c:v>
                </c:pt>
              </c:numCache>
            </c:numRef>
          </c:xVal>
          <c:yVal>
            <c:numRef>
              <c:f>Sheet1!$B$175:$B$176</c:f>
              <c:numCache>
                <c:formatCode>General</c:formatCode>
                <c:ptCount val="2"/>
                <c:pt idx="0">
                  <c:v>0.049168589483816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57306359312714</c:v>
                </c:pt>
              </c:numCache>
            </c:numRef>
          </c:xVal>
          <c:yVal>
            <c:numRef>
              <c:f>Sheet1!$B$179:$B$180</c:f>
              <c:numCache>
                <c:formatCode>General</c:formatCode>
                <c:ptCount val="2"/>
                <c:pt idx="0">
                  <c:v>0.044775722549226654</c:v>
                </c:pt>
                <c:pt idx="1">
                  <c:v>0.0447757225492266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57306359312714</c:v>
                </c:pt>
                <c:pt idx="1">
                  <c:v>0.7057306359312714</c:v>
                </c:pt>
              </c:numCache>
            </c:numRef>
          </c:xVal>
          <c:yVal>
            <c:numRef>
              <c:f>Sheet1!$B$183:$B$184</c:f>
              <c:numCache>
                <c:formatCode>General</c:formatCode>
                <c:ptCount val="2"/>
                <c:pt idx="0">
                  <c:v>0.044775722549226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08770262510354</c:v>
                </c:pt>
                <c:pt idx="1">
                  <c:v>0.7606394034528687</c:v>
                </c:pt>
                <c:pt idx="2">
                  <c:v>0.8089570561440369</c:v>
                </c:pt>
                <c:pt idx="3">
                  <c:v>0.7212553394515762</c:v>
                </c:pt>
                <c:pt idx="4">
                  <c:v>0.9223713093492726</c:v>
                </c:pt>
                <c:pt idx="5">
                  <c:v>0.6204742412168782</c:v>
                </c:pt>
                <c:pt idx="6">
                  <c:v>0.7245733143682346</c:v>
                </c:pt>
                <c:pt idx="7">
                  <c:v>0.6186212839078503</c:v>
                </c:pt>
                <c:pt idx="8">
                  <c:v>0.7680388388793365</c:v>
                </c:pt>
                <c:pt idx="9">
                  <c:v>0.6301852886528106</c:v>
                </c:pt>
                <c:pt idx="10">
                  <c:v>0.8277322390121233</c:v>
                </c:pt>
                <c:pt idx="11">
                  <c:v>0.6995584710604126</c:v>
                </c:pt>
                <c:pt idx="12">
                  <c:v>0.773401040813457</c:v>
                </c:pt>
                <c:pt idx="13">
                  <c:v>0.6973331935440585</c:v>
                </c:pt>
                <c:pt idx="14">
                  <c:v>0.6569405655574532</c:v>
                </c:pt>
                <c:pt idx="15">
                  <c:v>0.7047108997778117</c:v>
                </c:pt>
                <c:pt idx="16">
                  <c:v>0.736466106727062</c:v>
                </c:pt>
                <c:pt idx="17">
                  <c:v>0.6754922048997772</c:v>
                </c:pt>
                <c:pt idx="18">
                  <c:v>0.531864530225783</c:v>
                </c:pt>
                <c:pt idx="19">
                  <c:v>0.7655062223864838</c:v>
                </c:pt>
                <c:pt idx="20">
                  <c:v>0.5923702856606725</c:v>
                </c:pt>
                <c:pt idx="21">
                  <c:v>0.7322068356374808</c:v>
                </c:pt>
                <c:pt idx="22">
                  <c:v>0.6737037825490249</c:v>
                </c:pt>
                <c:pt idx="23">
                  <c:v>0.6171203833081265</c:v>
                </c:pt>
                <c:pt idx="24">
                  <c:v>0.41587704963379407</c:v>
                </c:pt>
                <c:pt idx="25">
                  <c:v>0.6010471900111207</c:v>
                </c:pt>
                <c:pt idx="26">
                  <c:v>0.8005413601576261</c:v>
                </c:pt>
                <c:pt idx="27">
                  <c:v>0.7428719550268419</c:v>
                </c:pt>
                <c:pt idx="28">
                  <c:v>0.9276248470948012</c:v>
                </c:pt>
                <c:pt idx="29">
                  <c:v>0.8111138191567145</c:v>
                </c:pt>
                <c:pt idx="30">
                  <c:v>0.7589269086640942</c:v>
                </c:pt>
                <c:pt idx="31">
                  <c:v>0.851207253333438</c:v>
                </c:pt>
                <c:pt idx="32">
                  <c:v>0.6055151283033321</c:v>
                </c:pt>
                <c:pt idx="33">
                  <c:v>0.7787151394877238</c:v>
                </c:pt>
                <c:pt idx="34">
                  <c:v>0.8075240955332084</c:v>
                </c:pt>
                <c:pt idx="35">
                  <c:v>0.7715936596974333</c:v>
                </c:pt>
                <c:pt idx="36">
                  <c:v>0.6898201507861608</c:v>
                </c:pt>
                <c:pt idx="37">
                  <c:v>0.6310284757689558</c:v>
                </c:pt>
                <c:pt idx="38">
                  <c:v>0.8765536245824288</c:v>
                </c:pt>
                <c:pt idx="39">
                  <c:v>0.7424769262131552</c:v>
                </c:pt>
                <c:pt idx="40">
                  <c:v>0.9833962465607664</c:v>
                </c:pt>
                <c:pt idx="41">
                  <c:v>0.9929701094252802</c:v>
                </c:pt>
                <c:pt idx="42">
                  <c:v>1.102494863300122</c:v>
                </c:pt>
                <c:pt idx="43">
                  <c:v>0.7334489109252217</c:v>
                </c:pt>
                <c:pt idx="44">
                  <c:v>0.8687597829549779</c:v>
                </c:pt>
                <c:pt idx="45">
                  <c:v>1.000161486649409</c:v>
                </c:pt>
                <c:pt idx="46">
                  <c:v>0.8684801041515088</c:v>
                </c:pt>
                <c:pt idx="47">
                  <c:v>0.8418453234326864</c:v>
                </c:pt>
                <c:pt idx="48">
                  <c:v>0.9127994281131898</c:v>
                </c:pt>
                <c:pt idx="49">
                  <c:v>1.013319851667533</c:v>
                </c:pt>
                <c:pt idx="50">
                  <c:v>0.9478412943140115</c:v>
                </c:pt>
                <c:pt idx="51">
                  <c:v>1.0417218350463775</c:v>
                </c:pt>
                <c:pt idx="52">
                  <c:v>0.5445065252559054</c:v>
                </c:pt>
                <c:pt idx="53">
                  <c:v>-7.283719429037488</c:v>
                </c:pt>
                <c:pt idx="54">
                  <c:v>0.7057306359312714</c:v>
                </c:pt>
              </c:numCache>
            </c:numRef>
          </c:xVal>
          <c:yVal>
            <c:numRef>
              <c:f>Sheet1!$B$187:$B$241</c:f>
              <c:numCache>
                <c:formatCode>General</c:formatCode>
                <c:ptCount val="55"/>
                <c:pt idx="0">
                  <c:v>0.04354562064684371</c:v>
                </c:pt>
                <c:pt idx="1">
                  <c:v>0.04327962554329945</c:v>
                </c:pt>
                <c:pt idx="2">
                  <c:v>0.0419631163811469</c:v>
                </c:pt>
                <c:pt idx="3">
                  <c:v>0.044352721569547046</c:v>
                </c:pt>
                <c:pt idx="4">
                  <c:v>0.03887292273250812</c:v>
                </c:pt>
                <c:pt idx="5">
                  <c:v>0.047098700146896856</c:v>
                </c:pt>
                <c:pt idx="6">
                  <c:v>0.044262316838889024</c:v>
                </c:pt>
                <c:pt idx="7">
                  <c:v>0.04714918760103716</c:v>
                </c:pt>
                <c:pt idx="8">
                  <c:v>0.0430780134203769</c:v>
                </c:pt>
                <c:pt idx="9">
                  <c:v>0.04683410362344364</c:v>
                </c:pt>
                <c:pt idx="10">
                  <c:v>0.04145154971989136</c:v>
                </c:pt>
                <c:pt idx="11">
                  <c:v>0.044943895280107</c:v>
                </c:pt>
                <c:pt idx="12">
                  <c:v>0.04293190971743621</c:v>
                </c:pt>
                <c:pt idx="13">
                  <c:v>0.04500452732813585</c:v>
                </c:pt>
                <c:pt idx="14">
                  <c:v>0.04610510365719882</c:v>
                </c:pt>
                <c:pt idx="15">
                  <c:v>0.04480350725966341</c:v>
                </c:pt>
                <c:pt idx="16">
                  <c:v>0.04393827439825042</c:v>
                </c:pt>
                <c:pt idx="17">
                  <c:v>0.04559962787750343</c:v>
                </c:pt>
                <c:pt idx="18">
                  <c:v>0.0495130454198573</c:v>
                </c:pt>
                <c:pt idx="19">
                  <c:v>0.04314701952128106</c:v>
                </c:pt>
                <c:pt idx="20">
                  <c:v>0.047864447506748134</c:v>
                </c:pt>
                <c:pt idx="21">
                  <c:v>0.044054326588313666</c:v>
                </c:pt>
                <c:pt idx="22">
                  <c:v>0.045648356950201</c:v>
                </c:pt>
                <c:pt idx="23">
                  <c:v>0.04719008258001403</c:v>
                </c:pt>
                <c:pt idx="24">
                  <c:v>0.05267335169281199</c:v>
                </c:pt>
                <c:pt idx="25">
                  <c:v>0.047628028238835836</c:v>
                </c:pt>
                <c:pt idx="26">
                  <c:v>0.04219241851514782</c:v>
                </c:pt>
                <c:pt idx="27">
                  <c:v>0.04376373450427165</c:v>
                </c:pt>
                <c:pt idx="28">
                  <c:v>0.03872977979839438</c:v>
                </c:pt>
                <c:pt idx="29">
                  <c:v>0.041904351145076124</c:v>
                </c:pt>
                <c:pt idx="30">
                  <c:v>0.043326285820734084</c:v>
                </c:pt>
                <c:pt idx="31">
                  <c:v>0.04081192693785746</c:v>
                </c:pt>
                <c:pt idx="32">
                  <c:v>0.04750629050179747</c:v>
                </c:pt>
                <c:pt idx="33">
                  <c:v>0.04278711668210455</c:v>
                </c:pt>
                <c:pt idx="34">
                  <c:v>0.04200216020194708</c:v>
                </c:pt>
                <c:pt idx="35">
                  <c:v>0.04298115535885748</c:v>
                </c:pt>
                <c:pt idx="36">
                  <c:v>0.04520923490550176</c:v>
                </c:pt>
                <c:pt idx="37">
                  <c:v>0.046811129337608406</c:v>
                </c:pt>
                <c:pt idx="38">
                  <c:v>0.04012131536800535</c:v>
                </c:pt>
                <c:pt idx="39">
                  <c:v>0.04377449783865499</c:v>
                </c:pt>
                <c:pt idx="40">
                  <c:v>0.03721017869417033</c:v>
                </c:pt>
                <c:pt idx="41">
                  <c:v>0.03694932003328119</c:v>
                </c:pt>
                <c:pt idx="42">
                  <c:v>0.03396510341828225</c:v>
                </c:pt>
                <c:pt idx="43">
                  <c:v>0.044020483812323576</c:v>
                </c:pt>
                <c:pt idx="44">
                  <c:v>0.040333673861007655</c:v>
                </c:pt>
                <c:pt idx="45">
                  <c:v>0.03675337686392704</c:v>
                </c:pt>
                <c:pt idx="46">
                  <c:v>0.04034129425824798</c:v>
                </c:pt>
                <c:pt idx="47">
                  <c:v>0.041067011069707726</c:v>
                </c:pt>
                <c:pt idx="48">
                  <c:v>0.03913372740004617</c:v>
                </c:pt>
                <c:pt idx="49">
                  <c:v>0.03639485141534965</c:v>
                </c:pt>
                <c:pt idx="50">
                  <c:v>0.03817894306465692</c:v>
                </c:pt>
                <c:pt idx="51">
                  <c:v>0.03562098370326214</c:v>
                </c:pt>
                <c:pt idx="52">
                  <c:v>0.04916858948381624</c:v>
                </c:pt>
                <c:pt idx="53">
                  <c:v>0.26246395087274893</c:v>
                </c:pt>
                <c:pt idx="54">
                  <c:v>0.0447757225492266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923076923076925"/>
          <c:min val="0.0080808080808080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01.5068</c:v>
                </c:pt>
                <c:pt idx="1">
                  <c:v>723.9333</c:v>
                </c:pt>
                <c:pt idx="2">
                  <c:v>717.7377</c:v>
                </c:pt>
                <c:pt idx="3">
                  <c:v>724.4412</c:v>
                </c:pt>
                <c:pt idx="4">
                  <c:v>743.8043</c:v>
                </c:pt>
                <c:pt idx="5">
                  <c:v>742.7</c:v>
                </c:pt>
                <c:pt idx="6">
                  <c:v>751.1944</c:v>
                </c:pt>
                <c:pt idx="7">
                  <c:v>742.1471</c:v>
                </c:pt>
                <c:pt idx="8">
                  <c:v>749.8824</c:v>
                </c:pt>
                <c:pt idx="9">
                  <c:v>718.8182</c:v>
                </c:pt>
                <c:pt idx="10">
                  <c:v>714.3409</c:v>
                </c:pt>
                <c:pt idx="11">
                  <c:v>734.0926</c:v>
                </c:pt>
                <c:pt idx="12">
                  <c:v>745.8667</c:v>
                </c:pt>
                <c:pt idx="13">
                  <c:v>740.0</c:v>
                </c:pt>
                <c:pt idx="14">
                  <c:v>730.2128</c:v>
                </c:pt>
                <c:pt idx="15">
                  <c:v>742.45</c:v>
                </c:pt>
                <c:pt idx="16">
                  <c:v>742.5</c:v>
                </c:pt>
                <c:pt idx="17">
                  <c:v>753.9091</c:v>
                </c:pt>
                <c:pt idx="18">
                  <c:v>771.0</c:v>
                </c:pt>
                <c:pt idx="19">
                  <c:v>813.9375</c:v>
                </c:pt>
                <c:pt idx="20">
                  <c:v>791.1579</c:v>
                </c:pt>
                <c:pt idx="21">
                  <c:v>832.4211</c:v>
                </c:pt>
                <c:pt idx="22">
                  <c:v>810.3333</c:v>
                </c:pt>
                <c:pt idx="23">
                  <c:v>826.7059</c:v>
                </c:pt>
                <c:pt idx="24">
                  <c:v>806.4286</c:v>
                </c:pt>
                <c:pt idx="25">
                  <c:v>822.7333</c:v>
                </c:pt>
                <c:pt idx="26">
                  <c:v>818.25</c:v>
                </c:pt>
                <c:pt idx="27">
                  <c:v>814.4375</c:v>
                </c:pt>
                <c:pt idx="28">
                  <c:v>838.9231</c:v>
                </c:pt>
                <c:pt idx="29">
                  <c:v>815.0769</c:v>
                </c:pt>
                <c:pt idx="30">
                  <c:v>815.5714</c:v>
                </c:pt>
                <c:pt idx="31">
                  <c:v>821.3333</c:v>
                </c:pt>
                <c:pt idx="32">
                  <c:v>789.2667</c:v>
                </c:pt>
                <c:pt idx="33">
                  <c:v>766.6923</c:v>
                </c:pt>
                <c:pt idx="34">
                  <c:v>774.1053</c:v>
                </c:pt>
                <c:pt idx="35">
                  <c:v>829.48</c:v>
                </c:pt>
                <c:pt idx="36">
                  <c:v>861.3529</c:v>
                </c:pt>
                <c:pt idx="37">
                  <c:v>892.8667</c:v>
                </c:pt>
                <c:pt idx="38">
                  <c:v>887.5</c:v>
                </c:pt>
                <c:pt idx="39">
                  <c:v>901.7273</c:v>
                </c:pt>
                <c:pt idx="40">
                  <c:v>886.5333</c:v>
                </c:pt>
                <c:pt idx="41">
                  <c:v>869.5</c:v>
                </c:pt>
                <c:pt idx="42">
                  <c:v>884.3</c:v>
                </c:pt>
                <c:pt idx="43">
                  <c:v>794.3333</c:v>
                </c:pt>
                <c:pt idx="44">
                  <c:v>814.3529</c:v>
                </c:pt>
                <c:pt idx="45">
                  <c:v>887.7778</c:v>
                </c:pt>
                <c:pt idx="46">
                  <c:v>880.9259</c:v>
                </c:pt>
                <c:pt idx="47">
                  <c:v>856.6207</c:v>
                </c:pt>
                <c:pt idx="48">
                  <c:v>862.9318</c:v>
                </c:pt>
                <c:pt idx="49">
                  <c:v>854.5373</c:v>
                </c:pt>
                <c:pt idx="50">
                  <c:v>851.4074</c:v>
                </c:pt>
                <c:pt idx="51">
                  <c:v>880.5882</c:v>
                </c:pt>
                <c:pt idx="52">
                  <c:v>855.8</c:v>
                </c:pt>
                <c:pt idx="53">
                  <c:v>898.6471</c:v>
                </c:pt>
                <c:pt idx="54">
                  <c:v>879.8</c:v>
                </c:pt>
                <c:pt idx="55">
                  <c:v>909.8333</c:v>
                </c:pt>
                <c:pt idx="56">
                  <c:v>893.3333</c:v>
                </c:pt>
                <c:pt idx="57">
                  <c:v>856.5556</c:v>
                </c:pt>
                <c:pt idx="58">
                  <c:v>915.8824</c:v>
                </c:pt>
                <c:pt idx="59">
                  <c:v>911.4</c:v>
                </c:pt>
                <c:pt idx="60">
                  <c:v>915.7143</c:v>
                </c:pt>
                <c:pt idx="61">
                  <c:v>917.6154</c:v>
                </c:pt>
                <c:pt idx="62">
                  <c:v>881.2857</c:v>
                </c:pt>
                <c:pt idx="63">
                  <c:v>771.6667</c:v>
                </c:pt>
                <c:pt idx="64">
                  <c:v>732.2105</c:v>
                </c:pt>
                <c:pt idx="65">
                  <c:v>724.6111</c:v>
                </c:pt>
                <c:pt idx="66">
                  <c:v>788.5294</c:v>
                </c:pt>
                <c:pt idx="67">
                  <c:v>641.1364</c:v>
                </c:pt>
                <c:pt idx="68">
                  <c:v>589.0</c:v>
                </c:pt>
                <c:pt idx="69">
                  <c:v>406.0714</c:v>
                </c:pt>
                <c:pt idx="70">
                  <c:v>672.5455</c:v>
                </c:pt>
                <c:pt idx="71">
                  <c:v>728.0833</c:v>
                </c:pt>
                <c:pt idx="72">
                  <c:v>231.7429</c:v>
                </c:pt>
                <c:pt idx="73">
                  <c:v>388.2727</c:v>
                </c:pt>
                <c:pt idx="74">
                  <c:v>950.6</c:v>
                </c:pt>
                <c:pt idx="75">
                  <c:v>870.5</c:v>
                </c:pt>
                <c:pt idx="76">
                  <c:v>958.8</c:v>
                </c:pt>
                <c:pt idx="77">
                  <c:v>921.6667</c:v>
                </c:pt>
                <c:pt idx="78">
                  <c:v>792.5714</c:v>
                </c:pt>
                <c:pt idx="79">
                  <c:v>998.6</c:v>
                </c:pt>
                <c:pt idx="80">
                  <c:v>814.5</c:v>
                </c:pt>
                <c:pt idx="81">
                  <c:v>968.2</c:v>
                </c:pt>
                <c:pt idx="82">
                  <c:v>933.8</c:v>
                </c:pt>
                <c:pt idx="83">
                  <c:v>1072.0</c:v>
                </c:pt>
                <c:pt idx="84">
                  <c:v>994.75</c:v>
                </c:pt>
                <c:pt idx="85">
                  <c:v>953.0</c:v>
                </c:pt>
                <c:pt idx="86">
                  <c:v>746.375</c:v>
                </c:pt>
                <c:pt idx="87">
                  <c:v>970.8571</c:v>
                </c:pt>
                <c:pt idx="88">
                  <c:v>671.5556</c:v>
                </c:pt>
                <c:pt idx="89">
                  <c:v>516.0</c:v>
                </c:pt>
                <c:pt idx="90">
                  <c:v>451.875</c:v>
                </c:pt>
                <c:pt idx="91">
                  <c:v>812.5</c:v>
                </c:pt>
                <c:pt idx="92">
                  <c:v>518.6667</c:v>
                </c:pt>
                <c:pt idx="93">
                  <c:v>909.625</c:v>
                </c:pt>
                <c:pt idx="94">
                  <c:v>855.6</c:v>
                </c:pt>
                <c:pt idx="95">
                  <c:v>851.75</c:v>
                </c:pt>
                <c:pt idx="96">
                  <c:v>869.8333</c:v>
                </c:pt>
                <c:pt idx="97">
                  <c:v>791.8</c:v>
                </c:pt>
                <c:pt idx="98">
                  <c:v>972.8</c:v>
                </c:pt>
                <c:pt idx="99">
                  <c:v>905.0833</c:v>
                </c:pt>
                <c:pt idx="100">
                  <c:v>760.3333</c:v>
                </c:pt>
                <c:pt idx="101">
                  <c:v>863.0909</c:v>
                </c:pt>
                <c:pt idx="102">
                  <c:v>890.8</c:v>
                </c:pt>
                <c:pt idx="103">
                  <c:v>820.4444</c:v>
                </c:pt>
                <c:pt idx="104">
                  <c:v>904.3333</c:v>
                </c:pt>
              </c:numCache>
            </c:numRef>
          </c:xVal>
          <c:yVal>
            <c:numRef>
              <c:f>Sheet1!$B$2:$B$106</c:f>
              <c:numCache>
                <c:formatCode>General</c:formatCode>
                <c:ptCount val="105"/>
                <c:pt idx="0">
                  <c:v>0.30416666666666664</c:v>
                </c:pt>
                <c:pt idx="1">
                  <c:v>0.2764976958525346</c:v>
                </c:pt>
                <c:pt idx="2">
                  <c:v>0.26991150442477874</c:v>
                </c:pt>
                <c:pt idx="3">
                  <c:v>0.3076923076923077</c:v>
                </c:pt>
                <c:pt idx="4">
                  <c:v>0.2857142857142857</c:v>
                </c:pt>
                <c:pt idx="5">
                  <c:v>0.26548672566371684</c:v>
                </c:pt>
                <c:pt idx="6">
                  <c:v>0.225</c:v>
                </c:pt>
                <c:pt idx="7">
                  <c:v>0.23776223776223776</c:v>
                </c:pt>
                <c:pt idx="8">
                  <c:v>0.18994413407821228</c:v>
                </c:pt>
                <c:pt idx="9">
                  <c:v>0.20754716981132076</c:v>
                </c:pt>
                <c:pt idx="10">
                  <c:v>0.2</c:v>
                </c:pt>
                <c:pt idx="11">
                  <c:v>0.23580786026200873</c:v>
                </c:pt>
                <c:pt idx="12">
                  <c:v>0.25316455696202533</c:v>
                </c:pt>
                <c:pt idx="13">
                  <c:v>0.2361111111111111</c:v>
                </c:pt>
                <c:pt idx="14">
                  <c:v>0.22488038277511962</c:v>
                </c:pt>
                <c:pt idx="15">
                  <c:v>0.2222222222222222</c:v>
                </c:pt>
                <c:pt idx="16">
                  <c:v>0.18181818181818182</c:v>
                </c:pt>
                <c:pt idx="17">
                  <c:v>0.1476510067114094</c:v>
                </c:pt>
                <c:pt idx="18">
                  <c:v>0.17094017094017094</c:v>
                </c:pt>
                <c:pt idx="19">
                  <c:v>0.14953271028037382</c:v>
                </c:pt>
                <c:pt idx="20">
                  <c:v>0.15702479338842976</c:v>
                </c:pt>
                <c:pt idx="21">
                  <c:v>0.1557377049180328</c:v>
                </c:pt>
                <c:pt idx="22">
                  <c:v>0.15126050420168066</c:v>
                </c:pt>
                <c:pt idx="23">
                  <c:v>0.136</c:v>
                </c:pt>
                <c:pt idx="24">
                  <c:v>0.13725490196078433</c:v>
                </c:pt>
                <c:pt idx="25">
                  <c:v>0.14563106796116504</c:v>
                </c:pt>
                <c:pt idx="26">
                  <c:v>0.11510791366906475</c:v>
                </c:pt>
                <c:pt idx="27">
                  <c:v>0.14545454545454545</c:v>
                </c:pt>
                <c:pt idx="28">
                  <c:v>0.10655737704918032</c:v>
                </c:pt>
                <c:pt idx="29">
                  <c:v>0.09027777777777778</c:v>
                </c:pt>
                <c:pt idx="30">
                  <c:v>0.112</c:v>
                </c:pt>
                <c:pt idx="31">
                  <c:v>0.1</c:v>
                </c:pt>
                <c:pt idx="32">
                  <c:v>0.11627906976744186</c:v>
                </c:pt>
                <c:pt idx="33">
                  <c:v>0.08333333333333333</c:v>
                </c:pt>
                <c:pt idx="34">
                  <c:v>0.0979381443298969</c:v>
                </c:pt>
                <c:pt idx="35">
                  <c:v>0.1016260162601626</c:v>
                </c:pt>
                <c:pt idx="36">
                  <c:v>0.08056872037914692</c:v>
                </c:pt>
                <c:pt idx="37">
                  <c:v>0.08379888268156424</c:v>
                </c:pt>
                <c:pt idx="38">
                  <c:v>0.09411764705882353</c:v>
                </c:pt>
                <c:pt idx="39">
                  <c:v>0.07142857142857142</c:v>
                </c:pt>
                <c:pt idx="40">
                  <c:v>0.08875739644970414</c:v>
                </c:pt>
                <c:pt idx="41">
                  <c:v>0.08888888888888889</c:v>
                </c:pt>
                <c:pt idx="42">
                  <c:v>0.1092896174863388</c:v>
                </c:pt>
                <c:pt idx="43">
                  <c:v>0.08823529411764706</c:v>
                </c:pt>
                <c:pt idx="44">
                  <c:v>0.14782608695652175</c:v>
                </c:pt>
                <c:pt idx="45">
                  <c:v>0.15517241379310345</c:v>
                </c:pt>
                <c:pt idx="46">
                  <c:v>0.11440677966101695</c:v>
                </c:pt>
                <c:pt idx="47">
                  <c:v>0.13488372093023257</c:v>
                </c:pt>
                <c:pt idx="48">
                  <c:v>0.14915254237288136</c:v>
                </c:pt>
                <c:pt idx="49">
                  <c:v>0.15331807780320367</c:v>
                </c:pt>
                <c:pt idx="50">
                  <c:v>0.11587982832618025</c:v>
                </c:pt>
                <c:pt idx="51">
                  <c:v>0.08854166666666667</c:v>
                </c:pt>
                <c:pt idx="52">
                  <c:v>0.07772020725388601</c:v>
                </c:pt>
                <c:pt idx="53">
                  <c:v>0.09239130434782608</c:v>
                </c:pt>
                <c:pt idx="54">
                  <c:v>0.1282051282051282</c:v>
                </c:pt>
                <c:pt idx="55">
                  <c:v>0.11612903225806452</c:v>
                </c:pt>
                <c:pt idx="56">
                  <c:v>0.0967741935483871</c:v>
                </c:pt>
                <c:pt idx="57">
                  <c:v>0.11538461538461539</c:v>
                </c:pt>
                <c:pt idx="58">
                  <c:v>0.11888111888111888</c:v>
                </c:pt>
                <c:pt idx="59">
                  <c:v>0.09146341463414634</c:v>
                </c:pt>
                <c:pt idx="60">
                  <c:v>0.09210526315789473</c:v>
                </c:pt>
                <c:pt idx="61">
                  <c:v>0.08552631578947369</c:v>
                </c:pt>
                <c:pt idx="62">
                  <c:v>0.12883435582822086</c:v>
                </c:pt>
                <c:pt idx="63">
                  <c:v>0.1076923076923077</c:v>
                </c:pt>
                <c:pt idx="64">
                  <c:v>0.09844559585492228</c:v>
                </c:pt>
                <c:pt idx="65">
                  <c:v>0.09944751381215469</c:v>
                </c:pt>
                <c:pt idx="66">
                  <c:v>0.09770114942528736</c:v>
                </c:pt>
                <c:pt idx="67">
                  <c:v>0.13414634146341464</c:v>
                </c:pt>
                <c:pt idx="68">
                  <c:v>0.11428571428571428</c:v>
                </c:pt>
                <c:pt idx="69">
                  <c:v>0.1414141414141414</c:v>
                </c:pt>
                <c:pt idx="70">
                  <c:v>0.09016393442622951</c:v>
                </c:pt>
                <c:pt idx="71">
                  <c:v>0.10526315789473684</c:v>
                </c:pt>
                <c:pt idx="72">
                  <c:v>0.2348993288590604</c:v>
                </c:pt>
                <c:pt idx="73">
                  <c:v>0.09565217391304348</c:v>
                </c:pt>
                <c:pt idx="74">
                  <c:v>0.049019607843137254</c:v>
                </c:pt>
                <c:pt idx="75">
                  <c:v>0.055944055944055944</c:v>
                </c:pt>
                <c:pt idx="76">
                  <c:v>0.04310344827586207</c:v>
                </c:pt>
                <c:pt idx="77">
                  <c:v>0.027522935779816515</c:v>
                </c:pt>
                <c:pt idx="78">
                  <c:v>0.07</c:v>
                </c:pt>
                <c:pt idx="79">
                  <c:v>0.04950495049504951</c:v>
                </c:pt>
                <c:pt idx="80">
                  <c:v>0.019801980198019802</c:v>
                </c:pt>
                <c:pt idx="81">
                  <c:v>0.045454545454545456</c:v>
                </c:pt>
                <c:pt idx="82">
                  <c:v>0.044642857142857144</c:v>
                </c:pt>
                <c:pt idx="83">
                  <c:v>0.022222222222222223</c:v>
                </c:pt>
                <c:pt idx="84">
                  <c:v>0.041666666666666664</c:v>
                </c:pt>
                <c:pt idx="85">
                  <c:v>0.04040404040404041</c:v>
                </c:pt>
                <c:pt idx="86">
                  <c:v>0.047619047619047616</c:v>
                </c:pt>
                <c:pt idx="87">
                  <c:v>0.03255813953488372</c:v>
                </c:pt>
                <c:pt idx="88">
                  <c:v>0.046875</c:v>
                </c:pt>
                <c:pt idx="89">
                  <c:v>0.07317073170731707</c:v>
                </c:pt>
                <c:pt idx="90">
                  <c:v>0.07079646017699115</c:v>
                </c:pt>
                <c:pt idx="91">
                  <c:v>0.03278688524590164</c:v>
                </c:pt>
                <c:pt idx="92">
                  <c:v>0.03896103896103896</c:v>
                </c:pt>
                <c:pt idx="93">
                  <c:v>0.053691275167785234</c:v>
                </c:pt>
                <c:pt idx="94">
                  <c:v>0.03184713375796178</c:v>
                </c:pt>
                <c:pt idx="95">
                  <c:v>0.0446927374301676</c:v>
                </c:pt>
                <c:pt idx="96">
                  <c:v>0.031746031746031744</c:v>
                </c:pt>
                <c:pt idx="97">
                  <c:v>0.026455026455026454</c:v>
                </c:pt>
                <c:pt idx="98">
                  <c:v>0.044642857142857144</c:v>
                </c:pt>
                <c:pt idx="99">
                  <c:v>0.04597701149425287</c:v>
                </c:pt>
                <c:pt idx="100">
                  <c:v>0.06685236768802229</c:v>
                </c:pt>
                <c:pt idx="101">
                  <c:v>0.05263157894736842</c:v>
                </c:pt>
                <c:pt idx="102">
                  <c:v>0.03424657534246575</c:v>
                </c:pt>
                <c:pt idx="103">
                  <c:v>0.05325443786982249</c:v>
                </c:pt>
                <c:pt idx="104">
                  <c:v>0.03797468354430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54.4286</c:v>
                </c:pt>
                <c:pt idx="1">
                  <c:v>946.0</c:v>
                </c:pt>
                <c:pt idx="2">
                  <c:v>1004.0</c:v>
                </c:pt>
                <c:pt idx="3">
                  <c:v>894.8571</c:v>
                </c:pt>
                <c:pt idx="4">
                  <c:v>1022.3333</c:v>
                </c:pt>
                <c:pt idx="5">
                  <c:v>834.5556</c:v>
                </c:pt>
                <c:pt idx="6">
                  <c:v>934.0</c:v>
                </c:pt>
                <c:pt idx="7">
                  <c:v>793.75</c:v>
                </c:pt>
                <c:pt idx="8">
                  <c:v>949.2</c:v>
                </c:pt>
                <c:pt idx="9">
                  <c:v>773.4</c:v>
                </c:pt>
                <c:pt idx="10">
                  <c:v>1039.5</c:v>
                </c:pt>
                <c:pt idx="11">
                  <c:v>875.4444</c:v>
                </c:pt>
                <c:pt idx="12">
                  <c:v>953.2</c:v>
                </c:pt>
                <c:pt idx="13">
                  <c:v>912.5556</c:v>
                </c:pt>
                <c:pt idx="14">
                  <c:v>960.5714</c:v>
                </c:pt>
                <c:pt idx="15">
                  <c:v>1008.5</c:v>
                </c:pt>
                <c:pt idx="16">
                  <c:v>997.8</c:v>
                </c:pt>
                <c:pt idx="17">
                  <c:v>947.8</c:v>
                </c:pt>
                <c:pt idx="18">
                  <c:v>730.25</c:v>
                </c:pt>
                <c:pt idx="19">
                  <c:v>1041.8333</c:v>
                </c:pt>
                <c:pt idx="20">
                  <c:v>793.0</c:v>
                </c:pt>
                <c:pt idx="21">
                  <c:v>953.3333</c:v>
                </c:pt>
                <c:pt idx="22">
                  <c:v>1007.0</c:v>
                </c:pt>
                <c:pt idx="23">
                  <c:v>874.75</c:v>
                </c:pt>
                <c:pt idx="24">
                  <c:v>580.3333</c:v>
                </c:pt>
                <c:pt idx="25">
                  <c:v>870.0</c:v>
                </c:pt>
                <c:pt idx="26">
                  <c:v>1126.6667</c:v>
                </c:pt>
                <c:pt idx="27">
                  <c:v>953.3333</c:v>
                </c:pt>
                <c:pt idx="28">
                  <c:v>1213.3333</c:v>
                </c:pt>
                <c:pt idx="29">
                  <c:v>1040.0</c:v>
                </c:pt>
                <c:pt idx="30">
                  <c:v>921.0</c:v>
                </c:pt>
                <c:pt idx="31">
                  <c:v>1040.0</c:v>
                </c:pt>
                <c:pt idx="32">
                  <c:v>790.5</c:v>
                </c:pt>
                <c:pt idx="33">
                  <c:v>1040.0</c:v>
                </c:pt>
                <c:pt idx="34">
                  <c:v>1064.4286</c:v>
                </c:pt>
                <c:pt idx="35">
                  <c:v>907.8571</c:v>
                </c:pt>
                <c:pt idx="36">
                  <c:v>959.2857</c:v>
                </c:pt>
                <c:pt idx="37">
                  <c:v>844.6667</c:v>
                </c:pt>
                <c:pt idx="38">
                  <c:v>876.6667</c:v>
                </c:pt>
                <c:pt idx="39">
                  <c:v>922.2</c:v>
                </c:pt>
                <c:pt idx="40">
                  <c:v>1127.3333</c:v>
                </c:pt>
                <c:pt idx="41">
                  <c:v>1039.5556</c:v>
                </c:pt>
                <c:pt idx="42">
                  <c:v>988.0</c:v>
                </c:pt>
                <c:pt idx="43">
                  <c:v>890.1667</c:v>
                </c:pt>
                <c:pt idx="44">
                  <c:v>981.1667</c:v>
                </c:pt>
                <c:pt idx="45">
                  <c:v>1086.3333</c:v>
                </c:pt>
                <c:pt idx="46">
                  <c:v>998.5</c:v>
                </c:pt>
                <c:pt idx="47">
                  <c:v>976.2727</c:v>
                </c:pt>
                <c:pt idx="48">
                  <c:v>1012.8333</c:v>
                </c:pt>
                <c:pt idx="49">
                  <c:v>1108.0</c:v>
                </c:pt>
                <c:pt idx="50">
                  <c:v>1016.2143</c:v>
                </c:pt>
                <c:pt idx="51">
                  <c:v>1038.8571</c:v>
                </c:pt>
              </c:numCache>
            </c:numRef>
          </c:xVal>
          <c:yVal>
            <c:numRef>
              <c:f>Sheet1!$B$109:$B$160</c:f>
              <c:numCache>
                <c:formatCode>General</c:formatCode>
                <c:ptCount val="52"/>
                <c:pt idx="0">
                  <c:v>0.04216867469879518</c:v>
                </c:pt>
                <c:pt idx="1">
                  <c:v>0.04285714285714286</c:v>
                </c:pt>
                <c:pt idx="2">
                  <c:v>0.029197080291970802</c:v>
                </c:pt>
                <c:pt idx="3">
                  <c:v>0.04697986577181208</c:v>
                </c:pt>
                <c:pt idx="4">
                  <c:v>0.0410958904109589</c:v>
                </c:pt>
                <c:pt idx="5">
                  <c:v>0.06818181818181818</c:v>
                </c:pt>
                <c:pt idx="6">
                  <c:v>0.037383177570093455</c:v>
                </c:pt>
                <c:pt idx="7">
                  <c:v>0.05970149253731343</c:v>
                </c:pt>
                <c:pt idx="8">
                  <c:v>0.04807692307692308</c:v>
                </c:pt>
                <c:pt idx="9">
                  <c:v>0.050505050505050504</c:v>
                </c:pt>
                <c:pt idx="10">
                  <c:v>0.02702702702702703</c:v>
                </c:pt>
                <c:pt idx="11">
                  <c:v>0.0481283422459893</c:v>
                </c:pt>
                <c:pt idx="12">
                  <c:v>0.05319148936170213</c:v>
                </c:pt>
                <c:pt idx="13">
                  <c:v>0.054878048780487805</c:v>
                </c:pt>
                <c:pt idx="14">
                  <c:v>0.04794520547945205</c:v>
                </c:pt>
                <c:pt idx="15">
                  <c:v>0.0273972602739726</c:v>
                </c:pt>
                <c:pt idx="16">
                  <c:v>0.04132231404958678</c:v>
                </c:pt>
                <c:pt idx="17">
                  <c:v>0.04854368932038835</c:v>
                </c:pt>
                <c:pt idx="18">
                  <c:v>0.07766990291262135</c:v>
                </c:pt>
                <c:pt idx="19">
                  <c:v>0.048</c:v>
                </c:pt>
                <c:pt idx="20">
                  <c:v>0.07291666666666667</c:v>
                </c:pt>
                <c:pt idx="21">
                  <c:v>0.041666666666666664</c:v>
                </c:pt>
                <c:pt idx="22">
                  <c:v>0.03278688524590164</c:v>
                </c:pt>
                <c:pt idx="23">
                  <c:v>0.05555555555555555</c:v>
                </c:pt>
                <c:pt idx="24">
                  <c:v>0.0410958904109589</c:v>
                </c:pt>
                <c:pt idx="25">
                  <c:v>0.041666666666666664</c:v>
                </c:pt>
                <c:pt idx="26">
                  <c:v>0.039473684210526314</c:v>
                </c:pt>
                <c:pt idx="27">
                  <c:v>0.03225806451612903</c:v>
                </c:pt>
                <c:pt idx="28">
                  <c:v>0.03260869565217391</c:v>
                </c:pt>
                <c:pt idx="29">
                  <c:v>0.02857142857142857</c:v>
                </c:pt>
                <c:pt idx="30">
                  <c:v>0.044642857142857144</c:v>
                </c:pt>
                <c:pt idx="31">
                  <c:v>0.010101010101010102</c:v>
                </c:pt>
                <c:pt idx="32">
                  <c:v>0.02197802197802198</c:v>
                </c:pt>
                <c:pt idx="33">
                  <c:v>0.022900763358778626</c:v>
                </c:pt>
                <c:pt idx="34">
                  <c:v>0.03763440860215054</c:v>
                </c:pt>
                <c:pt idx="35">
                  <c:v>0.03763440860215054</c:v>
                </c:pt>
                <c:pt idx="36">
                  <c:v>0.0546875</c:v>
                </c:pt>
                <c:pt idx="37">
                  <c:v>0.02727272727272727</c:v>
                </c:pt>
                <c:pt idx="38">
                  <c:v>0.037037037037037035</c:v>
                </c:pt>
                <c:pt idx="39">
                  <c:v>0.06493506493506493</c:v>
                </c:pt>
                <c:pt idx="40">
                  <c:v>0.059602649006622516</c:v>
                </c:pt>
                <c:pt idx="41">
                  <c:v>0.05732484076433121</c:v>
                </c:pt>
                <c:pt idx="42">
                  <c:v>0.0364963503649635</c:v>
                </c:pt>
                <c:pt idx="43">
                  <c:v>0.03680981595092025</c:v>
                </c:pt>
                <c:pt idx="44">
                  <c:v>0.03896103896103896</c:v>
                </c:pt>
                <c:pt idx="45">
                  <c:v>0.04591836734693878</c:v>
                </c:pt>
                <c:pt idx="46">
                  <c:v>0.05291005291005291</c:v>
                </c:pt>
                <c:pt idx="47">
                  <c:v>0.05583756345177665</c:v>
                </c:pt>
                <c:pt idx="48">
                  <c:v>0.03278688524590164</c:v>
                </c:pt>
                <c:pt idx="49">
                  <c:v>0.028112449799196786</c:v>
                </c:pt>
                <c:pt idx="50">
                  <c:v>0.03773584905660377</c:v>
                </c:pt>
                <c:pt idx="51">
                  <c:v>0.034653465346534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090.033546034304</c:v>
                </c:pt>
              </c:numCache>
            </c:numRef>
          </c:xVal>
          <c:yVal>
            <c:numRef>
              <c:f>Sheet1!$B$163:$B$164</c:f>
              <c:numCache>
                <c:formatCode>General</c:formatCode>
                <c:ptCount val="2"/>
                <c:pt idx="0">
                  <c:v>0.26246395087274893</c:v>
                </c:pt>
                <c:pt idx="1">
                  <c:v>0.2624639508727489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090.033546034304</c:v>
                </c:pt>
                <c:pt idx="1">
                  <c:v>-4090.033546034304</c:v>
                </c:pt>
              </c:numCache>
            </c:numRef>
          </c:xVal>
          <c:yVal>
            <c:numRef>
              <c:f>Sheet1!$B$167:$B$168</c:f>
              <c:numCache>
                <c:formatCode>General</c:formatCode>
                <c:ptCount val="2"/>
                <c:pt idx="0">
                  <c:v>0.262463950872748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1.8608579091268</c:v>
                </c:pt>
              </c:numCache>
            </c:numRef>
          </c:xVal>
          <c:yVal>
            <c:numRef>
              <c:f>Sheet1!$B$171:$B$172</c:f>
              <c:numCache>
                <c:formatCode>General</c:formatCode>
                <c:ptCount val="2"/>
                <c:pt idx="0">
                  <c:v>0.04916858948381624</c:v>
                </c:pt>
                <c:pt idx="1">
                  <c:v>0.0491685894838162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1.8608579091268</c:v>
                </c:pt>
                <c:pt idx="1">
                  <c:v>811.8608579091268</c:v>
                </c:pt>
              </c:numCache>
            </c:numRef>
          </c:xVal>
          <c:yVal>
            <c:numRef>
              <c:f>Sheet1!$B$175:$B$176</c:f>
              <c:numCache>
                <c:formatCode>General</c:formatCode>
                <c:ptCount val="2"/>
                <c:pt idx="0">
                  <c:v>0.049168589483816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12.8164984993031</c:v>
                </c:pt>
              </c:numCache>
            </c:numRef>
          </c:xVal>
          <c:yVal>
            <c:numRef>
              <c:f>Sheet1!$B$179:$B$180</c:f>
              <c:numCache>
                <c:formatCode>General</c:formatCode>
                <c:ptCount val="2"/>
                <c:pt idx="0">
                  <c:v>0.044775722549226654</c:v>
                </c:pt>
                <c:pt idx="1">
                  <c:v>0.0447757225492266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12.8164984993031</c:v>
                </c:pt>
                <c:pt idx="1">
                  <c:v>912.8164984993031</c:v>
                </c:pt>
              </c:numCache>
            </c:numRef>
          </c:xVal>
          <c:yVal>
            <c:numRef>
              <c:f>Sheet1!$B$183:$B$184</c:f>
              <c:numCache>
                <c:formatCode>General</c:formatCode>
                <c:ptCount val="2"/>
                <c:pt idx="0">
                  <c:v>0.044775722549226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54.4286</c:v>
                </c:pt>
                <c:pt idx="1">
                  <c:v>946.0</c:v>
                </c:pt>
                <c:pt idx="2">
                  <c:v>1004.0</c:v>
                </c:pt>
                <c:pt idx="3">
                  <c:v>894.8571</c:v>
                </c:pt>
                <c:pt idx="4">
                  <c:v>1022.3333</c:v>
                </c:pt>
                <c:pt idx="5">
                  <c:v>834.5556</c:v>
                </c:pt>
                <c:pt idx="6">
                  <c:v>934.0</c:v>
                </c:pt>
                <c:pt idx="7">
                  <c:v>793.75</c:v>
                </c:pt>
                <c:pt idx="8">
                  <c:v>949.2</c:v>
                </c:pt>
                <c:pt idx="9">
                  <c:v>773.4</c:v>
                </c:pt>
                <c:pt idx="10">
                  <c:v>1039.5</c:v>
                </c:pt>
                <c:pt idx="11">
                  <c:v>875.4444</c:v>
                </c:pt>
                <c:pt idx="12">
                  <c:v>953.2</c:v>
                </c:pt>
                <c:pt idx="13">
                  <c:v>912.5556</c:v>
                </c:pt>
                <c:pt idx="14">
                  <c:v>960.5714</c:v>
                </c:pt>
                <c:pt idx="15">
                  <c:v>1008.5</c:v>
                </c:pt>
                <c:pt idx="16">
                  <c:v>997.8</c:v>
                </c:pt>
                <c:pt idx="17">
                  <c:v>947.8</c:v>
                </c:pt>
                <c:pt idx="18">
                  <c:v>730.25</c:v>
                </c:pt>
                <c:pt idx="19">
                  <c:v>1041.8333</c:v>
                </c:pt>
                <c:pt idx="20">
                  <c:v>793.0</c:v>
                </c:pt>
                <c:pt idx="21">
                  <c:v>953.3333</c:v>
                </c:pt>
                <c:pt idx="22">
                  <c:v>1007.0</c:v>
                </c:pt>
                <c:pt idx="23">
                  <c:v>874.75</c:v>
                </c:pt>
                <c:pt idx="24">
                  <c:v>580.3333</c:v>
                </c:pt>
                <c:pt idx="25">
                  <c:v>870.0</c:v>
                </c:pt>
                <c:pt idx="26">
                  <c:v>1126.6667</c:v>
                </c:pt>
                <c:pt idx="27">
                  <c:v>953.3333</c:v>
                </c:pt>
                <c:pt idx="28">
                  <c:v>1213.3333</c:v>
                </c:pt>
                <c:pt idx="29">
                  <c:v>1040.0</c:v>
                </c:pt>
                <c:pt idx="30">
                  <c:v>921.0</c:v>
                </c:pt>
                <c:pt idx="31">
                  <c:v>1040.0</c:v>
                </c:pt>
                <c:pt idx="32">
                  <c:v>790.5</c:v>
                </c:pt>
                <c:pt idx="33">
                  <c:v>1040.0</c:v>
                </c:pt>
                <c:pt idx="34">
                  <c:v>1064.4286</c:v>
                </c:pt>
                <c:pt idx="35">
                  <c:v>907.8571</c:v>
                </c:pt>
                <c:pt idx="36">
                  <c:v>959.2857</c:v>
                </c:pt>
                <c:pt idx="37">
                  <c:v>844.6667</c:v>
                </c:pt>
                <c:pt idx="38">
                  <c:v>876.6667</c:v>
                </c:pt>
                <c:pt idx="39">
                  <c:v>922.2</c:v>
                </c:pt>
                <c:pt idx="40">
                  <c:v>1127.3333</c:v>
                </c:pt>
                <c:pt idx="41">
                  <c:v>1039.5556</c:v>
                </c:pt>
                <c:pt idx="42">
                  <c:v>988.0</c:v>
                </c:pt>
                <c:pt idx="43">
                  <c:v>890.1667</c:v>
                </c:pt>
                <c:pt idx="44">
                  <c:v>981.1667</c:v>
                </c:pt>
                <c:pt idx="45">
                  <c:v>1086.3333</c:v>
                </c:pt>
                <c:pt idx="46">
                  <c:v>998.5</c:v>
                </c:pt>
                <c:pt idx="47">
                  <c:v>976.2727</c:v>
                </c:pt>
                <c:pt idx="48">
                  <c:v>1012.8333</c:v>
                </c:pt>
                <c:pt idx="49">
                  <c:v>1108.0</c:v>
                </c:pt>
                <c:pt idx="50">
                  <c:v>1016.2143</c:v>
                </c:pt>
                <c:pt idx="51">
                  <c:v>1038.8571</c:v>
                </c:pt>
                <c:pt idx="52">
                  <c:v>811.8608579091268</c:v>
                </c:pt>
                <c:pt idx="53">
                  <c:v>-4090.033546034304</c:v>
                </c:pt>
                <c:pt idx="54">
                  <c:v>912.8164984993031</c:v>
                </c:pt>
              </c:numCache>
            </c:numRef>
          </c:xVal>
          <c:yVal>
            <c:numRef>
              <c:f>Sheet1!$B$187:$B$241</c:f>
              <c:numCache>
                <c:formatCode>General</c:formatCode>
                <c:ptCount val="55"/>
                <c:pt idx="0">
                  <c:v>0.04296506171153014</c:v>
                </c:pt>
                <c:pt idx="1">
                  <c:v>0.04333181405967466</c:v>
                </c:pt>
                <c:pt idx="2">
                  <c:v>0.040808069168188243</c:v>
                </c:pt>
                <c:pt idx="3">
                  <c:v>0.04555718703572295</c:v>
                </c:pt>
                <c:pt idx="4">
                  <c:v>0.04001033516441086</c:v>
                </c:pt>
                <c:pt idx="5">
                  <c:v>0.04818107673527412</c:v>
                </c:pt>
                <c:pt idx="6">
                  <c:v>0.043853968175154606</c:v>
                </c:pt>
                <c:pt idx="7">
                  <c:v>0.04995664439982651</c:v>
                </c:pt>
                <c:pt idx="8">
                  <c:v>0.043192572962213335</c:v>
                </c:pt>
                <c:pt idx="9">
                  <c:v>0.05084213075399459</c:v>
                </c:pt>
                <c:pt idx="10">
                  <c:v>0.039263363243226726</c:v>
                </c:pt>
                <c:pt idx="11">
                  <c:v>0.04640188880218775</c:v>
                </c:pt>
                <c:pt idx="12">
                  <c:v>0.04301852159038669</c:v>
                </c:pt>
                <c:pt idx="13">
                  <c:v>0.04478707498465446</c:v>
                </c:pt>
                <c:pt idx="14">
                  <c:v>0.04269777101981595</c:v>
                </c:pt>
                <c:pt idx="15">
                  <c:v>0.04061226137488326</c:v>
                </c:pt>
                <c:pt idx="16">
                  <c:v>0.04107784879451955</c:v>
                </c:pt>
                <c:pt idx="17">
                  <c:v>0.04325349094235267</c:v>
                </c:pt>
                <c:pt idx="18">
                  <c:v>0.05271970992757457</c:v>
                </c:pt>
                <c:pt idx="19">
                  <c:v>0.03916183472675595</c:v>
                </c:pt>
                <c:pt idx="20">
                  <c:v>0.049989279032044004</c:v>
                </c:pt>
                <c:pt idx="21">
                  <c:v>0.043012721328420565</c:v>
                </c:pt>
                <c:pt idx="22">
                  <c:v>0.040677530639318255</c:v>
                </c:pt>
                <c:pt idx="23">
                  <c:v>0.04643210412033685</c:v>
                </c:pt>
                <c:pt idx="24">
                  <c:v>0.05924301175125564</c:v>
                </c:pt>
                <c:pt idx="25">
                  <c:v>0.046638790124381</c:v>
                </c:pt>
                <c:pt idx="26">
                  <c:v>0.03547049231507622</c:v>
                </c:pt>
                <c:pt idx="27">
                  <c:v>0.043012721328420565</c:v>
                </c:pt>
                <c:pt idx="28">
                  <c:v>0.031699382159688344</c:v>
                </c:pt>
                <c:pt idx="29">
                  <c:v>0.0392416068217484</c:v>
                </c:pt>
                <c:pt idx="30">
                  <c:v>0.04441963513359122</c:v>
                </c:pt>
                <c:pt idx="31">
                  <c:v>0.0392416068217484</c:v>
                </c:pt>
                <c:pt idx="32">
                  <c:v>0.05009806113943566</c:v>
                </c:pt>
                <c:pt idx="33">
                  <c:v>0.0392416068217484</c:v>
                </c:pt>
                <c:pt idx="34">
                  <c:v>0.038178648986297276</c:v>
                </c:pt>
                <c:pt idx="35">
                  <c:v>0.04499152007728634</c:v>
                </c:pt>
                <c:pt idx="36">
                  <c:v>0.04275371548200533</c:v>
                </c:pt>
                <c:pt idx="37">
                  <c:v>0.04774111402885502</c:v>
                </c:pt>
                <c:pt idx="38">
                  <c:v>0.04634870305424182</c:v>
                </c:pt>
                <c:pt idx="39">
                  <c:v>0.04436741972204322</c:v>
                </c:pt>
                <c:pt idx="40">
                  <c:v>0.03544148665396131</c:v>
                </c:pt>
                <c:pt idx="41">
                  <c:v>0.03926094392915834</c:v>
                </c:pt>
                <c:pt idx="42">
                  <c:v>0.04150427465549484</c:v>
                </c:pt>
                <c:pt idx="43">
                  <c:v>0.045761279674326874</c:v>
                </c:pt>
                <c:pt idx="44">
                  <c:v>0.0418016109652706</c:v>
                </c:pt>
                <c:pt idx="45">
                  <c:v>0.03722551321518447</c:v>
                </c:pt>
                <c:pt idx="46">
                  <c:v>0.041047389804449885</c:v>
                </c:pt>
                <c:pt idx="47">
                  <c:v>0.04201456281870051</c:v>
                </c:pt>
                <c:pt idx="48">
                  <c:v>0.04042370717249916</c:v>
                </c:pt>
                <c:pt idx="49">
                  <c:v>0.03628273350069535</c:v>
                </c:pt>
                <c:pt idx="50">
                  <c:v>0.04027659025046268</c:v>
                </c:pt>
                <c:pt idx="51">
                  <c:v>0.039291337649963565</c:v>
                </c:pt>
                <c:pt idx="52">
                  <c:v>0.04916858948381624</c:v>
                </c:pt>
                <c:pt idx="53">
                  <c:v>0.26246395087274893</c:v>
                </c:pt>
                <c:pt idx="54">
                  <c:v>0.0447757225492266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923076923076925"/>
          <c:min val="0.0080808080808080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314666077123514</c:v>
                </c:pt>
                <c:pt idx="1">
                  <c:v>0.48258198483459713</c:v>
                </c:pt>
                <c:pt idx="2">
                  <c:v>0.4626088946181115</c:v>
                </c:pt>
                <c:pt idx="3">
                  <c:v>0.549964851015373</c:v>
                </c:pt>
                <c:pt idx="4">
                  <c:v>0.4666275407779172</c:v>
                </c:pt>
                <c:pt idx="5">
                  <c:v>0.43502709034997805</c:v>
                </c:pt>
                <c:pt idx="6">
                  <c:v>0.46956171038252936</c:v>
                </c:pt>
                <c:pt idx="7">
                  <c:v>0.45304668447157576</c:v>
                </c:pt>
                <c:pt idx="8">
                  <c:v>0.5399917605937615</c:v>
                </c:pt>
                <c:pt idx="9">
                  <c:v>0.445173485994824</c:v>
                </c:pt>
                <c:pt idx="10">
                  <c:v>0.48439549879064026</c:v>
                </c:pt>
                <c:pt idx="11">
                  <c:v>0.5140704481792717</c:v>
                </c:pt>
                <c:pt idx="12">
                  <c:v>0.519291579191707</c:v>
                </c:pt>
                <c:pt idx="13">
                  <c:v>0.5490093201009227</c:v>
                </c:pt>
                <c:pt idx="14">
                  <c:v>0.4969820541714555</c:v>
                </c:pt>
                <c:pt idx="15">
                  <c:v>0.545643286941344</c:v>
                </c:pt>
                <c:pt idx="16">
                  <c:v>0.5221801375897192</c:v>
                </c:pt>
                <c:pt idx="17">
                  <c:v>0.4779721166643642</c:v>
                </c:pt>
                <c:pt idx="18">
                  <c:v>0.5240360947362104</c:v>
                </c:pt>
                <c:pt idx="19">
                  <c:v>0.6050980226271999</c:v>
                </c:pt>
                <c:pt idx="20">
                  <c:v>0.5010046272569759</c:v>
                </c:pt>
                <c:pt idx="21">
                  <c:v>0.5741099262979891</c:v>
                </c:pt>
                <c:pt idx="22">
                  <c:v>0.5800821172964746</c:v>
                </c:pt>
                <c:pt idx="23">
                  <c:v>0.5721713932817302</c:v>
                </c:pt>
                <c:pt idx="24">
                  <c:v>0.6016520522777101</c:v>
                </c:pt>
                <c:pt idx="25">
                  <c:v>0.673170609973273</c:v>
                </c:pt>
                <c:pt idx="26">
                  <c:v>0.7934545454545454</c:v>
                </c:pt>
                <c:pt idx="27">
                  <c:v>0.7629203140006949</c:v>
                </c:pt>
                <c:pt idx="28">
                  <c:v>0.72373752301032</c:v>
                </c:pt>
                <c:pt idx="29">
                  <c:v>0.6909233026273038</c:v>
                </c:pt>
                <c:pt idx="30">
                  <c:v>0.6465861180481232</c:v>
                </c:pt>
                <c:pt idx="31">
                  <c:v>0.6239886521176008</c:v>
                </c:pt>
                <c:pt idx="32">
                  <c:v>0.5895375635975633</c:v>
                </c:pt>
                <c:pt idx="33">
                  <c:v>0.6287948791782331</c:v>
                </c:pt>
                <c:pt idx="34">
                  <c:v>0.6090890156926096</c:v>
                </c:pt>
                <c:pt idx="35">
                  <c:v>0.6847314091765466</c:v>
                </c:pt>
                <c:pt idx="36">
                  <c:v>0.6450514680216634</c:v>
                </c:pt>
                <c:pt idx="37">
                  <c:v>0.6713451547320697</c:v>
                </c:pt>
                <c:pt idx="38">
                  <c:v>0.706383317414836</c:v>
                </c:pt>
                <c:pt idx="39">
                  <c:v>0.6811420390072502</c:v>
                </c:pt>
                <c:pt idx="40">
                  <c:v>0.6951698060004113</c:v>
                </c:pt>
                <c:pt idx="41">
                  <c:v>0.6874682406671739</c:v>
                </c:pt>
                <c:pt idx="42">
                  <c:v>0.6796178584790148</c:v>
                </c:pt>
                <c:pt idx="43">
                  <c:v>0.6042657869895308</c:v>
                </c:pt>
                <c:pt idx="44">
                  <c:v>0.6521670954502227</c:v>
                </c:pt>
                <c:pt idx="45">
                  <c:v>0.7082878774751004</c:v>
                </c:pt>
                <c:pt idx="46">
                  <c:v>0.7190714105319111</c:v>
                </c:pt>
                <c:pt idx="47">
                  <c:v>0.7416629437229437</c:v>
                </c:pt>
                <c:pt idx="48">
                  <c:v>0.6778569293057961</c:v>
                </c:pt>
                <c:pt idx="49">
                  <c:v>0.6655495735294644</c:v>
                </c:pt>
                <c:pt idx="50">
                  <c:v>0.6569026099808517</c:v>
                </c:pt>
                <c:pt idx="51">
                  <c:v>0.6952307212408779</c:v>
                </c:pt>
                <c:pt idx="52">
                  <c:v>0.717007796936153</c:v>
                </c:pt>
                <c:pt idx="53">
                  <c:v>0.6817350332068581</c:v>
                </c:pt>
                <c:pt idx="54">
                  <c:v>0.6567305136419379</c:v>
                </c:pt>
                <c:pt idx="55">
                  <c:v>0.688244929977159</c:v>
                </c:pt>
                <c:pt idx="56">
                  <c:v>0.6836600322815096</c:v>
                </c:pt>
                <c:pt idx="57">
                  <c:v>0.6906207136321696</c:v>
                </c:pt>
                <c:pt idx="58">
                  <c:v>0.7145561927052857</c:v>
                </c:pt>
                <c:pt idx="59">
                  <c:v>0.7663116806701704</c:v>
                </c:pt>
                <c:pt idx="60">
                  <c:v>0.7851145733234288</c:v>
                </c:pt>
                <c:pt idx="61">
                  <c:v>0.7605923933914118</c:v>
                </c:pt>
                <c:pt idx="62">
                  <c:v>0.687337107704345</c:v>
                </c:pt>
                <c:pt idx="63">
                  <c:v>0.6503239287227026</c:v>
                </c:pt>
                <c:pt idx="64">
                  <c:v>0.5902939713726847</c:v>
                </c:pt>
                <c:pt idx="65">
                  <c:v>0.5757666653529492</c:v>
                </c:pt>
                <c:pt idx="66">
                  <c:v>0.6182872271090923</c:v>
                </c:pt>
                <c:pt idx="67">
                  <c:v>0.492965169001871</c:v>
                </c:pt>
                <c:pt idx="68">
                  <c:v>0.49250431840161696</c:v>
                </c:pt>
                <c:pt idx="69">
                  <c:v>0.3445124656799506</c:v>
                </c:pt>
                <c:pt idx="70">
                  <c:v>0.6332571498840394</c:v>
                </c:pt>
                <c:pt idx="71">
                  <c:v>0.655340504050405</c:v>
                </c:pt>
                <c:pt idx="72">
                  <c:v>0.19469924619047807</c:v>
                </c:pt>
                <c:pt idx="73">
                  <c:v>0.33377955022815603</c:v>
                </c:pt>
                <c:pt idx="74">
                  <c:v>0.9930977304906599</c:v>
                </c:pt>
                <c:pt idx="75">
                  <c:v>1.0839331594889663</c:v>
                </c:pt>
                <c:pt idx="76">
                  <c:v>1.031455742501829</c:v>
                </c:pt>
                <c:pt idx="77">
                  <c:v>0.8202408072664373</c:v>
                </c:pt>
                <c:pt idx="78">
                  <c:v>0.7604062170200518</c:v>
                </c:pt>
                <c:pt idx="79">
                  <c:v>1.037800528004142</c:v>
                </c:pt>
                <c:pt idx="80">
                  <c:v>0.7446516730663741</c:v>
                </c:pt>
                <c:pt idx="81">
                  <c:v>0.8186383023122517</c:v>
                </c:pt>
                <c:pt idx="82">
                  <c:v>0.7562154340994853</c:v>
                </c:pt>
                <c:pt idx="83">
                  <c:v>0.8557877154707021</c:v>
                </c:pt>
                <c:pt idx="84">
                  <c:v>0.7825395234576202</c:v>
                </c:pt>
                <c:pt idx="85">
                  <c:v>0.8131399317406144</c:v>
                </c:pt>
                <c:pt idx="86">
                  <c:v>0.6225556012738128</c:v>
                </c:pt>
                <c:pt idx="87">
                  <c:v>0.7718022709272077</c:v>
                </c:pt>
                <c:pt idx="88">
                  <c:v>0.5117072584941706</c:v>
                </c:pt>
                <c:pt idx="89">
                  <c:v>0.409043345911152</c:v>
                </c:pt>
                <c:pt idx="90">
                  <c:v>0.36062195765749555</c:v>
                </c:pt>
                <c:pt idx="91">
                  <c:v>0.7903696498054474</c:v>
                </c:pt>
                <c:pt idx="92">
                  <c:v>0.42336150537328976</c:v>
                </c:pt>
                <c:pt idx="93">
                  <c:v>0.7266430540792586</c:v>
                </c:pt>
                <c:pt idx="94">
                  <c:v>0.7483654433947172</c:v>
                </c:pt>
                <c:pt idx="95">
                  <c:v>0.6585843718295841</c:v>
                </c:pt>
                <c:pt idx="96">
                  <c:v>0.779560225846926</c:v>
                </c:pt>
                <c:pt idx="97">
                  <c:v>0.729590247263645</c:v>
                </c:pt>
                <c:pt idx="98">
                  <c:v>0.8326607053136044</c:v>
                </c:pt>
                <c:pt idx="99">
                  <c:v>0.7495780181341432</c:v>
                </c:pt>
                <c:pt idx="100">
                  <c:v>0.6956388838060384</c:v>
                </c:pt>
                <c:pt idx="101">
                  <c:v>0.6705734267385951</c:v>
                </c:pt>
                <c:pt idx="102">
                  <c:v>0.714327183661634</c:v>
                </c:pt>
                <c:pt idx="103">
                  <c:v>0.6535275234184617</c:v>
                </c:pt>
                <c:pt idx="104">
                  <c:v>0.7279033565387751</c:v>
                </c:pt>
              </c:numCache>
            </c:numRef>
          </c:xVal>
          <c:yVal>
            <c:numRef>
              <c:f>Sheet1!$B$2:$B$106</c:f>
              <c:numCache>
                <c:formatCode>General</c:formatCode>
                <c:ptCount val="105"/>
                <c:pt idx="0">
                  <c:v>0.30416666666666664</c:v>
                </c:pt>
                <c:pt idx="1">
                  <c:v>0.2764976958525346</c:v>
                </c:pt>
                <c:pt idx="2">
                  <c:v>0.26991150442477874</c:v>
                </c:pt>
                <c:pt idx="3">
                  <c:v>0.3076923076923077</c:v>
                </c:pt>
                <c:pt idx="4">
                  <c:v>0.2857142857142857</c:v>
                </c:pt>
                <c:pt idx="5">
                  <c:v>0.26548672566371684</c:v>
                </c:pt>
                <c:pt idx="6">
                  <c:v>0.225</c:v>
                </c:pt>
                <c:pt idx="7">
                  <c:v>0.23776223776223776</c:v>
                </c:pt>
                <c:pt idx="8">
                  <c:v>0.18994413407821228</c:v>
                </c:pt>
                <c:pt idx="9">
                  <c:v>0.20754716981132076</c:v>
                </c:pt>
                <c:pt idx="10">
                  <c:v>0.2</c:v>
                </c:pt>
                <c:pt idx="11">
                  <c:v>0.23580786026200873</c:v>
                </c:pt>
                <c:pt idx="12">
                  <c:v>0.25316455696202533</c:v>
                </c:pt>
                <c:pt idx="13">
                  <c:v>0.2361111111111111</c:v>
                </c:pt>
                <c:pt idx="14">
                  <c:v>0.22488038277511962</c:v>
                </c:pt>
                <c:pt idx="15">
                  <c:v>0.2222222222222222</c:v>
                </c:pt>
                <c:pt idx="16">
                  <c:v>0.18181818181818182</c:v>
                </c:pt>
                <c:pt idx="17">
                  <c:v>0.1476510067114094</c:v>
                </c:pt>
                <c:pt idx="18">
                  <c:v>0.17094017094017094</c:v>
                </c:pt>
                <c:pt idx="19">
                  <c:v>0.14953271028037382</c:v>
                </c:pt>
                <c:pt idx="20">
                  <c:v>0.15702479338842976</c:v>
                </c:pt>
                <c:pt idx="21">
                  <c:v>0.1557377049180328</c:v>
                </c:pt>
                <c:pt idx="22">
                  <c:v>0.15126050420168066</c:v>
                </c:pt>
                <c:pt idx="23">
                  <c:v>0.136</c:v>
                </c:pt>
                <c:pt idx="24">
                  <c:v>0.13725490196078433</c:v>
                </c:pt>
                <c:pt idx="25">
                  <c:v>0.14563106796116504</c:v>
                </c:pt>
                <c:pt idx="26">
                  <c:v>0.11510791366906475</c:v>
                </c:pt>
                <c:pt idx="27">
                  <c:v>0.14545454545454545</c:v>
                </c:pt>
                <c:pt idx="28">
                  <c:v>0.10655737704918032</c:v>
                </c:pt>
                <c:pt idx="29">
                  <c:v>0.09027777777777778</c:v>
                </c:pt>
                <c:pt idx="30">
                  <c:v>0.112</c:v>
                </c:pt>
                <c:pt idx="31">
                  <c:v>0.1</c:v>
                </c:pt>
                <c:pt idx="32">
                  <c:v>0.11627906976744186</c:v>
                </c:pt>
                <c:pt idx="33">
                  <c:v>0.08333333333333333</c:v>
                </c:pt>
                <c:pt idx="34">
                  <c:v>0.0979381443298969</c:v>
                </c:pt>
                <c:pt idx="35">
                  <c:v>0.1016260162601626</c:v>
                </c:pt>
                <c:pt idx="36">
                  <c:v>0.08056872037914692</c:v>
                </c:pt>
                <c:pt idx="37">
                  <c:v>0.08379888268156424</c:v>
                </c:pt>
                <c:pt idx="38">
                  <c:v>0.09411764705882353</c:v>
                </c:pt>
                <c:pt idx="39">
                  <c:v>0.07142857142857142</c:v>
                </c:pt>
                <c:pt idx="40">
                  <c:v>0.08875739644970414</c:v>
                </c:pt>
                <c:pt idx="41">
                  <c:v>0.08888888888888889</c:v>
                </c:pt>
                <c:pt idx="42">
                  <c:v>0.1092896174863388</c:v>
                </c:pt>
                <c:pt idx="43">
                  <c:v>0.08823529411764706</c:v>
                </c:pt>
                <c:pt idx="44">
                  <c:v>0.14782608695652175</c:v>
                </c:pt>
                <c:pt idx="45">
                  <c:v>0.15517241379310345</c:v>
                </c:pt>
                <c:pt idx="46">
                  <c:v>0.11440677966101695</c:v>
                </c:pt>
                <c:pt idx="47">
                  <c:v>0.13488372093023257</c:v>
                </c:pt>
                <c:pt idx="48">
                  <c:v>0.14915254237288136</c:v>
                </c:pt>
                <c:pt idx="49">
                  <c:v>0.15331807780320367</c:v>
                </c:pt>
                <c:pt idx="50">
                  <c:v>0.11587982832618025</c:v>
                </c:pt>
                <c:pt idx="51">
                  <c:v>0.08854166666666667</c:v>
                </c:pt>
                <c:pt idx="52">
                  <c:v>0.07772020725388601</c:v>
                </c:pt>
                <c:pt idx="53">
                  <c:v>0.09239130434782608</c:v>
                </c:pt>
                <c:pt idx="54">
                  <c:v>0.1282051282051282</c:v>
                </c:pt>
                <c:pt idx="55">
                  <c:v>0.11612903225806452</c:v>
                </c:pt>
                <c:pt idx="56">
                  <c:v>0.0967741935483871</c:v>
                </c:pt>
                <c:pt idx="57">
                  <c:v>0.11538461538461539</c:v>
                </c:pt>
                <c:pt idx="58">
                  <c:v>0.11888111888111888</c:v>
                </c:pt>
                <c:pt idx="59">
                  <c:v>0.09146341463414634</c:v>
                </c:pt>
                <c:pt idx="60">
                  <c:v>0.09210526315789473</c:v>
                </c:pt>
                <c:pt idx="61">
                  <c:v>0.08552631578947369</c:v>
                </c:pt>
                <c:pt idx="62">
                  <c:v>0.12883435582822086</c:v>
                </c:pt>
                <c:pt idx="63">
                  <c:v>0.1076923076923077</c:v>
                </c:pt>
                <c:pt idx="64">
                  <c:v>0.09844559585492228</c:v>
                </c:pt>
                <c:pt idx="65">
                  <c:v>0.09944751381215469</c:v>
                </c:pt>
                <c:pt idx="66">
                  <c:v>0.09770114942528736</c:v>
                </c:pt>
                <c:pt idx="67">
                  <c:v>0.13414634146341464</c:v>
                </c:pt>
                <c:pt idx="68">
                  <c:v>0.11428571428571428</c:v>
                </c:pt>
                <c:pt idx="69">
                  <c:v>0.1414141414141414</c:v>
                </c:pt>
                <c:pt idx="70">
                  <c:v>0.09016393442622951</c:v>
                </c:pt>
                <c:pt idx="71">
                  <c:v>0.10526315789473684</c:v>
                </c:pt>
                <c:pt idx="72">
                  <c:v>0.2348993288590604</c:v>
                </c:pt>
                <c:pt idx="73">
                  <c:v>0.09565217391304348</c:v>
                </c:pt>
                <c:pt idx="74">
                  <c:v>0.049019607843137254</c:v>
                </c:pt>
                <c:pt idx="75">
                  <c:v>0.055944055944055944</c:v>
                </c:pt>
                <c:pt idx="76">
                  <c:v>0.04310344827586207</c:v>
                </c:pt>
                <c:pt idx="77">
                  <c:v>0.027522935779816515</c:v>
                </c:pt>
                <c:pt idx="78">
                  <c:v>0.07</c:v>
                </c:pt>
                <c:pt idx="79">
                  <c:v>0.04950495049504951</c:v>
                </c:pt>
                <c:pt idx="80">
                  <c:v>0.019801980198019802</c:v>
                </c:pt>
                <c:pt idx="81">
                  <c:v>0.045454545454545456</c:v>
                </c:pt>
                <c:pt idx="82">
                  <c:v>0.044642857142857144</c:v>
                </c:pt>
                <c:pt idx="83">
                  <c:v>0.022222222222222223</c:v>
                </c:pt>
                <c:pt idx="84">
                  <c:v>0.041666666666666664</c:v>
                </c:pt>
                <c:pt idx="85">
                  <c:v>0.04040404040404041</c:v>
                </c:pt>
                <c:pt idx="86">
                  <c:v>0.047619047619047616</c:v>
                </c:pt>
                <c:pt idx="87">
                  <c:v>0.03255813953488372</c:v>
                </c:pt>
                <c:pt idx="88">
                  <c:v>0.046875</c:v>
                </c:pt>
                <c:pt idx="89">
                  <c:v>0.07317073170731707</c:v>
                </c:pt>
                <c:pt idx="90">
                  <c:v>0.07079646017699115</c:v>
                </c:pt>
                <c:pt idx="91">
                  <c:v>0.03278688524590164</c:v>
                </c:pt>
                <c:pt idx="92">
                  <c:v>0.03896103896103896</c:v>
                </c:pt>
                <c:pt idx="93">
                  <c:v>0.053691275167785234</c:v>
                </c:pt>
                <c:pt idx="94">
                  <c:v>0.03184713375796178</c:v>
                </c:pt>
                <c:pt idx="95">
                  <c:v>0.0446927374301676</c:v>
                </c:pt>
                <c:pt idx="96">
                  <c:v>0.031746031746031744</c:v>
                </c:pt>
                <c:pt idx="97">
                  <c:v>0.026455026455026454</c:v>
                </c:pt>
                <c:pt idx="98">
                  <c:v>0.044642857142857144</c:v>
                </c:pt>
                <c:pt idx="99">
                  <c:v>0.04597701149425287</c:v>
                </c:pt>
                <c:pt idx="100">
                  <c:v>0.06685236768802229</c:v>
                </c:pt>
                <c:pt idx="101">
                  <c:v>0.05263157894736842</c:v>
                </c:pt>
                <c:pt idx="102">
                  <c:v>0.03424657534246575</c:v>
                </c:pt>
                <c:pt idx="103">
                  <c:v>0.05325443786982249</c:v>
                </c:pt>
                <c:pt idx="104">
                  <c:v>0.03797468354430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576076160175168</c:v>
                </c:pt>
                <c:pt idx="1">
                  <c:v>0.8462525503869145</c:v>
                </c:pt>
                <c:pt idx="2">
                  <c:v>1.039924719393819</c:v>
                </c:pt>
                <c:pt idx="3">
                  <c:v>0.8368654226148542</c:v>
                </c:pt>
                <c:pt idx="4">
                  <c:v>1.0698493762258183</c:v>
                </c:pt>
                <c:pt idx="5">
                  <c:v>0.6696385027479427</c:v>
                </c:pt>
                <c:pt idx="6">
                  <c:v>0.8155869671996944</c:v>
                </c:pt>
                <c:pt idx="7">
                  <c:v>0.6387736704373694</c:v>
                </c:pt>
                <c:pt idx="8">
                  <c:v>0.7829530047553754</c:v>
                </c:pt>
                <c:pt idx="9">
                  <c:v>0.6239193445087554</c:v>
                </c:pt>
                <c:pt idx="10">
                  <c:v>0.8008193857611309</c:v>
                </c:pt>
                <c:pt idx="11">
                  <c:v>0.6772390748520094</c:v>
                </c:pt>
                <c:pt idx="12">
                  <c:v>0.6966563128083318</c:v>
                </c:pt>
                <c:pt idx="13">
                  <c:v>0.7247777807870218</c:v>
                </c:pt>
                <c:pt idx="14">
                  <c:v>0.7587724519325142</c:v>
                </c:pt>
                <c:pt idx="15">
                  <c:v>0.7106366486981643</c:v>
                </c:pt>
                <c:pt idx="16">
                  <c:v>0.7159934333542721</c:v>
                </c:pt>
                <c:pt idx="17">
                  <c:v>0.6862787832692792</c:v>
                </c:pt>
                <c:pt idx="18">
                  <c:v>0.6269896349447833</c:v>
                </c:pt>
                <c:pt idx="19">
                  <c:v>0.782634527442603</c:v>
                </c:pt>
                <c:pt idx="20">
                  <c:v>0.5632435498492205</c:v>
                </c:pt>
                <c:pt idx="21">
                  <c:v>0.7284582410025215</c:v>
                </c:pt>
                <c:pt idx="22">
                  <c:v>0.6399745789640928</c:v>
                </c:pt>
                <c:pt idx="23">
                  <c:v>0.6044848317324304</c:v>
                </c:pt>
                <c:pt idx="24">
                  <c:v>0.4568354620004057</c:v>
                </c:pt>
                <c:pt idx="25">
                  <c:v>0.7902933087318963</c:v>
                </c:pt>
                <c:pt idx="26">
                  <c:v>0.9375216975244435</c:v>
                </c:pt>
                <c:pt idx="27">
                  <c:v>0.8513593500424816</c:v>
                </c:pt>
                <c:pt idx="28">
                  <c:v>1.0118337856147086</c:v>
                </c:pt>
                <c:pt idx="29">
                  <c:v>1.138201523395185</c:v>
                </c:pt>
                <c:pt idx="30">
                  <c:v>0.8700405093128343</c:v>
                </c:pt>
                <c:pt idx="31">
                  <c:v>0.9908431799168281</c:v>
                </c:pt>
                <c:pt idx="32">
                  <c:v>0.7355649222348296</c:v>
                </c:pt>
                <c:pt idx="33">
                  <c:v>0.9423609458078122</c:v>
                </c:pt>
                <c:pt idx="34">
                  <c:v>0.8992005068637803</c:v>
                </c:pt>
                <c:pt idx="35">
                  <c:v>0.8109890049027891</c:v>
                </c:pt>
                <c:pt idx="36">
                  <c:v>0.8142046151397804</c:v>
                </c:pt>
                <c:pt idx="37">
                  <c:v>0.607346180118641</c:v>
                </c:pt>
                <c:pt idx="38">
                  <c:v>0.7042369571437821</c:v>
                </c:pt>
                <c:pt idx="39">
                  <c:v>0.7869720036117765</c:v>
                </c:pt>
                <c:pt idx="40">
                  <c:v>0.9967981028414493</c:v>
                </c:pt>
                <c:pt idx="41">
                  <c:v>0.8873714041826717</c:v>
                </c:pt>
                <c:pt idx="42">
                  <c:v>0.8061604365342445</c:v>
                </c:pt>
                <c:pt idx="43">
                  <c:v>0.621149732411357</c:v>
                </c:pt>
                <c:pt idx="44">
                  <c:v>0.7507513507019977</c:v>
                </c:pt>
                <c:pt idx="45">
                  <c:v>0.7242451827137981</c:v>
                </c:pt>
                <c:pt idx="46">
                  <c:v>0.7259039685391694</c:v>
                </c:pt>
                <c:pt idx="47">
                  <c:v>0.7125557988467995</c:v>
                </c:pt>
                <c:pt idx="48">
                  <c:v>0.832020173525706</c:v>
                </c:pt>
                <c:pt idx="49">
                  <c:v>0.7238950098741762</c:v>
                </c:pt>
                <c:pt idx="50">
                  <c:v>0.75323178362139</c:v>
                </c:pt>
                <c:pt idx="51">
                  <c:v>0.7748167518883441</c:v>
                </c:pt>
              </c:numCache>
            </c:numRef>
          </c:xVal>
          <c:yVal>
            <c:numRef>
              <c:f>Sheet1!$B$109:$B$160</c:f>
              <c:numCache>
                <c:formatCode>General</c:formatCode>
                <c:ptCount val="52"/>
                <c:pt idx="0">
                  <c:v>0.04216867469879518</c:v>
                </c:pt>
                <c:pt idx="1">
                  <c:v>0.04285714285714286</c:v>
                </c:pt>
                <c:pt idx="2">
                  <c:v>0.029197080291970802</c:v>
                </c:pt>
                <c:pt idx="3">
                  <c:v>0.04697986577181208</c:v>
                </c:pt>
                <c:pt idx="4">
                  <c:v>0.0410958904109589</c:v>
                </c:pt>
                <c:pt idx="5">
                  <c:v>0.06818181818181818</c:v>
                </c:pt>
                <c:pt idx="6">
                  <c:v>0.037383177570093455</c:v>
                </c:pt>
                <c:pt idx="7">
                  <c:v>0.05970149253731343</c:v>
                </c:pt>
                <c:pt idx="8">
                  <c:v>0.04807692307692308</c:v>
                </c:pt>
                <c:pt idx="9">
                  <c:v>0.050505050505050504</c:v>
                </c:pt>
                <c:pt idx="10">
                  <c:v>0.02702702702702703</c:v>
                </c:pt>
                <c:pt idx="11">
                  <c:v>0.0481283422459893</c:v>
                </c:pt>
                <c:pt idx="12">
                  <c:v>0.05319148936170213</c:v>
                </c:pt>
                <c:pt idx="13">
                  <c:v>0.054878048780487805</c:v>
                </c:pt>
                <c:pt idx="14">
                  <c:v>0.04794520547945205</c:v>
                </c:pt>
                <c:pt idx="15">
                  <c:v>0.0273972602739726</c:v>
                </c:pt>
                <c:pt idx="16">
                  <c:v>0.04132231404958678</c:v>
                </c:pt>
                <c:pt idx="17">
                  <c:v>0.04854368932038835</c:v>
                </c:pt>
                <c:pt idx="18">
                  <c:v>0.07766990291262135</c:v>
                </c:pt>
                <c:pt idx="19">
                  <c:v>0.048</c:v>
                </c:pt>
                <c:pt idx="20">
                  <c:v>0.07291666666666667</c:v>
                </c:pt>
                <c:pt idx="21">
                  <c:v>0.041666666666666664</c:v>
                </c:pt>
                <c:pt idx="22">
                  <c:v>0.03278688524590164</c:v>
                </c:pt>
                <c:pt idx="23">
                  <c:v>0.05555555555555555</c:v>
                </c:pt>
                <c:pt idx="24">
                  <c:v>0.0410958904109589</c:v>
                </c:pt>
                <c:pt idx="25">
                  <c:v>0.041666666666666664</c:v>
                </c:pt>
                <c:pt idx="26">
                  <c:v>0.039473684210526314</c:v>
                </c:pt>
                <c:pt idx="27">
                  <c:v>0.03225806451612903</c:v>
                </c:pt>
                <c:pt idx="28">
                  <c:v>0.03260869565217391</c:v>
                </c:pt>
                <c:pt idx="29">
                  <c:v>0.02857142857142857</c:v>
                </c:pt>
                <c:pt idx="30">
                  <c:v>0.044642857142857144</c:v>
                </c:pt>
                <c:pt idx="31">
                  <c:v>0.010101010101010102</c:v>
                </c:pt>
                <c:pt idx="32">
                  <c:v>0.02197802197802198</c:v>
                </c:pt>
                <c:pt idx="33">
                  <c:v>0.022900763358778626</c:v>
                </c:pt>
                <c:pt idx="34">
                  <c:v>0.03763440860215054</c:v>
                </c:pt>
                <c:pt idx="35">
                  <c:v>0.03763440860215054</c:v>
                </c:pt>
                <c:pt idx="36">
                  <c:v>0.0546875</c:v>
                </c:pt>
                <c:pt idx="37">
                  <c:v>0.02727272727272727</c:v>
                </c:pt>
                <c:pt idx="38">
                  <c:v>0.037037037037037035</c:v>
                </c:pt>
                <c:pt idx="39">
                  <c:v>0.06493506493506493</c:v>
                </c:pt>
                <c:pt idx="40">
                  <c:v>0.059602649006622516</c:v>
                </c:pt>
                <c:pt idx="41">
                  <c:v>0.05732484076433121</c:v>
                </c:pt>
                <c:pt idx="42">
                  <c:v>0.0364963503649635</c:v>
                </c:pt>
                <c:pt idx="43">
                  <c:v>0.03680981595092025</c:v>
                </c:pt>
                <c:pt idx="44">
                  <c:v>0.03896103896103896</c:v>
                </c:pt>
                <c:pt idx="45">
                  <c:v>0.04591836734693878</c:v>
                </c:pt>
                <c:pt idx="46">
                  <c:v>0.05291005291005291</c:v>
                </c:pt>
                <c:pt idx="47">
                  <c:v>0.05583756345177665</c:v>
                </c:pt>
                <c:pt idx="48">
                  <c:v>0.03278688524590164</c:v>
                </c:pt>
                <c:pt idx="49">
                  <c:v>0.028112449799196786</c:v>
                </c:pt>
                <c:pt idx="50">
                  <c:v>0.03773584905660377</c:v>
                </c:pt>
                <c:pt idx="51">
                  <c:v>0.034653465346534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223516171982654</c:v>
                </c:pt>
              </c:numCache>
            </c:numRef>
          </c:xVal>
          <c:yVal>
            <c:numRef>
              <c:f>Sheet1!$B$163:$B$164</c:f>
              <c:numCache>
                <c:formatCode>General</c:formatCode>
                <c:ptCount val="2"/>
                <c:pt idx="0">
                  <c:v>0.26246395087274893</c:v>
                </c:pt>
                <c:pt idx="1">
                  <c:v>0.2624639508727489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223516171982654</c:v>
                </c:pt>
                <c:pt idx="1">
                  <c:v>-5.223516171982654</c:v>
                </c:pt>
              </c:numCache>
            </c:numRef>
          </c:xVal>
          <c:yVal>
            <c:numRef>
              <c:f>Sheet1!$B$167:$B$168</c:f>
              <c:numCache>
                <c:formatCode>General</c:formatCode>
                <c:ptCount val="2"/>
                <c:pt idx="0">
                  <c:v>0.262463950872748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105618457067579</c:v>
                </c:pt>
              </c:numCache>
            </c:numRef>
          </c:xVal>
          <c:yVal>
            <c:numRef>
              <c:f>Sheet1!$B$171:$B$172</c:f>
              <c:numCache>
                <c:formatCode>General</c:formatCode>
                <c:ptCount val="2"/>
                <c:pt idx="0">
                  <c:v>0.04916858948381624</c:v>
                </c:pt>
                <c:pt idx="1">
                  <c:v>0.0491685894838162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105618457067579</c:v>
                </c:pt>
                <c:pt idx="1">
                  <c:v>0.6105618457067579</c:v>
                </c:pt>
              </c:numCache>
            </c:numRef>
          </c:xVal>
          <c:yVal>
            <c:numRef>
              <c:f>Sheet1!$B$175:$B$176</c:f>
              <c:numCache>
                <c:formatCode>General</c:formatCode>
                <c:ptCount val="2"/>
                <c:pt idx="0">
                  <c:v>0.049168589483816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307160218259089</c:v>
                </c:pt>
              </c:numCache>
            </c:numRef>
          </c:xVal>
          <c:yVal>
            <c:numRef>
              <c:f>Sheet1!$B$179:$B$180</c:f>
              <c:numCache>
                <c:formatCode>General</c:formatCode>
                <c:ptCount val="2"/>
                <c:pt idx="0">
                  <c:v>0.044775722549226654</c:v>
                </c:pt>
                <c:pt idx="1">
                  <c:v>0.0447757225492266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307160218259089</c:v>
                </c:pt>
                <c:pt idx="1">
                  <c:v>0.7307160218259089</c:v>
                </c:pt>
              </c:numCache>
            </c:numRef>
          </c:xVal>
          <c:yVal>
            <c:numRef>
              <c:f>Sheet1!$B$183:$B$184</c:f>
              <c:numCache>
                <c:formatCode>General</c:formatCode>
                <c:ptCount val="2"/>
                <c:pt idx="0">
                  <c:v>0.044775722549226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576076160175168</c:v>
                </c:pt>
                <c:pt idx="1">
                  <c:v>0.8462525503869145</c:v>
                </c:pt>
                <c:pt idx="2">
                  <c:v>1.039924719393819</c:v>
                </c:pt>
                <c:pt idx="3">
                  <c:v>0.8368654226148542</c:v>
                </c:pt>
                <c:pt idx="4">
                  <c:v>1.0698493762258183</c:v>
                </c:pt>
                <c:pt idx="5">
                  <c:v>0.6696385027479427</c:v>
                </c:pt>
                <c:pt idx="6">
                  <c:v>0.8155869671996944</c:v>
                </c:pt>
                <c:pt idx="7">
                  <c:v>0.6387736704373694</c:v>
                </c:pt>
                <c:pt idx="8">
                  <c:v>0.7829530047553754</c:v>
                </c:pt>
                <c:pt idx="9">
                  <c:v>0.6239193445087554</c:v>
                </c:pt>
                <c:pt idx="10">
                  <c:v>0.8008193857611309</c:v>
                </c:pt>
                <c:pt idx="11">
                  <c:v>0.6772390748520094</c:v>
                </c:pt>
                <c:pt idx="12">
                  <c:v>0.6966563128083318</c:v>
                </c:pt>
                <c:pt idx="13">
                  <c:v>0.7247777807870218</c:v>
                </c:pt>
                <c:pt idx="14">
                  <c:v>0.7587724519325142</c:v>
                </c:pt>
                <c:pt idx="15">
                  <c:v>0.7106366486981643</c:v>
                </c:pt>
                <c:pt idx="16">
                  <c:v>0.7159934333542721</c:v>
                </c:pt>
                <c:pt idx="17">
                  <c:v>0.6862787832692792</c:v>
                </c:pt>
                <c:pt idx="18">
                  <c:v>0.6269896349447833</c:v>
                </c:pt>
                <c:pt idx="19">
                  <c:v>0.782634527442603</c:v>
                </c:pt>
                <c:pt idx="20">
                  <c:v>0.5632435498492205</c:v>
                </c:pt>
                <c:pt idx="21">
                  <c:v>0.7284582410025215</c:v>
                </c:pt>
                <c:pt idx="22">
                  <c:v>0.6399745789640928</c:v>
                </c:pt>
                <c:pt idx="23">
                  <c:v>0.6044848317324304</c:v>
                </c:pt>
                <c:pt idx="24">
                  <c:v>0.4568354620004057</c:v>
                </c:pt>
                <c:pt idx="25">
                  <c:v>0.7902933087318963</c:v>
                </c:pt>
                <c:pt idx="26">
                  <c:v>0.9375216975244435</c:v>
                </c:pt>
                <c:pt idx="27">
                  <c:v>0.8513593500424816</c:v>
                </c:pt>
                <c:pt idx="28">
                  <c:v>1.0118337856147086</c:v>
                </c:pt>
                <c:pt idx="29">
                  <c:v>1.138201523395185</c:v>
                </c:pt>
                <c:pt idx="30">
                  <c:v>0.8700405093128343</c:v>
                </c:pt>
                <c:pt idx="31">
                  <c:v>0.9908431799168281</c:v>
                </c:pt>
                <c:pt idx="32">
                  <c:v>0.7355649222348296</c:v>
                </c:pt>
                <c:pt idx="33">
                  <c:v>0.9423609458078122</c:v>
                </c:pt>
                <c:pt idx="34">
                  <c:v>0.8992005068637803</c:v>
                </c:pt>
                <c:pt idx="35">
                  <c:v>0.8109890049027891</c:v>
                </c:pt>
                <c:pt idx="36">
                  <c:v>0.8142046151397804</c:v>
                </c:pt>
                <c:pt idx="37">
                  <c:v>0.607346180118641</c:v>
                </c:pt>
                <c:pt idx="38">
                  <c:v>0.7042369571437821</c:v>
                </c:pt>
                <c:pt idx="39">
                  <c:v>0.7869720036117765</c:v>
                </c:pt>
                <c:pt idx="40">
                  <c:v>0.9967981028414493</c:v>
                </c:pt>
                <c:pt idx="41">
                  <c:v>0.8873714041826717</c:v>
                </c:pt>
                <c:pt idx="42">
                  <c:v>0.8061604365342445</c:v>
                </c:pt>
                <c:pt idx="43">
                  <c:v>0.621149732411357</c:v>
                </c:pt>
                <c:pt idx="44">
                  <c:v>0.7507513507019977</c:v>
                </c:pt>
                <c:pt idx="45">
                  <c:v>0.7242451827137981</c:v>
                </c:pt>
                <c:pt idx="46">
                  <c:v>0.7259039685391694</c:v>
                </c:pt>
                <c:pt idx="47">
                  <c:v>0.7125557988467995</c:v>
                </c:pt>
                <c:pt idx="48">
                  <c:v>0.832020173525706</c:v>
                </c:pt>
                <c:pt idx="49">
                  <c:v>0.7238950098741762</c:v>
                </c:pt>
                <c:pt idx="50">
                  <c:v>0.75323178362139</c:v>
                </c:pt>
                <c:pt idx="51">
                  <c:v>0.7748167518883441</c:v>
                </c:pt>
                <c:pt idx="52">
                  <c:v>0.6105618457067579</c:v>
                </c:pt>
                <c:pt idx="53">
                  <c:v>-5.223516171982654</c:v>
                </c:pt>
                <c:pt idx="54">
                  <c:v>0.7307160218259089</c:v>
                </c:pt>
              </c:numCache>
            </c:numRef>
          </c:xVal>
          <c:yVal>
            <c:numRef>
              <c:f>Sheet1!$B$187:$B$241</c:f>
              <c:numCache>
                <c:formatCode>General</c:formatCode>
                <c:ptCount val="55"/>
                <c:pt idx="0">
                  <c:v>0.04013653391337841</c:v>
                </c:pt>
                <c:pt idx="1">
                  <c:v>0.040551677972119254</c:v>
                </c:pt>
                <c:pt idx="2">
                  <c:v>0.03347097470520156</c:v>
                </c:pt>
                <c:pt idx="3">
                  <c:v>0.04089487372721111</c:v>
                </c:pt>
                <c:pt idx="4">
                  <c:v>0.032376921716182915</c:v>
                </c:pt>
                <c:pt idx="5">
                  <c:v>0.047008732026469435</c:v>
                </c:pt>
                <c:pt idx="6">
                  <c:v>0.04167281941525529</c:v>
                </c:pt>
                <c:pt idx="7">
                  <c:v>0.0481371580677276</c:v>
                </c:pt>
                <c:pt idx="8">
                  <c:v>0.0428659252996827</c:v>
                </c:pt>
                <c:pt idx="9">
                  <c:v>0.048680235964102314</c:v>
                </c:pt>
                <c:pt idx="10">
                  <c:v>0.042212725911230875</c:v>
                </c:pt>
                <c:pt idx="11">
                  <c:v>0.04673085319646682</c:v>
                </c:pt>
                <c:pt idx="12">
                  <c:v>0.046020954087385484</c:v>
                </c:pt>
                <c:pt idx="13">
                  <c:v>0.04499282613689956</c:v>
                </c:pt>
                <c:pt idx="14">
                  <c:v>0.04374997239972114</c:v>
                </c:pt>
                <c:pt idx="15">
                  <c:v>0.04550982948690551</c:v>
                </c:pt>
                <c:pt idx="16">
                  <c:v>0.045313984091001853</c:v>
                </c:pt>
                <c:pt idx="17">
                  <c:v>0.04640035918046876</c:v>
                </c:pt>
                <c:pt idx="18">
                  <c:v>0.04856798537264023</c:v>
                </c:pt>
                <c:pt idx="19">
                  <c:v>0.04287756891043251</c:v>
                </c:pt>
                <c:pt idx="20">
                  <c:v>0.05089855829545019</c:v>
                </c:pt>
                <c:pt idx="21">
                  <c:v>0.044858267584654915</c:v>
                </c:pt>
                <c:pt idx="22">
                  <c:v>0.048093252549593304</c:v>
                </c:pt>
                <c:pt idx="23">
                  <c:v>0.04939076664495286</c:v>
                </c:pt>
                <c:pt idx="24">
                  <c:v>0.0547888647815138</c:v>
                </c:pt>
                <c:pt idx="25">
                  <c:v>0.04259756193796052</c:v>
                </c:pt>
                <c:pt idx="26">
                  <c:v>0.03721485497055286</c:v>
                </c:pt>
                <c:pt idx="27">
                  <c:v>0.040364972090783366</c:v>
                </c:pt>
                <c:pt idx="28">
                  <c:v>0.03449798631766213</c:v>
                </c:pt>
                <c:pt idx="29">
                  <c:v>0.029877950004115604</c:v>
                </c:pt>
                <c:pt idx="30">
                  <c:v>0.03968198420381092</c:v>
                </c:pt>
                <c:pt idx="31">
                  <c:v>0.03526540814755997</c:v>
                </c:pt>
                <c:pt idx="32">
                  <c:v>0.044598445529289016</c:v>
                </c:pt>
                <c:pt idx="33">
                  <c:v>0.03703793083475587</c:v>
                </c:pt>
                <c:pt idx="34">
                  <c:v>0.03861588735065421</c:v>
                </c:pt>
                <c:pt idx="35">
                  <c:v>0.04184092207462965</c:v>
                </c:pt>
                <c:pt idx="36">
                  <c:v>0.04172335855465179</c:v>
                </c:pt>
                <c:pt idx="37">
                  <c:v>0.04928615502744518</c:v>
                </c:pt>
                <c:pt idx="38">
                  <c:v>0.04574380382162143</c:v>
                </c:pt>
                <c:pt idx="39">
                  <c:v>0.04271898968948027</c:v>
                </c:pt>
                <c:pt idx="40">
                  <c:v>0.035047694665944006</c:v>
                </c:pt>
                <c:pt idx="41">
                  <c:v>0.03904836232332746</c:v>
                </c:pt>
                <c:pt idx="42">
                  <c:v>0.04201745575005139</c:v>
                </c:pt>
                <c:pt idx="43">
                  <c:v>0.04878149367979116</c:v>
                </c:pt>
                <c:pt idx="44">
                  <c:v>0.04404322588047899</c:v>
                </c:pt>
                <c:pt idx="45">
                  <c:v>0.04501229805656859</c:v>
                </c:pt>
                <c:pt idx="46">
                  <c:v>0.04495165242909899</c:v>
                </c:pt>
                <c:pt idx="47">
                  <c:v>0.045439664874215795</c:v>
                </c:pt>
                <c:pt idx="48">
                  <c:v>0.04107201725397844</c:v>
                </c:pt>
                <c:pt idx="49">
                  <c:v>0.04502510046376117</c:v>
                </c:pt>
                <c:pt idx="50">
                  <c:v>0.04395254062835541</c:v>
                </c:pt>
                <c:pt idx="51">
                  <c:v>0.04316338875326753</c:v>
                </c:pt>
                <c:pt idx="52">
                  <c:v>0.04916858948381624</c:v>
                </c:pt>
                <c:pt idx="53">
                  <c:v>0.26246395087274893</c:v>
                </c:pt>
                <c:pt idx="54">
                  <c:v>0.0447757225492266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923076923076925"/>
          <c:min val="0.0080808080808080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01.5068</c:v>
                </c:pt>
                <c:pt idx="1">
                  <c:v>723.9333</c:v>
                </c:pt>
                <c:pt idx="2">
                  <c:v>717.7377</c:v>
                </c:pt>
                <c:pt idx="3">
                  <c:v>724.4412</c:v>
                </c:pt>
                <c:pt idx="4">
                  <c:v>743.8043</c:v>
                </c:pt>
                <c:pt idx="5">
                  <c:v>742.7</c:v>
                </c:pt>
                <c:pt idx="6">
                  <c:v>751.1944</c:v>
                </c:pt>
                <c:pt idx="7">
                  <c:v>742.1471</c:v>
                </c:pt>
                <c:pt idx="8">
                  <c:v>749.8824</c:v>
                </c:pt>
                <c:pt idx="9">
                  <c:v>718.8182</c:v>
                </c:pt>
                <c:pt idx="10">
                  <c:v>714.3409</c:v>
                </c:pt>
                <c:pt idx="11">
                  <c:v>734.0926</c:v>
                </c:pt>
                <c:pt idx="12">
                  <c:v>745.8667</c:v>
                </c:pt>
                <c:pt idx="13">
                  <c:v>740.0</c:v>
                </c:pt>
                <c:pt idx="14">
                  <c:v>730.2128</c:v>
                </c:pt>
                <c:pt idx="15">
                  <c:v>742.45</c:v>
                </c:pt>
                <c:pt idx="16">
                  <c:v>742.5</c:v>
                </c:pt>
                <c:pt idx="17">
                  <c:v>753.9091</c:v>
                </c:pt>
                <c:pt idx="18">
                  <c:v>771.0</c:v>
                </c:pt>
                <c:pt idx="19">
                  <c:v>813.9375</c:v>
                </c:pt>
                <c:pt idx="20">
                  <c:v>791.1579</c:v>
                </c:pt>
                <c:pt idx="21">
                  <c:v>832.4211</c:v>
                </c:pt>
                <c:pt idx="22">
                  <c:v>810.3333</c:v>
                </c:pt>
                <c:pt idx="23">
                  <c:v>826.7059</c:v>
                </c:pt>
                <c:pt idx="24">
                  <c:v>806.4286</c:v>
                </c:pt>
                <c:pt idx="25">
                  <c:v>822.7333</c:v>
                </c:pt>
                <c:pt idx="26">
                  <c:v>818.25</c:v>
                </c:pt>
                <c:pt idx="27">
                  <c:v>814.4375</c:v>
                </c:pt>
                <c:pt idx="28">
                  <c:v>838.9231</c:v>
                </c:pt>
                <c:pt idx="29">
                  <c:v>815.0769</c:v>
                </c:pt>
                <c:pt idx="30">
                  <c:v>815.5714</c:v>
                </c:pt>
                <c:pt idx="31">
                  <c:v>821.3333</c:v>
                </c:pt>
                <c:pt idx="32">
                  <c:v>789.2667</c:v>
                </c:pt>
                <c:pt idx="33">
                  <c:v>766.6923</c:v>
                </c:pt>
                <c:pt idx="34">
                  <c:v>774.1053</c:v>
                </c:pt>
                <c:pt idx="35">
                  <c:v>829.48</c:v>
                </c:pt>
                <c:pt idx="36">
                  <c:v>861.3529</c:v>
                </c:pt>
                <c:pt idx="37">
                  <c:v>892.8667</c:v>
                </c:pt>
                <c:pt idx="38">
                  <c:v>887.5</c:v>
                </c:pt>
                <c:pt idx="39">
                  <c:v>901.7273</c:v>
                </c:pt>
                <c:pt idx="40">
                  <c:v>886.5333</c:v>
                </c:pt>
                <c:pt idx="41">
                  <c:v>869.5</c:v>
                </c:pt>
                <c:pt idx="42">
                  <c:v>884.3</c:v>
                </c:pt>
                <c:pt idx="43">
                  <c:v>794.3333</c:v>
                </c:pt>
                <c:pt idx="44">
                  <c:v>814.3529</c:v>
                </c:pt>
                <c:pt idx="45">
                  <c:v>887.7778</c:v>
                </c:pt>
                <c:pt idx="46">
                  <c:v>880.9259</c:v>
                </c:pt>
                <c:pt idx="47">
                  <c:v>856.6207</c:v>
                </c:pt>
                <c:pt idx="48">
                  <c:v>862.9318</c:v>
                </c:pt>
                <c:pt idx="49">
                  <c:v>854.5373</c:v>
                </c:pt>
                <c:pt idx="50">
                  <c:v>851.4074</c:v>
                </c:pt>
                <c:pt idx="51">
                  <c:v>880.5882</c:v>
                </c:pt>
                <c:pt idx="52">
                  <c:v>855.8</c:v>
                </c:pt>
                <c:pt idx="53">
                  <c:v>898.6471</c:v>
                </c:pt>
                <c:pt idx="54">
                  <c:v>879.8</c:v>
                </c:pt>
                <c:pt idx="55">
                  <c:v>909.8333</c:v>
                </c:pt>
                <c:pt idx="56">
                  <c:v>893.3333</c:v>
                </c:pt>
                <c:pt idx="57">
                  <c:v>856.5556</c:v>
                </c:pt>
                <c:pt idx="58">
                  <c:v>915.8824</c:v>
                </c:pt>
                <c:pt idx="59">
                  <c:v>911.4</c:v>
                </c:pt>
                <c:pt idx="60">
                  <c:v>915.7143</c:v>
                </c:pt>
                <c:pt idx="61">
                  <c:v>917.6154</c:v>
                </c:pt>
                <c:pt idx="62">
                  <c:v>881.2857</c:v>
                </c:pt>
                <c:pt idx="63">
                  <c:v>771.6667</c:v>
                </c:pt>
                <c:pt idx="64">
                  <c:v>732.2105</c:v>
                </c:pt>
                <c:pt idx="65">
                  <c:v>724.6111</c:v>
                </c:pt>
                <c:pt idx="66">
                  <c:v>788.5294</c:v>
                </c:pt>
                <c:pt idx="67">
                  <c:v>641.1364</c:v>
                </c:pt>
                <c:pt idx="68">
                  <c:v>589.0</c:v>
                </c:pt>
                <c:pt idx="69">
                  <c:v>406.0714</c:v>
                </c:pt>
                <c:pt idx="70">
                  <c:v>672.5455</c:v>
                </c:pt>
                <c:pt idx="71">
                  <c:v>728.0833</c:v>
                </c:pt>
                <c:pt idx="72">
                  <c:v>231.7429</c:v>
                </c:pt>
                <c:pt idx="73">
                  <c:v>388.2727</c:v>
                </c:pt>
                <c:pt idx="74">
                  <c:v>950.6</c:v>
                </c:pt>
                <c:pt idx="75">
                  <c:v>870.5</c:v>
                </c:pt>
                <c:pt idx="76">
                  <c:v>958.8</c:v>
                </c:pt>
                <c:pt idx="77">
                  <c:v>921.6667</c:v>
                </c:pt>
                <c:pt idx="78">
                  <c:v>792.5714</c:v>
                </c:pt>
                <c:pt idx="79">
                  <c:v>998.6</c:v>
                </c:pt>
                <c:pt idx="80">
                  <c:v>814.5</c:v>
                </c:pt>
                <c:pt idx="81">
                  <c:v>968.2</c:v>
                </c:pt>
                <c:pt idx="82">
                  <c:v>933.8</c:v>
                </c:pt>
                <c:pt idx="83">
                  <c:v>1072.0</c:v>
                </c:pt>
                <c:pt idx="84">
                  <c:v>994.75</c:v>
                </c:pt>
                <c:pt idx="85">
                  <c:v>953.0</c:v>
                </c:pt>
                <c:pt idx="86">
                  <c:v>746.375</c:v>
                </c:pt>
                <c:pt idx="87">
                  <c:v>970.8571</c:v>
                </c:pt>
                <c:pt idx="88">
                  <c:v>671.5556</c:v>
                </c:pt>
                <c:pt idx="89">
                  <c:v>516.0</c:v>
                </c:pt>
                <c:pt idx="90">
                  <c:v>451.875</c:v>
                </c:pt>
                <c:pt idx="91">
                  <c:v>812.5</c:v>
                </c:pt>
                <c:pt idx="92">
                  <c:v>518.6667</c:v>
                </c:pt>
                <c:pt idx="93">
                  <c:v>909.625</c:v>
                </c:pt>
                <c:pt idx="94">
                  <c:v>855.6</c:v>
                </c:pt>
                <c:pt idx="95">
                  <c:v>851.75</c:v>
                </c:pt>
                <c:pt idx="96">
                  <c:v>869.8333</c:v>
                </c:pt>
                <c:pt idx="97">
                  <c:v>791.8</c:v>
                </c:pt>
                <c:pt idx="98">
                  <c:v>972.8</c:v>
                </c:pt>
                <c:pt idx="99">
                  <c:v>905.0833</c:v>
                </c:pt>
                <c:pt idx="100">
                  <c:v>760.3333</c:v>
                </c:pt>
                <c:pt idx="101">
                  <c:v>863.0909</c:v>
                </c:pt>
                <c:pt idx="102">
                  <c:v>890.8</c:v>
                </c:pt>
                <c:pt idx="103">
                  <c:v>820.4444</c:v>
                </c:pt>
                <c:pt idx="104">
                  <c:v>904.3333</c:v>
                </c:pt>
              </c:numCache>
            </c:numRef>
          </c:xVal>
          <c:yVal>
            <c:numRef>
              <c:f>Sheet1!$B$2:$B$106</c:f>
              <c:numCache>
                <c:formatCode>General</c:formatCode>
                <c:ptCount val="105"/>
                <c:pt idx="0">
                  <c:v>0.30416666666666664</c:v>
                </c:pt>
                <c:pt idx="1">
                  <c:v>0.2764976958525346</c:v>
                </c:pt>
                <c:pt idx="2">
                  <c:v>0.26991150442477874</c:v>
                </c:pt>
                <c:pt idx="3">
                  <c:v>0.3076923076923077</c:v>
                </c:pt>
                <c:pt idx="4">
                  <c:v>0.2857142857142857</c:v>
                </c:pt>
                <c:pt idx="5">
                  <c:v>0.26548672566371684</c:v>
                </c:pt>
                <c:pt idx="6">
                  <c:v>0.225</c:v>
                </c:pt>
                <c:pt idx="7">
                  <c:v>0.23776223776223776</c:v>
                </c:pt>
                <c:pt idx="8">
                  <c:v>0.18994413407821228</c:v>
                </c:pt>
                <c:pt idx="9">
                  <c:v>0.20754716981132076</c:v>
                </c:pt>
                <c:pt idx="10">
                  <c:v>0.2</c:v>
                </c:pt>
                <c:pt idx="11">
                  <c:v>0.23580786026200873</c:v>
                </c:pt>
                <c:pt idx="12">
                  <c:v>0.25316455696202533</c:v>
                </c:pt>
                <c:pt idx="13">
                  <c:v>0.2361111111111111</c:v>
                </c:pt>
                <c:pt idx="14">
                  <c:v>0.22488038277511962</c:v>
                </c:pt>
                <c:pt idx="15">
                  <c:v>0.2222222222222222</c:v>
                </c:pt>
                <c:pt idx="16">
                  <c:v>0.18181818181818182</c:v>
                </c:pt>
                <c:pt idx="17">
                  <c:v>0.1476510067114094</c:v>
                </c:pt>
                <c:pt idx="18">
                  <c:v>0.17094017094017094</c:v>
                </c:pt>
                <c:pt idx="19">
                  <c:v>0.14953271028037382</c:v>
                </c:pt>
                <c:pt idx="20">
                  <c:v>0.15702479338842976</c:v>
                </c:pt>
                <c:pt idx="21">
                  <c:v>0.1557377049180328</c:v>
                </c:pt>
                <c:pt idx="22">
                  <c:v>0.15126050420168066</c:v>
                </c:pt>
                <c:pt idx="23">
                  <c:v>0.136</c:v>
                </c:pt>
                <c:pt idx="24">
                  <c:v>0.13725490196078433</c:v>
                </c:pt>
                <c:pt idx="25">
                  <c:v>0.14563106796116504</c:v>
                </c:pt>
                <c:pt idx="26">
                  <c:v>0.11510791366906475</c:v>
                </c:pt>
                <c:pt idx="27">
                  <c:v>0.14545454545454545</c:v>
                </c:pt>
                <c:pt idx="28">
                  <c:v>0.10655737704918032</c:v>
                </c:pt>
                <c:pt idx="29">
                  <c:v>0.09027777777777778</c:v>
                </c:pt>
                <c:pt idx="30">
                  <c:v>0.112</c:v>
                </c:pt>
                <c:pt idx="31">
                  <c:v>0.1</c:v>
                </c:pt>
                <c:pt idx="32">
                  <c:v>0.11627906976744186</c:v>
                </c:pt>
                <c:pt idx="33">
                  <c:v>0.08333333333333333</c:v>
                </c:pt>
                <c:pt idx="34">
                  <c:v>0.0979381443298969</c:v>
                </c:pt>
                <c:pt idx="35">
                  <c:v>0.1016260162601626</c:v>
                </c:pt>
                <c:pt idx="36">
                  <c:v>0.08056872037914692</c:v>
                </c:pt>
                <c:pt idx="37">
                  <c:v>0.08379888268156424</c:v>
                </c:pt>
                <c:pt idx="38">
                  <c:v>0.09411764705882353</c:v>
                </c:pt>
                <c:pt idx="39">
                  <c:v>0.07142857142857142</c:v>
                </c:pt>
                <c:pt idx="40">
                  <c:v>0.08875739644970414</c:v>
                </c:pt>
                <c:pt idx="41">
                  <c:v>0.08888888888888889</c:v>
                </c:pt>
                <c:pt idx="42">
                  <c:v>0.1092896174863388</c:v>
                </c:pt>
                <c:pt idx="43">
                  <c:v>0.08823529411764706</c:v>
                </c:pt>
                <c:pt idx="44">
                  <c:v>0.14782608695652175</c:v>
                </c:pt>
                <c:pt idx="45">
                  <c:v>0.15517241379310345</c:v>
                </c:pt>
                <c:pt idx="46">
                  <c:v>0.11440677966101695</c:v>
                </c:pt>
                <c:pt idx="47">
                  <c:v>0.13488372093023257</c:v>
                </c:pt>
                <c:pt idx="48">
                  <c:v>0.14915254237288136</c:v>
                </c:pt>
                <c:pt idx="49">
                  <c:v>0.15331807780320367</c:v>
                </c:pt>
                <c:pt idx="50">
                  <c:v>0.11587982832618025</c:v>
                </c:pt>
                <c:pt idx="51">
                  <c:v>0.08854166666666667</c:v>
                </c:pt>
                <c:pt idx="52">
                  <c:v>0.07772020725388601</c:v>
                </c:pt>
                <c:pt idx="53">
                  <c:v>0.09239130434782608</c:v>
                </c:pt>
                <c:pt idx="54">
                  <c:v>0.1282051282051282</c:v>
                </c:pt>
                <c:pt idx="55">
                  <c:v>0.11612903225806452</c:v>
                </c:pt>
                <c:pt idx="56">
                  <c:v>0.0967741935483871</c:v>
                </c:pt>
                <c:pt idx="57">
                  <c:v>0.11538461538461539</c:v>
                </c:pt>
                <c:pt idx="58">
                  <c:v>0.11888111888111888</c:v>
                </c:pt>
                <c:pt idx="59">
                  <c:v>0.09146341463414634</c:v>
                </c:pt>
                <c:pt idx="60">
                  <c:v>0.09210526315789473</c:v>
                </c:pt>
                <c:pt idx="61">
                  <c:v>0.08552631578947369</c:v>
                </c:pt>
                <c:pt idx="62">
                  <c:v>0.12883435582822086</c:v>
                </c:pt>
                <c:pt idx="63">
                  <c:v>0.1076923076923077</c:v>
                </c:pt>
                <c:pt idx="64">
                  <c:v>0.09844559585492228</c:v>
                </c:pt>
                <c:pt idx="65">
                  <c:v>0.09944751381215469</c:v>
                </c:pt>
                <c:pt idx="66">
                  <c:v>0.09770114942528736</c:v>
                </c:pt>
                <c:pt idx="67">
                  <c:v>0.13414634146341464</c:v>
                </c:pt>
                <c:pt idx="68">
                  <c:v>0.11428571428571428</c:v>
                </c:pt>
                <c:pt idx="69">
                  <c:v>0.1414141414141414</c:v>
                </c:pt>
                <c:pt idx="70">
                  <c:v>0.09016393442622951</c:v>
                </c:pt>
                <c:pt idx="71">
                  <c:v>0.10526315789473684</c:v>
                </c:pt>
                <c:pt idx="72">
                  <c:v>0.2348993288590604</c:v>
                </c:pt>
                <c:pt idx="73">
                  <c:v>0.09565217391304348</c:v>
                </c:pt>
                <c:pt idx="74">
                  <c:v>0.049019607843137254</c:v>
                </c:pt>
                <c:pt idx="75">
                  <c:v>0.055944055944055944</c:v>
                </c:pt>
                <c:pt idx="76">
                  <c:v>0.04310344827586207</c:v>
                </c:pt>
                <c:pt idx="77">
                  <c:v>0.027522935779816515</c:v>
                </c:pt>
                <c:pt idx="78">
                  <c:v>0.07</c:v>
                </c:pt>
                <c:pt idx="79">
                  <c:v>0.04950495049504951</c:v>
                </c:pt>
                <c:pt idx="80">
                  <c:v>0.019801980198019802</c:v>
                </c:pt>
                <c:pt idx="81">
                  <c:v>0.045454545454545456</c:v>
                </c:pt>
                <c:pt idx="82">
                  <c:v>0.044642857142857144</c:v>
                </c:pt>
                <c:pt idx="83">
                  <c:v>0.022222222222222223</c:v>
                </c:pt>
                <c:pt idx="84">
                  <c:v>0.041666666666666664</c:v>
                </c:pt>
                <c:pt idx="85">
                  <c:v>0.04040404040404041</c:v>
                </c:pt>
                <c:pt idx="86">
                  <c:v>0.047619047619047616</c:v>
                </c:pt>
                <c:pt idx="87">
                  <c:v>0.03255813953488372</c:v>
                </c:pt>
                <c:pt idx="88">
                  <c:v>0.046875</c:v>
                </c:pt>
                <c:pt idx="89">
                  <c:v>0.07317073170731707</c:v>
                </c:pt>
                <c:pt idx="90">
                  <c:v>0.07079646017699115</c:v>
                </c:pt>
                <c:pt idx="91">
                  <c:v>0.03278688524590164</c:v>
                </c:pt>
                <c:pt idx="92">
                  <c:v>0.03896103896103896</c:v>
                </c:pt>
                <c:pt idx="93">
                  <c:v>0.053691275167785234</c:v>
                </c:pt>
                <c:pt idx="94">
                  <c:v>0.03184713375796178</c:v>
                </c:pt>
                <c:pt idx="95">
                  <c:v>0.0446927374301676</c:v>
                </c:pt>
                <c:pt idx="96">
                  <c:v>0.031746031746031744</c:v>
                </c:pt>
                <c:pt idx="97">
                  <c:v>0.026455026455026454</c:v>
                </c:pt>
                <c:pt idx="98">
                  <c:v>0.044642857142857144</c:v>
                </c:pt>
                <c:pt idx="99">
                  <c:v>0.04597701149425287</c:v>
                </c:pt>
                <c:pt idx="100">
                  <c:v>0.06685236768802229</c:v>
                </c:pt>
                <c:pt idx="101">
                  <c:v>0.05263157894736842</c:v>
                </c:pt>
                <c:pt idx="102">
                  <c:v>0.03424657534246575</c:v>
                </c:pt>
                <c:pt idx="103">
                  <c:v>0.05325443786982249</c:v>
                </c:pt>
                <c:pt idx="104">
                  <c:v>0.03797468354430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54.4286</c:v>
                </c:pt>
                <c:pt idx="1">
                  <c:v>946.0</c:v>
                </c:pt>
                <c:pt idx="2">
                  <c:v>1004.0</c:v>
                </c:pt>
                <c:pt idx="3">
                  <c:v>894.8571</c:v>
                </c:pt>
                <c:pt idx="4">
                  <c:v>1022.3333</c:v>
                </c:pt>
                <c:pt idx="5">
                  <c:v>834.5556</c:v>
                </c:pt>
                <c:pt idx="6">
                  <c:v>934.0</c:v>
                </c:pt>
                <c:pt idx="7">
                  <c:v>793.75</c:v>
                </c:pt>
                <c:pt idx="8">
                  <c:v>949.2</c:v>
                </c:pt>
                <c:pt idx="9">
                  <c:v>773.4</c:v>
                </c:pt>
                <c:pt idx="10">
                  <c:v>1039.5</c:v>
                </c:pt>
                <c:pt idx="11">
                  <c:v>875.4444</c:v>
                </c:pt>
                <c:pt idx="12">
                  <c:v>953.2</c:v>
                </c:pt>
                <c:pt idx="13">
                  <c:v>912.5556</c:v>
                </c:pt>
                <c:pt idx="14">
                  <c:v>960.5714</c:v>
                </c:pt>
                <c:pt idx="15">
                  <c:v>1008.5</c:v>
                </c:pt>
                <c:pt idx="16">
                  <c:v>997.8</c:v>
                </c:pt>
                <c:pt idx="17">
                  <c:v>947.8</c:v>
                </c:pt>
                <c:pt idx="18">
                  <c:v>730.25</c:v>
                </c:pt>
                <c:pt idx="19">
                  <c:v>1041.8333</c:v>
                </c:pt>
                <c:pt idx="20">
                  <c:v>793.0</c:v>
                </c:pt>
                <c:pt idx="21">
                  <c:v>953.3333</c:v>
                </c:pt>
                <c:pt idx="22">
                  <c:v>1007.0</c:v>
                </c:pt>
                <c:pt idx="23">
                  <c:v>874.75</c:v>
                </c:pt>
                <c:pt idx="24">
                  <c:v>580.3333</c:v>
                </c:pt>
                <c:pt idx="25">
                  <c:v>870.0</c:v>
                </c:pt>
                <c:pt idx="26">
                  <c:v>1126.6667</c:v>
                </c:pt>
                <c:pt idx="27">
                  <c:v>953.3333</c:v>
                </c:pt>
                <c:pt idx="28">
                  <c:v>1213.3333</c:v>
                </c:pt>
                <c:pt idx="29">
                  <c:v>1040.0</c:v>
                </c:pt>
                <c:pt idx="30">
                  <c:v>921.0</c:v>
                </c:pt>
                <c:pt idx="31">
                  <c:v>1040.0</c:v>
                </c:pt>
                <c:pt idx="32">
                  <c:v>790.5</c:v>
                </c:pt>
                <c:pt idx="33">
                  <c:v>1040.0</c:v>
                </c:pt>
                <c:pt idx="34">
                  <c:v>1064.4286</c:v>
                </c:pt>
                <c:pt idx="35">
                  <c:v>907.8571</c:v>
                </c:pt>
                <c:pt idx="36">
                  <c:v>959.2857</c:v>
                </c:pt>
                <c:pt idx="37">
                  <c:v>844.6667</c:v>
                </c:pt>
                <c:pt idx="38">
                  <c:v>876.6667</c:v>
                </c:pt>
                <c:pt idx="39">
                  <c:v>922.2</c:v>
                </c:pt>
                <c:pt idx="40">
                  <c:v>1127.3333</c:v>
                </c:pt>
                <c:pt idx="41">
                  <c:v>1039.5556</c:v>
                </c:pt>
                <c:pt idx="42">
                  <c:v>988.0</c:v>
                </c:pt>
                <c:pt idx="43">
                  <c:v>890.1667</c:v>
                </c:pt>
                <c:pt idx="44">
                  <c:v>981.1667</c:v>
                </c:pt>
                <c:pt idx="45">
                  <c:v>1086.3333</c:v>
                </c:pt>
                <c:pt idx="46">
                  <c:v>998.5</c:v>
                </c:pt>
                <c:pt idx="47">
                  <c:v>976.2727</c:v>
                </c:pt>
                <c:pt idx="48">
                  <c:v>1012.8333</c:v>
                </c:pt>
                <c:pt idx="49">
                  <c:v>1108.0</c:v>
                </c:pt>
                <c:pt idx="50">
                  <c:v>1016.2143</c:v>
                </c:pt>
                <c:pt idx="51">
                  <c:v>1038.8571</c:v>
                </c:pt>
              </c:numCache>
            </c:numRef>
          </c:xVal>
          <c:yVal>
            <c:numRef>
              <c:f>Sheet1!$B$109:$B$160</c:f>
              <c:numCache>
                <c:formatCode>General</c:formatCode>
                <c:ptCount val="52"/>
                <c:pt idx="0">
                  <c:v>0.04216867469879518</c:v>
                </c:pt>
                <c:pt idx="1">
                  <c:v>0.04285714285714286</c:v>
                </c:pt>
                <c:pt idx="2">
                  <c:v>0.029197080291970802</c:v>
                </c:pt>
                <c:pt idx="3">
                  <c:v>0.04697986577181208</c:v>
                </c:pt>
                <c:pt idx="4">
                  <c:v>0.0410958904109589</c:v>
                </c:pt>
                <c:pt idx="5">
                  <c:v>0.06818181818181818</c:v>
                </c:pt>
                <c:pt idx="6">
                  <c:v>0.037383177570093455</c:v>
                </c:pt>
                <c:pt idx="7">
                  <c:v>0.05970149253731343</c:v>
                </c:pt>
                <c:pt idx="8">
                  <c:v>0.04807692307692308</c:v>
                </c:pt>
                <c:pt idx="9">
                  <c:v>0.050505050505050504</c:v>
                </c:pt>
                <c:pt idx="10">
                  <c:v>0.02702702702702703</c:v>
                </c:pt>
                <c:pt idx="11">
                  <c:v>0.0481283422459893</c:v>
                </c:pt>
                <c:pt idx="12">
                  <c:v>0.05319148936170213</c:v>
                </c:pt>
                <c:pt idx="13">
                  <c:v>0.054878048780487805</c:v>
                </c:pt>
                <c:pt idx="14">
                  <c:v>0.04794520547945205</c:v>
                </c:pt>
                <c:pt idx="15">
                  <c:v>0.0273972602739726</c:v>
                </c:pt>
                <c:pt idx="16">
                  <c:v>0.04132231404958678</c:v>
                </c:pt>
                <c:pt idx="17">
                  <c:v>0.04854368932038835</c:v>
                </c:pt>
                <c:pt idx="18">
                  <c:v>0.07766990291262135</c:v>
                </c:pt>
                <c:pt idx="19">
                  <c:v>0.048</c:v>
                </c:pt>
                <c:pt idx="20">
                  <c:v>0.07291666666666667</c:v>
                </c:pt>
                <c:pt idx="21">
                  <c:v>0.041666666666666664</c:v>
                </c:pt>
                <c:pt idx="22">
                  <c:v>0.03278688524590164</c:v>
                </c:pt>
                <c:pt idx="23">
                  <c:v>0.05555555555555555</c:v>
                </c:pt>
                <c:pt idx="24">
                  <c:v>0.0410958904109589</c:v>
                </c:pt>
                <c:pt idx="25">
                  <c:v>0.041666666666666664</c:v>
                </c:pt>
                <c:pt idx="26">
                  <c:v>0.039473684210526314</c:v>
                </c:pt>
                <c:pt idx="27">
                  <c:v>0.03225806451612903</c:v>
                </c:pt>
                <c:pt idx="28">
                  <c:v>0.03260869565217391</c:v>
                </c:pt>
                <c:pt idx="29">
                  <c:v>0.02857142857142857</c:v>
                </c:pt>
                <c:pt idx="30">
                  <c:v>0.044642857142857144</c:v>
                </c:pt>
                <c:pt idx="31">
                  <c:v>0.010101010101010102</c:v>
                </c:pt>
                <c:pt idx="32">
                  <c:v>0.02197802197802198</c:v>
                </c:pt>
                <c:pt idx="33">
                  <c:v>0.022900763358778626</c:v>
                </c:pt>
                <c:pt idx="34">
                  <c:v>0.03763440860215054</c:v>
                </c:pt>
                <c:pt idx="35">
                  <c:v>0.03763440860215054</c:v>
                </c:pt>
                <c:pt idx="36">
                  <c:v>0.0546875</c:v>
                </c:pt>
                <c:pt idx="37">
                  <c:v>0.02727272727272727</c:v>
                </c:pt>
                <c:pt idx="38">
                  <c:v>0.037037037037037035</c:v>
                </c:pt>
                <c:pt idx="39">
                  <c:v>0.06493506493506493</c:v>
                </c:pt>
                <c:pt idx="40">
                  <c:v>0.059602649006622516</c:v>
                </c:pt>
                <c:pt idx="41">
                  <c:v>0.05732484076433121</c:v>
                </c:pt>
                <c:pt idx="42">
                  <c:v>0.0364963503649635</c:v>
                </c:pt>
                <c:pt idx="43">
                  <c:v>0.03680981595092025</c:v>
                </c:pt>
                <c:pt idx="44">
                  <c:v>0.03896103896103896</c:v>
                </c:pt>
                <c:pt idx="45">
                  <c:v>0.04591836734693878</c:v>
                </c:pt>
                <c:pt idx="46">
                  <c:v>0.05291005291005291</c:v>
                </c:pt>
                <c:pt idx="47">
                  <c:v>0.05583756345177665</c:v>
                </c:pt>
                <c:pt idx="48">
                  <c:v>0.03278688524590164</c:v>
                </c:pt>
                <c:pt idx="49">
                  <c:v>0.028112449799196786</c:v>
                </c:pt>
                <c:pt idx="50">
                  <c:v>0.03773584905660377</c:v>
                </c:pt>
                <c:pt idx="51">
                  <c:v>0.034653465346534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090.033546034304</c:v>
                </c:pt>
              </c:numCache>
            </c:numRef>
          </c:xVal>
          <c:yVal>
            <c:numRef>
              <c:f>Sheet1!$B$163:$B$164</c:f>
              <c:numCache>
                <c:formatCode>General</c:formatCode>
                <c:ptCount val="2"/>
                <c:pt idx="0">
                  <c:v>0.26246395087274893</c:v>
                </c:pt>
                <c:pt idx="1">
                  <c:v>0.2624639508727489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090.033546034304</c:v>
                </c:pt>
                <c:pt idx="1">
                  <c:v>-4090.033546034304</c:v>
                </c:pt>
              </c:numCache>
            </c:numRef>
          </c:xVal>
          <c:yVal>
            <c:numRef>
              <c:f>Sheet1!$B$167:$B$168</c:f>
              <c:numCache>
                <c:formatCode>General</c:formatCode>
                <c:ptCount val="2"/>
                <c:pt idx="0">
                  <c:v>0.262463950872748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1.8608579091268</c:v>
                </c:pt>
              </c:numCache>
            </c:numRef>
          </c:xVal>
          <c:yVal>
            <c:numRef>
              <c:f>Sheet1!$B$171:$B$172</c:f>
              <c:numCache>
                <c:formatCode>General</c:formatCode>
                <c:ptCount val="2"/>
                <c:pt idx="0">
                  <c:v>0.04916858948381624</c:v>
                </c:pt>
                <c:pt idx="1">
                  <c:v>0.0491685894838162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1.8608579091268</c:v>
                </c:pt>
                <c:pt idx="1">
                  <c:v>811.8608579091268</c:v>
                </c:pt>
              </c:numCache>
            </c:numRef>
          </c:xVal>
          <c:yVal>
            <c:numRef>
              <c:f>Sheet1!$B$175:$B$176</c:f>
              <c:numCache>
                <c:formatCode>General</c:formatCode>
                <c:ptCount val="2"/>
                <c:pt idx="0">
                  <c:v>0.049168589483816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12.8164984993031</c:v>
                </c:pt>
              </c:numCache>
            </c:numRef>
          </c:xVal>
          <c:yVal>
            <c:numRef>
              <c:f>Sheet1!$B$179:$B$180</c:f>
              <c:numCache>
                <c:formatCode>General</c:formatCode>
                <c:ptCount val="2"/>
                <c:pt idx="0">
                  <c:v>0.044775722549226654</c:v>
                </c:pt>
                <c:pt idx="1">
                  <c:v>0.0447757225492266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12.8164984993031</c:v>
                </c:pt>
                <c:pt idx="1">
                  <c:v>912.8164984993031</c:v>
                </c:pt>
              </c:numCache>
            </c:numRef>
          </c:xVal>
          <c:yVal>
            <c:numRef>
              <c:f>Sheet1!$B$183:$B$184</c:f>
              <c:numCache>
                <c:formatCode>General</c:formatCode>
                <c:ptCount val="2"/>
                <c:pt idx="0">
                  <c:v>0.044775722549226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54.4286</c:v>
                </c:pt>
                <c:pt idx="1">
                  <c:v>946.0</c:v>
                </c:pt>
                <c:pt idx="2">
                  <c:v>1004.0</c:v>
                </c:pt>
                <c:pt idx="3">
                  <c:v>894.8571</c:v>
                </c:pt>
                <c:pt idx="4">
                  <c:v>1022.3333</c:v>
                </c:pt>
                <c:pt idx="5">
                  <c:v>834.5556</c:v>
                </c:pt>
                <c:pt idx="6">
                  <c:v>934.0</c:v>
                </c:pt>
                <c:pt idx="7">
                  <c:v>793.75</c:v>
                </c:pt>
                <c:pt idx="8">
                  <c:v>949.2</c:v>
                </c:pt>
                <c:pt idx="9">
                  <c:v>773.4</c:v>
                </c:pt>
                <c:pt idx="10">
                  <c:v>1039.5</c:v>
                </c:pt>
                <c:pt idx="11">
                  <c:v>875.4444</c:v>
                </c:pt>
                <c:pt idx="12">
                  <c:v>953.2</c:v>
                </c:pt>
                <c:pt idx="13">
                  <c:v>912.5556</c:v>
                </c:pt>
                <c:pt idx="14">
                  <c:v>960.5714</c:v>
                </c:pt>
                <c:pt idx="15">
                  <c:v>1008.5</c:v>
                </c:pt>
                <c:pt idx="16">
                  <c:v>997.8</c:v>
                </c:pt>
                <c:pt idx="17">
                  <c:v>947.8</c:v>
                </c:pt>
                <c:pt idx="18">
                  <c:v>730.25</c:v>
                </c:pt>
                <c:pt idx="19">
                  <c:v>1041.8333</c:v>
                </c:pt>
                <c:pt idx="20">
                  <c:v>793.0</c:v>
                </c:pt>
                <c:pt idx="21">
                  <c:v>953.3333</c:v>
                </c:pt>
                <c:pt idx="22">
                  <c:v>1007.0</c:v>
                </c:pt>
                <c:pt idx="23">
                  <c:v>874.75</c:v>
                </c:pt>
                <c:pt idx="24">
                  <c:v>580.3333</c:v>
                </c:pt>
                <c:pt idx="25">
                  <c:v>870.0</c:v>
                </c:pt>
                <c:pt idx="26">
                  <c:v>1126.6667</c:v>
                </c:pt>
                <c:pt idx="27">
                  <c:v>953.3333</c:v>
                </c:pt>
                <c:pt idx="28">
                  <c:v>1213.3333</c:v>
                </c:pt>
                <c:pt idx="29">
                  <c:v>1040.0</c:v>
                </c:pt>
                <c:pt idx="30">
                  <c:v>921.0</c:v>
                </c:pt>
                <c:pt idx="31">
                  <c:v>1040.0</c:v>
                </c:pt>
                <c:pt idx="32">
                  <c:v>790.5</c:v>
                </c:pt>
                <c:pt idx="33">
                  <c:v>1040.0</c:v>
                </c:pt>
                <c:pt idx="34">
                  <c:v>1064.4286</c:v>
                </c:pt>
                <c:pt idx="35">
                  <c:v>907.8571</c:v>
                </c:pt>
                <c:pt idx="36">
                  <c:v>959.2857</c:v>
                </c:pt>
                <c:pt idx="37">
                  <c:v>844.6667</c:v>
                </c:pt>
                <c:pt idx="38">
                  <c:v>876.6667</c:v>
                </c:pt>
                <c:pt idx="39">
                  <c:v>922.2</c:v>
                </c:pt>
                <c:pt idx="40">
                  <c:v>1127.3333</c:v>
                </c:pt>
                <c:pt idx="41">
                  <c:v>1039.5556</c:v>
                </c:pt>
                <c:pt idx="42">
                  <c:v>988.0</c:v>
                </c:pt>
                <c:pt idx="43">
                  <c:v>890.1667</c:v>
                </c:pt>
                <c:pt idx="44">
                  <c:v>981.1667</c:v>
                </c:pt>
                <c:pt idx="45">
                  <c:v>1086.3333</c:v>
                </c:pt>
                <c:pt idx="46">
                  <c:v>998.5</c:v>
                </c:pt>
                <c:pt idx="47">
                  <c:v>976.2727</c:v>
                </c:pt>
                <c:pt idx="48">
                  <c:v>1012.8333</c:v>
                </c:pt>
                <c:pt idx="49">
                  <c:v>1108.0</c:v>
                </c:pt>
                <c:pt idx="50">
                  <c:v>1016.2143</c:v>
                </c:pt>
                <c:pt idx="51">
                  <c:v>1038.8571</c:v>
                </c:pt>
                <c:pt idx="52">
                  <c:v>811.8608579091268</c:v>
                </c:pt>
                <c:pt idx="53">
                  <c:v>-4090.033546034304</c:v>
                </c:pt>
                <c:pt idx="54">
                  <c:v>912.8164984993031</c:v>
                </c:pt>
              </c:numCache>
            </c:numRef>
          </c:xVal>
          <c:yVal>
            <c:numRef>
              <c:f>Sheet1!$B$187:$B$241</c:f>
              <c:numCache>
                <c:formatCode>General</c:formatCode>
                <c:ptCount val="55"/>
                <c:pt idx="0">
                  <c:v>0.04296506171153014</c:v>
                </c:pt>
                <c:pt idx="1">
                  <c:v>0.04333181405967466</c:v>
                </c:pt>
                <c:pt idx="2">
                  <c:v>0.040808069168188243</c:v>
                </c:pt>
                <c:pt idx="3">
                  <c:v>0.04555718703572295</c:v>
                </c:pt>
                <c:pt idx="4">
                  <c:v>0.04001033516441086</c:v>
                </c:pt>
                <c:pt idx="5">
                  <c:v>0.04818107673527412</c:v>
                </c:pt>
                <c:pt idx="6">
                  <c:v>0.043853968175154606</c:v>
                </c:pt>
                <c:pt idx="7">
                  <c:v>0.04995664439982651</c:v>
                </c:pt>
                <c:pt idx="8">
                  <c:v>0.043192572962213335</c:v>
                </c:pt>
                <c:pt idx="9">
                  <c:v>0.05084213075399459</c:v>
                </c:pt>
                <c:pt idx="10">
                  <c:v>0.039263363243226726</c:v>
                </c:pt>
                <c:pt idx="11">
                  <c:v>0.04640188880218775</c:v>
                </c:pt>
                <c:pt idx="12">
                  <c:v>0.04301852159038669</c:v>
                </c:pt>
                <c:pt idx="13">
                  <c:v>0.04478707498465446</c:v>
                </c:pt>
                <c:pt idx="14">
                  <c:v>0.04269777101981595</c:v>
                </c:pt>
                <c:pt idx="15">
                  <c:v>0.04061226137488326</c:v>
                </c:pt>
                <c:pt idx="16">
                  <c:v>0.04107784879451955</c:v>
                </c:pt>
                <c:pt idx="17">
                  <c:v>0.04325349094235267</c:v>
                </c:pt>
                <c:pt idx="18">
                  <c:v>0.05271970992757457</c:v>
                </c:pt>
                <c:pt idx="19">
                  <c:v>0.03916183472675595</c:v>
                </c:pt>
                <c:pt idx="20">
                  <c:v>0.049989279032044004</c:v>
                </c:pt>
                <c:pt idx="21">
                  <c:v>0.043012721328420565</c:v>
                </c:pt>
                <c:pt idx="22">
                  <c:v>0.040677530639318255</c:v>
                </c:pt>
                <c:pt idx="23">
                  <c:v>0.04643210412033685</c:v>
                </c:pt>
                <c:pt idx="24">
                  <c:v>0.05924301175125564</c:v>
                </c:pt>
                <c:pt idx="25">
                  <c:v>0.046638790124381</c:v>
                </c:pt>
                <c:pt idx="26">
                  <c:v>0.03547049231507622</c:v>
                </c:pt>
                <c:pt idx="27">
                  <c:v>0.043012721328420565</c:v>
                </c:pt>
                <c:pt idx="28">
                  <c:v>0.031699382159688344</c:v>
                </c:pt>
                <c:pt idx="29">
                  <c:v>0.0392416068217484</c:v>
                </c:pt>
                <c:pt idx="30">
                  <c:v>0.04441963513359122</c:v>
                </c:pt>
                <c:pt idx="31">
                  <c:v>0.0392416068217484</c:v>
                </c:pt>
                <c:pt idx="32">
                  <c:v>0.05009806113943566</c:v>
                </c:pt>
                <c:pt idx="33">
                  <c:v>0.0392416068217484</c:v>
                </c:pt>
                <c:pt idx="34">
                  <c:v>0.038178648986297276</c:v>
                </c:pt>
                <c:pt idx="35">
                  <c:v>0.04499152007728634</c:v>
                </c:pt>
                <c:pt idx="36">
                  <c:v>0.04275371548200533</c:v>
                </c:pt>
                <c:pt idx="37">
                  <c:v>0.04774111402885502</c:v>
                </c:pt>
                <c:pt idx="38">
                  <c:v>0.04634870305424182</c:v>
                </c:pt>
                <c:pt idx="39">
                  <c:v>0.04436741972204322</c:v>
                </c:pt>
                <c:pt idx="40">
                  <c:v>0.03544148665396131</c:v>
                </c:pt>
                <c:pt idx="41">
                  <c:v>0.03926094392915834</c:v>
                </c:pt>
                <c:pt idx="42">
                  <c:v>0.04150427465549484</c:v>
                </c:pt>
                <c:pt idx="43">
                  <c:v>0.045761279674326874</c:v>
                </c:pt>
                <c:pt idx="44">
                  <c:v>0.0418016109652706</c:v>
                </c:pt>
                <c:pt idx="45">
                  <c:v>0.03722551321518447</c:v>
                </c:pt>
                <c:pt idx="46">
                  <c:v>0.041047389804449885</c:v>
                </c:pt>
                <c:pt idx="47">
                  <c:v>0.04201456281870051</c:v>
                </c:pt>
                <c:pt idx="48">
                  <c:v>0.04042370717249916</c:v>
                </c:pt>
                <c:pt idx="49">
                  <c:v>0.03628273350069535</c:v>
                </c:pt>
                <c:pt idx="50">
                  <c:v>0.04027659025046268</c:v>
                </c:pt>
                <c:pt idx="51">
                  <c:v>0.039291337649963565</c:v>
                </c:pt>
                <c:pt idx="52">
                  <c:v>0.04916858948381624</c:v>
                </c:pt>
                <c:pt idx="53">
                  <c:v>0.26246395087274893</c:v>
                </c:pt>
                <c:pt idx="54">
                  <c:v>0.0447757225492266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923076923076925"/>
          <c:min val="0.0080808080808080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99242798880522</c:v>
                </c:pt>
                <c:pt idx="1">
                  <c:v>0.6549808120482635</c:v>
                </c:pt>
                <c:pt idx="2">
                  <c:v>0.6341222800700455</c:v>
                </c:pt>
                <c:pt idx="3">
                  <c:v>0.6324657572906868</c:v>
                </c:pt>
                <c:pt idx="4">
                  <c:v>0.6167354741229771</c:v>
                </c:pt>
                <c:pt idx="5">
                  <c:v>0.5779689420216518</c:v>
                </c:pt>
                <c:pt idx="6">
                  <c:v>0.6179401806627094</c:v>
                </c:pt>
                <c:pt idx="7">
                  <c:v>0.6062761737501464</c:v>
                </c:pt>
                <c:pt idx="8">
                  <c:v>0.5918992161763036</c:v>
                </c:pt>
                <c:pt idx="9">
                  <c:v>0.6002471792012057</c:v>
                </c:pt>
                <c:pt idx="10">
                  <c:v>0.6099238058027671</c:v>
                </c:pt>
                <c:pt idx="11">
                  <c:v>0.5994955706585423</c:v>
                </c:pt>
                <c:pt idx="12">
                  <c:v>0.6191344804660104</c:v>
                </c:pt>
                <c:pt idx="13">
                  <c:v>0.6086989875480042</c:v>
                </c:pt>
                <c:pt idx="14">
                  <c:v>0.5451742663274035</c:v>
                </c:pt>
                <c:pt idx="15">
                  <c:v>0.5528250593019315</c:v>
                </c:pt>
                <c:pt idx="16">
                  <c:v>0.5472010022261534</c:v>
                </c:pt>
                <c:pt idx="17">
                  <c:v>0.5349783222185174</c:v>
                </c:pt>
                <c:pt idx="18">
                  <c:v>0.5398870531187471</c:v>
                </c:pt>
                <c:pt idx="19">
                  <c:v>0.5010585389841663</c:v>
                </c:pt>
                <c:pt idx="20">
                  <c:v>0.5713647773887489</c:v>
                </c:pt>
                <c:pt idx="21">
                  <c:v>0.5766799885975484</c:v>
                </c:pt>
                <c:pt idx="22">
                  <c:v>0.520968405059593</c:v>
                </c:pt>
                <c:pt idx="23">
                  <c:v>0.4998414283296666</c:v>
                </c:pt>
                <c:pt idx="24">
                  <c:v>0.5343946113584536</c:v>
                </c:pt>
                <c:pt idx="25">
                  <c:v>0.5435367935409458</c:v>
                </c:pt>
                <c:pt idx="26">
                  <c:v>0.5651861923278394</c:v>
                </c:pt>
                <c:pt idx="27">
                  <c:v>0.5903668961866558</c:v>
                </c:pt>
                <c:pt idx="28">
                  <c:v>0.6217782411535763</c:v>
                </c:pt>
                <c:pt idx="29">
                  <c:v>0.6514969912087006</c:v>
                </c:pt>
                <c:pt idx="30">
                  <c:v>0.49856693840579713</c:v>
                </c:pt>
                <c:pt idx="31">
                  <c:v>0.5571194919771878</c:v>
                </c:pt>
                <c:pt idx="32">
                  <c:v>0.4597197633724197</c:v>
                </c:pt>
                <c:pt idx="33">
                  <c:v>0.48248444960640086</c:v>
                </c:pt>
                <c:pt idx="34">
                  <c:v>0.48628718973217194</c:v>
                </c:pt>
                <c:pt idx="35">
                  <c:v>0.5965062132112492</c:v>
                </c:pt>
                <c:pt idx="36">
                  <c:v>0.54042798594158</c:v>
                </c:pt>
                <c:pt idx="37">
                  <c:v>0.5327144434597813</c:v>
                </c:pt>
                <c:pt idx="38">
                  <c:v>0.5594175703152247</c:v>
                </c:pt>
                <c:pt idx="39">
                  <c:v>0.5725702531605593</c:v>
                </c:pt>
                <c:pt idx="40">
                  <c:v>0.5396523499226965</c:v>
                </c:pt>
                <c:pt idx="41">
                  <c:v>0.5562309551125569</c:v>
                </c:pt>
                <c:pt idx="42">
                  <c:v>0.5563448072767022</c:v>
                </c:pt>
                <c:pt idx="43">
                  <c:v>0.5815488730836694</c:v>
                </c:pt>
                <c:pt idx="44">
                  <c:v>0.558043987555091</c:v>
                </c:pt>
                <c:pt idx="45">
                  <c:v>0.5801643652798484</c:v>
                </c:pt>
                <c:pt idx="46">
                  <c:v>0.5529058985331328</c:v>
                </c:pt>
                <c:pt idx="47">
                  <c:v>0.5491302495001114</c:v>
                </c:pt>
                <c:pt idx="48">
                  <c:v>0.5163671095672717</c:v>
                </c:pt>
                <c:pt idx="49">
                  <c:v>0.5226680028843729</c:v>
                </c:pt>
                <c:pt idx="50">
                  <c:v>0.5360290882687588</c:v>
                </c:pt>
                <c:pt idx="51">
                  <c:v>0.5291310041709647</c:v>
                </c:pt>
                <c:pt idx="52">
                  <c:v>0.5638317757751148</c:v>
                </c:pt>
                <c:pt idx="53">
                  <c:v>0.4990815746071105</c:v>
                </c:pt>
                <c:pt idx="54">
                  <c:v>0.4823641288787455</c:v>
                </c:pt>
                <c:pt idx="55">
                  <c:v>0.46605557780224915</c:v>
                </c:pt>
                <c:pt idx="56">
                  <c:v>0.48390841620936004</c:v>
                </c:pt>
                <c:pt idx="57">
                  <c:v>0.5122786516853933</c:v>
                </c:pt>
                <c:pt idx="58">
                  <c:v>0.4975958986963891</c:v>
                </c:pt>
                <c:pt idx="59">
                  <c:v>0.49223264604810996</c:v>
                </c:pt>
                <c:pt idx="60">
                  <c:v>0.48472182285540016</c:v>
                </c:pt>
                <c:pt idx="61">
                  <c:v>0.4381058265480069</c:v>
                </c:pt>
                <c:pt idx="62">
                  <c:v>0.4921344111507761</c:v>
                </c:pt>
                <c:pt idx="63">
                  <c:v>0.4638846442951446</c:v>
                </c:pt>
                <c:pt idx="64">
                  <c:v>0.4388261003487575</c:v>
                </c:pt>
                <c:pt idx="65">
                  <c:v>0.4320240457343085</c:v>
                </c:pt>
                <c:pt idx="66">
                  <c:v>0.4462166350363964</c:v>
                </c:pt>
                <c:pt idx="67">
                  <c:v>0.42393628170194925</c:v>
                </c:pt>
                <c:pt idx="68">
                  <c:v>0.46922767959042255</c:v>
                </c:pt>
                <c:pt idx="69">
                  <c:v>0.46989307638107164</c:v>
                </c:pt>
                <c:pt idx="70">
                  <c:v>0.4768271570267938</c:v>
                </c:pt>
                <c:pt idx="71">
                  <c:v>0.4720052083333333</c:v>
                </c:pt>
                <c:pt idx="72">
                  <c:v>0.5331317970673851</c:v>
                </c:pt>
                <c:pt idx="73">
                  <c:v>0.5812850626118068</c:v>
                </c:pt>
                <c:pt idx="74">
                  <c:v>0.6167131803098561</c:v>
                </c:pt>
                <c:pt idx="75">
                  <c:v>0.5672398190045248</c:v>
                </c:pt>
                <c:pt idx="76">
                  <c:v>0.5951036023839837</c:v>
                </c:pt>
                <c:pt idx="77">
                  <c:v>0.5787832599452278</c:v>
                </c:pt>
                <c:pt idx="78">
                  <c:v>0.5890605659241421</c:v>
                </c:pt>
                <c:pt idx="79">
                  <c:v>0.5297550042547621</c:v>
                </c:pt>
                <c:pt idx="80">
                  <c:v>0.49817865660756105</c:v>
                </c:pt>
                <c:pt idx="81">
                  <c:v>0.4742346021753682</c:v>
                </c:pt>
                <c:pt idx="82">
                  <c:v>0.4920924248502121</c:v>
                </c:pt>
                <c:pt idx="83">
                  <c:v>0.6465682761777473</c:v>
                </c:pt>
                <c:pt idx="84">
                  <c:v>0.6425862295574457</c:v>
                </c:pt>
                <c:pt idx="85">
                  <c:v>0.595721130013051</c:v>
                </c:pt>
                <c:pt idx="86">
                  <c:v>0.5038714421262</c:v>
                </c:pt>
                <c:pt idx="87">
                  <c:v>0.51032936291793</c:v>
                </c:pt>
                <c:pt idx="88">
                  <c:v>0.5247417804929226</c:v>
                </c:pt>
                <c:pt idx="89">
                  <c:v>0.5267705858244719</c:v>
                </c:pt>
                <c:pt idx="90">
                  <c:v>0.5118946607475313</c:v>
                </c:pt>
                <c:pt idx="91">
                  <c:v>0.5529830601092895</c:v>
                </c:pt>
                <c:pt idx="92">
                  <c:v>0.657590465795134</c:v>
                </c:pt>
                <c:pt idx="93">
                  <c:v>0.5457245517098722</c:v>
                </c:pt>
                <c:pt idx="94">
                  <c:v>0.5737761398544251</c:v>
                </c:pt>
                <c:pt idx="95">
                  <c:v>0.5679910690514356</c:v>
                </c:pt>
                <c:pt idx="96">
                  <c:v>0.5093672788513522</c:v>
                </c:pt>
                <c:pt idx="97">
                  <c:v>0.5020833372992207</c:v>
                </c:pt>
                <c:pt idx="98">
                  <c:v>0.5290850296556159</c:v>
                </c:pt>
                <c:pt idx="99">
                  <c:v>0.5454984636101335</c:v>
                </c:pt>
                <c:pt idx="100">
                  <c:v>0.4988949291547412</c:v>
                </c:pt>
                <c:pt idx="101">
                  <c:v>0.5014682057842431</c:v>
                </c:pt>
                <c:pt idx="102">
                  <c:v>0.47936933261001496</c:v>
                </c:pt>
                <c:pt idx="103">
                  <c:v>0.4816807977764383</c:v>
                </c:pt>
                <c:pt idx="104">
                  <c:v>0.49584405964612743</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744380578592519</c:v>
                </c:pt>
                <c:pt idx="1">
                  <c:v>0.4968434715473018</c:v>
                </c:pt>
                <c:pt idx="2">
                  <c:v>0.5718381828191986</c:v>
                </c:pt>
                <c:pt idx="3">
                  <c:v>0.4913863586171039</c:v>
                </c:pt>
                <c:pt idx="4">
                  <c:v>0.5406427553444181</c:v>
                </c:pt>
                <c:pt idx="5">
                  <c:v>0.481619024501893</c:v>
                </c:pt>
                <c:pt idx="6">
                  <c:v>0.4600921266968326</c:v>
                </c:pt>
                <c:pt idx="7">
                  <c:v>0.4557142320092218</c:v>
                </c:pt>
                <c:pt idx="8">
                  <c:v>0.506658831326632</c:v>
                </c:pt>
                <c:pt idx="9">
                  <c:v>0.5187815521202636</c:v>
                </c:pt>
                <c:pt idx="10">
                  <c:v>0.5548924492384026</c:v>
                </c:pt>
                <c:pt idx="11">
                  <c:v>0.539175254671607</c:v>
                </c:pt>
                <c:pt idx="12">
                  <c:v>0.6204345424662624</c:v>
                </c:pt>
                <c:pt idx="13">
                  <c:v>0.7474292073015535</c:v>
                </c:pt>
                <c:pt idx="14">
                  <c:v>0.7260444054616951</c:v>
                </c:pt>
                <c:pt idx="15">
                  <c:v>0.71570006501045</c:v>
                </c:pt>
                <c:pt idx="16">
                  <c:v>0.7901303679380371</c:v>
                </c:pt>
                <c:pt idx="17">
                  <c:v>1.1150219972491355</c:v>
                </c:pt>
                <c:pt idx="18">
                  <c:v>0.6822754728272987</c:v>
                </c:pt>
                <c:pt idx="19">
                  <c:v>0.721995448545118</c:v>
                </c:pt>
                <c:pt idx="20">
                  <c:v>0.649771418869206</c:v>
                </c:pt>
                <c:pt idx="21">
                  <c:v>1.2764942878166134</c:v>
                </c:pt>
                <c:pt idx="22">
                  <c:v>0.9126675991243006</c:v>
                </c:pt>
                <c:pt idx="23">
                  <c:v>0.7210165306617885</c:v>
                </c:pt>
                <c:pt idx="24">
                  <c:v>0.7648011662657628</c:v>
                </c:pt>
                <c:pt idx="25">
                  <c:v>0.8555545803539288</c:v>
                </c:pt>
                <c:pt idx="26">
                  <c:v>0.6544986611924214</c:v>
                </c:pt>
                <c:pt idx="27">
                  <c:v>0.6885751398209317</c:v>
                </c:pt>
                <c:pt idx="28">
                  <c:v>0.5608577774287273</c:v>
                </c:pt>
                <c:pt idx="29">
                  <c:v>0.7705530719047959</c:v>
                </c:pt>
                <c:pt idx="30">
                  <c:v>0.6689174957739119</c:v>
                </c:pt>
                <c:pt idx="31">
                  <c:v>1.1333391046988837</c:v>
                </c:pt>
                <c:pt idx="32">
                  <c:v>0.661663646320731</c:v>
                </c:pt>
                <c:pt idx="33">
                  <c:v>0.6451553493030825</c:v>
                </c:pt>
                <c:pt idx="34">
                  <c:v>0.7102306922406457</c:v>
                </c:pt>
                <c:pt idx="35">
                  <c:v>0.8229580836776592</c:v>
                </c:pt>
                <c:pt idx="36">
                  <c:v>0.523188168586294</c:v>
                </c:pt>
                <c:pt idx="37">
                  <c:v>0.8147129907135788</c:v>
                </c:pt>
                <c:pt idx="38">
                  <c:v>0.4888438906778704</c:v>
                </c:pt>
                <c:pt idx="39">
                  <c:v>0.4552648982518061</c:v>
                </c:pt>
                <c:pt idx="40">
                  <c:v>0.4444177201455025</c:v>
                </c:pt>
                <c:pt idx="41">
                  <c:v>0.46906347585711355</c:v>
                </c:pt>
                <c:pt idx="42">
                  <c:v>0.5452243459581997</c:v>
                </c:pt>
                <c:pt idx="43">
                  <c:v>0.5383473179754498</c:v>
                </c:pt>
                <c:pt idx="44">
                  <c:v>0.5586448474658959</c:v>
                </c:pt>
                <c:pt idx="45">
                  <c:v>0.49786095843352796</c:v>
                </c:pt>
                <c:pt idx="46">
                  <c:v>0.49822061495353026</c:v>
                </c:pt>
                <c:pt idx="47">
                  <c:v>0.5810406849556446</c:v>
                </c:pt>
                <c:pt idx="48">
                  <c:v>0.5757839802577325</c:v>
                </c:pt>
                <c:pt idx="49">
                  <c:v>0.6353433337122087</c:v>
                </c:pt>
                <c:pt idx="50">
                  <c:v>0.6046061897517966</c:v>
                </c:pt>
                <c:pt idx="51">
                  <c:v>0.6362437647074758</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016247889433491</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016247889433491</c:v>
                </c:pt>
                <c:pt idx="1">
                  <c:v>-3.016247889433491</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0873770185049889</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0873770185049889</c:v>
                </c:pt>
                <c:pt idx="1">
                  <c:v>-0.10873770185049889</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996928541205173</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996928541205173</c:v>
                </c:pt>
                <c:pt idx="1">
                  <c:v>1.2996928541205173</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744380578592519</c:v>
                </c:pt>
                <c:pt idx="1">
                  <c:v>0.4968434715473018</c:v>
                </c:pt>
                <c:pt idx="2">
                  <c:v>0.5718381828191986</c:v>
                </c:pt>
                <c:pt idx="3">
                  <c:v>0.4913863586171039</c:v>
                </c:pt>
                <c:pt idx="4">
                  <c:v>0.5406427553444181</c:v>
                </c:pt>
                <c:pt idx="5">
                  <c:v>0.481619024501893</c:v>
                </c:pt>
                <c:pt idx="6">
                  <c:v>0.4600921266968326</c:v>
                </c:pt>
                <c:pt idx="7">
                  <c:v>0.4557142320092218</c:v>
                </c:pt>
                <c:pt idx="8">
                  <c:v>0.506658831326632</c:v>
                </c:pt>
                <c:pt idx="9">
                  <c:v>0.5187815521202636</c:v>
                </c:pt>
                <c:pt idx="10">
                  <c:v>0.5548924492384026</c:v>
                </c:pt>
                <c:pt idx="11">
                  <c:v>0.539175254671607</c:v>
                </c:pt>
                <c:pt idx="12">
                  <c:v>0.6204345424662624</c:v>
                </c:pt>
                <c:pt idx="13">
                  <c:v>0.7474292073015535</c:v>
                </c:pt>
                <c:pt idx="14">
                  <c:v>0.7260444054616951</c:v>
                </c:pt>
                <c:pt idx="15">
                  <c:v>0.71570006501045</c:v>
                </c:pt>
                <c:pt idx="16">
                  <c:v>0.7901303679380371</c:v>
                </c:pt>
                <c:pt idx="17">
                  <c:v>1.1150219972491355</c:v>
                </c:pt>
                <c:pt idx="18">
                  <c:v>0.6822754728272987</c:v>
                </c:pt>
                <c:pt idx="19">
                  <c:v>0.721995448545118</c:v>
                </c:pt>
                <c:pt idx="20">
                  <c:v>0.649771418869206</c:v>
                </c:pt>
                <c:pt idx="21">
                  <c:v>1.2764942878166134</c:v>
                </c:pt>
                <c:pt idx="22">
                  <c:v>0.9126675991243006</c:v>
                </c:pt>
                <c:pt idx="23">
                  <c:v>0.7210165306617885</c:v>
                </c:pt>
                <c:pt idx="24">
                  <c:v>0.7648011662657628</c:v>
                </c:pt>
                <c:pt idx="25">
                  <c:v>0.8555545803539288</c:v>
                </c:pt>
                <c:pt idx="26">
                  <c:v>0.6544986611924214</c:v>
                </c:pt>
                <c:pt idx="27">
                  <c:v>0.6885751398209317</c:v>
                </c:pt>
                <c:pt idx="28">
                  <c:v>0.5608577774287273</c:v>
                </c:pt>
                <c:pt idx="29">
                  <c:v>0.7705530719047959</c:v>
                </c:pt>
                <c:pt idx="30">
                  <c:v>0.6689174957739119</c:v>
                </c:pt>
                <c:pt idx="31">
                  <c:v>1.1333391046988837</c:v>
                </c:pt>
                <c:pt idx="32">
                  <c:v>0.661663646320731</c:v>
                </c:pt>
                <c:pt idx="33">
                  <c:v>0.6451553493030825</c:v>
                </c:pt>
                <c:pt idx="34">
                  <c:v>0.7102306922406457</c:v>
                </c:pt>
                <c:pt idx="35">
                  <c:v>0.8229580836776592</c:v>
                </c:pt>
                <c:pt idx="36">
                  <c:v>0.523188168586294</c:v>
                </c:pt>
                <c:pt idx="37">
                  <c:v>0.8147129907135788</c:v>
                </c:pt>
                <c:pt idx="38">
                  <c:v>0.4888438906778704</c:v>
                </c:pt>
                <c:pt idx="39">
                  <c:v>0.4552648982518061</c:v>
                </c:pt>
                <c:pt idx="40">
                  <c:v>0.4444177201455025</c:v>
                </c:pt>
                <c:pt idx="41">
                  <c:v>0.46906347585711355</c:v>
                </c:pt>
                <c:pt idx="42">
                  <c:v>0.5452243459581997</c:v>
                </c:pt>
                <c:pt idx="43">
                  <c:v>0.5383473179754498</c:v>
                </c:pt>
                <c:pt idx="44">
                  <c:v>0.5586448474658959</c:v>
                </c:pt>
                <c:pt idx="45">
                  <c:v>0.49786095843352796</c:v>
                </c:pt>
                <c:pt idx="46">
                  <c:v>0.49822061495353026</c:v>
                </c:pt>
                <c:pt idx="47">
                  <c:v>0.5810406849556446</c:v>
                </c:pt>
                <c:pt idx="48">
                  <c:v>0.5757839802577325</c:v>
                </c:pt>
                <c:pt idx="49">
                  <c:v>0.6353433337122087</c:v>
                </c:pt>
                <c:pt idx="50">
                  <c:v>0.6046061897517966</c:v>
                </c:pt>
                <c:pt idx="51">
                  <c:v>0.6362437647074758</c:v>
                </c:pt>
                <c:pt idx="52">
                  <c:v>-0.10873770185049889</c:v>
                </c:pt>
                <c:pt idx="53">
                  <c:v>-3.016247889433491</c:v>
                </c:pt>
                <c:pt idx="54">
                  <c:v>1.2996928541205173</c:v>
                </c:pt>
              </c:numCache>
            </c:numRef>
          </c:xVal>
          <c:yVal>
            <c:numRef>
              <c:f>Sheet1!$B$187:$B$241</c:f>
              <c:numCache>
                <c:formatCode>General</c:formatCode>
                <c:ptCount val="55"/>
                <c:pt idx="0">
                  <c:v>0.3673194768254274</c:v>
                </c:pt>
                <c:pt idx="1">
                  <c:v>0.36678152711241857</c:v>
                </c:pt>
                <c:pt idx="2">
                  <c:v>0.364980918385992</c:v>
                </c:pt>
                <c:pt idx="3">
                  <c:v>0.3669125513539492</c:v>
                </c:pt>
                <c:pt idx="4">
                  <c:v>0.3657299146549695</c:v>
                </c:pt>
                <c:pt idx="5">
                  <c:v>0.36714706318476364</c:v>
                </c:pt>
                <c:pt idx="6">
                  <c:v>0.36766391989883446</c:v>
                </c:pt>
                <c:pt idx="7">
                  <c:v>0.3677690323160196</c:v>
                </c:pt>
                <c:pt idx="8">
                  <c:v>0.36654586219456053</c:v>
                </c:pt>
                <c:pt idx="9">
                  <c:v>0.3662547979784466</c:v>
                </c:pt>
                <c:pt idx="10">
                  <c:v>0.3653877822200383</c:v>
                </c:pt>
                <c:pt idx="11">
                  <c:v>0.3657651490664725</c:v>
                </c:pt>
                <c:pt idx="12">
                  <c:v>0.36381412905153054</c:v>
                </c:pt>
                <c:pt idx="13">
                  <c:v>0.36076501134931027</c:v>
                </c:pt>
                <c:pt idx="14">
                  <c:v>0.3612784563663348</c:v>
                </c:pt>
                <c:pt idx="15">
                  <c:v>0.3615268220093214</c:v>
                </c:pt>
                <c:pt idx="16">
                  <c:v>0.35973976461968643</c:v>
                </c:pt>
                <c:pt idx="17">
                  <c:v>0.35193917851222684</c:v>
                </c:pt>
                <c:pt idx="18">
                  <c:v>0.36232934009815077</c:v>
                </c:pt>
                <c:pt idx="19">
                  <c:v>0.36137567105032076</c:v>
                </c:pt>
                <c:pt idx="20">
                  <c:v>0.3631097562396169</c:v>
                </c:pt>
                <c:pt idx="21">
                  <c:v>0.348062259586334</c:v>
                </c:pt>
                <c:pt idx="22">
                  <c:v>0.3567976690499577</c:v>
                </c:pt>
                <c:pt idx="23">
                  <c:v>0.36139917468215405</c:v>
                </c:pt>
                <c:pt idx="24">
                  <c:v>0.36034791392503096</c:v>
                </c:pt>
                <c:pt idx="25">
                  <c:v>0.3581689417470103</c:v>
                </c:pt>
                <c:pt idx="26">
                  <c:v>0.36299625605227365</c:v>
                </c:pt>
                <c:pt idx="27">
                  <c:v>0.36217808629411663</c:v>
                </c:pt>
                <c:pt idx="28">
                  <c:v>0.365244555826959</c:v>
                </c:pt>
                <c:pt idx="29">
                  <c:v>0.3602098117667377</c:v>
                </c:pt>
                <c:pt idx="30">
                  <c:v>0.3626500625816674</c:v>
                </c:pt>
                <c:pt idx="31">
                  <c:v>0.35149938825292</c:v>
                </c:pt>
                <c:pt idx="32">
                  <c:v>0.3628242261247235</c:v>
                </c:pt>
                <c:pt idx="33">
                  <c:v>0.3632205871902478</c:v>
                </c:pt>
                <c:pt idx="34">
                  <c:v>0.36165814060726476</c:v>
                </c:pt>
                <c:pt idx="35">
                  <c:v>0.35895157742052375</c:v>
                </c:pt>
                <c:pt idx="36">
                  <c:v>0.3661489959568349</c:v>
                </c:pt>
                <c:pt idx="37">
                  <c:v>0.35914954053138226</c:v>
                </c:pt>
                <c:pt idx="38">
                  <c:v>0.36697359552467007</c:v>
                </c:pt>
                <c:pt idx="39">
                  <c:v>0.3677798207339088</c:v>
                </c:pt>
                <c:pt idx="40">
                  <c:v>0.36804025941317114</c:v>
                </c:pt>
                <c:pt idx="41">
                  <c:v>0.3674485195151027</c:v>
                </c:pt>
                <c:pt idx="42">
                  <c:v>0.36561991153741397</c:v>
                </c:pt>
                <c:pt idx="43">
                  <c:v>0.3657850276687732</c:v>
                </c:pt>
                <c:pt idx="44">
                  <c:v>0.36529768785366423</c:v>
                </c:pt>
                <c:pt idx="45">
                  <c:v>0.3667570974461756</c:v>
                </c:pt>
                <c:pt idx="46">
                  <c:v>0.3667484621616675</c:v>
                </c:pt>
                <c:pt idx="47">
                  <c:v>0.3647599680633517</c:v>
                </c:pt>
                <c:pt idx="48">
                  <c:v>0.36488618054141553</c:v>
                </c:pt>
                <c:pt idx="49">
                  <c:v>0.3634561718147783</c:v>
                </c:pt>
                <c:pt idx="50">
                  <c:v>0.36419416478390765</c:v>
                </c:pt>
                <c:pt idx="51">
                  <c:v>0.3634345526381707</c:v>
                </c:pt>
                <c:pt idx="52">
                  <c:v>0.3813214156843788</c:v>
                </c:pt>
                <c:pt idx="53">
                  <c:v>0.4511301812245946</c:v>
                </c:pt>
                <c:pt idx="54">
                  <c:v>0.3475052664301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6303956728810179</c:v>
                </c:pt>
                <c:pt idx="8">
                  <c:v>0.48421878235998694</c:v>
                </c:pt>
                <c:pt idx="9">
                  <c:v>0.5407201509118889</c:v>
                </c:pt>
                <c:pt idx="10">
                  <c:v>0.6473388843356714</c:v>
                </c:pt>
                <c:pt idx="11">
                  <c:v>0.499095338780014</c:v>
                </c:pt>
                <c:pt idx="12">
                  <c:v>0.6219226091661407</c:v>
                </c:pt>
                <c:pt idx="13">
                  <c:v>0.4079686385813109</c:v>
                </c:pt>
                <c:pt idx="14">
                  <c:v>0.33439675589302825</c:v>
                </c:pt>
                <c:pt idx="15">
                  <c:v>0.3323694307756866</c:v>
                </c:pt>
                <c:pt idx="16">
                  <c:v>0.32011203632958707</c:v>
                </c:pt>
                <c:pt idx="17">
                  <c:v>0.34914171937228566</c:v>
                </c:pt>
                <c:pt idx="18">
                  <c:v>0.39835602610927373</c:v>
                </c:pt>
                <c:pt idx="19">
                  <c:v>0.2501952149369725</c:v>
                </c:pt>
                <c:pt idx="20">
                  <c:v>0.38846509732610224</c:v>
                </c:pt>
                <c:pt idx="21">
                  <c:v>0.10086845447693571</c:v>
                </c:pt>
                <c:pt idx="22">
                  <c:v>0.3626481015047659</c:v>
                </c:pt>
                <c:pt idx="23">
                  <c:v>0.48823058497385463</c:v>
                </c:pt>
                <c:pt idx="24">
                  <c:v>0.6098709938535197</c:v>
                </c:pt>
                <c:pt idx="25">
                  <c:v>0.6449738901729667</c:v>
                </c:pt>
                <c:pt idx="26">
                  <c:v>0.6388905742672206</c:v>
                </c:pt>
                <c:pt idx="27">
                  <c:v>0.6633865222908671</c:v>
                </c:pt>
                <c:pt idx="28">
                  <c:v>0.6658398723019564</c:v>
                </c:pt>
                <c:pt idx="29">
                  <c:v>0.562087810013314</c:v>
                </c:pt>
                <c:pt idx="30">
                  <c:v>0.6843699416863898</c:v>
                </c:pt>
                <c:pt idx="31">
                  <c:v>0.5568781359559153</c:v>
                </c:pt>
                <c:pt idx="32">
                  <c:v>0.7252090538263978</c:v>
                </c:pt>
                <c:pt idx="33">
                  <c:v>0.6162021881339097</c:v>
                </c:pt>
                <c:pt idx="34">
                  <c:v>0.8083762896167012</c:v>
                </c:pt>
                <c:pt idx="35">
                  <c:v>0.9356953287117762</c:v>
                </c:pt>
                <c:pt idx="36">
                  <c:v>0.6546806993191944</c:v>
                </c:pt>
                <c:pt idx="37">
                  <c:v>0.6939960469729268</c:v>
                </c:pt>
                <c:pt idx="38">
                  <c:v>0.6317678701686392</c:v>
                </c:pt>
                <c:pt idx="39">
                  <c:v>0.7713679598027267</c:v>
                </c:pt>
                <c:pt idx="40">
                  <c:v>0.858936003591614</c:v>
                </c:pt>
                <c:pt idx="41">
                  <c:v>0.7076301957196128</c:v>
                </c:pt>
                <c:pt idx="42">
                  <c:v>1.0566946280421414</c:v>
                </c:pt>
                <c:pt idx="43">
                  <c:v>0.7305839706452103</c:v>
                </c:pt>
                <c:pt idx="44">
                  <c:v>0.670795951185706</c:v>
                </c:pt>
                <c:pt idx="45">
                  <c:v>0.7524561843962232</c:v>
                </c:pt>
                <c:pt idx="46">
                  <c:v>0.6751910131238572</c:v>
                </c:pt>
                <c:pt idx="47">
                  <c:v>0.773251774178264</c:v>
                </c:pt>
                <c:pt idx="48">
                  <c:v>0.7830954298116188</c:v>
                </c:pt>
                <c:pt idx="49">
                  <c:v>0.8000096118263533</c:v>
                </c:pt>
                <c:pt idx="50">
                  <c:v>0.6915732215111093</c:v>
                </c:pt>
                <c:pt idx="51">
                  <c:v>0.7675781446919724</c:v>
                </c:pt>
                <c:pt idx="52">
                  <c:v>0.6737455340845674</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9140573316348773</c:v>
                </c:pt>
                <c:pt idx="1">
                  <c:v>0.6977724931225415</c:v>
                </c:pt>
                <c:pt idx="2">
                  <c:v>0.9054723777061043</c:v>
                </c:pt>
                <c:pt idx="3">
                  <c:v>0.7585416850218767</c:v>
                </c:pt>
                <c:pt idx="4">
                  <c:v>0.7891186357507718</c:v>
                </c:pt>
                <c:pt idx="5">
                  <c:v>0.8306627859576674</c:v>
                </c:pt>
                <c:pt idx="6">
                  <c:v>0.7774049826059559</c:v>
                </c:pt>
                <c:pt idx="7">
                  <c:v>0.6985054448225563</c:v>
                </c:pt>
                <c:pt idx="8">
                  <c:v>0.7803653278301914</c:v>
                </c:pt>
                <c:pt idx="9">
                  <c:v>0.704323409180088</c:v>
                </c:pt>
                <c:pt idx="10">
                  <c:v>0.7101634926002641</c:v>
                </c:pt>
                <c:pt idx="11">
                  <c:v>0.6283074982198898</c:v>
                </c:pt>
                <c:pt idx="12">
                  <c:v>0.6592600794697351</c:v>
                </c:pt>
                <c:pt idx="13">
                  <c:v>0.5992224070201709</c:v>
                </c:pt>
                <c:pt idx="14">
                  <c:v>0.5221674630696632</c:v>
                </c:pt>
                <c:pt idx="15">
                  <c:v>0.6148138842849625</c:v>
                </c:pt>
                <c:pt idx="16">
                  <c:v>0.5316140151902198</c:v>
                </c:pt>
                <c:pt idx="17">
                  <c:v>0.5329534295316452</c:v>
                </c:pt>
                <c:pt idx="18">
                  <c:v>0.684536114616029</c:v>
                </c:pt>
                <c:pt idx="19">
                  <c:v>0.5100073101292946</c:v>
                </c:pt>
                <c:pt idx="20">
                  <c:v>0.6536888380387675</c:v>
                </c:pt>
                <c:pt idx="21">
                  <c:v>0.5413185034889932</c:v>
                </c:pt>
                <c:pt idx="22">
                  <c:v>0.4512781915588529</c:v>
                </c:pt>
                <c:pt idx="23">
                  <c:v>0.5300978298481935</c:v>
                </c:pt>
                <c:pt idx="24">
                  <c:v>0.552027448457173</c:v>
                </c:pt>
                <c:pt idx="25">
                  <c:v>0.46323837584446637</c:v>
                </c:pt>
                <c:pt idx="26">
                  <c:v>0.4502503154715194</c:v>
                </c:pt>
                <c:pt idx="27">
                  <c:v>0.5238035689553371</c:v>
                </c:pt>
                <c:pt idx="28">
                  <c:v>0.6129650195064801</c:v>
                </c:pt>
                <c:pt idx="29">
                  <c:v>0.43554244907926</c:v>
                </c:pt>
                <c:pt idx="30">
                  <c:v>0.6331162179663121</c:v>
                </c:pt>
                <c:pt idx="31">
                  <c:v>0.6639262104120982</c:v>
                </c:pt>
                <c:pt idx="32">
                  <c:v>0.7333954003694207</c:v>
                </c:pt>
                <c:pt idx="33">
                  <c:v>0.7305867492476755</c:v>
                </c:pt>
                <c:pt idx="34">
                  <c:v>0.7841482774124892</c:v>
                </c:pt>
                <c:pt idx="35">
                  <c:v>0.5086836902568156</c:v>
                </c:pt>
                <c:pt idx="36">
                  <c:v>0.496068690452223</c:v>
                </c:pt>
                <c:pt idx="37">
                  <c:v>0.5459155880480102</c:v>
                </c:pt>
                <c:pt idx="38">
                  <c:v>0.4882285507235891</c:v>
                </c:pt>
                <c:pt idx="39">
                  <c:v>0.5536867261784792</c:v>
                </c:pt>
                <c:pt idx="40">
                  <c:v>0.6939347623925611</c:v>
                </c:pt>
                <c:pt idx="41">
                  <c:v>0.5967506198264756</c:v>
                </c:pt>
                <c:pt idx="42">
                  <c:v>0.5900485960720343</c:v>
                </c:pt>
                <c:pt idx="43">
                  <c:v>0.6197340760851417</c:v>
                </c:pt>
                <c:pt idx="44">
                  <c:v>0.6221048402717249</c:v>
                </c:pt>
                <c:pt idx="45">
                  <c:v>0.7246234577824511</c:v>
                </c:pt>
                <c:pt idx="46">
                  <c:v>0.684872634053804</c:v>
                </c:pt>
                <c:pt idx="47">
                  <c:v>0.5661526947269886</c:v>
                </c:pt>
                <c:pt idx="48">
                  <c:v>0.557334728278861</c:v>
                </c:pt>
                <c:pt idx="49">
                  <c:v>0.6850326509652954</c:v>
                </c:pt>
                <c:pt idx="50">
                  <c:v>0.8105462681861869</c:v>
                </c:pt>
                <c:pt idx="51">
                  <c:v>0.725761122981121</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4779841770556929</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4779841770556929</c:v>
                </c:pt>
                <c:pt idx="1">
                  <c:v>0.4779841770556929</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4779841770556929</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779841770556929</c:v>
                </c:pt>
                <c:pt idx="1">
                  <c:v>0.4779841770556929</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8286554828676987</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8286554828676987</c:v>
                </c:pt>
                <c:pt idx="1">
                  <c:v>0.8286554828676987</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9140573316348773</c:v>
                </c:pt>
                <c:pt idx="1">
                  <c:v>0.6977724931225415</c:v>
                </c:pt>
                <c:pt idx="2">
                  <c:v>0.9054723777061043</c:v>
                </c:pt>
                <c:pt idx="3">
                  <c:v>0.7585416850218767</c:v>
                </c:pt>
                <c:pt idx="4">
                  <c:v>0.7891186357507718</c:v>
                </c:pt>
                <c:pt idx="5">
                  <c:v>0.8306627859576674</c:v>
                </c:pt>
                <c:pt idx="6">
                  <c:v>0.7774049826059559</c:v>
                </c:pt>
                <c:pt idx="7">
                  <c:v>0.6985054448225563</c:v>
                </c:pt>
                <c:pt idx="8">
                  <c:v>0.7803653278301914</c:v>
                </c:pt>
                <c:pt idx="9">
                  <c:v>0.704323409180088</c:v>
                </c:pt>
                <c:pt idx="10">
                  <c:v>0.7101634926002641</c:v>
                </c:pt>
                <c:pt idx="11">
                  <c:v>0.6283074982198898</c:v>
                </c:pt>
                <c:pt idx="12">
                  <c:v>0.6592600794697351</c:v>
                </c:pt>
                <c:pt idx="13">
                  <c:v>0.5992224070201709</c:v>
                </c:pt>
                <c:pt idx="14">
                  <c:v>0.5221674630696632</c:v>
                </c:pt>
                <c:pt idx="15">
                  <c:v>0.6148138842849625</c:v>
                </c:pt>
                <c:pt idx="16">
                  <c:v>0.5316140151902198</c:v>
                </c:pt>
                <c:pt idx="17">
                  <c:v>0.5329534295316452</c:v>
                </c:pt>
                <c:pt idx="18">
                  <c:v>0.684536114616029</c:v>
                </c:pt>
                <c:pt idx="19">
                  <c:v>0.5100073101292946</c:v>
                </c:pt>
                <c:pt idx="20">
                  <c:v>0.6536888380387675</c:v>
                </c:pt>
                <c:pt idx="21">
                  <c:v>0.5413185034889932</c:v>
                </c:pt>
                <c:pt idx="22">
                  <c:v>0.4512781915588529</c:v>
                </c:pt>
                <c:pt idx="23">
                  <c:v>0.5300978298481935</c:v>
                </c:pt>
                <c:pt idx="24">
                  <c:v>0.552027448457173</c:v>
                </c:pt>
                <c:pt idx="25">
                  <c:v>0.46323837584446637</c:v>
                </c:pt>
                <c:pt idx="26">
                  <c:v>0.4502503154715194</c:v>
                </c:pt>
                <c:pt idx="27">
                  <c:v>0.5238035689553371</c:v>
                </c:pt>
                <c:pt idx="28">
                  <c:v>0.6129650195064801</c:v>
                </c:pt>
                <c:pt idx="29">
                  <c:v>0.43554244907926</c:v>
                </c:pt>
                <c:pt idx="30">
                  <c:v>0.6331162179663121</c:v>
                </c:pt>
                <c:pt idx="31">
                  <c:v>0.6639262104120982</c:v>
                </c:pt>
                <c:pt idx="32">
                  <c:v>0.7333954003694207</c:v>
                </c:pt>
                <c:pt idx="33">
                  <c:v>0.7305867492476755</c:v>
                </c:pt>
                <c:pt idx="34">
                  <c:v>0.7841482774124892</c:v>
                </c:pt>
                <c:pt idx="35">
                  <c:v>0.5086836902568156</c:v>
                </c:pt>
                <c:pt idx="36">
                  <c:v>0.496068690452223</c:v>
                </c:pt>
                <c:pt idx="37">
                  <c:v>0.5459155880480102</c:v>
                </c:pt>
                <c:pt idx="38">
                  <c:v>0.4882285507235891</c:v>
                </c:pt>
                <c:pt idx="39">
                  <c:v>0.5536867261784792</c:v>
                </c:pt>
                <c:pt idx="40">
                  <c:v>0.6939347623925611</c:v>
                </c:pt>
                <c:pt idx="41">
                  <c:v>0.5967506198264756</c:v>
                </c:pt>
                <c:pt idx="42">
                  <c:v>0.5900485960720343</c:v>
                </c:pt>
                <c:pt idx="43">
                  <c:v>0.6197340760851417</c:v>
                </c:pt>
                <c:pt idx="44">
                  <c:v>0.6221048402717249</c:v>
                </c:pt>
                <c:pt idx="45">
                  <c:v>0.7246234577824511</c:v>
                </c:pt>
                <c:pt idx="46">
                  <c:v>0.684872634053804</c:v>
                </c:pt>
                <c:pt idx="47">
                  <c:v>0.5661526947269886</c:v>
                </c:pt>
                <c:pt idx="48">
                  <c:v>0.557334728278861</c:v>
                </c:pt>
                <c:pt idx="49">
                  <c:v>0.6850326509652954</c:v>
                </c:pt>
                <c:pt idx="50">
                  <c:v>0.8105462681861869</c:v>
                </c:pt>
                <c:pt idx="51">
                  <c:v>0.725761122981121</c:v>
                </c:pt>
                <c:pt idx="52">
                  <c:v>0.4779841770556929</c:v>
                </c:pt>
                <c:pt idx="53">
                  <c:v>0.4779841770556929</c:v>
                </c:pt>
                <c:pt idx="54">
                  <c:v>0.8286554828676987</c:v>
                </c:pt>
              </c:numCache>
            </c:numRef>
          </c:xVal>
          <c:yVal>
            <c:numRef>
              <c:f>Sheet1!$B$135:$B$189</c:f>
              <c:numCache>
                <c:formatCode>General</c:formatCode>
                <c:ptCount val="55"/>
                <c:pt idx="0">
                  <c:v>0.0019477882828392232</c:v>
                </c:pt>
                <c:pt idx="1">
                  <c:v>0.0032451957035327635</c:v>
                </c:pt>
                <c:pt idx="2">
                  <c:v>0.0019992860346470416</c:v>
                </c:pt>
                <c:pt idx="3">
                  <c:v>0.00288066529510448</c:v>
                </c:pt>
                <c:pt idx="4">
                  <c:v>0.0026972462304547555</c:v>
                </c:pt>
                <c:pt idx="5">
                  <c:v>0.0024480392627561883</c:v>
                </c:pt>
                <c:pt idx="6">
                  <c:v>0.0027675118145708034</c:v>
                </c:pt>
                <c:pt idx="7">
                  <c:v>0.003240799015437797</c:v>
                </c:pt>
                <c:pt idx="8">
                  <c:v>0.002749753871442863</c:v>
                </c:pt>
                <c:pt idx="9">
                  <c:v>0.0032058993424754602</c:v>
                </c:pt>
                <c:pt idx="10">
                  <c:v>0.003170866985982411</c:v>
                </c:pt>
                <c:pt idx="11">
                  <c:v>0.003661888803636491</c:v>
                </c:pt>
                <c:pt idx="12">
                  <c:v>0.003476216479679865</c:v>
                </c:pt>
                <c:pt idx="13">
                  <c:v>0.003836358791517363</c:v>
                </c:pt>
                <c:pt idx="14">
                  <c:v>0.00429858100168311</c:v>
                </c:pt>
                <c:pt idx="15">
                  <c:v>0.0037428316703282307</c:v>
                </c:pt>
                <c:pt idx="16">
                  <c:v>0.004241914862227943</c:v>
                </c:pt>
                <c:pt idx="17">
                  <c:v>0.0042338802439999546</c:v>
                </c:pt>
                <c:pt idx="18">
                  <c:v>0.0033245955163702144</c:v>
                </c:pt>
                <c:pt idx="19">
                  <c:v>0.004371524961926087</c:v>
                </c:pt>
                <c:pt idx="20">
                  <c:v>0.0035096361591392755</c:v>
                </c:pt>
                <c:pt idx="21">
                  <c:v>0.0041837014653968736</c:v>
                </c:pt>
                <c:pt idx="22">
                  <c:v>0.004723817775274334</c:v>
                </c:pt>
                <c:pt idx="23">
                  <c:v>0.0042510098599514165</c:v>
                </c:pt>
                <c:pt idx="24">
                  <c:v>0.00411946272926964</c:v>
                </c:pt>
                <c:pt idx="25">
                  <c:v>0.0046520733481025135</c:v>
                </c:pt>
                <c:pt idx="26">
                  <c:v>0.004729983598419555</c:v>
                </c:pt>
                <c:pt idx="27">
                  <c:v>0.004288766647927599</c:v>
                </c:pt>
                <c:pt idx="28">
                  <c:v>0.003753922280747163</c:v>
                </c:pt>
                <c:pt idx="29">
                  <c:v>0.00481821028657365</c:v>
                </c:pt>
                <c:pt idx="30">
                  <c:v>0.003633043190943727</c:v>
                </c:pt>
                <c:pt idx="31">
                  <c:v>0.0034482262009705956</c:v>
                </c:pt>
                <c:pt idx="32">
                  <c:v>0.0030315079363888693</c:v>
                </c:pt>
                <c:pt idx="33">
                  <c:v>0.0030483559264401165</c:v>
                </c:pt>
                <c:pt idx="34">
                  <c:v>0.002727061449292788</c:v>
                </c:pt>
                <c:pt idx="35">
                  <c:v>0.00437946483536587</c:v>
                </c:pt>
                <c:pt idx="36">
                  <c:v>0.004455137242507772</c:v>
                </c:pt>
                <c:pt idx="37">
                  <c:v>0.0041561253687021245</c:v>
                </c:pt>
                <c:pt idx="38">
                  <c:v>0.004502167147762197</c:v>
                </c:pt>
                <c:pt idx="39">
                  <c:v>0.0041095093768135854</c:v>
                </c:pt>
                <c:pt idx="40">
                  <c:v>0.0032682167361763265</c:v>
                </c:pt>
                <c:pt idx="41">
                  <c:v>0.003851186067758886</c:v>
                </c:pt>
                <c:pt idx="42">
                  <c:v>0.0038913888642770553</c:v>
                </c:pt>
                <c:pt idx="43">
                  <c:v>0.0037133173807613086</c:v>
                </c:pt>
                <c:pt idx="44">
                  <c:v>0.0036990961016853275</c:v>
                </c:pt>
                <c:pt idx="45">
                  <c:v>0.0030841273593891693</c:v>
                </c:pt>
                <c:pt idx="46">
                  <c:v>0.003322576869021746</c:v>
                </c:pt>
                <c:pt idx="47">
                  <c:v>0.004034730949383288</c:v>
                </c:pt>
                <c:pt idx="48">
                  <c:v>0.004087626451370011</c:v>
                </c:pt>
                <c:pt idx="49">
                  <c:v>0.0033216169906972485</c:v>
                </c:pt>
                <c:pt idx="50">
                  <c:v>0.0025687103167919235</c:v>
                </c:pt>
                <c:pt idx="51">
                  <c:v>0.00307730295467744</c:v>
                </c:pt>
                <c:pt idx="52">
                  <c:v>0.004563619103934927</c:v>
                </c:pt>
                <c:pt idx="53">
                  <c:v>0.004563619103934927</c:v>
                </c:pt>
                <c:pt idx="54">
                  <c:v>0.00246008028210095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4.4714</c:v>
                </c:pt>
                <c:pt idx="1">
                  <c:v>700.0748</c:v>
                </c:pt>
                <c:pt idx="2">
                  <c:v>673.0</c:v>
                </c:pt>
                <c:pt idx="3">
                  <c:v>672.3111</c:v>
                </c:pt>
                <c:pt idx="4">
                  <c:v>665.7422</c:v>
                </c:pt>
                <c:pt idx="5">
                  <c:v>645.6739</c:v>
                </c:pt>
                <c:pt idx="6">
                  <c:v>648.6667</c:v>
                </c:pt>
                <c:pt idx="7">
                  <c:v>647.2756</c:v>
                </c:pt>
                <c:pt idx="8">
                  <c:v>651.3111</c:v>
                </c:pt>
                <c:pt idx="9">
                  <c:v>630.1183</c:v>
                </c:pt>
                <c:pt idx="10">
                  <c:v>625.3636</c:v>
                </c:pt>
                <c:pt idx="11">
                  <c:v>639.5119</c:v>
                </c:pt>
                <c:pt idx="12">
                  <c:v>634.8192</c:v>
                </c:pt>
                <c:pt idx="13">
                  <c:v>653.8188</c:v>
                </c:pt>
                <c:pt idx="14">
                  <c:v>620.3846</c:v>
                </c:pt>
                <c:pt idx="15">
                  <c:v>652.5547</c:v>
                </c:pt>
                <c:pt idx="16">
                  <c:v>658.4149</c:v>
                </c:pt>
                <c:pt idx="17">
                  <c:v>642.8911</c:v>
                </c:pt>
                <c:pt idx="18">
                  <c:v>618.1507</c:v>
                </c:pt>
                <c:pt idx="19">
                  <c:v>559.2857</c:v>
                </c:pt>
                <c:pt idx="20">
                  <c:v>659.5747</c:v>
                </c:pt>
                <c:pt idx="21">
                  <c:v>635.0208</c:v>
                </c:pt>
                <c:pt idx="22">
                  <c:v>619.125</c:v>
                </c:pt>
                <c:pt idx="23">
                  <c:v>590.7126</c:v>
                </c:pt>
                <c:pt idx="24">
                  <c:v>596.5625</c:v>
                </c:pt>
                <c:pt idx="25">
                  <c:v>589.058</c:v>
                </c:pt>
                <c:pt idx="26">
                  <c:v>619.0</c:v>
                </c:pt>
                <c:pt idx="27">
                  <c:v>596.0</c:v>
                </c:pt>
                <c:pt idx="28">
                  <c:v>603.3529</c:v>
                </c:pt>
                <c:pt idx="29">
                  <c:v>596.5541</c:v>
                </c:pt>
                <c:pt idx="30">
                  <c:v>550.4179</c:v>
                </c:pt>
                <c:pt idx="31">
                  <c:v>558.3929</c:v>
                </c:pt>
                <c:pt idx="32">
                  <c:v>553.5733</c:v>
                </c:pt>
                <c:pt idx="33">
                  <c:v>560.8158</c:v>
                </c:pt>
                <c:pt idx="34">
                  <c:v>563.8942</c:v>
                </c:pt>
                <c:pt idx="35">
                  <c:v>547.2348</c:v>
                </c:pt>
                <c:pt idx="36">
                  <c:v>555.0504</c:v>
                </c:pt>
                <c:pt idx="37">
                  <c:v>577.6203</c:v>
                </c:pt>
                <c:pt idx="38">
                  <c:v>613.7105</c:v>
                </c:pt>
                <c:pt idx="39">
                  <c:v>643.6154</c:v>
                </c:pt>
                <c:pt idx="40">
                  <c:v>565.9107</c:v>
                </c:pt>
                <c:pt idx="41">
                  <c:v>631.4405</c:v>
                </c:pt>
                <c:pt idx="42">
                  <c:v>649.3162</c:v>
                </c:pt>
                <c:pt idx="43">
                  <c:v>666.1319</c:v>
                </c:pt>
                <c:pt idx="44">
                  <c:v>633.8027</c:v>
                </c:pt>
                <c:pt idx="45">
                  <c:v>659.0351</c:v>
                </c:pt>
                <c:pt idx="46">
                  <c:v>632.7407</c:v>
                </c:pt>
                <c:pt idx="47">
                  <c:v>595.1975</c:v>
                </c:pt>
                <c:pt idx="48">
                  <c:v>582.6309</c:v>
                </c:pt>
                <c:pt idx="49">
                  <c:v>571.8162</c:v>
                </c:pt>
                <c:pt idx="50">
                  <c:v>595.9067</c:v>
                </c:pt>
                <c:pt idx="51">
                  <c:v>589.9017</c:v>
                </c:pt>
                <c:pt idx="52">
                  <c:v>568.2874</c:v>
                </c:pt>
                <c:pt idx="53">
                  <c:v>556.153</c:v>
                </c:pt>
                <c:pt idx="54">
                  <c:v>550.9155</c:v>
                </c:pt>
                <c:pt idx="55">
                  <c:v>558.6515</c:v>
                </c:pt>
                <c:pt idx="56">
                  <c:v>551.06</c:v>
                </c:pt>
                <c:pt idx="57">
                  <c:v>547.1136</c:v>
                </c:pt>
                <c:pt idx="58">
                  <c:v>569.5929</c:v>
                </c:pt>
                <c:pt idx="59">
                  <c:v>572.9588</c:v>
                </c:pt>
                <c:pt idx="60">
                  <c:v>556.291</c:v>
                </c:pt>
                <c:pt idx="61">
                  <c:v>506.9128</c:v>
                </c:pt>
                <c:pt idx="62">
                  <c:v>534.1339</c:v>
                </c:pt>
                <c:pt idx="63">
                  <c:v>521.9733</c:v>
                </c:pt>
                <c:pt idx="64">
                  <c:v>508.8889</c:v>
                </c:pt>
                <c:pt idx="65">
                  <c:v>511.7222</c:v>
                </c:pt>
                <c:pt idx="66">
                  <c:v>511.6</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8.42888406674442</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8.42888406674442</c:v>
                </c:pt>
                <c:pt idx="1">
                  <c:v>248.42888406674442</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46.9995875763464</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46.9995875763464</c:v>
                </c:pt>
                <c:pt idx="1">
                  <c:v>546.9995875763464</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91.6305862007262</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91.6305862007262</c:v>
                </c:pt>
                <c:pt idx="1">
                  <c:v>691.6305862007262</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546.9995875763464</c:v>
                </c:pt>
                <c:pt idx="53">
                  <c:v>248.42888406674442</c:v>
                </c:pt>
                <c:pt idx="54">
                  <c:v>691.6305862007262</c:v>
                </c:pt>
              </c:numCache>
            </c:numRef>
          </c:xVal>
          <c:yVal>
            <c:numRef>
              <c:f>Sheet1!$B$187:$B$241</c:f>
              <c:numCache>
                <c:formatCode>General</c:formatCode>
                <c:ptCount val="55"/>
                <c:pt idx="0">
                  <c:v>0.3813508728182327</c:v>
                </c:pt>
                <c:pt idx="1">
                  <c:v>0.3844359233869797</c:v>
                </c:pt>
                <c:pt idx="2">
                  <c:v>0.37280842023691724</c:v>
                </c:pt>
                <c:pt idx="3">
                  <c:v>0.3829560240656701</c:v>
                </c:pt>
                <c:pt idx="4">
                  <c:v>0.3761713070270897</c:v>
                </c:pt>
                <c:pt idx="5">
                  <c:v>0.38562711432975183</c:v>
                </c:pt>
                <c:pt idx="6">
                  <c:v>0.39034595785015613</c:v>
                </c:pt>
                <c:pt idx="7">
                  <c:v>0.3881917275970843</c:v>
                </c:pt>
                <c:pt idx="8">
                  <c:v>0.37516094460712357</c:v>
                </c:pt>
                <c:pt idx="9">
                  <c:v>0.3782539680910861</c:v>
                </c:pt>
                <c:pt idx="10">
                  <c:v>0.36883365312067373</c:v>
                </c:pt>
                <c:pt idx="11">
                  <c:v>0.3690748279606975</c:v>
                </c:pt>
                <c:pt idx="12">
                  <c:v>0.3493196508683912</c:v>
                </c:pt>
                <c:pt idx="13">
                  <c:v>0.3453230225330083</c:v>
                </c:pt>
                <c:pt idx="14">
                  <c:v>0.3469512741916859</c:v>
                </c:pt>
                <c:pt idx="15">
                  <c:v>0.3472584301658394</c:v>
                </c:pt>
                <c:pt idx="16">
                  <c:v>0.3411085068167061</c:v>
                </c:pt>
                <c:pt idx="17">
                  <c:v>0.3446732883954007</c:v>
                </c:pt>
                <c:pt idx="18">
                  <c:v>0.3552550770791455</c:v>
                </c:pt>
                <c:pt idx="19">
                  <c:v>0.33833070574604474</c:v>
                </c:pt>
                <c:pt idx="20">
                  <c:v>0.34144488901965553</c:v>
                </c:pt>
                <c:pt idx="21">
                  <c:v>0.33313816350931635</c:v>
                </c:pt>
                <c:pt idx="22">
                  <c:v>0.33376549866517474</c:v>
                </c:pt>
                <c:pt idx="23">
                  <c:v>0.34005388419585153</c:v>
                </c:pt>
                <c:pt idx="24">
                  <c:v>0.35589001105449086</c:v>
                </c:pt>
                <c:pt idx="25">
                  <c:v>0.36312156205988616</c:v>
                </c:pt>
                <c:pt idx="26">
                  <c:v>0.37146438780803404</c:v>
                </c:pt>
                <c:pt idx="27">
                  <c:v>0.3659730833700623</c:v>
                </c:pt>
                <c:pt idx="28">
                  <c:v>0.3654520147821058</c:v>
                </c:pt>
                <c:pt idx="29">
                  <c:v>0.3521470430040734</c:v>
                </c:pt>
                <c:pt idx="30">
                  <c:v>0.35372577374067926</c:v>
                </c:pt>
                <c:pt idx="31">
                  <c:v>0.3622908591135743</c:v>
                </c:pt>
                <c:pt idx="32">
                  <c:v>0.37154327524479996</c:v>
                </c:pt>
                <c:pt idx="33">
                  <c:v>0.37325488010800356</c:v>
                </c:pt>
                <c:pt idx="34">
                  <c:v>0.36739174789679874</c:v>
                </c:pt>
                <c:pt idx="35">
                  <c:v>0.37960195190610246</c:v>
                </c:pt>
                <c:pt idx="36">
                  <c:v>0.38119038575066866</c:v>
                </c:pt>
                <c:pt idx="37">
                  <c:v>0.3750059754515562</c:v>
                </c:pt>
                <c:pt idx="38">
                  <c:v>0.367335236060799</c:v>
                </c:pt>
                <c:pt idx="39">
                  <c:v>0.3885793842958332</c:v>
                </c:pt>
                <c:pt idx="40">
                  <c:v>0.3850091315671081</c:v>
                </c:pt>
                <c:pt idx="41">
                  <c:v>0.378866316036818</c:v>
                </c:pt>
                <c:pt idx="42">
                  <c:v>0.3642218009786454</c:v>
                </c:pt>
                <c:pt idx="43">
                  <c:v>0.3595044538411554</c:v>
                </c:pt>
                <c:pt idx="44">
                  <c:v>0.3599277197770693</c:v>
                </c:pt>
                <c:pt idx="45">
                  <c:v>0.37367356337124225</c:v>
                </c:pt>
                <c:pt idx="46">
                  <c:v>0.3700382647477089</c:v>
                </c:pt>
                <c:pt idx="47">
                  <c:v>0.351007874748558</c:v>
                </c:pt>
                <c:pt idx="48">
                  <c:v>0.353478589988015</c:v>
                </c:pt>
                <c:pt idx="49">
                  <c:v>0.34022879732994926</c:v>
                </c:pt>
                <c:pt idx="50">
                  <c:v>0.34479980289461243</c:v>
                </c:pt>
                <c:pt idx="51">
                  <c:v>0.342267712574684</c:v>
                </c:pt>
                <c:pt idx="52">
                  <c:v>0.3813214156843788</c:v>
                </c:pt>
                <c:pt idx="53">
                  <c:v>0.4511301812245946</c:v>
                </c:pt>
                <c:pt idx="54">
                  <c:v>0.3475052664301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1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823230361818304</c:v>
                </c:pt>
                <c:pt idx="1">
                  <c:v>1.714313280296515</c:v>
                </c:pt>
                <c:pt idx="2">
                  <c:v>1.67127114698122</c:v>
                </c:pt>
                <c:pt idx="3">
                  <c:v>1.4887864542377895</c:v>
                </c:pt>
                <c:pt idx="4">
                  <c:v>1.4148002914002087</c:v>
                </c:pt>
                <c:pt idx="5">
                  <c:v>1.5439356767097083</c:v>
                </c:pt>
                <c:pt idx="6">
                  <c:v>1.3764810610079576</c:v>
                </c:pt>
                <c:pt idx="7">
                  <c:v>1.4738393333887403</c:v>
                </c:pt>
                <c:pt idx="8">
                  <c:v>1.4207470912591404</c:v>
                </c:pt>
                <c:pt idx="9">
                  <c:v>1.3809970592476775</c:v>
                </c:pt>
                <c:pt idx="10">
                  <c:v>1.3498674013734309</c:v>
                </c:pt>
                <c:pt idx="11">
                  <c:v>1.3662005079308654</c:v>
                </c:pt>
                <c:pt idx="12">
                  <c:v>1.3819945575269401</c:v>
                </c:pt>
                <c:pt idx="13">
                  <c:v>1.415192207792208</c:v>
                </c:pt>
                <c:pt idx="14">
                  <c:v>1.3350708623020127</c:v>
                </c:pt>
                <c:pt idx="15">
                  <c:v>1.3706627150079713</c:v>
                </c:pt>
                <c:pt idx="16">
                  <c:v>1.3911573918248532</c:v>
                </c:pt>
                <c:pt idx="17">
                  <c:v>1.3630199036735051</c:v>
                </c:pt>
                <c:pt idx="18">
                  <c:v>1.3502636522498908</c:v>
                </c:pt>
                <c:pt idx="19">
                  <c:v>1.1781730540951778</c:v>
                </c:pt>
                <c:pt idx="20">
                  <c:v>1.3861675515487697</c:v>
                </c:pt>
                <c:pt idx="21">
                  <c:v>1.2405909630108918</c:v>
                </c:pt>
                <c:pt idx="22">
                  <c:v>1.2292030654383737</c:v>
                </c:pt>
                <c:pt idx="23">
                  <c:v>1.1770789536714634</c:v>
                </c:pt>
                <c:pt idx="24">
                  <c:v>1.2353929825847512</c:v>
                </c:pt>
                <c:pt idx="25">
                  <c:v>1.1648732548891185</c:v>
                </c:pt>
                <c:pt idx="26">
                  <c:v>1.2371752989457228</c:v>
                </c:pt>
                <c:pt idx="27">
                  <c:v>1.1821053057487605</c:v>
                </c:pt>
                <c:pt idx="28">
                  <c:v>1.2188947474747474</c:v>
                </c:pt>
                <c:pt idx="29">
                  <c:v>1.2194049107819958</c:v>
                </c:pt>
                <c:pt idx="30">
                  <c:v>1.1232170223881055</c:v>
                </c:pt>
                <c:pt idx="31">
                  <c:v>1.1117163733375808</c:v>
                </c:pt>
                <c:pt idx="32">
                  <c:v>1.1364550950277077</c:v>
                </c:pt>
                <c:pt idx="33">
                  <c:v>1.1399376304193787</c:v>
                </c:pt>
                <c:pt idx="34">
                  <c:v>1.1625797619563043</c:v>
                </c:pt>
                <c:pt idx="35">
                  <c:v>1.144212642745668</c:v>
                </c:pt>
                <c:pt idx="36">
                  <c:v>1.1736693120110022</c:v>
                </c:pt>
                <c:pt idx="37">
                  <c:v>1.2295480930966793</c:v>
                </c:pt>
                <c:pt idx="38">
                  <c:v>1.2857754023243289</c:v>
                </c:pt>
                <c:pt idx="39">
                  <c:v>1.3638907336903892</c:v>
                </c:pt>
                <c:pt idx="40">
                  <c:v>1.2190513508401797</c:v>
                </c:pt>
                <c:pt idx="41">
                  <c:v>1.363122875249228</c:v>
                </c:pt>
                <c:pt idx="42">
                  <c:v>1.3677566317584617</c:v>
                </c:pt>
                <c:pt idx="43">
                  <c:v>1.397563852979379</c:v>
                </c:pt>
                <c:pt idx="44">
                  <c:v>1.3711135003699264</c:v>
                </c:pt>
                <c:pt idx="45">
                  <c:v>1.438639089344116</c:v>
                </c:pt>
                <c:pt idx="46">
                  <c:v>1.3602044023332012</c:v>
                </c:pt>
                <c:pt idx="47">
                  <c:v>1.263063327655325</c:v>
                </c:pt>
                <c:pt idx="48">
                  <c:v>1.2244366177499428</c:v>
                </c:pt>
                <c:pt idx="49">
                  <c:v>1.2118172356727017</c:v>
                </c:pt>
                <c:pt idx="50">
                  <c:v>1.2972398207874303</c:v>
                </c:pt>
                <c:pt idx="51">
                  <c:v>1.2400153198942323</c:v>
                </c:pt>
                <c:pt idx="52">
                  <c:v>1.2194558484107454</c:v>
                </c:pt>
                <c:pt idx="53">
                  <c:v>1.179704900367814</c:v>
                </c:pt>
                <c:pt idx="54">
                  <c:v>1.1357171659366176</c:v>
                </c:pt>
                <c:pt idx="55">
                  <c:v>1.125290310624815</c:v>
                </c:pt>
                <c:pt idx="56">
                  <c:v>1.1229374638804004</c:v>
                </c:pt>
                <c:pt idx="57">
                  <c:v>1.1842285714285714</c:v>
                </c:pt>
                <c:pt idx="58">
                  <c:v>1.1459923067064524</c:v>
                </c:pt>
                <c:pt idx="59">
                  <c:v>1.141511820975762</c:v>
                </c:pt>
                <c:pt idx="60">
                  <c:v>1.0988681257901391</c:v>
                </c:pt>
                <c:pt idx="61">
                  <c:v>0.9873903944475351</c:v>
                </c:pt>
                <c:pt idx="62">
                  <c:v>1.0507552820167398</c:v>
                </c:pt>
                <c:pt idx="63">
                  <c:v>1.008919926897886</c:v>
                </c:pt>
                <c:pt idx="64">
                  <c:v>0.9630230082171934</c:v>
                </c:pt>
                <c:pt idx="65">
                  <c:v>0.9730682666102791</c:v>
                </c:pt>
                <c:pt idx="66">
                  <c:v>0.9394364629886639</c:v>
                </c:pt>
                <c:pt idx="67">
                  <c:v>0.9476987965265474</c:v>
                </c:pt>
                <c:pt idx="68">
                  <c:v>1.002679294185053</c:v>
                </c:pt>
                <c:pt idx="69">
                  <c:v>1.0360295493545046</c:v>
                </c:pt>
                <c:pt idx="70">
                  <c:v>0.9435521035598705</c:v>
                </c:pt>
                <c:pt idx="71">
                  <c:v>0.9880789074818335</c:v>
                </c:pt>
                <c:pt idx="72">
                  <c:v>1.1896575156544116</c:v>
                </c:pt>
                <c:pt idx="73">
                  <c:v>1.1948615251274652</c:v>
                </c:pt>
                <c:pt idx="74">
                  <c:v>1.2376514802362064</c:v>
                </c:pt>
                <c:pt idx="75">
                  <c:v>1.1596669750231265</c:v>
                </c:pt>
                <c:pt idx="76">
                  <c:v>1.1828795196904522</c:v>
                </c:pt>
                <c:pt idx="77">
                  <c:v>1.1608295312343857</c:v>
                </c:pt>
                <c:pt idx="78">
                  <c:v>1.139222784809655</c:v>
                </c:pt>
                <c:pt idx="79">
                  <c:v>0.9680702392344498</c:v>
                </c:pt>
                <c:pt idx="80">
                  <c:v>0.9890930430937572</c:v>
                </c:pt>
                <c:pt idx="81">
                  <c:v>0.9870097031665315</c:v>
                </c:pt>
                <c:pt idx="82">
                  <c:v>1.030692057416268</c:v>
                </c:pt>
                <c:pt idx="83">
                  <c:v>1.0873667317939577</c:v>
                </c:pt>
                <c:pt idx="84">
                  <c:v>0.941809496124031</c:v>
                </c:pt>
                <c:pt idx="85">
                  <c:v>1.10988947304175</c:v>
                </c:pt>
                <c:pt idx="86">
                  <c:v>1.0808701622033137</c:v>
                </c:pt>
                <c:pt idx="87">
                  <c:v>1.0779400333974256</c:v>
                </c:pt>
                <c:pt idx="88">
                  <c:v>1.0501843262949933</c:v>
                </c:pt>
                <c:pt idx="89">
                  <c:v>1.0812483340579342</c:v>
                </c:pt>
                <c:pt idx="90">
                  <c:v>1.1092307845207399</c:v>
                </c:pt>
                <c:pt idx="91">
                  <c:v>1.190198576369171</c:v>
                </c:pt>
                <c:pt idx="92">
                  <c:v>1.2750123289003923</c:v>
                </c:pt>
                <c:pt idx="93">
                  <c:v>1.1734790694143988</c:v>
                </c:pt>
                <c:pt idx="94">
                  <c:v>1.2563931387144203</c:v>
                </c:pt>
                <c:pt idx="95">
                  <c:v>1.2389845918461346</c:v>
                </c:pt>
                <c:pt idx="96">
                  <c:v>1.0776024621212121</c:v>
                </c:pt>
                <c:pt idx="97">
                  <c:v>1.0715462106155733</c:v>
                </c:pt>
                <c:pt idx="98">
                  <c:v>1.1361076288692304</c:v>
                </c:pt>
                <c:pt idx="99">
                  <c:v>1.1010591419972349</c:v>
                </c:pt>
                <c:pt idx="100">
                  <c:v>1.0781977552211748</c:v>
                </c:pt>
                <c:pt idx="101">
                  <c:v>0.9488636833105174</c:v>
                </c:pt>
                <c:pt idx="102">
                  <c:v>0.9303722319707541</c:v>
                </c:pt>
                <c:pt idx="103">
                  <c:v>1.00019012523451</c:v>
                </c:pt>
                <c:pt idx="104">
                  <c:v>0.9802517050306208</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998715041907998</c:v>
                </c:pt>
                <c:pt idx="1">
                  <c:v>0.8856044833902352</c:v>
                </c:pt>
                <c:pt idx="2">
                  <c:v>0.9893556964101082</c:v>
                </c:pt>
                <c:pt idx="3">
                  <c:v>0.9078678131401736</c:v>
                </c:pt>
                <c:pt idx="4">
                  <c:v>0.9309138661751758</c:v>
                </c:pt>
                <c:pt idx="5">
                  <c:v>0.9053367307597777</c:v>
                </c:pt>
                <c:pt idx="6">
                  <c:v>0.859658099425093</c:v>
                </c:pt>
                <c:pt idx="7">
                  <c:v>0.8320007946849977</c:v>
                </c:pt>
                <c:pt idx="8">
                  <c:v>0.9502292425449766</c:v>
                </c:pt>
                <c:pt idx="9">
                  <c:v>0.9525274452434339</c:v>
                </c:pt>
                <c:pt idx="10">
                  <c:v>0.9863440170245146</c:v>
                </c:pt>
                <c:pt idx="11">
                  <c:v>1.0284067911655346</c:v>
                </c:pt>
                <c:pt idx="12">
                  <c:v>1.2122713243718173</c:v>
                </c:pt>
                <c:pt idx="13">
                  <c:v>1.1544699138088776</c:v>
                </c:pt>
                <c:pt idx="14">
                  <c:v>1.1251916798074137</c:v>
                </c:pt>
                <c:pt idx="15">
                  <c:v>1.1337855798346836</c:v>
                </c:pt>
                <c:pt idx="16">
                  <c:v>1.1673954471555805</c:v>
                </c:pt>
                <c:pt idx="17">
                  <c:v>1.1462814904823062</c:v>
                </c:pt>
                <c:pt idx="18">
                  <c:v>1.1971769606566025</c:v>
                </c:pt>
                <c:pt idx="19">
                  <c:v>1.2278223980864738</c:v>
                </c:pt>
                <c:pt idx="20">
                  <c:v>1.2131034657650042</c:v>
                </c:pt>
                <c:pt idx="21">
                  <c:v>1.4735973713603194</c:v>
                </c:pt>
                <c:pt idx="22">
                  <c:v>1.3083943508534432</c:v>
                </c:pt>
                <c:pt idx="23">
                  <c:v>1.2057328555953672</c:v>
                </c:pt>
                <c:pt idx="24">
                  <c:v>1.0703217089652384</c:v>
                </c:pt>
                <c:pt idx="25">
                  <c:v>1.083906100328447</c:v>
                </c:pt>
                <c:pt idx="26">
                  <c:v>1.02382118342167</c:v>
                </c:pt>
                <c:pt idx="27">
                  <c:v>1.0201786333088159</c:v>
                </c:pt>
                <c:pt idx="28">
                  <c:v>1.024698001475204</c:v>
                </c:pt>
                <c:pt idx="29">
                  <c:v>1.1154982330442151</c:v>
                </c:pt>
                <c:pt idx="30">
                  <c:v>1.1037230714385058</c:v>
                </c:pt>
                <c:pt idx="31">
                  <c:v>1.0498002533649036</c:v>
                </c:pt>
                <c:pt idx="32">
                  <c:v>1.0141317298852217</c:v>
                </c:pt>
                <c:pt idx="33">
                  <c:v>1.022367609987591</c:v>
                </c:pt>
                <c:pt idx="34">
                  <c:v>1.0949034296028881</c:v>
                </c:pt>
                <c:pt idx="35">
                  <c:v>0.9497988362279145</c:v>
                </c:pt>
                <c:pt idx="36">
                  <c:v>0.9093667465327029</c:v>
                </c:pt>
                <c:pt idx="37">
                  <c:v>0.9606871966527196</c:v>
                </c:pt>
                <c:pt idx="38">
                  <c:v>1.0567800209782308</c:v>
                </c:pt>
                <c:pt idx="39">
                  <c:v>0.8991937957476474</c:v>
                </c:pt>
                <c:pt idx="40">
                  <c:v>0.940700988092563</c:v>
                </c:pt>
                <c:pt idx="41">
                  <c:v>1.0292489473506394</c:v>
                </c:pt>
                <c:pt idx="42">
                  <c:v>1.103679832732611</c:v>
                </c:pt>
                <c:pt idx="43">
                  <c:v>1.118894864891643</c:v>
                </c:pt>
                <c:pt idx="44">
                  <c:v>1.1463652590821394</c:v>
                </c:pt>
                <c:pt idx="45">
                  <c:v>1.072794519194238</c:v>
                </c:pt>
                <c:pt idx="46">
                  <c:v>1.0454812499813386</c:v>
                </c:pt>
                <c:pt idx="47">
                  <c:v>1.186032424003831</c:v>
                </c:pt>
                <c:pt idx="48">
                  <c:v>1.1741844795281</c:v>
                </c:pt>
                <c:pt idx="49">
                  <c:v>1.2573858065306298</c:v>
                </c:pt>
                <c:pt idx="50">
                  <c:v>1.1691551329553098</c:v>
                </c:pt>
                <c:pt idx="51">
                  <c:v>1.2254895735003863</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3057000701850605</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3057000701850605</c:v>
                </c:pt>
                <c:pt idx="1">
                  <c:v>0.23057000701850605</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958728229788965</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958728229788965</c:v>
                </c:pt>
                <c:pt idx="1">
                  <c:v>0.8958728229788965</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181529714626165</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181529714626165</c:v>
                </c:pt>
                <c:pt idx="1">
                  <c:v>1.2181529714626165</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998715041907998</c:v>
                </c:pt>
                <c:pt idx="1">
                  <c:v>0.8856044833902352</c:v>
                </c:pt>
                <c:pt idx="2">
                  <c:v>0.9893556964101082</c:v>
                </c:pt>
                <c:pt idx="3">
                  <c:v>0.9078678131401736</c:v>
                </c:pt>
                <c:pt idx="4">
                  <c:v>0.9309138661751758</c:v>
                </c:pt>
                <c:pt idx="5">
                  <c:v>0.9053367307597777</c:v>
                </c:pt>
                <c:pt idx="6">
                  <c:v>0.859658099425093</c:v>
                </c:pt>
                <c:pt idx="7">
                  <c:v>0.8320007946849977</c:v>
                </c:pt>
                <c:pt idx="8">
                  <c:v>0.9502292425449766</c:v>
                </c:pt>
                <c:pt idx="9">
                  <c:v>0.9525274452434339</c:v>
                </c:pt>
                <c:pt idx="10">
                  <c:v>0.9863440170245146</c:v>
                </c:pt>
                <c:pt idx="11">
                  <c:v>1.0284067911655346</c:v>
                </c:pt>
                <c:pt idx="12">
                  <c:v>1.2122713243718173</c:v>
                </c:pt>
                <c:pt idx="13">
                  <c:v>1.1544699138088776</c:v>
                </c:pt>
                <c:pt idx="14">
                  <c:v>1.1251916798074137</c:v>
                </c:pt>
                <c:pt idx="15">
                  <c:v>1.1337855798346836</c:v>
                </c:pt>
                <c:pt idx="16">
                  <c:v>1.1673954471555805</c:v>
                </c:pt>
                <c:pt idx="17">
                  <c:v>1.1462814904823062</c:v>
                </c:pt>
                <c:pt idx="18">
                  <c:v>1.1971769606566025</c:v>
                </c:pt>
                <c:pt idx="19">
                  <c:v>1.2278223980864738</c:v>
                </c:pt>
                <c:pt idx="20">
                  <c:v>1.2131034657650042</c:v>
                </c:pt>
                <c:pt idx="21">
                  <c:v>1.4735973713603194</c:v>
                </c:pt>
                <c:pt idx="22">
                  <c:v>1.3083943508534432</c:v>
                </c:pt>
                <c:pt idx="23">
                  <c:v>1.2057328555953672</c:v>
                </c:pt>
                <c:pt idx="24">
                  <c:v>1.0703217089652384</c:v>
                </c:pt>
                <c:pt idx="25">
                  <c:v>1.083906100328447</c:v>
                </c:pt>
                <c:pt idx="26">
                  <c:v>1.02382118342167</c:v>
                </c:pt>
                <c:pt idx="27">
                  <c:v>1.0201786333088159</c:v>
                </c:pt>
                <c:pt idx="28">
                  <c:v>1.024698001475204</c:v>
                </c:pt>
                <c:pt idx="29">
                  <c:v>1.1154982330442151</c:v>
                </c:pt>
                <c:pt idx="30">
                  <c:v>1.1037230714385058</c:v>
                </c:pt>
                <c:pt idx="31">
                  <c:v>1.0498002533649036</c:v>
                </c:pt>
                <c:pt idx="32">
                  <c:v>1.0141317298852217</c:v>
                </c:pt>
                <c:pt idx="33">
                  <c:v>1.022367609987591</c:v>
                </c:pt>
                <c:pt idx="34">
                  <c:v>1.0949034296028881</c:v>
                </c:pt>
                <c:pt idx="35">
                  <c:v>0.9497988362279145</c:v>
                </c:pt>
                <c:pt idx="36">
                  <c:v>0.9093667465327029</c:v>
                </c:pt>
                <c:pt idx="37">
                  <c:v>0.9606871966527196</c:v>
                </c:pt>
                <c:pt idx="38">
                  <c:v>1.0567800209782308</c:v>
                </c:pt>
                <c:pt idx="39">
                  <c:v>0.8991937957476474</c:v>
                </c:pt>
                <c:pt idx="40">
                  <c:v>0.940700988092563</c:v>
                </c:pt>
                <c:pt idx="41">
                  <c:v>1.0292489473506394</c:v>
                </c:pt>
                <c:pt idx="42">
                  <c:v>1.103679832732611</c:v>
                </c:pt>
                <c:pt idx="43">
                  <c:v>1.118894864891643</c:v>
                </c:pt>
                <c:pt idx="44">
                  <c:v>1.1463652590821394</c:v>
                </c:pt>
                <c:pt idx="45">
                  <c:v>1.072794519194238</c:v>
                </c:pt>
                <c:pt idx="46">
                  <c:v>1.0454812499813386</c:v>
                </c:pt>
                <c:pt idx="47">
                  <c:v>1.186032424003831</c:v>
                </c:pt>
                <c:pt idx="48">
                  <c:v>1.1741844795281</c:v>
                </c:pt>
                <c:pt idx="49">
                  <c:v>1.2573858065306298</c:v>
                </c:pt>
                <c:pt idx="50">
                  <c:v>1.1691551329553098</c:v>
                </c:pt>
                <c:pt idx="51">
                  <c:v>1.2254895735003863</c:v>
                </c:pt>
                <c:pt idx="52">
                  <c:v>0.8958728229788965</c:v>
                </c:pt>
                <c:pt idx="53">
                  <c:v>0.23057000701850605</c:v>
                </c:pt>
                <c:pt idx="54">
                  <c:v>1.2181529714626165</c:v>
                </c:pt>
              </c:numCache>
            </c:numRef>
          </c:xVal>
          <c:yVal>
            <c:numRef>
              <c:f>Sheet1!$B$187:$B$241</c:f>
              <c:numCache>
                <c:formatCode>General</c:formatCode>
                <c:ptCount val="55"/>
                <c:pt idx="0">
                  <c:v>0.38090184283349754</c:v>
                </c:pt>
                <c:pt idx="1">
                  <c:v>0.38239885004003743</c:v>
                </c:pt>
                <c:pt idx="2">
                  <c:v>0.3715124627732676</c:v>
                </c:pt>
                <c:pt idx="3">
                  <c:v>0.3800628076704971</c:v>
                </c:pt>
                <c:pt idx="4">
                  <c:v>0.37764463586308417</c:v>
                </c:pt>
                <c:pt idx="5">
                  <c:v>0.38032838859427687</c:v>
                </c:pt>
                <c:pt idx="6">
                  <c:v>0.38512134721183183</c:v>
                </c:pt>
                <c:pt idx="7">
                  <c:v>0.3880233675486743</c:v>
                </c:pt>
                <c:pt idx="8">
                  <c:v>0.37561791577717263</c:v>
                </c:pt>
                <c:pt idx="9">
                  <c:v>0.3753767704077382</c:v>
                </c:pt>
                <c:pt idx="10">
                  <c:v>0.37182847168690447</c:v>
                </c:pt>
                <c:pt idx="11">
                  <c:v>0.36741491703548945</c:v>
                </c:pt>
                <c:pt idx="12">
                  <c:v>0.34812241476157335</c:v>
                </c:pt>
                <c:pt idx="13">
                  <c:v>0.3541873900195801</c:v>
                </c:pt>
                <c:pt idx="14">
                  <c:v>0.35725949090929204</c:v>
                </c:pt>
                <c:pt idx="15">
                  <c:v>0.35635775182494184</c:v>
                </c:pt>
                <c:pt idx="16">
                  <c:v>0.35283114214983424</c:v>
                </c:pt>
                <c:pt idx="17">
                  <c:v>0.3550465833228934</c:v>
                </c:pt>
                <c:pt idx="18">
                  <c:v>0.34970623324587224</c:v>
                </c:pt>
                <c:pt idx="19">
                  <c:v>0.3464906746985496</c:v>
                </c:pt>
                <c:pt idx="20">
                  <c:v>0.34803509998998405</c:v>
                </c:pt>
                <c:pt idx="21">
                  <c:v>0.3207020457113725</c:v>
                </c:pt>
                <c:pt idx="22">
                  <c:v>0.33803643638045777</c:v>
                </c:pt>
                <c:pt idx="23">
                  <c:v>0.3488084819521177</c:v>
                </c:pt>
                <c:pt idx="24">
                  <c:v>0.3630168766257354</c:v>
                </c:pt>
                <c:pt idx="25">
                  <c:v>0.36159149622912334</c:v>
                </c:pt>
                <c:pt idx="26">
                  <c:v>0.36789607480030173</c:v>
                </c:pt>
                <c:pt idx="27">
                  <c:v>0.3682782795959175</c:v>
                </c:pt>
                <c:pt idx="28">
                  <c:v>0.3678040722047134</c:v>
                </c:pt>
                <c:pt idx="29">
                  <c:v>0.3582766030214539</c:v>
                </c:pt>
                <c:pt idx="30">
                  <c:v>0.3595121449070605</c:v>
                </c:pt>
                <c:pt idx="31">
                  <c:v>0.36517014796050307</c:v>
                </c:pt>
                <c:pt idx="32">
                  <c:v>0.3689127679119374</c:v>
                </c:pt>
                <c:pt idx="33">
                  <c:v>0.3680485950732073</c:v>
                </c:pt>
                <c:pt idx="34">
                  <c:v>0.36043757058433284</c:v>
                </c:pt>
                <c:pt idx="35">
                  <c:v>0.37566307736818655</c:v>
                </c:pt>
                <c:pt idx="36">
                  <c:v>0.3799055278766209</c:v>
                </c:pt>
                <c:pt idx="37">
                  <c:v>0.37452058558583123</c:v>
                </c:pt>
                <c:pt idx="38">
                  <c:v>0.3644377762507267</c:v>
                </c:pt>
                <c:pt idx="39">
                  <c:v>0.38097295329429476</c:v>
                </c:pt>
                <c:pt idx="40">
                  <c:v>0.376617694622413</c:v>
                </c:pt>
                <c:pt idx="41">
                  <c:v>0.3673265514337456</c:v>
                </c:pt>
                <c:pt idx="42">
                  <c:v>0.3595166818496522</c:v>
                </c:pt>
                <c:pt idx="43">
                  <c:v>0.35792020189015666</c:v>
                </c:pt>
                <c:pt idx="44">
                  <c:v>0.3550377936674086</c:v>
                </c:pt>
                <c:pt idx="45">
                  <c:v>0.36275741007101703</c:v>
                </c:pt>
                <c:pt idx="46">
                  <c:v>0.3656233315144242</c:v>
                </c:pt>
                <c:pt idx="47">
                  <c:v>0.35087560503806076</c:v>
                </c:pt>
                <c:pt idx="48">
                  <c:v>0.3521187838706136</c:v>
                </c:pt>
                <c:pt idx="49">
                  <c:v>0.34338865107992333</c:v>
                </c:pt>
                <c:pt idx="50">
                  <c:v>0.35264650217767296</c:v>
                </c:pt>
                <c:pt idx="51">
                  <c:v>0.3467354528667309</c:v>
                </c:pt>
                <c:pt idx="52">
                  <c:v>0.3813214156843788</c:v>
                </c:pt>
                <c:pt idx="53">
                  <c:v>0.4511301812245946</c:v>
                </c:pt>
                <c:pt idx="54">
                  <c:v>0.3475052664301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4.4714</c:v>
                </c:pt>
                <c:pt idx="1">
                  <c:v>700.0748</c:v>
                </c:pt>
                <c:pt idx="2">
                  <c:v>673.0</c:v>
                </c:pt>
                <c:pt idx="3">
                  <c:v>672.3111</c:v>
                </c:pt>
                <c:pt idx="4">
                  <c:v>665.7422</c:v>
                </c:pt>
                <c:pt idx="5">
                  <c:v>645.6739</c:v>
                </c:pt>
                <c:pt idx="6">
                  <c:v>648.6667</c:v>
                </c:pt>
                <c:pt idx="7">
                  <c:v>647.2756</c:v>
                </c:pt>
                <c:pt idx="8">
                  <c:v>651.3111</c:v>
                </c:pt>
                <c:pt idx="9">
                  <c:v>630.1183</c:v>
                </c:pt>
                <c:pt idx="10">
                  <c:v>625.3636</c:v>
                </c:pt>
                <c:pt idx="11">
                  <c:v>639.5119</c:v>
                </c:pt>
                <c:pt idx="12">
                  <c:v>634.8192</c:v>
                </c:pt>
                <c:pt idx="13">
                  <c:v>653.8188</c:v>
                </c:pt>
                <c:pt idx="14">
                  <c:v>620.3846</c:v>
                </c:pt>
                <c:pt idx="15">
                  <c:v>652.5547</c:v>
                </c:pt>
                <c:pt idx="16">
                  <c:v>658.4149</c:v>
                </c:pt>
                <c:pt idx="17">
                  <c:v>642.8911</c:v>
                </c:pt>
                <c:pt idx="18">
                  <c:v>618.1507</c:v>
                </c:pt>
                <c:pt idx="19">
                  <c:v>559.2857</c:v>
                </c:pt>
                <c:pt idx="20">
                  <c:v>659.5747</c:v>
                </c:pt>
                <c:pt idx="21">
                  <c:v>635.0208</c:v>
                </c:pt>
                <c:pt idx="22">
                  <c:v>619.125</c:v>
                </c:pt>
                <c:pt idx="23">
                  <c:v>590.7126</c:v>
                </c:pt>
                <c:pt idx="24">
                  <c:v>596.5625</c:v>
                </c:pt>
                <c:pt idx="25">
                  <c:v>589.058</c:v>
                </c:pt>
                <c:pt idx="26">
                  <c:v>619.0</c:v>
                </c:pt>
                <c:pt idx="27">
                  <c:v>596.0</c:v>
                </c:pt>
                <c:pt idx="28">
                  <c:v>603.3529</c:v>
                </c:pt>
                <c:pt idx="29">
                  <c:v>596.5541</c:v>
                </c:pt>
                <c:pt idx="30">
                  <c:v>550.4179</c:v>
                </c:pt>
                <c:pt idx="31">
                  <c:v>558.3929</c:v>
                </c:pt>
                <c:pt idx="32">
                  <c:v>553.5733</c:v>
                </c:pt>
                <c:pt idx="33">
                  <c:v>560.8158</c:v>
                </c:pt>
                <c:pt idx="34">
                  <c:v>563.8942</c:v>
                </c:pt>
                <c:pt idx="35">
                  <c:v>547.2348</c:v>
                </c:pt>
                <c:pt idx="36">
                  <c:v>555.0504</c:v>
                </c:pt>
                <c:pt idx="37">
                  <c:v>577.6203</c:v>
                </c:pt>
                <c:pt idx="38">
                  <c:v>613.7105</c:v>
                </c:pt>
                <c:pt idx="39">
                  <c:v>643.6154</c:v>
                </c:pt>
                <c:pt idx="40">
                  <c:v>565.9107</c:v>
                </c:pt>
                <c:pt idx="41">
                  <c:v>631.4405</c:v>
                </c:pt>
                <c:pt idx="42">
                  <c:v>649.3162</c:v>
                </c:pt>
                <c:pt idx="43">
                  <c:v>666.1319</c:v>
                </c:pt>
                <c:pt idx="44">
                  <c:v>633.8027</c:v>
                </c:pt>
                <c:pt idx="45">
                  <c:v>659.0351</c:v>
                </c:pt>
                <c:pt idx="46">
                  <c:v>632.7407</c:v>
                </c:pt>
                <c:pt idx="47">
                  <c:v>595.1975</c:v>
                </c:pt>
                <c:pt idx="48">
                  <c:v>582.6309</c:v>
                </c:pt>
                <c:pt idx="49">
                  <c:v>571.8162</c:v>
                </c:pt>
                <c:pt idx="50">
                  <c:v>595.9067</c:v>
                </c:pt>
                <c:pt idx="51">
                  <c:v>589.9017</c:v>
                </c:pt>
                <c:pt idx="52">
                  <c:v>568.2874</c:v>
                </c:pt>
                <c:pt idx="53">
                  <c:v>556.153</c:v>
                </c:pt>
                <c:pt idx="54">
                  <c:v>550.9155</c:v>
                </c:pt>
                <c:pt idx="55">
                  <c:v>558.6515</c:v>
                </c:pt>
                <c:pt idx="56">
                  <c:v>551.06</c:v>
                </c:pt>
                <c:pt idx="57">
                  <c:v>547.1136</c:v>
                </c:pt>
                <c:pt idx="58">
                  <c:v>569.5929</c:v>
                </c:pt>
                <c:pt idx="59">
                  <c:v>572.9588</c:v>
                </c:pt>
                <c:pt idx="60">
                  <c:v>556.291</c:v>
                </c:pt>
                <c:pt idx="61">
                  <c:v>506.9128</c:v>
                </c:pt>
                <c:pt idx="62">
                  <c:v>534.1339</c:v>
                </c:pt>
                <c:pt idx="63">
                  <c:v>521.9733</c:v>
                </c:pt>
                <c:pt idx="64">
                  <c:v>508.8889</c:v>
                </c:pt>
                <c:pt idx="65">
                  <c:v>511.7222</c:v>
                </c:pt>
                <c:pt idx="66">
                  <c:v>511.6</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8.42888406674442</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8.42888406674442</c:v>
                </c:pt>
                <c:pt idx="1">
                  <c:v>248.42888406674442</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46.9995875763464</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46.9995875763464</c:v>
                </c:pt>
                <c:pt idx="1">
                  <c:v>546.9995875763464</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91.6305862007262</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91.6305862007262</c:v>
                </c:pt>
                <c:pt idx="1">
                  <c:v>691.6305862007262</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546.9995875763464</c:v>
                </c:pt>
                <c:pt idx="53">
                  <c:v>248.42888406674442</c:v>
                </c:pt>
                <c:pt idx="54">
                  <c:v>691.6305862007262</c:v>
                </c:pt>
              </c:numCache>
            </c:numRef>
          </c:xVal>
          <c:yVal>
            <c:numRef>
              <c:f>Sheet1!$B$187:$B$241</c:f>
              <c:numCache>
                <c:formatCode>General</c:formatCode>
                <c:ptCount val="55"/>
                <c:pt idx="0">
                  <c:v>0.3813508728182327</c:v>
                </c:pt>
                <c:pt idx="1">
                  <c:v>0.3844359233869797</c:v>
                </c:pt>
                <c:pt idx="2">
                  <c:v>0.37280842023691724</c:v>
                </c:pt>
                <c:pt idx="3">
                  <c:v>0.3829560240656701</c:v>
                </c:pt>
                <c:pt idx="4">
                  <c:v>0.3761713070270897</c:v>
                </c:pt>
                <c:pt idx="5">
                  <c:v>0.38562711432975183</c:v>
                </c:pt>
                <c:pt idx="6">
                  <c:v>0.39034595785015613</c:v>
                </c:pt>
                <c:pt idx="7">
                  <c:v>0.3881917275970843</c:v>
                </c:pt>
                <c:pt idx="8">
                  <c:v>0.37516094460712357</c:v>
                </c:pt>
                <c:pt idx="9">
                  <c:v>0.3782539680910861</c:v>
                </c:pt>
                <c:pt idx="10">
                  <c:v>0.36883365312067373</c:v>
                </c:pt>
                <c:pt idx="11">
                  <c:v>0.3690748279606975</c:v>
                </c:pt>
                <c:pt idx="12">
                  <c:v>0.3493196508683912</c:v>
                </c:pt>
                <c:pt idx="13">
                  <c:v>0.3453230225330083</c:v>
                </c:pt>
                <c:pt idx="14">
                  <c:v>0.3469512741916859</c:v>
                </c:pt>
                <c:pt idx="15">
                  <c:v>0.3472584301658394</c:v>
                </c:pt>
                <c:pt idx="16">
                  <c:v>0.3411085068167061</c:v>
                </c:pt>
                <c:pt idx="17">
                  <c:v>0.3446732883954007</c:v>
                </c:pt>
                <c:pt idx="18">
                  <c:v>0.3552550770791455</c:v>
                </c:pt>
                <c:pt idx="19">
                  <c:v>0.33833070574604474</c:v>
                </c:pt>
                <c:pt idx="20">
                  <c:v>0.34144488901965553</c:v>
                </c:pt>
                <c:pt idx="21">
                  <c:v>0.33313816350931635</c:v>
                </c:pt>
                <c:pt idx="22">
                  <c:v>0.33376549866517474</c:v>
                </c:pt>
                <c:pt idx="23">
                  <c:v>0.34005388419585153</c:v>
                </c:pt>
                <c:pt idx="24">
                  <c:v>0.35589001105449086</c:v>
                </c:pt>
                <c:pt idx="25">
                  <c:v>0.36312156205988616</c:v>
                </c:pt>
                <c:pt idx="26">
                  <c:v>0.37146438780803404</c:v>
                </c:pt>
                <c:pt idx="27">
                  <c:v>0.3659730833700623</c:v>
                </c:pt>
                <c:pt idx="28">
                  <c:v>0.3654520147821058</c:v>
                </c:pt>
                <c:pt idx="29">
                  <c:v>0.3521470430040734</c:v>
                </c:pt>
                <c:pt idx="30">
                  <c:v>0.35372577374067926</c:v>
                </c:pt>
                <c:pt idx="31">
                  <c:v>0.3622908591135743</c:v>
                </c:pt>
                <c:pt idx="32">
                  <c:v>0.37154327524479996</c:v>
                </c:pt>
                <c:pt idx="33">
                  <c:v>0.37325488010800356</c:v>
                </c:pt>
                <c:pt idx="34">
                  <c:v>0.36739174789679874</c:v>
                </c:pt>
                <c:pt idx="35">
                  <c:v>0.37960195190610246</c:v>
                </c:pt>
                <c:pt idx="36">
                  <c:v>0.38119038575066866</c:v>
                </c:pt>
                <c:pt idx="37">
                  <c:v>0.3750059754515562</c:v>
                </c:pt>
                <c:pt idx="38">
                  <c:v>0.367335236060799</c:v>
                </c:pt>
                <c:pt idx="39">
                  <c:v>0.3885793842958332</c:v>
                </c:pt>
                <c:pt idx="40">
                  <c:v>0.3850091315671081</c:v>
                </c:pt>
                <c:pt idx="41">
                  <c:v>0.378866316036818</c:v>
                </c:pt>
                <c:pt idx="42">
                  <c:v>0.3642218009786454</c:v>
                </c:pt>
                <c:pt idx="43">
                  <c:v>0.3595044538411554</c:v>
                </c:pt>
                <c:pt idx="44">
                  <c:v>0.3599277197770693</c:v>
                </c:pt>
                <c:pt idx="45">
                  <c:v>0.37367356337124225</c:v>
                </c:pt>
                <c:pt idx="46">
                  <c:v>0.3700382647477089</c:v>
                </c:pt>
                <c:pt idx="47">
                  <c:v>0.351007874748558</c:v>
                </c:pt>
                <c:pt idx="48">
                  <c:v>0.353478589988015</c:v>
                </c:pt>
                <c:pt idx="49">
                  <c:v>0.34022879732994926</c:v>
                </c:pt>
                <c:pt idx="50">
                  <c:v>0.34479980289461243</c:v>
                </c:pt>
                <c:pt idx="51">
                  <c:v>0.342267712574684</c:v>
                </c:pt>
                <c:pt idx="52">
                  <c:v>0.3813214156843788</c:v>
                </c:pt>
                <c:pt idx="53">
                  <c:v>0.4511301812245946</c:v>
                </c:pt>
                <c:pt idx="54">
                  <c:v>0.3475052664301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1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957110406442444</c:v>
                </c:pt>
                <c:pt idx="1">
                  <c:v>0.7602163518313664</c:v>
                </c:pt>
                <c:pt idx="2">
                  <c:v>0.7363883053221288</c:v>
                </c:pt>
                <c:pt idx="3">
                  <c:v>0.673781155725562</c:v>
                </c:pt>
                <c:pt idx="4">
                  <c:v>0.7052353813559322</c:v>
                </c:pt>
                <c:pt idx="5">
                  <c:v>0.6725769791666667</c:v>
                </c:pt>
                <c:pt idx="6">
                  <c:v>0.7006048494885927</c:v>
                </c:pt>
                <c:pt idx="7">
                  <c:v>0.6622053507349959</c:v>
                </c:pt>
                <c:pt idx="8">
                  <c:v>0.658388779378317</c:v>
                </c:pt>
                <c:pt idx="9">
                  <c:v>0.6314960981870243</c:v>
                </c:pt>
                <c:pt idx="10">
                  <c:v>0.654328566347955</c:v>
                </c:pt>
                <c:pt idx="11">
                  <c:v>0.6464069287872954</c:v>
                </c:pt>
                <c:pt idx="12">
                  <c:v>0.674765306122449</c:v>
                </c:pt>
                <c:pt idx="13">
                  <c:v>0.6913027563133751</c:v>
                </c:pt>
                <c:pt idx="14">
                  <c:v>0.6631374706128957</c:v>
                </c:pt>
                <c:pt idx="15">
                  <c:v>0.6554678613630419</c:v>
                </c:pt>
                <c:pt idx="16">
                  <c:v>0.729545595567867</c:v>
                </c:pt>
                <c:pt idx="17">
                  <c:v>0.7208725717588739</c:v>
                </c:pt>
                <c:pt idx="18">
                  <c:v>0.6922180291153416</c:v>
                </c:pt>
                <c:pt idx="19">
                  <c:v>0.8239108792309929</c:v>
                </c:pt>
                <c:pt idx="20">
                  <c:v>1.0243610349549432</c:v>
                </c:pt>
                <c:pt idx="21">
                  <c:v>0.8604617886178861</c:v>
                </c:pt>
                <c:pt idx="22">
                  <c:v>1.351801310043668</c:v>
                </c:pt>
                <c:pt idx="23">
                  <c:v>0.8932965174579262</c:v>
                </c:pt>
                <c:pt idx="24">
                  <c:v>1.1326111707998054</c:v>
                </c:pt>
                <c:pt idx="25">
                  <c:v>1.0513529079896202</c:v>
                </c:pt>
                <c:pt idx="26">
                  <c:v>1.3760653113053214</c:v>
                </c:pt>
                <c:pt idx="27">
                  <c:v>0.9127105666156202</c:v>
                </c:pt>
                <c:pt idx="28">
                  <c:v>0.7016897342593322</c:v>
                </c:pt>
                <c:pt idx="29">
                  <c:v>0.7445292979719188</c:v>
                </c:pt>
                <c:pt idx="30">
                  <c:v>0.48652143448796215</c:v>
                </c:pt>
                <c:pt idx="31">
                  <c:v>0.7642935943060498</c:v>
                </c:pt>
                <c:pt idx="32">
                  <c:v>0.4493289772727273</c:v>
                </c:pt>
                <c:pt idx="33">
                  <c:v>0.7711458233069783</c:v>
                </c:pt>
                <c:pt idx="34">
                  <c:v>0.4417502546024285</c:v>
                </c:pt>
                <c:pt idx="35">
                  <c:v>0.566789021232522</c:v>
                </c:pt>
                <c:pt idx="36">
                  <c:v>0.6593613684960798</c:v>
                </c:pt>
                <c:pt idx="37">
                  <c:v>0.6729230231542158</c:v>
                </c:pt>
                <c:pt idx="38">
                  <c:v>0.6659505948420258</c:v>
                </c:pt>
                <c:pt idx="39">
                  <c:v>0.6823983501537958</c:v>
                </c:pt>
                <c:pt idx="40">
                  <c:v>0.6986551851851852</c:v>
                </c:pt>
                <c:pt idx="41">
                  <c:v>0.7387997812525375</c:v>
                </c:pt>
                <c:pt idx="42">
                  <c:v>0.7521290001683067</c:v>
                </c:pt>
                <c:pt idx="43">
                  <c:v>0.7232702497285559</c:v>
                </c:pt>
                <c:pt idx="44">
                  <c:v>0.7782831917088265</c:v>
                </c:pt>
                <c:pt idx="45">
                  <c:v>1.05501878041522</c:v>
                </c:pt>
                <c:pt idx="46">
                  <c:v>0.8546474255723182</c:v>
                </c:pt>
                <c:pt idx="47">
                  <c:v>0.6306728476821192</c:v>
                </c:pt>
                <c:pt idx="48">
                  <c:v>0.6242239398719734</c:v>
                </c:pt>
                <c:pt idx="49">
                  <c:v>0.7988568204974315</c:v>
                </c:pt>
                <c:pt idx="50">
                  <c:v>0.7675913167707735</c:v>
                </c:pt>
                <c:pt idx="51">
                  <c:v>0.6568086274053083</c:v>
                </c:pt>
                <c:pt idx="52">
                  <c:v>0.6513737723572988</c:v>
                </c:pt>
                <c:pt idx="53">
                  <c:v>0.5761111613515869</c:v>
                </c:pt>
                <c:pt idx="54">
                  <c:v>0.621255403552051</c:v>
                </c:pt>
                <c:pt idx="55">
                  <c:v>0.6277570698470992</c:v>
                </c:pt>
                <c:pt idx="56">
                  <c:v>0.6564703656749364</c:v>
                </c:pt>
                <c:pt idx="57">
                  <c:v>0.6429066980023502</c:v>
                </c:pt>
                <c:pt idx="58">
                  <c:v>0.620887793407476</c:v>
                </c:pt>
                <c:pt idx="59">
                  <c:v>0.6838849367390786</c:v>
                </c:pt>
                <c:pt idx="60">
                  <c:v>0.6725936794999973</c:v>
                </c:pt>
                <c:pt idx="61">
                  <c:v>0.624875404050826</c:v>
                </c:pt>
                <c:pt idx="62">
                  <c:v>0.6603213005315862</c:v>
                </c:pt>
                <c:pt idx="63">
                  <c:v>0.6032227611056737</c:v>
                </c:pt>
                <c:pt idx="64">
                  <c:v>0.6024136134951169</c:v>
                </c:pt>
                <c:pt idx="65">
                  <c:v>0.5935687407342278</c:v>
                </c:pt>
                <c:pt idx="66">
                  <c:v>0.6660591068871241</c:v>
                </c:pt>
                <c:pt idx="67">
                  <c:v>0.5731368659676962</c:v>
                </c:pt>
                <c:pt idx="68">
                  <c:v>0.5649122196614299</c:v>
                </c:pt>
                <c:pt idx="69">
                  <c:v>0.6030861688024746</c:v>
                </c:pt>
                <c:pt idx="70">
                  <c:v>0.6041034809377219</c:v>
                </c:pt>
                <c:pt idx="71">
                  <c:v>0.613021420518602</c:v>
                </c:pt>
                <c:pt idx="72">
                  <c:v>0.6374007936507936</c:v>
                </c:pt>
                <c:pt idx="73">
                  <c:v>0.6748460020768432</c:v>
                </c:pt>
                <c:pt idx="74">
                  <c:v>0.8584822535513594</c:v>
                </c:pt>
                <c:pt idx="75">
                  <c:v>0.7315105400888899</c:v>
                </c:pt>
                <c:pt idx="76">
                  <c:v>0.7466750896254714</c:v>
                </c:pt>
                <c:pt idx="77">
                  <c:v>0.9653249612403101</c:v>
                </c:pt>
                <c:pt idx="78">
                  <c:v>0.8136222724853646</c:v>
                </c:pt>
                <c:pt idx="79">
                  <c:v>0.7907504017326524</c:v>
                </c:pt>
                <c:pt idx="80">
                  <c:v>0.5499554147180729</c:v>
                </c:pt>
                <c:pt idx="81">
                  <c:v>0.5061141304347826</c:v>
                </c:pt>
                <c:pt idx="82">
                  <c:v>0.670655790784558</c:v>
                </c:pt>
                <c:pt idx="83">
                  <c:v>0.6495175223214286</c:v>
                </c:pt>
                <c:pt idx="84">
                  <c:v>1.4947628181310395</c:v>
                </c:pt>
                <c:pt idx="85">
                  <c:v>0.48252746979555056</c:v>
                </c:pt>
                <c:pt idx="86">
                  <c:v>0.6041370080406263</c:v>
                </c:pt>
                <c:pt idx="87">
                  <c:v>0.6161559311224489</c:v>
                </c:pt>
                <c:pt idx="88">
                  <c:v>0.5922423273415287</c:v>
                </c:pt>
                <c:pt idx="89">
                  <c:v>0.6442322544642857</c:v>
                </c:pt>
                <c:pt idx="90">
                  <c:v>0.6253991379310345</c:v>
                </c:pt>
                <c:pt idx="91">
                  <c:v>0.6129988894497728</c:v>
                </c:pt>
                <c:pt idx="92">
                  <c:v>0.59982365006796</c:v>
                </c:pt>
                <c:pt idx="93">
                  <c:v>0.5969111969111969</c:v>
                </c:pt>
                <c:pt idx="94">
                  <c:v>0.6237322217010931</c:v>
                </c:pt>
                <c:pt idx="95">
                  <c:v>0.5514567911714771</c:v>
                </c:pt>
                <c:pt idx="96">
                  <c:v>0.4876667409770904</c:v>
                </c:pt>
                <c:pt idx="97">
                  <c:v>0.4718935724154712</c:v>
                </c:pt>
                <c:pt idx="98">
                  <c:v>0.5910808559442928</c:v>
                </c:pt>
                <c:pt idx="99">
                  <c:v>0.6057442872462374</c:v>
                </c:pt>
                <c:pt idx="100">
                  <c:v>0.6120926705685212</c:v>
                </c:pt>
                <c:pt idx="101">
                  <c:v>0.5440898185483871</c:v>
                </c:pt>
                <c:pt idx="102">
                  <c:v>0.558830432516936</c:v>
                </c:pt>
                <c:pt idx="103">
                  <c:v>0.6836272055669881</c:v>
                </c:pt>
                <c:pt idx="104">
                  <c:v>0.6900601021772713</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310079757304625</c:v>
                </c:pt>
                <c:pt idx="1">
                  <c:v>0.549806540185215</c:v>
                </c:pt>
                <c:pt idx="2">
                  <c:v>0.6798425876573639</c:v>
                </c:pt>
                <c:pt idx="3">
                  <c:v>0.5739885204081634</c:v>
                </c:pt>
                <c:pt idx="4">
                  <c:v>0.6037124998209636</c:v>
                </c:pt>
                <c:pt idx="5">
                  <c:v>0.5309439271900033</c:v>
                </c:pt>
                <c:pt idx="6">
                  <c:v>0.5719724801658219</c:v>
                </c:pt>
                <c:pt idx="7">
                  <c:v>0.7702610119047619</c:v>
                </c:pt>
                <c:pt idx="8">
                  <c:v>0.6099444680851064</c:v>
                </c:pt>
                <c:pt idx="9">
                  <c:v>0.6629748391769449</c:v>
                </c:pt>
                <c:pt idx="10">
                  <c:v>0.6469929956896552</c:v>
                </c:pt>
                <c:pt idx="11">
                  <c:v>0.6547512280040192</c:v>
                </c:pt>
                <c:pt idx="12">
                  <c:v>0.7359601395661877</c:v>
                </c:pt>
                <c:pt idx="13">
                  <c:v>0.8821191679615986</c:v>
                </c:pt>
                <c:pt idx="14">
                  <c:v>0.7370657180114009</c:v>
                </c:pt>
                <c:pt idx="15">
                  <c:v>0.7712940436594244</c:v>
                </c:pt>
                <c:pt idx="16">
                  <c:v>0.7747730603448276</c:v>
                </c:pt>
                <c:pt idx="17">
                  <c:v>0.7177388067312596</c:v>
                </c:pt>
                <c:pt idx="18">
                  <c:v>0.8322082780410742</c:v>
                </c:pt>
                <c:pt idx="19">
                  <c:v>0.8983477049463636</c:v>
                </c:pt>
                <c:pt idx="20">
                  <c:v>0.722900161192827</c:v>
                </c:pt>
                <c:pt idx="21">
                  <c:v>0.7627397961762253</c:v>
                </c:pt>
                <c:pt idx="22">
                  <c:v>0.7002133219218252</c:v>
                </c:pt>
                <c:pt idx="23">
                  <c:v>0.7660137638962414</c:v>
                </c:pt>
                <c:pt idx="24">
                  <c:v>0.769080345227508</c:v>
                </c:pt>
                <c:pt idx="25">
                  <c:v>1.3351282051282052</c:v>
                </c:pt>
                <c:pt idx="26">
                  <c:v>1.9253526143790851</c:v>
                </c:pt>
                <c:pt idx="27">
                  <c:v>1.3301000868432478</c:v>
                </c:pt>
                <c:pt idx="28">
                  <c:v>0.3431209263392857</c:v>
                </c:pt>
                <c:pt idx="29">
                  <c:v>0.8237618638871858</c:v>
                </c:pt>
                <c:pt idx="30">
                  <c:v>0.7220690553745929</c:v>
                </c:pt>
                <c:pt idx="31">
                  <c:v>0.8764196652719666</c:v>
                </c:pt>
                <c:pt idx="32">
                  <c:v>0.9732570247933885</c:v>
                </c:pt>
                <c:pt idx="33">
                  <c:v>0.6489955357142857</c:v>
                </c:pt>
                <c:pt idx="34">
                  <c:v>0.7157244837758112</c:v>
                </c:pt>
                <c:pt idx="35">
                  <c:v>0.6334565919154407</c:v>
                </c:pt>
                <c:pt idx="36">
                  <c:v>0.7333392529759262</c:v>
                </c:pt>
                <c:pt idx="37">
                  <c:v>0.616080058017785</c:v>
                </c:pt>
                <c:pt idx="38">
                  <c:v>0.6631892896174864</c:v>
                </c:pt>
                <c:pt idx="39">
                  <c:v>0.7234737684751685</c:v>
                </c:pt>
                <c:pt idx="40">
                  <c:v>0.6909824401664934</c:v>
                </c:pt>
                <c:pt idx="41">
                  <c:v>0.5658621983954483</c:v>
                </c:pt>
                <c:pt idx="42">
                  <c:v>0.6953292181000746</c:v>
                </c:pt>
                <c:pt idx="43">
                  <c:v>0.6486244985472788</c:v>
                </c:pt>
                <c:pt idx="44">
                  <c:v>0.683923973361563</c:v>
                </c:pt>
                <c:pt idx="45">
                  <c:v>0.6190363050372324</c:v>
                </c:pt>
                <c:pt idx="46">
                  <c:v>0.6325795961742826</c:v>
                </c:pt>
                <c:pt idx="47">
                  <c:v>0.7134921669283806</c:v>
                </c:pt>
                <c:pt idx="48">
                  <c:v>0.6966272580833752</c:v>
                </c:pt>
                <c:pt idx="49">
                  <c:v>0.7291685835351089</c:v>
                </c:pt>
                <c:pt idx="50">
                  <c:v>0.6633410399051629</c:v>
                </c:pt>
                <c:pt idx="51">
                  <c:v>0.7588740506388981</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89864636788176</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89864636788176</c:v>
                </c:pt>
                <c:pt idx="1">
                  <c:v>3.389864636788176</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2895451338246853</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2895451338246853</c:v>
                </c:pt>
                <c:pt idx="1">
                  <c:v>1.2895451338246853</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72126801841214</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72126801841214</c:v>
                </c:pt>
                <c:pt idx="1">
                  <c:v>0.272126801841214</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310079757304625</c:v>
                </c:pt>
                <c:pt idx="1">
                  <c:v>0.549806540185215</c:v>
                </c:pt>
                <c:pt idx="2">
                  <c:v>0.6798425876573639</c:v>
                </c:pt>
                <c:pt idx="3">
                  <c:v>0.5739885204081634</c:v>
                </c:pt>
                <c:pt idx="4">
                  <c:v>0.6037124998209636</c:v>
                </c:pt>
                <c:pt idx="5">
                  <c:v>0.5309439271900033</c:v>
                </c:pt>
                <c:pt idx="6">
                  <c:v>0.5719724801658219</c:v>
                </c:pt>
                <c:pt idx="7">
                  <c:v>0.7702610119047619</c:v>
                </c:pt>
                <c:pt idx="8">
                  <c:v>0.6099444680851064</c:v>
                </c:pt>
                <c:pt idx="9">
                  <c:v>0.6629748391769449</c:v>
                </c:pt>
                <c:pt idx="10">
                  <c:v>0.6469929956896552</c:v>
                </c:pt>
                <c:pt idx="11">
                  <c:v>0.6547512280040192</c:v>
                </c:pt>
                <c:pt idx="12">
                  <c:v>0.7359601395661877</c:v>
                </c:pt>
                <c:pt idx="13">
                  <c:v>0.8821191679615986</c:v>
                </c:pt>
                <c:pt idx="14">
                  <c:v>0.7370657180114009</c:v>
                </c:pt>
                <c:pt idx="15">
                  <c:v>0.7712940436594244</c:v>
                </c:pt>
                <c:pt idx="16">
                  <c:v>0.7747730603448276</c:v>
                </c:pt>
                <c:pt idx="17">
                  <c:v>0.7177388067312596</c:v>
                </c:pt>
                <c:pt idx="18">
                  <c:v>0.8322082780410742</c:v>
                </c:pt>
                <c:pt idx="19">
                  <c:v>0.8983477049463636</c:v>
                </c:pt>
                <c:pt idx="20">
                  <c:v>0.722900161192827</c:v>
                </c:pt>
                <c:pt idx="21">
                  <c:v>0.7627397961762253</c:v>
                </c:pt>
                <c:pt idx="22">
                  <c:v>0.7002133219218252</c:v>
                </c:pt>
                <c:pt idx="23">
                  <c:v>0.7660137638962414</c:v>
                </c:pt>
                <c:pt idx="24">
                  <c:v>0.769080345227508</c:v>
                </c:pt>
                <c:pt idx="25">
                  <c:v>1.3351282051282052</c:v>
                </c:pt>
                <c:pt idx="26">
                  <c:v>1.9253526143790851</c:v>
                </c:pt>
                <c:pt idx="27">
                  <c:v>1.3301000868432478</c:v>
                </c:pt>
                <c:pt idx="28">
                  <c:v>0.3431209263392857</c:v>
                </c:pt>
                <c:pt idx="29">
                  <c:v>0.8237618638871858</c:v>
                </c:pt>
                <c:pt idx="30">
                  <c:v>0.7220690553745929</c:v>
                </c:pt>
                <c:pt idx="31">
                  <c:v>0.8764196652719666</c:v>
                </c:pt>
                <c:pt idx="32">
                  <c:v>0.9732570247933885</c:v>
                </c:pt>
                <c:pt idx="33">
                  <c:v>0.6489955357142857</c:v>
                </c:pt>
                <c:pt idx="34">
                  <c:v>0.7157244837758112</c:v>
                </c:pt>
                <c:pt idx="35">
                  <c:v>0.6334565919154407</c:v>
                </c:pt>
                <c:pt idx="36">
                  <c:v>0.7333392529759262</c:v>
                </c:pt>
                <c:pt idx="37">
                  <c:v>0.616080058017785</c:v>
                </c:pt>
                <c:pt idx="38">
                  <c:v>0.6631892896174864</c:v>
                </c:pt>
                <c:pt idx="39">
                  <c:v>0.7234737684751685</c:v>
                </c:pt>
                <c:pt idx="40">
                  <c:v>0.6909824401664934</c:v>
                </c:pt>
                <c:pt idx="41">
                  <c:v>0.5658621983954483</c:v>
                </c:pt>
                <c:pt idx="42">
                  <c:v>0.6953292181000746</c:v>
                </c:pt>
                <c:pt idx="43">
                  <c:v>0.6486244985472788</c:v>
                </c:pt>
                <c:pt idx="44">
                  <c:v>0.683923973361563</c:v>
                </c:pt>
                <c:pt idx="45">
                  <c:v>0.6190363050372324</c:v>
                </c:pt>
                <c:pt idx="46">
                  <c:v>0.6325795961742826</c:v>
                </c:pt>
                <c:pt idx="47">
                  <c:v>0.7134921669283806</c:v>
                </c:pt>
                <c:pt idx="48">
                  <c:v>0.6966272580833752</c:v>
                </c:pt>
                <c:pt idx="49">
                  <c:v>0.7291685835351089</c:v>
                </c:pt>
                <c:pt idx="50">
                  <c:v>0.6633410399051629</c:v>
                </c:pt>
                <c:pt idx="51">
                  <c:v>0.7588740506388981</c:v>
                </c:pt>
                <c:pt idx="52">
                  <c:v>1.2895451338246853</c:v>
                </c:pt>
                <c:pt idx="53">
                  <c:v>3.389864636788176</c:v>
                </c:pt>
                <c:pt idx="54">
                  <c:v>0.272126801841214</c:v>
                </c:pt>
              </c:numCache>
            </c:numRef>
          </c:xVal>
          <c:yVal>
            <c:numRef>
              <c:f>Sheet1!$B$187:$B$241</c:f>
              <c:numCache>
                <c:formatCode>General</c:formatCode>
                <c:ptCount val="55"/>
                <c:pt idx="0">
                  <c:v>0.3594334762522805</c:v>
                </c:pt>
                <c:pt idx="1">
                  <c:v>0.35673456688753435</c:v>
                </c:pt>
                <c:pt idx="2">
                  <c:v>0.3610566026239789</c:v>
                </c:pt>
                <c:pt idx="3">
                  <c:v>0.3575383085017507</c:v>
                </c:pt>
                <c:pt idx="4">
                  <c:v>0.35852625072045724</c:v>
                </c:pt>
                <c:pt idx="5">
                  <c:v>0.35610762621198444</c:v>
                </c:pt>
                <c:pt idx="6">
                  <c:v>0.3574713009439012</c:v>
                </c:pt>
                <c:pt idx="7">
                  <c:v>0.3640618590003999</c:v>
                </c:pt>
                <c:pt idx="8">
                  <c:v>0.358733383973656</c:v>
                </c:pt>
                <c:pt idx="9">
                  <c:v>0.36049596568412307</c:v>
                </c:pt>
                <c:pt idx="10">
                  <c:v>0.3599647737567375</c:v>
                </c:pt>
                <c:pt idx="11">
                  <c:v>0.36022263577243363</c:v>
                </c:pt>
                <c:pt idx="12">
                  <c:v>0.36292179361914245</c:v>
                </c:pt>
                <c:pt idx="13">
                  <c:v>0.3677797122979171</c:v>
                </c:pt>
                <c:pt idx="14">
                  <c:v>0.36295853996481003</c:v>
                </c:pt>
                <c:pt idx="15">
                  <c:v>0.3640961940963008</c:v>
                </c:pt>
                <c:pt idx="16">
                  <c:v>0.3642118269130028</c:v>
                </c:pt>
                <c:pt idx="17">
                  <c:v>0.3623161673085221</c:v>
                </c:pt>
                <c:pt idx="18">
                  <c:v>0.36612081344588565</c:v>
                </c:pt>
                <c:pt idx="19">
                  <c:v>0.3683191036294891</c:v>
                </c:pt>
                <c:pt idx="20">
                  <c:v>0.36248771634330906</c:v>
                </c:pt>
                <c:pt idx="21">
                  <c:v>0.36381187475532195</c:v>
                </c:pt>
                <c:pt idx="22">
                  <c:v>0.36173366904656046</c:v>
                </c:pt>
                <c:pt idx="23">
                  <c:v>0.363920692315998</c:v>
                </c:pt>
                <c:pt idx="24">
                  <c:v>0.3640226169312112</c:v>
                </c:pt>
                <c:pt idx="25">
                  <c:v>0.38283646990957665</c:v>
                </c:pt>
                <c:pt idx="26">
                  <c:v>0.4024538839950865</c:v>
                </c:pt>
                <c:pt idx="27">
                  <c:v>0.38266934927389823</c:v>
                </c:pt>
                <c:pt idx="28">
                  <c:v>0.3498649132290563</c:v>
                </c:pt>
                <c:pt idx="29">
                  <c:v>0.3658400781841826</c:v>
                </c:pt>
                <c:pt idx="30">
                  <c:v>0.36246009270265706</c:v>
                </c:pt>
                <c:pt idx="31">
                  <c:v>0.3675902767161425</c:v>
                </c:pt>
                <c:pt idx="32">
                  <c:v>0.3708088806079915</c:v>
                </c:pt>
                <c:pt idx="33">
                  <c:v>0.3600313326049828</c:v>
                </c:pt>
                <c:pt idx="34">
                  <c:v>0.3622492168285019</c:v>
                </c:pt>
                <c:pt idx="35">
                  <c:v>0.3595148614286377</c:v>
                </c:pt>
                <c:pt idx="36">
                  <c:v>0.36283468265472546</c:v>
                </c:pt>
                <c:pt idx="37">
                  <c:v>0.35893731387977595</c:v>
                </c:pt>
                <c:pt idx="38">
                  <c:v>0.36050309341897613</c:v>
                </c:pt>
                <c:pt idx="39">
                  <c:v>0.3625067814504171</c:v>
                </c:pt>
                <c:pt idx="40">
                  <c:v>0.36142686026852544</c:v>
                </c:pt>
                <c:pt idx="41">
                  <c:v>0.35726821221054855</c:v>
                </c:pt>
                <c:pt idx="42">
                  <c:v>0.361571335050192</c:v>
                </c:pt>
                <c:pt idx="43">
                  <c:v>0.36001900036383483</c:v>
                </c:pt>
                <c:pt idx="44">
                  <c:v>0.361192256507734</c:v>
                </c:pt>
                <c:pt idx="45">
                  <c:v>0.35903557129002633</c:v>
                </c:pt>
                <c:pt idx="46">
                  <c:v>0.359485712534868</c:v>
                </c:pt>
                <c:pt idx="47">
                  <c:v>0.36217502083918035</c:v>
                </c:pt>
                <c:pt idx="48">
                  <c:v>0.3616144782808901</c:v>
                </c:pt>
                <c:pt idx="49">
                  <c:v>0.3626960612284477</c:v>
                </c:pt>
                <c:pt idx="50">
                  <c:v>0.3605081371755275</c:v>
                </c:pt>
                <c:pt idx="51">
                  <c:v>0.36368338814960666</c:v>
                </c:pt>
                <c:pt idx="52">
                  <c:v>0.3813214156843788</c:v>
                </c:pt>
                <c:pt idx="53">
                  <c:v>0.4511301812245946</c:v>
                </c:pt>
                <c:pt idx="54">
                  <c:v>0.3475052664301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4.4714</c:v>
                </c:pt>
                <c:pt idx="1">
                  <c:v>700.0748</c:v>
                </c:pt>
                <c:pt idx="2">
                  <c:v>673.0</c:v>
                </c:pt>
                <c:pt idx="3">
                  <c:v>672.3111</c:v>
                </c:pt>
                <c:pt idx="4">
                  <c:v>665.7422</c:v>
                </c:pt>
                <c:pt idx="5">
                  <c:v>645.6739</c:v>
                </c:pt>
                <c:pt idx="6">
                  <c:v>648.6667</c:v>
                </c:pt>
                <c:pt idx="7">
                  <c:v>647.2756</c:v>
                </c:pt>
                <c:pt idx="8">
                  <c:v>651.3111</c:v>
                </c:pt>
                <c:pt idx="9">
                  <c:v>630.1183</c:v>
                </c:pt>
                <c:pt idx="10">
                  <c:v>625.3636</c:v>
                </c:pt>
                <c:pt idx="11">
                  <c:v>639.5119</c:v>
                </c:pt>
                <c:pt idx="12">
                  <c:v>634.8192</c:v>
                </c:pt>
                <c:pt idx="13">
                  <c:v>653.8188</c:v>
                </c:pt>
                <c:pt idx="14">
                  <c:v>620.3846</c:v>
                </c:pt>
                <c:pt idx="15">
                  <c:v>652.5547</c:v>
                </c:pt>
                <c:pt idx="16">
                  <c:v>658.4149</c:v>
                </c:pt>
                <c:pt idx="17">
                  <c:v>642.8911</c:v>
                </c:pt>
                <c:pt idx="18">
                  <c:v>618.1507</c:v>
                </c:pt>
                <c:pt idx="19">
                  <c:v>559.2857</c:v>
                </c:pt>
                <c:pt idx="20">
                  <c:v>659.5747</c:v>
                </c:pt>
                <c:pt idx="21">
                  <c:v>635.0208</c:v>
                </c:pt>
                <c:pt idx="22">
                  <c:v>619.125</c:v>
                </c:pt>
                <c:pt idx="23">
                  <c:v>590.7126</c:v>
                </c:pt>
                <c:pt idx="24">
                  <c:v>596.5625</c:v>
                </c:pt>
                <c:pt idx="25">
                  <c:v>589.058</c:v>
                </c:pt>
                <c:pt idx="26">
                  <c:v>619.0</c:v>
                </c:pt>
                <c:pt idx="27">
                  <c:v>596.0</c:v>
                </c:pt>
                <c:pt idx="28">
                  <c:v>603.3529</c:v>
                </c:pt>
                <c:pt idx="29">
                  <c:v>596.5541</c:v>
                </c:pt>
                <c:pt idx="30">
                  <c:v>550.4179</c:v>
                </c:pt>
                <c:pt idx="31">
                  <c:v>558.3929</c:v>
                </c:pt>
                <c:pt idx="32">
                  <c:v>553.5733</c:v>
                </c:pt>
                <c:pt idx="33">
                  <c:v>560.8158</c:v>
                </c:pt>
                <c:pt idx="34">
                  <c:v>563.8942</c:v>
                </c:pt>
                <c:pt idx="35">
                  <c:v>547.2348</c:v>
                </c:pt>
                <c:pt idx="36">
                  <c:v>555.0504</c:v>
                </c:pt>
                <c:pt idx="37">
                  <c:v>577.6203</c:v>
                </c:pt>
                <c:pt idx="38">
                  <c:v>613.7105</c:v>
                </c:pt>
                <c:pt idx="39">
                  <c:v>643.6154</c:v>
                </c:pt>
                <c:pt idx="40">
                  <c:v>565.9107</c:v>
                </c:pt>
                <c:pt idx="41">
                  <c:v>631.4405</c:v>
                </c:pt>
                <c:pt idx="42">
                  <c:v>649.3162</c:v>
                </c:pt>
                <c:pt idx="43">
                  <c:v>666.1319</c:v>
                </c:pt>
                <c:pt idx="44">
                  <c:v>633.8027</c:v>
                </c:pt>
                <c:pt idx="45">
                  <c:v>659.0351</c:v>
                </c:pt>
                <c:pt idx="46">
                  <c:v>632.7407</c:v>
                </c:pt>
                <c:pt idx="47">
                  <c:v>595.1975</c:v>
                </c:pt>
                <c:pt idx="48">
                  <c:v>582.6309</c:v>
                </c:pt>
                <c:pt idx="49">
                  <c:v>571.8162</c:v>
                </c:pt>
                <c:pt idx="50">
                  <c:v>595.9067</c:v>
                </c:pt>
                <c:pt idx="51">
                  <c:v>589.9017</c:v>
                </c:pt>
                <c:pt idx="52">
                  <c:v>568.2874</c:v>
                </c:pt>
                <c:pt idx="53">
                  <c:v>556.153</c:v>
                </c:pt>
                <c:pt idx="54">
                  <c:v>550.9155</c:v>
                </c:pt>
                <c:pt idx="55">
                  <c:v>558.6515</c:v>
                </c:pt>
                <c:pt idx="56">
                  <c:v>551.06</c:v>
                </c:pt>
                <c:pt idx="57">
                  <c:v>547.1136</c:v>
                </c:pt>
                <c:pt idx="58">
                  <c:v>569.5929</c:v>
                </c:pt>
                <c:pt idx="59">
                  <c:v>572.9588</c:v>
                </c:pt>
                <c:pt idx="60">
                  <c:v>556.291</c:v>
                </c:pt>
                <c:pt idx="61">
                  <c:v>506.9128</c:v>
                </c:pt>
                <c:pt idx="62">
                  <c:v>534.1339</c:v>
                </c:pt>
                <c:pt idx="63">
                  <c:v>521.9733</c:v>
                </c:pt>
                <c:pt idx="64">
                  <c:v>508.8889</c:v>
                </c:pt>
                <c:pt idx="65">
                  <c:v>511.7222</c:v>
                </c:pt>
                <c:pt idx="66">
                  <c:v>511.6</c:v>
                </c:pt>
                <c:pt idx="67">
                  <c:v>505.65</c:v>
                </c:pt>
                <c:pt idx="68">
                  <c:v>526.0588</c:v>
                </c:pt>
                <c:pt idx="69">
                  <c:v>545.9136</c:v>
                </c:pt>
                <c:pt idx="70">
                  <c:v>510.2258</c:v>
                </c:pt>
                <c:pt idx="71">
                  <c:v>543.75</c:v>
                </c:pt>
                <c:pt idx="72">
                  <c:v>642.5</c:v>
                </c:pt>
                <c:pt idx="73">
                  <c:v>649.8767</c:v>
                </c:pt>
                <c:pt idx="74">
                  <c:v>636.7077</c:v>
                </c:pt>
                <c:pt idx="75">
                  <c:v>626.8</c:v>
                </c:pt>
                <c:pt idx="76">
                  <c:v>624.4337</c:v>
                </c:pt>
                <c:pt idx="77">
                  <c:v>622.6346</c:v>
                </c:pt>
                <c:pt idx="78">
                  <c:v>611.5185</c:v>
                </c:pt>
                <c:pt idx="79">
                  <c:v>505.8167</c:v>
                </c:pt>
                <c:pt idx="80">
                  <c:v>520.9649</c:v>
                </c:pt>
                <c:pt idx="81">
                  <c:v>521.5</c:v>
                </c:pt>
                <c:pt idx="82">
                  <c:v>538.5366</c:v>
                </c:pt>
                <c:pt idx="83">
                  <c:v>581.9677</c:v>
                </c:pt>
                <c:pt idx="84">
                  <c:v>485.9737</c:v>
                </c:pt>
                <c:pt idx="85">
                  <c:v>576.4595</c:v>
                </c:pt>
                <c:pt idx="86">
                  <c:v>571.0303</c:v>
                </c:pt>
                <c:pt idx="87">
                  <c:v>579.6795</c:v>
                </c:pt>
                <c:pt idx="88">
                  <c:v>566.4375</c:v>
                </c:pt>
                <c:pt idx="89">
                  <c:v>577.2321</c:v>
                </c:pt>
                <c:pt idx="90">
                  <c:v>580.3704</c:v>
                </c:pt>
                <c:pt idx="91">
                  <c:v>607.1754</c:v>
                </c:pt>
                <c:pt idx="92">
                  <c:v>606.7966</c:v>
                </c:pt>
                <c:pt idx="93">
                  <c:v>618.4</c:v>
                </c:pt>
                <c:pt idx="94">
                  <c:v>655.4946</c:v>
                </c:pt>
                <c:pt idx="95">
                  <c:v>649.6161</c:v>
                </c:pt>
                <c:pt idx="96">
                  <c:v>568.9741</c:v>
                </c:pt>
                <c:pt idx="97">
                  <c:v>553.8772</c:v>
                </c:pt>
                <c:pt idx="98">
                  <c:v>576.3883</c:v>
                </c:pt>
                <c:pt idx="99">
                  <c:v>558.71</c:v>
                </c:pt>
                <c:pt idx="100">
                  <c:v>550.0359</c:v>
                </c:pt>
                <c:pt idx="101">
                  <c:v>539.7371</c:v>
                </c:pt>
                <c:pt idx="102">
                  <c:v>536.1978</c:v>
                </c:pt>
                <c:pt idx="103">
                  <c:v>560.2636</c:v>
                </c:pt>
                <c:pt idx="104">
                  <c:v>560.5588</c:v>
                </c:pt>
              </c:numCache>
            </c:numRef>
          </c:xVal>
          <c:yVal>
            <c:numRef>
              <c:f>Sheet1!$B$2:$B$106</c:f>
              <c:numCache>
                <c:formatCode>General</c:formatCode>
                <c:ptCount val="105"/>
                <c:pt idx="0">
                  <c:v>0.35989717223650386</c:v>
                </c:pt>
                <c:pt idx="1">
                  <c:v>0.36658354114713215</c:v>
                </c:pt>
                <c:pt idx="2">
                  <c:v>0.4036144578313253</c:v>
                </c:pt>
                <c:pt idx="3">
                  <c:v>0.46075085324232085</c:v>
                </c:pt>
                <c:pt idx="4">
                  <c:v>0.45229681978798586</c:v>
                </c:pt>
                <c:pt idx="5">
                  <c:v>0.4946236559139785</c:v>
                </c:pt>
                <c:pt idx="6">
                  <c:v>0.516320474777448</c:v>
                </c:pt>
                <c:pt idx="7">
                  <c:v>0.4703703703703704</c:v>
                </c:pt>
                <c:pt idx="8">
                  <c:v>0.5357142857142857</c:v>
                </c:pt>
                <c:pt idx="9">
                  <c:v>0.5027027027027027</c:v>
                </c:pt>
                <c:pt idx="10">
                  <c:v>0.4895287958115183</c:v>
                </c:pt>
                <c:pt idx="11">
                  <c:v>0.467966573816156</c:v>
                </c:pt>
                <c:pt idx="12">
                  <c:v>0.39775280898876403</c:v>
                </c:pt>
                <c:pt idx="13">
                  <c:v>0.3631578947368421</c:v>
                </c:pt>
                <c:pt idx="14">
                  <c:v>0.4008810572687225</c:v>
                </c:pt>
                <c:pt idx="15">
                  <c:v>0.3890577507598784</c:v>
                </c:pt>
                <c:pt idx="16">
                  <c:v>0.2883435582822086</c:v>
                </c:pt>
                <c:pt idx="17">
                  <c:v>0.3389261744966443</c:v>
                </c:pt>
                <c:pt idx="18">
                  <c:v>0.25704225352112675</c:v>
                </c:pt>
                <c:pt idx="19">
                  <c:v>0.34146341463414637</c:v>
                </c:pt>
                <c:pt idx="20">
                  <c:v>0.375</c:v>
                </c:pt>
                <c:pt idx="21">
                  <c:v>0.4</c:v>
                </c:pt>
                <c:pt idx="22">
                  <c:v>0.2987551867219917</c:v>
                </c:pt>
                <c:pt idx="23">
                  <c:v>0.29692832764505117</c:v>
                </c:pt>
                <c:pt idx="24">
                  <c:v>0.3292181069958848</c:v>
                </c:pt>
                <c:pt idx="25">
                  <c:v>0.3382352941176471</c:v>
                </c:pt>
                <c:pt idx="26">
                  <c:v>0.42016806722689076</c:v>
                </c:pt>
                <c:pt idx="27">
                  <c:v>0.3768844221105528</c:v>
                </c:pt>
                <c:pt idx="28">
                  <c:v>0.37362637362637363</c:v>
                </c:pt>
                <c:pt idx="29">
                  <c:v>0.4111111111111111</c:v>
                </c:pt>
                <c:pt idx="30">
                  <c:v>0.40853658536585363</c:v>
                </c:pt>
                <c:pt idx="31">
                  <c:v>0.36363636363636365</c:v>
                </c:pt>
                <c:pt idx="32">
                  <c:v>0.4966887417218543</c:v>
                </c:pt>
                <c:pt idx="33">
                  <c:v>0.3838383838383838</c:v>
                </c:pt>
                <c:pt idx="34">
                  <c:v>0.4928909952606635</c:v>
                </c:pt>
                <c:pt idx="35">
                  <c:v>0.40069686411149824</c:v>
                </c:pt>
                <c:pt idx="36">
                  <c:v>0.3901639344262295</c:v>
                </c:pt>
                <c:pt idx="37">
                  <c:v>0.42021276595744683</c:v>
                </c:pt>
                <c:pt idx="38">
                  <c:v>0.329004329004329</c:v>
                </c:pt>
                <c:pt idx="39">
                  <c:v>0.33505154639175255</c:v>
                </c:pt>
                <c:pt idx="40">
                  <c:v>0.25339366515837103</c:v>
                </c:pt>
                <c:pt idx="41">
                  <c:v>0.32941176470588235</c:v>
                </c:pt>
                <c:pt idx="42">
                  <c:v>0.34615384615384615</c:v>
                </c:pt>
                <c:pt idx="43">
                  <c:v>0.28173374613003094</c:v>
                </c:pt>
                <c:pt idx="44">
                  <c:v>0.33182844243792325</c:v>
                </c:pt>
                <c:pt idx="45">
                  <c:v>0.4410058027079304</c:v>
                </c:pt>
                <c:pt idx="46">
                  <c:v>0.4346076458752515</c:v>
                </c:pt>
                <c:pt idx="47">
                  <c:v>0.38571428571428573</c:v>
                </c:pt>
                <c:pt idx="48">
                  <c:v>0.3791348600508906</c:v>
                </c:pt>
                <c:pt idx="49">
                  <c:v>0.3859797297297297</c:v>
                </c:pt>
                <c:pt idx="50">
                  <c:v>0.3611556982343499</c:v>
                </c:pt>
                <c:pt idx="51">
                  <c:v>0.3642105263157895</c:v>
                </c:pt>
                <c:pt idx="52">
                  <c:v>0.3795454545454545</c:v>
                </c:pt>
                <c:pt idx="53">
                  <c:v>0.40757238307349664</c:v>
                </c:pt>
                <c:pt idx="54">
                  <c:v>0.4011299435028249</c:v>
                </c:pt>
                <c:pt idx="55">
                  <c:v>0.358695652173913</c:v>
                </c:pt>
                <c:pt idx="56">
                  <c:v>0.38071065989847713</c:v>
                </c:pt>
                <c:pt idx="57">
                  <c:v>0.38596491228070173</c:v>
                </c:pt>
                <c:pt idx="58">
                  <c:v>0.38997214484679665</c:v>
                </c:pt>
                <c:pt idx="59">
                  <c:v>0.3903420523138833</c:v>
                </c:pt>
                <c:pt idx="60">
                  <c:v>0.34805194805194806</c:v>
                </c:pt>
                <c:pt idx="61">
                  <c:v>0.35990338164251207</c:v>
                </c:pt>
                <c:pt idx="62">
                  <c:v>0.3002680965147453</c:v>
                </c:pt>
                <c:pt idx="63">
                  <c:v>0.351288056206089</c:v>
                </c:pt>
                <c:pt idx="64">
                  <c:v>0.40089086859688194</c:v>
                </c:pt>
                <c:pt idx="65">
                  <c:v>0.34782608695652173</c:v>
                </c:pt>
                <c:pt idx="66">
                  <c:v>0.32563025210084034</c:v>
                </c:pt>
                <c:pt idx="67">
                  <c:v>0.3448275862068966</c:v>
                </c:pt>
                <c:pt idx="68">
                  <c:v>0.3655913978494624</c:v>
                </c:pt>
                <c:pt idx="69">
                  <c:v>0.34763948497854075</c:v>
                </c:pt>
                <c:pt idx="70">
                  <c:v>0.3661417322834646</c:v>
                </c:pt>
                <c:pt idx="71">
                  <c:v>0.32</c:v>
                </c:pt>
                <c:pt idx="72">
                  <c:v>0.28085106382978725</c:v>
                </c:pt>
                <c:pt idx="73">
                  <c:v>0.33031674208144796</c:v>
                </c:pt>
                <c:pt idx="74">
                  <c:v>0.32019704433497537</c:v>
                </c:pt>
                <c:pt idx="75">
                  <c:v>0.3755868544600939</c:v>
                </c:pt>
                <c:pt idx="76">
                  <c:v>0.3346774193548387</c:v>
                </c:pt>
                <c:pt idx="77">
                  <c:v>0.31901840490797545</c:v>
                </c:pt>
                <c:pt idx="78">
                  <c:v>0.3253012048192771</c:v>
                </c:pt>
                <c:pt idx="79">
                  <c:v>0.32786885245901637</c:v>
                </c:pt>
                <c:pt idx="80">
                  <c:v>0.2835820895522388</c:v>
                </c:pt>
                <c:pt idx="81">
                  <c:v>0.2787878787878788</c:v>
                </c:pt>
                <c:pt idx="82">
                  <c:v>0.2887323943661972</c:v>
                </c:pt>
                <c:pt idx="83">
                  <c:v>0.22794117647058823</c:v>
                </c:pt>
                <c:pt idx="84">
                  <c:v>0.24050632911392406</c:v>
                </c:pt>
                <c:pt idx="85">
                  <c:v>0.3162393162393162</c:v>
                </c:pt>
                <c:pt idx="86">
                  <c:v>0.3316582914572864</c:v>
                </c:pt>
                <c:pt idx="87">
                  <c:v>0.3627906976744186</c:v>
                </c:pt>
                <c:pt idx="88">
                  <c:v>0.3252032520325203</c:v>
                </c:pt>
                <c:pt idx="89">
                  <c:v>0.28865979381443296</c:v>
                </c:pt>
                <c:pt idx="90">
                  <c:v>0.2918918918918919</c:v>
                </c:pt>
                <c:pt idx="91">
                  <c:v>0.296875</c:v>
                </c:pt>
                <c:pt idx="92">
                  <c:v>0.3010204081632653</c:v>
                </c:pt>
                <c:pt idx="93">
                  <c:v>0.225</c:v>
                </c:pt>
                <c:pt idx="94">
                  <c:v>0.30194805194805197</c:v>
                </c:pt>
                <c:pt idx="95">
                  <c:v>0.31728045325779036</c:v>
                </c:pt>
                <c:pt idx="96">
                  <c:v>0.30526315789473685</c:v>
                </c:pt>
                <c:pt idx="97">
                  <c:v>0.3496932515337423</c:v>
                </c:pt>
                <c:pt idx="98">
                  <c:v>0.3539518900343643</c:v>
                </c:pt>
                <c:pt idx="99">
                  <c:v>0.3129890453834116</c:v>
                </c:pt>
                <c:pt idx="100">
                  <c:v>0.3071625344352617</c:v>
                </c:pt>
                <c:pt idx="101">
                  <c:v>0.36261682242990656</c:v>
                </c:pt>
                <c:pt idx="102">
                  <c:v>0.33579335793357934</c:v>
                </c:pt>
                <c:pt idx="103">
                  <c:v>0.3154034229828851</c:v>
                </c:pt>
                <c:pt idx="104">
                  <c:v>0.3248407643312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numCache>
            </c:numRef>
          </c:xVal>
          <c:yVal>
            <c:numRef>
              <c:f>Sheet1!$B$109:$B$160</c:f>
              <c:numCache>
                <c:formatCode>General</c:formatCode>
                <c:ptCount val="52"/>
                <c:pt idx="0">
                  <c:v>0.2620481927710843</c:v>
                </c:pt>
                <c:pt idx="1">
                  <c:v>0.3159420289855073</c:v>
                </c:pt>
                <c:pt idx="2">
                  <c:v>0.30434782608695654</c:v>
                </c:pt>
                <c:pt idx="3">
                  <c:v>0.3148148148148148</c:v>
                </c:pt>
                <c:pt idx="4">
                  <c:v>0.3445121951219512</c:v>
                </c:pt>
                <c:pt idx="5">
                  <c:v>0.3300653594771242</c:v>
                </c:pt>
                <c:pt idx="6">
                  <c:v>0.43243243243243246</c:v>
                </c:pt>
                <c:pt idx="7">
                  <c:v>0.4094488188976378</c:v>
                </c:pt>
                <c:pt idx="8">
                  <c:v>0.359375</c:v>
                </c:pt>
                <c:pt idx="9">
                  <c:v>0.36681222707423583</c:v>
                </c:pt>
                <c:pt idx="10">
                  <c:v>0.37906137184115524</c:v>
                </c:pt>
                <c:pt idx="11">
                  <c:v>0.335978835978836</c:v>
                </c:pt>
                <c:pt idx="12">
                  <c:v>0.351010101010101</c:v>
                </c:pt>
                <c:pt idx="13">
                  <c:v>0.34049079754601225</c:v>
                </c:pt>
                <c:pt idx="14">
                  <c:v>0.3344594594594595</c:v>
                </c:pt>
                <c:pt idx="15">
                  <c:v>0.3300970873786408</c:v>
                </c:pt>
                <c:pt idx="16">
                  <c:v>0.3949579831932773</c:v>
                </c:pt>
                <c:pt idx="17">
                  <c:v>0.33816425120772947</c:v>
                </c:pt>
                <c:pt idx="18">
                  <c:v>0.3473684210526316</c:v>
                </c:pt>
                <c:pt idx="19">
                  <c:v>0.43103448275862066</c:v>
                </c:pt>
                <c:pt idx="20">
                  <c:v>0.34328358208955223</c:v>
                </c:pt>
                <c:pt idx="21">
                  <c:v>0.3591549295774648</c:v>
                </c:pt>
                <c:pt idx="22">
                  <c:v>0.3467741935483871</c:v>
                </c:pt>
                <c:pt idx="23">
                  <c:v>0.3434343434343434</c:v>
                </c:pt>
                <c:pt idx="24">
                  <c:v>0.35135135135135137</c:v>
                </c:pt>
                <c:pt idx="25">
                  <c:v>0.352112676056338</c:v>
                </c:pt>
                <c:pt idx="26">
                  <c:v>0.4318181818181818</c:v>
                </c:pt>
                <c:pt idx="27">
                  <c:v>0.38311688311688313</c:v>
                </c:pt>
                <c:pt idx="28">
                  <c:v>0.4198473282442748</c:v>
                </c:pt>
                <c:pt idx="29">
                  <c:v>0.3</c:v>
                </c:pt>
                <c:pt idx="30">
                  <c:v>0.37142857142857144</c:v>
                </c:pt>
                <c:pt idx="31">
                  <c:v>0.3181818181818182</c:v>
                </c:pt>
                <c:pt idx="32">
                  <c:v>0.43820224719101125</c:v>
                </c:pt>
                <c:pt idx="33">
                  <c:v>0.40268456375838924</c:v>
                </c:pt>
                <c:pt idx="34">
                  <c:v>0.46195652173913043</c:v>
                </c:pt>
                <c:pt idx="35">
                  <c:v>0.4019607843137255</c:v>
                </c:pt>
                <c:pt idx="36">
                  <c:v>0.4132231404958678</c:v>
                </c:pt>
                <c:pt idx="37">
                  <c:v>0.4351851851851852</c:v>
                </c:pt>
                <c:pt idx="38">
                  <c:v>0.4731182795698925</c:v>
                </c:pt>
                <c:pt idx="39">
                  <c:v>0.49473684210526314</c:v>
                </c:pt>
                <c:pt idx="40">
                  <c:v>0.4049079754601227</c:v>
                </c:pt>
                <c:pt idx="41">
                  <c:v>0.401673640167364</c:v>
                </c:pt>
                <c:pt idx="42">
                  <c:v>0.33004926108374383</c:v>
                </c:pt>
                <c:pt idx="43">
                  <c:v>0.28019323671497587</c:v>
                </c:pt>
                <c:pt idx="44">
                  <c:v>0.3</c:v>
                </c:pt>
                <c:pt idx="45">
                  <c:v>0.36058700209643607</c:v>
                </c:pt>
                <c:pt idx="46">
                  <c:v>0.337468982630273</c:v>
                </c:pt>
                <c:pt idx="47">
                  <c:v>0.32407407407407407</c:v>
                </c:pt>
                <c:pt idx="48">
                  <c:v>0.32983193277310924</c:v>
                </c:pt>
                <c:pt idx="49">
                  <c:v>0.3129411764705882</c:v>
                </c:pt>
                <c:pt idx="50">
                  <c:v>0.32200886262924666</c:v>
                </c:pt>
                <c:pt idx="51">
                  <c:v>0.3190954773869346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8.42888406674442</c:v>
                </c:pt>
              </c:numCache>
            </c:numRef>
          </c:xVal>
          <c:yVal>
            <c:numRef>
              <c:f>Sheet1!$B$163:$B$164</c:f>
              <c:numCache>
                <c:formatCode>General</c:formatCode>
                <c:ptCount val="2"/>
                <c:pt idx="0">
                  <c:v>0.4511301812245946</c:v>
                </c:pt>
                <c:pt idx="1">
                  <c:v>0.45113018122459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8.42888406674442</c:v>
                </c:pt>
                <c:pt idx="1">
                  <c:v>248.42888406674442</c:v>
                </c:pt>
              </c:numCache>
            </c:numRef>
          </c:xVal>
          <c:yVal>
            <c:numRef>
              <c:f>Sheet1!$B$167:$B$168</c:f>
              <c:numCache>
                <c:formatCode>General</c:formatCode>
                <c:ptCount val="2"/>
                <c:pt idx="0">
                  <c:v>0.45113018122459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46.9995875763464</c:v>
                </c:pt>
              </c:numCache>
            </c:numRef>
          </c:xVal>
          <c:yVal>
            <c:numRef>
              <c:f>Sheet1!$B$171:$B$172</c:f>
              <c:numCache>
                <c:formatCode>General</c:formatCode>
                <c:ptCount val="2"/>
                <c:pt idx="0">
                  <c:v>0.3813214156843788</c:v>
                </c:pt>
                <c:pt idx="1">
                  <c:v>0.38132141568437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46.9995875763464</c:v>
                </c:pt>
                <c:pt idx="1">
                  <c:v>546.9995875763464</c:v>
                </c:pt>
              </c:numCache>
            </c:numRef>
          </c:xVal>
          <c:yVal>
            <c:numRef>
              <c:f>Sheet1!$B$175:$B$176</c:f>
              <c:numCache>
                <c:formatCode>General</c:formatCode>
                <c:ptCount val="2"/>
                <c:pt idx="0">
                  <c:v>0.38132141568437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91.6305862007262</c:v>
                </c:pt>
              </c:numCache>
            </c:numRef>
          </c:xVal>
          <c:yVal>
            <c:numRef>
              <c:f>Sheet1!$B$179:$B$180</c:f>
              <c:numCache>
                <c:formatCode>General</c:formatCode>
                <c:ptCount val="2"/>
                <c:pt idx="0">
                  <c:v>0.347505266430164</c:v>
                </c:pt>
                <c:pt idx="1">
                  <c:v>0.34750526643016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91.6305862007262</c:v>
                </c:pt>
                <c:pt idx="1">
                  <c:v>691.6305862007262</c:v>
                </c:pt>
              </c:numCache>
            </c:numRef>
          </c:xVal>
          <c:yVal>
            <c:numRef>
              <c:f>Sheet1!$B$183:$B$184</c:f>
              <c:numCache>
                <c:formatCode>General</c:formatCode>
                <c:ptCount val="2"/>
                <c:pt idx="0">
                  <c:v>0.3475052664301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546.8736</c:v>
                </c:pt>
                <c:pt idx="1">
                  <c:v>533.6789</c:v>
                </c:pt>
                <c:pt idx="2">
                  <c:v>583.4095</c:v>
                </c:pt>
                <c:pt idx="3">
                  <c:v>540.0084</c:v>
                </c:pt>
                <c:pt idx="4">
                  <c:v>569.0265</c:v>
                </c:pt>
                <c:pt idx="5">
                  <c:v>528.5842</c:v>
                </c:pt>
                <c:pt idx="6">
                  <c:v>508.4018</c:v>
                </c:pt>
                <c:pt idx="7">
                  <c:v>517.6154</c:v>
                </c:pt>
                <c:pt idx="8">
                  <c:v>573.3478</c:v>
                </c:pt>
                <c:pt idx="9">
                  <c:v>560.119</c:v>
                </c:pt>
                <c:pt idx="10">
                  <c:v>600.4095</c:v>
                </c:pt>
                <c:pt idx="11">
                  <c:v>599.378</c:v>
                </c:pt>
                <c:pt idx="12">
                  <c:v>683.8705</c:v>
                </c:pt>
                <c:pt idx="13">
                  <c:v>700.964</c:v>
                </c:pt>
                <c:pt idx="14">
                  <c:v>694.0</c:v>
                </c:pt>
                <c:pt idx="15">
                  <c:v>692.6863</c:v>
                </c:pt>
                <c:pt idx="16">
                  <c:v>718.9894</c:v>
                </c:pt>
                <c:pt idx="17">
                  <c:v>703.7429</c:v>
                </c:pt>
                <c:pt idx="18">
                  <c:v>658.4848</c:v>
                </c:pt>
                <c:pt idx="19">
                  <c:v>730.87</c:v>
                </c:pt>
                <c:pt idx="20">
                  <c:v>717.5507</c:v>
                </c:pt>
                <c:pt idx="21">
                  <c:v>753.0784</c:v>
                </c:pt>
                <c:pt idx="22">
                  <c:v>750.3953</c:v>
                </c:pt>
                <c:pt idx="23">
                  <c:v>723.5</c:v>
                </c:pt>
                <c:pt idx="24">
                  <c:v>655.7692</c:v>
                </c:pt>
                <c:pt idx="25">
                  <c:v>624.84</c:v>
                </c:pt>
                <c:pt idx="26">
                  <c:v>589.1579</c:v>
                </c:pt>
                <c:pt idx="27">
                  <c:v>612.6441</c:v>
                </c:pt>
                <c:pt idx="28">
                  <c:v>614.8727</c:v>
                </c:pt>
                <c:pt idx="29">
                  <c:v>671.7778</c:v>
                </c:pt>
                <c:pt idx="30">
                  <c:v>665.0256</c:v>
                </c:pt>
                <c:pt idx="31">
                  <c:v>628.3929</c:v>
                </c:pt>
                <c:pt idx="32">
                  <c:v>588.8205</c:v>
                </c:pt>
                <c:pt idx="33">
                  <c:v>581.5</c:v>
                </c:pt>
                <c:pt idx="34">
                  <c:v>606.5765</c:v>
                </c:pt>
                <c:pt idx="35">
                  <c:v>554.3537</c:v>
                </c:pt>
                <c:pt idx="36">
                  <c:v>547.56</c:v>
                </c:pt>
                <c:pt idx="37">
                  <c:v>574.0106</c:v>
                </c:pt>
                <c:pt idx="38">
                  <c:v>606.8182</c:v>
                </c:pt>
                <c:pt idx="39">
                  <c:v>515.9574</c:v>
                </c:pt>
                <c:pt idx="40">
                  <c:v>531.2273</c:v>
                </c:pt>
                <c:pt idx="41">
                  <c:v>557.5</c:v>
                </c:pt>
                <c:pt idx="42">
                  <c:v>620.1343</c:v>
                </c:pt>
                <c:pt idx="43">
                  <c:v>640.3103</c:v>
                </c:pt>
                <c:pt idx="44">
                  <c:v>638.5</c:v>
                </c:pt>
                <c:pt idx="45">
                  <c:v>579.7093</c:v>
                </c:pt>
                <c:pt idx="46">
                  <c:v>595.2574</c:v>
                </c:pt>
                <c:pt idx="47">
                  <c:v>676.65</c:v>
                </c:pt>
                <c:pt idx="48">
                  <c:v>666.0828</c:v>
                </c:pt>
                <c:pt idx="49">
                  <c:v>722.7519</c:v>
                </c:pt>
                <c:pt idx="50">
                  <c:v>703.2018</c:v>
                </c:pt>
                <c:pt idx="51">
                  <c:v>714.0315</c:v>
                </c:pt>
                <c:pt idx="52">
                  <c:v>546.9995875763464</c:v>
                </c:pt>
                <c:pt idx="53">
                  <c:v>248.42888406674442</c:v>
                </c:pt>
                <c:pt idx="54">
                  <c:v>691.6305862007262</c:v>
                </c:pt>
              </c:numCache>
            </c:numRef>
          </c:xVal>
          <c:yVal>
            <c:numRef>
              <c:f>Sheet1!$B$187:$B$241</c:f>
              <c:numCache>
                <c:formatCode>General</c:formatCode>
                <c:ptCount val="55"/>
                <c:pt idx="0">
                  <c:v>0.3813508728182327</c:v>
                </c:pt>
                <c:pt idx="1">
                  <c:v>0.3844359233869797</c:v>
                </c:pt>
                <c:pt idx="2">
                  <c:v>0.37280842023691724</c:v>
                </c:pt>
                <c:pt idx="3">
                  <c:v>0.3829560240656701</c:v>
                </c:pt>
                <c:pt idx="4">
                  <c:v>0.3761713070270897</c:v>
                </c:pt>
                <c:pt idx="5">
                  <c:v>0.38562711432975183</c:v>
                </c:pt>
                <c:pt idx="6">
                  <c:v>0.39034595785015613</c:v>
                </c:pt>
                <c:pt idx="7">
                  <c:v>0.3881917275970843</c:v>
                </c:pt>
                <c:pt idx="8">
                  <c:v>0.37516094460712357</c:v>
                </c:pt>
                <c:pt idx="9">
                  <c:v>0.3782539680910861</c:v>
                </c:pt>
                <c:pt idx="10">
                  <c:v>0.36883365312067373</c:v>
                </c:pt>
                <c:pt idx="11">
                  <c:v>0.3690748279606975</c:v>
                </c:pt>
                <c:pt idx="12">
                  <c:v>0.3493196508683912</c:v>
                </c:pt>
                <c:pt idx="13">
                  <c:v>0.3453230225330083</c:v>
                </c:pt>
                <c:pt idx="14">
                  <c:v>0.3469512741916859</c:v>
                </c:pt>
                <c:pt idx="15">
                  <c:v>0.3472584301658394</c:v>
                </c:pt>
                <c:pt idx="16">
                  <c:v>0.3411085068167061</c:v>
                </c:pt>
                <c:pt idx="17">
                  <c:v>0.3446732883954007</c:v>
                </c:pt>
                <c:pt idx="18">
                  <c:v>0.3552550770791455</c:v>
                </c:pt>
                <c:pt idx="19">
                  <c:v>0.33833070574604474</c:v>
                </c:pt>
                <c:pt idx="20">
                  <c:v>0.34144488901965553</c:v>
                </c:pt>
                <c:pt idx="21">
                  <c:v>0.33313816350931635</c:v>
                </c:pt>
                <c:pt idx="22">
                  <c:v>0.33376549866517474</c:v>
                </c:pt>
                <c:pt idx="23">
                  <c:v>0.34005388419585153</c:v>
                </c:pt>
                <c:pt idx="24">
                  <c:v>0.35589001105449086</c:v>
                </c:pt>
                <c:pt idx="25">
                  <c:v>0.36312156205988616</c:v>
                </c:pt>
                <c:pt idx="26">
                  <c:v>0.37146438780803404</c:v>
                </c:pt>
                <c:pt idx="27">
                  <c:v>0.3659730833700623</c:v>
                </c:pt>
                <c:pt idx="28">
                  <c:v>0.3654520147821058</c:v>
                </c:pt>
                <c:pt idx="29">
                  <c:v>0.3521470430040734</c:v>
                </c:pt>
                <c:pt idx="30">
                  <c:v>0.35372577374067926</c:v>
                </c:pt>
                <c:pt idx="31">
                  <c:v>0.3622908591135743</c:v>
                </c:pt>
                <c:pt idx="32">
                  <c:v>0.37154327524479996</c:v>
                </c:pt>
                <c:pt idx="33">
                  <c:v>0.37325488010800356</c:v>
                </c:pt>
                <c:pt idx="34">
                  <c:v>0.36739174789679874</c:v>
                </c:pt>
                <c:pt idx="35">
                  <c:v>0.37960195190610246</c:v>
                </c:pt>
                <c:pt idx="36">
                  <c:v>0.38119038575066866</c:v>
                </c:pt>
                <c:pt idx="37">
                  <c:v>0.3750059754515562</c:v>
                </c:pt>
                <c:pt idx="38">
                  <c:v>0.367335236060799</c:v>
                </c:pt>
                <c:pt idx="39">
                  <c:v>0.3885793842958332</c:v>
                </c:pt>
                <c:pt idx="40">
                  <c:v>0.3850091315671081</c:v>
                </c:pt>
                <c:pt idx="41">
                  <c:v>0.378866316036818</c:v>
                </c:pt>
                <c:pt idx="42">
                  <c:v>0.3642218009786454</c:v>
                </c:pt>
                <c:pt idx="43">
                  <c:v>0.3595044538411554</c:v>
                </c:pt>
                <c:pt idx="44">
                  <c:v>0.3599277197770693</c:v>
                </c:pt>
                <c:pt idx="45">
                  <c:v>0.37367356337124225</c:v>
                </c:pt>
                <c:pt idx="46">
                  <c:v>0.3700382647477089</c:v>
                </c:pt>
                <c:pt idx="47">
                  <c:v>0.351007874748558</c:v>
                </c:pt>
                <c:pt idx="48">
                  <c:v>0.353478589988015</c:v>
                </c:pt>
                <c:pt idx="49">
                  <c:v>0.34022879732994926</c:v>
                </c:pt>
                <c:pt idx="50">
                  <c:v>0.34479980289461243</c:v>
                </c:pt>
                <c:pt idx="51">
                  <c:v>0.342267712574684</c:v>
                </c:pt>
                <c:pt idx="52">
                  <c:v>0.3813214156843788</c:v>
                </c:pt>
                <c:pt idx="53">
                  <c:v>0.4511301812245946</c:v>
                </c:pt>
                <c:pt idx="54">
                  <c:v>0.3475052664301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4.0"/>
          <c:min val="19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28571428571428"/>
          <c:min val="0.18000000000000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041987275661003</c:v>
                </c:pt>
                <c:pt idx="1">
                  <c:v>0.8005092925442195</c:v>
                </c:pt>
                <c:pt idx="2">
                  <c:v>0.8331368617103834</c:v>
                </c:pt>
                <c:pt idx="3">
                  <c:v>0.7333592717002599</c:v>
                </c:pt>
                <c:pt idx="4">
                  <c:v>0.6988659788556336</c:v>
                </c:pt>
                <c:pt idx="5">
                  <c:v>0.829220468675275</c:v>
                </c:pt>
                <c:pt idx="6">
                  <c:v>0.7327851458885941</c:v>
                </c:pt>
                <c:pt idx="7">
                  <c:v>0.7701643872110643</c:v>
                </c:pt>
                <c:pt idx="8">
                  <c:v>0.7328417118827228</c:v>
                </c:pt>
                <c:pt idx="9">
                  <c:v>0.7287683073776545</c:v>
                </c:pt>
                <c:pt idx="10">
                  <c:v>0.7254917028184816</c:v>
                </c:pt>
                <c:pt idx="11">
                  <c:v>0.7123907700826669</c:v>
                </c:pt>
                <c:pt idx="12">
                  <c:v>0.7141480352672254</c:v>
                </c:pt>
                <c:pt idx="13">
                  <c:v>0.7037454545454546</c:v>
                </c:pt>
                <c:pt idx="14">
                  <c:v>0.7164502933075436</c:v>
                </c:pt>
                <c:pt idx="15">
                  <c:v>0.7214191943909412</c:v>
                </c:pt>
                <c:pt idx="16">
                  <c:v>0.7039692938113279</c:v>
                </c:pt>
                <c:pt idx="17">
                  <c:v>0.7179796665738752</c:v>
                </c:pt>
                <c:pt idx="18">
                  <c:v>0.7460913062472696</c:v>
                </c:pt>
                <c:pt idx="19">
                  <c:v>0.7463267256631949</c:v>
                </c:pt>
                <c:pt idx="20">
                  <c:v>0.7427948992289409</c:v>
                </c:pt>
                <c:pt idx="21">
                  <c:v>0.6810207130878646</c:v>
                </c:pt>
                <c:pt idx="22">
                  <c:v>0.6498985466963151</c:v>
                </c:pt>
                <c:pt idx="23">
                  <c:v>0.6724018235068832</c:v>
                </c:pt>
                <c:pt idx="24">
                  <c:v>0.7366260717438587</c:v>
                </c:pt>
                <c:pt idx="25">
                  <c:v>0.6741958716527034</c:v>
                </c:pt>
                <c:pt idx="26">
                  <c:v>0.706913371546527</c:v>
                </c:pt>
                <c:pt idx="27">
                  <c:v>0.696905819528221</c:v>
                </c:pt>
                <c:pt idx="28">
                  <c:v>0.7120886868686869</c:v>
                </c:pt>
                <c:pt idx="29">
                  <c:v>0.7004384962595361</c:v>
                </c:pt>
                <c:pt idx="30">
                  <c:v>0.6858480073953599</c:v>
                </c:pt>
                <c:pt idx="31">
                  <c:v>0.6909020864856256</c:v>
                </c:pt>
                <c:pt idx="32">
                  <c:v>0.7271413388439829</c:v>
                </c:pt>
                <c:pt idx="33">
                  <c:v>0.7076134224280882</c:v>
                </c:pt>
                <c:pt idx="34">
                  <c:v>0.7645103363248578</c:v>
                </c:pt>
                <c:pt idx="35">
                  <c:v>0.7674295241615914</c:v>
                </c:pt>
                <c:pt idx="36">
                  <c:v>0.7616527907850584</c:v>
                </c:pt>
                <c:pt idx="37">
                  <c:v>0.8522559158214885</c:v>
                </c:pt>
                <c:pt idx="38">
                  <c:v>0.8060154906363337</c:v>
                </c:pt>
                <c:pt idx="39">
                  <c:v>0.8302363271954069</c:v>
                </c:pt>
                <c:pt idx="40">
                  <c:v>0.7859234220164395</c:v>
                </c:pt>
                <c:pt idx="41">
                  <c:v>0.8169489161774217</c:v>
                </c:pt>
                <c:pt idx="42">
                  <c:v>0.8044409589603203</c:v>
                </c:pt>
                <c:pt idx="43">
                  <c:v>0.8313210090930663</c:v>
                </c:pt>
                <c:pt idx="44">
                  <c:v>0.8050394371925391</c:v>
                </c:pt>
                <c:pt idx="45">
                  <c:v>0.7968492207531954</c:v>
                </c:pt>
                <c:pt idx="46">
                  <c:v>0.7721377460710958</c:v>
                </c:pt>
                <c:pt idx="47">
                  <c:v>0.7461751960228616</c:v>
                </c:pt>
                <c:pt idx="48">
                  <c:v>0.7461500908191249</c:v>
                </c:pt>
                <c:pt idx="49">
                  <c:v>0.7301513329929831</c:v>
                </c:pt>
                <c:pt idx="50">
                  <c:v>0.7907740487903849</c:v>
                </c:pt>
                <c:pt idx="51">
                  <c:v>0.7594383518249026</c:v>
                </c:pt>
                <c:pt idx="52">
                  <c:v>0.7765363596021778</c:v>
                </c:pt>
                <c:pt idx="53">
                  <c:v>0.7579370601187015</c:v>
                </c:pt>
                <c:pt idx="54">
                  <c:v>0.7353523613346703</c:v>
                </c:pt>
                <c:pt idx="55">
                  <c:v>0.7269420345613162</c:v>
                </c:pt>
                <c:pt idx="56">
                  <c:v>0.7224777821159789</c:v>
                </c:pt>
                <c:pt idx="57">
                  <c:v>0.7842712121212121</c:v>
                </c:pt>
                <c:pt idx="58">
                  <c:v>0.753029342476706</c:v>
                </c:pt>
                <c:pt idx="59">
                  <c:v>0.7130676441207515</c:v>
                </c:pt>
                <c:pt idx="60">
                  <c:v>0.7063843236409608</c:v>
                </c:pt>
                <c:pt idx="61">
                  <c:v>0.6928666205415648</c:v>
                </c:pt>
                <c:pt idx="62">
                  <c:v>0.7305667364306057</c:v>
                </c:pt>
                <c:pt idx="63">
                  <c:v>0.7264900451041202</c:v>
                </c:pt>
                <c:pt idx="64">
                  <c:v>0.7235077738033104</c:v>
                </c:pt>
                <c:pt idx="65">
                  <c:v>0.7281769861559138</c:v>
                </c:pt>
                <c:pt idx="66">
                  <c:v>0.7015449286039306</c:v>
                </c:pt>
                <c:pt idx="67">
                  <c:v>0.7098098117609486</c:v>
                </c:pt>
                <c:pt idx="68">
                  <c:v>0.7090399351495302</c:v>
                </c:pt>
                <c:pt idx="69">
                  <c:v>0.7300338224192044</c:v>
                </c:pt>
                <c:pt idx="70">
                  <c:v>0.716315857605178</c:v>
                </c:pt>
                <c:pt idx="71">
                  <c:v>0.6997642966159274</c:v>
                </c:pt>
                <c:pt idx="72">
                  <c:v>0.7795491485014758</c:v>
                </c:pt>
                <c:pt idx="73">
                  <c:v>0.7656676525838082</c:v>
                </c:pt>
                <c:pt idx="74">
                  <c:v>0.7666712087492562</c:v>
                </c:pt>
                <c:pt idx="75">
                  <c:v>0.7172603145235892</c:v>
                </c:pt>
                <c:pt idx="76">
                  <c:v>0.7345935131917856</c:v>
                </c:pt>
                <c:pt idx="77">
                  <c:v>0.7693524847754462</c:v>
                </c:pt>
                <c:pt idx="78">
                  <c:v>0.7382698533139016</c:v>
                </c:pt>
                <c:pt idx="79">
                  <c:v>0.6978285167464116</c:v>
                </c:pt>
                <c:pt idx="80">
                  <c:v>0.7838338652202531</c:v>
                </c:pt>
                <c:pt idx="81">
                  <c:v>0.7824068501312353</c:v>
                </c:pt>
                <c:pt idx="82">
                  <c:v>0.7841333971291866</c:v>
                </c:pt>
                <c:pt idx="83">
                  <c:v>0.7969710110997905</c:v>
                </c:pt>
                <c:pt idx="84">
                  <c:v>0.7879577519379846</c:v>
                </c:pt>
                <c:pt idx="85">
                  <c:v>0.79464061891708</c:v>
                </c:pt>
                <c:pt idx="86">
                  <c:v>0.8013174559218604</c:v>
                </c:pt>
                <c:pt idx="87">
                  <c:v>0.8050058947571993</c:v>
                </c:pt>
                <c:pt idx="88">
                  <c:v>0.75707696540554</c:v>
                </c:pt>
                <c:pt idx="89">
                  <c:v>0.7877169751980446</c:v>
                </c:pt>
                <c:pt idx="90">
                  <c:v>0.8639936103213417</c:v>
                </c:pt>
                <c:pt idx="91">
                  <c:v>0.8380188193073242</c:v>
                </c:pt>
                <c:pt idx="92">
                  <c:v>0.8661937663986982</c:v>
                </c:pt>
                <c:pt idx="93">
                  <c:v>0.7756764962617178</c:v>
                </c:pt>
                <c:pt idx="94">
                  <c:v>0.8254820094712314</c:v>
                </c:pt>
                <c:pt idx="95">
                  <c:v>0.818883289819274</c:v>
                </c:pt>
                <c:pt idx="96">
                  <c:v>0.8003412878787879</c:v>
                </c:pt>
                <c:pt idx="97">
                  <c:v>0.8294902275180293</c:v>
                </c:pt>
                <c:pt idx="98">
                  <c:v>0.8334011384959868</c:v>
                </c:pt>
                <c:pt idx="99">
                  <c:v>0.8155913647922787</c:v>
                </c:pt>
                <c:pt idx="100">
                  <c:v>0.8258146036470501</c:v>
                </c:pt>
                <c:pt idx="101">
                  <c:v>0.7344018288938579</c:v>
                </c:pt>
                <c:pt idx="102">
                  <c:v>0.6932266298541746</c:v>
                </c:pt>
                <c:pt idx="103">
                  <c:v>0.543667303333297</c:v>
                </c:pt>
                <c:pt idx="104">
                  <c:v>0.5506502645177886</c:v>
                </c:pt>
              </c:numCache>
            </c:numRef>
          </c:xVal>
          <c:yVal>
            <c:numRef>
              <c:f>Sheet1!$B$2:$B$106</c:f>
              <c:numCache>
                <c:formatCode>General</c:formatCode>
                <c:ptCount val="105"/>
                <c:pt idx="0">
                  <c:v>0.3393316195372751</c:v>
                </c:pt>
                <c:pt idx="1">
                  <c:v>0.286783042394015</c:v>
                </c:pt>
                <c:pt idx="2">
                  <c:v>0.24397590361445784</c:v>
                </c:pt>
                <c:pt idx="3">
                  <c:v>0.2764505119453925</c:v>
                </c:pt>
                <c:pt idx="4">
                  <c:v>0.26855123674911663</c:v>
                </c:pt>
                <c:pt idx="5">
                  <c:v>0.26881720430107525</c:v>
                </c:pt>
                <c:pt idx="6">
                  <c:v>0.23738872403560832</c:v>
                </c:pt>
                <c:pt idx="7">
                  <c:v>0.23333333333333334</c:v>
                </c:pt>
                <c:pt idx="8">
                  <c:v>0.17857142857142858</c:v>
                </c:pt>
                <c:pt idx="9">
                  <c:v>0.2594594594594595</c:v>
                </c:pt>
                <c:pt idx="10">
                  <c:v>0.2513089005235602</c:v>
                </c:pt>
                <c:pt idx="11">
                  <c:v>0.20891364902506965</c:v>
                </c:pt>
                <c:pt idx="12">
                  <c:v>0.25617977528089886</c:v>
                </c:pt>
                <c:pt idx="13">
                  <c:v>0.3026315789473684</c:v>
                </c:pt>
                <c:pt idx="14">
                  <c:v>0.19823788546255505</c:v>
                </c:pt>
                <c:pt idx="15">
                  <c:v>0.2188449848024316</c:v>
                </c:pt>
                <c:pt idx="16">
                  <c:v>0.25766871165644173</c:v>
                </c:pt>
                <c:pt idx="17">
                  <c:v>0.22818791946308725</c:v>
                </c:pt>
                <c:pt idx="18">
                  <c:v>0.2323943661971831</c:v>
                </c:pt>
                <c:pt idx="19">
                  <c:v>0.17073170731707318</c:v>
                </c:pt>
                <c:pt idx="20">
                  <c:v>0.14655172413793102</c:v>
                </c:pt>
                <c:pt idx="21">
                  <c:v>0.13333333333333333</c:v>
                </c:pt>
                <c:pt idx="22">
                  <c:v>0.1825726141078838</c:v>
                </c:pt>
                <c:pt idx="23">
                  <c:v>0.17747440273037543</c:v>
                </c:pt>
                <c:pt idx="24">
                  <c:v>0.2139917695473251</c:v>
                </c:pt>
                <c:pt idx="25">
                  <c:v>0.2107843137254902</c:v>
                </c:pt>
                <c:pt idx="26">
                  <c:v>0.2184873949579832</c:v>
                </c:pt>
                <c:pt idx="27">
                  <c:v>0.23115577889447236</c:v>
                </c:pt>
                <c:pt idx="28">
                  <c:v>0.17032967032967034</c:v>
                </c:pt>
                <c:pt idx="29">
                  <c:v>0.21666666666666667</c:v>
                </c:pt>
                <c:pt idx="30">
                  <c:v>0.20121951219512196</c:v>
                </c:pt>
                <c:pt idx="31">
                  <c:v>0.24675324675324675</c:v>
                </c:pt>
                <c:pt idx="32">
                  <c:v>0.23841059602649006</c:v>
                </c:pt>
                <c:pt idx="33">
                  <c:v>0.24242424242424243</c:v>
                </c:pt>
                <c:pt idx="34">
                  <c:v>0.18009478672985782</c:v>
                </c:pt>
                <c:pt idx="35">
                  <c:v>0.20905923344947736</c:v>
                </c:pt>
                <c:pt idx="36">
                  <c:v>0.21311475409836064</c:v>
                </c:pt>
                <c:pt idx="37">
                  <c:v>0.1276595744680851</c:v>
                </c:pt>
                <c:pt idx="38">
                  <c:v>0.19913419913419914</c:v>
                </c:pt>
                <c:pt idx="39">
                  <c:v>0.14432989690721648</c:v>
                </c:pt>
                <c:pt idx="40">
                  <c:v>0.23076923076923078</c:v>
                </c:pt>
                <c:pt idx="41">
                  <c:v>0.15294117647058825</c:v>
                </c:pt>
                <c:pt idx="42">
                  <c:v>0.16568047337278108</c:v>
                </c:pt>
                <c:pt idx="43">
                  <c:v>0.14241486068111456</c:v>
                </c:pt>
                <c:pt idx="44">
                  <c:v>0.22121896162528218</c:v>
                </c:pt>
                <c:pt idx="45">
                  <c:v>0.23017408123791103</c:v>
                </c:pt>
                <c:pt idx="46">
                  <c:v>0.2193158953722334</c:v>
                </c:pt>
                <c:pt idx="47">
                  <c:v>0.2523809523809524</c:v>
                </c:pt>
                <c:pt idx="48">
                  <c:v>0.2544529262086514</c:v>
                </c:pt>
                <c:pt idx="49">
                  <c:v>0.2846283783783784</c:v>
                </c:pt>
                <c:pt idx="50">
                  <c:v>0.30337078651685395</c:v>
                </c:pt>
                <c:pt idx="51">
                  <c:v>0.25473684210526315</c:v>
                </c:pt>
                <c:pt idx="52">
                  <c:v>0.2636363636363636</c:v>
                </c:pt>
                <c:pt idx="53">
                  <c:v>0.23162583518930957</c:v>
                </c:pt>
                <c:pt idx="54">
                  <c:v>0.2401129943502825</c:v>
                </c:pt>
                <c:pt idx="55">
                  <c:v>0.27445652173913043</c:v>
                </c:pt>
                <c:pt idx="56">
                  <c:v>0.2715736040609137</c:v>
                </c:pt>
                <c:pt idx="57">
                  <c:v>0.2719298245614035</c:v>
                </c:pt>
                <c:pt idx="58">
                  <c:v>0.27019498607242337</c:v>
                </c:pt>
                <c:pt idx="59">
                  <c:v>0.22334004024144868</c:v>
                </c:pt>
                <c:pt idx="60">
                  <c:v>0.22077922077922077</c:v>
                </c:pt>
                <c:pt idx="61">
                  <c:v>0.2318840579710145</c:v>
                </c:pt>
                <c:pt idx="62">
                  <c:v>0.28150134048257375</c:v>
                </c:pt>
                <c:pt idx="63">
                  <c:v>0.24355971896955503</c:v>
                </c:pt>
                <c:pt idx="64">
                  <c:v>0.20044543429844097</c:v>
                </c:pt>
                <c:pt idx="65">
                  <c:v>0.2318840579710145</c:v>
                </c:pt>
                <c:pt idx="66">
                  <c:v>0.3025210084033613</c:v>
                </c:pt>
                <c:pt idx="67">
                  <c:v>0.31896551724137934</c:v>
                </c:pt>
                <c:pt idx="68">
                  <c:v>0.28225806451612906</c:v>
                </c:pt>
                <c:pt idx="69">
                  <c:v>0.31759656652360513</c:v>
                </c:pt>
                <c:pt idx="70">
                  <c:v>0.27165354330708663</c:v>
                </c:pt>
                <c:pt idx="71">
                  <c:v>0.32</c:v>
                </c:pt>
                <c:pt idx="72">
                  <c:v>0.34893617021276596</c:v>
                </c:pt>
                <c:pt idx="73">
                  <c:v>0.3076923076923077</c:v>
                </c:pt>
                <c:pt idx="74">
                  <c:v>0.3103448275862069</c:v>
                </c:pt>
                <c:pt idx="75">
                  <c:v>0.24882629107981222</c:v>
                </c:pt>
                <c:pt idx="76">
                  <c:v>0.3024193548387097</c:v>
                </c:pt>
                <c:pt idx="77">
                  <c:v>0.2331288343558282</c:v>
                </c:pt>
                <c:pt idx="78">
                  <c:v>0.2469879518072289</c:v>
                </c:pt>
                <c:pt idx="79">
                  <c:v>0.14207650273224043</c:v>
                </c:pt>
                <c:pt idx="80">
                  <c:v>0.1691542288557214</c:v>
                </c:pt>
                <c:pt idx="81">
                  <c:v>0.2606060606060606</c:v>
                </c:pt>
                <c:pt idx="82">
                  <c:v>0.21830985915492956</c:v>
                </c:pt>
                <c:pt idx="83">
                  <c:v>0.2426470588235294</c:v>
                </c:pt>
                <c:pt idx="84">
                  <c:v>0.18354430379746836</c:v>
                </c:pt>
                <c:pt idx="85">
                  <c:v>0.24786324786324787</c:v>
                </c:pt>
                <c:pt idx="86">
                  <c:v>0.22110552763819097</c:v>
                </c:pt>
                <c:pt idx="87">
                  <c:v>0.19534883720930232</c:v>
                </c:pt>
                <c:pt idx="88">
                  <c:v>0.24796747967479674</c:v>
                </c:pt>
                <c:pt idx="89">
                  <c:v>0.27319587628865977</c:v>
                </c:pt>
                <c:pt idx="90">
                  <c:v>0.2810810810810811</c:v>
                </c:pt>
                <c:pt idx="91">
                  <c:v>0.21354166666666666</c:v>
                </c:pt>
                <c:pt idx="92">
                  <c:v>0.23979591836734693</c:v>
                </c:pt>
                <c:pt idx="93">
                  <c:v>0.235</c:v>
                </c:pt>
                <c:pt idx="94">
                  <c:v>0.22077922077922077</c:v>
                </c:pt>
                <c:pt idx="95">
                  <c:v>0.2096317280453258</c:v>
                </c:pt>
                <c:pt idx="96">
                  <c:v>0.2131578947368421</c:v>
                </c:pt>
                <c:pt idx="97">
                  <c:v>0.21267893660531698</c:v>
                </c:pt>
                <c:pt idx="98">
                  <c:v>0.16666666666666666</c:v>
                </c:pt>
                <c:pt idx="99">
                  <c:v>0.2269170579029734</c:v>
                </c:pt>
                <c:pt idx="100">
                  <c:v>0.25206611570247933</c:v>
                </c:pt>
                <c:pt idx="101">
                  <c:v>0.22803738317757008</c:v>
                </c:pt>
                <c:pt idx="102">
                  <c:v>0.22509225092250923</c:v>
                </c:pt>
                <c:pt idx="103">
                  <c:v>0.28117359413202936</c:v>
                </c:pt>
                <c:pt idx="104">
                  <c:v>0.23248407643312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661072187198105</c:v>
                </c:pt>
                <c:pt idx="1">
                  <c:v>0.7258216434561745</c:v>
                </c:pt>
                <c:pt idx="2">
                  <c:v>0.6922911385256874</c:v>
                </c:pt>
                <c:pt idx="3">
                  <c:v>0.7004408974638099</c:v>
                </c:pt>
                <c:pt idx="4">
                  <c:v>0.7326000015050982</c:v>
                </c:pt>
                <c:pt idx="5">
                  <c:v>0.7384240264299087</c:v>
                </c:pt>
                <c:pt idx="6">
                  <c:v>0.7063309097057829</c:v>
                </c:pt>
                <c:pt idx="7">
                  <c:v>0.6663062401578569</c:v>
                </c:pt>
                <c:pt idx="8">
                  <c:v>0.7165210090384408</c:v>
                </c:pt>
                <c:pt idx="9">
                  <c:v>0.7256985772093304</c:v>
                </c:pt>
                <c:pt idx="10">
                  <c:v>0.7400484161740774</c:v>
                </c:pt>
                <c:pt idx="11">
                  <c:v>0.7359388863047184</c:v>
                </c:pt>
                <c:pt idx="12">
                  <c:v>0.781672198258785</c:v>
                </c:pt>
                <c:pt idx="13">
                  <c:v>0.7444753471781314</c:v>
                </c:pt>
                <c:pt idx="14">
                  <c:v>0.7394897531355396</c:v>
                </c:pt>
                <c:pt idx="15">
                  <c:v>0.7953978230624437</c:v>
                </c:pt>
                <c:pt idx="16">
                  <c:v>0.8375102838663733</c:v>
                </c:pt>
                <c:pt idx="17">
                  <c:v>0.7817286995132224</c:v>
                </c:pt>
                <c:pt idx="18">
                  <c:v>0.9061722487429351</c:v>
                </c:pt>
                <c:pt idx="19">
                  <c:v>0.8173165847160831</c:v>
                </c:pt>
                <c:pt idx="20">
                  <c:v>0.7845871513102283</c:v>
                </c:pt>
                <c:pt idx="21">
                  <c:v>1.0023332464529724</c:v>
                </c:pt>
                <c:pt idx="22">
                  <c:v>0.9052806526947966</c:v>
                </c:pt>
                <c:pt idx="23">
                  <c:v>0.8465961169902508</c:v>
                </c:pt>
                <c:pt idx="24">
                  <c:v>0.7006234206790382</c:v>
                </c:pt>
                <c:pt idx="25">
                  <c:v>0.5239765913474165</c:v>
                </c:pt>
                <c:pt idx="26">
                  <c:v>0.6275617342948996</c:v>
                </c:pt>
                <c:pt idx="27">
                  <c:v>0.5523726437959503</c:v>
                </c:pt>
                <c:pt idx="28">
                  <c:v>0.5137204638393368</c:v>
                </c:pt>
                <c:pt idx="29">
                  <c:v>0.39117023583654004</c:v>
                </c:pt>
                <c:pt idx="30">
                  <c:v>0.6824261189578467</c:v>
                </c:pt>
                <c:pt idx="31">
                  <c:v>0.4780226912444767</c:v>
                </c:pt>
                <c:pt idx="32">
                  <c:v>0.707869615583741</c:v>
                </c:pt>
                <c:pt idx="33">
                  <c:v>0.8272673441192677</c:v>
                </c:pt>
                <c:pt idx="34">
                  <c:v>0.9615629963898917</c:v>
                </c:pt>
                <c:pt idx="35">
                  <c:v>0.8469632168933021</c:v>
                </c:pt>
                <c:pt idx="36">
                  <c:v>0.9140833101241868</c:v>
                </c:pt>
                <c:pt idx="37">
                  <c:v>0.8650560669456067</c:v>
                </c:pt>
                <c:pt idx="38">
                  <c:v>0.9113073289884979</c:v>
                </c:pt>
                <c:pt idx="39">
                  <c:v>0.7793776577204602</c:v>
                </c:pt>
                <c:pt idx="40">
                  <c:v>0.9397082737235448</c:v>
                </c:pt>
                <c:pt idx="41">
                  <c:v>0.9474453487270822</c:v>
                </c:pt>
                <c:pt idx="42">
                  <c:v>0.9593310870600563</c:v>
                </c:pt>
                <c:pt idx="43">
                  <c:v>0.8613268939520363</c:v>
                </c:pt>
                <c:pt idx="44">
                  <c:v>0.837214517347011</c:v>
                </c:pt>
                <c:pt idx="45">
                  <c:v>0.7314775661482779</c:v>
                </c:pt>
                <c:pt idx="46">
                  <c:v>0.6916902266589223</c:v>
                </c:pt>
                <c:pt idx="47">
                  <c:v>0.6431931046232566</c:v>
                </c:pt>
                <c:pt idx="48">
                  <c:v>0.6502243101069379</c:v>
                </c:pt>
                <c:pt idx="49">
                  <c:v>0.6687255090942115</c:v>
                </c:pt>
                <c:pt idx="50">
                  <c:v>0.6598212853191767</c:v>
                </c:pt>
                <c:pt idx="51">
                  <c:v>0.6926501330129581</c:v>
                </c:pt>
              </c:numCache>
            </c:numRef>
          </c:xVal>
          <c:yVal>
            <c:numRef>
              <c:f>Sheet1!$B$109:$B$160</c:f>
              <c:numCache>
                <c:formatCode>General</c:formatCode>
                <c:ptCount val="52"/>
                <c:pt idx="0">
                  <c:v>0.24397590361445784</c:v>
                </c:pt>
                <c:pt idx="1">
                  <c:v>0.2</c:v>
                </c:pt>
                <c:pt idx="2">
                  <c:v>0.23478260869565218</c:v>
                </c:pt>
                <c:pt idx="3">
                  <c:v>0.2566137566137566</c:v>
                </c:pt>
                <c:pt idx="4">
                  <c:v>0.20426829268292682</c:v>
                </c:pt>
                <c:pt idx="5">
                  <c:v>0.24836601307189543</c:v>
                </c:pt>
                <c:pt idx="6">
                  <c:v>0.22393822393822393</c:v>
                </c:pt>
                <c:pt idx="7">
                  <c:v>0.25196850393700787</c:v>
                </c:pt>
                <c:pt idx="8">
                  <c:v>0.234375</c:v>
                </c:pt>
                <c:pt idx="9">
                  <c:v>0.2314410480349345</c:v>
                </c:pt>
                <c:pt idx="10">
                  <c:v>0.22382671480144403</c:v>
                </c:pt>
                <c:pt idx="11">
                  <c:v>0.23544973544973544</c:v>
                </c:pt>
                <c:pt idx="12">
                  <c:v>0.18686868686868688</c:v>
                </c:pt>
                <c:pt idx="13">
                  <c:v>0.2361963190184049</c:v>
                </c:pt>
                <c:pt idx="14">
                  <c:v>0.19256756756756757</c:v>
                </c:pt>
                <c:pt idx="15">
                  <c:v>0.18770226537216828</c:v>
                </c:pt>
                <c:pt idx="16">
                  <c:v>0.15966386554621848</c:v>
                </c:pt>
                <c:pt idx="17">
                  <c:v>0.14009661835748793</c:v>
                </c:pt>
                <c:pt idx="18">
                  <c:v>0.1368421052631579</c:v>
                </c:pt>
                <c:pt idx="19">
                  <c:v>0.15948275862068967</c:v>
                </c:pt>
                <c:pt idx="20">
                  <c:v>0.1791044776119403</c:v>
                </c:pt>
                <c:pt idx="21">
                  <c:v>0.176056338028169</c:v>
                </c:pt>
                <c:pt idx="22">
                  <c:v>0.20161290322580644</c:v>
                </c:pt>
                <c:pt idx="23">
                  <c:v>0.20202020202020202</c:v>
                </c:pt>
                <c:pt idx="24">
                  <c:v>0.2072072072072072</c:v>
                </c:pt>
                <c:pt idx="25">
                  <c:v>0.24647887323943662</c:v>
                </c:pt>
                <c:pt idx="26">
                  <c:v>0.17424242424242425</c:v>
                </c:pt>
                <c:pt idx="27">
                  <c:v>0.18181818181818182</c:v>
                </c:pt>
                <c:pt idx="28">
                  <c:v>0.20610687022900764</c:v>
                </c:pt>
                <c:pt idx="29">
                  <c:v>0.23333333333333334</c:v>
                </c:pt>
                <c:pt idx="30">
                  <c:v>0.20952380952380953</c:v>
                </c:pt>
                <c:pt idx="31">
                  <c:v>0.25</c:v>
                </c:pt>
                <c:pt idx="32">
                  <c:v>0.1348314606741573</c:v>
                </c:pt>
                <c:pt idx="33">
                  <c:v>0.21476510067114093</c:v>
                </c:pt>
                <c:pt idx="34">
                  <c:v>0.18478260869565216</c:v>
                </c:pt>
                <c:pt idx="35">
                  <c:v>0.19117647058823528</c:v>
                </c:pt>
                <c:pt idx="36">
                  <c:v>0.2066115702479339</c:v>
                </c:pt>
                <c:pt idx="37">
                  <c:v>0.14351851851851852</c:v>
                </c:pt>
                <c:pt idx="38">
                  <c:v>0.15053763440860216</c:v>
                </c:pt>
                <c:pt idx="39">
                  <c:v>0.15263157894736842</c:v>
                </c:pt>
                <c:pt idx="40">
                  <c:v>0.147239263803681</c:v>
                </c:pt>
                <c:pt idx="41">
                  <c:v>0.17573221757322174</c:v>
                </c:pt>
                <c:pt idx="42">
                  <c:v>0.17733990147783252</c:v>
                </c:pt>
                <c:pt idx="43">
                  <c:v>0.1642512077294686</c:v>
                </c:pt>
                <c:pt idx="44">
                  <c:v>0.23666666666666666</c:v>
                </c:pt>
                <c:pt idx="45">
                  <c:v>0.3018867924528302</c:v>
                </c:pt>
                <c:pt idx="46">
                  <c:v>0.3349875930521092</c:v>
                </c:pt>
                <c:pt idx="47">
                  <c:v>0.33564814814814814</c:v>
                </c:pt>
                <c:pt idx="48">
                  <c:v>0.34663865546218486</c:v>
                </c:pt>
                <c:pt idx="49">
                  <c:v>0.32235294117647056</c:v>
                </c:pt>
                <c:pt idx="50">
                  <c:v>0.3308714918759232</c:v>
                </c:pt>
                <c:pt idx="51">
                  <c:v>0.311557788944723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72042985941236</c:v>
                </c:pt>
              </c:numCache>
            </c:numRef>
          </c:xVal>
          <c:yVal>
            <c:numRef>
              <c:f>Sheet1!$B$163:$B$164</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72042985941236</c:v>
                </c:pt>
                <c:pt idx="1">
                  <c:v>0.2072042985941236</c:v>
                </c:pt>
              </c:numCache>
            </c:numRef>
          </c:xVal>
          <c:yVal>
            <c:numRef>
              <c:f>Sheet1!$B$167:$B$168</c:f>
              <c:numCache>
                <c:formatCode>General</c:formatCode>
                <c:ptCount val="2"/>
                <c:pt idx="0">
                  <c:v>0.3278552193648255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72042985941236</c:v>
                </c:pt>
              </c:numCache>
            </c:numRef>
          </c:xVal>
          <c:yVal>
            <c:numRef>
              <c:f>Sheet1!$B$171:$B$172</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72042985941236</c:v>
                </c:pt>
                <c:pt idx="1">
                  <c:v>0.2072042985941236</c:v>
                </c:pt>
              </c:numCache>
            </c:numRef>
          </c:xVal>
          <c:yVal>
            <c:numRef>
              <c:f>Sheet1!$B$175:$B$176</c:f>
              <c:numCache>
                <c:formatCode>General</c:formatCode>
                <c:ptCount val="2"/>
                <c:pt idx="0">
                  <c:v>0.327855219364825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509751011269421</c:v>
                </c:pt>
              </c:numCache>
            </c:numRef>
          </c:xVal>
          <c:yVal>
            <c:numRef>
              <c:f>Sheet1!$B$179:$B$180</c:f>
              <c:numCache>
                <c:formatCode>General</c:formatCode>
                <c:ptCount val="2"/>
                <c:pt idx="0">
                  <c:v>0.25675417287004837</c:v>
                </c:pt>
                <c:pt idx="1">
                  <c:v>0.256754172870048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509751011269421</c:v>
                </c:pt>
                <c:pt idx="1">
                  <c:v>0.5509751011269421</c:v>
                </c:pt>
              </c:numCache>
            </c:numRef>
          </c:xVal>
          <c:yVal>
            <c:numRef>
              <c:f>Sheet1!$B$183:$B$184</c:f>
              <c:numCache>
                <c:formatCode>General</c:formatCode>
                <c:ptCount val="2"/>
                <c:pt idx="0">
                  <c:v>0.256754172870048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661072187198105</c:v>
                </c:pt>
                <c:pt idx="1">
                  <c:v>0.7258216434561745</c:v>
                </c:pt>
                <c:pt idx="2">
                  <c:v>0.6922911385256874</c:v>
                </c:pt>
                <c:pt idx="3">
                  <c:v>0.7004408974638099</c:v>
                </c:pt>
                <c:pt idx="4">
                  <c:v>0.7326000015050982</c:v>
                </c:pt>
                <c:pt idx="5">
                  <c:v>0.7384240264299087</c:v>
                </c:pt>
                <c:pt idx="6">
                  <c:v>0.7063309097057829</c:v>
                </c:pt>
                <c:pt idx="7">
                  <c:v>0.6663062401578569</c:v>
                </c:pt>
                <c:pt idx="8">
                  <c:v>0.7165210090384408</c:v>
                </c:pt>
                <c:pt idx="9">
                  <c:v>0.7256985772093304</c:v>
                </c:pt>
                <c:pt idx="10">
                  <c:v>0.7400484161740774</c:v>
                </c:pt>
                <c:pt idx="11">
                  <c:v>0.7359388863047184</c:v>
                </c:pt>
                <c:pt idx="12">
                  <c:v>0.781672198258785</c:v>
                </c:pt>
                <c:pt idx="13">
                  <c:v>0.7444753471781314</c:v>
                </c:pt>
                <c:pt idx="14">
                  <c:v>0.7394897531355396</c:v>
                </c:pt>
                <c:pt idx="15">
                  <c:v>0.7953978230624437</c:v>
                </c:pt>
                <c:pt idx="16">
                  <c:v>0.8375102838663733</c:v>
                </c:pt>
                <c:pt idx="17">
                  <c:v>0.7817286995132224</c:v>
                </c:pt>
                <c:pt idx="18">
                  <c:v>0.9061722487429351</c:v>
                </c:pt>
                <c:pt idx="19">
                  <c:v>0.8173165847160831</c:v>
                </c:pt>
                <c:pt idx="20">
                  <c:v>0.7845871513102283</c:v>
                </c:pt>
                <c:pt idx="21">
                  <c:v>1.0023332464529724</c:v>
                </c:pt>
                <c:pt idx="22">
                  <c:v>0.9052806526947966</c:v>
                </c:pt>
                <c:pt idx="23">
                  <c:v>0.8465961169902508</c:v>
                </c:pt>
                <c:pt idx="24">
                  <c:v>0.7006234206790382</c:v>
                </c:pt>
                <c:pt idx="25">
                  <c:v>0.5239765913474165</c:v>
                </c:pt>
                <c:pt idx="26">
                  <c:v>0.6275617342948996</c:v>
                </c:pt>
                <c:pt idx="27">
                  <c:v>0.5523726437959503</c:v>
                </c:pt>
                <c:pt idx="28">
                  <c:v>0.5137204638393368</c:v>
                </c:pt>
                <c:pt idx="29">
                  <c:v>0.39117023583654004</c:v>
                </c:pt>
                <c:pt idx="30">
                  <c:v>0.6824261189578467</c:v>
                </c:pt>
                <c:pt idx="31">
                  <c:v>0.4780226912444767</c:v>
                </c:pt>
                <c:pt idx="32">
                  <c:v>0.707869615583741</c:v>
                </c:pt>
                <c:pt idx="33">
                  <c:v>0.8272673441192677</c:v>
                </c:pt>
                <c:pt idx="34">
                  <c:v>0.9615629963898917</c:v>
                </c:pt>
                <c:pt idx="35">
                  <c:v>0.8469632168933021</c:v>
                </c:pt>
                <c:pt idx="36">
                  <c:v>0.9140833101241868</c:v>
                </c:pt>
                <c:pt idx="37">
                  <c:v>0.8650560669456067</c:v>
                </c:pt>
                <c:pt idx="38">
                  <c:v>0.9113073289884979</c:v>
                </c:pt>
                <c:pt idx="39">
                  <c:v>0.7793776577204602</c:v>
                </c:pt>
                <c:pt idx="40">
                  <c:v>0.9397082737235448</c:v>
                </c:pt>
                <c:pt idx="41">
                  <c:v>0.9474453487270822</c:v>
                </c:pt>
                <c:pt idx="42">
                  <c:v>0.9593310870600563</c:v>
                </c:pt>
                <c:pt idx="43">
                  <c:v>0.8613268939520363</c:v>
                </c:pt>
                <c:pt idx="44">
                  <c:v>0.837214517347011</c:v>
                </c:pt>
                <c:pt idx="45">
                  <c:v>0.7314775661482779</c:v>
                </c:pt>
                <c:pt idx="46">
                  <c:v>0.6916902266589223</c:v>
                </c:pt>
                <c:pt idx="47">
                  <c:v>0.6431931046232566</c:v>
                </c:pt>
                <c:pt idx="48">
                  <c:v>0.6502243101069379</c:v>
                </c:pt>
                <c:pt idx="49">
                  <c:v>0.6687255090942115</c:v>
                </c:pt>
                <c:pt idx="50">
                  <c:v>0.6598212853191767</c:v>
                </c:pt>
                <c:pt idx="51">
                  <c:v>0.6926501330129581</c:v>
                </c:pt>
                <c:pt idx="52">
                  <c:v>0.2072042985941236</c:v>
                </c:pt>
                <c:pt idx="53">
                  <c:v>0.2072042985941236</c:v>
                </c:pt>
                <c:pt idx="54">
                  <c:v>0.5509751011269421</c:v>
                </c:pt>
              </c:numCache>
            </c:numRef>
          </c:xVal>
          <c:yVal>
            <c:numRef>
              <c:f>Sheet1!$B$187:$B$241</c:f>
              <c:numCache>
                <c:formatCode>General</c:formatCode>
                <c:ptCount val="55"/>
                <c:pt idx="0">
                  <c:v>0.2536244440256906</c:v>
                </c:pt>
                <c:pt idx="1">
                  <c:v>0.22059120602118412</c:v>
                </c:pt>
                <c:pt idx="2">
                  <c:v>0.22752621612818216</c:v>
                </c:pt>
                <c:pt idx="3">
                  <c:v>0.22584062682009845</c:v>
                </c:pt>
                <c:pt idx="4">
                  <c:v>0.21918925929608737</c:v>
                </c:pt>
                <c:pt idx="5">
                  <c:v>0.21798469432455767</c:v>
                </c:pt>
                <c:pt idx="6">
                  <c:v>0.22462241389687804</c:v>
                </c:pt>
                <c:pt idx="7">
                  <c:v>0.23290059188493886</c:v>
                </c:pt>
                <c:pt idx="8">
                  <c:v>0.22251482732728117</c:v>
                </c:pt>
                <c:pt idx="9">
                  <c:v>0.2206166594304741</c:v>
                </c:pt>
                <c:pt idx="10">
                  <c:v>0.21764872684309958</c:v>
                </c:pt>
                <c:pt idx="11">
                  <c:v>0.2184986881317261</c:v>
                </c:pt>
                <c:pt idx="12">
                  <c:v>0.2090398093798117</c:v>
                </c:pt>
                <c:pt idx="13">
                  <c:v>0.21673311846440846</c:v>
                </c:pt>
                <c:pt idx="14">
                  <c:v>0.21776427338278628</c:v>
                </c:pt>
                <c:pt idx="15">
                  <c:v>0.20620098106703888</c:v>
                </c:pt>
                <c:pt idx="16">
                  <c:v>0.19749099170328588</c:v>
                </c:pt>
                <c:pt idx="17">
                  <c:v>0.2090281234009875</c:v>
                </c:pt>
                <c:pt idx="18">
                  <c:v>0.18328985093989855</c:v>
                </c:pt>
                <c:pt idx="19">
                  <c:v>0.2016675917275106</c:v>
                </c:pt>
                <c:pt idx="20">
                  <c:v>0.20843691870115677</c:v>
                </c:pt>
                <c:pt idx="21">
                  <c:v>0.16340117069483093</c:v>
                </c:pt>
                <c:pt idx="22">
                  <c:v>0.1834742569790566</c:v>
                </c:pt>
                <c:pt idx="23">
                  <c:v>0.1956117970810988</c:v>
                </c:pt>
                <c:pt idx="24">
                  <c:v>0.22580287611085642</c:v>
                </c:pt>
                <c:pt idx="25">
                  <c:v>0.26233819072432935</c:v>
                </c:pt>
                <c:pt idx="26">
                  <c:v>0.24091399759735768</c:v>
                </c:pt>
                <c:pt idx="27">
                  <c:v>0.2564651234640038</c:v>
                </c:pt>
                <c:pt idx="28">
                  <c:v>0.26445943369620367</c:v>
                </c:pt>
                <c:pt idx="29">
                  <c:v>0.28980611641321696</c:v>
                </c:pt>
                <c:pt idx="30">
                  <c:v>0.2295665674605149</c:v>
                </c:pt>
                <c:pt idx="31">
                  <c:v>0.2718426930373887</c:v>
                </c:pt>
                <c:pt idx="32">
                  <c:v>0.22430416814312462</c:v>
                </c:pt>
                <c:pt idx="33">
                  <c:v>0.19960950709155137</c:v>
                </c:pt>
                <c:pt idx="34">
                  <c:v>0.17183355478324416</c:v>
                </c:pt>
                <c:pt idx="35">
                  <c:v>0.19553587094926106</c:v>
                </c:pt>
                <c:pt idx="36">
                  <c:v>0.18165363070552393</c:v>
                </c:pt>
                <c:pt idx="37">
                  <c:v>0.19179378301359606</c:v>
                </c:pt>
                <c:pt idx="38">
                  <c:v>0.1822277782548301</c:v>
                </c:pt>
                <c:pt idx="39">
                  <c:v>0.20951438206689732</c:v>
                </c:pt>
                <c:pt idx="40">
                  <c:v>0.17635369913809246</c:v>
                </c:pt>
                <c:pt idx="41">
                  <c:v>0.17475346396539315</c:v>
                </c:pt>
                <c:pt idx="42">
                  <c:v>0.17229517365216368</c:v>
                </c:pt>
                <c:pt idx="43">
                  <c:v>0.19256507627192215</c:v>
                </c:pt>
                <c:pt idx="44">
                  <c:v>0.19755216417311122</c:v>
                </c:pt>
                <c:pt idx="45">
                  <c:v>0.21942140911190847</c:v>
                </c:pt>
                <c:pt idx="46">
                  <c:v>0.2276505008616829</c:v>
                </c:pt>
                <c:pt idx="47">
                  <c:v>0.23768100986161916</c:v>
                </c:pt>
                <c:pt idx="48">
                  <c:v>0.23622676748755417</c:v>
                </c:pt>
                <c:pt idx="49">
                  <c:v>0.23240022201100027</c:v>
                </c:pt>
                <c:pt idx="50">
                  <c:v>0.2342418549360891</c:v>
                </c:pt>
                <c:pt idx="51">
                  <c:v>0.22745196641429505</c:v>
                </c:pt>
                <c:pt idx="52">
                  <c:v>0.32785521936482553</c:v>
                </c:pt>
                <c:pt idx="53">
                  <c:v>0.32785521936482553</c:v>
                </c:pt>
                <c:pt idx="54">
                  <c:v>0.256754172870048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7234042553191"/>
          <c:min val="0.1021276595744680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2.4167</c:v>
                </c:pt>
                <c:pt idx="1">
                  <c:v>326.9043</c:v>
                </c:pt>
                <c:pt idx="2">
                  <c:v>335.4938</c:v>
                </c:pt>
                <c:pt idx="3">
                  <c:v>331.1728</c:v>
                </c:pt>
                <c:pt idx="4">
                  <c:v>328.8553</c:v>
                </c:pt>
                <c:pt idx="5">
                  <c:v>346.78</c:v>
                </c:pt>
                <c:pt idx="6">
                  <c:v>345.325</c:v>
                </c:pt>
                <c:pt idx="7">
                  <c:v>338.2381</c:v>
                </c:pt>
                <c:pt idx="8">
                  <c:v>335.9556</c:v>
                </c:pt>
                <c:pt idx="9">
                  <c:v>332.5208</c:v>
                </c:pt>
                <c:pt idx="10">
                  <c:v>336.1042</c:v>
                </c:pt>
                <c:pt idx="11">
                  <c:v>333.4667</c:v>
                </c:pt>
                <c:pt idx="12">
                  <c:v>328.0439</c:v>
                </c:pt>
                <c:pt idx="13">
                  <c:v>325.1304</c:v>
                </c:pt>
                <c:pt idx="14">
                  <c:v>332.9222</c:v>
                </c:pt>
                <c:pt idx="15">
                  <c:v>343.4583</c:v>
                </c:pt>
                <c:pt idx="16">
                  <c:v>333.1786</c:v>
                </c:pt>
                <c:pt idx="17">
                  <c:v>338.6471</c:v>
                </c:pt>
                <c:pt idx="18">
                  <c:v>341.5606</c:v>
                </c:pt>
                <c:pt idx="19">
                  <c:v>354.2857</c:v>
                </c:pt>
                <c:pt idx="20">
                  <c:v>353.4412</c:v>
                </c:pt>
                <c:pt idx="21">
                  <c:v>348.5938</c:v>
                </c:pt>
                <c:pt idx="22">
                  <c:v>327.3409</c:v>
                </c:pt>
                <c:pt idx="23">
                  <c:v>337.4423</c:v>
                </c:pt>
                <c:pt idx="24">
                  <c:v>355.7115</c:v>
                </c:pt>
                <c:pt idx="25">
                  <c:v>340.9302</c:v>
                </c:pt>
                <c:pt idx="26">
                  <c:v>353.6923</c:v>
                </c:pt>
                <c:pt idx="27">
                  <c:v>351.3696</c:v>
                </c:pt>
                <c:pt idx="28">
                  <c:v>352.4839</c:v>
                </c:pt>
                <c:pt idx="29">
                  <c:v>342.6667</c:v>
                </c:pt>
                <c:pt idx="30">
                  <c:v>336.0909</c:v>
                </c:pt>
                <c:pt idx="31">
                  <c:v>347.0263</c:v>
                </c:pt>
                <c:pt idx="32">
                  <c:v>354.1944</c:v>
                </c:pt>
                <c:pt idx="33">
                  <c:v>348.125</c:v>
                </c:pt>
                <c:pt idx="34">
                  <c:v>370.8158</c:v>
                </c:pt>
                <c:pt idx="35">
                  <c:v>367.0333</c:v>
                </c:pt>
                <c:pt idx="36">
                  <c:v>360.2</c:v>
                </c:pt>
                <c:pt idx="37">
                  <c:v>400.375</c:v>
                </c:pt>
                <c:pt idx="38">
                  <c:v>384.7174</c:v>
                </c:pt>
                <c:pt idx="39">
                  <c:v>391.7857</c:v>
                </c:pt>
                <c:pt idx="40">
                  <c:v>364.8431</c:v>
                </c:pt>
                <c:pt idx="41">
                  <c:v>378.4359</c:v>
                </c:pt>
                <c:pt idx="42">
                  <c:v>381.8929</c:v>
                </c:pt>
                <c:pt idx="43">
                  <c:v>396.2391</c:v>
                </c:pt>
                <c:pt idx="44">
                  <c:v>372.1327</c:v>
                </c:pt>
                <c:pt idx="45">
                  <c:v>365.0336</c:v>
                </c:pt>
                <c:pt idx="46">
                  <c:v>359.1835</c:v>
                </c:pt>
                <c:pt idx="47">
                  <c:v>351.6226</c:v>
                </c:pt>
                <c:pt idx="48">
                  <c:v>355.045</c:v>
                </c:pt>
                <c:pt idx="49">
                  <c:v>344.5341</c:v>
                </c:pt>
                <c:pt idx="50">
                  <c:v>363.254</c:v>
                </c:pt>
                <c:pt idx="51">
                  <c:v>361.281</c:v>
                </c:pt>
                <c:pt idx="52">
                  <c:v>361.8793</c:v>
                </c:pt>
                <c:pt idx="53">
                  <c:v>357.3173</c:v>
                </c:pt>
                <c:pt idx="54">
                  <c:v>356.7059</c:v>
                </c:pt>
                <c:pt idx="55">
                  <c:v>360.8911</c:v>
                </c:pt>
                <c:pt idx="56">
                  <c:v>354.5421</c:v>
                </c:pt>
                <c:pt idx="57">
                  <c:v>362.3333</c:v>
                </c:pt>
                <c:pt idx="58">
                  <c:v>374.2784</c:v>
                </c:pt>
                <c:pt idx="59">
                  <c:v>357.9099</c:v>
                </c:pt>
                <c:pt idx="60">
                  <c:v>357.6</c:v>
                </c:pt>
                <c:pt idx="61">
                  <c:v>355.7083</c:v>
                </c:pt>
                <c:pt idx="62">
                  <c:v>371.3714</c:v>
                </c:pt>
                <c:pt idx="63">
                  <c:v>375.8558</c:v>
                </c:pt>
                <c:pt idx="64">
                  <c:v>382.3222</c:v>
                </c:pt>
                <c:pt idx="65">
                  <c:v>382.9375</c:v>
                </c:pt>
                <c:pt idx="66">
                  <c:v>382.0486</c:v>
                </c:pt>
                <c:pt idx="67">
                  <c:v>378.723</c:v>
                </c:pt>
                <c:pt idx="68">
                  <c:v>372.0</c:v>
                </c:pt>
                <c:pt idx="69">
                  <c:v>384.6757</c:v>
                </c:pt>
                <c:pt idx="70">
                  <c:v>387.3478</c:v>
                </c:pt>
                <c:pt idx="71">
                  <c:v>385.0875</c:v>
                </c:pt>
                <c:pt idx="72">
                  <c:v>421.0122</c:v>
                </c:pt>
                <c:pt idx="73">
                  <c:v>416.4412</c:v>
                </c:pt>
                <c:pt idx="74">
                  <c:v>394.4127</c:v>
                </c:pt>
                <c:pt idx="75">
                  <c:v>387.6792</c:v>
                </c:pt>
                <c:pt idx="76">
                  <c:v>387.7867</c:v>
                </c:pt>
                <c:pt idx="77">
                  <c:v>412.6579</c:v>
                </c:pt>
                <c:pt idx="78">
                  <c:v>396.2927</c:v>
                </c:pt>
                <c:pt idx="79">
                  <c:v>364.6154</c:v>
                </c:pt>
                <c:pt idx="80">
                  <c:v>412.8529</c:v>
                </c:pt>
                <c:pt idx="81">
                  <c:v>413.3953</c:v>
                </c:pt>
                <c:pt idx="82">
                  <c:v>409.7097</c:v>
                </c:pt>
                <c:pt idx="83">
                  <c:v>426.5455</c:v>
                </c:pt>
                <c:pt idx="84">
                  <c:v>406.5862</c:v>
                </c:pt>
                <c:pt idx="85">
                  <c:v>412.7241</c:v>
                </c:pt>
                <c:pt idx="86">
                  <c:v>423.3409</c:v>
                </c:pt>
                <c:pt idx="87">
                  <c:v>432.9048</c:v>
                </c:pt>
                <c:pt idx="88">
                  <c:v>408.3443</c:v>
                </c:pt>
                <c:pt idx="89">
                  <c:v>420.5283</c:v>
                </c:pt>
                <c:pt idx="90">
                  <c:v>452.0577</c:v>
                </c:pt>
                <c:pt idx="91">
                  <c:v>427.5122</c:v>
                </c:pt>
                <c:pt idx="92">
                  <c:v>412.234</c:v>
                </c:pt>
                <c:pt idx="93">
                  <c:v>408.766</c:v>
                </c:pt>
                <c:pt idx="94">
                  <c:v>430.6765</c:v>
                </c:pt>
                <c:pt idx="95">
                  <c:v>429.3514</c:v>
                </c:pt>
                <c:pt idx="96">
                  <c:v>422.5802</c:v>
                </c:pt>
                <c:pt idx="97">
                  <c:v>428.7596</c:v>
                </c:pt>
                <c:pt idx="98">
                  <c:v>422.8144</c:v>
                </c:pt>
                <c:pt idx="99">
                  <c:v>413.8552</c:v>
                </c:pt>
                <c:pt idx="100">
                  <c:v>421.2842</c:v>
                </c:pt>
                <c:pt idx="101">
                  <c:v>417.7459</c:v>
                </c:pt>
                <c:pt idx="102">
                  <c:v>399.5246</c:v>
                </c:pt>
                <c:pt idx="103">
                  <c:v>304.5391</c:v>
                </c:pt>
                <c:pt idx="104">
                  <c:v>314.8904</c:v>
                </c:pt>
              </c:numCache>
            </c:numRef>
          </c:xVal>
          <c:yVal>
            <c:numRef>
              <c:f>Sheet1!$B$2:$B$106</c:f>
              <c:numCache>
                <c:formatCode>General</c:formatCode>
                <c:ptCount val="105"/>
                <c:pt idx="0">
                  <c:v>0.3393316195372751</c:v>
                </c:pt>
                <c:pt idx="1">
                  <c:v>0.286783042394015</c:v>
                </c:pt>
                <c:pt idx="2">
                  <c:v>0.24397590361445784</c:v>
                </c:pt>
                <c:pt idx="3">
                  <c:v>0.2764505119453925</c:v>
                </c:pt>
                <c:pt idx="4">
                  <c:v>0.26855123674911663</c:v>
                </c:pt>
                <c:pt idx="5">
                  <c:v>0.26881720430107525</c:v>
                </c:pt>
                <c:pt idx="6">
                  <c:v>0.23738872403560832</c:v>
                </c:pt>
                <c:pt idx="7">
                  <c:v>0.23333333333333334</c:v>
                </c:pt>
                <c:pt idx="8">
                  <c:v>0.17857142857142858</c:v>
                </c:pt>
                <c:pt idx="9">
                  <c:v>0.2594594594594595</c:v>
                </c:pt>
                <c:pt idx="10">
                  <c:v>0.2513089005235602</c:v>
                </c:pt>
                <c:pt idx="11">
                  <c:v>0.20891364902506965</c:v>
                </c:pt>
                <c:pt idx="12">
                  <c:v>0.25617977528089886</c:v>
                </c:pt>
                <c:pt idx="13">
                  <c:v>0.3026315789473684</c:v>
                </c:pt>
                <c:pt idx="14">
                  <c:v>0.19823788546255505</c:v>
                </c:pt>
                <c:pt idx="15">
                  <c:v>0.2188449848024316</c:v>
                </c:pt>
                <c:pt idx="16">
                  <c:v>0.25766871165644173</c:v>
                </c:pt>
                <c:pt idx="17">
                  <c:v>0.22818791946308725</c:v>
                </c:pt>
                <c:pt idx="18">
                  <c:v>0.2323943661971831</c:v>
                </c:pt>
                <c:pt idx="19">
                  <c:v>0.17073170731707318</c:v>
                </c:pt>
                <c:pt idx="20">
                  <c:v>0.14655172413793102</c:v>
                </c:pt>
                <c:pt idx="21">
                  <c:v>0.13333333333333333</c:v>
                </c:pt>
                <c:pt idx="22">
                  <c:v>0.1825726141078838</c:v>
                </c:pt>
                <c:pt idx="23">
                  <c:v>0.17747440273037543</c:v>
                </c:pt>
                <c:pt idx="24">
                  <c:v>0.2139917695473251</c:v>
                </c:pt>
                <c:pt idx="25">
                  <c:v>0.2107843137254902</c:v>
                </c:pt>
                <c:pt idx="26">
                  <c:v>0.2184873949579832</c:v>
                </c:pt>
                <c:pt idx="27">
                  <c:v>0.23115577889447236</c:v>
                </c:pt>
                <c:pt idx="28">
                  <c:v>0.17032967032967034</c:v>
                </c:pt>
                <c:pt idx="29">
                  <c:v>0.21666666666666667</c:v>
                </c:pt>
                <c:pt idx="30">
                  <c:v>0.20121951219512196</c:v>
                </c:pt>
                <c:pt idx="31">
                  <c:v>0.24675324675324675</c:v>
                </c:pt>
                <c:pt idx="32">
                  <c:v>0.23841059602649006</c:v>
                </c:pt>
                <c:pt idx="33">
                  <c:v>0.24242424242424243</c:v>
                </c:pt>
                <c:pt idx="34">
                  <c:v>0.18009478672985782</c:v>
                </c:pt>
                <c:pt idx="35">
                  <c:v>0.20905923344947736</c:v>
                </c:pt>
                <c:pt idx="36">
                  <c:v>0.21311475409836064</c:v>
                </c:pt>
                <c:pt idx="37">
                  <c:v>0.1276595744680851</c:v>
                </c:pt>
                <c:pt idx="38">
                  <c:v>0.19913419913419914</c:v>
                </c:pt>
                <c:pt idx="39">
                  <c:v>0.14432989690721648</c:v>
                </c:pt>
                <c:pt idx="40">
                  <c:v>0.23076923076923078</c:v>
                </c:pt>
                <c:pt idx="41">
                  <c:v>0.15294117647058825</c:v>
                </c:pt>
                <c:pt idx="42">
                  <c:v>0.16568047337278108</c:v>
                </c:pt>
                <c:pt idx="43">
                  <c:v>0.14241486068111456</c:v>
                </c:pt>
                <c:pt idx="44">
                  <c:v>0.22121896162528218</c:v>
                </c:pt>
                <c:pt idx="45">
                  <c:v>0.23017408123791103</c:v>
                </c:pt>
                <c:pt idx="46">
                  <c:v>0.2193158953722334</c:v>
                </c:pt>
                <c:pt idx="47">
                  <c:v>0.2523809523809524</c:v>
                </c:pt>
                <c:pt idx="48">
                  <c:v>0.2544529262086514</c:v>
                </c:pt>
                <c:pt idx="49">
                  <c:v>0.2846283783783784</c:v>
                </c:pt>
                <c:pt idx="50">
                  <c:v>0.30337078651685395</c:v>
                </c:pt>
                <c:pt idx="51">
                  <c:v>0.25473684210526315</c:v>
                </c:pt>
                <c:pt idx="52">
                  <c:v>0.2636363636363636</c:v>
                </c:pt>
                <c:pt idx="53">
                  <c:v>0.23162583518930957</c:v>
                </c:pt>
                <c:pt idx="54">
                  <c:v>0.2401129943502825</c:v>
                </c:pt>
                <c:pt idx="55">
                  <c:v>0.27445652173913043</c:v>
                </c:pt>
                <c:pt idx="56">
                  <c:v>0.2715736040609137</c:v>
                </c:pt>
                <c:pt idx="57">
                  <c:v>0.2719298245614035</c:v>
                </c:pt>
                <c:pt idx="58">
                  <c:v>0.27019498607242337</c:v>
                </c:pt>
                <c:pt idx="59">
                  <c:v>0.22334004024144868</c:v>
                </c:pt>
                <c:pt idx="60">
                  <c:v>0.22077922077922077</c:v>
                </c:pt>
                <c:pt idx="61">
                  <c:v>0.2318840579710145</c:v>
                </c:pt>
                <c:pt idx="62">
                  <c:v>0.28150134048257375</c:v>
                </c:pt>
                <c:pt idx="63">
                  <c:v>0.24355971896955503</c:v>
                </c:pt>
                <c:pt idx="64">
                  <c:v>0.20044543429844097</c:v>
                </c:pt>
                <c:pt idx="65">
                  <c:v>0.2318840579710145</c:v>
                </c:pt>
                <c:pt idx="66">
                  <c:v>0.3025210084033613</c:v>
                </c:pt>
                <c:pt idx="67">
                  <c:v>0.31896551724137934</c:v>
                </c:pt>
                <c:pt idx="68">
                  <c:v>0.28225806451612906</c:v>
                </c:pt>
                <c:pt idx="69">
                  <c:v>0.31759656652360513</c:v>
                </c:pt>
                <c:pt idx="70">
                  <c:v>0.27165354330708663</c:v>
                </c:pt>
                <c:pt idx="71">
                  <c:v>0.32</c:v>
                </c:pt>
                <c:pt idx="72">
                  <c:v>0.34893617021276596</c:v>
                </c:pt>
                <c:pt idx="73">
                  <c:v>0.3076923076923077</c:v>
                </c:pt>
                <c:pt idx="74">
                  <c:v>0.3103448275862069</c:v>
                </c:pt>
                <c:pt idx="75">
                  <c:v>0.24882629107981222</c:v>
                </c:pt>
                <c:pt idx="76">
                  <c:v>0.3024193548387097</c:v>
                </c:pt>
                <c:pt idx="77">
                  <c:v>0.2331288343558282</c:v>
                </c:pt>
                <c:pt idx="78">
                  <c:v>0.2469879518072289</c:v>
                </c:pt>
                <c:pt idx="79">
                  <c:v>0.14207650273224043</c:v>
                </c:pt>
                <c:pt idx="80">
                  <c:v>0.1691542288557214</c:v>
                </c:pt>
                <c:pt idx="81">
                  <c:v>0.2606060606060606</c:v>
                </c:pt>
                <c:pt idx="82">
                  <c:v>0.21830985915492956</c:v>
                </c:pt>
                <c:pt idx="83">
                  <c:v>0.2426470588235294</c:v>
                </c:pt>
                <c:pt idx="84">
                  <c:v>0.18354430379746836</c:v>
                </c:pt>
                <c:pt idx="85">
                  <c:v>0.24786324786324787</c:v>
                </c:pt>
                <c:pt idx="86">
                  <c:v>0.22110552763819097</c:v>
                </c:pt>
                <c:pt idx="87">
                  <c:v>0.19534883720930232</c:v>
                </c:pt>
                <c:pt idx="88">
                  <c:v>0.24796747967479674</c:v>
                </c:pt>
                <c:pt idx="89">
                  <c:v>0.27319587628865977</c:v>
                </c:pt>
                <c:pt idx="90">
                  <c:v>0.2810810810810811</c:v>
                </c:pt>
                <c:pt idx="91">
                  <c:v>0.21354166666666666</c:v>
                </c:pt>
                <c:pt idx="92">
                  <c:v>0.23979591836734693</c:v>
                </c:pt>
                <c:pt idx="93">
                  <c:v>0.235</c:v>
                </c:pt>
                <c:pt idx="94">
                  <c:v>0.22077922077922077</c:v>
                </c:pt>
                <c:pt idx="95">
                  <c:v>0.2096317280453258</c:v>
                </c:pt>
                <c:pt idx="96">
                  <c:v>0.2131578947368421</c:v>
                </c:pt>
                <c:pt idx="97">
                  <c:v>0.21267893660531698</c:v>
                </c:pt>
                <c:pt idx="98">
                  <c:v>0.16666666666666666</c:v>
                </c:pt>
                <c:pt idx="99">
                  <c:v>0.2269170579029734</c:v>
                </c:pt>
                <c:pt idx="100">
                  <c:v>0.25206611570247933</c:v>
                </c:pt>
                <c:pt idx="101">
                  <c:v>0.22803738317757008</c:v>
                </c:pt>
                <c:pt idx="102">
                  <c:v>0.22509225092250923</c:v>
                </c:pt>
                <c:pt idx="103">
                  <c:v>0.28117359413202936</c:v>
                </c:pt>
                <c:pt idx="104">
                  <c:v>0.23248407643312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numCache>
            </c:numRef>
          </c:xVal>
          <c:yVal>
            <c:numRef>
              <c:f>Sheet1!$B$109:$B$160</c:f>
              <c:numCache>
                <c:formatCode>General</c:formatCode>
                <c:ptCount val="52"/>
                <c:pt idx="0">
                  <c:v>0.24397590361445784</c:v>
                </c:pt>
                <c:pt idx="1">
                  <c:v>0.2</c:v>
                </c:pt>
                <c:pt idx="2">
                  <c:v>0.23478260869565218</c:v>
                </c:pt>
                <c:pt idx="3">
                  <c:v>0.2566137566137566</c:v>
                </c:pt>
                <c:pt idx="4">
                  <c:v>0.20426829268292682</c:v>
                </c:pt>
                <c:pt idx="5">
                  <c:v>0.24836601307189543</c:v>
                </c:pt>
                <c:pt idx="6">
                  <c:v>0.22393822393822393</c:v>
                </c:pt>
                <c:pt idx="7">
                  <c:v>0.25196850393700787</c:v>
                </c:pt>
                <c:pt idx="8">
                  <c:v>0.234375</c:v>
                </c:pt>
                <c:pt idx="9">
                  <c:v>0.2314410480349345</c:v>
                </c:pt>
                <c:pt idx="10">
                  <c:v>0.22382671480144403</c:v>
                </c:pt>
                <c:pt idx="11">
                  <c:v>0.23544973544973544</c:v>
                </c:pt>
                <c:pt idx="12">
                  <c:v>0.18686868686868688</c:v>
                </c:pt>
                <c:pt idx="13">
                  <c:v>0.2361963190184049</c:v>
                </c:pt>
                <c:pt idx="14">
                  <c:v>0.19256756756756757</c:v>
                </c:pt>
                <c:pt idx="15">
                  <c:v>0.18770226537216828</c:v>
                </c:pt>
                <c:pt idx="16">
                  <c:v>0.15966386554621848</c:v>
                </c:pt>
                <c:pt idx="17">
                  <c:v>0.14009661835748793</c:v>
                </c:pt>
                <c:pt idx="18">
                  <c:v>0.1368421052631579</c:v>
                </c:pt>
                <c:pt idx="19">
                  <c:v>0.15948275862068967</c:v>
                </c:pt>
                <c:pt idx="20">
                  <c:v>0.1791044776119403</c:v>
                </c:pt>
                <c:pt idx="21">
                  <c:v>0.176056338028169</c:v>
                </c:pt>
                <c:pt idx="22">
                  <c:v>0.20161290322580644</c:v>
                </c:pt>
                <c:pt idx="23">
                  <c:v>0.20202020202020202</c:v>
                </c:pt>
                <c:pt idx="24">
                  <c:v>0.2072072072072072</c:v>
                </c:pt>
                <c:pt idx="25">
                  <c:v>0.24647887323943662</c:v>
                </c:pt>
                <c:pt idx="26">
                  <c:v>0.17424242424242425</c:v>
                </c:pt>
                <c:pt idx="27">
                  <c:v>0.18181818181818182</c:v>
                </c:pt>
                <c:pt idx="28">
                  <c:v>0.20610687022900764</c:v>
                </c:pt>
                <c:pt idx="29">
                  <c:v>0.23333333333333334</c:v>
                </c:pt>
                <c:pt idx="30">
                  <c:v>0.20952380952380953</c:v>
                </c:pt>
                <c:pt idx="31">
                  <c:v>0.25</c:v>
                </c:pt>
                <c:pt idx="32">
                  <c:v>0.1348314606741573</c:v>
                </c:pt>
                <c:pt idx="33">
                  <c:v>0.21476510067114093</c:v>
                </c:pt>
                <c:pt idx="34">
                  <c:v>0.18478260869565216</c:v>
                </c:pt>
                <c:pt idx="35">
                  <c:v>0.19117647058823528</c:v>
                </c:pt>
                <c:pt idx="36">
                  <c:v>0.2066115702479339</c:v>
                </c:pt>
                <c:pt idx="37">
                  <c:v>0.14351851851851852</c:v>
                </c:pt>
                <c:pt idx="38">
                  <c:v>0.15053763440860216</c:v>
                </c:pt>
                <c:pt idx="39">
                  <c:v>0.15263157894736842</c:v>
                </c:pt>
                <c:pt idx="40">
                  <c:v>0.147239263803681</c:v>
                </c:pt>
                <c:pt idx="41">
                  <c:v>0.17573221757322174</c:v>
                </c:pt>
                <c:pt idx="42">
                  <c:v>0.17733990147783252</c:v>
                </c:pt>
                <c:pt idx="43">
                  <c:v>0.1642512077294686</c:v>
                </c:pt>
                <c:pt idx="44">
                  <c:v>0.23666666666666666</c:v>
                </c:pt>
                <c:pt idx="45">
                  <c:v>0.3018867924528302</c:v>
                </c:pt>
                <c:pt idx="46">
                  <c:v>0.3349875930521092</c:v>
                </c:pt>
                <c:pt idx="47">
                  <c:v>0.33564814814814814</c:v>
                </c:pt>
                <c:pt idx="48">
                  <c:v>0.34663865546218486</c:v>
                </c:pt>
                <c:pt idx="49">
                  <c:v>0.32235294117647056</c:v>
                </c:pt>
                <c:pt idx="50">
                  <c:v>0.3308714918759232</c:v>
                </c:pt>
                <c:pt idx="51">
                  <c:v>0.311557788944723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66.196074219011</c:v>
                </c:pt>
              </c:numCache>
            </c:numRef>
          </c:xVal>
          <c:yVal>
            <c:numRef>
              <c:f>Sheet1!$B$163:$B$164</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66.196074219011</c:v>
                </c:pt>
                <c:pt idx="1">
                  <c:v>166.196074219011</c:v>
                </c:pt>
              </c:numCache>
            </c:numRef>
          </c:xVal>
          <c:yVal>
            <c:numRef>
              <c:f>Sheet1!$B$167:$B$168</c:f>
              <c:numCache>
                <c:formatCode>General</c:formatCode>
                <c:ptCount val="2"/>
                <c:pt idx="0">
                  <c:v>0.3278552193648255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66.196074219011</c:v>
                </c:pt>
              </c:numCache>
            </c:numRef>
          </c:xVal>
          <c:yVal>
            <c:numRef>
              <c:f>Sheet1!$B$171:$B$172</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66.196074219011</c:v>
                </c:pt>
                <c:pt idx="1">
                  <c:v>166.196074219011</c:v>
                </c:pt>
              </c:numCache>
            </c:numRef>
          </c:xVal>
          <c:yVal>
            <c:numRef>
              <c:f>Sheet1!$B$175:$B$176</c:f>
              <c:numCache>
                <c:formatCode>General</c:formatCode>
                <c:ptCount val="2"/>
                <c:pt idx="0">
                  <c:v>0.327855219364825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38.15661567822895</c:v>
                </c:pt>
              </c:numCache>
            </c:numRef>
          </c:xVal>
          <c:yVal>
            <c:numRef>
              <c:f>Sheet1!$B$179:$B$180</c:f>
              <c:numCache>
                <c:formatCode>General</c:formatCode>
                <c:ptCount val="2"/>
                <c:pt idx="0">
                  <c:v>0.25675417287004837</c:v>
                </c:pt>
                <c:pt idx="1">
                  <c:v>0.256754172870048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38.15661567822895</c:v>
                </c:pt>
                <c:pt idx="1">
                  <c:v>338.15661567822895</c:v>
                </c:pt>
              </c:numCache>
            </c:numRef>
          </c:xVal>
          <c:yVal>
            <c:numRef>
              <c:f>Sheet1!$B$183:$B$184</c:f>
              <c:numCache>
                <c:formatCode>General</c:formatCode>
                <c:ptCount val="2"/>
                <c:pt idx="0">
                  <c:v>0.256754172870048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pt idx="52">
                  <c:v>166.196074219011</c:v>
                </c:pt>
                <c:pt idx="53">
                  <c:v>166.196074219011</c:v>
                </c:pt>
                <c:pt idx="54">
                  <c:v>338.15661567822895</c:v>
                </c:pt>
              </c:numCache>
            </c:numRef>
          </c:xVal>
          <c:yVal>
            <c:numRef>
              <c:f>Sheet1!$B$187:$B$241</c:f>
              <c:numCache>
                <c:formatCode>General</c:formatCode>
                <c:ptCount val="55"/>
                <c:pt idx="0">
                  <c:v>0.25432279253406265</c:v>
                </c:pt>
                <c:pt idx="1">
                  <c:v>0.21572330704476192</c:v>
                </c:pt>
                <c:pt idx="2">
                  <c:v>0.22777881620251783</c:v>
                </c:pt>
                <c:pt idx="3">
                  <c:v>0.22430799952837602</c:v>
                </c:pt>
                <c:pt idx="4">
                  <c:v>0.21141710945637637</c:v>
                </c:pt>
                <c:pt idx="5">
                  <c:v>0.21831152418438352</c:v>
                </c:pt>
                <c:pt idx="6">
                  <c:v>0.2238551638635177</c:v>
                </c:pt>
                <c:pt idx="7">
                  <c:v>0.2251753005607051</c:v>
                </c:pt>
                <c:pt idx="8">
                  <c:v>0.21781465364159658</c:v>
                </c:pt>
                <c:pt idx="9">
                  <c:v>0.22012906893929965</c:v>
                </c:pt>
                <c:pt idx="10">
                  <c:v>0.21030987002346543</c:v>
                </c:pt>
                <c:pt idx="11">
                  <c:v>0.21922542362744077</c:v>
                </c:pt>
                <c:pt idx="12">
                  <c:v>0.2142479525712891</c:v>
                </c:pt>
                <c:pt idx="13">
                  <c:v>0.20967225326051983</c:v>
                </c:pt>
                <c:pt idx="14">
                  <c:v>0.20798557272029294</c:v>
                </c:pt>
                <c:pt idx="15">
                  <c:v>0.19564629702054262</c:v>
                </c:pt>
                <c:pt idx="16">
                  <c:v>0.18329689123150358</c:v>
                </c:pt>
                <c:pt idx="17">
                  <c:v>0.1981342882971605</c:v>
                </c:pt>
                <c:pt idx="18">
                  <c:v>0.19048830363853528</c:v>
                </c:pt>
                <c:pt idx="19">
                  <c:v>0.19541260206274685</c:v>
                </c:pt>
                <c:pt idx="20">
                  <c:v>0.20468688486945327</c:v>
                </c:pt>
                <c:pt idx="21">
                  <c:v>0.18477538810002103</c:v>
                </c:pt>
                <c:pt idx="22">
                  <c:v>0.18189761579595434</c:v>
                </c:pt>
                <c:pt idx="23">
                  <c:v>0.18652851375652144</c:v>
                </c:pt>
                <c:pt idx="24">
                  <c:v>0.21908500818570786</c:v>
                </c:pt>
                <c:pt idx="25">
                  <c:v>0.2716803490782421</c:v>
                </c:pt>
                <c:pt idx="26">
                  <c:v>0.24725513260556642</c:v>
                </c:pt>
                <c:pt idx="27">
                  <c:v>0.25941789666787335</c:v>
                </c:pt>
                <c:pt idx="28">
                  <c:v>0.26911590663797164</c:v>
                </c:pt>
                <c:pt idx="29">
                  <c:v>0.2991703930547488</c:v>
                </c:pt>
                <c:pt idx="30">
                  <c:v>0.2265602284820372</c:v>
                </c:pt>
                <c:pt idx="31">
                  <c:v>0.278263129181885</c:v>
                </c:pt>
                <c:pt idx="32">
                  <c:v>0.22663539787928996</c:v>
                </c:pt>
                <c:pt idx="33">
                  <c:v>0.20202081075786965</c:v>
                </c:pt>
                <c:pt idx="34">
                  <c:v>0.1763132903704523</c:v>
                </c:pt>
                <c:pt idx="35">
                  <c:v>0.1921793256456002</c:v>
                </c:pt>
                <c:pt idx="36">
                  <c:v>0.16899725719151748</c:v>
                </c:pt>
                <c:pt idx="37">
                  <c:v>0.182860594487933</c:v>
                </c:pt>
                <c:pt idx="38">
                  <c:v>0.1802082890283214</c:v>
                </c:pt>
                <c:pt idx="39">
                  <c:v>0.2116648211499635</c:v>
                </c:pt>
                <c:pt idx="40">
                  <c:v>0.17715644457770127</c:v>
                </c:pt>
                <c:pt idx="41">
                  <c:v>0.18438238198292112</c:v>
                </c:pt>
                <c:pt idx="42">
                  <c:v>0.1736993552082283</c:v>
                </c:pt>
                <c:pt idx="43">
                  <c:v>0.19276707756086325</c:v>
                </c:pt>
                <c:pt idx="44">
                  <c:v>0.20376624581597125</c:v>
                </c:pt>
                <c:pt idx="45">
                  <c:v>0.2331389978972678</c:v>
                </c:pt>
                <c:pt idx="46">
                  <c:v>0.2337379549317033</c:v>
                </c:pt>
                <c:pt idx="47">
                  <c:v>0.24484818204325845</c:v>
                </c:pt>
                <c:pt idx="48">
                  <c:v>0.2440614255576007</c:v>
                </c:pt>
                <c:pt idx="49">
                  <c:v>0.2376391970323585</c:v>
                </c:pt>
                <c:pt idx="50">
                  <c:v>0.23248310562629926</c:v>
                </c:pt>
                <c:pt idx="51">
                  <c:v>0.22970642747860387</c:v>
                </c:pt>
                <c:pt idx="52">
                  <c:v>0.32785521936482553</c:v>
                </c:pt>
                <c:pt idx="53">
                  <c:v>0.32785521936482553</c:v>
                </c:pt>
                <c:pt idx="54">
                  <c:v>0.256754172870048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0.0"/>
          <c:min val="13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7234042553191"/>
          <c:min val="0.1021276595744680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256985822984214</c:v>
                </c:pt>
                <c:pt idx="1">
                  <c:v>0.3549877732264988</c:v>
                </c:pt>
                <c:pt idx="2">
                  <c:v>0.367093181022409</c:v>
                </c:pt>
                <c:pt idx="3">
                  <c:v>0.33189693272782556</c:v>
                </c:pt>
                <c:pt idx="4">
                  <c:v>0.3483636652542373</c:v>
                </c:pt>
                <c:pt idx="5">
                  <c:v>0.36122916666666666</c:v>
                </c:pt>
                <c:pt idx="6">
                  <c:v>0.3729748569637508</c:v>
                </c:pt>
                <c:pt idx="7">
                  <c:v>0.3460397389341396</c:v>
                </c:pt>
                <c:pt idx="8">
                  <c:v>0.33960636846095527</c:v>
                </c:pt>
                <c:pt idx="9">
                  <c:v>0.33324788022507507</c:v>
                </c:pt>
                <c:pt idx="10">
                  <c:v>0.3516715384930085</c:v>
                </c:pt>
                <c:pt idx="11">
                  <c:v>0.3370620396584245</c:v>
                </c:pt>
                <c:pt idx="12">
                  <c:v>0.34868611819727896</c:v>
                </c:pt>
                <c:pt idx="13">
                  <c:v>0.3437703866595304</c:v>
                </c:pt>
                <c:pt idx="14">
                  <c:v>0.35586503214115983</c:v>
                </c:pt>
                <c:pt idx="15">
                  <c:v>0.344991580580733</c:v>
                </c:pt>
                <c:pt idx="16">
                  <c:v>0.3691729639889197</c:v>
                </c:pt>
                <c:pt idx="17">
                  <c:v>0.379724351286998</c:v>
                </c:pt>
                <c:pt idx="18">
                  <c:v>0.3824866741321389</c:v>
                </c:pt>
                <c:pt idx="19">
                  <c:v>0.5219154406879486</c:v>
                </c:pt>
                <c:pt idx="20">
                  <c:v>0.5489164357391468</c:v>
                </c:pt>
                <c:pt idx="21">
                  <c:v>0.4723493224932249</c:v>
                </c:pt>
                <c:pt idx="22">
                  <c:v>0.7147181222707423</c:v>
                </c:pt>
                <c:pt idx="23">
                  <c:v>0.5102921986647868</c:v>
                </c:pt>
                <c:pt idx="24">
                  <c:v>0.6753405024317738</c:v>
                </c:pt>
                <c:pt idx="25">
                  <c:v>0.6084934882328783</c:v>
                </c:pt>
                <c:pt idx="26">
                  <c:v>0.7862741597831907</c:v>
                </c:pt>
                <c:pt idx="27">
                  <c:v>0.538085145482389</c:v>
                </c:pt>
                <c:pt idx="28">
                  <c:v>0.40993311563049256</c:v>
                </c:pt>
                <c:pt idx="29">
                  <c:v>0.4276651482059282</c:v>
                </c:pt>
                <c:pt idx="30">
                  <c:v>0.29707505294858727</c:v>
                </c:pt>
                <c:pt idx="31">
                  <c:v>0.47498809197919517</c:v>
                </c:pt>
                <c:pt idx="32">
                  <c:v>0.2874954545454545</c:v>
                </c:pt>
                <c:pt idx="33">
                  <c:v>0.4786868339635614</c:v>
                </c:pt>
                <c:pt idx="34">
                  <c:v>0.2904941637289464</c:v>
                </c:pt>
                <c:pt idx="35">
                  <c:v>0.3801484205075091</c:v>
                </c:pt>
                <c:pt idx="36">
                  <c:v>0.42789261107151344</c:v>
                </c:pt>
                <c:pt idx="37">
                  <c:v>0.46643366826853067</c:v>
                </c:pt>
                <c:pt idx="38">
                  <c:v>0.41746520774221324</c:v>
                </c:pt>
                <c:pt idx="39">
                  <c:v>0.4153939065066653</c:v>
                </c:pt>
                <c:pt idx="40">
                  <c:v>0.4504235802469136</c:v>
                </c:pt>
                <c:pt idx="41">
                  <c:v>0.44277863098440334</c:v>
                </c:pt>
                <c:pt idx="42">
                  <c:v>0.4423618647561468</c:v>
                </c:pt>
                <c:pt idx="43">
                  <c:v>0.4302270358306189</c:v>
                </c:pt>
                <c:pt idx="44">
                  <c:v>0.4569633822879316</c:v>
                </c:pt>
                <c:pt idx="45">
                  <c:v>0.5843653903753794</c:v>
                </c:pt>
                <c:pt idx="46">
                  <c:v>0.4851517431754505</c:v>
                </c:pt>
                <c:pt idx="47">
                  <c:v>0.372580238410596</c:v>
                </c:pt>
                <c:pt idx="48">
                  <c:v>0.3803910653071178</c:v>
                </c:pt>
                <c:pt idx="49">
                  <c:v>0.48133196589908456</c:v>
                </c:pt>
                <c:pt idx="50">
                  <c:v>0.46790985263674767</c:v>
                </c:pt>
                <c:pt idx="51">
                  <c:v>0.40225766041633243</c:v>
                </c:pt>
                <c:pt idx="52">
                  <c:v>0.4147878076814981</c:v>
                </c:pt>
                <c:pt idx="53">
                  <c:v>0.3701400238315956</c:v>
                </c:pt>
                <c:pt idx="54">
                  <c:v>0.40224946993485855</c:v>
                </c:pt>
                <c:pt idx="55">
                  <c:v>0.4055335740974408</c:v>
                </c:pt>
                <c:pt idx="56">
                  <c:v>0.4223612347732732</c:v>
                </c:pt>
                <c:pt idx="57">
                  <c:v>0.4257735605170388</c:v>
                </c:pt>
                <c:pt idx="58">
                  <c:v>0.4079841758843564</c:v>
                </c:pt>
                <c:pt idx="59">
                  <c:v>0.4272020768679876</c:v>
                </c:pt>
                <c:pt idx="60">
                  <c:v>0.4323627378282212</c:v>
                </c:pt>
                <c:pt idx="61">
                  <c:v>0.43848442510572316</c:v>
                </c:pt>
                <c:pt idx="62">
                  <c:v>0.45910668809494376</c:v>
                </c:pt>
                <c:pt idx="63">
                  <c:v>0.4343608637713498</c:v>
                </c:pt>
                <c:pt idx="64">
                  <c:v>0.4525862089375555</c:v>
                </c:pt>
                <c:pt idx="65">
                  <c:v>0.4441857899753292</c:v>
                </c:pt>
                <c:pt idx="66">
                  <c:v>0.4973943496940503</c:v>
                </c:pt>
                <c:pt idx="67">
                  <c:v>0.4292694814395013</c:v>
                </c:pt>
                <c:pt idx="68">
                  <c:v>0.39947501251580986</c:v>
                </c:pt>
                <c:pt idx="69">
                  <c:v>0.4249621078214759</c:v>
                </c:pt>
                <c:pt idx="70">
                  <c:v>0.4586168600520957</c:v>
                </c:pt>
                <c:pt idx="71">
                  <c:v>0.43414599774520857</c:v>
                </c:pt>
                <c:pt idx="72">
                  <c:v>0.4176708333333333</c:v>
                </c:pt>
                <c:pt idx="73">
                  <c:v>0.43244153686396675</c:v>
                </c:pt>
                <c:pt idx="74">
                  <c:v>0.5317923805936008</c:v>
                </c:pt>
                <c:pt idx="75">
                  <c:v>0.4524432370345067</c:v>
                </c:pt>
                <c:pt idx="76">
                  <c:v>0.46370122076701775</c:v>
                </c:pt>
                <c:pt idx="77">
                  <c:v>0.6397796899224806</c:v>
                </c:pt>
                <c:pt idx="78">
                  <c:v>0.5272654337413518</c:v>
                </c:pt>
                <c:pt idx="79">
                  <c:v>0.5700084121934127</c:v>
                </c:pt>
                <c:pt idx="80">
                  <c:v>0.43582722720294415</c:v>
                </c:pt>
                <c:pt idx="81">
                  <c:v>0.4011988548136646</c:v>
                </c:pt>
                <c:pt idx="82">
                  <c:v>0.5102237858032379</c:v>
                </c:pt>
                <c:pt idx="83">
                  <c:v>0.47605524553571427</c:v>
                </c:pt>
                <c:pt idx="84">
                  <c:v>1.2505819432722192</c:v>
                </c:pt>
                <c:pt idx="85">
                  <c:v>0.3454721722803524</c:v>
                </c:pt>
                <c:pt idx="86">
                  <c:v>0.4478849978840457</c:v>
                </c:pt>
                <c:pt idx="87">
                  <c:v>0.4601454081632654</c:v>
                </c:pt>
                <c:pt idx="88">
                  <c:v>0.4269469775370582</c:v>
                </c:pt>
                <c:pt idx="89">
                  <c:v>0.46933962053571426</c:v>
                </c:pt>
                <c:pt idx="90">
                  <c:v>0.4871311422413793</c:v>
                </c:pt>
                <c:pt idx="91">
                  <c:v>0.43161251892983343</c:v>
                </c:pt>
                <c:pt idx="92">
                  <c:v>0.4074968491288768</c:v>
                </c:pt>
                <c:pt idx="93">
                  <c:v>0.39456177606177606</c:v>
                </c:pt>
                <c:pt idx="94">
                  <c:v>0.4098078156241879</c:v>
                </c:pt>
                <c:pt idx="95">
                  <c:v>0.3644748726655348</c:v>
                </c:pt>
                <c:pt idx="96">
                  <c:v>0.36219277632399616</c:v>
                </c:pt>
                <c:pt idx="97">
                  <c:v>0.3652955914260931</c:v>
                </c:pt>
                <c:pt idx="98">
                  <c:v>0.43359224581340844</c:v>
                </c:pt>
                <c:pt idx="99">
                  <c:v>0.44869507105143813</c:v>
                </c:pt>
                <c:pt idx="100">
                  <c:v>0.4688148010817531</c:v>
                </c:pt>
                <c:pt idx="101">
                  <c:v>0.4211148185483871</c:v>
                </c:pt>
                <c:pt idx="102">
                  <c:v>0.41638832725377806</c:v>
                </c:pt>
                <c:pt idx="103">
                  <c:v>0.371595109728502</c:v>
                </c:pt>
                <c:pt idx="104">
                  <c:v>0.3876369465587586</c:v>
                </c:pt>
              </c:numCache>
            </c:numRef>
          </c:xVal>
          <c:yVal>
            <c:numRef>
              <c:f>Sheet1!$B$2:$B$106</c:f>
              <c:numCache>
                <c:formatCode>General</c:formatCode>
                <c:ptCount val="105"/>
                <c:pt idx="0">
                  <c:v>0.3393316195372751</c:v>
                </c:pt>
                <c:pt idx="1">
                  <c:v>0.286783042394015</c:v>
                </c:pt>
                <c:pt idx="2">
                  <c:v>0.24397590361445784</c:v>
                </c:pt>
                <c:pt idx="3">
                  <c:v>0.2764505119453925</c:v>
                </c:pt>
                <c:pt idx="4">
                  <c:v>0.26855123674911663</c:v>
                </c:pt>
                <c:pt idx="5">
                  <c:v>0.26881720430107525</c:v>
                </c:pt>
                <c:pt idx="6">
                  <c:v>0.23738872403560832</c:v>
                </c:pt>
                <c:pt idx="7">
                  <c:v>0.23333333333333334</c:v>
                </c:pt>
                <c:pt idx="8">
                  <c:v>0.17857142857142858</c:v>
                </c:pt>
                <c:pt idx="9">
                  <c:v>0.2594594594594595</c:v>
                </c:pt>
                <c:pt idx="10">
                  <c:v>0.2513089005235602</c:v>
                </c:pt>
                <c:pt idx="11">
                  <c:v>0.20891364902506965</c:v>
                </c:pt>
                <c:pt idx="12">
                  <c:v>0.25617977528089886</c:v>
                </c:pt>
                <c:pt idx="13">
                  <c:v>0.3026315789473684</c:v>
                </c:pt>
                <c:pt idx="14">
                  <c:v>0.19823788546255505</c:v>
                </c:pt>
                <c:pt idx="15">
                  <c:v>0.2188449848024316</c:v>
                </c:pt>
                <c:pt idx="16">
                  <c:v>0.25766871165644173</c:v>
                </c:pt>
                <c:pt idx="17">
                  <c:v>0.22818791946308725</c:v>
                </c:pt>
                <c:pt idx="18">
                  <c:v>0.2323943661971831</c:v>
                </c:pt>
                <c:pt idx="19">
                  <c:v>0.17073170731707318</c:v>
                </c:pt>
                <c:pt idx="20">
                  <c:v>0.14655172413793102</c:v>
                </c:pt>
                <c:pt idx="21">
                  <c:v>0.13333333333333333</c:v>
                </c:pt>
                <c:pt idx="22">
                  <c:v>0.1825726141078838</c:v>
                </c:pt>
                <c:pt idx="23">
                  <c:v>0.17747440273037543</c:v>
                </c:pt>
                <c:pt idx="24">
                  <c:v>0.2139917695473251</c:v>
                </c:pt>
                <c:pt idx="25">
                  <c:v>0.2107843137254902</c:v>
                </c:pt>
                <c:pt idx="26">
                  <c:v>0.2184873949579832</c:v>
                </c:pt>
                <c:pt idx="27">
                  <c:v>0.23115577889447236</c:v>
                </c:pt>
                <c:pt idx="28">
                  <c:v>0.17032967032967034</c:v>
                </c:pt>
                <c:pt idx="29">
                  <c:v>0.21666666666666667</c:v>
                </c:pt>
                <c:pt idx="30">
                  <c:v>0.20121951219512196</c:v>
                </c:pt>
                <c:pt idx="31">
                  <c:v>0.24675324675324675</c:v>
                </c:pt>
                <c:pt idx="32">
                  <c:v>0.23841059602649006</c:v>
                </c:pt>
                <c:pt idx="33">
                  <c:v>0.24242424242424243</c:v>
                </c:pt>
                <c:pt idx="34">
                  <c:v>0.18009478672985782</c:v>
                </c:pt>
                <c:pt idx="35">
                  <c:v>0.20905923344947736</c:v>
                </c:pt>
                <c:pt idx="36">
                  <c:v>0.21311475409836064</c:v>
                </c:pt>
                <c:pt idx="37">
                  <c:v>0.1276595744680851</c:v>
                </c:pt>
                <c:pt idx="38">
                  <c:v>0.19913419913419914</c:v>
                </c:pt>
                <c:pt idx="39">
                  <c:v>0.14432989690721648</c:v>
                </c:pt>
                <c:pt idx="40">
                  <c:v>0.23076923076923078</c:v>
                </c:pt>
                <c:pt idx="41">
                  <c:v>0.15294117647058825</c:v>
                </c:pt>
                <c:pt idx="42">
                  <c:v>0.16568047337278108</c:v>
                </c:pt>
                <c:pt idx="43">
                  <c:v>0.14241486068111456</c:v>
                </c:pt>
                <c:pt idx="44">
                  <c:v>0.22121896162528218</c:v>
                </c:pt>
                <c:pt idx="45">
                  <c:v>0.23017408123791103</c:v>
                </c:pt>
                <c:pt idx="46">
                  <c:v>0.2193158953722334</c:v>
                </c:pt>
                <c:pt idx="47">
                  <c:v>0.2523809523809524</c:v>
                </c:pt>
                <c:pt idx="48">
                  <c:v>0.2544529262086514</c:v>
                </c:pt>
                <c:pt idx="49">
                  <c:v>0.2846283783783784</c:v>
                </c:pt>
                <c:pt idx="50">
                  <c:v>0.30337078651685395</c:v>
                </c:pt>
                <c:pt idx="51">
                  <c:v>0.25473684210526315</c:v>
                </c:pt>
                <c:pt idx="52">
                  <c:v>0.2636363636363636</c:v>
                </c:pt>
                <c:pt idx="53">
                  <c:v>0.23162583518930957</c:v>
                </c:pt>
                <c:pt idx="54">
                  <c:v>0.2401129943502825</c:v>
                </c:pt>
                <c:pt idx="55">
                  <c:v>0.27445652173913043</c:v>
                </c:pt>
                <c:pt idx="56">
                  <c:v>0.2715736040609137</c:v>
                </c:pt>
                <c:pt idx="57">
                  <c:v>0.2719298245614035</c:v>
                </c:pt>
                <c:pt idx="58">
                  <c:v>0.27019498607242337</c:v>
                </c:pt>
                <c:pt idx="59">
                  <c:v>0.22334004024144868</c:v>
                </c:pt>
                <c:pt idx="60">
                  <c:v>0.22077922077922077</c:v>
                </c:pt>
                <c:pt idx="61">
                  <c:v>0.2318840579710145</c:v>
                </c:pt>
                <c:pt idx="62">
                  <c:v>0.28150134048257375</c:v>
                </c:pt>
                <c:pt idx="63">
                  <c:v>0.24355971896955503</c:v>
                </c:pt>
                <c:pt idx="64">
                  <c:v>0.20044543429844097</c:v>
                </c:pt>
                <c:pt idx="65">
                  <c:v>0.2318840579710145</c:v>
                </c:pt>
                <c:pt idx="66">
                  <c:v>0.3025210084033613</c:v>
                </c:pt>
                <c:pt idx="67">
                  <c:v>0.31896551724137934</c:v>
                </c:pt>
                <c:pt idx="68">
                  <c:v>0.28225806451612906</c:v>
                </c:pt>
                <c:pt idx="69">
                  <c:v>0.31759656652360513</c:v>
                </c:pt>
                <c:pt idx="70">
                  <c:v>0.27165354330708663</c:v>
                </c:pt>
                <c:pt idx="71">
                  <c:v>0.32</c:v>
                </c:pt>
                <c:pt idx="72">
                  <c:v>0.34893617021276596</c:v>
                </c:pt>
                <c:pt idx="73">
                  <c:v>0.3076923076923077</c:v>
                </c:pt>
                <c:pt idx="74">
                  <c:v>0.3103448275862069</c:v>
                </c:pt>
                <c:pt idx="75">
                  <c:v>0.24882629107981222</c:v>
                </c:pt>
                <c:pt idx="76">
                  <c:v>0.3024193548387097</c:v>
                </c:pt>
                <c:pt idx="77">
                  <c:v>0.2331288343558282</c:v>
                </c:pt>
                <c:pt idx="78">
                  <c:v>0.2469879518072289</c:v>
                </c:pt>
                <c:pt idx="79">
                  <c:v>0.14207650273224043</c:v>
                </c:pt>
                <c:pt idx="80">
                  <c:v>0.1691542288557214</c:v>
                </c:pt>
                <c:pt idx="81">
                  <c:v>0.2606060606060606</c:v>
                </c:pt>
                <c:pt idx="82">
                  <c:v>0.21830985915492956</c:v>
                </c:pt>
                <c:pt idx="83">
                  <c:v>0.2426470588235294</c:v>
                </c:pt>
                <c:pt idx="84">
                  <c:v>0.18354430379746836</c:v>
                </c:pt>
                <c:pt idx="85">
                  <c:v>0.24786324786324787</c:v>
                </c:pt>
                <c:pt idx="86">
                  <c:v>0.22110552763819097</c:v>
                </c:pt>
                <c:pt idx="87">
                  <c:v>0.19534883720930232</c:v>
                </c:pt>
                <c:pt idx="88">
                  <c:v>0.24796747967479674</c:v>
                </c:pt>
                <c:pt idx="89">
                  <c:v>0.27319587628865977</c:v>
                </c:pt>
                <c:pt idx="90">
                  <c:v>0.2810810810810811</c:v>
                </c:pt>
                <c:pt idx="91">
                  <c:v>0.21354166666666666</c:v>
                </c:pt>
                <c:pt idx="92">
                  <c:v>0.23979591836734693</c:v>
                </c:pt>
                <c:pt idx="93">
                  <c:v>0.235</c:v>
                </c:pt>
                <c:pt idx="94">
                  <c:v>0.22077922077922077</c:v>
                </c:pt>
                <c:pt idx="95">
                  <c:v>0.2096317280453258</c:v>
                </c:pt>
                <c:pt idx="96">
                  <c:v>0.2131578947368421</c:v>
                </c:pt>
                <c:pt idx="97">
                  <c:v>0.21267893660531698</c:v>
                </c:pt>
                <c:pt idx="98">
                  <c:v>0.16666666666666666</c:v>
                </c:pt>
                <c:pt idx="99">
                  <c:v>0.2269170579029734</c:v>
                </c:pt>
                <c:pt idx="100">
                  <c:v>0.25206611570247933</c:v>
                </c:pt>
                <c:pt idx="101">
                  <c:v>0.22803738317757008</c:v>
                </c:pt>
                <c:pt idx="102">
                  <c:v>0.22509225092250923</c:v>
                </c:pt>
                <c:pt idx="103">
                  <c:v>0.28117359413202936</c:v>
                </c:pt>
                <c:pt idx="104">
                  <c:v>0.232484076433121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969657539628556</c:v>
                </c:pt>
                <c:pt idx="1">
                  <c:v>0.4506091534818285</c:v>
                </c:pt>
                <c:pt idx="2">
                  <c:v>0.47571262866866054</c:v>
                </c:pt>
                <c:pt idx="3">
                  <c:v>0.44284534438775514</c:v>
                </c:pt>
                <c:pt idx="4">
                  <c:v>0.47510279344604583</c:v>
                </c:pt>
                <c:pt idx="5">
                  <c:v>0.4330562753099877</c:v>
                </c:pt>
                <c:pt idx="6">
                  <c:v>0.4699564193164459</c:v>
                </c:pt>
                <c:pt idx="7">
                  <c:v>0.6168620535714285</c:v>
                </c:pt>
                <c:pt idx="8">
                  <c:v>0.4599290425531915</c:v>
                </c:pt>
                <c:pt idx="9">
                  <c:v>0.5050981994469834</c:v>
                </c:pt>
                <c:pt idx="10">
                  <c:v>0.4854352370689655</c:v>
                </c:pt>
                <c:pt idx="11">
                  <c:v>0.46854697351601204</c:v>
                </c:pt>
                <c:pt idx="12">
                  <c:v>0.4745468844803751</c:v>
                </c:pt>
                <c:pt idx="13">
                  <c:v>0.5688463302209665</c:v>
                </c:pt>
                <c:pt idx="14">
                  <c:v>0.48440861733905677</c:v>
                </c:pt>
                <c:pt idx="15">
                  <c:v>0.5410949073432275</c:v>
                </c:pt>
                <c:pt idx="16">
                  <c:v>0.5558359913793103</c:v>
                </c:pt>
                <c:pt idx="17">
                  <c:v>0.4894757776644569</c:v>
                </c:pt>
                <c:pt idx="18">
                  <c:v>0.6299186097946288</c:v>
                </c:pt>
                <c:pt idx="19">
                  <c:v>0.5979972993150939</c:v>
                </c:pt>
                <c:pt idx="20">
                  <c:v>0.4675431190812009</c:v>
                </c:pt>
                <c:pt idx="21">
                  <c:v>0.5188116312900618</c:v>
                </c:pt>
                <c:pt idx="22">
                  <c:v>0.484478989596299</c:v>
                </c:pt>
                <c:pt idx="23">
                  <c:v>0.5378507146638433</c:v>
                </c:pt>
                <c:pt idx="24">
                  <c:v>0.503433404869687</c:v>
                </c:pt>
                <c:pt idx="25">
                  <c:v>0.6454211538461538</c:v>
                </c:pt>
                <c:pt idx="26">
                  <c:v>1.180164705882353</c:v>
                </c:pt>
                <c:pt idx="27">
                  <c:v>0.7201786799826313</c:v>
                </c:pt>
                <c:pt idx="28">
                  <c:v>0.1720196986607143</c:v>
                </c:pt>
                <c:pt idx="29">
                  <c:v>0.2888674432863274</c:v>
                </c:pt>
                <c:pt idx="30">
                  <c:v>0.4464514657980456</c:v>
                </c:pt>
                <c:pt idx="31">
                  <c:v>0.3990744769874477</c:v>
                </c:pt>
                <c:pt idx="32">
                  <c:v>0.6793388429752066</c:v>
                </c:pt>
                <c:pt idx="33">
                  <c:v>0.5251465401785714</c:v>
                </c:pt>
                <c:pt idx="34">
                  <c:v>0.6285615339233039</c:v>
                </c:pt>
                <c:pt idx="35">
                  <c:v>0.5648716469075846</c:v>
                </c:pt>
                <c:pt idx="36">
                  <c:v>0.7371428242346953</c:v>
                </c:pt>
                <c:pt idx="37">
                  <c:v>0.5547526747201368</c:v>
                </c:pt>
                <c:pt idx="38">
                  <c:v>0.5718969398907104</c:v>
                </c:pt>
                <c:pt idx="39">
                  <c:v>0.6270720436049524</c:v>
                </c:pt>
                <c:pt idx="40">
                  <c:v>0.6902532518210198</c:v>
                </c:pt>
                <c:pt idx="41">
                  <c:v>0.5208880798666534</c:v>
                </c:pt>
                <c:pt idx="42">
                  <c:v>0.6043880796598469</c:v>
                </c:pt>
                <c:pt idx="43">
                  <c:v>0.49931208213117384</c:v>
                </c:pt>
                <c:pt idx="44">
                  <c:v>0.49948397748760076</c:v>
                </c:pt>
                <c:pt idx="45">
                  <c:v>0.42208564796374815</c:v>
                </c:pt>
                <c:pt idx="46">
                  <c:v>0.4185145589798087</c:v>
                </c:pt>
                <c:pt idx="47">
                  <c:v>0.38693144696823034</c:v>
                </c:pt>
                <c:pt idx="48">
                  <c:v>0.385769004944602</c:v>
                </c:pt>
                <c:pt idx="49">
                  <c:v>0.38779953591606137</c:v>
                </c:pt>
                <c:pt idx="50">
                  <c:v>0.3743613873112202</c:v>
                </c:pt>
                <c:pt idx="51">
                  <c:v>0.4289177349863021</c:v>
                </c:pt>
              </c:numCache>
            </c:numRef>
          </c:xVal>
          <c:yVal>
            <c:numRef>
              <c:f>Sheet1!$B$109:$B$160</c:f>
              <c:numCache>
                <c:formatCode>General</c:formatCode>
                <c:ptCount val="52"/>
                <c:pt idx="0">
                  <c:v>0.24397590361445784</c:v>
                </c:pt>
                <c:pt idx="1">
                  <c:v>0.2</c:v>
                </c:pt>
                <c:pt idx="2">
                  <c:v>0.23478260869565218</c:v>
                </c:pt>
                <c:pt idx="3">
                  <c:v>0.2566137566137566</c:v>
                </c:pt>
                <c:pt idx="4">
                  <c:v>0.20426829268292682</c:v>
                </c:pt>
                <c:pt idx="5">
                  <c:v>0.24836601307189543</c:v>
                </c:pt>
                <c:pt idx="6">
                  <c:v>0.22393822393822393</c:v>
                </c:pt>
                <c:pt idx="7">
                  <c:v>0.25196850393700787</c:v>
                </c:pt>
                <c:pt idx="8">
                  <c:v>0.234375</c:v>
                </c:pt>
                <c:pt idx="9">
                  <c:v>0.2314410480349345</c:v>
                </c:pt>
                <c:pt idx="10">
                  <c:v>0.22382671480144403</c:v>
                </c:pt>
                <c:pt idx="11">
                  <c:v>0.23544973544973544</c:v>
                </c:pt>
                <c:pt idx="12">
                  <c:v>0.18686868686868688</c:v>
                </c:pt>
                <c:pt idx="13">
                  <c:v>0.2361963190184049</c:v>
                </c:pt>
                <c:pt idx="14">
                  <c:v>0.19256756756756757</c:v>
                </c:pt>
                <c:pt idx="15">
                  <c:v>0.18770226537216828</c:v>
                </c:pt>
                <c:pt idx="16">
                  <c:v>0.15966386554621848</c:v>
                </c:pt>
                <c:pt idx="17">
                  <c:v>0.14009661835748793</c:v>
                </c:pt>
                <c:pt idx="18">
                  <c:v>0.1368421052631579</c:v>
                </c:pt>
                <c:pt idx="19">
                  <c:v>0.15948275862068967</c:v>
                </c:pt>
                <c:pt idx="20">
                  <c:v>0.1791044776119403</c:v>
                </c:pt>
                <c:pt idx="21">
                  <c:v>0.176056338028169</c:v>
                </c:pt>
                <c:pt idx="22">
                  <c:v>0.20161290322580644</c:v>
                </c:pt>
                <c:pt idx="23">
                  <c:v>0.20202020202020202</c:v>
                </c:pt>
                <c:pt idx="24">
                  <c:v>0.2072072072072072</c:v>
                </c:pt>
                <c:pt idx="25">
                  <c:v>0.24647887323943662</c:v>
                </c:pt>
                <c:pt idx="26">
                  <c:v>0.17424242424242425</c:v>
                </c:pt>
                <c:pt idx="27">
                  <c:v>0.18181818181818182</c:v>
                </c:pt>
                <c:pt idx="28">
                  <c:v>0.20610687022900764</c:v>
                </c:pt>
                <c:pt idx="29">
                  <c:v>0.23333333333333334</c:v>
                </c:pt>
                <c:pt idx="30">
                  <c:v>0.20952380952380953</c:v>
                </c:pt>
                <c:pt idx="31">
                  <c:v>0.25</c:v>
                </c:pt>
                <c:pt idx="32">
                  <c:v>0.1348314606741573</c:v>
                </c:pt>
                <c:pt idx="33">
                  <c:v>0.21476510067114093</c:v>
                </c:pt>
                <c:pt idx="34">
                  <c:v>0.18478260869565216</c:v>
                </c:pt>
                <c:pt idx="35">
                  <c:v>0.19117647058823528</c:v>
                </c:pt>
                <c:pt idx="36">
                  <c:v>0.2066115702479339</c:v>
                </c:pt>
                <c:pt idx="37">
                  <c:v>0.14351851851851852</c:v>
                </c:pt>
                <c:pt idx="38">
                  <c:v>0.15053763440860216</c:v>
                </c:pt>
                <c:pt idx="39">
                  <c:v>0.15263157894736842</c:v>
                </c:pt>
                <c:pt idx="40">
                  <c:v>0.147239263803681</c:v>
                </c:pt>
                <c:pt idx="41">
                  <c:v>0.17573221757322174</c:v>
                </c:pt>
                <c:pt idx="42">
                  <c:v>0.17733990147783252</c:v>
                </c:pt>
                <c:pt idx="43">
                  <c:v>0.1642512077294686</c:v>
                </c:pt>
                <c:pt idx="44">
                  <c:v>0.23666666666666666</c:v>
                </c:pt>
                <c:pt idx="45">
                  <c:v>0.3018867924528302</c:v>
                </c:pt>
                <c:pt idx="46">
                  <c:v>0.3349875930521092</c:v>
                </c:pt>
                <c:pt idx="47">
                  <c:v>0.33564814814814814</c:v>
                </c:pt>
                <c:pt idx="48">
                  <c:v>0.34663865546218486</c:v>
                </c:pt>
                <c:pt idx="49">
                  <c:v>0.32235294117647056</c:v>
                </c:pt>
                <c:pt idx="50">
                  <c:v>0.3308714918759232</c:v>
                </c:pt>
                <c:pt idx="51">
                  <c:v>0.311557788944723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792772837792967</c:v>
                </c:pt>
              </c:numCache>
            </c:numRef>
          </c:xVal>
          <c:yVal>
            <c:numRef>
              <c:f>Sheet1!$B$163:$B$164</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792772837792967</c:v>
                </c:pt>
                <c:pt idx="1">
                  <c:v>-0.0792772837792967</c:v>
                </c:pt>
              </c:numCache>
            </c:numRef>
          </c:xVal>
          <c:yVal>
            <c:numRef>
              <c:f>Sheet1!$B$167:$B$168</c:f>
              <c:numCache>
                <c:formatCode>General</c:formatCode>
                <c:ptCount val="2"/>
                <c:pt idx="0">
                  <c:v>0.3278552193648255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792772837792967</c:v>
                </c:pt>
              </c:numCache>
            </c:numRef>
          </c:xVal>
          <c:yVal>
            <c:numRef>
              <c:f>Sheet1!$B$171:$B$172</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792772837792967</c:v>
                </c:pt>
                <c:pt idx="1">
                  <c:v>-0.0792772837792967</c:v>
                </c:pt>
              </c:numCache>
            </c:numRef>
          </c:xVal>
          <c:yVal>
            <c:numRef>
              <c:f>Sheet1!$B$175:$B$176</c:f>
              <c:numCache>
                <c:formatCode>General</c:formatCode>
                <c:ptCount val="2"/>
                <c:pt idx="0">
                  <c:v>0.327855219364825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990870990666367</c:v>
                </c:pt>
              </c:numCache>
            </c:numRef>
          </c:xVal>
          <c:yVal>
            <c:numRef>
              <c:f>Sheet1!$B$179:$B$180</c:f>
              <c:numCache>
                <c:formatCode>General</c:formatCode>
                <c:ptCount val="2"/>
                <c:pt idx="0">
                  <c:v>0.25675417287004837</c:v>
                </c:pt>
                <c:pt idx="1">
                  <c:v>0.256754172870048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990870990666367</c:v>
                </c:pt>
                <c:pt idx="1">
                  <c:v>0.2990870990666367</c:v>
                </c:pt>
              </c:numCache>
            </c:numRef>
          </c:xVal>
          <c:yVal>
            <c:numRef>
              <c:f>Sheet1!$B$183:$B$184</c:f>
              <c:numCache>
                <c:formatCode>General</c:formatCode>
                <c:ptCount val="2"/>
                <c:pt idx="0">
                  <c:v>0.256754172870048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969657539628556</c:v>
                </c:pt>
                <c:pt idx="1">
                  <c:v>0.4506091534818285</c:v>
                </c:pt>
                <c:pt idx="2">
                  <c:v>0.47571262866866054</c:v>
                </c:pt>
                <c:pt idx="3">
                  <c:v>0.44284534438775514</c:v>
                </c:pt>
                <c:pt idx="4">
                  <c:v>0.47510279344604583</c:v>
                </c:pt>
                <c:pt idx="5">
                  <c:v>0.4330562753099877</c:v>
                </c:pt>
                <c:pt idx="6">
                  <c:v>0.4699564193164459</c:v>
                </c:pt>
                <c:pt idx="7">
                  <c:v>0.6168620535714285</c:v>
                </c:pt>
                <c:pt idx="8">
                  <c:v>0.4599290425531915</c:v>
                </c:pt>
                <c:pt idx="9">
                  <c:v>0.5050981994469834</c:v>
                </c:pt>
                <c:pt idx="10">
                  <c:v>0.4854352370689655</c:v>
                </c:pt>
                <c:pt idx="11">
                  <c:v>0.46854697351601204</c:v>
                </c:pt>
                <c:pt idx="12">
                  <c:v>0.4745468844803751</c:v>
                </c:pt>
                <c:pt idx="13">
                  <c:v>0.5688463302209665</c:v>
                </c:pt>
                <c:pt idx="14">
                  <c:v>0.48440861733905677</c:v>
                </c:pt>
                <c:pt idx="15">
                  <c:v>0.5410949073432275</c:v>
                </c:pt>
                <c:pt idx="16">
                  <c:v>0.5558359913793103</c:v>
                </c:pt>
                <c:pt idx="17">
                  <c:v>0.4894757776644569</c:v>
                </c:pt>
                <c:pt idx="18">
                  <c:v>0.6299186097946288</c:v>
                </c:pt>
                <c:pt idx="19">
                  <c:v>0.5979972993150939</c:v>
                </c:pt>
                <c:pt idx="20">
                  <c:v>0.4675431190812009</c:v>
                </c:pt>
                <c:pt idx="21">
                  <c:v>0.5188116312900618</c:v>
                </c:pt>
                <c:pt idx="22">
                  <c:v>0.484478989596299</c:v>
                </c:pt>
                <c:pt idx="23">
                  <c:v>0.5378507146638433</c:v>
                </c:pt>
                <c:pt idx="24">
                  <c:v>0.503433404869687</c:v>
                </c:pt>
                <c:pt idx="25">
                  <c:v>0.6454211538461538</c:v>
                </c:pt>
                <c:pt idx="26">
                  <c:v>1.180164705882353</c:v>
                </c:pt>
                <c:pt idx="27">
                  <c:v>0.7201786799826313</c:v>
                </c:pt>
                <c:pt idx="28">
                  <c:v>0.1720196986607143</c:v>
                </c:pt>
                <c:pt idx="29">
                  <c:v>0.2888674432863274</c:v>
                </c:pt>
                <c:pt idx="30">
                  <c:v>0.4464514657980456</c:v>
                </c:pt>
                <c:pt idx="31">
                  <c:v>0.3990744769874477</c:v>
                </c:pt>
                <c:pt idx="32">
                  <c:v>0.6793388429752066</c:v>
                </c:pt>
                <c:pt idx="33">
                  <c:v>0.5251465401785714</c:v>
                </c:pt>
                <c:pt idx="34">
                  <c:v>0.6285615339233039</c:v>
                </c:pt>
                <c:pt idx="35">
                  <c:v>0.5648716469075846</c:v>
                </c:pt>
                <c:pt idx="36">
                  <c:v>0.7371428242346953</c:v>
                </c:pt>
                <c:pt idx="37">
                  <c:v>0.5547526747201368</c:v>
                </c:pt>
                <c:pt idx="38">
                  <c:v>0.5718969398907104</c:v>
                </c:pt>
                <c:pt idx="39">
                  <c:v>0.6270720436049524</c:v>
                </c:pt>
                <c:pt idx="40">
                  <c:v>0.6902532518210198</c:v>
                </c:pt>
                <c:pt idx="41">
                  <c:v>0.5208880798666534</c:v>
                </c:pt>
                <c:pt idx="42">
                  <c:v>0.6043880796598469</c:v>
                </c:pt>
                <c:pt idx="43">
                  <c:v>0.49931208213117384</c:v>
                </c:pt>
                <c:pt idx="44">
                  <c:v>0.49948397748760076</c:v>
                </c:pt>
                <c:pt idx="45">
                  <c:v>0.42208564796374815</c:v>
                </c:pt>
                <c:pt idx="46">
                  <c:v>0.4185145589798087</c:v>
                </c:pt>
                <c:pt idx="47">
                  <c:v>0.38693144696823034</c:v>
                </c:pt>
                <c:pt idx="48">
                  <c:v>0.385769004944602</c:v>
                </c:pt>
                <c:pt idx="49">
                  <c:v>0.38779953591606137</c:v>
                </c:pt>
                <c:pt idx="50">
                  <c:v>0.3743613873112202</c:v>
                </c:pt>
                <c:pt idx="51">
                  <c:v>0.4289177349863021</c:v>
                </c:pt>
                <c:pt idx="52">
                  <c:v>-0.0792772837792967</c:v>
                </c:pt>
                <c:pt idx="53">
                  <c:v>-0.0792772837792967</c:v>
                </c:pt>
                <c:pt idx="54">
                  <c:v>0.2990870990666367</c:v>
                </c:pt>
              </c:numCache>
            </c:numRef>
          </c:xVal>
          <c:yVal>
            <c:numRef>
              <c:f>Sheet1!$B$187:$B$241</c:f>
              <c:numCache>
                <c:formatCode>General</c:formatCode>
                <c:ptCount val="55"/>
                <c:pt idx="0">
                  <c:v>0.23836112344960103</c:v>
                </c:pt>
                <c:pt idx="1">
                  <c:v>0.22828062428990747</c:v>
                </c:pt>
                <c:pt idx="2">
                  <c:v>0.22356325807532323</c:v>
                </c:pt>
                <c:pt idx="3">
                  <c:v>0.22973957491105795</c:v>
                </c:pt>
                <c:pt idx="4">
                  <c:v>0.2236778563950465</c:v>
                </c:pt>
                <c:pt idx="5">
                  <c:v>0.2315791060276069</c:v>
                </c:pt>
                <c:pt idx="6">
                  <c:v>0.22464494685825537</c:v>
                </c:pt>
                <c:pt idx="7">
                  <c:v>0.1970389014558227</c:v>
                </c:pt>
                <c:pt idx="8">
                  <c:v>0.22652926000660767</c:v>
                </c:pt>
                <c:pt idx="9">
                  <c:v>0.2180412139059706</c:v>
                </c:pt>
                <c:pt idx="10">
                  <c:v>0.22173621604054988</c:v>
                </c:pt>
                <c:pt idx="11">
                  <c:v>0.2249098054864242</c:v>
                </c:pt>
                <c:pt idx="12">
                  <c:v>0.2237823210619312</c:v>
                </c:pt>
                <c:pt idx="13">
                  <c:v>0.20606186538478136</c:v>
                </c:pt>
                <c:pt idx="14">
                  <c:v>0.22192913519588808</c:v>
                </c:pt>
                <c:pt idx="15">
                  <c:v>0.21127682561302724</c:v>
                </c:pt>
                <c:pt idx="16">
                  <c:v>0.2085067273983131</c:v>
                </c:pt>
                <c:pt idx="17">
                  <c:v>0.22097693034197757</c:v>
                </c:pt>
                <c:pt idx="18">
                  <c:v>0.19458535441710623</c:v>
                </c:pt>
                <c:pt idx="19">
                  <c:v>0.20058390682710883</c:v>
                </c:pt>
                <c:pt idx="20">
                  <c:v>0.22509844665900663</c:v>
                </c:pt>
                <c:pt idx="21">
                  <c:v>0.21546422886381694</c:v>
                </c:pt>
                <c:pt idx="22">
                  <c:v>0.2219159110623254</c:v>
                </c:pt>
                <c:pt idx="23">
                  <c:v>0.21188646411229595</c:v>
                </c:pt>
                <c:pt idx="24">
                  <c:v>0.21835405687431308</c:v>
                </c:pt>
                <c:pt idx="25">
                  <c:v>0.19167216502780887</c:v>
                </c:pt>
                <c:pt idx="26">
                  <c:v>0.0911848361991072</c:v>
                </c:pt>
                <c:pt idx="27">
                  <c:v>0.17762396550732557</c:v>
                </c:pt>
                <c:pt idx="28">
                  <c:v>0.2806322796735389</c:v>
                </c:pt>
                <c:pt idx="29">
                  <c:v>0.2586746184873946</c:v>
                </c:pt>
                <c:pt idx="30">
                  <c:v>0.22906192390138752</c:v>
                </c:pt>
                <c:pt idx="31">
                  <c:v>0.23796485884168952</c:v>
                </c:pt>
                <c:pt idx="32">
                  <c:v>0.1852984594120185</c:v>
                </c:pt>
                <c:pt idx="33">
                  <c:v>0.2142737926815468</c:v>
                </c:pt>
                <c:pt idx="34">
                  <c:v>0.1948403718526752</c:v>
                </c:pt>
                <c:pt idx="35">
                  <c:v>0.20680877538973774</c:v>
                </c:pt>
                <c:pt idx="36">
                  <c:v>0.17443611679879306</c:v>
                </c:pt>
                <c:pt idx="37">
                  <c:v>0.20871030086253062</c:v>
                </c:pt>
                <c:pt idx="38">
                  <c:v>0.2054886043966978</c:v>
                </c:pt>
                <c:pt idx="39">
                  <c:v>0.19512027219525518</c:v>
                </c:pt>
                <c:pt idx="40">
                  <c:v>0.18324745798061484</c:v>
                </c:pt>
                <c:pt idx="41">
                  <c:v>0.21507402916880924</c:v>
                </c:pt>
                <c:pt idx="42">
                  <c:v>0.19938297145625705</c:v>
                </c:pt>
                <c:pt idx="43">
                  <c:v>0.21912852289948948</c:v>
                </c:pt>
                <c:pt idx="44">
                  <c:v>0.21909622086398178</c:v>
                </c:pt>
                <c:pt idx="45">
                  <c:v>0.23364067186304513</c:v>
                </c:pt>
                <c:pt idx="46">
                  <c:v>0.23431173968918206</c:v>
                </c:pt>
                <c:pt idx="47">
                  <c:v>0.24024673890526677</c:v>
                </c:pt>
                <c:pt idx="48">
                  <c:v>0.2404651813594635</c:v>
                </c:pt>
                <c:pt idx="49">
                  <c:v>0.24008361035659875</c:v>
                </c:pt>
                <c:pt idx="50">
                  <c:v>0.24260886503720536</c:v>
                </c:pt>
                <c:pt idx="51">
                  <c:v>0.23235680752731358</c:v>
                </c:pt>
                <c:pt idx="52">
                  <c:v>0.32785521936482553</c:v>
                </c:pt>
                <c:pt idx="53">
                  <c:v>0.32785521936482553</c:v>
                </c:pt>
                <c:pt idx="54">
                  <c:v>0.256754172870048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7234042553191"/>
          <c:min val="0.1021276595744680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52.4544018330253</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52.4544018330253</c:v>
                </c:pt>
                <c:pt idx="1">
                  <c:v>3652.4544018330253</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52.4544018330253</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52.4544018330253</c:v>
                </c:pt>
                <c:pt idx="1">
                  <c:v>3652.4544018330253</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0.721891320054</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0.721891320054</c:v>
                </c:pt>
                <c:pt idx="1">
                  <c:v>5060.721891320054</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52.4544018330253</c:v>
                </c:pt>
                <c:pt idx="53">
                  <c:v>3652.4544018330253</c:v>
                </c:pt>
                <c:pt idx="54">
                  <c:v>5060.721891320054</c:v>
                </c:pt>
              </c:numCache>
            </c:numRef>
          </c:xVal>
          <c:yVal>
            <c:numRef>
              <c:f>Sheet1!$B$135:$B$189</c:f>
              <c:numCache>
                <c:formatCode>General</c:formatCode>
                <c:ptCount val="55"/>
                <c:pt idx="0">
                  <c:v>0.0017152557368890452</c:v>
                </c:pt>
                <c:pt idx="1">
                  <c:v>0.004082484025280127</c:v>
                </c:pt>
                <c:pt idx="2">
                  <c:v>0.003181592070172402</c:v>
                </c:pt>
                <c:pt idx="3">
                  <c:v>0.003851612957406406</c:v>
                </c:pt>
                <c:pt idx="4">
                  <c:v>0.0028020224835323005</c:v>
                </c:pt>
                <c:pt idx="5">
                  <c:v>0.002955015409545828</c:v>
                </c:pt>
                <c:pt idx="6">
                  <c:v>0.003604342183081256</c:v>
                </c:pt>
                <c:pt idx="7">
                  <c:v>0.003542602348970493</c:v>
                </c:pt>
                <c:pt idx="8">
                  <c:v>0.0038573077148428385</c:v>
                </c:pt>
                <c:pt idx="9">
                  <c:v>0.004122907467410866</c:v>
                </c:pt>
                <c:pt idx="10">
                  <c:v>0.0038168293042993347</c:v>
                </c:pt>
                <c:pt idx="11">
                  <c:v>0.00418906837511123</c:v>
                </c:pt>
                <c:pt idx="12">
                  <c:v>0.004460111792991084</c:v>
                </c:pt>
                <c:pt idx="13">
                  <c:v>0.004824590160396626</c:v>
                </c:pt>
                <c:pt idx="14">
                  <c:v>0.004696608758414596</c:v>
                </c:pt>
                <c:pt idx="15">
                  <c:v>0.00372427444686061</c:v>
                </c:pt>
                <c:pt idx="16">
                  <c:v>0.0044558173857439385</c:v>
                </c:pt>
                <c:pt idx="17">
                  <c:v>0.004194655137541066</c:v>
                </c:pt>
                <c:pt idx="18">
                  <c:v>0.002686148173202797</c:v>
                </c:pt>
                <c:pt idx="19">
                  <c:v>0.004274850616237161</c:v>
                </c:pt>
                <c:pt idx="20">
                  <c:v>0.002745460733652131</c:v>
                </c:pt>
                <c:pt idx="21">
                  <c:v>0.003509574847028802</c:v>
                </c:pt>
                <c:pt idx="22">
                  <c:v>0.004553675948160903</c:v>
                </c:pt>
                <c:pt idx="23">
                  <c:v>0.004340801956863864</c:v>
                </c:pt>
                <c:pt idx="24">
                  <c:v>0.003792458729885142</c:v>
                </c:pt>
                <c:pt idx="25">
                  <c:v>0.005199994545433713</c:v>
                </c:pt>
                <c:pt idx="26">
                  <c:v>0.004571766381416871</c:v>
                </c:pt>
                <c:pt idx="27">
                  <c:v>0.0035793225930326683</c:v>
                </c:pt>
                <c:pt idx="28">
                  <c:v>0.0036324737620198264</c:v>
                </c:pt>
                <c:pt idx="29">
                  <c:v>0.004522723055688973</c:v>
                </c:pt>
                <c:pt idx="30">
                  <c:v>0.002921552193310574</c:v>
                </c:pt>
                <c:pt idx="31">
                  <c:v>0.002856312006523999</c:v>
                </c:pt>
                <c:pt idx="32">
                  <c:v>0.0028912217284907775</c:v>
                </c:pt>
                <c:pt idx="33">
                  <c:v>0.002535395807492128</c:v>
                </c:pt>
                <c:pt idx="34">
                  <c:v>0.003208931237617196</c:v>
                </c:pt>
                <c:pt idx="35">
                  <c:v>0.0038116993174299096</c:v>
                </c:pt>
                <c:pt idx="36">
                  <c:v>0.0032104019413999934</c:v>
                </c:pt>
                <c:pt idx="37">
                  <c:v>0.0029285394553003816</c:v>
                </c:pt>
                <c:pt idx="38">
                  <c:v>0.0041326165620565875</c:v>
                </c:pt>
                <c:pt idx="39">
                  <c:v>0.003535823160347477</c:v>
                </c:pt>
                <c:pt idx="40">
                  <c:v>0.00257318659126701</c:v>
                </c:pt>
                <c:pt idx="41">
                  <c:v>0.0028808902061929226</c:v>
                </c:pt>
                <c:pt idx="42">
                  <c:v>0.0029889972408058494</c:v>
                </c:pt>
                <c:pt idx="43">
                  <c:v>0.0031112198053267854</c:v>
                </c:pt>
                <c:pt idx="44">
                  <c:v>0.003597409889504211</c:v>
                </c:pt>
                <c:pt idx="45">
                  <c:v>0.003346926749187509</c:v>
                </c:pt>
                <c:pt idx="46">
                  <c:v>0.003563638670912659</c:v>
                </c:pt>
                <c:pt idx="47">
                  <c:v>0.003984165102406268</c:v>
                </c:pt>
                <c:pt idx="48">
                  <c:v>0.004276090990420824</c:v>
                </c:pt>
                <c:pt idx="49">
                  <c:v>0.003891476259461432</c:v>
                </c:pt>
                <c:pt idx="50">
                  <c:v>0.0031518320520057133</c:v>
                </c:pt>
                <c:pt idx="51">
                  <c:v>0.0030972479700195335</c:v>
                </c:pt>
                <c:pt idx="52">
                  <c:v>0.004563619103934927</c:v>
                </c:pt>
                <c:pt idx="53">
                  <c:v>0.004563619103934927</c:v>
                </c:pt>
                <c:pt idx="54">
                  <c:v>0.00246008028210095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22.4167</c:v>
                </c:pt>
                <c:pt idx="1">
                  <c:v>326.9043</c:v>
                </c:pt>
                <c:pt idx="2">
                  <c:v>335.4938</c:v>
                </c:pt>
                <c:pt idx="3">
                  <c:v>331.1728</c:v>
                </c:pt>
                <c:pt idx="4">
                  <c:v>328.8553</c:v>
                </c:pt>
                <c:pt idx="5">
                  <c:v>346.78</c:v>
                </c:pt>
                <c:pt idx="6">
                  <c:v>345.325</c:v>
                </c:pt>
                <c:pt idx="7">
                  <c:v>338.2381</c:v>
                </c:pt>
                <c:pt idx="8">
                  <c:v>335.9556</c:v>
                </c:pt>
                <c:pt idx="9">
                  <c:v>332.5208</c:v>
                </c:pt>
                <c:pt idx="10">
                  <c:v>336.1042</c:v>
                </c:pt>
                <c:pt idx="11">
                  <c:v>333.4667</c:v>
                </c:pt>
                <c:pt idx="12">
                  <c:v>328.0439</c:v>
                </c:pt>
                <c:pt idx="13">
                  <c:v>325.1304</c:v>
                </c:pt>
                <c:pt idx="14">
                  <c:v>332.9222</c:v>
                </c:pt>
                <c:pt idx="15">
                  <c:v>343.4583</c:v>
                </c:pt>
                <c:pt idx="16">
                  <c:v>333.1786</c:v>
                </c:pt>
                <c:pt idx="17">
                  <c:v>338.6471</c:v>
                </c:pt>
                <c:pt idx="18">
                  <c:v>341.5606</c:v>
                </c:pt>
                <c:pt idx="19">
                  <c:v>354.2857</c:v>
                </c:pt>
                <c:pt idx="20">
                  <c:v>353.4412</c:v>
                </c:pt>
                <c:pt idx="21">
                  <c:v>348.5938</c:v>
                </c:pt>
                <c:pt idx="22">
                  <c:v>327.3409</c:v>
                </c:pt>
                <c:pt idx="23">
                  <c:v>337.4423</c:v>
                </c:pt>
                <c:pt idx="24">
                  <c:v>355.7115</c:v>
                </c:pt>
                <c:pt idx="25">
                  <c:v>340.9302</c:v>
                </c:pt>
                <c:pt idx="26">
                  <c:v>353.6923</c:v>
                </c:pt>
                <c:pt idx="27">
                  <c:v>351.3696</c:v>
                </c:pt>
                <c:pt idx="28">
                  <c:v>352.4839</c:v>
                </c:pt>
                <c:pt idx="29">
                  <c:v>342.6667</c:v>
                </c:pt>
                <c:pt idx="30">
                  <c:v>336.0909</c:v>
                </c:pt>
                <c:pt idx="31">
                  <c:v>347.0263</c:v>
                </c:pt>
                <c:pt idx="32">
                  <c:v>354.1944</c:v>
                </c:pt>
                <c:pt idx="33">
                  <c:v>348.125</c:v>
                </c:pt>
                <c:pt idx="34">
                  <c:v>370.8158</c:v>
                </c:pt>
                <c:pt idx="35">
                  <c:v>367.0333</c:v>
                </c:pt>
                <c:pt idx="36">
                  <c:v>360.2</c:v>
                </c:pt>
                <c:pt idx="37">
                  <c:v>400.375</c:v>
                </c:pt>
                <c:pt idx="38">
                  <c:v>384.7174</c:v>
                </c:pt>
                <c:pt idx="39">
                  <c:v>391.7857</c:v>
                </c:pt>
                <c:pt idx="40">
                  <c:v>364.8431</c:v>
                </c:pt>
                <c:pt idx="41">
                  <c:v>378.4359</c:v>
                </c:pt>
                <c:pt idx="42">
                  <c:v>381.8929</c:v>
                </c:pt>
                <c:pt idx="43">
                  <c:v>396.2391</c:v>
                </c:pt>
                <c:pt idx="44">
                  <c:v>372.1327</c:v>
                </c:pt>
                <c:pt idx="45">
                  <c:v>365.0336</c:v>
                </c:pt>
                <c:pt idx="46">
                  <c:v>359.1835</c:v>
                </c:pt>
                <c:pt idx="47">
                  <c:v>351.6226</c:v>
                </c:pt>
                <c:pt idx="48">
                  <c:v>355.045</c:v>
                </c:pt>
                <c:pt idx="49">
                  <c:v>344.5341</c:v>
                </c:pt>
                <c:pt idx="50">
                  <c:v>363.254</c:v>
                </c:pt>
                <c:pt idx="51">
                  <c:v>361.281</c:v>
                </c:pt>
                <c:pt idx="52">
                  <c:v>361.8793</c:v>
                </c:pt>
                <c:pt idx="53">
                  <c:v>357.3173</c:v>
                </c:pt>
                <c:pt idx="54">
                  <c:v>356.7059</c:v>
                </c:pt>
                <c:pt idx="55">
                  <c:v>360.8911</c:v>
                </c:pt>
                <c:pt idx="56">
                  <c:v>354.5421</c:v>
                </c:pt>
                <c:pt idx="57">
                  <c:v>362.3333</c:v>
                </c:pt>
                <c:pt idx="58">
                  <c:v>374.2784</c:v>
                </c:pt>
                <c:pt idx="59">
                  <c:v>357.9099</c:v>
                </c:pt>
                <c:pt idx="60">
                  <c:v>357.6</c:v>
                </c:pt>
                <c:pt idx="61">
                  <c:v>355.7083</c:v>
                </c:pt>
                <c:pt idx="62">
                  <c:v>371.3714</c:v>
                </c:pt>
                <c:pt idx="63">
                  <c:v>375.8558</c:v>
                </c:pt>
                <c:pt idx="64">
                  <c:v>382.3222</c:v>
                </c:pt>
                <c:pt idx="65">
                  <c:v>382.9375</c:v>
                </c:pt>
                <c:pt idx="66">
                  <c:v>382.0486</c:v>
                </c:pt>
                <c:pt idx="67">
                  <c:v>378.723</c:v>
                </c:pt>
                <c:pt idx="68">
                  <c:v>372.0</c:v>
                </c:pt>
                <c:pt idx="69">
                  <c:v>384.6757</c:v>
                </c:pt>
                <c:pt idx="70">
                  <c:v>387.3478</c:v>
                </c:pt>
                <c:pt idx="71">
                  <c:v>385.0875</c:v>
                </c:pt>
                <c:pt idx="72">
                  <c:v>421.0122</c:v>
                </c:pt>
                <c:pt idx="73">
                  <c:v>416.4412</c:v>
                </c:pt>
                <c:pt idx="74">
                  <c:v>394.4127</c:v>
                </c:pt>
                <c:pt idx="75">
                  <c:v>387.6792</c:v>
                </c:pt>
                <c:pt idx="76">
                  <c:v>387.7867</c:v>
                </c:pt>
                <c:pt idx="77">
                  <c:v>412.6579</c:v>
                </c:pt>
                <c:pt idx="78">
                  <c:v>396.2927</c:v>
                </c:pt>
                <c:pt idx="79">
                  <c:v>364.6154</c:v>
                </c:pt>
                <c:pt idx="80">
                  <c:v>412.8529</c:v>
                </c:pt>
                <c:pt idx="81">
                  <c:v>413.3953</c:v>
                </c:pt>
                <c:pt idx="82">
                  <c:v>409.7097</c:v>
                </c:pt>
                <c:pt idx="83">
                  <c:v>426.5455</c:v>
                </c:pt>
                <c:pt idx="84">
                  <c:v>406.5862</c:v>
                </c:pt>
                <c:pt idx="85">
                  <c:v>412.7241</c:v>
                </c:pt>
                <c:pt idx="86">
                  <c:v>423.3409</c:v>
                </c:pt>
                <c:pt idx="87">
                  <c:v>432.9048</c:v>
                </c:pt>
                <c:pt idx="88">
                  <c:v>408.3443</c:v>
                </c:pt>
                <c:pt idx="89">
                  <c:v>420.5283</c:v>
                </c:pt>
                <c:pt idx="90">
                  <c:v>452.0577</c:v>
                </c:pt>
                <c:pt idx="91">
                  <c:v>427.5122</c:v>
                </c:pt>
                <c:pt idx="92">
                  <c:v>412.234</c:v>
                </c:pt>
                <c:pt idx="93">
                  <c:v>408.766</c:v>
                </c:pt>
                <c:pt idx="94">
                  <c:v>430.6765</c:v>
                </c:pt>
                <c:pt idx="95">
                  <c:v>429.3514</c:v>
                </c:pt>
                <c:pt idx="96">
                  <c:v>422.5802</c:v>
                </c:pt>
                <c:pt idx="97">
                  <c:v>428.7596</c:v>
                </c:pt>
                <c:pt idx="98">
                  <c:v>422.8144</c:v>
                </c:pt>
                <c:pt idx="99">
                  <c:v>413.8552</c:v>
                </c:pt>
                <c:pt idx="100">
                  <c:v>421.2842</c:v>
                </c:pt>
                <c:pt idx="101">
                  <c:v>417.7459</c:v>
                </c:pt>
                <c:pt idx="102">
                  <c:v>399.5246</c:v>
                </c:pt>
                <c:pt idx="103">
                  <c:v>304.5391</c:v>
                </c:pt>
                <c:pt idx="104">
                  <c:v>314.8904</c:v>
                </c:pt>
              </c:numCache>
            </c:numRef>
          </c:xVal>
          <c:yVal>
            <c:numRef>
              <c:f>Sheet1!$B$2:$B$106</c:f>
              <c:numCache>
                <c:formatCode>General</c:formatCode>
                <c:ptCount val="105"/>
                <c:pt idx="0">
                  <c:v>0.3393316195372751</c:v>
                </c:pt>
                <c:pt idx="1">
                  <c:v>0.286783042394015</c:v>
                </c:pt>
                <c:pt idx="2">
                  <c:v>0.24397590361445784</c:v>
                </c:pt>
                <c:pt idx="3">
                  <c:v>0.2764505119453925</c:v>
                </c:pt>
                <c:pt idx="4">
                  <c:v>0.26855123674911663</c:v>
                </c:pt>
                <c:pt idx="5">
                  <c:v>0.26881720430107525</c:v>
                </c:pt>
                <c:pt idx="6">
                  <c:v>0.23738872403560832</c:v>
                </c:pt>
                <c:pt idx="7">
                  <c:v>0.23333333333333334</c:v>
                </c:pt>
                <c:pt idx="8">
                  <c:v>0.17857142857142858</c:v>
                </c:pt>
                <c:pt idx="9">
                  <c:v>0.2594594594594595</c:v>
                </c:pt>
                <c:pt idx="10">
                  <c:v>0.2513089005235602</c:v>
                </c:pt>
                <c:pt idx="11">
                  <c:v>0.20891364902506965</c:v>
                </c:pt>
                <c:pt idx="12">
                  <c:v>0.25617977528089886</c:v>
                </c:pt>
                <c:pt idx="13">
                  <c:v>0.3026315789473684</c:v>
                </c:pt>
                <c:pt idx="14">
                  <c:v>0.19823788546255505</c:v>
                </c:pt>
                <c:pt idx="15">
                  <c:v>0.2188449848024316</c:v>
                </c:pt>
                <c:pt idx="16">
                  <c:v>0.25766871165644173</c:v>
                </c:pt>
                <c:pt idx="17">
                  <c:v>0.22818791946308725</c:v>
                </c:pt>
                <c:pt idx="18">
                  <c:v>0.2323943661971831</c:v>
                </c:pt>
                <c:pt idx="19">
                  <c:v>0.17073170731707318</c:v>
                </c:pt>
                <c:pt idx="20">
                  <c:v>0.14655172413793102</c:v>
                </c:pt>
                <c:pt idx="21">
                  <c:v>0.13333333333333333</c:v>
                </c:pt>
                <c:pt idx="22">
                  <c:v>0.1825726141078838</c:v>
                </c:pt>
                <c:pt idx="23">
                  <c:v>0.17747440273037543</c:v>
                </c:pt>
                <c:pt idx="24">
                  <c:v>0.2139917695473251</c:v>
                </c:pt>
                <c:pt idx="25">
                  <c:v>0.2107843137254902</c:v>
                </c:pt>
                <c:pt idx="26">
                  <c:v>0.2184873949579832</c:v>
                </c:pt>
                <c:pt idx="27">
                  <c:v>0.23115577889447236</c:v>
                </c:pt>
                <c:pt idx="28">
                  <c:v>0.17032967032967034</c:v>
                </c:pt>
                <c:pt idx="29">
                  <c:v>0.21666666666666667</c:v>
                </c:pt>
                <c:pt idx="30">
                  <c:v>0.20121951219512196</c:v>
                </c:pt>
                <c:pt idx="31">
                  <c:v>0.24675324675324675</c:v>
                </c:pt>
                <c:pt idx="32">
                  <c:v>0.23841059602649006</c:v>
                </c:pt>
                <c:pt idx="33">
                  <c:v>0.24242424242424243</c:v>
                </c:pt>
                <c:pt idx="34">
                  <c:v>0.18009478672985782</c:v>
                </c:pt>
                <c:pt idx="35">
                  <c:v>0.20905923344947736</c:v>
                </c:pt>
                <c:pt idx="36">
                  <c:v>0.21311475409836064</c:v>
                </c:pt>
                <c:pt idx="37">
                  <c:v>0.1276595744680851</c:v>
                </c:pt>
                <c:pt idx="38">
                  <c:v>0.19913419913419914</c:v>
                </c:pt>
                <c:pt idx="39">
                  <c:v>0.14432989690721648</c:v>
                </c:pt>
                <c:pt idx="40">
                  <c:v>0.23076923076923078</c:v>
                </c:pt>
                <c:pt idx="41">
                  <c:v>0.15294117647058825</c:v>
                </c:pt>
                <c:pt idx="42">
                  <c:v>0.16568047337278108</c:v>
                </c:pt>
                <c:pt idx="43">
                  <c:v>0.14241486068111456</c:v>
                </c:pt>
                <c:pt idx="44">
                  <c:v>0.22121896162528218</c:v>
                </c:pt>
                <c:pt idx="45">
                  <c:v>0.23017408123791103</c:v>
                </c:pt>
                <c:pt idx="46">
                  <c:v>0.2193158953722334</c:v>
                </c:pt>
                <c:pt idx="47">
                  <c:v>0.2523809523809524</c:v>
                </c:pt>
                <c:pt idx="48">
                  <c:v>0.2544529262086514</c:v>
                </c:pt>
                <c:pt idx="49">
                  <c:v>0.2846283783783784</c:v>
                </c:pt>
                <c:pt idx="50">
                  <c:v>0.30337078651685395</c:v>
                </c:pt>
                <c:pt idx="51">
                  <c:v>0.25473684210526315</c:v>
                </c:pt>
                <c:pt idx="52">
                  <c:v>0.2636363636363636</c:v>
                </c:pt>
                <c:pt idx="53">
                  <c:v>0.23162583518930957</c:v>
                </c:pt>
                <c:pt idx="54">
                  <c:v>0.2401129943502825</c:v>
                </c:pt>
                <c:pt idx="55">
                  <c:v>0.27445652173913043</c:v>
                </c:pt>
                <c:pt idx="56">
                  <c:v>0.2715736040609137</c:v>
                </c:pt>
                <c:pt idx="57">
                  <c:v>0.2719298245614035</c:v>
                </c:pt>
                <c:pt idx="58">
                  <c:v>0.27019498607242337</c:v>
                </c:pt>
                <c:pt idx="59">
                  <c:v>0.22334004024144868</c:v>
                </c:pt>
                <c:pt idx="60">
                  <c:v>0.22077922077922077</c:v>
                </c:pt>
                <c:pt idx="61">
                  <c:v>0.2318840579710145</c:v>
                </c:pt>
                <c:pt idx="62">
                  <c:v>0.28150134048257375</c:v>
                </c:pt>
                <c:pt idx="63">
                  <c:v>0.24355971896955503</c:v>
                </c:pt>
                <c:pt idx="64">
                  <c:v>0.20044543429844097</c:v>
                </c:pt>
                <c:pt idx="65">
                  <c:v>0.2318840579710145</c:v>
                </c:pt>
                <c:pt idx="66">
                  <c:v>0.3025210084033613</c:v>
                </c:pt>
                <c:pt idx="67">
                  <c:v>0.31896551724137934</c:v>
                </c:pt>
                <c:pt idx="68">
                  <c:v>0.28225806451612906</c:v>
                </c:pt>
                <c:pt idx="69">
                  <c:v>0.31759656652360513</c:v>
                </c:pt>
                <c:pt idx="70">
                  <c:v>0.27165354330708663</c:v>
                </c:pt>
                <c:pt idx="71">
                  <c:v>0.32</c:v>
                </c:pt>
                <c:pt idx="72">
                  <c:v>0.34893617021276596</c:v>
                </c:pt>
                <c:pt idx="73">
                  <c:v>0.3076923076923077</c:v>
                </c:pt>
                <c:pt idx="74">
                  <c:v>0.3103448275862069</c:v>
                </c:pt>
                <c:pt idx="75">
                  <c:v>0.24882629107981222</c:v>
                </c:pt>
                <c:pt idx="76">
                  <c:v>0.3024193548387097</c:v>
                </c:pt>
                <c:pt idx="77">
                  <c:v>0.2331288343558282</c:v>
                </c:pt>
                <c:pt idx="78">
                  <c:v>0.2469879518072289</c:v>
                </c:pt>
                <c:pt idx="79">
                  <c:v>0.14207650273224043</c:v>
                </c:pt>
                <c:pt idx="80">
                  <c:v>0.1691542288557214</c:v>
                </c:pt>
                <c:pt idx="81">
                  <c:v>0.2606060606060606</c:v>
                </c:pt>
                <c:pt idx="82">
                  <c:v>0.21830985915492956</c:v>
                </c:pt>
                <c:pt idx="83">
                  <c:v>0.2426470588235294</c:v>
                </c:pt>
                <c:pt idx="84">
                  <c:v>0.18354430379746836</c:v>
                </c:pt>
                <c:pt idx="85">
                  <c:v>0.24786324786324787</c:v>
                </c:pt>
                <c:pt idx="86">
                  <c:v>0.22110552763819097</c:v>
                </c:pt>
                <c:pt idx="87">
                  <c:v>0.19534883720930232</c:v>
                </c:pt>
                <c:pt idx="88">
                  <c:v>0.24796747967479674</c:v>
                </c:pt>
                <c:pt idx="89">
                  <c:v>0.27319587628865977</c:v>
                </c:pt>
                <c:pt idx="90">
                  <c:v>0.2810810810810811</c:v>
                </c:pt>
                <c:pt idx="91">
                  <c:v>0.21354166666666666</c:v>
                </c:pt>
                <c:pt idx="92">
                  <c:v>0.23979591836734693</c:v>
                </c:pt>
                <c:pt idx="93">
                  <c:v>0.235</c:v>
                </c:pt>
                <c:pt idx="94">
                  <c:v>0.22077922077922077</c:v>
                </c:pt>
                <c:pt idx="95">
                  <c:v>0.2096317280453258</c:v>
                </c:pt>
                <c:pt idx="96">
                  <c:v>0.2131578947368421</c:v>
                </c:pt>
                <c:pt idx="97">
                  <c:v>0.21267893660531698</c:v>
                </c:pt>
                <c:pt idx="98">
                  <c:v>0.16666666666666666</c:v>
                </c:pt>
                <c:pt idx="99">
                  <c:v>0.2269170579029734</c:v>
                </c:pt>
                <c:pt idx="100">
                  <c:v>0.25206611570247933</c:v>
                </c:pt>
                <c:pt idx="101">
                  <c:v>0.22803738317757008</c:v>
                </c:pt>
                <c:pt idx="102">
                  <c:v>0.22509225092250923</c:v>
                </c:pt>
                <c:pt idx="103">
                  <c:v>0.28117359413202936</c:v>
                </c:pt>
                <c:pt idx="104">
                  <c:v>0.232484076433121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numCache>
            </c:numRef>
          </c:xVal>
          <c:yVal>
            <c:numRef>
              <c:f>Sheet1!$B$109:$B$160</c:f>
              <c:numCache>
                <c:formatCode>General</c:formatCode>
                <c:ptCount val="52"/>
                <c:pt idx="0">
                  <c:v>0.24397590361445784</c:v>
                </c:pt>
                <c:pt idx="1">
                  <c:v>0.2</c:v>
                </c:pt>
                <c:pt idx="2">
                  <c:v>0.23478260869565218</c:v>
                </c:pt>
                <c:pt idx="3">
                  <c:v>0.2566137566137566</c:v>
                </c:pt>
                <c:pt idx="4">
                  <c:v>0.20426829268292682</c:v>
                </c:pt>
                <c:pt idx="5">
                  <c:v>0.24836601307189543</c:v>
                </c:pt>
                <c:pt idx="6">
                  <c:v>0.22393822393822393</c:v>
                </c:pt>
                <c:pt idx="7">
                  <c:v>0.25196850393700787</c:v>
                </c:pt>
                <c:pt idx="8">
                  <c:v>0.234375</c:v>
                </c:pt>
                <c:pt idx="9">
                  <c:v>0.2314410480349345</c:v>
                </c:pt>
                <c:pt idx="10">
                  <c:v>0.22382671480144403</c:v>
                </c:pt>
                <c:pt idx="11">
                  <c:v>0.23544973544973544</c:v>
                </c:pt>
                <c:pt idx="12">
                  <c:v>0.18686868686868688</c:v>
                </c:pt>
                <c:pt idx="13">
                  <c:v>0.2361963190184049</c:v>
                </c:pt>
                <c:pt idx="14">
                  <c:v>0.19256756756756757</c:v>
                </c:pt>
                <c:pt idx="15">
                  <c:v>0.18770226537216828</c:v>
                </c:pt>
                <c:pt idx="16">
                  <c:v>0.15966386554621848</c:v>
                </c:pt>
                <c:pt idx="17">
                  <c:v>0.14009661835748793</c:v>
                </c:pt>
                <c:pt idx="18">
                  <c:v>0.1368421052631579</c:v>
                </c:pt>
                <c:pt idx="19">
                  <c:v>0.15948275862068967</c:v>
                </c:pt>
                <c:pt idx="20">
                  <c:v>0.1791044776119403</c:v>
                </c:pt>
                <c:pt idx="21">
                  <c:v>0.176056338028169</c:v>
                </c:pt>
                <c:pt idx="22">
                  <c:v>0.20161290322580644</c:v>
                </c:pt>
                <c:pt idx="23">
                  <c:v>0.20202020202020202</c:v>
                </c:pt>
                <c:pt idx="24">
                  <c:v>0.2072072072072072</c:v>
                </c:pt>
                <c:pt idx="25">
                  <c:v>0.24647887323943662</c:v>
                </c:pt>
                <c:pt idx="26">
                  <c:v>0.17424242424242425</c:v>
                </c:pt>
                <c:pt idx="27">
                  <c:v>0.18181818181818182</c:v>
                </c:pt>
                <c:pt idx="28">
                  <c:v>0.20610687022900764</c:v>
                </c:pt>
                <c:pt idx="29">
                  <c:v>0.23333333333333334</c:v>
                </c:pt>
                <c:pt idx="30">
                  <c:v>0.20952380952380953</c:v>
                </c:pt>
                <c:pt idx="31">
                  <c:v>0.25</c:v>
                </c:pt>
                <c:pt idx="32">
                  <c:v>0.1348314606741573</c:v>
                </c:pt>
                <c:pt idx="33">
                  <c:v>0.21476510067114093</c:v>
                </c:pt>
                <c:pt idx="34">
                  <c:v>0.18478260869565216</c:v>
                </c:pt>
                <c:pt idx="35">
                  <c:v>0.19117647058823528</c:v>
                </c:pt>
                <c:pt idx="36">
                  <c:v>0.2066115702479339</c:v>
                </c:pt>
                <c:pt idx="37">
                  <c:v>0.14351851851851852</c:v>
                </c:pt>
                <c:pt idx="38">
                  <c:v>0.15053763440860216</c:v>
                </c:pt>
                <c:pt idx="39">
                  <c:v>0.15263157894736842</c:v>
                </c:pt>
                <c:pt idx="40">
                  <c:v>0.147239263803681</c:v>
                </c:pt>
                <c:pt idx="41">
                  <c:v>0.17573221757322174</c:v>
                </c:pt>
                <c:pt idx="42">
                  <c:v>0.17733990147783252</c:v>
                </c:pt>
                <c:pt idx="43">
                  <c:v>0.1642512077294686</c:v>
                </c:pt>
                <c:pt idx="44">
                  <c:v>0.23666666666666666</c:v>
                </c:pt>
                <c:pt idx="45">
                  <c:v>0.3018867924528302</c:v>
                </c:pt>
                <c:pt idx="46">
                  <c:v>0.3349875930521092</c:v>
                </c:pt>
                <c:pt idx="47">
                  <c:v>0.33564814814814814</c:v>
                </c:pt>
                <c:pt idx="48">
                  <c:v>0.34663865546218486</c:v>
                </c:pt>
                <c:pt idx="49">
                  <c:v>0.32235294117647056</c:v>
                </c:pt>
                <c:pt idx="50">
                  <c:v>0.3308714918759232</c:v>
                </c:pt>
                <c:pt idx="51">
                  <c:v>0.311557788944723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66.196074219011</c:v>
                </c:pt>
              </c:numCache>
            </c:numRef>
          </c:xVal>
          <c:yVal>
            <c:numRef>
              <c:f>Sheet1!$B$163:$B$164</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66.196074219011</c:v>
                </c:pt>
                <c:pt idx="1">
                  <c:v>166.196074219011</c:v>
                </c:pt>
              </c:numCache>
            </c:numRef>
          </c:xVal>
          <c:yVal>
            <c:numRef>
              <c:f>Sheet1!$B$167:$B$168</c:f>
              <c:numCache>
                <c:formatCode>General</c:formatCode>
                <c:ptCount val="2"/>
                <c:pt idx="0">
                  <c:v>0.3278552193648255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66.196074219011</c:v>
                </c:pt>
              </c:numCache>
            </c:numRef>
          </c:xVal>
          <c:yVal>
            <c:numRef>
              <c:f>Sheet1!$B$171:$B$172</c:f>
              <c:numCache>
                <c:formatCode>General</c:formatCode>
                <c:ptCount val="2"/>
                <c:pt idx="0">
                  <c:v>0.32785521936482553</c:v>
                </c:pt>
                <c:pt idx="1">
                  <c:v>0.327855219364825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66.196074219011</c:v>
                </c:pt>
                <c:pt idx="1">
                  <c:v>166.196074219011</c:v>
                </c:pt>
              </c:numCache>
            </c:numRef>
          </c:xVal>
          <c:yVal>
            <c:numRef>
              <c:f>Sheet1!$B$175:$B$176</c:f>
              <c:numCache>
                <c:formatCode>General</c:formatCode>
                <c:ptCount val="2"/>
                <c:pt idx="0">
                  <c:v>0.327855219364825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38.15661567822895</c:v>
                </c:pt>
              </c:numCache>
            </c:numRef>
          </c:xVal>
          <c:yVal>
            <c:numRef>
              <c:f>Sheet1!$B$179:$B$180</c:f>
              <c:numCache>
                <c:formatCode>General</c:formatCode>
                <c:ptCount val="2"/>
                <c:pt idx="0">
                  <c:v>0.25675417287004837</c:v>
                </c:pt>
                <c:pt idx="1">
                  <c:v>0.256754172870048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38.15661567822895</c:v>
                </c:pt>
                <c:pt idx="1">
                  <c:v>338.15661567822895</c:v>
                </c:pt>
              </c:numCache>
            </c:numRef>
          </c:xVal>
          <c:yVal>
            <c:numRef>
              <c:f>Sheet1!$B$183:$B$184</c:f>
              <c:numCache>
                <c:formatCode>General</c:formatCode>
                <c:ptCount val="2"/>
                <c:pt idx="0">
                  <c:v>0.256754172870048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344.037</c:v>
                </c:pt>
                <c:pt idx="1">
                  <c:v>437.3913</c:v>
                </c:pt>
                <c:pt idx="2">
                  <c:v>408.2346</c:v>
                </c:pt>
                <c:pt idx="3">
                  <c:v>416.6289</c:v>
                </c:pt>
                <c:pt idx="4">
                  <c:v>447.806</c:v>
                </c:pt>
                <c:pt idx="5">
                  <c:v>431.1316</c:v>
                </c:pt>
                <c:pt idx="6">
                  <c:v>417.7241</c:v>
                </c:pt>
                <c:pt idx="7">
                  <c:v>414.5313</c:v>
                </c:pt>
                <c:pt idx="8">
                  <c:v>432.3333</c:v>
                </c:pt>
                <c:pt idx="9">
                  <c:v>426.7358</c:v>
                </c:pt>
                <c:pt idx="10">
                  <c:v>450.4839</c:v>
                </c:pt>
                <c:pt idx="11">
                  <c:v>428.9213</c:v>
                </c:pt>
                <c:pt idx="12">
                  <c:v>440.9595</c:v>
                </c:pt>
                <c:pt idx="13">
                  <c:v>452.026</c:v>
                </c:pt>
                <c:pt idx="14">
                  <c:v>456.1053</c:v>
                </c:pt>
                <c:pt idx="15">
                  <c:v>485.9483</c:v>
                </c:pt>
                <c:pt idx="16">
                  <c:v>515.8158</c:v>
                </c:pt>
                <c:pt idx="17">
                  <c:v>479.931</c:v>
                </c:pt>
                <c:pt idx="18">
                  <c:v>498.4231</c:v>
                </c:pt>
                <c:pt idx="19">
                  <c:v>486.5135</c:v>
                </c:pt>
                <c:pt idx="20">
                  <c:v>464.0833</c:v>
                </c:pt>
                <c:pt idx="21">
                  <c:v>512.24</c:v>
                </c:pt>
                <c:pt idx="22">
                  <c:v>519.2</c:v>
                </c:pt>
                <c:pt idx="23">
                  <c:v>508.0</c:v>
                </c:pt>
                <c:pt idx="24">
                  <c:v>429.2609</c:v>
                </c:pt>
                <c:pt idx="25">
                  <c:v>302.0571</c:v>
                </c:pt>
                <c:pt idx="26">
                  <c:v>361.1304</c:v>
                </c:pt>
                <c:pt idx="27">
                  <c:v>331.7143</c:v>
                </c:pt>
                <c:pt idx="28">
                  <c:v>308.2593</c:v>
                </c:pt>
                <c:pt idx="29">
                  <c:v>235.5714</c:v>
                </c:pt>
                <c:pt idx="30">
                  <c:v>411.1818</c:v>
                </c:pt>
                <c:pt idx="31">
                  <c:v>286.1364</c:v>
                </c:pt>
                <c:pt idx="32">
                  <c:v>411.0</c:v>
                </c:pt>
                <c:pt idx="33">
                  <c:v>470.5313</c:v>
                </c:pt>
                <c:pt idx="34">
                  <c:v>532.7059</c:v>
                </c:pt>
                <c:pt idx="35">
                  <c:v>494.3333</c:v>
                </c:pt>
                <c:pt idx="36">
                  <c:v>550.4</c:v>
                </c:pt>
                <c:pt idx="37">
                  <c:v>516.871</c:v>
                </c:pt>
                <c:pt idx="38">
                  <c:v>523.2857</c:v>
                </c:pt>
                <c:pt idx="39">
                  <c:v>447.2069</c:v>
                </c:pt>
                <c:pt idx="40">
                  <c:v>530.6667</c:v>
                </c:pt>
                <c:pt idx="41">
                  <c:v>513.1905</c:v>
                </c:pt>
                <c:pt idx="42">
                  <c:v>539.0278</c:v>
                </c:pt>
                <c:pt idx="43">
                  <c:v>492.9118</c:v>
                </c:pt>
                <c:pt idx="44">
                  <c:v>466.3099</c:v>
                </c:pt>
                <c:pt idx="45">
                  <c:v>395.2708</c:v>
                </c:pt>
                <c:pt idx="46">
                  <c:v>393.8222</c:v>
                </c:pt>
                <c:pt idx="47">
                  <c:v>366.9517</c:v>
                </c:pt>
                <c:pt idx="48">
                  <c:v>368.8545</c:v>
                </c:pt>
                <c:pt idx="49">
                  <c:v>384.3869</c:v>
                </c:pt>
                <c:pt idx="50">
                  <c:v>396.8571</c:v>
                </c:pt>
                <c:pt idx="51">
                  <c:v>403.5726</c:v>
                </c:pt>
                <c:pt idx="52">
                  <c:v>166.196074219011</c:v>
                </c:pt>
                <c:pt idx="53">
                  <c:v>166.196074219011</c:v>
                </c:pt>
                <c:pt idx="54">
                  <c:v>338.15661567822895</c:v>
                </c:pt>
              </c:numCache>
            </c:numRef>
          </c:xVal>
          <c:yVal>
            <c:numRef>
              <c:f>Sheet1!$B$187:$B$241</c:f>
              <c:numCache>
                <c:formatCode>General</c:formatCode>
                <c:ptCount val="55"/>
                <c:pt idx="0">
                  <c:v>0.25432279253406265</c:v>
                </c:pt>
                <c:pt idx="1">
                  <c:v>0.21572330704476192</c:v>
                </c:pt>
                <c:pt idx="2">
                  <c:v>0.22777881620251783</c:v>
                </c:pt>
                <c:pt idx="3">
                  <c:v>0.22430799952837602</c:v>
                </c:pt>
                <c:pt idx="4">
                  <c:v>0.21141710945637637</c:v>
                </c:pt>
                <c:pt idx="5">
                  <c:v>0.21831152418438352</c:v>
                </c:pt>
                <c:pt idx="6">
                  <c:v>0.2238551638635177</c:v>
                </c:pt>
                <c:pt idx="7">
                  <c:v>0.2251753005607051</c:v>
                </c:pt>
                <c:pt idx="8">
                  <c:v>0.21781465364159658</c:v>
                </c:pt>
                <c:pt idx="9">
                  <c:v>0.22012906893929965</c:v>
                </c:pt>
                <c:pt idx="10">
                  <c:v>0.21030987002346543</c:v>
                </c:pt>
                <c:pt idx="11">
                  <c:v>0.21922542362744077</c:v>
                </c:pt>
                <c:pt idx="12">
                  <c:v>0.2142479525712891</c:v>
                </c:pt>
                <c:pt idx="13">
                  <c:v>0.20967225326051983</c:v>
                </c:pt>
                <c:pt idx="14">
                  <c:v>0.20798557272029294</c:v>
                </c:pt>
                <c:pt idx="15">
                  <c:v>0.19564629702054262</c:v>
                </c:pt>
                <c:pt idx="16">
                  <c:v>0.18329689123150358</c:v>
                </c:pt>
                <c:pt idx="17">
                  <c:v>0.1981342882971605</c:v>
                </c:pt>
                <c:pt idx="18">
                  <c:v>0.19048830363853528</c:v>
                </c:pt>
                <c:pt idx="19">
                  <c:v>0.19541260206274685</c:v>
                </c:pt>
                <c:pt idx="20">
                  <c:v>0.20468688486945327</c:v>
                </c:pt>
                <c:pt idx="21">
                  <c:v>0.18477538810002103</c:v>
                </c:pt>
                <c:pt idx="22">
                  <c:v>0.18189761579595434</c:v>
                </c:pt>
                <c:pt idx="23">
                  <c:v>0.18652851375652144</c:v>
                </c:pt>
                <c:pt idx="24">
                  <c:v>0.21908500818570786</c:v>
                </c:pt>
                <c:pt idx="25">
                  <c:v>0.2716803490782421</c:v>
                </c:pt>
                <c:pt idx="26">
                  <c:v>0.24725513260556642</c:v>
                </c:pt>
                <c:pt idx="27">
                  <c:v>0.25941789666787335</c:v>
                </c:pt>
                <c:pt idx="28">
                  <c:v>0.26911590663797164</c:v>
                </c:pt>
                <c:pt idx="29">
                  <c:v>0.2991703930547488</c:v>
                </c:pt>
                <c:pt idx="30">
                  <c:v>0.2265602284820372</c:v>
                </c:pt>
                <c:pt idx="31">
                  <c:v>0.278263129181885</c:v>
                </c:pt>
                <c:pt idx="32">
                  <c:v>0.22663539787928996</c:v>
                </c:pt>
                <c:pt idx="33">
                  <c:v>0.20202081075786965</c:v>
                </c:pt>
                <c:pt idx="34">
                  <c:v>0.1763132903704523</c:v>
                </c:pt>
                <c:pt idx="35">
                  <c:v>0.1921793256456002</c:v>
                </c:pt>
                <c:pt idx="36">
                  <c:v>0.16899725719151748</c:v>
                </c:pt>
                <c:pt idx="37">
                  <c:v>0.182860594487933</c:v>
                </c:pt>
                <c:pt idx="38">
                  <c:v>0.1802082890283214</c:v>
                </c:pt>
                <c:pt idx="39">
                  <c:v>0.2116648211499635</c:v>
                </c:pt>
                <c:pt idx="40">
                  <c:v>0.17715644457770127</c:v>
                </c:pt>
                <c:pt idx="41">
                  <c:v>0.18438238198292112</c:v>
                </c:pt>
                <c:pt idx="42">
                  <c:v>0.1736993552082283</c:v>
                </c:pt>
                <c:pt idx="43">
                  <c:v>0.19276707756086325</c:v>
                </c:pt>
                <c:pt idx="44">
                  <c:v>0.20376624581597125</c:v>
                </c:pt>
                <c:pt idx="45">
                  <c:v>0.2331389978972678</c:v>
                </c:pt>
                <c:pt idx="46">
                  <c:v>0.2337379549317033</c:v>
                </c:pt>
                <c:pt idx="47">
                  <c:v>0.24484818204325845</c:v>
                </c:pt>
                <c:pt idx="48">
                  <c:v>0.2440614255576007</c:v>
                </c:pt>
                <c:pt idx="49">
                  <c:v>0.2376391970323585</c:v>
                </c:pt>
                <c:pt idx="50">
                  <c:v>0.23248310562629926</c:v>
                </c:pt>
                <c:pt idx="51">
                  <c:v>0.22970642747860387</c:v>
                </c:pt>
                <c:pt idx="52">
                  <c:v>0.32785521936482553</c:v>
                </c:pt>
                <c:pt idx="53">
                  <c:v>0.32785521936482553</c:v>
                </c:pt>
                <c:pt idx="54">
                  <c:v>0.256754172870048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0.0"/>
          <c:min val="13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7234042553191"/>
          <c:min val="0.1021276595744680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70829066062607</c:v>
                </c:pt>
                <c:pt idx="1">
                  <c:v>0.6247722886880759</c:v>
                </c:pt>
                <c:pt idx="2">
                  <c:v>0.6308494602640654</c:v>
                </c:pt>
                <c:pt idx="3">
                  <c:v>0.6306518781540413</c:v>
                </c:pt>
                <c:pt idx="4">
                  <c:v>0.6371610403669506</c:v>
                </c:pt>
                <c:pt idx="5">
                  <c:v>0.6480044167644659</c:v>
                </c:pt>
                <c:pt idx="6">
                  <c:v>0.618709022167383</c:v>
                </c:pt>
                <c:pt idx="7">
                  <c:v>0.5956904296288386</c:v>
                </c:pt>
                <c:pt idx="8">
                  <c:v>0.6019645615937118</c:v>
                </c:pt>
                <c:pt idx="9">
                  <c:v>0.6356254681916986</c:v>
                </c:pt>
                <c:pt idx="10">
                  <c:v>0.6488105879402599</c:v>
                </c:pt>
                <c:pt idx="11">
                  <c:v>0.688266822908146</c:v>
                </c:pt>
                <c:pt idx="12">
                  <c:v>0.7168258352865176</c:v>
                </c:pt>
                <c:pt idx="13">
                  <c:v>0.7202286740451493</c:v>
                </c:pt>
                <c:pt idx="14">
                  <c:v>0.6988819487690727</c:v>
                </c:pt>
                <c:pt idx="15">
                  <c:v>0.75101401695942</c:v>
                </c:pt>
                <c:pt idx="16">
                  <c:v>0.7479162546542515</c:v>
                </c:pt>
                <c:pt idx="17">
                  <c:v>0.7788711569944923</c:v>
                </c:pt>
                <c:pt idx="18">
                  <c:v>0.8084572068670751</c:v>
                </c:pt>
                <c:pt idx="19">
                  <c:v>0.7398955666746363</c:v>
                </c:pt>
                <c:pt idx="20">
                  <c:v>0.8225022601350577</c:v>
                </c:pt>
                <c:pt idx="21">
                  <c:v>0.675120077810755</c:v>
                </c:pt>
                <c:pt idx="22">
                  <c:v>0.6128670283971481</c:v>
                </c:pt>
                <c:pt idx="23">
                  <c:v>0.6149463380631879</c:v>
                </c:pt>
                <c:pt idx="24">
                  <c:v>0.6181698449692549</c:v>
                </c:pt>
                <c:pt idx="25">
                  <c:v>0.5848593909524138</c:v>
                </c:pt>
                <c:pt idx="26">
                  <c:v>0.5889076001828483</c:v>
                </c:pt>
                <c:pt idx="27">
                  <c:v>0.6064569251408226</c:v>
                </c:pt>
                <c:pt idx="28">
                  <c:v>0.5979272658019088</c:v>
                </c:pt>
                <c:pt idx="29">
                  <c:v>0.6006704149557207</c:v>
                </c:pt>
                <c:pt idx="30">
                  <c:v>0.5782276915086761</c:v>
                </c:pt>
                <c:pt idx="31">
                  <c:v>0.6190515428065317</c:v>
                </c:pt>
                <c:pt idx="32">
                  <c:v>0.545069705905239</c:v>
                </c:pt>
                <c:pt idx="33">
                  <c:v>0.5376117957221703</c:v>
                </c:pt>
                <c:pt idx="34">
                  <c:v>0.6146579260052774</c:v>
                </c:pt>
                <c:pt idx="35">
                  <c:v>0.6855323570917112</c:v>
                </c:pt>
                <c:pt idx="36">
                  <c:v>0.6990878599910831</c:v>
                </c:pt>
                <c:pt idx="37">
                  <c:v>0.6851958668858408</c:v>
                </c:pt>
                <c:pt idx="38">
                  <c:v>0.7385296222189915</c:v>
                </c:pt>
                <c:pt idx="39">
                  <c:v>0.7415438854841716</c:v>
                </c:pt>
                <c:pt idx="40">
                  <c:v>0.7159543342371882</c:v>
                </c:pt>
                <c:pt idx="41">
                  <c:v>0.6980877589051776</c:v>
                </c:pt>
                <c:pt idx="42">
                  <c:v>0.7179255382618516</c:v>
                </c:pt>
                <c:pt idx="43">
                  <c:v>0.7287713195697291</c:v>
                </c:pt>
                <c:pt idx="44">
                  <c:v>0.7291211592856807</c:v>
                </c:pt>
                <c:pt idx="45">
                  <c:v>0.7325089249765132</c:v>
                </c:pt>
                <c:pt idx="46">
                  <c:v>0.7358984779275106</c:v>
                </c:pt>
                <c:pt idx="47">
                  <c:v>0.7435670618670452</c:v>
                </c:pt>
                <c:pt idx="48">
                  <c:v>0.7457018156009618</c:v>
                </c:pt>
                <c:pt idx="49">
                  <c:v>0.7446735944905841</c:v>
                </c:pt>
                <c:pt idx="50">
                  <c:v>0.7109073766691314</c:v>
                </c:pt>
                <c:pt idx="51">
                  <c:v>0.7088079877735399</c:v>
                </c:pt>
                <c:pt idx="52">
                  <c:v>0.736070050998311</c:v>
                </c:pt>
                <c:pt idx="53">
                  <c:v>0.7041187785864178</c:v>
                </c:pt>
                <c:pt idx="54">
                  <c:v>0.667970064054425</c:v>
                </c:pt>
                <c:pt idx="55">
                  <c:v>0.6911220376013695</c:v>
                </c:pt>
                <c:pt idx="56">
                  <c:v>0.6922501305667381</c:v>
                </c:pt>
                <c:pt idx="57">
                  <c:v>0.6743080488696427</c:v>
                </c:pt>
                <c:pt idx="58">
                  <c:v>0.6287047983776812</c:v>
                </c:pt>
                <c:pt idx="59">
                  <c:v>0.6589354463232927</c:v>
                </c:pt>
                <c:pt idx="60">
                  <c:v>0.6467701191956428</c:v>
                </c:pt>
                <c:pt idx="61">
                  <c:v>0.7132234002163647</c:v>
                </c:pt>
                <c:pt idx="62">
                  <c:v>0.7059924534393895</c:v>
                </c:pt>
                <c:pt idx="63">
                  <c:v>0.7234313913215825</c:v>
                </c:pt>
                <c:pt idx="64">
                  <c:v>0.7914239890795718</c:v>
                </c:pt>
                <c:pt idx="65">
                  <c:v>0.7987893827901422</c:v>
                </c:pt>
                <c:pt idx="66">
                  <c:v>0.7879445716163489</c:v>
                </c:pt>
                <c:pt idx="67">
                  <c:v>0.8196376076396932</c:v>
                </c:pt>
                <c:pt idx="68">
                  <c:v>0.8343815414658577</c:v>
                </c:pt>
                <c:pt idx="69">
                  <c:v>0.8718888152129829</c:v>
                </c:pt>
                <c:pt idx="70">
                  <c:v>0.8250299157644047</c:v>
                </c:pt>
                <c:pt idx="71">
                  <c:v>0.7710547687271445</c:v>
                </c:pt>
                <c:pt idx="72">
                  <c:v>0.8221086219743472</c:v>
                </c:pt>
                <c:pt idx="73">
                  <c:v>0.7757693729096091</c:v>
                </c:pt>
                <c:pt idx="74">
                  <c:v>0.7565722822672654</c:v>
                </c:pt>
                <c:pt idx="75">
                  <c:v>0.7045165942296266</c:v>
                </c:pt>
                <c:pt idx="76">
                  <c:v>0.7203382236796863</c:v>
                </c:pt>
                <c:pt idx="77">
                  <c:v>0.739528932207299</c:v>
                </c:pt>
                <c:pt idx="78">
                  <c:v>0.7432972214159371</c:v>
                </c:pt>
                <c:pt idx="79">
                  <c:v>0.7035616525716596</c:v>
                </c:pt>
                <c:pt idx="80">
                  <c:v>0.7334109195741815</c:v>
                </c:pt>
                <c:pt idx="81">
                  <c:v>0.7179263632203917</c:v>
                </c:pt>
                <c:pt idx="82">
                  <c:v>0.7242550724045659</c:v>
                </c:pt>
                <c:pt idx="83">
                  <c:v>0.6880029847553529</c:v>
                </c:pt>
                <c:pt idx="84">
                  <c:v>0.710277681676417</c:v>
                </c:pt>
                <c:pt idx="85">
                  <c:v>0.6890291262250159</c:v>
                </c:pt>
                <c:pt idx="86">
                  <c:v>0.7072274819846042</c:v>
                </c:pt>
                <c:pt idx="87">
                  <c:v>0.7286283869100548</c:v>
                </c:pt>
                <c:pt idx="88">
                  <c:v>0.6746152324553609</c:v>
                </c:pt>
                <c:pt idx="89">
                  <c:v>0.6542531895900644</c:v>
                </c:pt>
                <c:pt idx="90">
                  <c:v>0.6933382887442935</c:v>
                </c:pt>
                <c:pt idx="91">
                  <c:v>0.728316586448363</c:v>
                </c:pt>
                <c:pt idx="92">
                  <c:v>0.7237456421950762</c:v>
                </c:pt>
                <c:pt idx="93">
                  <c:v>0.7366415016714688</c:v>
                </c:pt>
                <c:pt idx="94">
                  <c:v>0.7102608150155352</c:v>
                </c:pt>
                <c:pt idx="95">
                  <c:v>0.7187175603766344</c:v>
                </c:pt>
                <c:pt idx="96">
                  <c:v>0.7291950890623011</c:v>
                </c:pt>
                <c:pt idx="97">
                  <c:v>0.7669790324311808</c:v>
                </c:pt>
                <c:pt idx="98">
                  <c:v>0.7818221456244678</c:v>
                </c:pt>
                <c:pt idx="99">
                  <c:v>0.788122038247067</c:v>
                </c:pt>
                <c:pt idx="100">
                  <c:v>0.7686561507784467</c:v>
                </c:pt>
                <c:pt idx="101">
                  <c:v>0.7053438008433078</c:v>
                </c:pt>
                <c:pt idx="102">
                  <c:v>0.7216914370215932</c:v>
                </c:pt>
                <c:pt idx="103">
                  <c:v>0.7299747152479791</c:v>
                </c:pt>
                <c:pt idx="104">
                  <c:v>0.7163430390680645</c:v>
                </c:pt>
              </c:numCache>
            </c:numRef>
          </c:xVal>
          <c:yVal>
            <c:numRef>
              <c:f>Sheet1!$B$2:$B$106</c:f>
              <c:numCache>
                <c:formatCode>General</c:formatCode>
                <c:ptCount val="105"/>
                <c:pt idx="0">
                  <c:v>0.211340206185567</c:v>
                </c:pt>
                <c:pt idx="1">
                  <c:v>0.20778881338212232</c:v>
                </c:pt>
                <c:pt idx="2">
                  <c:v>0.19763513513513514</c:v>
                </c:pt>
                <c:pt idx="3">
                  <c:v>0.20335536349771224</c:v>
                </c:pt>
                <c:pt idx="4">
                  <c:v>0.20186522262334536</c:v>
                </c:pt>
                <c:pt idx="5">
                  <c:v>0.21347217702570778</c:v>
                </c:pt>
                <c:pt idx="6">
                  <c:v>0.2525354969574036</c:v>
                </c:pt>
                <c:pt idx="7">
                  <c:v>0.25170648464163825</c:v>
                </c:pt>
                <c:pt idx="8">
                  <c:v>0.25970149253731345</c:v>
                </c:pt>
                <c:pt idx="9">
                  <c:v>0.24624348359398956</c:v>
                </c:pt>
                <c:pt idx="10">
                  <c:v>0.2464209564422784</c:v>
                </c:pt>
                <c:pt idx="11">
                  <c:v>0.2197281062282643</c:v>
                </c:pt>
                <c:pt idx="12">
                  <c:v>0.2031164570803718</c:v>
                </c:pt>
                <c:pt idx="13">
                  <c:v>0.19739921976592978</c:v>
                </c:pt>
                <c:pt idx="14">
                  <c:v>0.1933884297520661</c:v>
                </c:pt>
                <c:pt idx="15">
                  <c:v>0.16248919619706137</c:v>
                </c:pt>
                <c:pt idx="16">
                  <c:v>0.15853658536585366</c:v>
                </c:pt>
                <c:pt idx="17">
                  <c:v>0.13979289940828402</c:v>
                </c:pt>
                <c:pt idx="18">
                  <c:v>0.13844144536351763</c:v>
                </c:pt>
                <c:pt idx="19">
                  <c:v>0.1460369163952226</c:v>
                </c:pt>
                <c:pt idx="20">
                  <c:v>0.1463917525773196</c:v>
                </c:pt>
                <c:pt idx="21">
                  <c:v>0.15403274711946635</c:v>
                </c:pt>
                <c:pt idx="22">
                  <c:v>0.18927613941018767</c:v>
                </c:pt>
                <c:pt idx="23">
                  <c:v>0.18487394957983194</c:v>
                </c:pt>
                <c:pt idx="24">
                  <c:v>0.18585298196948682</c:v>
                </c:pt>
                <c:pt idx="25">
                  <c:v>0.19749045280960176</c:v>
                </c:pt>
                <c:pt idx="26">
                  <c:v>0.22551481667503767</c:v>
                </c:pt>
                <c:pt idx="27">
                  <c:v>0.22032413491020586</c:v>
                </c:pt>
                <c:pt idx="28">
                  <c:v>0.21594982078853048</c:v>
                </c:pt>
                <c:pt idx="29">
                  <c:v>0.21607022282241728</c:v>
                </c:pt>
                <c:pt idx="30">
                  <c:v>0.22568460812086874</c:v>
                </c:pt>
                <c:pt idx="31">
                  <c:v>0.22551662174303683</c:v>
                </c:pt>
                <c:pt idx="32">
                  <c:v>0.24046140195208518</c:v>
                </c:pt>
                <c:pt idx="33">
                  <c:v>0.25134196400378905</c:v>
                </c:pt>
                <c:pt idx="34">
                  <c:v>0.23407371247254088</c:v>
                </c:pt>
                <c:pt idx="35">
                  <c:v>0.24631396357328708</c:v>
                </c:pt>
                <c:pt idx="36">
                  <c:v>0.2121501272264631</c:v>
                </c:pt>
                <c:pt idx="37">
                  <c:v>0.2128594249201278</c:v>
                </c:pt>
                <c:pt idx="38">
                  <c:v>0.190749079001228</c:v>
                </c:pt>
                <c:pt idx="39">
                  <c:v>0.18608414239482202</c:v>
                </c:pt>
                <c:pt idx="40">
                  <c:v>0.2047604516325908</c:v>
                </c:pt>
                <c:pt idx="41">
                  <c:v>0.1799847792998478</c:v>
                </c:pt>
                <c:pt idx="42">
                  <c:v>0.17341606792945788</c:v>
                </c:pt>
                <c:pt idx="43">
                  <c:v>0.1665200820873644</c:v>
                </c:pt>
                <c:pt idx="44">
                  <c:v>0.18451066961000737</c:v>
                </c:pt>
                <c:pt idx="45">
                  <c:v>0.20003460806367884</c:v>
                </c:pt>
                <c:pt idx="46">
                  <c:v>0.2047982205274865</c:v>
                </c:pt>
                <c:pt idx="47">
                  <c:v>0.18240530633618432</c:v>
                </c:pt>
                <c:pt idx="48">
                  <c:v>0.18769564170479172</c:v>
                </c:pt>
                <c:pt idx="49">
                  <c:v>0.20142630744849446</c:v>
                </c:pt>
                <c:pt idx="50">
                  <c:v>0.19508340649692713</c:v>
                </c:pt>
                <c:pt idx="51">
                  <c:v>0.18320419895026244</c:v>
                </c:pt>
                <c:pt idx="52">
                  <c:v>0.18168307635147687</c:v>
                </c:pt>
                <c:pt idx="53">
                  <c:v>0.17057827244132592</c:v>
                </c:pt>
                <c:pt idx="54">
                  <c:v>0.17422766490397995</c:v>
                </c:pt>
                <c:pt idx="55">
                  <c:v>0.1706966033390904</c:v>
                </c:pt>
                <c:pt idx="56">
                  <c:v>0.16746871992300288</c:v>
                </c:pt>
                <c:pt idx="57">
                  <c:v>0.17371020856201977</c:v>
                </c:pt>
                <c:pt idx="58">
                  <c:v>0.20409145607701565</c:v>
                </c:pt>
                <c:pt idx="59">
                  <c:v>0.1961670302274852</c:v>
                </c:pt>
                <c:pt idx="60">
                  <c:v>0.20498118616735353</c:v>
                </c:pt>
                <c:pt idx="61">
                  <c:v>0.19496195224350565</c:v>
                </c:pt>
                <c:pt idx="62">
                  <c:v>0.20776470588235293</c:v>
                </c:pt>
                <c:pt idx="63">
                  <c:v>0.21932173136992414</c:v>
                </c:pt>
                <c:pt idx="64">
                  <c:v>0.20242179616548941</c:v>
                </c:pt>
                <c:pt idx="65">
                  <c:v>0.18627450980392157</c:v>
                </c:pt>
                <c:pt idx="66">
                  <c:v>0.18705357142857143</c:v>
                </c:pt>
                <c:pt idx="67">
                  <c:v>0.16599007668019847</c:v>
                </c:pt>
                <c:pt idx="68">
                  <c:v>0.1526803255683413</c:v>
                </c:pt>
                <c:pt idx="69">
                  <c:v>0.1475467702082598</c:v>
                </c:pt>
                <c:pt idx="70">
                  <c:v>0.15346358792184725</c:v>
                </c:pt>
                <c:pt idx="71">
                  <c:v>0.15806988352745424</c:v>
                </c:pt>
                <c:pt idx="72">
                  <c:v>0.15816141874773795</c:v>
                </c:pt>
                <c:pt idx="73">
                  <c:v>0.16182405165456012</c:v>
                </c:pt>
                <c:pt idx="74">
                  <c:v>0.16117605384342898</c:v>
                </c:pt>
                <c:pt idx="75">
                  <c:v>0.18201193520886616</c:v>
                </c:pt>
                <c:pt idx="76">
                  <c:v>0.17262830482115085</c:v>
                </c:pt>
                <c:pt idx="77">
                  <c:v>0.16267281105990783</c:v>
                </c:pt>
                <c:pt idx="78">
                  <c:v>0.16004742145820983</c:v>
                </c:pt>
                <c:pt idx="79">
                  <c:v>0.14204545454545456</c:v>
                </c:pt>
                <c:pt idx="80">
                  <c:v>0.1315089319650323</c:v>
                </c:pt>
                <c:pt idx="81">
                  <c:v>0.15290412876137158</c:v>
                </c:pt>
                <c:pt idx="82">
                  <c:v>0.15532544378698224</c:v>
                </c:pt>
                <c:pt idx="83">
                  <c:v>0.16114790286975716</c:v>
                </c:pt>
                <c:pt idx="84">
                  <c:v>0.15230352303523034</c:v>
                </c:pt>
                <c:pt idx="85">
                  <c:v>0.1760264275601699</c:v>
                </c:pt>
                <c:pt idx="86">
                  <c:v>0.18773171553758006</c:v>
                </c:pt>
                <c:pt idx="87">
                  <c:v>0.1912585244885307</c:v>
                </c:pt>
                <c:pt idx="88">
                  <c:v>0.19247404844290658</c:v>
                </c:pt>
                <c:pt idx="89">
                  <c:v>0.19600195026816186</c:v>
                </c:pt>
                <c:pt idx="90">
                  <c:v>0.1703529411764706</c:v>
                </c:pt>
                <c:pt idx="91">
                  <c:v>0.16318181818181818</c:v>
                </c:pt>
                <c:pt idx="92">
                  <c:v>0.17880794701986755</c:v>
                </c:pt>
                <c:pt idx="93">
                  <c:v>0.17087931648273408</c:v>
                </c:pt>
                <c:pt idx="94">
                  <c:v>0.17265886287625418</c:v>
                </c:pt>
                <c:pt idx="95">
                  <c:v>0.1805010564443103</c:v>
                </c:pt>
                <c:pt idx="96">
                  <c:v>0.19208817161975988</c:v>
                </c:pt>
                <c:pt idx="97">
                  <c:v>0.19881085098476403</c:v>
                </c:pt>
                <c:pt idx="98">
                  <c:v>0.19545032497678738</c:v>
                </c:pt>
                <c:pt idx="99">
                  <c:v>0.18923982869379016</c:v>
                </c:pt>
                <c:pt idx="100">
                  <c:v>0.1950203540660797</c:v>
                </c:pt>
                <c:pt idx="101">
                  <c:v>0.2040302267002519</c:v>
                </c:pt>
                <c:pt idx="102">
                  <c:v>0.18416968442834972</c:v>
                </c:pt>
                <c:pt idx="103">
                  <c:v>0.18588681032441393</c:v>
                </c:pt>
                <c:pt idx="104">
                  <c:v>0.1787564766839378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271405468168926</c:v>
                </c:pt>
                <c:pt idx="1">
                  <c:v>0.68907867968412</c:v>
                </c:pt>
                <c:pt idx="2">
                  <c:v>0.7066446224632583</c:v>
                </c:pt>
                <c:pt idx="3">
                  <c:v>0.6628280055802648</c:v>
                </c:pt>
                <c:pt idx="4">
                  <c:v>0.6745719969289222</c:v>
                </c:pt>
                <c:pt idx="5">
                  <c:v>0.7061533291280014</c:v>
                </c:pt>
                <c:pt idx="6">
                  <c:v>0.6819284730695366</c:v>
                </c:pt>
                <c:pt idx="7">
                  <c:v>0.6822128758657006</c:v>
                </c:pt>
                <c:pt idx="8">
                  <c:v>0.7072431367336878</c:v>
                </c:pt>
                <c:pt idx="9">
                  <c:v>0.6855933876931566</c:v>
                </c:pt>
                <c:pt idx="10">
                  <c:v>0.6939067124764312</c:v>
                </c:pt>
                <c:pt idx="11">
                  <c:v>0.7028795170738685</c:v>
                </c:pt>
                <c:pt idx="12">
                  <c:v>0.7161478056788955</c:v>
                </c:pt>
                <c:pt idx="13">
                  <c:v>0.6773864124802234</c:v>
                </c:pt>
                <c:pt idx="14">
                  <c:v>0.6623701371015311</c:v>
                </c:pt>
                <c:pt idx="15">
                  <c:v>0.6829915790984935</c:v>
                </c:pt>
                <c:pt idx="16">
                  <c:v>0.6966507731838947</c:v>
                </c:pt>
                <c:pt idx="17">
                  <c:v>0.689115407493209</c:v>
                </c:pt>
                <c:pt idx="18">
                  <c:v>0.6685115914455888</c:v>
                </c:pt>
                <c:pt idx="19">
                  <c:v>0.7107528734324392</c:v>
                </c:pt>
                <c:pt idx="20">
                  <c:v>0.6782149360287976</c:v>
                </c:pt>
                <c:pt idx="21">
                  <c:v>0.6181679576462981</c:v>
                </c:pt>
                <c:pt idx="22">
                  <c:v>0.6421239405332128</c:v>
                </c:pt>
                <c:pt idx="23">
                  <c:v>0.6752251422342891</c:v>
                </c:pt>
                <c:pt idx="24">
                  <c:v>0.6864935768978622</c:v>
                </c:pt>
                <c:pt idx="25">
                  <c:v>0.7144981925722487</c:v>
                </c:pt>
                <c:pt idx="26">
                  <c:v>0.6940874816800569</c:v>
                </c:pt>
                <c:pt idx="27">
                  <c:v>0.6922606456819979</c:v>
                </c:pt>
                <c:pt idx="28">
                  <c:v>0.7126488684987214</c:v>
                </c:pt>
                <c:pt idx="29">
                  <c:v>0.6524649938346786</c:v>
                </c:pt>
                <c:pt idx="30">
                  <c:v>0.6574181032082693</c:v>
                </c:pt>
                <c:pt idx="31">
                  <c:v>0.6533199851149071</c:v>
                </c:pt>
                <c:pt idx="32">
                  <c:v>0.6895214088600415</c:v>
                </c:pt>
                <c:pt idx="33">
                  <c:v>0.7080255343526815</c:v>
                </c:pt>
                <c:pt idx="34">
                  <c:v>0.7503878834694662</c:v>
                </c:pt>
                <c:pt idx="35">
                  <c:v>0.7386081130283672</c:v>
                </c:pt>
                <c:pt idx="36">
                  <c:v>0.6720983800977053</c:v>
                </c:pt>
                <c:pt idx="37">
                  <c:v>0.6526757980636296</c:v>
                </c:pt>
                <c:pt idx="38">
                  <c:v>0.6884851473981228</c:v>
                </c:pt>
                <c:pt idx="39">
                  <c:v>0.7133428716559052</c:v>
                </c:pt>
                <c:pt idx="40">
                  <c:v>0.7225383967777292</c:v>
                </c:pt>
                <c:pt idx="41">
                  <c:v>0.7394279754736212</c:v>
                </c:pt>
                <c:pt idx="42">
                  <c:v>0.7172253161289829</c:v>
                </c:pt>
                <c:pt idx="43">
                  <c:v>0.7761724965029186</c:v>
                </c:pt>
                <c:pt idx="44">
                  <c:v>0.8089787756148765</c:v>
                </c:pt>
                <c:pt idx="45">
                  <c:v>0.7943443500082926</c:v>
                </c:pt>
                <c:pt idx="46">
                  <c:v>0.7745078724174759</c:v>
                </c:pt>
                <c:pt idx="47">
                  <c:v>0.7734955753891242</c:v>
                </c:pt>
                <c:pt idx="48">
                  <c:v>0.8243405097451532</c:v>
                </c:pt>
                <c:pt idx="49">
                  <c:v>0.8520123850618351</c:v>
                </c:pt>
                <c:pt idx="50">
                  <c:v>0.8218863272895549</c:v>
                </c:pt>
                <c:pt idx="51">
                  <c:v>0.8060690261648781</c:v>
                </c:pt>
              </c:numCache>
            </c:numRef>
          </c:xVal>
          <c:yVal>
            <c:numRef>
              <c:f>Sheet1!$B$109:$B$160</c:f>
              <c:numCache>
                <c:formatCode>General</c:formatCode>
                <c:ptCount val="52"/>
                <c:pt idx="0">
                  <c:v>0.18213925327951563</c:v>
                </c:pt>
                <c:pt idx="1">
                  <c:v>0.17634466149317635</c:v>
                </c:pt>
                <c:pt idx="2">
                  <c:v>0.19499063670411984</c:v>
                </c:pt>
                <c:pt idx="3">
                  <c:v>0.21715749039692703</c:v>
                </c:pt>
                <c:pt idx="4">
                  <c:v>0.2023777357470954</c:v>
                </c:pt>
                <c:pt idx="5">
                  <c:v>0.20565832426550598</c:v>
                </c:pt>
                <c:pt idx="6">
                  <c:v>0.22931985294117646</c:v>
                </c:pt>
                <c:pt idx="7">
                  <c:v>0.22837796244998462</c:v>
                </c:pt>
                <c:pt idx="8">
                  <c:v>0.21691176470588236</c:v>
                </c:pt>
                <c:pt idx="9">
                  <c:v>0.21592592592592594</c:v>
                </c:pt>
                <c:pt idx="10">
                  <c:v>0.22439024390243903</c:v>
                </c:pt>
                <c:pt idx="11">
                  <c:v>0.21461286804798255</c:v>
                </c:pt>
                <c:pt idx="12">
                  <c:v>0.21359715880263824</c:v>
                </c:pt>
                <c:pt idx="13">
                  <c:v>0.2073036792970895</c:v>
                </c:pt>
                <c:pt idx="14">
                  <c:v>0.21313469139556096</c:v>
                </c:pt>
                <c:pt idx="15">
                  <c:v>0.1993844049247606</c:v>
                </c:pt>
                <c:pt idx="16">
                  <c:v>0.1974933535890619</c:v>
                </c:pt>
                <c:pt idx="17">
                  <c:v>0.19714867617107942</c:v>
                </c:pt>
                <c:pt idx="18">
                  <c:v>0.19760479041916168</c:v>
                </c:pt>
                <c:pt idx="19">
                  <c:v>0.18483855872718766</c:v>
                </c:pt>
                <c:pt idx="20">
                  <c:v>0.17971623751970572</c:v>
                </c:pt>
                <c:pt idx="21">
                  <c:v>0.2047808764940239</c:v>
                </c:pt>
                <c:pt idx="22">
                  <c:v>0.18311981914091938</c:v>
                </c:pt>
                <c:pt idx="23">
                  <c:v>0.19060967063770148</c:v>
                </c:pt>
                <c:pt idx="24">
                  <c:v>0.19221698113207547</c:v>
                </c:pt>
                <c:pt idx="25">
                  <c:v>0.19323076923076923</c:v>
                </c:pt>
                <c:pt idx="26">
                  <c:v>0.18766901027582478</c:v>
                </c:pt>
                <c:pt idx="27">
                  <c:v>0.18951241950321987</c:v>
                </c:pt>
                <c:pt idx="28">
                  <c:v>0.17715355805243446</c:v>
                </c:pt>
                <c:pt idx="29">
                  <c:v>0.19234543670264967</c:v>
                </c:pt>
                <c:pt idx="30">
                  <c:v>0.19127849355797819</c:v>
                </c:pt>
                <c:pt idx="31">
                  <c:v>0.20192307692307693</c:v>
                </c:pt>
                <c:pt idx="32">
                  <c:v>0.18228941684665226</c:v>
                </c:pt>
                <c:pt idx="33">
                  <c:v>0.1923444976076555</c:v>
                </c:pt>
                <c:pt idx="34">
                  <c:v>0.2072155411655874</c:v>
                </c:pt>
                <c:pt idx="35">
                  <c:v>0.19012198750371914</c:v>
                </c:pt>
                <c:pt idx="36">
                  <c:v>0.20293951384963257</c:v>
                </c:pt>
                <c:pt idx="37">
                  <c:v>0.2001000500250125</c:v>
                </c:pt>
                <c:pt idx="38">
                  <c:v>0.1930851063829787</c:v>
                </c:pt>
                <c:pt idx="39">
                  <c:v>0.20315505963832242</c:v>
                </c:pt>
                <c:pt idx="40">
                  <c:v>0.17937608318890816</c:v>
                </c:pt>
                <c:pt idx="41">
                  <c:v>0.18011409942950285</c:v>
                </c:pt>
                <c:pt idx="42">
                  <c:v>0.1908256880733945</c:v>
                </c:pt>
                <c:pt idx="43">
                  <c:v>0.17228103946102022</c:v>
                </c:pt>
                <c:pt idx="44">
                  <c:v>0.1738203145827779</c:v>
                </c:pt>
                <c:pt idx="45">
                  <c:v>0.19491983426409656</c:v>
                </c:pt>
                <c:pt idx="46">
                  <c:v>0.1991918231518897</c:v>
                </c:pt>
                <c:pt idx="47">
                  <c:v>0.20935412026726058</c:v>
                </c:pt>
                <c:pt idx="48">
                  <c:v>0.20034843205574912</c:v>
                </c:pt>
                <c:pt idx="49">
                  <c:v>0.20167910447761195</c:v>
                </c:pt>
                <c:pt idx="50">
                  <c:v>0.20860138193948058</c:v>
                </c:pt>
                <c:pt idx="51">
                  <c:v>0.197306672107733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0408224108718037</c:v>
                </c:pt>
              </c:numCache>
            </c:numRef>
          </c:xVal>
          <c:yVal>
            <c:numRef>
              <c:f>Sheet1!$B$163:$B$164</c:f>
              <c:numCache>
                <c:formatCode>General</c:formatCode>
                <c:ptCount val="2"/>
                <c:pt idx="0">
                  <c:v>0.22215559910954946</c:v>
                </c:pt>
                <c:pt idx="1">
                  <c:v>0.222155599109549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0408224108718037</c:v>
                </c:pt>
                <c:pt idx="1">
                  <c:v>0.020408224108718037</c:v>
                </c:pt>
              </c:numCache>
            </c:numRef>
          </c:xVal>
          <c:yVal>
            <c:numRef>
              <c:f>Sheet1!$B$167:$B$168</c:f>
              <c:numCache>
                <c:formatCode>General</c:formatCode>
                <c:ptCount val="2"/>
                <c:pt idx="0">
                  <c:v>0.222155599109549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862624104666424</c:v>
                </c:pt>
              </c:numCache>
            </c:numRef>
          </c:xVal>
          <c:yVal>
            <c:numRef>
              <c:f>Sheet1!$B$171:$B$172</c:f>
              <c:numCache>
                <c:formatCode>General</c:formatCode>
                <c:ptCount val="2"/>
                <c:pt idx="0">
                  <c:v>0.20591974244259817</c:v>
                </c:pt>
                <c:pt idx="1">
                  <c:v>0.205919742442598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862624104666424</c:v>
                </c:pt>
                <c:pt idx="1">
                  <c:v>0.47862624104666424</c:v>
                </c:pt>
              </c:numCache>
            </c:numRef>
          </c:xVal>
          <c:yVal>
            <c:numRef>
              <c:f>Sheet1!$B$175:$B$176</c:f>
              <c:numCache>
                <c:formatCode>General</c:formatCode>
                <c:ptCount val="2"/>
                <c:pt idx="0">
                  <c:v>0.205919742442598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389701687850137</c:v>
                </c:pt>
              </c:numCache>
            </c:numRef>
          </c:xVal>
          <c:yVal>
            <c:numRef>
              <c:f>Sheet1!$B$179:$B$180</c:f>
              <c:numCache>
                <c:formatCode>General</c:formatCode>
                <c:ptCount val="2"/>
                <c:pt idx="0">
                  <c:v>0.19315181943367293</c:v>
                </c:pt>
                <c:pt idx="1">
                  <c:v>0.193151819433672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389701687850137</c:v>
                </c:pt>
                <c:pt idx="1">
                  <c:v>0.8389701687850137</c:v>
                </c:pt>
              </c:numCache>
            </c:numRef>
          </c:xVal>
          <c:yVal>
            <c:numRef>
              <c:f>Sheet1!$B$183:$B$184</c:f>
              <c:numCache>
                <c:formatCode>General</c:formatCode>
                <c:ptCount val="2"/>
                <c:pt idx="0">
                  <c:v>0.193151819433672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271405468168926</c:v>
                </c:pt>
                <c:pt idx="1">
                  <c:v>0.68907867968412</c:v>
                </c:pt>
                <c:pt idx="2">
                  <c:v>0.7066446224632583</c:v>
                </c:pt>
                <c:pt idx="3">
                  <c:v>0.6628280055802648</c:v>
                </c:pt>
                <c:pt idx="4">
                  <c:v>0.6745719969289222</c:v>
                </c:pt>
                <c:pt idx="5">
                  <c:v>0.7061533291280014</c:v>
                </c:pt>
                <c:pt idx="6">
                  <c:v>0.6819284730695366</c:v>
                </c:pt>
                <c:pt idx="7">
                  <c:v>0.6822128758657006</c:v>
                </c:pt>
                <c:pt idx="8">
                  <c:v>0.7072431367336878</c:v>
                </c:pt>
                <c:pt idx="9">
                  <c:v>0.6855933876931566</c:v>
                </c:pt>
                <c:pt idx="10">
                  <c:v>0.6939067124764312</c:v>
                </c:pt>
                <c:pt idx="11">
                  <c:v>0.7028795170738685</c:v>
                </c:pt>
                <c:pt idx="12">
                  <c:v>0.7161478056788955</c:v>
                </c:pt>
                <c:pt idx="13">
                  <c:v>0.6773864124802234</c:v>
                </c:pt>
                <c:pt idx="14">
                  <c:v>0.6623701371015311</c:v>
                </c:pt>
                <c:pt idx="15">
                  <c:v>0.6829915790984935</c:v>
                </c:pt>
                <c:pt idx="16">
                  <c:v>0.6966507731838947</c:v>
                </c:pt>
                <c:pt idx="17">
                  <c:v>0.689115407493209</c:v>
                </c:pt>
                <c:pt idx="18">
                  <c:v>0.6685115914455888</c:v>
                </c:pt>
                <c:pt idx="19">
                  <c:v>0.7107528734324392</c:v>
                </c:pt>
                <c:pt idx="20">
                  <c:v>0.6782149360287976</c:v>
                </c:pt>
                <c:pt idx="21">
                  <c:v>0.6181679576462981</c:v>
                </c:pt>
                <c:pt idx="22">
                  <c:v>0.6421239405332128</c:v>
                </c:pt>
                <c:pt idx="23">
                  <c:v>0.6752251422342891</c:v>
                </c:pt>
                <c:pt idx="24">
                  <c:v>0.6864935768978622</c:v>
                </c:pt>
                <c:pt idx="25">
                  <c:v>0.7144981925722487</c:v>
                </c:pt>
                <c:pt idx="26">
                  <c:v>0.6940874816800569</c:v>
                </c:pt>
                <c:pt idx="27">
                  <c:v>0.6922606456819979</c:v>
                </c:pt>
                <c:pt idx="28">
                  <c:v>0.7126488684987214</c:v>
                </c:pt>
                <c:pt idx="29">
                  <c:v>0.6524649938346786</c:v>
                </c:pt>
                <c:pt idx="30">
                  <c:v>0.6574181032082693</c:v>
                </c:pt>
                <c:pt idx="31">
                  <c:v>0.6533199851149071</c:v>
                </c:pt>
                <c:pt idx="32">
                  <c:v>0.6895214088600415</c:v>
                </c:pt>
                <c:pt idx="33">
                  <c:v>0.7080255343526815</c:v>
                </c:pt>
                <c:pt idx="34">
                  <c:v>0.7503878834694662</c:v>
                </c:pt>
                <c:pt idx="35">
                  <c:v>0.7386081130283672</c:v>
                </c:pt>
                <c:pt idx="36">
                  <c:v>0.6720983800977053</c:v>
                </c:pt>
                <c:pt idx="37">
                  <c:v>0.6526757980636296</c:v>
                </c:pt>
                <c:pt idx="38">
                  <c:v>0.6884851473981228</c:v>
                </c:pt>
                <c:pt idx="39">
                  <c:v>0.7133428716559052</c:v>
                </c:pt>
                <c:pt idx="40">
                  <c:v>0.7225383967777292</c:v>
                </c:pt>
                <c:pt idx="41">
                  <c:v>0.7394279754736212</c:v>
                </c:pt>
                <c:pt idx="42">
                  <c:v>0.7172253161289829</c:v>
                </c:pt>
                <c:pt idx="43">
                  <c:v>0.7761724965029186</c:v>
                </c:pt>
                <c:pt idx="44">
                  <c:v>0.8089787756148765</c:v>
                </c:pt>
                <c:pt idx="45">
                  <c:v>0.7943443500082926</c:v>
                </c:pt>
                <c:pt idx="46">
                  <c:v>0.7745078724174759</c:v>
                </c:pt>
                <c:pt idx="47">
                  <c:v>0.7734955753891242</c:v>
                </c:pt>
                <c:pt idx="48">
                  <c:v>0.8243405097451532</c:v>
                </c:pt>
                <c:pt idx="49">
                  <c:v>0.8520123850618351</c:v>
                </c:pt>
                <c:pt idx="50">
                  <c:v>0.8218863272895549</c:v>
                </c:pt>
                <c:pt idx="51">
                  <c:v>0.8060690261648781</c:v>
                </c:pt>
                <c:pt idx="52">
                  <c:v>0.47862624104666424</c:v>
                </c:pt>
                <c:pt idx="53">
                  <c:v>0.020408224108718037</c:v>
                </c:pt>
                <c:pt idx="54">
                  <c:v>0.8389701687850137</c:v>
                </c:pt>
              </c:numCache>
            </c:numRef>
          </c:xVal>
          <c:yVal>
            <c:numRef>
              <c:f>Sheet1!$B$187:$B$241</c:f>
              <c:numCache>
                <c:formatCode>General</c:formatCode>
                <c:ptCount val="55"/>
                <c:pt idx="0">
                  <c:v>0.19711423393131075</c:v>
                </c:pt>
                <c:pt idx="1">
                  <c:v>0.19846286492442144</c:v>
                </c:pt>
                <c:pt idx="2">
                  <c:v>0.19784045786350357</c:v>
                </c:pt>
                <c:pt idx="3">
                  <c:v>0.19939299461467053</c:v>
                </c:pt>
                <c:pt idx="4">
                  <c:v>0.1989768744422057</c:v>
                </c:pt>
                <c:pt idx="5">
                  <c:v>0.1978578656647637</c:v>
                </c:pt>
                <c:pt idx="6">
                  <c:v>0.19871621535029346</c:v>
                </c:pt>
                <c:pt idx="7">
                  <c:v>0.19870613821918226</c:v>
                </c:pt>
                <c:pt idx="8">
                  <c:v>0.19781925094551123</c:v>
                </c:pt>
                <c:pt idx="9">
                  <c:v>0.19858635788872236</c:v>
                </c:pt>
                <c:pt idx="10">
                  <c:v>0.19829179515958956</c:v>
                </c:pt>
                <c:pt idx="11">
                  <c:v>0.1979738653446118</c:v>
                </c:pt>
                <c:pt idx="12">
                  <c:v>0.19750373535398744</c:v>
                </c:pt>
                <c:pt idx="13">
                  <c:v>0.19887715237584627</c:v>
                </c:pt>
                <c:pt idx="14">
                  <c:v>0.19940921808628936</c:v>
                </c:pt>
                <c:pt idx="15">
                  <c:v>0.19867854673738458</c:v>
                </c:pt>
                <c:pt idx="16">
                  <c:v>0.1981945659484173</c:v>
                </c:pt>
                <c:pt idx="17">
                  <c:v>0.19846156356257616</c:v>
                </c:pt>
                <c:pt idx="18">
                  <c:v>0.19919161037823138</c:v>
                </c:pt>
                <c:pt idx="19">
                  <c:v>0.19769489184160594</c:v>
                </c:pt>
                <c:pt idx="20">
                  <c:v>0.19884779563062324</c:v>
                </c:pt>
                <c:pt idx="21">
                  <c:v>0.20097541632266125</c:v>
                </c:pt>
                <c:pt idx="22">
                  <c:v>0.20012659351323303</c:v>
                </c:pt>
                <c:pt idx="23">
                  <c:v>0.19895373180449036</c:v>
                </c:pt>
                <c:pt idx="24">
                  <c:v>0.19855446184282174</c:v>
                </c:pt>
                <c:pt idx="25">
                  <c:v>0.19756218543880605</c:v>
                </c:pt>
                <c:pt idx="26">
                  <c:v>0.19828539003632645</c:v>
                </c:pt>
                <c:pt idx="27">
                  <c:v>0.19835011958933862</c:v>
                </c:pt>
                <c:pt idx="28">
                  <c:v>0.19762771180284816</c:v>
                </c:pt>
                <c:pt idx="29">
                  <c:v>0.19976018308635834</c:v>
                </c:pt>
                <c:pt idx="30">
                  <c:v>0.19958468153279058</c:v>
                </c:pt>
                <c:pt idx="31">
                  <c:v>0.19972988852053128</c:v>
                </c:pt>
                <c:pt idx="32">
                  <c:v>0.19844717787769514</c:v>
                </c:pt>
                <c:pt idx="33">
                  <c:v>0.1977915285619973</c:v>
                </c:pt>
                <c:pt idx="34">
                  <c:v>0.19629052030193012</c:v>
                </c:pt>
                <c:pt idx="35">
                  <c:v>0.19670790822074077</c:v>
                </c:pt>
                <c:pt idx="36">
                  <c:v>0.19906452112312184</c:v>
                </c:pt>
                <c:pt idx="37">
                  <c:v>0.19975271374399398</c:v>
                </c:pt>
                <c:pt idx="38">
                  <c:v>0.19848389531774174</c:v>
                </c:pt>
                <c:pt idx="39">
                  <c:v>0.19760312146512696</c:v>
                </c:pt>
                <c:pt idx="40">
                  <c:v>0.1972773000824302</c:v>
                </c:pt>
                <c:pt idx="41">
                  <c:v>0.1966788583609454</c:v>
                </c:pt>
                <c:pt idx="42">
                  <c:v>0.19746555635495622</c:v>
                </c:pt>
                <c:pt idx="43">
                  <c:v>0.1953769043681406</c:v>
                </c:pt>
                <c:pt idx="44">
                  <c:v>0.19421449253414702</c:v>
                </c:pt>
                <c:pt idx="45">
                  <c:v>0.1947330283135549</c:v>
                </c:pt>
                <c:pt idx="46">
                  <c:v>0.19543588633099795</c:v>
                </c:pt>
                <c:pt idx="47">
                  <c:v>0.19547175464880556</c:v>
                </c:pt>
                <c:pt idx="48">
                  <c:v>0.19367018632121877</c:v>
                </c:pt>
                <c:pt idx="49">
                  <c:v>0.19268969977389858</c:v>
                </c:pt>
                <c:pt idx="50">
                  <c:v>0.19375714439163666</c:v>
                </c:pt>
                <c:pt idx="51">
                  <c:v>0.19431759252860514</c:v>
                </c:pt>
                <c:pt idx="52">
                  <c:v>0.20591974244259817</c:v>
                </c:pt>
                <c:pt idx="53">
                  <c:v>0.22215559910954946</c:v>
                </c:pt>
                <c:pt idx="54">
                  <c:v>0.193151819433672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64179104477613"/>
          <c:min val="0.105207145572025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2905</c:v>
                </c:pt>
                <c:pt idx="1">
                  <c:v>883.2667</c:v>
                </c:pt>
                <c:pt idx="2">
                  <c:v>919.6032</c:v>
                </c:pt>
                <c:pt idx="3">
                  <c:v>942.3913</c:v>
                </c:pt>
                <c:pt idx="4">
                  <c:v>951.4873</c:v>
                </c:pt>
                <c:pt idx="5">
                  <c:v>943.0823</c:v>
                </c:pt>
                <c:pt idx="6">
                  <c:v>883.3735</c:v>
                </c:pt>
                <c:pt idx="7">
                  <c:v>892.5051</c:v>
                </c:pt>
                <c:pt idx="8">
                  <c:v>888.3793</c:v>
                </c:pt>
                <c:pt idx="9">
                  <c:v>849.4446</c:v>
                </c:pt>
                <c:pt idx="10">
                  <c:v>837.9876</c:v>
                </c:pt>
                <c:pt idx="11">
                  <c:v>904.5237</c:v>
                </c:pt>
                <c:pt idx="12">
                  <c:v>924.9717</c:v>
                </c:pt>
                <c:pt idx="13">
                  <c:v>931.4335</c:v>
                </c:pt>
                <c:pt idx="14">
                  <c:v>910.9365</c:v>
                </c:pt>
                <c:pt idx="15">
                  <c:v>966.0071</c:v>
                </c:pt>
                <c:pt idx="16">
                  <c:v>994.2418</c:v>
                </c:pt>
                <c:pt idx="17">
                  <c:v>1022.4392</c:v>
                </c:pt>
                <c:pt idx="18">
                  <c:v>1073.3491</c:v>
                </c:pt>
                <c:pt idx="19">
                  <c:v>1014.4387</c:v>
                </c:pt>
                <c:pt idx="20">
                  <c:v>1096.6648</c:v>
                </c:pt>
                <c:pt idx="21">
                  <c:v>1092.6063</c:v>
                </c:pt>
                <c:pt idx="22">
                  <c:v>1021.9915</c:v>
                </c:pt>
                <c:pt idx="23">
                  <c:v>1017.0199</c:v>
                </c:pt>
                <c:pt idx="24">
                  <c:v>1035.592</c:v>
                </c:pt>
                <c:pt idx="25">
                  <c:v>1005.7624</c:v>
                </c:pt>
                <c:pt idx="26">
                  <c:v>993.02</c:v>
                </c:pt>
                <c:pt idx="27">
                  <c:v>1005.0696</c:v>
                </c:pt>
                <c:pt idx="28">
                  <c:v>1013.7739</c:v>
                </c:pt>
                <c:pt idx="29">
                  <c:v>989.2563</c:v>
                </c:pt>
                <c:pt idx="30">
                  <c:v>995.7762</c:v>
                </c:pt>
                <c:pt idx="31">
                  <c:v>981.1793</c:v>
                </c:pt>
                <c:pt idx="32">
                  <c:v>944.9668</c:v>
                </c:pt>
                <c:pt idx="33">
                  <c:v>906.3229</c:v>
                </c:pt>
                <c:pt idx="34">
                  <c:v>932.8498</c:v>
                </c:pt>
                <c:pt idx="35">
                  <c:v>967.4428</c:v>
                </c:pt>
                <c:pt idx="36">
                  <c:v>1059.8216</c:v>
                </c:pt>
                <c:pt idx="37">
                  <c:v>1083.6041</c:v>
                </c:pt>
                <c:pt idx="38">
                  <c:v>1147.1009</c:v>
                </c:pt>
                <c:pt idx="39">
                  <c:v>1146.1065</c:v>
                </c:pt>
                <c:pt idx="40">
                  <c:v>1133.4858</c:v>
                </c:pt>
                <c:pt idx="41">
                  <c:v>1186.2199</c:v>
                </c:pt>
                <c:pt idx="42">
                  <c:v>1200.9266</c:v>
                </c:pt>
                <c:pt idx="43">
                  <c:v>1208.7482</c:v>
                </c:pt>
                <c:pt idx="44">
                  <c:v>1129.7876</c:v>
                </c:pt>
                <c:pt idx="45">
                  <c:v>1091.5848</c:v>
                </c:pt>
                <c:pt idx="46">
                  <c:v>1086.4864</c:v>
                </c:pt>
                <c:pt idx="47">
                  <c:v>1070.1435</c:v>
                </c:pt>
                <c:pt idx="48">
                  <c:v>1072.95</c:v>
                </c:pt>
                <c:pt idx="49">
                  <c:v>1039.9611</c:v>
                </c:pt>
                <c:pt idx="50">
                  <c:v>1031.1125</c:v>
                </c:pt>
                <c:pt idx="51">
                  <c:v>1048.1569</c:v>
                </c:pt>
                <c:pt idx="52">
                  <c:v>1070.0215</c:v>
                </c:pt>
                <c:pt idx="53">
                  <c:v>1164.2723</c:v>
                </c:pt>
                <c:pt idx="54">
                  <c:v>1135.5958</c:v>
                </c:pt>
                <c:pt idx="55">
                  <c:v>1159.6054</c:v>
                </c:pt>
                <c:pt idx="56">
                  <c:v>1178.477</c:v>
                </c:pt>
                <c:pt idx="57">
                  <c:v>1140.5893</c:v>
                </c:pt>
                <c:pt idx="58">
                  <c:v>1058.6828</c:v>
                </c:pt>
                <c:pt idx="59">
                  <c:v>1087.7736</c:v>
                </c:pt>
                <c:pt idx="60">
                  <c:v>1110.8086</c:v>
                </c:pt>
                <c:pt idx="61">
                  <c:v>1125.4549</c:v>
                </c:pt>
                <c:pt idx="62">
                  <c:v>1042.5572</c:v>
                </c:pt>
                <c:pt idx="63">
                  <c:v>1076.7589</c:v>
                </c:pt>
                <c:pt idx="64">
                  <c:v>1094.1515</c:v>
                </c:pt>
                <c:pt idx="65">
                  <c:v>1082.8833</c:v>
                </c:pt>
                <c:pt idx="66">
                  <c:v>1099.6348</c:v>
                </c:pt>
                <c:pt idx="67">
                  <c:v>1120.7514</c:v>
                </c:pt>
                <c:pt idx="68">
                  <c:v>1148.8511</c:v>
                </c:pt>
                <c:pt idx="69">
                  <c:v>1204.055</c:v>
                </c:pt>
                <c:pt idx="70">
                  <c:v>1182.9769</c:v>
                </c:pt>
                <c:pt idx="71">
                  <c:v>1265.8868</c:v>
                </c:pt>
                <c:pt idx="72">
                  <c:v>1333.254</c:v>
                </c:pt>
                <c:pt idx="73">
                  <c:v>1305.4564</c:v>
                </c:pt>
                <c:pt idx="74">
                  <c:v>1277.389</c:v>
                </c:pt>
                <c:pt idx="75">
                  <c:v>1236.3747</c:v>
                </c:pt>
                <c:pt idx="76">
                  <c:v>1244.4324</c:v>
                </c:pt>
                <c:pt idx="77">
                  <c:v>1237.6771</c:v>
                </c:pt>
                <c:pt idx="78">
                  <c:v>1282.9481</c:v>
                </c:pt>
                <c:pt idx="79">
                  <c:v>1204.7229</c:v>
                </c:pt>
                <c:pt idx="80">
                  <c:v>1241.474</c:v>
                </c:pt>
                <c:pt idx="81">
                  <c:v>1196.9908</c:v>
                </c:pt>
                <c:pt idx="82">
                  <c:v>1219.8127</c:v>
                </c:pt>
                <c:pt idx="83">
                  <c:v>1206.7432</c:v>
                </c:pt>
                <c:pt idx="84">
                  <c:v>1215.6014</c:v>
                </c:pt>
                <c:pt idx="85">
                  <c:v>1171.1796</c:v>
                </c:pt>
                <c:pt idx="86">
                  <c:v>1179.3932</c:v>
                </c:pt>
                <c:pt idx="87">
                  <c:v>1175.2107</c:v>
                </c:pt>
                <c:pt idx="88">
                  <c:v>1221.6247</c:v>
                </c:pt>
                <c:pt idx="89">
                  <c:v>1204.5498</c:v>
                </c:pt>
                <c:pt idx="90">
                  <c:v>1280.1326</c:v>
                </c:pt>
                <c:pt idx="91">
                  <c:v>1301.3343</c:v>
                </c:pt>
                <c:pt idx="92">
                  <c:v>1240.3086</c:v>
                </c:pt>
                <c:pt idx="93">
                  <c:v>1290.9646</c:v>
                </c:pt>
                <c:pt idx="94">
                  <c:v>1278.4939</c:v>
                </c:pt>
                <c:pt idx="95">
                  <c:v>1220.6321</c:v>
                </c:pt>
                <c:pt idx="96">
                  <c:v>1160.8648</c:v>
                </c:pt>
                <c:pt idx="97">
                  <c:v>1136.1897</c:v>
                </c:pt>
                <c:pt idx="98">
                  <c:v>1137.1797</c:v>
                </c:pt>
                <c:pt idx="99">
                  <c:v>1109.7362</c:v>
                </c:pt>
                <c:pt idx="100">
                  <c:v>1107.4146</c:v>
                </c:pt>
                <c:pt idx="101">
                  <c:v>1110.0049</c:v>
                </c:pt>
                <c:pt idx="102">
                  <c:v>1128.7205</c:v>
                </c:pt>
                <c:pt idx="103">
                  <c:v>1121.6344</c:v>
                </c:pt>
                <c:pt idx="104">
                  <c:v>1177.2206</c:v>
                </c:pt>
              </c:numCache>
            </c:numRef>
          </c:xVal>
          <c:yVal>
            <c:numRef>
              <c:f>Sheet1!$B$2:$B$106</c:f>
              <c:numCache>
                <c:formatCode>General</c:formatCode>
                <c:ptCount val="105"/>
                <c:pt idx="0">
                  <c:v>0.211340206185567</c:v>
                </c:pt>
                <c:pt idx="1">
                  <c:v>0.20778881338212232</c:v>
                </c:pt>
                <c:pt idx="2">
                  <c:v>0.19763513513513514</c:v>
                </c:pt>
                <c:pt idx="3">
                  <c:v>0.20335536349771224</c:v>
                </c:pt>
                <c:pt idx="4">
                  <c:v>0.20186522262334536</c:v>
                </c:pt>
                <c:pt idx="5">
                  <c:v>0.21347217702570778</c:v>
                </c:pt>
                <c:pt idx="6">
                  <c:v>0.2525354969574036</c:v>
                </c:pt>
                <c:pt idx="7">
                  <c:v>0.25170648464163825</c:v>
                </c:pt>
                <c:pt idx="8">
                  <c:v>0.25970149253731345</c:v>
                </c:pt>
                <c:pt idx="9">
                  <c:v>0.24624348359398956</c:v>
                </c:pt>
                <c:pt idx="10">
                  <c:v>0.2464209564422784</c:v>
                </c:pt>
                <c:pt idx="11">
                  <c:v>0.2197281062282643</c:v>
                </c:pt>
                <c:pt idx="12">
                  <c:v>0.2031164570803718</c:v>
                </c:pt>
                <c:pt idx="13">
                  <c:v>0.19739921976592978</c:v>
                </c:pt>
                <c:pt idx="14">
                  <c:v>0.1933884297520661</c:v>
                </c:pt>
                <c:pt idx="15">
                  <c:v>0.16248919619706137</c:v>
                </c:pt>
                <c:pt idx="16">
                  <c:v>0.15853658536585366</c:v>
                </c:pt>
                <c:pt idx="17">
                  <c:v>0.13979289940828402</c:v>
                </c:pt>
                <c:pt idx="18">
                  <c:v>0.13844144536351763</c:v>
                </c:pt>
                <c:pt idx="19">
                  <c:v>0.1460369163952226</c:v>
                </c:pt>
                <c:pt idx="20">
                  <c:v>0.1463917525773196</c:v>
                </c:pt>
                <c:pt idx="21">
                  <c:v>0.15403274711946635</c:v>
                </c:pt>
                <c:pt idx="22">
                  <c:v>0.18927613941018767</c:v>
                </c:pt>
                <c:pt idx="23">
                  <c:v>0.18487394957983194</c:v>
                </c:pt>
                <c:pt idx="24">
                  <c:v>0.18585298196948682</c:v>
                </c:pt>
                <c:pt idx="25">
                  <c:v>0.19749045280960176</c:v>
                </c:pt>
                <c:pt idx="26">
                  <c:v>0.22551481667503767</c:v>
                </c:pt>
                <c:pt idx="27">
                  <c:v>0.22032413491020586</c:v>
                </c:pt>
                <c:pt idx="28">
                  <c:v>0.21594982078853048</c:v>
                </c:pt>
                <c:pt idx="29">
                  <c:v>0.21607022282241728</c:v>
                </c:pt>
                <c:pt idx="30">
                  <c:v>0.22568460812086874</c:v>
                </c:pt>
                <c:pt idx="31">
                  <c:v>0.22551662174303683</c:v>
                </c:pt>
                <c:pt idx="32">
                  <c:v>0.24046140195208518</c:v>
                </c:pt>
                <c:pt idx="33">
                  <c:v>0.25134196400378905</c:v>
                </c:pt>
                <c:pt idx="34">
                  <c:v>0.23407371247254088</c:v>
                </c:pt>
                <c:pt idx="35">
                  <c:v>0.24631396357328708</c:v>
                </c:pt>
                <c:pt idx="36">
                  <c:v>0.2121501272264631</c:v>
                </c:pt>
                <c:pt idx="37">
                  <c:v>0.2128594249201278</c:v>
                </c:pt>
                <c:pt idx="38">
                  <c:v>0.190749079001228</c:v>
                </c:pt>
                <c:pt idx="39">
                  <c:v>0.18608414239482202</c:v>
                </c:pt>
                <c:pt idx="40">
                  <c:v>0.2047604516325908</c:v>
                </c:pt>
                <c:pt idx="41">
                  <c:v>0.1799847792998478</c:v>
                </c:pt>
                <c:pt idx="42">
                  <c:v>0.17341606792945788</c:v>
                </c:pt>
                <c:pt idx="43">
                  <c:v>0.1665200820873644</c:v>
                </c:pt>
                <c:pt idx="44">
                  <c:v>0.18451066961000737</c:v>
                </c:pt>
                <c:pt idx="45">
                  <c:v>0.20003460806367884</c:v>
                </c:pt>
                <c:pt idx="46">
                  <c:v>0.2047982205274865</c:v>
                </c:pt>
                <c:pt idx="47">
                  <c:v>0.18240530633618432</c:v>
                </c:pt>
                <c:pt idx="48">
                  <c:v>0.18769564170479172</c:v>
                </c:pt>
                <c:pt idx="49">
                  <c:v>0.20142630744849446</c:v>
                </c:pt>
                <c:pt idx="50">
                  <c:v>0.19508340649692713</c:v>
                </c:pt>
                <c:pt idx="51">
                  <c:v>0.18320419895026244</c:v>
                </c:pt>
                <c:pt idx="52">
                  <c:v>0.18168307635147687</c:v>
                </c:pt>
                <c:pt idx="53">
                  <c:v>0.17057827244132592</c:v>
                </c:pt>
                <c:pt idx="54">
                  <c:v>0.17422766490397995</c:v>
                </c:pt>
                <c:pt idx="55">
                  <c:v>0.1706966033390904</c:v>
                </c:pt>
                <c:pt idx="56">
                  <c:v>0.16746871992300288</c:v>
                </c:pt>
                <c:pt idx="57">
                  <c:v>0.17371020856201977</c:v>
                </c:pt>
                <c:pt idx="58">
                  <c:v>0.20409145607701565</c:v>
                </c:pt>
                <c:pt idx="59">
                  <c:v>0.1961670302274852</c:v>
                </c:pt>
                <c:pt idx="60">
                  <c:v>0.20498118616735353</c:v>
                </c:pt>
                <c:pt idx="61">
                  <c:v>0.19496195224350565</c:v>
                </c:pt>
                <c:pt idx="62">
                  <c:v>0.20776470588235293</c:v>
                </c:pt>
                <c:pt idx="63">
                  <c:v>0.21932173136992414</c:v>
                </c:pt>
                <c:pt idx="64">
                  <c:v>0.20242179616548941</c:v>
                </c:pt>
                <c:pt idx="65">
                  <c:v>0.18627450980392157</c:v>
                </c:pt>
                <c:pt idx="66">
                  <c:v>0.18705357142857143</c:v>
                </c:pt>
                <c:pt idx="67">
                  <c:v>0.16599007668019847</c:v>
                </c:pt>
                <c:pt idx="68">
                  <c:v>0.1526803255683413</c:v>
                </c:pt>
                <c:pt idx="69">
                  <c:v>0.1475467702082598</c:v>
                </c:pt>
                <c:pt idx="70">
                  <c:v>0.15346358792184725</c:v>
                </c:pt>
                <c:pt idx="71">
                  <c:v>0.15806988352745424</c:v>
                </c:pt>
                <c:pt idx="72">
                  <c:v>0.15816141874773795</c:v>
                </c:pt>
                <c:pt idx="73">
                  <c:v>0.16182405165456012</c:v>
                </c:pt>
                <c:pt idx="74">
                  <c:v>0.16117605384342898</c:v>
                </c:pt>
                <c:pt idx="75">
                  <c:v>0.18201193520886616</c:v>
                </c:pt>
                <c:pt idx="76">
                  <c:v>0.17262830482115085</c:v>
                </c:pt>
                <c:pt idx="77">
                  <c:v>0.16267281105990783</c:v>
                </c:pt>
                <c:pt idx="78">
                  <c:v>0.16004742145820983</c:v>
                </c:pt>
                <c:pt idx="79">
                  <c:v>0.14204545454545456</c:v>
                </c:pt>
                <c:pt idx="80">
                  <c:v>0.1315089319650323</c:v>
                </c:pt>
                <c:pt idx="81">
                  <c:v>0.15290412876137158</c:v>
                </c:pt>
                <c:pt idx="82">
                  <c:v>0.15532544378698224</c:v>
                </c:pt>
                <c:pt idx="83">
                  <c:v>0.16114790286975716</c:v>
                </c:pt>
                <c:pt idx="84">
                  <c:v>0.15230352303523034</c:v>
                </c:pt>
                <c:pt idx="85">
                  <c:v>0.1760264275601699</c:v>
                </c:pt>
                <c:pt idx="86">
                  <c:v>0.18773171553758006</c:v>
                </c:pt>
                <c:pt idx="87">
                  <c:v>0.1912585244885307</c:v>
                </c:pt>
                <c:pt idx="88">
                  <c:v>0.19247404844290658</c:v>
                </c:pt>
                <c:pt idx="89">
                  <c:v>0.19600195026816186</c:v>
                </c:pt>
                <c:pt idx="90">
                  <c:v>0.1703529411764706</c:v>
                </c:pt>
                <c:pt idx="91">
                  <c:v>0.16318181818181818</c:v>
                </c:pt>
                <c:pt idx="92">
                  <c:v>0.17880794701986755</c:v>
                </c:pt>
                <c:pt idx="93">
                  <c:v>0.17087931648273408</c:v>
                </c:pt>
                <c:pt idx="94">
                  <c:v>0.17265886287625418</c:v>
                </c:pt>
                <c:pt idx="95">
                  <c:v>0.1805010564443103</c:v>
                </c:pt>
                <c:pt idx="96">
                  <c:v>0.19208817161975988</c:v>
                </c:pt>
                <c:pt idx="97">
                  <c:v>0.19881085098476403</c:v>
                </c:pt>
                <c:pt idx="98">
                  <c:v>0.19545032497678738</c:v>
                </c:pt>
                <c:pt idx="99">
                  <c:v>0.18923982869379016</c:v>
                </c:pt>
                <c:pt idx="100">
                  <c:v>0.1950203540660797</c:v>
                </c:pt>
                <c:pt idx="101">
                  <c:v>0.2040302267002519</c:v>
                </c:pt>
                <c:pt idx="102">
                  <c:v>0.18416968442834972</c:v>
                </c:pt>
                <c:pt idx="103">
                  <c:v>0.18588681032441393</c:v>
                </c:pt>
                <c:pt idx="104">
                  <c:v>0.1787564766839378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5983</c:v>
                </c:pt>
                <c:pt idx="1">
                  <c:v>1220.0455</c:v>
                </c:pt>
                <c:pt idx="2">
                  <c:v>1226.8824</c:v>
                </c:pt>
                <c:pt idx="3">
                  <c:v>1191.941</c:v>
                </c:pt>
                <c:pt idx="4">
                  <c:v>1211.4312</c:v>
                </c:pt>
                <c:pt idx="5">
                  <c:v>1230.0595</c:v>
                </c:pt>
                <c:pt idx="6">
                  <c:v>1102.2565</c:v>
                </c:pt>
                <c:pt idx="7">
                  <c:v>1120.2385</c:v>
                </c:pt>
                <c:pt idx="8">
                  <c:v>1194.0847</c:v>
                </c:pt>
                <c:pt idx="9">
                  <c:v>1147.0652</c:v>
                </c:pt>
                <c:pt idx="10">
                  <c:v>1154.8509</c:v>
                </c:pt>
                <c:pt idx="11">
                  <c:v>1027.997</c:v>
                </c:pt>
                <c:pt idx="12">
                  <c:v>1074.4382</c:v>
                </c:pt>
                <c:pt idx="13">
                  <c:v>1147.1377</c:v>
                </c:pt>
                <c:pt idx="14">
                  <c:v>1121.4608</c:v>
                </c:pt>
                <c:pt idx="15">
                  <c:v>1173.1355</c:v>
                </c:pt>
                <c:pt idx="16">
                  <c:v>1176.3615</c:v>
                </c:pt>
                <c:pt idx="17">
                  <c:v>1161.5331</c:v>
                </c:pt>
                <c:pt idx="18">
                  <c:v>1135.4773</c:v>
                </c:pt>
                <c:pt idx="19">
                  <c:v>1311.838</c:v>
                </c:pt>
                <c:pt idx="20">
                  <c:v>1320.4269</c:v>
                </c:pt>
                <c:pt idx="21">
                  <c:v>1170.4436</c:v>
                </c:pt>
                <c:pt idx="22">
                  <c:v>1245.2716</c:v>
                </c:pt>
                <c:pt idx="23">
                  <c:v>1224.0846</c:v>
                </c:pt>
                <c:pt idx="24">
                  <c:v>1237.2025</c:v>
                </c:pt>
                <c:pt idx="25">
                  <c:v>1187.5573</c:v>
                </c:pt>
                <c:pt idx="26">
                  <c:v>1204.2853</c:v>
                </c:pt>
                <c:pt idx="27">
                  <c:v>1189.8252</c:v>
                </c:pt>
                <c:pt idx="28">
                  <c:v>1227.9937</c:v>
                </c:pt>
                <c:pt idx="29">
                  <c:v>1216.125</c:v>
                </c:pt>
                <c:pt idx="30">
                  <c:v>1206.6503</c:v>
                </c:pt>
                <c:pt idx="31">
                  <c:v>1176.1003</c:v>
                </c:pt>
                <c:pt idx="32">
                  <c:v>1238.4976</c:v>
                </c:pt>
                <c:pt idx="33">
                  <c:v>1217.1194</c:v>
                </c:pt>
                <c:pt idx="34">
                  <c:v>1237.3996</c:v>
                </c:pt>
                <c:pt idx="35">
                  <c:v>1301.7465</c:v>
                </c:pt>
                <c:pt idx="36">
                  <c:v>1354.4429</c:v>
                </c:pt>
                <c:pt idx="37">
                  <c:v>1288.66</c:v>
                </c:pt>
                <c:pt idx="38">
                  <c:v>1355.7328</c:v>
                </c:pt>
                <c:pt idx="39">
                  <c:v>1270.0833</c:v>
                </c:pt>
                <c:pt idx="40">
                  <c:v>1298.5942</c:v>
                </c:pt>
                <c:pt idx="41">
                  <c:v>1346.9525</c:v>
                </c:pt>
                <c:pt idx="42">
                  <c:v>1347.1755</c:v>
                </c:pt>
                <c:pt idx="43">
                  <c:v>1324.4786</c:v>
                </c:pt>
                <c:pt idx="44">
                  <c:v>1242.2653</c:v>
                </c:pt>
                <c:pt idx="45">
                  <c:v>1182.0508</c:v>
                </c:pt>
                <c:pt idx="46">
                  <c:v>1187.6289</c:v>
                </c:pt>
                <c:pt idx="47">
                  <c:v>1162.0149</c:v>
                </c:pt>
                <c:pt idx="48">
                  <c:v>1155.6531</c:v>
                </c:pt>
                <c:pt idx="49">
                  <c:v>1181.543</c:v>
                </c:pt>
                <c:pt idx="50">
                  <c:v>1135.6019</c:v>
                </c:pt>
                <c:pt idx="51">
                  <c:v>1127.0786</c:v>
                </c:pt>
              </c:numCache>
            </c:numRef>
          </c:xVal>
          <c:yVal>
            <c:numRef>
              <c:f>Sheet1!$B$109:$B$160</c:f>
              <c:numCache>
                <c:formatCode>General</c:formatCode>
                <c:ptCount val="52"/>
                <c:pt idx="0">
                  <c:v>0.18213925327951563</c:v>
                </c:pt>
                <c:pt idx="1">
                  <c:v>0.17634466149317635</c:v>
                </c:pt>
                <c:pt idx="2">
                  <c:v>0.19499063670411984</c:v>
                </c:pt>
                <c:pt idx="3">
                  <c:v>0.21715749039692703</c:v>
                </c:pt>
                <c:pt idx="4">
                  <c:v>0.2023777357470954</c:v>
                </c:pt>
                <c:pt idx="5">
                  <c:v>0.20565832426550598</c:v>
                </c:pt>
                <c:pt idx="6">
                  <c:v>0.22931985294117646</c:v>
                </c:pt>
                <c:pt idx="7">
                  <c:v>0.22837796244998462</c:v>
                </c:pt>
                <c:pt idx="8">
                  <c:v>0.21691176470588236</c:v>
                </c:pt>
                <c:pt idx="9">
                  <c:v>0.21592592592592594</c:v>
                </c:pt>
                <c:pt idx="10">
                  <c:v>0.22439024390243903</c:v>
                </c:pt>
                <c:pt idx="11">
                  <c:v>0.21461286804798255</c:v>
                </c:pt>
                <c:pt idx="12">
                  <c:v>0.21359715880263824</c:v>
                </c:pt>
                <c:pt idx="13">
                  <c:v>0.2073036792970895</c:v>
                </c:pt>
                <c:pt idx="14">
                  <c:v>0.21313469139556096</c:v>
                </c:pt>
                <c:pt idx="15">
                  <c:v>0.1993844049247606</c:v>
                </c:pt>
                <c:pt idx="16">
                  <c:v>0.1974933535890619</c:v>
                </c:pt>
                <c:pt idx="17">
                  <c:v>0.19714867617107942</c:v>
                </c:pt>
                <c:pt idx="18">
                  <c:v>0.19760479041916168</c:v>
                </c:pt>
                <c:pt idx="19">
                  <c:v>0.18483855872718766</c:v>
                </c:pt>
                <c:pt idx="20">
                  <c:v>0.17971623751970572</c:v>
                </c:pt>
                <c:pt idx="21">
                  <c:v>0.2047808764940239</c:v>
                </c:pt>
                <c:pt idx="22">
                  <c:v>0.18311981914091938</c:v>
                </c:pt>
                <c:pt idx="23">
                  <c:v>0.19060967063770148</c:v>
                </c:pt>
                <c:pt idx="24">
                  <c:v>0.19221698113207547</c:v>
                </c:pt>
                <c:pt idx="25">
                  <c:v>0.19323076923076923</c:v>
                </c:pt>
                <c:pt idx="26">
                  <c:v>0.18766901027582478</c:v>
                </c:pt>
                <c:pt idx="27">
                  <c:v>0.18951241950321987</c:v>
                </c:pt>
                <c:pt idx="28">
                  <c:v>0.17715355805243446</c:v>
                </c:pt>
                <c:pt idx="29">
                  <c:v>0.19234543670264967</c:v>
                </c:pt>
                <c:pt idx="30">
                  <c:v>0.19127849355797819</c:v>
                </c:pt>
                <c:pt idx="31">
                  <c:v>0.20192307692307693</c:v>
                </c:pt>
                <c:pt idx="32">
                  <c:v>0.18228941684665226</c:v>
                </c:pt>
                <c:pt idx="33">
                  <c:v>0.1923444976076555</c:v>
                </c:pt>
                <c:pt idx="34">
                  <c:v>0.2072155411655874</c:v>
                </c:pt>
                <c:pt idx="35">
                  <c:v>0.19012198750371914</c:v>
                </c:pt>
                <c:pt idx="36">
                  <c:v>0.20293951384963257</c:v>
                </c:pt>
                <c:pt idx="37">
                  <c:v>0.2001000500250125</c:v>
                </c:pt>
                <c:pt idx="38">
                  <c:v>0.1930851063829787</c:v>
                </c:pt>
                <c:pt idx="39">
                  <c:v>0.20315505963832242</c:v>
                </c:pt>
                <c:pt idx="40">
                  <c:v>0.17937608318890816</c:v>
                </c:pt>
                <c:pt idx="41">
                  <c:v>0.18011409942950285</c:v>
                </c:pt>
                <c:pt idx="42">
                  <c:v>0.1908256880733945</c:v>
                </c:pt>
                <c:pt idx="43">
                  <c:v>0.17228103946102022</c:v>
                </c:pt>
                <c:pt idx="44">
                  <c:v>0.1738203145827779</c:v>
                </c:pt>
                <c:pt idx="45">
                  <c:v>0.19491983426409656</c:v>
                </c:pt>
                <c:pt idx="46">
                  <c:v>0.1991918231518897</c:v>
                </c:pt>
                <c:pt idx="47">
                  <c:v>0.20935412026726058</c:v>
                </c:pt>
                <c:pt idx="48">
                  <c:v>0.20034843205574912</c:v>
                </c:pt>
                <c:pt idx="49">
                  <c:v>0.20167910447761195</c:v>
                </c:pt>
                <c:pt idx="50">
                  <c:v>0.20860138193948058</c:v>
                </c:pt>
                <c:pt idx="51">
                  <c:v>0.197306672107733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1.9273728749921</c:v>
                </c:pt>
              </c:numCache>
            </c:numRef>
          </c:xVal>
          <c:yVal>
            <c:numRef>
              <c:f>Sheet1!$B$163:$B$164</c:f>
              <c:numCache>
                <c:formatCode>General</c:formatCode>
                <c:ptCount val="2"/>
                <c:pt idx="0">
                  <c:v>0.22215559910954946</c:v>
                </c:pt>
                <c:pt idx="1">
                  <c:v>0.222155599109549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1.9273728749921</c:v>
                </c:pt>
                <c:pt idx="1">
                  <c:v>1001.9273728749921</c:v>
                </c:pt>
              </c:numCache>
            </c:numRef>
          </c:xVal>
          <c:yVal>
            <c:numRef>
              <c:f>Sheet1!$B$167:$B$168</c:f>
              <c:numCache>
                <c:formatCode>General</c:formatCode>
                <c:ptCount val="2"/>
                <c:pt idx="0">
                  <c:v>0.222155599109549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0.0202433961804</c:v>
                </c:pt>
              </c:numCache>
            </c:numRef>
          </c:xVal>
          <c:yVal>
            <c:numRef>
              <c:f>Sheet1!$B$171:$B$172</c:f>
              <c:numCache>
                <c:formatCode>General</c:formatCode>
                <c:ptCount val="2"/>
                <c:pt idx="0">
                  <c:v>0.20591974244259817</c:v>
                </c:pt>
                <c:pt idx="1">
                  <c:v>0.205919742442598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0.0202433961804</c:v>
                </c:pt>
                <c:pt idx="1">
                  <c:v>1140.0202433961804</c:v>
                </c:pt>
              </c:numCache>
            </c:numRef>
          </c:xVal>
          <c:yVal>
            <c:numRef>
              <c:f>Sheet1!$B$175:$B$176</c:f>
              <c:numCache>
                <c:formatCode>General</c:formatCode>
                <c:ptCount val="2"/>
                <c:pt idx="0">
                  <c:v>0.205919742442598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8.616862291258</c:v>
                </c:pt>
              </c:numCache>
            </c:numRef>
          </c:xVal>
          <c:yVal>
            <c:numRef>
              <c:f>Sheet1!$B$179:$B$180</c:f>
              <c:numCache>
                <c:formatCode>General</c:formatCode>
                <c:ptCount val="2"/>
                <c:pt idx="0">
                  <c:v>0.19315181943367293</c:v>
                </c:pt>
                <c:pt idx="1">
                  <c:v>0.193151819433672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8.616862291258</c:v>
                </c:pt>
                <c:pt idx="1">
                  <c:v>1248.616862291258</c:v>
                </c:pt>
              </c:numCache>
            </c:numRef>
          </c:xVal>
          <c:yVal>
            <c:numRef>
              <c:f>Sheet1!$B$183:$B$184</c:f>
              <c:numCache>
                <c:formatCode>General</c:formatCode>
                <c:ptCount val="2"/>
                <c:pt idx="0">
                  <c:v>0.193151819433672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5983</c:v>
                </c:pt>
                <c:pt idx="1">
                  <c:v>1220.0455</c:v>
                </c:pt>
                <c:pt idx="2">
                  <c:v>1226.8824</c:v>
                </c:pt>
                <c:pt idx="3">
                  <c:v>1191.941</c:v>
                </c:pt>
                <c:pt idx="4">
                  <c:v>1211.4312</c:v>
                </c:pt>
                <c:pt idx="5">
                  <c:v>1230.0595</c:v>
                </c:pt>
                <c:pt idx="6">
                  <c:v>1102.2565</c:v>
                </c:pt>
                <c:pt idx="7">
                  <c:v>1120.2385</c:v>
                </c:pt>
                <c:pt idx="8">
                  <c:v>1194.0847</c:v>
                </c:pt>
                <c:pt idx="9">
                  <c:v>1147.0652</c:v>
                </c:pt>
                <c:pt idx="10">
                  <c:v>1154.8509</c:v>
                </c:pt>
                <c:pt idx="11">
                  <c:v>1027.997</c:v>
                </c:pt>
                <c:pt idx="12">
                  <c:v>1074.4382</c:v>
                </c:pt>
                <c:pt idx="13">
                  <c:v>1147.1377</c:v>
                </c:pt>
                <c:pt idx="14">
                  <c:v>1121.4608</c:v>
                </c:pt>
                <c:pt idx="15">
                  <c:v>1173.1355</c:v>
                </c:pt>
                <c:pt idx="16">
                  <c:v>1176.3615</c:v>
                </c:pt>
                <c:pt idx="17">
                  <c:v>1161.5331</c:v>
                </c:pt>
                <c:pt idx="18">
                  <c:v>1135.4773</c:v>
                </c:pt>
                <c:pt idx="19">
                  <c:v>1311.838</c:v>
                </c:pt>
                <c:pt idx="20">
                  <c:v>1320.4269</c:v>
                </c:pt>
                <c:pt idx="21">
                  <c:v>1170.4436</c:v>
                </c:pt>
                <c:pt idx="22">
                  <c:v>1245.2716</c:v>
                </c:pt>
                <c:pt idx="23">
                  <c:v>1224.0846</c:v>
                </c:pt>
                <c:pt idx="24">
                  <c:v>1237.2025</c:v>
                </c:pt>
                <c:pt idx="25">
                  <c:v>1187.5573</c:v>
                </c:pt>
                <c:pt idx="26">
                  <c:v>1204.2853</c:v>
                </c:pt>
                <c:pt idx="27">
                  <c:v>1189.8252</c:v>
                </c:pt>
                <c:pt idx="28">
                  <c:v>1227.9937</c:v>
                </c:pt>
                <c:pt idx="29">
                  <c:v>1216.125</c:v>
                </c:pt>
                <c:pt idx="30">
                  <c:v>1206.6503</c:v>
                </c:pt>
                <c:pt idx="31">
                  <c:v>1176.1003</c:v>
                </c:pt>
                <c:pt idx="32">
                  <c:v>1238.4976</c:v>
                </c:pt>
                <c:pt idx="33">
                  <c:v>1217.1194</c:v>
                </c:pt>
                <c:pt idx="34">
                  <c:v>1237.3996</c:v>
                </c:pt>
                <c:pt idx="35">
                  <c:v>1301.7465</c:v>
                </c:pt>
                <c:pt idx="36">
                  <c:v>1354.4429</c:v>
                </c:pt>
                <c:pt idx="37">
                  <c:v>1288.66</c:v>
                </c:pt>
                <c:pt idx="38">
                  <c:v>1355.7328</c:v>
                </c:pt>
                <c:pt idx="39">
                  <c:v>1270.0833</c:v>
                </c:pt>
                <c:pt idx="40">
                  <c:v>1298.5942</c:v>
                </c:pt>
                <c:pt idx="41">
                  <c:v>1346.9525</c:v>
                </c:pt>
                <c:pt idx="42">
                  <c:v>1347.1755</c:v>
                </c:pt>
                <c:pt idx="43">
                  <c:v>1324.4786</c:v>
                </c:pt>
                <c:pt idx="44">
                  <c:v>1242.2653</c:v>
                </c:pt>
                <c:pt idx="45">
                  <c:v>1182.0508</c:v>
                </c:pt>
                <c:pt idx="46">
                  <c:v>1187.6289</c:v>
                </c:pt>
                <c:pt idx="47">
                  <c:v>1162.0149</c:v>
                </c:pt>
                <c:pt idx="48">
                  <c:v>1155.6531</c:v>
                </c:pt>
                <c:pt idx="49">
                  <c:v>1181.543</c:v>
                </c:pt>
                <c:pt idx="50">
                  <c:v>1135.6019</c:v>
                </c:pt>
                <c:pt idx="51">
                  <c:v>1127.0786</c:v>
                </c:pt>
                <c:pt idx="52">
                  <c:v>1140.0202433961804</c:v>
                </c:pt>
                <c:pt idx="53">
                  <c:v>1001.9273728749921</c:v>
                </c:pt>
                <c:pt idx="54">
                  <c:v>1248.616862291258</c:v>
                </c:pt>
              </c:numCache>
            </c:numRef>
          </c:xVal>
          <c:yVal>
            <c:numRef>
              <c:f>Sheet1!$B$187:$B$241</c:f>
              <c:numCache>
                <c:formatCode>General</c:formatCode>
                <c:ptCount val="55"/>
                <c:pt idx="0">
                  <c:v>0.19656359019536168</c:v>
                </c:pt>
                <c:pt idx="1">
                  <c:v>0.19651101199147575</c:v>
                </c:pt>
                <c:pt idx="2">
                  <c:v>0.19570718390080508</c:v>
                </c:pt>
                <c:pt idx="3">
                  <c:v>0.19981531461024357</c:v>
                </c:pt>
                <c:pt idx="4">
                  <c:v>0.19752381257675042</c:v>
                </c:pt>
                <c:pt idx="5">
                  <c:v>0.19533364586063046</c:v>
                </c:pt>
                <c:pt idx="6">
                  <c:v>0.2103597017444351</c:v>
                </c:pt>
                <c:pt idx="7">
                  <c:v>0.20824552181984354</c:v>
                </c:pt>
                <c:pt idx="8">
                  <c:v>0.19956327548754604</c:v>
                </c:pt>
                <c:pt idx="9">
                  <c:v>0.20509145271835091</c:v>
                </c:pt>
                <c:pt idx="10">
                  <c:v>0.20417607230244098</c:v>
                </c:pt>
                <c:pt idx="11">
                  <c:v>0.2190905405894027</c:v>
                </c:pt>
                <c:pt idx="12">
                  <c:v>0.21363035525329205</c:v>
                </c:pt>
                <c:pt idx="13">
                  <c:v>0.20508292874746153</c:v>
                </c:pt>
                <c:pt idx="14">
                  <c:v>0.20810181354924914</c:v>
                </c:pt>
                <c:pt idx="15">
                  <c:v>0.2020263150869373</c:v>
                </c:pt>
                <c:pt idx="16">
                  <c:v>0.20164702777536284</c:v>
                </c:pt>
                <c:pt idx="17">
                  <c:v>0.20339043260206804</c:v>
                </c:pt>
                <c:pt idx="18">
                  <c:v>0.20645386543930377</c:v>
                </c:pt>
                <c:pt idx="19">
                  <c:v>0.18571878305542464</c:v>
                </c:pt>
                <c:pt idx="20">
                  <c:v>0.18470896879926157</c:v>
                </c:pt>
                <c:pt idx="21">
                  <c:v>0.2023428071867598</c:v>
                </c:pt>
                <c:pt idx="22">
                  <c:v>0.19354512865281823</c:v>
                </c:pt>
                <c:pt idx="23">
                  <c:v>0.19603612687672667</c:v>
                </c:pt>
                <c:pt idx="24">
                  <c:v>0.19449382897700473</c:v>
                </c:pt>
                <c:pt idx="25">
                  <c:v>0.20033071504042</c:v>
                </c:pt>
                <c:pt idx="26">
                  <c:v>0.1983639704192117</c:v>
                </c:pt>
                <c:pt idx="27">
                  <c:v>0.20006407347379887</c:v>
                </c:pt>
                <c:pt idx="28">
                  <c:v>0.19557652612357235</c:v>
                </c:pt>
                <c:pt idx="29">
                  <c:v>0.1969719530655699</c:v>
                </c:pt>
                <c:pt idx="30">
                  <c:v>0.1980859126101994</c:v>
                </c:pt>
                <c:pt idx="31">
                  <c:v>0.20167773758496707</c:v>
                </c:pt>
                <c:pt idx="32">
                  <c:v>0.1943415614639173</c:v>
                </c:pt>
                <c:pt idx="33">
                  <c:v>0.19685503945657123</c:v>
                </c:pt>
                <c:pt idx="34">
                  <c:v>0.19447065553338685</c:v>
                </c:pt>
                <c:pt idx="35">
                  <c:v>0.18690526101722063</c:v>
                </c:pt>
                <c:pt idx="36">
                  <c:v>0.18070963922997524</c:v>
                </c:pt>
                <c:pt idx="37">
                  <c:v>0.18844386715575737</c:v>
                </c:pt>
                <c:pt idx="38">
                  <c:v>0.18055798309135157</c:v>
                </c:pt>
                <c:pt idx="39">
                  <c:v>0.19062796715604433</c:v>
                </c:pt>
                <c:pt idx="40">
                  <c:v>0.18727588327149103</c:v>
                </c:pt>
                <c:pt idx="41">
                  <c:v>0.18159030063066262</c:v>
                </c:pt>
                <c:pt idx="42">
                  <c:v>0.181564082071927</c:v>
                </c:pt>
                <c:pt idx="43">
                  <c:v>0.18423260227715793</c:v>
                </c:pt>
                <c:pt idx="44">
                  <c:v>0.19389858539329757</c:v>
                </c:pt>
                <c:pt idx="45">
                  <c:v>0.20097812532597017</c:v>
                </c:pt>
                <c:pt idx="46">
                  <c:v>0.20032229688434167</c:v>
                </c:pt>
                <c:pt idx="47">
                  <c:v>0.20333378640655767</c:v>
                </c:pt>
                <c:pt idx="48">
                  <c:v>0.20408175603420012</c:v>
                </c:pt>
                <c:pt idx="49">
                  <c:v>0.20103782839379955</c:v>
                </c:pt>
                <c:pt idx="50">
                  <c:v>0.2064392159665753</c:v>
                </c:pt>
                <c:pt idx="51">
                  <c:v>0.2074413174987336</c:v>
                </c:pt>
                <c:pt idx="52">
                  <c:v>0.20591974244259817</c:v>
                </c:pt>
                <c:pt idx="53">
                  <c:v>0.22215559910954946</c:v>
                </c:pt>
                <c:pt idx="54">
                  <c:v>0.193151819433672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7.0"/>
          <c:min val="62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164179104477613"/>
          <c:min val="0.105207145572025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42756065790589</c:v>
                </c:pt>
                <c:pt idx="1">
                  <c:v>0.6478487797418171</c:v>
                </c:pt>
                <c:pt idx="2">
                  <c:v>0.6681616475458526</c:v>
                </c:pt>
                <c:pt idx="3">
                  <c:v>0.6601034722979724</c:v>
                </c:pt>
                <c:pt idx="4">
                  <c:v>0.6704460006009416</c:v>
                </c:pt>
                <c:pt idx="5">
                  <c:v>0.6958767016361542</c:v>
                </c:pt>
                <c:pt idx="6">
                  <c:v>0.6473178537507015</c:v>
                </c:pt>
                <c:pt idx="7">
                  <c:v>0.6391364707295748</c:v>
                </c:pt>
                <c:pt idx="8">
                  <c:v>0.6545621357907576</c:v>
                </c:pt>
                <c:pt idx="9">
                  <c:v>0.7014822076491497</c:v>
                </c:pt>
                <c:pt idx="10">
                  <c:v>0.7164449051394688</c:v>
                </c:pt>
                <c:pt idx="11">
                  <c:v>0.7448018383737698</c:v>
                </c:pt>
                <c:pt idx="12">
                  <c:v>0.767044779968809</c:v>
                </c:pt>
                <c:pt idx="13">
                  <c:v>0.7390685413589624</c:v>
                </c:pt>
                <c:pt idx="14">
                  <c:v>0.7381878607481536</c:v>
                </c:pt>
                <c:pt idx="15">
                  <c:v>0.7581031950980136</c:v>
                </c:pt>
                <c:pt idx="16">
                  <c:v>0.7272298149522951</c:v>
                </c:pt>
                <c:pt idx="17">
                  <c:v>0.7507128142322582</c:v>
                </c:pt>
                <c:pt idx="18">
                  <c:v>0.7839048979057825</c:v>
                </c:pt>
                <c:pt idx="19">
                  <c:v>0.7843673266296958</c:v>
                </c:pt>
                <c:pt idx="20">
                  <c:v>0.812637691237726</c:v>
                </c:pt>
                <c:pt idx="21">
                  <c:v>0.6776723086384533</c:v>
                </c:pt>
                <c:pt idx="22">
                  <c:v>0.6371061209674048</c:v>
                </c:pt>
                <c:pt idx="23">
                  <c:v>0.634034213324278</c:v>
                </c:pt>
                <c:pt idx="24">
                  <c:v>0.6134632176550099</c:v>
                </c:pt>
                <c:pt idx="25">
                  <c:v>0.5879459218023415</c:v>
                </c:pt>
                <c:pt idx="26">
                  <c:v>0.60028710594691</c:v>
                </c:pt>
                <c:pt idx="27">
                  <c:v>0.6257190165265264</c:v>
                </c:pt>
                <c:pt idx="28">
                  <c:v>0.5949524155485617</c:v>
                </c:pt>
                <c:pt idx="29">
                  <c:v>0.5207913825580995</c:v>
                </c:pt>
                <c:pt idx="30">
                  <c:v>0.520697596877519</c:v>
                </c:pt>
                <c:pt idx="31">
                  <c:v>0.5915459447577588</c:v>
                </c:pt>
                <c:pt idx="32">
                  <c:v>0.528706080763249</c:v>
                </c:pt>
                <c:pt idx="33">
                  <c:v>0.5346448918530707</c:v>
                </c:pt>
                <c:pt idx="34">
                  <c:v>0.6463671260958636</c:v>
                </c:pt>
                <c:pt idx="35">
                  <c:v>0.7424456776489421</c:v>
                </c:pt>
                <c:pt idx="36">
                  <c:v>0.7434449315942816</c:v>
                </c:pt>
                <c:pt idx="37">
                  <c:v>0.699903809892127</c:v>
                </c:pt>
                <c:pt idx="38">
                  <c:v>0.7658706485470917</c:v>
                </c:pt>
                <c:pt idx="39">
                  <c:v>0.7578462416406136</c:v>
                </c:pt>
                <c:pt idx="40">
                  <c:v>0.7645162270382483</c:v>
                </c:pt>
                <c:pt idx="41">
                  <c:v>0.7322525846527551</c:v>
                </c:pt>
                <c:pt idx="42">
                  <c:v>0.7597227167436685</c:v>
                </c:pt>
                <c:pt idx="43">
                  <c:v>0.7761724855211689</c:v>
                </c:pt>
                <c:pt idx="44">
                  <c:v>0.6945852317979565</c:v>
                </c:pt>
                <c:pt idx="45">
                  <c:v>0.6795703261307207</c:v>
                </c:pt>
                <c:pt idx="46">
                  <c:v>0.6881499558387655</c:v>
                </c:pt>
                <c:pt idx="47">
                  <c:v>0.6809643313546447</c:v>
                </c:pt>
                <c:pt idx="48">
                  <c:v>0.6890667721956882</c:v>
                </c:pt>
                <c:pt idx="49">
                  <c:v>0.7026057676554393</c:v>
                </c:pt>
                <c:pt idx="50">
                  <c:v>0.6641612501228095</c:v>
                </c:pt>
                <c:pt idx="51">
                  <c:v>0.6517996158943979</c:v>
                </c:pt>
                <c:pt idx="52">
                  <c:v>0.6883821312748367</c:v>
                </c:pt>
                <c:pt idx="53">
                  <c:v>0.6277565714629224</c:v>
                </c:pt>
                <c:pt idx="54">
                  <c:v>0.6236308283559399</c:v>
                </c:pt>
                <c:pt idx="55">
                  <c:v>0.6432192667429584</c:v>
                </c:pt>
                <c:pt idx="56">
                  <c:v>0.6454933460746655</c:v>
                </c:pt>
                <c:pt idx="57">
                  <c:v>0.6343298851625949</c:v>
                </c:pt>
                <c:pt idx="58">
                  <c:v>0.6147250198763498</c:v>
                </c:pt>
                <c:pt idx="59">
                  <c:v>0.6269508594143038</c:v>
                </c:pt>
                <c:pt idx="60">
                  <c:v>0.6222284458452125</c:v>
                </c:pt>
                <c:pt idx="61">
                  <c:v>0.6792316676021432</c:v>
                </c:pt>
                <c:pt idx="62">
                  <c:v>0.6934388695205888</c:v>
                </c:pt>
                <c:pt idx="63">
                  <c:v>0.70284190122984</c:v>
                </c:pt>
                <c:pt idx="64">
                  <c:v>0.763915469972403</c:v>
                </c:pt>
                <c:pt idx="65">
                  <c:v>0.7635372877890224</c:v>
                </c:pt>
                <c:pt idx="66">
                  <c:v>0.7103542643176592</c:v>
                </c:pt>
                <c:pt idx="67">
                  <c:v>0.6586875298153549</c:v>
                </c:pt>
                <c:pt idx="68">
                  <c:v>0.6184318072315758</c:v>
                </c:pt>
                <c:pt idx="69">
                  <c:v>0.644188072888603</c:v>
                </c:pt>
                <c:pt idx="70">
                  <c:v>0.6024728784426143</c:v>
                </c:pt>
                <c:pt idx="71">
                  <c:v>0.5550485792715487</c:v>
                </c:pt>
                <c:pt idx="72">
                  <c:v>0.5795995459717199</c:v>
                </c:pt>
                <c:pt idx="73">
                  <c:v>0.5650730605429926</c:v>
                </c:pt>
                <c:pt idx="74">
                  <c:v>0.5707196542694315</c:v>
                </c:pt>
                <c:pt idx="75">
                  <c:v>0.5284576907873567</c:v>
                </c:pt>
                <c:pt idx="76">
                  <c:v>0.5725273836010277</c:v>
                </c:pt>
                <c:pt idx="77">
                  <c:v>0.5289164329392532</c:v>
                </c:pt>
                <c:pt idx="78">
                  <c:v>0.5619926269812164</c:v>
                </c:pt>
                <c:pt idx="79">
                  <c:v>0.35185239583972694</c:v>
                </c:pt>
                <c:pt idx="80">
                  <c:v>0.31563961388045414</c:v>
                </c:pt>
                <c:pt idx="81">
                  <c:v>0.4909853965937881</c:v>
                </c:pt>
                <c:pt idx="82">
                  <c:v>0.5070876271826877</c:v>
                </c:pt>
                <c:pt idx="83">
                  <c:v>0.5125206701377827</c:v>
                </c:pt>
                <c:pt idx="84">
                  <c:v>0.4501856997708311</c:v>
                </c:pt>
                <c:pt idx="85">
                  <c:v>0.63464258991922</c:v>
                </c:pt>
                <c:pt idx="86">
                  <c:v>0.6412111877148708</c:v>
                </c:pt>
                <c:pt idx="87">
                  <c:v>0.7283361818112152</c:v>
                </c:pt>
                <c:pt idx="88">
                  <c:v>0.6551303683039744</c:v>
                </c:pt>
                <c:pt idx="89">
                  <c:v>0.6184474933959551</c:v>
                </c:pt>
                <c:pt idx="90">
                  <c:v>0.6145207153708389</c:v>
                </c:pt>
                <c:pt idx="91">
                  <c:v>0.6932441392432076</c:v>
                </c:pt>
                <c:pt idx="92">
                  <c:v>0.7105737145551341</c:v>
                </c:pt>
                <c:pt idx="93">
                  <c:v>0.7054249057275589</c:v>
                </c:pt>
                <c:pt idx="94">
                  <c:v>0.6866382109141915</c:v>
                </c:pt>
                <c:pt idx="95">
                  <c:v>0.7114443134543615</c:v>
                </c:pt>
                <c:pt idx="96">
                  <c:v>0.7173732150463343</c:v>
                </c:pt>
                <c:pt idx="97">
                  <c:v>0.7852814565848264</c:v>
                </c:pt>
                <c:pt idx="98">
                  <c:v>0.788549153647982</c:v>
                </c:pt>
                <c:pt idx="99">
                  <c:v>0.7957956264595263</c:v>
                </c:pt>
                <c:pt idx="100">
                  <c:v>0.7837290118130217</c:v>
                </c:pt>
                <c:pt idx="101">
                  <c:v>0.7123236870686778</c:v>
                </c:pt>
                <c:pt idx="102">
                  <c:v>0.7368127303878305</c:v>
                </c:pt>
                <c:pt idx="103">
                  <c:v>0.7021197058037002</c:v>
                </c:pt>
                <c:pt idx="104">
                  <c:v>0.7065842225346549</c:v>
                </c:pt>
              </c:numCache>
            </c:numRef>
          </c:xVal>
          <c:yVal>
            <c:numRef>
              <c:f>Sheet1!$B$2:$B$106</c:f>
              <c:numCache>
                <c:formatCode>General</c:formatCode>
                <c:ptCount val="105"/>
                <c:pt idx="0">
                  <c:v>0.18345829428303656</c:v>
                </c:pt>
                <c:pt idx="1">
                  <c:v>0.18923157344485103</c:v>
                </c:pt>
                <c:pt idx="2">
                  <c:v>0.15974903474903476</c:v>
                </c:pt>
                <c:pt idx="3">
                  <c:v>0.16344687341128622</c:v>
                </c:pt>
                <c:pt idx="4">
                  <c:v>0.15944645006016847</c:v>
                </c:pt>
                <c:pt idx="5">
                  <c:v>0.1454604620891637</c:v>
                </c:pt>
                <c:pt idx="6">
                  <c:v>0.1795131845841785</c:v>
                </c:pt>
                <c:pt idx="7">
                  <c:v>0.1766211604095563</c:v>
                </c:pt>
                <c:pt idx="8">
                  <c:v>0.17562189054726368</c:v>
                </c:pt>
                <c:pt idx="9">
                  <c:v>0.17387304507819687</c:v>
                </c:pt>
                <c:pt idx="10">
                  <c:v>0.18946085897045387</c:v>
                </c:pt>
                <c:pt idx="11">
                  <c:v>0.18147328485614922</c:v>
                </c:pt>
                <c:pt idx="12">
                  <c:v>0.20694368507381083</c:v>
                </c:pt>
                <c:pt idx="13">
                  <c:v>0.21898569570871262</c:v>
                </c:pt>
                <c:pt idx="14">
                  <c:v>0.20590318772136953</c:v>
                </c:pt>
                <c:pt idx="15">
                  <c:v>0.20397579948141745</c:v>
                </c:pt>
                <c:pt idx="16">
                  <c:v>0.20418118466898955</c:v>
                </c:pt>
                <c:pt idx="17">
                  <c:v>0.17122781065088757</c:v>
                </c:pt>
                <c:pt idx="18">
                  <c:v>0.14758380496299522</c:v>
                </c:pt>
                <c:pt idx="19">
                  <c:v>0.13572204125950055</c:v>
                </c:pt>
                <c:pt idx="20">
                  <c:v>0.15298969072164947</c:v>
                </c:pt>
                <c:pt idx="21">
                  <c:v>0.14978775015160703</c:v>
                </c:pt>
                <c:pt idx="22">
                  <c:v>0.1485254691689008</c:v>
                </c:pt>
                <c:pt idx="23">
                  <c:v>0.16701680672268907</c:v>
                </c:pt>
                <c:pt idx="24">
                  <c:v>0.15950069348127602</c:v>
                </c:pt>
                <c:pt idx="25">
                  <c:v>0.16312056737588654</c:v>
                </c:pt>
                <c:pt idx="26">
                  <c:v>0.1833249623304872</c:v>
                </c:pt>
                <c:pt idx="27">
                  <c:v>0.16995181778361804</c:v>
                </c:pt>
                <c:pt idx="28">
                  <c:v>0.1742831541218638</c:v>
                </c:pt>
                <c:pt idx="29">
                  <c:v>0.2174206617150574</c:v>
                </c:pt>
                <c:pt idx="30">
                  <c:v>0.18413597733711048</c:v>
                </c:pt>
                <c:pt idx="31">
                  <c:v>0.18238993710691823</c:v>
                </c:pt>
                <c:pt idx="32">
                  <c:v>0.1974267968056788</c:v>
                </c:pt>
                <c:pt idx="33">
                  <c:v>0.2162930217871803</c:v>
                </c:pt>
                <c:pt idx="34">
                  <c:v>0.20673663656333902</c:v>
                </c:pt>
                <c:pt idx="35">
                  <c:v>0.1901561144839549</c:v>
                </c:pt>
                <c:pt idx="36">
                  <c:v>0.15139949109414758</c:v>
                </c:pt>
                <c:pt idx="37">
                  <c:v>0.13218849840255592</c:v>
                </c:pt>
                <c:pt idx="38">
                  <c:v>0.13630781825624233</c:v>
                </c:pt>
                <c:pt idx="39">
                  <c:v>0.14158576051779936</c:v>
                </c:pt>
                <c:pt idx="40">
                  <c:v>0.13762587732682333</c:v>
                </c:pt>
                <c:pt idx="41">
                  <c:v>0.11377473363774733</c:v>
                </c:pt>
                <c:pt idx="42">
                  <c:v>0.11920313520574788</c:v>
                </c:pt>
                <c:pt idx="43">
                  <c:v>0.13690999706830842</c:v>
                </c:pt>
                <c:pt idx="44">
                  <c:v>0.17016188373804267</c:v>
                </c:pt>
                <c:pt idx="45">
                  <c:v>0.20245717252119744</c:v>
                </c:pt>
                <c:pt idx="46">
                  <c:v>0.2086113759135685</c:v>
                </c:pt>
                <c:pt idx="47">
                  <c:v>0.20736603246639904</c:v>
                </c:pt>
                <c:pt idx="48">
                  <c:v>0.22646279797736577</c:v>
                </c:pt>
                <c:pt idx="49">
                  <c:v>0.2582408874801902</c:v>
                </c:pt>
                <c:pt idx="50">
                  <c:v>0.2128182616330114</c:v>
                </c:pt>
                <c:pt idx="51">
                  <c:v>0.18120469882529366</c:v>
                </c:pt>
                <c:pt idx="52">
                  <c:v>0.21456436931079323</c:v>
                </c:pt>
                <c:pt idx="53">
                  <c:v>0.19743527703847086</c:v>
                </c:pt>
                <c:pt idx="54">
                  <c:v>0.17784581129974952</c:v>
                </c:pt>
                <c:pt idx="55">
                  <c:v>0.15428900402993667</c:v>
                </c:pt>
                <c:pt idx="56">
                  <c:v>0.164260506897658</c:v>
                </c:pt>
                <c:pt idx="57">
                  <c:v>0.16355653128430298</c:v>
                </c:pt>
                <c:pt idx="58">
                  <c:v>0.17954271961492177</c:v>
                </c:pt>
                <c:pt idx="59">
                  <c:v>0.198504206918043</c:v>
                </c:pt>
                <c:pt idx="60">
                  <c:v>0.20175595771367139</c:v>
                </c:pt>
                <c:pt idx="61">
                  <c:v>0.19443715560220415</c:v>
                </c:pt>
                <c:pt idx="62">
                  <c:v>0.19858823529411765</c:v>
                </c:pt>
                <c:pt idx="63">
                  <c:v>0.22043730477465417</c:v>
                </c:pt>
                <c:pt idx="64">
                  <c:v>0.2106962663975782</c:v>
                </c:pt>
                <c:pt idx="65">
                  <c:v>0.19352088661551578</c:v>
                </c:pt>
                <c:pt idx="66">
                  <c:v>0.21004464285714286</c:v>
                </c:pt>
                <c:pt idx="67">
                  <c:v>0.22169598556608028</c:v>
                </c:pt>
                <c:pt idx="68">
                  <c:v>0.2191973056413135</c:v>
                </c:pt>
                <c:pt idx="69">
                  <c:v>0.1874338157430286</c:v>
                </c:pt>
                <c:pt idx="70">
                  <c:v>0.16660746003552399</c:v>
                </c:pt>
                <c:pt idx="71">
                  <c:v>0.1930116472545757</c:v>
                </c:pt>
                <c:pt idx="72">
                  <c:v>0.17625769091567137</c:v>
                </c:pt>
                <c:pt idx="73">
                  <c:v>0.1916868442292171</c:v>
                </c:pt>
                <c:pt idx="74">
                  <c:v>0.18207580588026923</c:v>
                </c:pt>
                <c:pt idx="75">
                  <c:v>0.19820971867007672</c:v>
                </c:pt>
                <c:pt idx="76">
                  <c:v>0.17003628823224468</c:v>
                </c:pt>
                <c:pt idx="77">
                  <c:v>0.2073732718894009</c:v>
                </c:pt>
                <c:pt idx="78">
                  <c:v>0.14522821576763487</c:v>
                </c:pt>
                <c:pt idx="79">
                  <c:v>0.24066558441558442</c:v>
                </c:pt>
                <c:pt idx="80">
                  <c:v>0.2531356898517674</c:v>
                </c:pt>
                <c:pt idx="81">
                  <c:v>0.16340097970608816</c:v>
                </c:pt>
                <c:pt idx="82">
                  <c:v>0.14990138067061143</c:v>
                </c:pt>
                <c:pt idx="83">
                  <c:v>0.1346578366445916</c:v>
                </c:pt>
                <c:pt idx="84">
                  <c:v>0.16205962059620596</c:v>
                </c:pt>
                <c:pt idx="85">
                  <c:v>0.13402548371873524</c:v>
                </c:pt>
                <c:pt idx="86">
                  <c:v>0.14930906639703403</c:v>
                </c:pt>
                <c:pt idx="87">
                  <c:v>0.1605703657780533</c:v>
                </c:pt>
                <c:pt idx="88">
                  <c:v>0.13970588235294118</c:v>
                </c:pt>
                <c:pt idx="89">
                  <c:v>0.13749390541199416</c:v>
                </c:pt>
                <c:pt idx="90">
                  <c:v>0.13364705882352942</c:v>
                </c:pt>
                <c:pt idx="91">
                  <c:v>0.12318181818181818</c:v>
                </c:pt>
                <c:pt idx="92">
                  <c:v>0.1390728476821192</c:v>
                </c:pt>
                <c:pt idx="93">
                  <c:v>0.12993948024207902</c:v>
                </c:pt>
                <c:pt idx="94">
                  <c:v>0.1362876254180602</c:v>
                </c:pt>
                <c:pt idx="95">
                  <c:v>0.14035617265318442</c:v>
                </c:pt>
                <c:pt idx="96">
                  <c:v>0.14131076559732336</c:v>
                </c:pt>
                <c:pt idx="97">
                  <c:v>0.14306949089557786</c:v>
                </c:pt>
                <c:pt idx="98">
                  <c:v>0.1731662024141133</c:v>
                </c:pt>
                <c:pt idx="99">
                  <c:v>0.17532119914346894</c:v>
                </c:pt>
                <c:pt idx="100">
                  <c:v>0.2006058884786519</c:v>
                </c:pt>
                <c:pt idx="101">
                  <c:v>0.18606213266162888</c:v>
                </c:pt>
                <c:pt idx="102">
                  <c:v>0.1453698913605794</c:v>
                </c:pt>
                <c:pt idx="103">
                  <c:v>0.14989344068197963</c:v>
                </c:pt>
                <c:pt idx="104">
                  <c:v>0.1571675302245250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91108673261778</c:v>
                </c:pt>
                <c:pt idx="1">
                  <c:v>0.6727471073894719</c:v>
                </c:pt>
                <c:pt idx="2">
                  <c:v>0.6764724973987859</c:v>
                </c:pt>
                <c:pt idx="3">
                  <c:v>0.6247597199057158</c:v>
                </c:pt>
                <c:pt idx="4">
                  <c:v>0.6511892742139718</c:v>
                </c:pt>
                <c:pt idx="5">
                  <c:v>0.6805148309137365</c:v>
                </c:pt>
                <c:pt idx="6">
                  <c:v>0.6774049119842631</c:v>
                </c:pt>
                <c:pt idx="7">
                  <c:v>0.7042571799341305</c:v>
                </c:pt>
                <c:pt idx="8">
                  <c:v>0.7482221263503892</c:v>
                </c:pt>
                <c:pt idx="9">
                  <c:v>0.7055185755960319</c:v>
                </c:pt>
                <c:pt idx="10">
                  <c:v>0.7378413049774256</c:v>
                </c:pt>
                <c:pt idx="11">
                  <c:v>0.7123306759669477</c:v>
                </c:pt>
                <c:pt idx="12">
                  <c:v>0.722653294606027</c:v>
                </c:pt>
                <c:pt idx="13">
                  <c:v>0.6688865582454928</c:v>
                </c:pt>
                <c:pt idx="14">
                  <c:v>0.6723717737415723</c:v>
                </c:pt>
                <c:pt idx="15">
                  <c:v>0.6982793336472131</c:v>
                </c:pt>
                <c:pt idx="16">
                  <c:v>0.7379128704402125</c:v>
                </c:pt>
                <c:pt idx="17">
                  <c:v>0.7222314576282931</c:v>
                </c:pt>
                <c:pt idx="18">
                  <c:v>0.6906111248322432</c:v>
                </c:pt>
                <c:pt idx="19">
                  <c:v>0.709886102957032</c:v>
                </c:pt>
                <c:pt idx="20">
                  <c:v>0.7122186273042929</c:v>
                </c:pt>
                <c:pt idx="21">
                  <c:v>0.6583175377339612</c:v>
                </c:pt>
                <c:pt idx="22">
                  <c:v>0.5849840741586788</c:v>
                </c:pt>
                <c:pt idx="23">
                  <c:v>0.6399179415441067</c:v>
                </c:pt>
                <c:pt idx="24">
                  <c:v>0.661824026172376</c:v>
                </c:pt>
                <c:pt idx="25">
                  <c:v>0.6767417181471618</c:v>
                </c:pt>
                <c:pt idx="26">
                  <c:v>0.6894179674313786</c:v>
                </c:pt>
                <c:pt idx="27">
                  <c:v>0.7221432955004825</c:v>
                </c:pt>
                <c:pt idx="28">
                  <c:v>0.6809987395683892</c:v>
                </c:pt>
                <c:pt idx="29">
                  <c:v>0.628461149408193</c:v>
                </c:pt>
                <c:pt idx="30">
                  <c:v>0.6495624314673194</c:v>
                </c:pt>
                <c:pt idx="31">
                  <c:v>0.5927269467011349</c:v>
                </c:pt>
                <c:pt idx="32">
                  <c:v>0.6233044546621118</c:v>
                </c:pt>
                <c:pt idx="33">
                  <c:v>0.6632567073166475</c:v>
                </c:pt>
                <c:pt idx="34">
                  <c:v>0.7304739143098482</c:v>
                </c:pt>
                <c:pt idx="35">
                  <c:v>0.6968771956522121</c:v>
                </c:pt>
                <c:pt idx="36">
                  <c:v>0.604755947787986</c:v>
                </c:pt>
                <c:pt idx="37">
                  <c:v>0.6137561303262888</c:v>
                </c:pt>
                <c:pt idx="38">
                  <c:v>0.619004472632984</c:v>
                </c:pt>
                <c:pt idx="39">
                  <c:v>0.6938159138940417</c:v>
                </c:pt>
                <c:pt idx="40">
                  <c:v>0.7148622405344739</c:v>
                </c:pt>
                <c:pt idx="41">
                  <c:v>0.7518707858118366</c:v>
                </c:pt>
                <c:pt idx="42">
                  <c:v>0.728718911773932</c:v>
                </c:pt>
                <c:pt idx="43">
                  <c:v>0.7947667723653514</c:v>
                </c:pt>
                <c:pt idx="44">
                  <c:v>0.8286151137710683</c:v>
                </c:pt>
                <c:pt idx="45">
                  <c:v>0.8238646000802643</c:v>
                </c:pt>
                <c:pt idx="46">
                  <c:v>0.7785264635452462</c:v>
                </c:pt>
                <c:pt idx="47">
                  <c:v>0.7748735380904743</c:v>
                </c:pt>
                <c:pt idx="48">
                  <c:v>0.84482253276471</c:v>
                </c:pt>
                <c:pt idx="49">
                  <c:v>0.8699476927421282</c:v>
                </c:pt>
                <c:pt idx="50">
                  <c:v>0.7736592820781385</c:v>
                </c:pt>
                <c:pt idx="51">
                  <c:v>0.7426318842934637</c:v>
                </c:pt>
              </c:numCache>
            </c:numRef>
          </c:xVal>
          <c:yVal>
            <c:numRef>
              <c:f>Sheet1!$B$109:$B$160</c:f>
              <c:numCache>
                <c:formatCode>General</c:formatCode>
                <c:ptCount val="52"/>
                <c:pt idx="0">
                  <c:v>0.16044399596367306</c:v>
                </c:pt>
                <c:pt idx="1">
                  <c:v>0.16296494514316295</c:v>
                </c:pt>
                <c:pt idx="2">
                  <c:v>0.17088014981273408</c:v>
                </c:pt>
                <c:pt idx="3">
                  <c:v>0.1851472471190781</c:v>
                </c:pt>
                <c:pt idx="4">
                  <c:v>0.1623885436368549</c:v>
                </c:pt>
                <c:pt idx="5">
                  <c:v>0.16757344940152338</c:v>
                </c:pt>
                <c:pt idx="6">
                  <c:v>0.16613051470588236</c:v>
                </c:pt>
                <c:pt idx="7">
                  <c:v>0.16281932902431517</c:v>
                </c:pt>
                <c:pt idx="8">
                  <c:v>0.14256535947712418</c:v>
                </c:pt>
                <c:pt idx="9">
                  <c:v>0.1511111111111111</c:v>
                </c:pt>
                <c:pt idx="10">
                  <c:v>0.16341463414634147</c:v>
                </c:pt>
                <c:pt idx="11">
                  <c:v>0.18516902944383862</c:v>
                </c:pt>
                <c:pt idx="12">
                  <c:v>0.18670725520040587</c:v>
                </c:pt>
                <c:pt idx="13">
                  <c:v>0.18616144975288304</c:v>
                </c:pt>
                <c:pt idx="14">
                  <c:v>0.19185162663423533</c:v>
                </c:pt>
                <c:pt idx="15">
                  <c:v>0.18467852257181944</c:v>
                </c:pt>
                <c:pt idx="16">
                  <c:v>0.16635017090770984</c:v>
                </c:pt>
                <c:pt idx="17">
                  <c:v>0.14134419551934826</c:v>
                </c:pt>
                <c:pt idx="18">
                  <c:v>0.14520958083832336</c:v>
                </c:pt>
                <c:pt idx="19">
                  <c:v>0.1591015442208704</c:v>
                </c:pt>
                <c:pt idx="20">
                  <c:v>0.1261166579085654</c:v>
                </c:pt>
                <c:pt idx="21">
                  <c:v>0.11872509960159362</c:v>
                </c:pt>
                <c:pt idx="22">
                  <c:v>0.13262999246420498</c:v>
                </c:pt>
                <c:pt idx="23">
                  <c:v>0.12613875262789068</c:v>
                </c:pt>
                <c:pt idx="24">
                  <c:v>0.12382075471698113</c:v>
                </c:pt>
                <c:pt idx="25">
                  <c:v>0.13415384615384615</c:v>
                </c:pt>
                <c:pt idx="26">
                  <c:v>0.12385073012439156</c:v>
                </c:pt>
                <c:pt idx="27">
                  <c:v>0.12603495860165592</c:v>
                </c:pt>
                <c:pt idx="28">
                  <c:v>0.15355805243445692</c:v>
                </c:pt>
                <c:pt idx="29">
                  <c:v>0.14425907752698724</c:v>
                </c:pt>
                <c:pt idx="30">
                  <c:v>0.15609514370664024</c:v>
                </c:pt>
                <c:pt idx="31">
                  <c:v>0.16649797570850203</c:v>
                </c:pt>
                <c:pt idx="32">
                  <c:v>0.17796976241900647</c:v>
                </c:pt>
                <c:pt idx="33">
                  <c:v>0.19298245614035087</c:v>
                </c:pt>
                <c:pt idx="34">
                  <c:v>0.22294172062904719</c:v>
                </c:pt>
                <c:pt idx="35">
                  <c:v>0.2157096102350491</c:v>
                </c:pt>
                <c:pt idx="36">
                  <c:v>0.15997738835500283</c:v>
                </c:pt>
                <c:pt idx="37">
                  <c:v>0.144072036018009</c:v>
                </c:pt>
                <c:pt idx="38">
                  <c:v>0.15585106382978722</c:v>
                </c:pt>
                <c:pt idx="39">
                  <c:v>0.18006925740669488</c:v>
                </c:pt>
                <c:pt idx="40">
                  <c:v>0.13734835355285963</c:v>
                </c:pt>
                <c:pt idx="41">
                  <c:v>0.14099429502852487</c:v>
                </c:pt>
                <c:pt idx="42">
                  <c:v>0.13027522935779817</c:v>
                </c:pt>
                <c:pt idx="43">
                  <c:v>0.13859480269489893</c:v>
                </c:pt>
                <c:pt idx="44">
                  <c:v>0.12476672887230073</c:v>
                </c:pt>
                <c:pt idx="45">
                  <c:v>0.14844172221221402</c:v>
                </c:pt>
                <c:pt idx="46">
                  <c:v>0.142144045638222</c:v>
                </c:pt>
                <c:pt idx="47">
                  <c:v>0.1467706013363029</c:v>
                </c:pt>
                <c:pt idx="48">
                  <c:v>0.13395276809910955</c:v>
                </c:pt>
                <c:pt idx="49">
                  <c:v>0.1505597014925373</c:v>
                </c:pt>
                <c:pt idx="50">
                  <c:v>0.18834882058613295</c:v>
                </c:pt>
                <c:pt idx="51">
                  <c:v>0.17425015302999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7903777450314032</c:v>
                </c:pt>
              </c:numCache>
            </c:numRef>
          </c:xVal>
          <c:yVal>
            <c:numRef>
              <c:f>Sheet1!$B$163:$B$164</c:f>
              <c:numCache>
                <c:formatCode>General</c:formatCode>
                <c:ptCount val="2"/>
                <c:pt idx="0">
                  <c:v>0.19873963391743257</c:v>
                </c:pt>
                <c:pt idx="1">
                  <c:v>0.198739633917432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7903777450314032</c:v>
                </c:pt>
                <c:pt idx="1">
                  <c:v>-0.17903777450314032</c:v>
                </c:pt>
              </c:numCache>
            </c:numRef>
          </c:xVal>
          <c:yVal>
            <c:numRef>
              <c:f>Sheet1!$B$167:$B$168</c:f>
              <c:numCache>
                <c:formatCode>General</c:formatCode>
                <c:ptCount val="2"/>
                <c:pt idx="0">
                  <c:v>0.19873963391743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480345827052076</c:v>
                </c:pt>
              </c:numCache>
            </c:numRef>
          </c:xVal>
          <c:yVal>
            <c:numRef>
              <c:f>Sheet1!$B$171:$B$172</c:f>
              <c:numCache>
                <c:formatCode>General</c:formatCode>
                <c:ptCount val="2"/>
                <c:pt idx="0">
                  <c:v>0.16454594825381647</c:v>
                </c:pt>
                <c:pt idx="1">
                  <c:v>0.1645459482538164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480345827052076</c:v>
                </c:pt>
                <c:pt idx="1">
                  <c:v>0.5480345827052076</c:v>
                </c:pt>
              </c:numCache>
            </c:numRef>
          </c:xVal>
          <c:yVal>
            <c:numRef>
              <c:f>Sheet1!$B$175:$B$176</c:f>
              <c:numCache>
                <c:formatCode>General</c:formatCode>
                <c:ptCount val="2"/>
                <c:pt idx="0">
                  <c:v>0.164545948253816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793844117211368</c:v>
                </c:pt>
              </c:numCache>
            </c:numRef>
          </c:xVal>
          <c:yVal>
            <c:numRef>
              <c:f>Sheet1!$B$179:$B$180</c:f>
              <c:numCache>
                <c:formatCode>General</c:formatCode>
                <c:ptCount val="2"/>
                <c:pt idx="0">
                  <c:v>0.14896280610058382</c:v>
                </c:pt>
                <c:pt idx="1">
                  <c:v>0.148962806100583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793844117211368</c:v>
                </c:pt>
                <c:pt idx="1">
                  <c:v>0.8793844117211368</c:v>
                </c:pt>
              </c:numCache>
            </c:numRef>
          </c:xVal>
          <c:yVal>
            <c:numRef>
              <c:f>Sheet1!$B$183:$B$184</c:f>
              <c:numCache>
                <c:formatCode>General</c:formatCode>
                <c:ptCount val="2"/>
                <c:pt idx="0">
                  <c:v>0.148962806100583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91108673261778</c:v>
                </c:pt>
                <c:pt idx="1">
                  <c:v>0.6727471073894719</c:v>
                </c:pt>
                <c:pt idx="2">
                  <c:v>0.6764724973987859</c:v>
                </c:pt>
                <c:pt idx="3">
                  <c:v>0.6247597199057158</c:v>
                </c:pt>
                <c:pt idx="4">
                  <c:v>0.6511892742139718</c:v>
                </c:pt>
                <c:pt idx="5">
                  <c:v>0.6805148309137365</c:v>
                </c:pt>
                <c:pt idx="6">
                  <c:v>0.6774049119842631</c:v>
                </c:pt>
                <c:pt idx="7">
                  <c:v>0.7042571799341305</c:v>
                </c:pt>
                <c:pt idx="8">
                  <c:v>0.7482221263503892</c:v>
                </c:pt>
                <c:pt idx="9">
                  <c:v>0.7055185755960319</c:v>
                </c:pt>
                <c:pt idx="10">
                  <c:v>0.7378413049774256</c:v>
                </c:pt>
                <c:pt idx="11">
                  <c:v>0.7123306759669477</c:v>
                </c:pt>
                <c:pt idx="12">
                  <c:v>0.722653294606027</c:v>
                </c:pt>
                <c:pt idx="13">
                  <c:v>0.6688865582454928</c:v>
                </c:pt>
                <c:pt idx="14">
                  <c:v>0.6723717737415723</c:v>
                </c:pt>
                <c:pt idx="15">
                  <c:v>0.6982793336472131</c:v>
                </c:pt>
                <c:pt idx="16">
                  <c:v>0.7379128704402125</c:v>
                </c:pt>
                <c:pt idx="17">
                  <c:v>0.7222314576282931</c:v>
                </c:pt>
                <c:pt idx="18">
                  <c:v>0.6906111248322432</c:v>
                </c:pt>
                <c:pt idx="19">
                  <c:v>0.709886102957032</c:v>
                </c:pt>
                <c:pt idx="20">
                  <c:v>0.7122186273042929</c:v>
                </c:pt>
                <c:pt idx="21">
                  <c:v>0.6583175377339612</c:v>
                </c:pt>
                <c:pt idx="22">
                  <c:v>0.5849840741586788</c:v>
                </c:pt>
                <c:pt idx="23">
                  <c:v>0.6399179415441067</c:v>
                </c:pt>
                <c:pt idx="24">
                  <c:v>0.661824026172376</c:v>
                </c:pt>
                <c:pt idx="25">
                  <c:v>0.6767417181471618</c:v>
                </c:pt>
                <c:pt idx="26">
                  <c:v>0.6894179674313786</c:v>
                </c:pt>
                <c:pt idx="27">
                  <c:v>0.7221432955004825</c:v>
                </c:pt>
                <c:pt idx="28">
                  <c:v>0.6809987395683892</c:v>
                </c:pt>
                <c:pt idx="29">
                  <c:v>0.628461149408193</c:v>
                </c:pt>
                <c:pt idx="30">
                  <c:v>0.6495624314673194</c:v>
                </c:pt>
                <c:pt idx="31">
                  <c:v>0.5927269467011349</c:v>
                </c:pt>
                <c:pt idx="32">
                  <c:v>0.6233044546621118</c:v>
                </c:pt>
                <c:pt idx="33">
                  <c:v>0.6632567073166475</c:v>
                </c:pt>
                <c:pt idx="34">
                  <c:v>0.7304739143098482</c:v>
                </c:pt>
                <c:pt idx="35">
                  <c:v>0.6968771956522121</c:v>
                </c:pt>
                <c:pt idx="36">
                  <c:v>0.604755947787986</c:v>
                </c:pt>
                <c:pt idx="37">
                  <c:v>0.6137561303262888</c:v>
                </c:pt>
                <c:pt idx="38">
                  <c:v>0.619004472632984</c:v>
                </c:pt>
                <c:pt idx="39">
                  <c:v>0.6938159138940417</c:v>
                </c:pt>
                <c:pt idx="40">
                  <c:v>0.7148622405344739</c:v>
                </c:pt>
                <c:pt idx="41">
                  <c:v>0.7518707858118366</c:v>
                </c:pt>
                <c:pt idx="42">
                  <c:v>0.728718911773932</c:v>
                </c:pt>
                <c:pt idx="43">
                  <c:v>0.7947667723653514</c:v>
                </c:pt>
                <c:pt idx="44">
                  <c:v>0.8286151137710683</c:v>
                </c:pt>
                <c:pt idx="45">
                  <c:v>0.8238646000802643</c:v>
                </c:pt>
                <c:pt idx="46">
                  <c:v>0.7785264635452462</c:v>
                </c:pt>
                <c:pt idx="47">
                  <c:v>0.7748735380904743</c:v>
                </c:pt>
                <c:pt idx="48">
                  <c:v>0.84482253276471</c:v>
                </c:pt>
                <c:pt idx="49">
                  <c:v>0.8699476927421282</c:v>
                </c:pt>
                <c:pt idx="50">
                  <c:v>0.7736592820781385</c:v>
                </c:pt>
                <c:pt idx="51">
                  <c:v>0.7426318842934637</c:v>
                </c:pt>
                <c:pt idx="52">
                  <c:v>0.5480345827052076</c:v>
                </c:pt>
                <c:pt idx="53">
                  <c:v>-0.17903777450314032</c:v>
                </c:pt>
                <c:pt idx="54">
                  <c:v>0.8793844117211368</c:v>
                </c:pt>
              </c:numCache>
            </c:numRef>
          </c:xVal>
          <c:yVal>
            <c:numRef>
              <c:f>Sheet1!$B$187:$B$241</c:f>
              <c:numCache>
                <c:formatCode>General</c:formatCode>
                <c:ptCount val="55"/>
                <c:pt idx="0">
                  <c:v>0.1565003546580301</c:v>
                </c:pt>
                <c:pt idx="1">
                  <c:v>0.1586808086633868</c:v>
                </c:pt>
                <c:pt idx="2">
                  <c:v>0.15850560627301954</c:v>
                </c:pt>
                <c:pt idx="3">
                  <c:v>0.16093762069477519</c:v>
                </c:pt>
                <c:pt idx="4">
                  <c:v>0.15969465792320744</c:v>
                </c:pt>
                <c:pt idx="5">
                  <c:v>0.15831549825943966</c:v>
                </c:pt>
                <c:pt idx="6">
                  <c:v>0.15846175549128114</c:v>
                </c:pt>
                <c:pt idx="7">
                  <c:v>0.15719891280371373</c:v>
                </c:pt>
                <c:pt idx="8">
                  <c:v>0.15513127325852816</c:v>
                </c:pt>
                <c:pt idx="9">
                  <c:v>0.15713959028053856</c:v>
                </c:pt>
                <c:pt idx="10">
                  <c:v>0.15561947575919832</c:v>
                </c:pt>
                <c:pt idx="11">
                  <c:v>0.15681922214044525</c:v>
                </c:pt>
                <c:pt idx="12">
                  <c:v>0.1563337568721392</c:v>
                </c:pt>
                <c:pt idx="13">
                  <c:v>0.15886236748983568</c:v>
                </c:pt>
                <c:pt idx="14">
                  <c:v>0.15869846033264368</c:v>
                </c:pt>
                <c:pt idx="15">
                  <c:v>0.15748004657926407</c:v>
                </c:pt>
                <c:pt idx="16">
                  <c:v>0.155616110087385</c:v>
                </c:pt>
                <c:pt idx="17">
                  <c:v>0.1563535955592725</c:v>
                </c:pt>
                <c:pt idx="18">
                  <c:v>0.15784067687860429</c:v>
                </c:pt>
                <c:pt idx="19">
                  <c:v>0.15693418863621986</c:v>
                </c:pt>
                <c:pt idx="20">
                  <c:v>0.15682449170778867</c:v>
                </c:pt>
                <c:pt idx="21">
                  <c:v>0.15935942085950472</c:v>
                </c:pt>
                <c:pt idx="22">
                  <c:v>0.16280824046770073</c:v>
                </c:pt>
                <c:pt idx="23">
                  <c:v>0.16022474052434388</c:v>
                </c:pt>
                <c:pt idx="24">
                  <c:v>0.1591945132512625</c:v>
                </c:pt>
                <c:pt idx="25">
                  <c:v>0.15849294501647085</c:v>
                </c:pt>
                <c:pt idx="26">
                  <c:v>0.15789679020585143</c:v>
                </c:pt>
                <c:pt idx="27">
                  <c:v>0.15635774176020548</c:v>
                </c:pt>
                <c:pt idx="28">
                  <c:v>0.1582927403863572</c:v>
                </c:pt>
                <c:pt idx="29">
                  <c:v>0.16076354514966754</c:v>
                </c:pt>
                <c:pt idx="30">
                  <c:v>0.15977116715774464</c:v>
                </c:pt>
                <c:pt idx="31">
                  <c:v>0.16244409878740534</c:v>
                </c:pt>
                <c:pt idx="32">
                  <c:v>0.16100606076377744</c:v>
                </c:pt>
                <c:pt idx="33">
                  <c:v>0.15912713529607314</c:v>
                </c:pt>
                <c:pt idx="34">
                  <c:v>0.1559659587992295</c:v>
                </c:pt>
                <c:pt idx="35">
                  <c:v>0.1575459881122941</c:v>
                </c:pt>
                <c:pt idx="36">
                  <c:v>0.16187838359010315</c:v>
                </c:pt>
                <c:pt idx="37">
                  <c:v>0.16145511153254408</c:v>
                </c:pt>
                <c:pt idx="38">
                  <c:v>0.16120828580012422</c:v>
                </c:pt>
                <c:pt idx="39">
                  <c:v>0.1576899579732424</c:v>
                </c:pt>
                <c:pt idx="40">
                  <c:v>0.15670016449480528</c:v>
                </c:pt>
                <c:pt idx="41">
                  <c:v>0.15495967945017963</c:v>
                </c:pt>
                <c:pt idx="42">
                  <c:v>0.15604849529571024</c:v>
                </c:pt>
                <c:pt idx="43">
                  <c:v>0.15294231231209537</c:v>
                </c:pt>
                <c:pt idx="44">
                  <c:v>0.1513504493636733</c:v>
                </c:pt>
                <c:pt idx="45">
                  <c:v>0.1515738625773289</c:v>
                </c:pt>
                <c:pt idx="46">
                  <c:v>0.1537060822579188</c:v>
                </c:pt>
                <c:pt idx="47">
                  <c:v>0.15387787669283953</c:v>
                </c:pt>
                <c:pt idx="48">
                  <c:v>0.15058822620253573</c:v>
                </c:pt>
                <c:pt idx="49">
                  <c:v>0.14940660815035922</c:v>
                </c:pt>
                <c:pt idx="50">
                  <c:v>0.15393498227248276</c:v>
                </c:pt>
                <c:pt idx="51">
                  <c:v>0.1553941782882448</c:v>
                </c:pt>
                <c:pt idx="52">
                  <c:v>0.16454594825381647</c:v>
                </c:pt>
                <c:pt idx="53">
                  <c:v>0.19873963391743257</c:v>
                </c:pt>
                <c:pt idx="54">
                  <c:v>0.148962806100583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98890649762282"/>
          <c:min val="0.091019786910197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9.765</c:v>
                </c:pt>
                <c:pt idx="1">
                  <c:v>915.8909</c:v>
                </c:pt>
                <c:pt idx="2">
                  <c:v>973.994</c:v>
                </c:pt>
                <c:pt idx="3">
                  <c:v>986.4012</c:v>
                </c:pt>
                <c:pt idx="4">
                  <c:v>1001.1925</c:v>
                </c:pt>
                <c:pt idx="5">
                  <c:v>1012.7539</c:v>
                </c:pt>
                <c:pt idx="6">
                  <c:v>924.2203</c:v>
                </c:pt>
                <c:pt idx="7">
                  <c:v>957.599</c:v>
                </c:pt>
                <c:pt idx="8">
                  <c:v>966.0028</c:v>
                </c:pt>
                <c:pt idx="9">
                  <c:v>937.455</c:v>
                </c:pt>
                <c:pt idx="10">
                  <c:v>925.3424</c:v>
                </c:pt>
                <c:pt idx="11">
                  <c:v>978.8223</c:v>
                </c:pt>
                <c:pt idx="12">
                  <c:v>989.7728</c:v>
                </c:pt>
                <c:pt idx="13">
                  <c:v>955.7981</c:v>
                </c:pt>
                <c:pt idx="14">
                  <c:v>962.1686</c:v>
                </c:pt>
                <c:pt idx="15">
                  <c:v>975.1257</c:v>
                </c:pt>
                <c:pt idx="16">
                  <c:v>966.7423</c:v>
                </c:pt>
                <c:pt idx="17">
                  <c:v>985.4752</c:v>
                </c:pt>
                <c:pt idx="18">
                  <c:v>1040.7522</c:v>
                </c:pt>
                <c:pt idx="19">
                  <c:v>1075.412</c:v>
                </c:pt>
                <c:pt idx="20">
                  <c:v>1083.5121</c:v>
                </c:pt>
                <c:pt idx="21">
                  <c:v>1096.7368</c:v>
                </c:pt>
                <c:pt idx="22">
                  <c:v>1062.4116</c:v>
                </c:pt>
                <c:pt idx="23">
                  <c:v>1048.5881</c:v>
                </c:pt>
                <c:pt idx="24">
                  <c:v>1027.7072</c:v>
                </c:pt>
                <c:pt idx="25">
                  <c:v>1011.0702</c:v>
                </c:pt>
                <c:pt idx="26">
                  <c:v>1012.2082</c:v>
                </c:pt>
                <c:pt idx="27">
                  <c:v>1036.9923</c:v>
                </c:pt>
                <c:pt idx="28">
                  <c:v>1008.7301</c:v>
                </c:pt>
                <c:pt idx="29">
                  <c:v>857.7019</c:v>
                </c:pt>
                <c:pt idx="30">
                  <c:v>896.7026</c:v>
                </c:pt>
                <c:pt idx="31">
                  <c:v>937.5837</c:v>
                </c:pt>
                <c:pt idx="32">
                  <c:v>916.5978</c:v>
                </c:pt>
                <c:pt idx="33">
                  <c:v>901.3212</c:v>
                </c:pt>
                <c:pt idx="34">
                  <c:v>980.974</c:v>
                </c:pt>
                <c:pt idx="35">
                  <c:v>1047.7605</c:v>
                </c:pt>
                <c:pt idx="36">
                  <c:v>1127.0672</c:v>
                </c:pt>
                <c:pt idx="37">
                  <c:v>1106.864</c:v>
                </c:pt>
                <c:pt idx="38">
                  <c:v>1189.5676</c:v>
                </c:pt>
                <c:pt idx="39">
                  <c:v>1171.3029</c:v>
                </c:pt>
                <c:pt idx="40">
                  <c:v>1210.3681</c:v>
                </c:pt>
                <c:pt idx="41">
                  <c:v>1244.2742</c:v>
                </c:pt>
                <c:pt idx="42">
                  <c:v>1270.8438</c:v>
                </c:pt>
                <c:pt idx="43">
                  <c:v>1287.3683</c:v>
                </c:pt>
                <c:pt idx="44">
                  <c:v>1076.2735</c:v>
                </c:pt>
                <c:pt idx="45">
                  <c:v>1012.6957</c:v>
                </c:pt>
                <c:pt idx="46">
                  <c:v>1015.9901</c:v>
                </c:pt>
                <c:pt idx="47">
                  <c:v>980.0455</c:v>
                </c:pt>
                <c:pt idx="48">
                  <c:v>991.4609</c:v>
                </c:pt>
                <c:pt idx="49">
                  <c:v>981.212</c:v>
                </c:pt>
                <c:pt idx="50">
                  <c:v>963.3111</c:v>
                </c:pt>
                <c:pt idx="51">
                  <c:v>963.8552</c:v>
                </c:pt>
                <c:pt idx="52">
                  <c:v>1000.6978</c:v>
                </c:pt>
                <c:pt idx="53">
                  <c:v>1038.0061</c:v>
                </c:pt>
                <c:pt idx="54">
                  <c:v>1060.216</c:v>
                </c:pt>
                <c:pt idx="55">
                  <c:v>1079.2313</c:v>
                </c:pt>
                <c:pt idx="56">
                  <c:v>1098.8789</c:v>
                </c:pt>
                <c:pt idx="57">
                  <c:v>1072.9664</c:v>
                </c:pt>
                <c:pt idx="58">
                  <c:v>1035.1421</c:v>
                </c:pt>
                <c:pt idx="59">
                  <c:v>1034.9733</c:v>
                </c:pt>
                <c:pt idx="60">
                  <c:v>1068.659</c:v>
                </c:pt>
                <c:pt idx="61">
                  <c:v>1071.8165</c:v>
                </c:pt>
                <c:pt idx="62">
                  <c:v>1024.019</c:v>
                </c:pt>
                <c:pt idx="63">
                  <c:v>1046.1134</c:v>
                </c:pt>
                <c:pt idx="64">
                  <c:v>1056.1207</c:v>
                </c:pt>
                <c:pt idx="65">
                  <c:v>1035.0936</c:v>
                </c:pt>
                <c:pt idx="66">
                  <c:v>991.3518</c:v>
                </c:pt>
                <c:pt idx="67">
                  <c:v>900.6724</c:v>
                </c:pt>
                <c:pt idx="68">
                  <c:v>851.5122</c:v>
                </c:pt>
                <c:pt idx="69">
                  <c:v>889.6064</c:v>
                </c:pt>
                <c:pt idx="70">
                  <c:v>863.8614</c:v>
                </c:pt>
                <c:pt idx="71">
                  <c:v>911.2565</c:v>
                </c:pt>
                <c:pt idx="72">
                  <c:v>939.9651</c:v>
                </c:pt>
                <c:pt idx="73">
                  <c:v>950.8989</c:v>
                </c:pt>
                <c:pt idx="74">
                  <c:v>963.5973</c:v>
                </c:pt>
                <c:pt idx="75">
                  <c:v>927.4043</c:v>
                </c:pt>
                <c:pt idx="76">
                  <c:v>989.0793</c:v>
                </c:pt>
                <c:pt idx="77">
                  <c:v>885.1956</c:v>
                </c:pt>
                <c:pt idx="78">
                  <c:v>970.0122</c:v>
                </c:pt>
                <c:pt idx="79">
                  <c:v>602.484</c:v>
                </c:pt>
                <c:pt idx="80">
                  <c:v>534.2958</c:v>
                </c:pt>
                <c:pt idx="81">
                  <c:v>818.6146</c:v>
                </c:pt>
                <c:pt idx="82">
                  <c:v>854.0526</c:v>
                </c:pt>
                <c:pt idx="83">
                  <c:v>898.9508</c:v>
                </c:pt>
                <c:pt idx="84">
                  <c:v>770.4682</c:v>
                </c:pt>
                <c:pt idx="85">
                  <c:v>1078.7359</c:v>
                </c:pt>
                <c:pt idx="86">
                  <c:v>1069.3025</c:v>
                </c:pt>
                <c:pt idx="87">
                  <c:v>1174.7394</c:v>
                </c:pt>
                <c:pt idx="88">
                  <c:v>1186.3406</c:v>
                </c:pt>
                <c:pt idx="89">
                  <c:v>1138.6277</c:v>
                </c:pt>
                <c:pt idx="90">
                  <c:v>1134.6092</c:v>
                </c:pt>
                <c:pt idx="91">
                  <c:v>1238.6679</c:v>
                </c:pt>
                <c:pt idx="92">
                  <c:v>1217.7354</c:v>
                </c:pt>
                <c:pt idx="93">
                  <c:v>1236.2575</c:v>
                </c:pt>
                <c:pt idx="94">
                  <c:v>1235.9724</c:v>
                </c:pt>
                <c:pt idx="95">
                  <c:v>1208.2796</c:v>
                </c:pt>
                <c:pt idx="96">
                  <c:v>1142.0446</c:v>
                </c:pt>
                <c:pt idx="97">
                  <c:v>1163.3026</c:v>
                </c:pt>
                <c:pt idx="98">
                  <c:v>1146.9643</c:v>
                </c:pt>
                <c:pt idx="99">
                  <c:v>1120.5412</c:v>
                </c:pt>
                <c:pt idx="100">
                  <c:v>1129.1303</c:v>
                </c:pt>
                <c:pt idx="101">
                  <c:v>1120.9892</c:v>
                </c:pt>
                <c:pt idx="102">
                  <c:v>1152.3701</c:v>
                </c:pt>
                <c:pt idx="103">
                  <c:v>1078.8341</c:v>
                </c:pt>
                <c:pt idx="104">
                  <c:v>1161.1832</c:v>
                </c:pt>
              </c:numCache>
            </c:numRef>
          </c:xVal>
          <c:yVal>
            <c:numRef>
              <c:f>Sheet1!$B$2:$B$106</c:f>
              <c:numCache>
                <c:formatCode>General</c:formatCode>
                <c:ptCount val="105"/>
                <c:pt idx="0">
                  <c:v>0.18345829428303656</c:v>
                </c:pt>
                <c:pt idx="1">
                  <c:v>0.18923157344485103</c:v>
                </c:pt>
                <c:pt idx="2">
                  <c:v>0.15974903474903476</c:v>
                </c:pt>
                <c:pt idx="3">
                  <c:v>0.16344687341128622</c:v>
                </c:pt>
                <c:pt idx="4">
                  <c:v>0.15944645006016847</c:v>
                </c:pt>
                <c:pt idx="5">
                  <c:v>0.1454604620891637</c:v>
                </c:pt>
                <c:pt idx="6">
                  <c:v>0.1795131845841785</c:v>
                </c:pt>
                <c:pt idx="7">
                  <c:v>0.1766211604095563</c:v>
                </c:pt>
                <c:pt idx="8">
                  <c:v>0.17562189054726368</c:v>
                </c:pt>
                <c:pt idx="9">
                  <c:v>0.17387304507819687</c:v>
                </c:pt>
                <c:pt idx="10">
                  <c:v>0.18946085897045387</c:v>
                </c:pt>
                <c:pt idx="11">
                  <c:v>0.18147328485614922</c:v>
                </c:pt>
                <c:pt idx="12">
                  <c:v>0.20694368507381083</c:v>
                </c:pt>
                <c:pt idx="13">
                  <c:v>0.21898569570871262</c:v>
                </c:pt>
                <c:pt idx="14">
                  <c:v>0.20590318772136953</c:v>
                </c:pt>
                <c:pt idx="15">
                  <c:v>0.20397579948141745</c:v>
                </c:pt>
                <c:pt idx="16">
                  <c:v>0.20418118466898955</c:v>
                </c:pt>
                <c:pt idx="17">
                  <c:v>0.17122781065088757</c:v>
                </c:pt>
                <c:pt idx="18">
                  <c:v>0.14758380496299522</c:v>
                </c:pt>
                <c:pt idx="19">
                  <c:v>0.13572204125950055</c:v>
                </c:pt>
                <c:pt idx="20">
                  <c:v>0.15298969072164947</c:v>
                </c:pt>
                <c:pt idx="21">
                  <c:v>0.14978775015160703</c:v>
                </c:pt>
                <c:pt idx="22">
                  <c:v>0.1485254691689008</c:v>
                </c:pt>
                <c:pt idx="23">
                  <c:v>0.16701680672268907</c:v>
                </c:pt>
                <c:pt idx="24">
                  <c:v>0.15950069348127602</c:v>
                </c:pt>
                <c:pt idx="25">
                  <c:v>0.16312056737588654</c:v>
                </c:pt>
                <c:pt idx="26">
                  <c:v>0.1833249623304872</c:v>
                </c:pt>
                <c:pt idx="27">
                  <c:v>0.16995181778361804</c:v>
                </c:pt>
                <c:pt idx="28">
                  <c:v>0.1742831541218638</c:v>
                </c:pt>
                <c:pt idx="29">
                  <c:v>0.2174206617150574</c:v>
                </c:pt>
                <c:pt idx="30">
                  <c:v>0.18413597733711048</c:v>
                </c:pt>
                <c:pt idx="31">
                  <c:v>0.18238993710691823</c:v>
                </c:pt>
                <c:pt idx="32">
                  <c:v>0.1974267968056788</c:v>
                </c:pt>
                <c:pt idx="33">
                  <c:v>0.2162930217871803</c:v>
                </c:pt>
                <c:pt idx="34">
                  <c:v>0.20673663656333902</c:v>
                </c:pt>
                <c:pt idx="35">
                  <c:v>0.1901561144839549</c:v>
                </c:pt>
                <c:pt idx="36">
                  <c:v>0.15139949109414758</c:v>
                </c:pt>
                <c:pt idx="37">
                  <c:v>0.13218849840255592</c:v>
                </c:pt>
                <c:pt idx="38">
                  <c:v>0.13630781825624233</c:v>
                </c:pt>
                <c:pt idx="39">
                  <c:v>0.14158576051779936</c:v>
                </c:pt>
                <c:pt idx="40">
                  <c:v>0.13762587732682333</c:v>
                </c:pt>
                <c:pt idx="41">
                  <c:v>0.11377473363774733</c:v>
                </c:pt>
                <c:pt idx="42">
                  <c:v>0.11920313520574788</c:v>
                </c:pt>
                <c:pt idx="43">
                  <c:v>0.13690999706830842</c:v>
                </c:pt>
                <c:pt idx="44">
                  <c:v>0.17016188373804267</c:v>
                </c:pt>
                <c:pt idx="45">
                  <c:v>0.20245717252119744</c:v>
                </c:pt>
                <c:pt idx="46">
                  <c:v>0.2086113759135685</c:v>
                </c:pt>
                <c:pt idx="47">
                  <c:v>0.20736603246639904</c:v>
                </c:pt>
                <c:pt idx="48">
                  <c:v>0.22646279797736577</c:v>
                </c:pt>
                <c:pt idx="49">
                  <c:v>0.2582408874801902</c:v>
                </c:pt>
                <c:pt idx="50">
                  <c:v>0.2128182616330114</c:v>
                </c:pt>
                <c:pt idx="51">
                  <c:v>0.18120469882529366</c:v>
                </c:pt>
                <c:pt idx="52">
                  <c:v>0.21456436931079323</c:v>
                </c:pt>
                <c:pt idx="53">
                  <c:v>0.19743527703847086</c:v>
                </c:pt>
                <c:pt idx="54">
                  <c:v>0.17784581129974952</c:v>
                </c:pt>
                <c:pt idx="55">
                  <c:v>0.15428900402993667</c:v>
                </c:pt>
                <c:pt idx="56">
                  <c:v>0.164260506897658</c:v>
                </c:pt>
                <c:pt idx="57">
                  <c:v>0.16355653128430298</c:v>
                </c:pt>
                <c:pt idx="58">
                  <c:v>0.17954271961492177</c:v>
                </c:pt>
                <c:pt idx="59">
                  <c:v>0.198504206918043</c:v>
                </c:pt>
                <c:pt idx="60">
                  <c:v>0.20175595771367139</c:v>
                </c:pt>
                <c:pt idx="61">
                  <c:v>0.19443715560220415</c:v>
                </c:pt>
                <c:pt idx="62">
                  <c:v>0.19858823529411765</c:v>
                </c:pt>
                <c:pt idx="63">
                  <c:v>0.22043730477465417</c:v>
                </c:pt>
                <c:pt idx="64">
                  <c:v>0.2106962663975782</c:v>
                </c:pt>
                <c:pt idx="65">
                  <c:v>0.19352088661551578</c:v>
                </c:pt>
                <c:pt idx="66">
                  <c:v>0.21004464285714286</c:v>
                </c:pt>
                <c:pt idx="67">
                  <c:v>0.22169598556608028</c:v>
                </c:pt>
                <c:pt idx="68">
                  <c:v>0.2191973056413135</c:v>
                </c:pt>
                <c:pt idx="69">
                  <c:v>0.1874338157430286</c:v>
                </c:pt>
                <c:pt idx="70">
                  <c:v>0.16660746003552399</c:v>
                </c:pt>
                <c:pt idx="71">
                  <c:v>0.1930116472545757</c:v>
                </c:pt>
                <c:pt idx="72">
                  <c:v>0.17625769091567137</c:v>
                </c:pt>
                <c:pt idx="73">
                  <c:v>0.1916868442292171</c:v>
                </c:pt>
                <c:pt idx="74">
                  <c:v>0.18207580588026923</c:v>
                </c:pt>
                <c:pt idx="75">
                  <c:v>0.19820971867007672</c:v>
                </c:pt>
                <c:pt idx="76">
                  <c:v>0.17003628823224468</c:v>
                </c:pt>
                <c:pt idx="77">
                  <c:v>0.2073732718894009</c:v>
                </c:pt>
                <c:pt idx="78">
                  <c:v>0.14522821576763487</c:v>
                </c:pt>
                <c:pt idx="79">
                  <c:v>0.24066558441558442</c:v>
                </c:pt>
                <c:pt idx="80">
                  <c:v>0.2531356898517674</c:v>
                </c:pt>
                <c:pt idx="81">
                  <c:v>0.16340097970608816</c:v>
                </c:pt>
                <c:pt idx="82">
                  <c:v>0.14990138067061143</c:v>
                </c:pt>
                <c:pt idx="83">
                  <c:v>0.1346578366445916</c:v>
                </c:pt>
                <c:pt idx="84">
                  <c:v>0.16205962059620596</c:v>
                </c:pt>
                <c:pt idx="85">
                  <c:v>0.13402548371873524</c:v>
                </c:pt>
                <c:pt idx="86">
                  <c:v>0.14930906639703403</c:v>
                </c:pt>
                <c:pt idx="87">
                  <c:v>0.1605703657780533</c:v>
                </c:pt>
                <c:pt idx="88">
                  <c:v>0.13970588235294118</c:v>
                </c:pt>
                <c:pt idx="89">
                  <c:v>0.13749390541199416</c:v>
                </c:pt>
                <c:pt idx="90">
                  <c:v>0.13364705882352942</c:v>
                </c:pt>
                <c:pt idx="91">
                  <c:v>0.12318181818181818</c:v>
                </c:pt>
                <c:pt idx="92">
                  <c:v>0.1390728476821192</c:v>
                </c:pt>
                <c:pt idx="93">
                  <c:v>0.12993948024207902</c:v>
                </c:pt>
                <c:pt idx="94">
                  <c:v>0.1362876254180602</c:v>
                </c:pt>
                <c:pt idx="95">
                  <c:v>0.14035617265318442</c:v>
                </c:pt>
                <c:pt idx="96">
                  <c:v>0.14131076559732336</c:v>
                </c:pt>
                <c:pt idx="97">
                  <c:v>0.14306949089557786</c:v>
                </c:pt>
                <c:pt idx="98">
                  <c:v>0.1731662024141133</c:v>
                </c:pt>
                <c:pt idx="99">
                  <c:v>0.17532119914346894</c:v>
                </c:pt>
                <c:pt idx="100">
                  <c:v>0.2006058884786519</c:v>
                </c:pt>
                <c:pt idx="101">
                  <c:v>0.18606213266162888</c:v>
                </c:pt>
                <c:pt idx="102">
                  <c:v>0.1453698913605794</c:v>
                </c:pt>
                <c:pt idx="103">
                  <c:v>0.14989344068197963</c:v>
                </c:pt>
                <c:pt idx="104">
                  <c:v>0.1571675302245250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1305</c:v>
                </c:pt>
                <c:pt idx="1">
                  <c:v>1191.1297</c:v>
                </c:pt>
                <c:pt idx="2">
                  <c:v>1174.4973</c:v>
                </c:pt>
                <c:pt idx="3">
                  <c:v>1123.4841</c:v>
                </c:pt>
                <c:pt idx="4">
                  <c:v>1169.4393</c:v>
                </c:pt>
                <c:pt idx="5">
                  <c:v>1185.3994</c:v>
                </c:pt>
                <c:pt idx="6">
                  <c:v>1094.9447</c:v>
                </c:pt>
                <c:pt idx="7">
                  <c:v>1156.4367</c:v>
                </c:pt>
                <c:pt idx="8">
                  <c:v>1263.2722</c:v>
                </c:pt>
                <c:pt idx="9">
                  <c:v>1180.402</c:v>
                </c:pt>
                <c:pt idx="10">
                  <c:v>1227.9701</c:v>
                </c:pt>
                <c:pt idx="11">
                  <c:v>1041.8198</c:v>
                </c:pt>
                <c:pt idx="12">
                  <c:v>1084.1984</c:v>
                </c:pt>
                <c:pt idx="13">
                  <c:v>1132.7434</c:v>
                </c:pt>
                <c:pt idx="14">
                  <c:v>1138.3946</c:v>
                </c:pt>
                <c:pt idx="15">
                  <c:v>1199.3944</c:v>
                </c:pt>
                <c:pt idx="16">
                  <c:v>1246.0365</c:v>
                </c:pt>
                <c:pt idx="17">
                  <c:v>1217.3516</c:v>
                </c:pt>
                <c:pt idx="18">
                  <c:v>1173.0137</c:v>
                </c:pt>
                <c:pt idx="19">
                  <c:v>1310.2382</c:v>
                </c:pt>
                <c:pt idx="20">
                  <c:v>1386.6292</c:v>
                </c:pt>
                <c:pt idx="21">
                  <c:v>1246.4631</c:v>
                </c:pt>
                <c:pt idx="22">
                  <c:v>1134.4602</c:v>
                </c:pt>
                <c:pt idx="23">
                  <c:v>1160.0778</c:v>
                </c:pt>
                <c:pt idx="24">
                  <c:v>1192.7429</c:v>
                </c:pt>
                <c:pt idx="25">
                  <c:v>1124.8028</c:v>
                </c:pt>
                <c:pt idx="26">
                  <c:v>1196.1834</c:v>
                </c:pt>
                <c:pt idx="27">
                  <c:v>1241.1861</c:v>
                </c:pt>
                <c:pt idx="28">
                  <c:v>1173.4561</c:v>
                </c:pt>
                <c:pt idx="29">
                  <c:v>1171.3844</c:v>
                </c:pt>
                <c:pt idx="30">
                  <c:v>1192.2317</c:v>
                </c:pt>
                <c:pt idx="31">
                  <c:v>1067.0213</c:v>
                </c:pt>
                <c:pt idx="32">
                  <c:v>1119.5607</c:v>
                </c:pt>
                <c:pt idx="33">
                  <c:v>1140.1603</c:v>
                </c:pt>
                <c:pt idx="34">
                  <c:v>1204.5612</c:v>
                </c:pt>
                <c:pt idx="35">
                  <c:v>1228.1986</c:v>
                </c:pt>
                <c:pt idx="36">
                  <c:v>1218.7314</c:v>
                </c:pt>
                <c:pt idx="37">
                  <c:v>1211.816</c:v>
                </c:pt>
                <c:pt idx="38">
                  <c:v>1218.9147</c:v>
                </c:pt>
                <c:pt idx="39">
                  <c:v>1235.3162</c:v>
                </c:pt>
                <c:pt idx="40">
                  <c:v>1284.7981</c:v>
                </c:pt>
                <c:pt idx="41">
                  <c:v>1369.6185</c:v>
                </c:pt>
                <c:pt idx="42">
                  <c:v>1368.7641</c:v>
                </c:pt>
                <c:pt idx="43">
                  <c:v>1356.2083</c:v>
                </c:pt>
                <c:pt idx="44">
                  <c:v>1272.4188</c:v>
                </c:pt>
                <c:pt idx="45">
                  <c:v>1225.9794</c:v>
                </c:pt>
                <c:pt idx="46">
                  <c:v>1193.791</c:v>
                </c:pt>
                <c:pt idx="47">
                  <c:v>1164.085</c:v>
                </c:pt>
                <c:pt idx="48">
                  <c:v>1184.3671</c:v>
                </c:pt>
                <c:pt idx="49">
                  <c:v>1206.4151</c:v>
                </c:pt>
                <c:pt idx="50">
                  <c:v>1068.9665</c:v>
                </c:pt>
                <c:pt idx="51">
                  <c:v>1038.3782</c:v>
                </c:pt>
              </c:numCache>
            </c:numRef>
          </c:xVal>
          <c:yVal>
            <c:numRef>
              <c:f>Sheet1!$B$109:$B$160</c:f>
              <c:numCache>
                <c:formatCode>General</c:formatCode>
                <c:ptCount val="52"/>
                <c:pt idx="0">
                  <c:v>0.16044399596367306</c:v>
                </c:pt>
                <c:pt idx="1">
                  <c:v>0.16296494514316295</c:v>
                </c:pt>
                <c:pt idx="2">
                  <c:v>0.17088014981273408</c:v>
                </c:pt>
                <c:pt idx="3">
                  <c:v>0.1851472471190781</c:v>
                </c:pt>
                <c:pt idx="4">
                  <c:v>0.1623885436368549</c:v>
                </c:pt>
                <c:pt idx="5">
                  <c:v>0.16757344940152338</c:v>
                </c:pt>
                <c:pt idx="6">
                  <c:v>0.16613051470588236</c:v>
                </c:pt>
                <c:pt idx="7">
                  <c:v>0.16281932902431517</c:v>
                </c:pt>
                <c:pt idx="8">
                  <c:v>0.14256535947712418</c:v>
                </c:pt>
                <c:pt idx="9">
                  <c:v>0.1511111111111111</c:v>
                </c:pt>
                <c:pt idx="10">
                  <c:v>0.16341463414634147</c:v>
                </c:pt>
                <c:pt idx="11">
                  <c:v>0.18516902944383862</c:v>
                </c:pt>
                <c:pt idx="12">
                  <c:v>0.18670725520040587</c:v>
                </c:pt>
                <c:pt idx="13">
                  <c:v>0.18616144975288304</c:v>
                </c:pt>
                <c:pt idx="14">
                  <c:v>0.19185162663423533</c:v>
                </c:pt>
                <c:pt idx="15">
                  <c:v>0.18467852257181944</c:v>
                </c:pt>
                <c:pt idx="16">
                  <c:v>0.16635017090770984</c:v>
                </c:pt>
                <c:pt idx="17">
                  <c:v>0.14134419551934826</c:v>
                </c:pt>
                <c:pt idx="18">
                  <c:v>0.14520958083832336</c:v>
                </c:pt>
                <c:pt idx="19">
                  <c:v>0.1591015442208704</c:v>
                </c:pt>
                <c:pt idx="20">
                  <c:v>0.1261166579085654</c:v>
                </c:pt>
                <c:pt idx="21">
                  <c:v>0.11872509960159362</c:v>
                </c:pt>
                <c:pt idx="22">
                  <c:v>0.13262999246420498</c:v>
                </c:pt>
                <c:pt idx="23">
                  <c:v>0.12613875262789068</c:v>
                </c:pt>
                <c:pt idx="24">
                  <c:v>0.12382075471698113</c:v>
                </c:pt>
                <c:pt idx="25">
                  <c:v>0.13415384615384615</c:v>
                </c:pt>
                <c:pt idx="26">
                  <c:v>0.12385073012439156</c:v>
                </c:pt>
                <c:pt idx="27">
                  <c:v>0.12603495860165592</c:v>
                </c:pt>
                <c:pt idx="28">
                  <c:v>0.15355805243445692</c:v>
                </c:pt>
                <c:pt idx="29">
                  <c:v>0.14425907752698724</c:v>
                </c:pt>
                <c:pt idx="30">
                  <c:v>0.15609514370664024</c:v>
                </c:pt>
                <c:pt idx="31">
                  <c:v>0.16649797570850203</c:v>
                </c:pt>
                <c:pt idx="32">
                  <c:v>0.17796976241900647</c:v>
                </c:pt>
                <c:pt idx="33">
                  <c:v>0.19298245614035087</c:v>
                </c:pt>
                <c:pt idx="34">
                  <c:v>0.22294172062904719</c:v>
                </c:pt>
                <c:pt idx="35">
                  <c:v>0.2157096102350491</c:v>
                </c:pt>
                <c:pt idx="36">
                  <c:v>0.15997738835500283</c:v>
                </c:pt>
                <c:pt idx="37">
                  <c:v>0.144072036018009</c:v>
                </c:pt>
                <c:pt idx="38">
                  <c:v>0.15585106382978722</c:v>
                </c:pt>
                <c:pt idx="39">
                  <c:v>0.18006925740669488</c:v>
                </c:pt>
                <c:pt idx="40">
                  <c:v>0.13734835355285963</c:v>
                </c:pt>
                <c:pt idx="41">
                  <c:v>0.14099429502852487</c:v>
                </c:pt>
                <c:pt idx="42">
                  <c:v>0.13027522935779817</c:v>
                </c:pt>
                <c:pt idx="43">
                  <c:v>0.13859480269489893</c:v>
                </c:pt>
                <c:pt idx="44">
                  <c:v>0.12476672887230073</c:v>
                </c:pt>
                <c:pt idx="45">
                  <c:v>0.14844172221221402</c:v>
                </c:pt>
                <c:pt idx="46">
                  <c:v>0.142144045638222</c:v>
                </c:pt>
                <c:pt idx="47">
                  <c:v>0.1467706013363029</c:v>
                </c:pt>
                <c:pt idx="48">
                  <c:v>0.13395276809910955</c:v>
                </c:pt>
                <c:pt idx="49">
                  <c:v>0.1505597014925373</c:v>
                </c:pt>
                <c:pt idx="50">
                  <c:v>0.18834882058613295</c:v>
                </c:pt>
                <c:pt idx="51">
                  <c:v>0.17425015302999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1.884296926181</c:v>
                </c:pt>
              </c:numCache>
            </c:numRef>
          </c:xVal>
          <c:yVal>
            <c:numRef>
              <c:f>Sheet1!$B$163:$B$164</c:f>
              <c:numCache>
                <c:formatCode>General</c:formatCode>
                <c:ptCount val="2"/>
                <c:pt idx="0">
                  <c:v>0.19873963391743257</c:v>
                </c:pt>
                <c:pt idx="1">
                  <c:v>0.198739633917432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1.884296926181</c:v>
                </c:pt>
                <c:pt idx="1">
                  <c:v>891.884296926181</c:v>
                </c:pt>
              </c:numCache>
            </c:numRef>
          </c:xVal>
          <c:yVal>
            <c:numRef>
              <c:f>Sheet1!$B$167:$B$168</c:f>
              <c:numCache>
                <c:formatCode>General</c:formatCode>
                <c:ptCount val="2"/>
                <c:pt idx="0">
                  <c:v>0.19873963391743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1.6221519805117</c:v>
                </c:pt>
              </c:numCache>
            </c:numRef>
          </c:xVal>
          <c:yVal>
            <c:numRef>
              <c:f>Sheet1!$B$171:$B$172</c:f>
              <c:numCache>
                <c:formatCode>General</c:formatCode>
                <c:ptCount val="2"/>
                <c:pt idx="0">
                  <c:v>0.16454594825381647</c:v>
                </c:pt>
                <c:pt idx="1">
                  <c:v>0.1645459482538164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1.6221519805117</c:v>
                </c:pt>
                <c:pt idx="1">
                  <c:v>1141.6221519805117</c:v>
                </c:pt>
              </c:numCache>
            </c:numRef>
          </c:xVal>
          <c:yVal>
            <c:numRef>
              <c:f>Sheet1!$B$175:$B$176</c:f>
              <c:numCache>
                <c:formatCode>General</c:formatCode>
                <c:ptCount val="2"/>
                <c:pt idx="0">
                  <c:v>0.164545948253816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5.4355774953874</c:v>
                </c:pt>
              </c:numCache>
            </c:numRef>
          </c:xVal>
          <c:yVal>
            <c:numRef>
              <c:f>Sheet1!$B$179:$B$180</c:f>
              <c:numCache>
                <c:formatCode>General</c:formatCode>
                <c:ptCount val="2"/>
                <c:pt idx="0">
                  <c:v>0.14896280610058382</c:v>
                </c:pt>
                <c:pt idx="1">
                  <c:v>0.148962806100583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5.4355774953874</c:v>
                </c:pt>
                <c:pt idx="1">
                  <c:v>1255.4355774953874</c:v>
                </c:pt>
              </c:numCache>
            </c:numRef>
          </c:xVal>
          <c:yVal>
            <c:numRef>
              <c:f>Sheet1!$B$183:$B$184</c:f>
              <c:numCache>
                <c:formatCode>General</c:formatCode>
                <c:ptCount val="2"/>
                <c:pt idx="0">
                  <c:v>0.148962806100583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1305</c:v>
                </c:pt>
                <c:pt idx="1">
                  <c:v>1191.1297</c:v>
                </c:pt>
                <c:pt idx="2">
                  <c:v>1174.4973</c:v>
                </c:pt>
                <c:pt idx="3">
                  <c:v>1123.4841</c:v>
                </c:pt>
                <c:pt idx="4">
                  <c:v>1169.4393</c:v>
                </c:pt>
                <c:pt idx="5">
                  <c:v>1185.3994</c:v>
                </c:pt>
                <c:pt idx="6">
                  <c:v>1094.9447</c:v>
                </c:pt>
                <c:pt idx="7">
                  <c:v>1156.4367</c:v>
                </c:pt>
                <c:pt idx="8">
                  <c:v>1263.2722</c:v>
                </c:pt>
                <c:pt idx="9">
                  <c:v>1180.402</c:v>
                </c:pt>
                <c:pt idx="10">
                  <c:v>1227.9701</c:v>
                </c:pt>
                <c:pt idx="11">
                  <c:v>1041.8198</c:v>
                </c:pt>
                <c:pt idx="12">
                  <c:v>1084.1984</c:v>
                </c:pt>
                <c:pt idx="13">
                  <c:v>1132.7434</c:v>
                </c:pt>
                <c:pt idx="14">
                  <c:v>1138.3946</c:v>
                </c:pt>
                <c:pt idx="15">
                  <c:v>1199.3944</c:v>
                </c:pt>
                <c:pt idx="16">
                  <c:v>1246.0365</c:v>
                </c:pt>
                <c:pt idx="17">
                  <c:v>1217.3516</c:v>
                </c:pt>
                <c:pt idx="18">
                  <c:v>1173.0137</c:v>
                </c:pt>
                <c:pt idx="19">
                  <c:v>1310.2382</c:v>
                </c:pt>
                <c:pt idx="20">
                  <c:v>1386.6292</c:v>
                </c:pt>
                <c:pt idx="21">
                  <c:v>1246.4631</c:v>
                </c:pt>
                <c:pt idx="22">
                  <c:v>1134.4602</c:v>
                </c:pt>
                <c:pt idx="23">
                  <c:v>1160.0778</c:v>
                </c:pt>
                <c:pt idx="24">
                  <c:v>1192.7429</c:v>
                </c:pt>
                <c:pt idx="25">
                  <c:v>1124.8028</c:v>
                </c:pt>
                <c:pt idx="26">
                  <c:v>1196.1834</c:v>
                </c:pt>
                <c:pt idx="27">
                  <c:v>1241.1861</c:v>
                </c:pt>
                <c:pt idx="28">
                  <c:v>1173.4561</c:v>
                </c:pt>
                <c:pt idx="29">
                  <c:v>1171.3844</c:v>
                </c:pt>
                <c:pt idx="30">
                  <c:v>1192.2317</c:v>
                </c:pt>
                <c:pt idx="31">
                  <c:v>1067.0213</c:v>
                </c:pt>
                <c:pt idx="32">
                  <c:v>1119.5607</c:v>
                </c:pt>
                <c:pt idx="33">
                  <c:v>1140.1603</c:v>
                </c:pt>
                <c:pt idx="34">
                  <c:v>1204.5612</c:v>
                </c:pt>
                <c:pt idx="35">
                  <c:v>1228.1986</c:v>
                </c:pt>
                <c:pt idx="36">
                  <c:v>1218.7314</c:v>
                </c:pt>
                <c:pt idx="37">
                  <c:v>1211.816</c:v>
                </c:pt>
                <c:pt idx="38">
                  <c:v>1218.9147</c:v>
                </c:pt>
                <c:pt idx="39">
                  <c:v>1235.3162</c:v>
                </c:pt>
                <c:pt idx="40">
                  <c:v>1284.7981</c:v>
                </c:pt>
                <c:pt idx="41">
                  <c:v>1369.6185</c:v>
                </c:pt>
                <c:pt idx="42">
                  <c:v>1368.7641</c:v>
                </c:pt>
                <c:pt idx="43">
                  <c:v>1356.2083</c:v>
                </c:pt>
                <c:pt idx="44">
                  <c:v>1272.4188</c:v>
                </c:pt>
                <c:pt idx="45">
                  <c:v>1225.9794</c:v>
                </c:pt>
                <c:pt idx="46">
                  <c:v>1193.791</c:v>
                </c:pt>
                <c:pt idx="47">
                  <c:v>1164.085</c:v>
                </c:pt>
                <c:pt idx="48">
                  <c:v>1184.3671</c:v>
                </c:pt>
                <c:pt idx="49">
                  <c:v>1206.4151</c:v>
                </c:pt>
                <c:pt idx="50">
                  <c:v>1068.9665</c:v>
                </c:pt>
                <c:pt idx="51">
                  <c:v>1038.3782</c:v>
                </c:pt>
                <c:pt idx="52">
                  <c:v>1141.6221519805117</c:v>
                </c:pt>
                <c:pt idx="53">
                  <c:v>891.884296926181</c:v>
                </c:pt>
                <c:pt idx="54">
                  <c:v>1255.4355774953874</c:v>
                </c:pt>
              </c:numCache>
            </c:numRef>
          </c:xVal>
          <c:yVal>
            <c:numRef>
              <c:f>Sheet1!$B$187:$B$241</c:f>
              <c:numCache>
                <c:formatCode>General</c:formatCode>
                <c:ptCount val="55"/>
                <c:pt idx="0">
                  <c:v>0.1557135741054213</c:v>
                </c:pt>
                <c:pt idx="1">
                  <c:v>0.15776745832650257</c:v>
                </c:pt>
                <c:pt idx="2">
                  <c:v>0.1600447384661426</c:v>
                </c:pt>
                <c:pt idx="3">
                  <c:v>0.1670293797217332</c:v>
                </c:pt>
                <c:pt idx="4">
                  <c:v>0.16073727129040724</c:v>
                </c:pt>
                <c:pt idx="5">
                  <c:v>0.15855204133221307</c:v>
                </c:pt>
                <c:pt idx="6">
                  <c:v>0.17093694620746241</c:v>
                </c:pt>
                <c:pt idx="7">
                  <c:v>0.16251756533959338</c:v>
                </c:pt>
                <c:pt idx="8">
                  <c:v>0.14788982897211106</c:v>
                </c:pt>
                <c:pt idx="9">
                  <c:v>0.15923627690674452</c:v>
                </c:pt>
                <c:pt idx="10">
                  <c:v>0.15272333292930224</c:v>
                </c:pt>
                <c:pt idx="11">
                  <c:v>0.1782107178634088</c:v>
                </c:pt>
                <c:pt idx="12">
                  <c:v>0.17240831146831553</c:v>
                </c:pt>
                <c:pt idx="13">
                  <c:v>0.1657616119914616</c:v>
                </c:pt>
                <c:pt idx="14">
                  <c:v>0.1649878592242642</c:v>
                </c:pt>
                <c:pt idx="15">
                  <c:v>0.15663586954977263</c:v>
                </c:pt>
                <c:pt idx="16">
                  <c:v>0.15024971192963937</c:v>
                </c:pt>
                <c:pt idx="17">
                  <c:v>0.154177200029827</c:v>
                </c:pt>
                <c:pt idx="18">
                  <c:v>0.1602478704744619</c:v>
                </c:pt>
                <c:pt idx="19">
                  <c:v>0.14145932351058213</c:v>
                </c:pt>
                <c:pt idx="20">
                  <c:v>0.13099999670583706</c:v>
                </c:pt>
                <c:pt idx="21">
                  <c:v>0.15019130257755728</c:v>
                </c:pt>
                <c:pt idx="22">
                  <c:v>0.16552655063268393</c:v>
                </c:pt>
                <c:pt idx="23">
                  <c:v>0.16201903207220902</c:v>
                </c:pt>
                <c:pt idx="24">
                  <c:v>0.1575465817048925</c:v>
                </c:pt>
                <c:pt idx="25">
                  <c:v>0.1668488255431334</c:v>
                </c:pt>
                <c:pt idx="26">
                  <c:v>0.15707551425098137</c:v>
                </c:pt>
                <c:pt idx="27">
                  <c:v>0.15091382051224383</c:v>
                </c:pt>
                <c:pt idx="28">
                  <c:v>0.1601872978130434</c:v>
                </c:pt>
                <c:pt idx="29">
                  <c:v>0.16047095148090207</c:v>
                </c:pt>
                <c:pt idx="30">
                  <c:v>0.15761657434620607</c:v>
                </c:pt>
                <c:pt idx="31">
                  <c:v>0.1747601710127355</c:v>
                </c:pt>
                <c:pt idx="32">
                  <c:v>0.16756656502871617</c:v>
                </c:pt>
                <c:pt idx="33">
                  <c:v>0.16474610256000877</c:v>
                </c:pt>
                <c:pt idx="34">
                  <c:v>0.15592844001311573</c:v>
                </c:pt>
                <c:pt idx="35">
                  <c:v>0.15269204709491227</c:v>
                </c:pt>
                <c:pt idx="36">
                  <c:v>0.15398828014233779</c:v>
                </c:pt>
                <c:pt idx="37">
                  <c:v>0.1549351250401076</c:v>
                </c:pt>
                <c:pt idx="38">
                  <c:v>0.15396318301566958</c:v>
                </c:pt>
                <c:pt idx="39">
                  <c:v>0.15171751731436936</c:v>
                </c:pt>
                <c:pt idx="40">
                  <c:v>0.14494253907060092</c:v>
                </c:pt>
                <c:pt idx="41">
                  <c:v>0.1333290730430689</c:v>
                </c:pt>
                <c:pt idx="42">
                  <c:v>0.13344605604920803</c:v>
                </c:pt>
                <c:pt idx="43">
                  <c:v>0.13516517499640102</c:v>
                </c:pt>
                <c:pt idx="44">
                  <c:v>0.14663749193565023</c:v>
                </c:pt>
                <c:pt idx="45">
                  <c:v>0.15299589621385418</c:v>
                </c:pt>
                <c:pt idx="46">
                  <c:v>0.1574030776216359</c:v>
                </c:pt>
                <c:pt idx="47">
                  <c:v>0.1614703730106445</c:v>
                </c:pt>
                <c:pt idx="48">
                  <c:v>0.15869338210613326</c:v>
                </c:pt>
                <c:pt idx="49">
                  <c:v>0.15567460715370407</c:v>
                </c:pt>
                <c:pt idx="50">
                  <c:v>0.1744938375113991</c:v>
                </c:pt>
                <c:pt idx="51">
                  <c:v>0.1786819359274636</c:v>
                </c:pt>
                <c:pt idx="52">
                  <c:v>0.16454594825381647</c:v>
                </c:pt>
                <c:pt idx="53">
                  <c:v>0.19873963391743257</c:v>
                </c:pt>
                <c:pt idx="54">
                  <c:v>0.148962806100583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4.0"/>
          <c:min val="4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98890649762282"/>
          <c:min val="0.091019786910197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007625651167702</c:v>
                </c:pt>
                <c:pt idx="8">
                  <c:v>0.7178372718541958</c:v>
                </c:pt>
                <c:pt idx="9">
                  <c:v>0.7297089428498341</c:v>
                </c:pt>
                <c:pt idx="10">
                  <c:v>1.2217236329554977</c:v>
                </c:pt>
                <c:pt idx="11">
                  <c:v>0.865137852401449</c:v>
                </c:pt>
                <c:pt idx="12">
                  <c:v>1.0795475034248785</c:v>
                </c:pt>
                <c:pt idx="13">
                  <c:v>0.6854021373971534</c:v>
                </c:pt>
                <c:pt idx="14">
                  <c:v>0.66964195481955</c:v>
                </c:pt>
                <c:pt idx="15">
                  <c:v>0.7925251704877914</c:v>
                </c:pt>
                <c:pt idx="16">
                  <c:v>0.7373175329538945</c:v>
                </c:pt>
                <c:pt idx="17">
                  <c:v>0.8662166621552041</c:v>
                </c:pt>
                <c:pt idx="18">
                  <c:v>0.9342301943198804</c:v>
                </c:pt>
                <c:pt idx="19">
                  <c:v>0.5231963662147409</c:v>
                </c:pt>
                <c:pt idx="20">
                  <c:v>0.694059985634908</c:v>
                </c:pt>
                <c:pt idx="21">
                  <c:v>0.21432597951762045</c:v>
                </c:pt>
                <c:pt idx="22">
                  <c:v>0.680648283868733</c:v>
                </c:pt>
                <c:pt idx="23">
                  <c:v>0.9110027349747195</c:v>
                </c:pt>
                <c:pt idx="24">
                  <c:v>1.292212858926342</c:v>
                </c:pt>
                <c:pt idx="25">
                  <c:v>1.2008577117475876</c:v>
                </c:pt>
                <c:pt idx="26">
                  <c:v>1.245339117217343</c:v>
                </c:pt>
                <c:pt idx="27">
                  <c:v>1.3662739659947691</c:v>
                </c:pt>
                <c:pt idx="28">
                  <c:v>1.3525426988938576</c:v>
                </c:pt>
                <c:pt idx="29">
                  <c:v>1.3154158293642912</c:v>
                </c:pt>
                <c:pt idx="30">
                  <c:v>1.6609163376564093</c:v>
                </c:pt>
                <c:pt idx="31">
                  <c:v>1.3257072552264793</c:v>
                </c:pt>
                <c:pt idx="32">
                  <c:v>1.4592405839170417</c:v>
                </c:pt>
                <c:pt idx="33">
                  <c:v>1.1719097450280644</c:v>
                </c:pt>
                <c:pt idx="34">
                  <c:v>1.389325591031662</c:v>
                </c:pt>
                <c:pt idx="35">
                  <c:v>1.3539641755238598</c:v>
                </c:pt>
                <c:pt idx="36">
                  <c:v>1.0630542663643547</c:v>
                </c:pt>
                <c:pt idx="37">
                  <c:v>1.169760003647038</c:v>
                </c:pt>
                <c:pt idx="38">
                  <c:v>1.109402835625815</c:v>
                </c:pt>
                <c:pt idx="39">
                  <c:v>1.302209800352918</c:v>
                </c:pt>
                <c:pt idx="40">
                  <c:v>1.300169632541524</c:v>
                </c:pt>
                <c:pt idx="41">
                  <c:v>1.2356937822031062</c:v>
                </c:pt>
                <c:pt idx="42">
                  <c:v>1.8237350759205886</c:v>
                </c:pt>
                <c:pt idx="43">
                  <c:v>1.8462673336838906</c:v>
                </c:pt>
                <c:pt idx="44">
                  <c:v>1.4619727398891016</c:v>
                </c:pt>
                <c:pt idx="45">
                  <c:v>1.5021648238087708</c:v>
                </c:pt>
                <c:pt idx="46">
                  <c:v>1.5006714276197346</c:v>
                </c:pt>
                <c:pt idx="47">
                  <c:v>1.5193021133735836</c:v>
                </c:pt>
                <c:pt idx="48">
                  <c:v>1.5395623586019898</c:v>
                </c:pt>
                <c:pt idx="49">
                  <c:v>1.4210500100491361</c:v>
                </c:pt>
                <c:pt idx="50">
                  <c:v>1.2442643787293428</c:v>
                </c:pt>
                <c:pt idx="51">
                  <c:v>1.4341873693253888</c:v>
                </c:pt>
                <c:pt idx="52">
                  <c:v>1.2702017841850968</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1.5854691205807725</c:v>
                </c:pt>
                <c:pt idx="1">
                  <c:v>1.3215079323808208</c:v>
                </c:pt>
                <c:pt idx="2">
                  <c:v>1.4424230517333654</c:v>
                </c:pt>
                <c:pt idx="3">
                  <c:v>1.3505836690037807</c:v>
                </c:pt>
                <c:pt idx="4">
                  <c:v>1.4375914728493275</c:v>
                </c:pt>
                <c:pt idx="5">
                  <c:v>1.2846606781796892</c:v>
                </c:pt>
                <c:pt idx="6">
                  <c:v>1.4482647278624154</c:v>
                </c:pt>
                <c:pt idx="7">
                  <c:v>1.5216848869948936</c:v>
                </c:pt>
                <c:pt idx="8">
                  <c:v>1.2745038794040544</c:v>
                </c:pt>
                <c:pt idx="9">
                  <c:v>1.2281111165693828</c:v>
                </c:pt>
                <c:pt idx="10">
                  <c:v>1.376594081736384</c:v>
                </c:pt>
                <c:pt idx="11">
                  <c:v>1.44925532349392</c:v>
                </c:pt>
                <c:pt idx="12">
                  <c:v>1.4473785579680023</c:v>
                </c:pt>
                <c:pt idx="13">
                  <c:v>1.4550259897142326</c:v>
                </c:pt>
                <c:pt idx="14">
                  <c:v>1.4637302332482254</c:v>
                </c:pt>
                <c:pt idx="15">
                  <c:v>1.414388433627674</c:v>
                </c:pt>
                <c:pt idx="16">
                  <c:v>1.1854517409387437</c:v>
                </c:pt>
                <c:pt idx="17">
                  <c:v>1.1930209316307963</c:v>
                </c:pt>
                <c:pt idx="18">
                  <c:v>1.3820997381446212</c:v>
                </c:pt>
                <c:pt idx="19">
                  <c:v>1.0417424248949976</c:v>
                </c:pt>
                <c:pt idx="20">
                  <c:v>1.3093473959519197</c:v>
                </c:pt>
                <c:pt idx="21">
                  <c:v>1.1178876627465586</c:v>
                </c:pt>
                <c:pt idx="22">
                  <c:v>0.9306931395678368</c:v>
                </c:pt>
                <c:pt idx="23">
                  <c:v>0.9621955022819343</c:v>
                </c:pt>
                <c:pt idx="24">
                  <c:v>1.0999359705150382</c:v>
                </c:pt>
                <c:pt idx="25">
                  <c:v>0.8437167213281431</c:v>
                </c:pt>
                <c:pt idx="26">
                  <c:v>0.9292903554592942</c:v>
                </c:pt>
                <c:pt idx="27">
                  <c:v>1.1791976651353075</c:v>
                </c:pt>
                <c:pt idx="28">
                  <c:v>1.4184507631436565</c:v>
                </c:pt>
                <c:pt idx="29">
                  <c:v>1.2384613587936624</c:v>
                </c:pt>
                <c:pt idx="30">
                  <c:v>1.5498916558111555</c:v>
                </c:pt>
                <c:pt idx="31">
                  <c:v>1.1858890500808752</c:v>
                </c:pt>
                <c:pt idx="32">
                  <c:v>1.0990285259481931</c:v>
                </c:pt>
                <c:pt idx="33">
                  <c:v>1.1452114285714285</c:v>
                </c:pt>
                <c:pt idx="34">
                  <c:v>1.0996861612347861</c:v>
                </c:pt>
                <c:pt idx="35">
                  <c:v>1.0143610626367219</c:v>
                </c:pt>
                <c:pt idx="36">
                  <c:v>1.1127840737515318</c:v>
                </c:pt>
                <c:pt idx="37">
                  <c:v>1.1485739751588548</c:v>
                </c:pt>
                <c:pt idx="38">
                  <c:v>0.9387140265717762</c:v>
                </c:pt>
                <c:pt idx="39">
                  <c:v>1.1825987685987922</c:v>
                </c:pt>
                <c:pt idx="40">
                  <c:v>1.230173113612817</c:v>
                </c:pt>
                <c:pt idx="41">
                  <c:v>1.238691529107281</c:v>
                </c:pt>
                <c:pt idx="42">
                  <c:v>1.1003344656748013</c:v>
                </c:pt>
                <c:pt idx="43">
                  <c:v>1.2795849726678514</c:v>
                </c:pt>
                <c:pt idx="44">
                  <c:v>1.3444005425248269</c:v>
                </c:pt>
                <c:pt idx="45">
                  <c:v>1.4857197289344766</c:v>
                </c:pt>
                <c:pt idx="46">
                  <c:v>1.3702746569063522</c:v>
                </c:pt>
                <c:pt idx="47">
                  <c:v>1.3822246950893888</c:v>
                </c:pt>
                <c:pt idx="48">
                  <c:v>1.381124932846596</c:v>
                </c:pt>
                <c:pt idx="49">
                  <c:v>1.5701118935615936</c:v>
                </c:pt>
                <c:pt idx="50">
                  <c:v>1.8047080643673468</c:v>
                </c:pt>
                <c:pt idx="51">
                  <c:v>1.568496072374519</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9547792202403155</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9547792202403155</c:v>
                </c:pt>
                <c:pt idx="1">
                  <c:v>0.9547792202403155</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9547792202403155</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9547792202403155</c:v>
                </c:pt>
                <c:pt idx="1">
                  <c:v>0.9547792202403155</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1.6761999871298874</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1.6761999871298874</c:v>
                </c:pt>
                <c:pt idx="1">
                  <c:v>1.6761999871298874</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1.5854691205807725</c:v>
                </c:pt>
                <c:pt idx="1">
                  <c:v>1.3215079323808208</c:v>
                </c:pt>
                <c:pt idx="2">
                  <c:v>1.4424230517333654</c:v>
                </c:pt>
                <c:pt idx="3">
                  <c:v>1.3505836690037807</c:v>
                </c:pt>
                <c:pt idx="4">
                  <c:v>1.4375914728493275</c:v>
                </c:pt>
                <c:pt idx="5">
                  <c:v>1.2846606781796892</c:v>
                </c:pt>
                <c:pt idx="6">
                  <c:v>1.4482647278624154</c:v>
                </c:pt>
                <c:pt idx="7">
                  <c:v>1.5216848869948936</c:v>
                </c:pt>
                <c:pt idx="8">
                  <c:v>1.2745038794040544</c:v>
                </c:pt>
                <c:pt idx="9">
                  <c:v>1.2281111165693828</c:v>
                </c:pt>
                <c:pt idx="10">
                  <c:v>1.376594081736384</c:v>
                </c:pt>
                <c:pt idx="11">
                  <c:v>1.44925532349392</c:v>
                </c:pt>
                <c:pt idx="12">
                  <c:v>1.4473785579680023</c:v>
                </c:pt>
                <c:pt idx="13">
                  <c:v>1.4550259897142326</c:v>
                </c:pt>
                <c:pt idx="14">
                  <c:v>1.4637302332482254</c:v>
                </c:pt>
                <c:pt idx="15">
                  <c:v>1.414388433627674</c:v>
                </c:pt>
                <c:pt idx="16">
                  <c:v>1.1854517409387437</c:v>
                </c:pt>
                <c:pt idx="17">
                  <c:v>1.1930209316307963</c:v>
                </c:pt>
                <c:pt idx="18">
                  <c:v>1.3820997381446212</c:v>
                </c:pt>
                <c:pt idx="19">
                  <c:v>1.0417424248949976</c:v>
                </c:pt>
                <c:pt idx="20">
                  <c:v>1.3093473959519197</c:v>
                </c:pt>
                <c:pt idx="21">
                  <c:v>1.1178876627465586</c:v>
                </c:pt>
                <c:pt idx="22">
                  <c:v>0.9306931395678368</c:v>
                </c:pt>
                <c:pt idx="23">
                  <c:v>0.9621955022819343</c:v>
                </c:pt>
                <c:pt idx="24">
                  <c:v>1.0999359705150382</c:v>
                </c:pt>
                <c:pt idx="25">
                  <c:v>0.8437167213281431</c:v>
                </c:pt>
                <c:pt idx="26">
                  <c:v>0.9292903554592942</c:v>
                </c:pt>
                <c:pt idx="27">
                  <c:v>1.1791976651353075</c:v>
                </c:pt>
                <c:pt idx="28">
                  <c:v>1.4184507631436565</c:v>
                </c:pt>
                <c:pt idx="29">
                  <c:v>1.2384613587936624</c:v>
                </c:pt>
                <c:pt idx="30">
                  <c:v>1.5498916558111555</c:v>
                </c:pt>
                <c:pt idx="31">
                  <c:v>1.1858890500808752</c:v>
                </c:pt>
                <c:pt idx="32">
                  <c:v>1.0990285259481931</c:v>
                </c:pt>
                <c:pt idx="33">
                  <c:v>1.1452114285714285</c:v>
                </c:pt>
                <c:pt idx="34">
                  <c:v>1.0996861612347861</c:v>
                </c:pt>
                <c:pt idx="35">
                  <c:v>1.0143610626367219</c:v>
                </c:pt>
                <c:pt idx="36">
                  <c:v>1.1127840737515318</c:v>
                </c:pt>
                <c:pt idx="37">
                  <c:v>1.1485739751588548</c:v>
                </c:pt>
                <c:pt idx="38">
                  <c:v>0.9387140265717762</c:v>
                </c:pt>
                <c:pt idx="39">
                  <c:v>1.1825987685987922</c:v>
                </c:pt>
                <c:pt idx="40">
                  <c:v>1.230173113612817</c:v>
                </c:pt>
                <c:pt idx="41">
                  <c:v>1.238691529107281</c:v>
                </c:pt>
                <c:pt idx="42">
                  <c:v>1.1003344656748013</c:v>
                </c:pt>
                <c:pt idx="43">
                  <c:v>1.2795849726678514</c:v>
                </c:pt>
                <c:pt idx="44">
                  <c:v>1.3444005425248269</c:v>
                </c:pt>
                <c:pt idx="45">
                  <c:v>1.4857197289344766</c:v>
                </c:pt>
                <c:pt idx="46">
                  <c:v>1.3702746569063522</c:v>
                </c:pt>
                <c:pt idx="47">
                  <c:v>1.3822246950893888</c:v>
                </c:pt>
                <c:pt idx="48">
                  <c:v>1.381124932846596</c:v>
                </c:pt>
                <c:pt idx="49">
                  <c:v>1.5701118935615936</c:v>
                </c:pt>
                <c:pt idx="50">
                  <c:v>1.8047080643673468</c:v>
                </c:pt>
                <c:pt idx="51">
                  <c:v>1.568496072374519</c:v>
                </c:pt>
                <c:pt idx="52">
                  <c:v>0.9547792202403155</c:v>
                </c:pt>
                <c:pt idx="53">
                  <c:v>0.9547792202403155</c:v>
                </c:pt>
                <c:pt idx="54">
                  <c:v>1.6761999871298874</c:v>
                </c:pt>
              </c:numCache>
            </c:numRef>
          </c:xVal>
          <c:yVal>
            <c:numRef>
              <c:f>Sheet1!$B$135:$B$189</c:f>
              <c:numCache>
                <c:formatCode>General</c:formatCode>
                <c:ptCount val="55"/>
                <c:pt idx="0">
                  <c:v>0.002724635876955232</c:v>
                </c:pt>
                <c:pt idx="1">
                  <c:v>0.0034943012821112424</c:v>
                </c:pt>
                <c:pt idx="2">
                  <c:v>0.0031417335998674906</c:v>
                </c:pt>
                <c:pt idx="3">
                  <c:v>0.0034095214371623406</c:v>
                </c:pt>
                <c:pt idx="4">
                  <c:v>0.0031558216525266166</c:v>
                </c:pt>
                <c:pt idx="5">
                  <c:v>0.003601741535077969</c:v>
                </c:pt>
                <c:pt idx="6">
                  <c:v>0.0031247002774487057</c:v>
                </c:pt>
                <c:pt idx="7">
                  <c:v>0.00291061972677884</c:v>
                </c:pt>
                <c:pt idx="8">
                  <c:v>0.003631357012633765</c:v>
                </c:pt>
                <c:pt idx="9">
                  <c:v>0.0037666303262862484</c:v>
                </c:pt>
                <c:pt idx="10">
                  <c:v>0.003333679549229371</c:v>
                </c:pt>
                <c:pt idx="11">
                  <c:v>0.0031218118710384032</c:v>
                </c:pt>
                <c:pt idx="12">
                  <c:v>0.0031272841963781196</c:v>
                </c:pt>
                <c:pt idx="13">
                  <c:v>0.0031049856012948657</c:v>
                </c:pt>
                <c:pt idx="14">
                  <c:v>0.0030796055248834336</c:v>
                </c:pt>
                <c:pt idx="15">
                  <c:v>0.0032234777223646444</c:v>
                </c:pt>
                <c:pt idx="16">
                  <c:v>0.0038910177252533527</c:v>
                </c:pt>
                <c:pt idx="17">
                  <c:v>0.0038689472676211923</c:v>
                </c:pt>
                <c:pt idx="18">
                  <c:v>0.0033176260024977743</c:v>
                </c:pt>
                <c:pt idx="19">
                  <c:v>0.004310049362865611</c:v>
                </c:pt>
                <c:pt idx="20">
                  <c:v>0.00352975931388209</c:v>
                </c:pt>
                <c:pt idx="21">
                  <c:v>0.004088022951553475</c:v>
                </c:pt>
                <c:pt idx="22">
                  <c:v>0.004633849970699176</c:v>
                </c:pt>
                <c:pt idx="23">
                  <c:v>0.004541994501616537</c:v>
                </c:pt>
                <c:pt idx="24">
                  <c:v>0.004140366997164236</c:v>
                </c:pt>
                <c:pt idx="25">
                  <c:v>0.004887458240308734</c:v>
                </c:pt>
                <c:pt idx="26">
                  <c:v>0.004637940247783511</c:v>
                </c:pt>
                <c:pt idx="27">
                  <c:v>0.0039092535341612965</c:v>
                </c:pt>
                <c:pt idx="28">
                  <c:v>0.003211632668498515</c:v>
                </c:pt>
                <c:pt idx="29">
                  <c:v>0.003736450800919896</c:v>
                </c:pt>
                <c:pt idx="30">
                  <c:v>0.0028283736424315276</c:v>
                </c:pt>
                <c:pt idx="31">
                  <c:v>0.0038897426070424053</c:v>
                </c:pt>
                <c:pt idx="32">
                  <c:v>0.004143012949377743</c:v>
                </c:pt>
                <c:pt idx="33">
                  <c:v>0.004008351551991293</c:v>
                </c:pt>
                <c:pt idx="34">
                  <c:v>0.004141095398040926</c:v>
                </c:pt>
                <c:pt idx="35">
                  <c:v>0.00438988870371702</c:v>
                </c:pt>
                <c:pt idx="36">
                  <c:v>0.004102904138891635</c:v>
                </c:pt>
                <c:pt idx="37">
                  <c:v>0.003998546944733627</c:v>
                </c:pt>
                <c:pt idx="38">
                  <c:v>0.004610462444344653</c:v>
                </c:pt>
                <c:pt idx="39">
                  <c:v>0.0038993365016875016</c:v>
                </c:pt>
                <c:pt idx="40">
                  <c:v>0.0037606178977141243</c:v>
                </c:pt>
                <c:pt idx="41">
                  <c:v>0.0037357796638906446</c:v>
                </c:pt>
                <c:pt idx="42">
                  <c:v>0.004139205053847178</c:v>
                </c:pt>
                <c:pt idx="43">
                  <c:v>0.003616541418977044</c:v>
                </c:pt>
                <c:pt idx="44">
                  <c:v>0.003427550370048299</c:v>
                </c:pt>
                <c:pt idx="45">
                  <c:v>0.003015487939180969</c:v>
                </c:pt>
                <c:pt idx="46">
                  <c:v>0.0033521059046543013</c:v>
                </c:pt>
                <c:pt idx="47">
                  <c:v>0.0033172616495480943</c:v>
                </c:pt>
                <c:pt idx="48">
                  <c:v>0.0033204683670126833</c:v>
                </c:pt>
                <c:pt idx="49">
                  <c:v>0.0027694149084347974</c:v>
                </c:pt>
                <c:pt idx="50">
                  <c:v>0.0020853728411802603</c:v>
                </c:pt>
                <c:pt idx="51">
                  <c:v>0.0027741263649829753</c:v>
                </c:pt>
                <c:pt idx="52">
                  <c:v>0.004563619103934927</c:v>
                </c:pt>
                <c:pt idx="53">
                  <c:v>0.004563619103934927</c:v>
                </c:pt>
                <c:pt idx="54">
                  <c:v>0.002460080282100952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21625104398809</c:v>
                </c:pt>
                <c:pt idx="1">
                  <c:v>0.22954659147869674</c:v>
                </c:pt>
                <c:pt idx="2">
                  <c:v>0.2219030201278215</c:v>
                </c:pt>
                <c:pt idx="3">
                  <c:v>0.2542208758176861</c:v>
                </c:pt>
                <c:pt idx="4">
                  <c:v>0.23932343437151046</c:v>
                </c:pt>
                <c:pt idx="5">
                  <c:v>0.21896198043349008</c:v>
                </c:pt>
                <c:pt idx="6">
                  <c:v>0.2037208323230542</c:v>
                </c:pt>
                <c:pt idx="7">
                  <c:v>0.20094173279606686</c:v>
                </c:pt>
                <c:pt idx="8">
                  <c:v>0.1685362211029697</c:v>
                </c:pt>
                <c:pt idx="9">
                  <c:v>0.20595134139087345</c:v>
                </c:pt>
                <c:pt idx="10">
                  <c:v>0.22232080269965285</c:v>
                </c:pt>
                <c:pt idx="11">
                  <c:v>0.21986007801665391</c:v>
                </c:pt>
                <c:pt idx="12">
                  <c:v>0.2354264064491958</c:v>
                </c:pt>
                <c:pt idx="13">
                  <c:v>0.24191852452388743</c:v>
                </c:pt>
                <c:pt idx="14">
                  <c:v>0.22944285203290807</c:v>
                </c:pt>
                <c:pt idx="15">
                  <c:v>0.22288466179315414</c:v>
                </c:pt>
                <c:pt idx="16">
                  <c:v>0.23506402703932588</c:v>
                </c:pt>
                <c:pt idx="17">
                  <c:v>0.18074727001935523</c:v>
                </c:pt>
                <c:pt idx="18">
                  <c:v>0.23223885301048863</c:v>
                </c:pt>
                <c:pt idx="19">
                  <c:v>0.22156744879611556</c:v>
                </c:pt>
                <c:pt idx="20">
                  <c:v>0.2230766570128156</c:v>
                </c:pt>
                <c:pt idx="21">
                  <c:v>0.16795962035201667</c:v>
                </c:pt>
                <c:pt idx="22">
                  <c:v>0.17981151375862095</c:v>
                </c:pt>
                <c:pt idx="23">
                  <c:v>0.1779064066968627</c:v>
                </c:pt>
                <c:pt idx="24">
                  <c:v>0.20338387470659505</c:v>
                </c:pt>
                <c:pt idx="25">
                  <c:v>0.18012502374109232</c:v>
                </c:pt>
                <c:pt idx="26">
                  <c:v>0.18486912022517543</c:v>
                </c:pt>
                <c:pt idx="27">
                  <c:v>0.20546286014271076</c:v>
                </c:pt>
                <c:pt idx="28">
                  <c:v>0.18253566373891478</c:v>
                </c:pt>
                <c:pt idx="29">
                  <c:v>0.17320518668517307</c:v>
                </c:pt>
                <c:pt idx="30">
                  <c:v>0.1720660954480312</c:v>
                </c:pt>
                <c:pt idx="31">
                  <c:v>0.16546519364317416</c:v>
                </c:pt>
                <c:pt idx="32">
                  <c:v>0.1785654338881616</c:v>
                </c:pt>
                <c:pt idx="33">
                  <c:v>0.1890973080712713</c:v>
                </c:pt>
                <c:pt idx="34">
                  <c:v>0.2193164371585638</c:v>
                </c:pt>
                <c:pt idx="35">
                  <c:v>0.24889250182240225</c:v>
                </c:pt>
                <c:pt idx="36">
                  <c:v>0.21104678073885827</c:v>
                </c:pt>
                <c:pt idx="37">
                  <c:v>0.20334418275080407</c:v>
                </c:pt>
                <c:pt idx="38">
                  <c:v>0.19467958093849735</c:v>
                </c:pt>
                <c:pt idx="39">
                  <c:v>0.1960351294483885</c:v>
                </c:pt>
                <c:pt idx="40">
                  <c:v>0.26167561469230555</c:v>
                </c:pt>
                <c:pt idx="41">
                  <c:v>0.22906138884145444</c:v>
                </c:pt>
                <c:pt idx="42">
                  <c:v>0.2381133082371156</c:v>
                </c:pt>
                <c:pt idx="43">
                  <c:v>0.22187490531650803</c:v>
                </c:pt>
                <c:pt idx="44">
                  <c:v>0.2224222572395443</c:v>
                </c:pt>
                <c:pt idx="45">
                  <c:v>0.21923133017134036</c:v>
                </c:pt>
                <c:pt idx="46">
                  <c:v>0.24770712033985165</c:v>
                </c:pt>
                <c:pt idx="47">
                  <c:v>0.20344840242085716</c:v>
                </c:pt>
                <c:pt idx="48">
                  <c:v>0.2592654577402996</c:v>
                </c:pt>
                <c:pt idx="49">
                  <c:v>0.275000896852943</c:v>
                </c:pt>
                <c:pt idx="50">
                  <c:v>0.22236545504166486</c:v>
                </c:pt>
                <c:pt idx="51">
                  <c:v>0.1884124311695287</c:v>
                </c:pt>
                <c:pt idx="52">
                  <c:v>0.22975497646653656</c:v>
                </c:pt>
                <c:pt idx="53">
                  <c:v>0.21865614679788065</c:v>
                </c:pt>
                <c:pt idx="54">
                  <c:v>0.2272751827477545</c:v>
                </c:pt>
                <c:pt idx="55">
                  <c:v>0.22374690646531023</c:v>
                </c:pt>
                <c:pt idx="56">
                  <c:v>0.220055250167713</c:v>
                </c:pt>
                <c:pt idx="57">
                  <c:v>0.22407510313781587</c:v>
                </c:pt>
                <c:pt idx="58">
                  <c:v>0.21451458873013005</c:v>
                </c:pt>
                <c:pt idx="59">
                  <c:v>0.2318406984377857</c:v>
                </c:pt>
                <c:pt idx="60">
                  <c:v>0.24307560507722012</c:v>
                </c:pt>
                <c:pt idx="61">
                  <c:v>0.2310121019337816</c:v>
                </c:pt>
                <c:pt idx="62">
                  <c:v>0.24189246539265719</c:v>
                </c:pt>
                <c:pt idx="63">
                  <c:v>0.24599208057206193</c:v>
                </c:pt>
                <c:pt idx="64">
                  <c:v>0.2630270359147524</c:v>
                </c:pt>
                <c:pt idx="65">
                  <c:v>0.2146485664265419</c:v>
                </c:pt>
                <c:pt idx="66">
                  <c:v>0.2149064207639612</c:v>
                </c:pt>
                <c:pt idx="67">
                  <c:v>0.20710953132461515</c:v>
                </c:pt>
                <c:pt idx="68">
                  <c:v>0.17146395051792446</c:v>
                </c:pt>
                <c:pt idx="69">
                  <c:v>0.16086452196284914</c:v>
                </c:pt>
                <c:pt idx="70">
                  <c:v>0.1498211743077897</c:v>
                </c:pt>
                <c:pt idx="71">
                  <c:v>0.15484323324094573</c:v>
                </c:pt>
                <c:pt idx="72">
                  <c:v>0.1714951833607006</c:v>
                </c:pt>
                <c:pt idx="73">
                  <c:v>0.16324171117750885</c:v>
                </c:pt>
                <c:pt idx="74">
                  <c:v>0.16606531300193708</c:v>
                </c:pt>
                <c:pt idx="75">
                  <c:v>0.1705508395093514</c:v>
                </c:pt>
                <c:pt idx="76">
                  <c:v>0.1522253742370084</c:v>
                </c:pt>
                <c:pt idx="77">
                  <c:v>0.14836327857859766</c:v>
                </c:pt>
                <c:pt idx="78">
                  <c:v>0.1475528141162154</c:v>
                </c:pt>
                <c:pt idx="79">
                  <c:v>0.09412961068255873</c:v>
                </c:pt>
                <c:pt idx="80">
                  <c:v>0.07817485231450153</c:v>
                </c:pt>
                <c:pt idx="81">
                  <c:v>0.13692136055389373</c:v>
                </c:pt>
                <c:pt idx="82">
                  <c:v>0.13610183104651719</c:v>
                </c:pt>
                <c:pt idx="83">
                  <c:v>0.13785927668194953</c:v>
                </c:pt>
                <c:pt idx="84">
                  <c:v>0.1128997484612873</c:v>
                </c:pt>
                <c:pt idx="85">
                  <c:v>0.1584568610374729</c:v>
                </c:pt>
                <c:pt idx="86">
                  <c:v>0.17039916943945133</c:v>
                </c:pt>
                <c:pt idx="87">
                  <c:v>0.19812745727276843</c:v>
                </c:pt>
                <c:pt idx="88">
                  <c:v>0.16489910870376875</c:v>
                </c:pt>
                <c:pt idx="89">
                  <c:v>0.16017316005136614</c:v>
                </c:pt>
                <c:pt idx="90">
                  <c:v>0.18929768990954063</c:v>
                </c:pt>
                <c:pt idx="91">
                  <c:v>0.20267821320461424</c:v>
                </c:pt>
                <c:pt idx="92">
                  <c:v>0.21144910574752562</c:v>
                </c:pt>
                <c:pt idx="93">
                  <c:v>0.18912764289074688</c:v>
                </c:pt>
                <c:pt idx="94">
                  <c:v>0.20999615932913906</c:v>
                </c:pt>
                <c:pt idx="95">
                  <c:v>0.19609945862457157</c:v>
                </c:pt>
                <c:pt idx="96">
                  <c:v>0.19917009654872977</c:v>
                </c:pt>
                <c:pt idx="97">
                  <c:v>0.22180164807045866</c:v>
                </c:pt>
                <c:pt idx="98">
                  <c:v>0.2412890622493616</c:v>
                </c:pt>
                <c:pt idx="99">
                  <c:v>0.22641521633739195</c:v>
                </c:pt>
                <c:pt idx="100">
                  <c:v>0.24021693276929504</c:v>
                </c:pt>
                <c:pt idx="101">
                  <c:v>0.24034063607137343</c:v>
                </c:pt>
                <c:pt idx="102">
                  <c:v>0.21561949693154306</c:v>
                </c:pt>
                <c:pt idx="103">
                  <c:v>0.1973982929576195</c:v>
                </c:pt>
                <c:pt idx="104">
                  <c:v>0.21779055747611975</c:v>
                </c:pt>
              </c:numCache>
            </c:numRef>
          </c:xVal>
          <c:yVal>
            <c:numRef>
              <c:f>Sheet1!$B$2:$B$106</c:f>
              <c:numCache>
                <c:formatCode>General</c:formatCode>
                <c:ptCount val="105"/>
                <c:pt idx="0">
                  <c:v>0.18345829428303656</c:v>
                </c:pt>
                <c:pt idx="1">
                  <c:v>0.18923157344485103</c:v>
                </c:pt>
                <c:pt idx="2">
                  <c:v>0.15974903474903476</c:v>
                </c:pt>
                <c:pt idx="3">
                  <c:v>0.16344687341128622</c:v>
                </c:pt>
                <c:pt idx="4">
                  <c:v>0.15944645006016847</c:v>
                </c:pt>
                <c:pt idx="5">
                  <c:v>0.1454604620891637</c:v>
                </c:pt>
                <c:pt idx="6">
                  <c:v>0.1795131845841785</c:v>
                </c:pt>
                <c:pt idx="7">
                  <c:v>0.1766211604095563</c:v>
                </c:pt>
                <c:pt idx="8">
                  <c:v>0.17562189054726368</c:v>
                </c:pt>
                <c:pt idx="9">
                  <c:v>0.17387304507819687</c:v>
                </c:pt>
                <c:pt idx="10">
                  <c:v>0.18946085897045387</c:v>
                </c:pt>
                <c:pt idx="11">
                  <c:v>0.18147328485614922</c:v>
                </c:pt>
                <c:pt idx="12">
                  <c:v>0.20694368507381083</c:v>
                </c:pt>
                <c:pt idx="13">
                  <c:v>0.21898569570871262</c:v>
                </c:pt>
                <c:pt idx="14">
                  <c:v>0.20590318772136953</c:v>
                </c:pt>
                <c:pt idx="15">
                  <c:v>0.20397579948141745</c:v>
                </c:pt>
                <c:pt idx="16">
                  <c:v>0.20418118466898955</c:v>
                </c:pt>
                <c:pt idx="17">
                  <c:v>0.17122781065088757</c:v>
                </c:pt>
                <c:pt idx="18">
                  <c:v>0.14758380496299522</c:v>
                </c:pt>
                <c:pt idx="19">
                  <c:v>0.13572204125950055</c:v>
                </c:pt>
                <c:pt idx="20">
                  <c:v>0.15298969072164947</c:v>
                </c:pt>
                <c:pt idx="21">
                  <c:v>0.14978775015160703</c:v>
                </c:pt>
                <c:pt idx="22">
                  <c:v>0.1485254691689008</c:v>
                </c:pt>
                <c:pt idx="23">
                  <c:v>0.16701680672268907</c:v>
                </c:pt>
                <c:pt idx="24">
                  <c:v>0.15950069348127602</c:v>
                </c:pt>
                <c:pt idx="25">
                  <c:v>0.16312056737588654</c:v>
                </c:pt>
                <c:pt idx="26">
                  <c:v>0.1833249623304872</c:v>
                </c:pt>
                <c:pt idx="27">
                  <c:v>0.16995181778361804</c:v>
                </c:pt>
                <c:pt idx="28">
                  <c:v>0.1742831541218638</c:v>
                </c:pt>
                <c:pt idx="29">
                  <c:v>0.2174206617150574</c:v>
                </c:pt>
                <c:pt idx="30">
                  <c:v>0.18413597733711048</c:v>
                </c:pt>
                <c:pt idx="31">
                  <c:v>0.18238993710691823</c:v>
                </c:pt>
                <c:pt idx="32">
                  <c:v>0.1974267968056788</c:v>
                </c:pt>
                <c:pt idx="33">
                  <c:v>0.2162930217871803</c:v>
                </c:pt>
                <c:pt idx="34">
                  <c:v>0.20673663656333902</c:v>
                </c:pt>
                <c:pt idx="35">
                  <c:v>0.1901561144839549</c:v>
                </c:pt>
                <c:pt idx="36">
                  <c:v>0.15139949109414758</c:v>
                </c:pt>
                <c:pt idx="37">
                  <c:v>0.13218849840255592</c:v>
                </c:pt>
                <c:pt idx="38">
                  <c:v>0.13630781825624233</c:v>
                </c:pt>
                <c:pt idx="39">
                  <c:v>0.14158576051779936</c:v>
                </c:pt>
                <c:pt idx="40">
                  <c:v>0.13762587732682333</c:v>
                </c:pt>
                <c:pt idx="41">
                  <c:v>0.11377473363774733</c:v>
                </c:pt>
                <c:pt idx="42">
                  <c:v>0.11920313520574788</c:v>
                </c:pt>
                <c:pt idx="43">
                  <c:v>0.13690999706830842</c:v>
                </c:pt>
                <c:pt idx="44">
                  <c:v>0.17016188373804267</c:v>
                </c:pt>
                <c:pt idx="45">
                  <c:v>0.20245717252119744</c:v>
                </c:pt>
                <c:pt idx="46">
                  <c:v>0.2086113759135685</c:v>
                </c:pt>
                <c:pt idx="47">
                  <c:v>0.20736603246639904</c:v>
                </c:pt>
                <c:pt idx="48">
                  <c:v>0.22646279797736577</c:v>
                </c:pt>
                <c:pt idx="49">
                  <c:v>0.2582408874801902</c:v>
                </c:pt>
                <c:pt idx="50">
                  <c:v>0.2128182616330114</c:v>
                </c:pt>
                <c:pt idx="51">
                  <c:v>0.18120469882529366</c:v>
                </c:pt>
                <c:pt idx="52">
                  <c:v>0.21456436931079323</c:v>
                </c:pt>
                <c:pt idx="53">
                  <c:v>0.19743527703847086</c:v>
                </c:pt>
                <c:pt idx="54">
                  <c:v>0.17784581129974952</c:v>
                </c:pt>
                <c:pt idx="55">
                  <c:v>0.15428900402993667</c:v>
                </c:pt>
                <c:pt idx="56">
                  <c:v>0.164260506897658</c:v>
                </c:pt>
                <c:pt idx="57">
                  <c:v>0.16355653128430298</c:v>
                </c:pt>
                <c:pt idx="58">
                  <c:v>0.17954271961492177</c:v>
                </c:pt>
                <c:pt idx="59">
                  <c:v>0.198504206918043</c:v>
                </c:pt>
                <c:pt idx="60">
                  <c:v>0.20175595771367139</c:v>
                </c:pt>
                <c:pt idx="61">
                  <c:v>0.19443715560220415</c:v>
                </c:pt>
                <c:pt idx="62">
                  <c:v>0.19858823529411765</c:v>
                </c:pt>
                <c:pt idx="63">
                  <c:v>0.22043730477465417</c:v>
                </c:pt>
                <c:pt idx="64">
                  <c:v>0.2106962663975782</c:v>
                </c:pt>
                <c:pt idx="65">
                  <c:v>0.19352088661551578</c:v>
                </c:pt>
                <c:pt idx="66">
                  <c:v>0.21004464285714286</c:v>
                </c:pt>
                <c:pt idx="67">
                  <c:v>0.22169598556608028</c:v>
                </c:pt>
                <c:pt idx="68">
                  <c:v>0.2191973056413135</c:v>
                </c:pt>
                <c:pt idx="69">
                  <c:v>0.1874338157430286</c:v>
                </c:pt>
                <c:pt idx="70">
                  <c:v>0.16660746003552399</c:v>
                </c:pt>
                <c:pt idx="71">
                  <c:v>0.1930116472545757</c:v>
                </c:pt>
                <c:pt idx="72">
                  <c:v>0.17625769091567137</c:v>
                </c:pt>
                <c:pt idx="73">
                  <c:v>0.1916868442292171</c:v>
                </c:pt>
                <c:pt idx="74">
                  <c:v>0.18207580588026923</c:v>
                </c:pt>
                <c:pt idx="75">
                  <c:v>0.19820971867007672</c:v>
                </c:pt>
                <c:pt idx="76">
                  <c:v>0.17003628823224468</c:v>
                </c:pt>
                <c:pt idx="77">
                  <c:v>0.2073732718894009</c:v>
                </c:pt>
                <c:pt idx="78">
                  <c:v>0.14522821576763487</c:v>
                </c:pt>
                <c:pt idx="79">
                  <c:v>0.24066558441558442</c:v>
                </c:pt>
                <c:pt idx="80">
                  <c:v>0.2531356898517674</c:v>
                </c:pt>
                <c:pt idx="81">
                  <c:v>0.16340097970608816</c:v>
                </c:pt>
                <c:pt idx="82">
                  <c:v>0.14990138067061143</c:v>
                </c:pt>
                <c:pt idx="83">
                  <c:v>0.1346578366445916</c:v>
                </c:pt>
                <c:pt idx="84">
                  <c:v>0.16205962059620596</c:v>
                </c:pt>
                <c:pt idx="85">
                  <c:v>0.13402548371873524</c:v>
                </c:pt>
                <c:pt idx="86">
                  <c:v>0.14930906639703403</c:v>
                </c:pt>
                <c:pt idx="87">
                  <c:v>0.1605703657780533</c:v>
                </c:pt>
                <c:pt idx="88">
                  <c:v>0.13970588235294118</c:v>
                </c:pt>
                <c:pt idx="89">
                  <c:v>0.13749390541199416</c:v>
                </c:pt>
                <c:pt idx="90">
                  <c:v>0.13364705882352942</c:v>
                </c:pt>
                <c:pt idx="91">
                  <c:v>0.12318181818181818</c:v>
                </c:pt>
                <c:pt idx="92">
                  <c:v>0.1390728476821192</c:v>
                </c:pt>
                <c:pt idx="93">
                  <c:v>0.12993948024207902</c:v>
                </c:pt>
                <c:pt idx="94">
                  <c:v>0.1362876254180602</c:v>
                </c:pt>
                <c:pt idx="95">
                  <c:v>0.14035617265318442</c:v>
                </c:pt>
                <c:pt idx="96">
                  <c:v>0.14131076559732336</c:v>
                </c:pt>
                <c:pt idx="97">
                  <c:v>0.14306949089557786</c:v>
                </c:pt>
                <c:pt idx="98">
                  <c:v>0.1731662024141133</c:v>
                </c:pt>
                <c:pt idx="99">
                  <c:v>0.17532119914346894</c:v>
                </c:pt>
                <c:pt idx="100">
                  <c:v>0.2006058884786519</c:v>
                </c:pt>
                <c:pt idx="101">
                  <c:v>0.18606213266162888</c:v>
                </c:pt>
                <c:pt idx="102">
                  <c:v>0.1453698913605794</c:v>
                </c:pt>
                <c:pt idx="103">
                  <c:v>0.14989344068197963</c:v>
                </c:pt>
                <c:pt idx="104">
                  <c:v>0.1571675302245250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4344436505437547</c:v>
                </c:pt>
                <c:pt idx="1">
                  <c:v>0.2576967208277105</c:v>
                </c:pt>
                <c:pt idx="2">
                  <c:v>0.2656781155988157</c:v>
                </c:pt>
                <c:pt idx="3">
                  <c:v>0.23260477766830026</c:v>
                </c:pt>
                <c:pt idx="4">
                  <c:v>0.1940212053704008</c:v>
                </c:pt>
                <c:pt idx="5">
                  <c:v>0.24037639222795854</c:v>
                </c:pt>
                <c:pt idx="6">
                  <c:v>0.21234210137180895</c:v>
                </c:pt>
                <c:pt idx="7">
                  <c:v>0.19036493614178437</c:v>
                </c:pt>
                <c:pt idx="8">
                  <c:v>0.24852830351708438</c:v>
                </c:pt>
                <c:pt idx="9">
                  <c:v>0.20815134742765734</c:v>
                </c:pt>
                <c:pt idx="10">
                  <c:v>0.19403937606731167</c:v>
                </c:pt>
                <c:pt idx="11">
                  <c:v>0.1894314497105334</c:v>
                </c:pt>
                <c:pt idx="12">
                  <c:v>0.2001340615920221</c:v>
                </c:pt>
                <c:pt idx="13">
                  <c:v>0.1994999290056147</c:v>
                </c:pt>
                <c:pt idx="14">
                  <c:v>0.21491766362171474</c:v>
                </c:pt>
                <c:pt idx="15">
                  <c:v>0.20945633585147802</c:v>
                </c:pt>
                <c:pt idx="16">
                  <c:v>0.2170228163371941</c:v>
                </c:pt>
                <c:pt idx="17">
                  <c:v>0.21057074655780808</c:v>
                </c:pt>
                <c:pt idx="18">
                  <c:v>0.16381919504768486</c:v>
                </c:pt>
                <c:pt idx="19">
                  <c:v>0.21954768663941643</c:v>
                </c:pt>
                <c:pt idx="20">
                  <c:v>0.20142919326808353</c:v>
                </c:pt>
                <c:pt idx="21">
                  <c:v>0.16829789942206289</c:v>
                </c:pt>
                <c:pt idx="22">
                  <c:v>0.1493010923959161</c:v>
                </c:pt>
                <c:pt idx="23">
                  <c:v>0.17325846520679117</c:v>
                </c:pt>
                <c:pt idx="24">
                  <c:v>0.18198847613577124</c:v>
                </c:pt>
                <c:pt idx="25">
                  <c:v>0.15403959196591305</c:v>
                </c:pt>
                <c:pt idx="26">
                  <c:v>0.16364244294881097</c:v>
                </c:pt>
                <c:pt idx="27">
                  <c:v>0.17821468752435546</c:v>
                </c:pt>
                <c:pt idx="28">
                  <c:v>0.1830560906092753</c:v>
                </c:pt>
                <c:pt idx="29">
                  <c:v>0.1653969334288527</c:v>
                </c:pt>
                <c:pt idx="30">
                  <c:v>0.1624951864023195</c:v>
                </c:pt>
                <c:pt idx="31">
                  <c:v>0.14264412818571656</c:v>
                </c:pt>
                <c:pt idx="32">
                  <c:v>0.17618498436098792</c:v>
                </c:pt>
                <c:pt idx="33">
                  <c:v>0.17343434270757657</c:v>
                </c:pt>
                <c:pt idx="34">
                  <c:v>0.20590344851352274</c:v>
                </c:pt>
                <c:pt idx="35">
                  <c:v>0.18406448720597493</c:v>
                </c:pt>
                <c:pt idx="36">
                  <c:v>0.14583878878448073</c:v>
                </c:pt>
                <c:pt idx="37">
                  <c:v>0.15169696059285967</c:v>
                </c:pt>
                <c:pt idx="38">
                  <c:v>0.1629475398667223</c:v>
                </c:pt>
                <c:pt idx="39">
                  <c:v>0.17571077404424185</c:v>
                </c:pt>
                <c:pt idx="40">
                  <c:v>0.18610336805877445</c:v>
                </c:pt>
                <c:pt idx="41">
                  <c:v>0.19765071002201115</c:v>
                </c:pt>
                <c:pt idx="42">
                  <c:v>0.20485096761096738</c:v>
                </c:pt>
                <c:pt idx="43">
                  <c:v>0.22816300981406176</c:v>
                </c:pt>
                <c:pt idx="44">
                  <c:v>0.19379615936534736</c:v>
                </c:pt>
                <c:pt idx="45">
                  <c:v>0.20778278937421635</c:v>
                </c:pt>
                <c:pt idx="46">
                  <c:v>0.1941726743865281</c:v>
                </c:pt>
                <c:pt idx="47">
                  <c:v>0.17848641934057824</c:v>
                </c:pt>
                <c:pt idx="48">
                  <c:v>0.1703209805583928</c:v>
                </c:pt>
                <c:pt idx="49">
                  <c:v>0.21354475628067113</c:v>
                </c:pt>
                <c:pt idx="50">
                  <c:v>0.20365851116733288</c:v>
                </c:pt>
                <c:pt idx="51">
                  <c:v>0.17557824435722388</c:v>
                </c:pt>
              </c:numCache>
            </c:numRef>
          </c:xVal>
          <c:yVal>
            <c:numRef>
              <c:f>Sheet1!$B$109:$B$160</c:f>
              <c:numCache>
                <c:formatCode>General</c:formatCode>
                <c:ptCount val="52"/>
                <c:pt idx="0">
                  <c:v>0.16044399596367306</c:v>
                </c:pt>
                <c:pt idx="1">
                  <c:v>0.16296494514316295</c:v>
                </c:pt>
                <c:pt idx="2">
                  <c:v>0.17088014981273408</c:v>
                </c:pt>
                <c:pt idx="3">
                  <c:v>0.1851472471190781</c:v>
                </c:pt>
                <c:pt idx="4">
                  <c:v>0.1623885436368549</c:v>
                </c:pt>
                <c:pt idx="5">
                  <c:v>0.16757344940152338</c:v>
                </c:pt>
                <c:pt idx="6">
                  <c:v>0.16613051470588236</c:v>
                </c:pt>
                <c:pt idx="7">
                  <c:v>0.16281932902431517</c:v>
                </c:pt>
                <c:pt idx="8">
                  <c:v>0.14256535947712418</c:v>
                </c:pt>
                <c:pt idx="9">
                  <c:v>0.1511111111111111</c:v>
                </c:pt>
                <c:pt idx="10">
                  <c:v>0.16341463414634147</c:v>
                </c:pt>
                <c:pt idx="11">
                  <c:v>0.18516902944383862</c:v>
                </c:pt>
                <c:pt idx="12">
                  <c:v>0.18670725520040587</c:v>
                </c:pt>
                <c:pt idx="13">
                  <c:v>0.18616144975288304</c:v>
                </c:pt>
                <c:pt idx="14">
                  <c:v>0.19185162663423533</c:v>
                </c:pt>
                <c:pt idx="15">
                  <c:v>0.18467852257181944</c:v>
                </c:pt>
                <c:pt idx="16">
                  <c:v>0.16635017090770984</c:v>
                </c:pt>
                <c:pt idx="17">
                  <c:v>0.14134419551934826</c:v>
                </c:pt>
                <c:pt idx="18">
                  <c:v>0.14520958083832336</c:v>
                </c:pt>
                <c:pt idx="19">
                  <c:v>0.1591015442208704</c:v>
                </c:pt>
                <c:pt idx="20">
                  <c:v>0.1261166579085654</c:v>
                </c:pt>
                <c:pt idx="21">
                  <c:v>0.11872509960159362</c:v>
                </c:pt>
                <c:pt idx="22">
                  <c:v>0.13262999246420498</c:v>
                </c:pt>
                <c:pt idx="23">
                  <c:v>0.12613875262789068</c:v>
                </c:pt>
                <c:pt idx="24">
                  <c:v>0.12382075471698113</c:v>
                </c:pt>
                <c:pt idx="25">
                  <c:v>0.13415384615384615</c:v>
                </c:pt>
                <c:pt idx="26">
                  <c:v>0.12385073012439156</c:v>
                </c:pt>
                <c:pt idx="27">
                  <c:v>0.12603495860165592</c:v>
                </c:pt>
                <c:pt idx="28">
                  <c:v>0.15355805243445692</c:v>
                </c:pt>
                <c:pt idx="29">
                  <c:v>0.14425907752698724</c:v>
                </c:pt>
                <c:pt idx="30">
                  <c:v>0.15609514370664024</c:v>
                </c:pt>
                <c:pt idx="31">
                  <c:v>0.16649797570850203</c:v>
                </c:pt>
                <c:pt idx="32">
                  <c:v>0.17796976241900647</c:v>
                </c:pt>
                <c:pt idx="33">
                  <c:v>0.19298245614035087</c:v>
                </c:pt>
                <c:pt idx="34">
                  <c:v>0.22294172062904719</c:v>
                </c:pt>
                <c:pt idx="35">
                  <c:v>0.2157096102350491</c:v>
                </c:pt>
                <c:pt idx="36">
                  <c:v>0.15997738835500283</c:v>
                </c:pt>
                <c:pt idx="37">
                  <c:v>0.144072036018009</c:v>
                </c:pt>
                <c:pt idx="38">
                  <c:v>0.15585106382978722</c:v>
                </c:pt>
                <c:pt idx="39">
                  <c:v>0.18006925740669488</c:v>
                </c:pt>
                <c:pt idx="40">
                  <c:v>0.13734835355285963</c:v>
                </c:pt>
                <c:pt idx="41">
                  <c:v>0.14099429502852487</c:v>
                </c:pt>
                <c:pt idx="42">
                  <c:v>0.13027522935779817</c:v>
                </c:pt>
                <c:pt idx="43">
                  <c:v>0.13859480269489893</c:v>
                </c:pt>
                <c:pt idx="44">
                  <c:v>0.12476672887230073</c:v>
                </c:pt>
                <c:pt idx="45">
                  <c:v>0.14844172221221402</c:v>
                </c:pt>
                <c:pt idx="46">
                  <c:v>0.142144045638222</c:v>
                </c:pt>
                <c:pt idx="47">
                  <c:v>0.1467706013363029</c:v>
                </c:pt>
                <c:pt idx="48">
                  <c:v>0.13395276809910955</c:v>
                </c:pt>
                <c:pt idx="49">
                  <c:v>0.1505597014925373</c:v>
                </c:pt>
                <c:pt idx="50">
                  <c:v>0.18834882058613295</c:v>
                </c:pt>
                <c:pt idx="51">
                  <c:v>0.174250153029993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0875024698827744</c:v>
                </c:pt>
              </c:numCache>
            </c:numRef>
          </c:xVal>
          <c:yVal>
            <c:numRef>
              <c:f>Sheet1!$B$163:$B$164</c:f>
              <c:numCache>
                <c:formatCode>General</c:formatCode>
                <c:ptCount val="2"/>
                <c:pt idx="0">
                  <c:v>0.19873963391743257</c:v>
                </c:pt>
                <c:pt idx="1">
                  <c:v>0.1987396339174325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0875024698827744</c:v>
                </c:pt>
                <c:pt idx="1">
                  <c:v>0.40875024698827744</c:v>
                </c:pt>
              </c:numCache>
            </c:numRef>
          </c:xVal>
          <c:yVal>
            <c:numRef>
              <c:f>Sheet1!$B$167:$B$168</c:f>
              <c:numCache>
                <c:formatCode>General</c:formatCode>
                <c:ptCount val="2"/>
                <c:pt idx="0">
                  <c:v>0.19873963391743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116418726946308</c:v>
                </c:pt>
              </c:numCache>
            </c:numRef>
          </c:xVal>
          <c:yVal>
            <c:numRef>
              <c:f>Sheet1!$B$171:$B$172</c:f>
              <c:numCache>
                <c:formatCode>General</c:formatCode>
                <c:ptCount val="2"/>
                <c:pt idx="0">
                  <c:v>0.16454594825381647</c:v>
                </c:pt>
                <c:pt idx="1">
                  <c:v>0.1645459482538164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116418726946308</c:v>
                </c:pt>
                <c:pt idx="1">
                  <c:v>0.23116418726946308</c:v>
                </c:pt>
              </c:numCache>
            </c:numRef>
          </c:xVal>
          <c:yVal>
            <c:numRef>
              <c:f>Sheet1!$B$175:$B$176</c:f>
              <c:numCache>
                <c:formatCode>General</c:formatCode>
                <c:ptCount val="2"/>
                <c:pt idx="0">
                  <c:v>0.164545948253816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023261293568627</c:v>
                </c:pt>
              </c:numCache>
            </c:numRef>
          </c:xVal>
          <c:yVal>
            <c:numRef>
              <c:f>Sheet1!$B$179:$B$180</c:f>
              <c:numCache>
                <c:formatCode>General</c:formatCode>
                <c:ptCount val="2"/>
                <c:pt idx="0">
                  <c:v>0.14896280610058382</c:v>
                </c:pt>
                <c:pt idx="1">
                  <c:v>0.148962806100583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023261293568627</c:v>
                </c:pt>
                <c:pt idx="1">
                  <c:v>0.15023261293568627</c:v>
                </c:pt>
              </c:numCache>
            </c:numRef>
          </c:xVal>
          <c:yVal>
            <c:numRef>
              <c:f>Sheet1!$B$183:$B$184</c:f>
              <c:numCache>
                <c:formatCode>General</c:formatCode>
                <c:ptCount val="2"/>
                <c:pt idx="0">
                  <c:v>0.148962806100583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4344436505437547</c:v>
                </c:pt>
                <c:pt idx="1">
                  <c:v>0.2576967208277105</c:v>
                </c:pt>
                <c:pt idx="2">
                  <c:v>0.2656781155988157</c:v>
                </c:pt>
                <c:pt idx="3">
                  <c:v>0.23260477766830026</c:v>
                </c:pt>
                <c:pt idx="4">
                  <c:v>0.1940212053704008</c:v>
                </c:pt>
                <c:pt idx="5">
                  <c:v>0.24037639222795854</c:v>
                </c:pt>
                <c:pt idx="6">
                  <c:v>0.21234210137180895</c:v>
                </c:pt>
                <c:pt idx="7">
                  <c:v>0.19036493614178437</c:v>
                </c:pt>
                <c:pt idx="8">
                  <c:v>0.24852830351708438</c:v>
                </c:pt>
                <c:pt idx="9">
                  <c:v>0.20815134742765734</c:v>
                </c:pt>
                <c:pt idx="10">
                  <c:v>0.19403937606731167</c:v>
                </c:pt>
                <c:pt idx="11">
                  <c:v>0.1894314497105334</c:v>
                </c:pt>
                <c:pt idx="12">
                  <c:v>0.2001340615920221</c:v>
                </c:pt>
                <c:pt idx="13">
                  <c:v>0.1994999290056147</c:v>
                </c:pt>
                <c:pt idx="14">
                  <c:v>0.21491766362171474</c:v>
                </c:pt>
                <c:pt idx="15">
                  <c:v>0.20945633585147802</c:v>
                </c:pt>
                <c:pt idx="16">
                  <c:v>0.2170228163371941</c:v>
                </c:pt>
                <c:pt idx="17">
                  <c:v>0.21057074655780808</c:v>
                </c:pt>
                <c:pt idx="18">
                  <c:v>0.16381919504768486</c:v>
                </c:pt>
                <c:pt idx="19">
                  <c:v>0.21954768663941643</c:v>
                </c:pt>
                <c:pt idx="20">
                  <c:v>0.20142919326808353</c:v>
                </c:pt>
                <c:pt idx="21">
                  <c:v>0.16829789942206289</c:v>
                </c:pt>
                <c:pt idx="22">
                  <c:v>0.1493010923959161</c:v>
                </c:pt>
                <c:pt idx="23">
                  <c:v>0.17325846520679117</c:v>
                </c:pt>
                <c:pt idx="24">
                  <c:v>0.18198847613577124</c:v>
                </c:pt>
                <c:pt idx="25">
                  <c:v>0.15403959196591305</c:v>
                </c:pt>
                <c:pt idx="26">
                  <c:v>0.16364244294881097</c:v>
                </c:pt>
                <c:pt idx="27">
                  <c:v>0.17821468752435546</c:v>
                </c:pt>
                <c:pt idx="28">
                  <c:v>0.1830560906092753</c:v>
                </c:pt>
                <c:pt idx="29">
                  <c:v>0.1653969334288527</c:v>
                </c:pt>
                <c:pt idx="30">
                  <c:v>0.1624951864023195</c:v>
                </c:pt>
                <c:pt idx="31">
                  <c:v>0.14264412818571656</c:v>
                </c:pt>
                <c:pt idx="32">
                  <c:v>0.17618498436098792</c:v>
                </c:pt>
                <c:pt idx="33">
                  <c:v>0.17343434270757657</c:v>
                </c:pt>
                <c:pt idx="34">
                  <c:v>0.20590344851352274</c:v>
                </c:pt>
                <c:pt idx="35">
                  <c:v>0.18406448720597493</c:v>
                </c:pt>
                <c:pt idx="36">
                  <c:v>0.14583878878448073</c:v>
                </c:pt>
                <c:pt idx="37">
                  <c:v>0.15169696059285967</c:v>
                </c:pt>
                <c:pt idx="38">
                  <c:v>0.1629475398667223</c:v>
                </c:pt>
                <c:pt idx="39">
                  <c:v>0.17571077404424185</c:v>
                </c:pt>
                <c:pt idx="40">
                  <c:v>0.18610336805877445</c:v>
                </c:pt>
                <c:pt idx="41">
                  <c:v>0.19765071002201115</c:v>
                </c:pt>
                <c:pt idx="42">
                  <c:v>0.20485096761096738</c:v>
                </c:pt>
                <c:pt idx="43">
                  <c:v>0.22816300981406176</c:v>
                </c:pt>
                <c:pt idx="44">
                  <c:v>0.19379615936534736</c:v>
                </c:pt>
                <c:pt idx="45">
                  <c:v>0.20778278937421635</c:v>
                </c:pt>
                <c:pt idx="46">
                  <c:v>0.1941726743865281</c:v>
                </c:pt>
                <c:pt idx="47">
                  <c:v>0.17848641934057824</c:v>
                </c:pt>
                <c:pt idx="48">
                  <c:v>0.1703209805583928</c:v>
                </c:pt>
                <c:pt idx="49">
                  <c:v>0.21354475628067113</c:v>
                </c:pt>
                <c:pt idx="50">
                  <c:v>0.20365851116733288</c:v>
                </c:pt>
                <c:pt idx="51">
                  <c:v>0.17557824435722388</c:v>
                </c:pt>
                <c:pt idx="52">
                  <c:v>0.23116418726946308</c:v>
                </c:pt>
                <c:pt idx="53">
                  <c:v>0.40875024698827744</c:v>
                </c:pt>
                <c:pt idx="54">
                  <c:v>0.15023261293568627</c:v>
                </c:pt>
              </c:numCache>
            </c:numRef>
          </c:xVal>
          <c:yVal>
            <c:numRef>
              <c:f>Sheet1!$B$187:$B$241</c:f>
              <c:numCache>
                <c:formatCode>General</c:formatCode>
                <c:ptCount val="55"/>
                <c:pt idx="0">
                  <c:v>0.16691046121015707</c:v>
                </c:pt>
                <c:pt idx="1">
                  <c:v>0.16965471137287305</c:v>
                </c:pt>
                <c:pt idx="2">
                  <c:v>0.17119150600862612</c:v>
                </c:pt>
                <c:pt idx="3">
                  <c:v>0.1648233297968602</c:v>
                </c:pt>
                <c:pt idx="4">
                  <c:v>0.15739417378640108</c:v>
                </c:pt>
                <c:pt idx="5">
                  <c:v>0.16631973185551563</c:v>
                </c:pt>
                <c:pt idx="6">
                  <c:v>0.1609218096827089</c:v>
                </c:pt>
                <c:pt idx="7">
                  <c:v>0.15669016964946142</c:v>
                </c:pt>
                <c:pt idx="8">
                  <c:v>0.16788935895698637</c:v>
                </c:pt>
                <c:pt idx="9">
                  <c:v>0.1601148920491583</c:v>
                </c:pt>
                <c:pt idx="10">
                  <c:v>0.157397672501894</c:v>
                </c:pt>
                <c:pt idx="11">
                  <c:v>0.15651042951866517</c:v>
                </c:pt>
                <c:pt idx="12">
                  <c:v>0.15857118669203094</c:v>
                </c:pt>
                <c:pt idx="13">
                  <c:v>0.1584490862841329</c:v>
                </c:pt>
                <c:pt idx="14">
                  <c:v>0.161417726795346</c:v>
                </c:pt>
                <c:pt idx="15">
                  <c:v>0.16036616382144403</c:v>
                </c:pt>
                <c:pt idx="16">
                  <c:v>0.16182306790343176</c:v>
                </c:pt>
                <c:pt idx="17">
                  <c:v>0.1605807404016821</c:v>
                </c:pt>
                <c:pt idx="18">
                  <c:v>0.15157886345731658</c:v>
                </c:pt>
                <c:pt idx="19">
                  <c:v>0.16230922442716053</c:v>
                </c:pt>
                <c:pt idx="20">
                  <c:v>0.1588205605758502</c:v>
                </c:pt>
                <c:pt idx="21">
                  <c:v>0.1524412251190384</c:v>
                </c:pt>
                <c:pt idx="22">
                  <c:v>0.148783444496545</c:v>
                </c:pt>
                <c:pt idx="23">
                  <c:v>0.15339636781112392</c:v>
                </c:pt>
                <c:pt idx="24">
                  <c:v>0.1550773063375946</c:v>
                </c:pt>
                <c:pt idx="25">
                  <c:v>0.1496958289768933</c:v>
                </c:pt>
                <c:pt idx="26">
                  <c:v>0.15154483034841804</c:v>
                </c:pt>
                <c:pt idx="27">
                  <c:v>0.15435067418108409</c:v>
                </c:pt>
                <c:pt idx="28">
                  <c:v>0.15528287243762928</c:v>
                </c:pt>
                <c:pt idx="29">
                  <c:v>0.15188265245038562</c:v>
                </c:pt>
                <c:pt idx="30">
                  <c:v>0.1513239293960101</c:v>
                </c:pt>
                <c:pt idx="31">
                  <c:v>0.14750166516072366</c:v>
                </c:pt>
                <c:pt idx="32">
                  <c:v>0.15395986066752043</c:v>
                </c:pt>
                <c:pt idx="33">
                  <c:v>0.15343023251867294</c:v>
                </c:pt>
                <c:pt idx="34">
                  <c:v>0.15968206557057543</c:v>
                </c:pt>
                <c:pt idx="35">
                  <c:v>0.15547703630559506</c:v>
                </c:pt>
                <c:pt idx="36">
                  <c:v>0.14811678788200622</c:v>
                </c:pt>
                <c:pt idx="37">
                  <c:v>0.1492447620354749</c:v>
                </c:pt>
                <c:pt idx="38">
                  <c:v>0.15141102875614643</c:v>
                </c:pt>
                <c:pt idx="39">
                  <c:v>0.1538685528332516</c:v>
                </c:pt>
                <c:pt idx="40">
                  <c:v>0.15586961695689494</c:v>
                </c:pt>
                <c:pt idx="41">
                  <c:v>0.1580930244809224</c:v>
                </c:pt>
                <c:pt idx="42">
                  <c:v>0.15947941339615407</c:v>
                </c:pt>
                <c:pt idx="43">
                  <c:v>0.1639680801559871</c:v>
                </c:pt>
                <c:pt idx="44">
                  <c:v>0.15735084182459713</c:v>
                </c:pt>
                <c:pt idx="45">
                  <c:v>0.16004392725469127</c:v>
                </c:pt>
                <c:pt idx="46">
                  <c:v>0.1574233387103452</c:v>
                </c:pt>
                <c:pt idx="47">
                  <c:v>0.15440299536171864</c:v>
                </c:pt>
                <c:pt idx="48">
                  <c:v>0.15283076358031847</c:v>
                </c:pt>
                <c:pt idx="49">
                  <c:v>0.16115337743065347</c:v>
                </c:pt>
                <c:pt idx="50">
                  <c:v>0.1592498093333929</c:v>
                </c:pt>
                <c:pt idx="51">
                  <c:v>0.1538430346227222</c:v>
                </c:pt>
                <c:pt idx="52">
                  <c:v>0.16454594825381647</c:v>
                </c:pt>
                <c:pt idx="53">
                  <c:v>0.19873963391743257</c:v>
                </c:pt>
                <c:pt idx="54">
                  <c:v>0.148962806100583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98890649762282"/>
          <c:min val="0.091019786910197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9.765</c:v>
                </c:pt>
                <c:pt idx="1">
                  <c:v>915.8909</c:v>
                </c:pt>
                <c:pt idx="2">
                  <c:v>973.994</c:v>
                </c:pt>
                <c:pt idx="3">
                  <c:v>986.4012</c:v>
                </c:pt>
                <c:pt idx="4">
                  <c:v>1001.1925</c:v>
                </c:pt>
                <c:pt idx="5">
                  <c:v>1012.7539</c:v>
                </c:pt>
                <c:pt idx="6">
                  <c:v>924.2203</c:v>
                </c:pt>
                <c:pt idx="7">
                  <c:v>957.599</c:v>
                </c:pt>
                <c:pt idx="8">
                  <c:v>966.0028</c:v>
                </c:pt>
                <c:pt idx="9">
                  <c:v>937.455</c:v>
                </c:pt>
                <c:pt idx="10">
                  <c:v>925.3424</c:v>
                </c:pt>
                <c:pt idx="11">
                  <c:v>978.8223</c:v>
                </c:pt>
                <c:pt idx="12">
                  <c:v>989.7728</c:v>
                </c:pt>
                <c:pt idx="13">
                  <c:v>955.7981</c:v>
                </c:pt>
                <c:pt idx="14">
                  <c:v>962.1686</c:v>
                </c:pt>
                <c:pt idx="15">
                  <c:v>975.1257</c:v>
                </c:pt>
                <c:pt idx="16">
                  <c:v>966.7423</c:v>
                </c:pt>
                <c:pt idx="17">
                  <c:v>985.4752</c:v>
                </c:pt>
                <c:pt idx="18">
                  <c:v>1040.7522</c:v>
                </c:pt>
                <c:pt idx="19">
                  <c:v>1075.412</c:v>
                </c:pt>
                <c:pt idx="20">
                  <c:v>1083.5121</c:v>
                </c:pt>
                <c:pt idx="21">
                  <c:v>1096.7368</c:v>
                </c:pt>
                <c:pt idx="22">
                  <c:v>1062.4116</c:v>
                </c:pt>
                <c:pt idx="23">
                  <c:v>1048.5881</c:v>
                </c:pt>
                <c:pt idx="24">
                  <c:v>1027.7072</c:v>
                </c:pt>
                <c:pt idx="25">
                  <c:v>1011.0702</c:v>
                </c:pt>
                <c:pt idx="26">
                  <c:v>1012.2082</c:v>
                </c:pt>
                <c:pt idx="27">
                  <c:v>1036.9923</c:v>
                </c:pt>
                <c:pt idx="28">
                  <c:v>1008.7301</c:v>
                </c:pt>
                <c:pt idx="29">
                  <c:v>857.7019</c:v>
                </c:pt>
                <c:pt idx="30">
                  <c:v>896.7026</c:v>
                </c:pt>
                <c:pt idx="31">
                  <c:v>937.5837</c:v>
                </c:pt>
                <c:pt idx="32">
                  <c:v>916.5978</c:v>
                </c:pt>
                <c:pt idx="33">
                  <c:v>901.3212</c:v>
                </c:pt>
                <c:pt idx="34">
                  <c:v>980.974</c:v>
                </c:pt>
                <c:pt idx="35">
                  <c:v>1047.7605</c:v>
                </c:pt>
                <c:pt idx="36">
                  <c:v>1127.0672</c:v>
                </c:pt>
                <c:pt idx="37">
                  <c:v>1106.864</c:v>
                </c:pt>
                <c:pt idx="38">
                  <c:v>1189.5676</c:v>
                </c:pt>
                <c:pt idx="39">
                  <c:v>1171.3029</c:v>
                </c:pt>
                <c:pt idx="40">
                  <c:v>1210.3681</c:v>
                </c:pt>
                <c:pt idx="41">
                  <c:v>1244.2742</c:v>
                </c:pt>
                <c:pt idx="42">
                  <c:v>1270.8438</c:v>
                </c:pt>
                <c:pt idx="43">
                  <c:v>1287.3683</c:v>
                </c:pt>
                <c:pt idx="44">
                  <c:v>1076.2735</c:v>
                </c:pt>
                <c:pt idx="45">
                  <c:v>1012.6957</c:v>
                </c:pt>
                <c:pt idx="46">
                  <c:v>1015.9901</c:v>
                </c:pt>
                <c:pt idx="47">
                  <c:v>980.0455</c:v>
                </c:pt>
                <c:pt idx="48">
                  <c:v>991.4609</c:v>
                </c:pt>
                <c:pt idx="49">
                  <c:v>981.212</c:v>
                </c:pt>
                <c:pt idx="50">
                  <c:v>963.3111</c:v>
                </c:pt>
                <c:pt idx="51">
                  <c:v>963.8552</c:v>
                </c:pt>
                <c:pt idx="52">
                  <c:v>1000.6978</c:v>
                </c:pt>
                <c:pt idx="53">
                  <c:v>1038.0061</c:v>
                </c:pt>
                <c:pt idx="54">
                  <c:v>1060.216</c:v>
                </c:pt>
                <c:pt idx="55">
                  <c:v>1079.2313</c:v>
                </c:pt>
                <c:pt idx="56">
                  <c:v>1098.8789</c:v>
                </c:pt>
                <c:pt idx="57">
                  <c:v>1072.9664</c:v>
                </c:pt>
                <c:pt idx="58">
                  <c:v>1035.1421</c:v>
                </c:pt>
                <c:pt idx="59">
                  <c:v>1034.9733</c:v>
                </c:pt>
                <c:pt idx="60">
                  <c:v>1068.659</c:v>
                </c:pt>
                <c:pt idx="61">
                  <c:v>1071.8165</c:v>
                </c:pt>
                <c:pt idx="62">
                  <c:v>1024.019</c:v>
                </c:pt>
                <c:pt idx="63">
                  <c:v>1046.1134</c:v>
                </c:pt>
                <c:pt idx="64">
                  <c:v>1056.1207</c:v>
                </c:pt>
                <c:pt idx="65">
                  <c:v>1035.0936</c:v>
                </c:pt>
                <c:pt idx="66">
                  <c:v>991.3518</c:v>
                </c:pt>
                <c:pt idx="67">
                  <c:v>900.6724</c:v>
                </c:pt>
                <c:pt idx="68">
                  <c:v>851.5122</c:v>
                </c:pt>
                <c:pt idx="69">
                  <c:v>889.6064</c:v>
                </c:pt>
                <c:pt idx="70">
                  <c:v>863.8614</c:v>
                </c:pt>
                <c:pt idx="71">
                  <c:v>911.2565</c:v>
                </c:pt>
                <c:pt idx="72">
                  <c:v>939.9651</c:v>
                </c:pt>
                <c:pt idx="73">
                  <c:v>950.8989</c:v>
                </c:pt>
                <c:pt idx="74">
                  <c:v>963.5973</c:v>
                </c:pt>
                <c:pt idx="75">
                  <c:v>927.4043</c:v>
                </c:pt>
                <c:pt idx="76">
                  <c:v>989.0793</c:v>
                </c:pt>
                <c:pt idx="77">
                  <c:v>885.1956</c:v>
                </c:pt>
                <c:pt idx="78">
                  <c:v>970.0122</c:v>
                </c:pt>
                <c:pt idx="79">
                  <c:v>602.484</c:v>
                </c:pt>
                <c:pt idx="80">
                  <c:v>534.2958</c:v>
                </c:pt>
                <c:pt idx="81">
                  <c:v>818.6146</c:v>
                </c:pt>
                <c:pt idx="82">
                  <c:v>854.0526</c:v>
                </c:pt>
                <c:pt idx="83">
                  <c:v>898.9508</c:v>
                </c:pt>
                <c:pt idx="84">
                  <c:v>770.4682</c:v>
                </c:pt>
                <c:pt idx="85">
                  <c:v>1078.7359</c:v>
                </c:pt>
                <c:pt idx="86">
                  <c:v>1069.3025</c:v>
                </c:pt>
                <c:pt idx="87">
                  <c:v>1174.7394</c:v>
                </c:pt>
                <c:pt idx="88">
                  <c:v>1186.3406</c:v>
                </c:pt>
                <c:pt idx="89">
                  <c:v>1138.6277</c:v>
                </c:pt>
                <c:pt idx="90">
                  <c:v>1134.6092</c:v>
                </c:pt>
                <c:pt idx="91">
                  <c:v>1238.6679</c:v>
                </c:pt>
                <c:pt idx="92">
                  <c:v>1217.7354</c:v>
                </c:pt>
                <c:pt idx="93">
                  <c:v>1236.2575</c:v>
                </c:pt>
                <c:pt idx="94">
                  <c:v>1235.9724</c:v>
                </c:pt>
                <c:pt idx="95">
                  <c:v>1208.2796</c:v>
                </c:pt>
                <c:pt idx="96">
                  <c:v>1142.0446</c:v>
                </c:pt>
                <c:pt idx="97">
                  <c:v>1163.3026</c:v>
                </c:pt>
                <c:pt idx="98">
                  <c:v>1146.9643</c:v>
                </c:pt>
                <c:pt idx="99">
                  <c:v>1120.5412</c:v>
                </c:pt>
                <c:pt idx="100">
                  <c:v>1129.1303</c:v>
                </c:pt>
                <c:pt idx="101">
                  <c:v>1120.9892</c:v>
                </c:pt>
                <c:pt idx="102">
                  <c:v>1152.3701</c:v>
                </c:pt>
                <c:pt idx="103">
                  <c:v>1078.8341</c:v>
                </c:pt>
                <c:pt idx="104">
                  <c:v>1161.1832</c:v>
                </c:pt>
              </c:numCache>
            </c:numRef>
          </c:xVal>
          <c:yVal>
            <c:numRef>
              <c:f>Sheet1!$B$2:$B$106</c:f>
              <c:numCache>
                <c:formatCode>General</c:formatCode>
                <c:ptCount val="105"/>
                <c:pt idx="0">
                  <c:v>0.18345829428303656</c:v>
                </c:pt>
                <c:pt idx="1">
                  <c:v>0.18923157344485103</c:v>
                </c:pt>
                <c:pt idx="2">
                  <c:v>0.15974903474903476</c:v>
                </c:pt>
                <c:pt idx="3">
                  <c:v>0.16344687341128622</c:v>
                </c:pt>
                <c:pt idx="4">
                  <c:v>0.15944645006016847</c:v>
                </c:pt>
                <c:pt idx="5">
                  <c:v>0.1454604620891637</c:v>
                </c:pt>
                <c:pt idx="6">
                  <c:v>0.1795131845841785</c:v>
                </c:pt>
                <c:pt idx="7">
                  <c:v>0.1766211604095563</c:v>
                </c:pt>
                <c:pt idx="8">
                  <c:v>0.17562189054726368</c:v>
                </c:pt>
                <c:pt idx="9">
                  <c:v>0.17387304507819687</c:v>
                </c:pt>
                <c:pt idx="10">
                  <c:v>0.18946085897045387</c:v>
                </c:pt>
                <c:pt idx="11">
                  <c:v>0.18147328485614922</c:v>
                </c:pt>
                <c:pt idx="12">
                  <c:v>0.20694368507381083</c:v>
                </c:pt>
                <c:pt idx="13">
                  <c:v>0.21898569570871262</c:v>
                </c:pt>
                <c:pt idx="14">
                  <c:v>0.20590318772136953</c:v>
                </c:pt>
                <c:pt idx="15">
                  <c:v>0.20397579948141745</c:v>
                </c:pt>
                <c:pt idx="16">
                  <c:v>0.20418118466898955</c:v>
                </c:pt>
                <c:pt idx="17">
                  <c:v>0.17122781065088757</c:v>
                </c:pt>
                <c:pt idx="18">
                  <c:v>0.14758380496299522</c:v>
                </c:pt>
                <c:pt idx="19">
                  <c:v>0.13572204125950055</c:v>
                </c:pt>
                <c:pt idx="20">
                  <c:v>0.15298969072164947</c:v>
                </c:pt>
                <c:pt idx="21">
                  <c:v>0.14978775015160703</c:v>
                </c:pt>
                <c:pt idx="22">
                  <c:v>0.1485254691689008</c:v>
                </c:pt>
                <c:pt idx="23">
                  <c:v>0.16701680672268907</c:v>
                </c:pt>
                <c:pt idx="24">
                  <c:v>0.15950069348127602</c:v>
                </c:pt>
                <c:pt idx="25">
                  <c:v>0.16312056737588654</c:v>
                </c:pt>
                <c:pt idx="26">
                  <c:v>0.1833249623304872</c:v>
                </c:pt>
                <c:pt idx="27">
                  <c:v>0.16995181778361804</c:v>
                </c:pt>
                <c:pt idx="28">
                  <c:v>0.1742831541218638</c:v>
                </c:pt>
                <c:pt idx="29">
                  <c:v>0.2174206617150574</c:v>
                </c:pt>
                <c:pt idx="30">
                  <c:v>0.18413597733711048</c:v>
                </c:pt>
                <c:pt idx="31">
                  <c:v>0.18238993710691823</c:v>
                </c:pt>
                <c:pt idx="32">
                  <c:v>0.1974267968056788</c:v>
                </c:pt>
                <c:pt idx="33">
                  <c:v>0.2162930217871803</c:v>
                </c:pt>
                <c:pt idx="34">
                  <c:v>0.20673663656333902</c:v>
                </c:pt>
                <c:pt idx="35">
                  <c:v>0.1901561144839549</c:v>
                </c:pt>
                <c:pt idx="36">
                  <c:v>0.15139949109414758</c:v>
                </c:pt>
                <c:pt idx="37">
                  <c:v>0.13218849840255592</c:v>
                </c:pt>
                <c:pt idx="38">
                  <c:v>0.13630781825624233</c:v>
                </c:pt>
                <c:pt idx="39">
                  <c:v>0.14158576051779936</c:v>
                </c:pt>
                <c:pt idx="40">
                  <c:v>0.13762587732682333</c:v>
                </c:pt>
                <c:pt idx="41">
                  <c:v>0.11377473363774733</c:v>
                </c:pt>
                <c:pt idx="42">
                  <c:v>0.11920313520574788</c:v>
                </c:pt>
                <c:pt idx="43">
                  <c:v>0.13690999706830842</c:v>
                </c:pt>
                <c:pt idx="44">
                  <c:v>0.17016188373804267</c:v>
                </c:pt>
                <c:pt idx="45">
                  <c:v>0.20245717252119744</c:v>
                </c:pt>
                <c:pt idx="46">
                  <c:v>0.2086113759135685</c:v>
                </c:pt>
                <c:pt idx="47">
                  <c:v>0.20736603246639904</c:v>
                </c:pt>
                <c:pt idx="48">
                  <c:v>0.22646279797736577</c:v>
                </c:pt>
                <c:pt idx="49">
                  <c:v>0.2582408874801902</c:v>
                </c:pt>
                <c:pt idx="50">
                  <c:v>0.2128182616330114</c:v>
                </c:pt>
                <c:pt idx="51">
                  <c:v>0.18120469882529366</c:v>
                </c:pt>
                <c:pt idx="52">
                  <c:v>0.21456436931079323</c:v>
                </c:pt>
                <c:pt idx="53">
                  <c:v>0.19743527703847086</c:v>
                </c:pt>
                <c:pt idx="54">
                  <c:v>0.17784581129974952</c:v>
                </c:pt>
                <c:pt idx="55">
                  <c:v>0.15428900402993667</c:v>
                </c:pt>
                <c:pt idx="56">
                  <c:v>0.164260506897658</c:v>
                </c:pt>
                <c:pt idx="57">
                  <c:v>0.16355653128430298</c:v>
                </c:pt>
                <c:pt idx="58">
                  <c:v>0.17954271961492177</c:v>
                </c:pt>
                <c:pt idx="59">
                  <c:v>0.198504206918043</c:v>
                </c:pt>
                <c:pt idx="60">
                  <c:v>0.20175595771367139</c:v>
                </c:pt>
                <c:pt idx="61">
                  <c:v>0.19443715560220415</c:v>
                </c:pt>
                <c:pt idx="62">
                  <c:v>0.19858823529411765</c:v>
                </c:pt>
                <c:pt idx="63">
                  <c:v>0.22043730477465417</c:v>
                </c:pt>
                <c:pt idx="64">
                  <c:v>0.2106962663975782</c:v>
                </c:pt>
                <c:pt idx="65">
                  <c:v>0.19352088661551578</c:v>
                </c:pt>
                <c:pt idx="66">
                  <c:v>0.21004464285714286</c:v>
                </c:pt>
                <c:pt idx="67">
                  <c:v>0.22169598556608028</c:v>
                </c:pt>
                <c:pt idx="68">
                  <c:v>0.2191973056413135</c:v>
                </c:pt>
                <c:pt idx="69">
                  <c:v>0.1874338157430286</c:v>
                </c:pt>
                <c:pt idx="70">
                  <c:v>0.16660746003552399</c:v>
                </c:pt>
                <c:pt idx="71">
                  <c:v>0.1930116472545757</c:v>
                </c:pt>
                <c:pt idx="72">
                  <c:v>0.17625769091567137</c:v>
                </c:pt>
                <c:pt idx="73">
                  <c:v>0.1916868442292171</c:v>
                </c:pt>
                <c:pt idx="74">
                  <c:v>0.18207580588026923</c:v>
                </c:pt>
                <c:pt idx="75">
                  <c:v>0.19820971867007672</c:v>
                </c:pt>
                <c:pt idx="76">
                  <c:v>0.17003628823224468</c:v>
                </c:pt>
                <c:pt idx="77">
                  <c:v>0.2073732718894009</c:v>
                </c:pt>
                <c:pt idx="78">
                  <c:v>0.14522821576763487</c:v>
                </c:pt>
                <c:pt idx="79">
                  <c:v>0.24066558441558442</c:v>
                </c:pt>
                <c:pt idx="80">
                  <c:v>0.2531356898517674</c:v>
                </c:pt>
                <c:pt idx="81">
                  <c:v>0.16340097970608816</c:v>
                </c:pt>
                <c:pt idx="82">
                  <c:v>0.14990138067061143</c:v>
                </c:pt>
                <c:pt idx="83">
                  <c:v>0.1346578366445916</c:v>
                </c:pt>
                <c:pt idx="84">
                  <c:v>0.16205962059620596</c:v>
                </c:pt>
                <c:pt idx="85">
                  <c:v>0.13402548371873524</c:v>
                </c:pt>
                <c:pt idx="86">
                  <c:v>0.14930906639703403</c:v>
                </c:pt>
                <c:pt idx="87">
                  <c:v>0.1605703657780533</c:v>
                </c:pt>
                <c:pt idx="88">
                  <c:v>0.13970588235294118</c:v>
                </c:pt>
                <c:pt idx="89">
                  <c:v>0.13749390541199416</c:v>
                </c:pt>
                <c:pt idx="90">
                  <c:v>0.13364705882352942</c:v>
                </c:pt>
                <c:pt idx="91">
                  <c:v>0.12318181818181818</c:v>
                </c:pt>
                <c:pt idx="92">
                  <c:v>0.1390728476821192</c:v>
                </c:pt>
                <c:pt idx="93">
                  <c:v>0.12993948024207902</c:v>
                </c:pt>
                <c:pt idx="94">
                  <c:v>0.1362876254180602</c:v>
                </c:pt>
                <c:pt idx="95">
                  <c:v>0.14035617265318442</c:v>
                </c:pt>
                <c:pt idx="96">
                  <c:v>0.14131076559732336</c:v>
                </c:pt>
                <c:pt idx="97">
                  <c:v>0.14306949089557786</c:v>
                </c:pt>
                <c:pt idx="98">
                  <c:v>0.1731662024141133</c:v>
                </c:pt>
                <c:pt idx="99">
                  <c:v>0.17532119914346894</c:v>
                </c:pt>
                <c:pt idx="100">
                  <c:v>0.2006058884786519</c:v>
                </c:pt>
                <c:pt idx="101">
                  <c:v>0.18606213266162888</c:v>
                </c:pt>
                <c:pt idx="102">
                  <c:v>0.1453698913605794</c:v>
                </c:pt>
                <c:pt idx="103">
                  <c:v>0.14989344068197963</c:v>
                </c:pt>
                <c:pt idx="104">
                  <c:v>0.1571675302245250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1305</c:v>
                </c:pt>
                <c:pt idx="1">
                  <c:v>1191.1297</c:v>
                </c:pt>
                <c:pt idx="2">
                  <c:v>1174.4973</c:v>
                </c:pt>
                <c:pt idx="3">
                  <c:v>1123.4841</c:v>
                </c:pt>
                <c:pt idx="4">
                  <c:v>1169.4393</c:v>
                </c:pt>
                <c:pt idx="5">
                  <c:v>1185.3994</c:v>
                </c:pt>
                <c:pt idx="6">
                  <c:v>1094.9447</c:v>
                </c:pt>
                <c:pt idx="7">
                  <c:v>1156.4367</c:v>
                </c:pt>
                <c:pt idx="8">
                  <c:v>1263.2722</c:v>
                </c:pt>
                <c:pt idx="9">
                  <c:v>1180.402</c:v>
                </c:pt>
                <c:pt idx="10">
                  <c:v>1227.9701</c:v>
                </c:pt>
                <c:pt idx="11">
                  <c:v>1041.8198</c:v>
                </c:pt>
                <c:pt idx="12">
                  <c:v>1084.1984</c:v>
                </c:pt>
                <c:pt idx="13">
                  <c:v>1132.7434</c:v>
                </c:pt>
                <c:pt idx="14">
                  <c:v>1138.3946</c:v>
                </c:pt>
                <c:pt idx="15">
                  <c:v>1199.3944</c:v>
                </c:pt>
                <c:pt idx="16">
                  <c:v>1246.0365</c:v>
                </c:pt>
                <c:pt idx="17">
                  <c:v>1217.3516</c:v>
                </c:pt>
                <c:pt idx="18">
                  <c:v>1173.0137</c:v>
                </c:pt>
                <c:pt idx="19">
                  <c:v>1310.2382</c:v>
                </c:pt>
                <c:pt idx="20">
                  <c:v>1386.6292</c:v>
                </c:pt>
                <c:pt idx="21">
                  <c:v>1246.4631</c:v>
                </c:pt>
                <c:pt idx="22">
                  <c:v>1134.4602</c:v>
                </c:pt>
                <c:pt idx="23">
                  <c:v>1160.0778</c:v>
                </c:pt>
                <c:pt idx="24">
                  <c:v>1192.7429</c:v>
                </c:pt>
                <c:pt idx="25">
                  <c:v>1124.8028</c:v>
                </c:pt>
                <c:pt idx="26">
                  <c:v>1196.1834</c:v>
                </c:pt>
                <c:pt idx="27">
                  <c:v>1241.1861</c:v>
                </c:pt>
                <c:pt idx="28">
                  <c:v>1173.4561</c:v>
                </c:pt>
                <c:pt idx="29">
                  <c:v>1171.3844</c:v>
                </c:pt>
                <c:pt idx="30">
                  <c:v>1192.2317</c:v>
                </c:pt>
                <c:pt idx="31">
                  <c:v>1067.0213</c:v>
                </c:pt>
                <c:pt idx="32">
                  <c:v>1119.5607</c:v>
                </c:pt>
                <c:pt idx="33">
                  <c:v>1140.1603</c:v>
                </c:pt>
                <c:pt idx="34">
                  <c:v>1204.5612</c:v>
                </c:pt>
                <c:pt idx="35">
                  <c:v>1228.1986</c:v>
                </c:pt>
                <c:pt idx="36">
                  <c:v>1218.7314</c:v>
                </c:pt>
                <c:pt idx="37">
                  <c:v>1211.816</c:v>
                </c:pt>
                <c:pt idx="38">
                  <c:v>1218.9147</c:v>
                </c:pt>
                <c:pt idx="39">
                  <c:v>1235.3162</c:v>
                </c:pt>
                <c:pt idx="40">
                  <c:v>1284.7981</c:v>
                </c:pt>
                <c:pt idx="41">
                  <c:v>1369.6185</c:v>
                </c:pt>
                <c:pt idx="42">
                  <c:v>1368.7641</c:v>
                </c:pt>
                <c:pt idx="43">
                  <c:v>1356.2083</c:v>
                </c:pt>
                <c:pt idx="44">
                  <c:v>1272.4188</c:v>
                </c:pt>
                <c:pt idx="45">
                  <c:v>1225.9794</c:v>
                </c:pt>
                <c:pt idx="46">
                  <c:v>1193.791</c:v>
                </c:pt>
                <c:pt idx="47">
                  <c:v>1164.085</c:v>
                </c:pt>
                <c:pt idx="48">
                  <c:v>1184.3671</c:v>
                </c:pt>
                <c:pt idx="49">
                  <c:v>1206.4151</c:v>
                </c:pt>
                <c:pt idx="50">
                  <c:v>1068.9665</c:v>
                </c:pt>
                <c:pt idx="51">
                  <c:v>1038.3782</c:v>
                </c:pt>
              </c:numCache>
            </c:numRef>
          </c:xVal>
          <c:yVal>
            <c:numRef>
              <c:f>Sheet1!$B$109:$B$160</c:f>
              <c:numCache>
                <c:formatCode>General</c:formatCode>
                <c:ptCount val="52"/>
                <c:pt idx="0">
                  <c:v>0.16044399596367306</c:v>
                </c:pt>
                <c:pt idx="1">
                  <c:v>0.16296494514316295</c:v>
                </c:pt>
                <c:pt idx="2">
                  <c:v>0.17088014981273408</c:v>
                </c:pt>
                <c:pt idx="3">
                  <c:v>0.1851472471190781</c:v>
                </c:pt>
                <c:pt idx="4">
                  <c:v>0.1623885436368549</c:v>
                </c:pt>
                <c:pt idx="5">
                  <c:v>0.16757344940152338</c:v>
                </c:pt>
                <c:pt idx="6">
                  <c:v>0.16613051470588236</c:v>
                </c:pt>
                <c:pt idx="7">
                  <c:v>0.16281932902431517</c:v>
                </c:pt>
                <c:pt idx="8">
                  <c:v>0.14256535947712418</c:v>
                </c:pt>
                <c:pt idx="9">
                  <c:v>0.1511111111111111</c:v>
                </c:pt>
                <c:pt idx="10">
                  <c:v>0.16341463414634147</c:v>
                </c:pt>
                <c:pt idx="11">
                  <c:v>0.18516902944383862</c:v>
                </c:pt>
                <c:pt idx="12">
                  <c:v>0.18670725520040587</c:v>
                </c:pt>
                <c:pt idx="13">
                  <c:v>0.18616144975288304</c:v>
                </c:pt>
                <c:pt idx="14">
                  <c:v>0.19185162663423533</c:v>
                </c:pt>
                <c:pt idx="15">
                  <c:v>0.18467852257181944</c:v>
                </c:pt>
                <c:pt idx="16">
                  <c:v>0.16635017090770984</c:v>
                </c:pt>
                <c:pt idx="17">
                  <c:v>0.14134419551934826</c:v>
                </c:pt>
                <c:pt idx="18">
                  <c:v>0.14520958083832336</c:v>
                </c:pt>
                <c:pt idx="19">
                  <c:v>0.1591015442208704</c:v>
                </c:pt>
                <c:pt idx="20">
                  <c:v>0.1261166579085654</c:v>
                </c:pt>
                <c:pt idx="21">
                  <c:v>0.11872509960159362</c:v>
                </c:pt>
                <c:pt idx="22">
                  <c:v>0.13262999246420498</c:v>
                </c:pt>
                <c:pt idx="23">
                  <c:v>0.12613875262789068</c:v>
                </c:pt>
                <c:pt idx="24">
                  <c:v>0.12382075471698113</c:v>
                </c:pt>
                <c:pt idx="25">
                  <c:v>0.13415384615384615</c:v>
                </c:pt>
                <c:pt idx="26">
                  <c:v>0.12385073012439156</c:v>
                </c:pt>
                <c:pt idx="27">
                  <c:v>0.12603495860165592</c:v>
                </c:pt>
                <c:pt idx="28">
                  <c:v>0.15355805243445692</c:v>
                </c:pt>
                <c:pt idx="29">
                  <c:v>0.14425907752698724</c:v>
                </c:pt>
                <c:pt idx="30">
                  <c:v>0.15609514370664024</c:v>
                </c:pt>
                <c:pt idx="31">
                  <c:v>0.16649797570850203</c:v>
                </c:pt>
                <c:pt idx="32">
                  <c:v>0.17796976241900647</c:v>
                </c:pt>
                <c:pt idx="33">
                  <c:v>0.19298245614035087</c:v>
                </c:pt>
                <c:pt idx="34">
                  <c:v>0.22294172062904719</c:v>
                </c:pt>
                <c:pt idx="35">
                  <c:v>0.2157096102350491</c:v>
                </c:pt>
                <c:pt idx="36">
                  <c:v>0.15997738835500283</c:v>
                </c:pt>
                <c:pt idx="37">
                  <c:v>0.144072036018009</c:v>
                </c:pt>
                <c:pt idx="38">
                  <c:v>0.15585106382978722</c:v>
                </c:pt>
                <c:pt idx="39">
                  <c:v>0.18006925740669488</c:v>
                </c:pt>
                <c:pt idx="40">
                  <c:v>0.13734835355285963</c:v>
                </c:pt>
                <c:pt idx="41">
                  <c:v>0.14099429502852487</c:v>
                </c:pt>
                <c:pt idx="42">
                  <c:v>0.13027522935779817</c:v>
                </c:pt>
                <c:pt idx="43">
                  <c:v>0.13859480269489893</c:v>
                </c:pt>
                <c:pt idx="44">
                  <c:v>0.12476672887230073</c:v>
                </c:pt>
                <c:pt idx="45">
                  <c:v>0.14844172221221402</c:v>
                </c:pt>
                <c:pt idx="46">
                  <c:v>0.142144045638222</c:v>
                </c:pt>
                <c:pt idx="47">
                  <c:v>0.1467706013363029</c:v>
                </c:pt>
                <c:pt idx="48">
                  <c:v>0.13395276809910955</c:v>
                </c:pt>
                <c:pt idx="49">
                  <c:v>0.1505597014925373</c:v>
                </c:pt>
                <c:pt idx="50">
                  <c:v>0.18834882058613295</c:v>
                </c:pt>
                <c:pt idx="51">
                  <c:v>0.174250153029993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1.884296926181</c:v>
                </c:pt>
              </c:numCache>
            </c:numRef>
          </c:xVal>
          <c:yVal>
            <c:numRef>
              <c:f>Sheet1!$B$163:$B$164</c:f>
              <c:numCache>
                <c:formatCode>General</c:formatCode>
                <c:ptCount val="2"/>
                <c:pt idx="0">
                  <c:v>0.19873963391743257</c:v>
                </c:pt>
                <c:pt idx="1">
                  <c:v>0.1987396339174325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1.884296926181</c:v>
                </c:pt>
                <c:pt idx="1">
                  <c:v>891.884296926181</c:v>
                </c:pt>
              </c:numCache>
            </c:numRef>
          </c:xVal>
          <c:yVal>
            <c:numRef>
              <c:f>Sheet1!$B$167:$B$168</c:f>
              <c:numCache>
                <c:formatCode>General</c:formatCode>
                <c:ptCount val="2"/>
                <c:pt idx="0">
                  <c:v>0.19873963391743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1.6221519805117</c:v>
                </c:pt>
              </c:numCache>
            </c:numRef>
          </c:xVal>
          <c:yVal>
            <c:numRef>
              <c:f>Sheet1!$B$171:$B$172</c:f>
              <c:numCache>
                <c:formatCode>General</c:formatCode>
                <c:ptCount val="2"/>
                <c:pt idx="0">
                  <c:v>0.16454594825381647</c:v>
                </c:pt>
                <c:pt idx="1">
                  <c:v>0.1645459482538164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1.6221519805117</c:v>
                </c:pt>
                <c:pt idx="1">
                  <c:v>1141.6221519805117</c:v>
                </c:pt>
              </c:numCache>
            </c:numRef>
          </c:xVal>
          <c:yVal>
            <c:numRef>
              <c:f>Sheet1!$B$175:$B$176</c:f>
              <c:numCache>
                <c:formatCode>General</c:formatCode>
                <c:ptCount val="2"/>
                <c:pt idx="0">
                  <c:v>0.164545948253816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5.4355774953874</c:v>
                </c:pt>
              </c:numCache>
            </c:numRef>
          </c:xVal>
          <c:yVal>
            <c:numRef>
              <c:f>Sheet1!$B$179:$B$180</c:f>
              <c:numCache>
                <c:formatCode>General</c:formatCode>
                <c:ptCount val="2"/>
                <c:pt idx="0">
                  <c:v>0.14896280610058382</c:v>
                </c:pt>
                <c:pt idx="1">
                  <c:v>0.148962806100583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5.4355774953874</c:v>
                </c:pt>
                <c:pt idx="1">
                  <c:v>1255.4355774953874</c:v>
                </c:pt>
              </c:numCache>
            </c:numRef>
          </c:xVal>
          <c:yVal>
            <c:numRef>
              <c:f>Sheet1!$B$183:$B$184</c:f>
              <c:numCache>
                <c:formatCode>General</c:formatCode>
                <c:ptCount val="2"/>
                <c:pt idx="0">
                  <c:v>0.148962806100583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1305</c:v>
                </c:pt>
                <c:pt idx="1">
                  <c:v>1191.1297</c:v>
                </c:pt>
                <c:pt idx="2">
                  <c:v>1174.4973</c:v>
                </c:pt>
                <c:pt idx="3">
                  <c:v>1123.4841</c:v>
                </c:pt>
                <c:pt idx="4">
                  <c:v>1169.4393</c:v>
                </c:pt>
                <c:pt idx="5">
                  <c:v>1185.3994</c:v>
                </c:pt>
                <c:pt idx="6">
                  <c:v>1094.9447</c:v>
                </c:pt>
                <c:pt idx="7">
                  <c:v>1156.4367</c:v>
                </c:pt>
                <c:pt idx="8">
                  <c:v>1263.2722</c:v>
                </c:pt>
                <c:pt idx="9">
                  <c:v>1180.402</c:v>
                </c:pt>
                <c:pt idx="10">
                  <c:v>1227.9701</c:v>
                </c:pt>
                <c:pt idx="11">
                  <c:v>1041.8198</c:v>
                </c:pt>
                <c:pt idx="12">
                  <c:v>1084.1984</c:v>
                </c:pt>
                <c:pt idx="13">
                  <c:v>1132.7434</c:v>
                </c:pt>
                <c:pt idx="14">
                  <c:v>1138.3946</c:v>
                </c:pt>
                <c:pt idx="15">
                  <c:v>1199.3944</c:v>
                </c:pt>
                <c:pt idx="16">
                  <c:v>1246.0365</c:v>
                </c:pt>
                <c:pt idx="17">
                  <c:v>1217.3516</c:v>
                </c:pt>
                <c:pt idx="18">
                  <c:v>1173.0137</c:v>
                </c:pt>
                <c:pt idx="19">
                  <c:v>1310.2382</c:v>
                </c:pt>
                <c:pt idx="20">
                  <c:v>1386.6292</c:v>
                </c:pt>
                <c:pt idx="21">
                  <c:v>1246.4631</c:v>
                </c:pt>
                <c:pt idx="22">
                  <c:v>1134.4602</c:v>
                </c:pt>
                <c:pt idx="23">
                  <c:v>1160.0778</c:v>
                </c:pt>
                <c:pt idx="24">
                  <c:v>1192.7429</c:v>
                </c:pt>
                <c:pt idx="25">
                  <c:v>1124.8028</c:v>
                </c:pt>
                <c:pt idx="26">
                  <c:v>1196.1834</c:v>
                </c:pt>
                <c:pt idx="27">
                  <c:v>1241.1861</c:v>
                </c:pt>
                <c:pt idx="28">
                  <c:v>1173.4561</c:v>
                </c:pt>
                <c:pt idx="29">
                  <c:v>1171.3844</c:v>
                </c:pt>
                <c:pt idx="30">
                  <c:v>1192.2317</c:v>
                </c:pt>
                <c:pt idx="31">
                  <c:v>1067.0213</c:v>
                </c:pt>
                <c:pt idx="32">
                  <c:v>1119.5607</c:v>
                </c:pt>
                <c:pt idx="33">
                  <c:v>1140.1603</c:v>
                </c:pt>
                <c:pt idx="34">
                  <c:v>1204.5612</c:v>
                </c:pt>
                <c:pt idx="35">
                  <c:v>1228.1986</c:v>
                </c:pt>
                <c:pt idx="36">
                  <c:v>1218.7314</c:v>
                </c:pt>
                <c:pt idx="37">
                  <c:v>1211.816</c:v>
                </c:pt>
                <c:pt idx="38">
                  <c:v>1218.9147</c:v>
                </c:pt>
                <c:pt idx="39">
                  <c:v>1235.3162</c:v>
                </c:pt>
                <c:pt idx="40">
                  <c:v>1284.7981</c:v>
                </c:pt>
                <c:pt idx="41">
                  <c:v>1369.6185</c:v>
                </c:pt>
                <c:pt idx="42">
                  <c:v>1368.7641</c:v>
                </c:pt>
                <c:pt idx="43">
                  <c:v>1356.2083</c:v>
                </c:pt>
                <c:pt idx="44">
                  <c:v>1272.4188</c:v>
                </c:pt>
                <c:pt idx="45">
                  <c:v>1225.9794</c:v>
                </c:pt>
                <c:pt idx="46">
                  <c:v>1193.791</c:v>
                </c:pt>
                <c:pt idx="47">
                  <c:v>1164.085</c:v>
                </c:pt>
                <c:pt idx="48">
                  <c:v>1184.3671</c:v>
                </c:pt>
                <c:pt idx="49">
                  <c:v>1206.4151</c:v>
                </c:pt>
                <c:pt idx="50">
                  <c:v>1068.9665</c:v>
                </c:pt>
                <c:pt idx="51">
                  <c:v>1038.3782</c:v>
                </c:pt>
                <c:pt idx="52">
                  <c:v>1141.6221519805117</c:v>
                </c:pt>
                <c:pt idx="53">
                  <c:v>891.884296926181</c:v>
                </c:pt>
                <c:pt idx="54">
                  <c:v>1255.4355774953874</c:v>
                </c:pt>
              </c:numCache>
            </c:numRef>
          </c:xVal>
          <c:yVal>
            <c:numRef>
              <c:f>Sheet1!$B$187:$B$241</c:f>
              <c:numCache>
                <c:formatCode>General</c:formatCode>
                <c:ptCount val="55"/>
                <c:pt idx="0">
                  <c:v>0.1557135741054213</c:v>
                </c:pt>
                <c:pt idx="1">
                  <c:v>0.15776745832650257</c:v>
                </c:pt>
                <c:pt idx="2">
                  <c:v>0.1600447384661426</c:v>
                </c:pt>
                <c:pt idx="3">
                  <c:v>0.1670293797217332</c:v>
                </c:pt>
                <c:pt idx="4">
                  <c:v>0.16073727129040724</c:v>
                </c:pt>
                <c:pt idx="5">
                  <c:v>0.15855204133221307</c:v>
                </c:pt>
                <c:pt idx="6">
                  <c:v>0.17093694620746241</c:v>
                </c:pt>
                <c:pt idx="7">
                  <c:v>0.16251756533959338</c:v>
                </c:pt>
                <c:pt idx="8">
                  <c:v>0.14788982897211106</c:v>
                </c:pt>
                <c:pt idx="9">
                  <c:v>0.15923627690674452</c:v>
                </c:pt>
                <c:pt idx="10">
                  <c:v>0.15272333292930224</c:v>
                </c:pt>
                <c:pt idx="11">
                  <c:v>0.1782107178634088</c:v>
                </c:pt>
                <c:pt idx="12">
                  <c:v>0.17240831146831553</c:v>
                </c:pt>
                <c:pt idx="13">
                  <c:v>0.1657616119914616</c:v>
                </c:pt>
                <c:pt idx="14">
                  <c:v>0.1649878592242642</c:v>
                </c:pt>
                <c:pt idx="15">
                  <c:v>0.15663586954977263</c:v>
                </c:pt>
                <c:pt idx="16">
                  <c:v>0.15024971192963937</c:v>
                </c:pt>
                <c:pt idx="17">
                  <c:v>0.154177200029827</c:v>
                </c:pt>
                <c:pt idx="18">
                  <c:v>0.1602478704744619</c:v>
                </c:pt>
                <c:pt idx="19">
                  <c:v>0.14145932351058213</c:v>
                </c:pt>
                <c:pt idx="20">
                  <c:v>0.13099999670583706</c:v>
                </c:pt>
                <c:pt idx="21">
                  <c:v>0.15019130257755728</c:v>
                </c:pt>
                <c:pt idx="22">
                  <c:v>0.16552655063268393</c:v>
                </c:pt>
                <c:pt idx="23">
                  <c:v>0.16201903207220902</c:v>
                </c:pt>
                <c:pt idx="24">
                  <c:v>0.1575465817048925</c:v>
                </c:pt>
                <c:pt idx="25">
                  <c:v>0.1668488255431334</c:v>
                </c:pt>
                <c:pt idx="26">
                  <c:v>0.15707551425098137</c:v>
                </c:pt>
                <c:pt idx="27">
                  <c:v>0.15091382051224383</c:v>
                </c:pt>
                <c:pt idx="28">
                  <c:v>0.1601872978130434</c:v>
                </c:pt>
                <c:pt idx="29">
                  <c:v>0.16047095148090207</c:v>
                </c:pt>
                <c:pt idx="30">
                  <c:v>0.15761657434620607</c:v>
                </c:pt>
                <c:pt idx="31">
                  <c:v>0.1747601710127355</c:v>
                </c:pt>
                <c:pt idx="32">
                  <c:v>0.16756656502871617</c:v>
                </c:pt>
                <c:pt idx="33">
                  <c:v>0.16474610256000877</c:v>
                </c:pt>
                <c:pt idx="34">
                  <c:v>0.15592844001311573</c:v>
                </c:pt>
                <c:pt idx="35">
                  <c:v>0.15269204709491227</c:v>
                </c:pt>
                <c:pt idx="36">
                  <c:v>0.15398828014233779</c:v>
                </c:pt>
                <c:pt idx="37">
                  <c:v>0.1549351250401076</c:v>
                </c:pt>
                <c:pt idx="38">
                  <c:v>0.15396318301566958</c:v>
                </c:pt>
                <c:pt idx="39">
                  <c:v>0.15171751731436936</c:v>
                </c:pt>
                <c:pt idx="40">
                  <c:v>0.14494253907060092</c:v>
                </c:pt>
                <c:pt idx="41">
                  <c:v>0.1333290730430689</c:v>
                </c:pt>
                <c:pt idx="42">
                  <c:v>0.13344605604920803</c:v>
                </c:pt>
                <c:pt idx="43">
                  <c:v>0.13516517499640102</c:v>
                </c:pt>
                <c:pt idx="44">
                  <c:v>0.14663749193565023</c:v>
                </c:pt>
                <c:pt idx="45">
                  <c:v>0.15299589621385418</c:v>
                </c:pt>
                <c:pt idx="46">
                  <c:v>0.1574030776216359</c:v>
                </c:pt>
                <c:pt idx="47">
                  <c:v>0.1614703730106445</c:v>
                </c:pt>
                <c:pt idx="48">
                  <c:v>0.15869338210613326</c:v>
                </c:pt>
                <c:pt idx="49">
                  <c:v>0.15567460715370407</c:v>
                </c:pt>
                <c:pt idx="50">
                  <c:v>0.1744938375113991</c:v>
                </c:pt>
                <c:pt idx="51">
                  <c:v>0.1786819359274636</c:v>
                </c:pt>
                <c:pt idx="52">
                  <c:v>0.16454594825381647</c:v>
                </c:pt>
                <c:pt idx="53">
                  <c:v>0.19873963391743257</c:v>
                </c:pt>
                <c:pt idx="54">
                  <c:v>0.148962806100583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4.0"/>
          <c:min val="4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98890649762282"/>
          <c:min val="0.091019786910197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8274753309674162</c:v>
                </c:pt>
                <c:pt idx="5">
                  <c:v>1.0631914783980279</c:v>
                </c:pt>
                <c:pt idx="6">
                  <c:v>1.4138295598363912</c:v>
                </c:pt>
                <c:pt idx="7">
                  <c:v>1.585263938996931</c:v>
                </c:pt>
                <c:pt idx="8">
                  <c:v>1.2463005700733336</c:v>
                </c:pt>
                <c:pt idx="9">
                  <c:v>1.4864269688050697</c:v>
                </c:pt>
                <c:pt idx="10">
                  <c:v>1.1005745116975136</c:v>
                </c:pt>
                <c:pt idx="11">
                  <c:v>1.5359273726692204</c:v>
                </c:pt>
                <c:pt idx="12">
                  <c:v>1.0311733956093807</c:v>
                </c:pt>
                <c:pt idx="13">
                  <c:v>1.1184631096731517</c:v>
                </c:pt>
                <c:pt idx="14">
                  <c:v>0.6035599100373498</c:v>
                </c:pt>
                <c:pt idx="15">
                  <c:v>0.6712652579464904</c:v>
                </c:pt>
                <c:pt idx="16">
                  <c:v>0.9197447202846165</c:v>
                </c:pt>
                <c:pt idx="17">
                  <c:v>0.5642056120638136</c:v>
                </c:pt>
                <c:pt idx="18">
                  <c:v>0.4513339845933178</c:v>
                </c:pt>
                <c:pt idx="19">
                  <c:v>0.4960347133088157</c:v>
                </c:pt>
                <c:pt idx="20">
                  <c:v>1.6530608721289322</c:v>
                </c:pt>
                <c:pt idx="21">
                  <c:v>0.0</c:v>
                </c:pt>
                <c:pt idx="22">
                  <c:v>1.3579094671253977</c:v>
                </c:pt>
                <c:pt idx="23">
                  <c:v>1.9489890922658621</c:v>
                </c:pt>
                <c:pt idx="24">
                  <c:v>2.119541127906969</c:v>
                </c:pt>
                <c:pt idx="25">
                  <c:v>1.541288089133594</c:v>
                </c:pt>
                <c:pt idx="26">
                  <c:v>2.035039993963854</c:v>
                </c:pt>
                <c:pt idx="27">
                  <c:v>2.1206515757816566</c:v>
                </c:pt>
                <c:pt idx="28">
                  <c:v>1.6419803286195576</c:v>
                </c:pt>
                <c:pt idx="29">
                  <c:v>1.5871088605636416</c:v>
                </c:pt>
                <c:pt idx="30">
                  <c:v>2.1089823970936017</c:v>
                </c:pt>
                <c:pt idx="31">
                  <c:v>2.814774411481881</c:v>
                </c:pt>
                <c:pt idx="32">
                  <c:v>2.327596821691402</c:v>
                </c:pt>
                <c:pt idx="33">
                  <c:v>3.0081693833149643</c:v>
                </c:pt>
                <c:pt idx="34">
                  <c:v>1.8469871243189897</c:v>
                </c:pt>
                <c:pt idx="35">
                  <c:v>1.843980489098412</c:v>
                </c:pt>
                <c:pt idx="36">
                  <c:v>2.011338783876001</c:v>
                </c:pt>
                <c:pt idx="37">
                  <c:v>2.0891983039389683</c:v>
                </c:pt>
                <c:pt idx="38">
                  <c:v>2.8372031848207744</c:v>
                </c:pt>
                <c:pt idx="39">
                  <c:v>2.6046724440377362</c:v>
                </c:pt>
                <c:pt idx="40">
                  <c:v>2.6243999902493447</c:v>
                </c:pt>
                <c:pt idx="41">
                  <c:v>2.231665438741704</c:v>
                </c:pt>
                <c:pt idx="42">
                  <c:v>2.3993626226303393</c:v>
                </c:pt>
                <c:pt idx="43">
                  <c:v>2.127533335973371</c:v>
                </c:pt>
                <c:pt idx="44">
                  <c:v>2.4418991125908915</c:v>
                </c:pt>
                <c:pt idx="45">
                  <c:v>2.9059310264790708</c:v>
                </c:pt>
                <c:pt idx="46">
                  <c:v>2.0707150426165573</c:v>
                </c:pt>
                <c:pt idx="47">
                  <c:v>3.1213371004426365</c:v>
                </c:pt>
                <c:pt idx="48">
                  <c:v>2.941611558498331</c:v>
                </c:pt>
                <c:pt idx="49">
                  <c:v>2.8596194844087672</c:v>
                </c:pt>
              </c:numCache>
            </c:numRef>
          </c:xVal>
          <c:yVal>
            <c:numRef>
              <c:f>Sheet1!$B$2:$B$51</c:f>
              <c:numCache>
                <c:formatCode>General</c:formatCode>
                <c:ptCount val="50"/>
                <c:pt idx="0">
                  <c:v>0.0</c:v>
                </c:pt>
                <c:pt idx="1">
                  <c:v>0.0</c:v>
                </c:pt>
                <c:pt idx="2">
                  <c:v>0.0</c:v>
                </c:pt>
                <c:pt idx="3">
                  <c:v>0.0</c:v>
                </c:pt>
                <c:pt idx="4">
                  <c:v>0.0001558117793705204</c:v>
                </c:pt>
                <c:pt idx="5">
                  <c:v>0.00017917935853789643</c:v>
                </c:pt>
                <c:pt idx="6">
                  <c:v>0.0002623983206507478</c:v>
                </c:pt>
                <c:pt idx="7">
                  <c:v>0.00023529411764705883</c:v>
                </c:pt>
                <c:pt idx="8">
                  <c:v>0.00022311468094600624</c:v>
                </c:pt>
                <c:pt idx="9">
                  <c:v>0.00020181634712411706</c:v>
                </c:pt>
                <c:pt idx="10">
                  <c:v>0.00042625745950554135</c:v>
                </c:pt>
                <c:pt idx="11">
                  <c:v>0.0004464285714285714</c:v>
                </c:pt>
                <c:pt idx="12">
                  <c:v>0.0004510599909788002</c:v>
                </c:pt>
                <c:pt idx="13">
                  <c:v>0.000561324726354196</c:v>
                </c:pt>
                <c:pt idx="14">
                  <c:v>0.0007059654076950229</c:v>
                </c:pt>
                <c:pt idx="15">
                  <c:v>0.0007104795737122557</c:v>
                </c:pt>
                <c:pt idx="16">
                  <c:v>0.00041597337770382697</c:v>
                </c:pt>
                <c:pt idx="17">
                  <c:v>0.0007238508867173362</c:v>
                </c:pt>
                <c:pt idx="18">
                  <c:v>0.0008071025020177562</c:v>
                </c:pt>
                <c:pt idx="19">
                  <c:v>0.0007084661707403471</c:v>
                </c:pt>
                <c:pt idx="20">
                  <c:v>0.0008525149190110827</c:v>
                </c:pt>
                <c:pt idx="21">
                  <c:v>0.0</c:v>
                </c:pt>
                <c:pt idx="22">
                  <c:v>0.002304147465437788</c:v>
                </c:pt>
                <c:pt idx="23">
                  <c:v>0.0011855364552459987</c:v>
                </c:pt>
                <c:pt idx="24">
                  <c:v>0.0012175324675324675</c:v>
                </c:pt>
                <c:pt idx="25">
                  <c:v>0.0015203344735841885</c:v>
                </c:pt>
                <c:pt idx="26">
                  <c:v>0.0010496850944716584</c:v>
                </c:pt>
                <c:pt idx="27">
                  <c:v>0.0014792899408284023</c:v>
                </c:pt>
                <c:pt idx="28">
                  <c:v>0.0016556291390728477</c:v>
                </c:pt>
                <c:pt idx="29">
                  <c:v>0.002168021680216802</c:v>
                </c:pt>
                <c:pt idx="30">
                  <c:v>0.0018876828692779614</c:v>
                </c:pt>
                <c:pt idx="31">
                  <c:v>0.0013481631277384564</c:v>
                </c:pt>
                <c:pt idx="32">
                  <c:v>0.0015499070055796653</c:v>
                </c:pt>
                <c:pt idx="33">
                  <c:v>0.0012975778546712802</c:v>
                </c:pt>
                <c:pt idx="34">
                  <c:v>0.0019502681618722574</c:v>
                </c:pt>
                <c:pt idx="35">
                  <c:v>0.002352941176470588</c:v>
                </c:pt>
                <c:pt idx="36">
                  <c:v>0.0022727272727272726</c:v>
                </c:pt>
                <c:pt idx="37">
                  <c:v>0.002207505518763797</c:v>
                </c:pt>
                <c:pt idx="38">
                  <c:v>0.00177999288002848</c:v>
                </c:pt>
                <c:pt idx="39">
                  <c:v>0.0016722408026755853</c:v>
                </c:pt>
                <c:pt idx="40">
                  <c:v>0.002112888620585572</c:v>
                </c:pt>
                <c:pt idx="41">
                  <c:v>0.0025585514662468016</c:v>
                </c:pt>
                <c:pt idx="42">
                  <c:v>0.0029728725380899295</c:v>
                </c:pt>
                <c:pt idx="43">
                  <c:v>0.0030950170225936243</c:v>
                </c:pt>
                <c:pt idx="44">
                  <c:v>0.002810492505353319</c:v>
                </c:pt>
                <c:pt idx="45">
                  <c:v>0.0019880715705765406</c:v>
                </c:pt>
                <c:pt idx="46">
                  <c:v>0.0033585222502099076</c:v>
                </c:pt>
                <c:pt idx="47">
                  <c:v>0.0020693222969477496</c:v>
                </c:pt>
                <c:pt idx="48">
                  <c:v>0.0023679848448969927</c:v>
                </c:pt>
                <c:pt idx="49">
                  <c:v>0.0020149683362118594</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2.369798226563979</c:v>
                </c:pt>
                <c:pt idx="1">
                  <c:v>2.056568990582566</c:v>
                </c:pt>
                <c:pt idx="2">
                  <c:v>2.2916474605440533</c:v>
                </c:pt>
                <c:pt idx="3">
                  <c:v>2.0238942416691548</c:v>
                </c:pt>
                <c:pt idx="4">
                  <c:v>2.736147184990118</c:v>
                </c:pt>
                <c:pt idx="5">
                  <c:v>2.471273579500637</c:v>
                </c:pt>
                <c:pt idx="6">
                  <c:v>2.8161051593392497</c:v>
                </c:pt>
                <c:pt idx="7">
                  <c:v>2.47212977262362</c:v>
                </c:pt>
                <c:pt idx="8">
                  <c:v>2.0029596085017625</c:v>
                </c:pt>
                <c:pt idx="9">
                  <c:v>2.584589585406334</c:v>
                </c:pt>
                <c:pt idx="10">
                  <c:v>2.5222027142165295</c:v>
                </c:pt>
                <c:pt idx="11">
                  <c:v>2.708920127765819</c:v>
                </c:pt>
                <c:pt idx="12">
                  <c:v>2.6380516779851635</c:v>
                </c:pt>
                <c:pt idx="13">
                  <c:v>1.9056365779239517</c:v>
                </c:pt>
                <c:pt idx="14">
                  <c:v>2.252204694705797</c:v>
                </c:pt>
                <c:pt idx="15">
                  <c:v>2.070995789753014</c:v>
                </c:pt>
                <c:pt idx="16">
                  <c:v>2.0681272610133967</c:v>
                </c:pt>
                <c:pt idx="17">
                  <c:v>1.862902038287739</c:v>
                </c:pt>
                <c:pt idx="18">
                  <c:v>2.6131222234945755</c:v>
                </c:pt>
                <c:pt idx="19">
                  <c:v>2.5322794795692913</c:v>
                </c:pt>
                <c:pt idx="20">
                  <c:v>1.9912698298965372</c:v>
                </c:pt>
                <c:pt idx="21">
                  <c:v>2.2783003190386264</c:v>
                </c:pt>
                <c:pt idx="22">
                  <c:v>2.086318730305404</c:v>
                </c:pt>
                <c:pt idx="23">
                  <c:v>2.1191998914418924</c:v>
                </c:pt>
                <c:pt idx="24">
                  <c:v>2.5358743495123055</c:v>
                </c:pt>
                <c:pt idx="25">
                  <c:v>2.496381354079314</c:v>
                </c:pt>
                <c:pt idx="26">
                  <c:v>2.468004700925217</c:v>
                </c:pt>
                <c:pt idx="27">
                  <c:v>2.2122625284421287</c:v>
                </c:pt>
                <c:pt idx="28">
                  <c:v>1.9893190332369415</c:v>
                </c:pt>
                <c:pt idx="29">
                  <c:v>2.088332533663009</c:v>
                </c:pt>
                <c:pt idx="30">
                  <c:v>1.844586758627994</c:v>
                </c:pt>
                <c:pt idx="31">
                  <c:v>2.1900462412223862</c:v>
                </c:pt>
                <c:pt idx="32">
                  <c:v>2.922514902404277</c:v>
                </c:pt>
                <c:pt idx="33">
                  <c:v>2.8104667786520934</c:v>
                </c:pt>
                <c:pt idx="34">
                  <c:v>2.8553438592642033</c:v>
                </c:pt>
                <c:pt idx="35">
                  <c:v>2.4218808113947548</c:v>
                </c:pt>
                <c:pt idx="36">
                  <c:v>1.9998188805827581</c:v>
                </c:pt>
                <c:pt idx="37">
                  <c:v>2.255022586565543</c:v>
                </c:pt>
                <c:pt idx="38">
                  <c:v>1.8794154320031864</c:v>
                </c:pt>
                <c:pt idx="39">
                  <c:v>2.219401900670094</c:v>
                </c:pt>
                <c:pt idx="40">
                  <c:v>1.9903139584125162</c:v>
                </c:pt>
                <c:pt idx="41">
                  <c:v>2.646710648171276</c:v>
                </c:pt>
                <c:pt idx="42">
                  <c:v>2.7896004271060733</c:v>
                </c:pt>
                <c:pt idx="43">
                  <c:v>2.524774513704984</c:v>
                </c:pt>
                <c:pt idx="44">
                  <c:v>2.815354732742688</c:v>
                </c:pt>
                <c:pt idx="45">
                  <c:v>3.228889223696841</c:v>
                </c:pt>
                <c:pt idx="46">
                  <c:v>3.0816710937622784</c:v>
                </c:pt>
                <c:pt idx="47">
                  <c:v>3.1575122331549372</c:v>
                </c:pt>
                <c:pt idx="48">
                  <c:v>2.3292858618902197</c:v>
                </c:pt>
                <c:pt idx="49">
                  <c:v>3.0660433032965733</c:v>
                </c:pt>
                <c:pt idx="50">
                  <c:v>3.4278739864221075</c:v>
                </c:pt>
                <c:pt idx="51">
                  <c:v>2.7679066438341664</c:v>
                </c:pt>
              </c:numCache>
            </c:numRef>
          </c:xVal>
          <c:yVal>
            <c:numRef>
              <c:f>Sheet1!$B$54:$B$105</c:f>
              <c:numCache>
                <c:formatCode>General</c:formatCode>
                <c:ptCount val="52"/>
                <c:pt idx="0">
                  <c:v>0.0020181634712411706</c:v>
                </c:pt>
                <c:pt idx="1">
                  <c:v>0.0021407546160021407</c:v>
                </c:pt>
                <c:pt idx="2">
                  <c:v>0.002106741573033708</c:v>
                </c:pt>
                <c:pt idx="3">
                  <c:v>0.002560819462227913</c:v>
                </c:pt>
                <c:pt idx="4">
                  <c:v>0.0018913807079167792</c:v>
                </c:pt>
                <c:pt idx="5">
                  <c:v>0.002176278563656148</c:v>
                </c:pt>
                <c:pt idx="6">
                  <c:v>0.002297794117647059</c:v>
                </c:pt>
                <c:pt idx="7">
                  <c:v>0.0030778701138811943</c:v>
                </c:pt>
                <c:pt idx="8">
                  <c:v>0.004493464052287581</c:v>
                </c:pt>
                <c:pt idx="9">
                  <c:v>0.004074074074074074</c:v>
                </c:pt>
                <c:pt idx="10">
                  <c:v>0.003832752613240418</c:v>
                </c:pt>
                <c:pt idx="11">
                  <c:v>0.003271537622682661</c:v>
                </c:pt>
                <c:pt idx="12">
                  <c:v>0.004058853373921867</c:v>
                </c:pt>
                <c:pt idx="13">
                  <c:v>0.0054914881933003845</c:v>
                </c:pt>
                <c:pt idx="14">
                  <c:v>0.004256612952265126</c:v>
                </c:pt>
                <c:pt idx="15">
                  <c:v>0.004445964432284542</c:v>
                </c:pt>
                <c:pt idx="16">
                  <c:v>0.004937333839726547</c:v>
                </c:pt>
                <c:pt idx="17">
                  <c:v>0.006517311608961304</c:v>
                </c:pt>
                <c:pt idx="18">
                  <c:v>0.003493013972055888</c:v>
                </c:pt>
                <c:pt idx="19">
                  <c:v>0.0028076743097800653</c:v>
                </c:pt>
                <c:pt idx="20">
                  <c:v>0.0031529164477141357</c:v>
                </c:pt>
                <c:pt idx="21">
                  <c:v>0.0031872509960159364</c:v>
                </c:pt>
                <c:pt idx="22">
                  <c:v>0.00452147701582517</c:v>
                </c:pt>
                <c:pt idx="23">
                  <c:v>0.00350385423966363</c:v>
                </c:pt>
                <c:pt idx="24">
                  <c:v>0.003537735849056604</c:v>
                </c:pt>
                <c:pt idx="25">
                  <c:v>0.003076923076923077</c:v>
                </c:pt>
                <c:pt idx="26">
                  <c:v>0.0037858301784748512</c:v>
                </c:pt>
                <c:pt idx="27">
                  <c:v>0.004139834406623735</c:v>
                </c:pt>
                <c:pt idx="28">
                  <c:v>0.00299625468164794</c:v>
                </c:pt>
                <c:pt idx="29">
                  <c:v>0.0034347399411187437</c:v>
                </c:pt>
                <c:pt idx="30">
                  <c:v>0.003964321110009911</c:v>
                </c:pt>
                <c:pt idx="31">
                  <c:v>0.003036437246963563</c:v>
                </c:pt>
                <c:pt idx="32">
                  <c:v>0.002591792656587473</c:v>
                </c:pt>
                <c:pt idx="33">
                  <c:v>0.0022328548644338117</c:v>
                </c:pt>
                <c:pt idx="34">
                  <c:v>0.002312673450508788</c:v>
                </c:pt>
                <c:pt idx="35">
                  <c:v>0.002975304968759298</c:v>
                </c:pt>
                <c:pt idx="36">
                  <c:v>0.0045223289994347085</c:v>
                </c:pt>
                <c:pt idx="37">
                  <c:v>0.00400200100050025</c:v>
                </c:pt>
                <c:pt idx="38">
                  <c:v>0.003723404255319149</c:v>
                </c:pt>
                <c:pt idx="39">
                  <c:v>0.0026933435936898806</c:v>
                </c:pt>
                <c:pt idx="40">
                  <c:v>0.0034662045060658577</c:v>
                </c:pt>
                <c:pt idx="41">
                  <c:v>0.0028524857375713123</c:v>
                </c:pt>
                <c:pt idx="42">
                  <c:v>0.001834862385321101</c:v>
                </c:pt>
                <c:pt idx="43">
                  <c:v>0.0019249278152069298</c:v>
                </c:pt>
                <c:pt idx="44">
                  <c:v>0.0021327645961077045</c:v>
                </c:pt>
                <c:pt idx="45">
                  <c:v>0.0012610340479192938</c:v>
                </c:pt>
                <c:pt idx="46">
                  <c:v>0.0016638935108153079</c:v>
                </c:pt>
                <c:pt idx="47">
                  <c:v>0.0013363028953229399</c:v>
                </c:pt>
                <c:pt idx="48">
                  <c:v>0.002129307007355788</c:v>
                </c:pt>
                <c:pt idx="49">
                  <c:v>0.0016791044776119403</c:v>
                </c:pt>
                <c:pt idx="50">
                  <c:v>0.0011913271384322134</c:v>
                </c:pt>
                <c:pt idx="51">
                  <c:v>0.0020403999183840034</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1.9251130204167413</c:v>
                </c:pt>
              </c:numCache>
            </c:numRef>
          </c:xVal>
          <c:yVal>
            <c:numRef>
              <c:f>Sheet1!$B$108:$B$109</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1.9251130204167413</c:v>
                </c:pt>
                <c:pt idx="1">
                  <c:v>1.9251130204167413</c:v>
                </c:pt>
              </c:numCache>
            </c:numRef>
          </c:xVal>
          <c:yVal>
            <c:numRef>
              <c:f>Sheet1!$B$112:$B$113</c:f>
              <c:numCache>
                <c:formatCode>General</c:formatCode>
                <c:ptCount val="2"/>
                <c:pt idx="0">
                  <c:v>0.00411744495661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1.9251130204167413</c:v>
                </c:pt>
              </c:numCache>
            </c:numRef>
          </c:xVal>
          <c:yVal>
            <c:numRef>
              <c:f>Sheet1!$B$116:$B$117</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9251130204167413</c:v>
                </c:pt>
                <c:pt idx="1">
                  <c:v>1.9251130204167413</c:v>
                </c:pt>
              </c:numCache>
            </c:numRef>
          </c:xVal>
          <c:yVal>
            <c:numRef>
              <c:f>Sheet1!$B$120:$B$121</c:f>
              <c:numCache>
                <c:formatCode>General</c:formatCode>
                <c:ptCount val="2"/>
                <c:pt idx="0">
                  <c:v>0.004117444956617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2.9663122837968365</c:v>
                </c:pt>
              </c:numCache>
            </c:numRef>
          </c:xVal>
          <c:yVal>
            <c:numRef>
              <c:f>Sheet1!$B$124:$B$125</c:f>
              <c:numCache>
                <c:formatCode>General</c:formatCode>
                <c:ptCount val="2"/>
                <c:pt idx="0">
                  <c:v>0.0020158428946003286</c:v>
                </c:pt>
                <c:pt idx="1">
                  <c:v>0.0020158428946003286</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2.9663122837968365</c:v>
                </c:pt>
                <c:pt idx="1">
                  <c:v>2.9663122837968365</c:v>
                </c:pt>
              </c:numCache>
            </c:numRef>
          </c:xVal>
          <c:yVal>
            <c:numRef>
              <c:f>Sheet1!$B$128:$B$129</c:f>
              <c:numCache>
                <c:formatCode>General</c:formatCode>
                <c:ptCount val="2"/>
                <c:pt idx="0">
                  <c:v>0.00201584289460032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2.369798226563979</c:v>
                </c:pt>
                <c:pt idx="1">
                  <c:v>2.056568990582566</c:v>
                </c:pt>
                <c:pt idx="2">
                  <c:v>2.2916474605440533</c:v>
                </c:pt>
                <c:pt idx="3">
                  <c:v>2.0238942416691548</c:v>
                </c:pt>
                <c:pt idx="4">
                  <c:v>2.736147184990118</c:v>
                </c:pt>
                <c:pt idx="5">
                  <c:v>2.471273579500637</c:v>
                </c:pt>
                <c:pt idx="6">
                  <c:v>2.8161051593392497</c:v>
                </c:pt>
                <c:pt idx="7">
                  <c:v>2.47212977262362</c:v>
                </c:pt>
                <c:pt idx="8">
                  <c:v>2.0029596085017625</c:v>
                </c:pt>
                <c:pt idx="9">
                  <c:v>2.584589585406334</c:v>
                </c:pt>
                <c:pt idx="10">
                  <c:v>2.5222027142165295</c:v>
                </c:pt>
                <c:pt idx="11">
                  <c:v>2.708920127765819</c:v>
                </c:pt>
                <c:pt idx="12">
                  <c:v>2.6380516779851635</c:v>
                </c:pt>
                <c:pt idx="13">
                  <c:v>1.9056365779239517</c:v>
                </c:pt>
                <c:pt idx="14">
                  <c:v>2.252204694705797</c:v>
                </c:pt>
                <c:pt idx="15">
                  <c:v>2.070995789753014</c:v>
                </c:pt>
                <c:pt idx="16">
                  <c:v>2.0681272610133967</c:v>
                </c:pt>
                <c:pt idx="17">
                  <c:v>1.862902038287739</c:v>
                </c:pt>
                <c:pt idx="18">
                  <c:v>2.6131222234945755</c:v>
                </c:pt>
                <c:pt idx="19">
                  <c:v>2.5322794795692913</c:v>
                </c:pt>
                <c:pt idx="20">
                  <c:v>1.9912698298965372</c:v>
                </c:pt>
                <c:pt idx="21">
                  <c:v>2.2783003190386264</c:v>
                </c:pt>
                <c:pt idx="22">
                  <c:v>2.086318730305404</c:v>
                </c:pt>
                <c:pt idx="23">
                  <c:v>2.1191998914418924</c:v>
                </c:pt>
                <c:pt idx="24">
                  <c:v>2.5358743495123055</c:v>
                </c:pt>
                <c:pt idx="25">
                  <c:v>2.496381354079314</c:v>
                </c:pt>
                <c:pt idx="26">
                  <c:v>2.468004700925217</c:v>
                </c:pt>
                <c:pt idx="27">
                  <c:v>2.2122625284421287</c:v>
                </c:pt>
                <c:pt idx="28">
                  <c:v>1.9893190332369415</c:v>
                </c:pt>
                <c:pt idx="29">
                  <c:v>2.088332533663009</c:v>
                </c:pt>
                <c:pt idx="30">
                  <c:v>1.844586758627994</c:v>
                </c:pt>
                <c:pt idx="31">
                  <c:v>2.1900462412223862</c:v>
                </c:pt>
                <c:pt idx="32">
                  <c:v>2.922514902404277</c:v>
                </c:pt>
                <c:pt idx="33">
                  <c:v>2.8104667786520934</c:v>
                </c:pt>
                <c:pt idx="34">
                  <c:v>2.8553438592642033</c:v>
                </c:pt>
                <c:pt idx="35">
                  <c:v>2.4218808113947548</c:v>
                </c:pt>
                <c:pt idx="36">
                  <c:v>1.9998188805827581</c:v>
                </c:pt>
                <c:pt idx="37">
                  <c:v>2.255022586565543</c:v>
                </c:pt>
                <c:pt idx="38">
                  <c:v>1.8794154320031864</c:v>
                </c:pt>
                <c:pt idx="39">
                  <c:v>2.219401900670094</c:v>
                </c:pt>
                <c:pt idx="40">
                  <c:v>1.9903139584125162</c:v>
                </c:pt>
                <c:pt idx="41">
                  <c:v>2.646710648171276</c:v>
                </c:pt>
                <c:pt idx="42">
                  <c:v>2.7896004271060733</c:v>
                </c:pt>
                <c:pt idx="43">
                  <c:v>2.524774513704984</c:v>
                </c:pt>
                <c:pt idx="44">
                  <c:v>2.815354732742688</c:v>
                </c:pt>
                <c:pt idx="45">
                  <c:v>3.228889223696841</c:v>
                </c:pt>
                <c:pt idx="46">
                  <c:v>3.0816710937622784</c:v>
                </c:pt>
                <c:pt idx="47">
                  <c:v>3.1575122331549372</c:v>
                </c:pt>
                <c:pt idx="48">
                  <c:v>2.3292858618902197</c:v>
                </c:pt>
                <c:pt idx="49">
                  <c:v>3.0660433032965733</c:v>
                </c:pt>
                <c:pt idx="50">
                  <c:v>3.4278739864221075</c:v>
                </c:pt>
                <c:pt idx="51">
                  <c:v>2.7679066438341664</c:v>
                </c:pt>
                <c:pt idx="52">
                  <c:v>1.9251130204167413</c:v>
                </c:pt>
                <c:pt idx="53">
                  <c:v>1.9251130204167413</c:v>
                </c:pt>
                <c:pt idx="54">
                  <c:v>2.9663122837968365</c:v>
                </c:pt>
              </c:numCache>
            </c:numRef>
          </c:xVal>
          <c:yVal>
            <c:numRef>
              <c:f>Sheet1!$B$132:$B$186</c:f>
              <c:numCache>
                <c:formatCode>General</c:formatCode>
                <c:ptCount val="55"/>
                <c:pt idx="0">
                  <c:v>0.0032198729172809607</c:v>
                </c:pt>
                <c:pt idx="1">
                  <c:v>0.0038521084857978593</c:v>
                </c:pt>
                <c:pt idx="2">
                  <c:v>0.003377615836232405</c:v>
                </c:pt>
                <c:pt idx="3">
                  <c:v>0.003918060625899633</c:v>
                </c:pt>
                <c:pt idx="4">
                  <c:v>0.002480418181261785</c:v>
                </c:pt>
                <c:pt idx="5">
                  <c:v>0.0030150506335201695</c:v>
                </c:pt>
                <c:pt idx="6">
                  <c:v>0.0023190275140985107</c:v>
                </c:pt>
                <c:pt idx="7">
                  <c:v>0.0030133224559310834</c:v>
                </c:pt>
                <c:pt idx="8">
                  <c:v>0.003960316003692861</c:v>
                </c:pt>
                <c:pt idx="9">
                  <c:v>0.0027863286587294636</c:v>
                </c:pt>
                <c:pt idx="10">
                  <c:v>0.002912253043951976</c:v>
                </c:pt>
                <c:pt idx="11">
                  <c:v>0.002535374462559449</c:v>
                </c:pt>
                <c:pt idx="12">
                  <c:v>0.0026784184363973272</c:v>
                </c:pt>
                <c:pt idx="13">
                  <c:v>0.00415675705867408</c:v>
                </c:pt>
                <c:pt idx="14">
                  <c:v>0.003457228837252235</c:v>
                </c:pt>
                <c:pt idx="15">
                  <c:v>0.003822988804338915</c:v>
                </c:pt>
                <c:pt idx="16">
                  <c:v>0.0038287787680146134</c:v>
                </c:pt>
                <c:pt idx="17">
                  <c:v>0.004243014319678324</c:v>
                </c:pt>
                <c:pt idx="18">
                  <c:v>0.002728737136001755</c:v>
                </c:pt>
                <c:pt idx="19">
                  <c:v>0.0028919136607151157</c:v>
                </c:pt>
                <c:pt idx="20">
                  <c:v>0.003983911163318222</c:v>
                </c:pt>
                <c:pt idx="21">
                  <c:v>0.0034045562895119955</c:v>
                </c:pt>
                <c:pt idx="22">
                  <c:v>0.003792060311980476</c:v>
                </c:pt>
                <c:pt idx="23">
                  <c:v>0.003725691540433694</c:v>
                </c:pt>
                <c:pt idx="24">
                  <c:v>0.002884657618235413</c:v>
                </c:pt>
                <c:pt idx="25">
                  <c:v>0.0029643720048627663</c:v>
                </c:pt>
                <c:pt idx="26">
                  <c:v>0.0030216486807875895</c:v>
                </c:pt>
                <c:pt idx="27">
                  <c:v>0.00353784984989936</c:v>
                </c:pt>
                <c:pt idx="28">
                  <c:v>0.003987848736486563</c:v>
                </c:pt>
                <c:pt idx="29">
                  <c:v>0.0037879955633413915</c:v>
                </c:pt>
                <c:pt idx="30">
                  <c:v>0.004279982679965459</c:v>
                </c:pt>
                <c:pt idx="31">
                  <c:v>0.0035826921742012404</c:v>
                </c:pt>
                <c:pt idx="32">
                  <c:v>0.0021042454418195144</c:v>
                </c:pt>
                <c:pt idx="33">
                  <c:v>0.0023304082679035942</c:v>
                </c:pt>
                <c:pt idx="34">
                  <c:v>0.0022398264086295784</c:v>
                </c:pt>
                <c:pt idx="35">
                  <c:v>0.003114747153630121</c:v>
                </c:pt>
                <c:pt idx="36">
                  <c:v>0.003966655386079078</c:v>
                </c:pt>
                <c:pt idx="37">
                  <c:v>0.0034515410812661646</c:v>
                </c:pt>
                <c:pt idx="38">
                  <c:v>0.0042096829646688936</c:v>
                </c:pt>
                <c:pt idx="39">
                  <c:v>0.0035234394292205278</c:v>
                </c:pt>
                <c:pt idx="40">
                  <c:v>0.003985840536064146</c:v>
                </c:pt>
                <c:pt idx="41">
                  <c:v>0.002660940792839456</c:v>
                </c:pt>
                <c:pt idx="42">
                  <c:v>0.0023725258230904113</c:v>
                </c:pt>
                <c:pt idx="43">
                  <c:v>0.0029070620115548874</c:v>
                </c:pt>
                <c:pt idx="44">
                  <c:v>0.0023205422079118796</c:v>
                </c:pt>
                <c:pt idx="45">
                  <c:v>0.0014858461324623326</c:v>
                </c:pt>
                <c:pt idx="46">
                  <c:v>0.0017829976348868902</c:v>
                </c:pt>
                <c:pt idx="47">
                  <c:v>0.0016299165671805138</c:v>
                </c:pt>
                <c:pt idx="48">
                  <c:v>0.0033016448432993803</c:v>
                </c:pt>
                <c:pt idx="49">
                  <c:v>0.0018145414496230543</c:v>
                </c:pt>
                <c:pt idx="50">
                  <c:v>0.0010842065977821336</c:v>
                </c:pt>
                <c:pt idx="51">
                  <c:v>0.0024163135026064137</c:v>
                </c:pt>
                <c:pt idx="52">
                  <c:v>0.00411744495661715</c:v>
                </c:pt>
                <c:pt idx="53">
                  <c:v>0.00411744495661715</c:v>
                </c:pt>
                <c:pt idx="54">
                  <c:v>0.0020158428946003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82077393075356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558117793705204</c:v>
                </c:pt>
                <c:pt idx="5">
                  <c:v>0.00017917935853789643</c:v>
                </c:pt>
                <c:pt idx="6">
                  <c:v>0.0002623983206507478</c:v>
                </c:pt>
                <c:pt idx="7">
                  <c:v>0.00023529411764705883</c:v>
                </c:pt>
                <c:pt idx="8">
                  <c:v>0.00022311468094600624</c:v>
                </c:pt>
                <c:pt idx="9">
                  <c:v>0.00020181634712411706</c:v>
                </c:pt>
                <c:pt idx="10">
                  <c:v>0.00042625745950554135</c:v>
                </c:pt>
                <c:pt idx="11">
                  <c:v>0.0004464285714285714</c:v>
                </c:pt>
                <c:pt idx="12">
                  <c:v>0.0004510599909788002</c:v>
                </c:pt>
                <c:pt idx="13">
                  <c:v>0.000561324726354196</c:v>
                </c:pt>
                <c:pt idx="14">
                  <c:v>0.0007059654076950229</c:v>
                </c:pt>
                <c:pt idx="15">
                  <c:v>0.0007104795737122557</c:v>
                </c:pt>
                <c:pt idx="16">
                  <c:v>0.00041597337770382697</c:v>
                </c:pt>
                <c:pt idx="17">
                  <c:v>0.0007238508867173362</c:v>
                </c:pt>
                <c:pt idx="18">
                  <c:v>0.0008071025020177562</c:v>
                </c:pt>
                <c:pt idx="19">
                  <c:v>0.0007084661707403471</c:v>
                </c:pt>
                <c:pt idx="20">
                  <c:v>0.0008525149190110827</c:v>
                </c:pt>
                <c:pt idx="21">
                  <c:v>0.0</c:v>
                </c:pt>
                <c:pt idx="22">
                  <c:v>0.002304147465437788</c:v>
                </c:pt>
                <c:pt idx="23">
                  <c:v>0.0011855364552459987</c:v>
                </c:pt>
                <c:pt idx="24">
                  <c:v>0.0012175324675324675</c:v>
                </c:pt>
                <c:pt idx="25">
                  <c:v>0.0015203344735841885</c:v>
                </c:pt>
                <c:pt idx="26">
                  <c:v>0.0010496850944716584</c:v>
                </c:pt>
                <c:pt idx="27">
                  <c:v>0.0014792899408284023</c:v>
                </c:pt>
                <c:pt idx="28">
                  <c:v>0.0016556291390728477</c:v>
                </c:pt>
                <c:pt idx="29">
                  <c:v>0.002168021680216802</c:v>
                </c:pt>
                <c:pt idx="30">
                  <c:v>0.0018876828692779614</c:v>
                </c:pt>
                <c:pt idx="31">
                  <c:v>0.0013481631277384564</c:v>
                </c:pt>
                <c:pt idx="32">
                  <c:v>0.0015499070055796653</c:v>
                </c:pt>
                <c:pt idx="33">
                  <c:v>0.0012975778546712802</c:v>
                </c:pt>
                <c:pt idx="34">
                  <c:v>0.0019502681618722574</c:v>
                </c:pt>
                <c:pt idx="35">
                  <c:v>0.002352941176470588</c:v>
                </c:pt>
                <c:pt idx="36">
                  <c:v>0.0022727272727272726</c:v>
                </c:pt>
                <c:pt idx="37">
                  <c:v>0.002207505518763797</c:v>
                </c:pt>
                <c:pt idx="38">
                  <c:v>0.00177999288002848</c:v>
                </c:pt>
                <c:pt idx="39">
                  <c:v>0.0016722408026755853</c:v>
                </c:pt>
                <c:pt idx="40">
                  <c:v>0.002112888620585572</c:v>
                </c:pt>
                <c:pt idx="41">
                  <c:v>0.0025585514662468016</c:v>
                </c:pt>
                <c:pt idx="42">
                  <c:v>0.0029728725380899295</c:v>
                </c:pt>
                <c:pt idx="43">
                  <c:v>0.0030950170225936243</c:v>
                </c:pt>
                <c:pt idx="44">
                  <c:v>0.002810492505353319</c:v>
                </c:pt>
                <c:pt idx="45">
                  <c:v>0.0019880715705765406</c:v>
                </c:pt>
                <c:pt idx="46">
                  <c:v>0.0033585222502099076</c:v>
                </c:pt>
                <c:pt idx="47">
                  <c:v>0.0020693222969477496</c:v>
                </c:pt>
                <c:pt idx="48">
                  <c:v>0.0023679848448969927</c:v>
                </c:pt>
                <c:pt idx="49">
                  <c:v>0.0020149683362118594</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0181634712411706</c:v>
                </c:pt>
                <c:pt idx="1">
                  <c:v>0.0021407546160021407</c:v>
                </c:pt>
                <c:pt idx="2">
                  <c:v>0.002106741573033708</c:v>
                </c:pt>
                <c:pt idx="3">
                  <c:v>0.002560819462227913</c:v>
                </c:pt>
                <c:pt idx="4">
                  <c:v>0.0018913807079167792</c:v>
                </c:pt>
                <c:pt idx="5">
                  <c:v>0.002176278563656148</c:v>
                </c:pt>
                <c:pt idx="6">
                  <c:v>0.002297794117647059</c:v>
                </c:pt>
                <c:pt idx="7">
                  <c:v>0.0030778701138811943</c:v>
                </c:pt>
                <c:pt idx="8">
                  <c:v>0.004493464052287581</c:v>
                </c:pt>
                <c:pt idx="9">
                  <c:v>0.004074074074074074</c:v>
                </c:pt>
                <c:pt idx="10">
                  <c:v>0.003832752613240418</c:v>
                </c:pt>
                <c:pt idx="11">
                  <c:v>0.003271537622682661</c:v>
                </c:pt>
                <c:pt idx="12">
                  <c:v>0.004058853373921867</c:v>
                </c:pt>
                <c:pt idx="13">
                  <c:v>0.0054914881933003845</c:v>
                </c:pt>
                <c:pt idx="14">
                  <c:v>0.004256612952265126</c:v>
                </c:pt>
                <c:pt idx="15">
                  <c:v>0.004445964432284542</c:v>
                </c:pt>
                <c:pt idx="16">
                  <c:v>0.004937333839726547</c:v>
                </c:pt>
                <c:pt idx="17">
                  <c:v>0.006517311608961304</c:v>
                </c:pt>
                <c:pt idx="18">
                  <c:v>0.003493013972055888</c:v>
                </c:pt>
                <c:pt idx="19">
                  <c:v>0.0028076743097800653</c:v>
                </c:pt>
                <c:pt idx="20">
                  <c:v>0.0031529164477141357</c:v>
                </c:pt>
                <c:pt idx="21">
                  <c:v>0.0031872509960159364</c:v>
                </c:pt>
                <c:pt idx="22">
                  <c:v>0.00452147701582517</c:v>
                </c:pt>
                <c:pt idx="23">
                  <c:v>0.00350385423966363</c:v>
                </c:pt>
                <c:pt idx="24">
                  <c:v>0.003537735849056604</c:v>
                </c:pt>
                <c:pt idx="25">
                  <c:v>0.003076923076923077</c:v>
                </c:pt>
                <c:pt idx="26">
                  <c:v>0.0037858301784748512</c:v>
                </c:pt>
                <c:pt idx="27">
                  <c:v>0.004139834406623735</c:v>
                </c:pt>
                <c:pt idx="28">
                  <c:v>0.00299625468164794</c:v>
                </c:pt>
                <c:pt idx="29">
                  <c:v>0.0034347399411187437</c:v>
                </c:pt>
                <c:pt idx="30">
                  <c:v>0.003964321110009911</c:v>
                </c:pt>
                <c:pt idx="31">
                  <c:v>0.003036437246963563</c:v>
                </c:pt>
                <c:pt idx="32">
                  <c:v>0.002591792656587473</c:v>
                </c:pt>
                <c:pt idx="33">
                  <c:v>0.0022328548644338117</c:v>
                </c:pt>
                <c:pt idx="34">
                  <c:v>0.002312673450508788</c:v>
                </c:pt>
                <c:pt idx="35">
                  <c:v>0.002975304968759298</c:v>
                </c:pt>
                <c:pt idx="36">
                  <c:v>0.0045223289994347085</c:v>
                </c:pt>
                <c:pt idx="37">
                  <c:v>0.00400200100050025</c:v>
                </c:pt>
                <c:pt idx="38">
                  <c:v>0.003723404255319149</c:v>
                </c:pt>
                <c:pt idx="39">
                  <c:v>0.0026933435936898806</c:v>
                </c:pt>
                <c:pt idx="40">
                  <c:v>0.0034662045060658577</c:v>
                </c:pt>
                <c:pt idx="41">
                  <c:v>0.0028524857375713123</c:v>
                </c:pt>
                <c:pt idx="42">
                  <c:v>0.001834862385321101</c:v>
                </c:pt>
                <c:pt idx="43">
                  <c:v>0.0019249278152069298</c:v>
                </c:pt>
                <c:pt idx="44">
                  <c:v>0.0021327645961077045</c:v>
                </c:pt>
                <c:pt idx="45">
                  <c:v>0.0012610340479192938</c:v>
                </c:pt>
                <c:pt idx="46">
                  <c:v>0.0016638935108153079</c:v>
                </c:pt>
                <c:pt idx="47">
                  <c:v>0.0013363028953229399</c:v>
                </c:pt>
                <c:pt idx="48">
                  <c:v>0.002129307007355788</c:v>
                </c:pt>
                <c:pt idx="49">
                  <c:v>0.0016791044776119403</c:v>
                </c:pt>
                <c:pt idx="50">
                  <c:v>0.0011913271384322134</c:v>
                </c:pt>
                <c:pt idx="51">
                  <c:v>0.0020403999183840034</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30.682002093925</c:v>
                </c:pt>
              </c:numCache>
            </c:numRef>
          </c:xVal>
          <c:yVal>
            <c:numRef>
              <c:f>Sheet1!$B$108:$B$109</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30.682002093925</c:v>
                </c:pt>
                <c:pt idx="1">
                  <c:v>3330.682002093925</c:v>
                </c:pt>
              </c:numCache>
            </c:numRef>
          </c:xVal>
          <c:yVal>
            <c:numRef>
              <c:f>Sheet1!$B$112:$B$113</c:f>
              <c:numCache>
                <c:formatCode>General</c:formatCode>
                <c:ptCount val="2"/>
                <c:pt idx="0">
                  <c:v>0.00411744495661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30.682002093925</c:v>
                </c:pt>
              </c:numCache>
            </c:numRef>
          </c:xVal>
          <c:yVal>
            <c:numRef>
              <c:f>Sheet1!$B$116:$B$117</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30.682002093925</c:v>
                </c:pt>
                <c:pt idx="1">
                  <c:v>3330.682002093925</c:v>
                </c:pt>
              </c:numCache>
            </c:numRef>
          </c:xVal>
          <c:yVal>
            <c:numRef>
              <c:f>Sheet1!$B$120:$B$121</c:f>
              <c:numCache>
                <c:formatCode>General</c:formatCode>
                <c:ptCount val="2"/>
                <c:pt idx="0">
                  <c:v>0.004117444956617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65.470743996881</c:v>
                </c:pt>
              </c:numCache>
            </c:numRef>
          </c:xVal>
          <c:yVal>
            <c:numRef>
              <c:f>Sheet1!$B$124:$B$125</c:f>
              <c:numCache>
                <c:formatCode>General</c:formatCode>
                <c:ptCount val="2"/>
                <c:pt idx="0">
                  <c:v>0.0020158428946003286</c:v>
                </c:pt>
                <c:pt idx="1">
                  <c:v>0.0020158428946003286</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65.470743996881</c:v>
                </c:pt>
                <c:pt idx="1">
                  <c:v>4965.470743996881</c:v>
                </c:pt>
              </c:numCache>
            </c:numRef>
          </c:xVal>
          <c:yVal>
            <c:numRef>
              <c:f>Sheet1!$B$128:$B$129</c:f>
              <c:numCache>
                <c:formatCode>General</c:formatCode>
                <c:ptCount val="2"/>
                <c:pt idx="0">
                  <c:v>0.00201584289460032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30.682002093925</c:v>
                </c:pt>
                <c:pt idx="53">
                  <c:v>3330.682002093925</c:v>
                </c:pt>
                <c:pt idx="54">
                  <c:v>4965.470743996881</c:v>
                </c:pt>
              </c:numCache>
            </c:numRef>
          </c:xVal>
          <c:yVal>
            <c:numRef>
              <c:f>Sheet1!$B$132:$B$186</c:f>
              <c:numCache>
                <c:formatCode>General</c:formatCode>
                <c:ptCount val="55"/>
                <c:pt idx="0">
                  <c:v>0.003289463580318435</c:v>
                </c:pt>
                <c:pt idx="1">
                  <c:v>0.003718194381869438</c:v>
                </c:pt>
                <c:pt idx="2">
                  <c:v>0.0032842856435193737</c:v>
                </c:pt>
                <c:pt idx="3">
                  <c:v>0.0037204440937216553</c:v>
                </c:pt>
                <c:pt idx="4">
                  <c:v>0.002082378372022255</c:v>
                </c:pt>
                <c:pt idx="5">
                  <c:v>0.0028652322024718653</c:v>
                </c:pt>
                <c:pt idx="6">
                  <c:v>0.0025475086114573825</c:v>
                </c:pt>
                <c:pt idx="7">
                  <c:v>0.003180641804152641</c:v>
                </c:pt>
                <c:pt idx="8">
                  <c:v>0.00405182369278902</c:v>
                </c:pt>
                <c:pt idx="9">
                  <c:v>0.0028401348027134255</c:v>
                </c:pt>
                <c:pt idx="10">
                  <c:v>0.0030029320513024907</c:v>
                </c:pt>
                <c:pt idx="11">
                  <c:v>0.0033059400842591806</c:v>
                </c:pt>
                <c:pt idx="12">
                  <c:v>0.003311157230321953</c:v>
                </c:pt>
                <c:pt idx="13">
                  <c:v>0.004250540483585391</c:v>
                </c:pt>
                <c:pt idx="14">
                  <c:v>0.003497125739659072</c:v>
                </c:pt>
                <c:pt idx="15">
                  <c:v>0.0038262052333287305</c:v>
                </c:pt>
                <c:pt idx="16">
                  <c:v>0.0039097659592682065</c:v>
                </c:pt>
                <c:pt idx="17">
                  <c:v>0.004362576133825781</c:v>
                </c:pt>
                <c:pt idx="18">
                  <c:v>0.0026933817277245914</c:v>
                </c:pt>
                <c:pt idx="19">
                  <c:v>0.002390757302777445</c:v>
                </c:pt>
                <c:pt idx="20">
                  <c:v>0.003415340357758403</c:v>
                </c:pt>
                <c:pt idx="21">
                  <c:v>0.002853662255803323</c:v>
                </c:pt>
                <c:pt idx="22">
                  <c:v>0.003197868169192471</c:v>
                </c:pt>
                <c:pt idx="23">
                  <c:v>0.0034603774036054092</c:v>
                </c:pt>
                <c:pt idx="24">
                  <c:v>0.002524025862034019</c:v>
                </c:pt>
                <c:pt idx="25">
                  <c:v>0.003065199447393181</c:v>
                </c:pt>
                <c:pt idx="26">
                  <c:v>0.002894294751508579</c:v>
                </c:pt>
                <c:pt idx="27">
                  <c:v>0.0035111138051813406</c:v>
                </c:pt>
                <c:pt idx="28">
                  <c:v>0.00399249853413614</c:v>
                </c:pt>
                <c:pt idx="29">
                  <c:v>0.003395291825616188</c:v>
                </c:pt>
                <c:pt idx="30">
                  <c:v>0.0040468130059968</c:v>
                </c:pt>
                <c:pt idx="31">
                  <c:v>0.003330922555880714</c:v>
                </c:pt>
                <c:pt idx="32">
                  <c:v>0.001650923490805624</c:v>
                </c:pt>
                <c:pt idx="33">
                  <c:v>0.002188344428240326</c:v>
                </c:pt>
                <c:pt idx="34">
                  <c:v>0.0023461915394247367</c:v>
                </c:pt>
                <c:pt idx="35">
                  <c:v>0.0029119619315164805</c:v>
                </c:pt>
                <c:pt idx="36">
                  <c:v>0.0032182762695661515</c:v>
                </c:pt>
                <c:pt idx="37">
                  <c:v>0.002675452938367018</c:v>
                </c:pt>
                <c:pt idx="38">
                  <c:v>0.0036415664965287163</c:v>
                </c:pt>
                <c:pt idx="39">
                  <c:v>0.0033192608209686005</c:v>
                </c:pt>
                <c:pt idx="40">
                  <c:v>0.0038006302518828056</c:v>
                </c:pt>
                <c:pt idx="41">
                  <c:v>0.002201199924538707</c:v>
                </c:pt>
                <c:pt idx="42">
                  <c:v>0.001663243298573252</c:v>
                </c:pt>
                <c:pt idx="43">
                  <c:v>0.0028606256924832664</c:v>
                </c:pt>
                <c:pt idx="44">
                  <c:v>0.002841449534319861</c:v>
                </c:pt>
                <c:pt idx="45">
                  <c:v>0.0022223197051874652</c:v>
                </c:pt>
                <c:pt idx="46">
                  <c:v>0.00232442898396106</c:v>
                </c:pt>
                <c:pt idx="47">
                  <c:v>0.002301197302380404</c:v>
                </c:pt>
                <c:pt idx="48">
                  <c:v>0.004201298147789258</c:v>
                </c:pt>
                <c:pt idx="49">
                  <c:v>0.0029331877700097004</c:v>
                </c:pt>
                <c:pt idx="50">
                  <c:v>0.0023104532597152377</c:v>
                </c:pt>
                <c:pt idx="51">
                  <c:v>0.003423867794118008</c:v>
                </c:pt>
                <c:pt idx="52">
                  <c:v>0.00411744495661715</c:v>
                </c:pt>
                <c:pt idx="53">
                  <c:v>0.00411744495661715</c:v>
                </c:pt>
                <c:pt idx="54">
                  <c:v>0.0020158428946003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82077393075356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2.9914319345213656</c:v>
                </c:pt>
                <c:pt idx="5">
                  <c:v>3.9722836410656686</c:v>
                </c:pt>
                <c:pt idx="6">
                  <c:v>4.661916986115595</c:v>
                </c:pt>
                <c:pt idx="7">
                  <c:v>4.99929633996411</c:v>
                </c:pt>
                <c:pt idx="8">
                  <c:v>3.9740893658081777</c:v>
                </c:pt>
                <c:pt idx="9">
                  <c:v>4.3345176093205415</c:v>
                </c:pt>
                <c:pt idx="10">
                  <c:v>3.1073059802935985</c:v>
                </c:pt>
                <c:pt idx="11">
                  <c:v>4.459376298961081</c:v>
                </c:pt>
                <c:pt idx="12">
                  <c:v>2.9352288666644184</c:v>
                </c:pt>
                <c:pt idx="13">
                  <c:v>3.2136049845100065</c:v>
                </c:pt>
                <c:pt idx="14">
                  <c:v>1.6961044743378477</c:v>
                </c:pt>
                <c:pt idx="15">
                  <c:v>1.9511299221433278</c:v>
                </c:pt>
                <c:pt idx="16">
                  <c:v>3.094822914642734</c:v>
                </c:pt>
                <c:pt idx="17">
                  <c:v>1.9126502057509942</c:v>
                </c:pt>
                <c:pt idx="18">
                  <c:v>1.5364419968364873</c:v>
                </c:pt>
                <c:pt idx="19">
                  <c:v>1.7194043039102025</c:v>
                </c:pt>
                <c:pt idx="20">
                  <c:v>5.895878900557802</c:v>
                </c:pt>
                <c:pt idx="21">
                  <c:v>0.0</c:v>
                </c:pt>
                <c:pt idx="22">
                  <c:v>5.104251289258051</c:v>
                </c:pt>
                <c:pt idx="23">
                  <c:v>7.565048396969843</c:v>
                </c:pt>
                <c:pt idx="24">
                  <c:v>8.323063202229799</c:v>
                </c:pt>
                <c:pt idx="25">
                  <c:v>5.786862469191445</c:v>
                </c:pt>
                <c:pt idx="26">
                  <c:v>7.6213588525688225</c:v>
                </c:pt>
                <c:pt idx="27">
                  <c:v>7.959179548615359</c:v>
                </c:pt>
                <c:pt idx="28">
                  <c:v>6.336502611387135</c:v>
                </c:pt>
                <c:pt idx="29">
                  <c:v>6.115404808841395</c:v>
                </c:pt>
                <c:pt idx="30">
                  <c:v>7.796082027026998</c:v>
                </c:pt>
                <c:pt idx="31">
                  <c:v>10.200735435212183</c:v>
                </c:pt>
                <c:pt idx="32">
                  <c:v>8.269973598733797</c:v>
                </c:pt>
                <c:pt idx="33">
                  <c:v>11.773054171754612</c:v>
                </c:pt>
                <c:pt idx="34">
                  <c:v>7.435260429808562</c:v>
                </c:pt>
                <c:pt idx="35">
                  <c:v>7.381264215481056</c:v>
                </c:pt>
                <c:pt idx="36">
                  <c:v>7.848076884860733</c:v>
                </c:pt>
                <c:pt idx="37">
                  <c:v>7.359015619803693</c:v>
                </c:pt>
                <c:pt idx="38">
                  <c:v>8.718018852045109</c:v>
                </c:pt>
                <c:pt idx="39">
                  <c:v>8.084339917137456</c:v>
                </c:pt>
                <c:pt idx="40">
                  <c:v>7.579658087943321</c:v>
                </c:pt>
                <c:pt idx="41">
                  <c:v>6.001948183587415</c:v>
                </c:pt>
                <c:pt idx="42">
                  <c:v>6.023013822493702</c:v>
                </c:pt>
                <c:pt idx="43">
                  <c:v>5.440689617584335</c:v>
                </c:pt>
                <c:pt idx="44">
                  <c:v>6.82232800927956</c:v>
                </c:pt>
                <c:pt idx="45">
                  <c:v>7.25211849727003</c:v>
                </c:pt>
                <c:pt idx="46">
                  <c:v>5.122149117774377</c:v>
                </c:pt>
                <c:pt idx="47">
                  <c:v>7.5607976879687016</c:v>
                </c:pt>
                <c:pt idx="48">
                  <c:v>7.078143493429238</c:v>
                </c:pt>
                <c:pt idx="49">
                  <c:v>7.289957157762376</c:v>
                </c:pt>
              </c:numCache>
            </c:numRef>
          </c:xVal>
          <c:yVal>
            <c:numRef>
              <c:f>Sheet1!$B$2:$B$51</c:f>
              <c:numCache>
                <c:formatCode>General</c:formatCode>
                <c:ptCount val="50"/>
                <c:pt idx="0">
                  <c:v>0.0</c:v>
                </c:pt>
                <c:pt idx="1">
                  <c:v>0.0</c:v>
                </c:pt>
                <c:pt idx="2">
                  <c:v>0.0</c:v>
                </c:pt>
                <c:pt idx="3">
                  <c:v>0.0</c:v>
                </c:pt>
                <c:pt idx="4">
                  <c:v>0.0001558117793705204</c:v>
                </c:pt>
                <c:pt idx="5">
                  <c:v>0.00017917935853789643</c:v>
                </c:pt>
                <c:pt idx="6">
                  <c:v>0.0002623983206507478</c:v>
                </c:pt>
                <c:pt idx="7">
                  <c:v>0.00023529411764705883</c:v>
                </c:pt>
                <c:pt idx="8">
                  <c:v>0.00022311468094600624</c:v>
                </c:pt>
                <c:pt idx="9">
                  <c:v>0.00020181634712411706</c:v>
                </c:pt>
                <c:pt idx="10">
                  <c:v>0.00042625745950554135</c:v>
                </c:pt>
                <c:pt idx="11">
                  <c:v>0.0004464285714285714</c:v>
                </c:pt>
                <c:pt idx="12">
                  <c:v>0.0004510599909788002</c:v>
                </c:pt>
                <c:pt idx="13">
                  <c:v>0.000561324726354196</c:v>
                </c:pt>
                <c:pt idx="14">
                  <c:v>0.0007059654076950229</c:v>
                </c:pt>
                <c:pt idx="15">
                  <c:v>0.0007104795737122557</c:v>
                </c:pt>
                <c:pt idx="16">
                  <c:v>0.00041597337770382697</c:v>
                </c:pt>
                <c:pt idx="17">
                  <c:v>0.0007238508867173362</c:v>
                </c:pt>
                <c:pt idx="18">
                  <c:v>0.0008071025020177562</c:v>
                </c:pt>
                <c:pt idx="19">
                  <c:v>0.0007084661707403471</c:v>
                </c:pt>
                <c:pt idx="20">
                  <c:v>0.0008525149190110827</c:v>
                </c:pt>
                <c:pt idx="21">
                  <c:v>0.0</c:v>
                </c:pt>
                <c:pt idx="22">
                  <c:v>0.002304147465437788</c:v>
                </c:pt>
                <c:pt idx="23">
                  <c:v>0.0011855364552459987</c:v>
                </c:pt>
                <c:pt idx="24">
                  <c:v>0.0012175324675324675</c:v>
                </c:pt>
                <c:pt idx="25">
                  <c:v>0.0015203344735841885</c:v>
                </c:pt>
                <c:pt idx="26">
                  <c:v>0.0010496850944716584</c:v>
                </c:pt>
                <c:pt idx="27">
                  <c:v>0.0014792899408284023</c:v>
                </c:pt>
                <c:pt idx="28">
                  <c:v>0.0016556291390728477</c:v>
                </c:pt>
                <c:pt idx="29">
                  <c:v>0.002168021680216802</c:v>
                </c:pt>
                <c:pt idx="30">
                  <c:v>0.0018876828692779614</c:v>
                </c:pt>
                <c:pt idx="31">
                  <c:v>0.0013481631277384564</c:v>
                </c:pt>
                <c:pt idx="32">
                  <c:v>0.0015499070055796653</c:v>
                </c:pt>
                <c:pt idx="33">
                  <c:v>0.0012975778546712802</c:v>
                </c:pt>
                <c:pt idx="34">
                  <c:v>0.0019502681618722574</c:v>
                </c:pt>
                <c:pt idx="35">
                  <c:v>0.002352941176470588</c:v>
                </c:pt>
                <c:pt idx="36">
                  <c:v>0.0022727272727272726</c:v>
                </c:pt>
                <c:pt idx="37">
                  <c:v>0.002207505518763797</c:v>
                </c:pt>
                <c:pt idx="38">
                  <c:v>0.00177999288002848</c:v>
                </c:pt>
                <c:pt idx="39">
                  <c:v>0.0016722408026755853</c:v>
                </c:pt>
                <c:pt idx="40">
                  <c:v>0.002112888620585572</c:v>
                </c:pt>
                <c:pt idx="41">
                  <c:v>0.0025585514662468016</c:v>
                </c:pt>
                <c:pt idx="42">
                  <c:v>0.0029728725380899295</c:v>
                </c:pt>
                <c:pt idx="43">
                  <c:v>0.0030950170225936243</c:v>
                </c:pt>
                <c:pt idx="44">
                  <c:v>0.002810492505353319</c:v>
                </c:pt>
                <c:pt idx="45">
                  <c:v>0.0019880715705765406</c:v>
                </c:pt>
                <c:pt idx="46">
                  <c:v>0.0033585222502099076</c:v>
                </c:pt>
                <c:pt idx="47">
                  <c:v>0.0020693222969477496</c:v>
                </c:pt>
                <c:pt idx="48">
                  <c:v>0.0023679848448969927</c:v>
                </c:pt>
                <c:pt idx="49">
                  <c:v>0.0020149683362118594</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5.836516453917768</c:v>
                </c:pt>
                <c:pt idx="1">
                  <c:v>5.388068961955683</c:v>
                </c:pt>
                <c:pt idx="2">
                  <c:v>5.70926440507477</c:v>
                </c:pt>
                <c:pt idx="3">
                  <c:v>5.147835306611266</c:v>
                </c:pt>
                <c:pt idx="4">
                  <c:v>7.025791616402073</c:v>
                </c:pt>
                <c:pt idx="5">
                  <c:v>5.94464927018115</c:v>
                </c:pt>
                <c:pt idx="6">
                  <c:v>6.740150531361193</c:v>
                </c:pt>
                <c:pt idx="7">
                  <c:v>5.793198208181519</c:v>
                </c:pt>
                <c:pt idx="8">
                  <c:v>4.691595401477292</c:v>
                </c:pt>
                <c:pt idx="9">
                  <c:v>6.292031217215914</c:v>
                </c:pt>
                <c:pt idx="10">
                  <c:v>5.999266533998694</c:v>
                </c:pt>
                <c:pt idx="11">
                  <c:v>6.567860804097406</c:v>
                </c:pt>
                <c:pt idx="12">
                  <c:v>6.43740612158429</c:v>
                </c:pt>
                <c:pt idx="13">
                  <c:v>4.663399693013145</c:v>
                </c:pt>
                <c:pt idx="14">
                  <c:v>5.498966460064432</c:v>
                </c:pt>
                <c:pt idx="15">
                  <c:v>5.314951795752946</c:v>
                </c:pt>
                <c:pt idx="16">
                  <c:v>4.925293788038222</c:v>
                </c:pt>
                <c:pt idx="17">
                  <c:v>4.757433755386392</c:v>
                </c:pt>
                <c:pt idx="18">
                  <c:v>6.36803303596716</c:v>
                </c:pt>
                <c:pt idx="19">
                  <c:v>6.669680497495428</c:v>
                </c:pt>
                <c:pt idx="20">
                  <c:v>5.433512295164106</c:v>
                </c:pt>
                <c:pt idx="21">
                  <c:v>6.1463920625161625</c:v>
                </c:pt>
                <c:pt idx="22">
                  <c:v>5.6983828761200295</c:v>
                </c:pt>
                <c:pt idx="23">
                  <c:v>5.434833351865354</c:v>
                </c:pt>
                <c:pt idx="24">
                  <c:v>6.321115767634854</c:v>
                </c:pt>
                <c:pt idx="25">
                  <c:v>6.119378617305371</c:v>
                </c:pt>
                <c:pt idx="26">
                  <c:v>6.064664129091175</c:v>
                </c:pt>
                <c:pt idx="27">
                  <c:v>5.349229318466349</c:v>
                </c:pt>
                <c:pt idx="28">
                  <c:v>4.886481387001628</c:v>
                </c:pt>
                <c:pt idx="29">
                  <c:v>5.404616522753819</c:v>
                </c:pt>
                <c:pt idx="30">
                  <c:v>4.866844849909632</c:v>
                </c:pt>
                <c:pt idx="31">
                  <c:v>5.449690338711559</c:v>
                </c:pt>
                <c:pt idx="32">
                  <c:v>7.179196913729421</c:v>
                </c:pt>
                <c:pt idx="33">
                  <c:v>6.65633308299506</c:v>
                </c:pt>
                <c:pt idx="34">
                  <c:v>6.5930151425812165</c:v>
                </c:pt>
                <c:pt idx="35">
                  <c:v>5.762348096099075</c:v>
                </c:pt>
                <c:pt idx="36">
                  <c:v>5.378034758908711</c:v>
                </c:pt>
                <c:pt idx="37">
                  <c:v>6.1957965645448265</c:v>
                </c:pt>
                <c:pt idx="38">
                  <c:v>5.134306775923458</c:v>
                </c:pt>
                <c:pt idx="39">
                  <c:v>5.776154698458452</c:v>
                </c:pt>
                <c:pt idx="40">
                  <c:v>4.933253087450681</c:v>
                </c:pt>
                <c:pt idx="41">
                  <c:v>6.677253754676641</c:v>
                </c:pt>
                <c:pt idx="42">
                  <c:v>7.252847432120353</c:v>
                </c:pt>
                <c:pt idx="43">
                  <c:v>6.094708086350297</c:v>
                </c:pt>
                <c:pt idx="44">
                  <c:v>6.146089050159309</c:v>
                </c:pt>
                <c:pt idx="45">
                  <c:v>7.110779922585648</c:v>
                </c:pt>
                <c:pt idx="46">
                  <c:v>6.967458506097116</c:v>
                </c:pt>
                <c:pt idx="47">
                  <c:v>7.121479514205051</c:v>
                </c:pt>
                <c:pt idx="48">
                  <c:v>4.784292153710145</c:v>
                </c:pt>
                <c:pt idx="49">
                  <c:v>6.4067614797715375</c:v>
                </c:pt>
                <c:pt idx="50">
                  <c:v>7.301152540951539</c:v>
                </c:pt>
                <c:pt idx="51">
                  <c:v>6.111067249846047</c:v>
                </c:pt>
              </c:numCache>
            </c:numRef>
          </c:xVal>
          <c:yVal>
            <c:numRef>
              <c:f>Sheet1!$B$54:$B$105</c:f>
              <c:numCache>
                <c:formatCode>General</c:formatCode>
                <c:ptCount val="52"/>
                <c:pt idx="0">
                  <c:v>0.0020181634712411706</c:v>
                </c:pt>
                <c:pt idx="1">
                  <c:v>0.0021407546160021407</c:v>
                </c:pt>
                <c:pt idx="2">
                  <c:v>0.002106741573033708</c:v>
                </c:pt>
                <c:pt idx="3">
                  <c:v>0.002560819462227913</c:v>
                </c:pt>
                <c:pt idx="4">
                  <c:v>0.0018913807079167792</c:v>
                </c:pt>
                <c:pt idx="5">
                  <c:v>0.002176278563656148</c:v>
                </c:pt>
                <c:pt idx="6">
                  <c:v>0.002297794117647059</c:v>
                </c:pt>
                <c:pt idx="7">
                  <c:v>0.0030778701138811943</c:v>
                </c:pt>
                <c:pt idx="8">
                  <c:v>0.004493464052287581</c:v>
                </c:pt>
                <c:pt idx="9">
                  <c:v>0.004074074074074074</c:v>
                </c:pt>
                <c:pt idx="10">
                  <c:v>0.003832752613240418</c:v>
                </c:pt>
                <c:pt idx="11">
                  <c:v>0.003271537622682661</c:v>
                </c:pt>
                <c:pt idx="12">
                  <c:v>0.004058853373921867</c:v>
                </c:pt>
                <c:pt idx="13">
                  <c:v>0.0054914881933003845</c:v>
                </c:pt>
                <c:pt idx="14">
                  <c:v>0.004256612952265126</c:v>
                </c:pt>
                <c:pt idx="15">
                  <c:v>0.004445964432284542</c:v>
                </c:pt>
                <c:pt idx="16">
                  <c:v>0.004937333839726547</c:v>
                </c:pt>
                <c:pt idx="17">
                  <c:v>0.006517311608961304</c:v>
                </c:pt>
                <c:pt idx="18">
                  <c:v>0.003493013972055888</c:v>
                </c:pt>
                <c:pt idx="19">
                  <c:v>0.0028076743097800653</c:v>
                </c:pt>
                <c:pt idx="20">
                  <c:v>0.0031529164477141357</c:v>
                </c:pt>
                <c:pt idx="21">
                  <c:v>0.0031872509960159364</c:v>
                </c:pt>
                <c:pt idx="22">
                  <c:v>0.00452147701582517</c:v>
                </c:pt>
                <c:pt idx="23">
                  <c:v>0.00350385423966363</c:v>
                </c:pt>
                <c:pt idx="24">
                  <c:v>0.003537735849056604</c:v>
                </c:pt>
                <c:pt idx="25">
                  <c:v>0.003076923076923077</c:v>
                </c:pt>
                <c:pt idx="26">
                  <c:v>0.0037858301784748512</c:v>
                </c:pt>
                <c:pt idx="27">
                  <c:v>0.004139834406623735</c:v>
                </c:pt>
                <c:pt idx="28">
                  <c:v>0.00299625468164794</c:v>
                </c:pt>
                <c:pt idx="29">
                  <c:v>0.0034347399411187437</c:v>
                </c:pt>
                <c:pt idx="30">
                  <c:v>0.003964321110009911</c:v>
                </c:pt>
                <c:pt idx="31">
                  <c:v>0.003036437246963563</c:v>
                </c:pt>
                <c:pt idx="32">
                  <c:v>0.002591792656587473</c:v>
                </c:pt>
                <c:pt idx="33">
                  <c:v>0.0022328548644338117</c:v>
                </c:pt>
                <c:pt idx="34">
                  <c:v>0.002312673450508788</c:v>
                </c:pt>
                <c:pt idx="35">
                  <c:v>0.002975304968759298</c:v>
                </c:pt>
                <c:pt idx="36">
                  <c:v>0.0045223289994347085</c:v>
                </c:pt>
                <c:pt idx="37">
                  <c:v>0.00400200100050025</c:v>
                </c:pt>
                <c:pt idx="38">
                  <c:v>0.003723404255319149</c:v>
                </c:pt>
                <c:pt idx="39">
                  <c:v>0.0026933435936898806</c:v>
                </c:pt>
                <c:pt idx="40">
                  <c:v>0.0034662045060658577</c:v>
                </c:pt>
                <c:pt idx="41">
                  <c:v>0.0028524857375713123</c:v>
                </c:pt>
                <c:pt idx="42">
                  <c:v>0.001834862385321101</c:v>
                </c:pt>
                <c:pt idx="43">
                  <c:v>0.0019249278152069298</c:v>
                </c:pt>
                <c:pt idx="44">
                  <c:v>0.0021327645961077045</c:v>
                </c:pt>
                <c:pt idx="45">
                  <c:v>0.0012610340479192938</c:v>
                </c:pt>
                <c:pt idx="46">
                  <c:v>0.0016638935108153079</c:v>
                </c:pt>
                <c:pt idx="47">
                  <c:v>0.0013363028953229399</c:v>
                </c:pt>
                <c:pt idx="48">
                  <c:v>0.002129307007355788</c:v>
                </c:pt>
                <c:pt idx="49">
                  <c:v>0.0016791044776119403</c:v>
                </c:pt>
                <c:pt idx="50">
                  <c:v>0.0011913271384322134</c:v>
                </c:pt>
                <c:pt idx="51">
                  <c:v>0.0020403999183840034</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4.849040547883704</c:v>
                </c:pt>
              </c:numCache>
            </c:numRef>
          </c:xVal>
          <c:yVal>
            <c:numRef>
              <c:f>Sheet1!$B$108:$B$109</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4.849040547883704</c:v>
                </c:pt>
                <c:pt idx="1">
                  <c:v>4.849040547883704</c:v>
                </c:pt>
              </c:numCache>
            </c:numRef>
          </c:xVal>
          <c:yVal>
            <c:numRef>
              <c:f>Sheet1!$B$112:$B$113</c:f>
              <c:numCache>
                <c:formatCode>General</c:formatCode>
                <c:ptCount val="2"/>
                <c:pt idx="0">
                  <c:v>0.00411744495661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4.849040547883704</c:v>
                </c:pt>
              </c:numCache>
            </c:numRef>
          </c:xVal>
          <c:yVal>
            <c:numRef>
              <c:f>Sheet1!$B$116:$B$117</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4.849040547883704</c:v>
                </c:pt>
                <c:pt idx="1">
                  <c:v>4.849040547883704</c:v>
                </c:pt>
              </c:numCache>
            </c:numRef>
          </c:xVal>
          <c:yVal>
            <c:numRef>
              <c:f>Sheet1!$B$120:$B$121</c:f>
              <c:numCache>
                <c:formatCode>General</c:formatCode>
                <c:ptCount val="2"/>
                <c:pt idx="0">
                  <c:v>0.004117444956617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7.073983854156181</c:v>
                </c:pt>
              </c:numCache>
            </c:numRef>
          </c:xVal>
          <c:yVal>
            <c:numRef>
              <c:f>Sheet1!$B$124:$B$125</c:f>
              <c:numCache>
                <c:formatCode>General</c:formatCode>
                <c:ptCount val="2"/>
                <c:pt idx="0">
                  <c:v>0.0020158428946003286</c:v>
                </c:pt>
                <c:pt idx="1">
                  <c:v>0.0020158428946003286</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073983854156181</c:v>
                </c:pt>
                <c:pt idx="1">
                  <c:v>7.073983854156181</c:v>
                </c:pt>
              </c:numCache>
            </c:numRef>
          </c:xVal>
          <c:yVal>
            <c:numRef>
              <c:f>Sheet1!$B$128:$B$129</c:f>
              <c:numCache>
                <c:formatCode>General</c:formatCode>
                <c:ptCount val="2"/>
                <c:pt idx="0">
                  <c:v>0.00201584289460032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5.836516453917768</c:v>
                </c:pt>
                <c:pt idx="1">
                  <c:v>5.388068961955683</c:v>
                </c:pt>
                <c:pt idx="2">
                  <c:v>5.70926440507477</c:v>
                </c:pt>
                <c:pt idx="3">
                  <c:v>5.147835306611266</c:v>
                </c:pt>
                <c:pt idx="4">
                  <c:v>7.025791616402073</c:v>
                </c:pt>
                <c:pt idx="5">
                  <c:v>5.94464927018115</c:v>
                </c:pt>
                <c:pt idx="6">
                  <c:v>6.740150531361193</c:v>
                </c:pt>
                <c:pt idx="7">
                  <c:v>5.793198208181519</c:v>
                </c:pt>
                <c:pt idx="8">
                  <c:v>4.691595401477292</c:v>
                </c:pt>
                <c:pt idx="9">
                  <c:v>6.292031217215914</c:v>
                </c:pt>
                <c:pt idx="10">
                  <c:v>5.999266533998694</c:v>
                </c:pt>
                <c:pt idx="11">
                  <c:v>6.567860804097406</c:v>
                </c:pt>
                <c:pt idx="12">
                  <c:v>6.43740612158429</c:v>
                </c:pt>
                <c:pt idx="13">
                  <c:v>4.663399693013145</c:v>
                </c:pt>
                <c:pt idx="14">
                  <c:v>5.498966460064432</c:v>
                </c:pt>
                <c:pt idx="15">
                  <c:v>5.314951795752946</c:v>
                </c:pt>
                <c:pt idx="16">
                  <c:v>4.925293788038222</c:v>
                </c:pt>
                <c:pt idx="17">
                  <c:v>4.757433755386392</c:v>
                </c:pt>
                <c:pt idx="18">
                  <c:v>6.36803303596716</c:v>
                </c:pt>
                <c:pt idx="19">
                  <c:v>6.669680497495428</c:v>
                </c:pt>
                <c:pt idx="20">
                  <c:v>5.433512295164106</c:v>
                </c:pt>
                <c:pt idx="21">
                  <c:v>6.1463920625161625</c:v>
                </c:pt>
                <c:pt idx="22">
                  <c:v>5.6983828761200295</c:v>
                </c:pt>
                <c:pt idx="23">
                  <c:v>5.434833351865354</c:v>
                </c:pt>
                <c:pt idx="24">
                  <c:v>6.321115767634854</c:v>
                </c:pt>
                <c:pt idx="25">
                  <c:v>6.119378617305371</c:v>
                </c:pt>
                <c:pt idx="26">
                  <c:v>6.064664129091175</c:v>
                </c:pt>
                <c:pt idx="27">
                  <c:v>5.349229318466349</c:v>
                </c:pt>
                <c:pt idx="28">
                  <c:v>4.886481387001628</c:v>
                </c:pt>
                <c:pt idx="29">
                  <c:v>5.404616522753819</c:v>
                </c:pt>
                <c:pt idx="30">
                  <c:v>4.866844849909632</c:v>
                </c:pt>
                <c:pt idx="31">
                  <c:v>5.449690338711559</c:v>
                </c:pt>
                <c:pt idx="32">
                  <c:v>7.179196913729421</c:v>
                </c:pt>
                <c:pt idx="33">
                  <c:v>6.65633308299506</c:v>
                </c:pt>
                <c:pt idx="34">
                  <c:v>6.5930151425812165</c:v>
                </c:pt>
                <c:pt idx="35">
                  <c:v>5.762348096099075</c:v>
                </c:pt>
                <c:pt idx="36">
                  <c:v>5.378034758908711</c:v>
                </c:pt>
                <c:pt idx="37">
                  <c:v>6.1957965645448265</c:v>
                </c:pt>
                <c:pt idx="38">
                  <c:v>5.134306775923458</c:v>
                </c:pt>
                <c:pt idx="39">
                  <c:v>5.776154698458452</c:v>
                </c:pt>
                <c:pt idx="40">
                  <c:v>4.933253087450681</c:v>
                </c:pt>
                <c:pt idx="41">
                  <c:v>6.677253754676641</c:v>
                </c:pt>
                <c:pt idx="42">
                  <c:v>7.252847432120353</c:v>
                </c:pt>
                <c:pt idx="43">
                  <c:v>6.094708086350297</c:v>
                </c:pt>
                <c:pt idx="44">
                  <c:v>6.146089050159309</c:v>
                </c:pt>
                <c:pt idx="45">
                  <c:v>7.110779922585648</c:v>
                </c:pt>
                <c:pt idx="46">
                  <c:v>6.967458506097116</c:v>
                </c:pt>
                <c:pt idx="47">
                  <c:v>7.121479514205051</c:v>
                </c:pt>
                <c:pt idx="48">
                  <c:v>4.784292153710145</c:v>
                </c:pt>
                <c:pt idx="49">
                  <c:v>6.4067614797715375</c:v>
                </c:pt>
                <c:pt idx="50">
                  <c:v>7.301152540951539</c:v>
                </c:pt>
                <c:pt idx="51">
                  <c:v>6.111067249846047</c:v>
                </c:pt>
                <c:pt idx="52">
                  <c:v>4.849040547883704</c:v>
                </c:pt>
                <c:pt idx="53">
                  <c:v>4.849040547883704</c:v>
                </c:pt>
                <c:pt idx="54">
                  <c:v>7.073983854156181</c:v>
                </c:pt>
              </c:numCache>
            </c:numRef>
          </c:xVal>
          <c:yVal>
            <c:numRef>
              <c:f>Sheet1!$B$132:$B$186</c:f>
              <c:numCache>
                <c:formatCode>General</c:formatCode>
                <c:ptCount val="55"/>
                <c:pt idx="0">
                  <c:v>0.00318471044852314</c:v>
                </c:pt>
                <c:pt idx="1">
                  <c:v>0.0036082979490031962</c:v>
                </c:pt>
                <c:pt idx="2">
                  <c:v>0.0033049081935579783</c:v>
                </c:pt>
                <c:pt idx="3">
                  <c:v>0.003835214088400698</c:v>
                </c:pt>
                <c:pt idx="4">
                  <c:v>0.0020613635629030706</c:v>
                </c:pt>
                <c:pt idx="5">
                  <c:v>0.0030825720484164267</c:v>
                </c:pt>
                <c:pt idx="6">
                  <c:v>0.002331169940272904</c:v>
                </c:pt>
                <c:pt idx="7">
                  <c:v>0.0032256273178679004</c:v>
                </c:pt>
                <c:pt idx="8">
                  <c:v>0.0042661620243327324</c:v>
                </c:pt>
                <c:pt idx="9">
                  <c:v>0.002754447455696458</c:v>
                </c:pt>
                <c:pt idx="10">
                  <c:v>0.0030309825297365253</c:v>
                </c:pt>
                <c:pt idx="11">
                  <c:v>0.0024939086694176493</c:v>
                </c:pt>
                <c:pt idx="12">
                  <c:v>0.002617131507948591</c:v>
                </c:pt>
                <c:pt idx="13">
                  <c:v>0.004292794684536354</c:v>
                </c:pt>
                <c:pt idx="14">
                  <c:v>0.0035035481290680934</c:v>
                </c:pt>
                <c:pt idx="15">
                  <c:v>0.0036773618154070263</c:v>
                </c:pt>
                <c:pt idx="16">
                  <c:v>0.004045418866652333</c:v>
                </c:pt>
                <c:pt idx="17">
                  <c:v>0.004203973464316357</c:v>
                </c:pt>
                <c:pt idx="18">
                  <c:v>0.0026826588494185564</c:v>
                </c:pt>
                <c:pt idx="19">
                  <c:v>0.002397733419919855</c:v>
                </c:pt>
                <c:pt idx="20">
                  <c:v>0.003565373797854491</c:v>
                </c:pt>
                <c:pt idx="21">
                  <c:v>0.002892013004878996</c:v>
                </c:pt>
                <c:pt idx="22">
                  <c:v>0.0033151864975600213</c:v>
                </c:pt>
                <c:pt idx="23">
                  <c:v>0.0035641259748292672</c:v>
                </c:pt>
                <c:pt idx="24">
                  <c:v>0.002726975227095865</c:v>
                </c:pt>
                <c:pt idx="25">
                  <c:v>0.002917528941396179</c:v>
                </c:pt>
                <c:pt idx="26">
                  <c:v>0.002969210294772231</c:v>
                </c:pt>
                <c:pt idx="27">
                  <c:v>0.0036449844904602605</c:v>
                </c:pt>
                <c:pt idx="28">
                  <c:v>0.004082079675860538</c:v>
                </c:pt>
                <c:pt idx="29">
                  <c:v>0.003592667713483634</c:v>
                </c:pt>
                <c:pt idx="30">
                  <c:v>0.00410062764817384</c:v>
                </c:pt>
                <c:pt idx="31">
                  <c:v>0.003550092595145696</c:v>
                </c:pt>
                <c:pt idx="32">
                  <c:v>0.0019164623924873714</c:v>
                </c:pt>
                <c:pt idx="33">
                  <c:v>0.002410340911426486</c:v>
                </c:pt>
                <c:pt idx="34">
                  <c:v>0.002470148778782588</c:v>
                </c:pt>
                <c:pt idx="35">
                  <c:v>0.003254767233021306</c:v>
                </c:pt>
                <c:pt idx="36">
                  <c:v>0.0036177758991850096</c:v>
                </c:pt>
                <c:pt idx="37">
                  <c:v>0.002845347274995612</c:v>
                </c:pt>
                <c:pt idx="38">
                  <c:v>0.0038479926557958314</c:v>
                </c:pt>
                <c:pt idx="39">
                  <c:v>0.0032417260090466934</c:v>
                </c:pt>
                <c:pt idx="40">
                  <c:v>0.0040379007964119465</c:v>
                </c:pt>
                <c:pt idx="41">
                  <c:v>0.002390579991397271</c:v>
                </c:pt>
                <c:pt idx="42">
                  <c:v>0.0018468947406363656</c:v>
                </c:pt>
                <c:pt idx="43">
                  <c:v>0.0029408318447016538</c:v>
                </c:pt>
                <c:pt idx="44">
                  <c:v>0.00289229921953992</c:v>
                </c:pt>
                <c:pt idx="45">
                  <c:v>0.001981086641230872</c:v>
                </c:pt>
                <c:pt idx="46">
                  <c:v>0.0021164629375950653</c:v>
                </c:pt>
                <c:pt idx="47">
                  <c:v>0.0019709801887443385</c:v>
                </c:pt>
                <c:pt idx="48">
                  <c:v>0.00417860397955666</c:v>
                </c:pt>
                <c:pt idx="49">
                  <c:v>0.0026460773432163418</c:v>
                </c:pt>
                <c:pt idx="50">
                  <c:v>0.0018012674583414087</c:v>
                </c:pt>
                <c:pt idx="51">
                  <c:v>0.0029253795625519856</c:v>
                </c:pt>
                <c:pt idx="52">
                  <c:v>0.00411744495661715</c:v>
                </c:pt>
                <c:pt idx="53">
                  <c:v>0.00411744495661715</c:v>
                </c:pt>
                <c:pt idx="54">
                  <c:v>0.0020158428946003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82077393075356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558117793705204</c:v>
                </c:pt>
                <c:pt idx="5">
                  <c:v>0.00017917935853789643</c:v>
                </c:pt>
                <c:pt idx="6">
                  <c:v>0.0002623983206507478</c:v>
                </c:pt>
                <c:pt idx="7">
                  <c:v>0.00023529411764705883</c:v>
                </c:pt>
                <c:pt idx="8">
                  <c:v>0.00022311468094600624</c:v>
                </c:pt>
                <c:pt idx="9">
                  <c:v>0.00020181634712411706</c:v>
                </c:pt>
                <c:pt idx="10">
                  <c:v>0.00042625745950554135</c:v>
                </c:pt>
                <c:pt idx="11">
                  <c:v>0.0004464285714285714</c:v>
                </c:pt>
                <c:pt idx="12">
                  <c:v>0.0004510599909788002</c:v>
                </c:pt>
                <c:pt idx="13">
                  <c:v>0.000561324726354196</c:v>
                </c:pt>
                <c:pt idx="14">
                  <c:v>0.0007059654076950229</c:v>
                </c:pt>
                <c:pt idx="15">
                  <c:v>0.0007104795737122557</c:v>
                </c:pt>
                <c:pt idx="16">
                  <c:v>0.00041597337770382697</c:v>
                </c:pt>
                <c:pt idx="17">
                  <c:v>0.0007238508867173362</c:v>
                </c:pt>
                <c:pt idx="18">
                  <c:v>0.0008071025020177562</c:v>
                </c:pt>
                <c:pt idx="19">
                  <c:v>0.0007084661707403471</c:v>
                </c:pt>
                <c:pt idx="20">
                  <c:v>0.0008525149190110827</c:v>
                </c:pt>
                <c:pt idx="21">
                  <c:v>0.0</c:v>
                </c:pt>
                <c:pt idx="22">
                  <c:v>0.002304147465437788</c:v>
                </c:pt>
                <c:pt idx="23">
                  <c:v>0.0011855364552459987</c:v>
                </c:pt>
                <c:pt idx="24">
                  <c:v>0.0012175324675324675</c:v>
                </c:pt>
                <c:pt idx="25">
                  <c:v>0.0015203344735841885</c:v>
                </c:pt>
                <c:pt idx="26">
                  <c:v>0.0010496850944716584</c:v>
                </c:pt>
                <c:pt idx="27">
                  <c:v>0.0014792899408284023</c:v>
                </c:pt>
                <c:pt idx="28">
                  <c:v>0.0016556291390728477</c:v>
                </c:pt>
                <c:pt idx="29">
                  <c:v>0.002168021680216802</c:v>
                </c:pt>
                <c:pt idx="30">
                  <c:v>0.0018876828692779614</c:v>
                </c:pt>
                <c:pt idx="31">
                  <c:v>0.0013481631277384564</c:v>
                </c:pt>
                <c:pt idx="32">
                  <c:v>0.0015499070055796653</c:v>
                </c:pt>
                <c:pt idx="33">
                  <c:v>0.0012975778546712802</c:v>
                </c:pt>
                <c:pt idx="34">
                  <c:v>0.0019502681618722574</c:v>
                </c:pt>
                <c:pt idx="35">
                  <c:v>0.002352941176470588</c:v>
                </c:pt>
                <c:pt idx="36">
                  <c:v>0.0022727272727272726</c:v>
                </c:pt>
                <c:pt idx="37">
                  <c:v>0.002207505518763797</c:v>
                </c:pt>
                <c:pt idx="38">
                  <c:v>0.00177999288002848</c:v>
                </c:pt>
                <c:pt idx="39">
                  <c:v>0.0016722408026755853</c:v>
                </c:pt>
                <c:pt idx="40">
                  <c:v>0.002112888620585572</c:v>
                </c:pt>
                <c:pt idx="41">
                  <c:v>0.0025585514662468016</c:v>
                </c:pt>
                <c:pt idx="42">
                  <c:v>0.0029728725380899295</c:v>
                </c:pt>
                <c:pt idx="43">
                  <c:v>0.0030950170225936243</c:v>
                </c:pt>
                <c:pt idx="44">
                  <c:v>0.002810492505353319</c:v>
                </c:pt>
                <c:pt idx="45">
                  <c:v>0.0019880715705765406</c:v>
                </c:pt>
                <c:pt idx="46">
                  <c:v>0.0033585222502099076</c:v>
                </c:pt>
                <c:pt idx="47">
                  <c:v>0.0020693222969477496</c:v>
                </c:pt>
                <c:pt idx="48">
                  <c:v>0.0023679848448969927</c:v>
                </c:pt>
                <c:pt idx="49">
                  <c:v>0.0020149683362118594</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0181634712411706</c:v>
                </c:pt>
                <c:pt idx="1">
                  <c:v>0.0021407546160021407</c:v>
                </c:pt>
                <c:pt idx="2">
                  <c:v>0.002106741573033708</c:v>
                </c:pt>
                <c:pt idx="3">
                  <c:v>0.002560819462227913</c:v>
                </c:pt>
                <c:pt idx="4">
                  <c:v>0.0018913807079167792</c:v>
                </c:pt>
                <c:pt idx="5">
                  <c:v>0.002176278563656148</c:v>
                </c:pt>
                <c:pt idx="6">
                  <c:v>0.002297794117647059</c:v>
                </c:pt>
                <c:pt idx="7">
                  <c:v>0.0030778701138811943</c:v>
                </c:pt>
                <c:pt idx="8">
                  <c:v>0.004493464052287581</c:v>
                </c:pt>
                <c:pt idx="9">
                  <c:v>0.004074074074074074</c:v>
                </c:pt>
                <c:pt idx="10">
                  <c:v>0.003832752613240418</c:v>
                </c:pt>
                <c:pt idx="11">
                  <c:v>0.003271537622682661</c:v>
                </c:pt>
                <c:pt idx="12">
                  <c:v>0.004058853373921867</c:v>
                </c:pt>
                <c:pt idx="13">
                  <c:v>0.0054914881933003845</c:v>
                </c:pt>
                <c:pt idx="14">
                  <c:v>0.004256612952265126</c:v>
                </c:pt>
                <c:pt idx="15">
                  <c:v>0.004445964432284542</c:v>
                </c:pt>
                <c:pt idx="16">
                  <c:v>0.004937333839726547</c:v>
                </c:pt>
                <c:pt idx="17">
                  <c:v>0.006517311608961304</c:v>
                </c:pt>
                <c:pt idx="18">
                  <c:v>0.003493013972055888</c:v>
                </c:pt>
                <c:pt idx="19">
                  <c:v>0.0028076743097800653</c:v>
                </c:pt>
                <c:pt idx="20">
                  <c:v>0.0031529164477141357</c:v>
                </c:pt>
                <c:pt idx="21">
                  <c:v>0.0031872509960159364</c:v>
                </c:pt>
                <c:pt idx="22">
                  <c:v>0.00452147701582517</c:v>
                </c:pt>
                <c:pt idx="23">
                  <c:v>0.00350385423966363</c:v>
                </c:pt>
                <c:pt idx="24">
                  <c:v>0.003537735849056604</c:v>
                </c:pt>
                <c:pt idx="25">
                  <c:v>0.003076923076923077</c:v>
                </c:pt>
                <c:pt idx="26">
                  <c:v>0.0037858301784748512</c:v>
                </c:pt>
                <c:pt idx="27">
                  <c:v>0.004139834406623735</c:v>
                </c:pt>
                <c:pt idx="28">
                  <c:v>0.00299625468164794</c:v>
                </c:pt>
                <c:pt idx="29">
                  <c:v>0.0034347399411187437</c:v>
                </c:pt>
                <c:pt idx="30">
                  <c:v>0.003964321110009911</c:v>
                </c:pt>
                <c:pt idx="31">
                  <c:v>0.003036437246963563</c:v>
                </c:pt>
                <c:pt idx="32">
                  <c:v>0.002591792656587473</c:v>
                </c:pt>
                <c:pt idx="33">
                  <c:v>0.0022328548644338117</c:v>
                </c:pt>
                <c:pt idx="34">
                  <c:v>0.002312673450508788</c:v>
                </c:pt>
                <c:pt idx="35">
                  <c:v>0.002975304968759298</c:v>
                </c:pt>
                <c:pt idx="36">
                  <c:v>0.0045223289994347085</c:v>
                </c:pt>
                <c:pt idx="37">
                  <c:v>0.00400200100050025</c:v>
                </c:pt>
                <c:pt idx="38">
                  <c:v>0.003723404255319149</c:v>
                </c:pt>
                <c:pt idx="39">
                  <c:v>0.0026933435936898806</c:v>
                </c:pt>
                <c:pt idx="40">
                  <c:v>0.0034662045060658577</c:v>
                </c:pt>
                <c:pt idx="41">
                  <c:v>0.0028524857375713123</c:v>
                </c:pt>
                <c:pt idx="42">
                  <c:v>0.001834862385321101</c:v>
                </c:pt>
                <c:pt idx="43">
                  <c:v>0.0019249278152069298</c:v>
                </c:pt>
                <c:pt idx="44">
                  <c:v>0.0021327645961077045</c:v>
                </c:pt>
                <c:pt idx="45">
                  <c:v>0.0012610340479192938</c:v>
                </c:pt>
                <c:pt idx="46">
                  <c:v>0.0016638935108153079</c:v>
                </c:pt>
                <c:pt idx="47">
                  <c:v>0.0013363028953229399</c:v>
                </c:pt>
                <c:pt idx="48">
                  <c:v>0.002129307007355788</c:v>
                </c:pt>
                <c:pt idx="49">
                  <c:v>0.0016791044776119403</c:v>
                </c:pt>
                <c:pt idx="50">
                  <c:v>0.0011913271384322134</c:v>
                </c:pt>
                <c:pt idx="51">
                  <c:v>0.0020403999183840034</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30.682002093925</c:v>
                </c:pt>
              </c:numCache>
            </c:numRef>
          </c:xVal>
          <c:yVal>
            <c:numRef>
              <c:f>Sheet1!$B$108:$B$109</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30.682002093925</c:v>
                </c:pt>
                <c:pt idx="1">
                  <c:v>3330.682002093925</c:v>
                </c:pt>
              </c:numCache>
            </c:numRef>
          </c:xVal>
          <c:yVal>
            <c:numRef>
              <c:f>Sheet1!$B$112:$B$113</c:f>
              <c:numCache>
                <c:formatCode>General</c:formatCode>
                <c:ptCount val="2"/>
                <c:pt idx="0">
                  <c:v>0.00411744495661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30.682002093925</c:v>
                </c:pt>
              </c:numCache>
            </c:numRef>
          </c:xVal>
          <c:yVal>
            <c:numRef>
              <c:f>Sheet1!$B$116:$B$117</c:f>
              <c:numCache>
                <c:formatCode>General</c:formatCode>
                <c:ptCount val="2"/>
                <c:pt idx="0">
                  <c:v>0.00411744495661715</c:v>
                </c:pt>
                <c:pt idx="1">
                  <c:v>0.00411744495661715</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30.682002093925</c:v>
                </c:pt>
                <c:pt idx="1">
                  <c:v>3330.682002093925</c:v>
                </c:pt>
              </c:numCache>
            </c:numRef>
          </c:xVal>
          <c:yVal>
            <c:numRef>
              <c:f>Sheet1!$B$120:$B$121</c:f>
              <c:numCache>
                <c:formatCode>General</c:formatCode>
                <c:ptCount val="2"/>
                <c:pt idx="0">
                  <c:v>0.004117444956617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65.470743996881</c:v>
                </c:pt>
              </c:numCache>
            </c:numRef>
          </c:xVal>
          <c:yVal>
            <c:numRef>
              <c:f>Sheet1!$B$124:$B$125</c:f>
              <c:numCache>
                <c:formatCode>General</c:formatCode>
                <c:ptCount val="2"/>
                <c:pt idx="0">
                  <c:v>0.0020158428946003286</c:v>
                </c:pt>
                <c:pt idx="1">
                  <c:v>0.0020158428946003286</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65.470743996881</c:v>
                </c:pt>
                <c:pt idx="1">
                  <c:v>4965.470743996881</c:v>
                </c:pt>
              </c:numCache>
            </c:numRef>
          </c:xVal>
          <c:yVal>
            <c:numRef>
              <c:f>Sheet1!$B$128:$B$129</c:f>
              <c:numCache>
                <c:formatCode>General</c:formatCode>
                <c:ptCount val="2"/>
                <c:pt idx="0">
                  <c:v>0.00201584289460032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30.682002093925</c:v>
                </c:pt>
                <c:pt idx="53">
                  <c:v>3330.682002093925</c:v>
                </c:pt>
                <c:pt idx="54">
                  <c:v>4965.470743996881</c:v>
                </c:pt>
              </c:numCache>
            </c:numRef>
          </c:xVal>
          <c:yVal>
            <c:numRef>
              <c:f>Sheet1!$B$132:$B$186</c:f>
              <c:numCache>
                <c:formatCode>General</c:formatCode>
                <c:ptCount val="55"/>
                <c:pt idx="0">
                  <c:v>0.003289463580318435</c:v>
                </c:pt>
                <c:pt idx="1">
                  <c:v>0.003718194381869438</c:v>
                </c:pt>
                <c:pt idx="2">
                  <c:v>0.0032842856435193737</c:v>
                </c:pt>
                <c:pt idx="3">
                  <c:v>0.0037204440937216553</c:v>
                </c:pt>
                <c:pt idx="4">
                  <c:v>0.002082378372022255</c:v>
                </c:pt>
                <c:pt idx="5">
                  <c:v>0.0028652322024718653</c:v>
                </c:pt>
                <c:pt idx="6">
                  <c:v>0.0025475086114573825</c:v>
                </c:pt>
                <c:pt idx="7">
                  <c:v>0.003180641804152641</c:v>
                </c:pt>
                <c:pt idx="8">
                  <c:v>0.00405182369278902</c:v>
                </c:pt>
                <c:pt idx="9">
                  <c:v>0.0028401348027134255</c:v>
                </c:pt>
                <c:pt idx="10">
                  <c:v>0.0030029320513024907</c:v>
                </c:pt>
                <c:pt idx="11">
                  <c:v>0.0033059400842591806</c:v>
                </c:pt>
                <c:pt idx="12">
                  <c:v>0.003311157230321953</c:v>
                </c:pt>
                <c:pt idx="13">
                  <c:v>0.004250540483585391</c:v>
                </c:pt>
                <c:pt idx="14">
                  <c:v>0.003497125739659072</c:v>
                </c:pt>
                <c:pt idx="15">
                  <c:v>0.0038262052333287305</c:v>
                </c:pt>
                <c:pt idx="16">
                  <c:v>0.0039097659592682065</c:v>
                </c:pt>
                <c:pt idx="17">
                  <c:v>0.004362576133825781</c:v>
                </c:pt>
                <c:pt idx="18">
                  <c:v>0.0026933817277245914</c:v>
                </c:pt>
                <c:pt idx="19">
                  <c:v>0.002390757302777445</c:v>
                </c:pt>
                <c:pt idx="20">
                  <c:v>0.003415340357758403</c:v>
                </c:pt>
                <c:pt idx="21">
                  <c:v>0.002853662255803323</c:v>
                </c:pt>
                <c:pt idx="22">
                  <c:v>0.003197868169192471</c:v>
                </c:pt>
                <c:pt idx="23">
                  <c:v>0.0034603774036054092</c:v>
                </c:pt>
                <c:pt idx="24">
                  <c:v>0.002524025862034019</c:v>
                </c:pt>
                <c:pt idx="25">
                  <c:v>0.003065199447393181</c:v>
                </c:pt>
                <c:pt idx="26">
                  <c:v>0.002894294751508579</c:v>
                </c:pt>
                <c:pt idx="27">
                  <c:v>0.0035111138051813406</c:v>
                </c:pt>
                <c:pt idx="28">
                  <c:v>0.00399249853413614</c:v>
                </c:pt>
                <c:pt idx="29">
                  <c:v>0.003395291825616188</c:v>
                </c:pt>
                <c:pt idx="30">
                  <c:v>0.0040468130059968</c:v>
                </c:pt>
                <c:pt idx="31">
                  <c:v>0.003330922555880714</c:v>
                </c:pt>
                <c:pt idx="32">
                  <c:v>0.001650923490805624</c:v>
                </c:pt>
                <c:pt idx="33">
                  <c:v>0.002188344428240326</c:v>
                </c:pt>
                <c:pt idx="34">
                  <c:v>0.0023461915394247367</c:v>
                </c:pt>
                <c:pt idx="35">
                  <c:v>0.0029119619315164805</c:v>
                </c:pt>
                <c:pt idx="36">
                  <c:v>0.0032182762695661515</c:v>
                </c:pt>
                <c:pt idx="37">
                  <c:v>0.002675452938367018</c:v>
                </c:pt>
                <c:pt idx="38">
                  <c:v>0.0036415664965287163</c:v>
                </c:pt>
                <c:pt idx="39">
                  <c:v>0.0033192608209686005</c:v>
                </c:pt>
                <c:pt idx="40">
                  <c:v>0.0038006302518828056</c:v>
                </c:pt>
                <c:pt idx="41">
                  <c:v>0.002201199924538707</c:v>
                </c:pt>
                <c:pt idx="42">
                  <c:v>0.001663243298573252</c:v>
                </c:pt>
                <c:pt idx="43">
                  <c:v>0.0028606256924832664</c:v>
                </c:pt>
                <c:pt idx="44">
                  <c:v>0.002841449534319861</c:v>
                </c:pt>
                <c:pt idx="45">
                  <c:v>0.0022223197051874652</c:v>
                </c:pt>
                <c:pt idx="46">
                  <c:v>0.00232442898396106</c:v>
                </c:pt>
                <c:pt idx="47">
                  <c:v>0.002301197302380404</c:v>
                </c:pt>
                <c:pt idx="48">
                  <c:v>0.004201298147789258</c:v>
                </c:pt>
                <c:pt idx="49">
                  <c:v>0.0029331877700097004</c:v>
                </c:pt>
                <c:pt idx="50">
                  <c:v>0.0023104532597152377</c:v>
                </c:pt>
                <c:pt idx="51">
                  <c:v>0.003423867794118008</c:v>
                </c:pt>
                <c:pt idx="52">
                  <c:v>0.00411744495661715</c:v>
                </c:pt>
                <c:pt idx="53">
                  <c:v>0.00411744495661715</c:v>
                </c:pt>
                <c:pt idx="54">
                  <c:v>0.0020158428946003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82077393075356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9.087604507451835e-05</c:v>
                </c:pt>
                <c:pt idx="8">
                  <c:v>0.0004075810067250866</c:v>
                </c:pt>
                <c:pt idx="9">
                  <c:v>0.00036900369003690036</c:v>
                </c:pt>
                <c:pt idx="10">
                  <c:v>0.0003093102381688834</c:v>
                </c:pt>
                <c:pt idx="11">
                  <c:v>0.00047251535674909436</c:v>
                </c:pt>
                <c:pt idx="12">
                  <c:v>0.0003339455668725998</c:v>
                </c:pt>
                <c:pt idx="13">
                  <c:v>0.00037383177570093456</c:v>
                </c:pt>
                <c:pt idx="14">
                  <c:v>0.0003795786676788764</c:v>
                </c:pt>
                <c:pt idx="15">
                  <c:v>0.0003780718336483932</c:v>
                </c:pt>
                <c:pt idx="16">
                  <c:v>0.0004993757802746567</c:v>
                </c:pt>
                <c:pt idx="17">
                  <c:v>0.0003240440699935191</c:v>
                </c:pt>
                <c:pt idx="18">
                  <c:v>0.0002829654782116582</c:v>
                </c:pt>
                <c:pt idx="19">
                  <c:v>0.0006190034045187249</c:v>
                </c:pt>
                <c:pt idx="20">
                  <c:v>0.0005832604257801109</c:v>
                </c:pt>
                <c:pt idx="21">
                  <c:v>0.0011918951132300357</c:v>
                </c:pt>
                <c:pt idx="22">
                  <c:v>0.0005163955589981926</c:v>
                </c:pt>
                <c:pt idx="23">
                  <c:v>0.0011872959335114278</c:v>
                </c:pt>
                <c:pt idx="24">
                  <c:v>0.001324942033786022</c:v>
                </c:pt>
                <c:pt idx="25">
                  <c:v>0.001723543605653223</c:v>
                </c:pt>
                <c:pt idx="26">
                  <c:v>0.0018628912071535022</c:v>
                </c:pt>
                <c:pt idx="27">
                  <c:v>0.0015494267121165168</c:v>
                </c:pt>
                <c:pt idx="28">
                  <c:v>0.0015051173991571343</c:v>
                </c:pt>
                <c:pt idx="29">
                  <c:v>0.0021141649048625794</c:v>
                </c:pt>
                <c:pt idx="30">
                  <c:v>0.002207505518763797</c:v>
                </c:pt>
                <c:pt idx="31">
                  <c:v>0.002061005770816158</c:v>
                </c:pt>
                <c:pt idx="32">
                  <c:v>0.0016542597187758478</c:v>
                </c:pt>
                <c:pt idx="33">
                  <c:v>0.0017730496453900709</c:v>
                </c:pt>
                <c:pt idx="34">
                  <c:v>0.0019439044709802832</c:v>
                </c:pt>
                <c:pt idx="35">
                  <c:v>0.0017331022530329288</c:v>
                </c:pt>
                <c:pt idx="36">
                  <c:v>0.002766798418972332</c:v>
                </c:pt>
                <c:pt idx="37">
                  <c:v>0.0027258566978193145</c:v>
                </c:pt>
                <c:pt idx="38">
                  <c:v>0.003384731101918014</c:v>
                </c:pt>
                <c:pt idx="39">
                  <c:v>0.002618780396558174</c:v>
                </c:pt>
                <c:pt idx="40">
                  <c:v>0.0020933014354066986</c:v>
                </c:pt>
                <c:pt idx="41">
                  <c:v>0.002398720682302772</c:v>
                </c:pt>
                <c:pt idx="42">
                  <c:v>0.0014961101137043686</c:v>
                </c:pt>
                <c:pt idx="43">
                  <c:v>0.0024444444444444444</c:v>
                </c:pt>
                <c:pt idx="44">
                  <c:v>0.0024035251702496994</c:v>
                </c:pt>
                <c:pt idx="45">
                  <c:v>0.002811328613077884</c:v>
                </c:pt>
                <c:pt idx="46">
                  <c:v>0.0027438735925820797</c:v>
                </c:pt>
                <c:pt idx="47">
                  <c:v>0.0028629168070057258</c:v>
                </c:pt>
                <c:pt idx="48">
                  <c:v>0.002786809103576405</c:v>
                </c:pt>
                <c:pt idx="49">
                  <c:v>0.0036348949919224557</c:v>
                </c:pt>
                <c:pt idx="50">
                  <c:v>0.003816793893129771</c:v>
                </c:pt>
                <c:pt idx="51">
                  <c:v>0.0029702970297029703</c:v>
                </c:pt>
                <c:pt idx="52">
                  <c:v>0.002096436058700209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1679148600709497</c:v>
                </c:pt>
                <c:pt idx="1">
                  <c:v>0.003075148952527388</c:v>
                </c:pt>
                <c:pt idx="2">
                  <c:v>0.0026476915439351315</c:v>
                </c:pt>
                <c:pt idx="3">
                  <c:v>0.002763385146804836</c:v>
                </c:pt>
                <c:pt idx="4">
                  <c:v>0.002523128679562658</c:v>
                </c:pt>
                <c:pt idx="5">
                  <c:v>0.0026729034413631807</c:v>
                </c:pt>
                <c:pt idx="6">
                  <c:v>0.002736156351791531</c:v>
                </c:pt>
                <c:pt idx="7">
                  <c:v>0.002805049088359046</c:v>
                </c:pt>
                <c:pt idx="8">
                  <c:v>0.004421110804089527</c:v>
                </c:pt>
                <c:pt idx="9">
                  <c:v>0.004534005037783375</c:v>
                </c:pt>
                <c:pt idx="10">
                  <c:v>0.004099348926935134</c:v>
                </c:pt>
                <c:pt idx="11">
                  <c:v>0.005065502183406114</c:v>
                </c:pt>
                <c:pt idx="12">
                  <c:v>0.004733727810650888</c:v>
                </c:pt>
                <c:pt idx="13">
                  <c:v>0.006701414743112435</c:v>
                </c:pt>
                <c:pt idx="14">
                  <c:v>0.004968619246861925</c:v>
                </c:pt>
                <c:pt idx="15">
                  <c:v>0.004562303963501569</c:v>
                </c:pt>
                <c:pt idx="16">
                  <c:v>0.005298013245033113</c:v>
                </c:pt>
                <c:pt idx="17">
                  <c:v>0.004909983633387889</c:v>
                </c:pt>
                <c:pt idx="18">
                  <c:v>0.0027127839945744322</c:v>
                </c:pt>
                <c:pt idx="19">
                  <c:v>0.0033962264150943396</c:v>
                </c:pt>
                <c:pt idx="20">
                  <c:v>0.0036231884057971015</c:v>
                </c:pt>
                <c:pt idx="21">
                  <c:v>0.00472193074501574</c:v>
                </c:pt>
                <c:pt idx="22">
                  <c:v>0.004807692307692308</c:v>
                </c:pt>
                <c:pt idx="23">
                  <c:v>0.00423728813559322</c:v>
                </c:pt>
                <c:pt idx="24">
                  <c:v>0.004784688995215311</c:v>
                </c:pt>
                <c:pt idx="25">
                  <c:v>0.005652378709373528</c:v>
                </c:pt>
                <c:pt idx="26">
                  <c:v>0.004807692307692308</c:v>
                </c:pt>
                <c:pt idx="27">
                  <c:v>0.004051316677920324</c:v>
                </c:pt>
                <c:pt idx="28">
                  <c:v>0.0034934497816593887</c:v>
                </c:pt>
                <c:pt idx="29">
                  <c:v>0.0044943820224719105</c:v>
                </c:pt>
                <c:pt idx="30">
                  <c:v>0.0033695245226506927</c:v>
                </c:pt>
                <c:pt idx="31">
                  <c:v>0.003945480631276901</c:v>
                </c:pt>
                <c:pt idx="32">
                  <c:v>0.003575685339690107</c:v>
                </c:pt>
                <c:pt idx="33">
                  <c:v>0.0024919013207077</c:v>
                </c:pt>
                <c:pt idx="34">
                  <c:v>0.0030480656506447833</c:v>
                </c:pt>
                <c:pt idx="35">
                  <c:v>0.004545454545454545</c:v>
                </c:pt>
                <c:pt idx="36">
                  <c:v>0.004585052728106373</c:v>
                </c:pt>
                <c:pt idx="37">
                  <c:v>0.004116920543433511</c:v>
                </c:pt>
                <c:pt idx="38">
                  <c:v>0.0048543689320388345</c:v>
                </c:pt>
                <c:pt idx="39">
                  <c:v>0.004133545310015898</c:v>
                </c:pt>
                <c:pt idx="40">
                  <c:v>0.0029930162953109413</c:v>
                </c:pt>
                <c:pt idx="41">
                  <c:v>0.0031289111389236545</c:v>
                </c:pt>
                <c:pt idx="42">
                  <c:v>0.0029706646862235424</c:v>
                </c:pt>
                <c:pt idx="43">
                  <c:v>0.0025271670457417236</c:v>
                </c:pt>
                <c:pt idx="44">
                  <c:v>0.0022960084775697632</c:v>
                </c:pt>
                <c:pt idx="45">
                  <c:v>0.0020304568527918783</c:v>
                </c:pt>
                <c:pt idx="46">
                  <c:v>0.0019080934965813325</c:v>
                </c:pt>
                <c:pt idx="47">
                  <c:v>0.0020420986490732014</c:v>
                </c:pt>
                <c:pt idx="48">
                  <c:v>0.0022648706639647157</c:v>
                </c:pt>
                <c:pt idx="49">
                  <c:v>0.001776001776001776</c:v>
                </c:pt>
                <c:pt idx="50">
                  <c:v>0.0016688299647691451</c:v>
                </c:pt>
                <c:pt idx="51">
                  <c:v>0.0022413793103448275</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52.4544018330253</c:v>
                </c:pt>
              </c:numCache>
            </c:numRef>
          </c:xVal>
          <c:yVal>
            <c:numRef>
              <c:f>Sheet1!$B$111:$B$112</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52.4544018330253</c:v>
                </c:pt>
                <c:pt idx="1">
                  <c:v>3652.4544018330253</c:v>
                </c:pt>
              </c:numCache>
            </c:numRef>
          </c:xVal>
          <c:yVal>
            <c:numRef>
              <c:f>Sheet1!$B$115:$B$116</c:f>
              <c:numCache>
                <c:formatCode>General</c:formatCode>
                <c:ptCount val="2"/>
                <c:pt idx="0">
                  <c:v>0.0045636191039349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52.4544018330253</c:v>
                </c:pt>
              </c:numCache>
            </c:numRef>
          </c:xVal>
          <c:yVal>
            <c:numRef>
              <c:f>Sheet1!$B$119:$B$120</c:f>
              <c:numCache>
                <c:formatCode>General</c:formatCode>
                <c:ptCount val="2"/>
                <c:pt idx="0">
                  <c:v>0.004563619103934927</c:v>
                </c:pt>
                <c:pt idx="1">
                  <c:v>0.004563619103934927</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52.4544018330253</c:v>
                </c:pt>
                <c:pt idx="1">
                  <c:v>3652.4544018330253</c:v>
                </c:pt>
              </c:numCache>
            </c:numRef>
          </c:xVal>
          <c:yVal>
            <c:numRef>
              <c:f>Sheet1!$B$123:$B$124</c:f>
              <c:numCache>
                <c:formatCode>General</c:formatCode>
                <c:ptCount val="2"/>
                <c:pt idx="0">
                  <c:v>0.0045636191039349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0.721891320054</c:v>
                </c:pt>
              </c:numCache>
            </c:numRef>
          </c:xVal>
          <c:yVal>
            <c:numRef>
              <c:f>Sheet1!$B$127:$B$128</c:f>
              <c:numCache>
                <c:formatCode>General</c:formatCode>
                <c:ptCount val="2"/>
                <c:pt idx="0">
                  <c:v>0.002460080282100953</c:v>
                </c:pt>
                <c:pt idx="1">
                  <c:v>0.00246008028210095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0.721891320054</c:v>
                </c:pt>
                <c:pt idx="1">
                  <c:v>5060.721891320054</c:v>
                </c:pt>
              </c:numCache>
            </c:numRef>
          </c:xVal>
          <c:yVal>
            <c:numRef>
              <c:f>Sheet1!$B$131:$B$132</c:f>
              <c:numCache>
                <c:formatCode>General</c:formatCode>
                <c:ptCount val="2"/>
                <c:pt idx="0">
                  <c:v>0.00246008028210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52.4544018330253</c:v>
                </c:pt>
                <c:pt idx="53">
                  <c:v>3652.4544018330253</c:v>
                </c:pt>
                <c:pt idx="54">
                  <c:v>5060.721891320054</c:v>
                </c:pt>
              </c:numCache>
            </c:numRef>
          </c:xVal>
          <c:yVal>
            <c:numRef>
              <c:f>Sheet1!$B$135:$B$189</c:f>
              <c:numCache>
                <c:formatCode>General</c:formatCode>
                <c:ptCount val="55"/>
                <c:pt idx="0">
                  <c:v>0.0017152557368890452</c:v>
                </c:pt>
                <c:pt idx="1">
                  <c:v>0.004082484025280127</c:v>
                </c:pt>
                <c:pt idx="2">
                  <c:v>0.003181592070172402</c:v>
                </c:pt>
                <c:pt idx="3">
                  <c:v>0.003851612957406406</c:v>
                </c:pt>
                <c:pt idx="4">
                  <c:v>0.0028020224835323005</c:v>
                </c:pt>
                <c:pt idx="5">
                  <c:v>0.002955015409545828</c:v>
                </c:pt>
                <c:pt idx="6">
                  <c:v>0.003604342183081256</c:v>
                </c:pt>
                <c:pt idx="7">
                  <c:v>0.003542602348970493</c:v>
                </c:pt>
                <c:pt idx="8">
                  <c:v>0.0038573077148428385</c:v>
                </c:pt>
                <c:pt idx="9">
                  <c:v>0.004122907467410866</c:v>
                </c:pt>
                <c:pt idx="10">
                  <c:v>0.0038168293042993347</c:v>
                </c:pt>
                <c:pt idx="11">
                  <c:v>0.00418906837511123</c:v>
                </c:pt>
                <c:pt idx="12">
                  <c:v>0.004460111792991084</c:v>
                </c:pt>
                <c:pt idx="13">
                  <c:v>0.004824590160396626</c:v>
                </c:pt>
                <c:pt idx="14">
                  <c:v>0.004696608758414596</c:v>
                </c:pt>
                <c:pt idx="15">
                  <c:v>0.00372427444686061</c:v>
                </c:pt>
                <c:pt idx="16">
                  <c:v>0.0044558173857439385</c:v>
                </c:pt>
                <c:pt idx="17">
                  <c:v>0.004194655137541066</c:v>
                </c:pt>
                <c:pt idx="18">
                  <c:v>0.002686148173202797</c:v>
                </c:pt>
                <c:pt idx="19">
                  <c:v>0.004274850616237161</c:v>
                </c:pt>
                <c:pt idx="20">
                  <c:v>0.002745460733652131</c:v>
                </c:pt>
                <c:pt idx="21">
                  <c:v>0.003509574847028802</c:v>
                </c:pt>
                <c:pt idx="22">
                  <c:v>0.004553675948160903</c:v>
                </c:pt>
                <c:pt idx="23">
                  <c:v>0.004340801956863864</c:v>
                </c:pt>
                <c:pt idx="24">
                  <c:v>0.003792458729885142</c:v>
                </c:pt>
                <c:pt idx="25">
                  <c:v>0.005199994545433713</c:v>
                </c:pt>
                <c:pt idx="26">
                  <c:v>0.004571766381416871</c:v>
                </c:pt>
                <c:pt idx="27">
                  <c:v>0.0035793225930326683</c:v>
                </c:pt>
                <c:pt idx="28">
                  <c:v>0.0036324737620198264</c:v>
                </c:pt>
                <c:pt idx="29">
                  <c:v>0.004522723055688973</c:v>
                </c:pt>
                <c:pt idx="30">
                  <c:v>0.002921552193310574</c:v>
                </c:pt>
                <c:pt idx="31">
                  <c:v>0.002856312006523999</c:v>
                </c:pt>
                <c:pt idx="32">
                  <c:v>0.0028912217284907775</c:v>
                </c:pt>
                <c:pt idx="33">
                  <c:v>0.002535395807492128</c:v>
                </c:pt>
                <c:pt idx="34">
                  <c:v>0.003208931237617196</c:v>
                </c:pt>
                <c:pt idx="35">
                  <c:v>0.0038116993174299096</c:v>
                </c:pt>
                <c:pt idx="36">
                  <c:v>0.0032104019413999934</c:v>
                </c:pt>
                <c:pt idx="37">
                  <c:v>0.0029285394553003816</c:v>
                </c:pt>
                <c:pt idx="38">
                  <c:v>0.0041326165620565875</c:v>
                </c:pt>
                <c:pt idx="39">
                  <c:v>0.003535823160347477</c:v>
                </c:pt>
                <c:pt idx="40">
                  <c:v>0.00257318659126701</c:v>
                </c:pt>
                <c:pt idx="41">
                  <c:v>0.0028808902061929226</c:v>
                </c:pt>
                <c:pt idx="42">
                  <c:v>0.0029889972408058494</c:v>
                </c:pt>
                <c:pt idx="43">
                  <c:v>0.0031112198053267854</c:v>
                </c:pt>
                <c:pt idx="44">
                  <c:v>0.003597409889504211</c:v>
                </c:pt>
                <c:pt idx="45">
                  <c:v>0.003346926749187509</c:v>
                </c:pt>
                <c:pt idx="46">
                  <c:v>0.003563638670912659</c:v>
                </c:pt>
                <c:pt idx="47">
                  <c:v>0.003984165102406268</c:v>
                </c:pt>
                <c:pt idx="48">
                  <c:v>0.004276090990420824</c:v>
                </c:pt>
                <c:pt idx="49">
                  <c:v>0.003891476259461432</c:v>
                </c:pt>
                <c:pt idx="50">
                  <c:v>0.0031518320520057133</c:v>
                </c:pt>
                <c:pt idx="51">
                  <c:v>0.0030972479700195335</c:v>
                </c:pt>
                <c:pt idx="52">
                  <c:v>0.004563619103934927</c:v>
                </c:pt>
                <c:pt idx="53">
                  <c:v>0.004563619103934927</c:v>
                </c:pt>
                <c:pt idx="54">
                  <c:v>0.00246008028210095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04169769173492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957.0</c:v>
                </c:pt>
                <c:pt idx="3">
                  <c:v>609.0</c:v>
                </c:pt>
                <c:pt idx="4">
                  <c:v>1305.0</c:v>
                </c:pt>
                <c:pt idx="5">
                  <c:v>1305.0</c:v>
                </c:pt>
                <c:pt idx="6">
                  <c:v>1044.0</c:v>
                </c:pt>
                <c:pt idx="7">
                  <c:v>914.5</c:v>
                </c:pt>
                <c:pt idx="8">
                  <c:v>89.4444</c:v>
                </c:pt>
                <c:pt idx="9">
                  <c:v>76.0</c:v>
                </c:pt>
                <c:pt idx="10">
                  <c:v>0.0</c:v>
                </c:pt>
                <c:pt idx="11">
                  <c:v>61.5</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16011376944955663</c:v>
                </c:pt>
                <c:pt idx="3">
                  <c:v>0.12704704287055388</c:v>
                </c:pt>
                <c:pt idx="4">
                  <c:v>0.0</c:v>
                </c:pt>
                <c:pt idx="5">
                  <c:v>0.0</c:v>
                </c:pt>
                <c:pt idx="6">
                  <c:v>0.0</c:v>
                </c:pt>
                <c:pt idx="7">
                  <c:v>0.0</c:v>
                </c:pt>
                <c:pt idx="8">
                  <c:v>0.0</c:v>
                </c:pt>
                <c:pt idx="9">
                  <c:v>0.0</c:v>
                </c:pt>
                <c:pt idx="10">
                  <c:v>0.0</c:v>
                </c:pt>
                <c:pt idx="11">
                  <c:v>0.0</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957.0</c:v>
                </c:pt>
                <c:pt idx="3">
                  <c:v>609.0</c:v>
                </c:pt>
                <c:pt idx="4">
                  <c:v>1305.0</c:v>
                </c:pt>
                <c:pt idx="5">
                  <c:v>1305.0</c:v>
                </c:pt>
                <c:pt idx="6">
                  <c:v>1044.0</c:v>
                </c:pt>
                <c:pt idx="7">
                  <c:v>914.5</c:v>
                </c:pt>
                <c:pt idx="8">
                  <c:v>89.4444</c:v>
                </c:pt>
                <c:pt idx="9">
                  <c:v>76.0</c:v>
                </c:pt>
                <c:pt idx="10">
                  <c:v>0.0</c:v>
                </c:pt>
                <c:pt idx="11">
                  <c:v>61.5</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3.511547744940546</c:v>
                </c:pt>
                <c:pt idx="3">
                  <c:v>2.1484399115929325</c:v>
                </c:pt>
                <c:pt idx="4">
                  <c:v>4.631142785052162</c:v>
                </c:pt>
                <c:pt idx="5">
                  <c:v>4.652575601679633</c:v>
                </c:pt>
                <c:pt idx="6">
                  <c:v>3.7464110351182973</c:v>
                </c:pt>
                <c:pt idx="7">
                  <c:v>3.2949861084538647</c:v>
                </c:pt>
                <c:pt idx="8">
                  <c:v>0.316671599665217</c:v>
                </c:pt>
                <c:pt idx="9">
                  <c:v>0.2743043587323529</c:v>
                </c:pt>
                <c:pt idx="10">
                  <c:v>0.0</c:v>
                </c:pt>
                <c:pt idx="11">
                  <c:v>0.21664877112589725</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957.0</c:v>
                </c:pt>
                <c:pt idx="3">
                  <c:v>609.0</c:v>
                </c:pt>
                <c:pt idx="4">
                  <c:v>1305.0</c:v>
                </c:pt>
                <c:pt idx="5">
                  <c:v>1305.0</c:v>
                </c:pt>
                <c:pt idx="6">
                  <c:v>1044.0</c:v>
                </c:pt>
                <c:pt idx="7">
                  <c:v>914.5</c:v>
                </c:pt>
                <c:pt idx="8">
                  <c:v>89.4444</c:v>
                </c:pt>
                <c:pt idx="9">
                  <c:v>76.0</c:v>
                </c:pt>
                <c:pt idx="10">
                  <c:v>0.0</c:v>
                </c:pt>
                <c:pt idx="11">
                  <c:v>61.5</c:v>
                </c:pt>
                <c:pt idx="12">
                  <c:v>0.0</c:v>
                </c:pt>
                <c:pt idx="13">
                  <c:v>0.0</c:v>
                </c:pt>
              </c:numCache>
            </c:numRef>
          </c:xVal>
          <c:yVal>
            <c:numRef>
              <c:f>Sheet1!$B$2:$B$15</c:f>
              <c:numCache>
                <c:formatCode>General</c:formatCode>
                <c:ptCount val="14"/>
                <c:pt idx="0">
                  <c:v>0.0</c:v>
                </c:pt>
                <c:pt idx="1">
                  <c:v>0.0</c:v>
                </c:pt>
                <c:pt idx="2">
                  <c:v>0.05263157894736842</c:v>
                </c:pt>
                <c:pt idx="3">
                  <c:v>0.034482758620689655</c:v>
                </c:pt>
                <c:pt idx="4">
                  <c:v>0.029411764705882353</c:v>
                </c:pt>
                <c:pt idx="5">
                  <c:v>0.0196078431372549</c:v>
                </c:pt>
                <c:pt idx="6">
                  <c:v>0.021739130434782608</c:v>
                </c:pt>
                <c:pt idx="7">
                  <c:v>0.05405405405405406</c:v>
                </c:pt>
                <c:pt idx="8">
                  <c:v>0.46551724137931033</c:v>
                </c:pt>
                <c:pt idx="9">
                  <c:v>0.03125</c:v>
                </c:pt>
                <c:pt idx="10">
                  <c:v>0.0</c:v>
                </c:pt>
                <c:pt idx="11">
                  <c:v>0.07692307692307693</c:v>
                </c:pt>
                <c:pt idx="12">
                  <c:v>0.0</c:v>
                </c:pt>
                <c:pt idx="13">
                  <c:v>0.0</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6442676102539475</c:v>
                </c:pt>
              </c:numCache>
            </c:numRef>
          </c:xVal>
          <c:yVal>
            <c:numRef>
              <c:f>Sheet1!$B$20:$B$21</c:f>
              <c:numCache>
                <c:formatCode>General</c:formatCode>
                <c:ptCount val="2"/>
                <c:pt idx="0">
                  <c:v>0.06442676102539475</c:v>
                </c:pt>
                <c:pt idx="1">
                  <c:v>0.06442676102539475</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6442676102539475</c:v>
                </c:pt>
                <c:pt idx="1">
                  <c:v>0.06442676102539475</c:v>
                </c:pt>
              </c:numCache>
            </c:numRef>
          </c:xVal>
          <c:yVal>
            <c:numRef>
              <c:f>Sheet1!$B$24:$B$25</c:f>
              <c:numCache>
                <c:formatCode>General</c:formatCode>
                <c:ptCount val="2"/>
                <c:pt idx="0">
                  <c:v>0.064426761025394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6442676102539475</c:v>
                </c:pt>
                <c:pt idx="2">
                  <c:v>0</c:v>
                </c:pt>
              </c:numCache>
            </c:numRef>
          </c:xVal>
          <c:yVal>
            <c:numRef>
              <c:f>Sheet1!$B$28:$B$30</c:f>
              <c:numCache>
                <c:formatCode>General</c:formatCode>
                <c:ptCount val="3"/>
                <c:pt idx="0">
                  <c:v>0</c:v>
                </c:pt>
                <c:pt idx="1">
                  <c:v>0.0644267610253947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8620689655172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3.752445313889383</c:v>
                </c:pt>
                <c:pt idx="1">
                  <c:v>3.176129739481129</c:v>
                </c:pt>
                <c:pt idx="2">
                  <c:v>3.4319564384771954</c:v>
                </c:pt>
                <c:pt idx="3">
                  <c:v>3.639307258919966</c:v>
                </c:pt>
                <c:pt idx="4">
                  <c:v>3.324151666432288</c:v>
                </c:pt>
                <c:pt idx="5">
                  <c:v>3.4117076693374275</c:v>
                </c:pt>
                <c:pt idx="6">
                  <c:v>3.571867610619469</c:v>
                </c:pt>
                <c:pt idx="7">
                  <c:v>3.5683835133161756</c:v>
                </c:pt>
                <c:pt idx="8">
                  <c:v>3.783454124207007</c:v>
                </c:pt>
                <c:pt idx="9">
                  <c:v>3.617375886524823</c:v>
                </c:pt>
                <c:pt idx="10">
                  <c:v>3.5820598610975485</c:v>
                </c:pt>
                <c:pt idx="11">
                  <c:v>3.5643353667186837</c:v>
                </c:pt>
                <c:pt idx="12">
                  <c:v>3.504744839857651</c:v>
                </c:pt>
                <c:pt idx="13">
                  <c:v>3.2684930567269017</c:v>
                </c:pt>
                <c:pt idx="14">
                  <c:v>3.3184232842017973</c:v>
                </c:pt>
                <c:pt idx="15">
                  <c:v>3.5692546784720984</c:v>
                </c:pt>
                <c:pt idx="16">
                  <c:v>3.4461462051660967</c:v>
                </c:pt>
                <c:pt idx="17">
                  <c:v>3.5974432586818774</c:v>
                </c:pt>
                <c:pt idx="18">
                  <c:v>3.2801790460204225</c:v>
                </c:pt>
                <c:pt idx="19">
                  <c:v>3.143200534227908</c:v>
                </c:pt>
                <c:pt idx="20">
                  <c:v>3.6007144909444504</c:v>
                </c:pt>
                <c:pt idx="21">
                  <c:v>3.1848733728028376</c:v>
                </c:pt>
                <c:pt idx="22">
                  <c:v>2.442265296449772</c:v>
                </c:pt>
                <c:pt idx="23">
                  <c:v>2.373441737331806</c:v>
                </c:pt>
                <c:pt idx="24">
                  <c:v>2.01828413062323</c:v>
                </c:pt>
                <c:pt idx="25">
                  <c:v>2.1585296321372147</c:v>
                </c:pt>
                <c:pt idx="26">
                  <c:v>2.290641039330842</c:v>
                </c:pt>
                <c:pt idx="27">
                  <c:v>2.5473811164713993</c:v>
                </c:pt>
                <c:pt idx="28">
                  <c:v>2.0597020398617856</c:v>
                </c:pt>
                <c:pt idx="29">
                  <c:v>2.0300348076109462</c:v>
                </c:pt>
                <c:pt idx="30">
                  <c:v>2.2994019878689675</c:v>
                </c:pt>
                <c:pt idx="31">
                  <c:v>2.3078110236334015</c:v>
                </c:pt>
                <c:pt idx="32">
                  <c:v>2.6767692180259046</c:v>
                </c:pt>
                <c:pt idx="33">
                  <c:v>4.065774977928287</c:v>
                </c:pt>
                <c:pt idx="34">
                  <c:v>4.178111890855489</c:v>
                </c:pt>
                <c:pt idx="35">
                  <c:v>1.4247150569886022</c:v>
                </c:pt>
                <c:pt idx="36">
                  <c:v>0.9960295470058369</c:v>
                </c:pt>
                <c:pt idx="37">
                  <c:v>0.8957540768784926</c:v>
                </c:pt>
                <c:pt idx="38">
                  <c:v>0.7873248019500305</c:v>
                </c:pt>
                <c:pt idx="39">
                  <c:v>0.9939160440852576</c:v>
                </c:pt>
                <c:pt idx="40">
                  <c:v>2.4531006544094733</c:v>
                </c:pt>
                <c:pt idx="41">
                  <c:v>3.3639349776942584</c:v>
                </c:pt>
                <c:pt idx="42">
                  <c:v>2.2713826366559484</c:v>
                </c:pt>
                <c:pt idx="43">
                  <c:v>2.58275645059786</c:v>
                </c:pt>
              </c:numCache>
            </c:numRef>
          </c:xVal>
          <c:yVal>
            <c:numRef>
              <c:f>Sheet1!$B$2:$B$45</c:f>
              <c:numCache>
                <c:formatCode>General</c:formatCode>
                <c:ptCount val="44"/>
                <c:pt idx="0">
                  <c:v>0.057692307692307696</c:v>
                </c:pt>
                <c:pt idx="1">
                  <c:v>0.10526315789473684</c:v>
                </c:pt>
                <c:pt idx="2">
                  <c:v>0.2608695652173913</c:v>
                </c:pt>
                <c:pt idx="3">
                  <c:v>0.1746031746031746</c:v>
                </c:pt>
                <c:pt idx="4">
                  <c:v>0.21495327102803738</c:v>
                </c:pt>
                <c:pt idx="5">
                  <c:v>0.2755905511811024</c:v>
                </c:pt>
                <c:pt idx="6">
                  <c:v>0.3275862068965517</c:v>
                </c:pt>
                <c:pt idx="7">
                  <c:v>0.15789473684210525</c:v>
                </c:pt>
                <c:pt idx="8">
                  <c:v>0.18604651162790697</c:v>
                </c:pt>
                <c:pt idx="9">
                  <c:v>0.2222222222222222</c:v>
                </c:pt>
                <c:pt idx="10">
                  <c:v>0.25</c:v>
                </c:pt>
                <c:pt idx="11">
                  <c:v>0.21212121212121213</c:v>
                </c:pt>
                <c:pt idx="12">
                  <c:v>0.1935483870967742</c:v>
                </c:pt>
                <c:pt idx="13">
                  <c:v>0.1956521739130435</c:v>
                </c:pt>
                <c:pt idx="14">
                  <c:v>0.1346153846153846</c:v>
                </c:pt>
                <c:pt idx="15">
                  <c:v>0.09375</c:v>
                </c:pt>
                <c:pt idx="16">
                  <c:v>0.10204081632653061</c:v>
                </c:pt>
                <c:pt idx="17">
                  <c:v>0.12962962962962962</c:v>
                </c:pt>
                <c:pt idx="18">
                  <c:v>0.06666666666666667</c:v>
                </c:pt>
                <c:pt idx="19">
                  <c:v>0.09090909090909091</c:v>
                </c:pt>
                <c:pt idx="20">
                  <c:v>0.14814814814814814</c:v>
                </c:pt>
                <c:pt idx="21">
                  <c:v>0.08620689655172414</c:v>
                </c:pt>
                <c:pt idx="22">
                  <c:v>0.1724137931034483</c:v>
                </c:pt>
                <c:pt idx="23">
                  <c:v>0.39655172413793105</c:v>
                </c:pt>
                <c:pt idx="24">
                  <c:v>0.3023255813953488</c:v>
                </c:pt>
                <c:pt idx="25">
                  <c:v>0.32142857142857145</c:v>
                </c:pt>
                <c:pt idx="26">
                  <c:v>0.28125</c:v>
                </c:pt>
                <c:pt idx="27">
                  <c:v>0.17391304347826086</c:v>
                </c:pt>
                <c:pt idx="28">
                  <c:v>0.2857142857142857</c:v>
                </c:pt>
                <c:pt idx="29">
                  <c:v>0.20689655172413793</c:v>
                </c:pt>
                <c:pt idx="30">
                  <c:v>0.25806451612903225</c:v>
                </c:pt>
                <c:pt idx="31">
                  <c:v>0.1935483870967742</c:v>
                </c:pt>
                <c:pt idx="32">
                  <c:v>0.041666666666666664</c:v>
                </c:pt>
                <c:pt idx="33">
                  <c:v>0.034482758620689655</c:v>
                </c:pt>
                <c:pt idx="34">
                  <c:v>0.037037037037037035</c:v>
                </c:pt>
                <c:pt idx="35">
                  <c:v>0.22857142857142856</c:v>
                </c:pt>
                <c:pt idx="36">
                  <c:v>0.13636363636363635</c:v>
                </c:pt>
                <c:pt idx="37">
                  <c:v>0.17647058823529413</c:v>
                </c:pt>
                <c:pt idx="38">
                  <c:v>0.16666666666666666</c:v>
                </c:pt>
                <c:pt idx="39">
                  <c:v>0.14285714285714285</c:v>
                </c:pt>
                <c:pt idx="40">
                  <c:v>0.047619047619047616</c:v>
                </c:pt>
                <c:pt idx="41">
                  <c:v>0.09090909090909091</c:v>
                </c:pt>
                <c:pt idx="42">
                  <c:v>0.125</c:v>
                </c:pt>
                <c:pt idx="43">
                  <c:v>0.0769230769230769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54</c:f>
              <c:numCache>
                <c:formatCode>General</c:formatCode>
                <c:ptCount val="7"/>
                <c:pt idx="0">
                  <c:v>0.0</c:v>
                </c:pt>
                <c:pt idx="1">
                  <c:v>0.0</c:v>
                </c:pt>
                <c:pt idx="2">
                  <c:v>0.0</c:v>
                </c:pt>
                <c:pt idx="3">
                  <c:v>0.0</c:v>
                </c:pt>
                <c:pt idx="4">
                  <c:v>0.0</c:v>
                </c:pt>
                <c:pt idx="5">
                  <c:v>0.0</c:v>
                </c:pt>
                <c:pt idx="6">
                  <c:v>0.0</c:v>
                </c:pt>
              </c:numCache>
            </c:numRef>
          </c:xVal>
          <c:yVal>
            <c:numRef>
              <c:f>Sheet1!$B$48:$B$54</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096C-4121-9522-6AB7243CCAAE}"/>
            </c:ext>
          </c:extLst>
        </c:ser>
        <c:ser>
          <c:idx val="2"/>
          <c:order val="2"/>
          <c:tx>
            <c:strRef>
              <c:f>Sheet1!$B$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7:$A$58</c:f>
              <c:numCache>
                <c:formatCode>General</c:formatCode>
                <c:ptCount val="2"/>
                <c:pt idx="0">
                  <c:v>0</c:v>
                </c:pt>
                <c:pt idx="1">
                  <c:v>0.20477338329901873</c:v>
                </c:pt>
              </c:numCache>
            </c:numRef>
          </c:xVal>
          <c:yVal>
            <c:numRef>
              <c:f>Sheet1!$B$57:$B$58</c:f>
              <c:numCache>
                <c:formatCode>General</c:formatCode>
                <c:ptCount val="2"/>
                <c:pt idx="0">
                  <c:v>0.20477338329901873</c:v>
                </c:pt>
                <c:pt idx="1">
                  <c:v>0.20477338329901873</c:v>
                </c:pt>
              </c:numCache>
            </c:numRef>
          </c:yVal>
          <c:smooth val="0"/>
          <c:extLst>
            <c:ext xmlns:c16="http://schemas.microsoft.com/office/drawing/2014/chart" uri="{C3380CC4-5D6E-409C-BE32-E72D297353CC}">
              <c16:uniqueId val="{00000005-096C-4121-9522-6AB7243CCAAE}"/>
            </c:ext>
          </c:extLst>
        </c:ser>
        <c:ser>
          <c:idx val="3"/>
          <c:order val="3"/>
          <c:tx>
            <c:strRef>
              <c:f>Sheet1!$B$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1:$A$62</c:f>
              <c:numCache>
                <c:formatCode>General</c:formatCode>
                <c:ptCount val="2"/>
                <c:pt idx="0">
                  <c:v>0.20477338329901873</c:v>
                </c:pt>
                <c:pt idx="1">
                  <c:v>0.20477338329901873</c:v>
                </c:pt>
              </c:numCache>
            </c:numRef>
          </c:xVal>
          <c:yVal>
            <c:numRef>
              <c:f>Sheet1!$B$61:$B$62</c:f>
              <c:numCache>
                <c:formatCode>General</c:formatCode>
                <c:ptCount val="2"/>
                <c:pt idx="0">
                  <c:v>0.204773383299018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5:$A$66</c:f>
              <c:numCache>
                <c:formatCode>General</c:formatCode>
                <c:ptCount val="2"/>
                <c:pt idx="0">
                  <c:v>0</c:v>
                </c:pt>
                <c:pt idx="1">
                  <c:v>0.0</c:v>
                </c:pt>
              </c:numCache>
            </c:numRef>
          </c:xVal>
          <c:yVal>
            <c:numRef>
              <c:f>Sheet1!$B$65:$B$66</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9:$A$70</c:f>
              <c:numCache>
                <c:formatCode>General</c:formatCode>
                <c:ptCount val="2"/>
                <c:pt idx="0">
                  <c:v>0.0</c:v>
                </c:pt>
                <c:pt idx="1">
                  <c:v>0.0</c:v>
                </c:pt>
              </c:numCache>
            </c:numRef>
          </c:xVal>
          <c:yVal>
            <c:numRef>
              <c:f>Sheet1!$B$69:$B$70</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2</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3:$A$82</c:f>
              <c:numCache>
                <c:formatCode>General</c:formatCode>
                <c:ptCount val="10"/>
                <c:pt idx="0">
                  <c:v>0.0</c:v>
                </c:pt>
                <c:pt idx="1">
                  <c:v>0.0</c:v>
                </c:pt>
                <c:pt idx="2">
                  <c:v>0.0</c:v>
                </c:pt>
                <c:pt idx="3">
                  <c:v>0.0</c:v>
                </c:pt>
                <c:pt idx="4">
                  <c:v>0.0</c:v>
                </c:pt>
                <c:pt idx="5">
                  <c:v>0.0</c:v>
                </c:pt>
                <c:pt idx="6">
                  <c:v>0.0</c:v>
                </c:pt>
                <c:pt idx="7">
                  <c:v>0.0</c:v>
                </c:pt>
                <c:pt idx="8">
                  <c:v>0.20477338329901873</c:v>
                </c:pt>
                <c:pt idx="9">
                  <c:v>0</c:v>
                </c:pt>
              </c:numCache>
            </c:numRef>
          </c:xVal>
          <c:yVal>
            <c:numRef>
              <c:f>Sheet1!$B$73:$B$82</c:f>
              <c:numCache>
                <c:formatCode>General</c:formatCode>
                <c:ptCount val="10"/>
                <c:pt idx="0">
                  <c:v>0.0</c:v>
                </c:pt>
                <c:pt idx="1">
                  <c:v>0.0</c:v>
                </c:pt>
                <c:pt idx="2">
                  <c:v>0.0</c:v>
                </c:pt>
                <c:pt idx="3">
                  <c:v>0.0</c:v>
                </c:pt>
                <c:pt idx="4">
                  <c:v>0.0</c:v>
                </c:pt>
                <c:pt idx="5">
                  <c:v>0.0</c:v>
                </c:pt>
                <c:pt idx="6">
                  <c:v>0.0</c:v>
                </c:pt>
                <c:pt idx="7">
                  <c:v>0.0</c:v>
                </c:pt>
                <c:pt idx="8">
                  <c:v>0.20477338329901873</c:v>
                </c:pt>
                <c:pt idx="9">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58620689655172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55.0</c:v>
                </c:pt>
                <c:pt idx="1">
                  <c:v>902.8333</c:v>
                </c:pt>
                <c:pt idx="2">
                  <c:v>957.8889</c:v>
                </c:pt>
                <c:pt idx="3">
                  <c:v>1013.8182</c:v>
                </c:pt>
                <c:pt idx="4">
                  <c:v>945.5217</c:v>
                </c:pt>
                <c:pt idx="5">
                  <c:v>958.1143</c:v>
                </c:pt>
                <c:pt idx="6">
                  <c:v>1009.0526</c:v>
                </c:pt>
                <c:pt idx="7">
                  <c:v>996.5</c:v>
                </c:pt>
                <c:pt idx="8">
                  <c:v>1055.25</c:v>
                </c:pt>
                <c:pt idx="9">
                  <c:v>1020.1</c:v>
                </c:pt>
                <c:pt idx="10">
                  <c:v>1016.1111</c:v>
                </c:pt>
                <c:pt idx="11">
                  <c:v>1005.0</c:v>
                </c:pt>
                <c:pt idx="12">
                  <c:v>984.8333</c:v>
                </c:pt>
                <c:pt idx="13">
                  <c:v>934.0</c:v>
                </c:pt>
                <c:pt idx="14">
                  <c:v>939.5714</c:v>
                </c:pt>
                <c:pt idx="15">
                  <c:v>1004.3333</c:v>
                </c:pt>
                <c:pt idx="16">
                  <c:v>960.3</c:v>
                </c:pt>
                <c:pt idx="17">
                  <c:v>1025.1429</c:v>
                </c:pt>
                <c:pt idx="18">
                  <c:v>938.0</c:v>
                </c:pt>
                <c:pt idx="19">
                  <c:v>879.25</c:v>
                </c:pt>
                <c:pt idx="20">
                  <c:v>1028.875</c:v>
                </c:pt>
                <c:pt idx="21">
                  <c:v>900.2</c:v>
                </c:pt>
                <c:pt idx="22">
                  <c:v>697.7</c:v>
                </c:pt>
                <c:pt idx="23">
                  <c:v>662.087</c:v>
                </c:pt>
                <c:pt idx="24">
                  <c:v>574.1538</c:v>
                </c:pt>
                <c:pt idx="25">
                  <c:v>597.7778</c:v>
                </c:pt>
                <c:pt idx="26">
                  <c:v>643.5556</c:v>
                </c:pt>
                <c:pt idx="27">
                  <c:v>739.25</c:v>
                </c:pt>
                <c:pt idx="28">
                  <c:v>595.375</c:v>
                </c:pt>
                <c:pt idx="29">
                  <c:v>578.6667</c:v>
                </c:pt>
                <c:pt idx="30">
                  <c:v>651.625</c:v>
                </c:pt>
                <c:pt idx="31">
                  <c:v>640.1667</c:v>
                </c:pt>
                <c:pt idx="32">
                  <c:v>614.0</c:v>
                </c:pt>
                <c:pt idx="33">
                  <c:v>799.0</c:v>
                </c:pt>
                <c:pt idx="34">
                  <c:v>820.0</c:v>
                </c:pt>
                <c:pt idx="35">
                  <c:v>285.0</c:v>
                </c:pt>
                <c:pt idx="36">
                  <c:v>201.6667</c:v>
                </c:pt>
                <c:pt idx="37">
                  <c:v>180.6667</c:v>
                </c:pt>
                <c:pt idx="38">
                  <c:v>161.5</c:v>
                </c:pt>
                <c:pt idx="39">
                  <c:v>200.5</c:v>
                </c:pt>
                <c:pt idx="40">
                  <c:v>492.0</c:v>
                </c:pt>
                <c:pt idx="41">
                  <c:v>684.0</c:v>
                </c:pt>
                <c:pt idx="42">
                  <c:v>441.5</c:v>
                </c:pt>
                <c:pt idx="43">
                  <c:v>513.0</c:v>
                </c:pt>
              </c:numCache>
            </c:numRef>
          </c:xVal>
          <c:yVal>
            <c:numRef>
              <c:f>Sheet1!$B$2:$B$45</c:f>
              <c:numCache>
                <c:formatCode>General</c:formatCode>
                <c:ptCount val="44"/>
                <c:pt idx="0">
                  <c:v>0.057692307692307696</c:v>
                </c:pt>
                <c:pt idx="1">
                  <c:v>0.10526315789473684</c:v>
                </c:pt>
                <c:pt idx="2">
                  <c:v>0.2608695652173913</c:v>
                </c:pt>
                <c:pt idx="3">
                  <c:v>0.1746031746031746</c:v>
                </c:pt>
                <c:pt idx="4">
                  <c:v>0.21495327102803738</c:v>
                </c:pt>
                <c:pt idx="5">
                  <c:v>0.2755905511811024</c:v>
                </c:pt>
                <c:pt idx="6">
                  <c:v>0.3275862068965517</c:v>
                </c:pt>
                <c:pt idx="7">
                  <c:v>0.15789473684210525</c:v>
                </c:pt>
                <c:pt idx="8">
                  <c:v>0.18604651162790697</c:v>
                </c:pt>
                <c:pt idx="9">
                  <c:v>0.2222222222222222</c:v>
                </c:pt>
                <c:pt idx="10">
                  <c:v>0.25</c:v>
                </c:pt>
                <c:pt idx="11">
                  <c:v>0.21212121212121213</c:v>
                </c:pt>
                <c:pt idx="12">
                  <c:v>0.1935483870967742</c:v>
                </c:pt>
                <c:pt idx="13">
                  <c:v>0.1956521739130435</c:v>
                </c:pt>
                <c:pt idx="14">
                  <c:v>0.1346153846153846</c:v>
                </c:pt>
                <c:pt idx="15">
                  <c:v>0.09375</c:v>
                </c:pt>
                <c:pt idx="16">
                  <c:v>0.10204081632653061</c:v>
                </c:pt>
                <c:pt idx="17">
                  <c:v>0.12962962962962962</c:v>
                </c:pt>
                <c:pt idx="18">
                  <c:v>0.06666666666666667</c:v>
                </c:pt>
                <c:pt idx="19">
                  <c:v>0.09090909090909091</c:v>
                </c:pt>
                <c:pt idx="20">
                  <c:v>0.14814814814814814</c:v>
                </c:pt>
                <c:pt idx="21">
                  <c:v>0.08620689655172414</c:v>
                </c:pt>
                <c:pt idx="22">
                  <c:v>0.1724137931034483</c:v>
                </c:pt>
                <c:pt idx="23">
                  <c:v>0.39655172413793105</c:v>
                </c:pt>
                <c:pt idx="24">
                  <c:v>0.3023255813953488</c:v>
                </c:pt>
                <c:pt idx="25">
                  <c:v>0.32142857142857145</c:v>
                </c:pt>
                <c:pt idx="26">
                  <c:v>0.28125</c:v>
                </c:pt>
                <c:pt idx="27">
                  <c:v>0.17391304347826086</c:v>
                </c:pt>
                <c:pt idx="28">
                  <c:v>0.2857142857142857</c:v>
                </c:pt>
                <c:pt idx="29">
                  <c:v>0.20689655172413793</c:v>
                </c:pt>
                <c:pt idx="30">
                  <c:v>0.25806451612903225</c:v>
                </c:pt>
                <c:pt idx="31">
                  <c:v>0.1935483870967742</c:v>
                </c:pt>
                <c:pt idx="32">
                  <c:v>0.041666666666666664</c:v>
                </c:pt>
                <c:pt idx="33">
                  <c:v>0.034482758620689655</c:v>
                </c:pt>
                <c:pt idx="34">
                  <c:v>0.037037037037037035</c:v>
                </c:pt>
                <c:pt idx="35">
                  <c:v>0.22857142857142856</c:v>
                </c:pt>
                <c:pt idx="36">
                  <c:v>0.13636363636363635</c:v>
                </c:pt>
                <c:pt idx="37">
                  <c:v>0.17647058823529413</c:v>
                </c:pt>
                <c:pt idx="38">
                  <c:v>0.16666666666666666</c:v>
                </c:pt>
                <c:pt idx="39">
                  <c:v>0.14285714285714285</c:v>
                </c:pt>
                <c:pt idx="40">
                  <c:v>0.047619047619047616</c:v>
                </c:pt>
                <c:pt idx="41">
                  <c:v>0.09090909090909091</c:v>
                </c:pt>
                <c:pt idx="42">
                  <c:v>0.125</c:v>
                </c:pt>
                <c:pt idx="43">
                  <c:v>0.0769230769230769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54</c:f>
              <c:numCache>
                <c:formatCode>General</c:formatCode>
                <c:ptCount val="7"/>
                <c:pt idx="0">
                  <c:v>0.0</c:v>
                </c:pt>
                <c:pt idx="1">
                  <c:v>0.0</c:v>
                </c:pt>
                <c:pt idx="2">
                  <c:v>0.0</c:v>
                </c:pt>
                <c:pt idx="3">
                  <c:v>0.0</c:v>
                </c:pt>
                <c:pt idx="4">
                  <c:v>0.0</c:v>
                </c:pt>
                <c:pt idx="5">
                  <c:v>0.0</c:v>
                </c:pt>
                <c:pt idx="6">
                  <c:v>0.0</c:v>
                </c:pt>
              </c:numCache>
            </c:numRef>
          </c:xVal>
          <c:yVal>
            <c:numRef>
              <c:f>Sheet1!$B$48:$B$54</c:f>
              <c:numCache>
                <c:formatCode>General</c:formatCode>
                <c:ptCount val="7"/>
                <c:pt idx="0">
                  <c:v>0.0</c:v>
                </c:pt>
                <c:pt idx="1">
                  <c:v>0.0</c:v>
                </c:pt>
                <c:pt idx="2">
                  <c:v>0.0</c:v>
                </c:pt>
                <c:pt idx="3">
                  <c:v>0.0</c:v>
                </c:pt>
                <c:pt idx="4">
                  <c:v>0.0</c:v>
                </c:pt>
                <c:pt idx="5">
                  <c:v>0.0</c:v>
                </c:pt>
                <c:pt idx="6">
                  <c:v>0.0</c:v>
                </c:pt>
              </c:numCache>
            </c:numRef>
          </c:yVal>
          <c:smooth val="0"/>
          <c:extLst>
            <c:ext xmlns:c16="http://schemas.microsoft.com/office/drawing/2014/chart" uri="{C3380CC4-5D6E-409C-BE32-E72D297353CC}">
              <c16:uniqueId val="{00000002-F32D-48B7-BC20-E66FC6253BAD}"/>
            </c:ext>
          </c:extLst>
        </c:ser>
        <c:ser>
          <c:idx val="2"/>
          <c:order val="2"/>
          <c:tx>
            <c:strRef>
              <c:f>Sheet1!$B$56</c:f>
              <c:strCache>
                <c:ptCount val="1"/>
                <c:pt idx="0">
                  <c:v>Custom Linep3yQ</c:v>
                </c:pt>
              </c:strCache>
            </c:strRef>
          </c:tx>
          <c:spPr>
            <a:ln w="19050" cap="rnd">
              <a:solidFill>
                <a:srgbClr val="C00000"/>
              </a:solidFill>
              <a:prstDash val="sysDot"/>
              <a:round/>
            </a:ln>
            <a:effectLst/>
          </c:spPr>
          <c:marker>
            <c:symbol val="none"/>
          </c:marker>
          <c:xVal>
            <c:numRef>
              <c:f>Sheet1!$A$57:$A$58</c:f>
              <c:numCache>
                <c:formatCode>General</c:formatCode>
                <c:ptCount val="2"/>
                <c:pt idx="0">
                  <c:v>0</c:v>
                </c:pt>
                <c:pt idx="1">
                  <c:v>0.20477338329901873</c:v>
                </c:pt>
              </c:numCache>
            </c:numRef>
          </c:xVal>
          <c:yVal>
            <c:numRef>
              <c:f>Sheet1!$B$57:$B$58</c:f>
              <c:numCache>
                <c:formatCode>General</c:formatCode>
                <c:ptCount val="2"/>
                <c:pt idx="0">
                  <c:v>0.20477338329901873</c:v>
                </c:pt>
                <c:pt idx="1">
                  <c:v>0.20477338329901873</c:v>
                </c:pt>
              </c:numCache>
            </c:numRef>
          </c:yVal>
          <c:smooth val="0"/>
          <c:extLst>
            <c:ext xmlns:c16="http://schemas.microsoft.com/office/drawing/2014/chart" uri="{C3380CC4-5D6E-409C-BE32-E72D297353CC}">
              <c16:uniqueId val="{00000003-F32D-48B7-BC20-E66FC6253BAD}"/>
            </c:ext>
          </c:extLst>
        </c:ser>
        <c:ser>
          <c:idx val="3"/>
          <c:order val="3"/>
          <c:tx>
            <c:strRef>
              <c:f>Sheet1!$B$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1:$A$62</c:f>
              <c:numCache>
                <c:formatCode>General</c:formatCode>
                <c:ptCount val="2"/>
                <c:pt idx="0">
                  <c:v>0.20477338329901873</c:v>
                </c:pt>
                <c:pt idx="1">
                  <c:v>0.20477338329901873</c:v>
                </c:pt>
              </c:numCache>
            </c:numRef>
          </c:xVal>
          <c:yVal>
            <c:numRef>
              <c:f>Sheet1!$B$61:$B$62</c:f>
              <c:numCache>
                <c:formatCode>General</c:formatCode>
                <c:ptCount val="2"/>
                <c:pt idx="0">
                  <c:v>0.204773383299018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5:$A$66</c:f>
              <c:numCache>
                <c:formatCode>General</c:formatCode>
                <c:ptCount val="2"/>
                <c:pt idx="0">
                  <c:v>0</c:v>
                </c:pt>
                <c:pt idx="1">
                  <c:v>0.0</c:v>
                </c:pt>
              </c:numCache>
            </c:numRef>
          </c:xVal>
          <c:yVal>
            <c:numRef>
              <c:f>Sheet1!$B$65:$B$66</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9:$A$70</c:f>
              <c:numCache>
                <c:formatCode>General</c:formatCode>
                <c:ptCount val="2"/>
                <c:pt idx="0">
                  <c:v>0.0</c:v>
                </c:pt>
                <c:pt idx="1">
                  <c:v>0.0</c:v>
                </c:pt>
              </c:numCache>
            </c:numRef>
          </c:xVal>
          <c:yVal>
            <c:numRef>
              <c:f>Sheet1!$B$69:$B$70</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2</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3:$A$82</c:f>
              <c:numCache>
                <c:formatCode>General</c:formatCode>
                <c:ptCount val="10"/>
                <c:pt idx="0">
                  <c:v>0.0</c:v>
                </c:pt>
                <c:pt idx="1">
                  <c:v>0.0</c:v>
                </c:pt>
                <c:pt idx="2">
                  <c:v>0.0</c:v>
                </c:pt>
                <c:pt idx="3">
                  <c:v>0.0</c:v>
                </c:pt>
                <c:pt idx="4">
                  <c:v>0.0</c:v>
                </c:pt>
                <c:pt idx="5">
                  <c:v>0.0</c:v>
                </c:pt>
                <c:pt idx="6">
                  <c:v>0.0</c:v>
                </c:pt>
                <c:pt idx="7">
                  <c:v>0.0</c:v>
                </c:pt>
                <c:pt idx="8">
                  <c:v>0.20477338329901873</c:v>
                </c:pt>
                <c:pt idx="9">
                  <c:v>0</c:v>
                </c:pt>
              </c:numCache>
            </c:numRef>
          </c:xVal>
          <c:yVal>
            <c:numRef>
              <c:f>Sheet1!$B$73:$B$82</c:f>
              <c:numCache>
                <c:formatCode>General</c:formatCode>
                <c:ptCount val="10"/>
                <c:pt idx="0">
                  <c:v>0.0</c:v>
                </c:pt>
                <c:pt idx="1">
                  <c:v>0.0</c:v>
                </c:pt>
                <c:pt idx="2">
                  <c:v>0.0</c:v>
                </c:pt>
                <c:pt idx="3">
                  <c:v>0.0</c:v>
                </c:pt>
                <c:pt idx="4">
                  <c:v>0.0</c:v>
                </c:pt>
                <c:pt idx="5">
                  <c:v>0.0</c:v>
                </c:pt>
                <c:pt idx="6">
                  <c:v>0.0</c:v>
                </c:pt>
                <c:pt idx="7">
                  <c:v>0.0</c:v>
                </c:pt>
                <c:pt idx="8">
                  <c:v>0.20477338329901873</c:v>
                </c:pt>
                <c:pt idx="9">
                  <c:v>0</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58620689655172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332391896169674</c:v>
                </c:pt>
                <c:pt idx="1">
                  <c:v>1.584250956696878</c:v>
                </c:pt>
                <c:pt idx="2">
                  <c:v>2.050842371446372</c:v>
                </c:pt>
                <c:pt idx="3">
                  <c:v>1.3105316285274686</c:v>
                </c:pt>
                <c:pt idx="4">
                  <c:v>1.2669006705130206</c:v>
                </c:pt>
                <c:pt idx="5">
                  <c:v>1.2224645516409471</c:v>
                </c:pt>
                <c:pt idx="6">
                  <c:v>1.1697035702602652</c:v>
                </c:pt>
                <c:pt idx="7">
                  <c:v>1.2895518881118881</c:v>
                </c:pt>
                <c:pt idx="8">
                  <c:v>0.9403020642201835</c:v>
                </c:pt>
                <c:pt idx="9">
                  <c:v>0.7907109154205375</c:v>
                </c:pt>
                <c:pt idx="10">
                  <c:v>1.038769511952728</c:v>
                </c:pt>
                <c:pt idx="11">
                  <c:v>1.0343019884166218</c:v>
                </c:pt>
                <c:pt idx="12">
                  <c:v>0.8652514693425345</c:v>
                </c:pt>
                <c:pt idx="13">
                  <c:v>1.0118640285436262</c:v>
                </c:pt>
                <c:pt idx="14">
                  <c:v>0.9941203598883342</c:v>
                </c:pt>
                <c:pt idx="15">
                  <c:v>0.9823329654100271</c:v>
                </c:pt>
                <c:pt idx="16">
                  <c:v>0.9934820858002438</c:v>
                </c:pt>
                <c:pt idx="17">
                  <c:v>0.8784571203155819</c:v>
                </c:pt>
                <c:pt idx="18">
                  <c:v>1.027996670782092</c:v>
                </c:pt>
                <c:pt idx="19">
                  <c:v>0.9298246418856558</c:v>
                </c:pt>
                <c:pt idx="20">
                  <c:v>1.0900424157575757</c:v>
                </c:pt>
                <c:pt idx="21">
                  <c:v>1.0292818661037495</c:v>
                </c:pt>
                <c:pt idx="22">
                  <c:v>1.0589246867445703</c:v>
                </c:pt>
                <c:pt idx="23">
                  <c:v>0.9218621889498102</c:v>
                </c:pt>
                <c:pt idx="24">
                  <c:v>1.0280353558926487</c:v>
                </c:pt>
                <c:pt idx="25">
                  <c:v>0.9289605192606181</c:v>
                </c:pt>
                <c:pt idx="26">
                  <c:v>0.9608553907182165</c:v>
                </c:pt>
                <c:pt idx="27">
                  <c:v>0.9169663909476986</c:v>
                </c:pt>
                <c:pt idx="28">
                  <c:v>0.941587031340081</c:v>
                </c:pt>
                <c:pt idx="29">
                  <c:v>0.8921268790666368</c:v>
                </c:pt>
                <c:pt idx="30">
                  <c:v>0.8347976781946045</c:v>
                </c:pt>
                <c:pt idx="31">
                  <c:v>0.8828437565803328</c:v>
                </c:pt>
                <c:pt idx="32">
                  <c:v>0.9035027255776372</c:v>
                </c:pt>
                <c:pt idx="33">
                  <c:v>0.7691972571428571</c:v>
                </c:pt>
                <c:pt idx="34">
                  <c:v>0.804947290116897</c:v>
                </c:pt>
                <c:pt idx="35">
                  <c:v>0.8157500094350895</c:v>
                </c:pt>
                <c:pt idx="36">
                  <c:v>0.9578098011121041</c:v>
                </c:pt>
                <c:pt idx="37">
                  <c:v>0.9142456087824352</c:v>
                </c:pt>
                <c:pt idx="38">
                  <c:v>1.0052362523619547</c:v>
                </c:pt>
                <c:pt idx="39">
                  <c:v>1.1282191588785047</c:v>
                </c:pt>
                <c:pt idx="40">
                  <c:v>1.0611001962433417</c:v>
                </c:pt>
                <c:pt idx="41">
                  <c:v>1.1063442847173761</c:v>
                </c:pt>
                <c:pt idx="42">
                  <c:v>1.0399332240190613</c:v>
                </c:pt>
                <c:pt idx="43">
                  <c:v>1.1358689219124842</c:v>
                </c:pt>
                <c:pt idx="44">
                  <c:v>1.0595417281261463</c:v>
                </c:pt>
                <c:pt idx="45">
                  <c:v>1.21067814166096</c:v>
                </c:pt>
                <c:pt idx="46">
                  <c:v>1.1979663541466308</c:v>
                </c:pt>
                <c:pt idx="47">
                  <c:v>0.9817229933812318</c:v>
                </c:pt>
                <c:pt idx="48">
                  <c:v>0.9783907036414669</c:v>
                </c:pt>
                <c:pt idx="49">
                  <c:v>0.9711395072818122</c:v>
                </c:pt>
                <c:pt idx="50">
                  <c:v>0.9908966587962093</c:v>
                </c:pt>
                <c:pt idx="51">
                  <c:v>1.01438202947148</c:v>
                </c:pt>
                <c:pt idx="52">
                  <c:v>0.9394278687279219</c:v>
                </c:pt>
                <c:pt idx="53">
                  <c:v>1.0182685737134922</c:v>
                </c:pt>
                <c:pt idx="54">
                  <c:v>1.0074335056294232</c:v>
                </c:pt>
                <c:pt idx="55">
                  <c:v>0.9479569734326941</c:v>
                </c:pt>
                <c:pt idx="56">
                  <c:v>1.0835374534968496</c:v>
                </c:pt>
                <c:pt idx="57">
                  <c:v>1.002189054726368</c:v>
                </c:pt>
                <c:pt idx="58">
                  <c:v>0.92599656627966</c:v>
                </c:pt>
                <c:pt idx="59">
                  <c:v>0.9402790275853382</c:v>
                </c:pt>
                <c:pt idx="60">
                  <c:v>1.0677212410715187</c:v>
                </c:pt>
                <c:pt idx="61">
                  <c:v>0.9311861982495279</c:v>
                </c:pt>
                <c:pt idx="62">
                  <c:v>0.9422806155811464</c:v>
                </c:pt>
                <c:pt idx="63">
                  <c:v>0.884041975537435</c:v>
                </c:pt>
                <c:pt idx="64">
                  <c:v>1.0136487261146496</c:v>
                </c:pt>
                <c:pt idx="65">
                  <c:v>1.0525551257257726</c:v>
                </c:pt>
                <c:pt idx="66">
                  <c:v>1.0885477147055838</c:v>
                </c:pt>
                <c:pt idx="67">
                  <c:v>1.0439710602633732</c:v>
                </c:pt>
                <c:pt idx="68">
                  <c:v>1.190961695038809</c:v>
                </c:pt>
                <c:pt idx="69">
                  <c:v>1.171046497796153</c:v>
                </c:pt>
                <c:pt idx="70">
                  <c:v>1.3218312290058265</c:v>
                </c:pt>
                <c:pt idx="71">
                  <c:v>1.241519287109375</c:v>
                </c:pt>
                <c:pt idx="72">
                  <c:v>1.47106680908658</c:v>
                </c:pt>
                <c:pt idx="73">
                  <c:v>1.6310193745790063</c:v>
                </c:pt>
                <c:pt idx="74">
                  <c:v>1.2790172341319883</c:v>
                </c:pt>
                <c:pt idx="75">
                  <c:v>1.7779305868445556</c:v>
                </c:pt>
                <c:pt idx="76">
                  <c:v>1.2115182181610507</c:v>
                </c:pt>
                <c:pt idx="77">
                  <c:v>1.2227594562647754</c:v>
                </c:pt>
                <c:pt idx="78">
                  <c:v>1.518498767549545</c:v>
                </c:pt>
                <c:pt idx="79">
                  <c:v>1.1179354409648612</c:v>
                </c:pt>
                <c:pt idx="80">
                  <c:v>1.1606221912722972</c:v>
                </c:pt>
                <c:pt idx="81">
                  <c:v>1.614132751542496</c:v>
                </c:pt>
                <c:pt idx="82">
                  <c:v>1.1721811245216465</c:v>
                </c:pt>
                <c:pt idx="83">
                  <c:v>1.557398470509353</c:v>
                </c:pt>
                <c:pt idx="84">
                  <c:v>1.049762718040546</c:v>
                </c:pt>
                <c:pt idx="85">
                  <c:v>0.9868814977277449</c:v>
                </c:pt>
                <c:pt idx="86">
                  <c:v>1.3472723931158008</c:v>
                </c:pt>
                <c:pt idx="87">
                  <c:v>1.1219108299979914</c:v>
                </c:pt>
                <c:pt idx="88">
                  <c:v>0.8740150393961106</c:v>
                </c:pt>
                <c:pt idx="89">
                  <c:v>1.2633016</c:v>
                </c:pt>
                <c:pt idx="90">
                  <c:v>1.106998545907769</c:v>
                </c:pt>
                <c:pt idx="91">
                  <c:v>1.209585786592294</c:v>
                </c:pt>
                <c:pt idx="92">
                  <c:v>1.2743670533485478</c:v>
                </c:pt>
                <c:pt idx="93">
                  <c:v>1.1506383517491379</c:v>
                </c:pt>
                <c:pt idx="94">
                  <c:v>1.3942765927721534</c:v>
                </c:pt>
                <c:pt idx="95">
                  <c:v>1.2226317947479963</c:v>
                </c:pt>
                <c:pt idx="96">
                  <c:v>1.217345258910558</c:v>
                </c:pt>
                <c:pt idx="97">
                  <c:v>1.3544222807027504</c:v>
                </c:pt>
                <c:pt idx="98">
                  <c:v>1.411457857726901</c:v>
                </c:pt>
                <c:pt idx="99">
                  <c:v>1.2561374278321018</c:v>
                </c:pt>
                <c:pt idx="100">
                  <c:v>1.1811200765119414</c:v>
                </c:pt>
                <c:pt idx="101">
                  <c:v>1.1127045337973716</c:v>
                </c:pt>
                <c:pt idx="102">
                  <c:v>0.9230165987887717</c:v>
                </c:pt>
                <c:pt idx="103">
                  <c:v>1.0642037254901962</c:v>
                </c:pt>
                <c:pt idx="104">
                  <c:v>1.1479607250755286</c:v>
                </c:pt>
              </c:numCache>
            </c:numRef>
          </c:xVal>
          <c:yVal>
            <c:numRef>
              <c:f>Sheet1!$B$2:$B$106</c:f>
              <c:numCache>
                <c:formatCode>General</c:formatCode>
                <c:ptCount val="105"/>
                <c:pt idx="0">
                  <c:v>0.5170068027210885</c:v>
                </c:pt>
                <c:pt idx="1">
                  <c:v>0.5961538461538461</c:v>
                </c:pt>
                <c:pt idx="2">
                  <c:v>0.538961038961039</c:v>
                </c:pt>
                <c:pt idx="3">
                  <c:v>0.506578947368421</c:v>
                </c:pt>
                <c:pt idx="4">
                  <c:v>0.5616438356164384</c:v>
                </c:pt>
                <c:pt idx="5">
                  <c:v>0.5116279069767442</c:v>
                </c:pt>
                <c:pt idx="6">
                  <c:v>0.515625</c:v>
                </c:pt>
                <c:pt idx="7">
                  <c:v>0.5087719298245614</c:v>
                </c:pt>
                <c:pt idx="8">
                  <c:v>0.5760869565217391</c:v>
                </c:pt>
                <c:pt idx="9">
                  <c:v>0.5586206896551724</c:v>
                </c:pt>
                <c:pt idx="10">
                  <c:v>0.5414364640883977</c:v>
                </c:pt>
                <c:pt idx="11">
                  <c:v>0.5561797752808989</c:v>
                </c:pt>
                <c:pt idx="12">
                  <c:v>0.5477386934673367</c:v>
                </c:pt>
                <c:pt idx="13">
                  <c:v>0.4748858447488584</c:v>
                </c:pt>
                <c:pt idx="14">
                  <c:v>0.5772727272727273</c:v>
                </c:pt>
                <c:pt idx="15">
                  <c:v>0.5416666666666666</c:v>
                </c:pt>
                <c:pt idx="16">
                  <c:v>0.484375</c:v>
                </c:pt>
                <c:pt idx="17">
                  <c:v>0.4948453608247423</c:v>
                </c:pt>
                <c:pt idx="18">
                  <c:v>0.4945054945054945</c:v>
                </c:pt>
                <c:pt idx="19">
                  <c:v>0.5070422535211268</c:v>
                </c:pt>
                <c:pt idx="20">
                  <c:v>0.4453125</c:v>
                </c:pt>
                <c:pt idx="21">
                  <c:v>0.44642857142857145</c:v>
                </c:pt>
                <c:pt idx="22">
                  <c:v>0.4666666666666667</c:v>
                </c:pt>
                <c:pt idx="23">
                  <c:v>0.4533333333333333</c:v>
                </c:pt>
                <c:pt idx="24">
                  <c:v>0.5</c:v>
                </c:pt>
                <c:pt idx="25">
                  <c:v>0.546875</c:v>
                </c:pt>
                <c:pt idx="26">
                  <c:v>0.5164835164835165</c:v>
                </c:pt>
                <c:pt idx="27">
                  <c:v>0.3958333333333333</c:v>
                </c:pt>
                <c:pt idx="28">
                  <c:v>0.47126436781609193</c:v>
                </c:pt>
                <c:pt idx="29">
                  <c:v>0.44285714285714284</c:v>
                </c:pt>
                <c:pt idx="30">
                  <c:v>0.47058823529411764</c:v>
                </c:pt>
                <c:pt idx="31">
                  <c:v>0.47619047619047616</c:v>
                </c:pt>
                <c:pt idx="32">
                  <c:v>0.4019607843137255</c:v>
                </c:pt>
                <c:pt idx="33">
                  <c:v>0.5384615384615384</c:v>
                </c:pt>
                <c:pt idx="34">
                  <c:v>0.4827586206896552</c:v>
                </c:pt>
                <c:pt idx="35">
                  <c:v>0.4251497005988024</c:v>
                </c:pt>
                <c:pt idx="36">
                  <c:v>0.45121951219512196</c:v>
                </c:pt>
                <c:pt idx="37">
                  <c:v>0.5142857142857142</c:v>
                </c:pt>
                <c:pt idx="38">
                  <c:v>0.5267857142857143</c:v>
                </c:pt>
                <c:pt idx="39">
                  <c:v>0.46875</c:v>
                </c:pt>
                <c:pt idx="40">
                  <c:v>0.4161849710982659</c:v>
                </c:pt>
                <c:pt idx="41">
                  <c:v>0.42990654205607476</c:v>
                </c:pt>
                <c:pt idx="42">
                  <c:v>0.4230769230769231</c:v>
                </c:pt>
                <c:pt idx="43">
                  <c:v>0.4172661870503597</c:v>
                </c:pt>
                <c:pt idx="44">
                  <c:v>0.41624365482233505</c:v>
                </c:pt>
                <c:pt idx="45">
                  <c:v>0.43956043956043955</c:v>
                </c:pt>
                <c:pt idx="46">
                  <c:v>0.460431654676259</c:v>
                </c:pt>
                <c:pt idx="47">
                  <c:v>0.47317073170731705</c:v>
                </c:pt>
                <c:pt idx="48">
                  <c:v>0.47468354430379744</c:v>
                </c:pt>
                <c:pt idx="49">
                  <c:v>0.4808743169398907</c:v>
                </c:pt>
                <c:pt idx="50">
                  <c:v>0.42201834862385323</c:v>
                </c:pt>
                <c:pt idx="51">
                  <c:v>0.3873239436619718</c:v>
                </c:pt>
                <c:pt idx="52">
                  <c:v>0.41</c:v>
                </c:pt>
                <c:pt idx="53">
                  <c:v>0.42758620689655175</c:v>
                </c:pt>
                <c:pt idx="54">
                  <c:v>0.40625</c:v>
                </c:pt>
                <c:pt idx="55">
                  <c:v>0.38596491228070173</c:v>
                </c:pt>
                <c:pt idx="56">
                  <c:v>0.39823008849557523</c:v>
                </c:pt>
                <c:pt idx="57">
                  <c:v>0.37815126050420167</c:v>
                </c:pt>
                <c:pt idx="58">
                  <c:v>0.45390070921985815</c:v>
                </c:pt>
                <c:pt idx="59">
                  <c:v>0.4266666666666667</c:v>
                </c:pt>
                <c:pt idx="60">
                  <c:v>0.41566265060240964</c:v>
                </c:pt>
                <c:pt idx="61">
                  <c:v>0.41818181818181815</c:v>
                </c:pt>
                <c:pt idx="62">
                  <c:v>0.43452380952380953</c:v>
                </c:pt>
                <c:pt idx="63">
                  <c:v>0.4387755102040816</c:v>
                </c:pt>
                <c:pt idx="64">
                  <c:v>0.3925233644859813</c:v>
                </c:pt>
                <c:pt idx="65">
                  <c:v>0.424390243902439</c:v>
                </c:pt>
                <c:pt idx="66">
                  <c:v>0.4457831325301205</c:v>
                </c:pt>
                <c:pt idx="67">
                  <c:v>0.42</c:v>
                </c:pt>
                <c:pt idx="68">
                  <c:v>0.4</c:v>
                </c:pt>
                <c:pt idx="69">
                  <c:v>0.4020618556701031</c:v>
                </c:pt>
                <c:pt idx="70">
                  <c:v>0.3717948717948718</c:v>
                </c:pt>
                <c:pt idx="71">
                  <c:v>0.4318181818181818</c:v>
                </c:pt>
                <c:pt idx="72">
                  <c:v>0.30275229357798167</c:v>
                </c:pt>
                <c:pt idx="73">
                  <c:v>0.3411764705882353</c:v>
                </c:pt>
                <c:pt idx="74">
                  <c:v>0.4470588235294118</c:v>
                </c:pt>
                <c:pt idx="75">
                  <c:v>0.4</c:v>
                </c:pt>
                <c:pt idx="76">
                  <c:v>0.3114754098360656</c:v>
                </c:pt>
                <c:pt idx="77">
                  <c:v>0.3793103448275862</c:v>
                </c:pt>
                <c:pt idx="78">
                  <c:v>0.32558139534883723</c:v>
                </c:pt>
                <c:pt idx="79">
                  <c:v>0.4090909090909091</c:v>
                </c:pt>
                <c:pt idx="80">
                  <c:v>0.3333333333333333</c:v>
                </c:pt>
                <c:pt idx="81">
                  <c:v>0.36538461538461536</c:v>
                </c:pt>
                <c:pt idx="82">
                  <c:v>0.45161290322580644</c:v>
                </c:pt>
                <c:pt idx="83">
                  <c:v>0.2702702702702703</c:v>
                </c:pt>
                <c:pt idx="84">
                  <c:v>0.35294117647058826</c:v>
                </c:pt>
                <c:pt idx="85">
                  <c:v>0.3958333333333333</c:v>
                </c:pt>
                <c:pt idx="86">
                  <c:v>0.4457831325301205</c:v>
                </c:pt>
                <c:pt idx="87">
                  <c:v>0.509090909090909</c:v>
                </c:pt>
                <c:pt idx="88">
                  <c:v>0.4791666666666667</c:v>
                </c:pt>
                <c:pt idx="89">
                  <c:v>0.35294117647058826</c:v>
                </c:pt>
                <c:pt idx="90">
                  <c:v>0.4583333333333333</c:v>
                </c:pt>
                <c:pt idx="91">
                  <c:v>0.42857142857142855</c:v>
                </c:pt>
                <c:pt idx="92">
                  <c:v>0.48</c:v>
                </c:pt>
                <c:pt idx="93">
                  <c:v>0.43333333333333335</c:v>
                </c:pt>
                <c:pt idx="94">
                  <c:v>0.37254901960784315</c:v>
                </c:pt>
                <c:pt idx="95">
                  <c:v>0.3875</c:v>
                </c:pt>
                <c:pt idx="96">
                  <c:v>0.4297520661157025</c:v>
                </c:pt>
                <c:pt idx="97">
                  <c:v>0.42342342342342343</c:v>
                </c:pt>
                <c:pt idx="98">
                  <c:v>0.4583333333333333</c:v>
                </c:pt>
                <c:pt idx="99">
                  <c:v>0.4787234042553192</c:v>
                </c:pt>
                <c:pt idx="100">
                  <c:v>0.5345345345345346</c:v>
                </c:pt>
                <c:pt idx="101">
                  <c:v>0.4797297297297297</c:v>
                </c:pt>
                <c:pt idx="102">
                  <c:v>0.47126436781609193</c:v>
                </c:pt>
                <c:pt idx="103">
                  <c:v>0.45555555555555555</c:v>
                </c:pt>
                <c:pt idx="104">
                  <c:v>0.4347826086956521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232505092398723</c:v>
                </c:pt>
                <c:pt idx="1">
                  <c:v>1.1713011712067378</c:v>
                </c:pt>
                <c:pt idx="2">
                  <c:v>1.1259187945061957</c:v>
                </c:pt>
                <c:pt idx="3">
                  <c:v>1.0651949391727495</c:v>
                </c:pt>
                <c:pt idx="4">
                  <c:v>0.8260620514806397</c:v>
                </c:pt>
                <c:pt idx="5">
                  <c:v>1.008568145246257</c:v>
                </c:pt>
                <c:pt idx="6">
                  <c:v>1.05569754739669</c:v>
                </c:pt>
                <c:pt idx="7">
                  <c:v>1.1230714273405913</c:v>
                </c:pt>
                <c:pt idx="8">
                  <c:v>1.032400190294957</c:v>
                </c:pt>
                <c:pt idx="9">
                  <c:v>0.9626994889831881</c:v>
                </c:pt>
                <c:pt idx="10">
                  <c:v>1.0766478930337418</c:v>
                </c:pt>
                <c:pt idx="11">
                  <c:v>0.8963886662430802</c:v>
                </c:pt>
                <c:pt idx="12">
                  <c:v>0.8758320680251375</c:v>
                </c:pt>
                <c:pt idx="13">
                  <c:v>0.9004629683660224</c:v>
                </c:pt>
                <c:pt idx="14">
                  <c:v>1.1111555580159431</c:v>
                </c:pt>
                <c:pt idx="15">
                  <c:v>1.2512306152471862</c:v>
                </c:pt>
                <c:pt idx="16">
                  <c:v>1.0235742781548374</c:v>
                </c:pt>
                <c:pt idx="17">
                  <c:v>1.0861122469233824</c:v>
                </c:pt>
                <c:pt idx="18">
                  <c:v>0.9100713546160483</c:v>
                </c:pt>
                <c:pt idx="19">
                  <c:v>0.9949825554421452</c:v>
                </c:pt>
                <c:pt idx="20">
                  <c:v>0.9915010270194672</c:v>
                </c:pt>
                <c:pt idx="21">
                  <c:v>0.9192950724189599</c:v>
                </c:pt>
                <c:pt idx="22">
                  <c:v>1.2269906452370594</c:v>
                </c:pt>
                <c:pt idx="23">
                  <c:v>1.1645204225352113</c:v>
                </c:pt>
                <c:pt idx="24">
                  <c:v>1.1797751671532395</c:v>
                </c:pt>
                <c:pt idx="25">
                  <c:v>1.4384581947743469</c:v>
                </c:pt>
                <c:pt idx="26">
                  <c:v>1.2973920544445536</c:v>
                </c:pt>
                <c:pt idx="27">
                  <c:v>1.1581514180359576</c:v>
                </c:pt>
                <c:pt idx="28">
                  <c:v>1.282559850807092</c:v>
                </c:pt>
                <c:pt idx="29">
                  <c:v>1.2368565569503833</c:v>
                </c:pt>
                <c:pt idx="30">
                  <c:v>1.3076739027233861</c:v>
                </c:pt>
                <c:pt idx="31">
                  <c:v>1.528356671465378</c:v>
                </c:pt>
                <c:pt idx="32">
                  <c:v>1.2110548255951286</c:v>
                </c:pt>
                <c:pt idx="33">
                  <c:v>1.2937027773977063</c:v>
                </c:pt>
                <c:pt idx="34">
                  <c:v>1.371473322847569</c:v>
                </c:pt>
                <c:pt idx="35">
                  <c:v>1.2459034255467893</c:v>
                </c:pt>
                <c:pt idx="36">
                  <c:v>1.39102875</c:v>
                </c:pt>
                <c:pt idx="37">
                  <c:v>1.1841700524592256</c:v>
                </c:pt>
                <c:pt idx="38">
                  <c:v>0.9466766170832063</c:v>
                </c:pt>
                <c:pt idx="39">
                  <c:v>1.1832383660806618</c:v>
                </c:pt>
                <c:pt idx="40">
                  <c:v>1.1785967631354524</c:v>
                </c:pt>
                <c:pt idx="41">
                  <c:v>1.1232902084750942</c:v>
                </c:pt>
                <c:pt idx="42">
                  <c:v>1.020592881747139</c:v>
                </c:pt>
                <c:pt idx="43">
                  <c:v>1.2166516002195313</c:v>
                </c:pt>
                <c:pt idx="44">
                  <c:v>1.240353573617717</c:v>
                </c:pt>
                <c:pt idx="45">
                  <c:v>1.1361254027521708</c:v>
                </c:pt>
                <c:pt idx="46">
                  <c:v>1.0896838875851411</c:v>
                </c:pt>
                <c:pt idx="47">
                  <c:v>1.0174598475643433</c:v>
                </c:pt>
                <c:pt idx="48">
                  <c:v>1.071113306390526</c:v>
                </c:pt>
                <c:pt idx="49">
                  <c:v>1.1378206749201667</c:v>
                </c:pt>
                <c:pt idx="50">
                  <c:v>0.9245845717225668</c:v>
                </c:pt>
                <c:pt idx="51">
                  <c:v>0.9468026533969286</c:v>
                </c:pt>
              </c:numCache>
            </c:numRef>
          </c:xVal>
          <c:yVal>
            <c:numRef>
              <c:f>Sheet1!$B$109:$B$160</c:f>
              <c:numCache>
                <c:formatCode>General</c:formatCode>
                <c:ptCount val="52"/>
                <c:pt idx="0">
                  <c:v>0.46601941747572817</c:v>
                </c:pt>
                <c:pt idx="1">
                  <c:v>0.45348837209302323</c:v>
                </c:pt>
                <c:pt idx="2">
                  <c:v>0.4423076923076923</c:v>
                </c:pt>
                <c:pt idx="3">
                  <c:v>0.43617021276595747</c:v>
                </c:pt>
                <c:pt idx="4">
                  <c:v>0.46846846846846846</c:v>
                </c:pt>
                <c:pt idx="5">
                  <c:v>0.44660194174757284</c:v>
                </c:pt>
                <c:pt idx="6">
                  <c:v>0.42727272727272725</c:v>
                </c:pt>
                <c:pt idx="7">
                  <c:v>0.41379310344827586</c:v>
                </c:pt>
                <c:pt idx="8">
                  <c:v>0.48717948717948717</c:v>
                </c:pt>
                <c:pt idx="9">
                  <c:v>0.5494505494505495</c:v>
                </c:pt>
                <c:pt idx="10">
                  <c:v>0.4444444444444444</c:v>
                </c:pt>
                <c:pt idx="11">
                  <c:v>0.4966442953020134</c:v>
                </c:pt>
                <c:pt idx="12">
                  <c:v>0.553030303030303</c:v>
                </c:pt>
                <c:pt idx="13">
                  <c:v>0.5151515151515151</c:v>
                </c:pt>
                <c:pt idx="14">
                  <c:v>0.47</c:v>
                </c:pt>
                <c:pt idx="15">
                  <c:v>0.43333333333333335</c:v>
                </c:pt>
                <c:pt idx="16">
                  <c:v>0.4461538461538462</c:v>
                </c:pt>
                <c:pt idx="17">
                  <c:v>0.5084745762711864</c:v>
                </c:pt>
                <c:pt idx="18">
                  <c:v>0.46808510638297873</c:v>
                </c:pt>
                <c:pt idx="19">
                  <c:v>0.4939759036144578</c:v>
                </c:pt>
                <c:pt idx="20">
                  <c:v>0.4423076923076923</c:v>
                </c:pt>
                <c:pt idx="21">
                  <c:v>0.4</c:v>
                </c:pt>
                <c:pt idx="22">
                  <c:v>0.3333333333333333</c:v>
                </c:pt>
                <c:pt idx="23">
                  <c:v>0.5172413793103449</c:v>
                </c:pt>
                <c:pt idx="24">
                  <c:v>0.4318181818181818</c:v>
                </c:pt>
                <c:pt idx="25">
                  <c:v>0.34375</c:v>
                </c:pt>
                <c:pt idx="26">
                  <c:v>0.3333333333333333</c:v>
                </c:pt>
                <c:pt idx="27">
                  <c:v>0.43137254901960786</c:v>
                </c:pt>
                <c:pt idx="28">
                  <c:v>0.44594594594594594</c:v>
                </c:pt>
                <c:pt idx="29">
                  <c:v>0.39285714285714285</c:v>
                </c:pt>
                <c:pt idx="30">
                  <c:v>0.3333333333333333</c:v>
                </c:pt>
                <c:pt idx="31">
                  <c:v>0.4</c:v>
                </c:pt>
                <c:pt idx="32">
                  <c:v>0.4727272727272727</c:v>
                </c:pt>
                <c:pt idx="33">
                  <c:v>0.4368932038834951</c:v>
                </c:pt>
                <c:pt idx="34">
                  <c:v>0.46733668341708545</c:v>
                </c:pt>
                <c:pt idx="35">
                  <c:v>0.5508474576271186</c:v>
                </c:pt>
                <c:pt idx="36">
                  <c:v>0.3275862068965517</c:v>
                </c:pt>
                <c:pt idx="37">
                  <c:v>0.3333333333333333</c:v>
                </c:pt>
                <c:pt idx="38">
                  <c:v>0.4423076923076923</c:v>
                </c:pt>
                <c:pt idx="39">
                  <c:v>0.5</c:v>
                </c:pt>
                <c:pt idx="40">
                  <c:v>0.38666666666666666</c:v>
                </c:pt>
                <c:pt idx="41">
                  <c:v>0.36486486486486486</c:v>
                </c:pt>
                <c:pt idx="42">
                  <c:v>0.3783783783783784</c:v>
                </c:pt>
                <c:pt idx="43">
                  <c:v>0.28703703703703703</c:v>
                </c:pt>
                <c:pt idx="44">
                  <c:v>0.4117647058823529</c:v>
                </c:pt>
                <c:pt idx="45">
                  <c:v>0.42134831460674155</c:v>
                </c:pt>
                <c:pt idx="46">
                  <c:v>0.42452830188679247</c:v>
                </c:pt>
                <c:pt idx="47">
                  <c:v>0.42727272727272725</c:v>
                </c:pt>
                <c:pt idx="48">
                  <c:v>0.3467741935483871</c:v>
                </c:pt>
                <c:pt idx="49">
                  <c:v>0.4644808743169399</c:v>
                </c:pt>
                <c:pt idx="50">
                  <c:v>0.4854014598540146</c:v>
                </c:pt>
                <c:pt idx="51">
                  <c:v>0.426829268292682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343593988739634</c:v>
                </c:pt>
              </c:numCache>
            </c:numRef>
          </c:xVal>
          <c:yVal>
            <c:numRef>
              <c:f>Sheet1!$B$163:$B$164</c:f>
              <c:numCache>
                <c:formatCode>General</c:formatCode>
                <c:ptCount val="2"/>
                <c:pt idx="0">
                  <c:v>0.5369395849048754</c:v>
                </c:pt>
                <c:pt idx="1">
                  <c:v>0.53693958490487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343593988739634</c:v>
                </c:pt>
                <c:pt idx="1">
                  <c:v>0.5343593988739634</c:v>
                </c:pt>
              </c:numCache>
            </c:numRef>
          </c:xVal>
          <c:yVal>
            <c:numRef>
              <c:f>Sheet1!$B$167:$B$168</c:f>
              <c:numCache>
                <c:formatCode>General</c:formatCode>
                <c:ptCount val="2"/>
                <c:pt idx="0">
                  <c:v>0.53693958490487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700962826035226</c:v>
                </c:pt>
              </c:numCache>
            </c:numRef>
          </c:xVal>
          <c:yVal>
            <c:numRef>
              <c:f>Sheet1!$B$171:$B$172</c:f>
              <c:numCache>
                <c:formatCode>General</c:formatCode>
                <c:ptCount val="2"/>
                <c:pt idx="0">
                  <c:v>0.47854242811094766</c:v>
                </c:pt>
                <c:pt idx="1">
                  <c:v>0.4785424281109476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700962826035226</c:v>
                </c:pt>
                <c:pt idx="1">
                  <c:v>0.8700962826035226</c:v>
                </c:pt>
              </c:numCache>
            </c:numRef>
          </c:xVal>
          <c:yVal>
            <c:numRef>
              <c:f>Sheet1!$B$175:$B$176</c:f>
              <c:numCache>
                <c:formatCode>General</c:formatCode>
                <c:ptCount val="2"/>
                <c:pt idx="0">
                  <c:v>0.4785424281109476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662182142485232</c:v>
                </c:pt>
              </c:numCache>
            </c:numRef>
          </c:xVal>
          <c:yVal>
            <c:numRef>
              <c:f>Sheet1!$B$179:$B$180</c:f>
              <c:numCache>
                <c:formatCode>General</c:formatCode>
                <c:ptCount val="2"/>
                <c:pt idx="0">
                  <c:v>0.4096420609698143</c:v>
                </c:pt>
                <c:pt idx="1">
                  <c:v>0.40964206096981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662182142485232</c:v>
                </c:pt>
                <c:pt idx="1">
                  <c:v>1.2662182142485232</c:v>
                </c:pt>
              </c:numCache>
            </c:numRef>
          </c:xVal>
          <c:yVal>
            <c:numRef>
              <c:f>Sheet1!$B$183:$B$184</c:f>
              <c:numCache>
                <c:formatCode>General</c:formatCode>
                <c:ptCount val="2"/>
                <c:pt idx="0">
                  <c:v>0.40964206096981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232505092398723</c:v>
                </c:pt>
                <c:pt idx="1">
                  <c:v>1.1713011712067378</c:v>
                </c:pt>
                <c:pt idx="2">
                  <c:v>1.1259187945061957</c:v>
                </c:pt>
                <c:pt idx="3">
                  <c:v>1.0651949391727495</c:v>
                </c:pt>
                <c:pt idx="4">
                  <c:v>0.8260620514806397</c:v>
                </c:pt>
                <c:pt idx="5">
                  <c:v>1.008568145246257</c:v>
                </c:pt>
                <c:pt idx="6">
                  <c:v>1.05569754739669</c:v>
                </c:pt>
                <c:pt idx="7">
                  <c:v>1.1230714273405913</c:v>
                </c:pt>
                <c:pt idx="8">
                  <c:v>1.032400190294957</c:v>
                </c:pt>
                <c:pt idx="9">
                  <c:v>0.9626994889831881</c:v>
                </c:pt>
                <c:pt idx="10">
                  <c:v>1.0766478930337418</c:v>
                </c:pt>
                <c:pt idx="11">
                  <c:v>0.8963886662430802</c:v>
                </c:pt>
                <c:pt idx="12">
                  <c:v>0.8758320680251375</c:v>
                </c:pt>
                <c:pt idx="13">
                  <c:v>0.9004629683660224</c:v>
                </c:pt>
                <c:pt idx="14">
                  <c:v>1.1111555580159431</c:v>
                </c:pt>
                <c:pt idx="15">
                  <c:v>1.2512306152471862</c:v>
                </c:pt>
                <c:pt idx="16">
                  <c:v>1.0235742781548374</c:v>
                </c:pt>
                <c:pt idx="17">
                  <c:v>1.0861122469233824</c:v>
                </c:pt>
                <c:pt idx="18">
                  <c:v>0.9100713546160483</c:v>
                </c:pt>
                <c:pt idx="19">
                  <c:v>0.9949825554421452</c:v>
                </c:pt>
                <c:pt idx="20">
                  <c:v>0.9915010270194672</c:v>
                </c:pt>
                <c:pt idx="21">
                  <c:v>0.9192950724189599</c:v>
                </c:pt>
                <c:pt idx="22">
                  <c:v>1.2269906452370594</c:v>
                </c:pt>
                <c:pt idx="23">
                  <c:v>1.1645204225352113</c:v>
                </c:pt>
                <c:pt idx="24">
                  <c:v>1.1797751671532395</c:v>
                </c:pt>
                <c:pt idx="25">
                  <c:v>1.4384581947743469</c:v>
                </c:pt>
                <c:pt idx="26">
                  <c:v>1.2973920544445536</c:v>
                </c:pt>
                <c:pt idx="27">
                  <c:v>1.1581514180359576</c:v>
                </c:pt>
                <c:pt idx="28">
                  <c:v>1.282559850807092</c:v>
                </c:pt>
                <c:pt idx="29">
                  <c:v>1.2368565569503833</c:v>
                </c:pt>
                <c:pt idx="30">
                  <c:v>1.3076739027233861</c:v>
                </c:pt>
                <c:pt idx="31">
                  <c:v>1.528356671465378</c:v>
                </c:pt>
                <c:pt idx="32">
                  <c:v>1.2110548255951286</c:v>
                </c:pt>
                <c:pt idx="33">
                  <c:v>1.2937027773977063</c:v>
                </c:pt>
                <c:pt idx="34">
                  <c:v>1.371473322847569</c:v>
                </c:pt>
                <c:pt idx="35">
                  <c:v>1.2459034255467893</c:v>
                </c:pt>
                <c:pt idx="36">
                  <c:v>1.39102875</c:v>
                </c:pt>
                <c:pt idx="37">
                  <c:v>1.1841700524592256</c:v>
                </c:pt>
                <c:pt idx="38">
                  <c:v>0.9466766170832063</c:v>
                </c:pt>
                <c:pt idx="39">
                  <c:v>1.1832383660806618</c:v>
                </c:pt>
                <c:pt idx="40">
                  <c:v>1.1785967631354524</c:v>
                </c:pt>
                <c:pt idx="41">
                  <c:v>1.1232902084750942</c:v>
                </c:pt>
                <c:pt idx="42">
                  <c:v>1.020592881747139</c:v>
                </c:pt>
                <c:pt idx="43">
                  <c:v>1.2166516002195313</c:v>
                </c:pt>
                <c:pt idx="44">
                  <c:v>1.240353573617717</c:v>
                </c:pt>
                <c:pt idx="45">
                  <c:v>1.1361254027521708</c:v>
                </c:pt>
                <c:pt idx="46">
                  <c:v>1.0896838875851411</c:v>
                </c:pt>
                <c:pt idx="47">
                  <c:v>1.0174598475643433</c:v>
                </c:pt>
                <c:pt idx="48">
                  <c:v>1.071113306390526</c:v>
                </c:pt>
                <c:pt idx="49">
                  <c:v>1.1378206749201667</c:v>
                </c:pt>
                <c:pt idx="50">
                  <c:v>0.9245845717225668</c:v>
                </c:pt>
                <c:pt idx="51">
                  <c:v>0.9468026533969286</c:v>
                </c:pt>
                <c:pt idx="52">
                  <c:v>0.8700962826035226</c:v>
                </c:pt>
                <c:pt idx="53">
                  <c:v>0.5343593988739634</c:v>
                </c:pt>
                <c:pt idx="54">
                  <c:v>1.2662182142485232</c:v>
                </c:pt>
              </c:numCache>
            </c:numRef>
          </c:xVal>
          <c:yVal>
            <c:numRef>
              <c:f>Sheet1!$B$187:$B$241</c:f>
              <c:numCache>
                <c:formatCode>General</c:formatCode>
                <c:ptCount val="55"/>
                <c:pt idx="0">
                  <c:v>0.39972201931120965</c:v>
                </c:pt>
                <c:pt idx="1">
                  <c:v>0.42615167225634787</c:v>
                </c:pt>
                <c:pt idx="2">
                  <c:v>0.4340453589386768</c:v>
                </c:pt>
                <c:pt idx="3">
                  <c:v>0.4446075005230238</c:v>
                </c:pt>
                <c:pt idx="4">
                  <c:v>0.4862016220327403</c:v>
                </c:pt>
                <c:pt idx="5">
                  <c:v>0.45445701043366715</c:v>
                </c:pt>
                <c:pt idx="6">
                  <c:v>0.4462594509150059</c:v>
                </c:pt>
                <c:pt idx="7">
                  <c:v>0.43454062220845097</c:v>
                </c:pt>
                <c:pt idx="8">
                  <c:v>0.45031172959359733</c:v>
                </c:pt>
                <c:pt idx="9">
                  <c:v>0.4624352792552687</c:v>
                </c:pt>
                <c:pt idx="10">
                  <c:v>0.4426154050018396</c:v>
                </c:pt>
                <c:pt idx="11">
                  <c:v>0.47396920269457626</c:v>
                </c:pt>
                <c:pt idx="12">
                  <c:v>0.4775447612568281</c:v>
                </c:pt>
                <c:pt idx="13">
                  <c:v>0.47326052970858723</c:v>
                </c:pt>
                <c:pt idx="14">
                  <c:v>0.43661323598134805</c:v>
                </c:pt>
                <c:pt idx="15">
                  <c:v>0.41224896301502006</c:v>
                </c:pt>
                <c:pt idx="16">
                  <c:v>0.4518468846512441</c:v>
                </c:pt>
                <c:pt idx="17">
                  <c:v>0.440969201129608</c:v>
                </c:pt>
                <c:pt idx="18">
                  <c:v>0.4715892732408845</c:v>
                </c:pt>
                <c:pt idx="19">
                  <c:v>0.4568200508274291</c:v>
                </c:pt>
                <c:pt idx="20">
                  <c:v>0.45742561837462004</c:v>
                </c:pt>
                <c:pt idx="21">
                  <c:v>0.46998492495249844</c:v>
                </c:pt>
                <c:pt idx="22">
                  <c:v>0.41646519720900194</c:v>
                </c:pt>
                <c:pt idx="23">
                  <c:v>0.42733109716478396</c:v>
                </c:pt>
                <c:pt idx="24">
                  <c:v>0.4246777285404778</c:v>
                </c:pt>
                <c:pt idx="25">
                  <c:v>0.37968310907505703</c:v>
                </c:pt>
                <c:pt idx="26">
                  <c:v>0.40421976832929873</c:v>
                </c:pt>
                <c:pt idx="27">
                  <c:v>0.42843890441620214</c:v>
                </c:pt>
                <c:pt idx="28">
                  <c:v>0.4067996413292341</c:v>
                </c:pt>
                <c:pt idx="29">
                  <c:v>0.4147491474654113</c:v>
                </c:pt>
                <c:pt idx="30">
                  <c:v>0.4024313717152585</c:v>
                </c:pt>
                <c:pt idx="31">
                  <c:v>0.3640464135158935</c:v>
                </c:pt>
                <c:pt idx="32">
                  <c:v>0.41923703016322456</c:v>
                </c:pt>
                <c:pt idx="33">
                  <c:v>0.4048614711049</c:v>
                </c:pt>
                <c:pt idx="34">
                  <c:v>0.3913342747893375</c:v>
                </c:pt>
                <c:pt idx="35">
                  <c:v>0.413175559845101</c:v>
                </c:pt>
                <c:pt idx="36">
                  <c:v>0.3879328571884265</c:v>
                </c:pt>
                <c:pt idx="37">
                  <c:v>0.4239132941910135</c:v>
                </c:pt>
                <c:pt idx="38">
                  <c:v>0.46522225384155214</c:v>
                </c:pt>
                <c:pt idx="39">
                  <c:v>0.4240753491756412</c:v>
                </c:pt>
                <c:pt idx="40">
                  <c:v>0.42488269691758573</c:v>
                </c:pt>
                <c:pt idx="41">
                  <c:v>0.43450256801531856</c:v>
                </c:pt>
                <c:pt idx="42">
                  <c:v>0.4523654606014083</c:v>
                </c:pt>
                <c:pt idx="43">
                  <c:v>0.4182635424675896</c:v>
                </c:pt>
                <c:pt idx="44">
                  <c:v>0.4141408859352371</c:v>
                </c:pt>
                <c:pt idx="45">
                  <c:v>0.4322700493705016</c:v>
                </c:pt>
                <c:pt idx="46">
                  <c:v>0.4403479597056116</c:v>
                </c:pt>
                <c:pt idx="47">
                  <c:v>0.45291041201211135</c:v>
                </c:pt>
                <c:pt idx="48">
                  <c:v>0.4435780758898371</c:v>
                </c:pt>
                <c:pt idx="49">
                  <c:v>0.43197517835870486</c:v>
                </c:pt>
                <c:pt idx="50">
                  <c:v>0.46906488388711787</c:v>
                </c:pt>
                <c:pt idx="51">
                  <c:v>0.46520033142929756</c:v>
                </c:pt>
                <c:pt idx="52">
                  <c:v>0.47854242811094766</c:v>
                </c:pt>
                <c:pt idx="53">
                  <c:v>0.5369395849048754</c:v>
                </c:pt>
                <c:pt idx="54">
                  <c:v>0.4096420609698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3846153846154"/>
          <c:min val="0.216216216216216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6.8026</c:v>
                </c:pt>
                <c:pt idx="1">
                  <c:v>786.5806</c:v>
                </c:pt>
                <c:pt idx="2">
                  <c:v>807.1205</c:v>
                </c:pt>
                <c:pt idx="3">
                  <c:v>800.9221</c:v>
                </c:pt>
                <c:pt idx="4">
                  <c:v>812.4634</c:v>
                </c:pt>
                <c:pt idx="5">
                  <c:v>815.6061</c:v>
                </c:pt>
                <c:pt idx="6">
                  <c:v>764.4848</c:v>
                </c:pt>
                <c:pt idx="7">
                  <c:v>806.7759</c:v>
                </c:pt>
                <c:pt idx="8">
                  <c:v>819.9434</c:v>
                </c:pt>
                <c:pt idx="9">
                  <c:v>720.0741</c:v>
                </c:pt>
                <c:pt idx="10">
                  <c:v>717.0306</c:v>
                </c:pt>
                <c:pt idx="11">
                  <c:v>795.0909</c:v>
                </c:pt>
                <c:pt idx="12">
                  <c:v>772.9358</c:v>
                </c:pt>
                <c:pt idx="13">
                  <c:v>779.8942</c:v>
                </c:pt>
                <c:pt idx="14">
                  <c:v>773.2126</c:v>
                </c:pt>
                <c:pt idx="15">
                  <c:v>789.8571</c:v>
                </c:pt>
                <c:pt idx="16">
                  <c:v>821.7903</c:v>
                </c:pt>
                <c:pt idx="17">
                  <c:v>835.0833</c:v>
                </c:pt>
                <c:pt idx="18">
                  <c:v>843.7111</c:v>
                </c:pt>
                <c:pt idx="19">
                  <c:v>871.5556</c:v>
                </c:pt>
                <c:pt idx="20">
                  <c:v>891.4211</c:v>
                </c:pt>
                <c:pt idx="21">
                  <c:v>918.92</c:v>
                </c:pt>
                <c:pt idx="22">
                  <c:v>887.5714</c:v>
                </c:pt>
                <c:pt idx="23">
                  <c:v>874.2941</c:v>
                </c:pt>
                <c:pt idx="24">
                  <c:v>881.0263</c:v>
                </c:pt>
                <c:pt idx="25">
                  <c:v>822.9429</c:v>
                </c:pt>
                <c:pt idx="26">
                  <c:v>844.1915</c:v>
                </c:pt>
                <c:pt idx="27">
                  <c:v>871.0526</c:v>
                </c:pt>
                <c:pt idx="28">
                  <c:v>889.2927</c:v>
                </c:pt>
                <c:pt idx="29">
                  <c:v>795.2419</c:v>
                </c:pt>
                <c:pt idx="30">
                  <c:v>792.7</c:v>
                </c:pt>
                <c:pt idx="31">
                  <c:v>838.525</c:v>
                </c:pt>
                <c:pt idx="32">
                  <c:v>793.0244</c:v>
                </c:pt>
                <c:pt idx="33">
                  <c:v>673.0476</c:v>
                </c:pt>
                <c:pt idx="34">
                  <c:v>757.4554</c:v>
                </c:pt>
                <c:pt idx="35">
                  <c:v>834.331</c:v>
                </c:pt>
                <c:pt idx="36">
                  <c:v>878.2432</c:v>
                </c:pt>
                <c:pt idx="37">
                  <c:v>916.0741</c:v>
                </c:pt>
                <c:pt idx="38">
                  <c:v>954.2373</c:v>
                </c:pt>
                <c:pt idx="39">
                  <c:v>965.7556</c:v>
                </c:pt>
                <c:pt idx="40">
                  <c:v>946.2361</c:v>
                </c:pt>
                <c:pt idx="41">
                  <c:v>990.8696</c:v>
                </c:pt>
                <c:pt idx="42">
                  <c:v>1022.9273</c:v>
                </c:pt>
                <c:pt idx="43">
                  <c:v>1016.2241</c:v>
                </c:pt>
                <c:pt idx="44">
                  <c:v>998.5366</c:v>
                </c:pt>
                <c:pt idx="45">
                  <c:v>979.6</c:v>
                </c:pt>
                <c:pt idx="46">
                  <c:v>942.9531</c:v>
                </c:pt>
                <c:pt idx="47">
                  <c:v>945.6701</c:v>
                </c:pt>
                <c:pt idx="48">
                  <c:v>962.44</c:v>
                </c:pt>
                <c:pt idx="49">
                  <c:v>937.4432</c:v>
                </c:pt>
                <c:pt idx="50">
                  <c:v>990.2935</c:v>
                </c:pt>
                <c:pt idx="51">
                  <c:v>1016.0727</c:v>
                </c:pt>
                <c:pt idx="52">
                  <c:v>989.2927</c:v>
                </c:pt>
                <c:pt idx="53">
                  <c:v>1000.0323</c:v>
                </c:pt>
                <c:pt idx="54">
                  <c:v>1025.1731</c:v>
                </c:pt>
                <c:pt idx="55">
                  <c:v>1023.5227</c:v>
                </c:pt>
                <c:pt idx="56">
                  <c:v>1023.8444</c:v>
                </c:pt>
                <c:pt idx="57">
                  <c:v>1007.2</c:v>
                </c:pt>
                <c:pt idx="58">
                  <c:v>927.3125</c:v>
                </c:pt>
                <c:pt idx="59">
                  <c:v>933.1094</c:v>
                </c:pt>
                <c:pt idx="60">
                  <c:v>962.1739</c:v>
                </c:pt>
                <c:pt idx="61">
                  <c:v>989.6957</c:v>
                </c:pt>
                <c:pt idx="62">
                  <c:v>931.1781</c:v>
                </c:pt>
                <c:pt idx="63">
                  <c:v>954.0581</c:v>
                </c:pt>
                <c:pt idx="64">
                  <c:v>954.8571</c:v>
                </c:pt>
                <c:pt idx="65">
                  <c:v>937.9885</c:v>
                </c:pt>
                <c:pt idx="66">
                  <c:v>953.2568</c:v>
                </c:pt>
                <c:pt idx="67">
                  <c:v>970.7937</c:v>
                </c:pt>
                <c:pt idx="68">
                  <c:v>985.1522</c:v>
                </c:pt>
                <c:pt idx="69">
                  <c:v>947.0513</c:v>
                </c:pt>
                <c:pt idx="70">
                  <c:v>1014.0</c:v>
                </c:pt>
                <c:pt idx="71">
                  <c:v>1017.0526</c:v>
                </c:pt>
                <c:pt idx="72">
                  <c:v>1159.0606</c:v>
                </c:pt>
                <c:pt idx="73">
                  <c:v>1155.2414</c:v>
                </c:pt>
                <c:pt idx="74">
                  <c:v>1064.9737</c:v>
                </c:pt>
                <c:pt idx="75">
                  <c:v>1088.0</c:v>
                </c:pt>
                <c:pt idx="76">
                  <c:v>1060.6842</c:v>
                </c:pt>
                <c:pt idx="77">
                  <c:v>1034.4545</c:v>
                </c:pt>
                <c:pt idx="78">
                  <c:v>1011.4286</c:v>
                </c:pt>
                <c:pt idx="79">
                  <c:v>1088.6111</c:v>
                </c:pt>
                <c:pt idx="80">
                  <c:v>1187.0</c:v>
                </c:pt>
                <c:pt idx="81">
                  <c:v>1174.5789</c:v>
                </c:pt>
                <c:pt idx="82">
                  <c:v>1122.4286</c:v>
                </c:pt>
                <c:pt idx="83">
                  <c:v>1185.3</c:v>
                </c:pt>
                <c:pt idx="84">
                  <c:v>1032.5</c:v>
                </c:pt>
                <c:pt idx="85">
                  <c:v>1110.4211</c:v>
                </c:pt>
                <c:pt idx="86">
                  <c:v>1081.2703</c:v>
                </c:pt>
                <c:pt idx="87">
                  <c:v>1065.0893</c:v>
                </c:pt>
                <c:pt idx="88">
                  <c:v>1133.3478</c:v>
                </c:pt>
                <c:pt idx="89">
                  <c:v>1105.3889</c:v>
                </c:pt>
                <c:pt idx="90">
                  <c:v>1065.8182</c:v>
                </c:pt>
                <c:pt idx="91">
                  <c:v>1171.0</c:v>
                </c:pt>
                <c:pt idx="92">
                  <c:v>1094.5833</c:v>
                </c:pt>
                <c:pt idx="93">
                  <c:v>1121.4615</c:v>
                </c:pt>
                <c:pt idx="94">
                  <c:v>1174.6316</c:v>
                </c:pt>
                <c:pt idx="95">
                  <c:v>1120.2903</c:v>
                </c:pt>
                <c:pt idx="96">
                  <c:v>905.0962</c:v>
                </c:pt>
                <c:pt idx="97">
                  <c:v>1097.383</c:v>
                </c:pt>
                <c:pt idx="98">
                  <c:v>1078.8831</c:v>
                </c:pt>
                <c:pt idx="99">
                  <c:v>1049.6111</c:v>
                </c:pt>
                <c:pt idx="100">
                  <c:v>1051.6966</c:v>
                </c:pt>
                <c:pt idx="101">
                  <c:v>1009.4085</c:v>
                </c:pt>
                <c:pt idx="102">
                  <c:v>1072.8293</c:v>
                </c:pt>
                <c:pt idx="103">
                  <c:v>1085.4878</c:v>
                </c:pt>
                <c:pt idx="104">
                  <c:v>1139.925</c:v>
                </c:pt>
              </c:numCache>
            </c:numRef>
          </c:xVal>
          <c:yVal>
            <c:numRef>
              <c:f>Sheet1!$B$2:$B$106</c:f>
              <c:numCache>
                <c:formatCode>General</c:formatCode>
                <c:ptCount val="105"/>
                <c:pt idx="0">
                  <c:v>0.5170068027210885</c:v>
                </c:pt>
                <c:pt idx="1">
                  <c:v>0.5961538461538461</c:v>
                </c:pt>
                <c:pt idx="2">
                  <c:v>0.538961038961039</c:v>
                </c:pt>
                <c:pt idx="3">
                  <c:v>0.506578947368421</c:v>
                </c:pt>
                <c:pt idx="4">
                  <c:v>0.5616438356164384</c:v>
                </c:pt>
                <c:pt idx="5">
                  <c:v>0.5116279069767442</c:v>
                </c:pt>
                <c:pt idx="6">
                  <c:v>0.515625</c:v>
                </c:pt>
                <c:pt idx="7">
                  <c:v>0.5087719298245614</c:v>
                </c:pt>
                <c:pt idx="8">
                  <c:v>0.5760869565217391</c:v>
                </c:pt>
                <c:pt idx="9">
                  <c:v>0.5586206896551724</c:v>
                </c:pt>
                <c:pt idx="10">
                  <c:v>0.5414364640883977</c:v>
                </c:pt>
                <c:pt idx="11">
                  <c:v>0.5561797752808989</c:v>
                </c:pt>
                <c:pt idx="12">
                  <c:v>0.5477386934673367</c:v>
                </c:pt>
                <c:pt idx="13">
                  <c:v>0.4748858447488584</c:v>
                </c:pt>
                <c:pt idx="14">
                  <c:v>0.5772727272727273</c:v>
                </c:pt>
                <c:pt idx="15">
                  <c:v>0.5416666666666666</c:v>
                </c:pt>
                <c:pt idx="16">
                  <c:v>0.484375</c:v>
                </c:pt>
                <c:pt idx="17">
                  <c:v>0.4948453608247423</c:v>
                </c:pt>
                <c:pt idx="18">
                  <c:v>0.4945054945054945</c:v>
                </c:pt>
                <c:pt idx="19">
                  <c:v>0.5070422535211268</c:v>
                </c:pt>
                <c:pt idx="20">
                  <c:v>0.4453125</c:v>
                </c:pt>
                <c:pt idx="21">
                  <c:v>0.44642857142857145</c:v>
                </c:pt>
                <c:pt idx="22">
                  <c:v>0.4666666666666667</c:v>
                </c:pt>
                <c:pt idx="23">
                  <c:v>0.4533333333333333</c:v>
                </c:pt>
                <c:pt idx="24">
                  <c:v>0.5</c:v>
                </c:pt>
                <c:pt idx="25">
                  <c:v>0.546875</c:v>
                </c:pt>
                <c:pt idx="26">
                  <c:v>0.5164835164835165</c:v>
                </c:pt>
                <c:pt idx="27">
                  <c:v>0.3958333333333333</c:v>
                </c:pt>
                <c:pt idx="28">
                  <c:v>0.47126436781609193</c:v>
                </c:pt>
                <c:pt idx="29">
                  <c:v>0.44285714285714284</c:v>
                </c:pt>
                <c:pt idx="30">
                  <c:v>0.47058823529411764</c:v>
                </c:pt>
                <c:pt idx="31">
                  <c:v>0.47619047619047616</c:v>
                </c:pt>
                <c:pt idx="32">
                  <c:v>0.4019607843137255</c:v>
                </c:pt>
                <c:pt idx="33">
                  <c:v>0.5384615384615384</c:v>
                </c:pt>
                <c:pt idx="34">
                  <c:v>0.4827586206896552</c:v>
                </c:pt>
                <c:pt idx="35">
                  <c:v>0.4251497005988024</c:v>
                </c:pt>
                <c:pt idx="36">
                  <c:v>0.45121951219512196</c:v>
                </c:pt>
                <c:pt idx="37">
                  <c:v>0.5142857142857142</c:v>
                </c:pt>
                <c:pt idx="38">
                  <c:v>0.5267857142857143</c:v>
                </c:pt>
                <c:pt idx="39">
                  <c:v>0.46875</c:v>
                </c:pt>
                <c:pt idx="40">
                  <c:v>0.4161849710982659</c:v>
                </c:pt>
                <c:pt idx="41">
                  <c:v>0.42990654205607476</c:v>
                </c:pt>
                <c:pt idx="42">
                  <c:v>0.4230769230769231</c:v>
                </c:pt>
                <c:pt idx="43">
                  <c:v>0.4172661870503597</c:v>
                </c:pt>
                <c:pt idx="44">
                  <c:v>0.41624365482233505</c:v>
                </c:pt>
                <c:pt idx="45">
                  <c:v>0.43956043956043955</c:v>
                </c:pt>
                <c:pt idx="46">
                  <c:v>0.460431654676259</c:v>
                </c:pt>
                <c:pt idx="47">
                  <c:v>0.47317073170731705</c:v>
                </c:pt>
                <c:pt idx="48">
                  <c:v>0.47468354430379744</c:v>
                </c:pt>
                <c:pt idx="49">
                  <c:v>0.4808743169398907</c:v>
                </c:pt>
                <c:pt idx="50">
                  <c:v>0.42201834862385323</c:v>
                </c:pt>
                <c:pt idx="51">
                  <c:v>0.3873239436619718</c:v>
                </c:pt>
                <c:pt idx="52">
                  <c:v>0.41</c:v>
                </c:pt>
                <c:pt idx="53">
                  <c:v>0.42758620689655175</c:v>
                </c:pt>
                <c:pt idx="54">
                  <c:v>0.40625</c:v>
                </c:pt>
                <c:pt idx="55">
                  <c:v>0.38596491228070173</c:v>
                </c:pt>
                <c:pt idx="56">
                  <c:v>0.39823008849557523</c:v>
                </c:pt>
                <c:pt idx="57">
                  <c:v>0.37815126050420167</c:v>
                </c:pt>
                <c:pt idx="58">
                  <c:v>0.45390070921985815</c:v>
                </c:pt>
                <c:pt idx="59">
                  <c:v>0.4266666666666667</c:v>
                </c:pt>
                <c:pt idx="60">
                  <c:v>0.41566265060240964</c:v>
                </c:pt>
                <c:pt idx="61">
                  <c:v>0.41818181818181815</c:v>
                </c:pt>
                <c:pt idx="62">
                  <c:v>0.43452380952380953</c:v>
                </c:pt>
                <c:pt idx="63">
                  <c:v>0.4387755102040816</c:v>
                </c:pt>
                <c:pt idx="64">
                  <c:v>0.3925233644859813</c:v>
                </c:pt>
                <c:pt idx="65">
                  <c:v>0.424390243902439</c:v>
                </c:pt>
                <c:pt idx="66">
                  <c:v>0.4457831325301205</c:v>
                </c:pt>
                <c:pt idx="67">
                  <c:v>0.42</c:v>
                </c:pt>
                <c:pt idx="68">
                  <c:v>0.4</c:v>
                </c:pt>
                <c:pt idx="69">
                  <c:v>0.4020618556701031</c:v>
                </c:pt>
                <c:pt idx="70">
                  <c:v>0.3717948717948718</c:v>
                </c:pt>
                <c:pt idx="71">
                  <c:v>0.4318181818181818</c:v>
                </c:pt>
                <c:pt idx="72">
                  <c:v>0.30275229357798167</c:v>
                </c:pt>
                <c:pt idx="73">
                  <c:v>0.3411764705882353</c:v>
                </c:pt>
                <c:pt idx="74">
                  <c:v>0.4470588235294118</c:v>
                </c:pt>
                <c:pt idx="75">
                  <c:v>0.4</c:v>
                </c:pt>
                <c:pt idx="76">
                  <c:v>0.3114754098360656</c:v>
                </c:pt>
                <c:pt idx="77">
                  <c:v>0.3793103448275862</c:v>
                </c:pt>
                <c:pt idx="78">
                  <c:v>0.32558139534883723</c:v>
                </c:pt>
                <c:pt idx="79">
                  <c:v>0.4090909090909091</c:v>
                </c:pt>
                <c:pt idx="80">
                  <c:v>0.3333333333333333</c:v>
                </c:pt>
                <c:pt idx="81">
                  <c:v>0.36538461538461536</c:v>
                </c:pt>
                <c:pt idx="82">
                  <c:v>0.45161290322580644</c:v>
                </c:pt>
                <c:pt idx="83">
                  <c:v>0.2702702702702703</c:v>
                </c:pt>
                <c:pt idx="84">
                  <c:v>0.35294117647058826</c:v>
                </c:pt>
                <c:pt idx="85">
                  <c:v>0.3958333333333333</c:v>
                </c:pt>
                <c:pt idx="86">
                  <c:v>0.4457831325301205</c:v>
                </c:pt>
                <c:pt idx="87">
                  <c:v>0.509090909090909</c:v>
                </c:pt>
                <c:pt idx="88">
                  <c:v>0.4791666666666667</c:v>
                </c:pt>
                <c:pt idx="89">
                  <c:v>0.35294117647058826</c:v>
                </c:pt>
                <c:pt idx="90">
                  <c:v>0.4583333333333333</c:v>
                </c:pt>
                <c:pt idx="91">
                  <c:v>0.42857142857142855</c:v>
                </c:pt>
                <c:pt idx="92">
                  <c:v>0.48</c:v>
                </c:pt>
                <c:pt idx="93">
                  <c:v>0.43333333333333335</c:v>
                </c:pt>
                <c:pt idx="94">
                  <c:v>0.37254901960784315</c:v>
                </c:pt>
                <c:pt idx="95">
                  <c:v>0.3875</c:v>
                </c:pt>
                <c:pt idx="96">
                  <c:v>0.4297520661157025</c:v>
                </c:pt>
                <c:pt idx="97">
                  <c:v>0.42342342342342343</c:v>
                </c:pt>
                <c:pt idx="98">
                  <c:v>0.4583333333333333</c:v>
                </c:pt>
                <c:pt idx="99">
                  <c:v>0.4787234042553192</c:v>
                </c:pt>
                <c:pt idx="100">
                  <c:v>0.5345345345345346</c:v>
                </c:pt>
                <c:pt idx="101">
                  <c:v>0.4797297297297297</c:v>
                </c:pt>
                <c:pt idx="102">
                  <c:v>0.47126436781609193</c:v>
                </c:pt>
                <c:pt idx="103">
                  <c:v>0.45555555555555555</c:v>
                </c:pt>
                <c:pt idx="104">
                  <c:v>0.4347826086956521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8.1875</c:v>
                </c:pt>
                <c:pt idx="1">
                  <c:v>1112.5897</c:v>
                </c:pt>
                <c:pt idx="2">
                  <c:v>1106.4565</c:v>
                </c:pt>
                <c:pt idx="3">
                  <c:v>1094.4878</c:v>
                </c:pt>
                <c:pt idx="4">
                  <c:v>692.2115</c:v>
                </c:pt>
                <c:pt idx="5">
                  <c:v>1082.6739</c:v>
                </c:pt>
                <c:pt idx="6">
                  <c:v>1043.5319</c:v>
                </c:pt>
                <c:pt idx="7">
                  <c:v>1088.4167</c:v>
                </c:pt>
                <c:pt idx="8">
                  <c:v>1085.0526</c:v>
                </c:pt>
                <c:pt idx="9">
                  <c:v>1069.88</c:v>
                </c:pt>
                <c:pt idx="10">
                  <c:v>1095.25</c:v>
                </c:pt>
                <c:pt idx="11">
                  <c:v>930.1351</c:v>
                </c:pt>
                <c:pt idx="12">
                  <c:v>904.5753</c:v>
                </c:pt>
                <c:pt idx="13">
                  <c:v>964.4559</c:v>
                </c:pt>
                <c:pt idx="14">
                  <c:v>1003.5957</c:v>
                </c:pt>
                <c:pt idx="15">
                  <c:v>1055.8462</c:v>
                </c:pt>
                <c:pt idx="16">
                  <c:v>1112.2414</c:v>
                </c:pt>
                <c:pt idx="17">
                  <c:v>1094.3667</c:v>
                </c:pt>
                <c:pt idx="18">
                  <c:v>1054.7727</c:v>
                </c:pt>
                <c:pt idx="19">
                  <c:v>1072.2927</c:v>
                </c:pt>
                <c:pt idx="20">
                  <c:v>1118.0</c:v>
                </c:pt>
                <c:pt idx="21">
                  <c:v>1075.1667</c:v>
                </c:pt>
                <c:pt idx="22">
                  <c:v>1172.2222</c:v>
                </c:pt>
                <c:pt idx="23">
                  <c:v>1157.5333</c:v>
                </c:pt>
                <c:pt idx="24">
                  <c:v>1177.0526</c:v>
                </c:pt>
                <c:pt idx="25">
                  <c:v>1211.1818</c:v>
                </c:pt>
                <c:pt idx="26">
                  <c:v>1263.0833</c:v>
                </c:pt>
                <c:pt idx="27">
                  <c:v>1050.6364</c:v>
                </c:pt>
                <c:pt idx="28">
                  <c:v>1184.0</c:v>
                </c:pt>
                <c:pt idx="29">
                  <c:v>1270.0455</c:v>
                </c:pt>
                <c:pt idx="30">
                  <c:v>1168.5</c:v>
                </c:pt>
                <c:pt idx="31">
                  <c:v>1185.75</c:v>
                </c:pt>
                <c:pt idx="32">
                  <c:v>1155.6154</c:v>
                </c:pt>
                <c:pt idx="33">
                  <c:v>1250.9111</c:v>
                </c:pt>
                <c:pt idx="34">
                  <c:v>1253.4409</c:v>
                </c:pt>
                <c:pt idx="35">
                  <c:v>1247.5231</c:v>
                </c:pt>
                <c:pt idx="36">
                  <c:v>1224.1053</c:v>
                </c:pt>
                <c:pt idx="37">
                  <c:v>1154.3684</c:v>
                </c:pt>
                <c:pt idx="38">
                  <c:v>1111.6087</c:v>
                </c:pt>
                <c:pt idx="39">
                  <c:v>1144.1915</c:v>
                </c:pt>
                <c:pt idx="40">
                  <c:v>1110.8621</c:v>
                </c:pt>
                <c:pt idx="41">
                  <c:v>1165.6296</c:v>
                </c:pt>
                <c:pt idx="42">
                  <c:v>1230.75</c:v>
                </c:pt>
                <c:pt idx="43">
                  <c:v>1255.1613</c:v>
                </c:pt>
                <c:pt idx="44">
                  <c:v>1183.1667</c:v>
                </c:pt>
                <c:pt idx="45">
                  <c:v>1205.2667</c:v>
                </c:pt>
                <c:pt idx="46">
                  <c:v>1189.8667</c:v>
                </c:pt>
                <c:pt idx="47">
                  <c:v>1151.383</c:v>
                </c:pt>
                <c:pt idx="48">
                  <c:v>1137.6047</c:v>
                </c:pt>
                <c:pt idx="49">
                  <c:v>1154.1294</c:v>
                </c:pt>
                <c:pt idx="50">
                  <c:v>1054.8872</c:v>
                </c:pt>
                <c:pt idx="51">
                  <c:v>1031.6143</c:v>
                </c:pt>
              </c:numCache>
            </c:numRef>
          </c:xVal>
          <c:yVal>
            <c:numRef>
              <c:f>Sheet1!$B$109:$B$160</c:f>
              <c:numCache>
                <c:formatCode>General</c:formatCode>
                <c:ptCount val="52"/>
                <c:pt idx="0">
                  <c:v>0.46601941747572817</c:v>
                </c:pt>
                <c:pt idx="1">
                  <c:v>0.45348837209302323</c:v>
                </c:pt>
                <c:pt idx="2">
                  <c:v>0.4423076923076923</c:v>
                </c:pt>
                <c:pt idx="3">
                  <c:v>0.43617021276595747</c:v>
                </c:pt>
                <c:pt idx="4">
                  <c:v>0.46846846846846846</c:v>
                </c:pt>
                <c:pt idx="5">
                  <c:v>0.44660194174757284</c:v>
                </c:pt>
                <c:pt idx="6">
                  <c:v>0.42727272727272725</c:v>
                </c:pt>
                <c:pt idx="7">
                  <c:v>0.41379310344827586</c:v>
                </c:pt>
                <c:pt idx="8">
                  <c:v>0.48717948717948717</c:v>
                </c:pt>
                <c:pt idx="9">
                  <c:v>0.5494505494505495</c:v>
                </c:pt>
                <c:pt idx="10">
                  <c:v>0.4444444444444444</c:v>
                </c:pt>
                <c:pt idx="11">
                  <c:v>0.4966442953020134</c:v>
                </c:pt>
                <c:pt idx="12">
                  <c:v>0.553030303030303</c:v>
                </c:pt>
                <c:pt idx="13">
                  <c:v>0.5151515151515151</c:v>
                </c:pt>
                <c:pt idx="14">
                  <c:v>0.47</c:v>
                </c:pt>
                <c:pt idx="15">
                  <c:v>0.43333333333333335</c:v>
                </c:pt>
                <c:pt idx="16">
                  <c:v>0.4461538461538462</c:v>
                </c:pt>
                <c:pt idx="17">
                  <c:v>0.5084745762711864</c:v>
                </c:pt>
                <c:pt idx="18">
                  <c:v>0.46808510638297873</c:v>
                </c:pt>
                <c:pt idx="19">
                  <c:v>0.4939759036144578</c:v>
                </c:pt>
                <c:pt idx="20">
                  <c:v>0.4423076923076923</c:v>
                </c:pt>
                <c:pt idx="21">
                  <c:v>0.4</c:v>
                </c:pt>
                <c:pt idx="22">
                  <c:v>0.3333333333333333</c:v>
                </c:pt>
                <c:pt idx="23">
                  <c:v>0.5172413793103449</c:v>
                </c:pt>
                <c:pt idx="24">
                  <c:v>0.4318181818181818</c:v>
                </c:pt>
                <c:pt idx="25">
                  <c:v>0.34375</c:v>
                </c:pt>
                <c:pt idx="26">
                  <c:v>0.3333333333333333</c:v>
                </c:pt>
                <c:pt idx="27">
                  <c:v>0.43137254901960786</c:v>
                </c:pt>
                <c:pt idx="28">
                  <c:v>0.44594594594594594</c:v>
                </c:pt>
                <c:pt idx="29">
                  <c:v>0.39285714285714285</c:v>
                </c:pt>
                <c:pt idx="30">
                  <c:v>0.3333333333333333</c:v>
                </c:pt>
                <c:pt idx="31">
                  <c:v>0.4</c:v>
                </c:pt>
                <c:pt idx="32">
                  <c:v>0.4727272727272727</c:v>
                </c:pt>
                <c:pt idx="33">
                  <c:v>0.4368932038834951</c:v>
                </c:pt>
                <c:pt idx="34">
                  <c:v>0.46733668341708545</c:v>
                </c:pt>
                <c:pt idx="35">
                  <c:v>0.5508474576271186</c:v>
                </c:pt>
                <c:pt idx="36">
                  <c:v>0.3275862068965517</c:v>
                </c:pt>
                <c:pt idx="37">
                  <c:v>0.3333333333333333</c:v>
                </c:pt>
                <c:pt idx="38">
                  <c:v>0.4423076923076923</c:v>
                </c:pt>
                <c:pt idx="39">
                  <c:v>0.5</c:v>
                </c:pt>
                <c:pt idx="40">
                  <c:v>0.38666666666666666</c:v>
                </c:pt>
                <c:pt idx="41">
                  <c:v>0.36486486486486486</c:v>
                </c:pt>
                <c:pt idx="42">
                  <c:v>0.3783783783783784</c:v>
                </c:pt>
                <c:pt idx="43">
                  <c:v>0.28703703703703703</c:v>
                </c:pt>
                <c:pt idx="44">
                  <c:v>0.4117647058823529</c:v>
                </c:pt>
                <c:pt idx="45">
                  <c:v>0.42134831460674155</c:v>
                </c:pt>
                <c:pt idx="46">
                  <c:v>0.42452830188679247</c:v>
                </c:pt>
                <c:pt idx="47">
                  <c:v>0.42727272727272725</c:v>
                </c:pt>
                <c:pt idx="48">
                  <c:v>0.3467741935483871</c:v>
                </c:pt>
                <c:pt idx="49">
                  <c:v>0.4644808743169399</c:v>
                </c:pt>
                <c:pt idx="50">
                  <c:v>0.4854014598540146</c:v>
                </c:pt>
                <c:pt idx="51">
                  <c:v>0.426829268292682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7.2493161221513</c:v>
                </c:pt>
              </c:numCache>
            </c:numRef>
          </c:xVal>
          <c:yVal>
            <c:numRef>
              <c:f>Sheet1!$B$163:$B$164</c:f>
              <c:numCache>
                <c:formatCode>General</c:formatCode>
                <c:ptCount val="2"/>
                <c:pt idx="0">
                  <c:v>0.5369395849048754</c:v>
                </c:pt>
                <c:pt idx="1">
                  <c:v>0.53693958490487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7.2493161221513</c:v>
                </c:pt>
                <c:pt idx="1">
                  <c:v>747.2493161221513</c:v>
                </c:pt>
              </c:numCache>
            </c:numRef>
          </c:xVal>
          <c:yVal>
            <c:numRef>
              <c:f>Sheet1!$B$167:$B$168</c:f>
              <c:numCache>
                <c:formatCode>General</c:formatCode>
                <c:ptCount val="2"/>
                <c:pt idx="0">
                  <c:v>0.53693958490487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58.9928771316623</c:v>
                </c:pt>
              </c:numCache>
            </c:numRef>
          </c:xVal>
          <c:yVal>
            <c:numRef>
              <c:f>Sheet1!$B$171:$B$172</c:f>
              <c:numCache>
                <c:formatCode>General</c:formatCode>
                <c:ptCount val="2"/>
                <c:pt idx="0">
                  <c:v>0.47854242811094766</c:v>
                </c:pt>
                <c:pt idx="1">
                  <c:v>0.4785424281109476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58.9928771316623</c:v>
                </c:pt>
                <c:pt idx="1">
                  <c:v>958.9928771316623</c:v>
                </c:pt>
              </c:numCache>
            </c:numRef>
          </c:xVal>
          <c:yVal>
            <c:numRef>
              <c:f>Sheet1!$B$175:$B$176</c:f>
              <c:numCache>
                <c:formatCode>General</c:formatCode>
                <c:ptCount val="2"/>
                <c:pt idx="0">
                  <c:v>0.4785424281109476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8.8202641876585</c:v>
                </c:pt>
              </c:numCache>
            </c:numRef>
          </c:xVal>
          <c:yVal>
            <c:numRef>
              <c:f>Sheet1!$B$179:$B$180</c:f>
              <c:numCache>
                <c:formatCode>General</c:formatCode>
                <c:ptCount val="2"/>
                <c:pt idx="0">
                  <c:v>0.4096420609698143</c:v>
                </c:pt>
                <c:pt idx="1">
                  <c:v>0.40964206096981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8.8202641876585</c:v>
                </c:pt>
                <c:pt idx="1">
                  <c:v>1208.8202641876585</c:v>
                </c:pt>
              </c:numCache>
            </c:numRef>
          </c:xVal>
          <c:yVal>
            <c:numRef>
              <c:f>Sheet1!$B$183:$B$184</c:f>
              <c:numCache>
                <c:formatCode>General</c:formatCode>
                <c:ptCount val="2"/>
                <c:pt idx="0">
                  <c:v>0.40964206096981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8.1875</c:v>
                </c:pt>
                <c:pt idx="1">
                  <c:v>1112.5897</c:v>
                </c:pt>
                <c:pt idx="2">
                  <c:v>1106.4565</c:v>
                </c:pt>
                <c:pt idx="3">
                  <c:v>1094.4878</c:v>
                </c:pt>
                <c:pt idx="4">
                  <c:v>692.2115</c:v>
                </c:pt>
                <c:pt idx="5">
                  <c:v>1082.6739</c:v>
                </c:pt>
                <c:pt idx="6">
                  <c:v>1043.5319</c:v>
                </c:pt>
                <c:pt idx="7">
                  <c:v>1088.4167</c:v>
                </c:pt>
                <c:pt idx="8">
                  <c:v>1085.0526</c:v>
                </c:pt>
                <c:pt idx="9">
                  <c:v>1069.88</c:v>
                </c:pt>
                <c:pt idx="10">
                  <c:v>1095.25</c:v>
                </c:pt>
                <c:pt idx="11">
                  <c:v>930.1351</c:v>
                </c:pt>
                <c:pt idx="12">
                  <c:v>904.5753</c:v>
                </c:pt>
                <c:pt idx="13">
                  <c:v>964.4559</c:v>
                </c:pt>
                <c:pt idx="14">
                  <c:v>1003.5957</c:v>
                </c:pt>
                <c:pt idx="15">
                  <c:v>1055.8462</c:v>
                </c:pt>
                <c:pt idx="16">
                  <c:v>1112.2414</c:v>
                </c:pt>
                <c:pt idx="17">
                  <c:v>1094.3667</c:v>
                </c:pt>
                <c:pt idx="18">
                  <c:v>1054.7727</c:v>
                </c:pt>
                <c:pt idx="19">
                  <c:v>1072.2927</c:v>
                </c:pt>
                <c:pt idx="20">
                  <c:v>1118.0</c:v>
                </c:pt>
                <c:pt idx="21">
                  <c:v>1075.1667</c:v>
                </c:pt>
                <c:pt idx="22">
                  <c:v>1172.2222</c:v>
                </c:pt>
                <c:pt idx="23">
                  <c:v>1157.5333</c:v>
                </c:pt>
                <c:pt idx="24">
                  <c:v>1177.0526</c:v>
                </c:pt>
                <c:pt idx="25">
                  <c:v>1211.1818</c:v>
                </c:pt>
                <c:pt idx="26">
                  <c:v>1263.0833</c:v>
                </c:pt>
                <c:pt idx="27">
                  <c:v>1050.6364</c:v>
                </c:pt>
                <c:pt idx="28">
                  <c:v>1184.0</c:v>
                </c:pt>
                <c:pt idx="29">
                  <c:v>1270.0455</c:v>
                </c:pt>
                <c:pt idx="30">
                  <c:v>1168.5</c:v>
                </c:pt>
                <c:pt idx="31">
                  <c:v>1185.75</c:v>
                </c:pt>
                <c:pt idx="32">
                  <c:v>1155.6154</c:v>
                </c:pt>
                <c:pt idx="33">
                  <c:v>1250.9111</c:v>
                </c:pt>
                <c:pt idx="34">
                  <c:v>1253.4409</c:v>
                </c:pt>
                <c:pt idx="35">
                  <c:v>1247.5231</c:v>
                </c:pt>
                <c:pt idx="36">
                  <c:v>1224.1053</c:v>
                </c:pt>
                <c:pt idx="37">
                  <c:v>1154.3684</c:v>
                </c:pt>
                <c:pt idx="38">
                  <c:v>1111.6087</c:v>
                </c:pt>
                <c:pt idx="39">
                  <c:v>1144.1915</c:v>
                </c:pt>
                <c:pt idx="40">
                  <c:v>1110.8621</c:v>
                </c:pt>
                <c:pt idx="41">
                  <c:v>1165.6296</c:v>
                </c:pt>
                <c:pt idx="42">
                  <c:v>1230.75</c:v>
                </c:pt>
                <c:pt idx="43">
                  <c:v>1255.1613</c:v>
                </c:pt>
                <c:pt idx="44">
                  <c:v>1183.1667</c:v>
                </c:pt>
                <c:pt idx="45">
                  <c:v>1205.2667</c:v>
                </c:pt>
                <c:pt idx="46">
                  <c:v>1189.8667</c:v>
                </c:pt>
                <c:pt idx="47">
                  <c:v>1151.383</c:v>
                </c:pt>
                <c:pt idx="48">
                  <c:v>1137.6047</c:v>
                </c:pt>
                <c:pt idx="49">
                  <c:v>1154.1294</c:v>
                </c:pt>
                <c:pt idx="50">
                  <c:v>1054.8872</c:v>
                </c:pt>
                <c:pt idx="51">
                  <c:v>1031.6143</c:v>
                </c:pt>
                <c:pt idx="52">
                  <c:v>958.9928771316623</c:v>
                </c:pt>
                <c:pt idx="53">
                  <c:v>747.2493161221513</c:v>
                </c:pt>
                <c:pt idx="54">
                  <c:v>1208.8202641876585</c:v>
                </c:pt>
              </c:numCache>
            </c:numRef>
          </c:xVal>
          <c:yVal>
            <c:numRef>
              <c:f>Sheet1!$B$187:$B$241</c:f>
              <c:numCache>
                <c:formatCode>General</c:formatCode>
                <c:ptCount val="55"/>
                <c:pt idx="0">
                  <c:v>0.4373957611572268</c:v>
                </c:pt>
                <c:pt idx="1">
                  <c:v>0.43618167010098596</c:v>
                </c:pt>
                <c:pt idx="2">
                  <c:v>0.4378731569180629</c:v>
                </c:pt>
                <c:pt idx="3">
                  <c:v>0.4411740273066934</c:v>
                </c:pt>
                <c:pt idx="4">
                  <c:v>0.5521185682107066</c:v>
                </c:pt>
                <c:pt idx="5">
                  <c:v>0.44443220511081943</c:v>
                </c:pt>
                <c:pt idx="6">
                  <c:v>0.45522725125215285</c:v>
                </c:pt>
                <c:pt idx="7">
                  <c:v>0.4428483874474285</c:v>
                </c:pt>
                <c:pt idx="8">
                  <c:v>0.4437761789431124</c:v>
                </c:pt>
                <c:pt idx="9">
                  <c:v>0.4479606589667186</c:v>
                </c:pt>
                <c:pt idx="10">
                  <c:v>0.4409638187284674</c:v>
                </c:pt>
                <c:pt idx="11">
                  <c:v>0.48650116899471985</c:v>
                </c:pt>
                <c:pt idx="12">
                  <c:v>0.4935503545336104</c:v>
                </c:pt>
                <c:pt idx="13">
                  <c:v>0.4770357707113548</c:v>
                </c:pt>
                <c:pt idx="14">
                  <c:v>0.46624133131217843</c:v>
                </c:pt>
                <c:pt idx="15">
                  <c:v>0.4518310671864888</c:v>
                </c:pt>
                <c:pt idx="16">
                  <c:v>0.4362777284161212</c:v>
                </c:pt>
                <c:pt idx="17">
                  <c:v>0.4412074257045197</c:v>
                </c:pt>
                <c:pt idx="18">
                  <c:v>0.4521271297799363</c:v>
                </c:pt>
                <c:pt idx="19">
                  <c:v>0.4472952558747664</c:v>
                </c:pt>
                <c:pt idx="20">
                  <c:v>0.43468955324087516</c:v>
                </c:pt>
                <c:pt idx="21">
                  <c:v>0.446502629984158</c:v>
                </c:pt>
                <c:pt idx="22">
                  <c:v>0.41973551024653133</c:v>
                </c:pt>
                <c:pt idx="23">
                  <c:v>0.4237865897331552</c:v>
                </c:pt>
                <c:pt idx="24">
                  <c:v>0.41840332510317896</c:v>
                </c:pt>
                <c:pt idx="25">
                  <c:v>0.4089907685458544</c:v>
                </c:pt>
                <c:pt idx="26">
                  <c:v>0.39467675578962286</c:v>
                </c:pt>
                <c:pt idx="27">
                  <c:v>0.4532678877727419</c:v>
                </c:pt>
                <c:pt idx="28">
                  <c:v>0.4164872885296186</c:v>
                </c:pt>
                <c:pt idx="29">
                  <c:v>0.39275663749609696</c:v>
                </c:pt>
                <c:pt idx="30">
                  <c:v>0.42076206281786827</c:v>
                </c:pt>
                <c:pt idx="31">
                  <c:v>0.41600465272288073</c:v>
                </c:pt>
                <c:pt idx="32">
                  <c:v>0.42431553099815095</c:v>
                </c:pt>
                <c:pt idx="33">
                  <c:v>0.3980337498277798</c:v>
                </c:pt>
                <c:pt idx="34">
                  <c:v>0.3973360515055595</c:v>
                </c:pt>
                <c:pt idx="35">
                  <c:v>0.3989681327496243</c:v>
                </c:pt>
                <c:pt idx="36">
                  <c:v>0.40542657206106775</c:v>
                </c:pt>
                <c:pt idx="37">
                  <c:v>0.42465944348443785</c:v>
                </c:pt>
                <c:pt idx="38">
                  <c:v>0.4364522219446487</c:v>
                </c:pt>
                <c:pt idx="39">
                  <c:v>0.42746614996534676</c:v>
                </c:pt>
                <c:pt idx="40">
                  <c:v>0.4366581281693976</c:v>
                </c:pt>
                <c:pt idx="41">
                  <c:v>0.42155369585767416</c:v>
                </c:pt>
                <c:pt idx="42">
                  <c:v>0.4035940176924785</c:v>
                </c:pt>
                <c:pt idx="43">
                  <c:v>0.3968615791387528</c:v>
                </c:pt>
                <c:pt idx="44">
                  <c:v>0.4167171059111927</c:v>
                </c:pt>
                <c:pt idx="45">
                  <c:v>0.4106221051518174</c:v>
                </c:pt>
                <c:pt idx="46">
                  <c:v>0.4148693002511106</c:v>
                </c:pt>
                <c:pt idx="47">
                  <c:v>0.4254827925915437</c:v>
                </c:pt>
                <c:pt idx="48">
                  <c:v>0.4292827359835301</c:v>
                </c:pt>
                <c:pt idx="49">
                  <c:v>0.42472535774604375</c:v>
                </c:pt>
                <c:pt idx="50">
                  <c:v>0.45209555160858117</c:v>
                </c:pt>
                <c:pt idx="51">
                  <c:v>0.45851402867522667</c:v>
                </c:pt>
                <c:pt idx="52">
                  <c:v>0.47854242811094766</c:v>
                </c:pt>
                <c:pt idx="53">
                  <c:v>0.5369395849048754</c:v>
                </c:pt>
                <c:pt idx="54">
                  <c:v>0.40964206096981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4.0"/>
          <c:min val="5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3846153846154"/>
          <c:min val="0.216216216216216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6293155107618722</c:v>
                </c:pt>
                <c:pt idx="1">
                  <c:v>0.31421329313200125</c:v>
                </c:pt>
                <c:pt idx="2">
                  <c:v>0.3895369208494208</c:v>
                </c:pt>
                <c:pt idx="3">
                  <c:v>0.40587269266676845</c:v>
                </c:pt>
                <c:pt idx="4">
                  <c:v>0.41172132452231963</c:v>
                </c:pt>
                <c:pt idx="5">
                  <c:v>0.30615844594594593</c:v>
                </c:pt>
                <c:pt idx="6">
                  <c:v>0.43174969066736274</c:v>
                </c:pt>
                <c:pt idx="7">
                  <c:v>0.4659853189446538</c:v>
                </c:pt>
                <c:pt idx="8">
                  <c:v>0.6486893987341772</c:v>
                </c:pt>
                <c:pt idx="9">
                  <c:v>0.525005402624582</c:v>
                </c:pt>
                <c:pt idx="10">
                  <c:v>0.5098582249314583</c:v>
                </c:pt>
                <c:pt idx="11">
                  <c:v>0.5343352822580646</c:v>
                </c:pt>
                <c:pt idx="12">
                  <c:v>0.5652181352833637</c:v>
                </c:pt>
                <c:pt idx="13">
                  <c:v>0.6573988945602386</c:v>
                </c:pt>
                <c:pt idx="14">
                  <c:v>0.605090503066801</c:v>
                </c:pt>
                <c:pt idx="15">
                  <c:v>0.6630489821615949</c:v>
                </c:pt>
                <c:pt idx="16">
                  <c:v>0.684010934981904</c:v>
                </c:pt>
                <c:pt idx="17">
                  <c:v>0.6446030876109611</c:v>
                </c:pt>
                <c:pt idx="18">
                  <c:v>0.5735629503738953</c:v>
                </c:pt>
                <c:pt idx="19">
                  <c:v>0.8975855818743563</c:v>
                </c:pt>
                <c:pt idx="20">
                  <c:v>0.7268815708489718</c:v>
                </c:pt>
                <c:pt idx="21">
                  <c:v>0.49617710583153346</c:v>
                </c:pt>
                <c:pt idx="22">
                  <c:v>0.8428978157644824</c:v>
                </c:pt>
                <c:pt idx="23">
                  <c:v>0.6967597226649666</c:v>
                </c:pt>
                <c:pt idx="24">
                  <c:v>0.5643986547085201</c:v>
                </c:pt>
                <c:pt idx="25">
                  <c:v>0.5659854883081156</c:v>
                </c:pt>
                <c:pt idx="26">
                  <c:v>0.7034929166666667</c:v>
                </c:pt>
                <c:pt idx="27">
                  <c:v>0.6595136096914632</c:v>
                </c:pt>
                <c:pt idx="28">
                  <c:v>0.8384280377615324</c:v>
                </c:pt>
                <c:pt idx="29">
                  <c:v>0.7089613087278238</c:v>
                </c:pt>
                <c:pt idx="30">
                  <c:v>0.4738194859533772</c:v>
                </c:pt>
                <c:pt idx="31">
                  <c:v>0.6271690351533283</c:v>
                </c:pt>
                <c:pt idx="32">
                  <c:v>0.7116155778894472</c:v>
                </c:pt>
                <c:pt idx="33">
                  <c:v>0.5562376859504132</c:v>
                </c:pt>
                <c:pt idx="34">
                  <c:v>0.6294643387663252</c:v>
                </c:pt>
                <c:pt idx="35">
                  <c:v>0.7125880410253713</c:v>
                </c:pt>
                <c:pt idx="36">
                  <c:v>0.6864549269389285</c:v>
                </c:pt>
                <c:pt idx="37">
                  <c:v>0.7673802171290712</c:v>
                </c:pt>
                <c:pt idx="38">
                  <c:v>0.9766945792880259</c:v>
                </c:pt>
                <c:pt idx="39">
                  <c:v>0.8253258613170519</c:v>
                </c:pt>
                <c:pt idx="40">
                  <c:v>0.7950581475820513</c:v>
                </c:pt>
                <c:pt idx="41">
                  <c:v>0.8412231085526315</c:v>
                </c:pt>
                <c:pt idx="42">
                  <c:v>0.8458464364840325</c:v>
                </c:pt>
                <c:pt idx="43">
                  <c:v>0.8614014837819185</c:v>
                </c:pt>
                <c:pt idx="44">
                  <c:v>0.8715302491103203</c:v>
                </c:pt>
                <c:pt idx="45">
                  <c:v>0.8489510431588383</c:v>
                </c:pt>
                <c:pt idx="46">
                  <c:v>0.7002888773696683</c:v>
                </c:pt>
                <c:pt idx="47">
                  <c:v>0.8077288312547182</c:v>
                </c:pt>
                <c:pt idx="48">
                  <c:v>0.7763797310788937</c:v>
                </c:pt>
                <c:pt idx="49">
                  <c:v>0.8061190068366307</c:v>
                </c:pt>
                <c:pt idx="50">
                  <c:v>0.9228634877384196</c:v>
                </c:pt>
                <c:pt idx="51">
                  <c:v>0.8337907290349768</c:v>
                </c:pt>
                <c:pt idx="52">
                  <c:v>0.8881281527531083</c:v>
                </c:pt>
                <c:pt idx="53">
                  <c:v>0.8863167756104675</c:v>
                </c:pt>
                <c:pt idx="54">
                  <c:v>1.0363037449779364</c:v>
                </c:pt>
                <c:pt idx="55">
                  <c:v>1.0407944664421367</c:v>
                </c:pt>
                <c:pt idx="56">
                  <c:v>1.0092184368737476</c:v>
                </c:pt>
                <c:pt idx="57">
                  <c:v>0.82150292345854</c:v>
                </c:pt>
                <c:pt idx="58">
                  <c:v>0.6807042602859644</c:v>
                </c:pt>
                <c:pt idx="59">
                  <c:v>0.8961569731090664</c:v>
                </c:pt>
                <c:pt idx="60">
                  <c:v>0.853185948275862</c:v>
                </c:pt>
                <c:pt idx="61">
                  <c:v>0.9399509441470072</c:v>
                </c:pt>
                <c:pt idx="62">
                  <c:v>0.8379956960913483</c:v>
                </c:pt>
                <c:pt idx="63">
                  <c:v>0.8975908065425832</c:v>
                </c:pt>
                <c:pt idx="64">
                  <c:v>0.802277006382115</c:v>
                </c:pt>
                <c:pt idx="65">
                  <c:v>0.8689060903570205</c:v>
                </c:pt>
                <c:pt idx="66">
                  <c:v>0.8845867414093248</c:v>
                </c:pt>
                <c:pt idx="67">
                  <c:v>0.892024809851503</c:v>
                </c:pt>
                <c:pt idx="68">
                  <c:v>1.053684134401424</c:v>
                </c:pt>
                <c:pt idx="69">
                  <c:v>0.8453522300958732</c:v>
                </c:pt>
                <c:pt idx="70">
                  <c:v>0.9088941912421805</c:v>
                </c:pt>
                <c:pt idx="71">
                  <c:v>0.9387639595366102</c:v>
                </c:pt>
                <c:pt idx="72">
                  <c:v>1.0731457501161172</c:v>
                </c:pt>
                <c:pt idx="73">
                  <c:v>1.2150298916143754</c:v>
                </c:pt>
                <c:pt idx="74">
                  <c:v>1.013790532985464</c:v>
                </c:pt>
                <c:pt idx="75">
                  <c:v>0.9584495494442906</c:v>
                </c:pt>
                <c:pt idx="76">
                  <c:v>1.0958204449152542</c:v>
                </c:pt>
                <c:pt idx="77">
                  <c:v>0.0</c:v>
                </c:pt>
                <c:pt idx="78">
                  <c:v>0.9725549416252456</c:v>
                </c:pt>
                <c:pt idx="79">
                  <c:v>0.7992149643705463</c:v>
                </c:pt>
                <c:pt idx="80">
                  <c:v>1.038556921587609</c:v>
                </c:pt>
                <c:pt idx="81">
                  <c:v>0.44560254515599346</c:v>
                </c:pt>
                <c:pt idx="82">
                  <c:v>1.0114685004436557</c:v>
                </c:pt>
                <c:pt idx="83">
                  <c:v>0.0</c:v>
                </c:pt>
                <c:pt idx="84">
                  <c:v>0.0</c:v>
                </c:pt>
                <c:pt idx="85">
                  <c:v>0.0</c:v>
                </c:pt>
                <c:pt idx="86">
                  <c:v>0.0</c:v>
                </c:pt>
                <c:pt idx="87">
                  <c:v>0.0</c:v>
                </c:pt>
              </c:numCache>
            </c:numRef>
          </c:xVal>
          <c:yVal>
            <c:numRef>
              <c:f>Sheet1!$B$2:$B$89</c:f>
              <c:numCache>
                <c:formatCode>General</c:formatCode>
                <c:ptCount val="88"/>
                <c:pt idx="0">
                  <c:v>0.5170068027210885</c:v>
                </c:pt>
                <c:pt idx="1">
                  <c:v>0.5961538461538461</c:v>
                </c:pt>
                <c:pt idx="2">
                  <c:v>0.538961038961039</c:v>
                </c:pt>
                <c:pt idx="3">
                  <c:v>0.506578947368421</c:v>
                </c:pt>
                <c:pt idx="4">
                  <c:v>0.5616438356164384</c:v>
                </c:pt>
                <c:pt idx="5">
                  <c:v>0.5116279069767442</c:v>
                </c:pt>
                <c:pt idx="6">
                  <c:v>0.515625</c:v>
                </c:pt>
                <c:pt idx="7">
                  <c:v>0.5087719298245614</c:v>
                </c:pt>
                <c:pt idx="8">
                  <c:v>0.5760869565217391</c:v>
                </c:pt>
                <c:pt idx="9">
                  <c:v>0.5586206896551724</c:v>
                </c:pt>
                <c:pt idx="10">
                  <c:v>0.5414364640883977</c:v>
                </c:pt>
                <c:pt idx="11">
                  <c:v>0.5561797752808989</c:v>
                </c:pt>
                <c:pt idx="12">
                  <c:v>0.5477386934673367</c:v>
                </c:pt>
                <c:pt idx="13">
                  <c:v>0.4748858447488584</c:v>
                </c:pt>
                <c:pt idx="14">
                  <c:v>0.5772727272727273</c:v>
                </c:pt>
                <c:pt idx="15">
                  <c:v>0.5416666666666666</c:v>
                </c:pt>
                <c:pt idx="16">
                  <c:v>0.484375</c:v>
                </c:pt>
                <c:pt idx="17">
                  <c:v>0.4948453608247423</c:v>
                </c:pt>
                <c:pt idx="18">
                  <c:v>0.4945054945054945</c:v>
                </c:pt>
                <c:pt idx="19">
                  <c:v>0.5070422535211268</c:v>
                </c:pt>
                <c:pt idx="20">
                  <c:v>0.4453125</c:v>
                </c:pt>
                <c:pt idx="21">
                  <c:v>0.44642857142857145</c:v>
                </c:pt>
                <c:pt idx="22">
                  <c:v>0.4666666666666667</c:v>
                </c:pt>
                <c:pt idx="23">
                  <c:v>0.4533333333333333</c:v>
                </c:pt>
                <c:pt idx="24">
                  <c:v>0.5</c:v>
                </c:pt>
                <c:pt idx="25">
                  <c:v>0.546875</c:v>
                </c:pt>
                <c:pt idx="26">
                  <c:v>0.5164835164835165</c:v>
                </c:pt>
                <c:pt idx="27">
                  <c:v>0.3958333333333333</c:v>
                </c:pt>
                <c:pt idx="28">
                  <c:v>0.47126436781609193</c:v>
                </c:pt>
                <c:pt idx="29">
                  <c:v>0.44285714285714284</c:v>
                </c:pt>
                <c:pt idx="30">
                  <c:v>0.47058823529411764</c:v>
                </c:pt>
                <c:pt idx="31">
                  <c:v>0.47619047619047616</c:v>
                </c:pt>
                <c:pt idx="32">
                  <c:v>0.4019607843137255</c:v>
                </c:pt>
                <c:pt idx="33">
                  <c:v>0.5384615384615384</c:v>
                </c:pt>
                <c:pt idx="34">
                  <c:v>0.4827586206896552</c:v>
                </c:pt>
                <c:pt idx="35">
                  <c:v>0.4251497005988024</c:v>
                </c:pt>
                <c:pt idx="36">
                  <c:v>0.5142857142857142</c:v>
                </c:pt>
                <c:pt idx="37">
                  <c:v>0.5267857142857143</c:v>
                </c:pt>
                <c:pt idx="38">
                  <c:v>0.46875</c:v>
                </c:pt>
                <c:pt idx="39">
                  <c:v>0.4161849710982659</c:v>
                </c:pt>
                <c:pt idx="40">
                  <c:v>0.42990654205607476</c:v>
                </c:pt>
                <c:pt idx="41">
                  <c:v>0.4230769230769231</c:v>
                </c:pt>
                <c:pt idx="42">
                  <c:v>0.4172661870503597</c:v>
                </c:pt>
                <c:pt idx="43">
                  <c:v>0.41624365482233505</c:v>
                </c:pt>
                <c:pt idx="44">
                  <c:v>0.43956043956043955</c:v>
                </c:pt>
                <c:pt idx="45">
                  <c:v>0.460431654676259</c:v>
                </c:pt>
                <c:pt idx="46">
                  <c:v>0.47317073170731705</c:v>
                </c:pt>
                <c:pt idx="47">
                  <c:v>0.47468354430379744</c:v>
                </c:pt>
                <c:pt idx="48">
                  <c:v>0.4808743169398907</c:v>
                </c:pt>
                <c:pt idx="49">
                  <c:v>0.42201834862385323</c:v>
                </c:pt>
                <c:pt idx="50">
                  <c:v>0.3873239436619718</c:v>
                </c:pt>
                <c:pt idx="51">
                  <c:v>0.41</c:v>
                </c:pt>
                <c:pt idx="52">
                  <c:v>0.42758620689655175</c:v>
                </c:pt>
                <c:pt idx="53">
                  <c:v>0.40625</c:v>
                </c:pt>
                <c:pt idx="54">
                  <c:v>0.38596491228070173</c:v>
                </c:pt>
                <c:pt idx="55">
                  <c:v>0.39823008849557523</c:v>
                </c:pt>
                <c:pt idx="56">
                  <c:v>0.37815126050420167</c:v>
                </c:pt>
                <c:pt idx="57">
                  <c:v>0.45390070921985815</c:v>
                </c:pt>
                <c:pt idx="58">
                  <c:v>0.4266666666666667</c:v>
                </c:pt>
                <c:pt idx="59">
                  <c:v>0.41566265060240964</c:v>
                </c:pt>
                <c:pt idx="60">
                  <c:v>0.41818181818181815</c:v>
                </c:pt>
                <c:pt idx="61">
                  <c:v>0.43452380952380953</c:v>
                </c:pt>
                <c:pt idx="62">
                  <c:v>0.4387755102040816</c:v>
                </c:pt>
                <c:pt idx="63">
                  <c:v>0.3925233644859813</c:v>
                </c:pt>
                <c:pt idx="64">
                  <c:v>0.424390243902439</c:v>
                </c:pt>
                <c:pt idx="65">
                  <c:v>0.4457831325301205</c:v>
                </c:pt>
                <c:pt idx="66">
                  <c:v>0.42</c:v>
                </c:pt>
                <c:pt idx="67">
                  <c:v>0.4</c:v>
                </c:pt>
                <c:pt idx="68">
                  <c:v>0.4020618556701031</c:v>
                </c:pt>
                <c:pt idx="69">
                  <c:v>0.3717948717948718</c:v>
                </c:pt>
                <c:pt idx="70">
                  <c:v>0.4318181818181818</c:v>
                </c:pt>
                <c:pt idx="71">
                  <c:v>0.30275229357798167</c:v>
                </c:pt>
                <c:pt idx="72">
                  <c:v>0.3411764705882353</c:v>
                </c:pt>
                <c:pt idx="73">
                  <c:v>0.4470588235294118</c:v>
                </c:pt>
                <c:pt idx="74">
                  <c:v>0.4</c:v>
                </c:pt>
                <c:pt idx="75">
                  <c:v>0.3114754098360656</c:v>
                </c:pt>
                <c:pt idx="76">
                  <c:v>0.3793103448275862</c:v>
                </c:pt>
                <c:pt idx="77">
                  <c:v>0.32558139534883723</c:v>
                </c:pt>
                <c:pt idx="78">
                  <c:v>0.5345345345345346</c:v>
                </c:pt>
                <c:pt idx="79">
                  <c:v>0.4797297297297297</c:v>
                </c:pt>
                <c:pt idx="80">
                  <c:v>0.47126436781609193</c:v>
                </c:pt>
                <c:pt idx="81">
                  <c:v>0.45555555555555555</c:v>
                </c:pt>
                <c:pt idx="82">
                  <c:v>0.43478260869565216</c:v>
                </c:pt>
                <c:pt idx="83">
                  <c:v>0.4423076923076923</c:v>
                </c:pt>
                <c:pt idx="84">
                  <c:v>0.3333333333333333</c:v>
                </c:pt>
                <c:pt idx="85">
                  <c:v>0.4318181818181818</c:v>
                </c:pt>
                <c:pt idx="86">
                  <c:v>0.34375</c:v>
                </c:pt>
                <c:pt idx="87">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36</c:f>
              <c:numCache>
                <c:formatCode>General</c:formatCode>
                <c:ptCount val="45"/>
                <c:pt idx="0">
                  <c:v>1.350624619134674</c:v>
                </c:pt>
                <c:pt idx="1">
                  <c:v>1.4553168083714847</c:v>
                </c:pt>
                <c:pt idx="2">
                  <c:v>1.1215980739989864</c:v>
                </c:pt>
                <c:pt idx="3">
                  <c:v>0.7590067961165049</c:v>
                </c:pt>
                <c:pt idx="4">
                  <c:v>0.42311216381418093</c:v>
                </c:pt>
                <c:pt idx="5">
                  <c:v>0.938192287694974</c:v>
                </c:pt>
                <c:pt idx="6">
                  <c:v>0.7846104511278195</c:v>
                </c:pt>
                <c:pt idx="7">
                  <c:v>0.6556727108433735</c:v>
                </c:pt>
                <c:pt idx="8">
                  <c:v>0.8507992381285739</c:v>
                </c:pt>
                <c:pt idx="9">
                  <c:v>0.9561036639857016</c:v>
                </c:pt>
                <c:pt idx="10">
                  <c:v>1.0037640349398782</c:v>
                </c:pt>
                <c:pt idx="11">
                  <c:v>0.7866501184032475</c:v>
                </c:pt>
                <c:pt idx="12">
                  <c:v>0.9602710191082803</c:v>
                </c:pt>
                <c:pt idx="13">
                  <c:v>0.6938531654676259</c:v>
                </c:pt>
                <c:pt idx="14">
                  <c:v>1.0737471443028836</c:v>
                </c:pt>
                <c:pt idx="15">
                  <c:v>1.1521673941510258</c:v>
                </c:pt>
                <c:pt idx="16">
                  <c:v>1.4174698633190375</c:v>
                </c:pt>
                <c:pt idx="17">
                  <c:v>0.8984948275862069</c:v>
                </c:pt>
                <c:pt idx="18">
                  <c:v>0.8984435264054514</c:v>
                </c:pt>
                <c:pt idx="19">
                  <c:v>0.9439196302816901</c:v>
                </c:pt>
                <c:pt idx="20">
                  <c:v>0.8949202725724021</c:v>
                </c:pt>
                <c:pt idx="21">
                  <c:v>0.9620801472892702</c:v>
                </c:pt>
                <c:pt idx="22">
                  <c:v>0.9389197649354419</c:v>
                </c:pt>
                <c:pt idx="23">
                  <c:v>1.6457746478873239</c:v>
                </c:pt>
                <c:pt idx="24">
                  <c:v>0.8011824324324325</c:v>
                </c:pt>
                <c:pt idx="25">
                  <c:v>1.3595475294117645</c:v>
                </c:pt>
                <c:pt idx="26">
                  <c:v>1.1266931772123396</c:v>
                </c:pt>
                <c:pt idx="27">
                  <c:v>1.1071270813049399</c:v>
                </c:pt>
                <c:pt idx="28">
                  <c:v>1.0365313409700392</c:v>
                </c:pt>
                <c:pt idx="29">
                  <c:v>1.109349324714503</c:v>
                </c:pt>
                <c:pt idx="30">
                  <c:v>0.941572920065253</c:v>
                </c:pt>
                <c:pt idx="31">
                  <c:v>0.9330795168740771</c:v>
                </c:pt>
                <c:pt idx="32">
                  <c:v>0.8873632087887611</c:v>
                </c:pt>
                <c:pt idx="33">
                  <c:v>0.8490665948806776</c:v>
                </c:pt>
                <c:pt idx="34">
                  <c:v>0.9231490780583664</c:v>
                </c:pt>
                <c:pt idx="35">
                  <c:v>1.0851048410091075</c:v>
                </c:pt>
                <c:pt idx="36">
                  <c:v>1.0114112006446414</c:v>
                </c:pt>
                <c:pt idx="37">
                  <c:v>1.2066972972972974</c:v>
                </c:pt>
                <c:pt idx="38">
                  <c:v>1.0433402873961217</c:v>
                </c:pt>
                <c:pt idx="39">
                  <c:v>0.8629726573832318</c:v>
                </c:pt>
                <c:pt idx="40">
                  <c:v>1.050723672202957</c:v>
                </c:pt>
                <c:pt idx="41">
                  <c:v>0.9005380566000396</c:v>
                </c:pt>
                <c:pt idx="42">
                  <c:v>0.9176403575915452</c:v>
                </c:pt>
                <c:pt idx="43">
                  <c:v>0.8080330907698199</c:v>
                </c:pt>
                <c:pt idx="44">
                  <c:v>0.8637355492079631</c:v>
                </c:pt>
              </c:numCache>
            </c:numRef>
          </c:xVal>
          <c:yVal>
            <c:numRef>
              <c:f>Sheet1!$B$92:$B$136</c:f>
              <c:numCache>
                <c:formatCode>General</c:formatCode>
                <c:ptCount val="45"/>
                <c:pt idx="0">
                  <c:v>0.46601941747572817</c:v>
                </c:pt>
                <c:pt idx="1">
                  <c:v>0.45348837209302323</c:v>
                </c:pt>
                <c:pt idx="2">
                  <c:v>0.4423076923076923</c:v>
                </c:pt>
                <c:pt idx="3">
                  <c:v>0.43617021276595747</c:v>
                </c:pt>
                <c:pt idx="4">
                  <c:v>0.46846846846846846</c:v>
                </c:pt>
                <c:pt idx="5">
                  <c:v>0.44660194174757284</c:v>
                </c:pt>
                <c:pt idx="6">
                  <c:v>0.42727272727272725</c:v>
                </c:pt>
                <c:pt idx="7">
                  <c:v>0.41379310344827586</c:v>
                </c:pt>
                <c:pt idx="8">
                  <c:v>0.48717948717948717</c:v>
                </c:pt>
                <c:pt idx="9">
                  <c:v>0.5494505494505495</c:v>
                </c:pt>
                <c:pt idx="10">
                  <c:v>0.4444444444444444</c:v>
                </c:pt>
                <c:pt idx="11">
                  <c:v>0.4966442953020134</c:v>
                </c:pt>
                <c:pt idx="12">
                  <c:v>0.553030303030303</c:v>
                </c:pt>
                <c:pt idx="13">
                  <c:v>0.5151515151515151</c:v>
                </c:pt>
                <c:pt idx="14">
                  <c:v>0.47</c:v>
                </c:pt>
                <c:pt idx="15">
                  <c:v>0.43333333333333335</c:v>
                </c:pt>
                <c:pt idx="16">
                  <c:v>0.4461538461538462</c:v>
                </c:pt>
                <c:pt idx="17">
                  <c:v>0.5084745762711864</c:v>
                </c:pt>
                <c:pt idx="18">
                  <c:v>0.46808510638297873</c:v>
                </c:pt>
                <c:pt idx="19">
                  <c:v>0.4939759036144578</c:v>
                </c:pt>
                <c:pt idx="20">
                  <c:v>0.43137254901960786</c:v>
                </c:pt>
                <c:pt idx="21">
                  <c:v>0.44594594594594594</c:v>
                </c:pt>
                <c:pt idx="22">
                  <c:v>0.39285714285714285</c:v>
                </c:pt>
                <c:pt idx="23">
                  <c:v>0.3333333333333333</c:v>
                </c:pt>
                <c:pt idx="24">
                  <c:v>0.4</c:v>
                </c:pt>
                <c:pt idx="25">
                  <c:v>0.4727272727272727</c:v>
                </c:pt>
                <c:pt idx="26">
                  <c:v>0.4368932038834951</c:v>
                </c:pt>
                <c:pt idx="27">
                  <c:v>0.46733668341708545</c:v>
                </c:pt>
                <c:pt idx="28">
                  <c:v>0.5508474576271186</c:v>
                </c:pt>
                <c:pt idx="29">
                  <c:v>0.3275862068965517</c:v>
                </c:pt>
                <c:pt idx="30">
                  <c:v>0.3333333333333333</c:v>
                </c:pt>
                <c:pt idx="31">
                  <c:v>0.4423076923076923</c:v>
                </c:pt>
                <c:pt idx="32">
                  <c:v>0.5</c:v>
                </c:pt>
                <c:pt idx="33">
                  <c:v>0.38666666666666666</c:v>
                </c:pt>
                <c:pt idx="34">
                  <c:v>0.36486486486486486</c:v>
                </c:pt>
                <c:pt idx="35">
                  <c:v>0.3783783783783784</c:v>
                </c:pt>
                <c:pt idx="36">
                  <c:v>0.28703703703703703</c:v>
                </c:pt>
                <c:pt idx="37">
                  <c:v>0.4117647058823529</c:v>
                </c:pt>
                <c:pt idx="38">
                  <c:v>0.42134831460674155</c:v>
                </c:pt>
                <c:pt idx="39">
                  <c:v>0.42452830188679247</c:v>
                </c:pt>
                <c:pt idx="40">
                  <c:v>0.42727272727272725</c:v>
                </c:pt>
                <c:pt idx="41">
                  <c:v>0.3467741935483871</c:v>
                </c:pt>
                <c:pt idx="42">
                  <c:v>0.4644808743169399</c:v>
                </c:pt>
                <c:pt idx="43">
                  <c:v>0.4854014598540146</c:v>
                </c:pt>
                <c:pt idx="44">
                  <c:v>0.4268292682926829</c:v>
                </c:pt>
              </c:numCache>
            </c:numRef>
          </c:yVal>
          <c:smooth val="0"/>
          <c:extLst>
            <c:ext xmlns:c16="http://schemas.microsoft.com/office/drawing/2014/chart" uri="{C3380CC4-5D6E-409C-BE32-E72D297353CC}">
              <c16:uniqueId val="{00000002-096C-4121-9522-6AB7243CCAAE}"/>
            </c:ext>
          </c:extLst>
        </c:ser>
        <c:ser>
          <c:idx val="2"/>
          <c:order val="2"/>
          <c:tx>
            <c:strRef>
              <c:f>Sheet1!$B$1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9:$A$140</c:f>
              <c:numCache>
                <c:formatCode>General</c:formatCode>
                <c:ptCount val="2"/>
                <c:pt idx="0">
                  <c:v>0</c:v>
                </c:pt>
                <c:pt idx="1">
                  <c:v>-1.097487234030895</c:v>
                </c:pt>
              </c:numCache>
            </c:numRef>
          </c:xVal>
          <c:yVal>
            <c:numRef>
              <c:f>Sheet1!$B$139:$B$140</c:f>
              <c:numCache>
                <c:formatCode>General</c:formatCode>
                <c:ptCount val="2"/>
                <c:pt idx="0">
                  <c:v>0.5369395849048754</c:v>
                </c:pt>
                <c:pt idx="1">
                  <c:v>0.5369395849048754</c:v>
                </c:pt>
              </c:numCache>
            </c:numRef>
          </c:yVal>
          <c:smooth val="0"/>
          <c:extLst>
            <c:ext xmlns:c16="http://schemas.microsoft.com/office/drawing/2014/chart" uri="{C3380CC4-5D6E-409C-BE32-E72D297353CC}">
              <c16:uniqueId val="{00000005-096C-4121-9522-6AB7243CCAAE}"/>
            </c:ext>
          </c:extLst>
        </c:ser>
        <c:ser>
          <c:idx val="3"/>
          <c:order val="3"/>
          <c:tx>
            <c:strRef>
              <c:f>Sheet1!$B$1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097487234030895</c:v>
                </c:pt>
                <c:pt idx="1">
                  <c:v>-1.097487234030895</c:v>
                </c:pt>
              </c:numCache>
            </c:numRef>
          </c:xVal>
          <c:yVal>
            <c:numRef>
              <c:f>Sheet1!$B$143:$B$144</c:f>
              <c:numCache>
                <c:formatCode>General</c:formatCode>
                <c:ptCount val="2"/>
                <c:pt idx="0">
                  <c:v>0.53693958490487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7:$A$148</c:f>
              <c:numCache>
                <c:formatCode>General</c:formatCode>
                <c:ptCount val="2"/>
                <c:pt idx="0">
                  <c:v>0</c:v>
                </c:pt>
                <c:pt idx="1">
                  <c:v>0.012085917791649525</c:v>
                </c:pt>
              </c:numCache>
            </c:numRef>
          </c:xVal>
          <c:yVal>
            <c:numRef>
              <c:f>Sheet1!$B$147:$B$148</c:f>
              <c:numCache>
                <c:formatCode>General</c:formatCode>
                <c:ptCount val="2"/>
                <c:pt idx="0">
                  <c:v>0.4850876304535267</c:v>
                </c:pt>
                <c:pt idx="1">
                  <c:v>0.4850876304535267</c:v>
                </c:pt>
              </c:numCache>
            </c:numRef>
          </c:yVal>
          <c:smooth val="0"/>
          <c:extLst>
            <c:ext xmlns:c16="http://schemas.microsoft.com/office/drawing/2014/chart" uri="{C3380CC4-5D6E-409C-BE32-E72D297353CC}">
              <c16:uniqueId val="{0000000D-096C-4121-9522-6AB7243CCAAE}"/>
            </c:ext>
          </c:extLst>
        </c:ser>
        <c:ser>
          <c:idx val="5"/>
          <c:order val="5"/>
          <c:tx>
            <c:strRef>
              <c:f>Sheet1!$B$1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1:$A$152</c:f>
              <c:numCache>
                <c:formatCode>General</c:formatCode>
                <c:ptCount val="2"/>
                <c:pt idx="0">
                  <c:v>0.012085917791649525</c:v>
                </c:pt>
                <c:pt idx="1">
                  <c:v>0.012085917791649525</c:v>
                </c:pt>
              </c:numCache>
            </c:numRef>
          </c:xVal>
          <c:yVal>
            <c:numRef>
              <c:f>Sheet1!$B$151:$B$152</c:f>
              <c:numCache>
                <c:formatCode>General</c:formatCode>
                <c:ptCount val="2"/>
                <c:pt idx="0">
                  <c:v>0.485087630453526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5:$A$156</c:f>
              <c:numCache>
                <c:formatCode>General</c:formatCode>
                <c:ptCount val="2"/>
                <c:pt idx="0">
                  <c:v>0</c:v>
                </c:pt>
                <c:pt idx="1">
                  <c:v>1.6265357337891293</c:v>
                </c:pt>
              </c:numCache>
            </c:numRef>
          </c:xVal>
          <c:yVal>
            <c:numRef>
              <c:f>Sheet1!$B$155:$B$156</c:f>
              <c:numCache>
                <c:formatCode>General</c:formatCode>
                <c:ptCount val="2"/>
                <c:pt idx="0">
                  <c:v>0.4096420609698143</c:v>
                </c:pt>
                <c:pt idx="1">
                  <c:v>0.4096420609698143</c:v>
                </c:pt>
              </c:numCache>
            </c:numRef>
          </c:yVal>
          <c:smooth val="0"/>
          <c:extLst>
            <c:ext xmlns:c16="http://schemas.microsoft.com/office/drawing/2014/chart" uri="{C3380CC4-5D6E-409C-BE32-E72D297353CC}">
              <c16:uniqueId val="{00000015-096C-4121-9522-6AB7243CCAAE}"/>
            </c:ext>
          </c:extLst>
        </c:ser>
        <c:ser>
          <c:idx val="7"/>
          <c:order val="7"/>
          <c:tx>
            <c:strRef>
              <c:f>Sheet1!$B$1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9:$A$160</c:f>
              <c:numCache>
                <c:formatCode>General</c:formatCode>
                <c:ptCount val="2"/>
                <c:pt idx="0">
                  <c:v>1.6265357337891293</c:v>
                </c:pt>
                <c:pt idx="1">
                  <c:v>1.6265357337891293</c:v>
                </c:pt>
              </c:numCache>
            </c:numRef>
          </c:xVal>
          <c:yVal>
            <c:numRef>
              <c:f>Sheet1!$B$159:$B$160</c:f>
              <c:numCache>
                <c:formatCode>General</c:formatCode>
                <c:ptCount val="2"/>
                <c:pt idx="0">
                  <c:v>0.40964206096981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3:$A$210</c:f>
              <c:numCache>
                <c:formatCode>General</c:formatCode>
                <c:ptCount val="48"/>
                <c:pt idx="0">
                  <c:v>1.350624619134674</c:v>
                </c:pt>
                <c:pt idx="1">
                  <c:v>1.4553168083714847</c:v>
                </c:pt>
                <c:pt idx="2">
                  <c:v>1.1215980739989864</c:v>
                </c:pt>
                <c:pt idx="3">
                  <c:v>0.7590067961165049</c:v>
                </c:pt>
                <c:pt idx="4">
                  <c:v>0.42311216381418093</c:v>
                </c:pt>
                <c:pt idx="5">
                  <c:v>0.938192287694974</c:v>
                </c:pt>
                <c:pt idx="6">
                  <c:v>0.7846104511278195</c:v>
                </c:pt>
                <c:pt idx="7">
                  <c:v>0.6556727108433735</c:v>
                </c:pt>
                <c:pt idx="8">
                  <c:v>0.8507992381285739</c:v>
                </c:pt>
                <c:pt idx="9">
                  <c:v>0.9561036639857016</c:v>
                </c:pt>
                <c:pt idx="10">
                  <c:v>1.0037640349398782</c:v>
                </c:pt>
                <c:pt idx="11">
                  <c:v>0.7866501184032475</c:v>
                </c:pt>
                <c:pt idx="12">
                  <c:v>0.9602710191082803</c:v>
                </c:pt>
                <c:pt idx="13">
                  <c:v>0.6938531654676259</c:v>
                </c:pt>
                <c:pt idx="14">
                  <c:v>1.0737471443028836</c:v>
                </c:pt>
                <c:pt idx="15">
                  <c:v>1.1521673941510258</c:v>
                </c:pt>
                <c:pt idx="16">
                  <c:v>1.4174698633190375</c:v>
                </c:pt>
                <c:pt idx="17">
                  <c:v>0.8984948275862069</c:v>
                </c:pt>
                <c:pt idx="18">
                  <c:v>0.8984435264054514</c:v>
                </c:pt>
                <c:pt idx="19">
                  <c:v>0.9439196302816901</c:v>
                </c:pt>
                <c:pt idx="20">
                  <c:v>0.8949202725724021</c:v>
                </c:pt>
                <c:pt idx="21">
                  <c:v>0.9620801472892702</c:v>
                </c:pt>
                <c:pt idx="22">
                  <c:v>0.9389197649354419</c:v>
                </c:pt>
                <c:pt idx="23">
                  <c:v>1.6457746478873239</c:v>
                </c:pt>
                <c:pt idx="24">
                  <c:v>0.8011824324324325</c:v>
                </c:pt>
                <c:pt idx="25">
                  <c:v>1.3595475294117645</c:v>
                </c:pt>
                <c:pt idx="26">
                  <c:v>1.1266931772123396</c:v>
                </c:pt>
                <c:pt idx="27">
                  <c:v>1.1071270813049399</c:v>
                </c:pt>
                <c:pt idx="28">
                  <c:v>1.0365313409700392</c:v>
                </c:pt>
                <c:pt idx="29">
                  <c:v>1.109349324714503</c:v>
                </c:pt>
                <c:pt idx="30">
                  <c:v>0.941572920065253</c:v>
                </c:pt>
                <c:pt idx="31">
                  <c:v>0.9330795168740771</c:v>
                </c:pt>
                <c:pt idx="32">
                  <c:v>0.8873632087887611</c:v>
                </c:pt>
                <c:pt idx="33">
                  <c:v>0.8490665948806776</c:v>
                </c:pt>
                <c:pt idx="34">
                  <c:v>0.9231490780583664</c:v>
                </c:pt>
                <c:pt idx="35">
                  <c:v>1.0851048410091075</c:v>
                </c:pt>
                <c:pt idx="36">
                  <c:v>1.0114112006446414</c:v>
                </c:pt>
                <c:pt idx="37">
                  <c:v>1.2066972972972974</c:v>
                </c:pt>
                <c:pt idx="38">
                  <c:v>1.0433402873961217</c:v>
                </c:pt>
                <c:pt idx="39">
                  <c:v>0.8629726573832318</c:v>
                </c:pt>
                <c:pt idx="40">
                  <c:v>1.050723672202957</c:v>
                </c:pt>
                <c:pt idx="41">
                  <c:v>0.9005380566000396</c:v>
                </c:pt>
                <c:pt idx="42">
                  <c:v>0.9176403575915452</c:v>
                </c:pt>
                <c:pt idx="43">
                  <c:v>0.8080330907698199</c:v>
                </c:pt>
                <c:pt idx="44">
                  <c:v>0.8637355492079631</c:v>
                </c:pt>
                <c:pt idx="45">
                  <c:v>0.012085917791649525</c:v>
                </c:pt>
                <c:pt idx="46">
                  <c:v>-1.097487234030895</c:v>
                </c:pt>
                <c:pt idx="47">
                  <c:v>1.6265357337891293</c:v>
                </c:pt>
              </c:numCache>
            </c:numRef>
          </c:xVal>
          <c:yVal>
            <c:numRef>
              <c:f>Sheet1!$B$163:$B$210</c:f>
              <c:numCache>
                <c:formatCode>General</c:formatCode>
                <c:ptCount val="48"/>
                <c:pt idx="0">
                  <c:v>0.4225357854855745</c:v>
                </c:pt>
                <c:pt idx="1">
                  <c:v>0.41764336841617944</c:v>
                </c:pt>
                <c:pt idx="2">
                  <c:v>0.43323852641529076</c:v>
                </c:pt>
                <c:pt idx="3">
                  <c:v>0.45018294003447107</c:v>
                </c:pt>
                <c:pt idx="4">
                  <c:v>0.46587978088357096</c:v>
                </c:pt>
                <c:pt idx="5">
                  <c:v>0.44180934345599576</c:v>
                </c:pt>
                <c:pt idx="6">
                  <c:v>0.4489864442908114</c:v>
                </c:pt>
                <c:pt idx="7">
                  <c:v>0.45501189094595734</c:v>
                </c:pt>
                <c:pt idx="8">
                  <c:v>0.44589334676667264</c:v>
                </c:pt>
                <c:pt idx="9">
                  <c:v>0.4409723189965789</c:v>
                </c:pt>
                <c:pt idx="10">
                  <c:v>0.4387450810900099</c:v>
                </c:pt>
                <c:pt idx="11">
                  <c:v>0.44889112769587786</c:v>
                </c:pt>
                <c:pt idx="12">
                  <c:v>0.4407775724783853</c:v>
                </c:pt>
                <c:pt idx="13">
                  <c:v>0.45322766320860025</c:v>
                </c:pt>
                <c:pt idx="14">
                  <c:v>0.43547466940683804</c:v>
                </c:pt>
                <c:pt idx="15">
                  <c:v>0.43180997797436227</c:v>
                </c:pt>
                <c:pt idx="16">
                  <c:v>0.419412010770006</c:v>
                </c:pt>
                <c:pt idx="17">
                  <c:v>0.4436644630486184</c:v>
                </c:pt>
                <c:pt idx="18">
                  <c:v>0.4436668604268205</c:v>
                </c:pt>
                <c:pt idx="19">
                  <c:v>0.4415416964726077</c:v>
                </c:pt>
                <c:pt idx="20">
                  <c:v>0.44383150716234376</c:v>
                </c:pt>
                <c:pt idx="21">
                  <c:v>0.4406930293079929</c:v>
                </c:pt>
                <c:pt idx="22">
                  <c:v>0.4417753473948301</c:v>
                </c:pt>
                <c:pt idx="23">
                  <c:v>0.40874299875307407</c:v>
                </c:pt>
                <c:pt idx="24">
                  <c:v>0.4482120116917854</c:v>
                </c:pt>
                <c:pt idx="25">
                  <c:v>0.4221188050129475</c:v>
                </c:pt>
                <c:pt idx="26">
                  <c:v>0.43300042489011437</c:v>
                </c:pt>
                <c:pt idx="27">
                  <c:v>0.43391477678490814</c:v>
                </c:pt>
                <c:pt idx="28">
                  <c:v>0.437213817597397</c:v>
                </c:pt>
                <c:pt idx="29">
                  <c:v>0.4338109281437769</c:v>
                </c:pt>
                <c:pt idx="30">
                  <c:v>0.4416513616272245</c:v>
                </c:pt>
                <c:pt idx="31">
                  <c:v>0.4420482706139663</c:v>
                </c:pt>
                <c:pt idx="32">
                  <c:v>0.44418465965747367</c:v>
                </c:pt>
                <c:pt idx="33">
                  <c:v>0.44597431568577706</c:v>
                </c:pt>
                <c:pt idx="34">
                  <c:v>0.44251233434902365</c:v>
                </c:pt>
                <c:pt idx="35">
                  <c:v>0.43494390785108483</c:v>
                </c:pt>
                <c:pt idx="36">
                  <c:v>0.43838771800209275</c:v>
                </c:pt>
                <c:pt idx="37">
                  <c:v>0.42926171691601506</c:v>
                </c:pt>
                <c:pt idx="38">
                  <c:v>0.43689562570588725</c:v>
                </c:pt>
                <c:pt idx="39">
                  <c:v>0.4453244653191783</c:v>
                </c:pt>
                <c:pt idx="40">
                  <c:v>0.4365505894799548</c:v>
                </c:pt>
                <c:pt idx="41">
                  <c:v>0.44356898000850975</c:v>
                </c:pt>
                <c:pt idx="42">
                  <c:v>0.4427697648052866</c:v>
                </c:pt>
                <c:pt idx="43">
                  <c:v>0.4478918705424718</c:v>
                </c:pt>
                <c:pt idx="44">
                  <c:v>0.4452888142833883</c:v>
                </c:pt>
                <c:pt idx="45">
                  <c:v>0.4850876304535267</c:v>
                </c:pt>
                <c:pt idx="46">
                  <c:v>0.5369395849048754</c:v>
                </c:pt>
                <c:pt idx="47">
                  <c:v>0.4096420609698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3846153846154"/>
          <c:min val="0.229629629629629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4</c:f>
              <c:numCache>
                <c:formatCode>General</c:formatCode>
                <c:ptCount val="83"/>
                <c:pt idx="0">
                  <c:v>736.8026</c:v>
                </c:pt>
                <c:pt idx="1">
                  <c:v>786.5806</c:v>
                </c:pt>
                <c:pt idx="2">
                  <c:v>807.1205</c:v>
                </c:pt>
                <c:pt idx="3">
                  <c:v>800.9221</c:v>
                </c:pt>
                <c:pt idx="4">
                  <c:v>812.4634</c:v>
                </c:pt>
                <c:pt idx="5">
                  <c:v>815.6061</c:v>
                </c:pt>
                <c:pt idx="6">
                  <c:v>764.4848</c:v>
                </c:pt>
                <c:pt idx="7">
                  <c:v>806.7759</c:v>
                </c:pt>
                <c:pt idx="8">
                  <c:v>819.9434</c:v>
                </c:pt>
                <c:pt idx="9">
                  <c:v>720.0741</c:v>
                </c:pt>
                <c:pt idx="10">
                  <c:v>717.0306</c:v>
                </c:pt>
                <c:pt idx="11">
                  <c:v>795.0909</c:v>
                </c:pt>
                <c:pt idx="12">
                  <c:v>772.9358</c:v>
                </c:pt>
                <c:pt idx="13">
                  <c:v>779.8942</c:v>
                </c:pt>
                <c:pt idx="14">
                  <c:v>773.2126</c:v>
                </c:pt>
                <c:pt idx="15">
                  <c:v>789.8571</c:v>
                </c:pt>
                <c:pt idx="16">
                  <c:v>821.7903</c:v>
                </c:pt>
                <c:pt idx="17">
                  <c:v>835.0833</c:v>
                </c:pt>
                <c:pt idx="18">
                  <c:v>843.7111</c:v>
                </c:pt>
                <c:pt idx="19">
                  <c:v>871.5556</c:v>
                </c:pt>
                <c:pt idx="20">
                  <c:v>891.4211</c:v>
                </c:pt>
                <c:pt idx="21">
                  <c:v>918.92</c:v>
                </c:pt>
                <c:pt idx="22">
                  <c:v>887.5714</c:v>
                </c:pt>
                <c:pt idx="23">
                  <c:v>874.2941</c:v>
                </c:pt>
                <c:pt idx="24">
                  <c:v>881.0263</c:v>
                </c:pt>
                <c:pt idx="25">
                  <c:v>822.9429</c:v>
                </c:pt>
                <c:pt idx="26">
                  <c:v>844.1915</c:v>
                </c:pt>
                <c:pt idx="27">
                  <c:v>871.0526</c:v>
                </c:pt>
                <c:pt idx="28">
                  <c:v>889.2927</c:v>
                </c:pt>
                <c:pt idx="29">
                  <c:v>795.2419</c:v>
                </c:pt>
                <c:pt idx="30">
                  <c:v>792.7</c:v>
                </c:pt>
                <c:pt idx="31">
                  <c:v>838.525</c:v>
                </c:pt>
                <c:pt idx="32">
                  <c:v>793.0244</c:v>
                </c:pt>
                <c:pt idx="33">
                  <c:v>673.0476</c:v>
                </c:pt>
                <c:pt idx="34">
                  <c:v>757.4554</c:v>
                </c:pt>
                <c:pt idx="35">
                  <c:v>834.331</c:v>
                </c:pt>
                <c:pt idx="36">
                  <c:v>916.0741</c:v>
                </c:pt>
                <c:pt idx="37">
                  <c:v>954.2373</c:v>
                </c:pt>
                <c:pt idx="38">
                  <c:v>965.7556</c:v>
                </c:pt>
                <c:pt idx="39">
                  <c:v>946.2361</c:v>
                </c:pt>
                <c:pt idx="40">
                  <c:v>990.8696</c:v>
                </c:pt>
                <c:pt idx="41">
                  <c:v>1022.9273</c:v>
                </c:pt>
                <c:pt idx="42">
                  <c:v>1016.2241</c:v>
                </c:pt>
                <c:pt idx="43">
                  <c:v>998.5366</c:v>
                </c:pt>
                <c:pt idx="44">
                  <c:v>979.6</c:v>
                </c:pt>
                <c:pt idx="45">
                  <c:v>942.9531</c:v>
                </c:pt>
                <c:pt idx="46">
                  <c:v>945.6701</c:v>
                </c:pt>
                <c:pt idx="47">
                  <c:v>962.44</c:v>
                </c:pt>
                <c:pt idx="48">
                  <c:v>937.4432</c:v>
                </c:pt>
                <c:pt idx="49">
                  <c:v>990.2935</c:v>
                </c:pt>
                <c:pt idx="50">
                  <c:v>1016.0727</c:v>
                </c:pt>
                <c:pt idx="51">
                  <c:v>989.2927</c:v>
                </c:pt>
                <c:pt idx="52">
                  <c:v>1000.0323</c:v>
                </c:pt>
                <c:pt idx="53">
                  <c:v>1025.1731</c:v>
                </c:pt>
                <c:pt idx="54">
                  <c:v>1023.5227</c:v>
                </c:pt>
                <c:pt idx="55">
                  <c:v>1023.8444</c:v>
                </c:pt>
                <c:pt idx="56">
                  <c:v>1007.2</c:v>
                </c:pt>
                <c:pt idx="57">
                  <c:v>927.3125</c:v>
                </c:pt>
                <c:pt idx="58">
                  <c:v>933.1094</c:v>
                </c:pt>
                <c:pt idx="59">
                  <c:v>962.1739</c:v>
                </c:pt>
                <c:pt idx="60">
                  <c:v>989.6957</c:v>
                </c:pt>
                <c:pt idx="61">
                  <c:v>931.1781</c:v>
                </c:pt>
                <c:pt idx="62">
                  <c:v>954.0581</c:v>
                </c:pt>
                <c:pt idx="63">
                  <c:v>954.8571</c:v>
                </c:pt>
                <c:pt idx="64">
                  <c:v>937.9885</c:v>
                </c:pt>
                <c:pt idx="65">
                  <c:v>953.2568</c:v>
                </c:pt>
                <c:pt idx="66">
                  <c:v>970.7937</c:v>
                </c:pt>
                <c:pt idx="67">
                  <c:v>985.1522</c:v>
                </c:pt>
                <c:pt idx="68">
                  <c:v>947.0513</c:v>
                </c:pt>
                <c:pt idx="69">
                  <c:v>1014.0</c:v>
                </c:pt>
                <c:pt idx="70">
                  <c:v>1017.0526</c:v>
                </c:pt>
                <c:pt idx="71">
                  <c:v>1159.0606</c:v>
                </c:pt>
                <c:pt idx="72">
                  <c:v>1155.2414</c:v>
                </c:pt>
                <c:pt idx="73">
                  <c:v>1064.9737</c:v>
                </c:pt>
                <c:pt idx="74">
                  <c:v>1088.0</c:v>
                </c:pt>
                <c:pt idx="75">
                  <c:v>1060.6842</c:v>
                </c:pt>
                <c:pt idx="76">
                  <c:v>1034.4545</c:v>
                </c:pt>
                <c:pt idx="77">
                  <c:v>1011.4286</c:v>
                </c:pt>
                <c:pt idx="78">
                  <c:v>1051.6966</c:v>
                </c:pt>
                <c:pt idx="79">
                  <c:v>1009.4085</c:v>
                </c:pt>
                <c:pt idx="80">
                  <c:v>1072.8293</c:v>
                </c:pt>
                <c:pt idx="81">
                  <c:v>1085.4878</c:v>
                </c:pt>
                <c:pt idx="82">
                  <c:v>1139.925</c:v>
                </c:pt>
              </c:numCache>
            </c:numRef>
          </c:xVal>
          <c:yVal>
            <c:numRef>
              <c:f>Sheet1!$B$2:$B$84</c:f>
              <c:numCache>
                <c:formatCode>General</c:formatCode>
                <c:ptCount val="83"/>
                <c:pt idx="0">
                  <c:v>0.5170068027210885</c:v>
                </c:pt>
                <c:pt idx="1">
                  <c:v>0.5961538461538461</c:v>
                </c:pt>
                <c:pt idx="2">
                  <c:v>0.538961038961039</c:v>
                </c:pt>
                <c:pt idx="3">
                  <c:v>0.506578947368421</c:v>
                </c:pt>
                <c:pt idx="4">
                  <c:v>0.5616438356164384</c:v>
                </c:pt>
                <c:pt idx="5">
                  <c:v>0.5116279069767442</c:v>
                </c:pt>
                <c:pt idx="6">
                  <c:v>0.515625</c:v>
                </c:pt>
                <c:pt idx="7">
                  <c:v>0.5087719298245614</c:v>
                </c:pt>
                <c:pt idx="8">
                  <c:v>0.5760869565217391</c:v>
                </c:pt>
                <c:pt idx="9">
                  <c:v>0.5586206896551724</c:v>
                </c:pt>
                <c:pt idx="10">
                  <c:v>0.5414364640883977</c:v>
                </c:pt>
                <c:pt idx="11">
                  <c:v>0.5561797752808989</c:v>
                </c:pt>
                <c:pt idx="12">
                  <c:v>0.5477386934673367</c:v>
                </c:pt>
                <c:pt idx="13">
                  <c:v>0.4748858447488584</c:v>
                </c:pt>
                <c:pt idx="14">
                  <c:v>0.5772727272727273</c:v>
                </c:pt>
                <c:pt idx="15">
                  <c:v>0.5416666666666666</c:v>
                </c:pt>
                <c:pt idx="16">
                  <c:v>0.484375</c:v>
                </c:pt>
                <c:pt idx="17">
                  <c:v>0.4948453608247423</c:v>
                </c:pt>
                <c:pt idx="18">
                  <c:v>0.4945054945054945</c:v>
                </c:pt>
                <c:pt idx="19">
                  <c:v>0.5070422535211268</c:v>
                </c:pt>
                <c:pt idx="20">
                  <c:v>0.4453125</c:v>
                </c:pt>
                <c:pt idx="21">
                  <c:v>0.44642857142857145</c:v>
                </c:pt>
                <c:pt idx="22">
                  <c:v>0.4666666666666667</c:v>
                </c:pt>
                <c:pt idx="23">
                  <c:v>0.4533333333333333</c:v>
                </c:pt>
                <c:pt idx="24">
                  <c:v>0.5</c:v>
                </c:pt>
                <c:pt idx="25">
                  <c:v>0.546875</c:v>
                </c:pt>
                <c:pt idx="26">
                  <c:v>0.5164835164835165</c:v>
                </c:pt>
                <c:pt idx="27">
                  <c:v>0.3958333333333333</c:v>
                </c:pt>
                <c:pt idx="28">
                  <c:v>0.47126436781609193</c:v>
                </c:pt>
                <c:pt idx="29">
                  <c:v>0.44285714285714284</c:v>
                </c:pt>
                <c:pt idx="30">
                  <c:v>0.47058823529411764</c:v>
                </c:pt>
                <c:pt idx="31">
                  <c:v>0.47619047619047616</c:v>
                </c:pt>
                <c:pt idx="32">
                  <c:v>0.4019607843137255</c:v>
                </c:pt>
                <c:pt idx="33">
                  <c:v>0.5384615384615384</c:v>
                </c:pt>
                <c:pt idx="34">
                  <c:v>0.4827586206896552</c:v>
                </c:pt>
                <c:pt idx="35">
                  <c:v>0.4251497005988024</c:v>
                </c:pt>
                <c:pt idx="36">
                  <c:v>0.5142857142857142</c:v>
                </c:pt>
                <c:pt idx="37">
                  <c:v>0.5267857142857143</c:v>
                </c:pt>
                <c:pt idx="38">
                  <c:v>0.46875</c:v>
                </c:pt>
                <c:pt idx="39">
                  <c:v>0.4161849710982659</c:v>
                </c:pt>
                <c:pt idx="40">
                  <c:v>0.42990654205607476</c:v>
                </c:pt>
                <c:pt idx="41">
                  <c:v>0.4230769230769231</c:v>
                </c:pt>
                <c:pt idx="42">
                  <c:v>0.4172661870503597</c:v>
                </c:pt>
                <c:pt idx="43">
                  <c:v>0.41624365482233505</c:v>
                </c:pt>
                <c:pt idx="44">
                  <c:v>0.43956043956043955</c:v>
                </c:pt>
                <c:pt idx="45">
                  <c:v>0.460431654676259</c:v>
                </c:pt>
                <c:pt idx="46">
                  <c:v>0.47317073170731705</c:v>
                </c:pt>
                <c:pt idx="47">
                  <c:v>0.47468354430379744</c:v>
                </c:pt>
                <c:pt idx="48">
                  <c:v>0.4808743169398907</c:v>
                </c:pt>
                <c:pt idx="49">
                  <c:v>0.42201834862385323</c:v>
                </c:pt>
                <c:pt idx="50">
                  <c:v>0.3873239436619718</c:v>
                </c:pt>
                <c:pt idx="51">
                  <c:v>0.41</c:v>
                </c:pt>
                <c:pt idx="52">
                  <c:v>0.42758620689655175</c:v>
                </c:pt>
                <c:pt idx="53">
                  <c:v>0.40625</c:v>
                </c:pt>
                <c:pt idx="54">
                  <c:v>0.38596491228070173</c:v>
                </c:pt>
                <c:pt idx="55">
                  <c:v>0.39823008849557523</c:v>
                </c:pt>
                <c:pt idx="56">
                  <c:v>0.37815126050420167</c:v>
                </c:pt>
                <c:pt idx="57">
                  <c:v>0.45390070921985815</c:v>
                </c:pt>
                <c:pt idx="58">
                  <c:v>0.4266666666666667</c:v>
                </c:pt>
                <c:pt idx="59">
                  <c:v>0.41566265060240964</c:v>
                </c:pt>
                <c:pt idx="60">
                  <c:v>0.41818181818181815</c:v>
                </c:pt>
                <c:pt idx="61">
                  <c:v>0.43452380952380953</c:v>
                </c:pt>
                <c:pt idx="62">
                  <c:v>0.4387755102040816</c:v>
                </c:pt>
                <c:pt idx="63">
                  <c:v>0.3925233644859813</c:v>
                </c:pt>
                <c:pt idx="64">
                  <c:v>0.424390243902439</c:v>
                </c:pt>
                <c:pt idx="65">
                  <c:v>0.4457831325301205</c:v>
                </c:pt>
                <c:pt idx="66">
                  <c:v>0.42</c:v>
                </c:pt>
                <c:pt idx="67">
                  <c:v>0.4</c:v>
                </c:pt>
                <c:pt idx="68">
                  <c:v>0.4020618556701031</c:v>
                </c:pt>
                <c:pt idx="69">
                  <c:v>0.3717948717948718</c:v>
                </c:pt>
                <c:pt idx="70">
                  <c:v>0.4318181818181818</c:v>
                </c:pt>
                <c:pt idx="71">
                  <c:v>0.30275229357798167</c:v>
                </c:pt>
                <c:pt idx="72">
                  <c:v>0.3411764705882353</c:v>
                </c:pt>
                <c:pt idx="73">
                  <c:v>0.4470588235294118</c:v>
                </c:pt>
                <c:pt idx="74">
                  <c:v>0.4</c:v>
                </c:pt>
                <c:pt idx="75">
                  <c:v>0.3114754098360656</c:v>
                </c:pt>
                <c:pt idx="76">
                  <c:v>0.3793103448275862</c:v>
                </c:pt>
                <c:pt idx="77">
                  <c:v>0.32558139534883723</c:v>
                </c:pt>
                <c:pt idx="78">
                  <c:v>0.5345345345345346</c:v>
                </c:pt>
                <c:pt idx="79">
                  <c:v>0.4797297297297297</c:v>
                </c:pt>
                <c:pt idx="80">
                  <c:v>0.47126436781609193</c:v>
                </c:pt>
                <c:pt idx="81">
                  <c:v>0.45555555555555555</c:v>
                </c:pt>
                <c:pt idx="82">
                  <c:v>0.43478260869565216</c:v>
                </c:pt>
              </c:numCache>
            </c:numRef>
          </c:yVal>
          <c:smooth val="0"/>
          <c:extLst>
            <c:ext xmlns:c16="http://schemas.microsoft.com/office/drawing/2014/chart" uri="{C3380CC4-5D6E-409C-BE32-E72D297353CC}">
              <c16:uniqueId val="{00000000-F32D-48B7-BC20-E66FC6253BAD}"/>
            </c:ext>
          </c:extLst>
        </c:ser>
        <c:ser>
          <c:idx val="1"/>
          <c:order val="1"/>
          <c:tx>
            <c:strRef>
              <c:f>Sheet1!$B$8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7:$A$136</c:f>
              <c:numCache>
                <c:formatCode>General</c:formatCode>
                <c:ptCount val="50"/>
                <c:pt idx="0">
                  <c:v>1108.1875</c:v>
                </c:pt>
                <c:pt idx="1">
                  <c:v>1112.5897</c:v>
                </c:pt>
                <c:pt idx="2">
                  <c:v>1106.4565</c:v>
                </c:pt>
                <c:pt idx="3">
                  <c:v>1094.4878</c:v>
                </c:pt>
                <c:pt idx="4">
                  <c:v>692.2115</c:v>
                </c:pt>
                <c:pt idx="5">
                  <c:v>1082.6739</c:v>
                </c:pt>
                <c:pt idx="6">
                  <c:v>1043.5319</c:v>
                </c:pt>
                <c:pt idx="7">
                  <c:v>1088.4167</c:v>
                </c:pt>
                <c:pt idx="8">
                  <c:v>1085.0526</c:v>
                </c:pt>
                <c:pt idx="9">
                  <c:v>1069.88</c:v>
                </c:pt>
                <c:pt idx="10">
                  <c:v>1095.25</c:v>
                </c:pt>
                <c:pt idx="11">
                  <c:v>930.1351</c:v>
                </c:pt>
                <c:pt idx="12">
                  <c:v>904.5753</c:v>
                </c:pt>
                <c:pt idx="13">
                  <c:v>964.4559</c:v>
                </c:pt>
                <c:pt idx="14">
                  <c:v>1003.5957</c:v>
                </c:pt>
                <c:pt idx="15">
                  <c:v>1055.8462</c:v>
                </c:pt>
                <c:pt idx="16">
                  <c:v>1112.2414</c:v>
                </c:pt>
                <c:pt idx="17">
                  <c:v>1094.3667</c:v>
                </c:pt>
                <c:pt idx="18">
                  <c:v>1054.7727</c:v>
                </c:pt>
                <c:pt idx="19">
                  <c:v>1072.2927</c:v>
                </c:pt>
                <c:pt idx="20">
                  <c:v>1118.0</c:v>
                </c:pt>
                <c:pt idx="21">
                  <c:v>1172.2222</c:v>
                </c:pt>
                <c:pt idx="22">
                  <c:v>1177.0526</c:v>
                </c:pt>
                <c:pt idx="23">
                  <c:v>1211.1818</c:v>
                </c:pt>
                <c:pt idx="24">
                  <c:v>1263.0833</c:v>
                </c:pt>
                <c:pt idx="25">
                  <c:v>1050.6364</c:v>
                </c:pt>
                <c:pt idx="26">
                  <c:v>1184.0</c:v>
                </c:pt>
                <c:pt idx="27">
                  <c:v>1270.0455</c:v>
                </c:pt>
                <c:pt idx="28">
                  <c:v>1168.5</c:v>
                </c:pt>
                <c:pt idx="29">
                  <c:v>1185.75</c:v>
                </c:pt>
                <c:pt idx="30">
                  <c:v>1155.6154</c:v>
                </c:pt>
                <c:pt idx="31">
                  <c:v>1250.9111</c:v>
                </c:pt>
                <c:pt idx="32">
                  <c:v>1253.4409</c:v>
                </c:pt>
                <c:pt idx="33">
                  <c:v>1247.5231</c:v>
                </c:pt>
                <c:pt idx="34">
                  <c:v>1224.1053</c:v>
                </c:pt>
                <c:pt idx="35">
                  <c:v>1154.3684</c:v>
                </c:pt>
                <c:pt idx="36">
                  <c:v>1111.6087</c:v>
                </c:pt>
                <c:pt idx="37">
                  <c:v>1144.1915</c:v>
                </c:pt>
                <c:pt idx="38">
                  <c:v>1110.8621</c:v>
                </c:pt>
                <c:pt idx="39">
                  <c:v>1165.6296</c:v>
                </c:pt>
                <c:pt idx="40">
                  <c:v>1230.75</c:v>
                </c:pt>
                <c:pt idx="41">
                  <c:v>1255.1613</c:v>
                </c:pt>
                <c:pt idx="42">
                  <c:v>1183.1667</c:v>
                </c:pt>
                <c:pt idx="43">
                  <c:v>1205.2667</c:v>
                </c:pt>
                <c:pt idx="44">
                  <c:v>1189.8667</c:v>
                </c:pt>
                <c:pt idx="45">
                  <c:v>1151.383</c:v>
                </c:pt>
                <c:pt idx="46">
                  <c:v>1137.6047</c:v>
                </c:pt>
                <c:pt idx="47">
                  <c:v>1154.1294</c:v>
                </c:pt>
                <c:pt idx="48">
                  <c:v>1054.8872</c:v>
                </c:pt>
                <c:pt idx="49">
                  <c:v>1031.6143</c:v>
                </c:pt>
              </c:numCache>
            </c:numRef>
          </c:xVal>
          <c:yVal>
            <c:numRef>
              <c:f>Sheet1!$B$87:$B$136</c:f>
              <c:numCache>
                <c:formatCode>General</c:formatCode>
                <c:ptCount val="50"/>
                <c:pt idx="0">
                  <c:v>0.46601941747572817</c:v>
                </c:pt>
                <c:pt idx="1">
                  <c:v>0.45348837209302323</c:v>
                </c:pt>
                <c:pt idx="2">
                  <c:v>0.4423076923076923</c:v>
                </c:pt>
                <c:pt idx="3">
                  <c:v>0.43617021276595747</c:v>
                </c:pt>
                <c:pt idx="4">
                  <c:v>0.46846846846846846</c:v>
                </c:pt>
                <c:pt idx="5">
                  <c:v>0.44660194174757284</c:v>
                </c:pt>
                <c:pt idx="6">
                  <c:v>0.42727272727272725</c:v>
                </c:pt>
                <c:pt idx="7">
                  <c:v>0.41379310344827586</c:v>
                </c:pt>
                <c:pt idx="8">
                  <c:v>0.48717948717948717</c:v>
                </c:pt>
                <c:pt idx="9">
                  <c:v>0.5494505494505495</c:v>
                </c:pt>
                <c:pt idx="10">
                  <c:v>0.4444444444444444</c:v>
                </c:pt>
                <c:pt idx="11">
                  <c:v>0.4966442953020134</c:v>
                </c:pt>
                <c:pt idx="12">
                  <c:v>0.553030303030303</c:v>
                </c:pt>
                <c:pt idx="13">
                  <c:v>0.5151515151515151</c:v>
                </c:pt>
                <c:pt idx="14">
                  <c:v>0.47</c:v>
                </c:pt>
                <c:pt idx="15">
                  <c:v>0.43333333333333335</c:v>
                </c:pt>
                <c:pt idx="16">
                  <c:v>0.4461538461538462</c:v>
                </c:pt>
                <c:pt idx="17">
                  <c:v>0.5084745762711864</c:v>
                </c:pt>
                <c:pt idx="18">
                  <c:v>0.46808510638297873</c:v>
                </c:pt>
                <c:pt idx="19">
                  <c:v>0.4939759036144578</c:v>
                </c:pt>
                <c:pt idx="20">
                  <c:v>0.4423076923076923</c:v>
                </c:pt>
                <c:pt idx="21">
                  <c:v>0.3333333333333333</c:v>
                </c:pt>
                <c:pt idx="22">
                  <c:v>0.4318181818181818</c:v>
                </c:pt>
                <c:pt idx="23">
                  <c:v>0.34375</c:v>
                </c:pt>
                <c:pt idx="24">
                  <c:v>0.3333333333333333</c:v>
                </c:pt>
                <c:pt idx="25">
                  <c:v>0.43137254901960786</c:v>
                </c:pt>
                <c:pt idx="26">
                  <c:v>0.44594594594594594</c:v>
                </c:pt>
                <c:pt idx="27">
                  <c:v>0.39285714285714285</c:v>
                </c:pt>
                <c:pt idx="28">
                  <c:v>0.3333333333333333</c:v>
                </c:pt>
                <c:pt idx="29">
                  <c:v>0.4</c:v>
                </c:pt>
                <c:pt idx="30">
                  <c:v>0.4727272727272727</c:v>
                </c:pt>
                <c:pt idx="31">
                  <c:v>0.4368932038834951</c:v>
                </c:pt>
                <c:pt idx="32">
                  <c:v>0.46733668341708545</c:v>
                </c:pt>
                <c:pt idx="33">
                  <c:v>0.5508474576271186</c:v>
                </c:pt>
                <c:pt idx="34">
                  <c:v>0.3275862068965517</c:v>
                </c:pt>
                <c:pt idx="35">
                  <c:v>0.3333333333333333</c:v>
                </c:pt>
                <c:pt idx="36">
                  <c:v>0.4423076923076923</c:v>
                </c:pt>
                <c:pt idx="37">
                  <c:v>0.5</c:v>
                </c:pt>
                <c:pt idx="38">
                  <c:v>0.38666666666666666</c:v>
                </c:pt>
                <c:pt idx="39">
                  <c:v>0.36486486486486486</c:v>
                </c:pt>
                <c:pt idx="40">
                  <c:v>0.3783783783783784</c:v>
                </c:pt>
                <c:pt idx="41">
                  <c:v>0.28703703703703703</c:v>
                </c:pt>
                <c:pt idx="42">
                  <c:v>0.4117647058823529</c:v>
                </c:pt>
                <c:pt idx="43">
                  <c:v>0.42134831460674155</c:v>
                </c:pt>
                <c:pt idx="44">
                  <c:v>0.42452830188679247</c:v>
                </c:pt>
                <c:pt idx="45">
                  <c:v>0.42727272727272725</c:v>
                </c:pt>
                <c:pt idx="46">
                  <c:v>0.3467741935483871</c:v>
                </c:pt>
                <c:pt idx="47">
                  <c:v>0.4644808743169399</c:v>
                </c:pt>
                <c:pt idx="48">
                  <c:v>0.4854014598540146</c:v>
                </c:pt>
                <c:pt idx="49">
                  <c:v>0.4268292682926829</c:v>
                </c:pt>
              </c:numCache>
            </c:numRef>
          </c:yVal>
          <c:smooth val="0"/>
          <c:extLst>
            <c:ext xmlns:c16="http://schemas.microsoft.com/office/drawing/2014/chart" uri="{C3380CC4-5D6E-409C-BE32-E72D297353CC}">
              <c16:uniqueId val="{00000002-F32D-48B7-BC20-E66FC6253BAD}"/>
            </c:ext>
          </c:extLst>
        </c:ser>
        <c:ser>
          <c:idx val="2"/>
          <c:order val="2"/>
          <c:tx>
            <c:strRef>
              <c:f>Sheet1!$B$138</c:f>
              <c:strCache>
                <c:ptCount val="1"/>
                <c:pt idx="0">
                  <c:v>Custom Linep3yQ</c:v>
                </c:pt>
              </c:strCache>
            </c:strRef>
          </c:tx>
          <c:spPr>
            <a:ln w="19050" cap="rnd">
              <a:solidFill>
                <a:srgbClr val="C00000"/>
              </a:solidFill>
              <a:prstDash val="sysDot"/>
              <a:round/>
            </a:ln>
            <a:effectLst/>
          </c:spPr>
          <c:marker>
            <c:symbol val="none"/>
          </c:marker>
          <c:xVal>
            <c:numRef>
              <c:f>Sheet1!$A$139:$A$140</c:f>
              <c:numCache>
                <c:formatCode>General</c:formatCode>
                <c:ptCount val="2"/>
                <c:pt idx="0">
                  <c:v>0</c:v>
                </c:pt>
                <c:pt idx="1">
                  <c:v>757.7421239532243</c:v>
                </c:pt>
              </c:numCache>
            </c:numRef>
          </c:xVal>
          <c:yVal>
            <c:numRef>
              <c:f>Sheet1!$B$139:$B$140</c:f>
              <c:numCache>
                <c:formatCode>General</c:formatCode>
                <c:ptCount val="2"/>
                <c:pt idx="0">
                  <c:v>0.5369395849048754</c:v>
                </c:pt>
                <c:pt idx="1">
                  <c:v>0.5369395849048754</c:v>
                </c:pt>
              </c:numCache>
            </c:numRef>
          </c:yVal>
          <c:smooth val="0"/>
          <c:extLst>
            <c:ext xmlns:c16="http://schemas.microsoft.com/office/drawing/2014/chart" uri="{C3380CC4-5D6E-409C-BE32-E72D297353CC}">
              <c16:uniqueId val="{00000003-F32D-48B7-BC20-E66FC6253BAD}"/>
            </c:ext>
          </c:extLst>
        </c:ser>
        <c:ser>
          <c:idx val="3"/>
          <c:order val="3"/>
          <c:tx>
            <c:strRef>
              <c:f>Sheet1!$B$1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757.7421239532243</c:v>
                </c:pt>
                <c:pt idx="1">
                  <c:v>757.7421239532243</c:v>
                </c:pt>
              </c:numCache>
            </c:numRef>
          </c:xVal>
          <c:yVal>
            <c:numRef>
              <c:f>Sheet1!$B$143:$B$144</c:f>
              <c:numCache>
                <c:formatCode>General</c:formatCode>
                <c:ptCount val="2"/>
                <c:pt idx="0">
                  <c:v>0.53693958490487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7:$A$148</c:f>
              <c:numCache>
                <c:formatCode>General</c:formatCode>
                <c:ptCount val="2"/>
                <c:pt idx="0">
                  <c:v>0</c:v>
                </c:pt>
                <c:pt idx="1">
                  <c:v>938.8008270933635</c:v>
                </c:pt>
              </c:numCache>
            </c:numRef>
          </c:xVal>
          <c:yVal>
            <c:numRef>
              <c:f>Sheet1!$B$147:$B$148</c:f>
              <c:numCache>
                <c:formatCode>General</c:formatCode>
                <c:ptCount val="2"/>
                <c:pt idx="0">
                  <c:v>0.4850876304535267</c:v>
                </c:pt>
                <c:pt idx="1">
                  <c:v>0.4850876304535267</c:v>
                </c:pt>
              </c:numCache>
            </c:numRef>
          </c:yVal>
          <c:smooth val="0"/>
          <c:extLst>
            <c:ext xmlns:c16="http://schemas.microsoft.com/office/drawing/2014/chart" uri="{C3380CC4-5D6E-409C-BE32-E72D297353CC}">
              <c16:uniqueId val="{0000000A-F32D-48B7-BC20-E66FC6253BAD}"/>
            </c:ext>
          </c:extLst>
        </c:ser>
        <c:ser>
          <c:idx val="5"/>
          <c:order val="5"/>
          <c:tx>
            <c:strRef>
              <c:f>Sheet1!$B$1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1:$A$152</c:f>
              <c:numCache>
                <c:formatCode>General</c:formatCode>
                <c:ptCount val="2"/>
                <c:pt idx="0">
                  <c:v>938.8008270933635</c:v>
                </c:pt>
                <c:pt idx="1">
                  <c:v>938.8008270933635</c:v>
                </c:pt>
              </c:numCache>
            </c:numRef>
          </c:xVal>
          <c:yVal>
            <c:numRef>
              <c:f>Sheet1!$B$151:$B$152</c:f>
              <c:numCache>
                <c:formatCode>General</c:formatCode>
                <c:ptCount val="2"/>
                <c:pt idx="0">
                  <c:v>0.485087630453526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5:$A$156</c:f>
              <c:numCache>
                <c:formatCode>General</c:formatCode>
                <c:ptCount val="2"/>
                <c:pt idx="0">
                  <c:v>0</c:v>
                </c:pt>
                <c:pt idx="1">
                  <c:v>1202.2446473491095</c:v>
                </c:pt>
              </c:numCache>
            </c:numRef>
          </c:xVal>
          <c:yVal>
            <c:numRef>
              <c:f>Sheet1!$B$155:$B$156</c:f>
              <c:numCache>
                <c:formatCode>General</c:formatCode>
                <c:ptCount val="2"/>
                <c:pt idx="0">
                  <c:v>0.4096420609698143</c:v>
                </c:pt>
                <c:pt idx="1">
                  <c:v>0.4096420609698143</c:v>
                </c:pt>
              </c:numCache>
            </c:numRef>
          </c:yVal>
          <c:smooth val="0"/>
          <c:extLst>
            <c:ext xmlns:c16="http://schemas.microsoft.com/office/drawing/2014/chart" uri="{C3380CC4-5D6E-409C-BE32-E72D297353CC}">
              <c16:uniqueId val="{00000011-F32D-48B7-BC20-E66FC6253BAD}"/>
            </c:ext>
          </c:extLst>
        </c:ser>
        <c:ser>
          <c:idx val="7"/>
          <c:order val="7"/>
          <c:tx>
            <c:strRef>
              <c:f>Sheet1!$B$1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9:$A$160</c:f>
              <c:numCache>
                <c:formatCode>General</c:formatCode>
                <c:ptCount val="2"/>
                <c:pt idx="0">
                  <c:v>1202.2446473491095</c:v>
                </c:pt>
                <c:pt idx="1">
                  <c:v>1202.2446473491095</c:v>
                </c:pt>
              </c:numCache>
            </c:numRef>
          </c:xVal>
          <c:yVal>
            <c:numRef>
              <c:f>Sheet1!$B$159:$B$160</c:f>
              <c:numCache>
                <c:formatCode>General</c:formatCode>
                <c:ptCount val="2"/>
                <c:pt idx="0">
                  <c:v>0.40964206096981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3:$A$215</c:f>
              <c:numCache>
                <c:formatCode>General</c:formatCode>
                <c:ptCount val="53"/>
                <c:pt idx="0">
                  <c:v>1108.1875</c:v>
                </c:pt>
                <c:pt idx="1">
                  <c:v>1112.5897</c:v>
                </c:pt>
                <c:pt idx="2">
                  <c:v>1106.4565</c:v>
                </c:pt>
                <c:pt idx="3">
                  <c:v>1094.4878</c:v>
                </c:pt>
                <c:pt idx="4">
                  <c:v>692.2115</c:v>
                </c:pt>
                <c:pt idx="5">
                  <c:v>1082.6739</c:v>
                </c:pt>
                <c:pt idx="6">
                  <c:v>1043.5319</c:v>
                </c:pt>
                <c:pt idx="7">
                  <c:v>1088.4167</c:v>
                </c:pt>
                <c:pt idx="8">
                  <c:v>1085.0526</c:v>
                </c:pt>
                <c:pt idx="9">
                  <c:v>1069.88</c:v>
                </c:pt>
                <c:pt idx="10">
                  <c:v>1095.25</c:v>
                </c:pt>
                <c:pt idx="11">
                  <c:v>930.1351</c:v>
                </c:pt>
                <c:pt idx="12">
                  <c:v>904.5753</c:v>
                </c:pt>
                <c:pt idx="13">
                  <c:v>964.4559</c:v>
                </c:pt>
                <c:pt idx="14">
                  <c:v>1003.5957</c:v>
                </c:pt>
                <c:pt idx="15">
                  <c:v>1055.8462</c:v>
                </c:pt>
                <c:pt idx="16">
                  <c:v>1112.2414</c:v>
                </c:pt>
                <c:pt idx="17">
                  <c:v>1094.3667</c:v>
                </c:pt>
                <c:pt idx="18">
                  <c:v>1054.7727</c:v>
                </c:pt>
                <c:pt idx="19">
                  <c:v>1072.2927</c:v>
                </c:pt>
                <c:pt idx="20">
                  <c:v>1118.0</c:v>
                </c:pt>
                <c:pt idx="21">
                  <c:v>1172.2222</c:v>
                </c:pt>
                <c:pt idx="22">
                  <c:v>1177.0526</c:v>
                </c:pt>
                <c:pt idx="23">
                  <c:v>1211.1818</c:v>
                </c:pt>
                <c:pt idx="24">
                  <c:v>1263.0833</c:v>
                </c:pt>
                <c:pt idx="25">
                  <c:v>1050.6364</c:v>
                </c:pt>
                <c:pt idx="26">
                  <c:v>1184.0</c:v>
                </c:pt>
                <c:pt idx="27">
                  <c:v>1270.0455</c:v>
                </c:pt>
                <c:pt idx="28">
                  <c:v>1168.5</c:v>
                </c:pt>
                <c:pt idx="29">
                  <c:v>1185.75</c:v>
                </c:pt>
                <c:pt idx="30">
                  <c:v>1155.6154</c:v>
                </c:pt>
                <c:pt idx="31">
                  <c:v>1250.9111</c:v>
                </c:pt>
                <c:pt idx="32">
                  <c:v>1253.4409</c:v>
                </c:pt>
                <c:pt idx="33">
                  <c:v>1247.5231</c:v>
                </c:pt>
                <c:pt idx="34">
                  <c:v>1224.1053</c:v>
                </c:pt>
                <c:pt idx="35">
                  <c:v>1154.3684</c:v>
                </c:pt>
                <c:pt idx="36">
                  <c:v>1111.6087</c:v>
                </c:pt>
                <c:pt idx="37">
                  <c:v>1144.1915</c:v>
                </c:pt>
                <c:pt idx="38">
                  <c:v>1110.8621</c:v>
                </c:pt>
                <c:pt idx="39">
                  <c:v>1165.6296</c:v>
                </c:pt>
                <c:pt idx="40">
                  <c:v>1230.75</c:v>
                </c:pt>
                <c:pt idx="41">
                  <c:v>1255.1613</c:v>
                </c:pt>
                <c:pt idx="42">
                  <c:v>1183.1667</c:v>
                </c:pt>
                <c:pt idx="43">
                  <c:v>1205.2667</c:v>
                </c:pt>
                <c:pt idx="44">
                  <c:v>1189.8667</c:v>
                </c:pt>
                <c:pt idx="45">
                  <c:v>1151.383</c:v>
                </c:pt>
                <c:pt idx="46">
                  <c:v>1137.6047</c:v>
                </c:pt>
                <c:pt idx="47">
                  <c:v>1154.1294</c:v>
                </c:pt>
                <c:pt idx="48">
                  <c:v>1054.8872</c:v>
                </c:pt>
                <c:pt idx="49">
                  <c:v>1031.6143</c:v>
                </c:pt>
                <c:pt idx="50">
                  <c:v>938.8008270933635</c:v>
                </c:pt>
                <c:pt idx="51">
                  <c:v>757.7421239532243</c:v>
                </c:pt>
                <c:pt idx="52">
                  <c:v>1202.2446473491095</c:v>
                </c:pt>
              </c:numCache>
            </c:numRef>
          </c:xVal>
          <c:yVal>
            <c:numRef>
              <c:f>Sheet1!$B$163:$B$215</c:f>
              <c:numCache>
                <c:formatCode>General</c:formatCode>
                <c:ptCount val="53"/>
                <c:pt idx="0">
                  <c:v>0.43657833542437613</c:v>
                </c:pt>
                <c:pt idx="1">
                  <c:v>0.4353176245613968</c:v>
                </c:pt>
                <c:pt idx="2">
                  <c:v>0.4370740626752546</c:v>
                </c:pt>
                <c:pt idx="3">
                  <c:v>0.4405016829800433</c:v>
                </c:pt>
                <c:pt idx="4">
                  <c:v>0.5557063763899612</c:v>
                </c:pt>
                <c:pt idx="5">
                  <c:v>0.4438849713504381</c:v>
                </c:pt>
                <c:pt idx="6">
                  <c:v>0.45509453579520154</c:v>
                </c:pt>
                <c:pt idx="7">
                  <c:v>0.44224033677138264</c:v>
                </c:pt>
                <c:pt idx="8">
                  <c:v>0.44320375447483745</c:v>
                </c:pt>
                <c:pt idx="9">
                  <c:v>0.44754891408585934</c:v>
                </c:pt>
                <c:pt idx="10">
                  <c:v>0.4402834026157339</c:v>
                </c:pt>
                <c:pt idx="11">
                  <c:v>0.4875693387544258</c:v>
                </c:pt>
                <c:pt idx="12">
                  <c:v>0.49488920552912474</c:v>
                </c:pt>
                <c:pt idx="13">
                  <c:v>0.4777404792327907</c:v>
                </c:pt>
                <c:pt idx="14">
                  <c:v>0.46653154482843856</c:v>
                </c:pt>
                <c:pt idx="15">
                  <c:v>0.4515679418694402</c:v>
                </c:pt>
                <c:pt idx="16">
                  <c:v>0.43541737141378317</c:v>
                </c:pt>
                <c:pt idx="17">
                  <c:v>0.4405363638408645</c:v>
                </c:pt>
                <c:pt idx="18">
                  <c:v>0.4518753729519463</c:v>
                </c:pt>
                <c:pt idx="19">
                  <c:v>0.44685796022208435</c:v>
                </c:pt>
                <c:pt idx="20">
                  <c:v>0.43376821199904675</c:v>
                </c:pt>
                <c:pt idx="21">
                  <c:v>0.41823994964053535</c:v>
                </c:pt>
                <c:pt idx="22">
                  <c:v>0.4168566100029597</c:v>
                </c:pt>
                <c:pt idx="23">
                  <c:v>0.40708262127350736</c:v>
                </c:pt>
                <c:pt idx="24">
                  <c:v>0.3922189656342991</c:v>
                </c:pt>
                <c:pt idx="25">
                  <c:v>0.4530599348397618</c:v>
                </c:pt>
                <c:pt idx="26">
                  <c:v>0.41486699966052576</c:v>
                </c:pt>
                <c:pt idx="27">
                  <c:v>0.3902251168381892</c:v>
                </c:pt>
                <c:pt idx="28">
                  <c:v>0.41930592074002687</c:v>
                </c:pt>
                <c:pt idx="29">
                  <c:v>0.4143658311515498</c:v>
                </c:pt>
                <c:pt idx="30">
                  <c:v>0.4229958383233134</c:v>
                </c:pt>
                <c:pt idx="31">
                  <c:v>0.39570486467713156</c:v>
                </c:pt>
                <c:pt idx="32">
                  <c:v>0.394980375480556</c:v>
                </c:pt>
                <c:pt idx="33">
                  <c:v>0.396675126910509</c:v>
                </c:pt>
                <c:pt idx="34">
                  <c:v>0.4033815634302214</c:v>
                </c:pt>
                <c:pt idx="35">
                  <c:v>0.42335295668370937</c:v>
                </c:pt>
                <c:pt idx="36">
                  <c:v>0.4355985653084284</c:v>
                </c:pt>
                <c:pt idx="37">
                  <c:v>0.4262674377117078</c:v>
                </c:pt>
                <c:pt idx="38">
                  <c:v>0.4358123781134578</c:v>
                </c:pt>
                <c:pt idx="39">
                  <c:v>0.42012795164754946</c:v>
                </c:pt>
                <c:pt idx="40">
                  <c:v>0.40147864092074004</c:v>
                </c:pt>
                <c:pt idx="41">
                  <c:v>0.39448768387893185</c:v>
                </c:pt>
                <c:pt idx="42">
                  <c:v>0.4151056417853998</c:v>
                </c:pt>
                <c:pt idx="43">
                  <c:v>0.4087765994720466</c:v>
                </c:pt>
                <c:pt idx="44">
                  <c:v>0.4131868823510348</c:v>
                </c:pt>
                <c:pt idx="45">
                  <c:v>0.4242079215218218</c:v>
                </c:pt>
                <c:pt idx="46">
                  <c:v>0.4281537787030921</c:v>
                </c:pt>
                <c:pt idx="47">
                  <c:v>0.4234214019829352</c:v>
                </c:pt>
                <c:pt idx="48">
                  <c:v>0.451842582212359</c:v>
                </c:pt>
                <c:pt idx="49">
                  <c:v>0.4585075219795282</c:v>
                </c:pt>
                <c:pt idx="50">
                  <c:v>0.4850876304535267</c:v>
                </c:pt>
                <c:pt idx="51">
                  <c:v>0.5369395849048754</c:v>
                </c:pt>
                <c:pt idx="52">
                  <c:v>0.40964206096981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4.0"/>
          <c:min val="5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3846153846154"/>
          <c:min val="0.229629629629629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611308892319983</c:v>
                </c:pt>
                <c:pt idx="1">
                  <c:v>0.6162920969350052</c:v>
                </c:pt>
                <c:pt idx="2">
                  <c:v>0.714148219441771</c:v>
                </c:pt>
                <c:pt idx="3">
                  <c:v>0.6761638069091741</c:v>
                </c:pt>
                <c:pt idx="4">
                  <c:v>0.6819569319880417</c:v>
                </c:pt>
                <c:pt idx="5">
                  <c:v>0.6999771525599854</c:v>
                </c:pt>
                <c:pt idx="6">
                  <c:v>0.65419945105215</c:v>
                </c:pt>
                <c:pt idx="7">
                  <c:v>0.715018315018315</c:v>
                </c:pt>
                <c:pt idx="8">
                  <c:v>0.6785880584662828</c:v>
                </c:pt>
                <c:pt idx="9">
                  <c:v>0.6577114654794095</c:v>
                </c:pt>
                <c:pt idx="10">
                  <c:v>0.6988359574000825</c:v>
                </c:pt>
                <c:pt idx="11">
                  <c:v>0.7172031977091039</c:v>
                </c:pt>
                <c:pt idx="12">
                  <c:v>0.7000723634294385</c:v>
                </c:pt>
                <c:pt idx="13">
                  <c:v>0.695628621185928</c:v>
                </c:pt>
                <c:pt idx="14">
                  <c:v>0.6466712619578134</c:v>
                </c:pt>
                <c:pt idx="15">
                  <c:v>0.7018083263748062</c:v>
                </c:pt>
                <c:pt idx="16">
                  <c:v>0.7260108500343653</c:v>
                </c:pt>
                <c:pt idx="17">
                  <c:v>0.6639999457019119</c:v>
                </c:pt>
                <c:pt idx="18">
                  <c:v>0.7935165650842922</c:v>
                </c:pt>
                <c:pt idx="19">
                  <c:v>0.8127799343087488</c:v>
                </c:pt>
                <c:pt idx="20">
                  <c:v>0.7182999931020211</c:v>
                </c:pt>
                <c:pt idx="21">
                  <c:v>0.6915148841049328</c:v>
                </c:pt>
                <c:pt idx="22">
                  <c:v>0.6824501936086107</c:v>
                </c:pt>
                <c:pt idx="23">
                  <c:v>0.7938759538250831</c:v>
                </c:pt>
                <c:pt idx="24">
                  <c:v>0.6923945153171917</c:v>
                </c:pt>
                <c:pt idx="25">
                  <c:v>0.6325217735550277</c:v>
                </c:pt>
                <c:pt idx="26">
                  <c:v>0.6046404882060366</c:v>
                </c:pt>
                <c:pt idx="27">
                  <c:v>0.6618629368596562</c:v>
                </c:pt>
                <c:pt idx="28">
                  <c:v>0.6149247317364115</c:v>
                </c:pt>
                <c:pt idx="29">
                  <c:v>0.628166869666079</c:v>
                </c:pt>
                <c:pt idx="30">
                  <c:v>0.6170983406460244</c:v>
                </c:pt>
                <c:pt idx="31">
                  <c:v>0.6599535477807216</c:v>
                </c:pt>
                <c:pt idx="32">
                  <c:v>0.6748514276445912</c:v>
                </c:pt>
                <c:pt idx="33">
                  <c:v>0.6575538549014855</c:v>
                </c:pt>
                <c:pt idx="34">
                  <c:v>0.6557238389787634</c:v>
                </c:pt>
                <c:pt idx="35">
                  <c:v>0.6861895864474339</c:v>
                </c:pt>
                <c:pt idx="36">
                  <c:v>0.7288406290937913</c:v>
                </c:pt>
                <c:pt idx="37">
                  <c:v>0.7783467480117661</c:v>
                </c:pt>
                <c:pt idx="38">
                  <c:v>0.7384776566114658</c:v>
                </c:pt>
                <c:pt idx="39">
                  <c:v>0.7596123368394346</c:v>
                </c:pt>
                <c:pt idx="40">
                  <c:v>0.7144284599909677</c:v>
                </c:pt>
                <c:pt idx="41">
                  <c:v>0.7597052585326347</c:v>
                </c:pt>
                <c:pt idx="42">
                  <c:v>0.7364418272075745</c:v>
                </c:pt>
                <c:pt idx="43">
                  <c:v>0.7245787932997235</c:v>
                </c:pt>
                <c:pt idx="44">
                  <c:v>0.7388305352526414</c:v>
                </c:pt>
                <c:pt idx="45">
                  <c:v>0.7286780764751511</c:v>
                </c:pt>
                <c:pt idx="46">
                  <c:v>0.7633865887675988</c:v>
                </c:pt>
                <c:pt idx="47">
                  <c:v>0.7449651957533652</c:v>
                </c:pt>
                <c:pt idx="48">
                  <c:v>0.7663305299586977</c:v>
                </c:pt>
                <c:pt idx="49">
                  <c:v>0.7783798495577335</c:v>
                </c:pt>
                <c:pt idx="50">
                  <c:v>0.775384288939052</c:v>
                </c:pt>
                <c:pt idx="51">
                  <c:v>0.7118673606266028</c:v>
                </c:pt>
                <c:pt idx="52">
                  <c:v>0.7312552214934545</c:v>
                </c:pt>
                <c:pt idx="53">
                  <c:v>0.727052527866035</c:v>
                </c:pt>
                <c:pt idx="54">
                  <c:v>0.7297125311398248</c:v>
                </c:pt>
                <c:pt idx="55">
                  <c:v>0.7301707292564174</c:v>
                </c:pt>
                <c:pt idx="56">
                  <c:v>0.7297278075346655</c:v>
                </c:pt>
                <c:pt idx="57">
                  <c:v>0.7241653259640568</c:v>
                </c:pt>
                <c:pt idx="58">
                  <c:v>0.7124853123113684</c:v>
                </c:pt>
                <c:pt idx="59">
                  <c:v>0.6836936365824471</c:v>
                </c:pt>
                <c:pt idx="60">
                  <c:v>0.6926555307792773</c:v>
                </c:pt>
                <c:pt idx="61">
                  <c:v>0.7291211632940751</c:v>
                </c:pt>
                <c:pt idx="62">
                  <c:v>0.7005601127832736</c:v>
                </c:pt>
                <c:pt idx="63">
                  <c:v>0.6246132534911237</c:v>
                </c:pt>
                <c:pt idx="64">
                  <c:v>0.6182387670547838</c:v>
                </c:pt>
                <c:pt idx="65">
                  <c:v>0.5921752952422806</c:v>
                </c:pt>
                <c:pt idx="66">
                  <c:v>0.6256865535509152</c:v>
                </c:pt>
                <c:pt idx="67">
                  <c:v>0.5251861252407611</c:v>
                </c:pt>
                <c:pt idx="68">
                  <c:v>0.39955836136051304</c:v>
                </c:pt>
                <c:pt idx="69">
                  <c:v>0.46019530835367795</c:v>
                </c:pt>
                <c:pt idx="70">
                  <c:v>0.3987996509184712</c:v>
                </c:pt>
                <c:pt idx="71">
                  <c:v>0.7482033287364868</c:v>
                </c:pt>
                <c:pt idx="72">
                  <c:v>0.19174347056854588</c:v>
                </c:pt>
                <c:pt idx="73">
                  <c:v>0.3183440585505881</c:v>
                </c:pt>
                <c:pt idx="74">
                  <c:v>0.8678668051842726</c:v>
                </c:pt>
                <c:pt idx="75">
                  <c:v>0.8212742835524449</c:v>
                </c:pt>
                <c:pt idx="76">
                  <c:v>1.48907933904215</c:v>
                </c:pt>
                <c:pt idx="77">
                  <c:v>0.8501289376505071</c:v>
                </c:pt>
                <c:pt idx="78">
                  <c:v>0.24193760555451305</c:v>
                </c:pt>
                <c:pt idx="79">
                  <c:v>2.011474856564293</c:v>
                </c:pt>
                <c:pt idx="80">
                  <c:v>1.4666105573494315</c:v>
                </c:pt>
                <c:pt idx="81">
                  <c:v>0.7862743139596985</c:v>
                </c:pt>
                <c:pt idx="82">
                  <c:v>0.6470875917767989</c:v>
                </c:pt>
                <c:pt idx="83">
                  <c:v>0.6337785359633725</c:v>
                </c:pt>
                <c:pt idx="84">
                  <c:v>0.40986842105263155</c:v>
                </c:pt>
                <c:pt idx="85">
                  <c:v>0.5526025487369701</c:v>
                </c:pt>
                <c:pt idx="86">
                  <c:v>0.44851556344460924</c:v>
                </c:pt>
                <c:pt idx="87">
                  <c:v>0.5872549897437568</c:v>
                </c:pt>
                <c:pt idx="88">
                  <c:v>0.6223738705246259</c:v>
                </c:pt>
                <c:pt idx="89">
                  <c:v>0.39427471734423863</c:v>
                </c:pt>
                <c:pt idx="90">
                  <c:v>0.6132029493941231</c:v>
                </c:pt>
                <c:pt idx="91">
                  <c:v>0.4428679372009068</c:v>
                </c:pt>
                <c:pt idx="92">
                  <c:v>0.4769445185445186</c:v>
                </c:pt>
                <c:pt idx="93">
                  <c:v>0.49615869321995976</c:v>
                </c:pt>
                <c:pt idx="94">
                  <c:v>0.39914603174603175</c:v>
                </c:pt>
                <c:pt idx="95">
                  <c:v>0.5001737229256773</c:v>
                </c:pt>
                <c:pt idx="96">
                  <c:v>0.6256659086774603</c:v>
                </c:pt>
                <c:pt idx="97">
                  <c:v>0.7353287912495365</c:v>
                </c:pt>
                <c:pt idx="98">
                  <c:v>0.7181119497364361</c:v>
                </c:pt>
                <c:pt idx="99">
                  <c:v>0.7568563409206299</c:v>
                </c:pt>
                <c:pt idx="100">
                  <c:v>0.7913409866470924</c:v>
                </c:pt>
                <c:pt idx="101">
                  <c:v>0.7813789050846032</c:v>
                </c:pt>
                <c:pt idx="102">
                  <c:v>0.7351672568538086</c:v>
                </c:pt>
                <c:pt idx="103">
                  <c:v>0.7369568342342115</c:v>
                </c:pt>
                <c:pt idx="104">
                  <c:v>0.6456580149488721</c:v>
                </c:pt>
              </c:numCache>
            </c:numRef>
          </c:xVal>
          <c:yVal>
            <c:numRef>
              <c:f>Sheet1!$B$2:$B$106</c:f>
              <c:numCache>
                <c:formatCode>General</c:formatCode>
                <c:ptCount val="105"/>
                <c:pt idx="0">
                  <c:v>0.23129251700680273</c:v>
                </c:pt>
                <c:pt idx="1">
                  <c:v>0.21153846153846154</c:v>
                </c:pt>
                <c:pt idx="2">
                  <c:v>0.2077922077922078</c:v>
                </c:pt>
                <c:pt idx="3">
                  <c:v>0.26973684210526316</c:v>
                </c:pt>
                <c:pt idx="4">
                  <c:v>0.2054794520547945</c:v>
                </c:pt>
                <c:pt idx="5">
                  <c:v>0.17829457364341086</c:v>
                </c:pt>
                <c:pt idx="6">
                  <c:v>0.1953125</c:v>
                </c:pt>
                <c:pt idx="7">
                  <c:v>0.20175438596491227</c:v>
                </c:pt>
                <c:pt idx="8">
                  <c:v>0.11956521739130435</c:v>
                </c:pt>
                <c:pt idx="9">
                  <c:v>0.15172413793103448</c:v>
                </c:pt>
                <c:pt idx="10">
                  <c:v>0.11602209944751381</c:v>
                </c:pt>
                <c:pt idx="11">
                  <c:v>0.1404494382022472</c:v>
                </c:pt>
                <c:pt idx="12">
                  <c:v>0.16080402010050251</c:v>
                </c:pt>
                <c:pt idx="13">
                  <c:v>0.2009132420091324</c:v>
                </c:pt>
                <c:pt idx="14">
                  <c:v>0.12272727272727273</c:v>
                </c:pt>
                <c:pt idx="15">
                  <c:v>0.16071428571428573</c:v>
                </c:pt>
                <c:pt idx="16">
                  <c:v>0.1484375</c:v>
                </c:pt>
                <c:pt idx="17">
                  <c:v>0.18556701030927836</c:v>
                </c:pt>
                <c:pt idx="18">
                  <c:v>0.0989010989010989</c:v>
                </c:pt>
                <c:pt idx="19">
                  <c:v>0.14084507042253522</c:v>
                </c:pt>
                <c:pt idx="20">
                  <c:v>0.140625</c:v>
                </c:pt>
                <c:pt idx="21">
                  <c:v>0.23214285714285715</c:v>
                </c:pt>
                <c:pt idx="22">
                  <c:v>0.16</c:v>
                </c:pt>
                <c:pt idx="23">
                  <c:v>0.18666666666666668</c:v>
                </c:pt>
                <c:pt idx="24">
                  <c:v>0.17105263157894737</c:v>
                </c:pt>
                <c:pt idx="25">
                  <c:v>0.125</c:v>
                </c:pt>
                <c:pt idx="26">
                  <c:v>0.15384615384615385</c:v>
                </c:pt>
                <c:pt idx="27">
                  <c:v>0.1875</c:v>
                </c:pt>
                <c:pt idx="28">
                  <c:v>0.16091954022988506</c:v>
                </c:pt>
                <c:pt idx="29">
                  <c:v>0.1357142857142857</c:v>
                </c:pt>
                <c:pt idx="30">
                  <c:v>0.12941176470588237</c:v>
                </c:pt>
                <c:pt idx="31">
                  <c:v>0.16666666666666666</c:v>
                </c:pt>
                <c:pt idx="32">
                  <c:v>0.11764705882352941</c:v>
                </c:pt>
                <c:pt idx="33">
                  <c:v>0.14102564102564102</c:v>
                </c:pt>
                <c:pt idx="34">
                  <c:v>0.1206896551724138</c:v>
                </c:pt>
                <c:pt idx="35">
                  <c:v>0.12574850299401197</c:v>
                </c:pt>
                <c:pt idx="36">
                  <c:v>0.11585365853658537</c:v>
                </c:pt>
                <c:pt idx="37">
                  <c:v>0.17142857142857143</c:v>
                </c:pt>
                <c:pt idx="38">
                  <c:v>0.10714285714285714</c:v>
                </c:pt>
                <c:pt idx="39">
                  <c:v>0.13541666666666666</c:v>
                </c:pt>
                <c:pt idx="40">
                  <c:v>0.17341040462427745</c:v>
                </c:pt>
                <c:pt idx="41">
                  <c:v>0.16822429906542055</c:v>
                </c:pt>
                <c:pt idx="42">
                  <c:v>0.17692307692307693</c:v>
                </c:pt>
                <c:pt idx="43">
                  <c:v>0.16546762589928057</c:v>
                </c:pt>
                <c:pt idx="44">
                  <c:v>0.18781725888324874</c:v>
                </c:pt>
                <c:pt idx="45">
                  <c:v>0.24175824175824176</c:v>
                </c:pt>
                <c:pt idx="46">
                  <c:v>0.1906474820143885</c:v>
                </c:pt>
                <c:pt idx="47">
                  <c:v>0.1902439024390244</c:v>
                </c:pt>
                <c:pt idx="48">
                  <c:v>0.1930379746835443</c:v>
                </c:pt>
                <c:pt idx="49">
                  <c:v>0.18579234972677597</c:v>
                </c:pt>
                <c:pt idx="50">
                  <c:v>0.1926605504587156</c:v>
                </c:pt>
                <c:pt idx="51">
                  <c:v>0.16901408450704225</c:v>
                </c:pt>
                <c:pt idx="52">
                  <c:v>0.185</c:v>
                </c:pt>
                <c:pt idx="53">
                  <c:v>0.16551724137931034</c:v>
                </c:pt>
                <c:pt idx="54">
                  <c:v>0.1328125</c:v>
                </c:pt>
                <c:pt idx="55">
                  <c:v>0.15789473684210525</c:v>
                </c:pt>
                <c:pt idx="56">
                  <c:v>0.12389380530973451</c:v>
                </c:pt>
                <c:pt idx="57">
                  <c:v>0.15966386554621848</c:v>
                </c:pt>
                <c:pt idx="58">
                  <c:v>0.14893617021276595</c:v>
                </c:pt>
                <c:pt idx="59">
                  <c:v>0.14</c:v>
                </c:pt>
                <c:pt idx="60">
                  <c:v>0.13855421686746988</c:v>
                </c:pt>
                <c:pt idx="61">
                  <c:v>0.12727272727272726</c:v>
                </c:pt>
                <c:pt idx="62">
                  <c:v>0.13095238095238096</c:v>
                </c:pt>
                <c:pt idx="63">
                  <c:v>0.1326530612244898</c:v>
                </c:pt>
                <c:pt idx="64">
                  <c:v>0.1588785046728972</c:v>
                </c:pt>
                <c:pt idx="65">
                  <c:v>0.11219512195121951</c:v>
                </c:pt>
                <c:pt idx="66">
                  <c:v>0.13253012048192772</c:v>
                </c:pt>
                <c:pt idx="67">
                  <c:v>0.15333333333333332</c:v>
                </c:pt>
                <c:pt idx="68">
                  <c:v>0.1565217391304348</c:v>
                </c:pt>
                <c:pt idx="69">
                  <c:v>0.16494845360824742</c:v>
                </c:pt>
                <c:pt idx="70">
                  <c:v>0.16666666666666666</c:v>
                </c:pt>
                <c:pt idx="71">
                  <c:v>0.13636363636363635</c:v>
                </c:pt>
                <c:pt idx="72">
                  <c:v>0.26605504587155965</c:v>
                </c:pt>
                <c:pt idx="73">
                  <c:v>0.24705882352941178</c:v>
                </c:pt>
                <c:pt idx="74">
                  <c:v>0.09411764705882353</c:v>
                </c:pt>
                <c:pt idx="75">
                  <c:v>0.08</c:v>
                </c:pt>
                <c:pt idx="76">
                  <c:v>0.13114754098360656</c:v>
                </c:pt>
                <c:pt idx="77">
                  <c:v>0.1206896551724138</c:v>
                </c:pt>
                <c:pt idx="78">
                  <c:v>0.16279069767441862</c:v>
                </c:pt>
                <c:pt idx="79">
                  <c:v>0.045454545454545456</c:v>
                </c:pt>
                <c:pt idx="80">
                  <c:v>0.07692307692307693</c:v>
                </c:pt>
                <c:pt idx="81">
                  <c:v>0.09615384615384616</c:v>
                </c:pt>
                <c:pt idx="82">
                  <c:v>0.0967741935483871</c:v>
                </c:pt>
                <c:pt idx="83">
                  <c:v>0.08108108108108109</c:v>
                </c:pt>
                <c:pt idx="84">
                  <c:v>0.14705882352941177</c:v>
                </c:pt>
                <c:pt idx="85">
                  <c:v>0.1875</c:v>
                </c:pt>
                <c:pt idx="86">
                  <c:v>0.1927710843373494</c:v>
                </c:pt>
                <c:pt idx="87">
                  <c:v>0.1</c:v>
                </c:pt>
                <c:pt idx="88">
                  <c:v>0.10416666666666667</c:v>
                </c:pt>
                <c:pt idx="89">
                  <c:v>0.19607843137254902</c:v>
                </c:pt>
                <c:pt idx="90">
                  <c:v>0.14583333333333334</c:v>
                </c:pt>
                <c:pt idx="91">
                  <c:v>0.12244897959183673</c:v>
                </c:pt>
                <c:pt idx="92">
                  <c:v>0.12</c:v>
                </c:pt>
                <c:pt idx="93">
                  <c:v>0.1</c:v>
                </c:pt>
                <c:pt idx="94">
                  <c:v>0.17647058823529413</c:v>
                </c:pt>
                <c:pt idx="95">
                  <c:v>0.175</c:v>
                </c:pt>
                <c:pt idx="96">
                  <c:v>0.11570247933884298</c:v>
                </c:pt>
                <c:pt idx="97">
                  <c:v>0.0990990990990991</c:v>
                </c:pt>
                <c:pt idx="98">
                  <c:v>0.09523809523809523</c:v>
                </c:pt>
                <c:pt idx="99">
                  <c:v>0.11170212765957446</c:v>
                </c:pt>
                <c:pt idx="100">
                  <c:v>0.0960960960960961</c:v>
                </c:pt>
                <c:pt idx="101">
                  <c:v>0.10135135135135136</c:v>
                </c:pt>
                <c:pt idx="102">
                  <c:v>0.11494252873563218</c:v>
                </c:pt>
                <c:pt idx="103">
                  <c:v>0.13333333333333333</c:v>
                </c:pt>
                <c:pt idx="104">
                  <c:v>0.086956521739130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523180631614296</c:v>
                </c:pt>
                <c:pt idx="1">
                  <c:v>0.6846339810083412</c:v>
                </c:pt>
                <c:pt idx="2">
                  <c:v>0.7239659165298007</c:v>
                </c:pt>
                <c:pt idx="3">
                  <c:v>0.5177801864188902</c:v>
                </c:pt>
                <c:pt idx="4">
                  <c:v>0.7426106082485869</c:v>
                </c:pt>
                <c:pt idx="5">
                  <c:v>0.513158929407544</c:v>
                </c:pt>
                <c:pt idx="6">
                  <c:v>0.6941376679248347</c:v>
                </c:pt>
                <c:pt idx="7">
                  <c:v>0.7226794234543454</c:v>
                </c:pt>
                <c:pt idx="8">
                  <c:v>0.7649461504680428</c:v>
                </c:pt>
                <c:pt idx="9">
                  <c:v>0.7358562176148136</c:v>
                </c:pt>
                <c:pt idx="10">
                  <c:v>0.6798326630543586</c:v>
                </c:pt>
                <c:pt idx="11">
                  <c:v>0.7759515044265696</c:v>
                </c:pt>
                <c:pt idx="12">
                  <c:v>0.8001022900763359</c:v>
                </c:pt>
                <c:pt idx="13">
                  <c:v>0.46306959297576145</c:v>
                </c:pt>
                <c:pt idx="14">
                  <c:v>0.7609999023760731</c:v>
                </c:pt>
                <c:pt idx="15">
                  <c:v>0.6203560092236126</c:v>
                </c:pt>
                <c:pt idx="16">
                  <c:v>0.7960426622987639</c:v>
                </c:pt>
                <c:pt idx="17">
                  <c:v>0.6645943896891585</c:v>
                </c:pt>
                <c:pt idx="18">
                  <c:v>0.672037037037037</c:v>
                </c:pt>
                <c:pt idx="19">
                  <c:v>0.7272495103359291</c:v>
                </c:pt>
                <c:pt idx="20">
                  <c:v>0.7231170153470308</c:v>
                </c:pt>
                <c:pt idx="21">
                  <c:v>0.8475658419792498</c:v>
                </c:pt>
                <c:pt idx="22">
                  <c:v>0.9765693303025005</c:v>
                </c:pt>
                <c:pt idx="23">
                  <c:v>0.5559650738305543</c:v>
                </c:pt>
                <c:pt idx="24">
                  <c:v>0.9177044766072028</c:v>
                </c:pt>
                <c:pt idx="25">
                  <c:v>0.6982145449266948</c:v>
                </c:pt>
                <c:pt idx="26">
                  <c:v>0.7926337303135207</c:v>
                </c:pt>
                <c:pt idx="27">
                  <c:v>0.7757291720536749</c:v>
                </c:pt>
                <c:pt idx="28">
                  <c:v>0.7417904354713647</c:v>
                </c:pt>
                <c:pt idx="29">
                  <c:v>0.8212092006746029</c:v>
                </c:pt>
                <c:pt idx="30">
                  <c:v>0.8276609496191037</c:v>
                </c:pt>
                <c:pt idx="31">
                  <c:v>0.9484874704646047</c:v>
                </c:pt>
                <c:pt idx="32">
                  <c:v>0.69306169517586</c:v>
                </c:pt>
                <c:pt idx="33">
                  <c:v>0.8506063375740004</c:v>
                </c:pt>
                <c:pt idx="34">
                  <c:v>0.7902868980330651</c:v>
                </c:pt>
                <c:pt idx="35">
                  <c:v>0.8082351091348026</c:v>
                </c:pt>
                <c:pt idx="36">
                  <c:v>0.9717205954232393</c:v>
                </c:pt>
                <c:pt idx="37">
                  <c:v>0.7995894905174087</c:v>
                </c:pt>
                <c:pt idx="38">
                  <c:v>0.6253376210465085</c:v>
                </c:pt>
                <c:pt idx="39">
                  <c:v>0.9070297431962039</c:v>
                </c:pt>
                <c:pt idx="40">
                  <c:v>0.9415322580645161</c:v>
                </c:pt>
                <c:pt idx="41">
                  <c:v>0.7114128783262239</c:v>
                </c:pt>
                <c:pt idx="42">
                  <c:v>0.7126109159134257</c:v>
                </c:pt>
                <c:pt idx="43">
                  <c:v>0.7061087728611135</c:v>
                </c:pt>
                <c:pt idx="44">
                  <c:v>0.8780969492607542</c:v>
                </c:pt>
                <c:pt idx="45">
                  <c:v>0.8902651187973772</c:v>
                </c:pt>
                <c:pt idx="46">
                  <c:v>0.876469837346938</c:v>
                </c:pt>
                <c:pt idx="47">
                  <c:v>0.8436797059391119</c:v>
                </c:pt>
                <c:pt idx="48">
                  <c:v>0.9422660926294764</c:v>
                </c:pt>
                <c:pt idx="49">
                  <c:v>0.8926962232873256</c:v>
                </c:pt>
                <c:pt idx="50">
                  <c:v>0.8423250352980747</c:v>
                </c:pt>
                <c:pt idx="51">
                  <c:v>0.9682378359078511</c:v>
                </c:pt>
              </c:numCache>
            </c:numRef>
          </c:xVal>
          <c:yVal>
            <c:numRef>
              <c:f>Sheet1!$B$109:$B$160</c:f>
              <c:numCache>
                <c:formatCode>General</c:formatCode>
                <c:ptCount val="52"/>
                <c:pt idx="0">
                  <c:v>0.10679611650485436</c:v>
                </c:pt>
                <c:pt idx="1">
                  <c:v>0.10465116279069768</c:v>
                </c:pt>
                <c:pt idx="2">
                  <c:v>0.08653846153846154</c:v>
                </c:pt>
                <c:pt idx="3">
                  <c:v>0.13829787234042554</c:v>
                </c:pt>
                <c:pt idx="4">
                  <c:v>0.07207207207207207</c:v>
                </c:pt>
                <c:pt idx="5">
                  <c:v>0.0970873786407767</c:v>
                </c:pt>
                <c:pt idx="6">
                  <c:v>0.12727272727272726</c:v>
                </c:pt>
                <c:pt idx="7">
                  <c:v>0.11494252873563218</c:v>
                </c:pt>
                <c:pt idx="8">
                  <c:v>0.07692307692307693</c:v>
                </c:pt>
                <c:pt idx="9">
                  <c:v>0.06593406593406594</c:v>
                </c:pt>
                <c:pt idx="10">
                  <c:v>0.09259259259259259</c:v>
                </c:pt>
                <c:pt idx="11">
                  <c:v>0.06711409395973154</c:v>
                </c:pt>
                <c:pt idx="12">
                  <c:v>0.08333333333333333</c:v>
                </c:pt>
                <c:pt idx="13">
                  <c:v>0.13636363636363635</c:v>
                </c:pt>
                <c:pt idx="14">
                  <c:v>0.1</c:v>
                </c:pt>
                <c:pt idx="15">
                  <c:v>0.08888888888888889</c:v>
                </c:pt>
                <c:pt idx="16">
                  <c:v>0.15384615384615385</c:v>
                </c:pt>
                <c:pt idx="17">
                  <c:v>0.0847457627118644</c:v>
                </c:pt>
                <c:pt idx="18">
                  <c:v>0.10638297872340426</c:v>
                </c:pt>
                <c:pt idx="19">
                  <c:v>0.08433734939759036</c:v>
                </c:pt>
                <c:pt idx="20">
                  <c:v>0.07692307692307693</c:v>
                </c:pt>
                <c:pt idx="21">
                  <c:v>0.13333333333333333</c:v>
                </c:pt>
                <c:pt idx="22">
                  <c:v>0.07407407407407407</c:v>
                </c:pt>
                <c:pt idx="23">
                  <c:v>0.10344827586206896</c:v>
                </c:pt>
                <c:pt idx="24">
                  <c:v>0.11363636363636363</c:v>
                </c:pt>
                <c:pt idx="25">
                  <c:v>0.125</c:v>
                </c:pt>
                <c:pt idx="26">
                  <c:v>0.16666666666666666</c:v>
                </c:pt>
                <c:pt idx="27">
                  <c:v>0.0784313725490196</c:v>
                </c:pt>
                <c:pt idx="28">
                  <c:v>0.06756756756756757</c:v>
                </c:pt>
                <c:pt idx="29">
                  <c:v>0.10714285714285714</c:v>
                </c:pt>
                <c:pt idx="30">
                  <c:v>0.07407407407407407</c:v>
                </c:pt>
                <c:pt idx="31">
                  <c:v>0.08</c:v>
                </c:pt>
                <c:pt idx="32">
                  <c:v>0.07272727272727272</c:v>
                </c:pt>
                <c:pt idx="33">
                  <c:v>0.1262135922330097</c:v>
                </c:pt>
                <c:pt idx="34">
                  <c:v>0.10552763819095477</c:v>
                </c:pt>
                <c:pt idx="35">
                  <c:v>0.09322033898305085</c:v>
                </c:pt>
                <c:pt idx="36">
                  <c:v>0.1206896551724138</c:v>
                </c:pt>
                <c:pt idx="37">
                  <c:v>0.10526315789473684</c:v>
                </c:pt>
                <c:pt idx="38">
                  <c:v>0.07692307692307693</c:v>
                </c:pt>
                <c:pt idx="39">
                  <c:v>0.09574468085106383</c:v>
                </c:pt>
                <c:pt idx="40">
                  <c:v>0.08</c:v>
                </c:pt>
                <c:pt idx="41">
                  <c:v>0.0945945945945946</c:v>
                </c:pt>
                <c:pt idx="42">
                  <c:v>0.12162162162162163</c:v>
                </c:pt>
                <c:pt idx="43">
                  <c:v>0.1388888888888889</c:v>
                </c:pt>
                <c:pt idx="44">
                  <c:v>0.10784313725490197</c:v>
                </c:pt>
                <c:pt idx="45">
                  <c:v>0.0898876404494382</c:v>
                </c:pt>
                <c:pt idx="46">
                  <c:v>0.07547169811320754</c:v>
                </c:pt>
                <c:pt idx="47">
                  <c:v>0.08181818181818182</c:v>
                </c:pt>
                <c:pt idx="48">
                  <c:v>0.0967741935483871</c:v>
                </c:pt>
                <c:pt idx="49">
                  <c:v>0.07650273224043716</c:v>
                </c:pt>
                <c:pt idx="50">
                  <c:v>0.09854014598540146</c:v>
                </c:pt>
                <c:pt idx="51">
                  <c:v>0.0853658536585365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96362391350681</c:v>
                </c:pt>
              </c:numCache>
            </c:numRef>
          </c:xVal>
          <c:yVal>
            <c:numRef>
              <c:f>Sheet1!$B$163:$B$164</c:f>
              <c:numCache>
                <c:formatCode>General</c:formatCode>
                <c:ptCount val="2"/>
                <c:pt idx="0">
                  <c:v>0.20230735083301746</c:v>
                </c:pt>
                <c:pt idx="1">
                  <c:v>0.2023073508330174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96362391350681</c:v>
                </c:pt>
                <c:pt idx="1">
                  <c:v>-1.996362391350681</c:v>
                </c:pt>
              </c:numCache>
            </c:numRef>
          </c:xVal>
          <c:yVal>
            <c:numRef>
              <c:f>Sheet1!$B$167:$B$168</c:f>
              <c:numCache>
                <c:formatCode>General</c:formatCode>
                <c:ptCount val="2"/>
                <c:pt idx="0">
                  <c:v>0.202307350833017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12696827839055</c:v>
                </c:pt>
              </c:numCache>
            </c:numRef>
          </c:xVal>
          <c:yVal>
            <c:numRef>
              <c:f>Sheet1!$B$171:$B$172</c:f>
              <c:numCache>
                <c:formatCode>General</c:formatCode>
                <c:ptCount val="2"/>
                <c:pt idx="0">
                  <c:v>0.10273126631319157</c:v>
                </c:pt>
                <c:pt idx="1">
                  <c:v>0.102731266313191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12696827839055</c:v>
                </c:pt>
                <c:pt idx="1">
                  <c:v>0.6612696827839055</c:v>
                </c:pt>
              </c:numCache>
            </c:numRef>
          </c:xVal>
          <c:yVal>
            <c:numRef>
              <c:f>Sheet1!$B$175:$B$176</c:f>
              <c:numCache>
                <c:formatCode>General</c:formatCode>
                <c:ptCount val="2"/>
                <c:pt idx="0">
                  <c:v>0.102731266313191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10791648954175</c:v>
                </c:pt>
              </c:numCache>
            </c:numRef>
          </c:xVal>
          <c:yVal>
            <c:numRef>
              <c:f>Sheet1!$B$179:$B$180</c:f>
              <c:numCache>
                <c:formatCode>General</c:formatCode>
                <c:ptCount val="2"/>
                <c:pt idx="0">
                  <c:v>0.0956194899249739</c:v>
                </c:pt>
                <c:pt idx="1">
                  <c:v>0.095619489924973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10791648954175</c:v>
                </c:pt>
                <c:pt idx="1">
                  <c:v>0.8510791648954175</c:v>
                </c:pt>
              </c:numCache>
            </c:numRef>
          </c:xVal>
          <c:yVal>
            <c:numRef>
              <c:f>Sheet1!$B$183:$B$184</c:f>
              <c:numCache>
                <c:formatCode>General</c:formatCode>
                <c:ptCount val="2"/>
                <c:pt idx="0">
                  <c:v>0.09561948992497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523180631614296</c:v>
                </c:pt>
                <c:pt idx="1">
                  <c:v>0.6846339810083412</c:v>
                </c:pt>
                <c:pt idx="2">
                  <c:v>0.7239659165298007</c:v>
                </c:pt>
                <c:pt idx="3">
                  <c:v>0.5177801864188902</c:v>
                </c:pt>
                <c:pt idx="4">
                  <c:v>0.7426106082485869</c:v>
                </c:pt>
                <c:pt idx="5">
                  <c:v>0.513158929407544</c:v>
                </c:pt>
                <c:pt idx="6">
                  <c:v>0.6941376679248347</c:v>
                </c:pt>
                <c:pt idx="7">
                  <c:v>0.7226794234543454</c:v>
                </c:pt>
                <c:pt idx="8">
                  <c:v>0.7649461504680428</c:v>
                </c:pt>
                <c:pt idx="9">
                  <c:v>0.7358562176148136</c:v>
                </c:pt>
                <c:pt idx="10">
                  <c:v>0.6798326630543586</c:v>
                </c:pt>
                <c:pt idx="11">
                  <c:v>0.7759515044265696</c:v>
                </c:pt>
                <c:pt idx="12">
                  <c:v>0.8001022900763359</c:v>
                </c:pt>
                <c:pt idx="13">
                  <c:v>0.46306959297576145</c:v>
                </c:pt>
                <c:pt idx="14">
                  <c:v>0.7609999023760731</c:v>
                </c:pt>
                <c:pt idx="15">
                  <c:v>0.6203560092236126</c:v>
                </c:pt>
                <c:pt idx="16">
                  <c:v>0.7960426622987639</c:v>
                </c:pt>
                <c:pt idx="17">
                  <c:v>0.6645943896891585</c:v>
                </c:pt>
                <c:pt idx="18">
                  <c:v>0.672037037037037</c:v>
                </c:pt>
                <c:pt idx="19">
                  <c:v>0.7272495103359291</c:v>
                </c:pt>
                <c:pt idx="20">
                  <c:v>0.7231170153470308</c:v>
                </c:pt>
                <c:pt idx="21">
                  <c:v>0.8475658419792498</c:v>
                </c:pt>
                <c:pt idx="22">
                  <c:v>0.9765693303025005</c:v>
                </c:pt>
                <c:pt idx="23">
                  <c:v>0.5559650738305543</c:v>
                </c:pt>
                <c:pt idx="24">
                  <c:v>0.9177044766072028</c:v>
                </c:pt>
                <c:pt idx="25">
                  <c:v>0.6982145449266948</c:v>
                </c:pt>
                <c:pt idx="26">
                  <c:v>0.7926337303135207</c:v>
                </c:pt>
                <c:pt idx="27">
                  <c:v>0.7757291720536749</c:v>
                </c:pt>
                <c:pt idx="28">
                  <c:v>0.7417904354713647</c:v>
                </c:pt>
                <c:pt idx="29">
                  <c:v>0.8212092006746029</c:v>
                </c:pt>
                <c:pt idx="30">
                  <c:v>0.8276609496191037</c:v>
                </c:pt>
                <c:pt idx="31">
                  <c:v>0.9484874704646047</c:v>
                </c:pt>
                <c:pt idx="32">
                  <c:v>0.69306169517586</c:v>
                </c:pt>
                <c:pt idx="33">
                  <c:v>0.8506063375740004</c:v>
                </c:pt>
                <c:pt idx="34">
                  <c:v>0.7902868980330651</c:v>
                </c:pt>
                <c:pt idx="35">
                  <c:v>0.8082351091348026</c:v>
                </c:pt>
                <c:pt idx="36">
                  <c:v>0.9717205954232393</c:v>
                </c:pt>
                <c:pt idx="37">
                  <c:v>0.7995894905174087</c:v>
                </c:pt>
                <c:pt idx="38">
                  <c:v>0.6253376210465085</c:v>
                </c:pt>
                <c:pt idx="39">
                  <c:v>0.9070297431962039</c:v>
                </c:pt>
                <c:pt idx="40">
                  <c:v>0.9415322580645161</c:v>
                </c:pt>
                <c:pt idx="41">
                  <c:v>0.7114128783262239</c:v>
                </c:pt>
                <c:pt idx="42">
                  <c:v>0.7126109159134257</c:v>
                </c:pt>
                <c:pt idx="43">
                  <c:v>0.7061087728611135</c:v>
                </c:pt>
                <c:pt idx="44">
                  <c:v>0.8780969492607542</c:v>
                </c:pt>
                <c:pt idx="45">
                  <c:v>0.8902651187973772</c:v>
                </c:pt>
                <c:pt idx="46">
                  <c:v>0.876469837346938</c:v>
                </c:pt>
                <c:pt idx="47">
                  <c:v>0.8436797059391119</c:v>
                </c:pt>
                <c:pt idx="48">
                  <c:v>0.9422660926294764</c:v>
                </c:pt>
                <c:pt idx="49">
                  <c:v>0.8926962232873256</c:v>
                </c:pt>
                <c:pt idx="50">
                  <c:v>0.8423250352980747</c:v>
                </c:pt>
                <c:pt idx="51">
                  <c:v>0.9682378359078511</c:v>
                </c:pt>
                <c:pt idx="52">
                  <c:v>0.6612696827839055</c:v>
                </c:pt>
                <c:pt idx="53">
                  <c:v>-1.996362391350681</c:v>
                </c:pt>
                <c:pt idx="54">
                  <c:v>0.8510791648954175</c:v>
                </c:pt>
              </c:numCache>
            </c:numRef>
          </c:xVal>
          <c:yVal>
            <c:numRef>
              <c:f>Sheet1!$B$187:$B$241</c:f>
              <c:numCache>
                <c:formatCode>General</c:formatCode>
                <c:ptCount val="55"/>
                <c:pt idx="0">
                  <c:v>0.10306666534784058</c:v>
                </c:pt>
                <c:pt idx="1">
                  <c:v>0.10185585343817936</c:v>
                </c:pt>
                <c:pt idx="2">
                  <c:v>0.10038216557373389</c:v>
                </c:pt>
                <c:pt idx="3">
                  <c:v>0.10810752676579868</c:v>
                </c:pt>
                <c:pt idx="4">
                  <c:v>0.09968358678380093</c:v>
                </c:pt>
                <c:pt idx="5">
                  <c:v>0.10828067589476512</c:v>
                </c:pt>
                <c:pt idx="6">
                  <c:v>0.10149976956153707</c:v>
                </c:pt>
                <c:pt idx="7">
                  <c:v>0.10043036786044711</c:v>
                </c:pt>
                <c:pt idx="8">
                  <c:v>0.09884671931012518</c:v>
                </c:pt>
                <c:pt idx="9">
                  <c:v>0.0999366601039096</c:v>
                </c:pt>
                <c:pt idx="10">
                  <c:v>0.10203574908552851</c:v>
                </c:pt>
                <c:pt idx="11">
                  <c:v>0.09843437101458402</c:v>
                </c:pt>
                <c:pt idx="12">
                  <c:v>0.09752949005062876</c:v>
                </c:pt>
                <c:pt idx="13">
                  <c:v>0.11015742175684888</c:v>
                </c:pt>
                <c:pt idx="14">
                  <c:v>0.09899457722370417</c:v>
                </c:pt>
                <c:pt idx="15">
                  <c:v>0.10426421869441346</c:v>
                </c:pt>
                <c:pt idx="16">
                  <c:v>0.09768159607110949</c:v>
                </c:pt>
                <c:pt idx="17">
                  <c:v>0.10260669628748215</c:v>
                </c:pt>
                <c:pt idx="18">
                  <c:v>0.10232783538398221</c:v>
                </c:pt>
                <c:pt idx="19">
                  <c:v>0.10025913597247718</c:v>
                </c:pt>
                <c:pt idx="20">
                  <c:v>0.100413972179602</c:v>
                </c:pt>
                <c:pt idx="21">
                  <c:v>0.09575112701012597</c:v>
                </c:pt>
                <c:pt idx="22">
                  <c:v>0.09091762790328992</c:v>
                </c:pt>
                <c:pt idx="23">
                  <c:v>0.10667681646797764</c:v>
                </c:pt>
                <c:pt idx="24">
                  <c:v>0.09312317460174285</c:v>
                </c:pt>
                <c:pt idx="25">
                  <c:v>0.10134701724760123</c:v>
                </c:pt>
                <c:pt idx="26">
                  <c:v>0.09780932183976972</c:v>
                </c:pt>
                <c:pt idx="27">
                  <c:v>0.09844270135773811</c:v>
                </c:pt>
                <c:pt idx="28">
                  <c:v>0.09971431699457028</c:v>
                </c:pt>
                <c:pt idx="29">
                  <c:v>0.09673865691230962</c:v>
                </c:pt>
                <c:pt idx="30">
                  <c:v>0.09649692296258391</c:v>
                </c:pt>
                <c:pt idx="31">
                  <c:v>0.09196979824541782</c:v>
                </c:pt>
                <c:pt idx="32">
                  <c:v>0.1015400840785222</c:v>
                </c:pt>
                <c:pt idx="33">
                  <c:v>0.09563720580588117</c:v>
                </c:pt>
                <c:pt idx="34">
                  <c:v>0.09789725288627796</c:v>
                </c:pt>
                <c:pt idx="35">
                  <c:v>0.09722476981270267</c:v>
                </c:pt>
                <c:pt idx="36">
                  <c:v>0.09109930016667453</c:v>
                </c:pt>
                <c:pt idx="37">
                  <c:v>0.09754870361021756</c:v>
                </c:pt>
                <c:pt idx="38">
                  <c:v>0.10407756780140633</c:v>
                </c:pt>
                <c:pt idx="39">
                  <c:v>0.09352313521581934</c:v>
                </c:pt>
                <c:pt idx="40">
                  <c:v>0.09223039594987248</c:v>
                </c:pt>
                <c:pt idx="41">
                  <c:v>0.10085250245945461</c:v>
                </c:pt>
                <c:pt idx="42">
                  <c:v>0.10080761442051114</c:v>
                </c:pt>
                <c:pt idx="43">
                  <c:v>0.10105123653526452</c:v>
                </c:pt>
                <c:pt idx="44">
                  <c:v>0.09460718833300984</c:v>
                </c:pt>
                <c:pt idx="45">
                  <c:v>0.09415127169578122</c:v>
                </c:pt>
                <c:pt idx="46">
                  <c:v>0.09466815291687014</c:v>
                </c:pt>
                <c:pt idx="47">
                  <c:v>0.0958967326470215</c:v>
                </c:pt>
                <c:pt idx="48">
                  <c:v>0.09220290065683502</c:v>
                </c:pt>
                <c:pt idx="49">
                  <c:v>0.09406018314047529</c:v>
                </c:pt>
                <c:pt idx="50">
                  <c:v>0.09594748940886272</c:v>
                </c:pt>
                <c:pt idx="51">
                  <c:v>0.09122979210317761</c:v>
                </c:pt>
                <c:pt idx="52">
                  <c:v>0.10273126631319157</c:v>
                </c:pt>
                <c:pt idx="53">
                  <c:v>0.20230735083301746</c:v>
                </c:pt>
                <c:pt idx="54">
                  <c:v>0.09561948992497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6842105263158"/>
          <c:min val="0.036363636363636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0.2941</c:v>
                </c:pt>
                <c:pt idx="1">
                  <c:v>732.7273</c:v>
                </c:pt>
                <c:pt idx="2">
                  <c:v>742.0</c:v>
                </c:pt>
                <c:pt idx="3">
                  <c:v>738.878</c:v>
                </c:pt>
                <c:pt idx="4">
                  <c:v>729.9667</c:v>
                </c:pt>
                <c:pt idx="5">
                  <c:v>737.7391</c:v>
                </c:pt>
                <c:pt idx="6">
                  <c:v>715.04</c:v>
                </c:pt>
                <c:pt idx="7">
                  <c:v>732.0</c:v>
                </c:pt>
                <c:pt idx="8">
                  <c:v>722.5455</c:v>
                </c:pt>
                <c:pt idx="9">
                  <c:v>726.7273</c:v>
                </c:pt>
                <c:pt idx="10">
                  <c:v>717.5714</c:v>
                </c:pt>
                <c:pt idx="11">
                  <c:v>751.36</c:v>
                </c:pt>
                <c:pt idx="12">
                  <c:v>738.1563</c:v>
                </c:pt>
                <c:pt idx="13">
                  <c:v>741.8409</c:v>
                </c:pt>
                <c:pt idx="14">
                  <c:v>695.5556</c:v>
                </c:pt>
                <c:pt idx="15">
                  <c:v>735.4074</c:v>
                </c:pt>
                <c:pt idx="16">
                  <c:v>770.1579</c:v>
                </c:pt>
                <c:pt idx="17">
                  <c:v>723.9444</c:v>
                </c:pt>
                <c:pt idx="18">
                  <c:v>813.2222</c:v>
                </c:pt>
                <c:pt idx="19">
                  <c:v>816.6</c:v>
                </c:pt>
                <c:pt idx="20">
                  <c:v>833.0556</c:v>
                </c:pt>
                <c:pt idx="21">
                  <c:v>795.5385</c:v>
                </c:pt>
                <c:pt idx="22">
                  <c:v>743.0833</c:v>
                </c:pt>
                <c:pt idx="23">
                  <c:v>811.5</c:v>
                </c:pt>
                <c:pt idx="24">
                  <c:v>797.8462</c:v>
                </c:pt>
                <c:pt idx="25">
                  <c:v>798.875</c:v>
                </c:pt>
                <c:pt idx="26">
                  <c:v>784.5714</c:v>
                </c:pt>
                <c:pt idx="27">
                  <c:v>768.6667</c:v>
                </c:pt>
                <c:pt idx="28">
                  <c:v>778.7143</c:v>
                </c:pt>
                <c:pt idx="29">
                  <c:v>757.0</c:v>
                </c:pt>
                <c:pt idx="30">
                  <c:v>713.8182</c:v>
                </c:pt>
                <c:pt idx="31">
                  <c:v>811.1429</c:v>
                </c:pt>
                <c:pt idx="32">
                  <c:v>813.8333</c:v>
                </c:pt>
                <c:pt idx="33">
                  <c:v>782.4545</c:v>
                </c:pt>
                <c:pt idx="34">
                  <c:v>784.7857</c:v>
                </c:pt>
                <c:pt idx="35">
                  <c:v>826.3095</c:v>
                </c:pt>
                <c:pt idx="36">
                  <c:v>872.2632</c:v>
                </c:pt>
                <c:pt idx="37">
                  <c:v>893.0556</c:v>
                </c:pt>
                <c:pt idx="38">
                  <c:v>891.1667</c:v>
                </c:pt>
                <c:pt idx="39">
                  <c:v>880.2308</c:v>
                </c:pt>
                <c:pt idx="40">
                  <c:v>870.0667</c:v>
                </c:pt>
                <c:pt idx="41">
                  <c:v>866.5556</c:v>
                </c:pt>
                <c:pt idx="42">
                  <c:v>896.0435</c:v>
                </c:pt>
                <c:pt idx="43">
                  <c:v>891.087</c:v>
                </c:pt>
                <c:pt idx="44">
                  <c:v>874.8649</c:v>
                </c:pt>
                <c:pt idx="45">
                  <c:v>865.6364</c:v>
                </c:pt>
                <c:pt idx="46">
                  <c:v>868.9057</c:v>
                </c:pt>
                <c:pt idx="47">
                  <c:v>846.2564</c:v>
                </c:pt>
                <c:pt idx="48">
                  <c:v>853.2295</c:v>
                </c:pt>
                <c:pt idx="49">
                  <c:v>850.2549</c:v>
                </c:pt>
                <c:pt idx="50">
                  <c:v>858.7381</c:v>
                </c:pt>
                <c:pt idx="51">
                  <c:v>853.2917</c:v>
                </c:pt>
                <c:pt idx="52">
                  <c:v>859.1892</c:v>
                </c:pt>
                <c:pt idx="53">
                  <c:v>887.7917</c:v>
                </c:pt>
                <c:pt idx="54">
                  <c:v>904.6471</c:v>
                </c:pt>
                <c:pt idx="55">
                  <c:v>860.3333</c:v>
                </c:pt>
                <c:pt idx="56">
                  <c:v>889.5714</c:v>
                </c:pt>
                <c:pt idx="57">
                  <c:v>882.6316</c:v>
                </c:pt>
                <c:pt idx="58">
                  <c:v>868.8571</c:v>
                </c:pt>
                <c:pt idx="59">
                  <c:v>847.0476</c:v>
                </c:pt>
                <c:pt idx="60">
                  <c:v>855.6522</c:v>
                </c:pt>
                <c:pt idx="61">
                  <c:v>920.7143</c:v>
                </c:pt>
                <c:pt idx="62">
                  <c:v>852.7727</c:v>
                </c:pt>
                <c:pt idx="63">
                  <c:v>746.6154</c:v>
                </c:pt>
                <c:pt idx="64">
                  <c:v>743.5</c:v>
                </c:pt>
                <c:pt idx="65">
                  <c:v>714.4348</c:v>
                </c:pt>
                <c:pt idx="66">
                  <c:v>717.0</c:v>
                </c:pt>
                <c:pt idx="67">
                  <c:v>622.6957</c:v>
                </c:pt>
                <c:pt idx="68">
                  <c:v>456.6111</c:v>
                </c:pt>
                <c:pt idx="69">
                  <c:v>541.9375</c:v>
                </c:pt>
                <c:pt idx="70">
                  <c:v>486.3077</c:v>
                </c:pt>
                <c:pt idx="71">
                  <c:v>818.0</c:v>
                </c:pt>
                <c:pt idx="72">
                  <c:v>250.6207</c:v>
                </c:pt>
                <c:pt idx="73">
                  <c:v>390.1429</c:v>
                </c:pt>
                <c:pt idx="74">
                  <c:v>916.0</c:v>
                </c:pt>
                <c:pt idx="75">
                  <c:v>868.3333</c:v>
                </c:pt>
                <c:pt idx="76">
                  <c:v>931.75</c:v>
                </c:pt>
                <c:pt idx="77">
                  <c:v>989.4286</c:v>
                </c:pt>
                <c:pt idx="78">
                  <c:v>257.8571</c:v>
                </c:pt>
                <c:pt idx="79">
                  <c:v>1192.0</c:v>
                </c:pt>
                <c:pt idx="80">
                  <c:v>1044.6667</c:v>
                </c:pt>
                <c:pt idx="81">
                  <c:v>1034.4</c:v>
                </c:pt>
                <c:pt idx="82">
                  <c:v>881.3333</c:v>
                </c:pt>
                <c:pt idx="83">
                  <c:v>611.6667</c:v>
                </c:pt>
                <c:pt idx="84">
                  <c:v>498.4</c:v>
                </c:pt>
                <c:pt idx="85">
                  <c:v>611.8889</c:v>
                </c:pt>
                <c:pt idx="86">
                  <c:v>555.1875</c:v>
                </c:pt>
                <c:pt idx="87">
                  <c:v>721.4545</c:v>
                </c:pt>
                <c:pt idx="88">
                  <c:v>754.6</c:v>
                </c:pt>
                <c:pt idx="89">
                  <c:v>491.7</c:v>
                </c:pt>
                <c:pt idx="90">
                  <c:v>725.8571</c:v>
                </c:pt>
                <c:pt idx="91">
                  <c:v>527.5</c:v>
                </c:pt>
                <c:pt idx="92">
                  <c:v>509.5556</c:v>
                </c:pt>
                <c:pt idx="93">
                  <c:v>554.3333</c:v>
                </c:pt>
                <c:pt idx="94">
                  <c:v>477.7778</c:v>
                </c:pt>
                <c:pt idx="95">
                  <c:v>616.8571</c:v>
                </c:pt>
                <c:pt idx="96">
                  <c:v>687.8571</c:v>
                </c:pt>
                <c:pt idx="97">
                  <c:v>793.2727</c:v>
                </c:pt>
                <c:pt idx="98">
                  <c:v>731.125</c:v>
                </c:pt>
                <c:pt idx="99">
                  <c:v>757.4286</c:v>
                </c:pt>
                <c:pt idx="100">
                  <c:v>860.4063</c:v>
                </c:pt>
                <c:pt idx="101">
                  <c:v>931.8667</c:v>
                </c:pt>
                <c:pt idx="102">
                  <c:v>874.8</c:v>
                </c:pt>
                <c:pt idx="103">
                  <c:v>873.0833</c:v>
                </c:pt>
                <c:pt idx="104">
                  <c:v>756.25</c:v>
                </c:pt>
              </c:numCache>
            </c:numRef>
          </c:xVal>
          <c:yVal>
            <c:numRef>
              <c:f>Sheet1!$B$2:$B$106</c:f>
              <c:numCache>
                <c:formatCode>General</c:formatCode>
                <c:ptCount val="105"/>
                <c:pt idx="0">
                  <c:v>0.23129251700680273</c:v>
                </c:pt>
                <c:pt idx="1">
                  <c:v>0.21153846153846154</c:v>
                </c:pt>
                <c:pt idx="2">
                  <c:v>0.2077922077922078</c:v>
                </c:pt>
                <c:pt idx="3">
                  <c:v>0.26973684210526316</c:v>
                </c:pt>
                <c:pt idx="4">
                  <c:v>0.2054794520547945</c:v>
                </c:pt>
                <c:pt idx="5">
                  <c:v>0.17829457364341086</c:v>
                </c:pt>
                <c:pt idx="6">
                  <c:v>0.1953125</c:v>
                </c:pt>
                <c:pt idx="7">
                  <c:v>0.20175438596491227</c:v>
                </c:pt>
                <c:pt idx="8">
                  <c:v>0.11956521739130435</c:v>
                </c:pt>
                <c:pt idx="9">
                  <c:v>0.15172413793103448</c:v>
                </c:pt>
                <c:pt idx="10">
                  <c:v>0.11602209944751381</c:v>
                </c:pt>
                <c:pt idx="11">
                  <c:v>0.1404494382022472</c:v>
                </c:pt>
                <c:pt idx="12">
                  <c:v>0.16080402010050251</c:v>
                </c:pt>
                <c:pt idx="13">
                  <c:v>0.2009132420091324</c:v>
                </c:pt>
                <c:pt idx="14">
                  <c:v>0.12272727272727273</c:v>
                </c:pt>
                <c:pt idx="15">
                  <c:v>0.16071428571428573</c:v>
                </c:pt>
                <c:pt idx="16">
                  <c:v>0.1484375</c:v>
                </c:pt>
                <c:pt idx="17">
                  <c:v>0.18556701030927836</c:v>
                </c:pt>
                <c:pt idx="18">
                  <c:v>0.0989010989010989</c:v>
                </c:pt>
                <c:pt idx="19">
                  <c:v>0.14084507042253522</c:v>
                </c:pt>
                <c:pt idx="20">
                  <c:v>0.140625</c:v>
                </c:pt>
                <c:pt idx="21">
                  <c:v>0.23214285714285715</c:v>
                </c:pt>
                <c:pt idx="22">
                  <c:v>0.16</c:v>
                </c:pt>
                <c:pt idx="23">
                  <c:v>0.18666666666666668</c:v>
                </c:pt>
                <c:pt idx="24">
                  <c:v>0.17105263157894737</c:v>
                </c:pt>
                <c:pt idx="25">
                  <c:v>0.125</c:v>
                </c:pt>
                <c:pt idx="26">
                  <c:v>0.15384615384615385</c:v>
                </c:pt>
                <c:pt idx="27">
                  <c:v>0.1875</c:v>
                </c:pt>
                <c:pt idx="28">
                  <c:v>0.16091954022988506</c:v>
                </c:pt>
                <c:pt idx="29">
                  <c:v>0.1357142857142857</c:v>
                </c:pt>
                <c:pt idx="30">
                  <c:v>0.12941176470588237</c:v>
                </c:pt>
                <c:pt idx="31">
                  <c:v>0.16666666666666666</c:v>
                </c:pt>
                <c:pt idx="32">
                  <c:v>0.11764705882352941</c:v>
                </c:pt>
                <c:pt idx="33">
                  <c:v>0.14102564102564102</c:v>
                </c:pt>
                <c:pt idx="34">
                  <c:v>0.1206896551724138</c:v>
                </c:pt>
                <c:pt idx="35">
                  <c:v>0.12574850299401197</c:v>
                </c:pt>
                <c:pt idx="36">
                  <c:v>0.11585365853658537</c:v>
                </c:pt>
                <c:pt idx="37">
                  <c:v>0.17142857142857143</c:v>
                </c:pt>
                <c:pt idx="38">
                  <c:v>0.10714285714285714</c:v>
                </c:pt>
                <c:pt idx="39">
                  <c:v>0.13541666666666666</c:v>
                </c:pt>
                <c:pt idx="40">
                  <c:v>0.17341040462427745</c:v>
                </c:pt>
                <c:pt idx="41">
                  <c:v>0.16822429906542055</c:v>
                </c:pt>
                <c:pt idx="42">
                  <c:v>0.17692307692307693</c:v>
                </c:pt>
                <c:pt idx="43">
                  <c:v>0.16546762589928057</c:v>
                </c:pt>
                <c:pt idx="44">
                  <c:v>0.18781725888324874</c:v>
                </c:pt>
                <c:pt idx="45">
                  <c:v>0.24175824175824176</c:v>
                </c:pt>
                <c:pt idx="46">
                  <c:v>0.1906474820143885</c:v>
                </c:pt>
                <c:pt idx="47">
                  <c:v>0.1902439024390244</c:v>
                </c:pt>
                <c:pt idx="48">
                  <c:v>0.1930379746835443</c:v>
                </c:pt>
                <c:pt idx="49">
                  <c:v>0.18579234972677597</c:v>
                </c:pt>
                <c:pt idx="50">
                  <c:v>0.1926605504587156</c:v>
                </c:pt>
                <c:pt idx="51">
                  <c:v>0.16901408450704225</c:v>
                </c:pt>
                <c:pt idx="52">
                  <c:v>0.185</c:v>
                </c:pt>
                <c:pt idx="53">
                  <c:v>0.16551724137931034</c:v>
                </c:pt>
                <c:pt idx="54">
                  <c:v>0.1328125</c:v>
                </c:pt>
                <c:pt idx="55">
                  <c:v>0.15789473684210525</c:v>
                </c:pt>
                <c:pt idx="56">
                  <c:v>0.12389380530973451</c:v>
                </c:pt>
                <c:pt idx="57">
                  <c:v>0.15966386554621848</c:v>
                </c:pt>
                <c:pt idx="58">
                  <c:v>0.14893617021276595</c:v>
                </c:pt>
                <c:pt idx="59">
                  <c:v>0.14</c:v>
                </c:pt>
                <c:pt idx="60">
                  <c:v>0.13855421686746988</c:v>
                </c:pt>
                <c:pt idx="61">
                  <c:v>0.12727272727272726</c:v>
                </c:pt>
                <c:pt idx="62">
                  <c:v>0.13095238095238096</c:v>
                </c:pt>
                <c:pt idx="63">
                  <c:v>0.1326530612244898</c:v>
                </c:pt>
                <c:pt idx="64">
                  <c:v>0.1588785046728972</c:v>
                </c:pt>
                <c:pt idx="65">
                  <c:v>0.11219512195121951</c:v>
                </c:pt>
                <c:pt idx="66">
                  <c:v>0.13253012048192772</c:v>
                </c:pt>
                <c:pt idx="67">
                  <c:v>0.15333333333333332</c:v>
                </c:pt>
                <c:pt idx="68">
                  <c:v>0.1565217391304348</c:v>
                </c:pt>
                <c:pt idx="69">
                  <c:v>0.16494845360824742</c:v>
                </c:pt>
                <c:pt idx="70">
                  <c:v>0.16666666666666666</c:v>
                </c:pt>
                <c:pt idx="71">
                  <c:v>0.13636363636363635</c:v>
                </c:pt>
                <c:pt idx="72">
                  <c:v>0.26605504587155965</c:v>
                </c:pt>
                <c:pt idx="73">
                  <c:v>0.24705882352941178</c:v>
                </c:pt>
                <c:pt idx="74">
                  <c:v>0.09411764705882353</c:v>
                </c:pt>
                <c:pt idx="75">
                  <c:v>0.08</c:v>
                </c:pt>
                <c:pt idx="76">
                  <c:v>0.13114754098360656</c:v>
                </c:pt>
                <c:pt idx="77">
                  <c:v>0.1206896551724138</c:v>
                </c:pt>
                <c:pt idx="78">
                  <c:v>0.16279069767441862</c:v>
                </c:pt>
                <c:pt idx="79">
                  <c:v>0.045454545454545456</c:v>
                </c:pt>
                <c:pt idx="80">
                  <c:v>0.07692307692307693</c:v>
                </c:pt>
                <c:pt idx="81">
                  <c:v>0.09615384615384616</c:v>
                </c:pt>
                <c:pt idx="82">
                  <c:v>0.0967741935483871</c:v>
                </c:pt>
                <c:pt idx="83">
                  <c:v>0.08108108108108109</c:v>
                </c:pt>
                <c:pt idx="84">
                  <c:v>0.14705882352941177</c:v>
                </c:pt>
                <c:pt idx="85">
                  <c:v>0.1875</c:v>
                </c:pt>
                <c:pt idx="86">
                  <c:v>0.1927710843373494</c:v>
                </c:pt>
                <c:pt idx="87">
                  <c:v>0.1</c:v>
                </c:pt>
                <c:pt idx="88">
                  <c:v>0.10416666666666667</c:v>
                </c:pt>
                <c:pt idx="89">
                  <c:v>0.19607843137254902</c:v>
                </c:pt>
                <c:pt idx="90">
                  <c:v>0.14583333333333334</c:v>
                </c:pt>
                <c:pt idx="91">
                  <c:v>0.12244897959183673</c:v>
                </c:pt>
                <c:pt idx="92">
                  <c:v>0.12</c:v>
                </c:pt>
                <c:pt idx="93">
                  <c:v>0.1</c:v>
                </c:pt>
                <c:pt idx="94">
                  <c:v>0.17647058823529413</c:v>
                </c:pt>
                <c:pt idx="95">
                  <c:v>0.175</c:v>
                </c:pt>
                <c:pt idx="96">
                  <c:v>0.11570247933884298</c:v>
                </c:pt>
                <c:pt idx="97">
                  <c:v>0.0990990990990991</c:v>
                </c:pt>
                <c:pt idx="98">
                  <c:v>0.09523809523809523</c:v>
                </c:pt>
                <c:pt idx="99">
                  <c:v>0.11170212765957446</c:v>
                </c:pt>
                <c:pt idx="100">
                  <c:v>0.0960960960960961</c:v>
                </c:pt>
                <c:pt idx="101">
                  <c:v>0.10135135135135136</c:v>
                </c:pt>
                <c:pt idx="102">
                  <c:v>0.11494252873563218</c:v>
                </c:pt>
                <c:pt idx="103">
                  <c:v>0.13333333333333333</c:v>
                </c:pt>
                <c:pt idx="104">
                  <c:v>0.086956521739130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26.7273</c:v>
                </c:pt>
                <c:pt idx="1">
                  <c:v>875.5556</c:v>
                </c:pt>
                <c:pt idx="2">
                  <c:v>806.2222</c:v>
                </c:pt>
                <c:pt idx="3">
                  <c:v>667.3077</c:v>
                </c:pt>
                <c:pt idx="4">
                  <c:v>836.375</c:v>
                </c:pt>
                <c:pt idx="5">
                  <c:v>644.1</c:v>
                </c:pt>
                <c:pt idx="6">
                  <c:v>855.1429</c:v>
                </c:pt>
                <c:pt idx="7">
                  <c:v>835.8</c:v>
                </c:pt>
                <c:pt idx="8">
                  <c:v>961.3333</c:v>
                </c:pt>
                <c:pt idx="9">
                  <c:v>971.1667</c:v>
                </c:pt>
                <c:pt idx="10">
                  <c:v>871.7</c:v>
                </c:pt>
                <c:pt idx="11">
                  <c:v>889.6</c:v>
                </c:pt>
                <c:pt idx="12">
                  <c:v>995.7273</c:v>
                </c:pt>
                <c:pt idx="13">
                  <c:v>587.7778</c:v>
                </c:pt>
                <c:pt idx="14">
                  <c:v>978.3</c:v>
                </c:pt>
                <c:pt idx="15">
                  <c:v>817.5</c:v>
                </c:pt>
                <c:pt idx="16">
                  <c:v>1002.9</c:v>
                </c:pt>
                <c:pt idx="17">
                  <c:v>876.6</c:v>
                </c:pt>
                <c:pt idx="18">
                  <c:v>725.8</c:v>
                </c:pt>
                <c:pt idx="19">
                  <c:v>942.2857</c:v>
                </c:pt>
                <c:pt idx="20">
                  <c:v>989.75</c:v>
                </c:pt>
                <c:pt idx="21">
                  <c:v>1062.0</c:v>
                </c:pt>
                <c:pt idx="22">
                  <c:v>1117.0</c:v>
                </c:pt>
                <c:pt idx="23">
                  <c:v>955.3333</c:v>
                </c:pt>
                <c:pt idx="24">
                  <c:v>1090.6</c:v>
                </c:pt>
                <c:pt idx="25">
                  <c:v>962.0</c:v>
                </c:pt>
                <c:pt idx="26">
                  <c:v>1019.6667</c:v>
                </c:pt>
                <c:pt idx="27">
                  <c:v>1015.5</c:v>
                </c:pt>
                <c:pt idx="28">
                  <c:v>951.6</c:v>
                </c:pt>
                <c:pt idx="29">
                  <c:v>996.5</c:v>
                </c:pt>
                <c:pt idx="30">
                  <c:v>1104.75</c:v>
                </c:pt>
                <c:pt idx="31">
                  <c:v>1043.25</c:v>
                </c:pt>
                <c:pt idx="32">
                  <c:v>901.5</c:v>
                </c:pt>
                <c:pt idx="33">
                  <c:v>1087.4615</c:v>
                </c:pt>
                <c:pt idx="34">
                  <c:v>1039.7619</c:v>
                </c:pt>
                <c:pt idx="35">
                  <c:v>1095.9091</c:v>
                </c:pt>
                <c:pt idx="36">
                  <c:v>1093.4286</c:v>
                </c:pt>
                <c:pt idx="37">
                  <c:v>1061.6667</c:v>
                </c:pt>
                <c:pt idx="38">
                  <c:v>791.0</c:v>
                </c:pt>
                <c:pt idx="39">
                  <c:v>1084.5556</c:v>
                </c:pt>
                <c:pt idx="40">
                  <c:v>1167.5</c:v>
                </c:pt>
                <c:pt idx="41">
                  <c:v>875.5714</c:v>
                </c:pt>
                <c:pt idx="42">
                  <c:v>927.6667</c:v>
                </c:pt>
                <c:pt idx="43">
                  <c:v>901.6</c:v>
                </c:pt>
                <c:pt idx="44">
                  <c:v>1034.8182</c:v>
                </c:pt>
                <c:pt idx="45">
                  <c:v>1068.9375</c:v>
                </c:pt>
                <c:pt idx="46">
                  <c:v>1065.625</c:v>
                </c:pt>
                <c:pt idx="47">
                  <c:v>970.1111</c:v>
                </c:pt>
                <c:pt idx="48">
                  <c:v>1023.25</c:v>
                </c:pt>
                <c:pt idx="49">
                  <c:v>990.8571</c:v>
                </c:pt>
                <c:pt idx="50">
                  <c:v>979.7037</c:v>
                </c:pt>
                <c:pt idx="51">
                  <c:v>1008.7857</c:v>
                </c:pt>
              </c:numCache>
            </c:numRef>
          </c:xVal>
          <c:yVal>
            <c:numRef>
              <c:f>Sheet1!$B$109:$B$160</c:f>
              <c:numCache>
                <c:formatCode>General</c:formatCode>
                <c:ptCount val="52"/>
                <c:pt idx="0">
                  <c:v>0.10679611650485436</c:v>
                </c:pt>
                <c:pt idx="1">
                  <c:v>0.10465116279069768</c:v>
                </c:pt>
                <c:pt idx="2">
                  <c:v>0.08653846153846154</c:v>
                </c:pt>
                <c:pt idx="3">
                  <c:v>0.13829787234042554</c:v>
                </c:pt>
                <c:pt idx="4">
                  <c:v>0.07207207207207207</c:v>
                </c:pt>
                <c:pt idx="5">
                  <c:v>0.0970873786407767</c:v>
                </c:pt>
                <c:pt idx="6">
                  <c:v>0.12727272727272726</c:v>
                </c:pt>
                <c:pt idx="7">
                  <c:v>0.11494252873563218</c:v>
                </c:pt>
                <c:pt idx="8">
                  <c:v>0.07692307692307693</c:v>
                </c:pt>
                <c:pt idx="9">
                  <c:v>0.06593406593406594</c:v>
                </c:pt>
                <c:pt idx="10">
                  <c:v>0.09259259259259259</c:v>
                </c:pt>
                <c:pt idx="11">
                  <c:v>0.06711409395973154</c:v>
                </c:pt>
                <c:pt idx="12">
                  <c:v>0.08333333333333333</c:v>
                </c:pt>
                <c:pt idx="13">
                  <c:v>0.13636363636363635</c:v>
                </c:pt>
                <c:pt idx="14">
                  <c:v>0.1</c:v>
                </c:pt>
                <c:pt idx="15">
                  <c:v>0.08888888888888889</c:v>
                </c:pt>
                <c:pt idx="16">
                  <c:v>0.15384615384615385</c:v>
                </c:pt>
                <c:pt idx="17">
                  <c:v>0.0847457627118644</c:v>
                </c:pt>
                <c:pt idx="18">
                  <c:v>0.10638297872340426</c:v>
                </c:pt>
                <c:pt idx="19">
                  <c:v>0.08433734939759036</c:v>
                </c:pt>
                <c:pt idx="20">
                  <c:v>0.07692307692307693</c:v>
                </c:pt>
                <c:pt idx="21">
                  <c:v>0.13333333333333333</c:v>
                </c:pt>
                <c:pt idx="22">
                  <c:v>0.07407407407407407</c:v>
                </c:pt>
                <c:pt idx="23">
                  <c:v>0.10344827586206896</c:v>
                </c:pt>
                <c:pt idx="24">
                  <c:v>0.11363636363636363</c:v>
                </c:pt>
                <c:pt idx="25">
                  <c:v>0.125</c:v>
                </c:pt>
                <c:pt idx="26">
                  <c:v>0.16666666666666666</c:v>
                </c:pt>
                <c:pt idx="27">
                  <c:v>0.0784313725490196</c:v>
                </c:pt>
                <c:pt idx="28">
                  <c:v>0.06756756756756757</c:v>
                </c:pt>
                <c:pt idx="29">
                  <c:v>0.10714285714285714</c:v>
                </c:pt>
                <c:pt idx="30">
                  <c:v>0.07407407407407407</c:v>
                </c:pt>
                <c:pt idx="31">
                  <c:v>0.08</c:v>
                </c:pt>
                <c:pt idx="32">
                  <c:v>0.07272727272727272</c:v>
                </c:pt>
                <c:pt idx="33">
                  <c:v>0.1262135922330097</c:v>
                </c:pt>
                <c:pt idx="34">
                  <c:v>0.10552763819095477</c:v>
                </c:pt>
                <c:pt idx="35">
                  <c:v>0.09322033898305085</c:v>
                </c:pt>
                <c:pt idx="36">
                  <c:v>0.1206896551724138</c:v>
                </c:pt>
                <c:pt idx="37">
                  <c:v>0.10526315789473684</c:v>
                </c:pt>
                <c:pt idx="38">
                  <c:v>0.07692307692307693</c:v>
                </c:pt>
                <c:pt idx="39">
                  <c:v>0.09574468085106383</c:v>
                </c:pt>
                <c:pt idx="40">
                  <c:v>0.08</c:v>
                </c:pt>
                <c:pt idx="41">
                  <c:v>0.0945945945945946</c:v>
                </c:pt>
                <c:pt idx="42">
                  <c:v>0.12162162162162163</c:v>
                </c:pt>
                <c:pt idx="43">
                  <c:v>0.1388888888888889</c:v>
                </c:pt>
                <c:pt idx="44">
                  <c:v>0.10784313725490197</c:v>
                </c:pt>
                <c:pt idx="45">
                  <c:v>0.0898876404494382</c:v>
                </c:pt>
                <c:pt idx="46">
                  <c:v>0.07547169811320754</c:v>
                </c:pt>
                <c:pt idx="47">
                  <c:v>0.08181818181818182</c:v>
                </c:pt>
                <c:pt idx="48">
                  <c:v>0.0967741935483871</c:v>
                </c:pt>
                <c:pt idx="49">
                  <c:v>0.07650273224043716</c:v>
                </c:pt>
                <c:pt idx="50">
                  <c:v>0.09854014598540146</c:v>
                </c:pt>
                <c:pt idx="51">
                  <c:v>0.0853658536585365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90.3299179935866</c:v>
                </c:pt>
              </c:numCache>
            </c:numRef>
          </c:xVal>
          <c:yVal>
            <c:numRef>
              <c:f>Sheet1!$B$163:$B$164</c:f>
              <c:numCache>
                <c:formatCode>General</c:formatCode>
                <c:ptCount val="2"/>
                <c:pt idx="0">
                  <c:v>0.20230735083301746</c:v>
                </c:pt>
                <c:pt idx="1">
                  <c:v>0.2023073508330174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90.3299179935866</c:v>
                </c:pt>
                <c:pt idx="1">
                  <c:v>-2990.3299179935866</c:v>
                </c:pt>
              </c:numCache>
            </c:numRef>
          </c:xVal>
          <c:yVal>
            <c:numRef>
              <c:f>Sheet1!$B$167:$B$168</c:f>
              <c:numCache>
                <c:formatCode>General</c:formatCode>
                <c:ptCount val="2"/>
                <c:pt idx="0">
                  <c:v>0.202307350833017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97.2719700155061</c:v>
                </c:pt>
              </c:numCache>
            </c:numRef>
          </c:xVal>
          <c:yVal>
            <c:numRef>
              <c:f>Sheet1!$B$171:$B$172</c:f>
              <c:numCache>
                <c:formatCode>General</c:formatCode>
                <c:ptCount val="2"/>
                <c:pt idx="0">
                  <c:v>0.10273126631319157</c:v>
                </c:pt>
                <c:pt idx="1">
                  <c:v>0.102731266313191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97.2719700155061</c:v>
                </c:pt>
                <c:pt idx="1">
                  <c:v>797.2719700155061</c:v>
                </c:pt>
              </c:numCache>
            </c:numRef>
          </c:xVal>
          <c:yVal>
            <c:numRef>
              <c:f>Sheet1!$B$175:$B$176</c:f>
              <c:numCache>
                <c:formatCode>General</c:formatCode>
                <c:ptCount val="2"/>
                <c:pt idx="0">
                  <c:v>0.102731266313191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67.7844912198177</c:v>
                </c:pt>
              </c:numCache>
            </c:numRef>
          </c:xVal>
          <c:yVal>
            <c:numRef>
              <c:f>Sheet1!$B$179:$B$180</c:f>
              <c:numCache>
                <c:formatCode>General</c:formatCode>
                <c:ptCount val="2"/>
                <c:pt idx="0">
                  <c:v>0.0956194899249739</c:v>
                </c:pt>
                <c:pt idx="1">
                  <c:v>0.095619489924973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67.7844912198177</c:v>
                </c:pt>
                <c:pt idx="1">
                  <c:v>1067.7844912198177</c:v>
                </c:pt>
              </c:numCache>
            </c:numRef>
          </c:xVal>
          <c:yVal>
            <c:numRef>
              <c:f>Sheet1!$B$183:$B$184</c:f>
              <c:numCache>
                <c:formatCode>General</c:formatCode>
                <c:ptCount val="2"/>
                <c:pt idx="0">
                  <c:v>0.09561948992497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26.7273</c:v>
                </c:pt>
                <c:pt idx="1">
                  <c:v>875.5556</c:v>
                </c:pt>
                <c:pt idx="2">
                  <c:v>806.2222</c:v>
                </c:pt>
                <c:pt idx="3">
                  <c:v>667.3077</c:v>
                </c:pt>
                <c:pt idx="4">
                  <c:v>836.375</c:v>
                </c:pt>
                <c:pt idx="5">
                  <c:v>644.1</c:v>
                </c:pt>
                <c:pt idx="6">
                  <c:v>855.1429</c:v>
                </c:pt>
                <c:pt idx="7">
                  <c:v>835.8</c:v>
                </c:pt>
                <c:pt idx="8">
                  <c:v>961.3333</c:v>
                </c:pt>
                <c:pt idx="9">
                  <c:v>971.1667</c:v>
                </c:pt>
                <c:pt idx="10">
                  <c:v>871.7</c:v>
                </c:pt>
                <c:pt idx="11">
                  <c:v>889.6</c:v>
                </c:pt>
                <c:pt idx="12">
                  <c:v>995.7273</c:v>
                </c:pt>
                <c:pt idx="13">
                  <c:v>587.7778</c:v>
                </c:pt>
                <c:pt idx="14">
                  <c:v>978.3</c:v>
                </c:pt>
                <c:pt idx="15">
                  <c:v>817.5</c:v>
                </c:pt>
                <c:pt idx="16">
                  <c:v>1002.9</c:v>
                </c:pt>
                <c:pt idx="17">
                  <c:v>876.6</c:v>
                </c:pt>
                <c:pt idx="18">
                  <c:v>725.8</c:v>
                </c:pt>
                <c:pt idx="19">
                  <c:v>942.2857</c:v>
                </c:pt>
                <c:pt idx="20">
                  <c:v>989.75</c:v>
                </c:pt>
                <c:pt idx="21">
                  <c:v>1062.0</c:v>
                </c:pt>
                <c:pt idx="22">
                  <c:v>1117.0</c:v>
                </c:pt>
                <c:pt idx="23">
                  <c:v>955.3333</c:v>
                </c:pt>
                <c:pt idx="24">
                  <c:v>1090.6</c:v>
                </c:pt>
                <c:pt idx="25">
                  <c:v>962.0</c:v>
                </c:pt>
                <c:pt idx="26">
                  <c:v>1019.6667</c:v>
                </c:pt>
                <c:pt idx="27">
                  <c:v>1015.5</c:v>
                </c:pt>
                <c:pt idx="28">
                  <c:v>951.6</c:v>
                </c:pt>
                <c:pt idx="29">
                  <c:v>996.5</c:v>
                </c:pt>
                <c:pt idx="30">
                  <c:v>1104.75</c:v>
                </c:pt>
                <c:pt idx="31">
                  <c:v>1043.25</c:v>
                </c:pt>
                <c:pt idx="32">
                  <c:v>901.5</c:v>
                </c:pt>
                <c:pt idx="33">
                  <c:v>1087.4615</c:v>
                </c:pt>
                <c:pt idx="34">
                  <c:v>1039.7619</c:v>
                </c:pt>
                <c:pt idx="35">
                  <c:v>1095.9091</c:v>
                </c:pt>
                <c:pt idx="36">
                  <c:v>1093.4286</c:v>
                </c:pt>
                <c:pt idx="37">
                  <c:v>1061.6667</c:v>
                </c:pt>
                <c:pt idx="38">
                  <c:v>791.0</c:v>
                </c:pt>
                <c:pt idx="39">
                  <c:v>1084.5556</c:v>
                </c:pt>
                <c:pt idx="40">
                  <c:v>1167.5</c:v>
                </c:pt>
                <c:pt idx="41">
                  <c:v>875.5714</c:v>
                </c:pt>
                <c:pt idx="42">
                  <c:v>927.6667</c:v>
                </c:pt>
                <c:pt idx="43">
                  <c:v>901.6</c:v>
                </c:pt>
                <c:pt idx="44">
                  <c:v>1034.8182</c:v>
                </c:pt>
                <c:pt idx="45">
                  <c:v>1068.9375</c:v>
                </c:pt>
                <c:pt idx="46">
                  <c:v>1065.625</c:v>
                </c:pt>
                <c:pt idx="47">
                  <c:v>970.1111</c:v>
                </c:pt>
                <c:pt idx="48">
                  <c:v>1023.25</c:v>
                </c:pt>
                <c:pt idx="49">
                  <c:v>990.8571</c:v>
                </c:pt>
                <c:pt idx="50">
                  <c:v>979.7037</c:v>
                </c:pt>
                <c:pt idx="51">
                  <c:v>1008.7857</c:v>
                </c:pt>
                <c:pt idx="52">
                  <c:v>797.2719700155061</c:v>
                </c:pt>
                <c:pt idx="53">
                  <c:v>-2990.3299179935866</c:v>
                </c:pt>
                <c:pt idx="54">
                  <c:v>1067.7844912198177</c:v>
                </c:pt>
              </c:numCache>
            </c:numRef>
          </c:xVal>
          <c:yVal>
            <c:numRef>
              <c:f>Sheet1!$B$187:$B$241</c:f>
              <c:numCache>
                <c:formatCode>General</c:formatCode>
                <c:ptCount val="55"/>
                <c:pt idx="0">
                  <c:v>0.10195688544772077</c:v>
                </c:pt>
                <c:pt idx="1">
                  <c:v>0.10067318904257531</c:v>
                </c:pt>
                <c:pt idx="2">
                  <c:v>0.10249596469391914</c:v>
                </c:pt>
                <c:pt idx="3">
                  <c:v>0.10614802803162655</c:v>
                </c:pt>
                <c:pt idx="4">
                  <c:v>0.10170324733605353</c:v>
                </c:pt>
                <c:pt idx="5">
                  <c:v>0.1067581586538619</c:v>
                </c:pt>
                <c:pt idx="6">
                  <c:v>0.10120983909202026</c:v>
                </c:pt>
                <c:pt idx="7">
                  <c:v>0.10171836409074207</c:v>
                </c:pt>
                <c:pt idx="8">
                  <c:v>0.09841809261014484</c:v>
                </c:pt>
                <c:pt idx="9">
                  <c:v>0.0981595724439634</c:v>
                </c:pt>
                <c:pt idx="10">
                  <c:v>0.10077455279801384</c:v>
                </c:pt>
                <c:pt idx="11">
                  <c:v>0.10030396165205742</c:v>
                </c:pt>
                <c:pt idx="12">
                  <c:v>0.09751387406969651</c:v>
                </c:pt>
                <c:pt idx="13">
                  <c:v>0.10823886975111253</c:v>
                </c:pt>
                <c:pt idx="14">
                  <c:v>0.09797203792879854</c:v>
                </c:pt>
                <c:pt idx="15">
                  <c:v>0.10219947123996008</c:v>
                </c:pt>
                <c:pt idx="16">
                  <c:v>0.09732530372821038</c:v>
                </c:pt>
                <c:pt idx="17">
                  <c:v>0.10064573175805928</c:v>
                </c:pt>
                <c:pt idx="18">
                  <c:v>0.10461026498768095</c:v>
                </c:pt>
                <c:pt idx="19">
                  <c:v>0.09891885416945877</c:v>
                </c:pt>
                <c:pt idx="20">
                  <c:v>0.09767101733543535</c:v>
                </c:pt>
                <c:pt idx="21">
                  <c:v>0.09577156424630959</c:v>
                </c:pt>
                <c:pt idx="22">
                  <c:v>0.09432561379784016</c:v>
                </c:pt>
                <c:pt idx="23">
                  <c:v>0.09857583265906877</c:v>
                </c:pt>
                <c:pt idx="24">
                  <c:v>0.09501967001310549</c:v>
                </c:pt>
                <c:pt idx="25">
                  <c:v>0.09840056506170856</c:v>
                </c:pt>
                <c:pt idx="26">
                  <c:v>0.09688450704849488</c:v>
                </c:pt>
                <c:pt idx="27">
                  <c:v>0.09699404962547012</c:v>
                </c:pt>
                <c:pt idx="28">
                  <c:v>0.09867398114651006</c:v>
                </c:pt>
                <c:pt idx="29">
                  <c:v>0.09749355978039592</c:v>
                </c:pt>
                <c:pt idx="30">
                  <c:v>0.09464766639772654</c:v>
                </c:pt>
                <c:pt idx="31">
                  <c:v>0.0962645018991969</c:v>
                </c:pt>
                <c:pt idx="32">
                  <c:v>0.09999111055502494</c:v>
                </c:pt>
                <c:pt idx="33">
                  <c:v>0.09510218120369679</c:v>
                </c:pt>
                <c:pt idx="34">
                  <c:v>0.09635620407663884</c:v>
                </c:pt>
                <c:pt idx="35">
                  <c:v>0.09488009373081514</c:v>
                </c:pt>
                <c:pt idx="36">
                  <c:v>0.09494530609604111</c:v>
                </c:pt>
                <c:pt idx="37">
                  <c:v>0.09578032670602732</c:v>
                </c:pt>
                <c:pt idx="38">
                  <c:v>0.1028961564560408</c:v>
                </c:pt>
                <c:pt idx="39">
                  <c:v>0.09517857733839147</c:v>
                </c:pt>
                <c:pt idx="40">
                  <c:v>0.09299796838606368</c:v>
                </c:pt>
                <c:pt idx="41">
                  <c:v>0.10067277366044648</c:v>
                </c:pt>
                <c:pt idx="42">
                  <c:v>0.09930318779866194</c:v>
                </c:pt>
                <c:pt idx="43">
                  <c:v>0.09998848155420954</c:v>
                </c:pt>
                <c:pt idx="44">
                  <c:v>0.09648617398994971</c:v>
                </c:pt>
                <c:pt idx="45">
                  <c:v>0.09558917731474129</c:v>
                </c:pt>
                <c:pt idx="46">
                  <c:v>0.09567626296675139</c:v>
                </c:pt>
                <c:pt idx="47">
                  <c:v>0.09818732417657074</c:v>
                </c:pt>
                <c:pt idx="48">
                  <c:v>0.09679030206227669</c:v>
                </c:pt>
                <c:pt idx="49">
                  <c:v>0.09764191166740807</c:v>
                </c:pt>
                <c:pt idx="50">
                  <c:v>0.09793513464435277</c:v>
                </c:pt>
                <c:pt idx="51">
                  <c:v>0.09717056862721846</c:v>
                </c:pt>
                <c:pt idx="52">
                  <c:v>0.10273126631319157</c:v>
                </c:pt>
                <c:pt idx="53">
                  <c:v>0.20230735083301746</c:v>
                </c:pt>
                <c:pt idx="54">
                  <c:v>0.09561948992497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6842105263158"/>
          <c:min val="0.036363636363636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5895918175606423</c:v>
                </c:pt>
                <c:pt idx="1">
                  <c:v>0.29270065636086096</c:v>
                </c:pt>
                <c:pt idx="2">
                  <c:v>0.3581081081081081</c:v>
                </c:pt>
                <c:pt idx="3">
                  <c:v>0.3744314252437741</c:v>
                </c:pt>
                <c:pt idx="4">
                  <c:v>0.3699155636810061</c:v>
                </c:pt>
                <c:pt idx="5">
                  <c:v>0.27692909159159157</c:v>
                </c:pt>
                <c:pt idx="6">
                  <c:v>0.4038252936026865</c:v>
                </c:pt>
                <c:pt idx="7">
                  <c:v>0.42279554144773857</c:v>
                </c:pt>
                <c:pt idx="8">
                  <c:v>0.5716340981012658</c:v>
                </c:pt>
                <c:pt idx="9">
                  <c:v>0.5298562449819753</c:v>
                </c:pt>
                <c:pt idx="10">
                  <c:v>0.5102427710415447</c:v>
                </c:pt>
                <c:pt idx="11">
                  <c:v>0.5049462365591398</c:v>
                </c:pt>
                <c:pt idx="12">
                  <c:v>0.5397852285191956</c:v>
                </c:pt>
                <c:pt idx="13">
                  <c:v>0.6253224957943944</c:v>
                </c:pt>
                <c:pt idx="14">
                  <c:v>0.5443187137857436</c:v>
                </c:pt>
                <c:pt idx="15">
                  <c:v>0.6173409443861491</c:v>
                </c:pt>
                <c:pt idx="16">
                  <c:v>0.641035097716169</c:v>
                </c:pt>
                <c:pt idx="17">
                  <c:v>0.5588146661520648</c:v>
                </c:pt>
                <c:pt idx="18">
                  <c:v>0.552836301835486</c:v>
                </c:pt>
                <c:pt idx="19">
                  <c:v>0.8409886714727086</c:v>
                </c:pt>
                <c:pt idx="20">
                  <c:v>0.6792892417876721</c:v>
                </c:pt>
                <c:pt idx="21">
                  <c:v>0.4295564254859611</c:v>
                </c:pt>
                <c:pt idx="22">
                  <c:v>0.7056821462488129</c:v>
                </c:pt>
                <c:pt idx="23">
                  <c:v>0.6467166082244182</c:v>
                </c:pt>
                <c:pt idx="24">
                  <c:v>0.5111122357463165</c:v>
                </c:pt>
                <c:pt idx="25">
                  <c:v>0.5494325997248969</c:v>
                </c:pt>
                <c:pt idx="26">
                  <c:v>0.6538095</c:v>
                </c:pt>
                <c:pt idx="27">
                  <c:v>0.5819925799734998</c:v>
                </c:pt>
                <c:pt idx="28">
                  <c:v>0.7341743641051426</c:v>
                </c:pt>
                <c:pt idx="29">
                  <c:v>0.674868503164839</c:v>
                </c:pt>
                <c:pt idx="30">
                  <c:v>0.4266695756126719</c:v>
                </c:pt>
                <c:pt idx="31">
                  <c:v>0.6066887808526552</c:v>
                </c:pt>
                <c:pt idx="32">
                  <c:v>0.7302883165829145</c:v>
                </c:pt>
                <c:pt idx="33">
                  <c:v>0.646656611570248</c:v>
                </c:pt>
                <c:pt idx="34">
                  <c:v>0.6521765000602908</c:v>
                </c:pt>
                <c:pt idx="35">
                  <c:v>0.7057370131106887</c:v>
                </c:pt>
                <c:pt idx="36">
                  <c:v>0.6692061446234545</c:v>
                </c:pt>
                <c:pt idx="37">
                  <c:v>0.7166599919581825</c:v>
                </c:pt>
                <c:pt idx="38">
                  <c:v>0.8902010517799354</c:v>
                </c:pt>
                <c:pt idx="39">
                  <c:v>0.7588894025294374</c:v>
                </c:pt>
                <c:pt idx="40">
                  <c:v>0.6953105535913636</c:v>
                </c:pt>
                <c:pt idx="41">
                  <c:v>0.7368778782894737</c:v>
                </c:pt>
                <c:pt idx="42">
                  <c:v>0.7416895186280733</c:v>
                </c:pt>
                <c:pt idx="43">
                  <c:v>0.7547143719806764</c:v>
                </c:pt>
                <c:pt idx="44">
                  <c:v>0.7701391459074733</c:v>
                </c:pt>
                <c:pt idx="45">
                  <c:v>0.782285354830119</c:v>
                </c:pt>
                <c:pt idx="46">
                  <c:v>0.6266709123222748</c:v>
                </c:pt>
                <c:pt idx="47">
                  <c:v>0.7160737987064623</c:v>
                </c:pt>
                <c:pt idx="48">
                  <c:v>0.7041713787144774</c:v>
                </c:pt>
                <c:pt idx="49">
                  <c:v>0.699030241342365</c:v>
                </c:pt>
                <c:pt idx="50">
                  <c:v>0.7750151680290644</c:v>
                </c:pt>
                <c:pt idx="51">
                  <c:v>0.7241375474083439</c:v>
                </c:pt>
                <c:pt idx="52">
                  <c:v>0.7884473357015985</c:v>
                </c:pt>
                <c:pt idx="53">
                  <c:v>0.7821156258756304</c:v>
                </c:pt>
                <c:pt idx="54">
                  <c:v>0.8710765483943116</c:v>
                </c:pt>
                <c:pt idx="55">
                  <c:v>0.9042985346456792</c:v>
                </c:pt>
                <c:pt idx="56">
                  <c:v>0.8844004008016032</c:v>
                </c:pt>
                <c:pt idx="57">
                  <c:v>0.7697174875974486</c:v>
                </c:pt>
                <c:pt idx="58">
                  <c:v>0.6179220892909251</c:v>
                </c:pt>
                <c:pt idx="59">
                  <c:v>0.7969439678067691</c:v>
                </c:pt>
                <c:pt idx="60">
                  <c:v>0.7937192241379311</c:v>
                </c:pt>
                <c:pt idx="61">
                  <c:v>0.8608068687480865</c:v>
                </c:pt>
                <c:pt idx="62">
                  <c:v>0.6557886693017128</c:v>
                </c:pt>
                <c:pt idx="63">
                  <c:v>0.6989095694679451</c:v>
                </c:pt>
                <c:pt idx="64">
                  <c:v>0.6110678463533454</c:v>
                </c:pt>
                <c:pt idx="65">
                  <c:v>0.6535549148833596</c:v>
                </c:pt>
                <c:pt idx="66">
                  <c:v>0.5674000152170318</c:v>
                </c:pt>
                <c:pt idx="67">
                  <c:v>0.41344721115537847</c:v>
                </c:pt>
                <c:pt idx="68">
                  <c:v>0.602956720071206</c:v>
                </c:pt>
                <c:pt idx="69">
                  <c:v>0.4054253438932889</c:v>
                </c:pt>
                <c:pt idx="70">
                  <c:v>0.7310098302055407</c:v>
                </c:pt>
                <c:pt idx="71">
                  <c:v>0.2029865225975561</c:v>
                </c:pt>
                <c:pt idx="72">
                  <c:v>0.3624179284718997</c:v>
                </c:pt>
                <c:pt idx="73">
                  <c:v>1.045065601825442</c:v>
                </c:pt>
                <c:pt idx="74">
                  <c:v>0.8091066902720835</c:v>
                </c:pt>
                <c:pt idx="75">
                  <c:v>0.8419427457246161</c:v>
                </c:pt>
                <c:pt idx="76">
                  <c:v>1.0481235169491525</c:v>
                </c:pt>
                <c:pt idx="77">
                  <c:v>0.0</c:v>
                </c:pt>
                <c:pt idx="78">
                  <c:v>0.795659507571379</c:v>
                </c:pt>
                <c:pt idx="79">
                  <c:v>0.7378200316706255</c:v>
                </c:pt>
                <c:pt idx="80">
                  <c:v>0.8468538238141335</c:v>
                </c:pt>
                <c:pt idx="81">
                  <c:v>0.35840857963875206</c:v>
                </c:pt>
                <c:pt idx="82">
                  <c:v>0.6710292812777284</c:v>
                </c:pt>
                <c:pt idx="83">
                  <c:v>0.0</c:v>
                </c:pt>
                <c:pt idx="84">
                  <c:v>0.0</c:v>
                </c:pt>
                <c:pt idx="85">
                  <c:v>0.0</c:v>
                </c:pt>
                <c:pt idx="86">
                  <c:v>0.0</c:v>
                </c:pt>
                <c:pt idx="87">
                  <c:v>0.0</c:v>
                </c:pt>
              </c:numCache>
            </c:numRef>
          </c:xVal>
          <c:yVal>
            <c:numRef>
              <c:f>Sheet1!$B$2:$B$89</c:f>
              <c:numCache>
                <c:formatCode>General</c:formatCode>
                <c:ptCount val="88"/>
                <c:pt idx="0">
                  <c:v>0.23129251700680273</c:v>
                </c:pt>
                <c:pt idx="1">
                  <c:v>0.21153846153846154</c:v>
                </c:pt>
                <c:pt idx="2">
                  <c:v>0.2077922077922078</c:v>
                </c:pt>
                <c:pt idx="3">
                  <c:v>0.26973684210526316</c:v>
                </c:pt>
                <c:pt idx="4">
                  <c:v>0.2054794520547945</c:v>
                </c:pt>
                <c:pt idx="5">
                  <c:v>0.17829457364341086</c:v>
                </c:pt>
                <c:pt idx="6">
                  <c:v>0.1953125</c:v>
                </c:pt>
                <c:pt idx="7">
                  <c:v>0.20175438596491227</c:v>
                </c:pt>
                <c:pt idx="8">
                  <c:v>0.11956521739130435</c:v>
                </c:pt>
                <c:pt idx="9">
                  <c:v>0.15172413793103448</c:v>
                </c:pt>
                <c:pt idx="10">
                  <c:v>0.11602209944751381</c:v>
                </c:pt>
                <c:pt idx="11">
                  <c:v>0.1404494382022472</c:v>
                </c:pt>
                <c:pt idx="12">
                  <c:v>0.16080402010050251</c:v>
                </c:pt>
                <c:pt idx="13">
                  <c:v>0.2009132420091324</c:v>
                </c:pt>
                <c:pt idx="14">
                  <c:v>0.12272727272727273</c:v>
                </c:pt>
                <c:pt idx="15">
                  <c:v>0.16071428571428573</c:v>
                </c:pt>
                <c:pt idx="16">
                  <c:v>0.1484375</c:v>
                </c:pt>
                <c:pt idx="17">
                  <c:v>0.18556701030927836</c:v>
                </c:pt>
                <c:pt idx="18">
                  <c:v>0.0989010989010989</c:v>
                </c:pt>
                <c:pt idx="19">
                  <c:v>0.14084507042253522</c:v>
                </c:pt>
                <c:pt idx="20">
                  <c:v>0.140625</c:v>
                </c:pt>
                <c:pt idx="21">
                  <c:v>0.23214285714285715</c:v>
                </c:pt>
                <c:pt idx="22">
                  <c:v>0.16</c:v>
                </c:pt>
                <c:pt idx="23">
                  <c:v>0.18666666666666668</c:v>
                </c:pt>
                <c:pt idx="24">
                  <c:v>0.17105263157894737</c:v>
                </c:pt>
                <c:pt idx="25">
                  <c:v>0.125</c:v>
                </c:pt>
                <c:pt idx="26">
                  <c:v>0.15384615384615385</c:v>
                </c:pt>
                <c:pt idx="27">
                  <c:v>0.1875</c:v>
                </c:pt>
                <c:pt idx="28">
                  <c:v>0.16091954022988506</c:v>
                </c:pt>
                <c:pt idx="29">
                  <c:v>0.1357142857142857</c:v>
                </c:pt>
                <c:pt idx="30">
                  <c:v>0.12941176470588237</c:v>
                </c:pt>
                <c:pt idx="31">
                  <c:v>0.16666666666666666</c:v>
                </c:pt>
                <c:pt idx="32">
                  <c:v>0.11764705882352941</c:v>
                </c:pt>
                <c:pt idx="33">
                  <c:v>0.14102564102564102</c:v>
                </c:pt>
                <c:pt idx="34">
                  <c:v>0.1206896551724138</c:v>
                </c:pt>
                <c:pt idx="35">
                  <c:v>0.12574850299401197</c:v>
                </c:pt>
                <c:pt idx="36">
                  <c:v>0.17142857142857143</c:v>
                </c:pt>
                <c:pt idx="37">
                  <c:v>0.10714285714285714</c:v>
                </c:pt>
                <c:pt idx="38">
                  <c:v>0.13541666666666666</c:v>
                </c:pt>
                <c:pt idx="39">
                  <c:v>0.17341040462427745</c:v>
                </c:pt>
                <c:pt idx="40">
                  <c:v>0.16822429906542055</c:v>
                </c:pt>
                <c:pt idx="41">
                  <c:v>0.17692307692307693</c:v>
                </c:pt>
                <c:pt idx="42">
                  <c:v>0.16546762589928057</c:v>
                </c:pt>
                <c:pt idx="43">
                  <c:v>0.18781725888324874</c:v>
                </c:pt>
                <c:pt idx="44">
                  <c:v>0.24175824175824176</c:v>
                </c:pt>
                <c:pt idx="45">
                  <c:v>0.1906474820143885</c:v>
                </c:pt>
                <c:pt idx="46">
                  <c:v>0.1902439024390244</c:v>
                </c:pt>
                <c:pt idx="47">
                  <c:v>0.1930379746835443</c:v>
                </c:pt>
                <c:pt idx="48">
                  <c:v>0.18579234972677597</c:v>
                </c:pt>
                <c:pt idx="49">
                  <c:v>0.1926605504587156</c:v>
                </c:pt>
                <c:pt idx="50">
                  <c:v>0.16901408450704225</c:v>
                </c:pt>
                <c:pt idx="51">
                  <c:v>0.185</c:v>
                </c:pt>
                <c:pt idx="52">
                  <c:v>0.16551724137931034</c:v>
                </c:pt>
                <c:pt idx="53">
                  <c:v>0.1328125</c:v>
                </c:pt>
                <c:pt idx="54">
                  <c:v>0.15789473684210525</c:v>
                </c:pt>
                <c:pt idx="55">
                  <c:v>0.12389380530973451</c:v>
                </c:pt>
                <c:pt idx="56">
                  <c:v>0.15966386554621848</c:v>
                </c:pt>
                <c:pt idx="57">
                  <c:v>0.14893617021276595</c:v>
                </c:pt>
                <c:pt idx="58">
                  <c:v>0.14</c:v>
                </c:pt>
                <c:pt idx="59">
                  <c:v>0.13855421686746988</c:v>
                </c:pt>
                <c:pt idx="60">
                  <c:v>0.12727272727272726</c:v>
                </c:pt>
                <c:pt idx="61">
                  <c:v>0.13095238095238096</c:v>
                </c:pt>
                <c:pt idx="62">
                  <c:v>0.1326530612244898</c:v>
                </c:pt>
                <c:pt idx="63">
                  <c:v>0.1588785046728972</c:v>
                </c:pt>
                <c:pt idx="64">
                  <c:v>0.11219512195121951</c:v>
                </c:pt>
                <c:pt idx="65">
                  <c:v>0.13253012048192772</c:v>
                </c:pt>
                <c:pt idx="66">
                  <c:v>0.15333333333333332</c:v>
                </c:pt>
                <c:pt idx="67">
                  <c:v>0.1565217391304348</c:v>
                </c:pt>
                <c:pt idx="68">
                  <c:v>0.16494845360824742</c:v>
                </c:pt>
                <c:pt idx="69">
                  <c:v>0.16666666666666666</c:v>
                </c:pt>
                <c:pt idx="70">
                  <c:v>0.13636363636363635</c:v>
                </c:pt>
                <c:pt idx="71">
                  <c:v>0.26605504587155965</c:v>
                </c:pt>
                <c:pt idx="72">
                  <c:v>0.24705882352941178</c:v>
                </c:pt>
                <c:pt idx="73">
                  <c:v>0.09411764705882353</c:v>
                </c:pt>
                <c:pt idx="74">
                  <c:v>0.08</c:v>
                </c:pt>
                <c:pt idx="75">
                  <c:v>0.13114754098360656</c:v>
                </c:pt>
                <c:pt idx="76">
                  <c:v>0.1206896551724138</c:v>
                </c:pt>
                <c:pt idx="77">
                  <c:v>0.16279069767441862</c:v>
                </c:pt>
                <c:pt idx="78">
                  <c:v>0.0960960960960961</c:v>
                </c:pt>
                <c:pt idx="79">
                  <c:v>0.10135135135135136</c:v>
                </c:pt>
                <c:pt idx="80">
                  <c:v>0.11494252873563218</c:v>
                </c:pt>
                <c:pt idx="81">
                  <c:v>0.13333333333333333</c:v>
                </c:pt>
                <c:pt idx="82">
                  <c:v>0.08695652173913043</c:v>
                </c:pt>
                <c:pt idx="83">
                  <c:v>0.07692307692307693</c:v>
                </c:pt>
                <c:pt idx="84">
                  <c:v>0.07407407407407407</c:v>
                </c:pt>
                <c:pt idx="85">
                  <c:v>0.11363636363636363</c:v>
                </c:pt>
                <c:pt idx="86">
                  <c:v>0.125</c:v>
                </c:pt>
                <c:pt idx="87">
                  <c:v>0.16666666666666666</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36</c:f>
              <c:numCache>
                <c:formatCode>General</c:formatCode>
                <c:ptCount val="45"/>
                <c:pt idx="0">
                  <c:v>1.0075896404631322</c:v>
                </c:pt>
                <c:pt idx="1">
                  <c:v>1.1452656638325704</c:v>
                </c:pt>
                <c:pt idx="2">
                  <c:v>0.8172551444500761</c:v>
                </c:pt>
                <c:pt idx="3">
                  <c:v>0.4627653952843273</c:v>
                </c:pt>
                <c:pt idx="4">
                  <c:v>0.5112316625916871</c:v>
                </c:pt>
                <c:pt idx="5">
                  <c:v>0.5581455805892548</c:v>
                </c:pt>
                <c:pt idx="6">
                  <c:v>0.6429645864661655</c:v>
                </c:pt>
                <c:pt idx="7">
                  <c:v>0.5034939759036144</c:v>
                </c:pt>
                <c:pt idx="8">
                  <c:v>0.7537898524252444</c:v>
                </c:pt>
                <c:pt idx="9">
                  <c:v>0.8678880250223414</c:v>
                </c:pt>
                <c:pt idx="10">
                  <c:v>0.7988871118530855</c:v>
                </c:pt>
                <c:pt idx="11">
                  <c:v>0.7523680649526386</c:v>
                </c:pt>
                <c:pt idx="12">
                  <c:v>1.0570353503184713</c:v>
                </c:pt>
                <c:pt idx="13">
                  <c:v>0.422861726618705</c:v>
                </c:pt>
                <c:pt idx="14">
                  <c:v>1.0466832722295552</c:v>
                </c:pt>
                <c:pt idx="15">
                  <c:v>0.8920776953295504</c:v>
                </c:pt>
                <c:pt idx="16">
                  <c:v>1.2781222906490106</c:v>
                </c:pt>
                <c:pt idx="17">
                  <c:v>0.719704433497537</c:v>
                </c:pt>
                <c:pt idx="18">
                  <c:v>0.6182282793867121</c:v>
                </c:pt>
                <c:pt idx="19">
                  <c:v>0.8294768485915494</c:v>
                </c:pt>
                <c:pt idx="20">
                  <c:v>0.8649914821124361</c:v>
                </c:pt>
                <c:pt idx="21">
                  <c:v>0.7732394156760722</c:v>
                </c:pt>
                <c:pt idx="22">
                  <c:v>0.7366929340391095</c:v>
                </c:pt>
                <c:pt idx="23">
                  <c:v>1.5559859154929578</c:v>
                </c:pt>
                <c:pt idx="24">
                  <c:v>0.7048986486486486</c:v>
                </c:pt>
                <c:pt idx="25">
                  <c:v>1.0605882352941176</c:v>
                </c:pt>
                <c:pt idx="26">
                  <c:v>0.979474442693087</c:v>
                </c:pt>
                <c:pt idx="27">
                  <c:v>0.9183907734294283</c:v>
                </c:pt>
                <c:pt idx="28">
                  <c:v>0.9105595952526</c:v>
                </c:pt>
                <c:pt idx="29">
                  <c:v>0.9909231493675621</c:v>
                </c:pt>
                <c:pt idx="30">
                  <c:v>0.8659597879282218</c:v>
                </c:pt>
                <c:pt idx="31">
                  <c:v>0.6639619659754328</c:v>
                </c:pt>
                <c:pt idx="32">
                  <c:v>0.841113342762833</c:v>
                </c:pt>
                <c:pt idx="33">
                  <c:v>0.892356710633292</c:v>
                </c:pt>
                <c:pt idx="34">
                  <c:v>0.693430340722536</c:v>
                </c:pt>
                <c:pt idx="35">
                  <c:v>0.8178879764476484</c:v>
                </c:pt>
                <c:pt idx="36">
                  <c:v>0.7265108783239324</c:v>
                </c:pt>
                <c:pt idx="37">
                  <c:v>1.0553984701682815</c:v>
                </c:pt>
                <c:pt idx="38">
                  <c:v>0.9253267832409972</c:v>
                </c:pt>
                <c:pt idx="39">
                  <c:v>0.7728640847113433</c:v>
                </c:pt>
                <c:pt idx="40">
                  <c:v>0.885299415951816</c:v>
                </c:pt>
                <c:pt idx="41">
                  <c:v>0.8100138531565406</c:v>
                </c:pt>
                <c:pt idx="42">
                  <c:v>0.7878236734686088</c:v>
                </c:pt>
                <c:pt idx="43">
                  <c:v>0.7504432784373803</c:v>
                </c:pt>
                <c:pt idx="44">
                  <c:v>0.844621939248651</c:v>
                </c:pt>
              </c:numCache>
            </c:numRef>
          </c:xVal>
          <c:yVal>
            <c:numRef>
              <c:f>Sheet1!$B$92:$B$136</c:f>
              <c:numCache>
                <c:formatCode>General</c:formatCode>
                <c:ptCount val="45"/>
                <c:pt idx="0">
                  <c:v>0.10679611650485436</c:v>
                </c:pt>
                <c:pt idx="1">
                  <c:v>0.10465116279069768</c:v>
                </c:pt>
                <c:pt idx="2">
                  <c:v>0.08653846153846154</c:v>
                </c:pt>
                <c:pt idx="3">
                  <c:v>0.13829787234042554</c:v>
                </c:pt>
                <c:pt idx="4">
                  <c:v>0.07207207207207207</c:v>
                </c:pt>
                <c:pt idx="5">
                  <c:v>0.0970873786407767</c:v>
                </c:pt>
                <c:pt idx="6">
                  <c:v>0.12727272727272726</c:v>
                </c:pt>
                <c:pt idx="7">
                  <c:v>0.11494252873563218</c:v>
                </c:pt>
                <c:pt idx="8">
                  <c:v>0.07692307692307693</c:v>
                </c:pt>
                <c:pt idx="9">
                  <c:v>0.06593406593406594</c:v>
                </c:pt>
                <c:pt idx="10">
                  <c:v>0.09259259259259259</c:v>
                </c:pt>
                <c:pt idx="11">
                  <c:v>0.06711409395973154</c:v>
                </c:pt>
                <c:pt idx="12">
                  <c:v>0.08333333333333333</c:v>
                </c:pt>
                <c:pt idx="13">
                  <c:v>0.13636363636363635</c:v>
                </c:pt>
                <c:pt idx="14">
                  <c:v>0.1</c:v>
                </c:pt>
                <c:pt idx="15">
                  <c:v>0.08888888888888889</c:v>
                </c:pt>
                <c:pt idx="16">
                  <c:v>0.15384615384615385</c:v>
                </c:pt>
                <c:pt idx="17">
                  <c:v>0.0847457627118644</c:v>
                </c:pt>
                <c:pt idx="18">
                  <c:v>0.10638297872340426</c:v>
                </c:pt>
                <c:pt idx="19">
                  <c:v>0.08433734939759036</c:v>
                </c:pt>
                <c:pt idx="20">
                  <c:v>0.0784313725490196</c:v>
                </c:pt>
                <c:pt idx="21">
                  <c:v>0.06756756756756757</c:v>
                </c:pt>
                <c:pt idx="22">
                  <c:v>0.10714285714285714</c:v>
                </c:pt>
                <c:pt idx="23">
                  <c:v>0.07407407407407407</c:v>
                </c:pt>
                <c:pt idx="24">
                  <c:v>0.08</c:v>
                </c:pt>
                <c:pt idx="25">
                  <c:v>0.07272727272727272</c:v>
                </c:pt>
                <c:pt idx="26">
                  <c:v>0.1262135922330097</c:v>
                </c:pt>
                <c:pt idx="27">
                  <c:v>0.10552763819095477</c:v>
                </c:pt>
                <c:pt idx="28">
                  <c:v>0.09322033898305085</c:v>
                </c:pt>
                <c:pt idx="29">
                  <c:v>0.1206896551724138</c:v>
                </c:pt>
                <c:pt idx="30">
                  <c:v>0.10526315789473684</c:v>
                </c:pt>
                <c:pt idx="31">
                  <c:v>0.07692307692307693</c:v>
                </c:pt>
                <c:pt idx="32">
                  <c:v>0.09574468085106383</c:v>
                </c:pt>
                <c:pt idx="33">
                  <c:v>0.08</c:v>
                </c:pt>
                <c:pt idx="34">
                  <c:v>0.0945945945945946</c:v>
                </c:pt>
                <c:pt idx="35">
                  <c:v>0.12162162162162163</c:v>
                </c:pt>
                <c:pt idx="36">
                  <c:v>0.1388888888888889</c:v>
                </c:pt>
                <c:pt idx="37">
                  <c:v>0.10784313725490197</c:v>
                </c:pt>
                <c:pt idx="38">
                  <c:v>0.0898876404494382</c:v>
                </c:pt>
                <c:pt idx="39">
                  <c:v>0.07547169811320754</c:v>
                </c:pt>
                <c:pt idx="40">
                  <c:v>0.08181818181818182</c:v>
                </c:pt>
                <c:pt idx="41">
                  <c:v>0.0967741935483871</c:v>
                </c:pt>
                <c:pt idx="42">
                  <c:v>0.07650273224043716</c:v>
                </c:pt>
                <c:pt idx="43">
                  <c:v>0.09854014598540146</c:v>
                </c:pt>
                <c:pt idx="44">
                  <c:v>0.08536585365853659</c:v>
                </c:pt>
              </c:numCache>
            </c:numRef>
          </c:yVal>
          <c:smooth val="0"/>
          <c:extLst>
            <c:ext xmlns:c16="http://schemas.microsoft.com/office/drawing/2014/chart" uri="{C3380CC4-5D6E-409C-BE32-E72D297353CC}">
              <c16:uniqueId val="{00000002-096C-4121-9522-6AB7243CCAAE}"/>
            </c:ext>
          </c:extLst>
        </c:ser>
        <c:ser>
          <c:idx val="2"/>
          <c:order val="2"/>
          <c:tx>
            <c:strRef>
              <c:f>Sheet1!$B$1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9:$A$140</c:f>
              <c:numCache>
                <c:formatCode>General</c:formatCode>
                <c:ptCount val="2"/>
                <c:pt idx="0">
                  <c:v>0</c:v>
                </c:pt>
                <c:pt idx="1">
                  <c:v>-11.839996504525923</c:v>
                </c:pt>
              </c:numCache>
            </c:numRef>
          </c:xVal>
          <c:yVal>
            <c:numRef>
              <c:f>Sheet1!$B$139:$B$140</c:f>
              <c:numCache>
                <c:formatCode>General</c:formatCode>
                <c:ptCount val="2"/>
                <c:pt idx="0">
                  <c:v>0.20230735083301746</c:v>
                </c:pt>
                <c:pt idx="1">
                  <c:v>0.20230735083301746</c:v>
                </c:pt>
              </c:numCache>
            </c:numRef>
          </c:yVal>
          <c:smooth val="0"/>
          <c:extLst>
            <c:ext xmlns:c16="http://schemas.microsoft.com/office/drawing/2014/chart" uri="{C3380CC4-5D6E-409C-BE32-E72D297353CC}">
              <c16:uniqueId val="{00000005-096C-4121-9522-6AB7243CCAAE}"/>
            </c:ext>
          </c:extLst>
        </c:ser>
        <c:ser>
          <c:idx val="3"/>
          <c:order val="3"/>
          <c:tx>
            <c:strRef>
              <c:f>Sheet1!$B$1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839996504525923</c:v>
                </c:pt>
                <c:pt idx="1">
                  <c:v>-11.839996504525923</c:v>
                </c:pt>
              </c:numCache>
            </c:numRef>
          </c:xVal>
          <c:yVal>
            <c:numRef>
              <c:f>Sheet1!$B$143:$B$144</c:f>
              <c:numCache>
                <c:formatCode>General</c:formatCode>
                <c:ptCount val="2"/>
                <c:pt idx="0">
                  <c:v>0.202307350833017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7:$A$148</c:f>
              <c:numCache>
                <c:formatCode>General</c:formatCode>
                <c:ptCount val="2"/>
                <c:pt idx="0">
                  <c:v>0</c:v>
                </c:pt>
                <c:pt idx="1">
                  <c:v>0.0783979340960199</c:v>
                </c:pt>
              </c:numCache>
            </c:numRef>
          </c:xVal>
          <c:yVal>
            <c:numRef>
              <c:f>Sheet1!$B$147:$B$148</c:f>
              <c:numCache>
                <c:formatCode>General</c:formatCode>
                <c:ptCount val="2"/>
                <c:pt idx="0">
                  <c:v>0.10273126631319157</c:v>
                </c:pt>
                <c:pt idx="1">
                  <c:v>0.10273126631319157</c:v>
                </c:pt>
              </c:numCache>
            </c:numRef>
          </c:yVal>
          <c:smooth val="0"/>
          <c:extLst>
            <c:ext xmlns:c16="http://schemas.microsoft.com/office/drawing/2014/chart" uri="{C3380CC4-5D6E-409C-BE32-E72D297353CC}">
              <c16:uniqueId val="{0000000D-096C-4121-9522-6AB7243CCAAE}"/>
            </c:ext>
          </c:extLst>
        </c:ser>
        <c:ser>
          <c:idx val="5"/>
          <c:order val="5"/>
          <c:tx>
            <c:strRef>
              <c:f>Sheet1!$B$1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1:$A$152</c:f>
              <c:numCache>
                <c:formatCode>General</c:formatCode>
                <c:ptCount val="2"/>
                <c:pt idx="0">
                  <c:v>0.0783979340960199</c:v>
                </c:pt>
                <c:pt idx="1">
                  <c:v>0.0783979340960199</c:v>
                </c:pt>
              </c:numCache>
            </c:numRef>
          </c:xVal>
          <c:yVal>
            <c:numRef>
              <c:f>Sheet1!$B$151:$B$152</c:f>
              <c:numCache>
                <c:formatCode>General</c:formatCode>
                <c:ptCount val="2"/>
                <c:pt idx="0">
                  <c:v>0.102731266313191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5:$A$156</c:f>
              <c:numCache>
                <c:formatCode>General</c:formatCode>
                <c:ptCount val="2"/>
                <c:pt idx="0">
                  <c:v>0</c:v>
                </c:pt>
                <c:pt idx="1">
                  <c:v>0.9296159405359109</c:v>
                </c:pt>
              </c:numCache>
            </c:numRef>
          </c:xVal>
          <c:yVal>
            <c:numRef>
              <c:f>Sheet1!$B$155:$B$156</c:f>
              <c:numCache>
                <c:formatCode>General</c:formatCode>
                <c:ptCount val="2"/>
                <c:pt idx="0">
                  <c:v>0.0956194899249739</c:v>
                </c:pt>
                <c:pt idx="1">
                  <c:v>0.0956194899249739</c:v>
                </c:pt>
              </c:numCache>
            </c:numRef>
          </c:yVal>
          <c:smooth val="0"/>
          <c:extLst>
            <c:ext xmlns:c16="http://schemas.microsoft.com/office/drawing/2014/chart" uri="{C3380CC4-5D6E-409C-BE32-E72D297353CC}">
              <c16:uniqueId val="{00000015-096C-4121-9522-6AB7243CCAAE}"/>
            </c:ext>
          </c:extLst>
        </c:ser>
        <c:ser>
          <c:idx val="7"/>
          <c:order val="7"/>
          <c:tx>
            <c:strRef>
              <c:f>Sheet1!$B$1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9:$A$160</c:f>
              <c:numCache>
                <c:formatCode>General</c:formatCode>
                <c:ptCount val="2"/>
                <c:pt idx="0">
                  <c:v>0.9296159405359109</c:v>
                </c:pt>
                <c:pt idx="1">
                  <c:v>0.9296159405359109</c:v>
                </c:pt>
              </c:numCache>
            </c:numRef>
          </c:xVal>
          <c:yVal>
            <c:numRef>
              <c:f>Sheet1!$B$159:$B$160</c:f>
              <c:numCache>
                <c:formatCode>General</c:formatCode>
                <c:ptCount val="2"/>
                <c:pt idx="0">
                  <c:v>0.09561948992497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3:$A$210</c:f>
              <c:numCache>
                <c:formatCode>General</c:formatCode>
                <c:ptCount val="48"/>
                <c:pt idx="0">
                  <c:v>1.0075896404631322</c:v>
                </c:pt>
                <c:pt idx="1">
                  <c:v>1.1452656638325704</c:v>
                </c:pt>
                <c:pt idx="2">
                  <c:v>0.8172551444500761</c:v>
                </c:pt>
                <c:pt idx="3">
                  <c:v>0.4627653952843273</c:v>
                </c:pt>
                <c:pt idx="4">
                  <c:v>0.5112316625916871</c:v>
                </c:pt>
                <c:pt idx="5">
                  <c:v>0.5581455805892548</c:v>
                </c:pt>
                <c:pt idx="6">
                  <c:v>0.6429645864661655</c:v>
                </c:pt>
                <c:pt idx="7">
                  <c:v>0.5034939759036144</c:v>
                </c:pt>
                <c:pt idx="8">
                  <c:v>0.7537898524252444</c:v>
                </c:pt>
                <c:pt idx="9">
                  <c:v>0.8678880250223414</c:v>
                </c:pt>
                <c:pt idx="10">
                  <c:v>0.7988871118530855</c:v>
                </c:pt>
                <c:pt idx="11">
                  <c:v>0.7523680649526386</c:v>
                </c:pt>
                <c:pt idx="12">
                  <c:v>1.0570353503184713</c:v>
                </c:pt>
                <c:pt idx="13">
                  <c:v>0.422861726618705</c:v>
                </c:pt>
                <c:pt idx="14">
                  <c:v>1.0466832722295552</c:v>
                </c:pt>
                <c:pt idx="15">
                  <c:v>0.8920776953295504</c:v>
                </c:pt>
                <c:pt idx="16">
                  <c:v>1.2781222906490106</c:v>
                </c:pt>
                <c:pt idx="17">
                  <c:v>0.719704433497537</c:v>
                </c:pt>
                <c:pt idx="18">
                  <c:v>0.6182282793867121</c:v>
                </c:pt>
                <c:pt idx="19">
                  <c:v>0.8294768485915494</c:v>
                </c:pt>
                <c:pt idx="20">
                  <c:v>0.8649914821124361</c:v>
                </c:pt>
                <c:pt idx="21">
                  <c:v>0.7732394156760722</c:v>
                </c:pt>
                <c:pt idx="22">
                  <c:v>0.7366929340391095</c:v>
                </c:pt>
                <c:pt idx="23">
                  <c:v>1.5559859154929578</c:v>
                </c:pt>
                <c:pt idx="24">
                  <c:v>0.7048986486486486</c:v>
                </c:pt>
                <c:pt idx="25">
                  <c:v>1.0605882352941176</c:v>
                </c:pt>
                <c:pt idx="26">
                  <c:v>0.979474442693087</c:v>
                </c:pt>
                <c:pt idx="27">
                  <c:v>0.9183907734294283</c:v>
                </c:pt>
                <c:pt idx="28">
                  <c:v>0.9105595952526</c:v>
                </c:pt>
                <c:pt idx="29">
                  <c:v>0.9909231493675621</c:v>
                </c:pt>
                <c:pt idx="30">
                  <c:v>0.8659597879282218</c:v>
                </c:pt>
                <c:pt idx="31">
                  <c:v>0.6639619659754328</c:v>
                </c:pt>
                <c:pt idx="32">
                  <c:v>0.841113342762833</c:v>
                </c:pt>
                <c:pt idx="33">
                  <c:v>0.892356710633292</c:v>
                </c:pt>
                <c:pt idx="34">
                  <c:v>0.693430340722536</c:v>
                </c:pt>
                <c:pt idx="35">
                  <c:v>0.8178879764476484</c:v>
                </c:pt>
                <c:pt idx="36">
                  <c:v>0.7265108783239324</c:v>
                </c:pt>
                <c:pt idx="37">
                  <c:v>1.0553984701682815</c:v>
                </c:pt>
                <c:pt idx="38">
                  <c:v>0.9253267832409972</c:v>
                </c:pt>
                <c:pt idx="39">
                  <c:v>0.7728640847113433</c:v>
                </c:pt>
                <c:pt idx="40">
                  <c:v>0.885299415951816</c:v>
                </c:pt>
                <c:pt idx="41">
                  <c:v>0.8100138531565406</c:v>
                </c:pt>
                <c:pt idx="42">
                  <c:v>0.7878236734686088</c:v>
                </c:pt>
                <c:pt idx="43">
                  <c:v>0.7504432784373803</c:v>
                </c:pt>
                <c:pt idx="44">
                  <c:v>0.844621939248651</c:v>
                </c:pt>
                <c:pt idx="45">
                  <c:v>0.0783979340960199</c:v>
                </c:pt>
                <c:pt idx="46">
                  <c:v>-11.839996504525923</c:v>
                </c:pt>
                <c:pt idx="47">
                  <c:v>0.9296159405359109</c:v>
                </c:pt>
              </c:numCache>
            </c:numRef>
          </c:xVal>
          <c:yVal>
            <c:numRef>
              <c:f>Sheet1!$B$163:$B$210</c:f>
              <c:numCache>
                <c:formatCode>General</c:formatCode>
                <c:ptCount val="48"/>
                <c:pt idx="0">
                  <c:v>0.09496803340754938</c:v>
                </c:pt>
                <c:pt idx="1">
                  <c:v>0.09381777450229252</c:v>
                </c:pt>
                <c:pt idx="2">
                  <c:v>0.0965582445689301</c:v>
                </c:pt>
                <c:pt idx="3">
                  <c:v>0.09951994393255863</c:v>
                </c:pt>
                <c:pt idx="4">
                  <c:v>0.09911501681300308</c:v>
                </c:pt>
                <c:pt idx="5">
                  <c:v>0.09872305929827745</c:v>
                </c:pt>
                <c:pt idx="6">
                  <c:v>0.09801441145635693</c:v>
                </c:pt>
                <c:pt idx="7">
                  <c:v>0.09917966382125636</c:v>
                </c:pt>
                <c:pt idx="8">
                  <c:v>0.09708848589592135</c:v>
                </c:pt>
                <c:pt idx="9">
                  <c:v>0.09613521577748417</c:v>
                </c:pt>
                <c:pt idx="10">
                  <c:v>0.09671170624329908</c:v>
                </c:pt>
                <c:pt idx="11">
                  <c:v>0.09710036467961747</c:v>
                </c:pt>
                <c:pt idx="12">
                  <c:v>0.0945549232181649</c:v>
                </c:pt>
                <c:pt idx="13">
                  <c:v>0.0998533320499063</c:v>
                </c:pt>
                <c:pt idx="14">
                  <c:v>0.09464141300569848</c:v>
                </c:pt>
                <c:pt idx="15">
                  <c:v>0.09593311534630429</c:v>
                </c:pt>
                <c:pt idx="16">
                  <c:v>0.09270778080565645</c:v>
                </c:pt>
                <c:pt idx="17">
                  <c:v>0.09737326356236947</c:v>
                </c:pt>
                <c:pt idx="18">
                  <c:v>0.09822107894140594</c:v>
                </c:pt>
                <c:pt idx="19">
                  <c:v>0.0964561343853114</c:v>
                </c:pt>
                <c:pt idx="20">
                  <c:v>0.09615941588288406</c:v>
                </c:pt>
                <c:pt idx="21">
                  <c:v>0.09692598822359544</c:v>
                </c:pt>
                <c:pt idx="22">
                  <c:v>0.09723132763513494</c:v>
                </c:pt>
                <c:pt idx="23">
                  <c:v>0.09038627920282434</c:v>
                </c:pt>
                <c:pt idx="24">
                  <c:v>0.09749696328476813</c:v>
                </c:pt>
                <c:pt idx="25">
                  <c:v>0.09452523949050795</c:v>
                </c:pt>
                <c:pt idx="26">
                  <c:v>0.095202930928676</c:v>
                </c:pt>
                <c:pt idx="27">
                  <c:v>0.09571327421733816</c:v>
                </c:pt>
                <c:pt idx="28">
                  <c:v>0.09577870233049901</c:v>
                </c:pt>
                <c:pt idx="29">
                  <c:v>0.09510727900262747</c:v>
                </c:pt>
                <c:pt idx="30">
                  <c:v>0.09615132585848939</c:v>
                </c:pt>
                <c:pt idx="31">
                  <c:v>0.09783898205204605</c:v>
                </c:pt>
                <c:pt idx="32">
                  <c:v>0.09635891352783087</c:v>
                </c:pt>
                <c:pt idx="33">
                  <c:v>0.09593078422262728</c:v>
                </c:pt>
                <c:pt idx="34">
                  <c:v>0.09759277897581872</c:v>
                </c:pt>
                <c:pt idx="35">
                  <c:v>0.09655295736914815</c:v>
                </c:pt>
                <c:pt idx="36">
                  <c:v>0.09731639691570805</c:v>
                </c:pt>
                <c:pt idx="37">
                  <c:v>0.09456859906326497</c:v>
                </c:pt>
                <c:pt idx="38">
                  <c:v>0.09565532507806576</c:v>
                </c:pt>
                <c:pt idx="39">
                  <c:v>0.09692912404764115</c:v>
                </c:pt>
                <c:pt idx="40">
                  <c:v>0.09598974667560725</c:v>
                </c:pt>
                <c:pt idx="41">
                  <c:v>0.09661874428116828</c:v>
                </c:pt>
                <c:pt idx="42">
                  <c:v>0.09680413932070106</c:v>
                </c:pt>
                <c:pt idx="43">
                  <c:v>0.09711644593164458</c:v>
                </c:pt>
                <c:pt idx="44">
                  <c:v>0.0963295998226991</c:v>
                </c:pt>
                <c:pt idx="45">
                  <c:v>0.10273126631319157</c:v>
                </c:pt>
                <c:pt idx="46">
                  <c:v>0.20230735083301746</c:v>
                </c:pt>
                <c:pt idx="47">
                  <c:v>0.09561948992497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6842105263158"/>
          <c:min val="0.0527472527472527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4</c:f>
              <c:numCache>
                <c:formatCode>General</c:formatCode>
                <c:ptCount val="83"/>
                <c:pt idx="0">
                  <c:v>690.2941</c:v>
                </c:pt>
                <c:pt idx="1">
                  <c:v>732.7273</c:v>
                </c:pt>
                <c:pt idx="2">
                  <c:v>742.0</c:v>
                </c:pt>
                <c:pt idx="3">
                  <c:v>738.878</c:v>
                </c:pt>
                <c:pt idx="4">
                  <c:v>729.9667</c:v>
                </c:pt>
                <c:pt idx="5">
                  <c:v>737.7391</c:v>
                </c:pt>
                <c:pt idx="6">
                  <c:v>715.04</c:v>
                </c:pt>
                <c:pt idx="7">
                  <c:v>732.0</c:v>
                </c:pt>
                <c:pt idx="8">
                  <c:v>722.5455</c:v>
                </c:pt>
                <c:pt idx="9">
                  <c:v>726.7273</c:v>
                </c:pt>
                <c:pt idx="10">
                  <c:v>717.5714</c:v>
                </c:pt>
                <c:pt idx="11">
                  <c:v>751.36</c:v>
                </c:pt>
                <c:pt idx="12">
                  <c:v>738.1563</c:v>
                </c:pt>
                <c:pt idx="13">
                  <c:v>741.8409</c:v>
                </c:pt>
                <c:pt idx="14">
                  <c:v>695.5556</c:v>
                </c:pt>
                <c:pt idx="15">
                  <c:v>735.4074</c:v>
                </c:pt>
                <c:pt idx="16">
                  <c:v>770.1579</c:v>
                </c:pt>
                <c:pt idx="17">
                  <c:v>723.9444</c:v>
                </c:pt>
                <c:pt idx="18">
                  <c:v>813.2222</c:v>
                </c:pt>
                <c:pt idx="19">
                  <c:v>816.6</c:v>
                </c:pt>
                <c:pt idx="20">
                  <c:v>833.0556</c:v>
                </c:pt>
                <c:pt idx="21">
                  <c:v>795.5385</c:v>
                </c:pt>
                <c:pt idx="22">
                  <c:v>743.0833</c:v>
                </c:pt>
                <c:pt idx="23">
                  <c:v>811.5</c:v>
                </c:pt>
                <c:pt idx="24">
                  <c:v>797.8462</c:v>
                </c:pt>
                <c:pt idx="25">
                  <c:v>798.875</c:v>
                </c:pt>
                <c:pt idx="26">
                  <c:v>784.5714</c:v>
                </c:pt>
                <c:pt idx="27">
                  <c:v>768.6667</c:v>
                </c:pt>
                <c:pt idx="28">
                  <c:v>778.7143</c:v>
                </c:pt>
                <c:pt idx="29">
                  <c:v>757.0</c:v>
                </c:pt>
                <c:pt idx="30">
                  <c:v>713.8182</c:v>
                </c:pt>
                <c:pt idx="31">
                  <c:v>811.1429</c:v>
                </c:pt>
                <c:pt idx="32">
                  <c:v>813.8333</c:v>
                </c:pt>
                <c:pt idx="33">
                  <c:v>782.4545</c:v>
                </c:pt>
                <c:pt idx="34">
                  <c:v>784.7857</c:v>
                </c:pt>
                <c:pt idx="35">
                  <c:v>826.3095</c:v>
                </c:pt>
                <c:pt idx="36">
                  <c:v>893.0556</c:v>
                </c:pt>
                <c:pt idx="37">
                  <c:v>891.1667</c:v>
                </c:pt>
                <c:pt idx="38">
                  <c:v>880.2308</c:v>
                </c:pt>
                <c:pt idx="39">
                  <c:v>870.0667</c:v>
                </c:pt>
                <c:pt idx="40">
                  <c:v>866.5556</c:v>
                </c:pt>
                <c:pt idx="41">
                  <c:v>896.0435</c:v>
                </c:pt>
                <c:pt idx="42">
                  <c:v>891.087</c:v>
                </c:pt>
                <c:pt idx="43">
                  <c:v>874.8649</c:v>
                </c:pt>
                <c:pt idx="44">
                  <c:v>865.6364</c:v>
                </c:pt>
                <c:pt idx="45">
                  <c:v>868.9057</c:v>
                </c:pt>
                <c:pt idx="46">
                  <c:v>846.2564</c:v>
                </c:pt>
                <c:pt idx="47">
                  <c:v>853.2295</c:v>
                </c:pt>
                <c:pt idx="48">
                  <c:v>850.2549</c:v>
                </c:pt>
                <c:pt idx="49">
                  <c:v>858.7381</c:v>
                </c:pt>
                <c:pt idx="50">
                  <c:v>853.2917</c:v>
                </c:pt>
                <c:pt idx="51">
                  <c:v>859.1892</c:v>
                </c:pt>
                <c:pt idx="52">
                  <c:v>887.7917</c:v>
                </c:pt>
                <c:pt idx="53">
                  <c:v>904.6471</c:v>
                </c:pt>
                <c:pt idx="54">
                  <c:v>860.3333</c:v>
                </c:pt>
                <c:pt idx="55">
                  <c:v>889.5714</c:v>
                </c:pt>
                <c:pt idx="56">
                  <c:v>882.6316</c:v>
                </c:pt>
                <c:pt idx="57">
                  <c:v>868.8571</c:v>
                </c:pt>
                <c:pt idx="58">
                  <c:v>847.0476</c:v>
                </c:pt>
                <c:pt idx="59">
                  <c:v>855.6522</c:v>
                </c:pt>
                <c:pt idx="60">
                  <c:v>920.7143</c:v>
                </c:pt>
                <c:pt idx="61">
                  <c:v>852.7727</c:v>
                </c:pt>
                <c:pt idx="62">
                  <c:v>746.6154</c:v>
                </c:pt>
                <c:pt idx="63">
                  <c:v>743.5</c:v>
                </c:pt>
                <c:pt idx="64">
                  <c:v>714.4348</c:v>
                </c:pt>
                <c:pt idx="65">
                  <c:v>717.0</c:v>
                </c:pt>
                <c:pt idx="66">
                  <c:v>622.6957</c:v>
                </c:pt>
                <c:pt idx="67">
                  <c:v>456.6111</c:v>
                </c:pt>
                <c:pt idx="68">
                  <c:v>541.9375</c:v>
                </c:pt>
                <c:pt idx="69">
                  <c:v>486.3077</c:v>
                </c:pt>
                <c:pt idx="70">
                  <c:v>818.0</c:v>
                </c:pt>
                <c:pt idx="71">
                  <c:v>250.6207</c:v>
                </c:pt>
                <c:pt idx="72">
                  <c:v>390.1429</c:v>
                </c:pt>
                <c:pt idx="73">
                  <c:v>916.0</c:v>
                </c:pt>
                <c:pt idx="74">
                  <c:v>868.3333</c:v>
                </c:pt>
                <c:pt idx="75">
                  <c:v>931.75</c:v>
                </c:pt>
                <c:pt idx="76">
                  <c:v>989.4286</c:v>
                </c:pt>
                <c:pt idx="77">
                  <c:v>257.8571</c:v>
                </c:pt>
                <c:pt idx="78">
                  <c:v>860.4063</c:v>
                </c:pt>
                <c:pt idx="79">
                  <c:v>931.8667</c:v>
                </c:pt>
                <c:pt idx="80">
                  <c:v>874.8</c:v>
                </c:pt>
                <c:pt idx="81">
                  <c:v>873.0833</c:v>
                </c:pt>
                <c:pt idx="82">
                  <c:v>756.25</c:v>
                </c:pt>
              </c:numCache>
            </c:numRef>
          </c:xVal>
          <c:yVal>
            <c:numRef>
              <c:f>Sheet1!$B$2:$B$84</c:f>
              <c:numCache>
                <c:formatCode>General</c:formatCode>
                <c:ptCount val="83"/>
                <c:pt idx="0">
                  <c:v>0.23129251700680273</c:v>
                </c:pt>
                <c:pt idx="1">
                  <c:v>0.21153846153846154</c:v>
                </c:pt>
                <c:pt idx="2">
                  <c:v>0.2077922077922078</c:v>
                </c:pt>
                <c:pt idx="3">
                  <c:v>0.26973684210526316</c:v>
                </c:pt>
                <c:pt idx="4">
                  <c:v>0.2054794520547945</c:v>
                </c:pt>
                <c:pt idx="5">
                  <c:v>0.17829457364341086</c:v>
                </c:pt>
                <c:pt idx="6">
                  <c:v>0.1953125</c:v>
                </c:pt>
                <c:pt idx="7">
                  <c:v>0.20175438596491227</c:v>
                </c:pt>
                <c:pt idx="8">
                  <c:v>0.11956521739130435</c:v>
                </c:pt>
                <c:pt idx="9">
                  <c:v>0.15172413793103448</c:v>
                </c:pt>
                <c:pt idx="10">
                  <c:v>0.11602209944751381</c:v>
                </c:pt>
                <c:pt idx="11">
                  <c:v>0.1404494382022472</c:v>
                </c:pt>
                <c:pt idx="12">
                  <c:v>0.16080402010050251</c:v>
                </c:pt>
                <c:pt idx="13">
                  <c:v>0.2009132420091324</c:v>
                </c:pt>
                <c:pt idx="14">
                  <c:v>0.12272727272727273</c:v>
                </c:pt>
                <c:pt idx="15">
                  <c:v>0.16071428571428573</c:v>
                </c:pt>
                <c:pt idx="16">
                  <c:v>0.1484375</c:v>
                </c:pt>
                <c:pt idx="17">
                  <c:v>0.18556701030927836</c:v>
                </c:pt>
                <c:pt idx="18">
                  <c:v>0.0989010989010989</c:v>
                </c:pt>
                <c:pt idx="19">
                  <c:v>0.14084507042253522</c:v>
                </c:pt>
                <c:pt idx="20">
                  <c:v>0.140625</c:v>
                </c:pt>
                <c:pt idx="21">
                  <c:v>0.23214285714285715</c:v>
                </c:pt>
                <c:pt idx="22">
                  <c:v>0.16</c:v>
                </c:pt>
                <c:pt idx="23">
                  <c:v>0.18666666666666668</c:v>
                </c:pt>
                <c:pt idx="24">
                  <c:v>0.17105263157894737</c:v>
                </c:pt>
                <c:pt idx="25">
                  <c:v>0.125</c:v>
                </c:pt>
                <c:pt idx="26">
                  <c:v>0.15384615384615385</c:v>
                </c:pt>
                <c:pt idx="27">
                  <c:v>0.1875</c:v>
                </c:pt>
                <c:pt idx="28">
                  <c:v>0.16091954022988506</c:v>
                </c:pt>
                <c:pt idx="29">
                  <c:v>0.1357142857142857</c:v>
                </c:pt>
                <c:pt idx="30">
                  <c:v>0.12941176470588237</c:v>
                </c:pt>
                <c:pt idx="31">
                  <c:v>0.16666666666666666</c:v>
                </c:pt>
                <c:pt idx="32">
                  <c:v>0.11764705882352941</c:v>
                </c:pt>
                <c:pt idx="33">
                  <c:v>0.14102564102564102</c:v>
                </c:pt>
                <c:pt idx="34">
                  <c:v>0.1206896551724138</c:v>
                </c:pt>
                <c:pt idx="35">
                  <c:v>0.12574850299401197</c:v>
                </c:pt>
                <c:pt idx="36">
                  <c:v>0.17142857142857143</c:v>
                </c:pt>
                <c:pt idx="37">
                  <c:v>0.10714285714285714</c:v>
                </c:pt>
                <c:pt idx="38">
                  <c:v>0.13541666666666666</c:v>
                </c:pt>
                <c:pt idx="39">
                  <c:v>0.17341040462427745</c:v>
                </c:pt>
                <c:pt idx="40">
                  <c:v>0.16822429906542055</c:v>
                </c:pt>
                <c:pt idx="41">
                  <c:v>0.17692307692307693</c:v>
                </c:pt>
                <c:pt idx="42">
                  <c:v>0.16546762589928057</c:v>
                </c:pt>
                <c:pt idx="43">
                  <c:v>0.18781725888324874</c:v>
                </c:pt>
                <c:pt idx="44">
                  <c:v>0.24175824175824176</c:v>
                </c:pt>
                <c:pt idx="45">
                  <c:v>0.1906474820143885</c:v>
                </c:pt>
                <c:pt idx="46">
                  <c:v>0.1902439024390244</c:v>
                </c:pt>
                <c:pt idx="47">
                  <c:v>0.1930379746835443</c:v>
                </c:pt>
                <c:pt idx="48">
                  <c:v>0.18579234972677597</c:v>
                </c:pt>
                <c:pt idx="49">
                  <c:v>0.1926605504587156</c:v>
                </c:pt>
                <c:pt idx="50">
                  <c:v>0.16901408450704225</c:v>
                </c:pt>
                <c:pt idx="51">
                  <c:v>0.185</c:v>
                </c:pt>
                <c:pt idx="52">
                  <c:v>0.16551724137931034</c:v>
                </c:pt>
                <c:pt idx="53">
                  <c:v>0.1328125</c:v>
                </c:pt>
                <c:pt idx="54">
                  <c:v>0.15789473684210525</c:v>
                </c:pt>
                <c:pt idx="55">
                  <c:v>0.12389380530973451</c:v>
                </c:pt>
                <c:pt idx="56">
                  <c:v>0.15966386554621848</c:v>
                </c:pt>
                <c:pt idx="57">
                  <c:v>0.14893617021276595</c:v>
                </c:pt>
                <c:pt idx="58">
                  <c:v>0.14</c:v>
                </c:pt>
                <c:pt idx="59">
                  <c:v>0.13855421686746988</c:v>
                </c:pt>
                <c:pt idx="60">
                  <c:v>0.12727272727272726</c:v>
                </c:pt>
                <c:pt idx="61">
                  <c:v>0.13095238095238096</c:v>
                </c:pt>
                <c:pt idx="62">
                  <c:v>0.1326530612244898</c:v>
                </c:pt>
                <c:pt idx="63">
                  <c:v>0.1588785046728972</c:v>
                </c:pt>
                <c:pt idx="64">
                  <c:v>0.11219512195121951</c:v>
                </c:pt>
                <c:pt idx="65">
                  <c:v>0.13253012048192772</c:v>
                </c:pt>
                <c:pt idx="66">
                  <c:v>0.15333333333333332</c:v>
                </c:pt>
                <c:pt idx="67">
                  <c:v>0.1565217391304348</c:v>
                </c:pt>
                <c:pt idx="68">
                  <c:v>0.16494845360824742</c:v>
                </c:pt>
                <c:pt idx="69">
                  <c:v>0.16666666666666666</c:v>
                </c:pt>
                <c:pt idx="70">
                  <c:v>0.13636363636363635</c:v>
                </c:pt>
                <c:pt idx="71">
                  <c:v>0.26605504587155965</c:v>
                </c:pt>
                <c:pt idx="72">
                  <c:v>0.24705882352941178</c:v>
                </c:pt>
                <c:pt idx="73">
                  <c:v>0.09411764705882353</c:v>
                </c:pt>
                <c:pt idx="74">
                  <c:v>0.08</c:v>
                </c:pt>
                <c:pt idx="75">
                  <c:v>0.13114754098360656</c:v>
                </c:pt>
                <c:pt idx="76">
                  <c:v>0.1206896551724138</c:v>
                </c:pt>
                <c:pt idx="77">
                  <c:v>0.16279069767441862</c:v>
                </c:pt>
                <c:pt idx="78">
                  <c:v>0.0960960960960961</c:v>
                </c:pt>
                <c:pt idx="79">
                  <c:v>0.10135135135135136</c:v>
                </c:pt>
                <c:pt idx="80">
                  <c:v>0.11494252873563218</c:v>
                </c:pt>
                <c:pt idx="81">
                  <c:v>0.13333333333333333</c:v>
                </c:pt>
                <c:pt idx="82">
                  <c:v>0.08695652173913043</c:v>
                </c:pt>
              </c:numCache>
            </c:numRef>
          </c:yVal>
          <c:smooth val="0"/>
          <c:extLst>
            <c:ext xmlns:c16="http://schemas.microsoft.com/office/drawing/2014/chart" uri="{C3380CC4-5D6E-409C-BE32-E72D297353CC}">
              <c16:uniqueId val="{00000000-F32D-48B7-BC20-E66FC6253BAD}"/>
            </c:ext>
          </c:extLst>
        </c:ser>
        <c:ser>
          <c:idx val="1"/>
          <c:order val="1"/>
          <c:tx>
            <c:strRef>
              <c:f>Sheet1!$B$8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7:$A$136</c:f>
              <c:numCache>
                <c:formatCode>General</c:formatCode>
                <c:ptCount val="50"/>
                <c:pt idx="0">
                  <c:v>826.7273</c:v>
                </c:pt>
                <c:pt idx="1">
                  <c:v>875.5556</c:v>
                </c:pt>
                <c:pt idx="2">
                  <c:v>806.2222</c:v>
                </c:pt>
                <c:pt idx="3">
                  <c:v>667.3077</c:v>
                </c:pt>
                <c:pt idx="4">
                  <c:v>836.375</c:v>
                </c:pt>
                <c:pt idx="5">
                  <c:v>644.1</c:v>
                </c:pt>
                <c:pt idx="6">
                  <c:v>855.1429</c:v>
                </c:pt>
                <c:pt idx="7">
                  <c:v>835.8</c:v>
                </c:pt>
                <c:pt idx="8">
                  <c:v>961.3333</c:v>
                </c:pt>
                <c:pt idx="9">
                  <c:v>971.1667</c:v>
                </c:pt>
                <c:pt idx="10">
                  <c:v>871.7</c:v>
                </c:pt>
                <c:pt idx="11">
                  <c:v>889.6</c:v>
                </c:pt>
                <c:pt idx="12">
                  <c:v>995.7273</c:v>
                </c:pt>
                <c:pt idx="13">
                  <c:v>587.7778</c:v>
                </c:pt>
                <c:pt idx="14">
                  <c:v>978.3</c:v>
                </c:pt>
                <c:pt idx="15">
                  <c:v>817.5</c:v>
                </c:pt>
                <c:pt idx="16">
                  <c:v>1002.9</c:v>
                </c:pt>
                <c:pt idx="17">
                  <c:v>876.6</c:v>
                </c:pt>
                <c:pt idx="18">
                  <c:v>725.8</c:v>
                </c:pt>
                <c:pt idx="19">
                  <c:v>942.2857</c:v>
                </c:pt>
                <c:pt idx="20">
                  <c:v>989.75</c:v>
                </c:pt>
                <c:pt idx="21">
                  <c:v>1117.0</c:v>
                </c:pt>
                <c:pt idx="22">
                  <c:v>1090.6</c:v>
                </c:pt>
                <c:pt idx="23">
                  <c:v>962.0</c:v>
                </c:pt>
                <c:pt idx="24">
                  <c:v>1019.6667</c:v>
                </c:pt>
                <c:pt idx="25">
                  <c:v>1015.5</c:v>
                </c:pt>
                <c:pt idx="26">
                  <c:v>951.6</c:v>
                </c:pt>
                <c:pt idx="27">
                  <c:v>996.5</c:v>
                </c:pt>
                <c:pt idx="28">
                  <c:v>1104.75</c:v>
                </c:pt>
                <c:pt idx="29">
                  <c:v>1043.25</c:v>
                </c:pt>
                <c:pt idx="30">
                  <c:v>901.5</c:v>
                </c:pt>
                <c:pt idx="31">
                  <c:v>1087.4615</c:v>
                </c:pt>
                <c:pt idx="32">
                  <c:v>1039.7619</c:v>
                </c:pt>
                <c:pt idx="33">
                  <c:v>1095.9091</c:v>
                </c:pt>
                <c:pt idx="34">
                  <c:v>1093.4286</c:v>
                </c:pt>
                <c:pt idx="35">
                  <c:v>1061.6667</c:v>
                </c:pt>
                <c:pt idx="36">
                  <c:v>791.0</c:v>
                </c:pt>
                <c:pt idx="37">
                  <c:v>1084.5556</c:v>
                </c:pt>
                <c:pt idx="38">
                  <c:v>1167.5</c:v>
                </c:pt>
                <c:pt idx="39">
                  <c:v>875.5714</c:v>
                </c:pt>
                <c:pt idx="40">
                  <c:v>927.6667</c:v>
                </c:pt>
                <c:pt idx="41">
                  <c:v>901.6</c:v>
                </c:pt>
                <c:pt idx="42">
                  <c:v>1034.8182</c:v>
                </c:pt>
                <c:pt idx="43">
                  <c:v>1068.9375</c:v>
                </c:pt>
                <c:pt idx="44">
                  <c:v>1065.625</c:v>
                </c:pt>
                <c:pt idx="45">
                  <c:v>970.1111</c:v>
                </c:pt>
                <c:pt idx="46">
                  <c:v>1023.25</c:v>
                </c:pt>
                <c:pt idx="47">
                  <c:v>990.8571</c:v>
                </c:pt>
                <c:pt idx="48">
                  <c:v>979.7037</c:v>
                </c:pt>
                <c:pt idx="49">
                  <c:v>1008.7857</c:v>
                </c:pt>
              </c:numCache>
            </c:numRef>
          </c:xVal>
          <c:yVal>
            <c:numRef>
              <c:f>Sheet1!$B$87:$B$136</c:f>
              <c:numCache>
                <c:formatCode>General</c:formatCode>
                <c:ptCount val="50"/>
                <c:pt idx="0">
                  <c:v>0.10679611650485436</c:v>
                </c:pt>
                <c:pt idx="1">
                  <c:v>0.10465116279069768</c:v>
                </c:pt>
                <c:pt idx="2">
                  <c:v>0.08653846153846154</c:v>
                </c:pt>
                <c:pt idx="3">
                  <c:v>0.13829787234042554</c:v>
                </c:pt>
                <c:pt idx="4">
                  <c:v>0.07207207207207207</c:v>
                </c:pt>
                <c:pt idx="5">
                  <c:v>0.0970873786407767</c:v>
                </c:pt>
                <c:pt idx="6">
                  <c:v>0.12727272727272726</c:v>
                </c:pt>
                <c:pt idx="7">
                  <c:v>0.11494252873563218</c:v>
                </c:pt>
                <c:pt idx="8">
                  <c:v>0.07692307692307693</c:v>
                </c:pt>
                <c:pt idx="9">
                  <c:v>0.06593406593406594</c:v>
                </c:pt>
                <c:pt idx="10">
                  <c:v>0.09259259259259259</c:v>
                </c:pt>
                <c:pt idx="11">
                  <c:v>0.06711409395973154</c:v>
                </c:pt>
                <c:pt idx="12">
                  <c:v>0.08333333333333333</c:v>
                </c:pt>
                <c:pt idx="13">
                  <c:v>0.13636363636363635</c:v>
                </c:pt>
                <c:pt idx="14">
                  <c:v>0.1</c:v>
                </c:pt>
                <c:pt idx="15">
                  <c:v>0.08888888888888889</c:v>
                </c:pt>
                <c:pt idx="16">
                  <c:v>0.15384615384615385</c:v>
                </c:pt>
                <c:pt idx="17">
                  <c:v>0.0847457627118644</c:v>
                </c:pt>
                <c:pt idx="18">
                  <c:v>0.10638297872340426</c:v>
                </c:pt>
                <c:pt idx="19">
                  <c:v>0.08433734939759036</c:v>
                </c:pt>
                <c:pt idx="20">
                  <c:v>0.07692307692307693</c:v>
                </c:pt>
                <c:pt idx="21">
                  <c:v>0.07407407407407407</c:v>
                </c:pt>
                <c:pt idx="22">
                  <c:v>0.11363636363636363</c:v>
                </c:pt>
                <c:pt idx="23">
                  <c:v>0.125</c:v>
                </c:pt>
                <c:pt idx="24">
                  <c:v>0.16666666666666666</c:v>
                </c:pt>
                <c:pt idx="25">
                  <c:v>0.0784313725490196</c:v>
                </c:pt>
                <c:pt idx="26">
                  <c:v>0.06756756756756757</c:v>
                </c:pt>
                <c:pt idx="27">
                  <c:v>0.10714285714285714</c:v>
                </c:pt>
                <c:pt idx="28">
                  <c:v>0.07407407407407407</c:v>
                </c:pt>
                <c:pt idx="29">
                  <c:v>0.08</c:v>
                </c:pt>
                <c:pt idx="30">
                  <c:v>0.07272727272727272</c:v>
                </c:pt>
                <c:pt idx="31">
                  <c:v>0.1262135922330097</c:v>
                </c:pt>
                <c:pt idx="32">
                  <c:v>0.10552763819095477</c:v>
                </c:pt>
                <c:pt idx="33">
                  <c:v>0.09322033898305085</c:v>
                </c:pt>
                <c:pt idx="34">
                  <c:v>0.1206896551724138</c:v>
                </c:pt>
                <c:pt idx="35">
                  <c:v>0.10526315789473684</c:v>
                </c:pt>
                <c:pt idx="36">
                  <c:v>0.07692307692307693</c:v>
                </c:pt>
                <c:pt idx="37">
                  <c:v>0.09574468085106383</c:v>
                </c:pt>
                <c:pt idx="38">
                  <c:v>0.08</c:v>
                </c:pt>
                <c:pt idx="39">
                  <c:v>0.0945945945945946</c:v>
                </c:pt>
                <c:pt idx="40">
                  <c:v>0.12162162162162163</c:v>
                </c:pt>
                <c:pt idx="41">
                  <c:v>0.1388888888888889</c:v>
                </c:pt>
                <c:pt idx="42">
                  <c:v>0.10784313725490197</c:v>
                </c:pt>
                <c:pt idx="43">
                  <c:v>0.0898876404494382</c:v>
                </c:pt>
                <c:pt idx="44">
                  <c:v>0.07547169811320754</c:v>
                </c:pt>
                <c:pt idx="45">
                  <c:v>0.08181818181818182</c:v>
                </c:pt>
                <c:pt idx="46">
                  <c:v>0.0967741935483871</c:v>
                </c:pt>
                <c:pt idx="47">
                  <c:v>0.07650273224043716</c:v>
                </c:pt>
                <c:pt idx="48">
                  <c:v>0.09854014598540146</c:v>
                </c:pt>
                <c:pt idx="49">
                  <c:v>0.08536585365853659</c:v>
                </c:pt>
              </c:numCache>
            </c:numRef>
          </c:yVal>
          <c:smooth val="0"/>
          <c:extLst>
            <c:ext xmlns:c16="http://schemas.microsoft.com/office/drawing/2014/chart" uri="{C3380CC4-5D6E-409C-BE32-E72D297353CC}">
              <c16:uniqueId val="{00000002-F32D-48B7-BC20-E66FC6253BAD}"/>
            </c:ext>
          </c:extLst>
        </c:ser>
        <c:ser>
          <c:idx val="2"/>
          <c:order val="2"/>
          <c:tx>
            <c:strRef>
              <c:f>Sheet1!$B$138</c:f>
              <c:strCache>
                <c:ptCount val="1"/>
                <c:pt idx="0">
                  <c:v>Custom Linep3yQ</c:v>
                </c:pt>
              </c:strCache>
            </c:strRef>
          </c:tx>
          <c:spPr>
            <a:ln w="19050" cap="rnd">
              <a:solidFill>
                <a:srgbClr val="C00000"/>
              </a:solidFill>
              <a:prstDash val="sysDot"/>
              <a:round/>
            </a:ln>
            <a:effectLst/>
          </c:spPr>
          <c:marker>
            <c:symbol val="none"/>
          </c:marker>
          <c:xVal>
            <c:numRef>
              <c:f>Sheet1!$A$139:$A$140</c:f>
              <c:numCache>
                <c:formatCode>General</c:formatCode>
                <c:ptCount val="2"/>
                <c:pt idx="0">
                  <c:v>0</c:v>
                </c:pt>
                <c:pt idx="1">
                  <c:v>-2344.2555189386085</c:v>
                </c:pt>
              </c:numCache>
            </c:numRef>
          </c:xVal>
          <c:yVal>
            <c:numRef>
              <c:f>Sheet1!$B$139:$B$140</c:f>
              <c:numCache>
                <c:formatCode>General</c:formatCode>
                <c:ptCount val="2"/>
                <c:pt idx="0">
                  <c:v>0.20230735083301746</c:v>
                </c:pt>
                <c:pt idx="1">
                  <c:v>0.20230735083301746</c:v>
                </c:pt>
              </c:numCache>
            </c:numRef>
          </c:yVal>
          <c:smooth val="0"/>
          <c:extLst>
            <c:ext xmlns:c16="http://schemas.microsoft.com/office/drawing/2014/chart" uri="{C3380CC4-5D6E-409C-BE32-E72D297353CC}">
              <c16:uniqueId val="{00000003-F32D-48B7-BC20-E66FC6253BAD}"/>
            </c:ext>
          </c:extLst>
        </c:ser>
        <c:ser>
          <c:idx val="3"/>
          <c:order val="3"/>
          <c:tx>
            <c:strRef>
              <c:f>Sheet1!$B$1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344.2555189386085</c:v>
                </c:pt>
                <c:pt idx="1">
                  <c:v>-2344.2555189386085</c:v>
                </c:pt>
              </c:numCache>
            </c:numRef>
          </c:xVal>
          <c:yVal>
            <c:numRef>
              <c:f>Sheet1!$B$143:$B$144</c:f>
              <c:numCache>
                <c:formatCode>General</c:formatCode>
                <c:ptCount val="2"/>
                <c:pt idx="0">
                  <c:v>0.202307350833017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7:$A$148</c:f>
              <c:numCache>
                <c:formatCode>General</c:formatCode>
                <c:ptCount val="2"/>
                <c:pt idx="0">
                  <c:v>0</c:v>
                </c:pt>
                <c:pt idx="1">
                  <c:v>796.3485428992776</c:v>
                </c:pt>
              </c:numCache>
            </c:numRef>
          </c:xVal>
          <c:yVal>
            <c:numRef>
              <c:f>Sheet1!$B$147:$B$148</c:f>
              <c:numCache>
                <c:formatCode>General</c:formatCode>
                <c:ptCount val="2"/>
                <c:pt idx="0">
                  <c:v>0.10273126631319157</c:v>
                </c:pt>
                <c:pt idx="1">
                  <c:v>0.10273126631319157</c:v>
                </c:pt>
              </c:numCache>
            </c:numRef>
          </c:yVal>
          <c:smooth val="0"/>
          <c:extLst>
            <c:ext xmlns:c16="http://schemas.microsoft.com/office/drawing/2014/chart" uri="{C3380CC4-5D6E-409C-BE32-E72D297353CC}">
              <c16:uniqueId val="{0000000A-F32D-48B7-BC20-E66FC6253BAD}"/>
            </c:ext>
          </c:extLst>
        </c:ser>
        <c:ser>
          <c:idx val="5"/>
          <c:order val="5"/>
          <c:tx>
            <c:strRef>
              <c:f>Sheet1!$B$1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1:$A$152</c:f>
              <c:numCache>
                <c:formatCode>General</c:formatCode>
                <c:ptCount val="2"/>
                <c:pt idx="0">
                  <c:v>796.3485428992776</c:v>
                </c:pt>
                <c:pt idx="1">
                  <c:v>796.3485428992776</c:v>
                </c:pt>
              </c:numCache>
            </c:numRef>
          </c:xVal>
          <c:yVal>
            <c:numRef>
              <c:f>Sheet1!$B$151:$B$152</c:f>
              <c:numCache>
                <c:formatCode>General</c:formatCode>
                <c:ptCount val="2"/>
                <c:pt idx="0">
                  <c:v>0.102731266313191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5:$A$156</c:f>
              <c:numCache>
                <c:formatCode>General</c:formatCode>
                <c:ptCount val="2"/>
                <c:pt idx="0">
                  <c:v>0</c:v>
                </c:pt>
                <c:pt idx="1">
                  <c:v>1020.6521386815776</c:v>
                </c:pt>
              </c:numCache>
            </c:numRef>
          </c:xVal>
          <c:yVal>
            <c:numRef>
              <c:f>Sheet1!$B$155:$B$156</c:f>
              <c:numCache>
                <c:formatCode>General</c:formatCode>
                <c:ptCount val="2"/>
                <c:pt idx="0">
                  <c:v>0.0956194899249739</c:v>
                </c:pt>
                <c:pt idx="1">
                  <c:v>0.0956194899249739</c:v>
                </c:pt>
              </c:numCache>
            </c:numRef>
          </c:yVal>
          <c:smooth val="0"/>
          <c:extLst>
            <c:ext xmlns:c16="http://schemas.microsoft.com/office/drawing/2014/chart" uri="{C3380CC4-5D6E-409C-BE32-E72D297353CC}">
              <c16:uniqueId val="{00000011-F32D-48B7-BC20-E66FC6253BAD}"/>
            </c:ext>
          </c:extLst>
        </c:ser>
        <c:ser>
          <c:idx val="7"/>
          <c:order val="7"/>
          <c:tx>
            <c:strRef>
              <c:f>Sheet1!$B$1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9:$A$160</c:f>
              <c:numCache>
                <c:formatCode>General</c:formatCode>
                <c:ptCount val="2"/>
                <c:pt idx="0">
                  <c:v>1020.6521386815776</c:v>
                </c:pt>
                <c:pt idx="1">
                  <c:v>1020.6521386815776</c:v>
                </c:pt>
              </c:numCache>
            </c:numRef>
          </c:xVal>
          <c:yVal>
            <c:numRef>
              <c:f>Sheet1!$B$159:$B$160</c:f>
              <c:numCache>
                <c:formatCode>General</c:formatCode>
                <c:ptCount val="2"/>
                <c:pt idx="0">
                  <c:v>0.09561948992497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3:$A$215</c:f>
              <c:numCache>
                <c:formatCode>General</c:formatCode>
                <c:ptCount val="53"/>
                <c:pt idx="0">
                  <c:v>826.7273</c:v>
                </c:pt>
                <c:pt idx="1">
                  <c:v>875.5556</c:v>
                </c:pt>
                <c:pt idx="2">
                  <c:v>806.2222</c:v>
                </c:pt>
                <c:pt idx="3">
                  <c:v>667.3077</c:v>
                </c:pt>
                <c:pt idx="4">
                  <c:v>836.375</c:v>
                </c:pt>
                <c:pt idx="5">
                  <c:v>644.1</c:v>
                </c:pt>
                <c:pt idx="6">
                  <c:v>855.1429</c:v>
                </c:pt>
                <c:pt idx="7">
                  <c:v>835.8</c:v>
                </c:pt>
                <c:pt idx="8">
                  <c:v>961.3333</c:v>
                </c:pt>
                <c:pt idx="9">
                  <c:v>971.1667</c:v>
                </c:pt>
                <c:pt idx="10">
                  <c:v>871.7</c:v>
                </c:pt>
                <c:pt idx="11">
                  <c:v>889.6</c:v>
                </c:pt>
                <c:pt idx="12">
                  <c:v>995.7273</c:v>
                </c:pt>
                <c:pt idx="13">
                  <c:v>587.7778</c:v>
                </c:pt>
                <c:pt idx="14">
                  <c:v>978.3</c:v>
                </c:pt>
                <c:pt idx="15">
                  <c:v>817.5</c:v>
                </c:pt>
                <c:pt idx="16">
                  <c:v>1002.9</c:v>
                </c:pt>
                <c:pt idx="17">
                  <c:v>876.6</c:v>
                </c:pt>
                <c:pt idx="18">
                  <c:v>725.8</c:v>
                </c:pt>
                <c:pt idx="19">
                  <c:v>942.2857</c:v>
                </c:pt>
                <c:pt idx="20">
                  <c:v>989.75</c:v>
                </c:pt>
                <c:pt idx="21">
                  <c:v>1117.0</c:v>
                </c:pt>
                <c:pt idx="22">
                  <c:v>1090.6</c:v>
                </c:pt>
                <c:pt idx="23">
                  <c:v>962.0</c:v>
                </c:pt>
                <c:pt idx="24">
                  <c:v>1019.6667</c:v>
                </c:pt>
                <c:pt idx="25">
                  <c:v>1015.5</c:v>
                </c:pt>
                <c:pt idx="26">
                  <c:v>951.6</c:v>
                </c:pt>
                <c:pt idx="27">
                  <c:v>996.5</c:v>
                </c:pt>
                <c:pt idx="28">
                  <c:v>1104.75</c:v>
                </c:pt>
                <c:pt idx="29">
                  <c:v>1043.25</c:v>
                </c:pt>
                <c:pt idx="30">
                  <c:v>901.5</c:v>
                </c:pt>
                <c:pt idx="31">
                  <c:v>1087.4615</c:v>
                </c:pt>
                <c:pt idx="32">
                  <c:v>1039.7619</c:v>
                </c:pt>
                <c:pt idx="33">
                  <c:v>1095.9091</c:v>
                </c:pt>
                <c:pt idx="34">
                  <c:v>1093.4286</c:v>
                </c:pt>
                <c:pt idx="35">
                  <c:v>1061.6667</c:v>
                </c:pt>
                <c:pt idx="36">
                  <c:v>791.0</c:v>
                </c:pt>
                <c:pt idx="37">
                  <c:v>1084.5556</c:v>
                </c:pt>
                <c:pt idx="38">
                  <c:v>1167.5</c:v>
                </c:pt>
                <c:pt idx="39">
                  <c:v>875.5714</c:v>
                </c:pt>
                <c:pt idx="40">
                  <c:v>927.6667</c:v>
                </c:pt>
                <c:pt idx="41">
                  <c:v>901.6</c:v>
                </c:pt>
                <c:pt idx="42">
                  <c:v>1034.8182</c:v>
                </c:pt>
                <c:pt idx="43">
                  <c:v>1068.9375</c:v>
                </c:pt>
                <c:pt idx="44">
                  <c:v>1065.625</c:v>
                </c:pt>
                <c:pt idx="45">
                  <c:v>970.1111</c:v>
                </c:pt>
                <c:pt idx="46">
                  <c:v>1023.25</c:v>
                </c:pt>
                <c:pt idx="47">
                  <c:v>990.8571</c:v>
                </c:pt>
                <c:pt idx="48">
                  <c:v>979.7037</c:v>
                </c:pt>
                <c:pt idx="49">
                  <c:v>1008.7857</c:v>
                </c:pt>
                <c:pt idx="50">
                  <c:v>796.3485428992776</c:v>
                </c:pt>
                <c:pt idx="51">
                  <c:v>-2344.2555189386085</c:v>
                </c:pt>
                <c:pt idx="52">
                  <c:v>1020.6521386815776</c:v>
                </c:pt>
              </c:numCache>
            </c:numRef>
          </c:xVal>
          <c:yVal>
            <c:numRef>
              <c:f>Sheet1!$B$163:$B$215</c:f>
              <c:numCache>
                <c:formatCode>General</c:formatCode>
                <c:ptCount val="53"/>
                <c:pt idx="0">
                  <c:v>0.10176807654934131</c:v>
                </c:pt>
                <c:pt idx="1">
                  <c:v>0.10021992503707647</c:v>
                </c:pt>
                <c:pt idx="2">
                  <c:v>0.10241821185149481</c:v>
                </c:pt>
                <c:pt idx="3">
                  <c:v>0.10682263906379821</c:v>
                </c:pt>
                <c:pt idx="4">
                  <c:v>0.10146218629010892</c:v>
                </c:pt>
                <c:pt idx="5">
                  <c:v>0.10755846308083727</c:v>
                </c:pt>
                <c:pt idx="6">
                  <c:v>0.10086713070211925</c:v>
                </c:pt>
                <c:pt idx="7">
                  <c:v>0.10148041725697757</c:v>
                </c:pt>
                <c:pt idx="8">
                  <c:v>0.09750025476443541</c:v>
                </c:pt>
                <c:pt idx="9">
                  <c:v>0.09718847669555518</c:v>
                </c:pt>
                <c:pt idx="10">
                  <c:v>0.10034217080378735</c:v>
                </c:pt>
                <c:pt idx="11">
                  <c:v>0.09977463287865908</c:v>
                </c:pt>
                <c:pt idx="12">
                  <c:v>0.09640975759142639</c:v>
                </c:pt>
                <c:pt idx="13">
                  <c:v>0.10934421640634896</c:v>
                </c:pt>
                <c:pt idx="14">
                  <c:v>0.09696230807648716</c:v>
                </c:pt>
                <c:pt idx="15">
                  <c:v>0.10206063759384054</c:v>
                </c:pt>
                <c:pt idx="16">
                  <c:v>0.0961823397548025</c:v>
                </c:pt>
                <c:pt idx="17">
                  <c:v>0.10018681126003715</c:v>
                </c:pt>
                <c:pt idx="18">
                  <c:v>0.10496808048402279</c:v>
                </c:pt>
                <c:pt idx="19">
                  <c:v>0.09810417852883056</c:v>
                </c:pt>
                <c:pt idx="20">
                  <c:v>0.09659927404058108</c:v>
                </c:pt>
                <c:pt idx="21">
                  <c:v>0.09256468180747651</c:v>
                </c:pt>
                <c:pt idx="22">
                  <c:v>0.09340172098196736</c:v>
                </c:pt>
                <c:pt idx="23">
                  <c:v>0.09747911635467658</c:v>
                </c:pt>
                <c:pt idx="24">
                  <c:v>0.09565073427272161</c:v>
                </c:pt>
                <c:pt idx="25">
                  <c:v>0.09578284378515914</c:v>
                </c:pt>
                <c:pt idx="26">
                  <c:v>0.09780885905977904</c:v>
                </c:pt>
                <c:pt idx="27">
                  <c:v>0.09638525834255786</c:v>
                </c:pt>
                <c:pt idx="28">
                  <c:v>0.092953080666852</c:v>
                </c:pt>
                <c:pt idx="29">
                  <c:v>0.09490300147106365</c:v>
                </c:pt>
                <c:pt idx="30">
                  <c:v>0.09939733112955146</c:v>
                </c:pt>
                <c:pt idx="31">
                  <c:v>0.09350123035504082</c:v>
                </c:pt>
                <c:pt idx="32">
                  <c:v>0.09501359527199324</c:v>
                </c:pt>
                <c:pt idx="33">
                  <c:v>0.09323339050161548</c:v>
                </c:pt>
                <c:pt idx="34">
                  <c:v>0.09331203730738535</c:v>
                </c:pt>
                <c:pt idx="35">
                  <c:v>0.09431908104057707</c:v>
                </c:pt>
                <c:pt idx="36">
                  <c:v>0.10290084737126506</c:v>
                </c:pt>
                <c:pt idx="37">
                  <c:v>0.09359336490569056</c:v>
                </c:pt>
                <c:pt idx="38">
                  <c:v>0.09096352732596938</c:v>
                </c:pt>
                <c:pt idx="39">
                  <c:v>0.10021942408181295</c:v>
                </c:pt>
                <c:pt idx="40">
                  <c:v>0.09856768897170487</c:v>
                </c:pt>
                <c:pt idx="41">
                  <c:v>0.09939416052661779</c:v>
                </c:pt>
                <c:pt idx="42">
                  <c:v>0.09517034036922546</c:v>
                </c:pt>
                <c:pt idx="43">
                  <c:v>0.09408855284247525</c:v>
                </c:pt>
                <c:pt idx="44">
                  <c:v>0.09419357906465331</c:v>
                </c:pt>
                <c:pt idx="45">
                  <c:v>0.09722194558012308</c:v>
                </c:pt>
                <c:pt idx="46">
                  <c:v>0.09553712205779913</c:v>
                </c:pt>
                <c:pt idx="47">
                  <c:v>0.09656417229550235</c:v>
                </c:pt>
                <c:pt idx="48">
                  <c:v>0.09691780232310712</c:v>
                </c:pt>
                <c:pt idx="49">
                  <c:v>0.09599572757793504</c:v>
                </c:pt>
                <c:pt idx="50">
                  <c:v>0.10273126631319157</c:v>
                </c:pt>
                <c:pt idx="51">
                  <c:v>0.20230735083301746</c:v>
                </c:pt>
                <c:pt idx="52">
                  <c:v>0.09561948992497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36842105263158"/>
          <c:min val="0.0527472527472527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378226700852663</c:v>
                </c:pt>
                <c:pt idx="1">
                  <c:v>1.6969731663227081</c:v>
                </c:pt>
                <c:pt idx="2">
                  <c:v>1.679801579276014</c:v>
                </c:pt>
                <c:pt idx="3">
                  <c:v>1.5278686995107522</c:v>
                </c:pt>
                <c:pt idx="4">
                  <c:v>1.4918295288499095</c:v>
                </c:pt>
                <c:pt idx="5">
                  <c:v>1.4569770654049263</c:v>
                </c:pt>
                <c:pt idx="6">
                  <c:v>1.3935296483349378</c:v>
                </c:pt>
                <c:pt idx="7">
                  <c:v>1.4362495156081807</c:v>
                </c:pt>
                <c:pt idx="8">
                  <c:v>1.4487262591210686</c:v>
                </c:pt>
                <c:pt idx="9">
                  <c:v>1.4135713340594023</c:v>
                </c:pt>
                <c:pt idx="10">
                  <c:v>1.3793014020028613</c:v>
                </c:pt>
                <c:pt idx="11">
                  <c:v>1.3871359300705977</c:v>
                </c:pt>
                <c:pt idx="12">
                  <c:v>1.3838680759284718</c:v>
                </c:pt>
                <c:pt idx="13">
                  <c:v>1.391412778020061</c:v>
                </c:pt>
                <c:pt idx="14">
                  <c:v>1.2152073053199066</c:v>
                </c:pt>
                <c:pt idx="15">
                  <c:v>1.2789137791884544</c:v>
                </c:pt>
                <c:pt idx="16">
                  <c:v>1.2448961742339668</c:v>
                </c:pt>
                <c:pt idx="17">
                  <c:v>1.3231261153591525</c:v>
                </c:pt>
                <c:pt idx="18">
                  <c:v>0.9850126017620162</c:v>
                </c:pt>
                <c:pt idx="19">
                  <c:v>1.2517897511786271</c:v>
                </c:pt>
                <c:pt idx="20">
                  <c:v>1.4196466415905427</c:v>
                </c:pt>
                <c:pt idx="21">
                  <c:v>1.341111761577113</c:v>
                </c:pt>
                <c:pt idx="22">
                  <c:v>1.1573291708011988</c:v>
                </c:pt>
                <c:pt idx="23">
                  <c:v>1.3118035687358633</c:v>
                </c:pt>
                <c:pt idx="24">
                  <c:v>1.3084828365878727</c:v>
                </c:pt>
                <c:pt idx="25">
                  <c:v>1.2842105263157895</c:v>
                </c:pt>
                <c:pt idx="26">
                  <c:v>1.2754475839475838</c:v>
                </c:pt>
                <c:pt idx="27">
                  <c:v>1.2813646654695916</c:v>
                </c:pt>
                <c:pt idx="28">
                  <c:v>1.3639624766294536</c:v>
                </c:pt>
                <c:pt idx="29">
                  <c:v>1.3073721339535536</c:v>
                </c:pt>
                <c:pt idx="30">
                  <c:v>1.3199584911743372</c:v>
                </c:pt>
                <c:pt idx="31">
                  <c:v>1.134611583316861</c:v>
                </c:pt>
                <c:pt idx="32">
                  <c:v>1.3043307531390478</c:v>
                </c:pt>
                <c:pt idx="33">
                  <c:v>1.3278255943348507</c:v>
                </c:pt>
                <c:pt idx="34">
                  <c:v>1.2801570652958685</c:v>
                </c:pt>
                <c:pt idx="35">
                  <c:v>1.4335229273039491</c:v>
                </c:pt>
                <c:pt idx="36">
                  <c:v>1.484400065129985</c:v>
                </c:pt>
                <c:pt idx="37">
                  <c:v>1.3505693414666355</c:v>
                </c:pt>
                <c:pt idx="38">
                  <c:v>1.5040434210526314</c:v>
                </c:pt>
                <c:pt idx="39">
                  <c:v>1.4736558928364822</c:v>
                </c:pt>
                <c:pt idx="40">
                  <c:v>1.431885077448416</c:v>
                </c:pt>
                <c:pt idx="41">
                  <c:v>1.467233976464758</c:v>
                </c:pt>
                <c:pt idx="42">
                  <c:v>1.3784555611317517</c:v>
                </c:pt>
                <c:pt idx="43">
                  <c:v>1.5058652421173724</c:v>
                </c:pt>
                <c:pt idx="44">
                  <c:v>1.4379354431524218</c:v>
                </c:pt>
                <c:pt idx="45">
                  <c:v>1.487385029134917</c:v>
                </c:pt>
                <c:pt idx="46">
                  <c:v>1.3961616450838552</c:v>
                </c:pt>
                <c:pt idx="47">
                  <c:v>1.3865526788375089</c:v>
                </c:pt>
                <c:pt idx="48">
                  <c:v>1.36583197423116</c:v>
                </c:pt>
                <c:pt idx="49">
                  <c:v>1.3453064733322921</c:v>
                </c:pt>
                <c:pt idx="50">
                  <c:v>1.41986961710687</c:v>
                </c:pt>
                <c:pt idx="51">
                  <c:v>1.430243245179374</c:v>
                </c:pt>
                <c:pt idx="52">
                  <c:v>1.4803657081269281</c:v>
                </c:pt>
                <c:pt idx="53">
                  <c:v>1.4370973391328925</c:v>
                </c:pt>
                <c:pt idx="54">
                  <c:v>1.5098851569066734</c:v>
                </c:pt>
                <c:pt idx="55">
                  <c:v>1.3987410656570924</c:v>
                </c:pt>
                <c:pt idx="56">
                  <c:v>1.4644565501736504</c:v>
                </c:pt>
                <c:pt idx="57">
                  <c:v>1.383947655398037</c:v>
                </c:pt>
                <c:pt idx="58">
                  <c:v>1.2989139661467446</c:v>
                </c:pt>
                <c:pt idx="59">
                  <c:v>1.2853396024309212</c:v>
                </c:pt>
                <c:pt idx="60">
                  <c:v>1.243218537204591</c:v>
                </c:pt>
                <c:pt idx="61">
                  <c:v>1.2386011304332039</c:v>
                </c:pt>
                <c:pt idx="62">
                  <c:v>1.257001224489796</c:v>
                </c:pt>
                <c:pt idx="63">
                  <c:v>1.258779915460575</c:v>
                </c:pt>
                <c:pt idx="64">
                  <c:v>1.163250066791344</c:v>
                </c:pt>
                <c:pt idx="65">
                  <c:v>1.1563023265542554</c:v>
                </c:pt>
                <c:pt idx="66">
                  <c:v>1.229736733627261</c:v>
                </c:pt>
                <c:pt idx="67">
                  <c:v>1.1767386406702989</c:v>
                </c:pt>
                <c:pt idx="68">
                  <c:v>1.1269511809469983</c:v>
                </c:pt>
                <c:pt idx="69">
                  <c:v>1.0746628081333032</c:v>
                </c:pt>
                <c:pt idx="70">
                  <c:v>1.0867564256940334</c:v>
                </c:pt>
                <c:pt idx="71">
                  <c:v>1.0961407097219888</c:v>
                </c:pt>
                <c:pt idx="72">
                  <c:v>1.332969275816238</c:v>
                </c:pt>
                <c:pt idx="73">
                  <c:v>1.325006602481397</c:v>
                </c:pt>
                <c:pt idx="74">
                  <c:v>1.2889702235014302</c:v>
                </c:pt>
                <c:pt idx="75">
                  <c:v>1.2805719922059142</c:v>
                </c:pt>
                <c:pt idx="76">
                  <c:v>1.2633644592602995</c:v>
                </c:pt>
                <c:pt idx="77">
                  <c:v>1.1810012031662596</c:v>
                </c:pt>
                <c:pt idx="78">
                  <c:v>1.2296164948948045</c:v>
                </c:pt>
                <c:pt idx="79">
                  <c:v>0.8605381141366847</c:v>
                </c:pt>
                <c:pt idx="80">
                  <c:v>1.2995120588369418</c:v>
                </c:pt>
                <c:pt idx="81">
                  <c:v>1.3379786757983099</c:v>
                </c:pt>
                <c:pt idx="82">
                  <c:v>1.2774818306117142</c:v>
                </c:pt>
                <c:pt idx="83">
                  <c:v>0.927947598253275</c:v>
                </c:pt>
                <c:pt idx="84">
                  <c:v>1.3549102836195255</c:v>
                </c:pt>
                <c:pt idx="85">
                  <c:v>1.2654662841099538</c:v>
                </c:pt>
                <c:pt idx="86">
                  <c:v>1.2478893424437005</c:v>
                </c:pt>
                <c:pt idx="87">
                  <c:v>1.29660826306739</c:v>
                </c:pt>
                <c:pt idx="88">
                  <c:v>1.2804958856351307</c:v>
                </c:pt>
                <c:pt idx="89">
                  <c:v>1.193082823276586</c:v>
                </c:pt>
                <c:pt idx="90">
                  <c:v>1.2376349714469201</c:v>
                </c:pt>
                <c:pt idx="91">
                  <c:v>1.3123383709519136</c:v>
                </c:pt>
                <c:pt idx="92">
                  <c:v>0.9710663978097192</c:v>
                </c:pt>
                <c:pt idx="93">
                  <c:v>1.08465167206164</c:v>
                </c:pt>
                <c:pt idx="94">
                  <c:v>1.2490042713365896</c:v>
                </c:pt>
                <c:pt idx="95">
                  <c:v>1.2301416406241605</c:v>
                </c:pt>
                <c:pt idx="96">
                  <c:v>0.9570059283278028</c:v>
                </c:pt>
                <c:pt idx="97">
                  <c:v>1.2594159185182352</c:v>
                </c:pt>
                <c:pt idx="98">
                  <c:v>1.2060106640814348</c:v>
                </c:pt>
                <c:pt idx="99">
                  <c:v>1.2493391929659152</c:v>
                </c:pt>
                <c:pt idx="100">
                  <c:v>1.3022478313544947</c:v>
                </c:pt>
                <c:pt idx="101">
                  <c:v>1.1336921033788805</c:v>
                </c:pt>
                <c:pt idx="102">
                  <c:v>1.1906017590149516</c:v>
                </c:pt>
                <c:pt idx="103">
                  <c:v>1.2348280421501632</c:v>
                </c:pt>
                <c:pt idx="104">
                  <c:v>1.2524329781337535</c:v>
                </c:pt>
              </c:numCache>
            </c:numRef>
          </c:xVal>
          <c:yVal>
            <c:numRef>
              <c:f>Sheet1!$B$2:$B$106</c:f>
              <c:numCache>
                <c:formatCode>General</c:formatCode>
                <c:ptCount val="105"/>
                <c:pt idx="0">
                  <c:v>0.30994152046783624</c:v>
                </c:pt>
                <c:pt idx="1">
                  <c:v>0.35443037974683544</c:v>
                </c:pt>
                <c:pt idx="2">
                  <c:v>0.38953488372093026</c:v>
                </c:pt>
                <c:pt idx="3">
                  <c:v>0.4266666666666667</c:v>
                </c:pt>
                <c:pt idx="4">
                  <c:v>0.46853146853146854</c:v>
                </c:pt>
                <c:pt idx="5">
                  <c:v>0.48175182481751827</c:v>
                </c:pt>
                <c:pt idx="6">
                  <c:v>0.43846153846153846</c:v>
                </c:pt>
                <c:pt idx="7">
                  <c:v>0.42962962962962964</c:v>
                </c:pt>
                <c:pt idx="8">
                  <c:v>0.3838383838383838</c:v>
                </c:pt>
                <c:pt idx="9">
                  <c:v>0.43243243243243246</c:v>
                </c:pt>
                <c:pt idx="10">
                  <c:v>0.44886363636363635</c:v>
                </c:pt>
                <c:pt idx="11">
                  <c:v>0.37714285714285717</c:v>
                </c:pt>
                <c:pt idx="12">
                  <c:v>0.43902439024390244</c:v>
                </c:pt>
                <c:pt idx="13">
                  <c:v>0.4462809917355372</c:v>
                </c:pt>
                <c:pt idx="14">
                  <c:v>0.3822525597269625</c:v>
                </c:pt>
                <c:pt idx="15">
                  <c:v>0.3886255924170616</c:v>
                </c:pt>
                <c:pt idx="16">
                  <c:v>0.41304347826086957</c:v>
                </c:pt>
                <c:pt idx="17">
                  <c:v>0.34532374100719426</c:v>
                </c:pt>
                <c:pt idx="18">
                  <c:v>0.24083769633507854</c:v>
                </c:pt>
                <c:pt idx="19">
                  <c:v>0.2619047619047619</c:v>
                </c:pt>
                <c:pt idx="20">
                  <c:v>0.3212121212121212</c:v>
                </c:pt>
                <c:pt idx="21">
                  <c:v>0.17699115044247787</c:v>
                </c:pt>
                <c:pt idx="22">
                  <c:v>0.2206896551724138</c:v>
                </c:pt>
                <c:pt idx="23">
                  <c:v>0.18461538461538463</c:v>
                </c:pt>
                <c:pt idx="24">
                  <c:v>0.22608695652173913</c:v>
                </c:pt>
                <c:pt idx="25">
                  <c:v>0.31645569620253167</c:v>
                </c:pt>
                <c:pt idx="26">
                  <c:v>0.34146341463414637</c:v>
                </c:pt>
                <c:pt idx="27">
                  <c:v>0.3125</c:v>
                </c:pt>
                <c:pt idx="28">
                  <c:v>0.3375</c:v>
                </c:pt>
                <c:pt idx="29">
                  <c:v>0.3979591836734694</c:v>
                </c:pt>
                <c:pt idx="30">
                  <c:v>0.38666666666666666</c:v>
                </c:pt>
                <c:pt idx="31">
                  <c:v>0.35135135135135137</c:v>
                </c:pt>
                <c:pt idx="32">
                  <c:v>0.3218390804597701</c:v>
                </c:pt>
                <c:pt idx="33">
                  <c:v>0.3130434782608696</c:v>
                </c:pt>
                <c:pt idx="34">
                  <c:v>0.3475609756097561</c:v>
                </c:pt>
                <c:pt idx="35">
                  <c:v>0.3788546255506608</c:v>
                </c:pt>
                <c:pt idx="36">
                  <c:v>0.3284671532846715</c:v>
                </c:pt>
                <c:pt idx="37">
                  <c:v>0.297029702970297</c:v>
                </c:pt>
                <c:pt idx="38">
                  <c:v>0.3076923076923077</c:v>
                </c:pt>
                <c:pt idx="39">
                  <c:v>0.31521739130434784</c:v>
                </c:pt>
                <c:pt idx="40">
                  <c:v>0.3492063492063492</c:v>
                </c:pt>
                <c:pt idx="41">
                  <c:v>0.3229166666666667</c:v>
                </c:pt>
                <c:pt idx="42">
                  <c:v>0.32786885245901637</c:v>
                </c:pt>
                <c:pt idx="43">
                  <c:v>0.35570469798657717</c:v>
                </c:pt>
                <c:pt idx="44">
                  <c:v>0.2798165137614679</c:v>
                </c:pt>
                <c:pt idx="45">
                  <c:v>0.2896825396825397</c:v>
                </c:pt>
                <c:pt idx="46">
                  <c:v>0.36633663366336633</c:v>
                </c:pt>
                <c:pt idx="47">
                  <c:v>0.3274021352313167</c:v>
                </c:pt>
                <c:pt idx="48">
                  <c:v>0.31797235023041476</c:v>
                </c:pt>
                <c:pt idx="49">
                  <c:v>0.3649815043156597</c:v>
                </c:pt>
                <c:pt idx="50">
                  <c:v>0.3944954128440367</c:v>
                </c:pt>
                <c:pt idx="51">
                  <c:v>0.35428571428571426</c:v>
                </c:pt>
                <c:pt idx="52">
                  <c:v>0.3426294820717131</c:v>
                </c:pt>
                <c:pt idx="53">
                  <c:v>0.3282051282051282</c:v>
                </c:pt>
                <c:pt idx="54">
                  <c:v>0.2911392405063291</c:v>
                </c:pt>
                <c:pt idx="55">
                  <c:v>0.2953020134228188</c:v>
                </c:pt>
                <c:pt idx="56">
                  <c:v>0.2937062937062937</c:v>
                </c:pt>
                <c:pt idx="57">
                  <c:v>0.3067484662576687</c:v>
                </c:pt>
                <c:pt idx="58">
                  <c:v>0.28217821782178215</c:v>
                </c:pt>
                <c:pt idx="59">
                  <c:v>0.3191489361702128</c:v>
                </c:pt>
                <c:pt idx="60">
                  <c:v>0.3130841121495327</c:v>
                </c:pt>
                <c:pt idx="61">
                  <c:v>0.3515151515151515</c:v>
                </c:pt>
                <c:pt idx="62">
                  <c:v>0.33488372093023255</c:v>
                </c:pt>
                <c:pt idx="63">
                  <c:v>0.336283185840708</c:v>
                </c:pt>
                <c:pt idx="64">
                  <c:v>0.31800766283524906</c:v>
                </c:pt>
                <c:pt idx="65">
                  <c:v>0.30042918454935624</c:v>
                </c:pt>
                <c:pt idx="66">
                  <c:v>0.3644067796610169</c:v>
                </c:pt>
                <c:pt idx="67">
                  <c:v>0.29004329004329005</c:v>
                </c:pt>
                <c:pt idx="68">
                  <c:v>0.28654970760233917</c:v>
                </c:pt>
                <c:pt idx="69">
                  <c:v>0.3764705882352941</c:v>
                </c:pt>
                <c:pt idx="70">
                  <c:v>0.27956989247311825</c:v>
                </c:pt>
                <c:pt idx="71">
                  <c:v>0.2988505747126437</c:v>
                </c:pt>
                <c:pt idx="72">
                  <c:v>0.29545454545454547</c:v>
                </c:pt>
                <c:pt idx="73">
                  <c:v>0.20238095238095238</c:v>
                </c:pt>
                <c:pt idx="74">
                  <c:v>0.26136363636363635</c:v>
                </c:pt>
                <c:pt idx="75">
                  <c:v>0.2345679012345679</c:v>
                </c:pt>
                <c:pt idx="76">
                  <c:v>0.26666666666666666</c:v>
                </c:pt>
                <c:pt idx="77">
                  <c:v>0.28</c:v>
                </c:pt>
                <c:pt idx="78">
                  <c:v>0.2786885245901639</c:v>
                </c:pt>
                <c:pt idx="79">
                  <c:v>0.3125</c:v>
                </c:pt>
                <c:pt idx="80">
                  <c:v>0.27586206896551724</c:v>
                </c:pt>
                <c:pt idx="81">
                  <c:v>0.2537313432835821</c:v>
                </c:pt>
                <c:pt idx="82">
                  <c:v>0.23076923076923078</c:v>
                </c:pt>
                <c:pt idx="83">
                  <c:v>0.2727272727272727</c:v>
                </c:pt>
                <c:pt idx="84">
                  <c:v>0.2</c:v>
                </c:pt>
                <c:pt idx="85">
                  <c:v>0.22580645161290322</c:v>
                </c:pt>
                <c:pt idx="86">
                  <c:v>0.3116883116883117</c:v>
                </c:pt>
                <c:pt idx="87">
                  <c:v>0.2980769230769231</c:v>
                </c:pt>
                <c:pt idx="88">
                  <c:v>0.265625</c:v>
                </c:pt>
                <c:pt idx="89">
                  <c:v>0.22727272727272727</c:v>
                </c:pt>
                <c:pt idx="90">
                  <c:v>0.21153846153846154</c:v>
                </c:pt>
                <c:pt idx="91">
                  <c:v>0.2</c:v>
                </c:pt>
                <c:pt idx="92">
                  <c:v>0.37349397590361444</c:v>
                </c:pt>
                <c:pt idx="93">
                  <c:v>0.28</c:v>
                </c:pt>
                <c:pt idx="94">
                  <c:v>0.2413793103448276</c:v>
                </c:pt>
                <c:pt idx="95">
                  <c:v>0.3058823529411765</c:v>
                </c:pt>
                <c:pt idx="96">
                  <c:v>0.32</c:v>
                </c:pt>
                <c:pt idx="97">
                  <c:v>0.31007751937984496</c:v>
                </c:pt>
                <c:pt idx="98">
                  <c:v>0.30256410256410254</c:v>
                </c:pt>
                <c:pt idx="99">
                  <c:v>0.2988929889298893</c:v>
                </c:pt>
                <c:pt idx="100">
                  <c:v>0.3087248322147651</c:v>
                </c:pt>
                <c:pt idx="101">
                  <c:v>0.2938775510204082</c:v>
                </c:pt>
                <c:pt idx="102">
                  <c:v>0.26666666666666666</c:v>
                </c:pt>
                <c:pt idx="103">
                  <c:v>0.291044776119403</c:v>
                </c:pt>
                <c:pt idx="104">
                  <c:v>0.306451612903225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957514356185813</c:v>
                </c:pt>
                <c:pt idx="1">
                  <c:v>1.173607960056232</c:v>
                </c:pt>
                <c:pt idx="2">
                  <c:v>1.161352764347692</c:v>
                </c:pt>
                <c:pt idx="3">
                  <c:v>1.2023699886400758</c:v>
                </c:pt>
                <c:pt idx="4">
                  <c:v>1.2661880070546736</c:v>
                </c:pt>
                <c:pt idx="5">
                  <c:v>1.1942581738099272</c:v>
                </c:pt>
                <c:pt idx="6">
                  <c:v>1.1741513427277623</c:v>
                </c:pt>
                <c:pt idx="7">
                  <c:v>1.2327182340882863</c:v>
                </c:pt>
                <c:pt idx="8">
                  <c:v>1.216068898715519</c:v>
                </c:pt>
                <c:pt idx="9">
                  <c:v>1.1471894292212714</c:v>
                </c:pt>
                <c:pt idx="10">
                  <c:v>1.2711060109289618</c:v>
                </c:pt>
                <c:pt idx="11">
                  <c:v>1.192051585169264</c:v>
                </c:pt>
                <c:pt idx="12">
                  <c:v>1.1025730056014014</c:v>
                </c:pt>
                <c:pt idx="13">
                  <c:v>1.1354030612244896</c:v>
                </c:pt>
                <c:pt idx="14">
                  <c:v>1.1321282565130262</c:v>
                </c:pt>
                <c:pt idx="15">
                  <c:v>1.130541765944275</c:v>
                </c:pt>
                <c:pt idx="16">
                  <c:v>1.174107524584906</c:v>
                </c:pt>
                <c:pt idx="17">
                  <c:v>1.1969294368252932</c:v>
                </c:pt>
                <c:pt idx="18">
                  <c:v>1.317168071006445</c:v>
                </c:pt>
                <c:pt idx="19">
                  <c:v>1.064553030952585</c:v>
                </c:pt>
                <c:pt idx="20">
                  <c:v>1.179645069010634</c:v>
                </c:pt>
                <c:pt idx="21">
                  <c:v>1.0382419394312397</c:v>
                </c:pt>
                <c:pt idx="22">
                  <c:v>1.0826526482213439</c:v>
                </c:pt>
                <c:pt idx="23">
                  <c:v>1.074615577889447</c:v>
                </c:pt>
                <c:pt idx="24">
                  <c:v>1.1411046388166546</c:v>
                </c:pt>
                <c:pt idx="25">
                  <c:v>1.203125598194131</c:v>
                </c:pt>
                <c:pt idx="26">
                  <c:v>1.455731593662628</c:v>
                </c:pt>
                <c:pt idx="27">
                  <c:v>1.3128834168556984</c:v>
                </c:pt>
                <c:pt idx="28">
                  <c:v>1.2360249169435216</c:v>
                </c:pt>
                <c:pt idx="29">
                  <c:v>1.2438497221586144</c:v>
                </c:pt>
                <c:pt idx="30">
                  <c:v>1.2770460531830319</c:v>
                </c:pt>
                <c:pt idx="31">
                  <c:v>1.2629121412803532</c:v>
                </c:pt>
                <c:pt idx="32">
                  <c:v>1.402750536885536</c:v>
                </c:pt>
                <c:pt idx="33">
                  <c:v>1.3051496860214409</c:v>
                </c:pt>
                <c:pt idx="34">
                  <c:v>1.3253944525311978</c:v>
                </c:pt>
                <c:pt idx="35">
                  <c:v>1.3113059714045416</c:v>
                </c:pt>
                <c:pt idx="36">
                  <c:v>1.3759088585661685</c:v>
                </c:pt>
                <c:pt idx="37">
                  <c:v>1.3387778235321195</c:v>
                </c:pt>
                <c:pt idx="38">
                  <c:v>1.2644549123219868</c:v>
                </c:pt>
                <c:pt idx="39">
                  <c:v>1.284689926719895</c:v>
                </c:pt>
                <c:pt idx="40">
                  <c:v>1.3176888523908028</c:v>
                </c:pt>
                <c:pt idx="41">
                  <c:v>1.3161430659792193</c:v>
                </c:pt>
                <c:pt idx="42">
                  <c:v>1.2380441809659999</c:v>
                </c:pt>
                <c:pt idx="43">
                  <c:v>1.2641094570928197</c:v>
                </c:pt>
                <c:pt idx="44">
                  <c:v>1.2192703357975356</c:v>
                </c:pt>
                <c:pt idx="45">
                  <c:v>1.2248297688858227</c:v>
                </c:pt>
                <c:pt idx="46">
                  <c:v>1.2090179510107104</c:v>
                </c:pt>
                <c:pt idx="47">
                  <c:v>1.19292668072731</c:v>
                </c:pt>
                <c:pt idx="48">
                  <c:v>1.2081150517164927</c:v>
                </c:pt>
                <c:pt idx="49">
                  <c:v>1.293656590514192</c:v>
                </c:pt>
                <c:pt idx="50">
                  <c:v>1.3346327713052164</c:v>
                </c:pt>
                <c:pt idx="51">
                  <c:v>1.2296616209816738</c:v>
                </c:pt>
              </c:numCache>
            </c:numRef>
          </c:xVal>
          <c:yVal>
            <c:numRef>
              <c:f>Sheet1!$B$109:$B$160</c:f>
              <c:numCache>
                <c:formatCode>General</c:formatCode>
                <c:ptCount val="52"/>
                <c:pt idx="0">
                  <c:v>0.25675675675675674</c:v>
                </c:pt>
                <c:pt idx="1">
                  <c:v>0.27205882352941174</c:v>
                </c:pt>
                <c:pt idx="2">
                  <c:v>0.2857142857142857</c:v>
                </c:pt>
                <c:pt idx="3">
                  <c:v>0.2945205479452055</c:v>
                </c:pt>
                <c:pt idx="4">
                  <c:v>0.2916666666666667</c:v>
                </c:pt>
                <c:pt idx="5">
                  <c:v>0.2833333333333333</c:v>
                </c:pt>
                <c:pt idx="6">
                  <c:v>0.2847682119205298</c:v>
                </c:pt>
                <c:pt idx="7">
                  <c:v>0.24615384615384617</c:v>
                </c:pt>
                <c:pt idx="8">
                  <c:v>0.3157894736842105</c:v>
                </c:pt>
                <c:pt idx="9">
                  <c:v>0.3504273504273504</c:v>
                </c:pt>
                <c:pt idx="10">
                  <c:v>0.30714285714285716</c:v>
                </c:pt>
                <c:pt idx="11">
                  <c:v>0.3641304347826087</c:v>
                </c:pt>
                <c:pt idx="12">
                  <c:v>0.3602150537634409</c:v>
                </c:pt>
                <c:pt idx="13">
                  <c:v>0.29936305732484075</c:v>
                </c:pt>
                <c:pt idx="14">
                  <c:v>0.30625</c:v>
                </c:pt>
                <c:pt idx="15">
                  <c:v>0.3308270676691729</c:v>
                </c:pt>
                <c:pt idx="16">
                  <c:v>0.3333333333333333</c:v>
                </c:pt>
                <c:pt idx="17">
                  <c:v>0.2857142857142857</c:v>
                </c:pt>
                <c:pt idx="18">
                  <c:v>0.3</c:v>
                </c:pt>
                <c:pt idx="19">
                  <c:v>0.3177570093457944</c:v>
                </c:pt>
                <c:pt idx="20">
                  <c:v>0.3253012048192771</c:v>
                </c:pt>
                <c:pt idx="21">
                  <c:v>0.25</c:v>
                </c:pt>
                <c:pt idx="22">
                  <c:v>0.3333333333333333</c:v>
                </c:pt>
                <c:pt idx="23">
                  <c:v>0.28205128205128205</c:v>
                </c:pt>
                <c:pt idx="24">
                  <c:v>0.30952380952380953</c:v>
                </c:pt>
                <c:pt idx="25">
                  <c:v>0.22807017543859648</c:v>
                </c:pt>
                <c:pt idx="26">
                  <c:v>0.17391304347826086</c:v>
                </c:pt>
                <c:pt idx="27">
                  <c:v>0.21428571428571427</c:v>
                </c:pt>
                <c:pt idx="28">
                  <c:v>0.3108108108108108</c:v>
                </c:pt>
                <c:pt idx="29">
                  <c:v>0.2727272727272727</c:v>
                </c:pt>
                <c:pt idx="30">
                  <c:v>0.25</c:v>
                </c:pt>
                <c:pt idx="31">
                  <c:v>0.23404255319148937</c:v>
                </c:pt>
                <c:pt idx="32">
                  <c:v>0.2903225806451613</c:v>
                </c:pt>
                <c:pt idx="33">
                  <c:v>0.2808988764044944</c:v>
                </c:pt>
                <c:pt idx="34">
                  <c:v>0.36551724137931035</c:v>
                </c:pt>
                <c:pt idx="35">
                  <c:v>0.25925925925925924</c:v>
                </c:pt>
                <c:pt idx="36">
                  <c:v>0.28</c:v>
                </c:pt>
                <c:pt idx="37">
                  <c:v>0.2153846153846154</c:v>
                </c:pt>
                <c:pt idx="38">
                  <c:v>0.288135593220339</c:v>
                </c:pt>
                <c:pt idx="39">
                  <c:v>0.30120481927710846</c:v>
                </c:pt>
                <c:pt idx="40">
                  <c:v>0.32786885245901637</c:v>
                </c:pt>
                <c:pt idx="41">
                  <c:v>0.30985915492957744</c:v>
                </c:pt>
                <c:pt idx="42">
                  <c:v>0.24691358024691357</c:v>
                </c:pt>
                <c:pt idx="43">
                  <c:v>0.30097087378640774</c:v>
                </c:pt>
                <c:pt idx="44">
                  <c:v>0.3577981651376147</c:v>
                </c:pt>
                <c:pt idx="45">
                  <c:v>0.31683168316831684</c:v>
                </c:pt>
                <c:pt idx="46">
                  <c:v>0.25477707006369427</c:v>
                </c:pt>
                <c:pt idx="47">
                  <c:v>0.3</c:v>
                </c:pt>
                <c:pt idx="48">
                  <c:v>0.2573099415204678</c:v>
                </c:pt>
                <c:pt idx="49">
                  <c:v>0.28169014084507044</c:v>
                </c:pt>
                <c:pt idx="50">
                  <c:v>0.2849462365591398</c:v>
                </c:pt>
                <c:pt idx="51">
                  <c:v>0.302521008403361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250990515223408</c:v>
                </c:pt>
              </c:numCache>
            </c:numRef>
          </c:xVal>
          <c:yVal>
            <c:numRef>
              <c:f>Sheet1!$B$163:$B$164</c:f>
              <c:numCache>
                <c:formatCode>General</c:formatCode>
                <c:ptCount val="2"/>
                <c:pt idx="0">
                  <c:v>0.40919847732008974</c:v>
                </c:pt>
                <c:pt idx="1">
                  <c:v>0.4091984773200897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250990515223408</c:v>
                </c:pt>
                <c:pt idx="1">
                  <c:v>0.5250990515223408</c:v>
                </c:pt>
              </c:numCache>
            </c:numRef>
          </c:xVal>
          <c:yVal>
            <c:numRef>
              <c:f>Sheet1!$B$167:$B$168</c:f>
              <c:numCache>
                <c:formatCode>General</c:formatCode>
                <c:ptCount val="2"/>
                <c:pt idx="0">
                  <c:v>0.409198477320089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668647328008476</c:v>
                </c:pt>
              </c:numCache>
            </c:numRef>
          </c:xVal>
          <c:yVal>
            <c:numRef>
              <c:f>Sheet1!$B$171:$B$172</c:f>
              <c:numCache>
                <c:formatCode>General</c:formatCode>
                <c:ptCount val="2"/>
                <c:pt idx="0">
                  <c:v>0.31772781956330476</c:v>
                </c:pt>
                <c:pt idx="1">
                  <c:v>0.317727819563304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668647328008476</c:v>
                </c:pt>
                <c:pt idx="1">
                  <c:v>1.0668647328008476</c:v>
                </c:pt>
              </c:numCache>
            </c:numRef>
          </c:xVal>
          <c:yVal>
            <c:numRef>
              <c:f>Sheet1!$B$175:$B$176</c:f>
              <c:numCache>
                <c:formatCode>General</c:formatCode>
                <c:ptCount val="2"/>
                <c:pt idx="0">
                  <c:v>0.317727819563304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979735943165346</c:v>
                </c:pt>
              </c:numCache>
            </c:numRef>
          </c:xVal>
          <c:yVal>
            <c:numRef>
              <c:f>Sheet1!$B$179:$B$180</c:f>
              <c:numCache>
                <c:formatCode>General</c:formatCode>
                <c:ptCount val="2"/>
                <c:pt idx="0">
                  <c:v>0.29559165587666836</c:v>
                </c:pt>
                <c:pt idx="1">
                  <c:v>0.295591655876668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979735943165346</c:v>
                </c:pt>
                <c:pt idx="1">
                  <c:v>1.1979735943165346</c:v>
                </c:pt>
              </c:numCache>
            </c:numRef>
          </c:xVal>
          <c:yVal>
            <c:numRef>
              <c:f>Sheet1!$B$183:$B$184</c:f>
              <c:numCache>
                <c:formatCode>General</c:formatCode>
                <c:ptCount val="2"/>
                <c:pt idx="0">
                  <c:v>0.29559165587666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957514356185813</c:v>
                </c:pt>
                <c:pt idx="1">
                  <c:v>1.173607960056232</c:v>
                </c:pt>
                <c:pt idx="2">
                  <c:v>1.161352764347692</c:v>
                </c:pt>
                <c:pt idx="3">
                  <c:v>1.2023699886400758</c:v>
                </c:pt>
                <c:pt idx="4">
                  <c:v>1.2661880070546736</c:v>
                </c:pt>
                <c:pt idx="5">
                  <c:v>1.1942581738099272</c:v>
                </c:pt>
                <c:pt idx="6">
                  <c:v>1.1741513427277623</c:v>
                </c:pt>
                <c:pt idx="7">
                  <c:v>1.2327182340882863</c:v>
                </c:pt>
                <c:pt idx="8">
                  <c:v>1.216068898715519</c:v>
                </c:pt>
                <c:pt idx="9">
                  <c:v>1.1471894292212714</c:v>
                </c:pt>
                <c:pt idx="10">
                  <c:v>1.2711060109289618</c:v>
                </c:pt>
                <c:pt idx="11">
                  <c:v>1.192051585169264</c:v>
                </c:pt>
                <c:pt idx="12">
                  <c:v>1.1025730056014014</c:v>
                </c:pt>
                <c:pt idx="13">
                  <c:v>1.1354030612244896</c:v>
                </c:pt>
                <c:pt idx="14">
                  <c:v>1.1321282565130262</c:v>
                </c:pt>
                <c:pt idx="15">
                  <c:v>1.130541765944275</c:v>
                </c:pt>
                <c:pt idx="16">
                  <c:v>1.174107524584906</c:v>
                </c:pt>
                <c:pt idx="17">
                  <c:v>1.1969294368252932</c:v>
                </c:pt>
                <c:pt idx="18">
                  <c:v>1.317168071006445</c:v>
                </c:pt>
                <c:pt idx="19">
                  <c:v>1.064553030952585</c:v>
                </c:pt>
                <c:pt idx="20">
                  <c:v>1.179645069010634</c:v>
                </c:pt>
                <c:pt idx="21">
                  <c:v>1.0382419394312397</c:v>
                </c:pt>
                <c:pt idx="22">
                  <c:v>1.0826526482213439</c:v>
                </c:pt>
                <c:pt idx="23">
                  <c:v>1.074615577889447</c:v>
                </c:pt>
                <c:pt idx="24">
                  <c:v>1.1411046388166546</c:v>
                </c:pt>
                <c:pt idx="25">
                  <c:v>1.203125598194131</c:v>
                </c:pt>
                <c:pt idx="26">
                  <c:v>1.455731593662628</c:v>
                </c:pt>
                <c:pt idx="27">
                  <c:v>1.3128834168556984</c:v>
                </c:pt>
                <c:pt idx="28">
                  <c:v>1.2360249169435216</c:v>
                </c:pt>
                <c:pt idx="29">
                  <c:v>1.2438497221586144</c:v>
                </c:pt>
                <c:pt idx="30">
                  <c:v>1.2770460531830319</c:v>
                </c:pt>
                <c:pt idx="31">
                  <c:v>1.2629121412803532</c:v>
                </c:pt>
                <c:pt idx="32">
                  <c:v>1.402750536885536</c:v>
                </c:pt>
                <c:pt idx="33">
                  <c:v>1.3051496860214409</c:v>
                </c:pt>
                <c:pt idx="34">
                  <c:v>1.3253944525311978</c:v>
                </c:pt>
                <c:pt idx="35">
                  <c:v>1.3113059714045416</c:v>
                </c:pt>
                <c:pt idx="36">
                  <c:v>1.3759088585661685</c:v>
                </c:pt>
                <c:pt idx="37">
                  <c:v>1.3387778235321195</c:v>
                </c:pt>
                <c:pt idx="38">
                  <c:v>1.2644549123219868</c:v>
                </c:pt>
                <c:pt idx="39">
                  <c:v>1.284689926719895</c:v>
                </c:pt>
                <c:pt idx="40">
                  <c:v>1.3176888523908028</c:v>
                </c:pt>
                <c:pt idx="41">
                  <c:v>1.3161430659792193</c:v>
                </c:pt>
                <c:pt idx="42">
                  <c:v>1.2380441809659999</c:v>
                </c:pt>
                <c:pt idx="43">
                  <c:v>1.2641094570928197</c:v>
                </c:pt>
                <c:pt idx="44">
                  <c:v>1.2192703357975356</c:v>
                </c:pt>
                <c:pt idx="45">
                  <c:v>1.2248297688858227</c:v>
                </c:pt>
                <c:pt idx="46">
                  <c:v>1.2090179510107104</c:v>
                </c:pt>
                <c:pt idx="47">
                  <c:v>1.19292668072731</c:v>
                </c:pt>
                <c:pt idx="48">
                  <c:v>1.2081150517164927</c:v>
                </c:pt>
                <c:pt idx="49">
                  <c:v>1.293656590514192</c:v>
                </c:pt>
                <c:pt idx="50">
                  <c:v>1.3346327713052164</c:v>
                </c:pt>
                <c:pt idx="51">
                  <c:v>1.2296616209816738</c:v>
                </c:pt>
                <c:pt idx="52">
                  <c:v>1.0668647328008476</c:v>
                </c:pt>
                <c:pt idx="53">
                  <c:v>0.5250990515223408</c:v>
                </c:pt>
                <c:pt idx="54">
                  <c:v>1.1979735943165346</c:v>
                </c:pt>
              </c:numCache>
            </c:numRef>
          </c:xVal>
          <c:yVal>
            <c:numRef>
              <c:f>Sheet1!$B$187:$B$241</c:f>
              <c:numCache>
                <c:formatCode>General</c:formatCode>
                <c:ptCount val="55"/>
                <c:pt idx="0">
                  <c:v>0.2790830364365621</c:v>
                </c:pt>
                <c:pt idx="1">
                  <c:v>0.2997055018980545</c:v>
                </c:pt>
                <c:pt idx="2">
                  <c:v>0.30177464516632657</c:v>
                </c:pt>
                <c:pt idx="3">
                  <c:v>0.2948493772598621</c:v>
                </c:pt>
                <c:pt idx="4">
                  <c:v>0.2840744678795889</c:v>
                </c:pt>
                <c:pt idx="5">
                  <c:v>0.2962189602064303</c:v>
                </c:pt>
                <c:pt idx="6">
                  <c:v>0.2996137582308269</c:v>
                </c:pt>
                <c:pt idx="7">
                  <c:v>0.2897254388694473</c:v>
                </c:pt>
                <c:pt idx="8">
                  <c:v>0.29253648008225797</c:v>
                </c:pt>
                <c:pt idx="9">
                  <c:v>0.304165954960971</c:v>
                </c:pt>
                <c:pt idx="10">
                  <c:v>0.28324412172667285</c:v>
                </c:pt>
                <c:pt idx="11">
                  <c:v>0.2965915163157132</c:v>
                </c:pt>
                <c:pt idx="12">
                  <c:v>0.31169890464068106</c:v>
                </c:pt>
                <c:pt idx="13">
                  <c:v>0.30615594227556964</c:v>
                </c:pt>
                <c:pt idx="14">
                  <c:v>0.3067088538964676</c:v>
                </c:pt>
                <c:pt idx="15">
                  <c:v>0.30697671386040287</c:v>
                </c:pt>
                <c:pt idx="16">
                  <c:v>0.29962115640034426</c:v>
                </c:pt>
                <c:pt idx="17">
                  <c:v>0.29576794938477713</c:v>
                </c:pt>
                <c:pt idx="18">
                  <c:v>0.27546709361559546</c:v>
                </c:pt>
                <c:pt idx="19">
                  <c:v>0.318118122780923</c:v>
                </c:pt>
                <c:pt idx="20">
                  <c:v>0.2986862082327464</c:v>
                </c:pt>
                <c:pt idx="21">
                  <c:v>0.32256043600031503</c:v>
                </c:pt>
                <c:pt idx="22">
                  <c:v>0.3150622188100173</c:v>
                </c:pt>
                <c:pt idx="23">
                  <c:v>0.31641918204172526</c:v>
                </c:pt>
                <c:pt idx="24">
                  <c:v>0.3051932990690529</c:v>
                </c:pt>
                <c:pt idx="25">
                  <c:v>0.29472180162097406</c:v>
                </c:pt>
                <c:pt idx="26">
                  <c:v>0.25207229952574495</c:v>
                </c:pt>
                <c:pt idx="27">
                  <c:v>0.2761905062402273</c:v>
                </c:pt>
                <c:pt idx="28">
                  <c:v>0.289167145005119</c:v>
                </c:pt>
                <c:pt idx="29">
                  <c:v>0.28784602020047245</c:v>
                </c:pt>
                <c:pt idx="30">
                  <c:v>0.28224121661315466</c:v>
                </c:pt>
                <c:pt idx="31">
                  <c:v>0.28462755864826383</c:v>
                </c:pt>
                <c:pt idx="32">
                  <c:v>0.26101751750377133</c:v>
                </c:pt>
                <c:pt idx="33">
                  <c:v>0.2774962542245848</c:v>
                </c:pt>
                <c:pt idx="34">
                  <c:v>0.27407816745244007</c:v>
                </c:pt>
                <c:pt idx="35">
                  <c:v>0.27645683904420304</c:v>
                </c:pt>
                <c:pt idx="36">
                  <c:v>0.26554941396014065</c:v>
                </c:pt>
                <c:pt idx="37">
                  <c:v>0.2718185452748809</c:v>
                </c:pt>
                <c:pt idx="38">
                  <c:v>0.28436708020375745</c:v>
                </c:pt>
                <c:pt idx="39">
                  <c:v>0.2809506399590991</c:v>
                </c:pt>
                <c:pt idx="40">
                  <c:v>0.2753791659054786</c:v>
                </c:pt>
                <c:pt idx="41">
                  <c:v>0.2756401534591483</c:v>
                </c:pt>
                <c:pt idx="42">
                  <c:v>0.2888262164179024</c:v>
                </c:pt>
                <c:pt idx="43">
                  <c:v>0.28442540618882706</c:v>
                </c:pt>
                <c:pt idx="44">
                  <c:v>0.2919959557083848</c:v>
                </c:pt>
                <c:pt idx="45">
                  <c:v>0.2910573119018218</c:v>
                </c:pt>
                <c:pt idx="46">
                  <c:v>0.29372694829878565</c:v>
                </c:pt>
                <c:pt idx="47">
                  <c:v>0.29644376689366486</c:v>
                </c:pt>
                <c:pt idx="48">
                  <c:v>0.29387939204925606</c:v>
                </c:pt>
                <c:pt idx="49">
                  <c:v>0.27943672598578734</c:v>
                </c:pt>
                <c:pt idx="50">
                  <c:v>0.2725183877837979</c:v>
                </c:pt>
                <c:pt idx="51">
                  <c:v>0.2902415114466361</c:v>
                </c:pt>
                <c:pt idx="52">
                  <c:v>0.31772781956330476</c:v>
                </c:pt>
                <c:pt idx="53">
                  <c:v>0.40919847732008974</c:v>
                </c:pt>
                <c:pt idx="54">
                  <c:v>0.29559165587666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81021897810219"/>
          <c:min val="0.13913043478260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6.6981</c:v>
                </c:pt>
                <c:pt idx="1">
                  <c:v>689.2321</c:v>
                </c:pt>
                <c:pt idx="2">
                  <c:v>683.5672</c:v>
                </c:pt>
                <c:pt idx="3">
                  <c:v>671.4219</c:v>
                </c:pt>
                <c:pt idx="4">
                  <c:v>671.0746</c:v>
                </c:pt>
                <c:pt idx="5">
                  <c:v>680.8939</c:v>
                </c:pt>
                <c:pt idx="6">
                  <c:v>636.5263</c:v>
                </c:pt>
                <c:pt idx="7">
                  <c:v>667.1379</c:v>
                </c:pt>
                <c:pt idx="8">
                  <c:v>671.6053</c:v>
                </c:pt>
                <c:pt idx="9">
                  <c:v>633.5156</c:v>
                </c:pt>
                <c:pt idx="10">
                  <c:v>602.5823</c:v>
                </c:pt>
                <c:pt idx="11">
                  <c:v>630.697</c:v>
                </c:pt>
                <c:pt idx="12">
                  <c:v>642.3333</c:v>
                </c:pt>
                <c:pt idx="13">
                  <c:v>638.1019</c:v>
                </c:pt>
                <c:pt idx="14">
                  <c:v>561.2232</c:v>
                </c:pt>
                <c:pt idx="15">
                  <c:v>584.5732</c:v>
                </c:pt>
                <c:pt idx="16">
                  <c:v>579.3026</c:v>
                </c:pt>
                <c:pt idx="17">
                  <c:v>610.5625</c:v>
                </c:pt>
                <c:pt idx="18">
                  <c:v>441.6304</c:v>
                </c:pt>
                <c:pt idx="19">
                  <c:v>589.0</c:v>
                </c:pt>
                <c:pt idx="20">
                  <c:v>660.4906</c:v>
                </c:pt>
                <c:pt idx="21">
                  <c:v>671.45</c:v>
                </c:pt>
                <c:pt idx="22">
                  <c:v>574.5313</c:v>
                </c:pt>
                <c:pt idx="23">
                  <c:v>652.4583</c:v>
                </c:pt>
                <c:pt idx="24">
                  <c:v>636.5769</c:v>
                </c:pt>
                <c:pt idx="25">
                  <c:v>639.28</c:v>
                </c:pt>
                <c:pt idx="26">
                  <c:v>622.9286</c:v>
                </c:pt>
                <c:pt idx="27">
                  <c:v>656.52</c:v>
                </c:pt>
                <c:pt idx="28">
                  <c:v>677.2963</c:v>
                </c:pt>
                <c:pt idx="29">
                  <c:v>649.1538</c:v>
                </c:pt>
                <c:pt idx="30">
                  <c:v>655.069</c:v>
                </c:pt>
                <c:pt idx="31">
                  <c:v>574.0</c:v>
                </c:pt>
                <c:pt idx="32">
                  <c:v>645.3929</c:v>
                </c:pt>
                <c:pt idx="33">
                  <c:v>656.2778</c:v>
                </c:pt>
                <c:pt idx="34">
                  <c:v>615.2632</c:v>
                </c:pt>
                <c:pt idx="35">
                  <c:v>652.314</c:v>
                </c:pt>
                <c:pt idx="36">
                  <c:v>671.8889</c:v>
                </c:pt>
                <c:pt idx="37">
                  <c:v>611.5667</c:v>
                </c:pt>
                <c:pt idx="38">
                  <c:v>685.8438</c:v>
                </c:pt>
                <c:pt idx="39">
                  <c:v>648.3103</c:v>
                </c:pt>
                <c:pt idx="40">
                  <c:v>653.8182</c:v>
                </c:pt>
                <c:pt idx="41">
                  <c:v>672.6452</c:v>
                </c:pt>
                <c:pt idx="42">
                  <c:v>625.425</c:v>
                </c:pt>
                <c:pt idx="43">
                  <c:v>677.5472</c:v>
                </c:pt>
                <c:pt idx="44">
                  <c:v>655.2459</c:v>
                </c:pt>
                <c:pt idx="45">
                  <c:v>663.6712</c:v>
                </c:pt>
                <c:pt idx="46">
                  <c:v>620.2342</c:v>
                </c:pt>
                <c:pt idx="47">
                  <c:v>624.8587</c:v>
                </c:pt>
                <c:pt idx="48">
                  <c:v>623.5725</c:v>
                </c:pt>
                <c:pt idx="49">
                  <c:v>612.5101</c:v>
                </c:pt>
                <c:pt idx="50">
                  <c:v>637.5659</c:v>
                </c:pt>
                <c:pt idx="51">
                  <c:v>656.8548</c:v>
                </c:pt>
                <c:pt idx="52">
                  <c:v>672.4767</c:v>
                </c:pt>
                <c:pt idx="53">
                  <c:v>663.0313</c:v>
                </c:pt>
                <c:pt idx="54">
                  <c:v>682.7826</c:v>
                </c:pt>
                <c:pt idx="55">
                  <c:v>642.4545</c:v>
                </c:pt>
                <c:pt idx="56">
                  <c:v>668.9762</c:v>
                </c:pt>
                <c:pt idx="57">
                  <c:v>634.54</c:v>
                </c:pt>
                <c:pt idx="58">
                  <c:v>622.7895</c:v>
                </c:pt>
                <c:pt idx="59">
                  <c:v>637.7733</c:v>
                </c:pt>
                <c:pt idx="60">
                  <c:v>640.7015</c:v>
                </c:pt>
                <c:pt idx="61">
                  <c:v>641.3276</c:v>
                </c:pt>
                <c:pt idx="62">
                  <c:v>615.9306</c:v>
                </c:pt>
                <c:pt idx="63">
                  <c:v>639.5789</c:v>
                </c:pt>
                <c:pt idx="64">
                  <c:v>609.5663</c:v>
                </c:pt>
                <c:pt idx="65">
                  <c:v>613.6286</c:v>
                </c:pt>
                <c:pt idx="66">
                  <c:v>621.407</c:v>
                </c:pt>
                <c:pt idx="67">
                  <c:v>610.7463</c:v>
                </c:pt>
                <c:pt idx="68">
                  <c:v>589.4286</c:v>
                </c:pt>
                <c:pt idx="69">
                  <c:v>573.0</c:v>
                </c:pt>
                <c:pt idx="70">
                  <c:v>564.3462</c:v>
                </c:pt>
                <c:pt idx="71">
                  <c:v>566.7692</c:v>
                </c:pt>
                <c:pt idx="72">
                  <c:v>712.2692</c:v>
                </c:pt>
                <c:pt idx="73">
                  <c:v>699.8824</c:v>
                </c:pt>
                <c:pt idx="74">
                  <c:v>689.1304</c:v>
                </c:pt>
                <c:pt idx="75">
                  <c:v>661.4737</c:v>
                </c:pt>
                <c:pt idx="76">
                  <c:v>660.15</c:v>
                </c:pt>
                <c:pt idx="77">
                  <c:v>609.9524</c:v>
                </c:pt>
                <c:pt idx="78">
                  <c:v>635.8235</c:v>
                </c:pt>
                <c:pt idx="79">
                  <c:v>424.36</c:v>
                </c:pt>
                <c:pt idx="80">
                  <c:v>675.375</c:v>
                </c:pt>
                <c:pt idx="81">
                  <c:v>699.9412</c:v>
                </c:pt>
                <c:pt idx="82">
                  <c:v>639.1667</c:v>
                </c:pt>
                <c:pt idx="83">
                  <c:v>488.75</c:v>
                </c:pt>
                <c:pt idx="84">
                  <c:v>702.25</c:v>
                </c:pt>
                <c:pt idx="85">
                  <c:v>667.7143</c:v>
                </c:pt>
                <c:pt idx="86">
                  <c:v>644.0</c:v>
                </c:pt>
                <c:pt idx="87">
                  <c:v>662.2581</c:v>
                </c:pt>
                <c:pt idx="88">
                  <c:v>691.8235</c:v>
                </c:pt>
                <c:pt idx="89">
                  <c:v>617.8</c:v>
                </c:pt>
                <c:pt idx="90">
                  <c:v>675.2727</c:v>
                </c:pt>
                <c:pt idx="91">
                  <c:v>668.6364</c:v>
                </c:pt>
                <c:pt idx="92">
                  <c:v>518.2258</c:v>
                </c:pt>
                <c:pt idx="93">
                  <c:v>589.8095</c:v>
                </c:pt>
                <c:pt idx="94">
                  <c:v>649.5714</c:v>
                </c:pt>
                <c:pt idx="95">
                  <c:v>629.6154</c:v>
                </c:pt>
                <c:pt idx="96">
                  <c:v>492.65</c:v>
                </c:pt>
                <c:pt idx="97">
                  <c:v>636.05</c:v>
                </c:pt>
                <c:pt idx="98">
                  <c:v>622.0</c:v>
                </c:pt>
                <c:pt idx="99">
                  <c:v>633.1235</c:v>
                </c:pt>
                <c:pt idx="100">
                  <c:v>671.7971</c:v>
                </c:pt>
                <c:pt idx="101">
                  <c:v>638.7083</c:v>
                </c:pt>
                <c:pt idx="102">
                  <c:v>676.8571</c:v>
                </c:pt>
                <c:pt idx="103">
                  <c:v>707.0513</c:v>
                </c:pt>
                <c:pt idx="104">
                  <c:v>722.3947</c:v>
                </c:pt>
              </c:numCache>
            </c:numRef>
          </c:xVal>
          <c:yVal>
            <c:numRef>
              <c:f>Sheet1!$B$2:$B$106</c:f>
              <c:numCache>
                <c:formatCode>General</c:formatCode>
                <c:ptCount val="105"/>
                <c:pt idx="0">
                  <c:v>0.30994152046783624</c:v>
                </c:pt>
                <c:pt idx="1">
                  <c:v>0.35443037974683544</c:v>
                </c:pt>
                <c:pt idx="2">
                  <c:v>0.38953488372093026</c:v>
                </c:pt>
                <c:pt idx="3">
                  <c:v>0.4266666666666667</c:v>
                </c:pt>
                <c:pt idx="4">
                  <c:v>0.46853146853146854</c:v>
                </c:pt>
                <c:pt idx="5">
                  <c:v>0.48175182481751827</c:v>
                </c:pt>
                <c:pt idx="6">
                  <c:v>0.43846153846153846</c:v>
                </c:pt>
                <c:pt idx="7">
                  <c:v>0.42962962962962964</c:v>
                </c:pt>
                <c:pt idx="8">
                  <c:v>0.3838383838383838</c:v>
                </c:pt>
                <c:pt idx="9">
                  <c:v>0.43243243243243246</c:v>
                </c:pt>
                <c:pt idx="10">
                  <c:v>0.44886363636363635</c:v>
                </c:pt>
                <c:pt idx="11">
                  <c:v>0.37714285714285717</c:v>
                </c:pt>
                <c:pt idx="12">
                  <c:v>0.43902439024390244</c:v>
                </c:pt>
                <c:pt idx="13">
                  <c:v>0.4462809917355372</c:v>
                </c:pt>
                <c:pt idx="14">
                  <c:v>0.3822525597269625</c:v>
                </c:pt>
                <c:pt idx="15">
                  <c:v>0.3886255924170616</c:v>
                </c:pt>
                <c:pt idx="16">
                  <c:v>0.41304347826086957</c:v>
                </c:pt>
                <c:pt idx="17">
                  <c:v>0.34532374100719426</c:v>
                </c:pt>
                <c:pt idx="18">
                  <c:v>0.24083769633507854</c:v>
                </c:pt>
                <c:pt idx="19">
                  <c:v>0.2619047619047619</c:v>
                </c:pt>
                <c:pt idx="20">
                  <c:v>0.3212121212121212</c:v>
                </c:pt>
                <c:pt idx="21">
                  <c:v>0.17699115044247787</c:v>
                </c:pt>
                <c:pt idx="22">
                  <c:v>0.2206896551724138</c:v>
                </c:pt>
                <c:pt idx="23">
                  <c:v>0.18461538461538463</c:v>
                </c:pt>
                <c:pt idx="24">
                  <c:v>0.22608695652173913</c:v>
                </c:pt>
                <c:pt idx="25">
                  <c:v>0.31645569620253167</c:v>
                </c:pt>
                <c:pt idx="26">
                  <c:v>0.34146341463414637</c:v>
                </c:pt>
                <c:pt idx="27">
                  <c:v>0.3125</c:v>
                </c:pt>
                <c:pt idx="28">
                  <c:v>0.3375</c:v>
                </c:pt>
                <c:pt idx="29">
                  <c:v>0.3979591836734694</c:v>
                </c:pt>
                <c:pt idx="30">
                  <c:v>0.38666666666666666</c:v>
                </c:pt>
                <c:pt idx="31">
                  <c:v>0.35135135135135137</c:v>
                </c:pt>
                <c:pt idx="32">
                  <c:v>0.3218390804597701</c:v>
                </c:pt>
                <c:pt idx="33">
                  <c:v>0.3130434782608696</c:v>
                </c:pt>
                <c:pt idx="34">
                  <c:v>0.3475609756097561</c:v>
                </c:pt>
                <c:pt idx="35">
                  <c:v>0.3788546255506608</c:v>
                </c:pt>
                <c:pt idx="36">
                  <c:v>0.3284671532846715</c:v>
                </c:pt>
                <c:pt idx="37">
                  <c:v>0.297029702970297</c:v>
                </c:pt>
                <c:pt idx="38">
                  <c:v>0.3076923076923077</c:v>
                </c:pt>
                <c:pt idx="39">
                  <c:v>0.31521739130434784</c:v>
                </c:pt>
                <c:pt idx="40">
                  <c:v>0.3492063492063492</c:v>
                </c:pt>
                <c:pt idx="41">
                  <c:v>0.3229166666666667</c:v>
                </c:pt>
                <c:pt idx="42">
                  <c:v>0.32786885245901637</c:v>
                </c:pt>
                <c:pt idx="43">
                  <c:v>0.35570469798657717</c:v>
                </c:pt>
                <c:pt idx="44">
                  <c:v>0.2798165137614679</c:v>
                </c:pt>
                <c:pt idx="45">
                  <c:v>0.2896825396825397</c:v>
                </c:pt>
                <c:pt idx="46">
                  <c:v>0.36633663366336633</c:v>
                </c:pt>
                <c:pt idx="47">
                  <c:v>0.3274021352313167</c:v>
                </c:pt>
                <c:pt idx="48">
                  <c:v>0.31797235023041476</c:v>
                </c:pt>
                <c:pt idx="49">
                  <c:v>0.3649815043156597</c:v>
                </c:pt>
                <c:pt idx="50">
                  <c:v>0.3944954128440367</c:v>
                </c:pt>
                <c:pt idx="51">
                  <c:v>0.35428571428571426</c:v>
                </c:pt>
                <c:pt idx="52">
                  <c:v>0.3426294820717131</c:v>
                </c:pt>
                <c:pt idx="53">
                  <c:v>0.3282051282051282</c:v>
                </c:pt>
                <c:pt idx="54">
                  <c:v>0.2911392405063291</c:v>
                </c:pt>
                <c:pt idx="55">
                  <c:v>0.2953020134228188</c:v>
                </c:pt>
                <c:pt idx="56">
                  <c:v>0.2937062937062937</c:v>
                </c:pt>
                <c:pt idx="57">
                  <c:v>0.3067484662576687</c:v>
                </c:pt>
                <c:pt idx="58">
                  <c:v>0.28217821782178215</c:v>
                </c:pt>
                <c:pt idx="59">
                  <c:v>0.3191489361702128</c:v>
                </c:pt>
                <c:pt idx="60">
                  <c:v>0.3130841121495327</c:v>
                </c:pt>
                <c:pt idx="61">
                  <c:v>0.3515151515151515</c:v>
                </c:pt>
                <c:pt idx="62">
                  <c:v>0.33488372093023255</c:v>
                </c:pt>
                <c:pt idx="63">
                  <c:v>0.336283185840708</c:v>
                </c:pt>
                <c:pt idx="64">
                  <c:v>0.31800766283524906</c:v>
                </c:pt>
                <c:pt idx="65">
                  <c:v>0.30042918454935624</c:v>
                </c:pt>
                <c:pt idx="66">
                  <c:v>0.3644067796610169</c:v>
                </c:pt>
                <c:pt idx="67">
                  <c:v>0.29004329004329005</c:v>
                </c:pt>
                <c:pt idx="68">
                  <c:v>0.28654970760233917</c:v>
                </c:pt>
                <c:pt idx="69">
                  <c:v>0.3764705882352941</c:v>
                </c:pt>
                <c:pt idx="70">
                  <c:v>0.27956989247311825</c:v>
                </c:pt>
                <c:pt idx="71">
                  <c:v>0.2988505747126437</c:v>
                </c:pt>
                <c:pt idx="72">
                  <c:v>0.29545454545454547</c:v>
                </c:pt>
                <c:pt idx="73">
                  <c:v>0.20238095238095238</c:v>
                </c:pt>
                <c:pt idx="74">
                  <c:v>0.26136363636363635</c:v>
                </c:pt>
                <c:pt idx="75">
                  <c:v>0.2345679012345679</c:v>
                </c:pt>
                <c:pt idx="76">
                  <c:v>0.26666666666666666</c:v>
                </c:pt>
                <c:pt idx="77">
                  <c:v>0.28</c:v>
                </c:pt>
                <c:pt idx="78">
                  <c:v>0.2786885245901639</c:v>
                </c:pt>
                <c:pt idx="79">
                  <c:v>0.3125</c:v>
                </c:pt>
                <c:pt idx="80">
                  <c:v>0.27586206896551724</c:v>
                </c:pt>
                <c:pt idx="81">
                  <c:v>0.2537313432835821</c:v>
                </c:pt>
                <c:pt idx="82">
                  <c:v>0.23076923076923078</c:v>
                </c:pt>
                <c:pt idx="83">
                  <c:v>0.2727272727272727</c:v>
                </c:pt>
                <c:pt idx="84">
                  <c:v>0.2</c:v>
                </c:pt>
                <c:pt idx="85">
                  <c:v>0.22580645161290322</c:v>
                </c:pt>
                <c:pt idx="86">
                  <c:v>0.3116883116883117</c:v>
                </c:pt>
                <c:pt idx="87">
                  <c:v>0.2980769230769231</c:v>
                </c:pt>
                <c:pt idx="88">
                  <c:v>0.265625</c:v>
                </c:pt>
                <c:pt idx="89">
                  <c:v>0.22727272727272727</c:v>
                </c:pt>
                <c:pt idx="90">
                  <c:v>0.21153846153846154</c:v>
                </c:pt>
                <c:pt idx="91">
                  <c:v>0.2</c:v>
                </c:pt>
                <c:pt idx="92">
                  <c:v>0.37349397590361444</c:v>
                </c:pt>
                <c:pt idx="93">
                  <c:v>0.28</c:v>
                </c:pt>
                <c:pt idx="94">
                  <c:v>0.2413793103448276</c:v>
                </c:pt>
                <c:pt idx="95">
                  <c:v>0.3058823529411765</c:v>
                </c:pt>
                <c:pt idx="96">
                  <c:v>0.32</c:v>
                </c:pt>
                <c:pt idx="97">
                  <c:v>0.31007751937984496</c:v>
                </c:pt>
                <c:pt idx="98">
                  <c:v>0.30256410256410254</c:v>
                </c:pt>
                <c:pt idx="99">
                  <c:v>0.2988929889298893</c:v>
                </c:pt>
                <c:pt idx="100">
                  <c:v>0.3087248322147651</c:v>
                </c:pt>
                <c:pt idx="101">
                  <c:v>0.2938775510204082</c:v>
                </c:pt>
                <c:pt idx="102">
                  <c:v>0.26666666666666666</c:v>
                </c:pt>
                <c:pt idx="103">
                  <c:v>0.291044776119403</c:v>
                </c:pt>
                <c:pt idx="104">
                  <c:v>0.30645161290322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3.7632</c:v>
                </c:pt>
                <c:pt idx="1">
                  <c:v>690.3243</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numCache>
            </c:numRef>
          </c:xVal>
          <c:yVal>
            <c:numRef>
              <c:f>Sheet1!$B$109:$B$160</c:f>
              <c:numCache>
                <c:formatCode>General</c:formatCode>
                <c:ptCount val="52"/>
                <c:pt idx="0">
                  <c:v>0.25675675675675674</c:v>
                </c:pt>
                <c:pt idx="1">
                  <c:v>0.27205882352941174</c:v>
                </c:pt>
                <c:pt idx="2">
                  <c:v>0.2857142857142857</c:v>
                </c:pt>
                <c:pt idx="3">
                  <c:v>0.2945205479452055</c:v>
                </c:pt>
                <c:pt idx="4">
                  <c:v>0.2916666666666667</c:v>
                </c:pt>
                <c:pt idx="5">
                  <c:v>0.2833333333333333</c:v>
                </c:pt>
                <c:pt idx="6">
                  <c:v>0.2847682119205298</c:v>
                </c:pt>
                <c:pt idx="7">
                  <c:v>0.24615384615384617</c:v>
                </c:pt>
                <c:pt idx="8">
                  <c:v>0.3157894736842105</c:v>
                </c:pt>
                <c:pt idx="9">
                  <c:v>0.3504273504273504</c:v>
                </c:pt>
                <c:pt idx="10">
                  <c:v>0.30714285714285716</c:v>
                </c:pt>
                <c:pt idx="11">
                  <c:v>0.3641304347826087</c:v>
                </c:pt>
                <c:pt idx="12">
                  <c:v>0.3602150537634409</c:v>
                </c:pt>
                <c:pt idx="13">
                  <c:v>0.29936305732484075</c:v>
                </c:pt>
                <c:pt idx="14">
                  <c:v>0.30625</c:v>
                </c:pt>
                <c:pt idx="15">
                  <c:v>0.3308270676691729</c:v>
                </c:pt>
                <c:pt idx="16">
                  <c:v>0.3333333333333333</c:v>
                </c:pt>
                <c:pt idx="17">
                  <c:v>0.2857142857142857</c:v>
                </c:pt>
                <c:pt idx="18">
                  <c:v>0.3</c:v>
                </c:pt>
                <c:pt idx="19">
                  <c:v>0.3177570093457944</c:v>
                </c:pt>
                <c:pt idx="20">
                  <c:v>0.3253012048192771</c:v>
                </c:pt>
                <c:pt idx="21">
                  <c:v>0.25</c:v>
                </c:pt>
                <c:pt idx="22">
                  <c:v>0.3333333333333333</c:v>
                </c:pt>
                <c:pt idx="23">
                  <c:v>0.28205128205128205</c:v>
                </c:pt>
                <c:pt idx="24">
                  <c:v>0.30952380952380953</c:v>
                </c:pt>
                <c:pt idx="25">
                  <c:v>0.22807017543859648</c:v>
                </c:pt>
                <c:pt idx="26">
                  <c:v>0.17391304347826086</c:v>
                </c:pt>
                <c:pt idx="27">
                  <c:v>0.21428571428571427</c:v>
                </c:pt>
                <c:pt idx="28">
                  <c:v>0.3108108108108108</c:v>
                </c:pt>
                <c:pt idx="29">
                  <c:v>0.2727272727272727</c:v>
                </c:pt>
                <c:pt idx="30">
                  <c:v>0.25</c:v>
                </c:pt>
                <c:pt idx="31">
                  <c:v>0.23404255319148937</c:v>
                </c:pt>
                <c:pt idx="32">
                  <c:v>0.2903225806451613</c:v>
                </c:pt>
                <c:pt idx="33">
                  <c:v>0.2808988764044944</c:v>
                </c:pt>
                <c:pt idx="34">
                  <c:v>0.36551724137931035</c:v>
                </c:pt>
                <c:pt idx="35">
                  <c:v>0.25925925925925924</c:v>
                </c:pt>
                <c:pt idx="36">
                  <c:v>0.28</c:v>
                </c:pt>
                <c:pt idx="37">
                  <c:v>0.2153846153846154</c:v>
                </c:pt>
                <c:pt idx="38">
                  <c:v>0.288135593220339</c:v>
                </c:pt>
                <c:pt idx="39">
                  <c:v>0.30120481927710846</c:v>
                </c:pt>
                <c:pt idx="40">
                  <c:v>0.32786885245901637</c:v>
                </c:pt>
                <c:pt idx="41">
                  <c:v>0.30985915492957744</c:v>
                </c:pt>
                <c:pt idx="42">
                  <c:v>0.24691358024691357</c:v>
                </c:pt>
                <c:pt idx="43">
                  <c:v>0.30097087378640774</c:v>
                </c:pt>
                <c:pt idx="44">
                  <c:v>0.3577981651376147</c:v>
                </c:pt>
                <c:pt idx="45">
                  <c:v>0.31683168316831684</c:v>
                </c:pt>
                <c:pt idx="46">
                  <c:v>0.25477707006369427</c:v>
                </c:pt>
                <c:pt idx="47">
                  <c:v>0.3</c:v>
                </c:pt>
                <c:pt idx="48">
                  <c:v>0.2573099415204678</c:v>
                </c:pt>
                <c:pt idx="49">
                  <c:v>0.28169014084507044</c:v>
                </c:pt>
                <c:pt idx="50">
                  <c:v>0.2849462365591398</c:v>
                </c:pt>
                <c:pt idx="51">
                  <c:v>0.302521008403361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286787390407267</c:v>
                </c:pt>
              </c:numCache>
            </c:numRef>
          </c:xVal>
          <c:yVal>
            <c:numRef>
              <c:f>Sheet1!$B$163:$B$164</c:f>
              <c:numCache>
                <c:formatCode>General</c:formatCode>
                <c:ptCount val="2"/>
                <c:pt idx="0">
                  <c:v>0.40919847732008974</c:v>
                </c:pt>
                <c:pt idx="1">
                  <c:v>0.4091984773200897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286787390407267</c:v>
                </c:pt>
                <c:pt idx="1">
                  <c:v>6.286787390407267</c:v>
                </c:pt>
              </c:numCache>
            </c:numRef>
          </c:xVal>
          <c:yVal>
            <c:numRef>
              <c:f>Sheet1!$B$167:$B$168</c:f>
              <c:numCache>
                <c:formatCode>General</c:formatCode>
                <c:ptCount val="2"/>
                <c:pt idx="0">
                  <c:v>0.409198477320089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42.752569832695</c:v>
                </c:pt>
              </c:numCache>
            </c:numRef>
          </c:xVal>
          <c:yVal>
            <c:numRef>
              <c:f>Sheet1!$B$171:$B$172</c:f>
              <c:numCache>
                <c:formatCode>General</c:formatCode>
                <c:ptCount val="2"/>
                <c:pt idx="0">
                  <c:v>0.31772781956330476</c:v>
                </c:pt>
                <c:pt idx="1">
                  <c:v>0.317727819563304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42.752569832695</c:v>
                </c:pt>
                <c:pt idx="1">
                  <c:v>542.752569832695</c:v>
                </c:pt>
              </c:numCache>
            </c:numRef>
          </c:xVal>
          <c:yVal>
            <c:numRef>
              <c:f>Sheet1!$B$175:$B$176</c:f>
              <c:numCache>
                <c:formatCode>General</c:formatCode>
                <c:ptCount val="2"/>
                <c:pt idx="0">
                  <c:v>0.317727819563304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72.5788405040797</c:v>
                </c:pt>
              </c:numCache>
            </c:numRef>
          </c:xVal>
          <c:yVal>
            <c:numRef>
              <c:f>Sheet1!$B$179:$B$180</c:f>
              <c:numCache>
                <c:formatCode>General</c:formatCode>
                <c:ptCount val="2"/>
                <c:pt idx="0">
                  <c:v>0.29559165587666836</c:v>
                </c:pt>
                <c:pt idx="1">
                  <c:v>0.295591655876668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72.5788405040797</c:v>
                </c:pt>
                <c:pt idx="1">
                  <c:v>672.5788405040797</c:v>
                </c:pt>
              </c:numCache>
            </c:numRef>
          </c:xVal>
          <c:yVal>
            <c:numRef>
              <c:f>Sheet1!$B$183:$B$184</c:f>
              <c:numCache>
                <c:formatCode>General</c:formatCode>
                <c:ptCount val="2"/>
                <c:pt idx="0">
                  <c:v>0.29559165587666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3.7632</c:v>
                </c:pt>
                <c:pt idx="1">
                  <c:v>690.3243</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83.5</c:v>
                </c:pt>
                <c:pt idx="33">
                  <c:v>763.44</c:v>
                </c:pt>
                <c:pt idx="34">
                  <c:v>769.1321</c:v>
                </c:pt>
                <c:pt idx="35">
                  <c:v>779.5714</c:v>
                </c:pt>
                <c:pt idx="36">
                  <c:v>794.0714</c:v>
                </c:pt>
                <c:pt idx="37">
                  <c:v>753.2857</c:v>
                </c:pt>
                <c:pt idx="38">
                  <c:v>751.1765</c:v>
                </c:pt>
                <c:pt idx="39">
                  <c:v>734.12</c:v>
                </c:pt>
                <c:pt idx="40">
                  <c:v>718.85</c:v>
                </c:pt>
                <c:pt idx="41">
                  <c:v>742.2273</c:v>
                </c:pt>
                <c:pt idx="42">
                  <c:v>711.05</c:v>
                </c:pt>
                <c:pt idx="43">
                  <c:v>721.8065</c:v>
                </c:pt>
                <c:pt idx="44">
                  <c:v>696.2564</c:v>
                </c:pt>
                <c:pt idx="45">
                  <c:v>710.1563</c:v>
                </c:pt>
                <c:pt idx="46">
                  <c:v>707.825</c:v>
                </c:pt>
                <c:pt idx="47">
                  <c:v>690.2708</c:v>
                </c:pt>
                <c:pt idx="48">
                  <c:v>687.6818</c:v>
                </c:pt>
                <c:pt idx="49">
                  <c:v>733.4333</c:v>
                </c:pt>
                <c:pt idx="50">
                  <c:v>755.6604</c:v>
                </c:pt>
                <c:pt idx="51">
                  <c:v>712.5139</c:v>
                </c:pt>
                <c:pt idx="52">
                  <c:v>542.752569832695</c:v>
                </c:pt>
                <c:pt idx="53">
                  <c:v>6.286787390407267</c:v>
                </c:pt>
                <c:pt idx="54">
                  <c:v>672.5788405040797</c:v>
                </c:pt>
              </c:numCache>
            </c:numRef>
          </c:xVal>
          <c:yVal>
            <c:numRef>
              <c:f>Sheet1!$B$187:$B$241</c:f>
              <c:numCache>
                <c:formatCode>General</c:formatCode>
                <c:ptCount val="55"/>
                <c:pt idx="0">
                  <c:v>0.29197959456601713</c:v>
                </c:pt>
                <c:pt idx="1">
                  <c:v>0.2925659477972107</c:v>
                </c:pt>
                <c:pt idx="2">
                  <c:v>0.2956659863669924</c:v>
                </c:pt>
                <c:pt idx="3">
                  <c:v>0.29090825394617986</c:v>
                </c:pt>
                <c:pt idx="4">
                  <c:v>0.28785924783506117</c:v>
                </c:pt>
                <c:pt idx="5">
                  <c:v>0.2900686651399569</c:v>
                </c:pt>
                <c:pt idx="6">
                  <c:v>0.3016977228903246</c:v>
                </c:pt>
                <c:pt idx="7">
                  <c:v>0.29835450860204915</c:v>
                </c:pt>
                <c:pt idx="8">
                  <c:v>0.28718399275305945</c:v>
                </c:pt>
                <c:pt idx="9">
                  <c:v>0.2973954121103036</c:v>
                </c:pt>
                <c:pt idx="10">
                  <c:v>0.2912849529469289</c:v>
                </c:pt>
                <c:pt idx="11">
                  <c:v>0.29679482162452153</c:v>
                </c:pt>
                <c:pt idx="12">
                  <c:v>0.29765244997009144</c:v>
                </c:pt>
                <c:pt idx="13">
                  <c:v>0.29643767966690193</c:v>
                </c:pt>
                <c:pt idx="14">
                  <c:v>0.29468122871577884</c:v>
                </c:pt>
                <c:pt idx="15">
                  <c:v>0.2960274932793122</c:v>
                </c:pt>
                <c:pt idx="16">
                  <c:v>0.2880576998184821</c:v>
                </c:pt>
                <c:pt idx="17">
                  <c:v>0.2891413680252266</c:v>
                </c:pt>
                <c:pt idx="18">
                  <c:v>0.3287287449582418</c:v>
                </c:pt>
                <c:pt idx="19">
                  <c:v>0.3044212670666088</c:v>
                </c:pt>
                <c:pt idx="20">
                  <c:v>0.2902846792458045</c:v>
                </c:pt>
                <c:pt idx="21">
                  <c:v>0.3048806273969931</c:v>
                </c:pt>
                <c:pt idx="22">
                  <c:v>0.2935116595645825</c:v>
                </c:pt>
                <c:pt idx="23">
                  <c:v>0.3008830279663763</c:v>
                </c:pt>
                <c:pt idx="24">
                  <c:v>0.30142198051762226</c:v>
                </c:pt>
                <c:pt idx="25">
                  <c:v>0.2966740351436766</c:v>
                </c:pt>
                <c:pt idx="26">
                  <c:v>0.27710519299604275</c:v>
                </c:pt>
                <c:pt idx="27">
                  <c:v>0.2856020717875276</c:v>
                </c:pt>
                <c:pt idx="28">
                  <c:v>0.2833990825604521</c:v>
                </c:pt>
                <c:pt idx="29">
                  <c:v>0.28745869503889965</c:v>
                </c:pt>
                <c:pt idx="30">
                  <c:v>0.2816826323270114</c:v>
                </c:pt>
                <c:pt idx="31">
                  <c:v>0.27614415273540727</c:v>
                </c:pt>
                <c:pt idx="32">
                  <c:v>0.27667892788860027</c:v>
                </c:pt>
                <c:pt idx="33">
                  <c:v>0.2800992791107185</c:v>
                </c:pt>
                <c:pt idx="34">
                  <c:v>0.2791287416634893</c:v>
                </c:pt>
                <c:pt idx="35">
                  <c:v>0.27734877792903967</c:v>
                </c:pt>
                <c:pt idx="36">
                  <c:v>0.27487644030587344</c:v>
                </c:pt>
                <c:pt idx="37">
                  <c:v>0.28183064862291973</c:v>
                </c:pt>
                <c:pt idx="38">
                  <c:v>0.2821902799687668</c:v>
                </c:pt>
                <c:pt idx="39">
                  <c:v>0.2850985162908037</c:v>
                </c:pt>
                <c:pt idx="40">
                  <c:v>0.2877021435670622</c:v>
                </c:pt>
                <c:pt idx="41">
                  <c:v>0.2837161726485764</c:v>
                </c:pt>
                <c:pt idx="42">
                  <c:v>0.28903209070228264</c:v>
                </c:pt>
                <c:pt idx="43">
                  <c:v>0.2871980424510007</c:v>
                </c:pt>
                <c:pt idx="44">
                  <c:v>0.29155448889966695</c:v>
                </c:pt>
                <c:pt idx="45">
                  <c:v>0.2891844719528912</c:v>
                </c:pt>
                <c:pt idx="46">
                  <c:v>0.2895819726908834</c:v>
                </c:pt>
                <c:pt idx="47">
                  <c:v>0.29257506987050996</c:v>
                </c:pt>
                <c:pt idx="48">
                  <c:v>0.29301651001577733</c:v>
                </c:pt>
                <c:pt idx="49">
                  <c:v>0.28521560279051594</c:v>
                </c:pt>
                <c:pt idx="50">
                  <c:v>0.2814257479226623</c:v>
                </c:pt>
                <c:pt idx="51">
                  <c:v>0.28878248690596864</c:v>
                </c:pt>
                <c:pt idx="52">
                  <c:v>0.31772781956330476</c:v>
                </c:pt>
                <c:pt idx="53">
                  <c:v>0.40919847732008974</c:v>
                </c:pt>
                <c:pt idx="54">
                  <c:v>0.29559165587666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53.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81021897810219"/>
          <c:min val="0.13913043478260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2</c:f>
              <c:numCache>
                <c:formatCode>General</c:formatCode>
                <c:ptCount val="111"/>
                <c:pt idx="0">
                  <c:v>3.8650917701516376</c:v>
                </c:pt>
                <c:pt idx="1">
                  <c:v>4.1617506314492205</c:v>
                </c:pt>
                <c:pt idx="2">
                  <c:v>4.069906195949546</c:v>
                </c:pt>
                <c:pt idx="3">
                  <c:v>3.885543402777778</c:v>
                </c:pt>
                <c:pt idx="4">
                  <c:v>3.807515460992908</c:v>
                </c:pt>
                <c:pt idx="5">
                  <c:v>4.2347914024692495</c:v>
                </c:pt>
                <c:pt idx="6">
                  <c:v>3.61289474849275</c:v>
                </c:pt>
                <c:pt idx="7">
                  <c:v>5.068474074074073</c:v>
                </c:pt>
                <c:pt idx="8">
                  <c:v>3.6140201998242514</c:v>
                </c:pt>
                <c:pt idx="9">
                  <c:v>3.57918418079096</c:v>
                </c:pt>
                <c:pt idx="10">
                  <c:v>2.834939658141211</c:v>
                </c:pt>
                <c:pt idx="11">
                  <c:v>3.1393578894972625</c:v>
                </c:pt>
                <c:pt idx="12">
                  <c:v>3.1735834980237154</c:v>
                </c:pt>
                <c:pt idx="13">
                  <c:v>3.114591336180598</c:v>
                </c:pt>
                <c:pt idx="14">
                  <c:v>5.029467590310699</c:v>
                </c:pt>
                <c:pt idx="15">
                  <c:v>6.582104996481352</c:v>
                </c:pt>
                <c:pt idx="16">
                  <c:v>5.8677042722732216</c:v>
                </c:pt>
                <c:pt idx="17">
                  <c:v>4.835828354774862</c:v>
                </c:pt>
                <c:pt idx="18">
                  <c:v>7.842493229744728</c:v>
                </c:pt>
                <c:pt idx="19">
                  <c:v>12.671544530044898</c:v>
                </c:pt>
                <c:pt idx="20">
                  <c:v>13.781496017810829</c:v>
                </c:pt>
                <c:pt idx="21">
                  <c:v>14.57772470690404</c:v>
                </c:pt>
                <c:pt idx="22">
                  <c:v>16.551326482696236</c:v>
                </c:pt>
                <c:pt idx="23">
                  <c:v>25.032450267605366</c:v>
                </c:pt>
                <c:pt idx="24">
                  <c:v>22.3717478781915</c:v>
                </c:pt>
                <c:pt idx="25">
                  <c:v>14.406309859154929</c:v>
                </c:pt>
                <c:pt idx="26">
                  <c:v>7.243355813953488</c:v>
                </c:pt>
                <c:pt idx="27">
                  <c:v>4.391438127090301</c:v>
                </c:pt>
                <c:pt idx="28">
                  <c:v>3.5772698199418693</c:v>
                </c:pt>
                <c:pt idx="29">
                  <c:v>2.593158001752064</c:v>
                </c:pt>
                <c:pt idx="30">
                  <c:v>0.0</c:v>
                </c:pt>
                <c:pt idx="31">
                  <c:v>4.114695340501792</c:v>
                </c:pt>
                <c:pt idx="32">
                  <c:v>3.5075701086956523</c:v>
                </c:pt>
                <c:pt idx="33">
                  <c:v>3.3359772639587892</c:v>
                </c:pt>
                <c:pt idx="34">
                  <c:v>2.34743685616177</c:v>
                </c:pt>
                <c:pt idx="35">
                  <c:v>2.851406570464905</c:v>
                </c:pt>
                <c:pt idx="36">
                  <c:v>2.2223450079762963</c:v>
                </c:pt>
                <c:pt idx="37">
                  <c:v>2.7773237965485924</c:v>
                </c:pt>
                <c:pt idx="38">
                  <c:v>2.8834279069239472</c:v>
                </c:pt>
                <c:pt idx="39">
                  <c:v>2.9693606060092526</c:v>
                </c:pt>
                <c:pt idx="40">
                  <c:v>2.360354512635379</c:v>
                </c:pt>
                <c:pt idx="41">
                  <c:v>2.6461258851298193</c:v>
                </c:pt>
                <c:pt idx="42">
                  <c:v>2.03390243902439</c:v>
                </c:pt>
                <c:pt idx="43">
                  <c:v>2.530521755368814</c:v>
                </c:pt>
                <c:pt idx="44">
                  <c:v>2.0529895506016134</c:v>
                </c:pt>
                <c:pt idx="45">
                  <c:v>2.3949643301910313</c:v>
                </c:pt>
                <c:pt idx="46">
                  <c:v>2.0079523738146627</c:v>
                </c:pt>
                <c:pt idx="47">
                  <c:v>2.123702549155289</c:v>
                </c:pt>
                <c:pt idx="48">
                  <c:v>2.158188412342918</c:v>
                </c:pt>
                <c:pt idx="49">
                  <c:v>1.9506691082802547</c:v>
                </c:pt>
                <c:pt idx="50">
                  <c:v>2.0189585150867906</c:v>
                </c:pt>
                <c:pt idx="51">
                  <c:v>2.0481908325537885</c:v>
                </c:pt>
                <c:pt idx="52">
                  <c:v>2.134846666666667</c:v>
                </c:pt>
                <c:pt idx="53">
                  <c:v>2.2101043333333332</c:v>
                </c:pt>
                <c:pt idx="54">
                  <c:v>2.0915739403095905</c:v>
                </c:pt>
                <c:pt idx="55">
                  <c:v>1.976783076923077</c:v>
                </c:pt>
                <c:pt idx="56">
                  <c:v>2.0343931104301176</c:v>
                </c:pt>
                <c:pt idx="57">
                  <c:v>2.115133333333333</c:v>
                </c:pt>
                <c:pt idx="58">
                  <c:v>1.9311302325581394</c:v>
                </c:pt>
                <c:pt idx="59">
                  <c:v>2.0246771428571426</c:v>
                </c:pt>
                <c:pt idx="60">
                  <c:v>2.0667790322580646</c:v>
                </c:pt>
                <c:pt idx="61">
                  <c:v>2.1377586666666666</c:v>
                </c:pt>
                <c:pt idx="62">
                  <c:v>1.8771218285714286</c:v>
                </c:pt>
                <c:pt idx="63">
                  <c:v>2.006522039215686</c:v>
                </c:pt>
                <c:pt idx="64">
                  <c:v>1.9649845284372771</c:v>
                </c:pt>
                <c:pt idx="65">
                  <c:v>1.8474837186042514</c:v>
                </c:pt>
                <c:pt idx="66">
                  <c:v>2.117229982964225</c:v>
                </c:pt>
                <c:pt idx="67">
                  <c:v>1.9536667099573468</c:v>
                </c:pt>
                <c:pt idx="68">
                  <c:v>1.8712019047619046</c:v>
                </c:pt>
                <c:pt idx="69">
                  <c:v>1.763076923076923</c:v>
                </c:pt>
                <c:pt idx="70">
                  <c:v>2.84448689516129</c:v>
                </c:pt>
                <c:pt idx="71">
                  <c:v>2.586018770187259</c:v>
                </c:pt>
                <c:pt idx="72">
                  <c:v>2.6793829065056936</c:v>
                </c:pt>
                <c:pt idx="73">
                  <c:v>2.582591881918819</c:v>
                </c:pt>
                <c:pt idx="74">
                  <c:v>3.5768007652593834</c:v>
                </c:pt>
                <c:pt idx="75">
                  <c:v>3.7979343927398292</c:v>
                </c:pt>
                <c:pt idx="76">
                  <c:v>4.8282237709660025</c:v>
                </c:pt>
                <c:pt idx="77">
                  <c:v>3.689972171808832</c:v>
                </c:pt>
                <c:pt idx="78">
                  <c:v>3.6229259259259257</c:v>
                </c:pt>
                <c:pt idx="79">
                  <c:v>6.178422402823356</c:v>
                </c:pt>
                <c:pt idx="80">
                  <c:v>5.502036659877801</c:v>
                </c:pt>
                <c:pt idx="81">
                  <c:v>3.845830769230769</c:v>
                </c:pt>
                <c:pt idx="82">
                  <c:v>6.116427751196172</c:v>
                </c:pt>
                <c:pt idx="83">
                  <c:v>4.5087638376383765</c:v>
                </c:pt>
                <c:pt idx="84">
                  <c:v>5.266876316719078</c:v>
                </c:pt>
                <c:pt idx="85">
                  <c:v>2.2257143333333334</c:v>
                </c:pt>
                <c:pt idx="86">
                  <c:v>2.24</c:v>
                </c:pt>
                <c:pt idx="87">
                  <c:v>2.1024066666666665</c:v>
                </c:pt>
                <c:pt idx="88">
                  <c:v>2.165331768388106</c:v>
                </c:pt>
                <c:pt idx="89">
                  <c:v>1.6474666666666666</c:v>
                </c:pt>
                <c:pt idx="90">
                  <c:v>2.50101</c:v>
                </c:pt>
                <c:pt idx="91">
                  <c:v>1.9811448888888887</c:v>
                </c:pt>
                <c:pt idx="92">
                  <c:v>1.7274193333333334</c:v>
                </c:pt>
                <c:pt idx="93">
                  <c:v>2.097100444444444</c:v>
                </c:pt>
                <c:pt idx="94">
                  <c:v>2.0378710588235296</c:v>
                </c:pt>
                <c:pt idx="95">
                  <c:v>2.189966608695652</c:v>
                </c:pt>
                <c:pt idx="96">
                  <c:v>1.7602501116569897</c:v>
                </c:pt>
                <c:pt idx="97">
                  <c:v>1.914989000216473</c:v>
                </c:pt>
                <c:pt idx="98">
                  <c:v>2.109189555781621</c:v>
                </c:pt>
                <c:pt idx="99">
                  <c:v>2.040837476263372</c:v>
                </c:pt>
                <c:pt idx="100">
                  <c:v>2.337936259466803</c:v>
                </c:pt>
                <c:pt idx="101">
                  <c:v>2.3477814176636738</c:v>
                </c:pt>
                <c:pt idx="102">
                  <c:v>2.161619481037924</c:v>
                </c:pt>
                <c:pt idx="103">
                  <c:v>2.318200983606557</c:v>
                </c:pt>
                <c:pt idx="104">
                  <c:v>2.402976133056133</c:v>
                </c:pt>
                <c:pt idx="105">
                  <c:v>0.0</c:v>
                </c:pt>
                <c:pt idx="106">
                  <c:v>0.0</c:v>
                </c:pt>
                <c:pt idx="107">
                  <c:v>0.0</c:v>
                </c:pt>
                <c:pt idx="108">
                  <c:v>0.0</c:v>
                </c:pt>
                <c:pt idx="109">
                  <c:v>0.0</c:v>
                </c:pt>
                <c:pt idx="110">
                  <c:v>0.0</c:v>
                </c:pt>
              </c:numCache>
            </c:numRef>
          </c:xVal>
          <c:yVal>
            <c:numRef>
              <c:f>Sheet1!$B$2:$B$112</c:f>
              <c:numCache>
                <c:formatCode>General</c:formatCode>
                <c:ptCount val="111"/>
                <c:pt idx="0">
                  <c:v>0.30994152046783624</c:v>
                </c:pt>
                <c:pt idx="1">
                  <c:v>0.35443037974683544</c:v>
                </c:pt>
                <c:pt idx="2">
                  <c:v>0.38953488372093026</c:v>
                </c:pt>
                <c:pt idx="3">
                  <c:v>0.4266666666666667</c:v>
                </c:pt>
                <c:pt idx="4">
                  <c:v>0.46853146853146854</c:v>
                </c:pt>
                <c:pt idx="5">
                  <c:v>0.48175182481751827</c:v>
                </c:pt>
                <c:pt idx="6">
                  <c:v>0.43846153846153846</c:v>
                </c:pt>
                <c:pt idx="7">
                  <c:v>0.42962962962962964</c:v>
                </c:pt>
                <c:pt idx="8">
                  <c:v>0.3838383838383838</c:v>
                </c:pt>
                <c:pt idx="9">
                  <c:v>0.43243243243243246</c:v>
                </c:pt>
                <c:pt idx="10">
                  <c:v>0.44886363636363635</c:v>
                </c:pt>
                <c:pt idx="11">
                  <c:v>0.37714285714285717</c:v>
                </c:pt>
                <c:pt idx="12">
                  <c:v>0.43902439024390244</c:v>
                </c:pt>
                <c:pt idx="13">
                  <c:v>0.4462809917355372</c:v>
                </c:pt>
                <c:pt idx="14">
                  <c:v>0.3822525597269625</c:v>
                </c:pt>
                <c:pt idx="15">
                  <c:v>0.3886255924170616</c:v>
                </c:pt>
                <c:pt idx="16">
                  <c:v>0.41304347826086957</c:v>
                </c:pt>
                <c:pt idx="17">
                  <c:v>0.34532374100719426</c:v>
                </c:pt>
                <c:pt idx="18">
                  <c:v>0.24083769633507854</c:v>
                </c:pt>
                <c:pt idx="19">
                  <c:v>0.2619047619047619</c:v>
                </c:pt>
                <c:pt idx="20">
                  <c:v>0.3212121212121212</c:v>
                </c:pt>
                <c:pt idx="21">
                  <c:v>0.17699115044247787</c:v>
                </c:pt>
                <c:pt idx="22">
                  <c:v>0.2206896551724138</c:v>
                </c:pt>
                <c:pt idx="23">
                  <c:v>0.18461538461538463</c:v>
                </c:pt>
                <c:pt idx="24">
                  <c:v>0.22608695652173913</c:v>
                </c:pt>
                <c:pt idx="25">
                  <c:v>0.31645569620253167</c:v>
                </c:pt>
                <c:pt idx="26">
                  <c:v>0.34146341463414637</c:v>
                </c:pt>
                <c:pt idx="27">
                  <c:v>0.3125</c:v>
                </c:pt>
                <c:pt idx="28">
                  <c:v>0.3375</c:v>
                </c:pt>
                <c:pt idx="29">
                  <c:v>0.3979591836734694</c:v>
                </c:pt>
                <c:pt idx="30">
                  <c:v>0.38666666666666666</c:v>
                </c:pt>
                <c:pt idx="31">
                  <c:v>0.35135135135135137</c:v>
                </c:pt>
                <c:pt idx="32">
                  <c:v>0.3218390804597701</c:v>
                </c:pt>
                <c:pt idx="33">
                  <c:v>0.3130434782608696</c:v>
                </c:pt>
                <c:pt idx="34">
                  <c:v>0.3475609756097561</c:v>
                </c:pt>
                <c:pt idx="35">
                  <c:v>0.3788546255506608</c:v>
                </c:pt>
                <c:pt idx="36">
                  <c:v>0.3284671532846715</c:v>
                </c:pt>
                <c:pt idx="37">
                  <c:v>0.297029702970297</c:v>
                </c:pt>
                <c:pt idx="38">
                  <c:v>0.3076923076923077</c:v>
                </c:pt>
                <c:pt idx="39">
                  <c:v>0.31521739130434784</c:v>
                </c:pt>
                <c:pt idx="40">
                  <c:v>0.3492063492063492</c:v>
                </c:pt>
                <c:pt idx="41">
                  <c:v>0.3229166666666667</c:v>
                </c:pt>
                <c:pt idx="42">
                  <c:v>0.32786885245901637</c:v>
                </c:pt>
                <c:pt idx="43">
                  <c:v>0.35570469798657717</c:v>
                </c:pt>
                <c:pt idx="44">
                  <c:v>0.2798165137614679</c:v>
                </c:pt>
                <c:pt idx="45">
                  <c:v>0.2896825396825397</c:v>
                </c:pt>
                <c:pt idx="46">
                  <c:v>0.36633663366336633</c:v>
                </c:pt>
                <c:pt idx="47">
                  <c:v>0.3274021352313167</c:v>
                </c:pt>
                <c:pt idx="48">
                  <c:v>0.31797235023041476</c:v>
                </c:pt>
                <c:pt idx="49">
                  <c:v>0.3649815043156597</c:v>
                </c:pt>
                <c:pt idx="50">
                  <c:v>0.3944954128440367</c:v>
                </c:pt>
                <c:pt idx="51">
                  <c:v>0.35428571428571426</c:v>
                </c:pt>
                <c:pt idx="52">
                  <c:v>0.3426294820717131</c:v>
                </c:pt>
                <c:pt idx="53">
                  <c:v>0.3282051282051282</c:v>
                </c:pt>
                <c:pt idx="54">
                  <c:v>0.2911392405063291</c:v>
                </c:pt>
                <c:pt idx="55">
                  <c:v>0.2953020134228188</c:v>
                </c:pt>
                <c:pt idx="56">
                  <c:v>0.2937062937062937</c:v>
                </c:pt>
                <c:pt idx="57">
                  <c:v>0.3067484662576687</c:v>
                </c:pt>
                <c:pt idx="58">
                  <c:v>0.28217821782178215</c:v>
                </c:pt>
                <c:pt idx="59">
                  <c:v>0.3191489361702128</c:v>
                </c:pt>
                <c:pt idx="60">
                  <c:v>0.3130841121495327</c:v>
                </c:pt>
                <c:pt idx="61">
                  <c:v>0.3515151515151515</c:v>
                </c:pt>
                <c:pt idx="62">
                  <c:v>0.33488372093023255</c:v>
                </c:pt>
                <c:pt idx="63">
                  <c:v>0.336283185840708</c:v>
                </c:pt>
                <c:pt idx="64">
                  <c:v>0.31800766283524906</c:v>
                </c:pt>
                <c:pt idx="65">
                  <c:v>0.30042918454935624</c:v>
                </c:pt>
                <c:pt idx="66">
                  <c:v>0.3644067796610169</c:v>
                </c:pt>
                <c:pt idx="67">
                  <c:v>0.29004329004329005</c:v>
                </c:pt>
                <c:pt idx="68">
                  <c:v>0.28654970760233917</c:v>
                </c:pt>
                <c:pt idx="69">
                  <c:v>0.3764705882352941</c:v>
                </c:pt>
                <c:pt idx="70">
                  <c:v>0.27956989247311825</c:v>
                </c:pt>
                <c:pt idx="71">
                  <c:v>0.2988505747126437</c:v>
                </c:pt>
                <c:pt idx="72">
                  <c:v>0.29545454545454547</c:v>
                </c:pt>
                <c:pt idx="73">
                  <c:v>0.20238095238095238</c:v>
                </c:pt>
                <c:pt idx="74">
                  <c:v>0.26136363636363635</c:v>
                </c:pt>
                <c:pt idx="75">
                  <c:v>0.2345679012345679</c:v>
                </c:pt>
                <c:pt idx="76">
                  <c:v>0.26666666666666666</c:v>
                </c:pt>
                <c:pt idx="77">
                  <c:v>0.28</c:v>
                </c:pt>
                <c:pt idx="78">
                  <c:v>0.2786885245901639</c:v>
                </c:pt>
                <c:pt idx="79">
                  <c:v>0.3125</c:v>
                </c:pt>
                <c:pt idx="80">
                  <c:v>0.27586206896551724</c:v>
                </c:pt>
                <c:pt idx="81">
                  <c:v>0.2537313432835821</c:v>
                </c:pt>
                <c:pt idx="82">
                  <c:v>0.23076923076923078</c:v>
                </c:pt>
                <c:pt idx="83">
                  <c:v>0.2727272727272727</c:v>
                </c:pt>
                <c:pt idx="84">
                  <c:v>0.2</c:v>
                </c:pt>
                <c:pt idx="85">
                  <c:v>0.22580645161290322</c:v>
                </c:pt>
                <c:pt idx="86">
                  <c:v>0.3116883116883117</c:v>
                </c:pt>
                <c:pt idx="87">
                  <c:v>0.2980769230769231</c:v>
                </c:pt>
                <c:pt idx="88">
                  <c:v>0.265625</c:v>
                </c:pt>
                <c:pt idx="89">
                  <c:v>0.22727272727272727</c:v>
                </c:pt>
                <c:pt idx="90">
                  <c:v>0.21153846153846154</c:v>
                </c:pt>
                <c:pt idx="91">
                  <c:v>0.2</c:v>
                </c:pt>
                <c:pt idx="92">
                  <c:v>0.37349397590361444</c:v>
                </c:pt>
                <c:pt idx="93">
                  <c:v>0.28</c:v>
                </c:pt>
                <c:pt idx="94">
                  <c:v>0.2413793103448276</c:v>
                </c:pt>
                <c:pt idx="95">
                  <c:v>0.3058823529411765</c:v>
                </c:pt>
                <c:pt idx="96">
                  <c:v>0.32</c:v>
                </c:pt>
                <c:pt idx="97">
                  <c:v>0.31007751937984496</c:v>
                </c:pt>
                <c:pt idx="98">
                  <c:v>0.30256410256410254</c:v>
                </c:pt>
                <c:pt idx="99">
                  <c:v>0.2988929889298893</c:v>
                </c:pt>
                <c:pt idx="100">
                  <c:v>0.3087248322147651</c:v>
                </c:pt>
                <c:pt idx="101">
                  <c:v>0.2938775510204082</c:v>
                </c:pt>
                <c:pt idx="102">
                  <c:v>0.26666666666666666</c:v>
                </c:pt>
                <c:pt idx="103">
                  <c:v>0.291044776119403</c:v>
                </c:pt>
                <c:pt idx="104">
                  <c:v>0.3064516129032258</c:v>
                </c:pt>
                <c:pt idx="105">
                  <c:v>0.25</c:v>
                </c:pt>
                <c:pt idx="106">
                  <c:v>0.23404255319148937</c:v>
                </c:pt>
                <c:pt idx="107">
                  <c:v>0.288135593220339</c:v>
                </c:pt>
                <c:pt idx="108">
                  <c:v>0.32786885245901637</c:v>
                </c:pt>
                <c:pt idx="109">
                  <c:v>0.30985915492957744</c:v>
                </c:pt>
                <c:pt idx="110">
                  <c:v>0.24691358024691357</c:v>
                </c:pt>
              </c:numCache>
            </c:numRef>
          </c:yVal>
          <c:smooth val="0"/>
          <c:extLst>
            <c:ext xmlns:c16="http://schemas.microsoft.com/office/drawing/2014/chart" uri="{C3380CC4-5D6E-409C-BE32-E72D297353CC}">
              <c16:uniqueId val="{00000000-096C-4121-9522-6AB7243CCAAE}"/>
            </c:ext>
          </c:extLst>
        </c:ser>
        <c:ser>
          <c:idx val="1"/>
          <c:order val="1"/>
          <c:tx>
            <c:strRef>
              <c:f>Sheet1!$B$11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5:$A$154</c:f>
              <c:numCache>
                <c:formatCode>General</c:formatCode>
                <c:ptCount val="40"/>
                <c:pt idx="0">
                  <c:v>2.4641858928707796</c:v>
                </c:pt>
                <c:pt idx="1">
                  <c:v>2.6394748765478124</c:v>
                </c:pt>
                <c:pt idx="2">
                  <c:v>2.682134477254589</c:v>
                </c:pt>
                <c:pt idx="3">
                  <c:v>2.4068399911846745</c:v>
                </c:pt>
                <c:pt idx="4">
                  <c:v>2.432007452574526</c:v>
                </c:pt>
                <c:pt idx="5">
                  <c:v>2.211672470588235</c:v>
                </c:pt>
                <c:pt idx="6">
                  <c:v>2.2640618666666663</c:v>
                </c:pt>
                <c:pt idx="7">
                  <c:v>2.3868181818181817</c:v>
                </c:pt>
                <c:pt idx="8">
                  <c:v>4.370668542751051</c:v>
                </c:pt>
                <c:pt idx="9">
                  <c:v>5.056944093267772</c:v>
                </c:pt>
                <c:pt idx="10">
                  <c:v>2.2266662412252716</c:v>
                </c:pt>
                <c:pt idx="11">
                  <c:v>2.133084615384615</c:v>
                </c:pt>
                <c:pt idx="12">
                  <c:v>4.452759427586388</c:v>
                </c:pt>
                <c:pt idx="13">
                  <c:v>4.490696302534461</c:v>
                </c:pt>
                <c:pt idx="14">
                  <c:v>6.031302491103203</c:v>
                </c:pt>
                <c:pt idx="15">
                  <c:v>6.57806574112163</c:v>
                </c:pt>
                <c:pt idx="16">
                  <c:v>5.485442733305425</c:v>
                </c:pt>
                <c:pt idx="17">
                  <c:v>11.071304898023428</c:v>
                </c:pt>
                <c:pt idx="18">
                  <c:v>11.386507142857143</c:v>
                </c:pt>
                <c:pt idx="19">
                  <c:v>17.809688700436926</c:v>
                </c:pt>
                <c:pt idx="20">
                  <c:v>17.16350487804878</c:v>
                </c:pt>
                <c:pt idx="21">
                  <c:v>14.374418604651163</c:v>
                </c:pt>
                <c:pt idx="22">
                  <c:v>6.987528571428571</c:v>
                </c:pt>
                <c:pt idx="23">
                  <c:v>5.57865652173913</c:v>
                </c:pt>
                <c:pt idx="24">
                  <c:v>5.456278632478632</c:v>
                </c:pt>
                <c:pt idx="25">
                  <c:v>18.169914390986918</c:v>
                </c:pt>
                <c:pt idx="26">
                  <c:v>18.864734299516908</c:v>
                </c:pt>
                <c:pt idx="27">
                  <c:v>27.41871697660378</c:v>
                </c:pt>
                <c:pt idx="28">
                  <c:v>248.029</c:v>
                </c:pt>
                <c:pt idx="29">
                  <c:v>35.71619551042065</c:v>
                </c:pt>
                <c:pt idx="30">
                  <c:v>6.108241538461539</c:v>
                </c:pt>
                <c:pt idx="31">
                  <c:v>30.538568191124067</c:v>
                </c:pt>
                <c:pt idx="32">
                  <c:v>244.70666666666668</c:v>
                </c:pt>
                <c:pt idx="33">
                  <c:v>7.321198969072165</c:v>
                </c:pt>
                <c:pt idx="34">
                  <c:v>17.549394668921213</c:v>
                </c:pt>
                <c:pt idx="35">
                  <c:v>3.3919941031941034</c:v>
                </c:pt>
                <c:pt idx="36">
                  <c:v>2.2147561996779386</c:v>
                </c:pt>
                <c:pt idx="37">
                  <c:v>2.4529541806020068</c:v>
                </c:pt>
                <c:pt idx="38">
                  <c:v>2.6850874431383303</c:v>
                </c:pt>
                <c:pt idx="39">
                  <c:v>2.3829896321070234</c:v>
                </c:pt>
              </c:numCache>
            </c:numRef>
          </c:xVal>
          <c:yVal>
            <c:numRef>
              <c:f>Sheet1!$B$115:$B$154</c:f>
              <c:numCache>
                <c:formatCode>General</c:formatCode>
                <c:ptCount val="40"/>
                <c:pt idx="0">
                  <c:v>0.25675675675675674</c:v>
                </c:pt>
                <c:pt idx="1">
                  <c:v>0.27205882352941174</c:v>
                </c:pt>
                <c:pt idx="2">
                  <c:v>0.2857142857142857</c:v>
                </c:pt>
                <c:pt idx="3">
                  <c:v>0.2945205479452055</c:v>
                </c:pt>
                <c:pt idx="4">
                  <c:v>0.2916666666666667</c:v>
                </c:pt>
                <c:pt idx="5">
                  <c:v>0.2833333333333333</c:v>
                </c:pt>
                <c:pt idx="6">
                  <c:v>0.2847682119205298</c:v>
                </c:pt>
                <c:pt idx="7">
                  <c:v>0.24615384615384617</c:v>
                </c:pt>
                <c:pt idx="8">
                  <c:v>0.3157894736842105</c:v>
                </c:pt>
                <c:pt idx="9">
                  <c:v>0.3504273504273504</c:v>
                </c:pt>
                <c:pt idx="10">
                  <c:v>0.30714285714285716</c:v>
                </c:pt>
                <c:pt idx="11">
                  <c:v>0.3641304347826087</c:v>
                </c:pt>
                <c:pt idx="12">
                  <c:v>0.3602150537634409</c:v>
                </c:pt>
                <c:pt idx="13">
                  <c:v>0.29936305732484075</c:v>
                </c:pt>
                <c:pt idx="14">
                  <c:v>0.30625</c:v>
                </c:pt>
                <c:pt idx="15">
                  <c:v>0.3308270676691729</c:v>
                </c:pt>
                <c:pt idx="16">
                  <c:v>0.3333333333333333</c:v>
                </c:pt>
                <c:pt idx="17">
                  <c:v>0.2857142857142857</c:v>
                </c:pt>
                <c:pt idx="18">
                  <c:v>0.3</c:v>
                </c:pt>
                <c:pt idx="19">
                  <c:v>0.3177570093457944</c:v>
                </c:pt>
                <c:pt idx="20">
                  <c:v>0.3253012048192771</c:v>
                </c:pt>
                <c:pt idx="21">
                  <c:v>0.25</c:v>
                </c:pt>
                <c:pt idx="22">
                  <c:v>0.3333333333333333</c:v>
                </c:pt>
                <c:pt idx="23">
                  <c:v>0.28205128205128205</c:v>
                </c:pt>
                <c:pt idx="24">
                  <c:v>0.30952380952380953</c:v>
                </c:pt>
                <c:pt idx="25">
                  <c:v>0.22807017543859648</c:v>
                </c:pt>
                <c:pt idx="26">
                  <c:v>0.17391304347826086</c:v>
                </c:pt>
                <c:pt idx="27">
                  <c:v>0.21428571428571427</c:v>
                </c:pt>
                <c:pt idx="28">
                  <c:v>0.3108108108108108</c:v>
                </c:pt>
                <c:pt idx="29">
                  <c:v>0.2727272727272727</c:v>
                </c:pt>
                <c:pt idx="30">
                  <c:v>0.28</c:v>
                </c:pt>
                <c:pt idx="31">
                  <c:v>0.2153846153846154</c:v>
                </c:pt>
                <c:pt idx="32">
                  <c:v>0.30120481927710846</c:v>
                </c:pt>
                <c:pt idx="33">
                  <c:v>0.31683168316831684</c:v>
                </c:pt>
                <c:pt idx="34">
                  <c:v>0.25477707006369427</c:v>
                </c:pt>
                <c:pt idx="35">
                  <c:v>0.3</c:v>
                </c:pt>
                <c:pt idx="36">
                  <c:v>0.2573099415204678</c:v>
                </c:pt>
                <c:pt idx="37">
                  <c:v>0.28169014084507044</c:v>
                </c:pt>
                <c:pt idx="38">
                  <c:v>0.2849462365591398</c:v>
                </c:pt>
                <c:pt idx="39">
                  <c:v>0.3025210084033613</c:v>
                </c:pt>
              </c:numCache>
            </c:numRef>
          </c:yVal>
          <c:smooth val="0"/>
          <c:extLst>
            <c:ext xmlns:c16="http://schemas.microsoft.com/office/drawing/2014/chart" uri="{C3380CC4-5D6E-409C-BE32-E72D297353CC}">
              <c16:uniqueId val="{00000002-096C-4121-9522-6AB7243CCAAE}"/>
            </c:ext>
          </c:extLst>
        </c:ser>
        <c:ser>
          <c:idx val="2"/>
          <c:order val="2"/>
          <c:tx>
            <c:strRef>
              <c:f>Sheet1!$B$1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7:$A$158</c:f>
              <c:numCache>
                <c:formatCode>General</c:formatCode>
                <c:ptCount val="2"/>
                <c:pt idx="0">
                  <c:v>0</c:v>
                </c:pt>
                <c:pt idx="1">
                  <c:v>7509.475816859352</c:v>
                </c:pt>
              </c:numCache>
            </c:numRef>
          </c:xVal>
          <c:yVal>
            <c:numRef>
              <c:f>Sheet1!$B$157:$B$158</c:f>
              <c:numCache>
                <c:formatCode>General</c:formatCode>
                <c:ptCount val="2"/>
                <c:pt idx="0">
                  <c:v>0.40919847732008974</c:v>
                </c:pt>
                <c:pt idx="1">
                  <c:v>0.40919847732008974</c:v>
                </c:pt>
              </c:numCache>
            </c:numRef>
          </c:yVal>
          <c:smooth val="0"/>
          <c:extLst>
            <c:ext xmlns:c16="http://schemas.microsoft.com/office/drawing/2014/chart" uri="{C3380CC4-5D6E-409C-BE32-E72D297353CC}">
              <c16:uniqueId val="{00000005-096C-4121-9522-6AB7243CCAAE}"/>
            </c:ext>
          </c:extLst>
        </c:ser>
        <c:ser>
          <c:idx val="3"/>
          <c:order val="3"/>
          <c:tx>
            <c:strRef>
              <c:f>Sheet1!$B$1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7509.475816859352</c:v>
                </c:pt>
                <c:pt idx="1">
                  <c:v>7509.475816859352</c:v>
                </c:pt>
              </c:numCache>
            </c:numRef>
          </c:xVal>
          <c:yVal>
            <c:numRef>
              <c:f>Sheet1!$B$161:$B$162</c:f>
              <c:numCache>
                <c:formatCode>General</c:formatCode>
                <c:ptCount val="2"/>
                <c:pt idx="0">
                  <c:v>0.409198477320089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5:$A$166</c:f>
              <c:numCache>
                <c:formatCode>General</c:formatCode>
                <c:ptCount val="2"/>
                <c:pt idx="0">
                  <c:v>0</c:v>
                </c:pt>
                <c:pt idx="1">
                  <c:v>1785.8162847308006</c:v>
                </c:pt>
              </c:numCache>
            </c:numRef>
          </c:xVal>
          <c:yVal>
            <c:numRef>
              <c:f>Sheet1!$B$165:$B$166</c:f>
              <c:numCache>
                <c:formatCode>General</c:formatCode>
                <c:ptCount val="2"/>
                <c:pt idx="0">
                  <c:v>0.31772781956330476</c:v>
                </c:pt>
                <c:pt idx="1">
                  <c:v>0.31772781956330476</c:v>
                </c:pt>
              </c:numCache>
            </c:numRef>
          </c:yVal>
          <c:smooth val="0"/>
          <c:extLst>
            <c:ext xmlns:c16="http://schemas.microsoft.com/office/drawing/2014/chart" uri="{C3380CC4-5D6E-409C-BE32-E72D297353CC}">
              <c16:uniqueId val="{0000000D-096C-4121-9522-6AB7243CCAAE}"/>
            </c:ext>
          </c:extLst>
        </c:ser>
        <c:ser>
          <c:idx val="5"/>
          <c:order val="5"/>
          <c:tx>
            <c:strRef>
              <c:f>Sheet1!$B$1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1785.8162847308006</c:v>
                </c:pt>
                <c:pt idx="1">
                  <c:v>1785.8162847308006</c:v>
                </c:pt>
              </c:numCache>
            </c:numRef>
          </c:xVal>
          <c:yVal>
            <c:numRef>
              <c:f>Sheet1!$B$169:$B$170</c:f>
              <c:numCache>
                <c:formatCode>General</c:formatCode>
                <c:ptCount val="2"/>
                <c:pt idx="0">
                  <c:v>0.317727819563304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3:$A$174</c:f>
              <c:numCache>
                <c:formatCode>General</c:formatCode>
                <c:ptCount val="2"/>
                <c:pt idx="0">
                  <c:v>0</c:v>
                </c:pt>
                <c:pt idx="1">
                  <c:v>16.21135208751873</c:v>
                </c:pt>
              </c:numCache>
            </c:numRef>
          </c:xVal>
          <c:yVal>
            <c:numRef>
              <c:f>Sheet1!$B$173:$B$174</c:f>
              <c:numCache>
                <c:formatCode>General</c:formatCode>
                <c:ptCount val="2"/>
                <c:pt idx="0">
                  <c:v>0.28944749886115145</c:v>
                </c:pt>
                <c:pt idx="1">
                  <c:v>0.28944749886115145</c:v>
                </c:pt>
              </c:numCache>
            </c:numRef>
          </c:yVal>
          <c:smooth val="0"/>
          <c:extLst>
            <c:ext xmlns:c16="http://schemas.microsoft.com/office/drawing/2014/chart" uri="{C3380CC4-5D6E-409C-BE32-E72D297353CC}">
              <c16:uniqueId val="{00000015-096C-4121-9522-6AB7243CCAAE}"/>
            </c:ext>
          </c:extLst>
        </c:ser>
        <c:ser>
          <c:idx val="7"/>
          <c:order val="7"/>
          <c:tx>
            <c:strRef>
              <c:f>Sheet1!$B$17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7:$A$178</c:f>
              <c:numCache>
                <c:formatCode>General</c:formatCode>
                <c:ptCount val="2"/>
                <c:pt idx="0">
                  <c:v>16.21135208751873</c:v>
                </c:pt>
                <c:pt idx="1">
                  <c:v>16.21135208751873</c:v>
                </c:pt>
              </c:numCache>
            </c:numRef>
          </c:xVal>
          <c:yVal>
            <c:numRef>
              <c:f>Sheet1!$B$177:$B$178</c:f>
              <c:numCache>
                <c:formatCode>General</c:formatCode>
                <c:ptCount val="2"/>
                <c:pt idx="0">
                  <c:v>0.289447498861151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1:$A$223</c:f>
              <c:numCache>
                <c:formatCode>General</c:formatCode>
                <c:ptCount val="43"/>
                <c:pt idx="0">
                  <c:v>2.4641858928707796</c:v>
                </c:pt>
                <c:pt idx="1">
                  <c:v>2.6394748765478124</c:v>
                </c:pt>
                <c:pt idx="2">
                  <c:v>2.682134477254589</c:v>
                </c:pt>
                <c:pt idx="3">
                  <c:v>2.4068399911846745</c:v>
                </c:pt>
                <c:pt idx="4">
                  <c:v>2.432007452574526</c:v>
                </c:pt>
                <c:pt idx="5">
                  <c:v>2.211672470588235</c:v>
                </c:pt>
                <c:pt idx="6">
                  <c:v>2.2640618666666663</c:v>
                </c:pt>
                <c:pt idx="7">
                  <c:v>2.3868181818181817</c:v>
                </c:pt>
                <c:pt idx="8">
                  <c:v>4.370668542751051</c:v>
                </c:pt>
                <c:pt idx="9">
                  <c:v>5.056944093267772</c:v>
                </c:pt>
                <c:pt idx="10">
                  <c:v>2.2266662412252716</c:v>
                </c:pt>
                <c:pt idx="11">
                  <c:v>2.133084615384615</c:v>
                </c:pt>
                <c:pt idx="12">
                  <c:v>4.452759427586388</c:v>
                </c:pt>
                <c:pt idx="13">
                  <c:v>4.490696302534461</c:v>
                </c:pt>
                <c:pt idx="14">
                  <c:v>6.031302491103203</c:v>
                </c:pt>
                <c:pt idx="15">
                  <c:v>6.57806574112163</c:v>
                </c:pt>
                <c:pt idx="16">
                  <c:v>5.485442733305425</c:v>
                </c:pt>
                <c:pt idx="17">
                  <c:v>11.071304898023428</c:v>
                </c:pt>
                <c:pt idx="18">
                  <c:v>11.386507142857143</c:v>
                </c:pt>
                <c:pt idx="19">
                  <c:v>17.809688700436926</c:v>
                </c:pt>
                <c:pt idx="20">
                  <c:v>17.16350487804878</c:v>
                </c:pt>
                <c:pt idx="21">
                  <c:v>14.374418604651163</c:v>
                </c:pt>
                <c:pt idx="22">
                  <c:v>6.987528571428571</c:v>
                </c:pt>
                <c:pt idx="23">
                  <c:v>5.57865652173913</c:v>
                </c:pt>
                <c:pt idx="24">
                  <c:v>5.456278632478632</c:v>
                </c:pt>
                <c:pt idx="25">
                  <c:v>18.169914390986918</c:v>
                </c:pt>
                <c:pt idx="26">
                  <c:v>18.864734299516908</c:v>
                </c:pt>
                <c:pt idx="27">
                  <c:v>27.41871697660378</c:v>
                </c:pt>
                <c:pt idx="28">
                  <c:v>248.029</c:v>
                </c:pt>
                <c:pt idx="29">
                  <c:v>35.71619551042065</c:v>
                </c:pt>
                <c:pt idx="30">
                  <c:v>6.108241538461539</c:v>
                </c:pt>
                <c:pt idx="31">
                  <c:v>30.538568191124067</c:v>
                </c:pt>
                <c:pt idx="32">
                  <c:v>244.70666666666668</c:v>
                </c:pt>
                <c:pt idx="33">
                  <c:v>7.321198969072165</c:v>
                </c:pt>
                <c:pt idx="34">
                  <c:v>17.549394668921213</c:v>
                </c:pt>
                <c:pt idx="35">
                  <c:v>3.3919941031941034</c:v>
                </c:pt>
                <c:pt idx="36">
                  <c:v>2.2147561996779386</c:v>
                </c:pt>
                <c:pt idx="37">
                  <c:v>2.4529541806020068</c:v>
                </c:pt>
                <c:pt idx="38">
                  <c:v>2.6850874431383303</c:v>
                </c:pt>
                <c:pt idx="39">
                  <c:v>2.3829896321070234</c:v>
                </c:pt>
                <c:pt idx="40">
                  <c:v>1785.8162847308006</c:v>
                </c:pt>
                <c:pt idx="41">
                  <c:v>7509.475816859352</c:v>
                </c:pt>
                <c:pt idx="42">
                  <c:v>16.21135208751873</c:v>
                </c:pt>
              </c:numCache>
            </c:numRef>
          </c:xVal>
          <c:yVal>
            <c:numRef>
              <c:f>Sheet1!$B$181:$B$223</c:f>
              <c:numCache>
                <c:formatCode>General</c:formatCode>
                <c:ptCount val="43"/>
                <c:pt idx="0">
                  <c:v>0.28922780334518694</c:v>
                </c:pt>
                <c:pt idx="1">
                  <c:v>0.2892306046646128</c:v>
                </c:pt>
                <c:pt idx="2">
                  <c:v>0.2892312864140625</c:v>
                </c:pt>
                <c:pt idx="3">
                  <c:v>0.289226886891768</c:v>
                </c:pt>
                <c:pt idx="4">
                  <c:v>0.289227289096727</c:v>
                </c:pt>
                <c:pt idx="5">
                  <c:v>0.28922376789047494</c:v>
                </c:pt>
                <c:pt idx="6">
                  <c:v>0.28922460513323756</c:v>
                </c:pt>
                <c:pt idx="7">
                  <c:v>0.28922656692024246</c:v>
                </c:pt>
                <c:pt idx="8">
                  <c:v>0.2892582711291296</c:v>
                </c:pt>
                <c:pt idx="9">
                  <c:v>0.28926923860119114</c:v>
                </c:pt>
                <c:pt idx="10">
                  <c:v>0.2892240075081627</c:v>
                </c:pt>
                <c:pt idx="11">
                  <c:v>0.2892225119662246</c:v>
                </c:pt>
                <c:pt idx="12">
                  <c:v>0.28925958303581967</c:v>
                </c:pt>
                <c:pt idx="13">
                  <c:v>0.2892601893106837</c:v>
                </c:pt>
                <c:pt idx="14">
                  <c:v>0.28928480996825806</c:v>
                </c:pt>
                <c:pt idx="15">
                  <c:v>0.28929354787341044</c:v>
                </c:pt>
                <c:pt idx="16">
                  <c:v>0.28927608650194975</c:v>
                </c:pt>
                <c:pt idx="17">
                  <c:v>0.2893653549993992</c:v>
                </c:pt>
                <c:pt idx="18">
                  <c:v>0.28937039229354633</c:v>
                </c:pt>
                <c:pt idx="19">
                  <c:v>0.28947304211725877</c:v>
                </c:pt>
                <c:pt idx="20">
                  <c:v>0.28946271535709184</c:v>
                </c:pt>
                <c:pt idx="21">
                  <c:v>0.28941814255283327</c:v>
                </c:pt>
                <c:pt idx="22">
                  <c:v>0.28930009156005093</c:v>
                </c:pt>
                <c:pt idx="23">
                  <c:v>0.28927757616542327</c:v>
                </c:pt>
                <c:pt idx="24">
                  <c:v>0.28927562042609906</c:v>
                </c:pt>
                <c:pt idx="25">
                  <c:v>0.28947879893781575</c:v>
                </c:pt>
                <c:pt idx="26">
                  <c:v>0.28948990295853866</c:v>
                </c:pt>
                <c:pt idx="27">
                  <c:v>0.2896266054331567</c:v>
                </c:pt>
                <c:pt idx="28">
                  <c:v>0.2931522113121906</c:v>
                </c:pt>
                <c:pt idx="29">
                  <c:v>0.28975920867675475</c:v>
                </c:pt>
                <c:pt idx="30">
                  <c:v>0.28928603954266396</c:v>
                </c:pt>
                <c:pt idx="31">
                  <c:v>0.2896764642413359</c:v>
                </c:pt>
                <c:pt idx="32">
                  <c:v>0.29309911660703186</c:v>
                </c:pt>
                <c:pt idx="33">
                  <c:v>0.28930542399650616</c:v>
                </c:pt>
                <c:pt idx="34">
                  <c:v>0.2894688823194687</c:v>
                </c:pt>
                <c:pt idx="35">
                  <c:v>0.2892426307867554</c:v>
                </c:pt>
                <c:pt idx="36">
                  <c:v>0.28922381717201007</c:v>
                </c:pt>
                <c:pt idx="37">
                  <c:v>0.2892276238495158</c:v>
                </c:pt>
                <c:pt idx="38">
                  <c:v>0.2892313336058513</c:v>
                </c:pt>
                <c:pt idx="39">
                  <c:v>0.28922650573561776</c:v>
                </c:pt>
                <c:pt idx="40">
                  <c:v>0.31772781956330476</c:v>
                </c:pt>
                <c:pt idx="41">
                  <c:v>0.40919847732008974</c:v>
                </c:pt>
                <c:pt idx="42">
                  <c:v>0.289447498861151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81021897810219"/>
          <c:min val="0.13913043478260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6.6981</c:v>
                </c:pt>
                <c:pt idx="1">
                  <c:v>689.2321</c:v>
                </c:pt>
                <c:pt idx="2">
                  <c:v>683.5672</c:v>
                </c:pt>
                <c:pt idx="3">
                  <c:v>671.4219</c:v>
                </c:pt>
                <c:pt idx="4">
                  <c:v>671.0746</c:v>
                </c:pt>
                <c:pt idx="5">
                  <c:v>680.8939</c:v>
                </c:pt>
                <c:pt idx="6">
                  <c:v>636.5263</c:v>
                </c:pt>
                <c:pt idx="7">
                  <c:v>667.1379</c:v>
                </c:pt>
                <c:pt idx="8">
                  <c:v>671.6053</c:v>
                </c:pt>
                <c:pt idx="9">
                  <c:v>633.5156</c:v>
                </c:pt>
                <c:pt idx="10">
                  <c:v>602.5823</c:v>
                </c:pt>
                <c:pt idx="11">
                  <c:v>630.697</c:v>
                </c:pt>
                <c:pt idx="12">
                  <c:v>642.3333</c:v>
                </c:pt>
                <c:pt idx="13">
                  <c:v>638.1019</c:v>
                </c:pt>
                <c:pt idx="14">
                  <c:v>561.2232</c:v>
                </c:pt>
                <c:pt idx="15">
                  <c:v>584.5732</c:v>
                </c:pt>
                <c:pt idx="16">
                  <c:v>579.3026</c:v>
                </c:pt>
                <c:pt idx="17">
                  <c:v>610.5625</c:v>
                </c:pt>
                <c:pt idx="18">
                  <c:v>441.6304</c:v>
                </c:pt>
                <c:pt idx="19">
                  <c:v>589.0</c:v>
                </c:pt>
                <c:pt idx="20">
                  <c:v>660.4906</c:v>
                </c:pt>
                <c:pt idx="21">
                  <c:v>671.45</c:v>
                </c:pt>
                <c:pt idx="22">
                  <c:v>574.5313</c:v>
                </c:pt>
                <c:pt idx="23">
                  <c:v>652.4583</c:v>
                </c:pt>
                <c:pt idx="24">
                  <c:v>636.5769</c:v>
                </c:pt>
                <c:pt idx="25">
                  <c:v>639.28</c:v>
                </c:pt>
                <c:pt idx="26">
                  <c:v>622.9286</c:v>
                </c:pt>
                <c:pt idx="27">
                  <c:v>656.52</c:v>
                </c:pt>
                <c:pt idx="28">
                  <c:v>677.2963</c:v>
                </c:pt>
                <c:pt idx="29">
                  <c:v>649.1538</c:v>
                </c:pt>
                <c:pt idx="30">
                  <c:v>655.069</c:v>
                </c:pt>
                <c:pt idx="31">
                  <c:v>574.0</c:v>
                </c:pt>
                <c:pt idx="32">
                  <c:v>645.3929</c:v>
                </c:pt>
                <c:pt idx="33">
                  <c:v>656.2778</c:v>
                </c:pt>
                <c:pt idx="34">
                  <c:v>615.2632</c:v>
                </c:pt>
                <c:pt idx="35">
                  <c:v>652.314</c:v>
                </c:pt>
                <c:pt idx="36">
                  <c:v>671.8889</c:v>
                </c:pt>
                <c:pt idx="37">
                  <c:v>611.5667</c:v>
                </c:pt>
                <c:pt idx="38">
                  <c:v>685.8438</c:v>
                </c:pt>
                <c:pt idx="39">
                  <c:v>648.3103</c:v>
                </c:pt>
                <c:pt idx="40">
                  <c:v>653.8182</c:v>
                </c:pt>
                <c:pt idx="41">
                  <c:v>672.6452</c:v>
                </c:pt>
                <c:pt idx="42">
                  <c:v>625.425</c:v>
                </c:pt>
                <c:pt idx="43">
                  <c:v>677.5472</c:v>
                </c:pt>
                <c:pt idx="44">
                  <c:v>655.2459</c:v>
                </c:pt>
                <c:pt idx="45">
                  <c:v>663.6712</c:v>
                </c:pt>
                <c:pt idx="46">
                  <c:v>620.2342</c:v>
                </c:pt>
                <c:pt idx="47">
                  <c:v>624.8587</c:v>
                </c:pt>
                <c:pt idx="48">
                  <c:v>623.5725</c:v>
                </c:pt>
                <c:pt idx="49">
                  <c:v>612.5101</c:v>
                </c:pt>
                <c:pt idx="50">
                  <c:v>637.5659</c:v>
                </c:pt>
                <c:pt idx="51">
                  <c:v>656.8548</c:v>
                </c:pt>
                <c:pt idx="52">
                  <c:v>672.4767</c:v>
                </c:pt>
                <c:pt idx="53">
                  <c:v>663.0313</c:v>
                </c:pt>
                <c:pt idx="54">
                  <c:v>682.7826</c:v>
                </c:pt>
                <c:pt idx="55">
                  <c:v>642.4545</c:v>
                </c:pt>
                <c:pt idx="56">
                  <c:v>668.9762</c:v>
                </c:pt>
                <c:pt idx="57">
                  <c:v>634.54</c:v>
                </c:pt>
                <c:pt idx="58">
                  <c:v>622.7895</c:v>
                </c:pt>
                <c:pt idx="59">
                  <c:v>637.7733</c:v>
                </c:pt>
                <c:pt idx="60">
                  <c:v>640.7015</c:v>
                </c:pt>
                <c:pt idx="61">
                  <c:v>641.3276</c:v>
                </c:pt>
                <c:pt idx="62">
                  <c:v>615.9306</c:v>
                </c:pt>
                <c:pt idx="63">
                  <c:v>639.5789</c:v>
                </c:pt>
                <c:pt idx="64">
                  <c:v>609.5663</c:v>
                </c:pt>
                <c:pt idx="65">
                  <c:v>613.6286</c:v>
                </c:pt>
                <c:pt idx="66">
                  <c:v>621.407</c:v>
                </c:pt>
                <c:pt idx="67">
                  <c:v>610.7463</c:v>
                </c:pt>
                <c:pt idx="68">
                  <c:v>589.4286</c:v>
                </c:pt>
                <c:pt idx="69">
                  <c:v>573.0</c:v>
                </c:pt>
                <c:pt idx="70">
                  <c:v>564.3462</c:v>
                </c:pt>
                <c:pt idx="71">
                  <c:v>566.7692</c:v>
                </c:pt>
                <c:pt idx="72">
                  <c:v>712.2692</c:v>
                </c:pt>
                <c:pt idx="73">
                  <c:v>699.8824</c:v>
                </c:pt>
                <c:pt idx="74">
                  <c:v>689.1304</c:v>
                </c:pt>
                <c:pt idx="75">
                  <c:v>661.4737</c:v>
                </c:pt>
                <c:pt idx="76">
                  <c:v>660.15</c:v>
                </c:pt>
                <c:pt idx="77">
                  <c:v>609.9524</c:v>
                </c:pt>
                <c:pt idx="78">
                  <c:v>635.8235</c:v>
                </c:pt>
                <c:pt idx="79">
                  <c:v>424.36</c:v>
                </c:pt>
                <c:pt idx="80">
                  <c:v>675.375</c:v>
                </c:pt>
                <c:pt idx="81">
                  <c:v>699.9412</c:v>
                </c:pt>
                <c:pt idx="82">
                  <c:v>639.1667</c:v>
                </c:pt>
                <c:pt idx="83">
                  <c:v>488.75</c:v>
                </c:pt>
                <c:pt idx="84">
                  <c:v>702.25</c:v>
                </c:pt>
                <c:pt idx="85">
                  <c:v>667.7143</c:v>
                </c:pt>
                <c:pt idx="86">
                  <c:v>644.0</c:v>
                </c:pt>
                <c:pt idx="87">
                  <c:v>662.2581</c:v>
                </c:pt>
                <c:pt idx="88">
                  <c:v>691.8235</c:v>
                </c:pt>
                <c:pt idx="89">
                  <c:v>617.8</c:v>
                </c:pt>
                <c:pt idx="90">
                  <c:v>675.2727</c:v>
                </c:pt>
                <c:pt idx="91">
                  <c:v>668.6364</c:v>
                </c:pt>
                <c:pt idx="92">
                  <c:v>518.2258</c:v>
                </c:pt>
                <c:pt idx="93">
                  <c:v>589.8095</c:v>
                </c:pt>
                <c:pt idx="94">
                  <c:v>649.5714</c:v>
                </c:pt>
                <c:pt idx="95">
                  <c:v>629.6154</c:v>
                </c:pt>
                <c:pt idx="96">
                  <c:v>492.65</c:v>
                </c:pt>
                <c:pt idx="97">
                  <c:v>636.05</c:v>
                </c:pt>
                <c:pt idx="98">
                  <c:v>622.0</c:v>
                </c:pt>
                <c:pt idx="99">
                  <c:v>633.1235</c:v>
                </c:pt>
                <c:pt idx="100">
                  <c:v>671.7971</c:v>
                </c:pt>
                <c:pt idx="101">
                  <c:v>638.7083</c:v>
                </c:pt>
                <c:pt idx="102">
                  <c:v>676.8571</c:v>
                </c:pt>
                <c:pt idx="103">
                  <c:v>707.0513</c:v>
                </c:pt>
                <c:pt idx="104">
                  <c:v>722.3947</c:v>
                </c:pt>
              </c:numCache>
            </c:numRef>
          </c:xVal>
          <c:yVal>
            <c:numRef>
              <c:f>Sheet1!$B$2:$B$106</c:f>
              <c:numCache>
                <c:formatCode>General</c:formatCode>
                <c:ptCount val="105"/>
                <c:pt idx="0">
                  <c:v>0.30994152046783624</c:v>
                </c:pt>
                <c:pt idx="1">
                  <c:v>0.35443037974683544</c:v>
                </c:pt>
                <c:pt idx="2">
                  <c:v>0.38953488372093026</c:v>
                </c:pt>
                <c:pt idx="3">
                  <c:v>0.4266666666666667</c:v>
                </c:pt>
                <c:pt idx="4">
                  <c:v>0.46853146853146854</c:v>
                </c:pt>
                <c:pt idx="5">
                  <c:v>0.48175182481751827</c:v>
                </c:pt>
                <c:pt idx="6">
                  <c:v>0.43846153846153846</c:v>
                </c:pt>
                <c:pt idx="7">
                  <c:v>0.42962962962962964</c:v>
                </c:pt>
                <c:pt idx="8">
                  <c:v>0.3838383838383838</c:v>
                </c:pt>
                <c:pt idx="9">
                  <c:v>0.43243243243243246</c:v>
                </c:pt>
                <c:pt idx="10">
                  <c:v>0.44886363636363635</c:v>
                </c:pt>
                <c:pt idx="11">
                  <c:v>0.37714285714285717</c:v>
                </c:pt>
                <c:pt idx="12">
                  <c:v>0.43902439024390244</c:v>
                </c:pt>
                <c:pt idx="13">
                  <c:v>0.4462809917355372</c:v>
                </c:pt>
                <c:pt idx="14">
                  <c:v>0.3822525597269625</c:v>
                </c:pt>
                <c:pt idx="15">
                  <c:v>0.3886255924170616</c:v>
                </c:pt>
                <c:pt idx="16">
                  <c:v>0.41304347826086957</c:v>
                </c:pt>
                <c:pt idx="17">
                  <c:v>0.34532374100719426</c:v>
                </c:pt>
                <c:pt idx="18">
                  <c:v>0.24083769633507854</c:v>
                </c:pt>
                <c:pt idx="19">
                  <c:v>0.2619047619047619</c:v>
                </c:pt>
                <c:pt idx="20">
                  <c:v>0.3212121212121212</c:v>
                </c:pt>
                <c:pt idx="21">
                  <c:v>0.17699115044247787</c:v>
                </c:pt>
                <c:pt idx="22">
                  <c:v>0.2206896551724138</c:v>
                </c:pt>
                <c:pt idx="23">
                  <c:v>0.18461538461538463</c:v>
                </c:pt>
                <c:pt idx="24">
                  <c:v>0.22608695652173913</c:v>
                </c:pt>
                <c:pt idx="25">
                  <c:v>0.31645569620253167</c:v>
                </c:pt>
                <c:pt idx="26">
                  <c:v>0.34146341463414637</c:v>
                </c:pt>
                <c:pt idx="27">
                  <c:v>0.3125</c:v>
                </c:pt>
                <c:pt idx="28">
                  <c:v>0.3375</c:v>
                </c:pt>
                <c:pt idx="29">
                  <c:v>0.3979591836734694</c:v>
                </c:pt>
                <c:pt idx="30">
                  <c:v>0.38666666666666666</c:v>
                </c:pt>
                <c:pt idx="31">
                  <c:v>0.35135135135135137</c:v>
                </c:pt>
                <c:pt idx="32">
                  <c:v>0.3218390804597701</c:v>
                </c:pt>
                <c:pt idx="33">
                  <c:v>0.3130434782608696</c:v>
                </c:pt>
                <c:pt idx="34">
                  <c:v>0.3475609756097561</c:v>
                </c:pt>
                <c:pt idx="35">
                  <c:v>0.3788546255506608</c:v>
                </c:pt>
                <c:pt idx="36">
                  <c:v>0.3284671532846715</c:v>
                </c:pt>
                <c:pt idx="37">
                  <c:v>0.297029702970297</c:v>
                </c:pt>
                <c:pt idx="38">
                  <c:v>0.3076923076923077</c:v>
                </c:pt>
                <c:pt idx="39">
                  <c:v>0.31521739130434784</c:v>
                </c:pt>
                <c:pt idx="40">
                  <c:v>0.3492063492063492</c:v>
                </c:pt>
                <c:pt idx="41">
                  <c:v>0.3229166666666667</c:v>
                </c:pt>
                <c:pt idx="42">
                  <c:v>0.32786885245901637</c:v>
                </c:pt>
                <c:pt idx="43">
                  <c:v>0.35570469798657717</c:v>
                </c:pt>
                <c:pt idx="44">
                  <c:v>0.2798165137614679</c:v>
                </c:pt>
                <c:pt idx="45">
                  <c:v>0.2896825396825397</c:v>
                </c:pt>
                <c:pt idx="46">
                  <c:v>0.36633663366336633</c:v>
                </c:pt>
                <c:pt idx="47">
                  <c:v>0.3274021352313167</c:v>
                </c:pt>
                <c:pt idx="48">
                  <c:v>0.31797235023041476</c:v>
                </c:pt>
                <c:pt idx="49">
                  <c:v>0.3649815043156597</c:v>
                </c:pt>
                <c:pt idx="50">
                  <c:v>0.3944954128440367</c:v>
                </c:pt>
                <c:pt idx="51">
                  <c:v>0.35428571428571426</c:v>
                </c:pt>
                <c:pt idx="52">
                  <c:v>0.3426294820717131</c:v>
                </c:pt>
                <c:pt idx="53">
                  <c:v>0.3282051282051282</c:v>
                </c:pt>
                <c:pt idx="54">
                  <c:v>0.2911392405063291</c:v>
                </c:pt>
                <c:pt idx="55">
                  <c:v>0.2953020134228188</c:v>
                </c:pt>
                <c:pt idx="56">
                  <c:v>0.2937062937062937</c:v>
                </c:pt>
                <c:pt idx="57">
                  <c:v>0.3067484662576687</c:v>
                </c:pt>
                <c:pt idx="58">
                  <c:v>0.28217821782178215</c:v>
                </c:pt>
                <c:pt idx="59">
                  <c:v>0.3191489361702128</c:v>
                </c:pt>
                <c:pt idx="60">
                  <c:v>0.3130841121495327</c:v>
                </c:pt>
                <c:pt idx="61">
                  <c:v>0.3515151515151515</c:v>
                </c:pt>
                <c:pt idx="62">
                  <c:v>0.33488372093023255</c:v>
                </c:pt>
                <c:pt idx="63">
                  <c:v>0.336283185840708</c:v>
                </c:pt>
                <c:pt idx="64">
                  <c:v>0.31800766283524906</c:v>
                </c:pt>
                <c:pt idx="65">
                  <c:v>0.30042918454935624</c:v>
                </c:pt>
                <c:pt idx="66">
                  <c:v>0.3644067796610169</c:v>
                </c:pt>
                <c:pt idx="67">
                  <c:v>0.29004329004329005</c:v>
                </c:pt>
                <c:pt idx="68">
                  <c:v>0.28654970760233917</c:v>
                </c:pt>
                <c:pt idx="69">
                  <c:v>0.3764705882352941</c:v>
                </c:pt>
                <c:pt idx="70">
                  <c:v>0.27956989247311825</c:v>
                </c:pt>
                <c:pt idx="71">
                  <c:v>0.2988505747126437</c:v>
                </c:pt>
                <c:pt idx="72">
                  <c:v>0.29545454545454547</c:v>
                </c:pt>
                <c:pt idx="73">
                  <c:v>0.20238095238095238</c:v>
                </c:pt>
                <c:pt idx="74">
                  <c:v>0.26136363636363635</c:v>
                </c:pt>
                <c:pt idx="75">
                  <c:v>0.2345679012345679</c:v>
                </c:pt>
                <c:pt idx="76">
                  <c:v>0.26666666666666666</c:v>
                </c:pt>
                <c:pt idx="77">
                  <c:v>0.28</c:v>
                </c:pt>
                <c:pt idx="78">
                  <c:v>0.2786885245901639</c:v>
                </c:pt>
                <c:pt idx="79">
                  <c:v>0.3125</c:v>
                </c:pt>
                <c:pt idx="80">
                  <c:v>0.27586206896551724</c:v>
                </c:pt>
                <c:pt idx="81">
                  <c:v>0.2537313432835821</c:v>
                </c:pt>
                <c:pt idx="82">
                  <c:v>0.23076923076923078</c:v>
                </c:pt>
                <c:pt idx="83">
                  <c:v>0.2727272727272727</c:v>
                </c:pt>
                <c:pt idx="84">
                  <c:v>0.2</c:v>
                </c:pt>
                <c:pt idx="85">
                  <c:v>0.22580645161290322</c:v>
                </c:pt>
                <c:pt idx="86">
                  <c:v>0.3116883116883117</c:v>
                </c:pt>
                <c:pt idx="87">
                  <c:v>0.2980769230769231</c:v>
                </c:pt>
                <c:pt idx="88">
                  <c:v>0.265625</c:v>
                </c:pt>
                <c:pt idx="89">
                  <c:v>0.22727272727272727</c:v>
                </c:pt>
                <c:pt idx="90">
                  <c:v>0.21153846153846154</c:v>
                </c:pt>
                <c:pt idx="91">
                  <c:v>0.2</c:v>
                </c:pt>
                <c:pt idx="92">
                  <c:v>0.37349397590361444</c:v>
                </c:pt>
                <c:pt idx="93">
                  <c:v>0.28</c:v>
                </c:pt>
                <c:pt idx="94">
                  <c:v>0.2413793103448276</c:v>
                </c:pt>
                <c:pt idx="95">
                  <c:v>0.3058823529411765</c:v>
                </c:pt>
                <c:pt idx="96">
                  <c:v>0.32</c:v>
                </c:pt>
                <c:pt idx="97">
                  <c:v>0.31007751937984496</c:v>
                </c:pt>
                <c:pt idx="98">
                  <c:v>0.30256410256410254</c:v>
                </c:pt>
                <c:pt idx="99">
                  <c:v>0.2988929889298893</c:v>
                </c:pt>
                <c:pt idx="100">
                  <c:v>0.3087248322147651</c:v>
                </c:pt>
                <c:pt idx="101">
                  <c:v>0.2938775510204082</c:v>
                </c:pt>
                <c:pt idx="102">
                  <c:v>0.26666666666666666</c:v>
                </c:pt>
                <c:pt idx="103">
                  <c:v>0.291044776119403</c:v>
                </c:pt>
                <c:pt idx="104">
                  <c:v>0.306451612903225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54</c:f>
              <c:numCache>
                <c:formatCode>General</c:formatCode>
                <c:ptCount val="46"/>
                <c:pt idx="0">
                  <c:v>693.7632</c:v>
                </c:pt>
                <c:pt idx="1">
                  <c:v>690.3243</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94.0714</c:v>
                </c:pt>
                <c:pt idx="33">
                  <c:v>753.2857</c:v>
                </c:pt>
                <c:pt idx="34">
                  <c:v>751.1765</c:v>
                </c:pt>
                <c:pt idx="35">
                  <c:v>734.12</c:v>
                </c:pt>
                <c:pt idx="36">
                  <c:v>718.85</c:v>
                </c:pt>
                <c:pt idx="37">
                  <c:v>742.2273</c:v>
                </c:pt>
                <c:pt idx="38">
                  <c:v>711.05</c:v>
                </c:pt>
                <c:pt idx="39">
                  <c:v>710.1563</c:v>
                </c:pt>
                <c:pt idx="40">
                  <c:v>707.825</c:v>
                </c:pt>
                <c:pt idx="41">
                  <c:v>690.2708</c:v>
                </c:pt>
                <c:pt idx="42">
                  <c:v>687.6818</c:v>
                </c:pt>
                <c:pt idx="43">
                  <c:v>733.4333</c:v>
                </c:pt>
                <c:pt idx="44">
                  <c:v>755.6604</c:v>
                </c:pt>
                <c:pt idx="45">
                  <c:v>712.5139</c:v>
                </c:pt>
              </c:numCache>
            </c:numRef>
          </c:xVal>
          <c:yVal>
            <c:numRef>
              <c:f>Sheet1!$B$109:$B$154</c:f>
              <c:numCache>
                <c:formatCode>General</c:formatCode>
                <c:ptCount val="46"/>
                <c:pt idx="0">
                  <c:v>0.25675675675675674</c:v>
                </c:pt>
                <c:pt idx="1">
                  <c:v>0.27205882352941174</c:v>
                </c:pt>
                <c:pt idx="2">
                  <c:v>0.2857142857142857</c:v>
                </c:pt>
                <c:pt idx="3">
                  <c:v>0.2945205479452055</c:v>
                </c:pt>
                <c:pt idx="4">
                  <c:v>0.2916666666666667</c:v>
                </c:pt>
                <c:pt idx="5">
                  <c:v>0.2833333333333333</c:v>
                </c:pt>
                <c:pt idx="6">
                  <c:v>0.2847682119205298</c:v>
                </c:pt>
                <c:pt idx="7">
                  <c:v>0.24615384615384617</c:v>
                </c:pt>
                <c:pt idx="8">
                  <c:v>0.3157894736842105</c:v>
                </c:pt>
                <c:pt idx="9">
                  <c:v>0.3504273504273504</c:v>
                </c:pt>
                <c:pt idx="10">
                  <c:v>0.30714285714285716</c:v>
                </c:pt>
                <c:pt idx="11">
                  <c:v>0.3641304347826087</c:v>
                </c:pt>
                <c:pt idx="12">
                  <c:v>0.3602150537634409</c:v>
                </c:pt>
                <c:pt idx="13">
                  <c:v>0.29936305732484075</c:v>
                </c:pt>
                <c:pt idx="14">
                  <c:v>0.30625</c:v>
                </c:pt>
                <c:pt idx="15">
                  <c:v>0.3308270676691729</c:v>
                </c:pt>
                <c:pt idx="16">
                  <c:v>0.3333333333333333</c:v>
                </c:pt>
                <c:pt idx="17">
                  <c:v>0.2857142857142857</c:v>
                </c:pt>
                <c:pt idx="18">
                  <c:v>0.3</c:v>
                </c:pt>
                <c:pt idx="19">
                  <c:v>0.3177570093457944</c:v>
                </c:pt>
                <c:pt idx="20">
                  <c:v>0.3253012048192771</c:v>
                </c:pt>
                <c:pt idx="21">
                  <c:v>0.25</c:v>
                </c:pt>
                <c:pt idx="22">
                  <c:v>0.3333333333333333</c:v>
                </c:pt>
                <c:pt idx="23">
                  <c:v>0.28205128205128205</c:v>
                </c:pt>
                <c:pt idx="24">
                  <c:v>0.30952380952380953</c:v>
                </c:pt>
                <c:pt idx="25">
                  <c:v>0.22807017543859648</c:v>
                </c:pt>
                <c:pt idx="26">
                  <c:v>0.17391304347826086</c:v>
                </c:pt>
                <c:pt idx="27">
                  <c:v>0.21428571428571427</c:v>
                </c:pt>
                <c:pt idx="28">
                  <c:v>0.3108108108108108</c:v>
                </c:pt>
                <c:pt idx="29">
                  <c:v>0.2727272727272727</c:v>
                </c:pt>
                <c:pt idx="30">
                  <c:v>0.25</c:v>
                </c:pt>
                <c:pt idx="31">
                  <c:v>0.23404255319148937</c:v>
                </c:pt>
                <c:pt idx="32">
                  <c:v>0.28</c:v>
                </c:pt>
                <c:pt idx="33">
                  <c:v>0.2153846153846154</c:v>
                </c:pt>
                <c:pt idx="34">
                  <c:v>0.288135593220339</c:v>
                </c:pt>
                <c:pt idx="35">
                  <c:v>0.30120481927710846</c:v>
                </c:pt>
                <c:pt idx="36">
                  <c:v>0.32786885245901637</c:v>
                </c:pt>
                <c:pt idx="37">
                  <c:v>0.30985915492957744</c:v>
                </c:pt>
                <c:pt idx="38">
                  <c:v>0.24691358024691357</c:v>
                </c:pt>
                <c:pt idx="39">
                  <c:v>0.31683168316831684</c:v>
                </c:pt>
                <c:pt idx="40">
                  <c:v>0.25477707006369427</c:v>
                </c:pt>
                <c:pt idx="41">
                  <c:v>0.3</c:v>
                </c:pt>
                <c:pt idx="42">
                  <c:v>0.2573099415204678</c:v>
                </c:pt>
                <c:pt idx="43">
                  <c:v>0.28169014084507044</c:v>
                </c:pt>
                <c:pt idx="44">
                  <c:v>0.2849462365591398</c:v>
                </c:pt>
                <c:pt idx="45">
                  <c:v>0.3025210084033613</c:v>
                </c:pt>
              </c:numCache>
            </c:numRef>
          </c:yVal>
          <c:smooth val="0"/>
          <c:extLst>
            <c:ext xmlns:c16="http://schemas.microsoft.com/office/drawing/2014/chart" uri="{C3380CC4-5D6E-409C-BE32-E72D297353CC}">
              <c16:uniqueId val="{00000002-F32D-48B7-BC20-E66FC6253BAD}"/>
            </c:ext>
          </c:extLst>
        </c:ser>
        <c:ser>
          <c:idx val="2"/>
          <c:order val="2"/>
          <c:tx>
            <c:strRef>
              <c:f>Sheet1!$B$156</c:f>
              <c:strCache>
                <c:ptCount val="1"/>
                <c:pt idx="0">
                  <c:v>Custom Linep3yQ</c:v>
                </c:pt>
              </c:strCache>
            </c:strRef>
          </c:tx>
          <c:spPr>
            <a:ln w="19050" cap="rnd">
              <a:solidFill>
                <a:srgbClr val="C00000"/>
              </a:solidFill>
              <a:prstDash val="sysDot"/>
              <a:round/>
            </a:ln>
            <a:effectLst/>
          </c:spPr>
          <c:marker>
            <c:symbol val="none"/>
          </c:marker>
          <c:xVal>
            <c:numRef>
              <c:f>Sheet1!$A$157:$A$158</c:f>
              <c:numCache>
                <c:formatCode>General</c:formatCode>
                <c:ptCount val="2"/>
                <c:pt idx="0">
                  <c:v>0</c:v>
                </c:pt>
                <c:pt idx="1">
                  <c:v>142.07144674740732</c:v>
                </c:pt>
              </c:numCache>
            </c:numRef>
          </c:xVal>
          <c:yVal>
            <c:numRef>
              <c:f>Sheet1!$B$157:$B$158</c:f>
              <c:numCache>
                <c:formatCode>General</c:formatCode>
                <c:ptCount val="2"/>
                <c:pt idx="0">
                  <c:v>0.40919847732008974</c:v>
                </c:pt>
                <c:pt idx="1">
                  <c:v>0.40919847732008974</c:v>
                </c:pt>
              </c:numCache>
            </c:numRef>
          </c:yVal>
          <c:smooth val="0"/>
          <c:extLst>
            <c:ext xmlns:c16="http://schemas.microsoft.com/office/drawing/2014/chart" uri="{C3380CC4-5D6E-409C-BE32-E72D297353CC}">
              <c16:uniqueId val="{00000003-F32D-48B7-BC20-E66FC6253BAD}"/>
            </c:ext>
          </c:extLst>
        </c:ser>
        <c:ser>
          <c:idx val="3"/>
          <c:order val="3"/>
          <c:tx>
            <c:strRef>
              <c:f>Sheet1!$B$1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142.07144674740732</c:v>
                </c:pt>
                <c:pt idx="1">
                  <c:v>142.07144674740732</c:v>
                </c:pt>
              </c:numCache>
            </c:numRef>
          </c:xVal>
          <c:yVal>
            <c:numRef>
              <c:f>Sheet1!$B$161:$B$162</c:f>
              <c:numCache>
                <c:formatCode>General</c:formatCode>
                <c:ptCount val="2"/>
                <c:pt idx="0">
                  <c:v>0.409198477320089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5:$A$166</c:f>
              <c:numCache>
                <c:formatCode>General</c:formatCode>
                <c:ptCount val="2"/>
                <c:pt idx="0">
                  <c:v>0</c:v>
                </c:pt>
                <c:pt idx="1">
                  <c:v>560.6203731441516</c:v>
                </c:pt>
              </c:numCache>
            </c:numRef>
          </c:xVal>
          <c:yVal>
            <c:numRef>
              <c:f>Sheet1!$B$165:$B$166</c:f>
              <c:numCache>
                <c:formatCode>General</c:formatCode>
                <c:ptCount val="2"/>
                <c:pt idx="0">
                  <c:v>0.31772781956330476</c:v>
                </c:pt>
                <c:pt idx="1">
                  <c:v>0.31772781956330476</c:v>
                </c:pt>
              </c:numCache>
            </c:numRef>
          </c:yVal>
          <c:smooth val="0"/>
          <c:extLst>
            <c:ext xmlns:c16="http://schemas.microsoft.com/office/drawing/2014/chart" uri="{C3380CC4-5D6E-409C-BE32-E72D297353CC}">
              <c16:uniqueId val="{0000000A-F32D-48B7-BC20-E66FC6253BAD}"/>
            </c:ext>
          </c:extLst>
        </c:ser>
        <c:ser>
          <c:idx val="5"/>
          <c:order val="5"/>
          <c:tx>
            <c:strRef>
              <c:f>Sheet1!$B$1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560.6203731441516</c:v>
                </c:pt>
                <c:pt idx="1">
                  <c:v>560.6203731441516</c:v>
                </c:pt>
              </c:numCache>
            </c:numRef>
          </c:xVal>
          <c:yVal>
            <c:numRef>
              <c:f>Sheet1!$B$169:$B$170</c:f>
              <c:numCache>
                <c:formatCode>General</c:formatCode>
                <c:ptCount val="2"/>
                <c:pt idx="0">
                  <c:v>0.317727819563304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3:$A$174</c:f>
              <c:numCache>
                <c:formatCode>General</c:formatCode>
                <c:ptCount val="2"/>
                <c:pt idx="0">
                  <c:v>0</c:v>
                </c:pt>
                <c:pt idx="1">
                  <c:v>690.0246887828886</c:v>
                </c:pt>
              </c:numCache>
            </c:numRef>
          </c:xVal>
          <c:yVal>
            <c:numRef>
              <c:f>Sheet1!$B$173:$B$174</c:f>
              <c:numCache>
                <c:formatCode>General</c:formatCode>
                <c:ptCount val="2"/>
                <c:pt idx="0">
                  <c:v>0.28944749886115145</c:v>
                </c:pt>
                <c:pt idx="1">
                  <c:v>0.28944749886115145</c:v>
                </c:pt>
              </c:numCache>
            </c:numRef>
          </c:yVal>
          <c:smooth val="0"/>
          <c:extLst>
            <c:ext xmlns:c16="http://schemas.microsoft.com/office/drawing/2014/chart" uri="{C3380CC4-5D6E-409C-BE32-E72D297353CC}">
              <c16:uniqueId val="{00000011-F32D-48B7-BC20-E66FC6253BAD}"/>
            </c:ext>
          </c:extLst>
        </c:ser>
        <c:ser>
          <c:idx val="7"/>
          <c:order val="7"/>
          <c:tx>
            <c:strRef>
              <c:f>Sheet1!$B$17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7:$A$178</c:f>
              <c:numCache>
                <c:formatCode>General</c:formatCode>
                <c:ptCount val="2"/>
                <c:pt idx="0">
                  <c:v>690.0246887828886</c:v>
                </c:pt>
                <c:pt idx="1">
                  <c:v>690.0246887828886</c:v>
                </c:pt>
              </c:numCache>
            </c:numRef>
          </c:xVal>
          <c:yVal>
            <c:numRef>
              <c:f>Sheet1!$B$177:$B$178</c:f>
              <c:numCache>
                <c:formatCode>General</c:formatCode>
                <c:ptCount val="2"/>
                <c:pt idx="0">
                  <c:v>0.289447498861151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1:$A$229</c:f>
              <c:numCache>
                <c:formatCode>General</c:formatCode>
                <c:ptCount val="49"/>
                <c:pt idx="0">
                  <c:v>693.7632</c:v>
                </c:pt>
                <c:pt idx="1">
                  <c:v>690.3243</c:v>
                </c:pt>
                <c:pt idx="2">
                  <c:v>672.1429</c:v>
                </c:pt>
                <c:pt idx="3">
                  <c:v>700.0465</c:v>
                </c:pt>
                <c:pt idx="4">
                  <c:v>717.9286</c:v>
                </c:pt>
                <c:pt idx="5">
                  <c:v>704.9706</c:v>
                </c:pt>
                <c:pt idx="6">
                  <c:v>636.7674</c:v>
                </c:pt>
                <c:pt idx="7">
                  <c:v>656.375</c:v>
                </c:pt>
                <c:pt idx="8">
                  <c:v>721.8889</c:v>
                </c:pt>
                <c:pt idx="9">
                  <c:v>662.0</c:v>
                </c:pt>
                <c:pt idx="10">
                  <c:v>697.8372</c:v>
                </c:pt>
                <c:pt idx="11">
                  <c:v>665.5224</c:v>
                </c:pt>
                <c:pt idx="12">
                  <c:v>660.4925</c:v>
                </c:pt>
                <c:pt idx="13">
                  <c:v>667.617</c:v>
                </c:pt>
                <c:pt idx="14">
                  <c:v>677.9184</c:v>
                </c:pt>
                <c:pt idx="15">
                  <c:v>670.0227</c:v>
                </c:pt>
                <c:pt idx="16">
                  <c:v>716.7647</c:v>
                </c:pt>
                <c:pt idx="17">
                  <c:v>710.4091</c:v>
                </c:pt>
                <c:pt idx="18">
                  <c:v>478.2333</c:v>
                </c:pt>
                <c:pt idx="19">
                  <c:v>620.7941</c:v>
                </c:pt>
                <c:pt idx="20">
                  <c:v>703.7037</c:v>
                </c:pt>
                <c:pt idx="21">
                  <c:v>618.1</c:v>
                </c:pt>
                <c:pt idx="22">
                  <c:v>684.7778</c:v>
                </c:pt>
                <c:pt idx="23">
                  <c:v>641.5455</c:v>
                </c:pt>
                <c:pt idx="24">
                  <c:v>638.3846</c:v>
                </c:pt>
                <c:pt idx="25">
                  <c:v>666.2308</c:v>
                </c:pt>
                <c:pt idx="26">
                  <c:v>781.0</c:v>
                </c:pt>
                <c:pt idx="27">
                  <c:v>731.1667</c:v>
                </c:pt>
                <c:pt idx="28">
                  <c:v>744.087</c:v>
                </c:pt>
                <c:pt idx="29">
                  <c:v>720.2778</c:v>
                </c:pt>
                <c:pt idx="30">
                  <c:v>754.1538</c:v>
                </c:pt>
                <c:pt idx="31">
                  <c:v>786.6364</c:v>
                </c:pt>
                <c:pt idx="32">
                  <c:v>794.0714</c:v>
                </c:pt>
                <c:pt idx="33">
                  <c:v>753.2857</c:v>
                </c:pt>
                <c:pt idx="34">
                  <c:v>751.1765</c:v>
                </c:pt>
                <c:pt idx="35">
                  <c:v>734.12</c:v>
                </c:pt>
                <c:pt idx="36">
                  <c:v>718.85</c:v>
                </c:pt>
                <c:pt idx="37">
                  <c:v>742.2273</c:v>
                </c:pt>
                <c:pt idx="38">
                  <c:v>711.05</c:v>
                </c:pt>
                <c:pt idx="39">
                  <c:v>710.1563</c:v>
                </c:pt>
                <c:pt idx="40">
                  <c:v>707.825</c:v>
                </c:pt>
                <c:pt idx="41">
                  <c:v>690.2708</c:v>
                </c:pt>
                <c:pt idx="42">
                  <c:v>687.6818</c:v>
                </c:pt>
                <c:pt idx="43">
                  <c:v>733.4333</c:v>
                </c:pt>
                <c:pt idx="44">
                  <c:v>755.6604</c:v>
                </c:pt>
                <c:pt idx="45">
                  <c:v>712.5139</c:v>
                </c:pt>
                <c:pt idx="46">
                  <c:v>560.6203731441516</c:v>
                </c:pt>
                <c:pt idx="47">
                  <c:v>142.07144674740732</c:v>
                </c:pt>
                <c:pt idx="48">
                  <c:v>690.0246887828886</c:v>
                </c:pt>
              </c:numCache>
            </c:numRef>
          </c:xVal>
          <c:yVal>
            <c:numRef>
              <c:f>Sheet1!$B$181:$B$229</c:f>
              <c:numCache>
                <c:formatCode>General</c:formatCode>
                <c:ptCount val="49"/>
                <c:pt idx="0">
                  <c:v>0.2886304759075765</c:v>
                </c:pt>
                <c:pt idx="1">
                  <c:v>0.28938202112755307</c:v>
                </c:pt>
                <c:pt idx="2">
                  <c:v>0.29335542665329745</c:v>
                </c:pt>
                <c:pt idx="3">
                  <c:v>0.28725730888303985</c:v>
                </c:pt>
                <c:pt idx="4">
                  <c:v>0.2833493130767811</c:v>
                </c:pt>
                <c:pt idx="5">
                  <c:v>0.28618118459396874</c:v>
                </c:pt>
                <c:pt idx="6">
                  <c:v>0.3010864708619927</c:v>
                </c:pt>
                <c:pt idx="7">
                  <c:v>0.29680138026464675</c:v>
                </c:pt>
                <c:pt idx="8">
                  <c:v>0.28248381988573934</c:v>
                </c:pt>
                <c:pt idx="9">
                  <c:v>0.2955720796562056</c:v>
                </c:pt>
                <c:pt idx="10">
                  <c:v>0.2877401344535695</c:v>
                </c:pt>
                <c:pt idx="11">
                  <c:v>0.29480228615164145</c:v>
                </c:pt>
                <c:pt idx="12">
                  <c:v>0.2959015322192678</c:v>
                </c:pt>
                <c:pt idx="13">
                  <c:v>0.2943445273864075</c:v>
                </c:pt>
                <c:pt idx="14">
                  <c:v>0.2920932354241327</c:v>
                </c:pt>
                <c:pt idx="15">
                  <c:v>0.29381878010218937</c:v>
                </c:pt>
                <c:pt idx="16">
                  <c:v>0.28360367449512147</c:v>
                </c:pt>
                <c:pt idx="17">
                  <c:v>0.2849926421301452</c:v>
                </c:pt>
                <c:pt idx="18">
                  <c:v>0.33573288252220124</c:v>
                </c:pt>
                <c:pt idx="19">
                  <c:v>0.30457731306800395</c:v>
                </c:pt>
                <c:pt idx="20">
                  <c:v>0.28645805587233925</c:v>
                </c:pt>
                <c:pt idx="21">
                  <c:v>0.3051660879603064</c:v>
                </c:pt>
                <c:pt idx="22">
                  <c:v>0.29059416616305866</c:v>
                </c:pt>
                <c:pt idx="23">
                  <c:v>0.3000422537531584</c:v>
                </c:pt>
                <c:pt idx="24">
                  <c:v>0.3007330442052867</c:v>
                </c:pt>
                <c:pt idx="25">
                  <c:v>0.2946474707647935</c:v>
                </c:pt>
                <c:pt idx="26">
                  <c:v>0.2695655423398502</c:v>
                </c:pt>
                <c:pt idx="27">
                  <c:v>0.2804562278528513</c:v>
                </c:pt>
                <c:pt idx="28">
                  <c:v>0.2776325953815193</c:v>
                </c:pt>
                <c:pt idx="29">
                  <c:v>0.28283591343423</c:v>
                </c:pt>
                <c:pt idx="30">
                  <c:v>0.27543257344995387</c:v>
                </c:pt>
                <c:pt idx="31">
                  <c:v>0.26833375034884255</c:v>
                </c:pt>
                <c:pt idx="32">
                  <c:v>0.2667088881223963</c:v>
                </c:pt>
                <c:pt idx="33">
                  <c:v>0.27562229004696503</c:v>
                </c:pt>
                <c:pt idx="34">
                  <c:v>0.2760832395302226</c:v>
                </c:pt>
                <c:pt idx="35">
                  <c:v>0.27981080678851183</c:v>
                </c:pt>
                <c:pt idx="36">
                  <c:v>0.28314794817356015</c:v>
                </c:pt>
                <c:pt idx="37">
                  <c:v>0.2780390185533447</c:v>
                </c:pt>
                <c:pt idx="38">
                  <c:v>0.2848525783505986</c:v>
                </c:pt>
                <c:pt idx="39">
                  <c:v>0.2850478896312677</c:v>
                </c:pt>
                <c:pt idx="40">
                  <c:v>0.2855573773661048</c:v>
                </c:pt>
                <c:pt idx="41">
                  <c:v>0.2893937131422289</c:v>
                </c:pt>
                <c:pt idx="42">
                  <c:v>0.2899595192356075</c:v>
                </c:pt>
                <c:pt idx="43">
                  <c:v>0.2799608798067903</c:v>
                </c:pt>
                <c:pt idx="44">
                  <c:v>0.27510331757498896</c:v>
                </c:pt>
                <c:pt idx="45">
                  <c:v>0.28453265423314134</c:v>
                </c:pt>
                <c:pt idx="46">
                  <c:v>0.31772781956330476</c:v>
                </c:pt>
                <c:pt idx="47">
                  <c:v>0.40919847732008974</c:v>
                </c:pt>
                <c:pt idx="48">
                  <c:v>0.289447498861151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53.0"/>
          <c:min val="1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81021897810219"/>
          <c:min val="0.13913043478260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72522279472593</c:v>
                </c:pt>
                <c:pt idx="1">
                  <c:v>0.20386766594890512</c:v>
                </c:pt>
                <c:pt idx="2">
                  <c:v>0.17884787864307136</c:v>
                </c:pt>
                <c:pt idx="3">
                  <c:v>0.1747779491158206</c:v>
                </c:pt>
                <c:pt idx="4">
                  <c:v>0.15947793013240763</c:v>
                </c:pt>
                <c:pt idx="5">
                  <c:v>0.17067356508871</c:v>
                </c:pt>
                <c:pt idx="6">
                  <c:v>0.1907211983207434</c:v>
                </c:pt>
                <c:pt idx="7">
                  <c:v>0.180119116321674</c:v>
                </c:pt>
                <c:pt idx="8">
                  <c:v>0.15304837827041784</c:v>
                </c:pt>
                <c:pt idx="9">
                  <c:v>0.17173472037314433</c:v>
                </c:pt>
                <c:pt idx="10">
                  <c:v>0.17589691995948445</c:v>
                </c:pt>
                <c:pt idx="11">
                  <c:v>0.19493168023732876</c:v>
                </c:pt>
                <c:pt idx="12">
                  <c:v>0.18862379589926526</c:v>
                </c:pt>
                <c:pt idx="13">
                  <c:v>0.17378714293660633</c:v>
                </c:pt>
                <c:pt idx="14">
                  <c:v>0.1779431701398339</c:v>
                </c:pt>
                <c:pt idx="15">
                  <c:v>0.20578710519038043</c:v>
                </c:pt>
                <c:pt idx="16">
                  <c:v>0.19032324837561063</c:v>
                </c:pt>
                <c:pt idx="17">
                  <c:v>0.17556809489522343</c:v>
                </c:pt>
                <c:pt idx="18">
                  <c:v>0.17139563463380197</c:v>
                </c:pt>
                <c:pt idx="19">
                  <c:v>0.17040156973411527</c:v>
                </c:pt>
                <c:pt idx="20">
                  <c:v>0.16289291256632948</c:v>
                </c:pt>
                <c:pt idx="21">
                  <c:v>0.1615368014129337</c:v>
                </c:pt>
                <c:pt idx="22">
                  <c:v>0.15230891120004236</c:v>
                </c:pt>
                <c:pt idx="23">
                  <c:v>0.13650782122886243</c:v>
                </c:pt>
                <c:pt idx="24">
                  <c:v>0.15298206699082248</c:v>
                </c:pt>
                <c:pt idx="25">
                  <c:v>0.13920208946574758</c:v>
                </c:pt>
                <c:pt idx="26">
                  <c:v>0.12045907098666017</c:v>
                </c:pt>
                <c:pt idx="27">
                  <c:v>0.12441351322872181</c:v>
                </c:pt>
                <c:pt idx="28">
                  <c:v>0.11695142022588635</c:v>
                </c:pt>
                <c:pt idx="29">
                  <c:v>0.14018781152254364</c:v>
                </c:pt>
                <c:pt idx="30">
                  <c:v>0.14241820267552627</c:v>
                </c:pt>
                <c:pt idx="31">
                  <c:v>0.12456532521044184</c:v>
                </c:pt>
                <c:pt idx="32">
                  <c:v>0.12377168953988107</c:v>
                </c:pt>
                <c:pt idx="33">
                  <c:v>0.1302341173426834</c:v>
                </c:pt>
                <c:pt idx="34">
                  <c:v>0.14621238851643525</c:v>
                </c:pt>
                <c:pt idx="35">
                  <c:v>0.1258505379931391</c:v>
                </c:pt>
                <c:pt idx="36">
                  <c:v>0.10811751691730681</c:v>
                </c:pt>
                <c:pt idx="37">
                  <c:v>0.12608339863653312</c:v>
                </c:pt>
                <c:pt idx="38">
                  <c:v>0.1399159854913183</c:v>
                </c:pt>
                <c:pt idx="39">
                  <c:v>0.1457246371933807</c:v>
                </c:pt>
                <c:pt idx="40">
                  <c:v>0.15922051268201415</c:v>
                </c:pt>
                <c:pt idx="41">
                  <c:v>0.16414040782945963</c:v>
                </c:pt>
                <c:pt idx="42">
                  <c:v>0.15230985321410495</c:v>
                </c:pt>
                <c:pt idx="43">
                  <c:v>0.15535270809202872</c:v>
                </c:pt>
                <c:pt idx="44">
                  <c:v>0.17153138170546317</c:v>
                </c:pt>
                <c:pt idx="45">
                  <c:v>0.1930141812865497</c:v>
                </c:pt>
                <c:pt idx="46">
                  <c:v>0.1745268496469885</c:v>
                </c:pt>
                <c:pt idx="47">
                  <c:v>0.1655173487207242</c:v>
                </c:pt>
                <c:pt idx="48">
                  <c:v>0.22285275541424932</c:v>
                </c:pt>
                <c:pt idx="49">
                  <c:v>0.21785970158429402</c:v>
                </c:pt>
                <c:pt idx="50">
                  <c:v>0.16876015709523873</c:v>
                </c:pt>
                <c:pt idx="51">
                  <c:v>0.1585014790247436</c:v>
                </c:pt>
                <c:pt idx="52">
                  <c:v>0.19374151993851274</c:v>
                </c:pt>
                <c:pt idx="53">
                  <c:v>0.21007609290201415</c:v>
                </c:pt>
                <c:pt idx="54">
                  <c:v>0.19902497291284155</c:v>
                </c:pt>
                <c:pt idx="55">
                  <c:v>0.15873229233142477</c:v>
                </c:pt>
                <c:pt idx="56">
                  <c:v>0.16893623315978543</c:v>
                </c:pt>
                <c:pt idx="57">
                  <c:v>0.17014845913309143</c:v>
                </c:pt>
                <c:pt idx="58">
                  <c:v>0.20592938297137012</c:v>
                </c:pt>
                <c:pt idx="59">
                  <c:v>0.22397738785492466</c:v>
                </c:pt>
                <c:pt idx="60">
                  <c:v>0.20004872970734833</c:v>
                </c:pt>
                <c:pt idx="61">
                  <c:v>0.21107536965583562</c:v>
                </c:pt>
                <c:pt idx="62">
                  <c:v>0.24729669480578337</c:v>
                </c:pt>
                <c:pt idx="63">
                  <c:v>0.22020564992137565</c:v>
                </c:pt>
                <c:pt idx="64">
                  <c:v>0.23333656692328442</c:v>
                </c:pt>
                <c:pt idx="65">
                  <c:v>0.1871583888949553</c:v>
                </c:pt>
                <c:pt idx="66">
                  <c:v>0.19757760183105733</c:v>
                </c:pt>
                <c:pt idx="67">
                  <c:v>0.25397751098291166</c:v>
                </c:pt>
                <c:pt idx="68">
                  <c:v>0.21028133605349758</c:v>
                </c:pt>
                <c:pt idx="69">
                  <c:v>0.16910553002023837</c:v>
                </c:pt>
                <c:pt idx="70">
                  <c:v>0.14927826313263823</c:v>
                </c:pt>
                <c:pt idx="71">
                  <c:v>0.16880436813399174</c:v>
                </c:pt>
                <c:pt idx="72">
                  <c:v>0.19193648471998884</c:v>
                </c:pt>
                <c:pt idx="73">
                  <c:v>0.18787411279889665</c:v>
                </c:pt>
                <c:pt idx="74">
                  <c:v>0.19198566385909333</c:v>
                </c:pt>
                <c:pt idx="75">
                  <c:v>0.17218549705030964</c:v>
                </c:pt>
                <c:pt idx="76">
                  <c:v>0.1443958779006223</c:v>
                </c:pt>
                <c:pt idx="77">
                  <c:v>0.13332887359933102</c:v>
                </c:pt>
                <c:pt idx="78">
                  <c:v>0.15151996678448887</c:v>
                </c:pt>
                <c:pt idx="79">
                  <c:v>0.14326431234995526</c:v>
                </c:pt>
                <c:pt idx="80">
                  <c:v>0.1486073812629479</c:v>
                </c:pt>
                <c:pt idx="81">
                  <c:v>0.1671749668321028</c:v>
                </c:pt>
                <c:pt idx="82">
                  <c:v>0.17303089664212765</c:v>
                </c:pt>
                <c:pt idx="83">
                  <c:v>0.16116259773913166</c:v>
                </c:pt>
                <c:pt idx="84">
                  <c:v>0.14393816093653625</c:v>
                </c:pt>
                <c:pt idx="85">
                  <c:v>0.16706949486386727</c:v>
                </c:pt>
                <c:pt idx="86">
                  <c:v>0.161858168015679</c:v>
                </c:pt>
                <c:pt idx="87">
                  <c:v>0.14797661044342744</c:v>
                </c:pt>
                <c:pt idx="88">
                  <c:v>0.13417613447928275</c:v>
                </c:pt>
                <c:pt idx="89">
                  <c:v>0.12838778146103105</c:v>
                </c:pt>
                <c:pt idx="90">
                  <c:v>0.13704351808417978</c:v>
                </c:pt>
                <c:pt idx="91">
                  <c:v>0.16753454757160344</c:v>
                </c:pt>
                <c:pt idx="92">
                  <c:v>0.16599270175957093</c:v>
                </c:pt>
                <c:pt idx="93">
                  <c:v>0.15512537802340834</c:v>
                </c:pt>
                <c:pt idx="94">
                  <c:v>0.12235688738055206</c:v>
                </c:pt>
                <c:pt idx="95">
                  <c:v>0.12055600275952603</c:v>
                </c:pt>
                <c:pt idx="96">
                  <c:v>0.14359055724333097</c:v>
                </c:pt>
                <c:pt idx="97">
                  <c:v>0.16801679387678242</c:v>
                </c:pt>
                <c:pt idx="98">
                  <c:v>0.17293880818699447</c:v>
                </c:pt>
                <c:pt idx="99">
                  <c:v>0.18379646474234593</c:v>
                </c:pt>
                <c:pt idx="100">
                  <c:v>0.2042166719360561</c:v>
                </c:pt>
                <c:pt idx="101">
                  <c:v>0.18246355830969732</c:v>
                </c:pt>
                <c:pt idx="102">
                  <c:v>0.16094900260319017</c:v>
                </c:pt>
                <c:pt idx="103">
                  <c:v>0.16156455769181366</c:v>
                </c:pt>
                <c:pt idx="104">
                  <c:v>0.19482919581862182</c:v>
                </c:pt>
              </c:numCache>
            </c:numRef>
          </c:xVal>
          <c:yVal>
            <c:numRef>
              <c:f>Sheet1!$B$2:$B$106</c:f>
              <c:numCache>
                <c:formatCode>General</c:formatCode>
                <c:ptCount val="105"/>
                <c:pt idx="0">
                  <c:v>0.23141242937853107</c:v>
                </c:pt>
                <c:pt idx="1">
                  <c:v>0.23020874359984245</c:v>
                </c:pt>
                <c:pt idx="2">
                  <c:v>0.24469253294289897</c:v>
                </c:pt>
                <c:pt idx="3">
                  <c:v>0.24938875305623473</c:v>
                </c:pt>
                <c:pt idx="4">
                  <c:v>0.24951219512195122</c:v>
                </c:pt>
                <c:pt idx="5">
                  <c:v>0.25216637781629114</c:v>
                </c:pt>
                <c:pt idx="6">
                  <c:v>0.28717948717948716</c:v>
                </c:pt>
                <c:pt idx="7">
                  <c:v>0.26748878923766817</c:v>
                </c:pt>
                <c:pt idx="8">
                  <c:v>0.2665582151986986</c:v>
                </c:pt>
                <c:pt idx="9">
                  <c:v>0.23812249570692615</c:v>
                </c:pt>
                <c:pt idx="10">
                  <c:v>0.22774182263424872</c:v>
                </c:pt>
                <c:pt idx="11">
                  <c:v>0.22689228529839883</c:v>
                </c:pt>
                <c:pt idx="12">
                  <c:v>0.21567614125753662</c:v>
                </c:pt>
                <c:pt idx="13">
                  <c:v>0.21331058020477817</c:v>
                </c:pt>
                <c:pt idx="14">
                  <c:v>0.18866396761133603</c:v>
                </c:pt>
                <c:pt idx="15">
                  <c:v>0.18433179723502305</c:v>
                </c:pt>
                <c:pt idx="16">
                  <c:v>0.1882716049382716</c:v>
                </c:pt>
                <c:pt idx="17">
                  <c:v>0.17803427771948233</c:v>
                </c:pt>
                <c:pt idx="18">
                  <c:v>0.15098374679213003</c:v>
                </c:pt>
                <c:pt idx="19">
                  <c:v>0.16349438750610054</c:v>
                </c:pt>
                <c:pt idx="20">
                  <c:v>0.1650943396226415</c:v>
                </c:pt>
                <c:pt idx="21">
                  <c:v>0.16135265700483092</c:v>
                </c:pt>
                <c:pt idx="22">
                  <c:v>0.20331728196896737</c:v>
                </c:pt>
                <c:pt idx="23">
                  <c:v>0.1956521739130435</c:v>
                </c:pt>
                <c:pt idx="24">
                  <c:v>0.20112044817927172</c:v>
                </c:pt>
                <c:pt idx="25">
                  <c:v>0.22847457627118645</c:v>
                </c:pt>
                <c:pt idx="26">
                  <c:v>0.24375821287779237</c:v>
                </c:pt>
                <c:pt idx="27">
                  <c:v>0.24875</c:v>
                </c:pt>
                <c:pt idx="28">
                  <c:v>0.2421340629274966</c:v>
                </c:pt>
                <c:pt idx="29">
                  <c:v>0.213452299245024</c:v>
                </c:pt>
                <c:pt idx="30">
                  <c:v>0.2119815668202765</c:v>
                </c:pt>
                <c:pt idx="31">
                  <c:v>0.248559670781893</c:v>
                </c:pt>
                <c:pt idx="32">
                  <c:v>0.23083131557707828</c:v>
                </c:pt>
                <c:pt idx="33">
                  <c:v>0.21878862793572312</c:v>
                </c:pt>
                <c:pt idx="34">
                  <c:v>0.20626276378488767</c:v>
                </c:pt>
                <c:pt idx="35">
                  <c:v>0.22306717363751585</c:v>
                </c:pt>
                <c:pt idx="36">
                  <c:v>0.20675944333996024</c:v>
                </c:pt>
                <c:pt idx="37">
                  <c:v>0.18614130434782608</c:v>
                </c:pt>
                <c:pt idx="38">
                  <c:v>0.18341200269723534</c:v>
                </c:pt>
                <c:pt idx="39">
                  <c:v>0.16640625</c:v>
                </c:pt>
                <c:pt idx="40">
                  <c:v>0.16932907348242812</c:v>
                </c:pt>
                <c:pt idx="41">
                  <c:v>0.16224951519069167</c:v>
                </c:pt>
                <c:pt idx="42">
                  <c:v>0.15375</c:v>
                </c:pt>
                <c:pt idx="43">
                  <c:v>0.1634446397188049</c:v>
                </c:pt>
                <c:pt idx="44">
                  <c:v>0.1818634778276034</c:v>
                </c:pt>
                <c:pt idx="45">
                  <c:v>0.19259751773049646</c:v>
                </c:pt>
                <c:pt idx="46">
                  <c:v>0.1890495867768595</c:v>
                </c:pt>
                <c:pt idx="47">
                  <c:v>0.18433818433818433</c:v>
                </c:pt>
                <c:pt idx="48">
                  <c:v>0.1922816519972918</c:v>
                </c:pt>
                <c:pt idx="49">
                  <c:v>0.2071188717259906</c:v>
                </c:pt>
                <c:pt idx="50">
                  <c:v>0.19093778178539225</c:v>
                </c:pt>
                <c:pt idx="51">
                  <c:v>0.18667020711630378</c:v>
                </c:pt>
                <c:pt idx="52">
                  <c:v>0.18287132809267687</c:v>
                </c:pt>
                <c:pt idx="53">
                  <c:v>0.16892980437284236</c:v>
                </c:pt>
                <c:pt idx="54">
                  <c:v>0.18629715165511931</c:v>
                </c:pt>
                <c:pt idx="55">
                  <c:v>0.19595517901065865</c:v>
                </c:pt>
                <c:pt idx="56">
                  <c:v>0.19444444444444445</c:v>
                </c:pt>
                <c:pt idx="57">
                  <c:v>0.19769935659972704</c:v>
                </c:pt>
                <c:pt idx="58">
                  <c:v>0.18641114982578397</c:v>
                </c:pt>
                <c:pt idx="59">
                  <c:v>0.20507253528076583</c:v>
                </c:pt>
                <c:pt idx="60">
                  <c:v>0.23568605307735743</c:v>
                </c:pt>
                <c:pt idx="61">
                  <c:v>0.21632267212856468</c:v>
                </c:pt>
                <c:pt idx="62">
                  <c:v>0.22291913883709102</c:v>
                </c:pt>
                <c:pt idx="63">
                  <c:v>0.24849020474296657</c:v>
                </c:pt>
                <c:pt idx="64">
                  <c:v>0.22680883472962682</c:v>
                </c:pt>
                <c:pt idx="65">
                  <c:v>0.22332835573253693</c:v>
                </c:pt>
                <c:pt idx="66">
                  <c:v>0.20294744318181818</c:v>
                </c:pt>
                <c:pt idx="67">
                  <c:v>0.1918819188191882</c:v>
                </c:pt>
                <c:pt idx="68">
                  <c:v>0.19428444838280903</c:v>
                </c:pt>
                <c:pt idx="69">
                  <c:v>0.20064935064935066</c:v>
                </c:pt>
                <c:pt idx="70">
                  <c:v>0.18772893772893773</c:v>
                </c:pt>
                <c:pt idx="71">
                  <c:v>0.1883202099737533</c:v>
                </c:pt>
                <c:pt idx="72">
                  <c:v>0.18771929824561404</c:v>
                </c:pt>
                <c:pt idx="73">
                  <c:v>0.18907400232468036</c:v>
                </c:pt>
                <c:pt idx="74">
                  <c:v>0.1852537977028529</c:v>
                </c:pt>
                <c:pt idx="75">
                  <c:v>0.19722650231124808</c:v>
                </c:pt>
                <c:pt idx="76">
                  <c:v>0.2099514563106796</c:v>
                </c:pt>
                <c:pt idx="77">
                  <c:v>0.23292273236282196</c:v>
                </c:pt>
                <c:pt idx="78">
                  <c:v>0.18120351588911426</c:v>
                </c:pt>
                <c:pt idx="79">
                  <c:v>0.16643741403026135</c:v>
                </c:pt>
                <c:pt idx="80">
                  <c:v>0.16296296296296298</c:v>
                </c:pt>
                <c:pt idx="81">
                  <c:v>0.17077464788732394</c:v>
                </c:pt>
                <c:pt idx="82">
                  <c:v>0.15924032140248356</c:v>
                </c:pt>
                <c:pt idx="83">
                  <c:v>0.18165938864628822</c:v>
                </c:pt>
                <c:pt idx="84">
                  <c:v>0.17809439002671415</c:v>
                </c:pt>
                <c:pt idx="85">
                  <c:v>0.15801024140453548</c:v>
                </c:pt>
                <c:pt idx="86">
                  <c:v>0.15625</c:v>
                </c:pt>
                <c:pt idx="87">
                  <c:v>0.1923821820529374</c:v>
                </c:pt>
                <c:pt idx="88">
                  <c:v>0.16098334655035687</c:v>
                </c:pt>
                <c:pt idx="89">
                  <c:v>0.16464891041162227</c:v>
                </c:pt>
                <c:pt idx="90">
                  <c:v>0.16488413547237077</c:v>
                </c:pt>
                <c:pt idx="91">
                  <c:v>0.13717848791894</c:v>
                </c:pt>
                <c:pt idx="92">
                  <c:v>0.15772357723577235</c:v>
                </c:pt>
                <c:pt idx="93">
                  <c:v>0.1601804850535815</c:v>
                </c:pt>
                <c:pt idx="94">
                  <c:v>0.1807324840764331</c:v>
                </c:pt>
                <c:pt idx="95">
                  <c:v>0.19528772088808338</c:v>
                </c:pt>
                <c:pt idx="96">
                  <c:v>0.19106273274133487</c:v>
                </c:pt>
                <c:pt idx="97">
                  <c:v>0.18037436188315373</c:v>
                </c:pt>
                <c:pt idx="98">
                  <c:v>0.17879161528976573</c:v>
                </c:pt>
                <c:pt idx="99">
                  <c:v>0.17836617405582922</c:v>
                </c:pt>
                <c:pt idx="100">
                  <c:v>0.180733374766936</c:v>
                </c:pt>
                <c:pt idx="101">
                  <c:v>0.17605331040412725</c:v>
                </c:pt>
                <c:pt idx="102">
                  <c:v>0.18796577422025945</c:v>
                </c:pt>
                <c:pt idx="103">
                  <c:v>0.1666270501545044</c:v>
                </c:pt>
                <c:pt idx="104">
                  <c:v>0.172388425698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15514172368589</c:v>
                </c:pt>
                <c:pt idx="1">
                  <c:v>0.2248165786327599</c:v>
                </c:pt>
                <c:pt idx="2">
                  <c:v>0.1871318352723294</c:v>
                </c:pt>
                <c:pt idx="3">
                  <c:v>0.19779395113972856</c:v>
                </c:pt>
                <c:pt idx="4">
                  <c:v>0.1895549197730646</c:v>
                </c:pt>
                <c:pt idx="5">
                  <c:v>0.2085962157115896</c:v>
                </c:pt>
                <c:pt idx="6">
                  <c:v>0.20346912045022514</c:v>
                </c:pt>
                <c:pt idx="7">
                  <c:v>0.19249698551968764</c:v>
                </c:pt>
                <c:pt idx="8">
                  <c:v>0.2284020199154698</c:v>
                </c:pt>
                <c:pt idx="9">
                  <c:v>0.22018216590474135</c:v>
                </c:pt>
                <c:pt idx="10">
                  <c:v>0.22542091371172918</c:v>
                </c:pt>
                <c:pt idx="11">
                  <c:v>0.20633291212838037</c:v>
                </c:pt>
                <c:pt idx="12">
                  <c:v>0.17300453710869637</c:v>
                </c:pt>
                <c:pt idx="13">
                  <c:v>0.1947548821721385</c:v>
                </c:pt>
                <c:pt idx="14">
                  <c:v>0.21151633510076862</c:v>
                </c:pt>
                <c:pt idx="15">
                  <c:v>0.20367784094905558</c:v>
                </c:pt>
                <c:pt idx="16">
                  <c:v>0.18250786123822896</c:v>
                </c:pt>
                <c:pt idx="17">
                  <c:v>0.16897005055061246</c:v>
                </c:pt>
                <c:pt idx="18">
                  <c:v>0.15728002518697476</c:v>
                </c:pt>
                <c:pt idx="19">
                  <c:v>0.15945038082141672</c:v>
                </c:pt>
                <c:pt idx="20">
                  <c:v>0.14713774360944556</c:v>
                </c:pt>
                <c:pt idx="21">
                  <c:v>0.14208690121921722</c:v>
                </c:pt>
                <c:pt idx="22">
                  <c:v>0.13500271797695687</c:v>
                </c:pt>
                <c:pt idx="23">
                  <c:v>0.14369033557848526</c:v>
                </c:pt>
                <c:pt idx="24">
                  <c:v>0.1514199817200604</c:v>
                </c:pt>
                <c:pt idx="25">
                  <c:v>0.13817987190820083</c:v>
                </c:pt>
                <c:pt idx="26">
                  <c:v>0.15135223721142857</c:v>
                </c:pt>
                <c:pt idx="27">
                  <c:v>0.16084787449247412</c:v>
                </c:pt>
                <c:pt idx="28">
                  <c:v>0.1719971988782931</c:v>
                </c:pt>
                <c:pt idx="29">
                  <c:v>0.15872601597498126</c:v>
                </c:pt>
                <c:pt idx="30">
                  <c:v>0.15053291674209995</c:v>
                </c:pt>
                <c:pt idx="31">
                  <c:v>0.12992321886460925</c:v>
                </c:pt>
                <c:pt idx="32">
                  <c:v>0.1454381198255141</c:v>
                </c:pt>
                <c:pt idx="33">
                  <c:v>0.1586141227835582</c:v>
                </c:pt>
                <c:pt idx="34">
                  <c:v>0.15623640372371164</c:v>
                </c:pt>
                <c:pt idx="35">
                  <c:v>0.13019479129125944</c:v>
                </c:pt>
                <c:pt idx="36">
                  <c:v>0.10987387613542099</c:v>
                </c:pt>
                <c:pt idx="37">
                  <c:v>0.10875497180138731</c:v>
                </c:pt>
                <c:pt idx="38">
                  <c:v>0.11428752417927694</c:v>
                </c:pt>
                <c:pt idx="39">
                  <c:v>0.11434953290611971</c:v>
                </c:pt>
                <c:pt idx="40">
                  <c:v>0.14561357491032834</c:v>
                </c:pt>
                <c:pt idx="41">
                  <c:v>0.14731869046134669</c:v>
                </c:pt>
                <c:pt idx="42">
                  <c:v>0.1389073747402063</c:v>
                </c:pt>
                <c:pt idx="43">
                  <c:v>0.1634295435693273</c:v>
                </c:pt>
                <c:pt idx="44">
                  <c:v>0.17253123064966913</c:v>
                </c:pt>
                <c:pt idx="45">
                  <c:v>0.17266046725392567</c:v>
                </c:pt>
                <c:pt idx="46">
                  <c:v>0.15369265459353065</c:v>
                </c:pt>
                <c:pt idx="47">
                  <c:v>0.15196483661043664</c:v>
                </c:pt>
                <c:pt idx="48">
                  <c:v>0.17655012043001175</c:v>
                </c:pt>
                <c:pt idx="49">
                  <c:v>0.21168803291289648</c:v>
                </c:pt>
                <c:pt idx="50">
                  <c:v>0.20889131321549717</c:v>
                </c:pt>
                <c:pt idx="51">
                  <c:v>0.16477400080399063</c:v>
                </c:pt>
              </c:numCache>
            </c:numRef>
          </c:xVal>
          <c:yVal>
            <c:numRef>
              <c:f>Sheet1!$B$109:$B$160</c:f>
              <c:numCache>
                <c:formatCode>General</c:formatCode>
                <c:ptCount val="52"/>
                <c:pt idx="0">
                  <c:v>0.17980944658422868</c:v>
                </c:pt>
                <c:pt idx="1">
                  <c:v>0.18357991248176703</c:v>
                </c:pt>
                <c:pt idx="2">
                  <c:v>0.20700037636432067</c:v>
                </c:pt>
                <c:pt idx="3">
                  <c:v>0.21331264011036385</c:v>
                </c:pt>
                <c:pt idx="4">
                  <c:v>0.2121096725057121</c:v>
                </c:pt>
                <c:pt idx="5">
                  <c:v>0.2105997210599721</c:v>
                </c:pt>
                <c:pt idx="6">
                  <c:v>0.2025661587810746</c:v>
                </c:pt>
                <c:pt idx="7">
                  <c:v>0.19510204081632654</c:v>
                </c:pt>
                <c:pt idx="8">
                  <c:v>0.175146771037182</c:v>
                </c:pt>
                <c:pt idx="9">
                  <c:v>0.1846941149104443</c:v>
                </c:pt>
                <c:pt idx="10">
                  <c:v>0.195274831243973</c:v>
                </c:pt>
                <c:pt idx="11">
                  <c:v>0.20692701890793427</c:v>
                </c:pt>
                <c:pt idx="12">
                  <c:v>0.21109637488947833</c:v>
                </c:pt>
                <c:pt idx="13">
                  <c:v>0.20756756756756756</c:v>
                </c:pt>
                <c:pt idx="14">
                  <c:v>0.20819195346582647</c:v>
                </c:pt>
                <c:pt idx="15">
                  <c:v>0.20248480042294476</c:v>
                </c:pt>
                <c:pt idx="16">
                  <c:v>0.1946031746031746</c:v>
                </c:pt>
                <c:pt idx="17">
                  <c:v>0.1970479704797048</c:v>
                </c:pt>
                <c:pt idx="18">
                  <c:v>0.20963472736897829</c:v>
                </c:pt>
                <c:pt idx="19">
                  <c:v>0.20496592015579357</c:v>
                </c:pt>
                <c:pt idx="20">
                  <c:v>0.1948944526264114</c:v>
                </c:pt>
                <c:pt idx="21">
                  <c:v>0.2136015325670498</c:v>
                </c:pt>
                <c:pt idx="22">
                  <c:v>0.2103544776119403</c:v>
                </c:pt>
                <c:pt idx="23">
                  <c:v>0.1947049089906233</c:v>
                </c:pt>
                <c:pt idx="24">
                  <c:v>0.17257683215130024</c:v>
                </c:pt>
                <c:pt idx="25">
                  <c:v>0.18428005284015853</c:v>
                </c:pt>
                <c:pt idx="26">
                  <c:v>0.16706586826347306</c:v>
                </c:pt>
                <c:pt idx="27">
                  <c:v>0.17352754908169726</c:v>
                </c:pt>
                <c:pt idx="28">
                  <c:v>0.1552119129438717</c:v>
                </c:pt>
                <c:pt idx="29">
                  <c:v>0.14622641509433962</c:v>
                </c:pt>
                <c:pt idx="30">
                  <c:v>0.15914684167350288</c:v>
                </c:pt>
                <c:pt idx="31">
                  <c:v>0.17234262125902994</c:v>
                </c:pt>
                <c:pt idx="32">
                  <c:v>0.1579378068739771</c:v>
                </c:pt>
                <c:pt idx="33">
                  <c:v>0.15345821325648415</c:v>
                </c:pt>
                <c:pt idx="34">
                  <c:v>0.17226634086744044</c:v>
                </c:pt>
                <c:pt idx="35">
                  <c:v>0.1580547112462006</c:v>
                </c:pt>
                <c:pt idx="36">
                  <c:v>0.1368547418967587</c:v>
                </c:pt>
                <c:pt idx="37">
                  <c:v>0.14979338842975207</c:v>
                </c:pt>
                <c:pt idx="38">
                  <c:v>0.15932203389830507</c:v>
                </c:pt>
                <c:pt idx="39">
                  <c:v>0.1541471048513302</c:v>
                </c:pt>
                <c:pt idx="40">
                  <c:v>0.1434878587196468</c:v>
                </c:pt>
                <c:pt idx="41">
                  <c:v>0.14786967418546365</c:v>
                </c:pt>
                <c:pt idx="42">
                  <c:v>0.16152716593245228</c:v>
                </c:pt>
                <c:pt idx="43">
                  <c:v>0.14766606822262118</c:v>
                </c:pt>
                <c:pt idx="44">
                  <c:v>0.14955357142857142</c:v>
                </c:pt>
                <c:pt idx="45">
                  <c:v>0.1631720430107527</c:v>
                </c:pt>
                <c:pt idx="46">
                  <c:v>0.17286874154262516</c:v>
                </c:pt>
                <c:pt idx="47">
                  <c:v>0.17989417989417988</c:v>
                </c:pt>
                <c:pt idx="48">
                  <c:v>0.1851232762223151</c:v>
                </c:pt>
                <c:pt idx="49">
                  <c:v>0.17680422452571876</c:v>
                </c:pt>
                <c:pt idx="50">
                  <c:v>0.19098864711447494</c:v>
                </c:pt>
                <c:pt idx="51">
                  <c:v>0.192325056433408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755782217346381</c:v>
                </c:pt>
              </c:numCache>
            </c:numRef>
          </c:xVal>
          <c:yVal>
            <c:numRef>
              <c:f>Sheet1!$B$163:$B$164</c:f>
              <c:numCache>
                <c:formatCode>General</c:formatCode>
                <c:ptCount val="2"/>
                <c:pt idx="0">
                  <c:v>0.2531786137257337</c:v>
                </c:pt>
                <c:pt idx="1">
                  <c:v>0.25317861372573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755782217346381</c:v>
                </c:pt>
                <c:pt idx="1">
                  <c:v>0.3755782217346381</c:v>
                </c:pt>
              </c:numCache>
            </c:numRef>
          </c:xVal>
          <c:yVal>
            <c:numRef>
              <c:f>Sheet1!$B$167:$B$168</c:f>
              <c:numCache>
                <c:formatCode>General</c:formatCode>
                <c:ptCount val="2"/>
                <c:pt idx="0">
                  <c:v>0.25317861372573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060571336058053</c:v>
                </c:pt>
              </c:numCache>
            </c:numRef>
          </c:xVal>
          <c:yVal>
            <c:numRef>
              <c:f>Sheet1!$B$171:$B$172</c:f>
              <c:numCache>
                <c:formatCode>General</c:formatCode>
                <c:ptCount val="2"/>
                <c:pt idx="0">
                  <c:v>0.20238341840071394</c:v>
                </c:pt>
                <c:pt idx="1">
                  <c:v>0.2023834184007139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060571336058053</c:v>
                </c:pt>
                <c:pt idx="1">
                  <c:v>0.23060571336058053</c:v>
                </c:pt>
              </c:numCache>
            </c:numRef>
          </c:xVal>
          <c:yVal>
            <c:numRef>
              <c:f>Sheet1!$B$175:$B$176</c:f>
              <c:numCache>
                <c:formatCode>General</c:formatCode>
                <c:ptCount val="2"/>
                <c:pt idx="0">
                  <c:v>0.202383418400713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839595394228426</c:v>
                </c:pt>
              </c:numCache>
            </c:numRef>
          </c:xVal>
          <c:yVal>
            <c:numRef>
              <c:f>Sheet1!$B$179:$B$180</c:f>
              <c:numCache>
                <c:formatCode>General</c:formatCode>
                <c:ptCount val="2"/>
                <c:pt idx="0">
                  <c:v>0.1665713547756585</c:v>
                </c:pt>
                <c:pt idx="1">
                  <c:v>0.166571354775658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839595394228426</c:v>
                </c:pt>
                <c:pt idx="1">
                  <c:v>0.12839595394228426</c:v>
                </c:pt>
              </c:numCache>
            </c:numRef>
          </c:xVal>
          <c:yVal>
            <c:numRef>
              <c:f>Sheet1!$B$183:$B$184</c:f>
              <c:numCache>
                <c:formatCode>General</c:formatCode>
                <c:ptCount val="2"/>
                <c:pt idx="0">
                  <c:v>0.16657135477565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15514172368589</c:v>
                </c:pt>
                <c:pt idx="1">
                  <c:v>0.2248165786327599</c:v>
                </c:pt>
                <c:pt idx="2">
                  <c:v>0.1871318352723294</c:v>
                </c:pt>
                <c:pt idx="3">
                  <c:v>0.19779395113972856</c:v>
                </c:pt>
                <c:pt idx="4">
                  <c:v>0.1895549197730646</c:v>
                </c:pt>
                <c:pt idx="5">
                  <c:v>0.2085962157115896</c:v>
                </c:pt>
                <c:pt idx="6">
                  <c:v>0.20346912045022514</c:v>
                </c:pt>
                <c:pt idx="7">
                  <c:v>0.19249698551968764</c:v>
                </c:pt>
                <c:pt idx="8">
                  <c:v>0.2284020199154698</c:v>
                </c:pt>
                <c:pt idx="9">
                  <c:v>0.22018216590474135</c:v>
                </c:pt>
                <c:pt idx="10">
                  <c:v>0.22542091371172918</c:v>
                </c:pt>
                <c:pt idx="11">
                  <c:v>0.20633291212838037</c:v>
                </c:pt>
                <c:pt idx="12">
                  <c:v>0.17300453710869637</c:v>
                </c:pt>
                <c:pt idx="13">
                  <c:v>0.1947548821721385</c:v>
                </c:pt>
                <c:pt idx="14">
                  <c:v>0.21151633510076862</c:v>
                </c:pt>
                <c:pt idx="15">
                  <c:v>0.20367784094905558</c:v>
                </c:pt>
                <c:pt idx="16">
                  <c:v>0.18250786123822896</c:v>
                </c:pt>
                <c:pt idx="17">
                  <c:v>0.16897005055061246</c:v>
                </c:pt>
                <c:pt idx="18">
                  <c:v>0.15728002518697476</c:v>
                </c:pt>
                <c:pt idx="19">
                  <c:v>0.15945038082141672</c:v>
                </c:pt>
                <c:pt idx="20">
                  <c:v>0.14713774360944556</c:v>
                </c:pt>
                <c:pt idx="21">
                  <c:v>0.14208690121921722</c:v>
                </c:pt>
                <c:pt idx="22">
                  <c:v>0.13500271797695687</c:v>
                </c:pt>
                <c:pt idx="23">
                  <c:v>0.14369033557848526</c:v>
                </c:pt>
                <c:pt idx="24">
                  <c:v>0.1514199817200604</c:v>
                </c:pt>
                <c:pt idx="25">
                  <c:v>0.13817987190820083</c:v>
                </c:pt>
                <c:pt idx="26">
                  <c:v>0.15135223721142857</c:v>
                </c:pt>
                <c:pt idx="27">
                  <c:v>0.16084787449247412</c:v>
                </c:pt>
                <c:pt idx="28">
                  <c:v>0.1719971988782931</c:v>
                </c:pt>
                <c:pt idx="29">
                  <c:v>0.15872601597498126</c:v>
                </c:pt>
                <c:pt idx="30">
                  <c:v>0.15053291674209995</c:v>
                </c:pt>
                <c:pt idx="31">
                  <c:v>0.12992321886460925</c:v>
                </c:pt>
                <c:pt idx="32">
                  <c:v>0.1454381198255141</c:v>
                </c:pt>
                <c:pt idx="33">
                  <c:v>0.1586141227835582</c:v>
                </c:pt>
                <c:pt idx="34">
                  <c:v>0.15623640372371164</c:v>
                </c:pt>
                <c:pt idx="35">
                  <c:v>0.13019479129125944</c:v>
                </c:pt>
                <c:pt idx="36">
                  <c:v>0.10987387613542099</c:v>
                </c:pt>
                <c:pt idx="37">
                  <c:v>0.10875497180138731</c:v>
                </c:pt>
                <c:pt idx="38">
                  <c:v>0.11428752417927694</c:v>
                </c:pt>
                <c:pt idx="39">
                  <c:v>0.11434953290611971</c:v>
                </c:pt>
                <c:pt idx="40">
                  <c:v>0.14561357491032834</c:v>
                </c:pt>
                <c:pt idx="41">
                  <c:v>0.14731869046134669</c:v>
                </c:pt>
                <c:pt idx="42">
                  <c:v>0.1389073747402063</c:v>
                </c:pt>
                <c:pt idx="43">
                  <c:v>0.1634295435693273</c:v>
                </c:pt>
                <c:pt idx="44">
                  <c:v>0.17253123064966913</c:v>
                </c:pt>
                <c:pt idx="45">
                  <c:v>0.17266046725392567</c:v>
                </c:pt>
                <c:pt idx="46">
                  <c:v>0.15369265459353065</c:v>
                </c:pt>
                <c:pt idx="47">
                  <c:v>0.15196483661043664</c:v>
                </c:pt>
                <c:pt idx="48">
                  <c:v>0.17655012043001175</c:v>
                </c:pt>
                <c:pt idx="49">
                  <c:v>0.21168803291289648</c:v>
                </c:pt>
                <c:pt idx="50">
                  <c:v>0.20889131321549717</c:v>
                </c:pt>
                <c:pt idx="51">
                  <c:v>0.16477400080399063</c:v>
                </c:pt>
                <c:pt idx="52">
                  <c:v>0.23060571336058053</c:v>
                </c:pt>
                <c:pt idx="53">
                  <c:v>0.3755782217346381</c:v>
                </c:pt>
                <c:pt idx="54">
                  <c:v>0.12839595394228426</c:v>
                </c:pt>
              </c:numCache>
            </c:numRef>
          </c:xVal>
          <c:yVal>
            <c:numRef>
              <c:f>Sheet1!$B$187:$B$241</c:f>
              <c:numCache>
                <c:formatCode>General</c:formatCode>
                <c:ptCount val="55"/>
                <c:pt idx="0">
                  <c:v>0.19802101048422524</c:v>
                </c:pt>
                <c:pt idx="1">
                  <c:v>0.20035503224281032</c:v>
                </c:pt>
                <c:pt idx="2">
                  <c:v>0.18715112261032135</c:v>
                </c:pt>
                <c:pt idx="3">
                  <c:v>0.1908868947517893</c:v>
                </c:pt>
                <c:pt idx="4">
                  <c:v>0.18800011840879577</c:v>
                </c:pt>
                <c:pt idx="5">
                  <c:v>0.19467177193322333</c:v>
                </c:pt>
                <c:pt idx="6">
                  <c:v>0.19287534992071992</c:v>
                </c:pt>
                <c:pt idx="7">
                  <c:v>0.18903095388191304</c:v>
                </c:pt>
                <c:pt idx="8">
                  <c:v>0.20161129242844308</c:v>
                </c:pt>
                <c:pt idx="9">
                  <c:v>0.1987312354114203</c:v>
                </c:pt>
                <c:pt idx="10">
                  <c:v>0.2005667780332522</c:v>
                </c:pt>
                <c:pt idx="11">
                  <c:v>0.1938787598726725</c:v>
                </c:pt>
                <c:pt idx="12">
                  <c:v>0.18220122640113812</c:v>
                </c:pt>
                <c:pt idx="13">
                  <c:v>0.18982207147221522</c:v>
                </c:pt>
                <c:pt idx="14">
                  <c:v>0.19569491788281956</c:v>
                </c:pt>
                <c:pt idx="15">
                  <c:v>0.19294848101726597</c:v>
                </c:pt>
                <c:pt idx="16">
                  <c:v>0.18553098326890963</c:v>
                </c:pt>
                <c:pt idx="17">
                  <c:v>0.1807876305749193</c:v>
                </c:pt>
                <c:pt idx="18">
                  <c:v>0.17669170143386936</c:v>
                </c:pt>
                <c:pt idx="19">
                  <c:v>0.17745214656662367</c:v>
                </c:pt>
                <c:pt idx="20">
                  <c:v>0.17313806785499328</c:v>
                </c:pt>
                <c:pt idx="21">
                  <c:v>0.17136836318032786</c:v>
                </c:pt>
                <c:pt idx="22">
                  <c:v>0.16888622035514902</c:v>
                </c:pt>
                <c:pt idx="23">
                  <c:v>0.17193017150097664</c:v>
                </c:pt>
                <c:pt idx="24">
                  <c:v>0.17463847040508013</c:v>
                </c:pt>
                <c:pt idx="25">
                  <c:v>0.16999942558505915</c:v>
                </c:pt>
                <c:pt idx="26">
                  <c:v>0.1746147342113235</c:v>
                </c:pt>
                <c:pt idx="27">
                  <c:v>0.17794179777555275</c:v>
                </c:pt>
                <c:pt idx="28">
                  <c:v>0.18184827712306073</c:v>
                </c:pt>
                <c:pt idx="29">
                  <c:v>0.1771983449715907</c:v>
                </c:pt>
                <c:pt idx="30">
                  <c:v>0.17432766224340285</c:v>
                </c:pt>
                <c:pt idx="31">
                  <c:v>0.16710647499198517</c:v>
                </c:pt>
                <c:pt idx="32">
                  <c:v>0.1725425568643088</c:v>
                </c:pt>
                <c:pt idx="33">
                  <c:v>0.17715914004523867</c:v>
                </c:pt>
                <c:pt idx="34">
                  <c:v>0.17632603930477758</c:v>
                </c:pt>
                <c:pt idx="35">
                  <c:v>0.16720162802900784</c:v>
                </c:pt>
                <c:pt idx="36">
                  <c:v>0.16008162392546654</c:v>
                </c:pt>
                <c:pt idx="37">
                  <c:v>0.15968958432544383</c:v>
                </c:pt>
                <c:pt idx="38">
                  <c:v>0.16162806964126455</c:v>
                </c:pt>
                <c:pt idx="39">
                  <c:v>0.1616497961425658</c:v>
                </c:pt>
                <c:pt idx="40">
                  <c:v>0.17260403248754153</c:v>
                </c:pt>
                <c:pt idx="41">
                  <c:v>0.1732014676732681</c:v>
                </c:pt>
                <c:pt idx="42">
                  <c:v>0.1702543266615852</c:v>
                </c:pt>
                <c:pt idx="43">
                  <c:v>0.17884635814009417</c:v>
                </c:pt>
                <c:pt idx="44">
                  <c:v>0.18203539017256953</c:v>
                </c:pt>
                <c:pt idx="45">
                  <c:v>0.1820806718513511</c:v>
                </c:pt>
                <c:pt idx="46">
                  <c:v>0.1754347652599635</c:v>
                </c:pt>
                <c:pt idx="47">
                  <c:v>0.17482937563870582</c:v>
                </c:pt>
                <c:pt idx="48">
                  <c:v>0.18344352122908342</c:v>
                </c:pt>
                <c:pt idx="49">
                  <c:v>0.19575507703990203</c:v>
                </c:pt>
                <c:pt idx="50">
                  <c:v>0.19477516764265146</c:v>
                </c:pt>
                <c:pt idx="51">
                  <c:v>0.1793174265420056</c:v>
                </c:pt>
                <c:pt idx="52">
                  <c:v>0.20238341840071394</c:v>
                </c:pt>
                <c:pt idx="53">
                  <c:v>0.2531786137257337</c:v>
                </c:pt>
                <c:pt idx="54">
                  <c:v>0.16657135477565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6153846153846"/>
          <c:min val="0.1094837935174069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2</c:f>
              <c:numCache>
                <c:formatCode>General</c:formatCode>
                <c:ptCount val="111"/>
                <c:pt idx="0">
                  <c:v>1.9534791832121607</c:v>
                </c:pt>
                <c:pt idx="1">
                  <c:v>2.1075193631344757</c:v>
                </c:pt>
                <c:pt idx="2">
                  <c:v>1.9295174643434458</c:v>
                </c:pt>
                <c:pt idx="3">
                  <c:v>1.8532592592592592</c:v>
                </c:pt>
                <c:pt idx="4">
                  <c:v>1.6288692198581558</c:v>
                </c:pt>
                <c:pt idx="5">
                  <c:v>2.044841674352881</c:v>
                </c:pt>
                <c:pt idx="6">
                  <c:v>1.850969282865767</c:v>
                </c:pt>
                <c:pt idx="7">
                  <c:v>2.464233998100665</c:v>
                </c:pt>
                <c:pt idx="8">
                  <c:v>1.892287334939432</c:v>
                </c:pt>
                <c:pt idx="9">
                  <c:v>1.8645638418079096</c:v>
                </c:pt>
                <c:pt idx="10">
                  <c:v>1.4695618464063052</c:v>
                </c:pt>
                <c:pt idx="11">
                  <c:v>1.6060288700846193</c:v>
                </c:pt>
                <c:pt idx="12">
                  <c:v>1.7353127470355731</c:v>
                </c:pt>
                <c:pt idx="13">
                  <c:v>1.6256927394752898</c:v>
                </c:pt>
                <c:pt idx="14">
                  <c:v>3.026487852527624</c:v>
                </c:pt>
                <c:pt idx="15">
                  <c:v>3.9049627023223086</c:v>
                </c:pt>
                <c:pt idx="16">
                  <c:v>3.227360618592831</c:v>
                </c:pt>
                <c:pt idx="17">
                  <c:v>2.5780524180230815</c:v>
                </c:pt>
                <c:pt idx="18">
                  <c:v>6.334218867924528</c:v>
                </c:pt>
                <c:pt idx="19">
                  <c:v>7.8668283059500315</c:v>
                </c:pt>
                <c:pt idx="20">
                  <c:v>7.699385927024845</c:v>
                </c:pt>
                <c:pt idx="21">
                  <c:v>7.405798957881025</c:v>
                </c:pt>
                <c:pt idx="22">
                  <c:v>10.39623070917634</c:v>
                </c:pt>
                <c:pt idx="23">
                  <c:v>13.53447025647912</c:v>
                </c:pt>
                <c:pt idx="24">
                  <c:v>12.894589607970621</c:v>
                </c:pt>
                <c:pt idx="25">
                  <c:v>9.076056338028168</c:v>
                </c:pt>
                <c:pt idx="26">
                  <c:v>4.168404651162791</c:v>
                </c:pt>
                <c:pt idx="27">
                  <c:v>2.440559197324415</c:v>
                </c:pt>
                <c:pt idx="28">
                  <c:v>1.9558329147593159</c:v>
                </c:pt>
                <c:pt idx="29">
                  <c:v>1.415930281748373</c:v>
                </c:pt>
                <c:pt idx="30">
                  <c:v>0.0</c:v>
                </c:pt>
                <c:pt idx="31">
                  <c:v>2.6663405017921145</c:v>
                </c:pt>
                <c:pt idx="32">
                  <c:v>2.158317391304348</c:v>
                </c:pt>
                <c:pt idx="33">
                  <c:v>1.8999228881807455</c:v>
                </c:pt>
                <c:pt idx="34">
                  <c:v>1.3801983975581837</c:v>
                </c:pt>
                <c:pt idx="35">
                  <c:v>1.6685362365213499</c:v>
                </c:pt>
                <c:pt idx="36">
                  <c:v>1.2283188785357086</c:v>
                </c:pt>
                <c:pt idx="37">
                  <c:v>1.6286848319709355</c:v>
                </c:pt>
                <c:pt idx="38">
                  <c:v>1.6530311687143247</c:v>
                </c:pt>
                <c:pt idx="39">
                  <c:v>1.7929390523571072</c:v>
                </c:pt>
                <c:pt idx="40">
                  <c:v>1.3869263537906138</c:v>
                </c:pt>
                <c:pt idx="41">
                  <c:v>1.6180794649881984</c:v>
                </c:pt>
                <c:pt idx="42">
                  <c:v>1.2468835772357723</c:v>
                </c:pt>
                <c:pt idx="43">
                  <c:v>1.4798349206349206</c:v>
                </c:pt>
                <c:pt idx="44">
                  <c:v>1.1319755475743554</c:v>
                </c:pt>
                <c:pt idx="45">
                  <c:v>1.266100491824398</c:v>
                </c:pt>
                <c:pt idx="46">
                  <c:v>1.1284338802721627</c:v>
                </c:pt>
                <c:pt idx="47">
                  <c:v>1.1875904901866154</c:v>
                </c:pt>
                <c:pt idx="48">
                  <c:v>1.2124036931707078</c:v>
                </c:pt>
                <c:pt idx="49">
                  <c:v>1.1464162420382165</c:v>
                </c:pt>
                <c:pt idx="50">
                  <c:v>1.1813296515558624</c:v>
                </c:pt>
                <c:pt idx="51">
                  <c:v>1.2196626130339883</c:v>
                </c:pt>
                <c:pt idx="52">
                  <c:v>1.2813933333333332</c:v>
                </c:pt>
                <c:pt idx="53">
                  <c:v>1.359321</c:v>
                </c:pt>
                <c:pt idx="54">
                  <c:v>1.2181526164945702</c:v>
                </c:pt>
                <c:pt idx="55">
                  <c:v>1.2789744615384615</c:v>
                </c:pt>
                <c:pt idx="56">
                  <c:v>1.1896124875430802</c:v>
                </c:pt>
                <c:pt idx="57">
                  <c:v>1.178298</c:v>
                </c:pt>
                <c:pt idx="58">
                  <c:v>1.1061497674418603</c:v>
                </c:pt>
                <c:pt idx="59">
                  <c:v>1.1493850793650795</c:v>
                </c:pt>
                <c:pt idx="60">
                  <c:v>1.2521945161290322</c:v>
                </c:pt>
                <c:pt idx="61">
                  <c:v>1.2838993333333333</c:v>
                </c:pt>
                <c:pt idx="62">
                  <c:v>1.1731730285714286</c:v>
                </c:pt>
                <c:pt idx="63">
                  <c:v>1.3783306666666666</c:v>
                </c:pt>
                <c:pt idx="64">
                  <c:v>1.3536342457456023</c:v>
                </c:pt>
                <c:pt idx="65">
                  <c:v>1.2724857282814115</c:v>
                </c:pt>
                <c:pt idx="66">
                  <c:v>1.3456984667802385</c:v>
                </c:pt>
                <c:pt idx="67">
                  <c:v>1.2789222795805963</c:v>
                </c:pt>
                <c:pt idx="68">
                  <c:v>1.351622857142857</c:v>
                </c:pt>
                <c:pt idx="69">
                  <c:v>1.3851504615384616</c:v>
                </c:pt>
                <c:pt idx="70">
                  <c:v>2.15548689516129</c:v>
                </c:pt>
                <c:pt idx="71">
                  <c:v>2.0634307127862033</c:v>
                </c:pt>
                <c:pt idx="72">
                  <c:v>1.7233694950933536</c:v>
                </c:pt>
                <c:pt idx="73">
                  <c:v>1.6857461254612547</c:v>
                </c:pt>
                <c:pt idx="74">
                  <c:v>2.2727456275526596</c:v>
                </c:pt>
                <c:pt idx="75">
                  <c:v>2.4643396240498325</c:v>
                </c:pt>
                <c:pt idx="76">
                  <c:v>3.2165171110670654</c:v>
                </c:pt>
                <c:pt idx="77">
                  <c:v>2.549572897761645</c:v>
                </c:pt>
                <c:pt idx="78">
                  <c:v>2.4277726495726495</c:v>
                </c:pt>
                <c:pt idx="79">
                  <c:v>6.3284816595374185</c:v>
                </c:pt>
                <c:pt idx="80">
                  <c:v>3.5885947046843176</c:v>
                </c:pt>
                <c:pt idx="81">
                  <c:v>2.40293021978022</c:v>
                </c:pt>
                <c:pt idx="82">
                  <c:v>4.241360765550239</c:v>
                </c:pt>
                <c:pt idx="83">
                  <c:v>3.935315498154981</c:v>
                </c:pt>
                <c:pt idx="84">
                  <c:v>3.471965367991342</c:v>
                </c:pt>
                <c:pt idx="85">
                  <c:v>1.4420430000000002</c:v>
                </c:pt>
                <c:pt idx="86">
                  <c:v>1.5461398260869565</c:v>
                </c:pt>
                <c:pt idx="87">
                  <c:v>1.4062082539682539</c:v>
                </c:pt>
                <c:pt idx="88">
                  <c:v>1.3879323943661972</c:v>
                </c:pt>
                <c:pt idx="89">
                  <c:v>1.1592381333333333</c:v>
                </c:pt>
                <c:pt idx="90">
                  <c:v>1.6523148148148148</c:v>
                </c:pt>
                <c:pt idx="91">
                  <c:v>1.3562962962962963</c:v>
                </c:pt>
                <c:pt idx="92">
                  <c:v>1.4383333333333332</c:v>
                </c:pt>
                <c:pt idx="93">
                  <c:v>1.600573511111111</c:v>
                </c:pt>
                <c:pt idx="94">
                  <c:v>1.4124887843137255</c:v>
                </c:pt>
                <c:pt idx="95">
                  <c:v>1.5393133913043477</c:v>
                </c:pt>
                <c:pt idx="96">
                  <c:v>1.5406474318892363</c:v>
                </c:pt>
                <c:pt idx="97">
                  <c:v>1.2902747582441174</c:v>
                </c:pt>
                <c:pt idx="98">
                  <c:v>1.44649508307901</c:v>
                </c:pt>
                <c:pt idx="99">
                  <c:v>1.3384656991825026</c:v>
                </c:pt>
                <c:pt idx="100">
                  <c:v>1.4700632895093095</c:v>
                </c:pt>
                <c:pt idx="101">
                  <c:v>1.5171337662967805</c:v>
                </c:pt>
                <c:pt idx="102">
                  <c:v>1.3815278243512974</c:v>
                </c:pt>
                <c:pt idx="103">
                  <c:v>1.1014406557377048</c:v>
                </c:pt>
                <c:pt idx="104">
                  <c:v>1.2118017463617465</c:v>
                </c:pt>
                <c:pt idx="105">
                  <c:v>0.0</c:v>
                </c:pt>
                <c:pt idx="106">
                  <c:v>0.0</c:v>
                </c:pt>
                <c:pt idx="107">
                  <c:v>0.0</c:v>
                </c:pt>
                <c:pt idx="108">
                  <c:v>0.0</c:v>
                </c:pt>
                <c:pt idx="109">
                  <c:v>0.0</c:v>
                </c:pt>
                <c:pt idx="110">
                  <c:v>0.0</c:v>
                </c:pt>
              </c:numCache>
            </c:numRef>
          </c:xVal>
          <c:yVal>
            <c:numRef>
              <c:f>Sheet1!$B$2:$B$112</c:f>
              <c:numCache>
                <c:formatCode>General</c:formatCode>
                <c:ptCount val="111"/>
                <c:pt idx="0">
                  <c:v>0.2573099415204678</c:v>
                </c:pt>
                <c:pt idx="1">
                  <c:v>0.22151898734177214</c:v>
                </c:pt>
                <c:pt idx="2">
                  <c:v>0.23255813953488372</c:v>
                </c:pt>
                <c:pt idx="3">
                  <c:v>0.24666666666666667</c:v>
                </c:pt>
                <c:pt idx="4">
                  <c:v>0.23776223776223776</c:v>
                </c:pt>
                <c:pt idx="5">
                  <c:v>0.23357664233576642</c:v>
                </c:pt>
                <c:pt idx="6">
                  <c:v>0.2153846153846154</c:v>
                </c:pt>
                <c:pt idx="7">
                  <c:v>0.22962962962962963</c:v>
                </c:pt>
                <c:pt idx="8">
                  <c:v>0.20202020202020202</c:v>
                </c:pt>
                <c:pt idx="9">
                  <c:v>0.24324324324324326</c:v>
                </c:pt>
                <c:pt idx="10">
                  <c:v>0.25</c:v>
                </c:pt>
                <c:pt idx="11">
                  <c:v>0.24571428571428572</c:v>
                </c:pt>
                <c:pt idx="12">
                  <c:v>0.2146341463414634</c:v>
                </c:pt>
                <c:pt idx="13">
                  <c:v>0.19421487603305784</c:v>
                </c:pt>
                <c:pt idx="14">
                  <c:v>0.20477815699658702</c:v>
                </c:pt>
                <c:pt idx="15">
                  <c:v>0.1990521327014218</c:v>
                </c:pt>
                <c:pt idx="16">
                  <c:v>0.19021739130434784</c:v>
                </c:pt>
                <c:pt idx="17">
                  <c:v>0.2014388489208633</c:v>
                </c:pt>
                <c:pt idx="18">
                  <c:v>0.12041884816753927</c:v>
                </c:pt>
                <c:pt idx="19">
                  <c:v>0.11904761904761904</c:v>
                </c:pt>
                <c:pt idx="20">
                  <c:v>0.15151515151515152</c:v>
                </c:pt>
                <c:pt idx="21">
                  <c:v>0.1592920353982301</c:v>
                </c:pt>
                <c:pt idx="22">
                  <c:v>0.16551724137931034</c:v>
                </c:pt>
                <c:pt idx="23">
                  <c:v>0.2</c:v>
                </c:pt>
                <c:pt idx="24">
                  <c:v>0.19130434782608696</c:v>
                </c:pt>
                <c:pt idx="25">
                  <c:v>0.20253164556962025</c:v>
                </c:pt>
                <c:pt idx="26">
                  <c:v>0.35365853658536583</c:v>
                </c:pt>
                <c:pt idx="27">
                  <c:v>0.275</c:v>
                </c:pt>
                <c:pt idx="28">
                  <c:v>0.2875</c:v>
                </c:pt>
                <c:pt idx="29">
                  <c:v>0.22448979591836735</c:v>
                </c:pt>
                <c:pt idx="30">
                  <c:v>0.25333333333333335</c:v>
                </c:pt>
                <c:pt idx="31">
                  <c:v>0.2972972972972973</c:v>
                </c:pt>
                <c:pt idx="32">
                  <c:v>0.26436781609195403</c:v>
                </c:pt>
                <c:pt idx="33">
                  <c:v>0.2608695652173913</c:v>
                </c:pt>
                <c:pt idx="34">
                  <c:v>0.2926829268292683</c:v>
                </c:pt>
                <c:pt idx="35">
                  <c:v>0.27312775330396477</c:v>
                </c:pt>
                <c:pt idx="36">
                  <c:v>0.34306569343065696</c:v>
                </c:pt>
                <c:pt idx="37">
                  <c:v>0.21782178217821782</c:v>
                </c:pt>
                <c:pt idx="38">
                  <c:v>0.25961538461538464</c:v>
                </c:pt>
                <c:pt idx="39">
                  <c:v>0.2608695652173913</c:v>
                </c:pt>
                <c:pt idx="40">
                  <c:v>0.2222222222222222</c:v>
                </c:pt>
                <c:pt idx="41">
                  <c:v>0.19791666666666666</c:v>
                </c:pt>
                <c:pt idx="42">
                  <c:v>0.19672131147540983</c:v>
                </c:pt>
                <c:pt idx="43">
                  <c:v>0.2080536912751678</c:v>
                </c:pt>
                <c:pt idx="44">
                  <c:v>0.41284403669724773</c:v>
                </c:pt>
                <c:pt idx="45">
                  <c:v>0.4246031746031746</c:v>
                </c:pt>
                <c:pt idx="46">
                  <c:v>0.35313531353135313</c:v>
                </c:pt>
                <c:pt idx="47">
                  <c:v>0.3594306049822064</c:v>
                </c:pt>
                <c:pt idx="48">
                  <c:v>0.3640552995391705</c:v>
                </c:pt>
                <c:pt idx="49">
                  <c:v>0.34155363748458695</c:v>
                </c:pt>
                <c:pt idx="50">
                  <c:v>0.2966360856269113</c:v>
                </c:pt>
                <c:pt idx="51">
                  <c:v>0.2742857142857143</c:v>
                </c:pt>
                <c:pt idx="52">
                  <c:v>0.2868525896414343</c:v>
                </c:pt>
                <c:pt idx="53">
                  <c:v>0.27692307692307694</c:v>
                </c:pt>
                <c:pt idx="54">
                  <c:v>0.27848101265822783</c:v>
                </c:pt>
                <c:pt idx="55">
                  <c:v>0.2214765100671141</c:v>
                </c:pt>
                <c:pt idx="56">
                  <c:v>0.26573426573426573</c:v>
                </c:pt>
                <c:pt idx="57">
                  <c:v>0.2883435582822086</c:v>
                </c:pt>
                <c:pt idx="58">
                  <c:v>0.3712871287128713</c:v>
                </c:pt>
                <c:pt idx="59">
                  <c:v>0.3021276595744681</c:v>
                </c:pt>
                <c:pt idx="60">
                  <c:v>0.2850467289719626</c:v>
                </c:pt>
                <c:pt idx="61">
                  <c:v>0.3212121212121212</c:v>
                </c:pt>
                <c:pt idx="62">
                  <c:v>0.35348837209302325</c:v>
                </c:pt>
                <c:pt idx="63">
                  <c:v>0.30973451327433627</c:v>
                </c:pt>
                <c:pt idx="64">
                  <c:v>0.367816091954023</c:v>
                </c:pt>
                <c:pt idx="65">
                  <c:v>0.3648068669527897</c:v>
                </c:pt>
                <c:pt idx="66">
                  <c:v>0.3389830508474576</c:v>
                </c:pt>
                <c:pt idx="67">
                  <c:v>0.3203463203463203</c:v>
                </c:pt>
                <c:pt idx="68">
                  <c:v>0.391812865497076</c:v>
                </c:pt>
                <c:pt idx="69">
                  <c:v>0.27058823529411763</c:v>
                </c:pt>
                <c:pt idx="70">
                  <c:v>0.3978494623655914</c:v>
                </c:pt>
                <c:pt idx="71">
                  <c:v>0.39080459770114945</c:v>
                </c:pt>
                <c:pt idx="72">
                  <c:v>0.3522727272727273</c:v>
                </c:pt>
                <c:pt idx="73">
                  <c:v>0.5119047619047619</c:v>
                </c:pt>
                <c:pt idx="74">
                  <c:v>0.38636363636363635</c:v>
                </c:pt>
                <c:pt idx="75">
                  <c:v>0.41975308641975306</c:v>
                </c:pt>
                <c:pt idx="76">
                  <c:v>0.37333333333333335</c:v>
                </c:pt>
                <c:pt idx="77">
                  <c:v>0.36</c:v>
                </c:pt>
                <c:pt idx="78">
                  <c:v>0.4426229508196721</c:v>
                </c:pt>
                <c:pt idx="79">
                  <c:v>0.2625</c:v>
                </c:pt>
                <c:pt idx="80">
                  <c:v>0.3448275862068966</c:v>
                </c:pt>
                <c:pt idx="81">
                  <c:v>0.40298507462686567</c:v>
                </c:pt>
                <c:pt idx="82">
                  <c:v>0.34615384615384615</c:v>
                </c:pt>
                <c:pt idx="83">
                  <c:v>0.38636363636363635</c:v>
                </c:pt>
                <c:pt idx="84">
                  <c:v>0.35</c:v>
                </c:pt>
                <c:pt idx="85">
                  <c:v>0.5</c:v>
                </c:pt>
                <c:pt idx="86">
                  <c:v>0.42857142857142855</c:v>
                </c:pt>
                <c:pt idx="87">
                  <c:v>0.4326923076923077</c:v>
                </c:pt>
                <c:pt idx="88">
                  <c:v>0.421875</c:v>
                </c:pt>
                <c:pt idx="89">
                  <c:v>0.4772727272727273</c:v>
                </c:pt>
                <c:pt idx="90">
                  <c:v>0.46153846153846156</c:v>
                </c:pt>
                <c:pt idx="91">
                  <c:v>0.509090909090909</c:v>
                </c:pt>
                <c:pt idx="92">
                  <c:v>0.40963855421686746</c:v>
                </c:pt>
                <c:pt idx="93">
                  <c:v>0.41333333333333333</c:v>
                </c:pt>
                <c:pt idx="94">
                  <c:v>0.4482758620689655</c:v>
                </c:pt>
                <c:pt idx="95">
                  <c:v>0.4470588235294118</c:v>
                </c:pt>
                <c:pt idx="96">
                  <c:v>0.424</c:v>
                </c:pt>
                <c:pt idx="97">
                  <c:v>0.4186046511627907</c:v>
                </c:pt>
                <c:pt idx="98">
                  <c:v>0.4307692307692308</c:v>
                </c:pt>
                <c:pt idx="99">
                  <c:v>0.3874538745387454</c:v>
                </c:pt>
                <c:pt idx="100">
                  <c:v>0.39149888143176736</c:v>
                </c:pt>
                <c:pt idx="101">
                  <c:v>0.3510204081632653</c:v>
                </c:pt>
                <c:pt idx="102">
                  <c:v>0.41904761904761906</c:v>
                </c:pt>
                <c:pt idx="103">
                  <c:v>0.4925373134328358</c:v>
                </c:pt>
                <c:pt idx="104">
                  <c:v>0.3790322580645161</c:v>
                </c:pt>
                <c:pt idx="105">
                  <c:v>0.5384615384615384</c:v>
                </c:pt>
                <c:pt idx="106">
                  <c:v>0.574468085106383</c:v>
                </c:pt>
                <c:pt idx="107">
                  <c:v>0.4406779661016949</c:v>
                </c:pt>
                <c:pt idx="108">
                  <c:v>0.4262295081967213</c:v>
                </c:pt>
                <c:pt idx="109">
                  <c:v>0.38028169014084506</c:v>
                </c:pt>
                <c:pt idx="110">
                  <c:v>0.48148148148148145</c:v>
                </c:pt>
              </c:numCache>
            </c:numRef>
          </c:yVal>
          <c:smooth val="0"/>
          <c:extLst>
            <c:ext xmlns:c16="http://schemas.microsoft.com/office/drawing/2014/chart" uri="{C3380CC4-5D6E-409C-BE32-E72D297353CC}">
              <c16:uniqueId val="{00000000-096C-4121-9522-6AB7243CCAAE}"/>
            </c:ext>
          </c:extLst>
        </c:ser>
        <c:ser>
          <c:idx val="1"/>
          <c:order val="1"/>
          <c:tx>
            <c:strRef>
              <c:f>Sheet1!$B$11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5:$A$154</c:f>
              <c:numCache>
                <c:formatCode>General</c:formatCode>
                <c:ptCount val="40"/>
                <c:pt idx="0">
                  <c:v>1.4082777311095995</c:v>
                </c:pt>
                <c:pt idx="1">
                  <c:v>1.6440478170517916</c:v>
                </c:pt>
                <c:pt idx="2">
                  <c:v>1.7292498004788508</c:v>
                </c:pt>
                <c:pt idx="3">
                  <c:v>1.5564512607737615</c:v>
                </c:pt>
                <c:pt idx="4">
                  <c:v>1.4825904471544717</c:v>
                </c:pt>
                <c:pt idx="5">
                  <c:v>1.365030274509804</c:v>
                </c:pt>
                <c:pt idx="6">
                  <c:v>1.5000199111111112</c:v>
                </c:pt>
                <c:pt idx="7">
                  <c:v>1.4060429090909092</c:v>
                </c:pt>
                <c:pt idx="8">
                  <c:v>2.681150013895053</c:v>
                </c:pt>
                <c:pt idx="9">
                  <c:v>3.5436986427987054</c:v>
                </c:pt>
                <c:pt idx="10">
                  <c:v>1.3546091257179325</c:v>
                </c:pt>
                <c:pt idx="11">
                  <c:v>1.3798576923076924</c:v>
                </c:pt>
                <c:pt idx="12">
                  <c:v>3.078080242265223</c:v>
                </c:pt>
                <c:pt idx="13">
                  <c:v>3.154707812845782</c:v>
                </c:pt>
                <c:pt idx="14">
                  <c:v>3.843416370106761</c:v>
                </c:pt>
                <c:pt idx="15">
                  <c:v>4.945864353098606</c:v>
                </c:pt>
                <c:pt idx="16">
                  <c:v>3.860118147929044</c:v>
                </c:pt>
                <c:pt idx="17">
                  <c:v>7.18719522743105</c:v>
                </c:pt>
                <c:pt idx="18">
                  <c:v>10.025973809523808</c:v>
                </c:pt>
                <c:pt idx="19">
                  <c:v>12.017092643966365</c:v>
                </c:pt>
                <c:pt idx="20">
                  <c:v>8.815041463414634</c:v>
                </c:pt>
                <c:pt idx="21">
                  <c:v>10.405813953488371</c:v>
                </c:pt>
                <c:pt idx="22">
                  <c:v>4.564007142857143</c:v>
                </c:pt>
                <c:pt idx="23">
                  <c:v>3.9164252173913043</c:v>
                </c:pt>
                <c:pt idx="24">
                  <c:v>4.040935897435897</c:v>
                </c:pt>
                <c:pt idx="25">
                  <c:v>7.994662732124789</c:v>
                </c:pt>
                <c:pt idx="26">
                  <c:v>10.229951690821256</c:v>
                </c:pt>
                <c:pt idx="27">
                  <c:v>17.965155043556194</c:v>
                </c:pt>
                <c:pt idx="28">
                  <c:v>147.97143333333335</c:v>
                </c:pt>
                <c:pt idx="29">
                  <c:v>20.71307154864207</c:v>
                </c:pt>
                <c:pt idx="30">
                  <c:v>3.543223076923077</c:v>
                </c:pt>
                <c:pt idx="31">
                  <c:v>17.18916596058654</c:v>
                </c:pt>
                <c:pt idx="32">
                  <c:v>162.17093333333335</c:v>
                </c:pt>
                <c:pt idx="33">
                  <c:v>4.1017329896907215</c:v>
                </c:pt>
                <c:pt idx="34">
                  <c:v>9.19368858982528</c:v>
                </c:pt>
                <c:pt idx="35">
                  <c:v>1.9792054054054053</c:v>
                </c:pt>
                <c:pt idx="36">
                  <c:v>1.2866528180354266</c:v>
                </c:pt>
                <c:pt idx="37">
                  <c:v>1.391076923076923</c:v>
                </c:pt>
                <c:pt idx="38">
                  <c:v>1.5178240591041565</c:v>
                </c:pt>
                <c:pt idx="39">
                  <c:v>1.4753257525083614</c:v>
                </c:pt>
              </c:numCache>
            </c:numRef>
          </c:xVal>
          <c:yVal>
            <c:numRef>
              <c:f>Sheet1!$B$115:$B$154</c:f>
              <c:numCache>
                <c:formatCode>General</c:formatCode>
                <c:ptCount val="40"/>
                <c:pt idx="0">
                  <c:v>0.43243243243243246</c:v>
                </c:pt>
                <c:pt idx="1">
                  <c:v>0.40441176470588236</c:v>
                </c:pt>
                <c:pt idx="2">
                  <c:v>0.40816326530612246</c:v>
                </c:pt>
                <c:pt idx="3">
                  <c:v>0.4178082191780822</c:v>
                </c:pt>
                <c:pt idx="4">
                  <c:v>0.3888888888888889</c:v>
                </c:pt>
                <c:pt idx="5">
                  <c:v>0.48333333333333334</c:v>
                </c:pt>
                <c:pt idx="6">
                  <c:v>0.44370860927152317</c:v>
                </c:pt>
                <c:pt idx="7">
                  <c:v>0.5230769230769231</c:v>
                </c:pt>
                <c:pt idx="8">
                  <c:v>0.4298245614035088</c:v>
                </c:pt>
                <c:pt idx="9">
                  <c:v>0.3504273504273504</c:v>
                </c:pt>
                <c:pt idx="10">
                  <c:v>0.4142857142857143</c:v>
                </c:pt>
                <c:pt idx="11">
                  <c:v>0.34782608695652173</c:v>
                </c:pt>
                <c:pt idx="12">
                  <c:v>0.2956989247311828</c:v>
                </c:pt>
                <c:pt idx="13">
                  <c:v>0.34394904458598724</c:v>
                </c:pt>
                <c:pt idx="14">
                  <c:v>0.40625</c:v>
                </c:pt>
                <c:pt idx="15">
                  <c:v>0.2631578947368421</c:v>
                </c:pt>
                <c:pt idx="16">
                  <c:v>0.35294117647058826</c:v>
                </c:pt>
                <c:pt idx="17">
                  <c:v>0.36363636363636365</c:v>
                </c:pt>
                <c:pt idx="18">
                  <c:v>0.33</c:v>
                </c:pt>
                <c:pt idx="19">
                  <c:v>0.3925233644859813</c:v>
                </c:pt>
                <c:pt idx="20">
                  <c:v>0.43373493975903615</c:v>
                </c:pt>
                <c:pt idx="21">
                  <c:v>0.5</c:v>
                </c:pt>
                <c:pt idx="22">
                  <c:v>0.4074074074074074</c:v>
                </c:pt>
                <c:pt idx="23">
                  <c:v>0.46153846153846156</c:v>
                </c:pt>
                <c:pt idx="24">
                  <c:v>0.4523809523809524</c:v>
                </c:pt>
                <c:pt idx="25">
                  <c:v>0.5087719298245614</c:v>
                </c:pt>
                <c:pt idx="26">
                  <c:v>0.5434782608695652</c:v>
                </c:pt>
                <c:pt idx="27">
                  <c:v>0.5</c:v>
                </c:pt>
                <c:pt idx="28">
                  <c:v>0.47297297297297297</c:v>
                </c:pt>
                <c:pt idx="29">
                  <c:v>0.42424242424242425</c:v>
                </c:pt>
                <c:pt idx="30">
                  <c:v>0.42</c:v>
                </c:pt>
                <c:pt idx="31">
                  <c:v>0.46153846153846156</c:v>
                </c:pt>
                <c:pt idx="32">
                  <c:v>0.46987951807228917</c:v>
                </c:pt>
                <c:pt idx="33">
                  <c:v>0.4504950495049505</c:v>
                </c:pt>
                <c:pt idx="34">
                  <c:v>0.5414012738853503</c:v>
                </c:pt>
                <c:pt idx="35">
                  <c:v>0.5125</c:v>
                </c:pt>
                <c:pt idx="36">
                  <c:v>0.5087719298245614</c:v>
                </c:pt>
                <c:pt idx="37">
                  <c:v>0.4835680751173709</c:v>
                </c:pt>
                <c:pt idx="38">
                  <c:v>0.4731182795698925</c:v>
                </c:pt>
                <c:pt idx="39">
                  <c:v>0.4117647058823529</c:v>
                </c:pt>
              </c:numCache>
            </c:numRef>
          </c:yVal>
          <c:smooth val="0"/>
          <c:extLst>
            <c:ext xmlns:c16="http://schemas.microsoft.com/office/drawing/2014/chart" uri="{C3380CC4-5D6E-409C-BE32-E72D297353CC}">
              <c16:uniqueId val="{00000002-096C-4121-9522-6AB7243CCAAE}"/>
            </c:ext>
          </c:extLst>
        </c:ser>
        <c:ser>
          <c:idx val="2"/>
          <c:order val="2"/>
          <c:tx>
            <c:strRef>
              <c:f>Sheet1!$B$1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7:$A$158</c:f>
              <c:numCache>
                <c:formatCode>General</c:formatCode>
                <c:ptCount val="2"/>
                <c:pt idx="0">
                  <c:v>0</c:v>
                </c:pt>
                <c:pt idx="1">
                  <c:v>191.80902179406604</c:v>
                </c:pt>
              </c:numCache>
            </c:numRef>
          </c:xVal>
          <c:yVal>
            <c:numRef>
              <c:f>Sheet1!$B$157:$B$158</c:f>
              <c:numCache>
                <c:formatCode>General</c:formatCode>
                <c:ptCount val="2"/>
                <c:pt idx="0">
                  <c:v>0.48837220328042663</c:v>
                </c:pt>
                <c:pt idx="1">
                  <c:v>0.48837220328042663</c:v>
                </c:pt>
              </c:numCache>
            </c:numRef>
          </c:yVal>
          <c:smooth val="0"/>
          <c:extLst>
            <c:ext xmlns:c16="http://schemas.microsoft.com/office/drawing/2014/chart" uri="{C3380CC4-5D6E-409C-BE32-E72D297353CC}">
              <c16:uniqueId val="{00000005-096C-4121-9522-6AB7243CCAAE}"/>
            </c:ext>
          </c:extLst>
        </c:ser>
        <c:ser>
          <c:idx val="3"/>
          <c:order val="3"/>
          <c:tx>
            <c:strRef>
              <c:f>Sheet1!$B$1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91.80902179406604</c:v>
                </c:pt>
                <c:pt idx="1">
                  <c:v>191.80902179406604</c:v>
                </c:pt>
              </c:numCache>
            </c:numRef>
          </c:xVal>
          <c:yVal>
            <c:numRef>
              <c:f>Sheet1!$B$161:$B$162</c:f>
              <c:numCache>
                <c:formatCode>General</c:formatCode>
                <c:ptCount val="2"/>
                <c:pt idx="0">
                  <c:v>0.488372203280426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5:$A$166</c:f>
              <c:numCache>
                <c:formatCode>General</c:formatCode>
                <c:ptCount val="2"/>
                <c:pt idx="0">
                  <c:v>0</c:v>
                </c:pt>
                <c:pt idx="1">
                  <c:v>191.80902179406604</c:v>
                </c:pt>
              </c:numCache>
            </c:numRef>
          </c:xVal>
          <c:yVal>
            <c:numRef>
              <c:f>Sheet1!$B$165:$B$166</c:f>
              <c:numCache>
                <c:formatCode>General</c:formatCode>
                <c:ptCount val="2"/>
                <c:pt idx="0">
                  <c:v>0.48837220328042663</c:v>
                </c:pt>
                <c:pt idx="1">
                  <c:v>0.48837220328042663</c:v>
                </c:pt>
              </c:numCache>
            </c:numRef>
          </c:yVal>
          <c:smooth val="0"/>
          <c:extLst>
            <c:ext xmlns:c16="http://schemas.microsoft.com/office/drawing/2014/chart" uri="{C3380CC4-5D6E-409C-BE32-E72D297353CC}">
              <c16:uniqueId val="{0000000D-096C-4121-9522-6AB7243CCAAE}"/>
            </c:ext>
          </c:extLst>
        </c:ser>
        <c:ser>
          <c:idx val="5"/>
          <c:order val="5"/>
          <c:tx>
            <c:strRef>
              <c:f>Sheet1!$B$1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191.80902179406604</c:v>
                </c:pt>
                <c:pt idx="1">
                  <c:v>191.80902179406604</c:v>
                </c:pt>
              </c:numCache>
            </c:numRef>
          </c:xVal>
          <c:yVal>
            <c:numRef>
              <c:f>Sheet1!$B$169:$B$170</c:f>
              <c:numCache>
                <c:formatCode>General</c:formatCode>
                <c:ptCount val="2"/>
                <c:pt idx="0">
                  <c:v>0.488372203280426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3:$A$174</c:f>
              <c:numCache>
                <c:formatCode>General</c:formatCode>
                <c:ptCount val="2"/>
                <c:pt idx="0">
                  <c:v>0</c:v>
                </c:pt>
                <c:pt idx="1">
                  <c:v>126.0986782619296</c:v>
                </c:pt>
              </c:numCache>
            </c:numRef>
          </c:xVal>
          <c:yVal>
            <c:numRef>
              <c:f>Sheet1!$B$173:$B$174</c:f>
              <c:numCache>
                <c:formatCode>General</c:formatCode>
                <c:ptCount val="2"/>
                <c:pt idx="0">
                  <c:v>0.4672265010614378</c:v>
                </c:pt>
                <c:pt idx="1">
                  <c:v>0.4672265010614378</c:v>
                </c:pt>
              </c:numCache>
            </c:numRef>
          </c:yVal>
          <c:smooth val="0"/>
          <c:extLst>
            <c:ext xmlns:c16="http://schemas.microsoft.com/office/drawing/2014/chart" uri="{C3380CC4-5D6E-409C-BE32-E72D297353CC}">
              <c16:uniqueId val="{00000015-096C-4121-9522-6AB7243CCAAE}"/>
            </c:ext>
          </c:extLst>
        </c:ser>
        <c:ser>
          <c:idx val="7"/>
          <c:order val="7"/>
          <c:tx>
            <c:strRef>
              <c:f>Sheet1!$B$17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7:$A$178</c:f>
              <c:numCache>
                <c:formatCode>General</c:formatCode>
                <c:ptCount val="2"/>
                <c:pt idx="0">
                  <c:v>126.0986782619296</c:v>
                </c:pt>
                <c:pt idx="1">
                  <c:v>126.0986782619296</c:v>
                </c:pt>
              </c:numCache>
            </c:numRef>
          </c:xVal>
          <c:yVal>
            <c:numRef>
              <c:f>Sheet1!$B$177:$B$178</c:f>
              <c:numCache>
                <c:formatCode>General</c:formatCode>
                <c:ptCount val="2"/>
                <c:pt idx="0">
                  <c:v>0.46722650106143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1:$A$223</c:f>
              <c:numCache>
                <c:formatCode>General</c:formatCode>
                <c:ptCount val="43"/>
                <c:pt idx="0">
                  <c:v>1.4082777311095995</c:v>
                </c:pt>
                <c:pt idx="1">
                  <c:v>1.6440478170517916</c:v>
                </c:pt>
                <c:pt idx="2">
                  <c:v>1.7292498004788508</c:v>
                </c:pt>
                <c:pt idx="3">
                  <c:v>1.5564512607737615</c:v>
                </c:pt>
                <c:pt idx="4">
                  <c:v>1.4825904471544717</c:v>
                </c:pt>
                <c:pt idx="5">
                  <c:v>1.365030274509804</c:v>
                </c:pt>
                <c:pt idx="6">
                  <c:v>1.5000199111111112</c:v>
                </c:pt>
                <c:pt idx="7">
                  <c:v>1.4060429090909092</c:v>
                </c:pt>
                <c:pt idx="8">
                  <c:v>2.681150013895053</c:v>
                </c:pt>
                <c:pt idx="9">
                  <c:v>3.5436986427987054</c:v>
                </c:pt>
                <c:pt idx="10">
                  <c:v>1.3546091257179325</c:v>
                </c:pt>
                <c:pt idx="11">
                  <c:v>1.3798576923076924</c:v>
                </c:pt>
                <c:pt idx="12">
                  <c:v>3.078080242265223</c:v>
                </c:pt>
                <c:pt idx="13">
                  <c:v>3.154707812845782</c:v>
                </c:pt>
                <c:pt idx="14">
                  <c:v>3.843416370106761</c:v>
                </c:pt>
                <c:pt idx="15">
                  <c:v>4.945864353098606</c:v>
                </c:pt>
                <c:pt idx="16">
                  <c:v>3.860118147929044</c:v>
                </c:pt>
                <c:pt idx="17">
                  <c:v>7.18719522743105</c:v>
                </c:pt>
                <c:pt idx="18">
                  <c:v>10.025973809523808</c:v>
                </c:pt>
                <c:pt idx="19">
                  <c:v>12.017092643966365</c:v>
                </c:pt>
                <c:pt idx="20">
                  <c:v>8.815041463414634</c:v>
                </c:pt>
                <c:pt idx="21">
                  <c:v>10.405813953488371</c:v>
                </c:pt>
                <c:pt idx="22">
                  <c:v>4.564007142857143</c:v>
                </c:pt>
                <c:pt idx="23">
                  <c:v>3.9164252173913043</c:v>
                </c:pt>
                <c:pt idx="24">
                  <c:v>4.040935897435897</c:v>
                </c:pt>
                <c:pt idx="25">
                  <c:v>7.994662732124789</c:v>
                </c:pt>
                <c:pt idx="26">
                  <c:v>10.229951690821256</c:v>
                </c:pt>
                <c:pt idx="27">
                  <c:v>17.965155043556194</c:v>
                </c:pt>
                <c:pt idx="28">
                  <c:v>147.97143333333335</c:v>
                </c:pt>
                <c:pt idx="29">
                  <c:v>20.71307154864207</c:v>
                </c:pt>
                <c:pt idx="30">
                  <c:v>3.543223076923077</c:v>
                </c:pt>
                <c:pt idx="31">
                  <c:v>17.18916596058654</c:v>
                </c:pt>
                <c:pt idx="32">
                  <c:v>162.17093333333335</c:v>
                </c:pt>
                <c:pt idx="33">
                  <c:v>4.1017329896907215</c:v>
                </c:pt>
                <c:pt idx="34">
                  <c:v>9.19368858982528</c:v>
                </c:pt>
                <c:pt idx="35">
                  <c:v>1.9792054054054053</c:v>
                </c:pt>
                <c:pt idx="36">
                  <c:v>1.2866528180354266</c:v>
                </c:pt>
                <c:pt idx="37">
                  <c:v>1.391076923076923</c:v>
                </c:pt>
                <c:pt idx="38">
                  <c:v>1.5178240591041565</c:v>
                </c:pt>
                <c:pt idx="39">
                  <c:v>1.4753257525083614</c:v>
                </c:pt>
                <c:pt idx="40">
                  <c:v>191.80902179406604</c:v>
                </c:pt>
                <c:pt idx="41">
                  <c:v>191.80902179406604</c:v>
                </c:pt>
                <c:pt idx="42">
                  <c:v>126.0986782619296</c:v>
                </c:pt>
              </c:numCache>
            </c:numRef>
          </c:xVal>
          <c:yVal>
            <c:numRef>
              <c:f>Sheet1!$B$181:$B$223</c:f>
              <c:numCache>
                <c:formatCode>General</c:formatCode>
                <c:ptCount val="43"/>
                <c:pt idx="0">
                  <c:v>0.42710091447244564</c:v>
                </c:pt>
                <c:pt idx="1">
                  <c:v>0.4271767856939534</c:v>
                </c:pt>
                <c:pt idx="2">
                  <c:v>0.42720420383960855</c:v>
                </c:pt>
                <c:pt idx="3">
                  <c:v>0.42714859697061247</c:v>
                </c:pt>
                <c:pt idx="4">
                  <c:v>0.4271248284330202</c:v>
                </c:pt>
                <c:pt idx="5">
                  <c:v>0.42708699736609934</c:v>
                </c:pt>
                <c:pt idx="6">
                  <c:v>0.42713043726467215</c:v>
                </c:pt>
                <c:pt idx="7">
                  <c:v>0.42710019530285404</c:v>
                </c:pt>
                <c:pt idx="8">
                  <c:v>0.42751052697494946</c:v>
                </c:pt>
                <c:pt idx="9">
                  <c:v>0.42778809661582756</c:v>
                </c:pt>
                <c:pt idx="10">
                  <c:v>0.4270836438223909</c:v>
                </c:pt>
                <c:pt idx="11">
                  <c:v>0.42709176885479616</c:v>
                </c:pt>
                <c:pt idx="12">
                  <c:v>0.42763825980907666</c:v>
                </c:pt>
                <c:pt idx="13">
                  <c:v>0.4276629186938452</c:v>
                </c:pt>
                <c:pt idx="14">
                  <c:v>0.427884546298948</c:v>
                </c:pt>
                <c:pt idx="15">
                  <c:v>0.4282393159669664</c:v>
                </c:pt>
                <c:pt idx="16">
                  <c:v>0.4278899209599431</c:v>
                </c:pt>
                <c:pt idx="17">
                  <c:v>0.42896058011953747</c:v>
                </c:pt>
                <c:pt idx="18">
                  <c:v>0.4298741039779726</c:v>
                </c:pt>
                <c:pt idx="19">
                  <c:v>0.43051484946327284</c:v>
                </c:pt>
                <c:pt idx="20">
                  <c:v>0.42948442385423924</c:v>
                </c:pt>
                <c:pt idx="21">
                  <c:v>0.42999633719337443</c:v>
                </c:pt>
                <c:pt idx="22">
                  <c:v>0.4281164336561474</c:v>
                </c:pt>
                <c:pt idx="23">
                  <c:v>0.4279080406723</c:v>
                </c:pt>
                <c:pt idx="24">
                  <c:v>0.42794810842452563</c:v>
                </c:pt>
                <c:pt idx="25">
                  <c:v>0.42922042455936166</c:v>
                </c:pt>
                <c:pt idx="26">
                  <c:v>0.42993974441302935</c:v>
                </c:pt>
                <c:pt idx="27">
                  <c:v>0.4324289462328351</c:v>
                </c:pt>
                <c:pt idx="28">
                  <c:v>0.4742651914804368</c:v>
                </c:pt>
                <c:pt idx="29">
                  <c:v>0.43331323051770987</c:v>
                </c:pt>
                <c:pt idx="30">
                  <c:v>0.4277879435779061</c:v>
                </c:pt>
                <c:pt idx="31">
                  <c:v>0.4321792316035753</c:v>
                </c:pt>
                <c:pt idx="32">
                  <c:v>0.4788346151437249</c:v>
                </c:pt>
                <c:pt idx="33">
                  <c:v>0.42796767303398425</c:v>
                </c:pt>
                <c:pt idx="34">
                  <c:v>0.42960627315452843</c:v>
                </c:pt>
                <c:pt idx="35">
                  <c:v>0.4272846399856646</c:v>
                </c:pt>
                <c:pt idx="36">
                  <c:v>0.42706177536502304</c:v>
                </c:pt>
                <c:pt idx="37">
                  <c:v>0.42709537922266555</c:v>
                </c:pt>
                <c:pt idx="38">
                  <c:v>0.42713616667029514</c:v>
                </c:pt>
                <c:pt idx="39">
                  <c:v>0.4271224906417161</c:v>
                </c:pt>
                <c:pt idx="40">
                  <c:v>0.48837220328042663</c:v>
                </c:pt>
                <c:pt idx="41">
                  <c:v>0.48837220328042663</c:v>
                </c:pt>
                <c:pt idx="42">
                  <c:v>0.46722650106143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3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93617021276596"/>
          <c:min val="0.095238095238095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47.0682</c:v>
                </c:pt>
                <c:pt idx="1">
                  <c:v>349.0286</c:v>
                </c:pt>
                <c:pt idx="2">
                  <c:v>324.075</c:v>
                </c:pt>
                <c:pt idx="3">
                  <c:v>320.2432</c:v>
                </c:pt>
                <c:pt idx="4">
                  <c:v>287.0882</c:v>
                </c:pt>
                <c:pt idx="5">
                  <c:v>328.7813</c:v>
                </c:pt>
                <c:pt idx="6">
                  <c:v>326.1071</c:v>
                </c:pt>
                <c:pt idx="7">
                  <c:v>324.3548</c:v>
                </c:pt>
                <c:pt idx="8">
                  <c:v>351.65</c:v>
                </c:pt>
                <c:pt idx="9">
                  <c:v>330.0278</c:v>
                </c:pt>
                <c:pt idx="10">
                  <c:v>312.3636</c:v>
                </c:pt>
                <c:pt idx="11">
                  <c:v>322.6512</c:v>
                </c:pt>
                <c:pt idx="12">
                  <c:v>351.2273</c:v>
                </c:pt>
                <c:pt idx="13">
                  <c:v>333.0638</c:v>
                </c:pt>
                <c:pt idx="14">
                  <c:v>337.7167</c:v>
                </c:pt>
                <c:pt idx="15">
                  <c:v>346.8095</c:v>
                </c:pt>
                <c:pt idx="16">
                  <c:v>318.6286</c:v>
                </c:pt>
                <c:pt idx="17">
                  <c:v>325.5</c:v>
                </c:pt>
                <c:pt idx="18">
                  <c:v>356.6957</c:v>
                </c:pt>
                <c:pt idx="19">
                  <c:v>365.6667</c:v>
                </c:pt>
                <c:pt idx="20">
                  <c:v>369.0</c:v>
                </c:pt>
                <c:pt idx="21">
                  <c:v>341.1111</c:v>
                </c:pt>
                <c:pt idx="22">
                  <c:v>360.875</c:v>
                </c:pt>
                <c:pt idx="23">
                  <c:v>352.7692</c:v>
                </c:pt>
                <c:pt idx="24">
                  <c:v>366.9091</c:v>
                </c:pt>
                <c:pt idx="25">
                  <c:v>402.75</c:v>
                </c:pt>
                <c:pt idx="26">
                  <c:v>358.4828</c:v>
                </c:pt>
                <c:pt idx="27">
                  <c:v>364.8636</c:v>
                </c:pt>
                <c:pt idx="28">
                  <c:v>370.3043</c:v>
                </c:pt>
                <c:pt idx="29">
                  <c:v>354.4545</c:v>
                </c:pt>
                <c:pt idx="30">
                  <c:v>374.6842</c:v>
                </c:pt>
                <c:pt idx="31">
                  <c:v>371.9545</c:v>
                </c:pt>
                <c:pt idx="32">
                  <c:v>397.1304</c:v>
                </c:pt>
                <c:pt idx="33">
                  <c:v>373.7667</c:v>
                </c:pt>
                <c:pt idx="34">
                  <c:v>361.75</c:v>
                </c:pt>
                <c:pt idx="35">
                  <c:v>381.7097</c:v>
                </c:pt>
                <c:pt idx="36">
                  <c:v>371.3617</c:v>
                </c:pt>
                <c:pt idx="37">
                  <c:v>358.6364</c:v>
                </c:pt>
                <c:pt idx="38">
                  <c:v>393.1852</c:v>
                </c:pt>
                <c:pt idx="39">
                  <c:v>391.4583</c:v>
                </c:pt>
                <c:pt idx="40">
                  <c:v>384.1786</c:v>
                </c:pt>
                <c:pt idx="41">
                  <c:v>411.3158</c:v>
                </c:pt>
                <c:pt idx="42">
                  <c:v>383.4167</c:v>
                </c:pt>
                <c:pt idx="43">
                  <c:v>396.2258</c:v>
                </c:pt>
                <c:pt idx="44">
                  <c:v>361.2889</c:v>
                </c:pt>
                <c:pt idx="45">
                  <c:v>350.8505</c:v>
                </c:pt>
                <c:pt idx="46">
                  <c:v>348.5607</c:v>
                </c:pt>
                <c:pt idx="47">
                  <c:v>349.4257</c:v>
                </c:pt>
                <c:pt idx="48">
                  <c:v>350.3038</c:v>
                </c:pt>
                <c:pt idx="49">
                  <c:v>359.9747</c:v>
                </c:pt>
                <c:pt idx="50">
                  <c:v>373.0515</c:v>
                </c:pt>
                <c:pt idx="51">
                  <c:v>391.1458</c:v>
                </c:pt>
                <c:pt idx="52">
                  <c:v>403.6389</c:v>
                </c:pt>
                <c:pt idx="53">
                  <c:v>407.7963</c:v>
                </c:pt>
                <c:pt idx="54">
                  <c:v>397.6591</c:v>
                </c:pt>
                <c:pt idx="55">
                  <c:v>415.6667</c:v>
                </c:pt>
                <c:pt idx="56">
                  <c:v>391.1842</c:v>
                </c:pt>
                <c:pt idx="57">
                  <c:v>353.4894</c:v>
                </c:pt>
                <c:pt idx="58">
                  <c:v>356.7333</c:v>
                </c:pt>
                <c:pt idx="59">
                  <c:v>362.0563</c:v>
                </c:pt>
                <c:pt idx="60">
                  <c:v>388.1803</c:v>
                </c:pt>
                <c:pt idx="61">
                  <c:v>385.1698</c:v>
                </c:pt>
                <c:pt idx="62">
                  <c:v>384.9474</c:v>
                </c:pt>
                <c:pt idx="63">
                  <c:v>439.3429</c:v>
                </c:pt>
                <c:pt idx="64">
                  <c:v>419.9167</c:v>
                </c:pt>
                <c:pt idx="65">
                  <c:v>422.6471</c:v>
                </c:pt>
                <c:pt idx="66">
                  <c:v>394.9625</c:v>
                </c:pt>
                <c:pt idx="67">
                  <c:v>399.8108</c:v>
                </c:pt>
                <c:pt idx="68">
                  <c:v>425.7612</c:v>
                </c:pt>
                <c:pt idx="69">
                  <c:v>450.1739</c:v>
                </c:pt>
                <c:pt idx="70">
                  <c:v>427.6486</c:v>
                </c:pt>
                <c:pt idx="71">
                  <c:v>452.2353</c:v>
                </c:pt>
                <c:pt idx="72">
                  <c:v>458.129</c:v>
                </c:pt>
                <c:pt idx="73">
                  <c:v>456.8372</c:v>
                </c:pt>
                <c:pt idx="74">
                  <c:v>437.8824</c:v>
                </c:pt>
                <c:pt idx="75">
                  <c:v>429.2059</c:v>
                </c:pt>
                <c:pt idx="76">
                  <c:v>439.7857</c:v>
                </c:pt>
                <c:pt idx="77">
                  <c:v>421.4444</c:v>
                </c:pt>
                <c:pt idx="78">
                  <c:v>426.0741</c:v>
                </c:pt>
                <c:pt idx="79">
                  <c:v>434.6667</c:v>
                </c:pt>
                <c:pt idx="80">
                  <c:v>440.5</c:v>
                </c:pt>
                <c:pt idx="81">
                  <c:v>437.3333</c:v>
                </c:pt>
                <c:pt idx="82">
                  <c:v>443.2222</c:v>
                </c:pt>
                <c:pt idx="83">
                  <c:v>426.5882</c:v>
                </c:pt>
                <c:pt idx="84">
                  <c:v>462.9286</c:v>
                </c:pt>
                <c:pt idx="85">
                  <c:v>432.6129</c:v>
                </c:pt>
                <c:pt idx="86">
                  <c:v>444.5152</c:v>
                </c:pt>
                <c:pt idx="87">
                  <c:v>442.9556</c:v>
                </c:pt>
                <c:pt idx="88">
                  <c:v>443.4444</c:v>
                </c:pt>
                <c:pt idx="89">
                  <c:v>434.7143</c:v>
                </c:pt>
                <c:pt idx="90">
                  <c:v>446.125</c:v>
                </c:pt>
                <c:pt idx="91">
                  <c:v>457.75</c:v>
                </c:pt>
                <c:pt idx="92">
                  <c:v>431.5</c:v>
                </c:pt>
                <c:pt idx="93">
                  <c:v>450.1613</c:v>
                </c:pt>
                <c:pt idx="94">
                  <c:v>450.2308</c:v>
                </c:pt>
                <c:pt idx="95">
                  <c:v>442.5526</c:v>
                </c:pt>
                <c:pt idx="96">
                  <c:v>431.1887</c:v>
                </c:pt>
                <c:pt idx="97">
                  <c:v>428.5556</c:v>
                </c:pt>
                <c:pt idx="98">
                  <c:v>426.5714</c:v>
                </c:pt>
                <c:pt idx="99">
                  <c:v>415.2286</c:v>
                </c:pt>
                <c:pt idx="100">
                  <c:v>422.4171</c:v>
                </c:pt>
                <c:pt idx="101">
                  <c:v>412.7326</c:v>
                </c:pt>
                <c:pt idx="102">
                  <c:v>432.5909</c:v>
                </c:pt>
                <c:pt idx="103">
                  <c:v>335.9394</c:v>
                </c:pt>
                <c:pt idx="104">
                  <c:v>364.2979</c:v>
                </c:pt>
              </c:numCache>
            </c:numRef>
          </c:xVal>
          <c:yVal>
            <c:numRef>
              <c:f>Sheet1!$B$2:$B$106</c:f>
              <c:numCache>
                <c:formatCode>General</c:formatCode>
                <c:ptCount val="105"/>
                <c:pt idx="0">
                  <c:v>0.2573099415204678</c:v>
                </c:pt>
                <c:pt idx="1">
                  <c:v>0.22151898734177214</c:v>
                </c:pt>
                <c:pt idx="2">
                  <c:v>0.23255813953488372</c:v>
                </c:pt>
                <c:pt idx="3">
                  <c:v>0.24666666666666667</c:v>
                </c:pt>
                <c:pt idx="4">
                  <c:v>0.23776223776223776</c:v>
                </c:pt>
                <c:pt idx="5">
                  <c:v>0.23357664233576642</c:v>
                </c:pt>
                <c:pt idx="6">
                  <c:v>0.2153846153846154</c:v>
                </c:pt>
                <c:pt idx="7">
                  <c:v>0.22962962962962963</c:v>
                </c:pt>
                <c:pt idx="8">
                  <c:v>0.20202020202020202</c:v>
                </c:pt>
                <c:pt idx="9">
                  <c:v>0.24324324324324326</c:v>
                </c:pt>
                <c:pt idx="10">
                  <c:v>0.25</c:v>
                </c:pt>
                <c:pt idx="11">
                  <c:v>0.24571428571428572</c:v>
                </c:pt>
                <c:pt idx="12">
                  <c:v>0.2146341463414634</c:v>
                </c:pt>
                <c:pt idx="13">
                  <c:v>0.19421487603305784</c:v>
                </c:pt>
                <c:pt idx="14">
                  <c:v>0.20477815699658702</c:v>
                </c:pt>
                <c:pt idx="15">
                  <c:v>0.1990521327014218</c:v>
                </c:pt>
                <c:pt idx="16">
                  <c:v>0.19021739130434784</c:v>
                </c:pt>
                <c:pt idx="17">
                  <c:v>0.2014388489208633</c:v>
                </c:pt>
                <c:pt idx="18">
                  <c:v>0.12041884816753927</c:v>
                </c:pt>
                <c:pt idx="19">
                  <c:v>0.11904761904761904</c:v>
                </c:pt>
                <c:pt idx="20">
                  <c:v>0.15151515151515152</c:v>
                </c:pt>
                <c:pt idx="21">
                  <c:v>0.1592920353982301</c:v>
                </c:pt>
                <c:pt idx="22">
                  <c:v>0.16551724137931034</c:v>
                </c:pt>
                <c:pt idx="23">
                  <c:v>0.2</c:v>
                </c:pt>
                <c:pt idx="24">
                  <c:v>0.19130434782608696</c:v>
                </c:pt>
                <c:pt idx="25">
                  <c:v>0.20253164556962025</c:v>
                </c:pt>
                <c:pt idx="26">
                  <c:v>0.35365853658536583</c:v>
                </c:pt>
                <c:pt idx="27">
                  <c:v>0.275</c:v>
                </c:pt>
                <c:pt idx="28">
                  <c:v>0.2875</c:v>
                </c:pt>
                <c:pt idx="29">
                  <c:v>0.22448979591836735</c:v>
                </c:pt>
                <c:pt idx="30">
                  <c:v>0.25333333333333335</c:v>
                </c:pt>
                <c:pt idx="31">
                  <c:v>0.2972972972972973</c:v>
                </c:pt>
                <c:pt idx="32">
                  <c:v>0.26436781609195403</c:v>
                </c:pt>
                <c:pt idx="33">
                  <c:v>0.2608695652173913</c:v>
                </c:pt>
                <c:pt idx="34">
                  <c:v>0.2926829268292683</c:v>
                </c:pt>
                <c:pt idx="35">
                  <c:v>0.27312775330396477</c:v>
                </c:pt>
                <c:pt idx="36">
                  <c:v>0.34306569343065696</c:v>
                </c:pt>
                <c:pt idx="37">
                  <c:v>0.21782178217821782</c:v>
                </c:pt>
                <c:pt idx="38">
                  <c:v>0.25961538461538464</c:v>
                </c:pt>
                <c:pt idx="39">
                  <c:v>0.2608695652173913</c:v>
                </c:pt>
                <c:pt idx="40">
                  <c:v>0.2222222222222222</c:v>
                </c:pt>
                <c:pt idx="41">
                  <c:v>0.19791666666666666</c:v>
                </c:pt>
                <c:pt idx="42">
                  <c:v>0.19672131147540983</c:v>
                </c:pt>
                <c:pt idx="43">
                  <c:v>0.2080536912751678</c:v>
                </c:pt>
                <c:pt idx="44">
                  <c:v>0.41284403669724773</c:v>
                </c:pt>
                <c:pt idx="45">
                  <c:v>0.4246031746031746</c:v>
                </c:pt>
                <c:pt idx="46">
                  <c:v>0.35313531353135313</c:v>
                </c:pt>
                <c:pt idx="47">
                  <c:v>0.3594306049822064</c:v>
                </c:pt>
                <c:pt idx="48">
                  <c:v>0.3640552995391705</c:v>
                </c:pt>
                <c:pt idx="49">
                  <c:v>0.34155363748458695</c:v>
                </c:pt>
                <c:pt idx="50">
                  <c:v>0.2966360856269113</c:v>
                </c:pt>
                <c:pt idx="51">
                  <c:v>0.2742857142857143</c:v>
                </c:pt>
                <c:pt idx="52">
                  <c:v>0.2868525896414343</c:v>
                </c:pt>
                <c:pt idx="53">
                  <c:v>0.27692307692307694</c:v>
                </c:pt>
                <c:pt idx="54">
                  <c:v>0.27848101265822783</c:v>
                </c:pt>
                <c:pt idx="55">
                  <c:v>0.2214765100671141</c:v>
                </c:pt>
                <c:pt idx="56">
                  <c:v>0.26573426573426573</c:v>
                </c:pt>
                <c:pt idx="57">
                  <c:v>0.2883435582822086</c:v>
                </c:pt>
                <c:pt idx="58">
                  <c:v>0.3712871287128713</c:v>
                </c:pt>
                <c:pt idx="59">
                  <c:v>0.3021276595744681</c:v>
                </c:pt>
                <c:pt idx="60">
                  <c:v>0.2850467289719626</c:v>
                </c:pt>
                <c:pt idx="61">
                  <c:v>0.3212121212121212</c:v>
                </c:pt>
                <c:pt idx="62">
                  <c:v>0.35348837209302325</c:v>
                </c:pt>
                <c:pt idx="63">
                  <c:v>0.30973451327433627</c:v>
                </c:pt>
                <c:pt idx="64">
                  <c:v>0.367816091954023</c:v>
                </c:pt>
                <c:pt idx="65">
                  <c:v>0.3648068669527897</c:v>
                </c:pt>
                <c:pt idx="66">
                  <c:v>0.3389830508474576</c:v>
                </c:pt>
                <c:pt idx="67">
                  <c:v>0.3203463203463203</c:v>
                </c:pt>
                <c:pt idx="68">
                  <c:v>0.391812865497076</c:v>
                </c:pt>
                <c:pt idx="69">
                  <c:v>0.27058823529411763</c:v>
                </c:pt>
                <c:pt idx="70">
                  <c:v>0.3978494623655914</c:v>
                </c:pt>
                <c:pt idx="71">
                  <c:v>0.39080459770114945</c:v>
                </c:pt>
                <c:pt idx="72">
                  <c:v>0.3522727272727273</c:v>
                </c:pt>
                <c:pt idx="73">
                  <c:v>0.5119047619047619</c:v>
                </c:pt>
                <c:pt idx="74">
                  <c:v>0.38636363636363635</c:v>
                </c:pt>
                <c:pt idx="75">
                  <c:v>0.41975308641975306</c:v>
                </c:pt>
                <c:pt idx="76">
                  <c:v>0.37333333333333335</c:v>
                </c:pt>
                <c:pt idx="77">
                  <c:v>0.36</c:v>
                </c:pt>
                <c:pt idx="78">
                  <c:v>0.4426229508196721</c:v>
                </c:pt>
                <c:pt idx="79">
                  <c:v>0.2625</c:v>
                </c:pt>
                <c:pt idx="80">
                  <c:v>0.3448275862068966</c:v>
                </c:pt>
                <c:pt idx="81">
                  <c:v>0.40298507462686567</c:v>
                </c:pt>
                <c:pt idx="82">
                  <c:v>0.34615384615384615</c:v>
                </c:pt>
                <c:pt idx="83">
                  <c:v>0.38636363636363635</c:v>
                </c:pt>
                <c:pt idx="84">
                  <c:v>0.35</c:v>
                </c:pt>
                <c:pt idx="85">
                  <c:v>0.5</c:v>
                </c:pt>
                <c:pt idx="86">
                  <c:v>0.42857142857142855</c:v>
                </c:pt>
                <c:pt idx="87">
                  <c:v>0.4326923076923077</c:v>
                </c:pt>
                <c:pt idx="88">
                  <c:v>0.421875</c:v>
                </c:pt>
                <c:pt idx="89">
                  <c:v>0.4772727272727273</c:v>
                </c:pt>
                <c:pt idx="90">
                  <c:v>0.46153846153846156</c:v>
                </c:pt>
                <c:pt idx="91">
                  <c:v>0.509090909090909</c:v>
                </c:pt>
                <c:pt idx="92">
                  <c:v>0.40963855421686746</c:v>
                </c:pt>
                <c:pt idx="93">
                  <c:v>0.41333333333333333</c:v>
                </c:pt>
                <c:pt idx="94">
                  <c:v>0.4482758620689655</c:v>
                </c:pt>
                <c:pt idx="95">
                  <c:v>0.4470588235294118</c:v>
                </c:pt>
                <c:pt idx="96">
                  <c:v>0.424</c:v>
                </c:pt>
                <c:pt idx="97">
                  <c:v>0.4186046511627907</c:v>
                </c:pt>
                <c:pt idx="98">
                  <c:v>0.4307692307692308</c:v>
                </c:pt>
                <c:pt idx="99">
                  <c:v>0.3874538745387454</c:v>
                </c:pt>
                <c:pt idx="100">
                  <c:v>0.39149888143176736</c:v>
                </c:pt>
                <c:pt idx="101">
                  <c:v>0.3510204081632653</c:v>
                </c:pt>
                <c:pt idx="102">
                  <c:v>0.41904761904761906</c:v>
                </c:pt>
                <c:pt idx="103">
                  <c:v>0.4925373134328358</c:v>
                </c:pt>
                <c:pt idx="104">
                  <c:v>0.379032258064516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54</c:f>
              <c:numCache>
                <c:formatCode>General</c:formatCode>
                <c:ptCount val="46"/>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60.619</c:v>
                </c:pt>
                <c:pt idx="33">
                  <c:v>424.0</c:v>
                </c:pt>
                <c:pt idx="34">
                  <c:v>440.1154</c:v>
                </c:pt>
                <c:pt idx="35">
                  <c:v>486.5128</c:v>
                </c:pt>
                <c:pt idx="36">
                  <c:v>460.0</c:v>
                </c:pt>
                <c:pt idx="37">
                  <c:v>471.4074</c:v>
                </c:pt>
                <c:pt idx="38">
                  <c:v>405.2051</c:v>
                </c:pt>
                <c:pt idx="39">
                  <c:v>397.8681</c:v>
                </c:pt>
                <c:pt idx="40">
                  <c:v>370.8118</c:v>
                </c:pt>
                <c:pt idx="41">
                  <c:v>402.7683</c:v>
                </c:pt>
                <c:pt idx="42">
                  <c:v>399.5057</c:v>
                </c:pt>
                <c:pt idx="43">
                  <c:v>415.932</c:v>
                </c:pt>
                <c:pt idx="44">
                  <c:v>427.1591</c:v>
                </c:pt>
                <c:pt idx="45">
                  <c:v>441.1224</c:v>
                </c:pt>
              </c:numCache>
            </c:numRef>
          </c:xVal>
          <c:yVal>
            <c:numRef>
              <c:f>Sheet1!$B$109:$B$154</c:f>
              <c:numCache>
                <c:formatCode>General</c:formatCode>
                <c:ptCount val="46"/>
                <c:pt idx="0">
                  <c:v>0.43243243243243246</c:v>
                </c:pt>
                <c:pt idx="1">
                  <c:v>0.40441176470588236</c:v>
                </c:pt>
                <c:pt idx="2">
                  <c:v>0.40816326530612246</c:v>
                </c:pt>
                <c:pt idx="3">
                  <c:v>0.4178082191780822</c:v>
                </c:pt>
                <c:pt idx="4">
                  <c:v>0.3888888888888889</c:v>
                </c:pt>
                <c:pt idx="5">
                  <c:v>0.48333333333333334</c:v>
                </c:pt>
                <c:pt idx="6">
                  <c:v>0.44370860927152317</c:v>
                </c:pt>
                <c:pt idx="7">
                  <c:v>0.5230769230769231</c:v>
                </c:pt>
                <c:pt idx="8">
                  <c:v>0.4298245614035088</c:v>
                </c:pt>
                <c:pt idx="9">
                  <c:v>0.3504273504273504</c:v>
                </c:pt>
                <c:pt idx="10">
                  <c:v>0.4142857142857143</c:v>
                </c:pt>
                <c:pt idx="11">
                  <c:v>0.34782608695652173</c:v>
                </c:pt>
                <c:pt idx="12">
                  <c:v>0.2956989247311828</c:v>
                </c:pt>
                <c:pt idx="13">
                  <c:v>0.34394904458598724</c:v>
                </c:pt>
                <c:pt idx="14">
                  <c:v>0.40625</c:v>
                </c:pt>
                <c:pt idx="15">
                  <c:v>0.2631578947368421</c:v>
                </c:pt>
                <c:pt idx="16">
                  <c:v>0.35294117647058826</c:v>
                </c:pt>
                <c:pt idx="17">
                  <c:v>0.36363636363636365</c:v>
                </c:pt>
                <c:pt idx="18">
                  <c:v>0.33</c:v>
                </c:pt>
                <c:pt idx="19">
                  <c:v>0.3925233644859813</c:v>
                </c:pt>
                <c:pt idx="20">
                  <c:v>0.43373493975903615</c:v>
                </c:pt>
                <c:pt idx="21">
                  <c:v>0.5</c:v>
                </c:pt>
                <c:pt idx="22">
                  <c:v>0.4074074074074074</c:v>
                </c:pt>
                <c:pt idx="23">
                  <c:v>0.46153846153846156</c:v>
                </c:pt>
                <c:pt idx="24">
                  <c:v>0.4523809523809524</c:v>
                </c:pt>
                <c:pt idx="25">
                  <c:v>0.5087719298245614</c:v>
                </c:pt>
                <c:pt idx="26">
                  <c:v>0.5434782608695652</c:v>
                </c:pt>
                <c:pt idx="27">
                  <c:v>0.5</c:v>
                </c:pt>
                <c:pt idx="28">
                  <c:v>0.47297297297297297</c:v>
                </c:pt>
                <c:pt idx="29">
                  <c:v>0.42424242424242425</c:v>
                </c:pt>
                <c:pt idx="30">
                  <c:v>0.5384615384615384</c:v>
                </c:pt>
                <c:pt idx="31">
                  <c:v>0.574468085106383</c:v>
                </c:pt>
                <c:pt idx="32">
                  <c:v>0.42</c:v>
                </c:pt>
                <c:pt idx="33">
                  <c:v>0.46153846153846156</c:v>
                </c:pt>
                <c:pt idx="34">
                  <c:v>0.4406779661016949</c:v>
                </c:pt>
                <c:pt idx="35">
                  <c:v>0.46987951807228917</c:v>
                </c:pt>
                <c:pt idx="36">
                  <c:v>0.4262295081967213</c:v>
                </c:pt>
                <c:pt idx="37">
                  <c:v>0.38028169014084506</c:v>
                </c:pt>
                <c:pt idx="38">
                  <c:v>0.48148148148148145</c:v>
                </c:pt>
                <c:pt idx="39">
                  <c:v>0.4504950495049505</c:v>
                </c:pt>
                <c:pt idx="40">
                  <c:v>0.5414012738853503</c:v>
                </c:pt>
                <c:pt idx="41">
                  <c:v>0.5125</c:v>
                </c:pt>
                <c:pt idx="42">
                  <c:v>0.5087719298245614</c:v>
                </c:pt>
                <c:pt idx="43">
                  <c:v>0.4835680751173709</c:v>
                </c:pt>
                <c:pt idx="44">
                  <c:v>0.4731182795698925</c:v>
                </c:pt>
                <c:pt idx="45">
                  <c:v>0.4117647058823529</c:v>
                </c:pt>
              </c:numCache>
            </c:numRef>
          </c:yVal>
          <c:smooth val="0"/>
          <c:extLst>
            <c:ext xmlns:c16="http://schemas.microsoft.com/office/drawing/2014/chart" uri="{C3380CC4-5D6E-409C-BE32-E72D297353CC}">
              <c16:uniqueId val="{00000002-F32D-48B7-BC20-E66FC6253BAD}"/>
            </c:ext>
          </c:extLst>
        </c:ser>
        <c:ser>
          <c:idx val="2"/>
          <c:order val="2"/>
          <c:tx>
            <c:strRef>
              <c:f>Sheet1!$B$156</c:f>
              <c:strCache>
                <c:ptCount val="1"/>
                <c:pt idx="0">
                  <c:v>Custom Linep3yQ</c:v>
                </c:pt>
              </c:strCache>
            </c:strRef>
          </c:tx>
          <c:spPr>
            <a:ln w="19050" cap="rnd">
              <a:solidFill>
                <a:srgbClr val="C00000"/>
              </a:solidFill>
              <a:prstDash val="sysDot"/>
              <a:round/>
            </a:ln>
            <a:effectLst/>
          </c:spPr>
          <c:marker>
            <c:symbol val="none"/>
          </c:marker>
          <c:xVal>
            <c:numRef>
              <c:f>Sheet1!$A$157:$A$158</c:f>
              <c:numCache>
                <c:formatCode>General</c:formatCode>
                <c:ptCount val="2"/>
                <c:pt idx="0">
                  <c:v>0</c:v>
                </c:pt>
                <c:pt idx="1">
                  <c:v>368.8706237954084</c:v>
                </c:pt>
              </c:numCache>
            </c:numRef>
          </c:xVal>
          <c:yVal>
            <c:numRef>
              <c:f>Sheet1!$B$157:$B$158</c:f>
              <c:numCache>
                <c:formatCode>General</c:formatCode>
                <c:ptCount val="2"/>
                <c:pt idx="0">
                  <c:v>0.48837220328042663</c:v>
                </c:pt>
                <c:pt idx="1">
                  <c:v>0.48837220328042663</c:v>
                </c:pt>
              </c:numCache>
            </c:numRef>
          </c:yVal>
          <c:smooth val="0"/>
          <c:extLst>
            <c:ext xmlns:c16="http://schemas.microsoft.com/office/drawing/2014/chart" uri="{C3380CC4-5D6E-409C-BE32-E72D297353CC}">
              <c16:uniqueId val="{00000003-F32D-48B7-BC20-E66FC6253BAD}"/>
            </c:ext>
          </c:extLst>
        </c:ser>
        <c:ser>
          <c:idx val="3"/>
          <c:order val="3"/>
          <c:tx>
            <c:strRef>
              <c:f>Sheet1!$B$1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368.8706237954084</c:v>
                </c:pt>
                <c:pt idx="1">
                  <c:v>368.8706237954084</c:v>
                </c:pt>
              </c:numCache>
            </c:numRef>
          </c:xVal>
          <c:yVal>
            <c:numRef>
              <c:f>Sheet1!$B$161:$B$162</c:f>
              <c:numCache>
                <c:formatCode>General</c:formatCode>
                <c:ptCount val="2"/>
                <c:pt idx="0">
                  <c:v>0.488372203280426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5:$A$166</c:f>
              <c:numCache>
                <c:formatCode>General</c:formatCode>
                <c:ptCount val="2"/>
                <c:pt idx="0">
                  <c:v>0</c:v>
                </c:pt>
                <c:pt idx="1">
                  <c:v>368.8706237954084</c:v>
                </c:pt>
              </c:numCache>
            </c:numRef>
          </c:xVal>
          <c:yVal>
            <c:numRef>
              <c:f>Sheet1!$B$165:$B$166</c:f>
              <c:numCache>
                <c:formatCode>General</c:formatCode>
                <c:ptCount val="2"/>
                <c:pt idx="0">
                  <c:v>0.48837220328042663</c:v>
                </c:pt>
                <c:pt idx="1">
                  <c:v>0.48837220328042663</c:v>
                </c:pt>
              </c:numCache>
            </c:numRef>
          </c:yVal>
          <c:smooth val="0"/>
          <c:extLst>
            <c:ext xmlns:c16="http://schemas.microsoft.com/office/drawing/2014/chart" uri="{C3380CC4-5D6E-409C-BE32-E72D297353CC}">
              <c16:uniqueId val="{0000000A-F32D-48B7-BC20-E66FC6253BAD}"/>
            </c:ext>
          </c:extLst>
        </c:ser>
        <c:ser>
          <c:idx val="5"/>
          <c:order val="5"/>
          <c:tx>
            <c:strRef>
              <c:f>Sheet1!$B$1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68.8706237954084</c:v>
                </c:pt>
                <c:pt idx="1">
                  <c:v>368.8706237954084</c:v>
                </c:pt>
              </c:numCache>
            </c:numRef>
          </c:xVal>
          <c:yVal>
            <c:numRef>
              <c:f>Sheet1!$B$169:$B$170</c:f>
              <c:numCache>
                <c:formatCode>General</c:formatCode>
                <c:ptCount val="2"/>
                <c:pt idx="0">
                  <c:v>0.488372203280426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3:$A$174</c:f>
              <c:numCache>
                <c:formatCode>General</c:formatCode>
                <c:ptCount val="2"/>
                <c:pt idx="0">
                  <c:v>0</c:v>
                </c:pt>
                <c:pt idx="1">
                  <c:v>395.2459347534833</c:v>
                </c:pt>
              </c:numCache>
            </c:numRef>
          </c:xVal>
          <c:yVal>
            <c:numRef>
              <c:f>Sheet1!$B$173:$B$174</c:f>
              <c:numCache>
                <c:formatCode>General</c:formatCode>
                <c:ptCount val="2"/>
                <c:pt idx="0">
                  <c:v>0.4672265010614378</c:v>
                </c:pt>
                <c:pt idx="1">
                  <c:v>0.4672265010614378</c:v>
                </c:pt>
              </c:numCache>
            </c:numRef>
          </c:yVal>
          <c:smooth val="0"/>
          <c:extLst>
            <c:ext xmlns:c16="http://schemas.microsoft.com/office/drawing/2014/chart" uri="{C3380CC4-5D6E-409C-BE32-E72D297353CC}">
              <c16:uniqueId val="{00000011-F32D-48B7-BC20-E66FC6253BAD}"/>
            </c:ext>
          </c:extLst>
        </c:ser>
        <c:ser>
          <c:idx val="7"/>
          <c:order val="7"/>
          <c:tx>
            <c:strRef>
              <c:f>Sheet1!$B$17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7:$A$178</c:f>
              <c:numCache>
                <c:formatCode>General</c:formatCode>
                <c:ptCount val="2"/>
                <c:pt idx="0">
                  <c:v>395.2459347534833</c:v>
                </c:pt>
                <c:pt idx="1">
                  <c:v>395.2459347534833</c:v>
                </c:pt>
              </c:numCache>
            </c:numRef>
          </c:xVal>
          <c:yVal>
            <c:numRef>
              <c:f>Sheet1!$B$177:$B$178</c:f>
              <c:numCache>
                <c:formatCode>General</c:formatCode>
                <c:ptCount val="2"/>
                <c:pt idx="0">
                  <c:v>0.46722650106143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1:$A$229</c:f>
              <c:numCache>
                <c:formatCode>General</c:formatCode>
                <c:ptCount val="49"/>
                <c:pt idx="0">
                  <c:v>396.4844</c:v>
                </c:pt>
                <c:pt idx="1">
                  <c:v>429.9818</c:v>
                </c:pt>
                <c:pt idx="2">
                  <c:v>433.35</c:v>
                </c:pt>
                <c:pt idx="3">
                  <c:v>452.7049</c:v>
                </c:pt>
                <c:pt idx="4">
                  <c:v>437.6607</c:v>
                </c:pt>
                <c:pt idx="5">
                  <c:v>435.1034</c:v>
                </c:pt>
                <c:pt idx="6">
                  <c:v>421.8806</c:v>
                </c:pt>
                <c:pt idx="7">
                  <c:v>386.6618</c:v>
                </c:pt>
                <c:pt idx="8">
                  <c:v>442.8367</c:v>
                </c:pt>
                <c:pt idx="9">
                  <c:v>463.9024</c:v>
                </c:pt>
                <c:pt idx="10">
                  <c:v>424.5345</c:v>
                </c:pt>
                <c:pt idx="11">
                  <c:v>430.5156</c:v>
                </c:pt>
                <c:pt idx="12">
                  <c:v>456.5818</c:v>
                </c:pt>
                <c:pt idx="13">
                  <c:v>469.0</c:v>
                </c:pt>
                <c:pt idx="14">
                  <c:v>432.0</c:v>
                </c:pt>
                <c:pt idx="15">
                  <c:v>503.7714</c:v>
                </c:pt>
                <c:pt idx="16">
                  <c:v>504.3889</c:v>
                </c:pt>
                <c:pt idx="17">
                  <c:v>461.1786</c:v>
                </c:pt>
                <c:pt idx="18">
                  <c:v>421.0909</c:v>
                </c:pt>
                <c:pt idx="19">
                  <c:v>418.881</c:v>
                </c:pt>
                <c:pt idx="20">
                  <c:v>361.4167</c:v>
                </c:pt>
                <c:pt idx="21">
                  <c:v>447.45</c:v>
                </c:pt>
                <c:pt idx="22">
                  <c:v>447.2727</c:v>
                </c:pt>
                <c:pt idx="23">
                  <c:v>450.3889</c:v>
                </c:pt>
                <c:pt idx="24">
                  <c:v>472.7895</c:v>
                </c:pt>
                <c:pt idx="25">
                  <c:v>293.1379</c:v>
                </c:pt>
                <c:pt idx="26">
                  <c:v>423.52</c:v>
                </c:pt>
                <c:pt idx="27">
                  <c:v>479.0714</c:v>
                </c:pt>
                <c:pt idx="28">
                  <c:v>443.9143</c:v>
                </c:pt>
                <c:pt idx="29">
                  <c:v>417.7143</c:v>
                </c:pt>
                <c:pt idx="30">
                  <c:v>467.6429</c:v>
                </c:pt>
                <c:pt idx="31">
                  <c:v>423.7778</c:v>
                </c:pt>
                <c:pt idx="32">
                  <c:v>460.619</c:v>
                </c:pt>
                <c:pt idx="33">
                  <c:v>424.0</c:v>
                </c:pt>
                <c:pt idx="34">
                  <c:v>440.1154</c:v>
                </c:pt>
                <c:pt idx="35">
                  <c:v>486.5128</c:v>
                </c:pt>
                <c:pt idx="36">
                  <c:v>460.0</c:v>
                </c:pt>
                <c:pt idx="37">
                  <c:v>471.4074</c:v>
                </c:pt>
                <c:pt idx="38">
                  <c:v>405.2051</c:v>
                </c:pt>
                <c:pt idx="39">
                  <c:v>397.8681</c:v>
                </c:pt>
                <c:pt idx="40">
                  <c:v>370.8118</c:v>
                </c:pt>
                <c:pt idx="41">
                  <c:v>402.7683</c:v>
                </c:pt>
                <c:pt idx="42">
                  <c:v>399.5057</c:v>
                </c:pt>
                <c:pt idx="43">
                  <c:v>415.932</c:v>
                </c:pt>
                <c:pt idx="44">
                  <c:v>427.1591</c:v>
                </c:pt>
                <c:pt idx="45">
                  <c:v>441.1224</c:v>
                </c:pt>
                <c:pt idx="46">
                  <c:v>368.8706237954084</c:v>
                </c:pt>
                <c:pt idx="47">
                  <c:v>368.8706237954084</c:v>
                </c:pt>
                <c:pt idx="48">
                  <c:v>395.2459347534833</c:v>
                </c:pt>
              </c:numCache>
            </c:numRef>
          </c:xVal>
          <c:yVal>
            <c:numRef>
              <c:f>Sheet1!$B$181:$B$229</c:f>
              <c:numCache>
                <c:formatCode>General</c:formatCode>
                <c:ptCount val="49"/>
                <c:pt idx="0">
                  <c:v>0.466233594575784</c:v>
                </c:pt>
                <c:pt idx="1">
                  <c:v>0.4393779473898122</c:v>
                </c:pt>
                <c:pt idx="2">
                  <c:v>0.4366775828584817</c:v>
                </c:pt>
                <c:pt idx="3">
                  <c:v>0.42116030791416464</c:v>
                </c:pt>
                <c:pt idx="4">
                  <c:v>0.43322159408548533</c:v>
                </c:pt>
                <c:pt idx="5">
                  <c:v>0.4352718411658165</c:v>
                </c:pt>
                <c:pt idx="6">
                  <c:v>0.4458728684578054</c:v>
                </c:pt>
                <c:pt idx="7">
                  <c:v>0.47410860218977574</c:v>
                </c:pt>
                <c:pt idx="8">
                  <c:v>0.42907187411215636</c:v>
                </c:pt>
                <c:pt idx="9">
                  <c:v>0.4121830108891741</c:v>
                </c:pt>
                <c:pt idx="10">
                  <c:v>0.4437451749034743</c:v>
                </c:pt>
                <c:pt idx="11">
                  <c:v>0.43894998747447933</c:v>
                </c:pt>
                <c:pt idx="12">
                  <c:v>0.41805210672316795</c:v>
                </c:pt>
                <c:pt idx="13">
                  <c:v>0.40809614602517835</c:v>
                </c:pt>
                <c:pt idx="14">
                  <c:v>0.4377599093584806</c:v>
                </c:pt>
                <c:pt idx="15">
                  <c:v>0.38021910331254094</c:v>
                </c:pt>
                <c:pt idx="16">
                  <c:v>0.37972403915420816</c:v>
                </c:pt>
                <c:pt idx="17">
                  <c:v>0.4143667449045051</c:v>
                </c:pt>
                <c:pt idx="18">
                  <c:v>0.44650598937413805</c:v>
                </c:pt>
                <c:pt idx="19">
                  <c:v>0.44827771776846953</c:v>
                </c:pt>
                <c:pt idx="20">
                  <c:v>0.49434818791208784</c:v>
                </c:pt>
                <c:pt idx="21">
                  <c:v>0.4253732838584936</c:v>
                </c:pt>
                <c:pt idx="22">
                  <c:v>0.4255154294054934</c:v>
                </c:pt>
                <c:pt idx="23">
                  <c:v>0.42301709915416275</c:v>
                </c:pt>
                <c:pt idx="24">
                  <c:v>0.4050580154535149</c:v>
                </c:pt>
                <c:pt idx="25">
                  <c:v>0.5490888950440305</c:v>
                </c:pt>
                <c:pt idx="26">
                  <c:v>0.4445585232251401</c:v>
                </c:pt>
                <c:pt idx="27">
                  <c:v>0.4000216696458535</c:v>
                </c:pt>
                <c:pt idx="28">
                  <c:v>0.42820793704815724</c:v>
                </c:pt>
                <c:pt idx="29">
                  <c:v>0.44921308838146856</c:v>
                </c:pt>
                <c:pt idx="30">
                  <c:v>0.4091841647608439</c:v>
                </c:pt>
                <c:pt idx="31">
                  <c:v>0.44435183894980695</c:v>
                </c:pt>
                <c:pt idx="32">
                  <c:v>0.414815389281838</c:v>
                </c:pt>
                <c:pt idx="33">
                  <c:v>0.4441736960251405</c:v>
                </c:pt>
                <c:pt idx="34">
                  <c:v>0.43125360381915406</c:v>
                </c:pt>
                <c:pt idx="35">
                  <c:v>0.3940557256331931</c:v>
                </c:pt>
                <c:pt idx="36">
                  <c:v>0.4153116560251708</c:v>
                </c:pt>
                <c:pt idx="37">
                  <c:v>0.40616607727251375</c:v>
                </c:pt>
                <c:pt idx="38">
                  <c:v>0.45924200590279135</c:v>
                </c:pt>
                <c:pt idx="39">
                  <c:v>0.46512424999945184</c:v>
                </c:pt>
                <c:pt idx="40">
                  <c:v>0.48681591702309573</c:v>
                </c:pt>
                <c:pt idx="41">
                  <c:v>0.46119564532145596</c:v>
                </c:pt>
                <c:pt idx="42">
                  <c:v>0.4638113478687866</c:v>
                </c:pt>
                <c:pt idx="43">
                  <c:v>0.45064199987846704</c:v>
                </c:pt>
                <c:pt idx="44">
                  <c:v>0.4416409718428098</c:v>
                </c:pt>
                <c:pt idx="45">
                  <c:v>0.43044626842248823</c:v>
                </c:pt>
                <c:pt idx="46">
                  <c:v>0.48837220328042663</c:v>
                </c:pt>
                <c:pt idx="47">
                  <c:v>0.48837220328042663</c:v>
                </c:pt>
                <c:pt idx="48">
                  <c:v>0.46722650106143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05.0"/>
          <c:min val="2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93617021276596"/>
          <c:min val="0.095238095238095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0</c:f>
              <c:numCache>
                <c:formatCode>General</c:formatCode>
                <c:ptCount val="99"/>
                <c:pt idx="0">
                  <c:v>0.3098823214285714</c:v>
                </c:pt>
                <c:pt idx="1">
                  <c:v>0.2596938988095238</c:v>
                </c:pt>
                <c:pt idx="2">
                  <c:v>0.2630478896103896</c:v>
                </c:pt>
                <c:pt idx="3">
                  <c:v>0.3177015873015873</c:v>
                </c:pt>
                <c:pt idx="4">
                  <c:v>0.3204109375</c:v>
                </c:pt>
                <c:pt idx="5">
                  <c:v>0.29355473214285716</c:v>
                </c:pt>
                <c:pt idx="6">
                  <c:v>0.3639588169642857</c:v>
                </c:pt>
                <c:pt idx="7">
                  <c:v>0.3407088235294118</c:v>
                </c:pt>
                <c:pt idx="8">
                  <c:v>0.42814530958381936</c:v>
                </c:pt>
                <c:pt idx="9">
                  <c:v>0.3507948554421769</c:v>
                </c:pt>
                <c:pt idx="10">
                  <c:v>0.3718614285714286</c:v>
                </c:pt>
                <c:pt idx="11">
                  <c:v>0.332401636936757</c:v>
                </c:pt>
                <c:pt idx="12">
                  <c:v>0.3658617708333333</c:v>
                </c:pt>
                <c:pt idx="13">
                  <c:v>0.3626565766550523</c:v>
                </c:pt>
                <c:pt idx="14">
                  <c:v>0.34460887755102043</c:v>
                </c:pt>
                <c:pt idx="15">
                  <c:v>0.35728999459855787</c:v>
                </c:pt>
                <c:pt idx="16">
                  <c:v>0.3160998015873016</c:v>
                </c:pt>
                <c:pt idx="17">
                  <c:v>0.36328125</c:v>
                </c:pt>
                <c:pt idx="18">
                  <c:v>0.31847830357142853</c:v>
                </c:pt>
                <c:pt idx="19">
                  <c:v>0.0</c:v>
                </c:pt>
                <c:pt idx="20">
                  <c:v>0.38015108584645996</c:v>
                </c:pt>
                <c:pt idx="21">
                  <c:v>0.0</c:v>
                </c:pt>
                <c:pt idx="22">
                  <c:v>0.0</c:v>
                </c:pt>
                <c:pt idx="23">
                  <c:v>0.3149725</c:v>
                </c:pt>
                <c:pt idx="24">
                  <c:v>0.3275974107142857</c:v>
                </c:pt>
                <c:pt idx="25">
                  <c:v>0.0</c:v>
                </c:pt>
                <c:pt idx="26">
                  <c:v>0.0</c:v>
                </c:pt>
                <c:pt idx="27">
                  <c:v>0.4072138392857143</c:v>
                </c:pt>
                <c:pt idx="28">
                  <c:v>0.0</c:v>
                </c:pt>
                <c:pt idx="29">
                  <c:v>0.0</c:v>
                </c:pt>
                <c:pt idx="30">
                  <c:v>0.0</c:v>
                </c:pt>
                <c:pt idx="31">
                  <c:v>0.0</c:v>
                </c:pt>
                <c:pt idx="32">
                  <c:v>0.0</c:v>
                </c:pt>
                <c:pt idx="33">
                  <c:v>0.33372026785714287</c:v>
                </c:pt>
                <c:pt idx="34">
                  <c:v>0.26915922619047616</c:v>
                </c:pt>
                <c:pt idx="35">
                  <c:v>0.39324486973747014</c:v>
                </c:pt>
                <c:pt idx="36">
                  <c:v>0.30142995129870126</c:v>
                </c:pt>
                <c:pt idx="37">
                  <c:v>0.5336851190476191</c:v>
                </c:pt>
                <c:pt idx="38">
                  <c:v>0.0</c:v>
                </c:pt>
                <c:pt idx="39">
                  <c:v>0.0</c:v>
                </c:pt>
                <c:pt idx="40">
                  <c:v>0.3811295634920635</c:v>
                </c:pt>
                <c:pt idx="41">
                  <c:v>0.36724625</c:v>
                </c:pt>
                <c:pt idx="42">
                  <c:v>0.39500345484191435</c:v>
                </c:pt>
                <c:pt idx="43">
                  <c:v>0.2948108630952381</c:v>
                </c:pt>
                <c:pt idx="44">
                  <c:v>0.2304138392857143</c:v>
                </c:pt>
                <c:pt idx="45">
                  <c:v>0.39157421875000004</c:v>
                </c:pt>
                <c:pt idx="46">
                  <c:v>0.2593457589285714</c:v>
                </c:pt>
                <c:pt idx="47">
                  <c:v>0.3119872321428572</c:v>
                </c:pt>
                <c:pt idx="48">
                  <c:v>0.26064270833333336</c:v>
                </c:pt>
                <c:pt idx="49">
                  <c:v>0.390899162754595</c:v>
                </c:pt>
                <c:pt idx="50">
                  <c:v>0.3843250211426847</c:v>
                </c:pt>
                <c:pt idx="51">
                  <c:v>0.2910311011904762</c:v>
                </c:pt>
                <c:pt idx="52">
                  <c:v>0.3003265625</c:v>
                </c:pt>
                <c:pt idx="53">
                  <c:v>0.4045598214285714</c:v>
                </c:pt>
                <c:pt idx="54">
                  <c:v>0.4096762565358429</c:v>
                </c:pt>
                <c:pt idx="55">
                  <c:v>0.3711309821428571</c:v>
                </c:pt>
                <c:pt idx="56">
                  <c:v>0.2182947544642857</c:v>
                </c:pt>
                <c:pt idx="57">
                  <c:v>0.39451941964285714</c:v>
                </c:pt>
                <c:pt idx="58">
                  <c:v>0.318511875</c:v>
                </c:pt>
                <c:pt idx="59">
                  <c:v>0.26938712797619047</c:v>
                </c:pt>
                <c:pt idx="60">
                  <c:v>0.5776492559523809</c:v>
                </c:pt>
                <c:pt idx="61">
                  <c:v>0.24564400510204082</c:v>
                </c:pt>
                <c:pt idx="62">
                  <c:v>0.42962879464285714</c:v>
                </c:pt>
                <c:pt idx="63">
                  <c:v>0.3922704464285714</c:v>
                </c:pt>
                <c:pt idx="64">
                  <c:v>0.44108897058823526</c:v>
                </c:pt>
                <c:pt idx="65">
                  <c:v>0.4468777973008037</c:v>
                </c:pt>
                <c:pt idx="66">
                  <c:v>0.4288926709834378</c:v>
                </c:pt>
                <c:pt idx="67">
                  <c:v>0.35697392857142857</c:v>
                </c:pt>
                <c:pt idx="68">
                  <c:v>0.38014392857142854</c:v>
                </c:pt>
                <c:pt idx="69">
                  <c:v>0.5024262276785715</c:v>
                </c:pt>
                <c:pt idx="70">
                  <c:v>0.3818291071428571</c:v>
                </c:pt>
                <c:pt idx="71">
                  <c:v>0.5047268973214286</c:v>
                </c:pt>
                <c:pt idx="72">
                  <c:v>0.40904375000000004</c:v>
                </c:pt>
                <c:pt idx="73">
                  <c:v>0.0</c:v>
                </c:pt>
                <c:pt idx="74">
                  <c:v>0.0</c:v>
                </c:pt>
                <c:pt idx="75">
                  <c:v>0.0</c:v>
                </c:pt>
                <c:pt idx="76">
                  <c:v>0.0</c:v>
                </c:pt>
                <c:pt idx="77">
                  <c:v>0.0</c:v>
                </c:pt>
                <c:pt idx="78">
                  <c:v>0.0</c:v>
                </c:pt>
                <c:pt idx="79">
                  <c:v>0.47144765625</c:v>
                </c:pt>
                <c:pt idx="80">
                  <c:v>0.4848832236842105</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numCache>
            </c:numRef>
          </c:xVal>
          <c:yVal>
            <c:numRef>
              <c:f>Sheet1!$B$2:$B$100</c:f>
              <c:numCache>
                <c:formatCode>General</c:formatCode>
                <c:ptCount val="99"/>
                <c:pt idx="0">
                  <c:v>0.2573099415204678</c:v>
                </c:pt>
                <c:pt idx="1">
                  <c:v>0.22151898734177214</c:v>
                </c:pt>
                <c:pt idx="2">
                  <c:v>0.23255813953488372</c:v>
                </c:pt>
                <c:pt idx="3">
                  <c:v>0.24666666666666667</c:v>
                </c:pt>
                <c:pt idx="4">
                  <c:v>0.23776223776223776</c:v>
                </c:pt>
                <c:pt idx="5">
                  <c:v>0.23357664233576642</c:v>
                </c:pt>
                <c:pt idx="6">
                  <c:v>0.2153846153846154</c:v>
                </c:pt>
                <c:pt idx="7">
                  <c:v>0.22962962962962963</c:v>
                </c:pt>
                <c:pt idx="8">
                  <c:v>0.20202020202020202</c:v>
                </c:pt>
                <c:pt idx="9">
                  <c:v>0.24324324324324326</c:v>
                </c:pt>
                <c:pt idx="10">
                  <c:v>0.25</c:v>
                </c:pt>
                <c:pt idx="11">
                  <c:v>0.24571428571428572</c:v>
                </c:pt>
                <c:pt idx="12">
                  <c:v>0.2146341463414634</c:v>
                </c:pt>
                <c:pt idx="13">
                  <c:v>0.19421487603305784</c:v>
                </c:pt>
                <c:pt idx="14">
                  <c:v>0.20477815699658702</c:v>
                </c:pt>
                <c:pt idx="15">
                  <c:v>0.1990521327014218</c:v>
                </c:pt>
                <c:pt idx="16">
                  <c:v>0.19021739130434784</c:v>
                </c:pt>
                <c:pt idx="17">
                  <c:v>0.2014388489208633</c:v>
                </c:pt>
                <c:pt idx="18">
                  <c:v>0.12041884816753927</c:v>
                </c:pt>
                <c:pt idx="19">
                  <c:v>0.11904761904761904</c:v>
                </c:pt>
                <c:pt idx="20">
                  <c:v>0.15151515151515152</c:v>
                </c:pt>
                <c:pt idx="21">
                  <c:v>0.1592920353982301</c:v>
                </c:pt>
                <c:pt idx="22">
                  <c:v>0.16551724137931034</c:v>
                </c:pt>
                <c:pt idx="23">
                  <c:v>0.2</c:v>
                </c:pt>
                <c:pt idx="24">
                  <c:v>0.19130434782608696</c:v>
                </c:pt>
                <c:pt idx="25">
                  <c:v>0.20253164556962025</c:v>
                </c:pt>
                <c:pt idx="26">
                  <c:v>0.35365853658536583</c:v>
                </c:pt>
                <c:pt idx="27">
                  <c:v>0.275</c:v>
                </c:pt>
                <c:pt idx="28">
                  <c:v>0.2875</c:v>
                </c:pt>
                <c:pt idx="29">
                  <c:v>0.22448979591836735</c:v>
                </c:pt>
                <c:pt idx="30">
                  <c:v>0.25333333333333335</c:v>
                </c:pt>
                <c:pt idx="31">
                  <c:v>0.2972972972972973</c:v>
                </c:pt>
                <c:pt idx="32">
                  <c:v>0.26436781609195403</c:v>
                </c:pt>
                <c:pt idx="33">
                  <c:v>0.2608695652173913</c:v>
                </c:pt>
                <c:pt idx="34">
                  <c:v>0.2926829268292683</c:v>
                </c:pt>
                <c:pt idx="35">
                  <c:v>0.27312775330396477</c:v>
                </c:pt>
                <c:pt idx="36">
                  <c:v>0.34306569343065696</c:v>
                </c:pt>
                <c:pt idx="37">
                  <c:v>0.21782178217821782</c:v>
                </c:pt>
                <c:pt idx="38">
                  <c:v>0.25961538461538464</c:v>
                </c:pt>
                <c:pt idx="39">
                  <c:v>0.2608695652173913</c:v>
                </c:pt>
                <c:pt idx="40">
                  <c:v>0.2222222222222222</c:v>
                </c:pt>
                <c:pt idx="41">
                  <c:v>0.19791666666666666</c:v>
                </c:pt>
                <c:pt idx="42">
                  <c:v>0.19672131147540983</c:v>
                </c:pt>
                <c:pt idx="43">
                  <c:v>0.2080536912751678</c:v>
                </c:pt>
                <c:pt idx="44">
                  <c:v>0.41284403669724773</c:v>
                </c:pt>
                <c:pt idx="45">
                  <c:v>0.4246031746031746</c:v>
                </c:pt>
                <c:pt idx="46">
                  <c:v>0.35313531353135313</c:v>
                </c:pt>
                <c:pt idx="47">
                  <c:v>0.3594306049822064</c:v>
                </c:pt>
                <c:pt idx="48">
                  <c:v>0.3640552995391705</c:v>
                </c:pt>
                <c:pt idx="49">
                  <c:v>0.34155363748458695</c:v>
                </c:pt>
                <c:pt idx="50">
                  <c:v>0.2966360856269113</c:v>
                </c:pt>
                <c:pt idx="51">
                  <c:v>0.2742857142857143</c:v>
                </c:pt>
                <c:pt idx="52">
                  <c:v>0.2868525896414343</c:v>
                </c:pt>
                <c:pt idx="53">
                  <c:v>0.27692307692307694</c:v>
                </c:pt>
                <c:pt idx="54">
                  <c:v>0.27848101265822783</c:v>
                </c:pt>
                <c:pt idx="55">
                  <c:v>0.2214765100671141</c:v>
                </c:pt>
                <c:pt idx="56">
                  <c:v>0.26573426573426573</c:v>
                </c:pt>
                <c:pt idx="57">
                  <c:v>0.2883435582822086</c:v>
                </c:pt>
                <c:pt idx="58">
                  <c:v>0.3712871287128713</c:v>
                </c:pt>
                <c:pt idx="59">
                  <c:v>0.3021276595744681</c:v>
                </c:pt>
                <c:pt idx="60">
                  <c:v>0.2850467289719626</c:v>
                </c:pt>
                <c:pt idx="61">
                  <c:v>0.3212121212121212</c:v>
                </c:pt>
                <c:pt idx="62">
                  <c:v>0.35348837209302325</c:v>
                </c:pt>
                <c:pt idx="63">
                  <c:v>0.30973451327433627</c:v>
                </c:pt>
                <c:pt idx="64">
                  <c:v>0.367816091954023</c:v>
                </c:pt>
                <c:pt idx="65">
                  <c:v>0.3648068669527897</c:v>
                </c:pt>
                <c:pt idx="66">
                  <c:v>0.3389830508474576</c:v>
                </c:pt>
                <c:pt idx="67">
                  <c:v>0.3203463203463203</c:v>
                </c:pt>
                <c:pt idx="68">
                  <c:v>0.391812865497076</c:v>
                </c:pt>
                <c:pt idx="69">
                  <c:v>0.27058823529411763</c:v>
                </c:pt>
                <c:pt idx="70">
                  <c:v>0.3978494623655914</c:v>
                </c:pt>
                <c:pt idx="71">
                  <c:v>0.39080459770114945</c:v>
                </c:pt>
                <c:pt idx="72">
                  <c:v>0.3522727272727273</c:v>
                </c:pt>
                <c:pt idx="73">
                  <c:v>0.5119047619047619</c:v>
                </c:pt>
                <c:pt idx="74">
                  <c:v>0.38636363636363635</c:v>
                </c:pt>
                <c:pt idx="75">
                  <c:v>0.41975308641975306</c:v>
                </c:pt>
                <c:pt idx="76">
                  <c:v>0.37333333333333335</c:v>
                </c:pt>
                <c:pt idx="77">
                  <c:v>0.36</c:v>
                </c:pt>
                <c:pt idx="78">
                  <c:v>0.4426229508196721</c:v>
                </c:pt>
                <c:pt idx="79">
                  <c:v>0.39149888143176736</c:v>
                </c:pt>
                <c:pt idx="80">
                  <c:v>0.3510204081632653</c:v>
                </c:pt>
                <c:pt idx="81">
                  <c:v>0.41904761904761906</c:v>
                </c:pt>
                <c:pt idx="82">
                  <c:v>0.3790322580645161</c:v>
                </c:pt>
                <c:pt idx="83">
                  <c:v>0.43243243243243246</c:v>
                </c:pt>
                <c:pt idx="84">
                  <c:v>0.40816326530612246</c:v>
                </c:pt>
                <c:pt idx="85">
                  <c:v>0.4178082191780822</c:v>
                </c:pt>
                <c:pt idx="86">
                  <c:v>0.5230769230769231</c:v>
                </c:pt>
                <c:pt idx="87">
                  <c:v>0.3925233644859813</c:v>
                </c:pt>
                <c:pt idx="88">
                  <c:v>0.5</c:v>
                </c:pt>
                <c:pt idx="89">
                  <c:v>0.47297297297297297</c:v>
                </c:pt>
                <c:pt idx="90">
                  <c:v>0.42424242424242425</c:v>
                </c:pt>
                <c:pt idx="91">
                  <c:v>0.5384615384615384</c:v>
                </c:pt>
                <c:pt idx="92">
                  <c:v>0.532258064516129</c:v>
                </c:pt>
                <c:pt idx="93">
                  <c:v>0.46153846153846156</c:v>
                </c:pt>
                <c:pt idx="94">
                  <c:v>0.4406779661016949</c:v>
                </c:pt>
                <c:pt idx="95">
                  <c:v>0.46987951807228917</c:v>
                </c:pt>
                <c:pt idx="96">
                  <c:v>0.38028169014084506</c:v>
                </c:pt>
                <c:pt idx="97">
                  <c:v>0.3944954128440367</c:v>
                </c:pt>
                <c:pt idx="98">
                  <c:v>0.5087719298245614</c:v>
                </c:pt>
              </c:numCache>
            </c:numRef>
          </c:yVal>
          <c:smooth val="0"/>
          <c:extLst>
            <c:ext xmlns:c16="http://schemas.microsoft.com/office/drawing/2014/chart" uri="{C3380CC4-5D6E-409C-BE32-E72D297353CC}">
              <c16:uniqueId val="{00000000-096C-4121-9522-6AB7243CCAAE}"/>
            </c:ext>
          </c:extLst>
        </c:ser>
        <c:ser>
          <c:idx val="1"/>
          <c:order val="1"/>
          <c:tx>
            <c:strRef>
              <c:f>Sheet1!$B$10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3:$A$125</c:f>
              <c:numCache>
                <c:formatCode>General</c:formatCode>
                <c:ptCount val="23"/>
                <c:pt idx="0">
                  <c:v>0.7066676716917923</c:v>
                </c:pt>
                <c:pt idx="1">
                  <c:v>0.49423738839285714</c:v>
                </c:pt>
                <c:pt idx="2">
                  <c:v>0.5177482142857143</c:v>
                </c:pt>
                <c:pt idx="3">
                  <c:v>0.4738108258928571</c:v>
                </c:pt>
                <c:pt idx="4">
                  <c:v>0.3397186011904762</c:v>
                </c:pt>
                <c:pt idx="5">
                  <c:v>0.5461956309706665</c:v>
                </c:pt>
                <c:pt idx="6">
                  <c:v>0.4383116883116883</c:v>
                </c:pt>
                <c:pt idx="7">
                  <c:v>0.6133580606070642</c:v>
                </c:pt>
                <c:pt idx="8">
                  <c:v>0.2814670200892857</c:v>
                </c:pt>
                <c:pt idx="9">
                  <c:v>0.5378224702380953</c:v>
                </c:pt>
                <c:pt idx="10">
                  <c:v>0.39428142857142856</c:v>
                </c:pt>
                <c:pt idx="11">
                  <c:v>0.4235925892857143</c:v>
                </c:pt>
                <c:pt idx="12">
                  <c:v>0.5810605952380952</c:v>
                </c:pt>
                <c:pt idx="13">
                  <c:v>0.6854449404761905</c:v>
                </c:pt>
                <c:pt idx="14">
                  <c:v>0.30913978494623656</c:v>
                </c:pt>
                <c:pt idx="15">
                  <c:v>0.2584216198979592</c:v>
                </c:pt>
                <c:pt idx="16">
                  <c:v>0.40023148148148147</c:v>
                </c:pt>
                <c:pt idx="17">
                  <c:v>0.42461910352187837</c:v>
                </c:pt>
                <c:pt idx="18">
                  <c:v>0.31108372483221475</c:v>
                </c:pt>
                <c:pt idx="19">
                  <c:v>0.4495181919642857</c:v>
                </c:pt>
                <c:pt idx="20">
                  <c:v>0.33435048231511255</c:v>
                </c:pt>
                <c:pt idx="21">
                  <c:v>0.439916683831102</c:v>
                </c:pt>
                <c:pt idx="22">
                  <c:v>0.48742806629834257</c:v>
                </c:pt>
              </c:numCache>
            </c:numRef>
          </c:xVal>
          <c:yVal>
            <c:numRef>
              <c:f>Sheet1!$B$103:$B$125</c:f>
              <c:numCache>
                <c:formatCode>General</c:formatCode>
                <c:ptCount val="23"/>
                <c:pt idx="0">
                  <c:v>0.44370860927152317</c:v>
                </c:pt>
                <c:pt idx="1">
                  <c:v>0.4298245614035088</c:v>
                </c:pt>
                <c:pt idx="2">
                  <c:v>0.3504273504273504</c:v>
                </c:pt>
                <c:pt idx="3">
                  <c:v>0.4142857142857143</c:v>
                </c:pt>
                <c:pt idx="4">
                  <c:v>0.2956989247311828</c:v>
                </c:pt>
                <c:pt idx="5">
                  <c:v>0.34394904458598724</c:v>
                </c:pt>
                <c:pt idx="6">
                  <c:v>0.40625</c:v>
                </c:pt>
                <c:pt idx="7">
                  <c:v>0.2631578947368421</c:v>
                </c:pt>
                <c:pt idx="8">
                  <c:v>0.35294117647058826</c:v>
                </c:pt>
                <c:pt idx="9">
                  <c:v>0.43373493975903615</c:v>
                </c:pt>
                <c:pt idx="10">
                  <c:v>0.47191011235955055</c:v>
                </c:pt>
                <c:pt idx="11">
                  <c:v>0.4068965517241379</c:v>
                </c:pt>
                <c:pt idx="12">
                  <c:v>0.4074074074074074</c:v>
                </c:pt>
                <c:pt idx="13">
                  <c:v>0.42</c:v>
                </c:pt>
                <c:pt idx="14">
                  <c:v>0.4262295081967213</c:v>
                </c:pt>
                <c:pt idx="15">
                  <c:v>0.48148148148148145</c:v>
                </c:pt>
                <c:pt idx="16">
                  <c:v>0.3883495145631068</c:v>
                </c:pt>
                <c:pt idx="17">
                  <c:v>0.4504950495049505</c:v>
                </c:pt>
                <c:pt idx="18">
                  <c:v>0.5414012738853503</c:v>
                </c:pt>
                <c:pt idx="19">
                  <c:v>0.5125</c:v>
                </c:pt>
                <c:pt idx="20">
                  <c:v>0.4835680751173709</c:v>
                </c:pt>
                <c:pt idx="21">
                  <c:v>0.4731182795698925</c:v>
                </c:pt>
                <c:pt idx="22">
                  <c:v>0.4117647058823529</c:v>
                </c:pt>
              </c:numCache>
            </c:numRef>
          </c:yVal>
          <c:smooth val="0"/>
          <c:extLst>
            <c:ext xmlns:c16="http://schemas.microsoft.com/office/drawing/2014/chart" uri="{C3380CC4-5D6E-409C-BE32-E72D297353CC}">
              <c16:uniqueId val="{00000002-096C-4121-9522-6AB7243CCAAE}"/>
            </c:ext>
          </c:extLst>
        </c:ser>
        <c:ser>
          <c:idx val="2"/>
          <c:order val="2"/>
          <c:tx>
            <c:strRef>
              <c:f>Sheet1!$B$12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8:$A$129</c:f>
              <c:numCache>
                <c:formatCode>General</c:formatCode>
                <c:ptCount val="2"/>
                <c:pt idx="0">
                  <c:v>0</c:v>
                </c:pt>
                <c:pt idx="1">
                  <c:v>0.023650667522027092</c:v>
                </c:pt>
              </c:numCache>
            </c:numRef>
          </c:xVal>
          <c:yVal>
            <c:numRef>
              <c:f>Sheet1!$B$128:$B$129</c:f>
              <c:numCache>
                <c:formatCode>General</c:formatCode>
                <c:ptCount val="2"/>
                <c:pt idx="0">
                  <c:v>0.4781059520395362</c:v>
                </c:pt>
                <c:pt idx="1">
                  <c:v>0.4781059520395362</c:v>
                </c:pt>
              </c:numCache>
            </c:numRef>
          </c:yVal>
          <c:smooth val="0"/>
          <c:extLst>
            <c:ext xmlns:c16="http://schemas.microsoft.com/office/drawing/2014/chart" uri="{C3380CC4-5D6E-409C-BE32-E72D297353CC}">
              <c16:uniqueId val="{00000005-096C-4121-9522-6AB7243CCAAE}"/>
            </c:ext>
          </c:extLst>
        </c:ser>
        <c:ser>
          <c:idx val="3"/>
          <c:order val="3"/>
          <c:tx>
            <c:strRef>
              <c:f>Sheet1!$B$13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023650667522027092</c:v>
                </c:pt>
                <c:pt idx="1">
                  <c:v>0.023650667522027092</c:v>
                </c:pt>
              </c:numCache>
            </c:numRef>
          </c:xVal>
          <c:yVal>
            <c:numRef>
              <c:f>Sheet1!$B$132:$B$133</c:f>
              <c:numCache>
                <c:formatCode>General</c:formatCode>
                <c:ptCount val="2"/>
                <c:pt idx="0">
                  <c:v>0.478105952039536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6:$A$137</c:f>
              <c:numCache>
                <c:formatCode>General</c:formatCode>
                <c:ptCount val="2"/>
                <c:pt idx="0">
                  <c:v>0</c:v>
                </c:pt>
                <c:pt idx="1">
                  <c:v>0.023650667522027092</c:v>
                </c:pt>
              </c:numCache>
            </c:numRef>
          </c:xVal>
          <c:yVal>
            <c:numRef>
              <c:f>Sheet1!$B$136:$B$137</c:f>
              <c:numCache>
                <c:formatCode>General</c:formatCode>
                <c:ptCount val="2"/>
                <c:pt idx="0">
                  <c:v>0.4781059520395362</c:v>
                </c:pt>
                <c:pt idx="1">
                  <c:v>0.4781059520395362</c:v>
                </c:pt>
              </c:numCache>
            </c:numRef>
          </c:yVal>
          <c:smooth val="0"/>
          <c:extLst>
            <c:ext xmlns:c16="http://schemas.microsoft.com/office/drawing/2014/chart" uri="{C3380CC4-5D6E-409C-BE32-E72D297353CC}">
              <c16:uniqueId val="{0000000D-096C-4121-9522-6AB7243CCAAE}"/>
            </c:ext>
          </c:extLst>
        </c:ser>
        <c:ser>
          <c:idx val="5"/>
          <c:order val="5"/>
          <c:tx>
            <c:strRef>
              <c:f>Sheet1!$B$13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023650667522027092</c:v>
                </c:pt>
                <c:pt idx="1">
                  <c:v>0.023650667522027092</c:v>
                </c:pt>
              </c:numCache>
            </c:numRef>
          </c:xVal>
          <c:yVal>
            <c:numRef>
              <c:f>Sheet1!$B$140:$B$141</c:f>
              <c:numCache>
                <c:formatCode>General</c:formatCode>
                <c:ptCount val="2"/>
                <c:pt idx="0">
                  <c:v>0.4781059520395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4:$A$145</c:f>
              <c:numCache>
                <c:formatCode>General</c:formatCode>
                <c:ptCount val="2"/>
                <c:pt idx="0">
                  <c:v>0</c:v>
                </c:pt>
                <c:pt idx="1">
                  <c:v>0.18457951580925458</c:v>
                </c:pt>
              </c:numCache>
            </c:numRef>
          </c:xVal>
          <c:yVal>
            <c:numRef>
              <c:f>Sheet1!$B$144:$B$145</c:f>
              <c:numCache>
                <c:formatCode>General</c:formatCode>
                <c:ptCount val="2"/>
                <c:pt idx="0">
                  <c:v>0.45556434146791996</c:v>
                </c:pt>
                <c:pt idx="1">
                  <c:v>0.45556434146791996</c:v>
                </c:pt>
              </c:numCache>
            </c:numRef>
          </c:yVal>
          <c:smooth val="0"/>
          <c:extLst>
            <c:ext xmlns:c16="http://schemas.microsoft.com/office/drawing/2014/chart" uri="{C3380CC4-5D6E-409C-BE32-E72D297353CC}">
              <c16:uniqueId val="{00000015-096C-4121-9522-6AB7243CCAAE}"/>
            </c:ext>
          </c:extLst>
        </c:ser>
        <c:ser>
          <c:idx val="7"/>
          <c:order val="7"/>
          <c:tx>
            <c:strRef>
              <c:f>Sheet1!$B$14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18457951580925458</c:v>
                </c:pt>
                <c:pt idx="1">
                  <c:v>0.18457951580925458</c:v>
                </c:pt>
              </c:numCache>
            </c:numRef>
          </c:xVal>
          <c:yVal>
            <c:numRef>
              <c:f>Sheet1!$B$148:$B$149</c:f>
              <c:numCache>
                <c:formatCode>General</c:formatCode>
                <c:ptCount val="2"/>
                <c:pt idx="0">
                  <c:v>0.455564341467919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2:$A$177</c:f>
              <c:numCache>
                <c:formatCode>General</c:formatCode>
                <c:ptCount val="26"/>
                <c:pt idx="0">
                  <c:v>0.7066676716917923</c:v>
                </c:pt>
                <c:pt idx="1">
                  <c:v>0.49423738839285714</c:v>
                </c:pt>
                <c:pt idx="2">
                  <c:v>0.5177482142857143</c:v>
                </c:pt>
                <c:pt idx="3">
                  <c:v>0.4738108258928571</c:v>
                </c:pt>
                <c:pt idx="4">
                  <c:v>0.3397186011904762</c:v>
                </c:pt>
                <c:pt idx="5">
                  <c:v>0.5461956309706665</c:v>
                </c:pt>
                <c:pt idx="6">
                  <c:v>0.4383116883116883</c:v>
                </c:pt>
                <c:pt idx="7">
                  <c:v>0.6133580606070642</c:v>
                </c:pt>
                <c:pt idx="8">
                  <c:v>0.2814670200892857</c:v>
                </c:pt>
                <c:pt idx="9">
                  <c:v>0.5378224702380953</c:v>
                </c:pt>
                <c:pt idx="10">
                  <c:v>0.39428142857142856</c:v>
                </c:pt>
                <c:pt idx="11">
                  <c:v>0.4235925892857143</c:v>
                </c:pt>
                <c:pt idx="12">
                  <c:v>0.5810605952380952</c:v>
                </c:pt>
                <c:pt idx="13">
                  <c:v>0.6854449404761905</c:v>
                </c:pt>
                <c:pt idx="14">
                  <c:v>0.30913978494623656</c:v>
                </c:pt>
                <c:pt idx="15">
                  <c:v>0.2584216198979592</c:v>
                </c:pt>
                <c:pt idx="16">
                  <c:v>0.40023148148148147</c:v>
                </c:pt>
                <c:pt idx="17">
                  <c:v>0.42461910352187837</c:v>
                </c:pt>
                <c:pt idx="18">
                  <c:v>0.31108372483221475</c:v>
                </c:pt>
                <c:pt idx="19">
                  <c:v>0.4495181919642857</c:v>
                </c:pt>
                <c:pt idx="20">
                  <c:v>0.33435048231511255</c:v>
                </c:pt>
                <c:pt idx="21">
                  <c:v>0.439916683831102</c:v>
                </c:pt>
                <c:pt idx="22">
                  <c:v>0.48742806629834257</c:v>
                </c:pt>
                <c:pt idx="23">
                  <c:v>0.023650667522027092</c:v>
                </c:pt>
                <c:pt idx="24">
                  <c:v>0.023650667522027092</c:v>
                </c:pt>
                <c:pt idx="25">
                  <c:v>0.18457951580925458</c:v>
                </c:pt>
              </c:numCache>
            </c:numRef>
          </c:xVal>
          <c:yVal>
            <c:numRef>
              <c:f>Sheet1!$B$152:$B$177</c:f>
              <c:numCache>
                <c:formatCode>General</c:formatCode>
                <c:ptCount val="26"/>
                <c:pt idx="0">
                  <c:v>0.382434458173456</c:v>
                </c:pt>
                <c:pt idx="1">
                  <c:v>0.4121899729286235</c:v>
                </c:pt>
                <c:pt idx="2">
                  <c:v>0.40889676672517167</c:v>
                </c:pt>
                <c:pt idx="3">
                  <c:v>0.4150511604788505</c:v>
                </c:pt>
                <c:pt idx="4">
                  <c:v>0.4338337140240537</c:v>
                </c:pt>
                <c:pt idx="5">
                  <c:v>0.4049120828384382</c:v>
                </c:pt>
                <c:pt idx="6">
                  <c:v>0.420023592354798</c:v>
                </c:pt>
                <c:pt idx="7">
                  <c:v>0.39550451328195235</c:v>
                </c:pt>
                <c:pt idx="8">
                  <c:v>0.4419931240387227</c:v>
                </c:pt>
                <c:pt idx="9">
                  <c:v>0.4060849274247009</c:v>
                </c:pt>
                <c:pt idx="10">
                  <c:v>0.4261909947751559</c:v>
                </c:pt>
                <c:pt idx="11">
                  <c:v>0.4220853246156067</c:v>
                </c:pt>
                <c:pt idx="12">
                  <c:v>0.4000284808275235</c:v>
                </c:pt>
                <c:pt idx="13">
                  <c:v>0.38540716659347984</c:v>
                </c:pt>
                <c:pt idx="14">
                  <c:v>0.43811694711032045</c:v>
                </c:pt>
                <c:pt idx="15">
                  <c:v>0.4452211371768815</c:v>
                </c:pt>
                <c:pt idx="16">
                  <c:v>0.4253575595209649</c:v>
                </c:pt>
                <c:pt idx="17">
                  <c:v>0.4219415388096179</c:v>
                </c:pt>
                <c:pt idx="18">
                  <c:v>0.4378446557445975</c:v>
                </c:pt>
                <c:pt idx="19">
                  <c:v>0.4184538760242904</c:v>
                </c:pt>
                <c:pt idx="20">
                  <c:v>0.43458563666861655</c:v>
                </c:pt>
                <c:pt idx="21">
                  <c:v>0.41979877757265754</c:v>
                </c:pt>
                <c:pt idx="22">
                  <c:v>0.4131437676555782</c:v>
                </c:pt>
                <c:pt idx="23">
                  <c:v>0.4781059520395362</c:v>
                </c:pt>
                <c:pt idx="24">
                  <c:v>0.4781059520395362</c:v>
                </c:pt>
                <c:pt idx="25">
                  <c:v>0.455564341467919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96815286624203"/>
          <c:min val="0.095238095238095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4</c:f>
              <c:numCache>
                <c:formatCode>General</c:formatCode>
                <c:ptCount val="83"/>
                <c:pt idx="0">
                  <c:v>347.0682</c:v>
                </c:pt>
                <c:pt idx="1">
                  <c:v>349.0286</c:v>
                </c:pt>
                <c:pt idx="2">
                  <c:v>324.075</c:v>
                </c:pt>
                <c:pt idx="3">
                  <c:v>320.2432</c:v>
                </c:pt>
                <c:pt idx="4">
                  <c:v>287.0882</c:v>
                </c:pt>
                <c:pt idx="5">
                  <c:v>328.7813</c:v>
                </c:pt>
                <c:pt idx="6">
                  <c:v>326.1071</c:v>
                </c:pt>
                <c:pt idx="7">
                  <c:v>324.3548</c:v>
                </c:pt>
                <c:pt idx="8">
                  <c:v>351.65</c:v>
                </c:pt>
                <c:pt idx="9">
                  <c:v>330.0278</c:v>
                </c:pt>
                <c:pt idx="10">
                  <c:v>312.3636</c:v>
                </c:pt>
                <c:pt idx="11">
                  <c:v>322.6512</c:v>
                </c:pt>
                <c:pt idx="12">
                  <c:v>351.2273</c:v>
                </c:pt>
                <c:pt idx="13">
                  <c:v>333.0638</c:v>
                </c:pt>
                <c:pt idx="14">
                  <c:v>337.7167</c:v>
                </c:pt>
                <c:pt idx="15">
                  <c:v>346.8095</c:v>
                </c:pt>
                <c:pt idx="16">
                  <c:v>318.6286</c:v>
                </c:pt>
                <c:pt idx="17">
                  <c:v>325.5</c:v>
                </c:pt>
                <c:pt idx="18">
                  <c:v>356.6957</c:v>
                </c:pt>
                <c:pt idx="19">
                  <c:v>365.6667</c:v>
                </c:pt>
                <c:pt idx="20">
                  <c:v>369.0</c:v>
                </c:pt>
                <c:pt idx="21">
                  <c:v>341.1111</c:v>
                </c:pt>
                <c:pt idx="22">
                  <c:v>360.875</c:v>
                </c:pt>
                <c:pt idx="23">
                  <c:v>352.7692</c:v>
                </c:pt>
                <c:pt idx="24">
                  <c:v>366.9091</c:v>
                </c:pt>
                <c:pt idx="25">
                  <c:v>402.75</c:v>
                </c:pt>
                <c:pt idx="26">
                  <c:v>358.4828</c:v>
                </c:pt>
                <c:pt idx="27">
                  <c:v>364.8636</c:v>
                </c:pt>
                <c:pt idx="28">
                  <c:v>370.3043</c:v>
                </c:pt>
                <c:pt idx="29">
                  <c:v>354.4545</c:v>
                </c:pt>
                <c:pt idx="30">
                  <c:v>374.6842</c:v>
                </c:pt>
                <c:pt idx="31">
                  <c:v>371.9545</c:v>
                </c:pt>
                <c:pt idx="32">
                  <c:v>397.1304</c:v>
                </c:pt>
                <c:pt idx="33">
                  <c:v>373.7667</c:v>
                </c:pt>
                <c:pt idx="34">
                  <c:v>361.75</c:v>
                </c:pt>
                <c:pt idx="35">
                  <c:v>381.7097</c:v>
                </c:pt>
                <c:pt idx="36">
                  <c:v>371.3617</c:v>
                </c:pt>
                <c:pt idx="37">
                  <c:v>358.6364</c:v>
                </c:pt>
                <c:pt idx="38">
                  <c:v>393.1852</c:v>
                </c:pt>
                <c:pt idx="39">
                  <c:v>391.4583</c:v>
                </c:pt>
                <c:pt idx="40">
                  <c:v>384.1786</c:v>
                </c:pt>
                <c:pt idx="41">
                  <c:v>411.3158</c:v>
                </c:pt>
                <c:pt idx="42">
                  <c:v>383.4167</c:v>
                </c:pt>
                <c:pt idx="43">
                  <c:v>396.2258</c:v>
                </c:pt>
                <c:pt idx="44">
                  <c:v>361.2889</c:v>
                </c:pt>
                <c:pt idx="45">
                  <c:v>350.8505</c:v>
                </c:pt>
                <c:pt idx="46">
                  <c:v>348.5607</c:v>
                </c:pt>
                <c:pt idx="47">
                  <c:v>349.4257</c:v>
                </c:pt>
                <c:pt idx="48">
                  <c:v>350.3038</c:v>
                </c:pt>
                <c:pt idx="49">
                  <c:v>359.9747</c:v>
                </c:pt>
                <c:pt idx="50">
                  <c:v>373.0515</c:v>
                </c:pt>
                <c:pt idx="51">
                  <c:v>391.1458</c:v>
                </c:pt>
                <c:pt idx="52">
                  <c:v>403.6389</c:v>
                </c:pt>
                <c:pt idx="53">
                  <c:v>407.7963</c:v>
                </c:pt>
                <c:pt idx="54">
                  <c:v>397.6591</c:v>
                </c:pt>
                <c:pt idx="55">
                  <c:v>415.6667</c:v>
                </c:pt>
                <c:pt idx="56">
                  <c:v>391.1842</c:v>
                </c:pt>
                <c:pt idx="57">
                  <c:v>353.4894</c:v>
                </c:pt>
                <c:pt idx="58">
                  <c:v>356.7333</c:v>
                </c:pt>
                <c:pt idx="59">
                  <c:v>362.0563</c:v>
                </c:pt>
                <c:pt idx="60">
                  <c:v>388.1803</c:v>
                </c:pt>
                <c:pt idx="61">
                  <c:v>385.1698</c:v>
                </c:pt>
                <c:pt idx="62">
                  <c:v>384.9474</c:v>
                </c:pt>
                <c:pt idx="63">
                  <c:v>439.3429</c:v>
                </c:pt>
                <c:pt idx="64">
                  <c:v>419.9167</c:v>
                </c:pt>
                <c:pt idx="65">
                  <c:v>422.6471</c:v>
                </c:pt>
                <c:pt idx="66">
                  <c:v>394.9625</c:v>
                </c:pt>
                <c:pt idx="67">
                  <c:v>399.8108</c:v>
                </c:pt>
                <c:pt idx="68">
                  <c:v>425.7612</c:v>
                </c:pt>
                <c:pt idx="69">
                  <c:v>450.1739</c:v>
                </c:pt>
                <c:pt idx="70">
                  <c:v>427.6486</c:v>
                </c:pt>
                <c:pt idx="71">
                  <c:v>452.2353</c:v>
                </c:pt>
                <c:pt idx="72">
                  <c:v>458.129</c:v>
                </c:pt>
                <c:pt idx="73">
                  <c:v>456.8372</c:v>
                </c:pt>
                <c:pt idx="74">
                  <c:v>437.8824</c:v>
                </c:pt>
                <c:pt idx="75">
                  <c:v>429.2059</c:v>
                </c:pt>
                <c:pt idx="76">
                  <c:v>439.7857</c:v>
                </c:pt>
                <c:pt idx="77">
                  <c:v>421.4444</c:v>
                </c:pt>
                <c:pt idx="78">
                  <c:v>426.0741</c:v>
                </c:pt>
                <c:pt idx="79">
                  <c:v>422.4171</c:v>
                </c:pt>
                <c:pt idx="80">
                  <c:v>412.7326</c:v>
                </c:pt>
                <c:pt idx="81">
                  <c:v>432.5909</c:v>
                </c:pt>
                <c:pt idx="82">
                  <c:v>364.2979</c:v>
                </c:pt>
              </c:numCache>
            </c:numRef>
          </c:xVal>
          <c:yVal>
            <c:numRef>
              <c:f>Sheet1!$B$2:$B$84</c:f>
              <c:numCache>
                <c:formatCode>General</c:formatCode>
                <c:ptCount val="83"/>
                <c:pt idx="0">
                  <c:v>0.2573099415204678</c:v>
                </c:pt>
                <c:pt idx="1">
                  <c:v>0.22151898734177214</c:v>
                </c:pt>
                <c:pt idx="2">
                  <c:v>0.23255813953488372</c:v>
                </c:pt>
                <c:pt idx="3">
                  <c:v>0.24666666666666667</c:v>
                </c:pt>
                <c:pt idx="4">
                  <c:v>0.23776223776223776</c:v>
                </c:pt>
                <c:pt idx="5">
                  <c:v>0.23357664233576642</c:v>
                </c:pt>
                <c:pt idx="6">
                  <c:v>0.2153846153846154</c:v>
                </c:pt>
                <c:pt idx="7">
                  <c:v>0.22962962962962963</c:v>
                </c:pt>
                <c:pt idx="8">
                  <c:v>0.20202020202020202</c:v>
                </c:pt>
                <c:pt idx="9">
                  <c:v>0.24324324324324326</c:v>
                </c:pt>
                <c:pt idx="10">
                  <c:v>0.25</c:v>
                </c:pt>
                <c:pt idx="11">
                  <c:v>0.24571428571428572</c:v>
                </c:pt>
                <c:pt idx="12">
                  <c:v>0.2146341463414634</c:v>
                </c:pt>
                <c:pt idx="13">
                  <c:v>0.19421487603305784</c:v>
                </c:pt>
                <c:pt idx="14">
                  <c:v>0.20477815699658702</c:v>
                </c:pt>
                <c:pt idx="15">
                  <c:v>0.1990521327014218</c:v>
                </c:pt>
                <c:pt idx="16">
                  <c:v>0.19021739130434784</c:v>
                </c:pt>
                <c:pt idx="17">
                  <c:v>0.2014388489208633</c:v>
                </c:pt>
                <c:pt idx="18">
                  <c:v>0.12041884816753927</c:v>
                </c:pt>
                <c:pt idx="19">
                  <c:v>0.11904761904761904</c:v>
                </c:pt>
                <c:pt idx="20">
                  <c:v>0.15151515151515152</c:v>
                </c:pt>
                <c:pt idx="21">
                  <c:v>0.1592920353982301</c:v>
                </c:pt>
                <c:pt idx="22">
                  <c:v>0.16551724137931034</c:v>
                </c:pt>
                <c:pt idx="23">
                  <c:v>0.2</c:v>
                </c:pt>
                <c:pt idx="24">
                  <c:v>0.19130434782608696</c:v>
                </c:pt>
                <c:pt idx="25">
                  <c:v>0.20253164556962025</c:v>
                </c:pt>
                <c:pt idx="26">
                  <c:v>0.35365853658536583</c:v>
                </c:pt>
                <c:pt idx="27">
                  <c:v>0.275</c:v>
                </c:pt>
                <c:pt idx="28">
                  <c:v>0.2875</c:v>
                </c:pt>
                <c:pt idx="29">
                  <c:v>0.22448979591836735</c:v>
                </c:pt>
                <c:pt idx="30">
                  <c:v>0.25333333333333335</c:v>
                </c:pt>
                <c:pt idx="31">
                  <c:v>0.2972972972972973</c:v>
                </c:pt>
                <c:pt idx="32">
                  <c:v>0.26436781609195403</c:v>
                </c:pt>
                <c:pt idx="33">
                  <c:v>0.2608695652173913</c:v>
                </c:pt>
                <c:pt idx="34">
                  <c:v>0.2926829268292683</c:v>
                </c:pt>
                <c:pt idx="35">
                  <c:v>0.27312775330396477</c:v>
                </c:pt>
                <c:pt idx="36">
                  <c:v>0.34306569343065696</c:v>
                </c:pt>
                <c:pt idx="37">
                  <c:v>0.21782178217821782</c:v>
                </c:pt>
                <c:pt idx="38">
                  <c:v>0.25961538461538464</c:v>
                </c:pt>
                <c:pt idx="39">
                  <c:v>0.2608695652173913</c:v>
                </c:pt>
                <c:pt idx="40">
                  <c:v>0.2222222222222222</c:v>
                </c:pt>
                <c:pt idx="41">
                  <c:v>0.19791666666666666</c:v>
                </c:pt>
                <c:pt idx="42">
                  <c:v>0.19672131147540983</c:v>
                </c:pt>
                <c:pt idx="43">
                  <c:v>0.2080536912751678</c:v>
                </c:pt>
                <c:pt idx="44">
                  <c:v>0.41284403669724773</c:v>
                </c:pt>
                <c:pt idx="45">
                  <c:v>0.4246031746031746</c:v>
                </c:pt>
                <c:pt idx="46">
                  <c:v>0.35313531353135313</c:v>
                </c:pt>
                <c:pt idx="47">
                  <c:v>0.3594306049822064</c:v>
                </c:pt>
                <c:pt idx="48">
                  <c:v>0.3640552995391705</c:v>
                </c:pt>
                <c:pt idx="49">
                  <c:v>0.34155363748458695</c:v>
                </c:pt>
                <c:pt idx="50">
                  <c:v>0.2966360856269113</c:v>
                </c:pt>
                <c:pt idx="51">
                  <c:v>0.2742857142857143</c:v>
                </c:pt>
                <c:pt idx="52">
                  <c:v>0.2868525896414343</c:v>
                </c:pt>
                <c:pt idx="53">
                  <c:v>0.27692307692307694</c:v>
                </c:pt>
                <c:pt idx="54">
                  <c:v>0.27848101265822783</c:v>
                </c:pt>
                <c:pt idx="55">
                  <c:v>0.2214765100671141</c:v>
                </c:pt>
                <c:pt idx="56">
                  <c:v>0.26573426573426573</c:v>
                </c:pt>
                <c:pt idx="57">
                  <c:v>0.2883435582822086</c:v>
                </c:pt>
                <c:pt idx="58">
                  <c:v>0.3712871287128713</c:v>
                </c:pt>
                <c:pt idx="59">
                  <c:v>0.3021276595744681</c:v>
                </c:pt>
                <c:pt idx="60">
                  <c:v>0.2850467289719626</c:v>
                </c:pt>
                <c:pt idx="61">
                  <c:v>0.3212121212121212</c:v>
                </c:pt>
                <c:pt idx="62">
                  <c:v>0.35348837209302325</c:v>
                </c:pt>
                <c:pt idx="63">
                  <c:v>0.30973451327433627</c:v>
                </c:pt>
                <c:pt idx="64">
                  <c:v>0.367816091954023</c:v>
                </c:pt>
                <c:pt idx="65">
                  <c:v>0.3648068669527897</c:v>
                </c:pt>
                <c:pt idx="66">
                  <c:v>0.3389830508474576</c:v>
                </c:pt>
                <c:pt idx="67">
                  <c:v>0.3203463203463203</c:v>
                </c:pt>
                <c:pt idx="68">
                  <c:v>0.391812865497076</c:v>
                </c:pt>
                <c:pt idx="69">
                  <c:v>0.27058823529411763</c:v>
                </c:pt>
                <c:pt idx="70">
                  <c:v>0.3978494623655914</c:v>
                </c:pt>
                <c:pt idx="71">
                  <c:v>0.39080459770114945</c:v>
                </c:pt>
                <c:pt idx="72">
                  <c:v>0.3522727272727273</c:v>
                </c:pt>
                <c:pt idx="73">
                  <c:v>0.5119047619047619</c:v>
                </c:pt>
                <c:pt idx="74">
                  <c:v>0.38636363636363635</c:v>
                </c:pt>
                <c:pt idx="75">
                  <c:v>0.41975308641975306</c:v>
                </c:pt>
                <c:pt idx="76">
                  <c:v>0.37333333333333335</c:v>
                </c:pt>
                <c:pt idx="77">
                  <c:v>0.36</c:v>
                </c:pt>
                <c:pt idx="78">
                  <c:v>0.4426229508196721</c:v>
                </c:pt>
                <c:pt idx="79">
                  <c:v>0.39149888143176736</c:v>
                </c:pt>
                <c:pt idx="80">
                  <c:v>0.3510204081632653</c:v>
                </c:pt>
                <c:pt idx="81">
                  <c:v>0.41904761904761906</c:v>
                </c:pt>
                <c:pt idx="82">
                  <c:v>0.3790322580645161</c:v>
                </c:pt>
              </c:numCache>
            </c:numRef>
          </c:yVal>
          <c:smooth val="0"/>
          <c:extLst>
            <c:ext xmlns:c16="http://schemas.microsoft.com/office/drawing/2014/chart" uri="{C3380CC4-5D6E-409C-BE32-E72D297353CC}">
              <c16:uniqueId val="{00000000-F32D-48B7-BC20-E66FC6253BAD}"/>
            </c:ext>
          </c:extLst>
        </c:ser>
        <c:ser>
          <c:idx val="1"/>
          <c:order val="1"/>
          <c:tx>
            <c:strRef>
              <c:f>Sheet1!$B$8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7:$A$125</c:f>
              <c:numCache>
                <c:formatCode>General</c:formatCode>
                <c:ptCount val="39"/>
                <c:pt idx="0">
                  <c:v>396.4844</c:v>
                </c:pt>
                <c:pt idx="1">
                  <c:v>433.35</c:v>
                </c:pt>
                <c:pt idx="2">
                  <c:v>452.7049</c:v>
                </c:pt>
                <c:pt idx="3">
                  <c:v>421.8806</c:v>
                </c:pt>
                <c:pt idx="4">
                  <c:v>386.6618</c:v>
                </c:pt>
                <c:pt idx="5">
                  <c:v>442.8367</c:v>
                </c:pt>
                <c:pt idx="6">
                  <c:v>463.9024</c:v>
                </c:pt>
                <c:pt idx="7">
                  <c:v>424.5345</c:v>
                </c:pt>
                <c:pt idx="8">
                  <c:v>456.5818</c:v>
                </c:pt>
                <c:pt idx="9">
                  <c:v>469.0</c:v>
                </c:pt>
                <c:pt idx="10">
                  <c:v>432.0</c:v>
                </c:pt>
                <c:pt idx="11">
                  <c:v>503.7714</c:v>
                </c:pt>
                <c:pt idx="12">
                  <c:v>504.3889</c:v>
                </c:pt>
                <c:pt idx="13">
                  <c:v>418.881</c:v>
                </c:pt>
                <c:pt idx="14">
                  <c:v>361.4167</c:v>
                </c:pt>
                <c:pt idx="15">
                  <c:v>479.0714</c:v>
                </c:pt>
                <c:pt idx="16">
                  <c:v>443.9143</c:v>
                </c:pt>
                <c:pt idx="17">
                  <c:v>417.7143</c:v>
                </c:pt>
                <c:pt idx="18">
                  <c:v>467.6429</c:v>
                </c:pt>
                <c:pt idx="19">
                  <c:v>424.5758</c:v>
                </c:pt>
                <c:pt idx="20">
                  <c:v>441.5952</c:v>
                </c:pt>
                <c:pt idx="21">
                  <c:v>474.4237</c:v>
                </c:pt>
                <c:pt idx="22">
                  <c:v>488.0909</c:v>
                </c:pt>
                <c:pt idx="23">
                  <c:v>460.619</c:v>
                </c:pt>
                <c:pt idx="24">
                  <c:v>424.0</c:v>
                </c:pt>
                <c:pt idx="25">
                  <c:v>440.1154</c:v>
                </c:pt>
                <c:pt idx="26">
                  <c:v>486.5128</c:v>
                </c:pt>
                <c:pt idx="27">
                  <c:v>460.0</c:v>
                </c:pt>
                <c:pt idx="28">
                  <c:v>471.4074</c:v>
                </c:pt>
                <c:pt idx="29">
                  <c:v>405.2051</c:v>
                </c:pt>
                <c:pt idx="30">
                  <c:v>432.25</c:v>
                </c:pt>
                <c:pt idx="31">
                  <c:v>444.1395</c:v>
                </c:pt>
                <c:pt idx="32">
                  <c:v>397.8681</c:v>
                </c:pt>
                <c:pt idx="33">
                  <c:v>370.8118</c:v>
                </c:pt>
                <c:pt idx="34">
                  <c:v>402.7683</c:v>
                </c:pt>
                <c:pt idx="35">
                  <c:v>399.5057</c:v>
                </c:pt>
                <c:pt idx="36">
                  <c:v>415.932</c:v>
                </c:pt>
                <c:pt idx="37">
                  <c:v>427.1591</c:v>
                </c:pt>
                <c:pt idx="38">
                  <c:v>441.1224</c:v>
                </c:pt>
              </c:numCache>
            </c:numRef>
          </c:xVal>
          <c:yVal>
            <c:numRef>
              <c:f>Sheet1!$B$87:$B$125</c:f>
              <c:numCache>
                <c:formatCode>General</c:formatCode>
                <c:ptCount val="39"/>
                <c:pt idx="0">
                  <c:v>0.43243243243243246</c:v>
                </c:pt>
                <c:pt idx="1">
                  <c:v>0.40816326530612246</c:v>
                </c:pt>
                <c:pt idx="2">
                  <c:v>0.4178082191780822</c:v>
                </c:pt>
                <c:pt idx="3">
                  <c:v>0.44370860927152317</c:v>
                </c:pt>
                <c:pt idx="4">
                  <c:v>0.5230769230769231</c:v>
                </c:pt>
                <c:pt idx="5">
                  <c:v>0.4298245614035088</c:v>
                </c:pt>
                <c:pt idx="6">
                  <c:v>0.3504273504273504</c:v>
                </c:pt>
                <c:pt idx="7">
                  <c:v>0.4142857142857143</c:v>
                </c:pt>
                <c:pt idx="8">
                  <c:v>0.2956989247311828</c:v>
                </c:pt>
                <c:pt idx="9">
                  <c:v>0.34394904458598724</c:v>
                </c:pt>
                <c:pt idx="10">
                  <c:v>0.40625</c:v>
                </c:pt>
                <c:pt idx="11">
                  <c:v>0.2631578947368421</c:v>
                </c:pt>
                <c:pt idx="12">
                  <c:v>0.35294117647058826</c:v>
                </c:pt>
                <c:pt idx="13">
                  <c:v>0.3925233644859813</c:v>
                </c:pt>
                <c:pt idx="14">
                  <c:v>0.43373493975903615</c:v>
                </c:pt>
                <c:pt idx="15">
                  <c:v>0.5</c:v>
                </c:pt>
                <c:pt idx="16">
                  <c:v>0.47297297297297297</c:v>
                </c:pt>
                <c:pt idx="17">
                  <c:v>0.42424242424242425</c:v>
                </c:pt>
                <c:pt idx="18">
                  <c:v>0.5384615384615384</c:v>
                </c:pt>
                <c:pt idx="19">
                  <c:v>0.532258064516129</c:v>
                </c:pt>
                <c:pt idx="20">
                  <c:v>0.47191011235955055</c:v>
                </c:pt>
                <c:pt idx="21">
                  <c:v>0.4068965517241379</c:v>
                </c:pt>
                <c:pt idx="22">
                  <c:v>0.4074074074074074</c:v>
                </c:pt>
                <c:pt idx="23">
                  <c:v>0.42</c:v>
                </c:pt>
                <c:pt idx="24">
                  <c:v>0.46153846153846156</c:v>
                </c:pt>
                <c:pt idx="25">
                  <c:v>0.4406779661016949</c:v>
                </c:pt>
                <c:pt idx="26">
                  <c:v>0.46987951807228917</c:v>
                </c:pt>
                <c:pt idx="27">
                  <c:v>0.4262295081967213</c:v>
                </c:pt>
                <c:pt idx="28">
                  <c:v>0.38028169014084506</c:v>
                </c:pt>
                <c:pt idx="29">
                  <c:v>0.48148148148148145</c:v>
                </c:pt>
                <c:pt idx="30">
                  <c:v>0.3883495145631068</c:v>
                </c:pt>
                <c:pt idx="31">
                  <c:v>0.3944954128440367</c:v>
                </c:pt>
                <c:pt idx="32">
                  <c:v>0.4504950495049505</c:v>
                </c:pt>
                <c:pt idx="33">
                  <c:v>0.5414012738853503</c:v>
                </c:pt>
                <c:pt idx="34">
                  <c:v>0.5125</c:v>
                </c:pt>
                <c:pt idx="35">
                  <c:v>0.5087719298245614</c:v>
                </c:pt>
                <c:pt idx="36">
                  <c:v>0.4835680751173709</c:v>
                </c:pt>
                <c:pt idx="37">
                  <c:v>0.4731182795698925</c:v>
                </c:pt>
                <c:pt idx="38">
                  <c:v>0.4117647058823529</c:v>
                </c:pt>
              </c:numCache>
            </c:numRef>
          </c:yVal>
          <c:smooth val="0"/>
          <c:extLst>
            <c:ext xmlns:c16="http://schemas.microsoft.com/office/drawing/2014/chart" uri="{C3380CC4-5D6E-409C-BE32-E72D297353CC}">
              <c16:uniqueId val="{00000002-F32D-48B7-BC20-E66FC6253BAD}"/>
            </c:ext>
          </c:extLst>
        </c:ser>
        <c:ser>
          <c:idx val="2"/>
          <c:order val="2"/>
          <c:tx>
            <c:strRef>
              <c:f>Sheet1!$B$127</c:f>
              <c:strCache>
                <c:ptCount val="1"/>
                <c:pt idx="0">
                  <c:v>Custom Linep3yQ</c:v>
                </c:pt>
              </c:strCache>
            </c:strRef>
          </c:tx>
          <c:spPr>
            <a:ln w="19050" cap="rnd">
              <a:solidFill>
                <a:srgbClr val="C00000"/>
              </a:solidFill>
              <a:prstDash val="sysDot"/>
              <a:round/>
            </a:ln>
            <a:effectLst/>
          </c:spPr>
          <c:marker>
            <c:symbol val="none"/>
          </c:marker>
          <c:xVal>
            <c:numRef>
              <c:f>Sheet1!$A$128:$A$129</c:f>
              <c:numCache>
                <c:formatCode>General</c:formatCode>
                <c:ptCount val="2"/>
                <c:pt idx="0">
                  <c:v>0</c:v>
                </c:pt>
                <c:pt idx="1">
                  <c:v>391.55491997495346</c:v>
                </c:pt>
              </c:numCache>
            </c:numRef>
          </c:xVal>
          <c:yVal>
            <c:numRef>
              <c:f>Sheet1!$B$128:$B$129</c:f>
              <c:numCache>
                <c:formatCode>General</c:formatCode>
                <c:ptCount val="2"/>
                <c:pt idx="0">
                  <c:v>0.4781059520395362</c:v>
                </c:pt>
                <c:pt idx="1">
                  <c:v>0.4781059520395362</c:v>
                </c:pt>
              </c:numCache>
            </c:numRef>
          </c:yVal>
          <c:smooth val="0"/>
          <c:extLst>
            <c:ext xmlns:c16="http://schemas.microsoft.com/office/drawing/2014/chart" uri="{C3380CC4-5D6E-409C-BE32-E72D297353CC}">
              <c16:uniqueId val="{00000003-F32D-48B7-BC20-E66FC6253BAD}"/>
            </c:ext>
          </c:extLst>
        </c:ser>
        <c:ser>
          <c:idx val="3"/>
          <c:order val="3"/>
          <c:tx>
            <c:strRef>
              <c:f>Sheet1!$B$13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391.55491997495346</c:v>
                </c:pt>
                <c:pt idx="1">
                  <c:v>391.55491997495346</c:v>
                </c:pt>
              </c:numCache>
            </c:numRef>
          </c:xVal>
          <c:yVal>
            <c:numRef>
              <c:f>Sheet1!$B$132:$B$133</c:f>
              <c:numCache>
                <c:formatCode>General</c:formatCode>
                <c:ptCount val="2"/>
                <c:pt idx="0">
                  <c:v>0.478105952039536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6:$A$137</c:f>
              <c:numCache>
                <c:formatCode>General</c:formatCode>
                <c:ptCount val="2"/>
                <c:pt idx="0">
                  <c:v>0</c:v>
                </c:pt>
                <c:pt idx="1">
                  <c:v>391.55491997495346</c:v>
                </c:pt>
              </c:numCache>
            </c:numRef>
          </c:xVal>
          <c:yVal>
            <c:numRef>
              <c:f>Sheet1!$B$136:$B$137</c:f>
              <c:numCache>
                <c:formatCode>General</c:formatCode>
                <c:ptCount val="2"/>
                <c:pt idx="0">
                  <c:v>0.4781059520395362</c:v>
                </c:pt>
                <c:pt idx="1">
                  <c:v>0.4781059520395362</c:v>
                </c:pt>
              </c:numCache>
            </c:numRef>
          </c:yVal>
          <c:smooth val="0"/>
          <c:extLst>
            <c:ext xmlns:c16="http://schemas.microsoft.com/office/drawing/2014/chart" uri="{C3380CC4-5D6E-409C-BE32-E72D297353CC}">
              <c16:uniqueId val="{0000000A-F32D-48B7-BC20-E66FC6253BAD}"/>
            </c:ext>
          </c:extLst>
        </c:ser>
        <c:ser>
          <c:idx val="5"/>
          <c:order val="5"/>
          <c:tx>
            <c:strRef>
              <c:f>Sheet1!$B$13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391.55491997495346</c:v>
                </c:pt>
                <c:pt idx="1">
                  <c:v>391.55491997495346</c:v>
                </c:pt>
              </c:numCache>
            </c:numRef>
          </c:xVal>
          <c:yVal>
            <c:numRef>
              <c:f>Sheet1!$B$140:$B$141</c:f>
              <c:numCache>
                <c:formatCode>General</c:formatCode>
                <c:ptCount val="2"/>
                <c:pt idx="0">
                  <c:v>0.4781059520395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4:$A$145</c:f>
              <c:numCache>
                <c:formatCode>General</c:formatCode>
                <c:ptCount val="2"/>
                <c:pt idx="0">
                  <c:v>0</c:v>
                </c:pt>
                <c:pt idx="1">
                  <c:v>415.06522751814595</c:v>
                </c:pt>
              </c:numCache>
            </c:numRef>
          </c:xVal>
          <c:yVal>
            <c:numRef>
              <c:f>Sheet1!$B$144:$B$145</c:f>
              <c:numCache>
                <c:formatCode>General</c:formatCode>
                <c:ptCount val="2"/>
                <c:pt idx="0">
                  <c:v>0.45556434146791996</c:v>
                </c:pt>
                <c:pt idx="1">
                  <c:v>0.45556434146791996</c:v>
                </c:pt>
              </c:numCache>
            </c:numRef>
          </c:yVal>
          <c:smooth val="0"/>
          <c:extLst>
            <c:ext xmlns:c16="http://schemas.microsoft.com/office/drawing/2014/chart" uri="{C3380CC4-5D6E-409C-BE32-E72D297353CC}">
              <c16:uniqueId val="{00000011-F32D-48B7-BC20-E66FC6253BAD}"/>
            </c:ext>
          </c:extLst>
        </c:ser>
        <c:ser>
          <c:idx val="7"/>
          <c:order val="7"/>
          <c:tx>
            <c:strRef>
              <c:f>Sheet1!$B$14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415.06522751814595</c:v>
                </c:pt>
                <c:pt idx="1">
                  <c:v>415.06522751814595</c:v>
                </c:pt>
              </c:numCache>
            </c:numRef>
          </c:xVal>
          <c:yVal>
            <c:numRef>
              <c:f>Sheet1!$B$148:$B$149</c:f>
              <c:numCache>
                <c:formatCode>General</c:formatCode>
                <c:ptCount val="2"/>
                <c:pt idx="0">
                  <c:v>0.455564341467919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2:$A$193</c:f>
              <c:numCache>
                <c:formatCode>General</c:formatCode>
                <c:ptCount val="42"/>
                <c:pt idx="0">
                  <c:v>396.4844</c:v>
                </c:pt>
                <c:pt idx="1">
                  <c:v>433.35</c:v>
                </c:pt>
                <c:pt idx="2">
                  <c:v>452.7049</c:v>
                </c:pt>
                <c:pt idx="3">
                  <c:v>421.8806</c:v>
                </c:pt>
                <c:pt idx="4">
                  <c:v>386.6618</c:v>
                </c:pt>
                <c:pt idx="5">
                  <c:v>442.8367</c:v>
                </c:pt>
                <c:pt idx="6">
                  <c:v>463.9024</c:v>
                </c:pt>
                <c:pt idx="7">
                  <c:v>424.5345</c:v>
                </c:pt>
                <c:pt idx="8">
                  <c:v>456.5818</c:v>
                </c:pt>
                <c:pt idx="9">
                  <c:v>469.0</c:v>
                </c:pt>
                <c:pt idx="10">
                  <c:v>432.0</c:v>
                </c:pt>
                <c:pt idx="11">
                  <c:v>503.7714</c:v>
                </c:pt>
                <c:pt idx="12">
                  <c:v>504.3889</c:v>
                </c:pt>
                <c:pt idx="13">
                  <c:v>418.881</c:v>
                </c:pt>
                <c:pt idx="14">
                  <c:v>361.4167</c:v>
                </c:pt>
                <c:pt idx="15">
                  <c:v>479.0714</c:v>
                </c:pt>
                <c:pt idx="16">
                  <c:v>443.9143</c:v>
                </c:pt>
                <c:pt idx="17">
                  <c:v>417.7143</c:v>
                </c:pt>
                <c:pt idx="18">
                  <c:v>467.6429</c:v>
                </c:pt>
                <c:pt idx="19">
                  <c:v>424.5758</c:v>
                </c:pt>
                <c:pt idx="20">
                  <c:v>441.5952</c:v>
                </c:pt>
                <c:pt idx="21">
                  <c:v>474.4237</c:v>
                </c:pt>
                <c:pt idx="22">
                  <c:v>488.0909</c:v>
                </c:pt>
                <c:pt idx="23">
                  <c:v>460.619</c:v>
                </c:pt>
                <c:pt idx="24">
                  <c:v>424.0</c:v>
                </c:pt>
                <c:pt idx="25">
                  <c:v>440.1154</c:v>
                </c:pt>
                <c:pt idx="26">
                  <c:v>486.5128</c:v>
                </c:pt>
                <c:pt idx="27">
                  <c:v>460.0</c:v>
                </c:pt>
                <c:pt idx="28">
                  <c:v>471.4074</c:v>
                </c:pt>
                <c:pt idx="29">
                  <c:v>405.2051</c:v>
                </c:pt>
                <c:pt idx="30">
                  <c:v>432.25</c:v>
                </c:pt>
                <c:pt idx="31">
                  <c:v>444.1395</c:v>
                </c:pt>
                <c:pt idx="32">
                  <c:v>397.8681</c:v>
                </c:pt>
                <c:pt idx="33">
                  <c:v>370.8118</c:v>
                </c:pt>
                <c:pt idx="34">
                  <c:v>402.7683</c:v>
                </c:pt>
                <c:pt idx="35">
                  <c:v>399.5057</c:v>
                </c:pt>
                <c:pt idx="36">
                  <c:v>415.932</c:v>
                </c:pt>
                <c:pt idx="37">
                  <c:v>427.1591</c:v>
                </c:pt>
                <c:pt idx="38">
                  <c:v>441.1224</c:v>
                </c:pt>
                <c:pt idx="39">
                  <c:v>391.55491997495346</c:v>
                </c:pt>
                <c:pt idx="40">
                  <c:v>391.55491997495346</c:v>
                </c:pt>
                <c:pt idx="41">
                  <c:v>415.06522751814595</c:v>
                </c:pt>
              </c:numCache>
            </c:numRef>
          </c:xVal>
          <c:yVal>
            <c:numRef>
              <c:f>Sheet1!$B$152:$B$193</c:f>
              <c:numCache>
                <c:formatCode>General</c:formatCode>
                <c:ptCount val="42"/>
                <c:pt idx="0">
                  <c:v>0.4733795817510567</c:v>
                </c:pt>
                <c:pt idx="1">
                  <c:v>0.43803295784312746</c:v>
                </c:pt>
                <c:pt idx="2">
                  <c:v>0.4194755392448793</c:v>
                </c:pt>
                <c:pt idx="3">
                  <c:v>0.4490297832915022</c:v>
                </c:pt>
                <c:pt idx="4">
                  <c:v>0.4827974604238038</c:v>
                </c:pt>
                <c:pt idx="5">
                  <c:v>0.42893713905739356</c:v>
                </c:pt>
                <c:pt idx="6">
                  <c:v>0.4087394106803357</c:v>
                </c:pt>
                <c:pt idx="7">
                  <c:v>0.4464852321329899</c:v>
                </c:pt>
                <c:pt idx="8">
                  <c:v>0.4157583794474353</c:v>
                </c:pt>
                <c:pt idx="9">
                  <c:v>0.40385184747688696</c:v>
                </c:pt>
                <c:pt idx="10">
                  <c:v>0.43932733369149846</c:v>
                </c:pt>
                <c:pt idx="11">
                  <c:v>0.37051313608870473</c:v>
                </c:pt>
                <c:pt idx="12">
                  <c:v>0.3699210789876906</c:v>
                </c:pt>
                <c:pt idx="13">
                  <c:v>0.45190579054689006</c:v>
                </c:pt>
                <c:pt idx="14">
                  <c:v>0.5070023846680333</c:v>
                </c:pt>
                <c:pt idx="15">
                  <c:v>0.3941954201292697</c:v>
                </c:pt>
                <c:pt idx="16">
                  <c:v>0.4279039394913161</c:v>
                </c:pt>
                <c:pt idx="17">
                  <c:v>0.45302441891895995</c:v>
                </c:pt>
                <c:pt idx="18">
                  <c:v>0.4051530307834234</c:v>
                </c:pt>
                <c:pt idx="19">
                  <c:v>0.44644563381999897</c:v>
                </c:pt>
                <c:pt idx="20">
                  <c:v>0.4301274854394325</c:v>
                </c:pt>
                <c:pt idx="21">
                  <c:v>0.3986516205962873</c:v>
                </c:pt>
                <c:pt idx="22">
                  <c:v>0.38554755126676465</c:v>
                </c:pt>
                <c:pt idx="23">
                  <c:v>0.4118875245029588</c:v>
                </c:pt>
                <c:pt idx="24">
                  <c:v>0.4469977090892523</c:v>
                </c:pt>
                <c:pt idx="25">
                  <c:v>0.431546313128632</c:v>
                </c:pt>
                <c:pt idx="26">
                  <c:v>0.38706062869366403</c:v>
                </c:pt>
                <c:pt idx="27">
                  <c:v>0.41248101979936</c:v>
                </c:pt>
                <c:pt idx="28">
                  <c:v>0.40154363976031787</c:v>
                </c:pt>
                <c:pt idx="29">
                  <c:v>0.4650182014096577</c:v>
                </c:pt>
                <c:pt idx="30">
                  <c:v>0.4390876344603186</c:v>
                </c:pt>
                <c:pt idx="31">
                  <c:v>0.4276880184238694</c:v>
                </c:pt>
                <c:pt idx="32">
                  <c:v>0.4720528944463227</c:v>
                </c:pt>
                <c:pt idx="33">
                  <c:v>0.4979943916806036</c:v>
                </c:pt>
                <c:pt idx="34">
                  <c:v>0.46735459775581356</c:v>
                </c:pt>
                <c:pt idx="35">
                  <c:v>0.4704827686024025</c:v>
                </c:pt>
                <c:pt idx="36">
                  <c:v>0.45473328267788704</c:v>
                </c:pt>
                <c:pt idx="37">
                  <c:v>0.44396877372437177</c:v>
                </c:pt>
                <c:pt idx="38">
                  <c:v>0.43058080462543974</c:v>
                </c:pt>
                <c:pt idx="39">
                  <c:v>0.4781059520395362</c:v>
                </c:pt>
                <c:pt idx="40">
                  <c:v>0.4781059520395362</c:v>
                </c:pt>
                <c:pt idx="41">
                  <c:v>0.455564341467919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05.0"/>
          <c:min val="2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496815286624203"/>
          <c:min val="0.095238095238095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832701556139066</c:v>
                </c:pt>
                <c:pt idx="1">
                  <c:v>0.2146901216400716</c:v>
                </c:pt>
                <c:pt idx="2">
                  <c:v>0.20948526248625954</c:v>
                </c:pt>
                <c:pt idx="3">
                  <c:v>0.19683114082909106</c:v>
                </c:pt>
                <c:pt idx="4">
                  <c:v>0.19352432186820442</c:v>
                </c:pt>
                <c:pt idx="5">
                  <c:v>0.21065816548670455</c:v>
                </c:pt>
                <c:pt idx="6">
                  <c:v>0.20448900678370688</c:v>
                </c:pt>
                <c:pt idx="7">
                  <c:v>0.1830321264739494</c:v>
                </c:pt>
                <c:pt idx="8">
                  <c:v>0.17465597460940654</c:v>
                </c:pt>
                <c:pt idx="9">
                  <c:v>0.164167296538648</c:v>
                </c:pt>
                <c:pt idx="10">
                  <c:v>0.1799430317468538</c:v>
                </c:pt>
                <c:pt idx="11">
                  <c:v>0.2065677396276699</c:v>
                </c:pt>
                <c:pt idx="12">
                  <c:v>0.2102771473354184</c:v>
                </c:pt>
                <c:pt idx="13">
                  <c:v>0.18618893865100858</c:v>
                </c:pt>
                <c:pt idx="14">
                  <c:v>0.20169501212540497</c:v>
                </c:pt>
                <c:pt idx="15">
                  <c:v>0.21277576443070934</c:v>
                </c:pt>
                <c:pt idx="16">
                  <c:v>0.20201428814754782</c:v>
                </c:pt>
                <c:pt idx="17">
                  <c:v>0.20904180656138258</c:v>
                </c:pt>
                <c:pt idx="18">
                  <c:v>0.18760172186487897</c:v>
                </c:pt>
                <c:pt idx="19">
                  <c:v>0.2014902426455602</c:v>
                </c:pt>
                <c:pt idx="20">
                  <c:v>0.18854192651180984</c:v>
                </c:pt>
                <c:pt idx="21">
                  <c:v>0.1967263527505177</c:v>
                </c:pt>
                <c:pt idx="22">
                  <c:v>0.18223387040399702</c:v>
                </c:pt>
                <c:pt idx="23">
                  <c:v>0.15793534732889572</c:v>
                </c:pt>
                <c:pt idx="24">
                  <c:v>0.18913661951051147</c:v>
                </c:pt>
                <c:pt idx="25">
                  <c:v>0.19613277673434326</c:v>
                </c:pt>
                <c:pt idx="26">
                  <c:v>0.17853103510351034</c:v>
                </c:pt>
                <c:pt idx="27">
                  <c:v>0.18887178599970011</c:v>
                </c:pt>
                <c:pt idx="28">
                  <c:v>0.15365589967415028</c:v>
                </c:pt>
                <c:pt idx="29">
                  <c:v>0.169077852782444</c:v>
                </c:pt>
                <c:pt idx="30">
                  <c:v>0.16946172244074353</c:v>
                </c:pt>
                <c:pt idx="31">
                  <c:v>0.16509654562458384</c:v>
                </c:pt>
                <c:pt idx="32">
                  <c:v>0.15285547059236512</c:v>
                </c:pt>
                <c:pt idx="33">
                  <c:v>0.1705997256535</c:v>
                </c:pt>
                <c:pt idx="34">
                  <c:v>0.17951013019210396</c:v>
                </c:pt>
                <c:pt idx="35">
                  <c:v>0.18683732907861625</c:v>
                </c:pt>
                <c:pt idx="36">
                  <c:v>0.17428764792851043</c:v>
                </c:pt>
                <c:pt idx="37">
                  <c:v>0.17479825543978814</c:v>
                </c:pt>
                <c:pt idx="38">
                  <c:v>0.19040931680497453</c:v>
                </c:pt>
                <c:pt idx="39">
                  <c:v>0.23290238918271905</c:v>
                </c:pt>
                <c:pt idx="40">
                  <c:v>0.23769582934233813</c:v>
                </c:pt>
                <c:pt idx="41">
                  <c:v>0.21868330795757948</c:v>
                </c:pt>
                <c:pt idx="42">
                  <c:v>0.19618821003523187</c:v>
                </c:pt>
                <c:pt idx="43">
                  <c:v>0.2198092815696424</c:v>
                </c:pt>
                <c:pt idx="44">
                  <c:v>0.21540544274844792</c:v>
                </c:pt>
                <c:pt idx="45">
                  <c:v>0.23417990531299318</c:v>
                </c:pt>
                <c:pt idx="46">
                  <c:v>0.24907297754697938</c:v>
                </c:pt>
                <c:pt idx="47">
                  <c:v>0.19625633892110958</c:v>
                </c:pt>
                <c:pt idx="48">
                  <c:v>0.2695574699599905</c:v>
                </c:pt>
                <c:pt idx="49">
                  <c:v>0.25592611910308966</c:v>
                </c:pt>
                <c:pt idx="50">
                  <c:v>0.2409254342077304</c:v>
                </c:pt>
                <c:pt idx="51">
                  <c:v>0.2207773735957593</c:v>
                </c:pt>
                <c:pt idx="52">
                  <c:v>0.2276695216551739</c:v>
                </c:pt>
                <c:pt idx="53">
                  <c:v>0.25610055081568717</c:v>
                </c:pt>
                <c:pt idx="54">
                  <c:v>0.2447246710188136</c:v>
                </c:pt>
                <c:pt idx="55">
                  <c:v>0.21059818353207668</c:v>
                </c:pt>
                <c:pt idx="56">
                  <c:v>0.2250446412541022</c:v>
                </c:pt>
                <c:pt idx="57">
                  <c:v>0.22037718262623662</c:v>
                </c:pt>
                <c:pt idx="58">
                  <c:v>0.22666960299623745</c:v>
                </c:pt>
                <c:pt idx="59">
                  <c:v>0.25208562644999416</c:v>
                </c:pt>
                <c:pt idx="60">
                  <c:v>0.24786257965282354</c:v>
                </c:pt>
                <c:pt idx="61">
                  <c:v>0.2450985883532016</c:v>
                </c:pt>
                <c:pt idx="62">
                  <c:v>0.2480374098320913</c:v>
                </c:pt>
                <c:pt idx="63">
                  <c:v>0.27938701853622544</c:v>
                </c:pt>
                <c:pt idx="64">
                  <c:v>0.28218175527050743</c:v>
                </c:pt>
                <c:pt idx="65">
                  <c:v>0.24910994082238289</c:v>
                </c:pt>
                <c:pt idx="66">
                  <c:v>0.2512700464076833</c:v>
                </c:pt>
                <c:pt idx="67">
                  <c:v>0.27582217789837266</c:v>
                </c:pt>
                <c:pt idx="68">
                  <c:v>0.2442810762739381</c:v>
                </c:pt>
                <c:pt idx="69">
                  <c:v>0.20208004464447532</c:v>
                </c:pt>
                <c:pt idx="70">
                  <c:v>0.19005454473066052</c:v>
                </c:pt>
                <c:pt idx="71">
                  <c:v>0.2338699763185479</c:v>
                </c:pt>
                <c:pt idx="72">
                  <c:v>0.2627548185109089</c:v>
                </c:pt>
                <c:pt idx="73">
                  <c:v>0.24619676840083043</c:v>
                </c:pt>
                <c:pt idx="74">
                  <c:v>0.23605572264745608</c:v>
                </c:pt>
                <c:pt idx="75">
                  <c:v>0.21618303166876177</c:v>
                </c:pt>
                <c:pt idx="76">
                  <c:v>0.19885732946298984</c:v>
                </c:pt>
                <c:pt idx="77">
                  <c:v>0.23346765633033228</c:v>
                </c:pt>
                <c:pt idx="78">
                  <c:v>0.20103767777128384</c:v>
                </c:pt>
                <c:pt idx="79">
                  <c:v>0.22196660827173564</c:v>
                </c:pt>
                <c:pt idx="80">
                  <c:v>0.2080280182976638</c:v>
                </c:pt>
                <c:pt idx="81">
                  <c:v>0.23050931197320856</c:v>
                </c:pt>
                <c:pt idx="82">
                  <c:v>0.21905112733205054</c:v>
                </c:pt>
                <c:pt idx="83">
                  <c:v>0.18842830178119518</c:v>
                </c:pt>
                <c:pt idx="84">
                  <c:v>0.15296229341202552</c:v>
                </c:pt>
                <c:pt idx="85">
                  <c:v>0.19628213210810913</c:v>
                </c:pt>
                <c:pt idx="86">
                  <c:v>0.22094874859917818</c:v>
                </c:pt>
                <c:pt idx="87">
                  <c:v>0.24198762182539604</c:v>
                </c:pt>
                <c:pt idx="88">
                  <c:v>0.18640646531765367</c:v>
                </c:pt>
                <c:pt idx="89">
                  <c:v>0.16440450955182243</c:v>
                </c:pt>
                <c:pt idx="90">
                  <c:v>0.186007225698521</c:v>
                </c:pt>
                <c:pt idx="91">
                  <c:v>0.20752881522765584</c:v>
                </c:pt>
                <c:pt idx="92">
                  <c:v>0.21195317863155136</c:v>
                </c:pt>
                <c:pt idx="93">
                  <c:v>0.17512335898293746</c:v>
                </c:pt>
                <c:pt idx="94">
                  <c:v>0.1900108324245729</c:v>
                </c:pt>
                <c:pt idx="95">
                  <c:v>0.18948059736940162</c:v>
                </c:pt>
                <c:pt idx="96">
                  <c:v>0.19749821489657135</c:v>
                </c:pt>
                <c:pt idx="97">
                  <c:v>0.19690232577087985</c:v>
                </c:pt>
                <c:pt idx="98">
                  <c:v>0.2090470449744311</c:v>
                </c:pt>
                <c:pt idx="99">
                  <c:v>0.22039495553721575</c:v>
                </c:pt>
                <c:pt idx="100">
                  <c:v>0.23458140503814726</c:v>
                </c:pt>
                <c:pt idx="101">
                  <c:v>0.23323259759382625</c:v>
                </c:pt>
                <c:pt idx="102">
                  <c:v>0.20602716091853246</c:v>
                </c:pt>
                <c:pt idx="103">
                  <c:v>0.2185254554576706</c:v>
                </c:pt>
                <c:pt idx="104">
                  <c:v>0.20794342727934245</c:v>
                </c:pt>
              </c:numCache>
            </c:numRef>
          </c:xVal>
          <c:yVal>
            <c:numRef>
              <c:f>Sheet1!$B$2:$B$106</c:f>
              <c:numCache>
                <c:formatCode>General</c:formatCode>
                <c:ptCount val="105"/>
                <c:pt idx="0">
                  <c:v>0.24772350993377484</c:v>
                </c:pt>
                <c:pt idx="1">
                  <c:v>0.2467005076142132</c:v>
                </c:pt>
                <c:pt idx="2">
                  <c:v>0.24367245657568237</c:v>
                </c:pt>
                <c:pt idx="3">
                  <c:v>0.2384516129032258</c:v>
                </c:pt>
                <c:pt idx="4">
                  <c:v>0.26165726165726166</c:v>
                </c:pt>
                <c:pt idx="5">
                  <c:v>0.26000611060189427</c:v>
                </c:pt>
                <c:pt idx="6">
                  <c:v>0.2723391277828606</c:v>
                </c:pt>
                <c:pt idx="7">
                  <c:v>0.2855128657032076</c:v>
                </c:pt>
                <c:pt idx="8">
                  <c:v>0.28059950041631976</c:v>
                </c:pt>
                <c:pt idx="9">
                  <c:v>0.2711257091669155</c:v>
                </c:pt>
                <c:pt idx="10">
                  <c:v>0.26746216530849826</c:v>
                </c:pt>
                <c:pt idx="11">
                  <c:v>0.22510822510822512</c:v>
                </c:pt>
                <c:pt idx="12">
                  <c:v>0.21575342465753425</c:v>
                </c:pt>
                <c:pt idx="13">
                  <c:v>0.20860275513072815</c:v>
                </c:pt>
                <c:pt idx="14">
                  <c:v>0.19507959479015918</c:v>
                </c:pt>
                <c:pt idx="15">
                  <c:v>0.1992349378386994</c:v>
                </c:pt>
                <c:pt idx="16">
                  <c:v>0.19533308242378622</c:v>
                </c:pt>
                <c:pt idx="17">
                  <c:v>0.17190531625921615</c:v>
                </c:pt>
                <c:pt idx="18">
                  <c:v>0.16248955722639932</c:v>
                </c:pt>
                <c:pt idx="19">
                  <c:v>0.15655853314527504</c:v>
                </c:pt>
                <c:pt idx="20">
                  <c:v>0.15229775921002658</c:v>
                </c:pt>
                <c:pt idx="21">
                  <c:v>0.1662455785750379</c:v>
                </c:pt>
                <c:pt idx="22">
                  <c:v>0.21566820276497695</c:v>
                </c:pt>
                <c:pt idx="23">
                  <c:v>0.21246458923512748</c:v>
                </c:pt>
                <c:pt idx="24">
                  <c:v>0.21363815530153724</c:v>
                </c:pt>
                <c:pt idx="25">
                  <c:v>0.22761194029850745</c:v>
                </c:pt>
                <c:pt idx="26">
                  <c:v>0.24234354194407456</c:v>
                </c:pt>
                <c:pt idx="27">
                  <c:v>0.22957034540859309</c:v>
                </c:pt>
                <c:pt idx="28">
                  <c:v>0.23513753327417924</c:v>
                </c:pt>
                <c:pt idx="29">
                  <c:v>0.2479523454951601</c:v>
                </c:pt>
                <c:pt idx="30">
                  <c:v>0.24555335968379446</c:v>
                </c:pt>
                <c:pt idx="31">
                  <c:v>0.25058112505811253</c:v>
                </c:pt>
                <c:pt idx="32">
                  <c:v>0.2612488521579431</c:v>
                </c:pt>
                <c:pt idx="33">
                  <c:v>0.2545931758530184</c:v>
                </c:pt>
                <c:pt idx="34">
                  <c:v>0.25564617314930993</c:v>
                </c:pt>
                <c:pt idx="35">
                  <c:v>0.2520734597156398</c:v>
                </c:pt>
                <c:pt idx="36">
                  <c:v>0.24011652101539743</c:v>
                </c:pt>
                <c:pt idx="37">
                  <c:v>0.23800904977375564</c:v>
                </c:pt>
                <c:pt idx="38">
                  <c:v>0.23344776851397744</c:v>
                </c:pt>
                <c:pt idx="39">
                  <c:v>0.23198090692124104</c:v>
                </c:pt>
                <c:pt idx="40">
                  <c:v>0.22139396198285502</c:v>
                </c:pt>
                <c:pt idx="41">
                  <c:v>0.21982933766761478</c:v>
                </c:pt>
                <c:pt idx="42">
                  <c:v>0.2079388201019665</c:v>
                </c:pt>
                <c:pt idx="43">
                  <c:v>0.20679012345679013</c:v>
                </c:pt>
                <c:pt idx="44">
                  <c:v>0.208455522971652</c:v>
                </c:pt>
                <c:pt idx="45">
                  <c:v>0.23099762470308788</c:v>
                </c:pt>
                <c:pt idx="46">
                  <c:v>0.22398265510340226</c:v>
                </c:pt>
                <c:pt idx="47">
                  <c:v>0.22330604424316322</c:v>
                </c:pt>
                <c:pt idx="48">
                  <c:v>0.22687560671196783</c:v>
                </c:pt>
                <c:pt idx="49">
                  <c:v>0.23522470252728883</c:v>
                </c:pt>
                <c:pt idx="50">
                  <c:v>0.22077464788732395</c:v>
                </c:pt>
                <c:pt idx="51">
                  <c:v>0.20737527114967463</c:v>
                </c:pt>
                <c:pt idx="52">
                  <c:v>0.21437101910828024</c:v>
                </c:pt>
                <c:pt idx="53">
                  <c:v>0.20436456996148908</c:v>
                </c:pt>
                <c:pt idx="54">
                  <c:v>0.22050386630082314</c:v>
                </c:pt>
                <c:pt idx="55">
                  <c:v>0.20378767671379033</c:v>
                </c:pt>
                <c:pt idx="56">
                  <c:v>0.19674355495251017</c:v>
                </c:pt>
                <c:pt idx="57">
                  <c:v>0.20120259019426456</c:v>
                </c:pt>
                <c:pt idx="58">
                  <c:v>0.21242263483642795</c:v>
                </c:pt>
                <c:pt idx="59">
                  <c:v>0.22182680901542112</c:v>
                </c:pt>
                <c:pt idx="60">
                  <c:v>0.22175004829051576</c:v>
                </c:pt>
                <c:pt idx="61">
                  <c:v>0.21750140686550365</c:v>
                </c:pt>
                <c:pt idx="62">
                  <c:v>0.23190869354055366</c:v>
                </c:pt>
                <c:pt idx="63">
                  <c:v>0.23353437876960192</c:v>
                </c:pt>
                <c:pt idx="64">
                  <c:v>0.22322703474535935</c:v>
                </c:pt>
                <c:pt idx="65">
                  <c:v>0.22095959595959597</c:v>
                </c:pt>
                <c:pt idx="66">
                  <c:v>0.21346057257659468</c:v>
                </c:pt>
                <c:pt idx="67">
                  <c:v>0.19943661971830987</c:v>
                </c:pt>
                <c:pt idx="68">
                  <c:v>0.20058045791680104</c:v>
                </c:pt>
                <c:pt idx="69">
                  <c:v>0.18762475049900199</c:v>
                </c:pt>
                <c:pt idx="70">
                  <c:v>0.1896411092985318</c:v>
                </c:pt>
                <c:pt idx="71">
                  <c:v>0.2047279214986619</c:v>
                </c:pt>
                <c:pt idx="72">
                  <c:v>0.18740031897926634</c:v>
                </c:pt>
                <c:pt idx="73">
                  <c:v>0.18755256518082422</c:v>
                </c:pt>
                <c:pt idx="74">
                  <c:v>0.19577517917766882</c:v>
                </c:pt>
                <c:pt idx="75">
                  <c:v>0.2039301310043668</c:v>
                </c:pt>
                <c:pt idx="76">
                  <c:v>0.21248213434969032</c:v>
                </c:pt>
                <c:pt idx="77">
                  <c:v>0.2033814022874192</c:v>
                </c:pt>
                <c:pt idx="78">
                  <c:v>0.21479229989868287</c:v>
                </c:pt>
                <c:pt idx="79">
                  <c:v>0.17559863169897377</c:v>
                </c:pt>
                <c:pt idx="80">
                  <c:v>0.16848249027237355</c:v>
                </c:pt>
                <c:pt idx="81">
                  <c:v>0.19094167481264254</c:v>
                </c:pt>
                <c:pt idx="82">
                  <c:v>0.19029042045947117</c:v>
                </c:pt>
                <c:pt idx="83">
                  <c:v>0.20443213296398893</c:v>
                </c:pt>
                <c:pt idx="84">
                  <c:v>0.20163170163170163</c:v>
                </c:pt>
                <c:pt idx="85">
                  <c:v>0.2257471264367816</c:v>
                </c:pt>
                <c:pt idx="86">
                  <c:v>0.2322137955940773</c:v>
                </c:pt>
                <c:pt idx="87">
                  <c:v>0.23571197933484017</c:v>
                </c:pt>
                <c:pt idx="88">
                  <c:v>0.2292374939290918</c:v>
                </c:pt>
                <c:pt idx="89">
                  <c:v>0.2395543175487465</c:v>
                </c:pt>
                <c:pt idx="90">
                  <c:v>0.2168284789644013</c:v>
                </c:pt>
                <c:pt idx="91">
                  <c:v>0.20651068158697863</c:v>
                </c:pt>
                <c:pt idx="92">
                  <c:v>0.22628951747088186</c:v>
                </c:pt>
                <c:pt idx="93">
                  <c:v>0.22518765638031693</c:v>
                </c:pt>
                <c:pt idx="94">
                  <c:v>0.22760155815247635</c:v>
                </c:pt>
                <c:pt idx="95">
                  <c:v>0.2019159911569639</c:v>
                </c:pt>
                <c:pt idx="96">
                  <c:v>0.2260536398467433</c:v>
                </c:pt>
                <c:pt idx="97">
                  <c:v>0.24097206450147626</c:v>
                </c:pt>
                <c:pt idx="98">
                  <c:v>0.2313257370229698</c:v>
                </c:pt>
                <c:pt idx="99">
                  <c:v>0.22992331066415858</c:v>
                </c:pt>
                <c:pt idx="100">
                  <c:v>0.22399186716367334</c:v>
                </c:pt>
                <c:pt idx="101">
                  <c:v>0.22901768912307113</c:v>
                </c:pt>
                <c:pt idx="102">
                  <c:v>0.23253388946819603</c:v>
                </c:pt>
                <c:pt idx="103">
                  <c:v>0.21862615587846765</c:v>
                </c:pt>
                <c:pt idx="104">
                  <c:v>0.212680577849117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4235881093655726</c:v>
                </c:pt>
                <c:pt idx="1">
                  <c:v>0.25038167836188513</c:v>
                </c:pt>
                <c:pt idx="2">
                  <c:v>0.2490118934608529</c:v>
                </c:pt>
                <c:pt idx="3">
                  <c:v>0.24281467788247613</c:v>
                </c:pt>
                <c:pt idx="4">
                  <c:v>0.23224153422999616</c:v>
                </c:pt>
                <c:pt idx="5">
                  <c:v>0.23766388993592158</c:v>
                </c:pt>
                <c:pt idx="6">
                  <c:v>0.22963033151900517</c:v>
                </c:pt>
                <c:pt idx="7">
                  <c:v>0.20088274340068088</c:v>
                </c:pt>
                <c:pt idx="8">
                  <c:v>0.2622751061329161</c:v>
                </c:pt>
                <c:pt idx="9">
                  <c:v>0.2474867273146036</c:v>
                </c:pt>
                <c:pt idx="10">
                  <c:v>0.22006835581029474</c:v>
                </c:pt>
                <c:pt idx="11">
                  <c:v>0.20477990734898968</c:v>
                </c:pt>
                <c:pt idx="12">
                  <c:v>0.19869071795586724</c:v>
                </c:pt>
                <c:pt idx="13">
                  <c:v>0.2225495721778793</c:v>
                </c:pt>
                <c:pt idx="14">
                  <c:v>0.21370144890467127</c:v>
                </c:pt>
                <c:pt idx="15">
                  <c:v>0.20237679157408872</c:v>
                </c:pt>
                <c:pt idx="16">
                  <c:v>0.1997676151485094</c:v>
                </c:pt>
                <c:pt idx="17">
                  <c:v>0.19543489849643542</c:v>
                </c:pt>
                <c:pt idx="18">
                  <c:v>0.20469409621382623</c:v>
                </c:pt>
                <c:pt idx="19">
                  <c:v>0.2321338578677551</c:v>
                </c:pt>
                <c:pt idx="20">
                  <c:v>0.19395963231096314</c:v>
                </c:pt>
                <c:pt idx="21">
                  <c:v>0.16973499089612232</c:v>
                </c:pt>
                <c:pt idx="22">
                  <c:v>0.19835475408265443</c:v>
                </c:pt>
                <c:pt idx="23">
                  <c:v>0.22696990932819525</c:v>
                </c:pt>
                <c:pt idx="24">
                  <c:v>0.18256912070320497</c:v>
                </c:pt>
                <c:pt idx="25">
                  <c:v>0.1775831081048</c:v>
                </c:pt>
                <c:pt idx="26">
                  <c:v>0.18756041872433143</c:v>
                </c:pt>
                <c:pt idx="27">
                  <c:v>0.19280425969619222</c:v>
                </c:pt>
                <c:pt idx="28">
                  <c:v>0.2040628212631555</c:v>
                </c:pt>
                <c:pt idx="29">
                  <c:v>0.19375658629198717</c:v>
                </c:pt>
                <c:pt idx="30">
                  <c:v>0.1861543667502301</c:v>
                </c:pt>
                <c:pt idx="31">
                  <c:v>0.20628750331149484</c:v>
                </c:pt>
                <c:pt idx="32">
                  <c:v>0.1985943095682138</c:v>
                </c:pt>
                <c:pt idx="33">
                  <c:v>0.2146697066305673</c:v>
                </c:pt>
                <c:pt idx="34">
                  <c:v>0.2335798040671765</c:v>
                </c:pt>
                <c:pt idx="35">
                  <c:v>0.18518966257765396</c:v>
                </c:pt>
                <c:pt idx="36">
                  <c:v>0.16927738892531333</c:v>
                </c:pt>
                <c:pt idx="37">
                  <c:v>0.16397546819122075</c:v>
                </c:pt>
                <c:pt idx="38">
                  <c:v>0.1549785865827968</c:v>
                </c:pt>
                <c:pt idx="39">
                  <c:v>0.18261978986807878</c:v>
                </c:pt>
                <c:pt idx="40">
                  <c:v>0.19323187819161727</c:v>
                </c:pt>
                <c:pt idx="41">
                  <c:v>0.21577904955953273</c:v>
                </c:pt>
                <c:pt idx="42">
                  <c:v>0.20138676327341584</c:v>
                </c:pt>
                <c:pt idx="43">
                  <c:v>0.18998505684826367</c:v>
                </c:pt>
                <c:pt idx="44">
                  <c:v>0.20152116978374285</c:v>
                </c:pt>
                <c:pt idx="45">
                  <c:v>0.188988812079316</c:v>
                </c:pt>
                <c:pt idx="46">
                  <c:v>0.19164080880212275</c:v>
                </c:pt>
                <c:pt idx="47">
                  <c:v>0.177232657856094</c:v>
                </c:pt>
                <c:pt idx="48">
                  <c:v>0.1798556620841548</c:v>
                </c:pt>
                <c:pt idx="49">
                  <c:v>0.20935328986366333</c:v>
                </c:pt>
                <c:pt idx="50">
                  <c:v>0.22479442094296195</c:v>
                </c:pt>
                <c:pt idx="51">
                  <c:v>0.20048617969114566</c:v>
                </c:pt>
              </c:numCache>
            </c:numRef>
          </c:xVal>
          <c:yVal>
            <c:numRef>
              <c:f>Sheet1!$B$109:$B$160</c:f>
              <c:numCache>
                <c:formatCode>General</c:formatCode>
                <c:ptCount val="52"/>
                <c:pt idx="0">
                  <c:v>0.20936708860759493</c:v>
                </c:pt>
                <c:pt idx="1">
                  <c:v>0.20761147401306446</c:v>
                </c:pt>
                <c:pt idx="2">
                  <c:v>0.22019019751280175</c:v>
                </c:pt>
                <c:pt idx="3">
                  <c:v>0.23248328794256004</c:v>
                </c:pt>
                <c:pt idx="4">
                  <c:v>0.20354457572502685</c:v>
                </c:pt>
                <c:pt idx="5">
                  <c:v>0.21479904178866116</c:v>
                </c:pt>
                <c:pt idx="6">
                  <c:v>0.23362202975793916</c:v>
                </c:pt>
                <c:pt idx="7">
                  <c:v>0.2417743830787309</c:v>
                </c:pt>
                <c:pt idx="8">
                  <c:v>0.21720841300191204</c:v>
                </c:pt>
                <c:pt idx="9">
                  <c:v>0.23418573351278602</c:v>
                </c:pt>
                <c:pt idx="10">
                  <c:v>0.2319134550371873</c:v>
                </c:pt>
                <c:pt idx="11">
                  <c:v>0.25107665805340224</c:v>
                </c:pt>
                <c:pt idx="12">
                  <c:v>0.24247491638795987</c:v>
                </c:pt>
                <c:pt idx="13">
                  <c:v>0.2260295504558315</c:v>
                </c:pt>
                <c:pt idx="14">
                  <c:v>0.22604741799285483</c:v>
                </c:pt>
                <c:pt idx="15">
                  <c:v>0.2350930497531333</c:v>
                </c:pt>
                <c:pt idx="16">
                  <c:v>0.2262222222222222</c:v>
                </c:pt>
                <c:pt idx="17">
                  <c:v>0.24199288256227758</c:v>
                </c:pt>
                <c:pt idx="18">
                  <c:v>0.22243807673627974</c:v>
                </c:pt>
                <c:pt idx="19">
                  <c:v>0.21687840290381125</c:v>
                </c:pt>
                <c:pt idx="20">
                  <c:v>0.21182266009852216</c:v>
                </c:pt>
                <c:pt idx="21">
                  <c:v>0.22702702702702704</c:v>
                </c:pt>
                <c:pt idx="22">
                  <c:v>0.205761316872428</c:v>
                </c:pt>
                <c:pt idx="23">
                  <c:v>0.20438356164383562</c:v>
                </c:pt>
                <c:pt idx="24">
                  <c:v>0.2119236143455985</c:v>
                </c:pt>
                <c:pt idx="25">
                  <c:v>0.22462722462722462</c:v>
                </c:pt>
                <c:pt idx="26">
                  <c:v>0.20833333333333334</c:v>
                </c:pt>
                <c:pt idx="27">
                  <c:v>0.21023454157782517</c:v>
                </c:pt>
                <c:pt idx="28">
                  <c:v>0.2018131651556957</c:v>
                </c:pt>
                <c:pt idx="29">
                  <c:v>0.2126463700234192</c:v>
                </c:pt>
                <c:pt idx="30">
                  <c:v>0.21334012219959267</c:v>
                </c:pt>
                <c:pt idx="31">
                  <c:v>0.20411568409343714</c:v>
                </c:pt>
                <c:pt idx="32">
                  <c:v>0.20186046511627906</c:v>
                </c:pt>
                <c:pt idx="33">
                  <c:v>0.22472727272727272</c:v>
                </c:pt>
                <c:pt idx="34">
                  <c:v>0.24115942028985507</c:v>
                </c:pt>
                <c:pt idx="35">
                  <c:v>0.22004008016032064</c:v>
                </c:pt>
                <c:pt idx="36">
                  <c:v>0.2326388888888889</c:v>
                </c:pt>
                <c:pt idx="37">
                  <c:v>0.23493234932349324</c:v>
                </c:pt>
                <c:pt idx="38">
                  <c:v>0.24396284829721362</c:v>
                </c:pt>
                <c:pt idx="39">
                  <c:v>0.22293942403177755</c:v>
                </c:pt>
                <c:pt idx="40">
                  <c:v>0.22042218949435444</c:v>
                </c:pt>
                <c:pt idx="41">
                  <c:v>0.22237442922374429</c:v>
                </c:pt>
                <c:pt idx="42">
                  <c:v>0.23313192346424974</c:v>
                </c:pt>
                <c:pt idx="43">
                  <c:v>0.2094278517452321</c:v>
                </c:pt>
                <c:pt idx="44">
                  <c:v>0.21396103896103896</c:v>
                </c:pt>
                <c:pt idx="45">
                  <c:v>0.23797719385225583</c:v>
                </c:pt>
                <c:pt idx="46">
                  <c:v>0.26025236593059936</c:v>
                </c:pt>
                <c:pt idx="47">
                  <c:v>0.26084800396727004</c:v>
                </c:pt>
                <c:pt idx="48">
                  <c:v>0.24280618311533889</c:v>
                </c:pt>
                <c:pt idx="49">
                  <c:v>0.24407252440725244</c:v>
                </c:pt>
                <c:pt idx="50">
                  <c:v>0.24198804997284085</c:v>
                </c:pt>
                <c:pt idx="51">
                  <c:v>0.2421684070206620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749783025690601</c:v>
                </c:pt>
              </c:numCache>
            </c:numRef>
          </c:xVal>
          <c:yVal>
            <c:numRef>
              <c:f>Sheet1!$B$163:$B$164</c:f>
              <c:numCache>
                <c:formatCode>General</c:formatCode>
                <c:ptCount val="2"/>
                <c:pt idx="0">
                  <c:v>0.2596292170209378</c:v>
                </c:pt>
                <c:pt idx="1">
                  <c:v>0.25962921702093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749783025690601</c:v>
                </c:pt>
                <c:pt idx="1">
                  <c:v>-0.04749783025690601</c:v>
                </c:pt>
              </c:numCache>
            </c:numRef>
          </c:xVal>
          <c:yVal>
            <c:numRef>
              <c:f>Sheet1!$B$167:$B$168</c:f>
              <c:numCache>
                <c:formatCode>General</c:formatCode>
                <c:ptCount val="2"/>
                <c:pt idx="0">
                  <c:v>0.25962921702093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7732645825717434</c:v>
                </c:pt>
              </c:numCache>
            </c:numRef>
          </c:xVal>
          <c:yVal>
            <c:numRef>
              <c:f>Sheet1!$B$171:$B$172</c:f>
              <c:numCache>
                <c:formatCode>General</c:formatCode>
                <c:ptCount val="2"/>
                <c:pt idx="0">
                  <c:v>0.24275879112902357</c:v>
                </c:pt>
                <c:pt idx="1">
                  <c:v>0.2427587911290235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7732645825717434</c:v>
                </c:pt>
                <c:pt idx="1">
                  <c:v>0.07732645825717434</c:v>
                </c:pt>
              </c:numCache>
            </c:numRef>
          </c:xVal>
          <c:yVal>
            <c:numRef>
              <c:f>Sheet1!$B$175:$B$176</c:f>
              <c:numCache>
                <c:formatCode>General</c:formatCode>
                <c:ptCount val="2"/>
                <c:pt idx="0">
                  <c:v>0.242758791129023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6230867992482</c:v>
                </c:pt>
              </c:numCache>
            </c:numRef>
          </c:xVal>
          <c:yVal>
            <c:numRef>
              <c:f>Sheet1!$B$179:$B$180</c:f>
              <c:numCache>
                <c:formatCode>General</c:formatCode>
                <c:ptCount val="2"/>
                <c:pt idx="0">
                  <c:v>0.2347976603989705</c:v>
                </c:pt>
                <c:pt idx="1">
                  <c:v>0.23479766039897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6230867992482</c:v>
                </c:pt>
                <c:pt idx="1">
                  <c:v>0.136230867992482</c:v>
                </c:pt>
              </c:numCache>
            </c:numRef>
          </c:xVal>
          <c:yVal>
            <c:numRef>
              <c:f>Sheet1!$B$183:$B$184</c:f>
              <c:numCache>
                <c:formatCode>General</c:formatCode>
                <c:ptCount val="2"/>
                <c:pt idx="0">
                  <c:v>0.23479766039897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4235881093655726</c:v>
                </c:pt>
                <c:pt idx="1">
                  <c:v>0.25038167836188513</c:v>
                </c:pt>
                <c:pt idx="2">
                  <c:v>0.2490118934608529</c:v>
                </c:pt>
                <c:pt idx="3">
                  <c:v>0.24281467788247613</c:v>
                </c:pt>
                <c:pt idx="4">
                  <c:v>0.23224153422999616</c:v>
                </c:pt>
                <c:pt idx="5">
                  <c:v>0.23766388993592158</c:v>
                </c:pt>
                <c:pt idx="6">
                  <c:v>0.22963033151900517</c:v>
                </c:pt>
                <c:pt idx="7">
                  <c:v>0.20088274340068088</c:v>
                </c:pt>
                <c:pt idx="8">
                  <c:v>0.2622751061329161</c:v>
                </c:pt>
                <c:pt idx="9">
                  <c:v>0.2474867273146036</c:v>
                </c:pt>
                <c:pt idx="10">
                  <c:v>0.22006835581029474</c:v>
                </c:pt>
                <c:pt idx="11">
                  <c:v>0.20477990734898968</c:v>
                </c:pt>
                <c:pt idx="12">
                  <c:v>0.19869071795586724</c:v>
                </c:pt>
                <c:pt idx="13">
                  <c:v>0.2225495721778793</c:v>
                </c:pt>
                <c:pt idx="14">
                  <c:v>0.21370144890467127</c:v>
                </c:pt>
                <c:pt idx="15">
                  <c:v>0.20237679157408872</c:v>
                </c:pt>
                <c:pt idx="16">
                  <c:v>0.1997676151485094</c:v>
                </c:pt>
                <c:pt idx="17">
                  <c:v>0.19543489849643542</c:v>
                </c:pt>
                <c:pt idx="18">
                  <c:v>0.20469409621382623</c:v>
                </c:pt>
                <c:pt idx="19">
                  <c:v>0.2321338578677551</c:v>
                </c:pt>
                <c:pt idx="20">
                  <c:v>0.19395963231096314</c:v>
                </c:pt>
                <c:pt idx="21">
                  <c:v>0.16973499089612232</c:v>
                </c:pt>
                <c:pt idx="22">
                  <c:v>0.19835475408265443</c:v>
                </c:pt>
                <c:pt idx="23">
                  <c:v>0.22696990932819525</c:v>
                </c:pt>
                <c:pt idx="24">
                  <c:v>0.18256912070320497</c:v>
                </c:pt>
                <c:pt idx="25">
                  <c:v>0.1775831081048</c:v>
                </c:pt>
                <c:pt idx="26">
                  <c:v>0.18756041872433143</c:v>
                </c:pt>
                <c:pt idx="27">
                  <c:v>0.19280425969619222</c:v>
                </c:pt>
                <c:pt idx="28">
                  <c:v>0.2040628212631555</c:v>
                </c:pt>
                <c:pt idx="29">
                  <c:v>0.19375658629198717</c:v>
                </c:pt>
                <c:pt idx="30">
                  <c:v>0.1861543667502301</c:v>
                </c:pt>
                <c:pt idx="31">
                  <c:v>0.20628750331149484</c:v>
                </c:pt>
                <c:pt idx="32">
                  <c:v>0.1985943095682138</c:v>
                </c:pt>
                <c:pt idx="33">
                  <c:v>0.2146697066305673</c:v>
                </c:pt>
                <c:pt idx="34">
                  <c:v>0.2335798040671765</c:v>
                </c:pt>
                <c:pt idx="35">
                  <c:v>0.18518966257765396</c:v>
                </c:pt>
                <c:pt idx="36">
                  <c:v>0.16927738892531333</c:v>
                </c:pt>
                <c:pt idx="37">
                  <c:v>0.16397546819122075</c:v>
                </c:pt>
                <c:pt idx="38">
                  <c:v>0.1549785865827968</c:v>
                </c:pt>
                <c:pt idx="39">
                  <c:v>0.18261978986807878</c:v>
                </c:pt>
                <c:pt idx="40">
                  <c:v>0.19323187819161727</c:v>
                </c:pt>
                <c:pt idx="41">
                  <c:v>0.21577904955953273</c:v>
                </c:pt>
                <c:pt idx="42">
                  <c:v>0.20138676327341584</c:v>
                </c:pt>
                <c:pt idx="43">
                  <c:v>0.18998505684826367</c:v>
                </c:pt>
                <c:pt idx="44">
                  <c:v>0.20152116978374285</c:v>
                </c:pt>
                <c:pt idx="45">
                  <c:v>0.188988812079316</c:v>
                </c:pt>
                <c:pt idx="46">
                  <c:v>0.19164080880212275</c:v>
                </c:pt>
                <c:pt idx="47">
                  <c:v>0.177232657856094</c:v>
                </c:pt>
                <c:pt idx="48">
                  <c:v>0.1798556620841548</c:v>
                </c:pt>
                <c:pt idx="49">
                  <c:v>0.20935328986366333</c:v>
                </c:pt>
                <c:pt idx="50">
                  <c:v>0.22479442094296195</c:v>
                </c:pt>
                <c:pt idx="51">
                  <c:v>0.20048617969114566</c:v>
                </c:pt>
                <c:pt idx="52">
                  <c:v>0.07732645825717434</c:v>
                </c:pt>
                <c:pt idx="53">
                  <c:v>-0.04749783025690601</c:v>
                </c:pt>
                <c:pt idx="54">
                  <c:v>0.136230867992482</c:v>
                </c:pt>
              </c:numCache>
            </c:numRef>
          </c:xVal>
          <c:yVal>
            <c:numRef>
              <c:f>Sheet1!$B$187:$B$241</c:f>
              <c:numCache>
                <c:formatCode>General</c:formatCode>
                <c:ptCount val="55"/>
                <c:pt idx="0">
                  <c:v>0.22045410901315698</c:v>
                </c:pt>
                <c:pt idx="1">
                  <c:v>0.21936979127379028</c:v>
                </c:pt>
                <c:pt idx="2">
                  <c:v>0.21955492234832566</c:v>
                </c:pt>
                <c:pt idx="3">
                  <c:v>0.22039249704949793</c:v>
                </c:pt>
                <c:pt idx="4">
                  <c:v>0.22182149326936107</c:v>
                </c:pt>
                <c:pt idx="5">
                  <c:v>0.22108864350762503</c:v>
                </c:pt>
                <c:pt idx="6">
                  <c:v>0.22217440617075981</c:v>
                </c:pt>
                <c:pt idx="7">
                  <c:v>0.22605974019264577</c:v>
                </c:pt>
                <c:pt idx="8">
                  <c:v>0.2177623541780092</c:v>
                </c:pt>
                <c:pt idx="9">
                  <c:v>0.21976105372507493</c:v>
                </c:pt>
                <c:pt idx="10">
                  <c:v>0.22346673961398938</c:v>
                </c:pt>
                <c:pt idx="11">
                  <c:v>0.22553302526912214</c:v>
                </c:pt>
                <c:pt idx="12">
                  <c:v>0.22635599986502314</c:v>
                </c:pt>
                <c:pt idx="13">
                  <c:v>0.2231313948077066</c:v>
                </c:pt>
                <c:pt idx="14">
                  <c:v>0.22432724867348963</c:v>
                </c:pt>
                <c:pt idx="15">
                  <c:v>0.22585781451545206</c:v>
                </c:pt>
                <c:pt idx="16">
                  <c:v>0.22621045355750596</c:v>
                </c:pt>
                <c:pt idx="17">
                  <c:v>0.22679603490597272</c:v>
                </c:pt>
                <c:pt idx="18">
                  <c:v>0.22554462293503885</c:v>
                </c:pt>
                <c:pt idx="19">
                  <c:v>0.22183604609486582</c:v>
                </c:pt>
                <c:pt idx="20">
                  <c:v>0.2269954221338042</c:v>
                </c:pt>
                <c:pt idx="21">
                  <c:v>0.23026946457067468</c:v>
                </c:pt>
                <c:pt idx="22">
                  <c:v>0.22640140652179536</c:v>
                </c:pt>
                <c:pt idx="23">
                  <c:v>0.22253397125176727</c:v>
                </c:pt>
                <c:pt idx="24">
                  <c:v>0.22853488840464936</c:v>
                </c:pt>
                <c:pt idx="25">
                  <c:v>0.22920876491569434</c:v>
                </c:pt>
                <c:pt idx="26">
                  <c:v>0.22786029755079984</c:v>
                </c:pt>
                <c:pt idx="27">
                  <c:v>0.22715157466074481</c:v>
                </c:pt>
                <c:pt idx="28">
                  <c:v>0.22562994188537688</c:v>
                </c:pt>
                <c:pt idx="29">
                  <c:v>0.22702286449183048</c:v>
                </c:pt>
                <c:pt idx="30">
                  <c:v>0.228050330243248</c:v>
                </c:pt>
                <c:pt idx="31">
                  <c:v>0.22532926856228921</c:v>
                </c:pt>
                <c:pt idx="32">
                  <c:v>0.22636902978555085</c:v>
                </c:pt>
                <c:pt idx="33">
                  <c:v>0.22419638535831712</c:v>
                </c:pt>
                <c:pt idx="34">
                  <c:v>0.2216406215625779</c:v>
                </c:pt>
                <c:pt idx="35">
                  <c:v>0.22818071328363865</c:v>
                </c:pt>
                <c:pt idx="36">
                  <c:v>0.2303313110288314</c:v>
                </c:pt>
                <c:pt idx="37">
                  <c:v>0.23104788359570985</c:v>
                </c:pt>
                <c:pt idx="38">
                  <c:v>0.23226384265496075</c:v>
                </c:pt>
                <c:pt idx="39">
                  <c:v>0.22852804029518936</c:v>
                </c:pt>
                <c:pt idx="40">
                  <c:v>0.22709378057096502</c:v>
                </c:pt>
                <c:pt idx="41">
                  <c:v>0.22404645389950717</c:v>
                </c:pt>
                <c:pt idx="42">
                  <c:v>0.2259916201976332</c:v>
                </c:pt>
                <c:pt idx="43">
                  <c:v>0.2275325994860126</c:v>
                </c:pt>
                <c:pt idx="44">
                  <c:v>0.2259734547019684</c:v>
                </c:pt>
                <c:pt idx="45">
                  <c:v>0.22766724534496208</c:v>
                </c:pt>
                <c:pt idx="46">
                  <c:v>0.22730881899452737</c:v>
                </c:pt>
                <c:pt idx="47">
                  <c:v>0.2292561294552401</c:v>
                </c:pt>
                <c:pt idx="48">
                  <c:v>0.2289016215387885</c:v>
                </c:pt>
                <c:pt idx="49">
                  <c:v>0.22491491711318842</c:v>
                </c:pt>
                <c:pt idx="50">
                  <c:v>0.22282799588446253</c:v>
                </c:pt>
                <c:pt idx="51">
                  <c:v>0.22611333712280077</c:v>
                </c:pt>
                <c:pt idx="52">
                  <c:v>0.24275879112902357</c:v>
                </c:pt>
                <c:pt idx="53">
                  <c:v>0.2596292170209378</c:v>
                </c:pt>
                <c:pt idx="54">
                  <c:v>0.23479766039897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26154388438491"/>
          <c:min val="0.1218382073680212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3.3208</c:v>
                </c:pt>
                <c:pt idx="1">
                  <c:v>887.4918</c:v>
                </c:pt>
                <c:pt idx="2">
                  <c:v>942.0794</c:v>
                </c:pt>
                <c:pt idx="3">
                  <c:v>962.6483</c:v>
                </c:pt>
                <c:pt idx="4">
                  <c:v>967.4892</c:v>
                </c:pt>
                <c:pt idx="5">
                  <c:v>950.926</c:v>
                </c:pt>
                <c:pt idx="6">
                  <c:v>893.5778</c:v>
                </c:pt>
                <c:pt idx="7">
                  <c:v>914.284</c:v>
                </c:pt>
                <c:pt idx="8">
                  <c:v>935.6884</c:v>
                </c:pt>
                <c:pt idx="9">
                  <c:v>878.8645</c:v>
                </c:pt>
                <c:pt idx="10">
                  <c:v>868.63</c:v>
                </c:pt>
                <c:pt idx="11">
                  <c:v>950.0549</c:v>
                </c:pt>
                <c:pt idx="12">
                  <c:v>962.9921</c:v>
                </c:pt>
                <c:pt idx="13">
                  <c:v>957.5243</c:v>
                </c:pt>
                <c:pt idx="14">
                  <c:v>969.4095</c:v>
                </c:pt>
                <c:pt idx="15">
                  <c:v>947.0688</c:v>
                </c:pt>
                <c:pt idx="16">
                  <c:v>958.4297</c:v>
                </c:pt>
                <c:pt idx="17">
                  <c:v>968.5982</c:v>
                </c:pt>
                <c:pt idx="18">
                  <c:v>1033.455</c:v>
                </c:pt>
                <c:pt idx="19">
                  <c:v>1076.6967</c:v>
                </c:pt>
                <c:pt idx="20">
                  <c:v>1084.611</c:v>
                </c:pt>
                <c:pt idx="21">
                  <c:v>1092.5198</c:v>
                </c:pt>
                <c:pt idx="22">
                  <c:v>1033.6368</c:v>
                </c:pt>
                <c:pt idx="23">
                  <c:v>1041.0111</c:v>
                </c:pt>
                <c:pt idx="24">
                  <c:v>1041.3376</c:v>
                </c:pt>
                <c:pt idx="25">
                  <c:v>1002.3627</c:v>
                </c:pt>
                <c:pt idx="26">
                  <c:v>991.7399</c:v>
                </c:pt>
                <c:pt idx="27">
                  <c:v>1040.2881</c:v>
                </c:pt>
                <c:pt idx="28">
                  <c:v>1027.9887</c:v>
                </c:pt>
                <c:pt idx="29">
                  <c:v>993.1441</c:v>
                </c:pt>
                <c:pt idx="30">
                  <c:v>985.7807</c:v>
                </c:pt>
                <c:pt idx="31">
                  <c:v>988.449</c:v>
                </c:pt>
                <c:pt idx="32">
                  <c:v>957.1019</c:v>
                </c:pt>
                <c:pt idx="33">
                  <c:v>925.1119</c:v>
                </c:pt>
                <c:pt idx="34">
                  <c:v>927.0344</c:v>
                </c:pt>
                <c:pt idx="35">
                  <c:v>985.9929</c:v>
                </c:pt>
                <c:pt idx="36">
                  <c:v>1090.0849</c:v>
                </c:pt>
                <c:pt idx="37">
                  <c:v>1087.1445</c:v>
                </c:pt>
                <c:pt idx="38">
                  <c:v>1150.4307</c:v>
                </c:pt>
                <c:pt idx="39">
                  <c:v>1162.0453</c:v>
                </c:pt>
                <c:pt idx="40">
                  <c:v>1142.0253</c:v>
                </c:pt>
                <c:pt idx="41">
                  <c:v>1178.9445</c:v>
                </c:pt>
                <c:pt idx="42">
                  <c:v>1215.3222</c:v>
                </c:pt>
                <c:pt idx="43">
                  <c:v>1227.7081</c:v>
                </c:pt>
                <c:pt idx="44">
                  <c:v>1153.6577</c:v>
                </c:pt>
                <c:pt idx="45">
                  <c:v>1112.94</c:v>
                </c:pt>
                <c:pt idx="46">
                  <c:v>1119.1623</c:v>
                </c:pt>
                <c:pt idx="47">
                  <c:v>1102.4618</c:v>
                </c:pt>
                <c:pt idx="48">
                  <c:v>1097.89</c:v>
                </c:pt>
                <c:pt idx="49">
                  <c:v>1051.7646</c:v>
                </c:pt>
                <c:pt idx="50">
                  <c:v>1049.236</c:v>
                </c:pt>
                <c:pt idx="51">
                  <c:v>1063.272</c:v>
                </c:pt>
                <c:pt idx="52">
                  <c:v>1068.3844</c:v>
                </c:pt>
                <c:pt idx="53">
                  <c:v>1151.1457</c:v>
                </c:pt>
                <c:pt idx="54">
                  <c:v>1142.6097</c:v>
                </c:pt>
                <c:pt idx="55">
                  <c:v>1175.1505</c:v>
                </c:pt>
                <c:pt idx="56">
                  <c:v>1192.6552</c:v>
                </c:pt>
                <c:pt idx="57">
                  <c:v>1149.6448</c:v>
                </c:pt>
                <c:pt idx="58">
                  <c:v>1105.2248</c:v>
                </c:pt>
                <c:pt idx="59">
                  <c:v>1098.9022</c:v>
                </c:pt>
                <c:pt idx="60">
                  <c:v>1128.0226</c:v>
                </c:pt>
                <c:pt idx="61">
                  <c:v>1159.5925</c:v>
                </c:pt>
                <c:pt idx="62">
                  <c:v>1071.6272</c:v>
                </c:pt>
                <c:pt idx="63">
                  <c:v>1126.5207</c:v>
                </c:pt>
                <c:pt idx="64">
                  <c:v>1141.7356</c:v>
                </c:pt>
                <c:pt idx="65">
                  <c:v>1133.7737</c:v>
                </c:pt>
                <c:pt idx="66">
                  <c:v>1127.0682</c:v>
                </c:pt>
                <c:pt idx="67">
                  <c:v>1148.5508</c:v>
                </c:pt>
                <c:pt idx="68">
                  <c:v>1177.619</c:v>
                </c:pt>
                <c:pt idx="69">
                  <c:v>1186.9383</c:v>
                </c:pt>
                <c:pt idx="70">
                  <c:v>1193.4</c:v>
                </c:pt>
                <c:pt idx="71">
                  <c:v>1257.8431</c:v>
                </c:pt>
                <c:pt idx="72">
                  <c:v>1342.8085</c:v>
                </c:pt>
                <c:pt idx="73">
                  <c:v>1335.3565</c:v>
                </c:pt>
                <c:pt idx="74">
                  <c:v>1310.6994</c:v>
                </c:pt>
                <c:pt idx="75">
                  <c:v>1250.0578</c:v>
                </c:pt>
                <c:pt idx="76">
                  <c:v>1233.1143</c:v>
                </c:pt>
                <c:pt idx="77">
                  <c:v>1264.5477</c:v>
                </c:pt>
                <c:pt idx="78">
                  <c:v>1289.908</c:v>
                </c:pt>
                <c:pt idx="79">
                  <c:v>1299.9351</c:v>
                </c:pt>
                <c:pt idx="80">
                  <c:v>1273.3395</c:v>
                </c:pt>
                <c:pt idx="81">
                  <c:v>1261.198</c:v>
                </c:pt>
                <c:pt idx="82">
                  <c:v>1256.7927</c:v>
                </c:pt>
                <c:pt idx="83">
                  <c:v>1209.355</c:v>
                </c:pt>
                <c:pt idx="84">
                  <c:v>1240.604</c:v>
                </c:pt>
                <c:pt idx="85">
                  <c:v>1176.1487</c:v>
                </c:pt>
                <c:pt idx="86">
                  <c:v>1182.9596</c:v>
                </c:pt>
                <c:pt idx="87">
                  <c:v>1186.6219</c:v>
                </c:pt>
                <c:pt idx="88">
                  <c:v>1266.5191</c:v>
                </c:pt>
                <c:pt idx="89">
                  <c:v>1232.907</c:v>
                </c:pt>
                <c:pt idx="90">
                  <c:v>1312.3607</c:v>
                </c:pt>
                <c:pt idx="91">
                  <c:v>1347.0271</c:v>
                </c:pt>
                <c:pt idx="92">
                  <c:v>1288.0202</c:v>
                </c:pt>
                <c:pt idx="93">
                  <c:v>1308.6093</c:v>
                </c:pt>
                <c:pt idx="94">
                  <c:v>1306.7995</c:v>
                </c:pt>
                <c:pt idx="95">
                  <c:v>1279.6971</c:v>
                </c:pt>
                <c:pt idx="96">
                  <c:v>1192.3333</c:v>
                </c:pt>
                <c:pt idx="97">
                  <c:v>1175.4449</c:v>
                </c:pt>
                <c:pt idx="98">
                  <c:v>1163.8139</c:v>
                </c:pt>
                <c:pt idx="99">
                  <c:v>1105.5664</c:v>
                </c:pt>
                <c:pt idx="100">
                  <c:v>1129.3838</c:v>
                </c:pt>
                <c:pt idx="101">
                  <c:v>1123.1093</c:v>
                </c:pt>
                <c:pt idx="102">
                  <c:v>1124.8475</c:v>
                </c:pt>
                <c:pt idx="103">
                  <c:v>1125.2528</c:v>
                </c:pt>
                <c:pt idx="104">
                  <c:v>1170.9258</c:v>
                </c:pt>
              </c:numCache>
            </c:numRef>
          </c:xVal>
          <c:yVal>
            <c:numRef>
              <c:f>Sheet1!$B$2:$B$106</c:f>
              <c:numCache>
                <c:formatCode>General</c:formatCode>
                <c:ptCount val="105"/>
                <c:pt idx="0">
                  <c:v>0.24772350993377484</c:v>
                </c:pt>
                <c:pt idx="1">
                  <c:v>0.2467005076142132</c:v>
                </c:pt>
                <c:pt idx="2">
                  <c:v>0.24367245657568237</c:v>
                </c:pt>
                <c:pt idx="3">
                  <c:v>0.2384516129032258</c:v>
                </c:pt>
                <c:pt idx="4">
                  <c:v>0.26165726165726166</c:v>
                </c:pt>
                <c:pt idx="5">
                  <c:v>0.26000611060189427</c:v>
                </c:pt>
                <c:pt idx="6">
                  <c:v>0.2723391277828606</c:v>
                </c:pt>
                <c:pt idx="7">
                  <c:v>0.2855128657032076</c:v>
                </c:pt>
                <c:pt idx="8">
                  <c:v>0.28059950041631976</c:v>
                </c:pt>
                <c:pt idx="9">
                  <c:v>0.2711257091669155</c:v>
                </c:pt>
                <c:pt idx="10">
                  <c:v>0.26746216530849826</c:v>
                </c:pt>
                <c:pt idx="11">
                  <c:v>0.22510822510822512</c:v>
                </c:pt>
                <c:pt idx="12">
                  <c:v>0.21575342465753425</c:v>
                </c:pt>
                <c:pt idx="13">
                  <c:v>0.20860275513072815</c:v>
                </c:pt>
                <c:pt idx="14">
                  <c:v>0.19507959479015918</c:v>
                </c:pt>
                <c:pt idx="15">
                  <c:v>0.1992349378386994</c:v>
                </c:pt>
                <c:pt idx="16">
                  <c:v>0.19533308242378622</c:v>
                </c:pt>
                <c:pt idx="17">
                  <c:v>0.17190531625921615</c:v>
                </c:pt>
                <c:pt idx="18">
                  <c:v>0.16248955722639932</c:v>
                </c:pt>
                <c:pt idx="19">
                  <c:v>0.15655853314527504</c:v>
                </c:pt>
                <c:pt idx="20">
                  <c:v>0.15229775921002658</c:v>
                </c:pt>
                <c:pt idx="21">
                  <c:v>0.1662455785750379</c:v>
                </c:pt>
                <c:pt idx="22">
                  <c:v>0.21566820276497695</c:v>
                </c:pt>
                <c:pt idx="23">
                  <c:v>0.21246458923512748</c:v>
                </c:pt>
                <c:pt idx="24">
                  <c:v>0.21363815530153724</c:v>
                </c:pt>
                <c:pt idx="25">
                  <c:v>0.22761194029850745</c:v>
                </c:pt>
                <c:pt idx="26">
                  <c:v>0.24234354194407456</c:v>
                </c:pt>
                <c:pt idx="27">
                  <c:v>0.22957034540859309</c:v>
                </c:pt>
                <c:pt idx="28">
                  <c:v>0.23513753327417924</c:v>
                </c:pt>
                <c:pt idx="29">
                  <c:v>0.2479523454951601</c:v>
                </c:pt>
                <c:pt idx="30">
                  <c:v>0.24555335968379446</c:v>
                </c:pt>
                <c:pt idx="31">
                  <c:v>0.25058112505811253</c:v>
                </c:pt>
                <c:pt idx="32">
                  <c:v>0.2612488521579431</c:v>
                </c:pt>
                <c:pt idx="33">
                  <c:v>0.2545931758530184</c:v>
                </c:pt>
                <c:pt idx="34">
                  <c:v>0.25564617314930993</c:v>
                </c:pt>
                <c:pt idx="35">
                  <c:v>0.2520734597156398</c:v>
                </c:pt>
                <c:pt idx="36">
                  <c:v>0.24011652101539743</c:v>
                </c:pt>
                <c:pt idx="37">
                  <c:v>0.23800904977375564</c:v>
                </c:pt>
                <c:pt idx="38">
                  <c:v>0.23344776851397744</c:v>
                </c:pt>
                <c:pt idx="39">
                  <c:v>0.23198090692124104</c:v>
                </c:pt>
                <c:pt idx="40">
                  <c:v>0.22139396198285502</c:v>
                </c:pt>
                <c:pt idx="41">
                  <c:v>0.21982933766761478</c:v>
                </c:pt>
                <c:pt idx="42">
                  <c:v>0.2079388201019665</c:v>
                </c:pt>
                <c:pt idx="43">
                  <c:v>0.20679012345679013</c:v>
                </c:pt>
                <c:pt idx="44">
                  <c:v>0.208455522971652</c:v>
                </c:pt>
                <c:pt idx="45">
                  <c:v>0.23099762470308788</c:v>
                </c:pt>
                <c:pt idx="46">
                  <c:v>0.22398265510340226</c:v>
                </c:pt>
                <c:pt idx="47">
                  <c:v>0.22330604424316322</c:v>
                </c:pt>
                <c:pt idx="48">
                  <c:v>0.22687560671196783</c:v>
                </c:pt>
                <c:pt idx="49">
                  <c:v>0.23522470252728883</c:v>
                </c:pt>
                <c:pt idx="50">
                  <c:v>0.22077464788732395</c:v>
                </c:pt>
                <c:pt idx="51">
                  <c:v>0.20737527114967463</c:v>
                </c:pt>
                <c:pt idx="52">
                  <c:v>0.21437101910828024</c:v>
                </c:pt>
                <c:pt idx="53">
                  <c:v>0.20436456996148908</c:v>
                </c:pt>
                <c:pt idx="54">
                  <c:v>0.22050386630082314</c:v>
                </c:pt>
                <c:pt idx="55">
                  <c:v>0.20378767671379033</c:v>
                </c:pt>
                <c:pt idx="56">
                  <c:v>0.19674355495251017</c:v>
                </c:pt>
                <c:pt idx="57">
                  <c:v>0.20120259019426456</c:v>
                </c:pt>
                <c:pt idx="58">
                  <c:v>0.21242263483642795</c:v>
                </c:pt>
                <c:pt idx="59">
                  <c:v>0.22182680901542112</c:v>
                </c:pt>
                <c:pt idx="60">
                  <c:v>0.22175004829051576</c:v>
                </c:pt>
                <c:pt idx="61">
                  <c:v>0.21750140686550365</c:v>
                </c:pt>
                <c:pt idx="62">
                  <c:v>0.23190869354055366</c:v>
                </c:pt>
                <c:pt idx="63">
                  <c:v>0.23353437876960192</c:v>
                </c:pt>
                <c:pt idx="64">
                  <c:v>0.22322703474535935</c:v>
                </c:pt>
                <c:pt idx="65">
                  <c:v>0.22095959595959597</c:v>
                </c:pt>
                <c:pt idx="66">
                  <c:v>0.21346057257659468</c:v>
                </c:pt>
                <c:pt idx="67">
                  <c:v>0.19943661971830987</c:v>
                </c:pt>
                <c:pt idx="68">
                  <c:v>0.20058045791680104</c:v>
                </c:pt>
                <c:pt idx="69">
                  <c:v>0.18762475049900199</c:v>
                </c:pt>
                <c:pt idx="70">
                  <c:v>0.1896411092985318</c:v>
                </c:pt>
                <c:pt idx="71">
                  <c:v>0.2047279214986619</c:v>
                </c:pt>
                <c:pt idx="72">
                  <c:v>0.18740031897926634</c:v>
                </c:pt>
                <c:pt idx="73">
                  <c:v>0.18755256518082422</c:v>
                </c:pt>
                <c:pt idx="74">
                  <c:v>0.19577517917766882</c:v>
                </c:pt>
                <c:pt idx="75">
                  <c:v>0.2039301310043668</c:v>
                </c:pt>
                <c:pt idx="76">
                  <c:v>0.21248213434969032</c:v>
                </c:pt>
                <c:pt idx="77">
                  <c:v>0.2033814022874192</c:v>
                </c:pt>
                <c:pt idx="78">
                  <c:v>0.21479229989868287</c:v>
                </c:pt>
                <c:pt idx="79">
                  <c:v>0.17559863169897377</c:v>
                </c:pt>
                <c:pt idx="80">
                  <c:v>0.16848249027237355</c:v>
                </c:pt>
                <c:pt idx="81">
                  <c:v>0.19094167481264254</c:v>
                </c:pt>
                <c:pt idx="82">
                  <c:v>0.19029042045947117</c:v>
                </c:pt>
                <c:pt idx="83">
                  <c:v>0.20443213296398893</c:v>
                </c:pt>
                <c:pt idx="84">
                  <c:v>0.20163170163170163</c:v>
                </c:pt>
                <c:pt idx="85">
                  <c:v>0.2257471264367816</c:v>
                </c:pt>
                <c:pt idx="86">
                  <c:v>0.2322137955940773</c:v>
                </c:pt>
                <c:pt idx="87">
                  <c:v>0.23571197933484017</c:v>
                </c:pt>
                <c:pt idx="88">
                  <c:v>0.2292374939290918</c:v>
                </c:pt>
                <c:pt idx="89">
                  <c:v>0.2395543175487465</c:v>
                </c:pt>
                <c:pt idx="90">
                  <c:v>0.2168284789644013</c:v>
                </c:pt>
                <c:pt idx="91">
                  <c:v>0.20651068158697863</c:v>
                </c:pt>
                <c:pt idx="92">
                  <c:v>0.22628951747088186</c:v>
                </c:pt>
                <c:pt idx="93">
                  <c:v>0.22518765638031693</c:v>
                </c:pt>
                <c:pt idx="94">
                  <c:v>0.22760155815247635</c:v>
                </c:pt>
                <c:pt idx="95">
                  <c:v>0.2019159911569639</c:v>
                </c:pt>
                <c:pt idx="96">
                  <c:v>0.2260536398467433</c:v>
                </c:pt>
                <c:pt idx="97">
                  <c:v>0.24097206450147626</c:v>
                </c:pt>
                <c:pt idx="98">
                  <c:v>0.2313257370229698</c:v>
                </c:pt>
                <c:pt idx="99">
                  <c:v>0.22992331066415858</c:v>
                </c:pt>
                <c:pt idx="100">
                  <c:v>0.22399186716367334</c:v>
                </c:pt>
                <c:pt idx="101">
                  <c:v>0.22901768912307113</c:v>
                </c:pt>
                <c:pt idx="102">
                  <c:v>0.23253388946819603</c:v>
                </c:pt>
                <c:pt idx="103">
                  <c:v>0.21862615587846765</c:v>
                </c:pt>
                <c:pt idx="104">
                  <c:v>0.212680577849117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3192</c:v>
                </c:pt>
                <c:pt idx="1">
                  <c:v>1227.7893</c:v>
                </c:pt>
                <c:pt idx="2">
                  <c:v>1247.0421</c:v>
                </c:pt>
                <c:pt idx="3">
                  <c:v>1247.7082</c:v>
                </c:pt>
                <c:pt idx="4">
                  <c:v>1280.9116</c:v>
                </c:pt>
                <c:pt idx="5">
                  <c:v>1261.0446</c:v>
                </c:pt>
                <c:pt idx="6">
                  <c:v>1141.4259</c:v>
                </c:pt>
                <c:pt idx="7">
                  <c:v>1174.2199</c:v>
                </c:pt>
                <c:pt idx="8">
                  <c:v>1278.868</c:v>
                </c:pt>
                <c:pt idx="9">
                  <c:v>1203.8017</c:v>
                </c:pt>
                <c:pt idx="10">
                  <c:v>1210.5918</c:v>
                </c:pt>
                <c:pt idx="11">
                  <c:v>1018.3628</c:v>
                </c:pt>
                <c:pt idx="12">
                  <c:v>1113.5149</c:v>
                </c:pt>
                <c:pt idx="13">
                  <c:v>1194.2434</c:v>
                </c:pt>
                <c:pt idx="14">
                  <c:v>1175.8822</c:v>
                </c:pt>
                <c:pt idx="15">
                  <c:v>1196.5153</c:v>
                </c:pt>
                <c:pt idx="16">
                  <c:v>1227.9804</c:v>
                </c:pt>
                <c:pt idx="17">
                  <c:v>1198.125</c:v>
                </c:pt>
                <c:pt idx="18">
                  <c:v>1261.0459</c:v>
                </c:pt>
                <c:pt idx="19">
                  <c:v>1355.0063</c:v>
                </c:pt>
                <c:pt idx="20">
                  <c:v>1327.6814</c:v>
                </c:pt>
                <c:pt idx="21">
                  <c:v>1210.7857</c:v>
                </c:pt>
                <c:pt idx="22">
                  <c:v>1315.0775</c:v>
                </c:pt>
                <c:pt idx="23">
                  <c:v>1330.1769</c:v>
                </c:pt>
                <c:pt idx="24">
                  <c:v>1316.9143</c:v>
                </c:pt>
                <c:pt idx="25">
                  <c:v>1225.9593</c:v>
                </c:pt>
                <c:pt idx="26">
                  <c:v>1267.7165</c:v>
                </c:pt>
                <c:pt idx="27">
                  <c:v>1271.1034</c:v>
                </c:pt>
                <c:pt idx="28">
                  <c:v>1327.6641</c:v>
                </c:pt>
                <c:pt idx="29">
                  <c:v>1319.0551</c:v>
                </c:pt>
                <c:pt idx="30">
                  <c:v>1303.4582</c:v>
                </c:pt>
                <c:pt idx="31">
                  <c:v>1314.9564</c:v>
                </c:pt>
                <c:pt idx="32">
                  <c:v>1300.7373</c:v>
                </c:pt>
                <c:pt idx="33">
                  <c:v>1314.0955</c:v>
                </c:pt>
                <c:pt idx="34">
                  <c:v>1340.8978</c:v>
                </c:pt>
                <c:pt idx="35">
                  <c:v>1370.7359</c:v>
                </c:pt>
                <c:pt idx="36">
                  <c:v>1342.6478</c:v>
                </c:pt>
                <c:pt idx="37">
                  <c:v>1341.2592</c:v>
                </c:pt>
                <c:pt idx="38">
                  <c:v>1353.599</c:v>
                </c:pt>
                <c:pt idx="39">
                  <c:v>1320.6437</c:v>
                </c:pt>
                <c:pt idx="40">
                  <c:v>1366.6347</c:v>
                </c:pt>
                <c:pt idx="41">
                  <c:v>1395.2977</c:v>
                </c:pt>
                <c:pt idx="42">
                  <c:v>1405.8121</c:v>
                </c:pt>
                <c:pt idx="43">
                  <c:v>1402.567</c:v>
                </c:pt>
                <c:pt idx="44">
                  <c:v>1306.7739</c:v>
                </c:pt>
                <c:pt idx="45">
                  <c:v>1246.6458</c:v>
                </c:pt>
                <c:pt idx="46">
                  <c:v>1233.9162</c:v>
                </c:pt>
                <c:pt idx="47">
                  <c:v>1206.9544</c:v>
                </c:pt>
                <c:pt idx="48">
                  <c:v>1210.7424</c:v>
                </c:pt>
                <c:pt idx="49">
                  <c:v>1236.1265</c:v>
                </c:pt>
                <c:pt idx="50">
                  <c:v>1198.7323</c:v>
                </c:pt>
                <c:pt idx="51">
                  <c:v>1136.1633</c:v>
                </c:pt>
              </c:numCache>
            </c:numRef>
          </c:xVal>
          <c:yVal>
            <c:numRef>
              <c:f>Sheet1!$B$109:$B$160</c:f>
              <c:numCache>
                <c:formatCode>General</c:formatCode>
                <c:ptCount val="52"/>
                <c:pt idx="0">
                  <c:v>0.20936708860759493</c:v>
                </c:pt>
                <c:pt idx="1">
                  <c:v>0.20761147401306446</c:v>
                </c:pt>
                <c:pt idx="2">
                  <c:v>0.22019019751280175</c:v>
                </c:pt>
                <c:pt idx="3">
                  <c:v>0.23248328794256004</c:v>
                </c:pt>
                <c:pt idx="4">
                  <c:v>0.20354457572502685</c:v>
                </c:pt>
                <c:pt idx="5">
                  <c:v>0.21479904178866116</c:v>
                </c:pt>
                <c:pt idx="6">
                  <c:v>0.23362202975793916</c:v>
                </c:pt>
                <c:pt idx="7">
                  <c:v>0.2417743830787309</c:v>
                </c:pt>
                <c:pt idx="8">
                  <c:v>0.21720841300191204</c:v>
                </c:pt>
                <c:pt idx="9">
                  <c:v>0.23418573351278602</c:v>
                </c:pt>
                <c:pt idx="10">
                  <c:v>0.2319134550371873</c:v>
                </c:pt>
                <c:pt idx="11">
                  <c:v>0.25107665805340224</c:v>
                </c:pt>
                <c:pt idx="12">
                  <c:v>0.24247491638795987</c:v>
                </c:pt>
                <c:pt idx="13">
                  <c:v>0.2260295504558315</c:v>
                </c:pt>
                <c:pt idx="14">
                  <c:v>0.22604741799285483</c:v>
                </c:pt>
                <c:pt idx="15">
                  <c:v>0.2350930497531333</c:v>
                </c:pt>
                <c:pt idx="16">
                  <c:v>0.2262222222222222</c:v>
                </c:pt>
                <c:pt idx="17">
                  <c:v>0.24199288256227758</c:v>
                </c:pt>
                <c:pt idx="18">
                  <c:v>0.22243807673627974</c:v>
                </c:pt>
                <c:pt idx="19">
                  <c:v>0.21687840290381125</c:v>
                </c:pt>
                <c:pt idx="20">
                  <c:v>0.21182266009852216</c:v>
                </c:pt>
                <c:pt idx="21">
                  <c:v>0.22702702702702704</c:v>
                </c:pt>
                <c:pt idx="22">
                  <c:v>0.205761316872428</c:v>
                </c:pt>
                <c:pt idx="23">
                  <c:v>0.20438356164383562</c:v>
                </c:pt>
                <c:pt idx="24">
                  <c:v>0.2119236143455985</c:v>
                </c:pt>
                <c:pt idx="25">
                  <c:v>0.22462722462722462</c:v>
                </c:pt>
                <c:pt idx="26">
                  <c:v>0.20833333333333334</c:v>
                </c:pt>
                <c:pt idx="27">
                  <c:v>0.21023454157782517</c:v>
                </c:pt>
                <c:pt idx="28">
                  <c:v>0.2018131651556957</c:v>
                </c:pt>
                <c:pt idx="29">
                  <c:v>0.2126463700234192</c:v>
                </c:pt>
                <c:pt idx="30">
                  <c:v>0.21334012219959267</c:v>
                </c:pt>
                <c:pt idx="31">
                  <c:v>0.20411568409343714</c:v>
                </c:pt>
                <c:pt idx="32">
                  <c:v>0.20186046511627906</c:v>
                </c:pt>
                <c:pt idx="33">
                  <c:v>0.22472727272727272</c:v>
                </c:pt>
                <c:pt idx="34">
                  <c:v>0.24115942028985507</c:v>
                </c:pt>
                <c:pt idx="35">
                  <c:v>0.22004008016032064</c:v>
                </c:pt>
                <c:pt idx="36">
                  <c:v>0.2326388888888889</c:v>
                </c:pt>
                <c:pt idx="37">
                  <c:v>0.23493234932349324</c:v>
                </c:pt>
                <c:pt idx="38">
                  <c:v>0.24396284829721362</c:v>
                </c:pt>
                <c:pt idx="39">
                  <c:v>0.22293942403177755</c:v>
                </c:pt>
                <c:pt idx="40">
                  <c:v>0.22042218949435444</c:v>
                </c:pt>
                <c:pt idx="41">
                  <c:v>0.22237442922374429</c:v>
                </c:pt>
                <c:pt idx="42">
                  <c:v>0.23313192346424974</c:v>
                </c:pt>
                <c:pt idx="43">
                  <c:v>0.2094278517452321</c:v>
                </c:pt>
                <c:pt idx="44">
                  <c:v>0.21396103896103896</c:v>
                </c:pt>
                <c:pt idx="45">
                  <c:v>0.23797719385225583</c:v>
                </c:pt>
                <c:pt idx="46">
                  <c:v>0.26025236593059936</c:v>
                </c:pt>
                <c:pt idx="47">
                  <c:v>0.26084800396727004</c:v>
                </c:pt>
                <c:pt idx="48">
                  <c:v>0.24280618311533889</c:v>
                </c:pt>
                <c:pt idx="49">
                  <c:v>0.24407252440725244</c:v>
                </c:pt>
                <c:pt idx="50">
                  <c:v>0.24198804997284085</c:v>
                </c:pt>
                <c:pt idx="51">
                  <c:v>0.2421684070206620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4.4767726364072</c:v>
                </c:pt>
              </c:numCache>
            </c:numRef>
          </c:xVal>
          <c:yVal>
            <c:numRef>
              <c:f>Sheet1!$B$163:$B$164</c:f>
              <c:numCache>
                <c:formatCode>General</c:formatCode>
                <c:ptCount val="2"/>
                <c:pt idx="0">
                  <c:v>0.2596292170209378</c:v>
                </c:pt>
                <c:pt idx="1">
                  <c:v>0.25962921702093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4.4767726364072</c:v>
                </c:pt>
                <c:pt idx="1">
                  <c:v>894.4767726364072</c:v>
                </c:pt>
              </c:numCache>
            </c:numRef>
          </c:xVal>
          <c:yVal>
            <c:numRef>
              <c:f>Sheet1!$B$167:$B$168</c:f>
              <c:numCache>
                <c:formatCode>General</c:formatCode>
                <c:ptCount val="2"/>
                <c:pt idx="0">
                  <c:v>0.25962921702093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7.2868087242996</c:v>
                </c:pt>
              </c:numCache>
            </c:numRef>
          </c:xVal>
          <c:yVal>
            <c:numRef>
              <c:f>Sheet1!$B$171:$B$172</c:f>
              <c:numCache>
                <c:formatCode>General</c:formatCode>
                <c:ptCount val="2"/>
                <c:pt idx="0">
                  <c:v>0.24275879112902357</c:v>
                </c:pt>
                <c:pt idx="1">
                  <c:v>0.2427587911290235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7.2868087242996</c:v>
                </c:pt>
                <c:pt idx="1">
                  <c:v>1077.2868087242996</c:v>
                </c:pt>
              </c:numCache>
            </c:numRef>
          </c:xVal>
          <c:yVal>
            <c:numRef>
              <c:f>Sheet1!$B$175:$B$176</c:f>
              <c:numCache>
                <c:formatCode>General</c:formatCode>
                <c:ptCount val="2"/>
                <c:pt idx="0">
                  <c:v>0.242758791129023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63.554612832255</c:v>
                </c:pt>
              </c:numCache>
            </c:numRef>
          </c:xVal>
          <c:yVal>
            <c:numRef>
              <c:f>Sheet1!$B$179:$B$180</c:f>
              <c:numCache>
                <c:formatCode>General</c:formatCode>
                <c:ptCount val="2"/>
                <c:pt idx="0">
                  <c:v>0.2347976603989705</c:v>
                </c:pt>
                <c:pt idx="1">
                  <c:v>0.23479766039897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63.554612832255</c:v>
                </c:pt>
                <c:pt idx="1">
                  <c:v>1163.554612832255</c:v>
                </c:pt>
              </c:numCache>
            </c:numRef>
          </c:xVal>
          <c:yVal>
            <c:numRef>
              <c:f>Sheet1!$B$183:$B$184</c:f>
              <c:numCache>
                <c:formatCode>General</c:formatCode>
                <c:ptCount val="2"/>
                <c:pt idx="0">
                  <c:v>0.23479766039897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3192</c:v>
                </c:pt>
                <c:pt idx="1">
                  <c:v>1227.7893</c:v>
                </c:pt>
                <c:pt idx="2">
                  <c:v>1247.0421</c:v>
                </c:pt>
                <c:pt idx="3">
                  <c:v>1247.7082</c:v>
                </c:pt>
                <c:pt idx="4">
                  <c:v>1280.9116</c:v>
                </c:pt>
                <c:pt idx="5">
                  <c:v>1261.0446</c:v>
                </c:pt>
                <c:pt idx="6">
                  <c:v>1141.4259</c:v>
                </c:pt>
                <c:pt idx="7">
                  <c:v>1174.2199</c:v>
                </c:pt>
                <c:pt idx="8">
                  <c:v>1278.868</c:v>
                </c:pt>
                <c:pt idx="9">
                  <c:v>1203.8017</c:v>
                </c:pt>
                <c:pt idx="10">
                  <c:v>1210.5918</c:v>
                </c:pt>
                <c:pt idx="11">
                  <c:v>1018.3628</c:v>
                </c:pt>
                <c:pt idx="12">
                  <c:v>1113.5149</c:v>
                </c:pt>
                <c:pt idx="13">
                  <c:v>1194.2434</c:v>
                </c:pt>
                <c:pt idx="14">
                  <c:v>1175.8822</c:v>
                </c:pt>
                <c:pt idx="15">
                  <c:v>1196.5153</c:v>
                </c:pt>
                <c:pt idx="16">
                  <c:v>1227.9804</c:v>
                </c:pt>
                <c:pt idx="17">
                  <c:v>1198.125</c:v>
                </c:pt>
                <c:pt idx="18">
                  <c:v>1261.0459</c:v>
                </c:pt>
                <c:pt idx="19">
                  <c:v>1355.0063</c:v>
                </c:pt>
                <c:pt idx="20">
                  <c:v>1327.6814</c:v>
                </c:pt>
                <c:pt idx="21">
                  <c:v>1210.7857</c:v>
                </c:pt>
                <c:pt idx="22">
                  <c:v>1315.0775</c:v>
                </c:pt>
                <c:pt idx="23">
                  <c:v>1330.1769</c:v>
                </c:pt>
                <c:pt idx="24">
                  <c:v>1316.9143</c:v>
                </c:pt>
                <c:pt idx="25">
                  <c:v>1225.9593</c:v>
                </c:pt>
                <c:pt idx="26">
                  <c:v>1267.7165</c:v>
                </c:pt>
                <c:pt idx="27">
                  <c:v>1271.1034</c:v>
                </c:pt>
                <c:pt idx="28">
                  <c:v>1327.6641</c:v>
                </c:pt>
                <c:pt idx="29">
                  <c:v>1319.0551</c:v>
                </c:pt>
                <c:pt idx="30">
                  <c:v>1303.4582</c:v>
                </c:pt>
                <c:pt idx="31">
                  <c:v>1314.9564</c:v>
                </c:pt>
                <c:pt idx="32">
                  <c:v>1300.7373</c:v>
                </c:pt>
                <c:pt idx="33">
                  <c:v>1314.0955</c:v>
                </c:pt>
                <c:pt idx="34">
                  <c:v>1340.8978</c:v>
                </c:pt>
                <c:pt idx="35">
                  <c:v>1370.7359</c:v>
                </c:pt>
                <c:pt idx="36">
                  <c:v>1342.6478</c:v>
                </c:pt>
                <c:pt idx="37">
                  <c:v>1341.2592</c:v>
                </c:pt>
                <c:pt idx="38">
                  <c:v>1353.599</c:v>
                </c:pt>
                <c:pt idx="39">
                  <c:v>1320.6437</c:v>
                </c:pt>
                <c:pt idx="40">
                  <c:v>1366.6347</c:v>
                </c:pt>
                <c:pt idx="41">
                  <c:v>1395.2977</c:v>
                </c:pt>
                <c:pt idx="42">
                  <c:v>1405.8121</c:v>
                </c:pt>
                <c:pt idx="43">
                  <c:v>1402.567</c:v>
                </c:pt>
                <c:pt idx="44">
                  <c:v>1306.7739</c:v>
                </c:pt>
                <c:pt idx="45">
                  <c:v>1246.6458</c:v>
                </c:pt>
                <c:pt idx="46">
                  <c:v>1233.9162</c:v>
                </c:pt>
                <c:pt idx="47">
                  <c:v>1206.9544</c:v>
                </c:pt>
                <c:pt idx="48">
                  <c:v>1210.7424</c:v>
                </c:pt>
                <c:pt idx="49">
                  <c:v>1236.1265</c:v>
                </c:pt>
                <c:pt idx="50">
                  <c:v>1198.7323</c:v>
                </c:pt>
                <c:pt idx="51">
                  <c:v>1136.1633</c:v>
                </c:pt>
                <c:pt idx="52">
                  <c:v>1077.2868087242996</c:v>
                </c:pt>
                <c:pt idx="53">
                  <c:v>894.4767726364072</c:v>
                </c:pt>
                <c:pt idx="54">
                  <c:v>1163.554612832255</c:v>
                </c:pt>
              </c:numCache>
            </c:numRef>
          </c:xVal>
          <c:yVal>
            <c:numRef>
              <c:f>Sheet1!$B$187:$B$241</c:f>
              <c:numCache>
                <c:formatCode>General</c:formatCode>
                <c:ptCount val="55"/>
                <c:pt idx="0">
                  <c:v>0.23103574468829652</c:v>
                </c:pt>
                <c:pt idx="1">
                  <c:v>0.22886983196709643</c:v>
                </c:pt>
                <c:pt idx="2">
                  <c:v>0.22709310820201994</c:v>
                </c:pt>
                <c:pt idx="3">
                  <c:v>0.22703163788601827</c:v>
                </c:pt>
                <c:pt idx="4">
                  <c:v>0.22396749813173109</c:v>
                </c:pt>
                <c:pt idx="5">
                  <c:v>0.2258009026776036</c:v>
                </c:pt>
                <c:pt idx="6">
                  <c:v>0.2368397846603569</c:v>
                </c:pt>
                <c:pt idx="7">
                  <c:v>0.23381342594100607</c:v>
                </c:pt>
                <c:pt idx="8">
                  <c:v>0.22415608954110067</c:v>
                </c:pt>
                <c:pt idx="9">
                  <c:v>0.2310835016144801</c:v>
                </c:pt>
                <c:pt idx="10">
                  <c:v>0.23045688460099395</c:v>
                </c:pt>
                <c:pt idx="11">
                  <c:v>0.24819652936107484</c:v>
                </c:pt>
                <c:pt idx="12">
                  <c:v>0.23941552102114855</c:v>
                </c:pt>
                <c:pt idx="13">
                  <c:v>0.2319655789623843</c:v>
                </c:pt>
                <c:pt idx="14">
                  <c:v>0.23366002238855205</c:v>
                </c:pt>
                <c:pt idx="15">
                  <c:v>0.2317559191351448</c:v>
                </c:pt>
                <c:pt idx="16">
                  <c:v>0.22885219651087674</c:v>
                </c:pt>
                <c:pt idx="17">
                  <c:v>0.23160736971663715</c:v>
                </c:pt>
                <c:pt idx="18">
                  <c:v>0.22580078270851367</c:v>
                </c:pt>
                <c:pt idx="19">
                  <c:v>0.21712974911048682</c:v>
                </c:pt>
                <c:pt idx="20">
                  <c:v>0.2196513978685032</c:v>
                </c:pt>
                <c:pt idx="21">
                  <c:v>0.2304389907498114</c:v>
                </c:pt>
                <c:pt idx="22">
                  <c:v>0.22081453510893823</c:v>
                </c:pt>
                <c:pt idx="23">
                  <c:v>0.21942110335779577</c:v>
                </c:pt>
                <c:pt idx="24">
                  <c:v>0.22064502801325903</c:v>
                </c:pt>
                <c:pt idx="25">
                  <c:v>0.22903871153215138</c:v>
                </c:pt>
                <c:pt idx="26">
                  <c:v>0.22518519362290954</c:v>
                </c:pt>
                <c:pt idx="27">
                  <c:v>0.22487263723007642</c:v>
                </c:pt>
                <c:pt idx="28">
                  <c:v>0.21965299438023844</c:v>
                </c:pt>
                <c:pt idx="29">
                  <c:v>0.22044746660731934</c:v>
                </c:pt>
                <c:pt idx="30">
                  <c:v>0.22188680960633878</c:v>
                </c:pt>
                <c:pt idx="31">
                  <c:v>0.22082571069108475</c:v>
                </c:pt>
                <c:pt idx="32">
                  <c:v>0.2221379049115617</c:v>
                </c:pt>
                <c:pt idx="33">
                  <c:v>0.22090515791379287</c:v>
                </c:pt>
                <c:pt idx="34">
                  <c:v>0.21843173672992822</c:v>
                </c:pt>
                <c:pt idx="35">
                  <c:v>0.21567816003590304</c:v>
                </c:pt>
                <c:pt idx="36">
                  <c:v>0.21827023987809974</c:v>
                </c:pt>
                <c:pt idx="37">
                  <c:v>0.21839838532292777</c:v>
                </c:pt>
                <c:pt idx="38">
                  <c:v>0.21725962026453155</c:v>
                </c:pt>
                <c:pt idx="39">
                  <c:v>0.2203008643794252</c:v>
                </c:pt>
                <c:pt idx="40">
                  <c:v>0.21605663482945678</c:v>
                </c:pt>
                <c:pt idx="41">
                  <c:v>0.21341150096433653</c:v>
                </c:pt>
                <c:pt idx="42">
                  <c:v>0.21244119096498473</c:v>
                </c:pt>
                <c:pt idx="43">
                  <c:v>0.212740661498624</c:v>
                </c:pt>
                <c:pt idx="44">
                  <c:v>0.2215808238282772</c:v>
                </c:pt>
                <c:pt idx="45">
                  <c:v>0.22712968031766545</c:v>
                </c:pt>
                <c:pt idx="46">
                  <c:v>0.22830441764625753</c:v>
                </c:pt>
                <c:pt idx="47">
                  <c:v>0.23079255811461738</c:v>
                </c:pt>
                <c:pt idx="48">
                  <c:v>0.23044298664334517</c:v>
                </c:pt>
                <c:pt idx="49">
                  <c:v>0.22810044250820236</c:v>
                </c:pt>
                <c:pt idx="50">
                  <c:v>0.23155132569485692</c:v>
                </c:pt>
                <c:pt idx="51">
                  <c:v>0.23732543799317557</c:v>
                </c:pt>
                <c:pt idx="52">
                  <c:v>0.24275879112902357</c:v>
                </c:pt>
                <c:pt idx="53">
                  <c:v>0.2596292170209378</c:v>
                </c:pt>
                <c:pt idx="54">
                  <c:v>0.23479766039897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7.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26154388438491"/>
          <c:min val="0.1218382073680212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09816579346</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09816579346</c:v>
                </c:pt>
                <c:pt idx="1">
                  <c:v>709.009816579346</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1767894258023</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1767894258023</c:v>
                </c:pt>
                <c:pt idx="1">
                  <c:v>1121.1767894258023</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763613576269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7636135762698</c:v>
                </c:pt>
                <c:pt idx="1">
                  <c:v>1214.763613576269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21.1767894258023</c:v>
                </c:pt>
                <c:pt idx="53">
                  <c:v>709.009816579346</c:v>
                </c:pt>
                <c:pt idx="54">
                  <c:v>1214.7636135762698</c:v>
                </c:pt>
              </c:numCache>
            </c:numRef>
          </c:xVal>
          <c:yVal>
            <c:numRef>
              <c:f>Sheet1!$B$187:$B$241</c:f>
              <c:numCache>
                <c:formatCode>General</c:formatCode>
                <c:ptCount val="55"/>
                <c:pt idx="0">
                  <c:v>0.21819161081819877</c:v>
                </c:pt>
                <c:pt idx="1">
                  <c:v>0.21787142512683086</c:v>
                </c:pt>
                <c:pt idx="2">
                  <c:v>0.21713723272631633</c:v>
                </c:pt>
                <c:pt idx="3">
                  <c:v>0.21921891901020907</c:v>
                </c:pt>
                <c:pt idx="4">
                  <c:v>0.21654470047684768</c:v>
                </c:pt>
                <c:pt idx="5">
                  <c:v>0.21706383145963995</c:v>
                </c:pt>
                <c:pt idx="6">
                  <c:v>0.22609021018958103</c:v>
                </c:pt>
                <c:pt idx="7">
                  <c:v>0.2224116893842777</c:v>
                </c:pt>
                <c:pt idx="8">
                  <c:v>0.21756426014716831</c:v>
                </c:pt>
                <c:pt idx="9">
                  <c:v>0.2216656145858112</c:v>
                </c:pt>
                <c:pt idx="10">
                  <c:v>0.2197786198945802</c:v>
                </c:pt>
                <c:pt idx="11">
                  <c:v>0.23305461343693795</c:v>
                </c:pt>
                <c:pt idx="12">
                  <c:v>0.22941331748841182</c:v>
                </c:pt>
                <c:pt idx="13">
                  <c:v>0.22281973492403157</c:v>
                </c:pt>
                <c:pt idx="14">
                  <c:v>0.2248428080348335</c:v>
                </c:pt>
                <c:pt idx="15">
                  <c:v>0.2220499552409113</c:v>
                </c:pt>
                <c:pt idx="16">
                  <c:v>0.21849630945139564</c:v>
                </c:pt>
                <c:pt idx="17">
                  <c:v>0.22361988961099205</c:v>
                </c:pt>
                <c:pt idx="18">
                  <c:v>0.22328353786728447</c:v>
                </c:pt>
                <c:pt idx="19">
                  <c:v>0.21280898439804108</c:v>
                </c:pt>
                <c:pt idx="20">
                  <c:v>0.21204694325140216</c:v>
                </c:pt>
                <c:pt idx="21">
                  <c:v>0.22026035627205304</c:v>
                </c:pt>
                <c:pt idx="22">
                  <c:v>0.21666090833177626</c:v>
                </c:pt>
                <c:pt idx="23">
                  <c:v>0.21436567838183246</c:v>
                </c:pt>
                <c:pt idx="24">
                  <c:v>0.21342581065945693</c:v>
                </c:pt>
                <c:pt idx="25">
                  <c:v>0.21796852129295263</c:v>
                </c:pt>
                <c:pt idx="26">
                  <c:v>0.217693179172343</c:v>
                </c:pt>
                <c:pt idx="27">
                  <c:v>0.21811986709611061</c:v>
                </c:pt>
                <c:pt idx="28">
                  <c:v>0.2143903817873225</c:v>
                </c:pt>
                <c:pt idx="29">
                  <c:v>0.21312861091774066</c:v>
                </c:pt>
                <c:pt idx="30">
                  <c:v>0.21457086442848372</c:v>
                </c:pt>
                <c:pt idx="31">
                  <c:v>0.21591941674394838</c:v>
                </c:pt>
                <c:pt idx="32">
                  <c:v>0.21399724416365457</c:v>
                </c:pt>
                <c:pt idx="33">
                  <c:v>0.21416961881562496</c:v>
                </c:pt>
                <c:pt idx="34">
                  <c:v>0.21293687494675434</c:v>
                </c:pt>
                <c:pt idx="35">
                  <c:v>0.20993942523347436</c:v>
                </c:pt>
                <c:pt idx="36">
                  <c:v>0.2065224769464481</c:v>
                </c:pt>
                <c:pt idx="37">
                  <c:v>0.20979939267139167</c:v>
                </c:pt>
                <c:pt idx="38">
                  <c:v>0.2075479278897029</c:v>
                </c:pt>
                <c:pt idx="39">
                  <c:v>0.2130468520316644</c:v>
                </c:pt>
                <c:pt idx="40">
                  <c:v>0.20962101690919507</c:v>
                </c:pt>
                <c:pt idx="41">
                  <c:v>0.20637777130685153</c:v>
                </c:pt>
                <c:pt idx="42">
                  <c:v>0.2073506900689086</c:v>
                </c:pt>
                <c:pt idx="43">
                  <c:v>0.20519711028480228</c:v>
                </c:pt>
                <c:pt idx="44">
                  <c:v>0.2133726494101323</c:v>
                </c:pt>
                <c:pt idx="45">
                  <c:v>0.21850054317974155</c:v>
                </c:pt>
                <c:pt idx="46">
                  <c:v>0.2192346457133808</c:v>
                </c:pt>
                <c:pt idx="47">
                  <c:v>0.22171710830533917</c:v>
                </c:pt>
                <c:pt idx="48">
                  <c:v>0.2216341911350928</c:v>
                </c:pt>
                <c:pt idx="49">
                  <c:v>0.21948233879203333</c:v>
                </c:pt>
                <c:pt idx="50">
                  <c:v>0.22375483970201798</c:v>
                </c:pt>
                <c:pt idx="51">
                  <c:v>0.2279627962251442</c:v>
                </c:pt>
                <c:pt idx="52">
                  <c:v>0.2238631702834038</c:v>
                </c:pt>
                <c:pt idx="53">
                  <c:v>0.2650189013255837</c:v>
                </c:pt>
                <c:pt idx="54">
                  <c:v>0.21451833089166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2.3369</c:v>
                </c:pt>
                <c:pt idx="1">
                  <c:v>834.6108</c:v>
                </c:pt>
                <c:pt idx="2">
                  <c:v>841.1227</c:v>
                </c:pt>
                <c:pt idx="3">
                  <c:v>868.652</c:v>
                </c:pt>
                <c:pt idx="4">
                  <c:v>866.5152</c:v>
                </c:pt>
                <c:pt idx="5">
                  <c:v>852.5404</c:v>
                </c:pt>
                <c:pt idx="6">
                  <c:v>813.2136</c:v>
                </c:pt>
                <c:pt idx="7">
                  <c:v>838.9195</c:v>
                </c:pt>
                <c:pt idx="8">
                  <c:v>820.2345</c:v>
                </c:pt>
                <c:pt idx="9">
                  <c:v>847.9696</c:v>
                </c:pt>
                <c:pt idx="10">
                  <c:v>852.3687</c:v>
                </c:pt>
                <c:pt idx="11">
                  <c:v>904.899</c:v>
                </c:pt>
                <c:pt idx="12">
                  <c:v>867.0623</c:v>
                </c:pt>
                <c:pt idx="13">
                  <c:v>868.2418</c:v>
                </c:pt>
                <c:pt idx="14">
                  <c:v>885.3745</c:v>
                </c:pt>
                <c:pt idx="15">
                  <c:v>921.3583</c:v>
                </c:pt>
                <c:pt idx="16">
                  <c:v>943.2656</c:v>
                </c:pt>
                <c:pt idx="17">
                  <c:v>891.7014</c:v>
                </c:pt>
                <c:pt idx="18">
                  <c:v>966.8612</c:v>
                </c:pt>
                <c:pt idx="19">
                  <c:v>966.1343</c:v>
                </c:pt>
                <c:pt idx="20">
                  <c:v>982.4333</c:v>
                </c:pt>
                <c:pt idx="21">
                  <c:v>1027.8293</c:v>
                </c:pt>
                <c:pt idx="22">
                  <c:v>1004.7105</c:v>
                </c:pt>
                <c:pt idx="23">
                  <c:v>1014.9865</c:v>
                </c:pt>
                <c:pt idx="24">
                  <c:v>1000.9499</c:v>
                </c:pt>
                <c:pt idx="25">
                  <c:v>918.4837</c:v>
                </c:pt>
                <c:pt idx="26">
                  <c:v>859.6173</c:v>
                </c:pt>
                <c:pt idx="27">
                  <c:v>886.8216</c:v>
                </c:pt>
                <c:pt idx="28">
                  <c:v>834.0678</c:v>
                </c:pt>
                <c:pt idx="29">
                  <c:v>881.7974</c:v>
                </c:pt>
                <c:pt idx="30">
                  <c:v>897.1391</c:v>
                </c:pt>
                <c:pt idx="31">
                  <c:v>824.2185</c:v>
                </c:pt>
                <c:pt idx="32">
                  <c:v>898.0664</c:v>
                </c:pt>
                <c:pt idx="33">
                  <c:v>805.3079</c:v>
                </c:pt>
                <c:pt idx="34">
                  <c:v>843.6469</c:v>
                </c:pt>
                <c:pt idx="35">
                  <c:v>858.0426</c:v>
                </c:pt>
                <c:pt idx="36">
                  <c:v>874.9071</c:v>
                </c:pt>
                <c:pt idx="37">
                  <c:v>954.8467</c:v>
                </c:pt>
                <c:pt idx="38">
                  <c:v>999.1507</c:v>
                </c:pt>
                <c:pt idx="39">
                  <c:v>985.0141</c:v>
                </c:pt>
                <c:pt idx="40">
                  <c:v>947.9925</c:v>
                </c:pt>
                <c:pt idx="41">
                  <c:v>986.8207</c:v>
                </c:pt>
                <c:pt idx="42">
                  <c:v>1083.2886</c:v>
                </c:pt>
                <c:pt idx="43">
                  <c:v>1062.8925</c:v>
                </c:pt>
                <c:pt idx="44">
                  <c:v>961.9384</c:v>
                </c:pt>
                <c:pt idx="45">
                  <c:v>924.1519</c:v>
                </c:pt>
                <c:pt idx="46">
                  <c:v>950.7077</c:v>
                </c:pt>
                <c:pt idx="47">
                  <c:v>954.9586</c:v>
                </c:pt>
                <c:pt idx="48">
                  <c:v>982.6329</c:v>
                </c:pt>
                <c:pt idx="49">
                  <c:v>967.4462</c:v>
                </c:pt>
                <c:pt idx="50">
                  <c:v>963.5455</c:v>
                </c:pt>
                <c:pt idx="51">
                  <c:v>1003.4026</c:v>
                </c:pt>
                <c:pt idx="52">
                  <c:v>1027.5023</c:v>
                </c:pt>
                <c:pt idx="53">
                  <c:v>1094.0381</c:v>
                </c:pt>
                <c:pt idx="54">
                  <c:v>1079.5427</c:v>
                </c:pt>
                <c:pt idx="55">
                  <c:v>1067.0572</c:v>
                </c:pt>
                <c:pt idx="56">
                  <c:v>1064.3775</c:v>
                </c:pt>
                <c:pt idx="57">
                  <c:v>1012.4901</c:v>
                </c:pt>
                <c:pt idx="58">
                  <c:v>1067.715</c:v>
                </c:pt>
                <c:pt idx="59">
                  <c:v>1024.4889</c:v>
                </c:pt>
                <c:pt idx="60">
                  <c:v>1024.2655</c:v>
                </c:pt>
                <c:pt idx="61">
                  <c:v>1104.8492</c:v>
                </c:pt>
                <c:pt idx="62">
                  <c:v>1080.4996</c:v>
                </c:pt>
                <c:pt idx="63">
                  <c:v>1085.7872</c:v>
                </c:pt>
                <c:pt idx="64">
                  <c:v>1097.0759</c:v>
                </c:pt>
                <c:pt idx="65">
                  <c:v>1040.3841</c:v>
                </c:pt>
                <c:pt idx="66">
                  <c:v>1084.9746</c:v>
                </c:pt>
                <c:pt idx="67">
                  <c:v>1120.9221</c:v>
                </c:pt>
                <c:pt idx="68">
                  <c:v>1103.8176</c:v>
                </c:pt>
                <c:pt idx="69">
                  <c:v>1130.0162</c:v>
                </c:pt>
                <c:pt idx="70">
                  <c:v>1098.8228</c:v>
                </c:pt>
                <c:pt idx="71">
                  <c:v>1162.6307</c:v>
                </c:pt>
                <c:pt idx="72">
                  <c:v>1196.2037</c:v>
                </c:pt>
                <c:pt idx="73">
                  <c:v>1229.2377</c:v>
                </c:pt>
                <c:pt idx="74">
                  <c:v>1213.826</c:v>
                </c:pt>
                <c:pt idx="75">
                  <c:v>1174.7786</c:v>
                </c:pt>
                <c:pt idx="76">
                  <c:v>1083.7977</c:v>
                </c:pt>
                <c:pt idx="77">
                  <c:v>962.4567</c:v>
                </c:pt>
                <c:pt idx="78">
                  <c:v>1186.194</c:v>
                </c:pt>
                <c:pt idx="79">
                  <c:v>1188.9959</c:v>
                </c:pt>
                <c:pt idx="80">
                  <c:v>1210.5</c:v>
                </c:pt>
                <c:pt idx="81">
                  <c:v>1104.3093</c:v>
                </c:pt>
                <c:pt idx="82">
                  <c:v>1091.2615</c:v>
                </c:pt>
                <c:pt idx="83">
                  <c:v>1061.0192</c:v>
                </c:pt>
                <c:pt idx="84">
                  <c:v>1101.935</c:v>
                </c:pt>
                <c:pt idx="85">
                  <c:v>1140.8704</c:v>
                </c:pt>
                <c:pt idx="86">
                  <c:v>1124.0941</c:v>
                </c:pt>
                <c:pt idx="87">
                  <c:v>1106.4128</c:v>
                </c:pt>
                <c:pt idx="88">
                  <c:v>1186.0148</c:v>
                </c:pt>
                <c:pt idx="89">
                  <c:v>1175.2598</c:v>
                </c:pt>
                <c:pt idx="90">
                  <c:v>1224.0216</c:v>
                </c:pt>
                <c:pt idx="91">
                  <c:v>1190.6591</c:v>
                </c:pt>
                <c:pt idx="92">
                  <c:v>1120.6117</c:v>
                </c:pt>
                <c:pt idx="93">
                  <c:v>1182.4859</c:v>
                </c:pt>
                <c:pt idx="94">
                  <c:v>1054.2335</c:v>
                </c:pt>
                <c:pt idx="95">
                  <c:v>991.3852</c:v>
                </c:pt>
                <c:pt idx="96">
                  <c:v>966.0945</c:v>
                </c:pt>
                <c:pt idx="97">
                  <c:v>1016.8082</c:v>
                </c:pt>
                <c:pt idx="98">
                  <c:v>1045.4552</c:v>
                </c:pt>
                <c:pt idx="99">
                  <c:v>1064.7606</c:v>
                </c:pt>
                <c:pt idx="100">
                  <c:v>1057.1149</c:v>
                </c:pt>
                <c:pt idx="101">
                  <c:v>1066.9292</c:v>
                </c:pt>
                <c:pt idx="102">
                  <c:v>1075.7137</c:v>
                </c:pt>
                <c:pt idx="103">
                  <c:v>1093.7004</c:v>
                </c:pt>
                <c:pt idx="104">
                  <c:v>1128.8336</c:v>
                </c:pt>
              </c:numCache>
            </c:numRef>
          </c:xVal>
          <c:yVal>
            <c:numRef>
              <c:f>Sheet1!$B$2:$B$106</c:f>
              <c:numCache>
                <c:formatCode>General</c:formatCode>
                <c:ptCount val="105"/>
                <c:pt idx="0">
                  <c:v>0.23141242937853107</c:v>
                </c:pt>
                <c:pt idx="1">
                  <c:v>0.23020874359984245</c:v>
                </c:pt>
                <c:pt idx="2">
                  <c:v>0.24469253294289897</c:v>
                </c:pt>
                <c:pt idx="3">
                  <c:v>0.24938875305623473</c:v>
                </c:pt>
                <c:pt idx="4">
                  <c:v>0.24951219512195122</c:v>
                </c:pt>
                <c:pt idx="5">
                  <c:v>0.25216637781629114</c:v>
                </c:pt>
                <c:pt idx="6">
                  <c:v>0.28717948717948716</c:v>
                </c:pt>
                <c:pt idx="7">
                  <c:v>0.26748878923766817</c:v>
                </c:pt>
                <c:pt idx="8">
                  <c:v>0.2665582151986986</c:v>
                </c:pt>
                <c:pt idx="9">
                  <c:v>0.23812249570692615</c:v>
                </c:pt>
                <c:pt idx="10">
                  <c:v>0.22774182263424872</c:v>
                </c:pt>
                <c:pt idx="11">
                  <c:v>0.22689228529839883</c:v>
                </c:pt>
                <c:pt idx="12">
                  <c:v>0.21567614125753662</c:v>
                </c:pt>
                <c:pt idx="13">
                  <c:v>0.21331058020477817</c:v>
                </c:pt>
                <c:pt idx="14">
                  <c:v>0.18866396761133603</c:v>
                </c:pt>
                <c:pt idx="15">
                  <c:v>0.18433179723502305</c:v>
                </c:pt>
                <c:pt idx="16">
                  <c:v>0.1882716049382716</c:v>
                </c:pt>
                <c:pt idx="17">
                  <c:v>0.17803427771948233</c:v>
                </c:pt>
                <c:pt idx="18">
                  <c:v>0.15098374679213003</c:v>
                </c:pt>
                <c:pt idx="19">
                  <c:v>0.16349438750610054</c:v>
                </c:pt>
                <c:pt idx="20">
                  <c:v>0.1650943396226415</c:v>
                </c:pt>
                <c:pt idx="21">
                  <c:v>0.16135265700483092</c:v>
                </c:pt>
                <c:pt idx="22">
                  <c:v>0.20331728196896737</c:v>
                </c:pt>
                <c:pt idx="23">
                  <c:v>0.1956521739130435</c:v>
                </c:pt>
                <c:pt idx="24">
                  <c:v>0.20112044817927172</c:v>
                </c:pt>
                <c:pt idx="25">
                  <c:v>0.22847457627118645</c:v>
                </c:pt>
                <c:pt idx="26">
                  <c:v>0.24375821287779237</c:v>
                </c:pt>
                <c:pt idx="27">
                  <c:v>0.24875</c:v>
                </c:pt>
                <c:pt idx="28">
                  <c:v>0.2421340629274966</c:v>
                </c:pt>
                <c:pt idx="29">
                  <c:v>0.213452299245024</c:v>
                </c:pt>
                <c:pt idx="30">
                  <c:v>0.2119815668202765</c:v>
                </c:pt>
                <c:pt idx="31">
                  <c:v>0.248559670781893</c:v>
                </c:pt>
                <c:pt idx="32">
                  <c:v>0.23083131557707828</c:v>
                </c:pt>
                <c:pt idx="33">
                  <c:v>0.21878862793572312</c:v>
                </c:pt>
                <c:pt idx="34">
                  <c:v>0.20626276378488767</c:v>
                </c:pt>
                <c:pt idx="35">
                  <c:v>0.22306717363751585</c:v>
                </c:pt>
                <c:pt idx="36">
                  <c:v>0.20675944333996024</c:v>
                </c:pt>
                <c:pt idx="37">
                  <c:v>0.18614130434782608</c:v>
                </c:pt>
                <c:pt idx="38">
                  <c:v>0.18341200269723534</c:v>
                </c:pt>
                <c:pt idx="39">
                  <c:v>0.16640625</c:v>
                </c:pt>
                <c:pt idx="40">
                  <c:v>0.16932907348242812</c:v>
                </c:pt>
                <c:pt idx="41">
                  <c:v>0.16224951519069167</c:v>
                </c:pt>
                <c:pt idx="42">
                  <c:v>0.15375</c:v>
                </c:pt>
                <c:pt idx="43">
                  <c:v>0.1634446397188049</c:v>
                </c:pt>
                <c:pt idx="44">
                  <c:v>0.1818634778276034</c:v>
                </c:pt>
                <c:pt idx="45">
                  <c:v>0.19259751773049646</c:v>
                </c:pt>
                <c:pt idx="46">
                  <c:v>0.1890495867768595</c:v>
                </c:pt>
                <c:pt idx="47">
                  <c:v>0.18433818433818433</c:v>
                </c:pt>
                <c:pt idx="48">
                  <c:v>0.1922816519972918</c:v>
                </c:pt>
                <c:pt idx="49">
                  <c:v>0.2071188717259906</c:v>
                </c:pt>
                <c:pt idx="50">
                  <c:v>0.19093778178539225</c:v>
                </c:pt>
                <c:pt idx="51">
                  <c:v>0.18667020711630378</c:v>
                </c:pt>
                <c:pt idx="52">
                  <c:v>0.18287132809267687</c:v>
                </c:pt>
                <c:pt idx="53">
                  <c:v>0.16892980437284236</c:v>
                </c:pt>
                <c:pt idx="54">
                  <c:v>0.18629715165511931</c:v>
                </c:pt>
                <c:pt idx="55">
                  <c:v>0.19595517901065865</c:v>
                </c:pt>
                <c:pt idx="56">
                  <c:v>0.19444444444444445</c:v>
                </c:pt>
                <c:pt idx="57">
                  <c:v>0.19769935659972704</c:v>
                </c:pt>
                <c:pt idx="58">
                  <c:v>0.18641114982578397</c:v>
                </c:pt>
                <c:pt idx="59">
                  <c:v>0.20507253528076583</c:v>
                </c:pt>
                <c:pt idx="60">
                  <c:v>0.23568605307735743</c:v>
                </c:pt>
                <c:pt idx="61">
                  <c:v>0.21632267212856468</c:v>
                </c:pt>
                <c:pt idx="62">
                  <c:v>0.22291913883709102</c:v>
                </c:pt>
                <c:pt idx="63">
                  <c:v>0.24849020474296657</c:v>
                </c:pt>
                <c:pt idx="64">
                  <c:v>0.22680883472962682</c:v>
                </c:pt>
                <c:pt idx="65">
                  <c:v>0.22332835573253693</c:v>
                </c:pt>
                <c:pt idx="66">
                  <c:v>0.20294744318181818</c:v>
                </c:pt>
                <c:pt idx="67">
                  <c:v>0.1918819188191882</c:v>
                </c:pt>
                <c:pt idx="68">
                  <c:v>0.19428444838280903</c:v>
                </c:pt>
                <c:pt idx="69">
                  <c:v>0.20064935064935066</c:v>
                </c:pt>
                <c:pt idx="70">
                  <c:v>0.18772893772893773</c:v>
                </c:pt>
                <c:pt idx="71">
                  <c:v>0.1883202099737533</c:v>
                </c:pt>
                <c:pt idx="72">
                  <c:v>0.18771929824561404</c:v>
                </c:pt>
                <c:pt idx="73">
                  <c:v>0.18907400232468036</c:v>
                </c:pt>
                <c:pt idx="74">
                  <c:v>0.1852537977028529</c:v>
                </c:pt>
                <c:pt idx="75">
                  <c:v>0.19722650231124808</c:v>
                </c:pt>
                <c:pt idx="76">
                  <c:v>0.2099514563106796</c:v>
                </c:pt>
                <c:pt idx="77">
                  <c:v>0.23292273236282196</c:v>
                </c:pt>
                <c:pt idx="78">
                  <c:v>0.18120351588911426</c:v>
                </c:pt>
                <c:pt idx="79">
                  <c:v>0.16643741403026135</c:v>
                </c:pt>
                <c:pt idx="80">
                  <c:v>0.16296296296296298</c:v>
                </c:pt>
                <c:pt idx="81">
                  <c:v>0.17077464788732394</c:v>
                </c:pt>
                <c:pt idx="82">
                  <c:v>0.15924032140248356</c:v>
                </c:pt>
                <c:pt idx="83">
                  <c:v>0.18165938864628822</c:v>
                </c:pt>
                <c:pt idx="84">
                  <c:v>0.17809439002671415</c:v>
                </c:pt>
                <c:pt idx="85">
                  <c:v>0.15801024140453548</c:v>
                </c:pt>
                <c:pt idx="86">
                  <c:v>0.15625</c:v>
                </c:pt>
                <c:pt idx="87">
                  <c:v>0.1923821820529374</c:v>
                </c:pt>
                <c:pt idx="88">
                  <c:v>0.16098334655035687</c:v>
                </c:pt>
                <c:pt idx="89">
                  <c:v>0.16464891041162227</c:v>
                </c:pt>
                <c:pt idx="90">
                  <c:v>0.16488413547237077</c:v>
                </c:pt>
                <c:pt idx="91">
                  <c:v>0.13717848791894</c:v>
                </c:pt>
                <c:pt idx="92">
                  <c:v>0.15772357723577235</c:v>
                </c:pt>
                <c:pt idx="93">
                  <c:v>0.1601804850535815</c:v>
                </c:pt>
                <c:pt idx="94">
                  <c:v>0.1807324840764331</c:v>
                </c:pt>
                <c:pt idx="95">
                  <c:v>0.19528772088808338</c:v>
                </c:pt>
                <c:pt idx="96">
                  <c:v>0.19106273274133487</c:v>
                </c:pt>
                <c:pt idx="97">
                  <c:v>0.18037436188315373</c:v>
                </c:pt>
                <c:pt idx="98">
                  <c:v>0.17879161528976573</c:v>
                </c:pt>
                <c:pt idx="99">
                  <c:v>0.17836617405582922</c:v>
                </c:pt>
                <c:pt idx="100">
                  <c:v>0.180733374766936</c:v>
                </c:pt>
                <c:pt idx="101">
                  <c:v>0.17605331040412725</c:v>
                </c:pt>
                <c:pt idx="102">
                  <c:v>0.18796577422025945</c:v>
                </c:pt>
                <c:pt idx="103">
                  <c:v>0.1666270501545044</c:v>
                </c:pt>
                <c:pt idx="104">
                  <c:v>0.172388425698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6.6471</c:v>
                </c:pt>
                <c:pt idx="1">
                  <c:v>1164.9909</c:v>
                </c:pt>
                <c:pt idx="2">
                  <c:v>1146.3336</c:v>
                </c:pt>
                <c:pt idx="3">
                  <c:v>1136.1908</c:v>
                </c:pt>
                <c:pt idx="4">
                  <c:v>1135.9695</c:v>
                </c:pt>
                <c:pt idx="5">
                  <c:v>1144.1788</c:v>
                </c:pt>
                <c:pt idx="6">
                  <c:v>1093.1584</c:v>
                </c:pt>
                <c:pt idx="7">
                  <c:v>1161.3752</c:v>
                </c:pt>
                <c:pt idx="8">
                  <c:v>1203.824</c:v>
                </c:pt>
                <c:pt idx="9">
                  <c:v>1189.8275</c:v>
                </c:pt>
                <c:pt idx="10">
                  <c:v>1197.6321</c:v>
                </c:pt>
                <c:pt idx="11">
                  <c:v>1049.3365</c:v>
                </c:pt>
                <c:pt idx="12">
                  <c:v>1039.0052</c:v>
                </c:pt>
                <c:pt idx="13">
                  <c:v>1146.0813</c:v>
                </c:pt>
                <c:pt idx="14">
                  <c:v>1147.1327</c:v>
                </c:pt>
                <c:pt idx="15">
                  <c:v>1165.812</c:v>
                </c:pt>
                <c:pt idx="16">
                  <c:v>1228.832</c:v>
                </c:pt>
                <c:pt idx="17">
                  <c:v>1187.5693</c:v>
                </c:pt>
                <c:pt idx="18">
                  <c:v>1223.9217</c:v>
                </c:pt>
                <c:pt idx="19">
                  <c:v>1214.38</c:v>
                </c:pt>
                <c:pt idx="20">
                  <c:v>1182.2695</c:v>
                </c:pt>
                <c:pt idx="21">
                  <c:v>1122.2108</c:v>
                </c:pt>
                <c:pt idx="22">
                  <c:v>1074.0953</c:v>
                </c:pt>
                <c:pt idx="23">
                  <c:v>1119.8725</c:v>
                </c:pt>
                <c:pt idx="24">
                  <c:v>1195.1781</c:v>
                </c:pt>
                <c:pt idx="25">
                  <c:v>1145.8423</c:v>
                </c:pt>
                <c:pt idx="26">
                  <c:v>1190.3405</c:v>
                </c:pt>
                <c:pt idx="27">
                  <c:v>1170.8613</c:v>
                </c:pt>
                <c:pt idx="28">
                  <c:v>1186.5756</c:v>
                </c:pt>
                <c:pt idx="29">
                  <c:v>1205.9217</c:v>
                </c:pt>
                <c:pt idx="30">
                  <c:v>1166.7474</c:v>
                </c:pt>
                <c:pt idx="31">
                  <c:v>1116.4551</c:v>
                </c:pt>
                <c:pt idx="32">
                  <c:v>1225.2798</c:v>
                </c:pt>
                <c:pt idx="33">
                  <c:v>1216.9624</c:v>
                </c:pt>
                <c:pt idx="34">
                  <c:v>1227.5745</c:v>
                </c:pt>
                <c:pt idx="35">
                  <c:v>1228.2837</c:v>
                </c:pt>
                <c:pt idx="36">
                  <c:v>1290.6579</c:v>
                </c:pt>
                <c:pt idx="37">
                  <c:v>1182.9517</c:v>
                </c:pt>
                <c:pt idx="38">
                  <c:v>1175.0567</c:v>
                </c:pt>
                <c:pt idx="39">
                  <c:v>1050.1371</c:v>
                </c:pt>
                <c:pt idx="40">
                  <c:v>1187.4423</c:v>
                </c:pt>
                <c:pt idx="41">
                  <c:v>1224.8602</c:v>
                </c:pt>
                <c:pt idx="42">
                  <c:v>1175.3545</c:v>
                </c:pt>
                <c:pt idx="43">
                  <c:v>1204.4195</c:v>
                </c:pt>
                <c:pt idx="44">
                  <c:v>1127.3408</c:v>
                </c:pt>
                <c:pt idx="45">
                  <c:v>1127.0412</c:v>
                </c:pt>
                <c:pt idx="46">
                  <c:v>1170.9119</c:v>
                </c:pt>
                <c:pt idx="47">
                  <c:v>1122.1046</c:v>
                </c:pt>
                <c:pt idx="48">
                  <c:v>1199.0102</c:v>
                </c:pt>
                <c:pt idx="49">
                  <c:v>1188.333</c:v>
                </c:pt>
                <c:pt idx="50">
                  <c:v>1073.1523</c:v>
                </c:pt>
                <c:pt idx="51">
                  <c:v>1038.7441</c:v>
                </c:pt>
              </c:numCache>
            </c:numRef>
          </c:xVal>
          <c:yVal>
            <c:numRef>
              <c:f>Sheet1!$B$109:$B$160</c:f>
              <c:numCache>
                <c:formatCode>General</c:formatCode>
                <c:ptCount val="52"/>
                <c:pt idx="0">
                  <c:v>0.17980944658422868</c:v>
                </c:pt>
                <c:pt idx="1">
                  <c:v>0.18357991248176703</c:v>
                </c:pt>
                <c:pt idx="2">
                  <c:v>0.20700037636432067</c:v>
                </c:pt>
                <c:pt idx="3">
                  <c:v>0.21331264011036385</c:v>
                </c:pt>
                <c:pt idx="4">
                  <c:v>0.2121096725057121</c:v>
                </c:pt>
                <c:pt idx="5">
                  <c:v>0.2105997210599721</c:v>
                </c:pt>
                <c:pt idx="6">
                  <c:v>0.2025661587810746</c:v>
                </c:pt>
                <c:pt idx="7">
                  <c:v>0.19510204081632654</c:v>
                </c:pt>
                <c:pt idx="8">
                  <c:v>0.175146771037182</c:v>
                </c:pt>
                <c:pt idx="9">
                  <c:v>0.1846941149104443</c:v>
                </c:pt>
                <c:pt idx="10">
                  <c:v>0.195274831243973</c:v>
                </c:pt>
                <c:pt idx="11">
                  <c:v>0.20692701890793427</c:v>
                </c:pt>
                <c:pt idx="12">
                  <c:v>0.21109637488947833</c:v>
                </c:pt>
                <c:pt idx="13">
                  <c:v>0.20756756756756756</c:v>
                </c:pt>
                <c:pt idx="14">
                  <c:v>0.20819195346582647</c:v>
                </c:pt>
                <c:pt idx="15">
                  <c:v>0.20248480042294476</c:v>
                </c:pt>
                <c:pt idx="16">
                  <c:v>0.1946031746031746</c:v>
                </c:pt>
                <c:pt idx="17">
                  <c:v>0.1970479704797048</c:v>
                </c:pt>
                <c:pt idx="18">
                  <c:v>0.20963472736897829</c:v>
                </c:pt>
                <c:pt idx="19">
                  <c:v>0.20496592015579357</c:v>
                </c:pt>
                <c:pt idx="20">
                  <c:v>0.1948944526264114</c:v>
                </c:pt>
                <c:pt idx="21">
                  <c:v>0.2136015325670498</c:v>
                </c:pt>
                <c:pt idx="22">
                  <c:v>0.2103544776119403</c:v>
                </c:pt>
                <c:pt idx="23">
                  <c:v>0.1947049089906233</c:v>
                </c:pt>
                <c:pt idx="24">
                  <c:v>0.17257683215130024</c:v>
                </c:pt>
                <c:pt idx="25">
                  <c:v>0.18428005284015853</c:v>
                </c:pt>
                <c:pt idx="26">
                  <c:v>0.16706586826347306</c:v>
                </c:pt>
                <c:pt idx="27">
                  <c:v>0.17352754908169726</c:v>
                </c:pt>
                <c:pt idx="28">
                  <c:v>0.1552119129438717</c:v>
                </c:pt>
                <c:pt idx="29">
                  <c:v>0.14622641509433962</c:v>
                </c:pt>
                <c:pt idx="30">
                  <c:v>0.15914684167350288</c:v>
                </c:pt>
                <c:pt idx="31">
                  <c:v>0.17234262125902994</c:v>
                </c:pt>
                <c:pt idx="32">
                  <c:v>0.1579378068739771</c:v>
                </c:pt>
                <c:pt idx="33">
                  <c:v>0.15345821325648415</c:v>
                </c:pt>
                <c:pt idx="34">
                  <c:v>0.17226634086744044</c:v>
                </c:pt>
                <c:pt idx="35">
                  <c:v>0.1580547112462006</c:v>
                </c:pt>
                <c:pt idx="36">
                  <c:v>0.1368547418967587</c:v>
                </c:pt>
                <c:pt idx="37">
                  <c:v>0.14979338842975207</c:v>
                </c:pt>
                <c:pt idx="38">
                  <c:v>0.15932203389830507</c:v>
                </c:pt>
                <c:pt idx="39">
                  <c:v>0.1541471048513302</c:v>
                </c:pt>
                <c:pt idx="40">
                  <c:v>0.1434878587196468</c:v>
                </c:pt>
                <c:pt idx="41">
                  <c:v>0.14786967418546365</c:v>
                </c:pt>
                <c:pt idx="42">
                  <c:v>0.16152716593245228</c:v>
                </c:pt>
                <c:pt idx="43">
                  <c:v>0.14766606822262118</c:v>
                </c:pt>
                <c:pt idx="44">
                  <c:v>0.14955357142857142</c:v>
                </c:pt>
                <c:pt idx="45">
                  <c:v>0.1631720430107527</c:v>
                </c:pt>
                <c:pt idx="46">
                  <c:v>0.17286874154262516</c:v>
                </c:pt>
                <c:pt idx="47">
                  <c:v>0.17989417989417988</c:v>
                </c:pt>
                <c:pt idx="48">
                  <c:v>0.1851232762223151</c:v>
                </c:pt>
                <c:pt idx="49">
                  <c:v>0.17680422452571876</c:v>
                </c:pt>
                <c:pt idx="50">
                  <c:v>0.19098864711447494</c:v>
                </c:pt>
                <c:pt idx="51">
                  <c:v>0.192325056433408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7.372430685546</c:v>
                </c:pt>
              </c:numCache>
            </c:numRef>
          </c:xVal>
          <c:yVal>
            <c:numRef>
              <c:f>Sheet1!$B$163:$B$164</c:f>
              <c:numCache>
                <c:formatCode>General</c:formatCode>
                <c:ptCount val="2"/>
                <c:pt idx="0">
                  <c:v>0.2531786137257337</c:v>
                </c:pt>
                <c:pt idx="1">
                  <c:v>0.25317861372573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7.372430685546</c:v>
                </c:pt>
                <c:pt idx="1">
                  <c:v>767.372430685546</c:v>
                </c:pt>
              </c:numCache>
            </c:numRef>
          </c:xVal>
          <c:yVal>
            <c:numRef>
              <c:f>Sheet1!$B$167:$B$168</c:f>
              <c:numCache>
                <c:formatCode>General</c:formatCode>
                <c:ptCount val="2"/>
                <c:pt idx="0">
                  <c:v>0.25317861372573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4.5199648987582</c:v>
                </c:pt>
              </c:numCache>
            </c:numRef>
          </c:xVal>
          <c:yVal>
            <c:numRef>
              <c:f>Sheet1!$B$171:$B$172</c:f>
              <c:numCache>
                <c:formatCode>General</c:formatCode>
                <c:ptCount val="2"/>
                <c:pt idx="0">
                  <c:v>0.20238341840071394</c:v>
                </c:pt>
                <c:pt idx="1">
                  <c:v>0.2023834184007139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4.5199648987582</c:v>
                </c:pt>
                <c:pt idx="1">
                  <c:v>1044.5199648987582</c:v>
                </c:pt>
              </c:numCache>
            </c:numRef>
          </c:xVal>
          <c:yVal>
            <c:numRef>
              <c:f>Sheet1!$B$175:$B$176</c:f>
              <c:numCache>
                <c:formatCode>General</c:formatCode>
                <c:ptCount val="2"/>
                <c:pt idx="0">
                  <c:v>0.202383418400713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9.9168929992002</c:v>
                </c:pt>
              </c:numCache>
            </c:numRef>
          </c:xVal>
          <c:yVal>
            <c:numRef>
              <c:f>Sheet1!$B$179:$B$180</c:f>
              <c:numCache>
                <c:formatCode>General</c:formatCode>
                <c:ptCount val="2"/>
                <c:pt idx="0">
                  <c:v>0.1665713547756585</c:v>
                </c:pt>
                <c:pt idx="1">
                  <c:v>0.166571354775658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9.9168929992002</c:v>
                </c:pt>
                <c:pt idx="1">
                  <c:v>1239.9168929992002</c:v>
                </c:pt>
              </c:numCache>
            </c:numRef>
          </c:xVal>
          <c:yVal>
            <c:numRef>
              <c:f>Sheet1!$B$183:$B$184</c:f>
              <c:numCache>
                <c:formatCode>General</c:formatCode>
                <c:ptCount val="2"/>
                <c:pt idx="0">
                  <c:v>0.16657135477565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6.6471</c:v>
                </c:pt>
                <c:pt idx="1">
                  <c:v>1164.9909</c:v>
                </c:pt>
                <c:pt idx="2">
                  <c:v>1146.3336</c:v>
                </c:pt>
                <c:pt idx="3">
                  <c:v>1136.1908</c:v>
                </c:pt>
                <c:pt idx="4">
                  <c:v>1135.9695</c:v>
                </c:pt>
                <c:pt idx="5">
                  <c:v>1144.1788</c:v>
                </c:pt>
                <c:pt idx="6">
                  <c:v>1093.1584</c:v>
                </c:pt>
                <c:pt idx="7">
                  <c:v>1161.3752</c:v>
                </c:pt>
                <c:pt idx="8">
                  <c:v>1203.824</c:v>
                </c:pt>
                <c:pt idx="9">
                  <c:v>1189.8275</c:v>
                </c:pt>
                <c:pt idx="10">
                  <c:v>1197.6321</c:v>
                </c:pt>
                <c:pt idx="11">
                  <c:v>1049.3365</c:v>
                </c:pt>
                <c:pt idx="12">
                  <c:v>1039.0052</c:v>
                </c:pt>
                <c:pt idx="13">
                  <c:v>1146.0813</c:v>
                </c:pt>
                <c:pt idx="14">
                  <c:v>1147.1327</c:v>
                </c:pt>
                <c:pt idx="15">
                  <c:v>1165.812</c:v>
                </c:pt>
                <c:pt idx="16">
                  <c:v>1228.832</c:v>
                </c:pt>
                <c:pt idx="17">
                  <c:v>1187.5693</c:v>
                </c:pt>
                <c:pt idx="18">
                  <c:v>1223.9217</c:v>
                </c:pt>
                <c:pt idx="19">
                  <c:v>1214.38</c:v>
                </c:pt>
                <c:pt idx="20">
                  <c:v>1182.2695</c:v>
                </c:pt>
                <c:pt idx="21">
                  <c:v>1122.2108</c:v>
                </c:pt>
                <c:pt idx="22">
                  <c:v>1074.0953</c:v>
                </c:pt>
                <c:pt idx="23">
                  <c:v>1119.8725</c:v>
                </c:pt>
                <c:pt idx="24">
                  <c:v>1195.1781</c:v>
                </c:pt>
                <c:pt idx="25">
                  <c:v>1145.8423</c:v>
                </c:pt>
                <c:pt idx="26">
                  <c:v>1190.3405</c:v>
                </c:pt>
                <c:pt idx="27">
                  <c:v>1170.8613</c:v>
                </c:pt>
                <c:pt idx="28">
                  <c:v>1186.5756</c:v>
                </c:pt>
                <c:pt idx="29">
                  <c:v>1205.9217</c:v>
                </c:pt>
                <c:pt idx="30">
                  <c:v>1166.7474</c:v>
                </c:pt>
                <c:pt idx="31">
                  <c:v>1116.4551</c:v>
                </c:pt>
                <c:pt idx="32">
                  <c:v>1225.2798</c:v>
                </c:pt>
                <c:pt idx="33">
                  <c:v>1216.9624</c:v>
                </c:pt>
                <c:pt idx="34">
                  <c:v>1227.5745</c:v>
                </c:pt>
                <c:pt idx="35">
                  <c:v>1228.2837</c:v>
                </c:pt>
                <c:pt idx="36">
                  <c:v>1290.6579</c:v>
                </c:pt>
                <c:pt idx="37">
                  <c:v>1182.9517</c:v>
                </c:pt>
                <c:pt idx="38">
                  <c:v>1175.0567</c:v>
                </c:pt>
                <c:pt idx="39">
                  <c:v>1050.1371</c:v>
                </c:pt>
                <c:pt idx="40">
                  <c:v>1187.4423</c:v>
                </c:pt>
                <c:pt idx="41">
                  <c:v>1224.8602</c:v>
                </c:pt>
                <c:pt idx="42">
                  <c:v>1175.3545</c:v>
                </c:pt>
                <c:pt idx="43">
                  <c:v>1204.4195</c:v>
                </c:pt>
                <c:pt idx="44">
                  <c:v>1127.3408</c:v>
                </c:pt>
                <c:pt idx="45">
                  <c:v>1127.0412</c:v>
                </c:pt>
                <c:pt idx="46">
                  <c:v>1170.9119</c:v>
                </c:pt>
                <c:pt idx="47">
                  <c:v>1122.1046</c:v>
                </c:pt>
                <c:pt idx="48">
                  <c:v>1199.0102</c:v>
                </c:pt>
                <c:pt idx="49">
                  <c:v>1188.333</c:v>
                </c:pt>
                <c:pt idx="50">
                  <c:v>1073.1523</c:v>
                </c:pt>
                <c:pt idx="51">
                  <c:v>1038.7441</c:v>
                </c:pt>
                <c:pt idx="52">
                  <c:v>1044.5199648987582</c:v>
                </c:pt>
                <c:pt idx="53">
                  <c:v>767.372430685546</c:v>
                </c:pt>
                <c:pt idx="54">
                  <c:v>1239.9168929992002</c:v>
                </c:pt>
              </c:numCache>
            </c:numRef>
          </c:xVal>
          <c:yVal>
            <c:numRef>
              <c:f>Sheet1!$B$187:$B$241</c:f>
              <c:numCache>
                <c:formatCode>General</c:formatCode>
                <c:ptCount val="55"/>
                <c:pt idx="0">
                  <c:v>0.1800001354335263</c:v>
                </c:pt>
                <c:pt idx="1">
                  <c:v>0.18030368135081587</c:v>
                </c:pt>
                <c:pt idx="2">
                  <c:v>0.18372316404774083</c:v>
                </c:pt>
                <c:pt idx="3">
                  <c:v>0.1855821216192206</c:v>
                </c:pt>
                <c:pt idx="4">
                  <c:v>0.18562268116003466</c:v>
                </c:pt>
                <c:pt idx="5">
                  <c:v>0.18411809264487622</c:v>
                </c:pt>
                <c:pt idx="6">
                  <c:v>0.19346903704680943</c:v>
                </c:pt>
                <c:pt idx="7">
                  <c:v>0.1809663615664565</c:v>
                </c:pt>
                <c:pt idx="8">
                  <c:v>0.17318640749457967</c:v>
                </c:pt>
                <c:pt idx="9">
                  <c:v>0.17575166557412547</c:v>
                </c:pt>
                <c:pt idx="10">
                  <c:v>0.17432124988394412</c:v>
                </c:pt>
                <c:pt idx="11">
                  <c:v>0.2015006508814144</c:v>
                </c:pt>
                <c:pt idx="12">
                  <c:v>0.20339415645760925</c:v>
                </c:pt>
                <c:pt idx="13">
                  <c:v>0.1837694052232825</c:v>
                </c:pt>
                <c:pt idx="14">
                  <c:v>0.18357670616674449</c:v>
                </c:pt>
                <c:pt idx="15">
                  <c:v>0.18015319134194832</c:v>
                </c:pt>
                <c:pt idx="16">
                  <c:v>0.1686029777762014</c:v>
                </c:pt>
                <c:pt idx="17">
                  <c:v>0.17616554517225574</c:v>
                </c:pt>
                <c:pt idx="18">
                  <c:v>0.16950293038921135</c:v>
                </c:pt>
                <c:pt idx="19">
                  <c:v>0.17125171923053611</c:v>
                </c:pt>
                <c:pt idx="20">
                  <c:v>0.17713688477644085</c:v>
                </c:pt>
                <c:pt idx="21">
                  <c:v>0.18814435560286297</c:v>
                </c:pt>
                <c:pt idx="22">
                  <c:v>0.19696289417510504</c:v>
                </c:pt>
                <c:pt idx="23">
                  <c:v>0.18857291581201543</c:v>
                </c:pt>
                <c:pt idx="24">
                  <c:v>0.17477101542012854</c:v>
                </c:pt>
                <c:pt idx="25">
                  <c:v>0.1838132087942475</c:v>
                </c:pt>
                <c:pt idx="26">
                  <c:v>0.1756576436833094</c:v>
                </c:pt>
                <c:pt idx="27">
                  <c:v>0.1792277630119336</c:v>
                </c:pt>
                <c:pt idx="28">
                  <c:v>0.17634766905705873</c:v>
                </c:pt>
                <c:pt idx="29">
                  <c:v>0.1728019441020556</c:v>
                </c:pt>
                <c:pt idx="30">
                  <c:v>0.17998175259600419</c:v>
                </c:pt>
                <c:pt idx="31">
                  <c:v>0.18919925189325287</c:v>
                </c:pt>
                <c:pt idx="32">
                  <c:v>0.16925401980457727</c:v>
                </c:pt>
                <c:pt idx="33">
                  <c:v>0.17077842072986676</c:v>
                </c:pt>
                <c:pt idx="34">
                  <c:v>0.16883345053975152</c:v>
                </c:pt>
                <c:pt idx="35">
                  <c:v>0.16870346939946546</c:v>
                </c:pt>
                <c:pt idx="36">
                  <c:v>0.15727161711459384</c:v>
                </c:pt>
                <c:pt idx="37">
                  <c:v>0.17701185215672405</c:v>
                </c:pt>
                <c:pt idx="38">
                  <c:v>0.17845883622688544</c:v>
                </c:pt>
                <c:pt idx="39">
                  <c:v>0.20135391808260866</c:v>
                </c:pt>
                <c:pt idx="40">
                  <c:v>0.17618882154678528</c:v>
                </c:pt>
                <c:pt idx="41">
                  <c:v>0.16933092347979445</c:v>
                </c:pt>
                <c:pt idx="42">
                  <c:v>0.17840425587779188</c:v>
                </c:pt>
                <c:pt idx="43">
                  <c:v>0.17307726512424643</c:v>
                </c:pt>
                <c:pt idx="44">
                  <c:v>0.1872041366947024</c:v>
                </c:pt>
                <c:pt idx="45">
                  <c:v>0.1872590469451673</c:v>
                </c:pt>
                <c:pt idx="46">
                  <c:v>0.17921848911782973</c:v>
                </c:pt>
                <c:pt idx="47">
                  <c:v>0.18816381978376878</c:v>
                </c:pt>
                <c:pt idx="48">
                  <c:v>0.174068673728518</c:v>
                </c:pt>
                <c:pt idx="49">
                  <c:v>0.17602557535156135</c:v>
                </c:pt>
                <c:pt idx="50">
                  <c:v>0.19713572583795017</c:v>
                </c:pt>
                <c:pt idx="51">
                  <c:v>0.20344201048429947</c:v>
                </c:pt>
                <c:pt idx="52">
                  <c:v>0.20238341840071394</c:v>
                </c:pt>
                <c:pt idx="53">
                  <c:v>0.2531786137257337</c:v>
                </c:pt>
                <c:pt idx="54">
                  <c:v>0.166571354775658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9.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6153846153846"/>
          <c:min val="0.1094837935174069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12874100546066</c:v>
                </c:pt>
                <c:pt idx="1">
                  <c:v>0.6379992891196452</c:v>
                </c:pt>
                <c:pt idx="2">
                  <c:v>0.663099021906725</c:v>
                </c:pt>
                <c:pt idx="3">
                  <c:v>0.663838470687813</c:v>
                </c:pt>
                <c:pt idx="4">
                  <c:v>0.6778990328969927</c:v>
                </c:pt>
                <c:pt idx="5">
                  <c:v>0.7087508291420509</c:v>
                </c:pt>
                <c:pt idx="6">
                  <c:v>0.6610687153109117</c:v>
                </c:pt>
                <c:pt idx="7">
                  <c:v>0.6523313092545977</c:v>
                </c:pt>
                <c:pt idx="8">
                  <c:v>0.6701231753118965</c:v>
                </c:pt>
                <c:pt idx="9">
                  <c:v>0.7010663810851856</c:v>
                </c:pt>
                <c:pt idx="10">
                  <c:v>0.6990132635673245</c:v>
                </c:pt>
                <c:pt idx="11">
                  <c:v>0.7351423514311634</c:v>
                </c:pt>
                <c:pt idx="12">
                  <c:v>0.7462153222826274</c:v>
                </c:pt>
                <c:pt idx="13">
                  <c:v>0.7421529165625195</c:v>
                </c:pt>
                <c:pt idx="14">
                  <c:v>0.7153189331547883</c:v>
                </c:pt>
                <c:pt idx="15">
                  <c:v>0.7002566971396093</c:v>
                </c:pt>
                <c:pt idx="16">
                  <c:v>0.6995112092936727</c:v>
                </c:pt>
                <c:pt idx="17">
                  <c:v>0.7034368539399005</c:v>
                </c:pt>
                <c:pt idx="18">
                  <c:v>0.7318674073688659</c:v>
                </c:pt>
                <c:pt idx="19">
                  <c:v>0.739450212486563</c:v>
                </c:pt>
                <c:pt idx="20">
                  <c:v>0.7306894011454826</c:v>
                </c:pt>
                <c:pt idx="21">
                  <c:v>0.6233142996351709</c:v>
                </c:pt>
                <c:pt idx="22">
                  <c:v>0.5734978336384461</c:v>
                </c:pt>
                <c:pt idx="23">
                  <c:v>0.5813368851966496</c:v>
                </c:pt>
                <c:pt idx="24">
                  <c:v>0.5721071909517829</c:v>
                </c:pt>
                <c:pt idx="25">
                  <c:v>0.5553747256062881</c:v>
                </c:pt>
                <c:pt idx="26">
                  <c:v>0.5585544690051011</c:v>
                </c:pt>
                <c:pt idx="27">
                  <c:v>0.6027893449283255</c:v>
                </c:pt>
                <c:pt idx="28">
                  <c:v>0.5996261320300679</c:v>
                </c:pt>
                <c:pt idx="29">
                  <c:v>0.5265378638625229</c:v>
                </c:pt>
                <c:pt idx="30">
                  <c:v>0.5221954386118687</c:v>
                </c:pt>
                <c:pt idx="31">
                  <c:v>0.5992583182189127</c:v>
                </c:pt>
                <c:pt idx="32">
                  <c:v>0.5195122302634777</c:v>
                </c:pt>
                <c:pt idx="33">
                  <c:v>0.5174062368820299</c:v>
                </c:pt>
                <c:pt idx="34">
                  <c:v>0.5899954743866629</c:v>
                </c:pt>
                <c:pt idx="35">
                  <c:v>0.655102406638674</c:v>
                </c:pt>
                <c:pt idx="36">
                  <c:v>0.6686309288287672</c:v>
                </c:pt>
                <c:pt idx="37">
                  <c:v>0.650160701361024</c:v>
                </c:pt>
                <c:pt idx="38">
                  <c:v>0.6770179375334656</c:v>
                </c:pt>
                <c:pt idx="39">
                  <c:v>0.6663976976910548</c:v>
                </c:pt>
                <c:pt idx="40">
                  <c:v>0.680326791106833</c:v>
                </c:pt>
                <c:pt idx="41">
                  <c:v>0.6897185287179319</c:v>
                </c:pt>
                <c:pt idx="42">
                  <c:v>0.7291233274940858</c:v>
                </c:pt>
                <c:pt idx="43">
                  <c:v>0.7347146226069667</c:v>
                </c:pt>
                <c:pt idx="44">
                  <c:v>0.6968563831963217</c:v>
                </c:pt>
                <c:pt idx="45">
                  <c:v>0.6832234421948626</c:v>
                </c:pt>
                <c:pt idx="46">
                  <c:v>0.697497501380854</c:v>
                </c:pt>
                <c:pt idx="47">
                  <c:v>0.7004380224004219</c:v>
                </c:pt>
                <c:pt idx="48">
                  <c:v>0.7025843872181698</c:v>
                </c:pt>
                <c:pt idx="49">
                  <c:v>0.6922353892821032</c:v>
                </c:pt>
                <c:pt idx="50">
                  <c:v>0.6670056576653322</c:v>
                </c:pt>
                <c:pt idx="51">
                  <c:v>0.6678387856544837</c:v>
                </c:pt>
                <c:pt idx="52">
                  <c:v>0.6841378906183335</c:v>
                </c:pt>
                <c:pt idx="53">
                  <c:v>0.6381329553111933</c:v>
                </c:pt>
                <c:pt idx="54">
                  <c:v>0.6249165054152823</c:v>
                </c:pt>
                <c:pt idx="55">
                  <c:v>0.6402625881006305</c:v>
                </c:pt>
                <c:pt idx="56">
                  <c:v>0.6401899838482848</c:v>
                </c:pt>
                <c:pt idx="57">
                  <c:v>0.6563674599053504</c:v>
                </c:pt>
                <c:pt idx="58">
                  <c:v>0.644832940850844</c:v>
                </c:pt>
                <c:pt idx="59">
                  <c:v>0.6361335446418934</c:v>
                </c:pt>
                <c:pt idx="60">
                  <c:v>0.6537401870153318</c:v>
                </c:pt>
                <c:pt idx="61">
                  <c:v>0.6926211844062193</c:v>
                </c:pt>
                <c:pt idx="62">
                  <c:v>0.7306327742383723</c:v>
                </c:pt>
                <c:pt idx="63">
                  <c:v>0.7314158867548824</c:v>
                </c:pt>
                <c:pt idx="64">
                  <c:v>0.748061302230379</c:v>
                </c:pt>
                <c:pt idx="65">
                  <c:v>0.7577019201228724</c:v>
                </c:pt>
                <c:pt idx="66">
                  <c:v>0.730577606720301</c:v>
                </c:pt>
                <c:pt idx="67">
                  <c:v>0.7189111477940688</c:v>
                </c:pt>
                <c:pt idx="68">
                  <c:v>0.6784501223155573</c:v>
                </c:pt>
                <c:pt idx="69">
                  <c:v>0.674071969253702</c:v>
                </c:pt>
                <c:pt idx="70">
                  <c:v>0.6529444658101975</c:v>
                </c:pt>
                <c:pt idx="71">
                  <c:v>0.6020683795043501</c:v>
                </c:pt>
                <c:pt idx="72">
                  <c:v>0.5960671079971757</c:v>
                </c:pt>
                <c:pt idx="73">
                  <c:v>0.6172742667202282</c:v>
                </c:pt>
                <c:pt idx="74">
                  <c:v>0.5768457770582986</c:v>
                </c:pt>
                <c:pt idx="75">
                  <c:v>0.5891091341468512</c:v>
                </c:pt>
                <c:pt idx="76">
                  <c:v>0.6073381193612672</c:v>
                </c:pt>
                <c:pt idx="77">
                  <c:v>0.6195408228106659</c:v>
                </c:pt>
                <c:pt idx="78">
                  <c:v>0.6504657039127602</c:v>
                </c:pt>
                <c:pt idx="79">
                  <c:v>0.3804800986657697</c:v>
                </c:pt>
                <c:pt idx="80">
                  <c:v>0.40472001435505517</c:v>
                </c:pt>
                <c:pt idx="81">
                  <c:v>0.548290141267567</c:v>
                </c:pt>
                <c:pt idx="82">
                  <c:v>0.4712196762160559</c:v>
                </c:pt>
                <c:pt idx="83">
                  <c:v>0.5419591517998192</c:v>
                </c:pt>
                <c:pt idx="84">
                  <c:v>0.557693942696819</c:v>
                </c:pt>
                <c:pt idx="85">
                  <c:v>0.5791225088975506</c:v>
                </c:pt>
                <c:pt idx="86">
                  <c:v>0.6912582357432231</c:v>
                </c:pt>
                <c:pt idx="87">
                  <c:v>0.771476249319588</c:v>
                </c:pt>
                <c:pt idx="88">
                  <c:v>0.6322057908478005</c:v>
                </c:pt>
                <c:pt idx="89">
                  <c:v>0.545855381820505</c:v>
                </c:pt>
                <c:pt idx="90">
                  <c:v>0.6380998979814257</c:v>
                </c:pt>
                <c:pt idx="91">
                  <c:v>0.6015619412393265</c:v>
                </c:pt>
                <c:pt idx="92">
                  <c:v>0.6821737816847411</c:v>
                </c:pt>
                <c:pt idx="93">
                  <c:v>0.6998790245603083</c:v>
                </c:pt>
                <c:pt idx="94">
                  <c:v>0.6427568498537728</c:v>
                </c:pt>
                <c:pt idx="95">
                  <c:v>0.7205090626138223</c:v>
                </c:pt>
                <c:pt idx="96">
                  <c:v>0.7288080422422838</c:v>
                </c:pt>
                <c:pt idx="97">
                  <c:v>0.7694925764215463</c:v>
                </c:pt>
                <c:pt idx="98">
                  <c:v>0.795518993949754</c:v>
                </c:pt>
                <c:pt idx="99">
                  <c:v>0.7673522541422563</c:v>
                </c:pt>
                <c:pt idx="100">
                  <c:v>0.7856810529081526</c:v>
                </c:pt>
                <c:pt idx="101">
                  <c:v>0.7221723152870958</c:v>
                </c:pt>
                <c:pt idx="102">
                  <c:v>0.7072772760088776</c:v>
                </c:pt>
                <c:pt idx="103">
                  <c:v>0.698187128845448</c:v>
                </c:pt>
                <c:pt idx="104">
                  <c:v>0.7213672916507232</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11857414573775</c:v>
                </c:pt>
                <c:pt idx="1">
                  <c:v>0.6422396573678903</c:v>
                </c:pt>
                <c:pt idx="2">
                  <c:v>0.6545494833301688</c:v>
                </c:pt>
                <c:pt idx="3">
                  <c:v>0.65696737750166</c:v>
                </c:pt>
                <c:pt idx="4">
                  <c:v>0.6467251886831173</c:v>
                </c:pt>
                <c:pt idx="5">
                  <c:v>0.6833019085902237</c:v>
                </c:pt>
                <c:pt idx="6">
                  <c:v>0.7099639931455103</c:v>
                </c:pt>
                <c:pt idx="7">
                  <c:v>0.730142641261264</c:v>
                </c:pt>
                <c:pt idx="8">
                  <c:v>0.7548907512264948</c:v>
                </c:pt>
                <c:pt idx="9">
                  <c:v>0.748930271422543</c:v>
                </c:pt>
                <c:pt idx="10">
                  <c:v>0.7650088512280729</c:v>
                </c:pt>
                <c:pt idx="11">
                  <c:v>0.7355072468676794</c:v>
                </c:pt>
                <c:pt idx="12">
                  <c:v>0.7412588435012893</c:v>
                </c:pt>
                <c:pt idx="13">
                  <c:v>0.7072297702097003</c:v>
                </c:pt>
                <c:pt idx="14">
                  <c:v>0.7026896865781824</c:v>
                </c:pt>
                <c:pt idx="15">
                  <c:v>0.7205779853964579</c:v>
                </c:pt>
                <c:pt idx="16">
                  <c:v>0.727048112099599</c:v>
                </c:pt>
                <c:pt idx="17">
                  <c:v>0.7163662613294562</c:v>
                </c:pt>
                <c:pt idx="18">
                  <c:v>0.7702565183470997</c:v>
                </c:pt>
                <c:pt idx="19">
                  <c:v>0.7849217908742689</c:v>
                </c:pt>
                <c:pt idx="20">
                  <c:v>0.7383281750329894</c:v>
                </c:pt>
                <c:pt idx="21">
                  <c:v>0.7398664758924959</c:v>
                </c:pt>
                <c:pt idx="22">
                  <c:v>0.7514794911024165</c:v>
                </c:pt>
                <c:pt idx="23">
                  <c:v>0.7178583529656487</c:v>
                </c:pt>
                <c:pt idx="24">
                  <c:v>0.7140772247618122</c:v>
                </c:pt>
                <c:pt idx="25">
                  <c:v>0.7440958794854753</c:v>
                </c:pt>
                <c:pt idx="26">
                  <c:v>0.7598686917437669</c:v>
                </c:pt>
                <c:pt idx="27">
                  <c:v>0.7885098859633436</c:v>
                </c:pt>
                <c:pt idx="28">
                  <c:v>0.7484908566218662</c:v>
                </c:pt>
                <c:pt idx="29">
                  <c:v>0.699256030620426</c:v>
                </c:pt>
                <c:pt idx="30">
                  <c:v>0.7121988941332348</c:v>
                </c:pt>
                <c:pt idx="31">
                  <c:v>0.6981941961290342</c:v>
                </c:pt>
                <c:pt idx="32">
                  <c:v>0.6831101133255747</c:v>
                </c:pt>
                <c:pt idx="33">
                  <c:v>0.7350461931381729</c:v>
                </c:pt>
                <c:pt idx="34">
                  <c:v>0.7546361009421148</c:v>
                </c:pt>
                <c:pt idx="35">
                  <c:v>0.720783785960289</c:v>
                </c:pt>
                <c:pt idx="36">
                  <c:v>0.6521949167359249</c:v>
                </c:pt>
                <c:pt idx="37">
                  <c:v>0.7134308805628181</c:v>
                </c:pt>
                <c:pt idx="38">
                  <c:v>0.7247507704605404</c:v>
                </c:pt>
                <c:pt idx="39">
                  <c:v>0.7319804166901004</c:v>
                </c:pt>
                <c:pt idx="40">
                  <c:v>0.7752693584455055</c:v>
                </c:pt>
                <c:pt idx="41">
                  <c:v>0.8195710910646696</c:v>
                </c:pt>
                <c:pt idx="42">
                  <c:v>0.7759846902358819</c:v>
                </c:pt>
                <c:pt idx="43">
                  <c:v>0.8330244615198542</c:v>
                </c:pt>
                <c:pt idx="44">
                  <c:v>0.84140180415127</c:v>
                </c:pt>
                <c:pt idx="45">
                  <c:v>0.839922709024946</c:v>
                </c:pt>
                <c:pt idx="46">
                  <c:v>0.801087391899149</c:v>
                </c:pt>
                <c:pt idx="47">
                  <c:v>0.7916946854216167</c:v>
                </c:pt>
                <c:pt idx="48">
                  <c:v>0.8419731586732534</c:v>
                </c:pt>
                <c:pt idx="49">
                  <c:v>0.9009453139284412</c:v>
                </c:pt>
                <c:pt idx="50">
                  <c:v>0.8027367217600536</c:v>
                </c:pt>
                <c:pt idx="51">
                  <c:v>0.7760354584584532</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663780142441366</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663780142441366</c:v>
                </c:pt>
                <c:pt idx="1">
                  <c:v>0.49663780142441366</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825582438278922</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825582438278922</c:v>
                </c:pt>
                <c:pt idx="1">
                  <c:v>0.6825582438278922</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079717230274466</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079717230274466</c:v>
                </c:pt>
                <c:pt idx="1">
                  <c:v>0.8079717230274466</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11857414573775</c:v>
                </c:pt>
                <c:pt idx="1">
                  <c:v>0.6422396573678903</c:v>
                </c:pt>
                <c:pt idx="2">
                  <c:v>0.6545494833301688</c:v>
                </c:pt>
                <c:pt idx="3">
                  <c:v>0.65696737750166</c:v>
                </c:pt>
                <c:pt idx="4">
                  <c:v>0.6467251886831173</c:v>
                </c:pt>
                <c:pt idx="5">
                  <c:v>0.6833019085902237</c:v>
                </c:pt>
                <c:pt idx="6">
                  <c:v>0.7099639931455103</c:v>
                </c:pt>
                <c:pt idx="7">
                  <c:v>0.730142641261264</c:v>
                </c:pt>
                <c:pt idx="8">
                  <c:v>0.7548907512264948</c:v>
                </c:pt>
                <c:pt idx="9">
                  <c:v>0.748930271422543</c:v>
                </c:pt>
                <c:pt idx="10">
                  <c:v>0.7650088512280729</c:v>
                </c:pt>
                <c:pt idx="11">
                  <c:v>0.7355072468676794</c:v>
                </c:pt>
                <c:pt idx="12">
                  <c:v>0.7412588435012893</c:v>
                </c:pt>
                <c:pt idx="13">
                  <c:v>0.7072297702097003</c:v>
                </c:pt>
                <c:pt idx="14">
                  <c:v>0.7026896865781824</c:v>
                </c:pt>
                <c:pt idx="15">
                  <c:v>0.7205779853964579</c:v>
                </c:pt>
                <c:pt idx="16">
                  <c:v>0.727048112099599</c:v>
                </c:pt>
                <c:pt idx="17">
                  <c:v>0.7163662613294562</c:v>
                </c:pt>
                <c:pt idx="18">
                  <c:v>0.7702565183470997</c:v>
                </c:pt>
                <c:pt idx="19">
                  <c:v>0.7849217908742689</c:v>
                </c:pt>
                <c:pt idx="20">
                  <c:v>0.7383281750329894</c:v>
                </c:pt>
                <c:pt idx="21">
                  <c:v>0.7398664758924959</c:v>
                </c:pt>
                <c:pt idx="22">
                  <c:v>0.7514794911024165</c:v>
                </c:pt>
                <c:pt idx="23">
                  <c:v>0.7178583529656487</c:v>
                </c:pt>
                <c:pt idx="24">
                  <c:v>0.7140772247618122</c:v>
                </c:pt>
                <c:pt idx="25">
                  <c:v>0.7440958794854753</c:v>
                </c:pt>
                <c:pt idx="26">
                  <c:v>0.7598686917437669</c:v>
                </c:pt>
                <c:pt idx="27">
                  <c:v>0.7885098859633436</c:v>
                </c:pt>
                <c:pt idx="28">
                  <c:v>0.7484908566218662</c:v>
                </c:pt>
                <c:pt idx="29">
                  <c:v>0.699256030620426</c:v>
                </c:pt>
                <c:pt idx="30">
                  <c:v>0.7121988941332348</c:v>
                </c:pt>
                <c:pt idx="31">
                  <c:v>0.6981941961290342</c:v>
                </c:pt>
                <c:pt idx="32">
                  <c:v>0.6831101133255747</c:v>
                </c:pt>
                <c:pt idx="33">
                  <c:v>0.7350461931381729</c:v>
                </c:pt>
                <c:pt idx="34">
                  <c:v>0.7546361009421148</c:v>
                </c:pt>
                <c:pt idx="35">
                  <c:v>0.720783785960289</c:v>
                </c:pt>
                <c:pt idx="36">
                  <c:v>0.6521949167359249</c:v>
                </c:pt>
                <c:pt idx="37">
                  <c:v>0.7134308805628181</c:v>
                </c:pt>
                <c:pt idx="38">
                  <c:v>0.7247507704605404</c:v>
                </c:pt>
                <c:pt idx="39">
                  <c:v>0.7319804166901004</c:v>
                </c:pt>
                <c:pt idx="40">
                  <c:v>0.7752693584455055</c:v>
                </c:pt>
                <c:pt idx="41">
                  <c:v>0.8195710910646696</c:v>
                </c:pt>
                <c:pt idx="42">
                  <c:v>0.7759846902358819</c:v>
                </c:pt>
                <c:pt idx="43">
                  <c:v>0.8330244615198542</c:v>
                </c:pt>
                <c:pt idx="44">
                  <c:v>0.84140180415127</c:v>
                </c:pt>
                <c:pt idx="45">
                  <c:v>0.839922709024946</c:v>
                </c:pt>
                <c:pt idx="46">
                  <c:v>0.801087391899149</c:v>
                </c:pt>
                <c:pt idx="47">
                  <c:v>0.7916946854216167</c:v>
                </c:pt>
                <c:pt idx="48">
                  <c:v>0.8419731586732534</c:v>
                </c:pt>
                <c:pt idx="49">
                  <c:v>0.9009453139284412</c:v>
                </c:pt>
                <c:pt idx="50">
                  <c:v>0.8027367217600536</c:v>
                </c:pt>
                <c:pt idx="51">
                  <c:v>0.7760354584584532</c:v>
                </c:pt>
                <c:pt idx="52">
                  <c:v>0.6825582438278922</c:v>
                </c:pt>
                <c:pt idx="53">
                  <c:v>0.49663780142441366</c:v>
                </c:pt>
                <c:pt idx="54">
                  <c:v>0.8079717230274466</c:v>
                </c:pt>
              </c:numCache>
            </c:numRef>
          </c:xVal>
          <c:yVal>
            <c:numRef>
              <c:f>Sheet1!$B$187:$B$241</c:f>
              <c:numCache>
                <c:formatCode>General</c:formatCode>
                <c:ptCount val="55"/>
                <c:pt idx="0">
                  <c:v>0.20415093737451584</c:v>
                </c:pt>
                <c:pt idx="1">
                  <c:v>0.2154327953284968</c:v>
                </c:pt>
                <c:pt idx="2">
                  <c:v>0.2134185009740212</c:v>
                </c:pt>
                <c:pt idx="3">
                  <c:v>0.21302285357865763</c:v>
                </c:pt>
                <c:pt idx="4">
                  <c:v>0.21469881416314385</c:v>
                </c:pt>
                <c:pt idx="5">
                  <c:v>0.208713653963488</c:v>
                </c:pt>
                <c:pt idx="6">
                  <c:v>0.20435085577585843</c:v>
                </c:pt>
                <c:pt idx="7">
                  <c:v>0.20104896206062112</c:v>
                </c:pt>
                <c:pt idx="8">
                  <c:v>0.19699935337081</c:v>
                </c:pt>
                <c:pt idx="9">
                  <c:v>0.19797468485444406</c:v>
                </c:pt>
                <c:pt idx="10">
                  <c:v>0.1953436978177866</c:v>
                </c:pt>
                <c:pt idx="11">
                  <c:v>0.20017113528873143</c:v>
                </c:pt>
                <c:pt idx="12">
                  <c:v>0.19922998399513858</c:v>
                </c:pt>
                <c:pt idx="13">
                  <c:v>0.2047982650114038</c:v>
                </c:pt>
                <c:pt idx="14">
                  <c:v>0.2055411727385997</c:v>
                </c:pt>
                <c:pt idx="15">
                  <c:v>0.20261405586211095</c:v>
                </c:pt>
                <c:pt idx="16">
                  <c:v>0.2015553293024654</c:v>
                </c:pt>
                <c:pt idx="17">
                  <c:v>0.2033032331126072</c:v>
                </c:pt>
                <c:pt idx="18">
                  <c:v>0.19448500604713004</c:v>
                </c:pt>
                <c:pt idx="19">
                  <c:v>0.19208528278955972</c:v>
                </c:pt>
                <c:pt idx="20">
                  <c:v>0.1997095382121215</c:v>
                </c:pt>
                <c:pt idx="21">
                  <c:v>0.19945782135225004</c:v>
                </c:pt>
                <c:pt idx="22">
                  <c:v>0.1975575482657366</c:v>
                </c:pt>
                <c:pt idx="23">
                  <c:v>0.20305907760883707</c:v>
                </c:pt>
                <c:pt idx="24">
                  <c:v>0.2036777951453705</c:v>
                </c:pt>
                <c:pt idx="25">
                  <c:v>0.19876575114701373</c:v>
                </c:pt>
                <c:pt idx="26">
                  <c:v>0.19618479778638642</c:v>
                </c:pt>
                <c:pt idx="27">
                  <c:v>0.1914981518501466</c:v>
                </c:pt>
                <c:pt idx="28">
                  <c:v>0.19804658763804056</c:v>
                </c:pt>
                <c:pt idx="29">
                  <c:v>0.20610303233207522</c:v>
                </c:pt>
                <c:pt idx="30">
                  <c:v>0.20398515211309498</c:v>
                </c:pt>
                <c:pt idx="31">
                  <c:v>0.20627678354740125</c:v>
                </c:pt>
                <c:pt idx="32">
                  <c:v>0.2087450380074202</c:v>
                </c:pt>
                <c:pt idx="33">
                  <c:v>0.20024657891622877</c:v>
                </c:pt>
                <c:pt idx="34">
                  <c:v>0.19704102257326372</c:v>
                </c:pt>
                <c:pt idx="35">
                  <c:v>0.2025803800883719</c:v>
                </c:pt>
                <c:pt idx="36">
                  <c:v>0.213803785884836</c:v>
                </c:pt>
                <c:pt idx="37">
                  <c:v>0.2037835584173348</c:v>
                </c:pt>
                <c:pt idx="38">
                  <c:v>0.20193125031938616</c:v>
                </c:pt>
                <c:pt idx="39">
                  <c:v>0.2007482412638818</c:v>
                </c:pt>
                <c:pt idx="40">
                  <c:v>0.19366473973783785</c:v>
                </c:pt>
                <c:pt idx="41">
                  <c:v>0.18641551215478988</c:v>
                </c:pt>
                <c:pt idx="42">
                  <c:v>0.19354768781595466</c:v>
                </c:pt>
                <c:pt idx="43">
                  <c:v>0.18421409612830927</c:v>
                </c:pt>
                <c:pt idx="44">
                  <c:v>0.1828432860112794</c:v>
                </c:pt>
                <c:pt idx="45">
                  <c:v>0.1830853148565138</c:v>
                </c:pt>
                <c:pt idx="46">
                  <c:v>0.18944005620545507</c:v>
                </c:pt>
                <c:pt idx="47">
                  <c:v>0.19097701340443707</c:v>
                </c:pt>
                <c:pt idx="48">
                  <c:v>0.18274979352880547</c:v>
                </c:pt>
                <c:pt idx="49">
                  <c:v>0.1730999999601728</c:v>
                </c:pt>
                <c:pt idx="50">
                  <c:v>0.18917017133156094</c:v>
                </c:pt>
                <c:pt idx="51">
                  <c:v>0.19353938045690464</c:v>
                </c:pt>
                <c:pt idx="52">
                  <c:v>0.20883534209595853</c:v>
                </c:pt>
                <c:pt idx="53">
                  <c:v>0.23925807095195709</c:v>
                </c:pt>
                <c:pt idx="54">
                  <c:v>0.188313552112825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6301</c:v>
                </c:pt>
                <c:pt idx="1">
                  <c:v>931.0434</c:v>
                </c:pt>
                <c:pt idx="2">
                  <c:v>1015.7193</c:v>
                </c:pt>
                <c:pt idx="3">
                  <c:v>1040.4501</c:v>
                </c:pt>
                <c:pt idx="4">
                  <c:v>1057.2977</c:v>
                </c:pt>
                <c:pt idx="5">
                  <c:v>1042.0015</c:v>
                </c:pt>
                <c:pt idx="6">
                  <c:v>976.6456</c:v>
                </c:pt>
                <c:pt idx="7">
                  <c:v>1006.487</c:v>
                </c:pt>
                <c:pt idx="8">
                  <c:v>1015.7774</c:v>
                </c:pt>
                <c:pt idx="9">
                  <c:v>970.8206</c:v>
                </c:pt>
                <c:pt idx="10">
                  <c:v>956.3313</c:v>
                </c:pt>
                <c:pt idx="11">
                  <c:v>1009.1438</c:v>
                </c:pt>
                <c:pt idx="12">
                  <c:v>1001.7734</c:v>
                </c:pt>
                <c:pt idx="13">
                  <c:v>990.2179</c:v>
                </c:pt>
                <c:pt idx="14">
                  <c:v>979.6933</c:v>
                </c:pt>
                <c:pt idx="15">
                  <c:v>978.2425</c:v>
                </c:pt>
                <c:pt idx="16">
                  <c:v>988.8941</c:v>
                </c:pt>
                <c:pt idx="17">
                  <c:v>993.8796</c:v>
                </c:pt>
                <c:pt idx="18">
                  <c:v>1043.6943</c:v>
                </c:pt>
                <c:pt idx="19">
                  <c:v>1050.5381</c:v>
                </c:pt>
                <c:pt idx="20">
                  <c:v>1042.2577</c:v>
                </c:pt>
                <c:pt idx="21">
                  <c:v>1049.0255</c:v>
                </c:pt>
                <c:pt idx="22">
                  <c:v>1016.0945</c:v>
                </c:pt>
                <c:pt idx="23">
                  <c:v>1014.8909</c:v>
                </c:pt>
                <c:pt idx="24">
                  <c:v>1008.7763</c:v>
                </c:pt>
                <c:pt idx="25">
                  <c:v>989.1827</c:v>
                </c:pt>
                <c:pt idx="26">
                  <c:v>1001.8386</c:v>
                </c:pt>
                <c:pt idx="27">
                  <c:v>1040.434</c:v>
                </c:pt>
                <c:pt idx="28">
                  <c:v>1021.2641</c:v>
                </c:pt>
                <c:pt idx="29">
                  <c:v>920.0095</c:v>
                </c:pt>
                <c:pt idx="30">
                  <c:v>938.9239</c:v>
                </c:pt>
                <c:pt idx="31">
                  <c:v>989.7822</c:v>
                </c:pt>
                <c:pt idx="32">
                  <c:v>966.3314</c:v>
                </c:pt>
                <c:pt idx="33">
                  <c:v>936.0211</c:v>
                </c:pt>
                <c:pt idx="34">
                  <c:v>981.9323</c:v>
                </c:pt>
                <c:pt idx="35">
                  <c:v>1053.994</c:v>
                </c:pt>
                <c:pt idx="36">
                  <c:v>1123.7446</c:v>
                </c:pt>
                <c:pt idx="37">
                  <c:v>1131.1163</c:v>
                </c:pt>
                <c:pt idx="38">
                  <c:v>1161.219</c:v>
                </c:pt>
                <c:pt idx="39">
                  <c:v>1166.8673</c:v>
                </c:pt>
                <c:pt idx="40">
                  <c:v>1194.718</c:v>
                </c:pt>
                <c:pt idx="41">
                  <c:v>1262.7033</c:v>
                </c:pt>
                <c:pt idx="42">
                  <c:v>1320.1663</c:v>
                </c:pt>
                <c:pt idx="43">
                  <c:v>1314.3088</c:v>
                </c:pt>
                <c:pt idx="44">
                  <c:v>1173.6789</c:v>
                </c:pt>
                <c:pt idx="45">
                  <c:v>1090.0334</c:v>
                </c:pt>
                <c:pt idx="46">
                  <c:v>1082.3467</c:v>
                </c:pt>
                <c:pt idx="47">
                  <c:v>1061.5251</c:v>
                </c:pt>
                <c:pt idx="48">
                  <c:v>1060.9528</c:v>
                </c:pt>
                <c:pt idx="49">
                  <c:v>1026.9312</c:v>
                </c:pt>
                <c:pt idx="50">
                  <c:v>1024.1465</c:v>
                </c:pt>
                <c:pt idx="51">
                  <c:v>1033.3927</c:v>
                </c:pt>
                <c:pt idx="52">
                  <c:v>1062.3365</c:v>
                </c:pt>
                <c:pt idx="53">
                  <c:v>1136.868</c:v>
                </c:pt>
                <c:pt idx="54">
                  <c:v>1114.5379</c:v>
                </c:pt>
                <c:pt idx="55">
                  <c:v>1131.2436</c:v>
                </c:pt>
                <c:pt idx="56">
                  <c:v>1152.6556</c:v>
                </c:pt>
                <c:pt idx="57">
                  <c:v>1147.3762</c:v>
                </c:pt>
                <c:pt idx="58">
                  <c:v>1121.0736</c:v>
                </c:pt>
                <c:pt idx="59">
                  <c:v>1103.1889</c:v>
                </c:pt>
                <c:pt idx="60">
                  <c:v>1147.6779</c:v>
                </c:pt>
                <c:pt idx="61">
                  <c:v>1153.8199</c:v>
                </c:pt>
                <c:pt idx="62">
                  <c:v>1116.3976</c:v>
                </c:pt>
                <c:pt idx="63">
                  <c:v>1135.2374</c:v>
                </c:pt>
                <c:pt idx="64">
                  <c:v>1129.6657</c:v>
                </c:pt>
                <c:pt idx="65">
                  <c:v>1123.896</c:v>
                </c:pt>
                <c:pt idx="66">
                  <c:v>1063.8647</c:v>
                </c:pt>
                <c:pt idx="67">
                  <c:v>1051.6701</c:v>
                </c:pt>
                <c:pt idx="68">
                  <c:v>1019.8199</c:v>
                </c:pt>
                <c:pt idx="69">
                  <c:v>1022.4327</c:v>
                </c:pt>
                <c:pt idx="70">
                  <c:v>1005.9442</c:v>
                </c:pt>
                <c:pt idx="71">
                  <c:v>1068.4229</c:v>
                </c:pt>
                <c:pt idx="72">
                  <c:v>1076.7544</c:v>
                </c:pt>
                <c:pt idx="73">
                  <c:v>1119.1109</c:v>
                </c:pt>
                <c:pt idx="74">
                  <c:v>1036.0453</c:v>
                </c:pt>
                <c:pt idx="75">
                  <c:v>1071.163</c:v>
                </c:pt>
                <c:pt idx="76">
                  <c:v>1107.9478</c:v>
                </c:pt>
                <c:pt idx="77">
                  <c:v>1100.255</c:v>
                </c:pt>
                <c:pt idx="78">
                  <c:v>1166.9036</c:v>
                </c:pt>
                <c:pt idx="79">
                  <c:v>678.7004</c:v>
                </c:pt>
                <c:pt idx="80">
                  <c:v>681.3818</c:v>
                </c:pt>
                <c:pt idx="81">
                  <c:v>920.846</c:v>
                </c:pt>
                <c:pt idx="82">
                  <c:v>833.2881</c:v>
                </c:pt>
                <c:pt idx="83">
                  <c:v>963.1536</c:v>
                </c:pt>
                <c:pt idx="84">
                  <c:v>976.0601</c:v>
                </c:pt>
                <c:pt idx="85">
                  <c:v>1012.0511</c:v>
                </c:pt>
                <c:pt idx="86">
                  <c:v>1187.8014</c:v>
                </c:pt>
                <c:pt idx="87">
                  <c:v>1241.2681</c:v>
                </c:pt>
                <c:pt idx="88">
                  <c:v>1182.6522</c:v>
                </c:pt>
                <c:pt idx="89">
                  <c:v>1079.108</c:v>
                </c:pt>
                <c:pt idx="90">
                  <c:v>1234.4985</c:v>
                </c:pt>
                <c:pt idx="91">
                  <c:v>1127.066</c:v>
                </c:pt>
                <c:pt idx="92">
                  <c:v>1221.5338</c:v>
                </c:pt>
                <c:pt idx="93">
                  <c:v>1278.3774</c:v>
                </c:pt>
                <c:pt idx="94">
                  <c:v>1217.6702</c:v>
                </c:pt>
                <c:pt idx="95">
                  <c:v>1265.2338</c:v>
                </c:pt>
                <c:pt idx="96">
                  <c:v>1218.0098</c:v>
                </c:pt>
                <c:pt idx="97">
                  <c:v>1210.1642</c:v>
                </c:pt>
                <c:pt idx="98">
                  <c:v>1207.838</c:v>
                </c:pt>
                <c:pt idx="99">
                  <c:v>1128.403</c:v>
                </c:pt>
                <c:pt idx="100">
                  <c:v>1170.0968</c:v>
                </c:pt>
                <c:pt idx="101">
                  <c:v>1150.4756</c:v>
                </c:pt>
                <c:pt idx="102">
                  <c:v>1157.0907</c:v>
                </c:pt>
                <c:pt idx="103">
                  <c:v>1089.7577</c:v>
                </c:pt>
                <c:pt idx="104">
                  <c:v>1178.2633</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21.38586294795</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21.38586294795</c:v>
                </c:pt>
                <c:pt idx="1">
                  <c:v>1021.38586294795</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25.2697788634957</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25.2697788634957</c:v>
                </c:pt>
                <c:pt idx="1">
                  <c:v>1225.2697788634957</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62.8006007421748</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62.8006007421748</c:v>
                </c:pt>
                <c:pt idx="1">
                  <c:v>1362.8006007421748</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pt idx="52">
                  <c:v>1225.2697788634957</c:v>
                </c:pt>
                <c:pt idx="53">
                  <c:v>1021.38586294795</c:v>
                </c:pt>
                <c:pt idx="54">
                  <c:v>1362.8006007421748</c:v>
                </c:pt>
              </c:numCache>
            </c:numRef>
          </c:xVal>
          <c:yVal>
            <c:numRef>
              <c:f>Sheet1!$B$187:$B$241</c:f>
              <c:numCache>
                <c:formatCode>General</c:formatCode>
                <c:ptCount val="55"/>
                <c:pt idx="0">
                  <c:v>0.20733997146364824</c:v>
                </c:pt>
                <c:pt idx="1">
                  <c:v>0.213573422324319</c:v>
                </c:pt>
                <c:pt idx="2">
                  <c:v>0.21456009776354656</c:v>
                </c:pt>
                <c:pt idx="3">
                  <c:v>0.210442200566036</c:v>
                </c:pt>
                <c:pt idx="4">
                  <c:v>0.2103860207670418</c:v>
                </c:pt>
                <c:pt idx="5">
                  <c:v>0.20857988126376037</c:v>
                </c:pt>
                <c:pt idx="6">
                  <c:v>0.21886909580719754</c:v>
                </c:pt>
                <c:pt idx="7">
                  <c:v>0.2081095078763251</c:v>
                </c:pt>
                <c:pt idx="8">
                  <c:v>0.1963849554245615</c:v>
                </c:pt>
                <c:pt idx="9">
                  <c:v>0.20498876107657965</c:v>
                </c:pt>
                <c:pt idx="10">
                  <c:v>0.19985270387785542</c:v>
                </c:pt>
                <c:pt idx="11">
                  <c:v>0.2296489024970705</c:v>
                </c:pt>
                <c:pt idx="12">
                  <c:v>0.21993627324259335</c:v>
                </c:pt>
                <c:pt idx="13">
                  <c:v>0.21254181796748944</c:v>
                </c:pt>
                <c:pt idx="14">
                  <c:v>0.21446401762391215</c:v>
                </c:pt>
                <c:pt idx="15">
                  <c:v>0.2063927039524801</c:v>
                </c:pt>
                <c:pt idx="16">
                  <c:v>0.20132704683122055</c:v>
                </c:pt>
                <c:pt idx="17">
                  <c:v>0.20680307761302144</c:v>
                </c:pt>
                <c:pt idx="18">
                  <c:v>0.1953606477268842</c:v>
                </c:pt>
                <c:pt idx="19">
                  <c:v>0.18005618120455202</c:v>
                </c:pt>
                <c:pt idx="20">
                  <c:v>0.1810551221935201</c:v>
                </c:pt>
                <c:pt idx="21">
                  <c:v>0.18506364411171397</c:v>
                </c:pt>
                <c:pt idx="22">
                  <c:v>0.18518658311939343</c:v>
                </c:pt>
                <c:pt idx="23">
                  <c:v>0.19269018984991365</c:v>
                </c:pt>
                <c:pt idx="24">
                  <c:v>0.19554757052688423</c:v>
                </c:pt>
                <c:pt idx="25">
                  <c:v>0.20808460373701002</c:v>
                </c:pt>
                <c:pt idx="26">
                  <c:v>0.19669745835426544</c:v>
                </c:pt>
                <c:pt idx="27">
                  <c:v>0.19053316907881063</c:v>
                </c:pt>
                <c:pt idx="28">
                  <c:v>0.19735675403521077</c:v>
                </c:pt>
                <c:pt idx="29">
                  <c:v>0.19626894003620032</c:v>
                </c:pt>
                <c:pt idx="30">
                  <c:v>0.19603871477227433</c:v>
                </c:pt>
                <c:pt idx="31">
                  <c:v>0.2033203777231825</c:v>
                </c:pt>
                <c:pt idx="32">
                  <c:v>0.20424990345984756</c:v>
                </c:pt>
                <c:pt idx="33">
                  <c:v>0.1952091338679235</c:v>
                </c:pt>
                <c:pt idx="34">
                  <c:v>0.19215610125883825</c:v>
                </c:pt>
                <c:pt idx="35">
                  <c:v>0.19574055149378777</c:v>
                </c:pt>
                <c:pt idx="36">
                  <c:v>0.19295398869889593</c:v>
                </c:pt>
                <c:pt idx="37">
                  <c:v>0.1764342330054929</c:v>
                </c:pt>
                <c:pt idx="38">
                  <c:v>0.17736548964698756</c:v>
                </c:pt>
                <c:pt idx="39">
                  <c:v>0.1873597788976969</c:v>
                </c:pt>
                <c:pt idx="40">
                  <c:v>0.1743672043639341</c:v>
                </c:pt>
                <c:pt idx="41">
                  <c:v>0.16801175455596545</c:v>
                </c:pt>
                <c:pt idx="42">
                  <c:v>0.16810592473164998</c:v>
                </c:pt>
                <c:pt idx="43">
                  <c:v>0.1756385390396589</c:v>
                </c:pt>
                <c:pt idx="44">
                  <c:v>0.1866563003788175</c:v>
                </c:pt>
                <c:pt idx="45">
                  <c:v>0.19835894793153103</c:v>
                </c:pt>
                <c:pt idx="46">
                  <c:v>0.19986464115254207</c:v>
                </c:pt>
                <c:pt idx="47">
                  <c:v>0.2077497333388619</c:v>
                </c:pt>
                <c:pt idx="48">
                  <c:v>0.20768515268280696</c:v>
                </c:pt>
                <c:pt idx="49">
                  <c:v>0.19924742436486725</c:v>
                </c:pt>
                <c:pt idx="50">
                  <c:v>0.22143522190340648</c:v>
                </c:pt>
                <c:pt idx="51">
                  <c:v>0.22883707828881608</c:v>
                </c:pt>
                <c:pt idx="52">
                  <c:v>0.20883534209595853</c:v>
                </c:pt>
                <c:pt idx="53">
                  <c:v>0.23925807095195709</c:v>
                </c:pt>
                <c:pt idx="54">
                  <c:v>0.1883135521128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9.0"/>
          <c:min val="5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45441183959773</c:v>
                </c:pt>
                <c:pt idx="1">
                  <c:v>0.2252255410114052</c:v>
                </c:pt>
                <c:pt idx="2">
                  <c:v>0.2258601813953896</c:v>
                </c:pt>
                <c:pt idx="3">
                  <c:v>0.2127391490316265</c:v>
                </c:pt>
                <c:pt idx="4">
                  <c:v>0.21148848008361465</c:v>
                </c:pt>
                <c:pt idx="5">
                  <c:v>0.23083407586331048</c:v>
                </c:pt>
                <c:pt idx="6">
                  <c:v>0.22349848969354147</c:v>
                </c:pt>
                <c:pt idx="7">
                  <c:v>0.20149040766149895</c:v>
                </c:pt>
                <c:pt idx="8">
                  <c:v>0.1896054196922918</c:v>
                </c:pt>
                <c:pt idx="9">
                  <c:v>0.18134421554861777</c:v>
                </c:pt>
                <c:pt idx="10">
                  <c:v>0.19811099487285722</c:v>
                </c:pt>
                <c:pt idx="11">
                  <c:v>0.2194152713967134</c:v>
                </c:pt>
                <c:pt idx="12">
                  <c:v>0.21874535920751897</c:v>
                </c:pt>
                <c:pt idx="13">
                  <c:v>0.1925461524414895</c:v>
                </c:pt>
                <c:pt idx="14">
                  <c:v>0.2038346560691617</c:v>
                </c:pt>
                <c:pt idx="15">
                  <c:v>0.21977948775855372</c:v>
                </c:pt>
                <c:pt idx="16">
                  <c:v>0.20843546236600344</c:v>
                </c:pt>
                <c:pt idx="17">
                  <c:v>0.21449801072158126</c:v>
                </c:pt>
                <c:pt idx="18">
                  <c:v>0.1894604484767693</c:v>
                </c:pt>
                <c:pt idx="19">
                  <c:v>0.196594989728682</c:v>
                </c:pt>
                <c:pt idx="20">
                  <c:v>0.18117949631689884</c:v>
                </c:pt>
                <c:pt idx="21">
                  <c:v>0.18889448095795444</c:v>
                </c:pt>
                <c:pt idx="22">
                  <c:v>0.17914110007617198</c:v>
                </c:pt>
                <c:pt idx="23">
                  <c:v>0.15397256262919345</c:v>
                </c:pt>
                <c:pt idx="24">
                  <c:v>0.18322255839443574</c:v>
                </c:pt>
                <c:pt idx="25">
                  <c:v>0.1935538399908285</c:v>
                </c:pt>
                <c:pt idx="26">
                  <c:v>0.18034898289828985</c:v>
                </c:pt>
                <c:pt idx="27">
                  <c:v>0.18889827519396982</c:v>
                </c:pt>
                <c:pt idx="28">
                  <c:v>0.1526507578248782</c:v>
                </c:pt>
                <c:pt idx="29">
                  <c:v>0.15662705019286718</c:v>
                </c:pt>
                <c:pt idx="30">
                  <c:v>0.16140675236873722</c:v>
                </c:pt>
                <c:pt idx="31">
                  <c:v>0.16531922450293438</c:v>
                </c:pt>
                <c:pt idx="32">
                  <c:v>0.1543294824669965</c:v>
                </c:pt>
                <c:pt idx="33">
                  <c:v>0.1726114893407893</c:v>
                </c:pt>
                <c:pt idx="34">
                  <c:v>0.1901405115202112</c:v>
                </c:pt>
                <c:pt idx="35">
                  <c:v>0.19972296334475334</c:v>
                </c:pt>
                <c:pt idx="36">
                  <c:v>0.1796693112677414</c:v>
                </c:pt>
                <c:pt idx="37">
                  <c:v>0.18186833115515738</c:v>
                </c:pt>
                <c:pt idx="38">
                  <c:v>0.19219490270118464</c:v>
                </c:pt>
                <c:pt idx="39">
                  <c:v>0.23386883629165625</c:v>
                </c:pt>
                <c:pt idx="40">
                  <c:v>0.24866304261404676</c:v>
                </c:pt>
                <c:pt idx="41">
                  <c:v>0.23421979118860287</c:v>
                </c:pt>
                <c:pt idx="42">
                  <c:v>0.21311308502867382</c:v>
                </c:pt>
                <c:pt idx="43">
                  <c:v>0.2353143007598132</c:v>
                </c:pt>
                <c:pt idx="44">
                  <c:v>0.2191437053633945</c:v>
                </c:pt>
                <c:pt idx="45">
                  <c:v>0.22936</c:v>
                </c:pt>
                <c:pt idx="46">
                  <c:v>0.24087955366897834</c:v>
                </c:pt>
                <c:pt idx="47">
                  <c:v>0.1889689328000886</c:v>
                </c:pt>
                <c:pt idx="48">
                  <c:v>0.26048853028533625</c:v>
                </c:pt>
                <c:pt idx="49">
                  <c:v>0.24988340223837044</c:v>
                </c:pt>
                <c:pt idx="50">
                  <c:v>0.2351643864724689</c:v>
                </c:pt>
                <c:pt idx="51">
                  <c:v>0.21457324767230818</c:v>
                </c:pt>
                <c:pt idx="52">
                  <c:v>0.22638073224565206</c:v>
                </c:pt>
                <c:pt idx="53">
                  <c:v>0.2529241268109924</c:v>
                </c:pt>
                <c:pt idx="54">
                  <c:v>0.2387122399849217</c:v>
                </c:pt>
                <c:pt idx="55">
                  <c:v>0.20272964806830032</c:v>
                </c:pt>
                <c:pt idx="56">
                  <c:v>0.217497031825738</c:v>
                </c:pt>
                <c:pt idx="57">
                  <c:v>0.21994231119768243</c:v>
                </c:pt>
                <c:pt idx="58">
                  <c:v>0.22992001974762302</c:v>
                </c:pt>
                <c:pt idx="59">
                  <c:v>0.2530689855286303</c:v>
                </c:pt>
                <c:pt idx="60">
                  <c:v>0.2521814765985497</c:v>
                </c:pt>
                <c:pt idx="61">
                  <c:v>0.24387845618511006</c:v>
                </c:pt>
                <c:pt idx="62">
                  <c:v>0.2583999072128471</c:v>
                </c:pt>
                <c:pt idx="63">
                  <c:v>0.2815488366230788</c:v>
                </c:pt>
                <c:pt idx="64">
                  <c:v>0.27919866043844693</c:v>
                </c:pt>
                <c:pt idx="65">
                  <c:v>0.2469396371167481</c:v>
                </c:pt>
                <c:pt idx="66">
                  <c:v>0.23717937613757192</c:v>
                </c:pt>
                <c:pt idx="67">
                  <c:v>0.2525564715227218</c:v>
                </c:pt>
                <c:pt idx="68">
                  <c:v>0.21154779498087237</c:v>
                </c:pt>
                <c:pt idx="69">
                  <c:v>0.1740724397064038</c:v>
                </c:pt>
                <c:pt idx="70">
                  <c:v>0.1602013297766453</c:v>
                </c:pt>
                <c:pt idx="71">
                  <c:v>0.19865119769007297</c:v>
                </c:pt>
                <c:pt idx="72">
                  <c:v>0.21069453086782117</c:v>
                </c:pt>
                <c:pt idx="73">
                  <c:v>0.2063280382895091</c:v>
                </c:pt>
                <c:pt idx="74">
                  <c:v>0.18659077892841064</c:v>
                </c:pt>
                <c:pt idx="75">
                  <c:v>0.1852452460609468</c:v>
                </c:pt>
                <c:pt idx="76">
                  <c:v>0.1786724399290437</c:v>
                </c:pt>
                <c:pt idx="77">
                  <c:v>0.20313504679636027</c:v>
                </c:pt>
                <c:pt idx="78">
                  <c:v>0.18186691603350869</c:v>
                </c:pt>
                <c:pt idx="79">
                  <c:v>0.11588949773005612</c:v>
                </c:pt>
                <c:pt idx="80">
                  <c:v>0.11131870609377553</c:v>
                </c:pt>
                <c:pt idx="81">
                  <c:v>0.16830313550551237</c:v>
                </c:pt>
                <c:pt idx="82">
                  <c:v>0.14523691751024848</c:v>
                </c:pt>
                <c:pt idx="83">
                  <c:v>0.15006792645868627</c:v>
                </c:pt>
                <c:pt idx="84">
                  <c:v>0.12034492183160055</c:v>
                </c:pt>
                <c:pt idx="85">
                  <c:v>0.16889662651530132</c:v>
                </c:pt>
                <c:pt idx="86">
                  <c:v>0.22185308180799404</c:v>
                </c:pt>
                <c:pt idx="87">
                  <c:v>0.25313161299882286</c:v>
                </c:pt>
                <c:pt idx="88">
                  <c:v>0.17406292277956711</c:v>
                </c:pt>
                <c:pt idx="89">
                  <c:v>0.14389586683622366</c:v>
                </c:pt>
                <c:pt idx="90">
                  <c:v>0.17497143972231535</c:v>
                </c:pt>
                <c:pt idx="91">
                  <c:v>0.17364065775912985</c:v>
                </c:pt>
                <c:pt idx="92">
                  <c:v>0.20101235346765348</c:v>
                </c:pt>
                <c:pt idx="93">
                  <c:v>0.17107760455001675</c:v>
                </c:pt>
                <c:pt idx="94">
                  <c:v>0.17705128316975646</c:v>
                </c:pt>
                <c:pt idx="95">
                  <c:v>0.18733906346740803</c:v>
                </c:pt>
                <c:pt idx="96">
                  <c:v>0.2017512730932952</c:v>
                </c:pt>
                <c:pt idx="97">
                  <c:v>0.20271826058767722</c:v>
                </c:pt>
                <c:pt idx="98">
                  <c:v>0.21695475944034256</c:v>
                </c:pt>
                <c:pt idx="99">
                  <c:v>0.2249474378138309</c:v>
                </c:pt>
                <c:pt idx="100">
                  <c:v>0.24303779758009633</c:v>
                </c:pt>
                <c:pt idx="101">
                  <c:v>0.23891567157026997</c:v>
                </c:pt>
                <c:pt idx="102">
                  <c:v>0.21193282809112998</c:v>
                </c:pt>
                <c:pt idx="103">
                  <c:v>0.21163226408412722</c:v>
                </c:pt>
                <c:pt idx="104">
                  <c:v>0.20924648584860636</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485916778776541</c:v>
                </c:pt>
                <c:pt idx="1">
                  <c:v>0.2433924855516909</c:v>
                </c:pt>
                <c:pt idx="2">
                  <c:v>0.2370034357289452</c:v>
                </c:pt>
                <c:pt idx="3">
                  <c:v>0.2363522924546083</c:v>
                </c:pt>
                <c:pt idx="4">
                  <c:v>0.22026893793893007</c:v>
                </c:pt>
                <c:pt idx="5">
                  <c:v>0.2312442140972484</c:v>
                </c:pt>
                <c:pt idx="6">
                  <c:v>0.23297003516901657</c:v>
                </c:pt>
                <c:pt idx="7">
                  <c:v>0.21044841154431765</c:v>
                </c:pt>
                <c:pt idx="8">
                  <c:v>0.26839490919668757</c:v>
                </c:pt>
                <c:pt idx="9">
                  <c:v>0.25720006395419703</c:v>
                </c:pt>
                <c:pt idx="10">
                  <c:v>0.2336799103170838</c:v>
                </c:pt>
                <c:pt idx="11">
                  <c:v>0.21833737937899192</c:v>
                </c:pt>
                <c:pt idx="12">
                  <c:v>0.2053570369109954</c:v>
                </c:pt>
                <c:pt idx="13">
                  <c:v>0.22370247571345075</c:v>
                </c:pt>
                <c:pt idx="14">
                  <c:v>0.21582157601670426</c:v>
                </c:pt>
                <c:pt idx="15">
                  <c:v>0.2100090475561281</c:v>
                </c:pt>
                <c:pt idx="16">
                  <c:v>0.2075124266224594</c:v>
                </c:pt>
                <c:pt idx="17">
                  <c:v>0.20208427679692</c:v>
                </c:pt>
                <c:pt idx="18">
                  <c:v>0.2135449999938318</c:v>
                </c:pt>
                <c:pt idx="19">
                  <c:v>0.24294948079777953</c:v>
                </c:pt>
                <c:pt idx="20">
                  <c:v>0.206196484225333</c:v>
                </c:pt>
                <c:pt idx="21">
                  <c:v>0.19409855812011034</c:v>
                </c:pt>
                <c:pt idx="22">
                  <c:v>0.20871370706536305</c:v>
                </c:pt>
                <c:pt idx="23">
                  <c:v>0.22753176430961608</c:v>
                </c:pt>
                <c:pt idx="24">
                  <c:v>0.18220951792404766</c:v>
                </c:pt>
                <c:pt idx="25">
                  <c:v>0.17821201363246195</c:v>
                </c:pt>
                <c:pt idx="26">
                  <c:v>0.19331538752012564</c:v>
                </c:pt>
                <c:pt idx="27">
                  <c:v>0.2044568198564285</c:v>
                </c:pt>
                <c:pt idx="28">
                  <c:v>0.20014832726518084</c:v>
                </c:pt>
                <c:pt idx="29">
                  <c:v>0.19235097696612455</c:v>
                </c:pt>
                <c:pt idx="30">
                  <c:v>0.18723558198548348</c:v>
                </c:pt>
                <c:pt idx="31">
                  <c:v>0.1980158061000092</c:v>
                </c:pt>
                <c:pt idx="32">
                  <c:v>0.19176389638221072</c:v>
                </c:pt>
                <c:pt idx="33">
                  <c:v>0.2150769613381818</c:v>
                </c:pt>
                <c:pt idx="34">
                  <c:v>0.23290935628965478</c:v>
                </c:pt>
                <c:pt idx="35">
                  <c:v>0.1773930671869873</c:v>
                </c:pt>
                <c:pt idx="36">
                  <c:v>0.16789734696704514</c:v>
                </c:pt>
                <c:pt idx="37">
                  <c:v>0.1763419149853576</c:v>
                </c:pt>
                <c:pt idx="38">
                  <c:v>0.16443258503213964</c:v>
                </c:pt>
                <c:pt idx="39">
                  <c:v>0.18933316127502783</c:v>
                </c:pt>
                <c:pt idx="40">
                  <c:v>0.20590490088414984</c:v>
                </c:pt>
                <c:pt idx="41">
                  <c:v>0.23179423320453943</c:v>
                </c:pt>
                <c:pt idx="42">
                  <c:v>0.214625329225774</c:v>
                </c:pt>
                <c:pt idx="43">
                  <c:v>0.1961046132778487</c:v>
                </c:pt>
                <c:pt idx="44">
                  <c:v>0.21187394836556867</c:v>
                </c:pt>
                <c:pt idx="45">
                  <c:v>0.19639188041962283</c:v>
                </c:pt>
                <c:pt idx="46">
                  <c:v>0.1996350563296836</c:v>
                </c:pt>
                <c:pt idx="47">
                  <c:v>0.1809904845814978</c:v>
                </c:pt>
                <c:pt idx="48">
                  <c:v>0.18315875823395383</c:v>
                </c:pt>
                <c:pt idx="49">
                  <c:v>0.21839700228639175</c:v>
                </c:pt>
                <c:pt idx="50">
                  <c:v>0.21393603843729123</c:v>
                </c:pt>
                <c:pt idx="51">
                  <c:v>0.19255627341996234</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6900428781935346</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6900428781935346</c:v>
                </c:pt>
                <c:pt idx="1">
                  <c:v>0.36900428781935346</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486160597234603</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486160597234603</c:v>
                </c:pt>
                <c:pt idx="1">
                  <c:v>0.2486160597234603</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740763344718435</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740763344718435</c:v>
                </c:pt>
                <c:pt idx="1">
                  <c:v>0.16740763344718435</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485916778776541</c:v>
                </c:pt>
                <c:pt idx="1">
                  <c:v>0.2433924855516909</c:v>
                </c:pt>
                <c:pt idx="2">
                  <c:v>0.2370034357289452</c:v>
                </c:pt>
                <c:pt idx="3">
                  <c:v>0.2363522924546083</c:v>
                </c:pt>
                <c:pt idx="4">
                  <c:v>0.22026893793893007</c:v>
                </c:pt>
                <c:pt idx="5">
                  <c:v>0.2312442140972484</c:v>
                </c:pt>
                <c:pt idx="6">
                  <c:v>0.23297003516901657</c:v>
                </c:pt>
                <c:pt idx="7">
                  <c:v>0.21044841154431765</c:v>
                </c:pt>
                <c:pt idx="8">
                  <c:v>0.26839490919668757</c:v>
                </c:pt>
                <c:pt idx="9">
                  <c:v>0.25720006395419703</c:v>
                </c:pt>
                <c:pt idx="10">
                  <c:v>0.2336799103170838</c:v>
                </c:pt>
                <c:pt idx="11">
                  <c:v>0.21833737937899192</c:v>
                </c:pt>
                <c:pt idx="12">
                  <c:v>0.2053570369109954</c:v>
                </c:pt>
                <c:pt idx="13">
                  <c:v>0.22370247571345075</c:v>
                </c:pt>
                <c:pt idx="14">
                  <c:v>0.21582157601670426</c:v>
                </c:pt>
                <c:pt idx="15">
                  <c:v>0.2100090475561281</c:v>
                </c:pt>
                <c:pt idx="16">
                  <c:v>0.2075124266224594</c:v>
                </c:pt>
                <c:pt idx="17">
                  <c:v>0.20208427679692</c:v>
                </c:pt>
                <c:pt idx="18">
                  <c:v>0.2135449999938318</c:v>
                </c:pt>
                <c:pt idx="19">
                  <c:v>0.24294948079777953</c:v>
                </c:pt>
                <c:pt idx="20">
                  <c:v>0.206196484225333</c:v>
                </c:pt>
                <c:pt idx="21">
                  <c:v>0.19409855812011034</c:v>
                </c:pt>
                <c:pt idx="22">
                  <c:v>0.20871370706536305</c:v>
                </c:pt>
                <c:pt idx="23">
                  <c:v>0.22753176430961608</c:v>
                </c:pt>
                <c:pt idx="24">
                  <c:v>0.18220951792404766</c:v>
                </c:pt>
                <c:pt idx="25">
                  <c:v>0.17821201363246195</c:v>
                </c:pt>
                <c:pt idx="26">
                  <c:v>0.19331538752012564</c:v>
                </c:pt>
                <c:pt idx="27">
                  <c:v>0.2044568198564285</c:v>
                </c:pt>
                <c:pt idx="28">
                  <c:v>0.20014832726518084</c:v>
                </c:pt>
                <c:pt idx="29">
                  <c:v>0.19235097696612455</c:v>
                </c:pt>
                <c:pt idx="30">
                  <c:v>0.18723558198548348</c:v>
                </c:pt>
                <c:pt idx="31">
                  <c:v>0.1980158061000092</c:v>
                </c:pt>
                <c:pt idx="32">
                  <c:v>0.19176389638221072</c:v>
                </c:pt>
                <c:pt idx="33">
                  <c:v>0.2150769613381818</c:v>
                </c:pt>
                <c:pt idx="34">
                  <c:v>0.23290935628965478</c:v>
                </c:pt>
                <c:pt idx="35">
                  <c:v>0.1773930671869873</c:v>
                </c:pt>
                <c:pt idx="36">
                  <c:v>0.16789734696704514</c:v>
                </c:pt>
                <c:pt idx="37">
                  <c:v>0.1763419149853576</c:v>
                </c:pt>
                <c:pt idx="38">
                  <c:v>0.16443258503213964</c:v>
                </c:pt>
                <c:pt idx="39">
                  <c:v>0.18933316127502783</c:v>
                </c:pt>
                <c:pt idx="40">
                  <c:v>0.20590490088414984</c:v>
                </c:pt>
                <c:pt idx="41">
                  <c:v>0.23179423320453943</c:v>
                </c:pt>
                <c:pt idx="42">
                  <c:v>0.214625329225774</c:v>
                </c:pt>
                <c:pt idx="43">
                  <c:v>0.1961046132778487</c:v>
                </c:pt>
                <c:pt idx="44">
                  <c:v>0.21187394836556867</c:v>
                </c:pt>
                <c:pt idx="45">
                  <c:v>0.19639188041962283</c:v>
                </c:pt>
                <c:pt idx="46">
                  <c:v>0.1996350563296836</c:v>
                </c:pt>
                <c:pt idx="47">
                  <c:v>0.1809904845814978</c:v>
                </c:pt>
                <c:pt idx="48">
                  <c:v>0.18315875823395383</c:v>
                </c:pt>
                <c:pt idx="49">
                  <c:v>0.21839700228639175</c:v>
                </c:pt>
                <c:pt idx="50">
                  <c:v>0.21393603843729123</c:v>
                </c:pt>
                <c:pt idx="51">
                  <c:v>0.19255627341996234</c:v>
                </c:pt>
                <c:pt idx="52">
                  <c:v>0.2486160597234603</c:v>
                </c:pt>
                <c:pt idx="53">
                  <c:v>0.36900428781935346</c:v>
                </c:pt>
                <c:pt idx="54">
                  <c:v>0.16740763344718435</c:v>
                </c:pt>
              </c:numCache>
            </c:numRef>
          </c:xVal>
          <c:yVal>
            <c:numRef>
              <c:f>Sheet1!$B$187:$B$241</c:f>
              <c:numCache>
                <c:formatCode>General</c:formatCode>
                <c:ptCount val="55"/>
                <c:pt idx="0">
                  <c:v>0.20882918067722428</c:v>
                </c:pt>
                <c:pt idx="1">
                  <c:v>0.20751531784441496</c:v>
                </c:pt>
                <c:pt idx="2">
                  <c:v>0.20590077185865602</c:v>
                </c:pt>
                <c:pt idx="3">
                  <c:v>0.20573622458028107</c:v>
                </c:pt>
                <c:pt idx="4">
                  <c:v>0.20167187758170546</c:v>
                </c:pt>
                <c:pt idx="5">
                  <c:v>0.20444538671931206</c:v>
                </c:pt>
                <c:pt idx="6">
                  <c:v>0.20488151064397478</c:v>
                </c:pt>
                <c:pt idx="7">
                  <c:v>0.19919017969104053</c:v>
                </c:pt>
                <c:pt idx="8">
                  <c:v>0.21383355981312857</c:v>
                </c:pt>
                <c:pt idx="9">
                  <c:v>0.21100456443057447</c:v>
                </c:pt>
                <c:pt idx="10">
                  <c:v>0.20506089977107494</c:v>
                </c:pt>
                <c:pt idx="11">
                  <c:v>0.20118376272805322</c:v>
                </c:pt>
                <c:pt idx="12">
                  <c:v>0.1979035629476618</c:v>
                </c:pt>
                <c:pt idx="13">
                  <c:v>0.20253955036319926</c:v>
                </c:pt>
                <c:pt idx="14">
                  <c:v>0.2005480061864342</c:v>
                </c:pt>
                <c:pt idx="15">
                  <c:v>0.19907915013530078</c:v>
                </c:pt>
                <c:pt idx="16">
                  <c:v>0.19844824109275955</c:v>
                </c:pt>
                <c:pt idx="17">
                  <c:v>0.19707651951379768</c:v>
                </c:pt>
                <c:pt idx="18">
                  <c:v>0.19997270363269323</c:v>
                </c:pt>
                <c:pt idx="19">
                  <c:v>0.207403368248318</c:v>
                </c:pt>
                <c:pt idx="20">
                  <c:v>0.19811569563236786</c:v>
                </c:pt>
                <c:pt idx="21">
                  <c:v>0.19505848703780387</c:v>
                </c:pt>
                <c:pt idx="22">
                  <c:v>0.19875181088336535</c:v>
                </c:pt>
                <c:pt idx="23">
                  <c:v>0.2035072314273288</c:v>
                </c:pt>
                <c:pt idx="24">
                  <c:v>0.19205406499452254</c:v>
                </c:pt>
                <c:pt idx="25">
                  <c:v>0.19104387495279576</c:v>
                </c:pt>
                <c:pt idx="26">
                  <c:v>0.19486057577033056</c:v>
                </c:pt>
                <c:pt idx="27">
                  <c:v>0.19767607343480992</c:v>
                </c:pt>
                <c:pt idx="28">
                  <c:v>0.19658729503882588</c:v>
                </c:pt>
                <c:pt idx="29">
                  <c:v>0.1946168642276466</c:v>
                </c:pt>
                <c:pt idx="30">
                  <c:v>0.193324177418074</c:v>
                </c:pt>
                <c:pt idx="31">
                  <c:v>0.19604839589383627</c:v>
                </c:pt>
                <c:pt idx="32">
                  <c:v>0.19446850592298906</c:v>
                </c:pt>
                <c:pt idx="33">
                  <c:v>0.20035983820003572</c:v>
                </c:pt>
                <c:pt idx="34">
                  <c:v>0.20486617677684085</c:v>
                </c:pt>
                <c:pt idx="35">
                  <c:v>0.19083692294384674</c:v>
                </c:pt>
                <c:pt idx="36">
                  <c:v>0.1884373052560308</c:v>
                </c:pt>
                <c:pt idx="37">
                  <c:v>0.19057129133748157</c:v>
                </c:pt>
                <c:pt idx="38">
                  <c:v>0.1875617419674653</c:v>
                </c:pt>
                <c:pt idx="39">
                  <c:v>0.1938542465700922</c:v>
                </c:pt>
                <c:pt idx="40">
                  <c:v>0.1980420110116367</c:v>
                </c:pt>
                <c:pt idx="41">
                  <c:v>0.20458437939684698</c:v>
                </c:pt>
                <c:pt idx="42">
                  <c:v>0.20024570842575662</c:v>
                </c:pt>
                <c:pt idx="43">
                  <c:v>0.1955654275676158</c:v>
                </c:pt>
                <c:pt idx="44">
                  <c:v>0.1995504202301123</c:v>
                </c:pt>
                <c:pt idx="45">
                  <c:v>0.1956380214623982</c:v>
                </c:pt>
                <c:pt idx="46">
                  <c:v>0.19645758881466036</c:v>
                </c:pt>
                <c:pt idx="47">
                  <c:v>0.19174600895421537</c:v>
                </c:pt>
                <c:pt idx="48">
                  <c:v>0.1922939429379412</c:v>
                </c:pt>
                <c:pt idx="49">
                  <c:v>0.20119882974560235</c:v>
                </c:pt>
                <c:pt idx="50">
                  <c:v>0.20007152107295129</c:v>
                </c:pt>
                <c:pt idx="51">
                  <c:v>0.1946687437049758</c:v>
                </c:pt>
                <c:pt idx="52">
                  <c:v>0.20883534209595853</c:v>
                </c:pt>
                <c:pt idx="53">
                  <c:v>0.23925807095195709</c:v>
                </c:pt>
                <c:pt idx="54">
                  <c:v>0.188313552112825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6301</c:v>
                </c:pt>
                <c:pt idx="1">
                  <c:v>931.0434</c:v>
                </c:pt>
                <c:pt idx="2">
                  <c:v>1015.7193</c:v>
                </c:pt>
                <c:pt idx="3">
                  <c:v>1040.4501</c:v>
                </c:pt>
                <c:pt idx="4">
                  <c:v>1057.2977</c:v>
                </c:pt>
                <c:pt idx="5">
                  <c:v>1042.0015</c:v>
                </c:pt>
                <c:pt idx="6">
                  <c:v>976.6456</c:v>
                </c:pt>
                <c:pt idx="7">
                  <c:v>1006.487</c:v>
                </c:pt>
                <c:pt idx="8">
                  <c:v>1015.7774</c:v>
                </c:pt>
                <c:pt idx="9">
                  <c:v>970.8206</c:v>
                </c:pt>
                <c:pt idx="10">
                  <c:v>956.3313</c:v>
                </c:pt>
                <c:pt idx="11">
                  <c:v>1009.1438</c:v>
                </c:pt>
                <c:pt idx="12">
                  <c:v>1001.7734</c:v>
                </c:pt>
                <c:pt idx="13">
                  <c:v>990.2179</c:v>
                </c:pt>
                <c:pt idx="14">
                  <c:v>979.6933</c:v>
                </c:pt>
                <c:pt idx="15">
                  <c:v>978.2425</c:v>
                </c:pt>
                <c:pt idx="16">
                  <c:v>988.8941</c:v>
                </c:pt>
                <c:pt idx="17">
                  <c:v>993.8796</c:v>
                </c:pt>
                <c:pt idx="18">
                  <c:v>1043.6943</c:v>
                </c:pt>
                <c:pt idx="19">
                  <c:v>1050.5381</c:v>
                </c:pt>
                <c:pt idx="20">
                  <c:v>1042.2577</c:v>
                </c:pt>
                <c:pt idx="21">
                  <c:v>1049.0255</c:v>
                </c:pt>
                <c:pt idx="22">
                  <c:v>1016.0945</c:v>
                </c:pt>
                <c:pt idx="23">
                  <c:v>1014.8909</c:v>
                </c:pt>
                <c:pt idx="24">
                  <c:v>1008.7763</c:v>
                </c:pt>
                <c:pt idx="25">
                  <c:v>989.1827</c:v>
                </c:pt>
                <c:pt idx="26">
                  <c:v>1001.8386</c:v>
                </c:pt>
                <c:pt idx="27">
                  <c:v>1040.434</c:v>
                </c:pt>
                <c:pt idx="28">
                  <c:v>1021.2641</c:v>
                </c:pt>
                <c:pt idx="29">
                  <c:v>920.0095</c:v>
                </c:pt>
                <c:pt idx="30">
                  <c:v>938.9239</c:v>
                </c:pt>
                <c:pt idx="31">
                  <c:v>989.7822</c:v>
                </c:pt>
                <c:pt idx="32">
                  <c:v>966.3314</c:v>
                </c:pt>
                <c:pt idx="33">
                  <c:v>936.0211</c:v>
                </c:pt>
                <c:pt idx="34">
                  <c:v>981.9323</c:v>
                </c:pt>
                <c:pt idx="35">
                  <c:v>1053.994</c:v>
                </c:pt>
                <c:pt idx="36">
                  <c:v>1123.7446</c:v>
                </c:pt>
                <c:pt idx="37">
                  <c:v>1131.1163</c:v>
                </c:pt>
                <c:pt idx="38">
                  <c:v>1161.219</c:v>
                </c:pt>
                <c:pt idx="39">
                  <c:v>1166.8673</c:v>
                </c:pt>
                <c:pt idx="40">
                  <c:v>1194.718</c:v>
                </c:pt>
                <c:pt idx="41">
                  <c:v>1262.7033</c:v>
                </c:pt>
                <c:pt idx="42">
                  <c:v>1320.1663</c:v>
                </c:pt>
                <c:pt idx="43">
                  <c:v>1314.3088</c:v>
                </c:pt>
                <c:pt idx="44">
                  <c:v>1173.6789</c:v>
                </c:pt>
                <c:pt idx="45">
                  <c:v>1090.0334</c:v>
                </c:pt>
                <c:pt idx="46">
                  <c:v>1082.3467</c:v>
                </c:pt>
                <c:pt idx="47">
                  <c:v>1061.5251</c:v>
                </c:pt>
                <c:pt idx="48">
                  <c:v>1060.9528</c:v>
                </c:pt>
                <c:pt idx="49">
                  <c:v>1026.9312</c:v>
                </c:pt>
                <c:pt idx="50">
                  <c:v>1024.1465</c:v>
                </c:pt>
                <c:pt idx="51">
                  <c:v>1033.3927</c:v>
                </c:pt>
                <c:pt idx="52">
                  <c:v>1062.3365</c:v>
                </c:pt>
                <c:pt idx="53">
                  <c:v>1136.868</c:v>
                </c:pt>
                <c:pt idx="54">
                  <c:v>1114.5379</c:v>
                </c:pt>
                <c:pt idx="55">
                  <c:v>1131.2436</c:v>
                </c:pt>
                <c:pt idx="56">
                  <c:v>1152.6556</c:v>
                </c:pt>
                <c:pt idx="57">
                  <c:v>1147.3762</c:v>
                </c:pt>
                <c:pt idx="58">
                  <c:v>1121.0736</c:v>
                </c:pt>
                <c:pt idx="59">
                  <c:v>1103.1889</c:v>
                </c:pt>
                <c:pt idx="60">
                  <c:v>1147.6779</c:v>
                </c:pt>
                <c:pt idx="61">
                  <c:v>1153.8199</c:v>
                </c:pt>
                <c:pt idx="62">
                  <c:v>1116.3976</c:v>
                </c:pt>
                <c:pt idx="63">
                  <c:v>1135.2374</c:v>
                </c:pt>
                <c:pt idx="64">
                  <c:v>1129.6657</c:v>
                </c:pt>
                <c:pt idx="65">
                  <c:v>1123.896</c:v>
                </c:pt>
                <c:pt idx="66">
                  <c:v>1063.8647</c:v>
                </c:pt>
                <c:pt idx="67">
                  <c:v>1051.6701</c:v>
                </c:pt>
                <c:pt idx="68">
                  <c:v>1019.8199</c:v>
                </c:pt>
                <c:pt idx="69">
                  <c:v>1022.4327</c:v>
                </c:pt>
                <c:pt idx="70">
                  <c:v>1005.9442</c:v>
                </c:pt>
                <c:pt idx="71">
                  <c:v>1068.4229</c:v>
                </c:pt>
                <c:pt idx="72">
                  <c:v>1076.7544</c:v>
                </c:pt>
                <c:pt idx="73">
                  <c:v>1119.1109</c:v>
                </c:pt>
                <c:pt idx="74">
                  <c:v>1036.0453</c:v>
                </c:pt>
                <c:pt idx="75">
                  <c:v>1071.163</c:v>
                </c:pt>
                <c:pt idx="76">
                  <c:v>1107.9478</c:v>
                </c:pt>
                <c:pt idx="77">
                  <c:v>1100.255</c:v>
                </c:pt>
                <c:pt idx="78">
                  <c:v>1166.9036</c:v>
                </c:pt>
                <c:pt idx="79">
                  <c:v>678.7004</c:v>
                </c:pt>
                <c:pt idx="80">
                  <c:v>681.3818</c:v>
                </c:pt>
                <c:pt idx="81">
                  <c:v>920.846</c:v>
                </c:pt>
                <c:pt idx="82">
                  <c:v>833.2881</c:v>
                </c:pt>
                <c:pt idx="83">
                  <c:v>963.1536</c:v>
                </c:pt>
                <c:pt idx="84">
                  <c:v>976.0601</c:v>
                </c:pt>
                <c:pt idx="85">
                  <c:v>1012.0511</c:v>
                </c:pt>
                <c:pt idx="86">
                  <c:v>1187.8014</c:v>
                </c:pt>
                <c:pt idx="87">
                  <c:v>1241.2681</c:v>
                </c:pt>
                <c:pt idx="88">
                  <c:v>1182.6522</c:v>
                </c:pt>
                <c:pt idx="89">
                  <c:v>1079.108</c:v>
                </c:pt>
                <c:pt idx="90">
                  <c:v>1234.4985</c:v>
                </c:pt>
                <c:pt idx="91">
                  <c:v>1127.066</c:v>
                </c:pt>
                <c:pt idx="92">
                  <c:v>1221.5338</c:v>
                </c:pt>
                <c:pt idx="93">
                  <c:v>1278.3774</c:v>
                </c:pt>
                <c:pt idx="94">
                  <c:v>1217.6702</c:v>
                </c:pt>
                <c:pt idx="95">
                  <c:v>1265.2338</c:v>
                </c:pt>
                <c:pt idx="96">
                  <c:v>1218.0098</c:v>
                </c:pt>
                <c:pt idx="97">
                  <c:v>1210.1642</c:v>
                </c:pt>
                <c:pt idx="98">
                  <c:v>1207.838</c:v>
                </c:pt>
                <c:pt idx="99">
                  <c:v>1128.403</c:v>
                </c:pt>
                <c:pt idx="100">
                  <c:v>1170.0968</c:v>
                </c:pt>
                <c:pt idx="101">
                  <c:v>1150.4756</c:v>
                </c:pt>
                <c:pt idx="102">
                  <c:v>1157.0907</c:v>
                </c:pt>
                <c:pt idx="103">
                  <c:v>1089.7577</c:v>
                </c:pt>
                <c:pt idx="104">
                  <c:v>1178.2633</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21.38586294795</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21.38586294795</c:v>
                </c:pt>
                <c:pt idx="1">
                  <c:v>1021.38586294795</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25.2697788634957</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25.2697788634957</c:v>
                </c:pt>
                <c:pt idx="1">
                  <c:v>1225.2697788634957</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62.8006007421748</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62.8006007421748</c:v>
                </c:pt>
                <c:pt idx="1">
                  <c:v>1362.8006007421748</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pt idx="52">
                  <c:v>1225.2697788634957</c:v>
                </c:pt>
                <c:pt idx="53">
                  <c:v>1021.38586294795</c:v>
                </c:pt>
                <c:pt idx="54">
                  <c:v>1362.8006007421748</c:v>
                </c:pt>
              </c:numCache>
            </c:numRef>
          </c:xVal>
          <c:yVal>
            <c:numRef>
              <c:f>Sheet1!$B$187:$B$241</c:f>
              <c:numCache>
                <c:formatCode>General</c:formatCode>
                <c:ptCount val="55"/>
                <c:pt idx="0">
                  <c:v>0.20733997146364824</c:v>
                </c:pt>
                <c:pt idx="1">
                  <c:v>0.213573422324319</c:v>
                </c:pt>
                <c:pt idx="2">
                  <c:v>0.21456009776354656</c:v>
                </c:pt>
                <c:pt idx="3">
                  <c:v>0.210442200566036</c:v>
                </c:pt>
                <c:pt idx="4">
                  <c:v>0.2103860207670418</c:v>
                </c:pt>
                <c:pt idx="5">
                  <c:v>0.20857988126376037</c:v>
                </c:pt>
                <c:pt idx="6">
                  <c:v>0.21886909580719754</c:v>
                </c:pt>
                <c:pt idx="7">
                  <c:v>0.2081095078763251</c:v>
                </c:pt>
                <c:pt idx="8">
                  <c:v>0.1963849554245615</c:v>
                </c:pt>
                <c:pt idx="9">
                  <c:v>0.20498876107657965</c:v>
                </c:pt>
                <c:pt idx="10">
                  <c:v>0.19985270387785542</c:v>
                </c:pt>
                <c:pt idx="11">
                  <c:v>0.2296489024970705</c:v>
                </c:pt>
                <c:pt idx="12">
                  <c:v>0.21993627324259335</c:v>
                </c:pt>
                <c:pt idx="13">
                  <c:v>0.21254181796748944</c:v>
                </c:pt>
                <c:pt idx="14">
                  <c:v>0.21446401762391215</c:v>
                </c:pt>
                <c:pt idx="15">
                  <c:v>0.2063927039524801</c:v>
                </c:pt>
                <c:pt idx="16">
                  <c:v>0.20132704683122055</c:v>
                </c:pt>
                <c:pt idx="17">
                  <c:v>0.20680307761302144</c:v>
                </c:pt>
                <c:pt idx="18">
                  <c:v>0.1953606477268842</c:v>
                </c:pt>
                <c:pt idx="19">
                  <c:v>0.18005618120455202</c:v>
                </c:pt>
                <c:pt idx="20">
                  <c:v>0.1810551221935201</c:v>
                </c:pt>
                <c:pt idx="21">
                  <c:v>0.18506364411171397</c:v>
                </c:pt>
                <c:pt idx="22">
                  <c:v>0.18518658311939343</c:v>
                </c:pt>
                <c:pt idx="23">
                  <c:v>0.19269018984991365</c:v>
                </c:pt>
                <c:pt idx="24">
                  <c:v>0.19554757052688423</c:v>
                </c:pt>
                <c:pt idx="25">
                  <c:v>0.20808460373701002</c:v>
                </c:pt>
                <c:pt idx="26">
                  <c:v>0.19669745835426544</c:v>
                </c:pt>
                <c:pt idx="27">
                  <c:v>0.19053316907881063</c:v>
                </c:pt>
                <c:pt idx="28">
                  <c:v>0.19735675403521077</c:v>
                </c:pt>
                <c:pt idx="29">
                  <c:v>0.19626894003620032</c:v>
                </c:pt>
                <c:pt idx="30">
                  <c:v>0.19603871477227433</c:v>
                </c:pt>
                <c:pt idx="31">
                  <c:v>0.2033203777231825</c:v>
                </c:pt>
                <c:pt idx="32">
                  <c:v>0.20424990345984756</c:v>
                </c:pt>
                <c:pt idx="33">
                  <c:v>0.1952091338679235</c:v>
                </c:pt>
                <c:pt idx="34">
                  <c:v>0.19215610125883825</c:v>
                </c:pt>
                <c:pt idx="35">
                  <c:v>0.19574055149378777</c:v>
                </c:pt>
                <c:pt idx="36">
                  <c:v>0.19295398869889593</c:v>
                </c:pt>
                <c:pt idx="37">
                  <c:v>0.1764342330054929</c:v>
                </c:pt>
                <c:pt idx="38">
                  <c:v>0.17736548964698756</c:v>
                </c:pt>
                <c:pt idx="39">
                  <c:v>0.1873597788976969</c:v>
                </c:pt>
                <c:pt idx="40">
                  <c:v>0.1743672043639341</c:v>
                </c:pt>
                <c:pt idx="41">
                  <c:v>0.16801175455596545</c:v>
                </c:pt>
                <c:pt idx="42">
                  <c:v>0.16810592473164998</c:v>
                </c:pt>
                <c:pt idx="43">
                  <c:v>0.1756385390396589</c:v>
                </c:pt>
                <c:pt idx="44">
                  <c:v>0.1866563003788175</c:v>
                </c:pt>
                <c:pt idx="45">
                  <c:v>0.19835894793153103</c:v>
                </c:pt>
                <c:pt idx="46">
                  <c:v>0.19986464115254207</c:v>
                </c:pt>
                <c:pt idx="47">
                  <c:v>0.2077497333388619</c:v>
                </c:pt>
                <c:pt idx="48">
                  <c:v>0.20768515268280696</c:v>
                </c:pt>
                <c:pt idx="49">
                  <c:v>0.19924742436486725</c:v>
                </c:pt>
                <c:pt idx="50">
                  <c:v>0.22143522190340648</c:v>
                </c:pt>
                <c:pt idx="51">
                  <c:v>0.22883707828881608</c:v>
                </c:pt>
                <c:pt idx="52">
                  <c:v>0.20883534209595853</c:v>
                </c:pt>
                <c:pt idx="53">
                  <c:v>0.23925807095195709</c:v>
                </c:pt>
                <c:pt idx="54">
                  <c:v>0.1883135521128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9.0"/>
          <c:min val="5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718032325166464</c:v>
                </c:pt>
                <c:pt idx="1">
                  <c:v>2.410503921999626</c:v>
                </c:pt>
                <c:pt idx="2">
                  <c:v>2.598243296547116</c:v>
                </c:pt>
                <c:pt idx="3">
                  <c:v>2.6665462968468403</c:v>
                </c:pt>
                <c:pt idx="4">
                  <c:v>2.7071921903237324</c:v>
                </c:pt>
                <c:pt idx="5">
                  <c:v>2.2030715255106648</c:v>
                </c:pt>
                <c:pt idx="6">
                  <c:v>1.9113440783195672</c:v>
                </c:pt>
                <c:pt idx="7">
                  <c:v>1.9515455897796248</c:v>
                </c:pt>
                <c:pt idx="8">
                  <c:v>2.013602327092573</c:v>
                </c:pt>
                <c:pt idx="9">
                  <c:v>2.12368426463852</c:v>
                </c:pt>
                <c:pt idx="10">
                  <c:v>1.9848458873546024</c:v>
                </c:pt>
                <c:pt idx="11">
                  <c:v>2.0044361444672734</c:v>
                </c:pt>
                <c:pt idx="12">
                  <c:v>1.985984343255721</c:v>
                </c:pt>
                <c:pt idx="13">
                  <c:v>1.9507074092248946</c:v>
                </c:pt>
                <c:pt idx="14">
                  <c:v>1.90525376784644</c:v>
                </c:pt>
                <c:pt idx="15">
                  <c:v>1.9172402425785624</c:v>
                </c:pt>
                <c:pt idx="16">
                  <c:v>1.893011932229424</c:v>
                </c:pt>
                <c:pt idx="17">
                  <c:v>2.288717810431139</c:v>
                </c:pt>
                <c:pt idx="18">
                  <c:v>2.4167260026272226</c:v>
                </c:pt>
                <c:pt idx="19">
                  <c:v>2.40829132826491</c:v>
                </c:pt>
                <c:pt idx="20">
                  <c:v>2.4248436630095944</c:v>
                </c:pt>
                <c:pt idx="21">
                  <c:v>2.440710101409156</c:v>
                </c:pt>
                <c:pt idx="22">
                  <c:v>2.382335080841805</c:v>
                </c:pt>
                <c:pt idx="23">
                  <c:v>2.4452745350647898</c:v>
                </c:pt>
                <c:pt idx="24">
                  <c:v>2.570603560705944</c:v>
                </c:pt>
                <c:pt idx="25">
                  <c:v>2.5956968723037552</c:v>
                </c:pt>
                <c:pt idx="26">
                  <c:v>2.13678752409872</c:v>
                </c:pt>
                <c:pt idx="27">
                  <c:v>2.085262482154893</c:v>
                </c:pt>
                <c:pt idx="28">
                  <c:v>2.0006364727693873</c:v>
                </c:pt>
                <c:pt idx="29">
                  <c:v>1.8387193931329335</c:v>
                </c:pt>
                <c:pt idx="30">
                  <c:v>1.8769044678144764</c:v>
                </c:pt>
                <c:pt idx="31">
                  <c:v>1.9253103106325609</c:v>
                </c:pt>
                <c:pt idx="32">
                  <c:v>1.8384069407832655</c:v>
                </c:pt>
                <c:pt idx="33">
                  <c:v>1.7927187000477667</c:v>
                </c:pt>
                <c:pt idx="34">
                  <c:v>1.9206345729061147</c:v>
                </c:pt>
                <c:pt idx="35">
                  <c:v>2.08580050570066</c:v>
                </c:pt>
                <c:pt idx="36">
                  <c:v>2.220436731129951</c:v>
                </c:pt>
                <c:pt idx="37">
                  <c:v>2.2408654992911585</c:v>
                </c:pt>
                <c:pt idx="38">
                  <c:v>2.298567377781737</c:v>
                </c:pt>
                <c:pt idx="39">
                  <c:v>2.3088923041428058</c:v>
                </c:pt>
                <c:pt idx="40">
                  <c:v>2.3763418809674928</c:v>
                </c:pt>
                <c:pt idx="41">
                  <c:v>2.507993102292165</c:v>
                </c:pt>
                <c:pt idx="42">
                  <c:v>2.6253215365184945</c:v>
                </c:pt>
                <c:pt idx="43">
                  <c:v>2.6131950454805826</c:v>
                </c:pt>
                <c:pt idx="44">
                  <c:v>2.3249264446764726</c:v>
                </c:pt>
                <c:pt idx="45">
                  <c:v>2.161720279983778</c:v>
                </c:pt>
                <c:pt idx="46">
                  <c:v>2.197963980777022</c:v>
                </c:pt>
                <c:pt idx="47">
                  <c:v>2.186890790718985</c:v>
                </c:pt>
                <c:pt idx="48">
                  <c:v>2.13702462179427</c:v>
                </c:pt>
                <c:pt idx="49">
                  <c:v>2.0923188011004665</c:v>
                </c:pt>
                <c:pt idx="50">
                  <c:v>2.07497048047335</c:v>
                </c:pt>
                <c:pt idx="51">
                  <c:v>2.0954498973254743</c:v>
                </c:pt>
                <c:pt idx="52">
                  <c:v>2.1387153774250973</c:v>
                </c:pt>
                <c:pt idx="53">
                  <c:v>2.2810151756284656</c:v>
                </c:pt>
                <c:pt idx="54">
                  <c:v>2.346662357404842</c:v>
                </c:pt>
                <c:pt idx="55">
                  <c:v>2.383193571187053</c:v>
                </c:pt>
                <c:pt idx="56">
                  <c:v>2.4498816564022867</c:v>
                </c:pt>
                <c:pt idx="57">
                  <c:v>2.429380916366075</c:v>
                </c:pt>
                <c:pt idx="58">
                  <c:v>2.383891987225219</c:v>
                </c:pt>
                <c:pt idx="59">
                  <c:v>2.472754263986209</c:v>
                </c:pt>
                <c:pt idx="60">
                  <c:v>2.563733011898121</c:v>
                </c:pt>
                <c:pt idx="61">
                  <c:v>2.4631949978662497</c:v>
                </c:pt>
                <c:pt idx="62">
                  <c:v>2.439098545342446</c:v>
                </c:pt>
                <c:pt idx="63">
                  <c:v>2.481595548664405</c:v>
                </c:pt>
                <c:pt idx="64">
                  <c:v>2.361326538504148</c:v>
                </c:pt>
                <c:pt idx="65">
                  <c:v>2.3504084840030908</c:v>
                </c:pt>
                <c:pt idx="66">
                  <c:v>2.2182314693649134</c:v>
                </c:pt>
                <c:pt idx="67">
                  <c:v>2.221944955384477</c:v>
                </c:pt>
                <c:pt idx="68">
                  <c:v>2.1454467998270714</c:v>
                </c:pt>
                <c:pt idx="69">
                  <c:v>2.111593878143203</c:v>
                </c:pt>
                <c:pt idx="70">
                  <c:v>2.100081314815685</c:v>
                </c:pt>
                <c:pt idx="71">
                  <c:v>2.193651727679292</c:v>
                </c:pt>
                <c:pt idx="72">
                  <c:v>2.1905777568005793</c:v>
                </c:pt>
                <c:pt idx="73">
                  <c:v>2.2963309130201575</c:v>
                </c:pt>
                <c:pt idx="74">
                  <c:v>2.083420239261102</c:v>
                </c:pt>
                <c:pt idx="75">
                  <c:v>2.1958178802163753</c:v>
                </c:pt>
                <c:pt idx="76">
                  <c:v>2.331052385086116</c:v>
                </c:pt>
                <c:pt idx="77">
                  <c:v>2.4399068260310544</c:v>
                </c:pt>
                <c:pt idx="78">
                  <c:v>2.5795136098821</c:v>
                </c:pt>
                <c:pt idx="79">
                  <c:v>1.4989489474235187</c:v>
                </c:pt>
                <c:pt idx="80">
                  <c:v>1.4767228966214347</c:v>
                </c:pt>
                <c:pt idx="81">
                  <c:v>1.9811417975295913</c:v>
                </c:pt>
                <c:pt idx="82">
                  <c:v>1.8068350207920179</c:v>
                </c:pt>
                <c:pt idx="83">
                  <c:v>2.10884595333647</c:v>
                </c:pt>
                <c:pt idx="84">
                  <c:v>2.110418012173508</c:v>
                </c:pt>
                <c:pt idx="85">
                  <c:v>2.1468960674753186</c:v>
                </c:pt>
                <c:pt idx="86">
                  <c:v>2.463304827080477</c:v>
                </c:pt>
                <c:pt idx="87">
                  <c:v>2.5964502623605443</c:v>
                </c:pt>
                <c:pt idx="88">
                  <c:v>2.4821720082290466</c:v>
                </c:pt>
                <c:pt idx="89">
                  <c:v>2.1980902361192984</c:v>
                </c:pt>
                <c:pt idx="90">
                  <c:v>2.526318148256685</c:v>
                </c:pt>
                <c:pt idx="91">
                  <c:v>2.3440409731838283</c:v>
                </c:pt>
                <c:pt idx="92">
                  <c:v>2.4522094367803167</c:v>
                </c:pt>
                <c:pt idx="93">
                  <c:v>2.33209605764086</c:v>
                </c:pt>
                <c:pt idx="94">
                  <c:v>2.1287084610234204</c:v>
                </c:pt>
                <c:pt idx="95">
                  <c:v>2.219447538622653</c:v>
                </c:pt>
                <c:pt idx="96">
                  <c:v>2.126356588876626</c:v>
                </c:pt>
                <c:pt idx="97">
                  <c:v>2.1282626588066464</c:v>
                </c:pt>
                <c:pt idx="98">
                  <c:v>2.1949225431878947</c:v>
                </c:pt>
                <c:pt idx="99">
                  <c:v>2.4183705660823787</c:v>
                </c:pt>
                <c:pt idx="100">
                  <c:v>2.151990813046827</c:v>
                </c:pt>
                <c:pt idx="101">
                  <c:v>2.0094341484595497</c:v>
                </c:pt>
                <c:pt idx="102">
                  <c:v>1.9323688835173505</c:v>
                </c:pt>
                <c:pt idx="103">
                  <c:v>1.8743008722252679</c:v>
                </c:pt>
                <c:pt idx="104">
                  <c:v>1.933480964883492</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464226570046026</c:v>
                </c:pt>
                <c:pt idx="1">
                  <c:v>1.8624589671743637</c:v>
                </c:pt>
                <c:pt idx="2">
                  <c:v>1.859688568682573</c:v>
                </c:pt>
                <c:pt idx="3">
                  <c:v>1.8958663750256008</c:v>
                </c:pt>
                <c:pt idx="4">
                  <c:v>1.8063923290623836</c:v>
                </c:pt>
                <c:pt idx="5">
                  <c:v>1.8428653842716691</c:v>
                </c:pt>
                <c:pt idx="6">
                  <c:v>1.853722262436862</c:v>
                </c:pt>
                <c:pt idx="7">
                  <c:v>1.8495292333589834</c:v>
                </c:pt>
                <c:pt idx="8">
                  <c:v>1.9529001505515522</c:v>
                </c:pt>
                <c:pt idx="9">
                  <c:v>1.9275749810755203</c:v>
                </c:pt>
                <c:pt idx="10">
                  <c:v>1.9155522639607372</c:v>
                </c:pt>
                <c:pt idx="11">
                  <c:v>1.9921867230803951</c:v>
                </c:pt>
                <c:pt idx="12">
                  <c:v>1.8876183846820889</c:v>
                </c:pt>
                <c:pt idx="13">
                  <c:v>1.8069957462002333</c:v>
                </c:pt>
                <c:pt idx="14">
                  <c:v>1.819532235978946</c:v>
                </c:pt>
                <c:pt idx="15">
                  <c:v>1.908546406049358</c:v>
                </c:pt>
                <c:pt idx="16">
                  <c:v>1.8852216515795306</c:v>
                </c:pt>
                <c:pt idx="17">
                  <c:v>1.8748465295823167</c:v>
                </c:pt>
                <c:pt idx="18">
                  <c:v>2.040033451278086</c:v>
                </c:pt>
                <c:pt idx="19">
                  <c:v>2.186976489839652</c:v>
                </c:pt>
                <c:pt idx="20">
                  <c:v>2.144951225702133</c:v>
                </c:pt>
                <c:pt idx="21">
                  <c:v>2.1274334610692325</c:v>
                </c:pt>
                <c:pt idx="22">
                  <c:v>2.106852662615134</c:v>
                </c:pt>
                <c:pt idx="23">
                  <c:v>1.9742293187192137</c:v>
                </c:pt>
                <c:pt idx="24">
                  <c:v>1.9694022897636128</c:v>
                </c:pt>
                <c:pt idx="25">
                  <c:v>1.8411643488137868</c:v>
                </c:pt>
                <c:pt idx="26">
                  <c:v>1.9099455687507885</c:v>
                </c:pt>
                <c:pt idx="27">
                  <c:v>2.003009733263987</c:v>
                </c:pt>
                <c:pt idx="28">
                  <c:v>1.9259003672414856</c:v>
                </c:pt>
                <c:pt idx="29">
                  <c:v>1.9439010436165884</c:v>
                </c:pt>
                <c:pt idx="30">
                  <c:v>1.9030346128382476</c:v>
                </c:pt>
                <c:pt idx="31">
                  <c:v>1.8856615377628465</c:v>
                </c:pt>
                <c:pt idx="32">
                  <c:v>1.8277898862389979</c:v>
                </c:pt>
                <c:pt idx="33">
                  <c:v>1.8983439882412958</c:v>
                </c:pt>
                <c:pt idx="34">
                  <c:v>1.9339070621759433</c:v>
                </c:pt>
                <c:pt idx="35">
                  <c:v>1.7967078642045298</c:v>
                </c:pt>
                <c:pt idx="36">
                  <c:v>1.906689597881898</c:v>
                </c:pt>
                <c:pt idx="37">
                  <c:v>2.0330279682746584</c:v>
                </c:pt>
                <c:pt idx="38">
                  <c:v>2.045196007102649</c:v>
                </c:pt>
                <c:pt idx="39">
                  <c:v>1.9967806620971271</c:v>
                </c:pt>
                <c:pt idx="40">
                  <c:v>2.06996694340807</c:v>
                </c:pt>
                <c:pt idx="41">
                  <c:v>2.1568383979739036</c:v>
                </c:pt>
                <c:pt idx="42">
                  <c:v>2.2009298627740668</c:v>
                </c:pt>
                <c:pt idx="43">
                  <c:v>2.148592942883356</c:v>
                </c:pt>
                <c:pt idx="44">
                  <c:v>2.081827101192889</c:v>
                </c:pt>
                <c:pt idx="45">
                  <c:v>1.9819890858058102</c:v>
                </c:pt>
                <c:pt idx="46">
                  <c:v>1.9578629282843767</c:v>
                </c:pt>
                <c:pt idx="47">
                  <c:v>1.9348665391349886</c:v>
                </c:pt>
                <c:pt idx="48">
                  <c:v>1.89767632852026</c:v>
                </c:pt>
                <c:pt idx="49">
                  <c:v>2.021082956513317</c:v>
                </c:pt>
                <c:pt idx="50">
                  <c:v>1.8257543847070736</c:v>
                </c:pt>
                <c:pt idx="51">
                  <c:v>1.841340139211137</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623818932625032</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623818932625032</c:v>
                </c:pt>
                <c:pt idx="1">
                  <c:v>1.6623818932625032</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795202138291256</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795202138291256</c:v>
                </c:pt>
                <c:pt idx="1">
                  <c:v>1.8795202138291256</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259918545899094</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259918545899094</c:v>
                </c:pt>
                <c:pt idx="1">
                  <c:v>2.0259918545899094</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464226570046026</c:v>
                </c:pt>
                <c:pt idx="1">
                  <c:v>1.8624589671743637</c:v>
                </c:pt>
                <c:pt idx="2">
                  <c:v>1.859688568682573</c:v>
                </c:pt>
                <c:pt idx="3">
                  <c:v>1.8958663750256008</c:v>
                </c:pt>
                <c:pt idx="4">
                  <c:v>1.8063923290623836</c:v>
                </c:pt>
                <c:pt idx="5">
                  <c:v>1.8428653842716691</c:v>
                </c:pt>
                <c:pt idx="6">
                  <c:v>1.853722262436862</c:v>
                </c:pt>
                <c:pt idx="7">
                  <c:v>1.8495292333589834</c:v>
                </c:pt>
                <c:pt idx="8">
                  <c:v>1.9529001505515522</c:v>
                </c:pt>
                <c:pt idx="9">
                  <c:v>1.9275749810755203</c:v>
                </c:pt>
                <c:pt idx="10">
                  <c:v>1.9155522639607372</c:v>
                </c:pt>
                <c:pt idx="11">
                  <c:v>1.9921867230803951</c:v>
                </c:pt>
                <c:pt idx="12">
                  <c:v>1.8876183846820889</c:v>
                </c:pt>
                <c:pt idx="13">
                  <c:v>1.8069957462002333</c:v>
                </c:pt>
                <c:pt idx="14">
                  <c:v>1.819532235978946</c:v>
                </c:pt>
                <c:pt idx="15">
                  <c:v>1.908546406049358</c:v>
                </c:pt>
                <c:pt idx="16">
                  <c:v>1.8852216515795306</c:v>
                </c:pt>
                <c:pt idx="17">
                  <c:v>1.8748465295823167</c:v>
                </c:pt>
                <c:pt idx="18">
                  <c:v>2.040033451278086</c:v>
                </c:pt>
                <c:pt idx="19">
                  <c:v>2.186976489839652</c:v>
                </c:pt>
                <c:pt idx="20">
                  <c:v>2.144951225702133</c:v>
                </c:pt>
                <c:pt idx="21">
                  <c:v>2.1274334610692325</c:v>
                </c:pt>
                <c:pt idx="22">
                  <c:v>2.106852662615134</c:v>
                </c:pt>
                <c:pt idx="23">
                  <c:v>1.9742293187192137</c:v>
                </c:pt>
                <c:pt idx="24">
                  <c:v>1.9694022897636128</c:v>
                </c:pt>
                <c:pt idx="25">
                  <c:v>1.8411643488137868</c:v>
                </c:pt>
                <c:pt idx="26">
                  <c:v>1.9099455687507885</c:v>
                </c:pt>
                <c:pt idx="27">
                  <c:v>2.003009733263987</c:v>
                </c:pt>
                <c:pt idx="28">
                  <c:v>1.9259003672414856</c:v>
                </c:pt>
                <c:pt idx="29">
                  <c:v>1.9439010436165884</c:v>
                </c:pt>
                <c:pt idx="30">
                  <c:v>1.9030346128382476</c:v>
                </c:pt>
                <c:pt idx="31">
                  <c:v>1.8856615377628465</c:v>
                </c:pt>
                <c:pt idx="32">
                  <c:v>1.8277898862389979</c:v>
                </c:pt>
                <c:pt idx="33">
                  <c:v>1.8983439882412958</c:v>
                </c:pt>
                <c:pt idx="34">
                  <c:v>1.9339070621759433</c:v>
                </c:pt>
                <c:pt idx="35">
                  <c:v>1.7967078642045298</c:v>
                </c:pt>
                <c:pt idx="36">
                  <c:v>1.906689597881898</c:v>
                </c:pt>
                <c:pt idx="37">
                  <c:v>2.0330279682746584</c:v>
                </c:pt>
                <c:pt idx="38">
                  <c:v>2.045196007102649</c:v>
                </c:pt>
                <c:pt idx="39">
                  <c:v>1.9967806620971271</c:v>
                </c:pt>
                <c:pt idx="40">
                  <c:v>2.06996694340807</c:v>
                </c:pt>
                <c:pt idx="41">
                  <c:v>2.1568383979739036</c:v>
                </c:pt>
                <c:pt idx="42">
                  <c:v>2.2009298627740668</c:v>
                </c:pt>
                <c:pt idx="43">
                  <c:v>2.148592942883356</c:v>
                </c:pt>
                <c:pt idx="44">
                  <c:v>2.081827101192889</c:v>
                </c:pt>
                <c:pt idx="45">
                  <c:v>1.9819890858058102</c:v>
                </c:pt>
                <c:pt idx="46">
                  <c:v>1.9578629282843767</c:v>
                </c:pt>
                <c:pt idx="47">
                  <c:v>1.9348665391349886</c:v>
                </c:pt>
                <c:pt idx="48">
                  <c:v>1.89767632852026</c:v>
                </c:pt>
                <c:pt idx="49">
                  <c:v>2.021082956513317</c:v>
                </c:pt>
                <c:pt idx="50">
                  <c:v>1.8257543847070736</c:v>
                </c:pt>
                <c:pt idx="51">
                  <c:v>1.841340139211137</c:v>
                </c:pt>
                <c:pt idx="52">
                  <c:v>1.8795202138291256</c:v>
                </c:pt>
                <c:pt idx="53">
                  <c:v>1.6623818932625032</c:v>
                </c:pt>
                <c:pt idx="54">
                  <c:v>2.0259918545899094</c:v>
                </c:pt>
              </c:numCache>
            </c:numRef>
          </c:xVal>
          <c:yVal>
            <c:numRef>
              <c:f>Sheet1!$B$187:$B$241</c:f>
              <c:numCache>
                <c:formatCode>General</c:formatCode>
                <c:ptCount val="55"/>
                <c:pt idx="0">
                  <c:v>0.19946180138135722</c:v>
                </c:pt>
                <c:pt idx="1">
                  <c:v>0.21122575240938768</c:v>
                </c:pt>
                <c:pt idx="2">
                  <c:v>0.21161390629175575</c:v>
                </c:pt>
                <c:pt idx="3">
                  <c:v>0.20654512068953373</c:v>
                </c:pt>
                <c:pt idx="4">
                  <c:v>0.21908111448779533</c:v>
                </c:pt>
                <c:pt idx="5">
                  <c:v>0.2139709622756642</c:v>
                </c:pt>
                <c:pt idx="6">
                  <c:v>0.2124498311377777</c:v>
                </c:pt>
                <c:pt idx="7">
                  <c:v>0.21303730637655055</c:v>
                </c:pt>
                <c:pt idx="8">
                  <c:v>0.19855425530965926</c:v>
                </c:pt>
                <c:pt idx="9">
                  <c:v>0.20210250401210395</c:v>
                </c:pt>
                <c:pt idx="10">
                  <c:v>0.2037869780466316</c:v>
                </c:pt>
                <c:pt idx="11">
                  <c:v>0.19304990793970805</c:v>
                </c:pt>
                <c:pt idx="12">
                  <c:v>0.20770072681733637</c:v>
                </c:pt>
                <c:pt idx="13">
                  <c:v>0.2189965711611086</c:v>
                </c:pt>
                <c:pt idx="14">
                  <c:v>0.2172401136719444</c:v>
                </c:pt>
                <c:pt idx="15">
                  <c:v>0.20476855198109584</c:v>
                </c:pt>
                <c:pt idx="16">
                  <c:v>0.20803652733899947</c:v>
                </c:pt>
                <c:pt idx="17">
                  <c:v>0.20949016077664184</c:v>
                </c:pt>
                <c:pt idx="18">
                  <c:v>0.18634621770757143</c:v>
                </c:pt>
                <c:pt idx="19">
                  <c:v>0.16575838131015652</c:v>
                </c:pt>
                <c:pt idx="20">
                  <c:v>0.17164644018719472</c:v>
                </c:pt>
                <c:pt idx="21">
                  <c:v>0.1741008121386735</c:v>
                </c:pt>
                <c:pt idx="22">
                  <c:v>0.1769843384060552</c:v>
                </c:pt>
                <c:pt idx="23">
                  <c:v>0.1955658767581651</c:v>
                </c:pt>
                <c:pt idx="24">
                  <c:v>0.19624218019789463</c:v>
                </c:pt>
                <c:pt idx="25">
                  <c:v>0.21420929027034774</c:v>
                </c:pt>
                <c:pt idx="26">
                  <c:v>0.20457251865367593</c:v>
                </c:pt>
                <c:pt idx="27">
                  <c:v>0.19153352196342388</c:v>
                </c:pt>
                <c:pt idx="28">
                  <c:v>0.20233713013649507</c:v>
                </c:pt>
                <c:pt idx="29">
                  <c:v>0.1998150985800416</c:v>
                </c:pt>
                <c:pt idx="30">
                  <c:v>0.20554079609689435</c:v>
                </c:pt>
                <c:pt idx="31">
                  <c:v>0.2079748959417979</c:v>
                </c:pt>
                <c:pt idx="32">
                  <c:v>0.21608315411642398</c:v>
                </c:pt>
                <c:pt idx="33">
                  <c:v>0.20619798824937102</c:v>
                </c:pt>
                <c:pt idx="34">
                  <c:v>0.20121533132922753</c:v>
                </c:pt>
                <c:pt idx="35">
                  <c:v>0.2204379816115582</c:v>
                </c:pt>
                <c:pt idx="36">
                  <c:v>0.2050287049161873</c:v>
                </c:pt>
                <c:pt idx="37">
                  <c:v>0.18732773911458261</c:v>
                </c:pt>
                <c:pt idx="38">
                  <c:v>0.18562290440366092</c:v>
                </c:pt>
                <c:pt idx="39">
                  <c:v>0.19240626217178314</c:v>
                </c:pt>
                <c:pt idx="40">
                  <c:v>0.18215230798031884</c:v>
                </c:pt>
                <c:pt idx="41">
                  <c:v>0.16998095701524735</c:v>
                </c:pt>
                <c:pt idx="42">
                  <c:v>0.16380340772326224</c:v>
                </c:pt>
                <c:pt idx="43">
                  <c:v>0.17113620793484297</c:v>
                </c:pt>
                <c:pt idx="44">
                  <c:v>0.18049060974329023</c:v>
                </c:pt>
                <c:pt idx="45">
                  <c:v>0.19447867441891337</c:v>
                </c:pt>
                <c:pt idx="46">
                  <c:v>0.19785893243461666</c:v>
                </c:pt>
                <c:pt idx="47">
                  <c:v>0.20108090131571155</c:v>
                </c:pt>
                <c:pt idx="48">
                  <c:v>0.20629153245017418</c:v>
                </c:pt>
                <c:pt idx="49">
                  <c:v>0.18900132603857056</c:v>
                </c:pt>
                <c:pt idx="50">
                  <c:v>0.21636834334985866</c:v>
                </c:pt>
                <c:pt idx="51">
                  <c:v>0.21418466069975828</c:v>
                </c:pt>
                <c:pt idx="52">
                  <c:v>0.20883534209595855</c:v>
                </c:pt>
                <c:pt idx="53">
                  <c:v>0.2392580709519571</c:v>
                </c:pt>
                <c:pt idx="54">
                  <c:v>0.188313552112825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6301</c:v>
                </c:pt>
                <c:pt idx="1">
                  <c:v>931.0434</c:v>
                </c:pt>
                <c:pt idx="2">
                  <c:v>1015.7193</c:v>
                </c:pt>
                <c:pt idx="3">
                  <c:v>1040.4501</c:v>
                </c:pt>
                <c:pt idx="4">
                  <c:v>1057.2977</c:v>
                </c:pt>
                <c:pt idx="5">
                  <c:v>1042.0015</c:v>
                </c:pt>
                <c:pt idx="6">
                  <c:v>976.6456</c:v>
                </c:pt>
                <c:pt idx="7">
                  <c:v>1006.487</c:v>
                </c:pt>
                <c:pt idx="8">
                  <c:v>1015.7774</c:v>
                </c:pt>
                <c:pt idx="9">
                  <c:v>970.8206</c:v>
                </c:pt>
                <c:pt idx="10">
                  <c:v>956.3313</c:v>
                </c:pt>
                <c:pt idx="11">
                  <c:v>1009.1438</c:v>
                </c:pt>
                <c:pt idx="12">
                  <c:v>1001.7734</c:v>
                </c:pt>
                <c:pt idx="13">
                  <c:v>990.2179</c:v>
                </c:pt>
                <c:pt idx="14">
                  <c:v>979.6933</c:v>
                </c:pt>
                <c:pt idx="15">
                  <c:v>978.2425</c:v>
                </c:pt>
                <c:pt idx="16">
                  <c:v>988.8941</c:v>
                </c:pt>
                <c:pt idx="17">
                  <c:v>993.8796</c:v>
                </c:pt>
                <c:pt idx="18">
                  <c:v>1043.6943</c:v>
                </c:pt>
                <c:pt idx="19">
                  <c:v>1050.5381</c:v>
                </c:pt>
                <c:pt idx="20">
                  <c:v>1042.2577</c:v>
                </c:pt>
                <c:pt idx="21">
                  <c:v>1049.0255</c:v>
                </c:pt>
                <c:pt idx="22">
                  <c:v>1016.0945</c:v>
                </c:pt>
                <c:pt idx="23">
                  <c:v>1014.8909</c:v>
                </c:pt>
                <c:pt idx="24">
                  <c:v>1008.7763</c:v>
                </c:pt>
                <c:pt idx="25">
                  <c:v>989.1827</c:v>
                </c:pt>
                <c:pt idx="26">
                  <c:v>1001.8386</c:v>
                </c:pt>
                <c:pt idx="27">
                  <c:v>1040.434</c:v>
                </c:pt>
                <c:pt idx="28">
                  <c:v>1021.2641</c:v>
                </c:pt>
                <c:pt idx="29">
                  <c:v>920.0095</c:v>
                </c:pt>
                <c:pt idx="30">
                  <c:v>938.9239</c:v>
                </c:pt>
                <c:pt idx="31">
                  <c:v>989.7822</c:v>
                </c:pt>
                <c:pt idx="32">
                  <c:v>966.3314</c:v>
                </c:pt>
                <c:pt idx="33">
                  <c:v>936.0211</c:v>
                </c:pt>
                <c:pt idx="34">
                  <c:v>981.9323</c:v>
                </c:pt>
                <c:pt idx="35">
                  <c:v>1053.994</c:v>
                </c:pt>
                <c:pt idx="36">
                  <c:v>1123.7446</c:v>
                </c:pt>
                <c:pt idx="37">
                  <c:v>1131.1163</c:v>
                </c:pt>
                <c:pt idx="38">
                  <c:v>1161.219</c:v>
                </c:pt>
                <c:pt idx="39">
                  <c:v>1166.8673</c:v>
                </c:pt>
                <c:pt idx="40">
                  <c:v>1194.718</c:v>
                </c:pt>
                <c:pt idx="41">
                  <c:v>1262.7033</c:v>
                </c:pt>
                <c:pt idx="42">
                  <c:v>1320.1663</c:v>
                </c:pt>
                <c:pt idx="43">
                  <c:v>1314.3088</c:v>
                </c:pt>
                <c:pt idx="44">
                  <c:v>1173.6789</c:v>
                </c:pt>
                <c:pt idx="45">
                  <c:v>1090.0334</c:v>
                </c:pt>
                <c:pt idx="46">
                  <c:v>1082.3467</c:v>
                </c:pt>
                <c:pt idx="47">
                  <c:v>1061.5251</c:v>
                </c:pt>
                <c:pt idx="48">
                  <c:v>1060.9528</c:v>
                </c:pt>
                <c:pt idx="49">
                  <c:v>1026.9312</c:v>
                </c:pt>
                <c:pt idx="50">
                  <c:v>1024.1465</c:v>
                </c:pt>
                <c:pt idx="51">
                  <c:v>1033.3927</c:v>
                </c:pt>
                <c:pt idx="52">
                  <c:v>1062.3365</c:v>
                </c:pt>
                <c:pt idx="53">
                  <c:v>1136.868</c:v>
                </c:pt>
                <c:pt idx="54">
                  <c:v>1114.5379</c:v>
                </c:pt>
                <c:pt idx="55">
                  <c:v>1131.2436</c:v>
                </c:pt>
                <c:pt idx="56">
                  <c:v>1152.6556</c:v>
                </c:pt>
                <c:pt idx="57">
                  <c:v>1147.3762</c:v>
                </c:pt>
                <c:pt idx="58">
                  <c:v>1121.0736</c:v>
                </c:pt>
                <c:pt idx="59">
                  <c:v>1103.1889</c:v>
                </c:pt>
                <c:pt idx="60">
                  <c:v>1147.6779</c:v>
                </c:pt>
                <c:pt idx="61">
                  <c:v>1153.8199</c:v>
                </c:pt>
                <c:pt idx="62">
                  <c:v>1116.3976</c:v>
                </c:pt>
                <c:pt idx="63">
                  <c:v>1135.2374</c:v>
                </c:pt>
                <c:pt idx="64">
                  <c:v>1129.6657</c:v>
                </c:pt>
                <c:pt idx="65">
                  <c:v>1123.896</c:v>
                </c:pt>
                <c:pt idx="66">
                  <c:v>1063.8647</c:v>
                </c:pt>
                <c:pt idx="67">
                  <c:v>1051.6701</c:v>
                </c:pt>
                <c:pt idx="68">
                  <c:v>1019.8199</c:v>
                </c:pt>
                <c:pt idx="69">
                  <c:v>1022.4327</c:v>
                </c:pt>
                <c:pt idx="70">
                  <c:v>1005.9442</c:v>
                </c:pt>
                <c:pt idx="71">
                  <c:v>1068.4229</c:v>
                </c:pt>
                <c:pt idx="72">
                  <c:v>1076.7544</c:v>
                </c:pt>
                <c:pt idx="73">
                  <c:v>1119.1109</c:v>
                </c:pt>
                <c:pt idx="74">
                  <c:v>1036.0453</c:v>
                </c:pt>
                <c:pt idx="75">
                  <c:v>1071.163</c:v>
                </c:pt>
                <c:pt idx="76">
                  <c:v>1107.9478</c:v>
                </c:pt>
                <c:pt idx="77">
                  <c:v>1100.255</c:v>
                </c:pt>
                <c:pt idx="78">
                  <c:v>1166.9036</c:v>
                </c:pt>
                <c:pt idx="79">
                  <c:v>678.7004</c:v>
                </c:pt>
                <c:pt idx="80">
                  <c:v>681.3818</c:v>
                </c:pt>
                <c:pt idx="81">
                  <c:v>920.846</c:v>
                </c:pt>
                <c:pt idx="82">
                  <c:v>833.2881</c:v>
                </c:pt>
                <c:pt idx="83">
                  <c:v>963.1536</c:v>
                </c:pt>
                <c:pt idx="84">
                  <c:v>976.0601</c:v>
                </c:pt>
                <c:pt idx="85">
                  <c:v>1012.0511</c:v>
                </c:pt>
                <c:pt idx="86">
                  <c:v>1187.8014</c:v>
                </c:pt>
                <c:pt idx="87">
                  <c:v>1241.2681</c:v>
                </c:pt>
                <c:pt idx="88">
                  <c:v>1182.6522</c:v>
                </c:pt>
                <c:pt idx="89">
                  <c:v>1079.108</c:v>
                </c:pt>
                <c:pt idx="90">
                  <c:v>1234.4985</c:v>
                </c:pt>
                <c:pt idx="91">
                  <c:v>1127.066</c:v>
                </c:pt>
                <c:pt idx="92">
                  <c:v>1221.5338</c:v>
                </c:pt>
                <c:pt idx="93">
                  <c:v>1278.3774</c:v>
                </c:pt>
                <c:pt idx="94">
                  <c:v>1217.6702</c:v>
                </c:pt>
                <c:pt idx="95">
                  <c:v>1265.2338</c:v>
                </c:pt>
                <c:pt idx="96">
                  <c:v>1218.0098</c:v>
                </c:pt>
                <c:pt idx="97">
                  <c:v>1210.1642</c:v>
                </c:pt>
                <c:pt idx="98">
                  <c:v>1207.838</c:v>
                </c:pt>
                <c:pt idx="99">
                  <c:v>1128.403</c:v>
                </c:pt>
                <c:pt idx="100">
                  <c:v>1170.0968</c:v>
                </c:pt>
                <c:pt idx="101">
                  <c:v>1150.4756</c:v>
                </c:pt>
                <c:pt idx="102">
                  <c:v>1157.0907</c:v>
                </c:pt>
                <c:pt idx="103">
                  <c:v>1089.7577</c:v>
                </c:pt>
                <c:pt idx="104">
                  <c:v>1178.2633</c:v>
                </c:pt>
              </c:numCache>
            </c:numRef>
          </c:xVal>
          <c:yVal>
            <c:numRef>
              <c:f>Sheet1!$B$2:$B$106</c:f>
              <c:numCache>
                <c:formatCode>General</c:formatCode>
                <c:ptCount val="105"/>
                <c:pt idx="0">
                  <c:v>0.2545529801324503</c:v>
                </c:pt>
                <c:pt idx="1">
                  <c:v>0.2398477157360406</c:v>
                </c:pt>
                <c:pt idx="2">
                  <c:v>0.21215880893300249</c:v>
                </c:pt>
                <c:pt idx="3">
                  <c:v>0.2144516129032258</c:v>
                </c:pt>
                <c:pt idx="4">
                  <c:v>0.22245322245322247</c:v>
                </c:pt>
                <c:pt idx="5">
                  <c:v>0.20989917506874428</c:v>
                </c:pt>
                <c:pt idx="6">
                  <c:v>0.22201890820372064</c:v>
                </c:pt>
                <c:pt idx="7">
                  <c:v>0.23017271765949948</c:v>
                </c:pt>
                <c:pt idx="8">
                  <c:v>0.2243963363863447</c:v>
                </c:pt>
                <c:pt idx="9">
                  <c:v>0.22633621976709464</c:v>
                </c:pt>
                <c:pt idx="10">
                  <c:v>0.23370197904540163</c:v>
                </c:pt>
                <c:pt idx="11">
                  <c:v>0.2300556586270872</c:v>
                </c:pt>
                <c:pt idx="12">
                  <c:v>0.2468607305936073</c:v>
                </c:pt>
                <c:pt idx="13">
                  <c:v>0.25161653078436885</c:v>
                </c:pt>
                <c:pt idx="14">
                  <c:v>0.24630969609261938</c:v>
                </c:pt>
                <c:pt idx="15">
                  <c:v>0.24577621931781957</c:v>
                </c:pt>
                <c:pt idx="16">
                  <c:v>0.2487768159578472</c:v>
                </c:pt>
                <c:pt idx="17">
                  <c:v>0.21924718665114473</c:v>
                </c:pt>
                <c:pt idx="18">
                  <c:v>0.20634920634920634</c:v>
                </c:pt>
                <c:pt idx="19">
                  <c:v>0.20357310766337564</c:v>
                </c:pt>
                <c:pt idx="20">
                  <c:v>0.22104063805545004</c:v>
                </c:pt>
                <c:pt idx="21">
                  <c:v>0.23799898938858008</c:v>
                </c:pt>
                <c:pt idx="22">
                  <c:v>0.24377880184331796</c:v>
                </c:pt>
                <c:pt idx="23">
                  <c:v>0.23796033994334279</c:v>
                </c:pt>
                <c:pt idx="24">
                  <c:v>0.24320063066614112</c:v>
                </c:pt>
                <c:pt idx="25">
                  <c:v>0.24253731343283583</c:v>
                </c:pt>
                <c:pt idx="26">
                  <c:v>0.2365734576120728</c:v>
                </c:pt>
                <c:pt idx="27">
                  <c:v>0.22030328559393428</c:v>
                </c:pt>
                <c:pt idx="28">
                  <c:v>0.22005323868677906</c:v>
                </c:pt>
                <c:pt idx="29">
                  <c:v>0.234921816827997</c:v>
                </c:pt>
                <c:pt idx="30">
                  <c:v>0.23369565217391305</c:v>
                </c:pt>
                <c:pt idx="31">
                  <c:v>0.22408182240818225</c:v>
                </c:pt>
                <c:pt idx="32">
                  <c:v>0.23829201101928374</c:v>
                </c:pt>
                <c:pt idx="33">
                  <c:v>0.24896887889013875</c:v>
                </c:pt>
                <c:pt idx="34">
                  <c:v>0.24560853199498117</c:v>
                </c:pt>
                <c:pt idx="35">
                  <c:v>0.24881516587677724</c:v>
                </c:pt>
                <c:pt idx="36">
                  <c:v>0.21348314606741572</c:v>
                </c:pt>
                <c:pt idx="37">
                  <c:v>0.18280542986425338</c:v>
                </c:pt>
                <c:pt idx="38">
                  <c:v>0.18587542913192742</c:v>
                </c:pt>
                <c:pt idx="39">
                  <c:v>0.19427207637231503</c:v>
                </c:pt>
                <c:pt idx="40">
                  <c:v>0.18635855385762207</c:v>
                </c:pt>
                <c:pt idx="41">
                  <c:v>0.16984965461194637</c:v>
                </c:pt>
                <c:pt idx="42">
                  <c:v>0.17516387472687545</c:v>
                </c:pt>
                <c:pt idx="43">
                  <c:v>0.1721536351165981</c:v>
                </c:pt>
                <c:pt idx="44">
                  <c:v>0.2001466275659824</c:v>
                </c:pt>
                <c:pt idx="45">
                  <c:v>0.23119556611243072</c:v>
                </c:pt>
                <c:pt idx="46">
                  <c:v>0.24199466310873916</c:v>
                </c:pt>
                <c:pt idx="47">
                  <c:v>0.23950531266329908</c:v>
                </c:pt>
                <c:pt idx="48">
                  <c:v>0.24989599223408682</c:v>
                </c:pt>
                <c:pt idx="49">
                  <c:v>0.28301701248893696</c:v>
                </c:pt>
                <c:pt idx="50">
                  <c:v>0.2535211267605634</c:v>
                </c:pt>
                <c:pt idx="51">
                  <c:v>0.23253796095444684</c:v>
                </c:pt>
                <c:pt idx="52">
                  <c:v>0.22770700636942676</c:v>
                </c:pt>
                <c:pt idx="53">
                  <c:v>0.22567394094993581</c:v>
                </c:pt>
                <c:pt idx="54">
                  <c:v>0.22025442753803942</c:v>
                </c:pt>
                <c:pt idx="55">
                  <c:v>0.21792477994131768</c:v>
                </c:pt>
                <c:pt idx="56">
                  <c:v>0.221438263229308</c:v>
                </c:pt>
                <c:pt idx="57">
                  <c:v>0.21577243293246995</c:v>
                </c:pt>
                <c:pt idx="58">
                  <c:v>0.22811671087533156</c:v>
                </c:pt>
                <c:pt idx="59">
                  <c:v>0.2296220979495001</c:v>
                </c:pt>
                <c:pt idx="60">
                  <c:v>0.2458953061618698</c:v>
                </c:pt>
                <c:pt idx="61">
                  <c:v>0.23438379290939787</c:v>
                </c:pt>
                <c:pt idx="62">
                  <c:v>0.22292374939290918</c:v>
                </c:pt>
                <c:pt idx="63">
                  <c:v>0.25910735826296744</c:v>
                </c:pt>
                <c:pt idx="64">
                  <c:v>0.25630652070442644</c:v>
                </c:pt>
                <c:pt idx="65">
                  <c:v>0.24292929292929294</c:v>
                </c:pt>
                <c:pt idx="66">
                  <c:v>0.2413360120542441</c:v>
                </c:pt>
                <c:pt idx="67">
                  <c:v>0.24676056338028168</c:v>
                </c:pt>
                <c:pt idx="68">
                  <c:v>0.23282811996130282</c:v>
                </c:pt>
                <c:pt idx="69">
                  <c:v>0.22235528942115768</c:v>
                </c:pt>
                <c:pt idx="70">
                  <c:v>0.19738988580750408</c:v>
                </c:pt>
                <c:pt idx="71">
                  <c:v>0.21409455842997324</c:v>
                </c:pt>
                <c:pt idx="72">
                  <c:v>0.22886762360446572</c:v>
                </c:pt>
                <c:pt idx="73">
                  <c:v>0.219932716568545</c:v>
                </c:pt>
                <c:pt idx="74">
                  <c:v>0.24141833270463975</c:v>
                </c:pt>
                <c:pt idx="75">
                  <c:v>0.2410480349344978</c:v>
                </c:pt>
                <c:pt idx="76">
                  <c:v>0.2372558361124345</c:v>
                </c:pt>
                <c:pt idx="77">
                  <c:v>0.2222774738935853</c:v>
                </c:pt>
                <c:pt idx="78">
                  <c:v>0.21023302938196556</c:v>
                </c:pt>
                <c:pt idx="79">
                  <c:v>0.31584948688711517</c:v>
                </c:pt>
                <c:pt idx="80">
                  <c:v>0.3077821011673152</c:v>
                </c:pt>
                <c:pt idx="81">
                  <c:v>0.23492994460736397</c:v>
                </c:pt>
                <c:pt idx="82">
                  <c:v>0.258777633289987</c:v>
                </c:pt>
                <c:pt idx="83">
                  <c:v>0.20554016620498616</c:v>
                </c:pt>
                <c:pt idx="84">
                  <c:v>0.22319347319347319</c:v>
                </c:pt>
                <c:pt idx="85">
                  <c:v>0.22482758620689655</c:v>
                </c:pt>
                <c:pt idx="86">
                  <c:v>0.20368364030335862</c:v>
                </c:pt>
                <c:pt idx="87">
                  <c:v>0.22279625443978043</c:v>
                </c:pt>
                <c:pt idx="88">
                  <c:v>0.22340942204953862</c:v>
                </c:pt>
                <c:pt idx="89">
                  <c:v>0.21671309192200558</c:v>
                </c:pt>
                <c:pt idx="90">
                  <c:v>0.18500539374325783</c:v>
                </c:pt>
                <c:pt idx="91">
                  <c:v>0.20040691759918616</c:v>
                </c:pt>
                <c:pt idx="92">
                  <c:v>0.19717138103161397</c:v>
                </c:pt>
                <c:pt idx="93">
                  <c:v>0.19224353628023352</c:v>
                </c:pt>
                <c:pt idx="94">
                  <c:v>0.20923761825264328</c:v>
                </c:pt>
                <c:pt idx="95">
                  <c:v>0.19859985261606486</c:v>
                </c:pt>
                <c:pt idx="96">
                  <c:v>0.18212005108556834</c:v>
                </c:pt>
                <c:pt idx="97">
                  <c:v>0.20190779014308427</c:v>
                </c:pt>
                <c:pt idx="98">
                  <c:v>0.21776089708808102</c:v>
                </c:pt>
                <c:pt idx="99">
                  <c:v>0.22225437708001736</c:v>
                </c:pt>
                <c:pt idx="100">
                  <c:v>0.2381113746752513</c:v>
                </c:pt>
                <c:pt idx="101">
                  <c:v>0.23108769288671435</c:v>
                </c:pt>
                <c:pt idx="102">
                  <c:v>0.20125130344108447</c:v>
                </c:pt>
                <c:pt idx="103">
                  <c:v>0.20717745486569794</c:v>
                </c:pt>
                <c:pt idx="104">
                  <c:v>0.20626003210272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numCache>
            </c:numRef>
          </c:xVal>
          <c:yVal>
            <c:numRef>
              <c:f>Sheet1!$B$109:$B$160</c:f>
              <c:numCache>
                <c:formatCode>General</c:formatCode>
                <c:ptCount val="52"/>
                <c:pt idx="0">
                  <c:v>0.1989873417721519</c:v>
                </c:pt>
                <c:pt idx="1">
                  <c:v>0.21329167850042602</c:v>
                </c:pt>
                <c:pt idx="2">
                  <c:v>0.21897098268714948</c:v>
                </c:pt>
                <c:pt idx="3">
                  <c:v>0.22480812082198565</c:v>
                </c:pt>
                <c:pt idx="4">
                  <c:v>0.2236842105263158</c:v>
                </c:pt>
                <c:pt idx="5">
                  <c:v>0.2052169284003194</c:v>
                </c:pt>
                <c:pt idx="6">
                  <c:v>0.20852764823451034</c:v>
                </c:pt>
                <c:pt idx="7">
                  <c:v>0.19712103407755582</c:v>
                </c:pt>
                <c:pt idx="8">
                  <c:v>0.18891013384321223</c:v>
                </c:pt>
                <c:pt idx="9">
                  <c:v>0.20861372812920592</c:v>
                </c:pt>
                <c:pt idx="10">
                  <c:v>0.21568627450980393</c:v>
                </c:pt>
                <c:pt idx="11">
                  <c:v>0.23578811369509045</c:v>
                </c:pt>
                <c:pt idx="12">
                  <c:v>0.23801560758082496</c:v>
                </c:pt>
                <c:pt idx="13">
                  <c:v>0.23828984596038982</c:v>
                </c:pt>
                <c:pt idx="14">
                  <c:v>0.24293601818772328</c:v>
                </c:pt>
                <c:pt idx="15">
                  <c:v>0.22445879225218382</c:v>
                </c:pt>
                <c:pt idx="16">
                  <c:v>0.1942222222222222</c:v>
                </c:pt>
                <c:pt idx="17">
                  <c:v>0.18505338078291814</c:v>
                </c:pt>
                <c:pt idx="18">
                  <c:v>0.1694997571636717</c:v>
                </c:pt>
                <c:pt idx="19">
                  <c:v>0.18284936479128858</c:v>
                </c:pt>
                <c:pt idx="20">
                  <c:v>0.1729064039408867</c:v>
                </c:pt>
                <c:pt idx="21">
                  <c:v>0.17783783783783783</c:v>
                </c:pt>
                <c:pt idx="22">
                  <c:v>0.17541152263374485</c:v>
                </c:pt>
                <c:pt idx="23">
                  <c:v>0.18082191780821918</c:v>
                </c:pt>
                <c:pt idx="24">
                  <c:v>0.18025151374010248</c:v>
                </c:pt>
                <c:pt idx="25">
                  <c:v>0.19336219336219337</c:v>
                </c:pt>
                <c:pt idx="26">
                  <c:v>0.17445054945054944</c:v>
                </c:pt>
                <c:pt idx="27">
                  <c:v>0.17142857142857143</c:v>
                </c:pt>
                <c:pt idx="28">
                  <c:v>0.18919984233346474</c:v>
                </c:pt>
                <c:pt idx="29">
                  <c:v>0.20140515222482436</c:v>
                </c:pt>
                <c:pt idx="30">
                  <c:v>0.1939918533604888</c:v>
                </c:pt>
                <c:pt idx="31">
                  <c:v>0.18909899888765294</c:v>
                </c:pt>
                <c:pt idx="32">
                  <c:v>0.1972093023255814</c:v>
                </c:pt>
                <c:pt idx="33">
                  <c:v>0.228</c:v>
                </c:pt>
                <c:pt idx="34">
                  <c:v>0.2544927536231884</c:v>
                </c:pt>
                <c:pt idx="35">
                  <c:v>0.25170340681362724</c:v>
                </c:pt>
                <c:pt idx="36">
                  <c:v>0.19791666666666666</c:v>
                </c:pt>
                <c:pt idx="37">
                  <c:v>0.17158671586715868</c:v>
                </c:pt>
                <c:pt idx="38">
                  <c:v>0.18080495356037152</c:v>
                </c:pt>
                <c:pt idx="39">
                  <c:v>0.19860973187686196</c:v>
                </c:pt>
                <c:pt idx="40">
                  <c:v>0.17427589592538045</c:v>
                </c:pt>
                <c:pt idx="41">
                  <c:v>0.1821917808219178</c:v>
                </c:pt>
                <c:pt idx="42">
                  <c:v>0.1782477341389728</c:v>
                </c:pt>
                <c:pt idx="43">
                  <c:v>0.16912558474271322</c:v>
                </c:pt>
                <c:pt idx="44">
                  <c:v>0.16753246753246753</c:v>
                </c:pt>
                <c:pt idx="45">
                  <c:v>0.18616757560733763</c:v>
                </c:pt>
                <c:pt idx="46">
                  <c:v>0.18533123028391169</c:v>
                </c:pt>
                <c:pt idx="47">
                  <c:v>0.19191668732953138</c:v>
                </c:pt>
                <c:pt idx="48">
                  <c:v>0.1835909631391201</c:v>
                </c:pt>
                <c:pt idx="49">
                  <c:v>0.19087467623032475</c:v>
                </c:pt>
                <c:pt idx="50">
                  <c:v>0.2202607278652906</c:v>
                </c:pt>
                <c:pt idx="51">
                  <c:v>0.219951121972894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21.38586294795</c:v>
                </c:pt>
              </c:numCache>
            </c:numRef>
          </c:xVal>
          <c:yVal>
            <c:numRef>
              <c:f>Sheet1!$B$163:$B$164</c:f>
              <c:numCache>
                <c:formatCode>General</c:formatCode>
                <c:ptCount val="2"/>
                <c:pt idx="0">
                  <c:v>0.23925807095195709</c:v>
                </c:pt>
                <c:pt idx="1">
                  <c:v>0.239258070951957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21.38586294795</c:v>
                </c:pt>
                <c:pt idx="1">
                  <c:v>1021.38586294795</c:v>
                </c:pt>
              </c:numCache>
            </c:numRef>
          </c:xVal>
          <c:yVal>
            <c:numRef>
              <c:f>Sheet1!$B$167:$B$168</c:f>
              <c:numCache>
                <c:formatCode>General</c:formatCode>
                <c:ptCount val="2"/>
                <c:pt idx="0">
                  <c:v>0.239258070951957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25.2697788634957</c:v>
                </c:pt>
              </c:numCache>
            </c:numRef>
          </c:xVal>
          <c:yVal>
            <c:numRef>
              <c:f>Sheet1!$B$171:$B$172</c:f>
              <c:numCache>
                <c:formatCode>General</c:formatCode>
                <c:ptCount val="2"/>
                <c:pt idx="0">
                  <c:v>0.20883534209595853</c:v>
                </c:pt>
                <c:pt idx="1">
                  <c:v>0.208835342095958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25.2697788634957</c:v>
                </c:pt>
                <c:pt idx="1">
                  <c:v>1225.2697788634957</c:v>
                </c:pt>
              </c:numCache>
            </c:numRef>
          </c:xVal>
          <c:yVal>
            <c:numRef>
              <c:f>Sheet1!$B$175:$B$176</c:f>
              <c:numCache>
                <c:formatCode>General</c:formatCode>
                <c:ptCount val="2"/>
                <c:pt idx="0">
                  <c:v>0.208835342095958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62.8006007421748</c:v>
                </c:pt>
              </c:numCache>
            </c:numRef>
          </c:xVal>
          <c:yVal>
            <c:numRef>
              <c:f>Sheet1!$B$179:$B$180</c:f>
              <c:numCache>
                <c:formatCode>General</c:formatCode>
                <c:ptCount val="2"/>
                <c:pt idx="0">
                  <c:v>0.18831355211282502</c:v>
                </c:pt>
                <c:pt idx="1">
                  <c:v>0.1883135521128250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62.8006007421748</c:v>
                </c:pt>
                <c:pt idx="1">
                  <c:v>1362.8006007421748</c:v>
                </c:pt>
              </c:numCache>
            </c:numRef>
          </c:xVal>
          <c:yVal>
            <c:numRef>
              <c:f>Sheet1!$B$183:$B$184</c:f>
              <c:numCache>
                <c:formatCode>General</c:formatCode>
                <c:ptCount val="2"/>
                <c:pt idx="0">
                  <c:v>0.1883135521128250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5.2913</c:v>
                </c:pt>
                <c:pt idx="1">
                  <c:v>1193.5166</c:v>
                </c:pt>
                <c:pt idx="2">
                  <c:v>1186.9042</c:v>
                </c:pt>
                <c:pt idx="3">
                  <c:v>1214.5011</c:v>
                </c:pt>
                <c:pt idx="4">
                  <c:v>1214.8776</c:v>
                </c:pt>
                <c:pt idx="5">
                  <c:v>1226.9818</c:v>
                </c:pt>
                <c:pt idx="6">
                  <c:v>1158.0266</c:v>
                </c:pt>
                <c:pt idx="7">
                  <c:v>1230.1341</c:v>
                </c:pt>
                <c:pt idx="8">
                  <c:v>1308.7085</c:v>
                </c:pt>
                <c:pt idx="9">
                  <c:v>1251.0484</c:v>
                </c:pt>
                <c:pt idx="10">
                  <c:v>1285.4687</c:v>
                </c:pt>
                <c:pt idx="11">
                  <c:v>1085.7836</c:v>
                </c:pt>
                <c:pt idx="12">
                  <c:v>1150.8747</c:v>
                </c:pt>
                <c:pt idx="13">
                  <c:v>1200.4301</c:v>
                </c:pt>
                <c:pt idx="14">
                  <c:v>1187.5481</c:v>
                </c:pt>
                <c:pt idx="15">
                  <c:v>1241.6396</c:v>
                </c:pt>
                <c:pt idx="16">
                  <c:v>1275.5881</c:v>
                </c:pt>
                <c:pt idx="17">
                  <c:v>1238.8894</c:v>
                </c:pt>
                <c:pt idx="18">
                  <c:v>1315.5731</c:v>
                </c:pt>
                <c:pt idx="19">
                  <c:v>1418.139</c:v>
                </c:pt>
                <c:pt idx="20">
                  <c:v>1411.4444</c:v>
                </c:pt>
                <c:pt idx="21">
                  <c:v>1384.5805</c:v>
                </c:pt>
                <c:pt idx="22">
                  <c:v>1383.7566</c:v>
                </c:pt>
                <c:pt idx="23">
                  <c:v>1333.4697</c:v>
                </c:pt>
                <c:pt idx="24">
                  <c:v>1314.3204</c:v>
                </c:pt>
                <c:pt idx="25">
                  <c:v>1230.301</c:v>
                </c:pt>
                <c:pt idx="26">
                  <c:v>1306.6142</c:v>
                </c:pt>
                <c:pt idx="27">
                  <c:v>1347.9254</c:v>
                </c:pt>
                <c:pt idx="28">
                  <c:v>1302.1958</c:v>
                </c:pt>
                <c:pt idx="29">
                  <c:v>1309.486</c:v>
                </c:pt>
                <c:pt idx="30">
                  <c:v>1311.0289</c:v>
                </c:pt>
                <c:pt idx="31">
                  <c:v>1262.2294</c:v>
                </c:pt>
                <c:pt idx="32">
                  <c:v>1256.0</c:v>
                </c:pt>
                <c:pt idx="33">
                  <c:v>1316.5885</c:v>
                </c:pt>
                <c:pt idx="34">
                  <c:v>1337.049</c:v>
                </c:pt>
                <c:pt idx="35">
                  <c:v>1313.0271</c:v>
                </c:pt>
                <c:pt idx="36">
                  <c:v>1331.7018</c:v>
                </c:pt>
                <c:pt idx="37">
                  <c:v>1442.4122</c:v>
                </c:pt>
                <c:pt idx="38">
                  <c:v>1436.1712</c:v>
                </c:pt>
                <c:pt idx="39">
                  <c:v>1369.1925</c:v>
                </c:pt>
                <c:pt idx="40">
                  <c:v>1456.2648</c:v>
                </c:pt>
                <c:pt idx="41">
                  <c:v>1498.8571</c:v>
                </c:pt>
                <c:pt idx="42">
                  <c:v>1498.226</c:v>
                </c:pt>
                <c:pt idx="43">
                  <c:v>1447.7447</c:v>
                </c:pt>
                <c:pt idx="44">
                  <c:v>1373.907</c:v>
                </c:pt>
                <c:pt idx="45">
                  <c:v>1295.4794</c:v>
                </c:pt>
                <c:pt idx="46">
                  <c:v>1285.3887</c:v>
                </c:pt>
                <c:pt idx="47">
                  <c:v>1232.5452</c:v>
                </c:pt>
                <c:pt idx="48">
                  <c:v>1232.978</c:v>
                </c:pt>
                <c:pt idx="49">
                  <c:v>1289.5251</c:v>
                </c:pt>
                <c:pt idx="50">
                  <c:v>1140.8292</c:v>
                </c:pt>
                <c:pt idx="51">
                  <c:v>1091.2242</c:v>
                </c:pt>
                <c:pt idx="52">
                  <c:v>1225.2697788634957</c:v>
                </c:pt>
                <c:pt idx="53">
                  <c:v>1021.38586294795</c:v>
                </c:pt>
                <c:pt idx="54">
                  <c:v>1362.8006007421748</c:v>
                </c:pt>
              </c:numCache>
            </c:numRef>
          </c:xVal>
          <c:yVal>
            <c:numRef>
              <c:f>Sheet1!$B$187:$B$241</c:f>
              <c:numCache>
                <c:formatCode>General</c:formatCode>
                <c:ptCount val="55"/>
                <c:pt idx="0">
                  <c:v>0.20733997146364824</c:v>
                </c:pt>
                <c:pt idx="1">
                  <c:v>0.213573422324319</c:v>
                </c:pt>
                <c:pt idx="2">
                  <c:v>0.21456009776354656</c:v>
                </c:pt>
                <c:pt idx="3">
                  <c:v>0.210442200566036</c:v>
                </c:pt>
                <c:pt idx="4">
                  <c:v>0.2103860207670418</c:v>
                </c:pt>
                <c:pt idx="5">
                  <c:v>0.20857988126376037</c:v>
                </c:pt>
                <c:pt idx="6">
                  <c:v>0.21886909580719754</c:v>
                </c:pt>
                <c:pt idx="7">
                  <c:v>0.2081095078763251</c:v>
                </c:pt>
                <c:pt idx="8">
                  <c:v>0.1963849554245615</c:v>
                </c:pt>
                <c:pt idx="9">
                  <c:v>0.20498876107657965</c:v>
                </c:pt>
                <c:pt idx="10">
                  <c:v>0.19985270387785542</c:v>
                </c:pt>
                <c:pt idx="11">
                  <c:v>0.2296489024970705</c:v>
                </c:pt>
                <c:pt idx="12">
                  <c:v>0.21993627324259335</c:v>
                </c:pt>
                <c:pt idx="13">
                  <c:v>0.21254181796748944</c:v>
                </c:pt>
                <c:pt idx="14">
                  <c:v>0.21446401762391215</c:v>
                </c:pt>
                <c:pt idx="15">
                  <c:v>0.2063927039524801</c:v>
                </c:pt>
                <c:pt idx="16">
                  <c:v>0.20132704683122055</c:v>
                </c:pt>
                <c:pt idx="17">
                  <c:v>0.20680307761302144</c:v>
                </c:pt>
                <c:pt idx="18">
                  <c:v>0.1953606477268842</c:v>
                </c:pt>
                <c:pt idx="19">
                  <c:v>0.18005618120455202</c:v>
                </c:pt>
                <c:pt idx="20">
                  <c:v>0.1810551221935201</c:v>
                </c:pt>
                <c:pt idx="21">
                  <c:v>0.18506364411171397</c:v>
                </c:pt>
                <c:pt idx="22">
                  <c:v>0.18518658311939343</c:v>
                </c:pt>
                <c:pt idx="23">
                  <c:v>0.19269018984991365</c:v>
                </c:pt>
                <c:pt idx="24">
                  <c:v>0.19554757052688423</c:v>
                </c:pt>
                <c:pt idx="25">
                  <c:v>0.20808460373701002</c:v>
                </c:pt>
                <c:pt idx="26">
                  <c:v>0.19669745835426544</c:v>
                </c:pt>
                <c:pt idx="27">
                  <c:v>0.19053316907881063</c:v>
                </c:pt>
                <c:pt idx="28">
                  <c:v>0.19735675403521077</c:v>
                </c:pt>
                <c:pt idx="29">
                  <c:v>0.19626894003620032</c:v>
                </c:pt>
                <c:pt idx="30">
                  <c:v>0.19603871477227433</c:v>
                </c:pt>
                <c:pt idx="31">
                  <c:v>0.2033203777231825</c:v>
                </c:pt>
                <c:pt idx="32">
                  <c:v>0.20424990345984756</c:v>
                </c:pt>
                <c:pt idx="33">
                  <c:v>0.1952091338679235</c:v>
                </c:pt>
                <c:pt idx="34">
                  <c:v>0.19215610125883825</c:v>
                </c:pt>
                <c:pt idx="35">
                  <c:v>0.19574055149378777</c:v>
                </c:pt>
                <c:pt idx="36">
                  <c:v>0.19295398869889593</c:v>
                </c:pt>
                <c:pt idx="37">
                  <c:v>0.1764342330054929</c:v>
                </c:pt>
                <c:pt idx="38">
                  <c:v>0.17736548964698756</c:v>
                </c:pt>
                <c:pt idx="39">
                  <c:v>0.1873597788976969</c:v>
                </c:pt>
                <c:pt idx="40">
                  <c:v>0.1743672043639341</c:v>
                </c:pt>
                <c:pt idx="41">
                  <c:v>0.16801175455596545</c:v>
                </c:pt>
                <c:pt idx="42">
                  <c:v>0.16810592473164998</c:v>
                </c:pt>
                <c:pt idx="43">
                  <c:v>0.1756385390396589</c:v>
                </c:pt>
                <c:pt idx="44">
                  <c:v>0.1866563003788175</c:v>
                </c:pt>
                <c:pt idx="45">
                  <c:v>0.19835894793153103</c:v>
                </c:pt>
                <c:pt idx="46">
                  <c:v>0.19986464115254207</c:v>
                </c:pt>
                <c:pt idx="47">
                  <c:v>0.2077497333388619</c:v>
                </c:pt>
                <c:pt idx="48">
                  <c:v>0.20768515268280696</c:v>
                </c:pt>
                <c:pt idx="49">
                  <c:v>0.19924742436486725</c:v>
                </c:pt>
                <c:pt idx="50">
                  <c:v>0.22143522190340648</c:v>
                </c:pt>
                <c:pt idx="51">
                  <c:v>0.22883707828881608</c:v>
                </c:pt>
                <c:pt idx="52">
                  <c:v>0.20883534209595853</c:v>
                </c:pt>
                <c:pt idx="53">
                  <c:v>0.23925807095195709</c:v>
                </c:pt>
                <c:pt idx="54">
                  <c:v>0.1883135521128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9.0"/>
          <c:min val="5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90193842645382"/>
          <c:min val="0.134025974025974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5326614366746071</c:v>
                </c:pt>
                <c:pt idx="8">
                  <c:v>0.5036255767963085</c:v>
                </c:pt>
                <c:pt idx="9">
                  <c:v>0.45020987389304384</c:v>
                </c:pt>
                <c:pt idx="10">
                  <c:v>0.5902196165530633</c:v>
                </c:pt>
                <c:pt idx="11">
                  <c:v>0.6597033408319612</c:v>
                </c:pt>
                <c:pt idx="12">
                  <c:v>0.3602234250265688</c:v>
                </c:pt>
                <c:pt idx="13">
                  <c:v>0.5811528292420284</c:v>
                </c:pt>
                <c:pt idx="14">
                  <c:v>0.5555697123279202</c:v>
                </c:pt>
                <c:pt idx="15">
                  <c:v>0.5770756447949794</c:v>
                </c:pt>
                <c:pt idx="16">
                  <c:v>0.2298395597485464</c:v>
                </c:pt>
                <c:pt idx="17">
                  <c:v>0.1919604838235028</c:v>
                </c:pt>
                <c:pt idx="18">
                  <c:v>0.22438985547637058</c:v>
                </c:pt>
                <c:pt idx="19">
                  <c:v>0.3010196515445599</c:v>
                </c:pt>
                <c:pt idx="20">
                  <c:v>0.13984281381469524</c:v>
                </c:pt>
                <c:pt idx="21">
                  <c:v>0.10204758902200246</c:v>
                </c:pt>
                <c:pt idx="22">
                  <c:v>0.1130121566861774</c:v>
                </c:pt>
                <c:pt idx="23">
                  <c:v>0.6260371117566864</c:v>
                </c:pt>
                <c:pt idx="24">
                  <c:v>0.5238671182067408</c:v>
                </c:pt>
                <c:pt idx="25">
                  <c:v>0.6270340990789758</c:v>
                </c:pt>
                <c:pt idx="26">
                  <c:v>0.3210152815117865</c:v>
                </c:pt>
                <c:pt idx="27">
                  <c:v>0.3618520992020346</c:v>
                </c:pt>
                <c:pt idx="28">
                  <c:v>0.5080052279039373</c:v>
                </c:pt>
                <c:pt idx="29">
                  <c:v>0.6411575869942828</c:v>
                </c:pt>
                <c:pt idx="30">
                  <c:v>0.6162591678518643</c:v>
                </c:pt>
                <c:pt idx="31">
                  <c:v>0.6152115380372588</c:v>
                </c:pt>
                <c:pt idx="32">
                  <c:v>0.3796303263697574</c:v>
                </c:pt>
                <c:pt idx="33">
                  <c:v>0.5473426300446287</c:v>
                </c:pt>
                <c:pt idx="34">
                  <c:v>0.7547254389241689</c:v>
                </c:pt>
                <c:pt idx="35">
                  <c:v>0.9310621068143342</c:v>
                </c:pt>
                <c:pt idx="36">
                  <c:v>0.5629051841807189</c:v>
                </c:pt>
                <c:pt idx="37">
                  <c:v>0.43281785009194146</c:v>
                </c:pt>
                <c:pt idx="38">
                  <c:v>0.413723979858573</c:v>
                </c:pt>
                <c:pt idx="39">
                  <c:v>0.5125411823558453</c:v>
                </c:pt>
                <c:pt idx="40">
                  <c:v>0.6765939612294021</c:v>
                </c:pt>
                <c:pt idx="41">
                  <c:v>0.3938440950150552</c:v>
                </c:pt>
                <c:pt idx="42">
                  <c:v>0.6336604870956016</c:v>
                </c:pt>
                <c:pt idx="43">
                  <c:v>0.577201228865229</c:v>
                </c:pt>
                <c:pt idx="44">
                  <c:v>0.476619054191016</c:v>
                </c:pt>
                <c:pt idx="45">
                  <c:v>0.5983983879082937</c:v>
                </c:pt>
                <c:pt idx="46">
                  <c:v>0.7156896070336107</c:v>
                </c:pt>
                <c:pt idx="47">
                  <c:v>0.7242096125781087</c:v>
                </c:pt>
                <c:pt idx="48">
                  <c:v>0.8020449336388268</c:v>
                </c:pt>
                <c:pt idx="49">
                  <c:v>0.7070292018043345</c:v>
                </c:pt>
                <c:pt idx="50">
                  <c:v>0.6739291898358829</c:v>
                </c:pt>
                <c:pt idx="51">
                  <c:v>0.5709814259165593</c:v>
                </c:pt>
                <c:pt idx="52">
                  <c:v>0.8224903202949041</c:v>
                </c:pt>
              </c:numCache>
            </c:numRef>
          </c:xVal>
          <c:yVal>
            <c:numRef>
              <c:f>Sheet1!$B$2:$B$54</c:f>
              <c:numCache>
                <c:formatCode>General</c:formatCode>
                <c:ptCount val="53"/>
                <c:pt idx="0">
                  <c:v>0.0</c:v>
                </c:pt>
                <c:pt idx="1">
                  <c:v>0.0</c:v>
                </c:pt>
                <c:pt idx="2">
                  <c:v>0.0</c:v>
                </c:pt>
                <c:pt idx="3">
                  <c:v>0.0</c:v>
                </c:pt>
                <c:pt idx="4">
                  <c:v>0.0</c:v>
                </c:pt>
                <c:pt idx="5">
                  <c:v>0.0</c:v>
                </c:pt>
                <c:pt idx="6">
                  <c:v>0.0</c:v>
                </c:pt>
                <c:pt idx="7">
                  <c:v>0.0001694628029147602</c:v>
                </c:pt>
                <c:pt idx="8">
                  <c:v>0.00038632412594166504</c:v>
                </c:pt>
                <c:pt idx="9">
                  <c:v>0.0002813731007315701</c:v>
                </c:pt>
                <c:pt idx="10">
                  <c:v>0.00024283632831471587</c:v>
                </c:pt>
                <c:pt idx="11">
                  <c:v>0.00024125452352231604</c:v>
                </c:pt>
                <c:pt idx="12">
                  <c:v>0.00047596382674916705</c:v>
                </c:pt>
                <c:pt idx="13">
                  <c:v>0.0002525252525252525</c:v>
                </c:pt>
                <c:pt idx="14">
                  <c:v>0.00025113008538422905</c:v>
                </c:pt>
                <c:pt idx="15">
                  <c:v>0.00028169014084507044</c:v>
                </c:pt>
                <c:pt idx="16">
                  <c:v>0.0009674298613350532</c:v>
                </c:pt>
                <c:pt idx="17">
                  <c:v>0.0007984031936127744</c:v>
                </c:pt>
                <c:pt idx="18">
                  <c:v>0.0004078303425774878</c:v>
                </c:pt>
                <c:pt idx="19">
                  <c:v>0.00044603033006244426</c:v>
                </c:pt>
                <c:pt idx="20">
                  <c:v>0.0011961722488038277</c:v>
                </c:pt>
                <c:pt idx="21">
                  <c:v>0.0008410428931875525</c:v>
                </c:pt>
                <c:pt idx="22">
                  <c:v>0.0015088645794039985</c:v>
                </c:pt>
                <c:pt idx="23">
                  <c:v>0.0008733624454148472</c:v>
                </c:pt>
                <c:pt idx="24">
                  <c:v>0.0009528346831824678</c:v>
                </c:pt>
                <c:pt idx="25">
                  <c:v>0.001989060169070114</c:v>
                </c:pt>
                <c:pt idx="26">
                  <c:v>0.0035460992907801418</c:v>
                </c:pt>
                <c:pt idx="27">
                  <c:v>0.002280501710376283</c:v>
                </c:pt>
                <c:pt idx="28">
                  <c:v>0.0015564202334630351</c:v>
                </c:pt>
                <c:pt idx="29">
                  <c:v>0.0016291951775822744</c:v>
                </c:pt>
                <c:pt idx="30">
                  <c:v>0.0017338534893801473</c:v>
                </c:pt>
                <c:pt idx="31">
                  <c:v>0.00110803324099723</c:v>
                </c:pt>
                <c:pt idx="32">
                  <c:v>0.0017482517482517483</c:v>
                </c:pt>
                <c:pt idx="33">
                  <c:v>0.0018390804597701149</c:v>
                </c:pt>
                <c:pt idx="34">
                  <c:v>0.0018057060310581437</c:v>
                </c:pt>
                <c:pt idx="35">
                  <c:v>0.0016144656118824668</c:v>
                </c:pt>
                <c:pt idx="36">
                  <c:v>0.0024283632831471587</c:v>
                </c:pt>
                <c:pt idx="37">
                  <c:v>0.002785515320334262</c:v>
                </c:pt>
                <c:pt idx="38">
                  <c:v>0.002696871628910464</c:v>
                </c:pt>
                <c:pt idx="39">
                  <c:v>0.00254323499491353</c:v>
                </c:pt>
                <c:pt idx="40">
                  <c:v>0.0020798668885191347</c:v>
                </c:pt>
                <c:pt idx="41">
                  <c:v>0.0037531276063386154</c:v>
                </c:pt>
                <c:pt idx="42">
                  <c:v>0.00333889816360601</c:v>
                </c:pt>
                <c:pt idx="43">
                  <c:v>0.0029476787030213707</c:v>
                </c:pt>
                <c:pt idx="44">
                  <c:v>0.004086845466155811</c:v>
                </c:pt>
                <c:pt idx="45">
                  <c:v>0.0036338859868271633</c:v>
                </c:pt>
                <c:pt idx="46">
                  <c:v>0.003074697051908121</c:v>
                </c:pt>
                <c:pt idx="47">
                  <c:v>0.0028939372015627262</c:v>
                </c:pt>
                <c:pt idx="48">
                  <c:v>0.0027109454422229754</c:v>
                </c:pt>
                <c:pt idx="49">
                  <c:v>0.0035754610462928114</c:v>
                </c:pt>
                <c:pt idx="50">
                  <c:v>0.002867570385818561</c:v>
                </c:pt>
                <c:pt idx="51">
                  <c:v>0.0028621752531924264</c:v>
                </c:pt>
                <c:pt idx="52">
                  <c:v>0.0018726591760299626</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7217246205841034</c:v>
                </c:pt>
                <c:pt idx="1">
                  <c:v>0.931320469786032</c:v>
                </c:pt>
                <c:pt idx="2">
                  <c:v>0.9121253116537226</c:v>
                </c:pt>
                <c:pt idx="3">
                  <c:v>0.6362239870406278</c:v>
                </c:pt>
                <c:pt idx="4">
                  <c:v>0.7628237631432668</c:v>
                </c:pt>
                <c:pt idx="5">
                  <c:v>0.9466170373162458</c:v>
                </c:pt>
                <c:pt idx="6">
                  <c:v>0.8945803623043426</c:v>
                </c:pt>
                <c:pt idx="7">
                  <c:v>0.6928643525567549</c:v>
                </c:pt>
                <c:pt idx="8">
                  <c:v>0.932105860318738</c:v>
                </c:pt>
                <c:pt idx="9">
                  <c:v>0.8150726810831697</c:v>
                </c:pt>
                <c:pt idx="10">
                  <c:v>0.7299455944292698</c:v>
                </c:pt>
                <c:pt idx="11">
                  <c:v>0.881195826431428</c:v>
                </c:pt>
                <c:pt idx="12">
                  <c:v>0.6421623413308117</c:v>
                </c:pt>
                <c:pt idx="13">
                  <c:v>0.6503475603409905</c:v>
                </c:pt>
                <c:pt idx="14">
                  <c:v>0.596140528667114</c:v>
                </c:pt>
                <c:pt idx="15">
                  <c:v>0.6611865288363874</c:v>
                </c:pt>
                <c:pt idx="16">
                  <c:v>0.6852073494051873</c:v>
                </c:pt>
                <c:pt idx="17">
                  <c:v>0.4739168853158736</c:v>
                </c:pt>
                <c:pt idx="18">
                  <c:v>0.7548192099114954</c:v>
                </c:pt>
                <c:pt idx="19">
                  <c:v>0.8216301151764043</c:v>
                </c:pt>
                <c:pt idx="20">
                  <c:v>0.6527986435462144</c:v>
                </c:pt>
                <c:pt idx="21">
                  <c:v>0.6149551582698652</c:v>
                </c:pt>
                <c:pt idx="22">
                  <c:v>0.6834414370909796</c:v>
                </c:pt>
                <c:pt idx="23">
                  <c:v>0.6931330769426339</c:v>
                </c:pt>
                <c:pt idx="24">
                  <c:v>0.6130165170787129</c:v>
                </c:pt>
                <c:pt idx="25">
                  <c:v>0.5825962255007205</c:v>
                </c:pt>
                <c:pt idx="26">
                  <c:v>0.5578918181505197</c:v>
                </c:pt>
                <c:pt idx="27">
                  <c:v>0.6402955608132451</c:v>
                </c:pt>
                <c:pt idx="28">
                  <c:v>0.6862513917208659</c:v>
                </c:pt>
                <c:pt idx="29">
                  <c:v>0.7005205165625656</c:v>
                </c:pt>
                <c:pt idx="30">
                  <c:v>0.652739407548264</c:v>
                </c:pt>
                <c:pt idx="31">
                  <c:v>0.728540630988664</c:v>
                </c:pt>
                <c:pt idx="32">
                  <c:v>0.6441495850609451</c:v>
                </c:pt>
                <c:pt idx="33">
                  <c:v>0.766195905490901</c:v>
                </c:pt>
                <c:pt idx="34">
                  <c:v>0.7940847720663947</c:v>
                </c:pt>
                <c:pt idx="35">
                  <c:v>0.626706098003337</c:v>
                </c:pt>
                <c:pt idx="36">
                  <c:v>0.5332858971752246</c:v>
                </c:pt>
                <c:pt idx="37">
                  <c:v>0.4633595371567574</c:v>
                </c:pt>
                <c:pt idx="38">
                  <c:v>0.3665993580978215</c:v>
                </c:pt>
                <c:pt idx="39">
                  <c:v>0.5335222545327819</c:v>
                </c:pt>
                <c:pt idx="40">
                  <c:v>0.5032315676937172</c:v>
                </c:pt>
                <c:pt idx="41">
                  <c:v>0.547606159237778</c:v>
                </c:pt>
                <c:pt idx="42">
                  <c:v>0.7899924017190414</c:v>
                </c:pt>
                <c:pt idx="43">
                  <c:v>0.6640862713372827</c:v>
                </c:pt>
                <c:pt idx="44">
                  <c:v>0.6817304179519654</c:v>
                </c:pt>
                <c:pt idx="45">
                  <c:v>0.7408369868413075</c:v>
                </c:pt>
                <c:pt idx="46">
                  <c:v>0.6729282279881584</c:v>
                </c:pt>
                <c:pt idx="47">
                  <c:v>0.5638277092511014</c:v>
                </c:pt>
                <c:pt idx="48">
                  <c:v>0.5741156523657233</c:v>
                </c:pt>
                <c:pt idx="49">
                  <c:v>0.7750585655008891</c:v>
                </c:pt>
                <c:pt idx="50">
                  <c:v>0.8909210292055348</c:v>
                </c:pt>
                <c:pt idx="51">
                  <c:v>0.7404923257562743</c:v>
                </c:pt>
              </c:numCache>
            </c:numRef>
          </c:xVal>
          <c:yVal>
            <c:numRef>
              <c:f>Sheet1!$B$57:$B$108</c:f>
              <c:numCache>
                <c:formatCode>General</c:formatCode>
                <c:ptCount val="52"/>
                <c:pt idx="0">
                  <c:v>0.0027848101265822785</c:v>
                </c:pt>
                <c:pt idx="1">
                  <c:v>0.0025560920193126954</c:v>
                </c:pt>
                <c:pt idx="2">
                  <c:v>0.0021945866861741038</c:v>
                </c:pt>
                <c:pt idx="3">
                  <c:v>0.0029710324337707352</c:v>
                </c:pt>
                <c:pt idx="4">
                  <c:v>0.0026852846401718583</c:v>
                </c:pt>
                <c:pt idx="5">
                  <c:v>0.002129358530742614</c:v>
                </c:pt>
                <c:pt idx="6">
                  <c:v>0.0022207417277370642</c:v>
                </c:pt>
                <c:pt idx="7">
                  <c:v>0.002937720329024677</c:v>
                </c:pt>
                <c:pt idx="8">
                  <c:v>0.0030592734225621415</c:v>
                </c:pt>
                <c:pt idx="9">
                  <c:v>0.0033647375504710633</c:v>
                </c:pt>
                <c:pt idx="10">
                  <c:v>0.004056795131845842</c:v>
                </c:pt>
                <c:pt idx="11">
                  <c:v>0.0027993109388458224</c:v>
                </c:pt>
                <c:pt idx="12">
                  <c:v>0.0036231884057971015</c:v>
                </c:pt>
                <c:pt idx="13">
                  <c:v>0.005658597925180761</c:v>
                </c:pt>
                <c:pt idx="14">
                  <c:v>0.005521273140630075</c:v>
                </c:pt>
                <c:pt idx="15">
                  <c:v>0.005317128750474744</c:v>
                </c:pt>
                <c:pt idx="16">
                  <c:v>0.0044444444444444444</c:v>
                </c:pt>
                <c:pt idx="17">
                  <c:v>0.0071174377224199285</c:v>
                </c:pt>
                <c:pt idx="18">
                  <c:v>0.0029140359397765905</c:v>
                </c:pt>
                <c:pt idx="19">
                  <c:v>0.003176043557168784</c:v>
                </c:pt>
                <c:pt idx="20">
                  <c:v>0.003940886699507389</c:v>
                </c:pt>
                <c:pt idx="21">
                  <c:v>0.0037837837837837837</c:v>
                </c:pt>
                <c:pt idx="22">
                  <c:v>0.0030864197530864196</c:v>
                </c:pt>
                <c:pt idx="23">
                  <c:v>0.0032876712328767125</c:v>
                </c:pt>
                <c:pt idx="24">
                  <c:v>0.0027945971122496508</c:v>
                </c:pt>
                <c:pt idx="25">
                  <c:v>0.003367003367003367</c:v>
                </c:pt>
                <c:pt idx="26">
                  <c:v>0.004120879120879121</c:v>
                </c:pt>
                <c:pt idx="27">
                  <c:v>0.0029850746268656717</c:v>
                </c:pt>
                <c:pt idx="28">
                  <c:v>0.0027591643673630273</c:v>
                </c:pt>
                <c:pt idx="29">
                  <c:v>0.002810304449648712</c:v>
                </c:pt>
                <c:pt idx="30">
                  <c:v>0.003054989816700611</c:v>
                </c:pt>
                <c:pt idx="31">
                  <c:v>0.0033370411568409346</c:v>
                </c:pt>
                <c:pt idx="32">
                  <c:v>0.0027906976744186047</c:v>
                </c:pt>
                <c:pt idx="33">
                  <c:v>0.002909090909090909</c:v>
                </c:pt>
                <c:pt idx="34">
                  <c:v>0.0026086956521739132</c:v>
                </c:pt>
                <c:pt idx="35">
                  <c:v>0.0032064128256513026</c:v>
                </c:pt>
                <c:pt idx="36">
                  <c:v>0.004166666666666667</c:v>
                </c:pt>
                <c:pt idx="37">
                  <c:v>0.005535055350553505</c:v>
                </c:pt>
                <c:pt idx="38">
                  <c:v>0.007430340557275541</c:v>
                </c:pt>
                <c:pt idx="39">
                  <c:v>0.003972194637537239</c:v>
                </c:pt>
                <c:pt idx="40">
                  <c:v>0.004418262150220913</c:v>
                </c:pt>
                <c:pt idx="41">
                  <c:v>0.00410958904109589</c:v>
                </c:pt>
                <c:pt idx="42">
                  <c:v>0.0030211480362537764</c:v>
                </c:pt>
                <c:pt idx="43">
                  <c:v>0.0028787333573227778</c:v>
                </c:pt>
                <c:pt idx="44">
                  <c:v>0.0022727272727272726</c:v>
                </c:pt>
                <c:pt idx="45">
                  <c:v>0.0017352503718393653</c:v>
                </c:pt>
                <c:pt idx="46">
                  <c:v>0.002365930599369085</c:v>
                </c:pt>
                <c:pt idx="47">
                  <c:v>0.0022315893875526904</c:v>
                </c:pt>
                <c:pt idx="48">
                  <c:v>0.0023781212841854932</c:v>
                </c:pt>
                <c:pt idx="49">
                  <c:v>0.0017931858936043037</c:v>
                </c:pt>
                <c:pt idx="50">
                  <c:v>0.0013579576317218902</c:v>
                </c:pt>
                <c:pt idx="51">
                  <c:v>0.00222172850477671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541636676122287</c:v>
                </c:pt>
              </c:numCache>
            </c:numRef>
          </c:xVal>
          <c:yVal>
            <c:numRef>
              <c:f>Sheet1!$B$111:$B$112</c:f>
              <c:numCache>
                <c:formatCode>General</c:formatCode>
                <c:ptCount val="2"/>
                <c:pt idx="0">
                  <c:v>0.004285974153103563</c:v>
                </c:pt>
                <c:pt idx="1">
                  <c:v>0.004285974153103563</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541636676122287</c:v>
                </c:pt>
                <c:pt idx="1">
                  <c:v>0.541636676122287</c:v>
                </c:pt>
              </c:numCache>
            </c:numRef>
          </c:xVal>
          <c:yVal>
            <c:numRef>
              <c:f>Sheet1!$B$115:$B$116</c:f>
              <c:numCache>
                <c:formatCode>General</c:formatCode>
                <c:ptCount val="2"/>
                <c:pt idx="0">
                  <c:v>0.0042859741531035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541636676122287</c:v>
                </c:pt>
              </c:numCache>
            </c:numRef>
          </c:xVal>
          <c:yVal>
            <c:numRef>
              <c:f>Sheet1!$B$119:$B$120</c:f>
              <c:numCache>
                <c:formatCode>General</c:formatCode>
                <c:ptCount val="2"/>
                <c:pt idx="0">
                  <c:v>0.004285974153103563</c:v>
                </c:pt>
                <c:pt idx="1">
                  <c:v>0.004285974153103563</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541636676122287</c:v>
                </c:pt>
                <c:pt idx="1">
                  <c:v>0.541636676122287</c:v>
                </c:pt>
              </c:numCache>
            </c:numRef>
          </c:xVal>
          <c:yVal>
            <c:numRef>
              <c:f>Sheet1!$B$123:$B$124</c:f>
              <c:numCache>
                <c:formatCode>General</c:formatCode>
                <c:ptCount val="2"/>
                <c:pt idx="0">
                  <c:v>0.0042859741531035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7955942841285758</c:v>
                </c:pt>
              </c:numCache>
            </c:numRef>
          </c:xVal>
          <c:yVal>
            <c:numRef>
              <c:f>Sheet1!$B$127:$B$128</c:f>
              <c:numCache>
                <c:formatCode>General</c:formatCode>
                <c:ptCount val="2"/>
                <c:pt idx="0">
                  <c:v>0.0026735706283236476</c:v>
                </c:pt>
                <c:pt idx="1">
                  <c:v>0.0026735706283236476</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7955942841285758</c:v>
                </c:pt>
                <c:pt idx="1">
                  <c:v>0.7955942841285758</c:v>
                </c:pt>
              </c:numCache>
            </c:numRef>
          </c:xVal>
          <c:yVal>
            <c:numRef>
              <c:f>Sheet1!$B$131:$B$132</c:f>
              <c:numCache>
                <c:formatCode>General</c:formatCode>
                <c:ptCount val="2"/>
                <c:pt idx="0">
                  <c:v>0.00267357062832364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7217246205841034</c:v>
                </c:pt>
                <c:pt idx="1">
                  <c:v>0.931320469786032</c:v>
                </c:pt>
                <c:pt idx="2">
                  <c:v>0.9121253116537226</c:v>
                </c:pt>
                <c:pt idx="3">
                  <c:v>0.6362239870406278</c:v>
                </c:pt>
                <c:pt idx="4">
                  <c:v>0.7628237631432668</c:v>
                </c:pt>
                <c:pt idx="5">
                  <c:v>0.9466170373162458</c:v>
                </c:pt>
                <c:pt idx="6">
                  <c:v>0.8945803623043426</c:v>
                </c:pt>
                <c:pt idx="7">
                  <c:v>0.6928643525567549</c:v>
                </c:pt>
                <c:pt idx="8">
                  <c:v>0.932105860318738</c:v>
                </c:pt>
                <c:pt idx="9">
                  <c:v>0.8150726810831697</c:v>
                </c:pt>
                <c:pt idx="10">
                  <c:v>0.7299455944292698</c:v>
                </c:pt>
                <c:pt idx="11">
                  <c:v>0.881195826431428</c:v>
                </c:pt>
                <c:pt idx="12">
                  <c:v>0.6421623413308117</c:v>
                </c:pt>
                <c:pt idx="13">
                  <c:v>0.6503475603409905</c:v>
                </c:pt>
                <c:pt idx="14">
                  <c:v>0.596140528667114</c:v>
                </c:pt>
                <c:pt idx="15">
                  <c:v>0.6611865288363874</c:v>
                </c:pt>
                <c:pt idx="16">
                  <c:v>0.6852073494051873</c:v>
                </c:pt>
                <c:pt idx="17">
                  <c:v>0.4739168853158736</c:v>
                </c:pt>
                <c:pt idx="18">
                  <c:v>0.7548192099114954</c:v>
                </c:pt>
                <c:pt idx="19">
                  <c:v>0.8216301151764043</c:v>
                </c:pt>
                <c:pt idx="20">
                  <c:v>0.6527986435462144</c:v>
                </c:pt>
                <c:pt idx="21">
                  <c:v>0.6149551582698652</c:v>
                </c:pt>
                <c:pt idx="22">
                  <c:v>0.6834414370909796</c:v>
                </c:pt>
                <c:pt idx="23">
                  <c:v>0.6931330769426339</c:v>
                </c:pt>
                <c:pt idx="24">
                  <c:v>0.6130165170787129</c:v>
                </c:pt>
                <c:pt idx="25">
                  <c:v>0.5825962255007205</c:v>
                </c:pt>
                <c:pt idx="26">
                  <c:v>0.5578918181505197</c:v>
                </c:pt>
                <c:pt idx="27">
                  <c:v>0.6402955608132451</c:v>
                </c:pt>
                <c:pt idx="28">
                  <c:v>0.6862513917208659</c:v>
                </c:pt>
                <c:pt idx="29">
                  <c:v>0.7005205165625656</c:v>
                </c:pt>
                <c:pt idx="30">
                  <c:v>0.652739407548264</c:v>
                </c:pt>
                <c:pt idx="31">
                  <c:v>0.728540630988664</c:v>
                </c:pt>
                <c:pt idx="32">
                  <c:v>0.6441495850609451</c:v>
                </c:pt>
                <c:pt idx="33">
                  <c:v>0.766195905490901</c:v>
                </c:pt>
                <c:pt idx="34">
                  <c:v>0.7940847720663947</c:v>
                </c:pt>
                <c:pt idx="35">
                  <c:v>0.626706098003337</c:v>
                </c:pt>
                <c:pt idx="36">
                  <c:v>0.5332858971752246</c:v>
                </c:pt>
                <c:pt idx="37">
                  <c:v>0.4633595371567574</c:v>
                </c:pt>
                <c:pt idx="38">
                  <c:v>0.3665993580978215</c:v>
                </c:pt>
                <c:pt idx="39">
                  <c:v>0.5335222545327819</c:v>
                </c:pt>
                <c:pt idx="40">
                  <c:v>0.5032315676937172</c:v>
                </c:pt>
                <c:pt idx="41">
                  <c:v>0.547606159237778</c:v>
                </c:pt>
                <c:pt idx="42">
                  <c:v>0.7899924017190414</c:v>
                </c:pt>
                <c:pt idx="43">
                  <c:v>0.6640862713372827</c:v>
                </c:pt>
                <c:pt idx="44">
                  <c:v>0.6817304179519654</c:v>
                </c:pt>
                <c:pt idx="45">
                  <c:v>0.7408369868413075</c:v>
                </c:pt>
                <c:pt idx="46">
                  <c:v>0.6729282279881584</c:v>
                </c:pt>
                <c:pt idx="47">
                  <c:v>0.5638277092511014</c:v>
                </c:pt>
                <c:pt idx="48">
                  <c:v>0.5741156523657233</c:v>
                </c:pt>
                <c:pt idx="49">
                  <c:v>0.7750585655008891</c:v>
                </c:pt>
                <c:pt idx="50">
                  <c:v>0.8909210292055348</c:v>
                </c:pt>
                <c:pt idx="51">
                  <c:v>0.7404923257562743</c:v>
                </c:pt>
                <c:pt idx="52">
                  <c:v>0.541636676122287</c:v>
                </c:pt>
                <c:pt idx="53">
                  <c:v>0.541636676122287</c:v>
                </c:pt>
                <c:pt idx="54">
                  <c:v>0.7955942841285758</c:v>
                </c:pt>
              </c:numCache>
            </c:numRef>
          </c:xVal>
          <c:yVal>
            <c:numRef>
              <c:f>Sheet1!$B$135:$B$189</c:f>
              <c:numCache>
                <c:formatCode>General</c:formatCode>
                <c:ptCount val="55"/>
                <c:pt idx="0">
                  <c:v>0.0031425768802271718</c:v>
                </c:pt>
                <c:pt idx="1">
                  <c:v>0.0018118308211287548</c:v>
                </c:pt>
                <c:pt idx="2">
                  <c:v>0.001933702896055831</c:v>
                </c:pt>
                <c:pt idx="3">
                  <c:v>0.0036854293821809705</c:v>
                </c:pt>
                <c:pt idx="4">
                  <c:v>0.002881634107738204</c:v>
                </c:pt>
                <c:pt idx="5">
                  <c:v>0.0017147113073784914</c:v>
                </c:pt>
                <c:pt idx="6">
                  <c:v>0.0020450976221091845</c:v>
                </c:pt>
                <c:pt idx="7">
                  <c:v>0.003325813752942705</c:v>
                </c:pt>
                <c:pt idx="8">
                  <c:v>0.001806844294152045</c:v>
                </c:pt>
                <c:pt idx="9">
                  <c:v>0.00254990024036712</c:v>
                </c:pt>
                <c:pt idx="10">
                  <c:v>0.003090381053887755</c:v>
                </c:pt>
                <c:pt idx="11">
                  <c:v>0.002130077446058763</c:v>
                </c:pt>
                <c:pt idx="12">
                  <c:v>0.003647726147125112</c:v>
                </c:pt>
                <c:pt idx="13">
                  <c:v>0.0035957573319881347</c:v>
                </c:pt>
                <c:pt idx="14">
                  <c:v>0.003939923469104415</c:v>
                </c:pt>
                <c:pt idx="15">
                  <c:v>0.0035269395826631224</c:v>
                </c:pt>
                <c:pt idx="16">
                  <c:v>0.0033744288701182167</c:v>
                </c:pt>
                <c:pt idx="17">
                  <c:v>0.004715934217111237</c:v>
                </c:pt>
                <c:pt idx="18">
                  <c:v>0.0029324558568738987</c:v>
                </c:pt>
                <c:pt idx="19">
                  <c:v>0.00250826640262369</c:v>
                </c:pt>
                <c:pt idx="20">
                  <c:v>0.0035801951472965304</c:v>
                </c:pt>
                <c:pt idx="21">
                  <c:v>0.003820467409775988</c:v>
                </c:pt>
                <c:pt idx="22">
                  <c:v>0.003385640832863631</c:v>
                </c:pt>
                <c:pt idx="23">
                  <c:v>0.0033241075935943505</c:v>
                </c:pt>
                <c:pt idx="24">
                  <c:v>0.0038327760463017354</c:v>
                </c:pt>
                <c:pt idx="25">
                  <c:v>0.0040259176723796315</c:v>
                </c:pt>
                <c:pt idx="26">
                  <c:v>0.004182768549192412</c:v>
                </c:pt>
                <c:pt idx="27">
                  <c:v>0.003659578532687195</c:v>
                </c:pt>
                <c:pt idx="28">
                  <c:v>0.003367800135806868</c:v>
                </c:pt>
                <c:pt idx="29">
                  <c:v>0.0032772039635917335</c:v>
                </c:pt>
                <c:pt idx="30">
                  <c:v>0.0035805712428686968</c:v>
                </c:pt>
                <c:pt idx="31">
                  <c:v>0.0030993013143265115</c:v>
                </c:pt>
                <c:pt idx="32">
                  <c:v>0.0036351089279749596</c:v>
                </c:pt>
                <c:pt idx="33">
                  <c:v>0.0028602240218184695</c:v>
                </c:pt>
                <c:pt idx="34">
                  <c:v>0.0026831546789408602</c:v>
                </c:pt>
                <c:pt idx="35">
                  <c:v>0.003745859459281916</c:v>
                </c:pt>
                <c:pt idx="36">
                  <c:v>0.00433899412566752</c:v>
                </c:pt>
                <c:pt idx="37">
                  <c:v>0.004782963929344415</c:v>
                </c:pt>
                <c:pt idx="38">
                  <c:v>0.0053973044682941295</c:v>
                </c:pt>
                <c:pt idx="39">
                  <c:v>0.004337493467981282</c:v>
                </c:pt>
                <c:pt idx="40">
                  <c:v>0.0045298122199601675</c:v>
                </c:pt>
                <c:pt idx="41">
                  <c:v>0.004248073277866569</c:v>
                </c:pt>
                <c:pt idx="42">
                  <c:v>0.002709137568071766</c:v>
                </c:pt>
                <c:pt idx="43">
                  <c:v>0.003508528812983476</c:v>
                </c:pt>
                <c:pt idx="44">
                  <c:v>0.00339650427307466</c:v>
                </c:pt>
                <c:pt idx="45">
                  <c:v>0.003021230459610241</c:v>
                </c:pt>
                <c:pt idx="46">
                  <c:v>0.003452390301592748</c:v>
                </c:pt>
                <c:pt idx="47">
                  <c:v>0.0041450809531860325</c:v>
                </c:pt>
                <c:pt idx="48">
                  <c:v>0.004079761721874242</c:v>
                </c:pt>
                <c:pt idx="49">
                  <c:v>0.0028039540626263936</c:v>
                </c:pt>
                <c:pt idx="50">
                  <c:v>0.0020683311122699326</c:v>
                </c:pt>
                <c:pt idx="51">
                  <c:v>0.003023418749036672</c:v>
                </c:pt>
                <c:pt idx="52">
                  <c:v>0.0042859741531035625</c:v>
                </c:pt>
                <c:pt idx="53">
                  <c:v>0.0042859741531035625</c:v>
                </c:pt>
                <c:pt idx="54">
                  <c:v>0.00267357062832364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9164086687306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32913080007883</c:v>
                </c:pt>
                <c:pt idx="1">
                  <c:v>0.1312131825502812</c:v>
                </c:pt>
                <c:pt idx="2">
                  <c:v>0.1322923293752608</c:v>
                </c:pt>
                <c:pt idx="3">
                  <c:v>0.11447922497117137</c:v>
                </c:pt>
                <c:pt idx="4">
                  <c:v>0.09296134171985487</c:v>
                </c:pt>
                <c:pt idx="5">
                  <c:v>0.11459329326445553</c:v>
                </c:pt>
                <c:pt idx="6">
                  <c:v>0.1210178526473351</c:v>
                </c:pt>
                <c:pt idx="7">
                  <c:v>0.12258811409533273</c:v>
                </c:pt>
                <c:pt idx="8">
                  <c:v>0.10245852262598618</c:v>
                </c:pt>
                <c:pt idx="9">
                  <c:v>0.10839200751060829</c:v>
                </c:pt>
                <c:pt idx="10">
                  <c:v>0.12225578467229083</c:v>
                </c:pt>
                <c:pt idx="11">
                  <c:v>0.12660179640718563</c:v>
                </c:pt>
                <c:pt idx="12">
                  <c:v>0.1243261455042494</c:v>
                </c:pt>
                <c:pt idx="13">
                  <c:v>0.10882546440397306</c:v>
                </c:pt>
                <c:pt idx="14">
                  <c:v>0.12541202379276545</c:v>
                </c:pt>
                <c:pt idx="15">
                  <c:v>0.13302829001907124</c:v>
                </c:pt>
                <c:pt idx="16">
                  <c:v>0.11683792661983615</c:v>
                </c:pt>
                <c:pt idx="17">
                  <c:v>0.08158120503731725</c:v>
                </c:pt>
                <c:pt idx="18">
                  <c:v>0.08138219771895122</c:v>
                </c:pt>
                <c:pt idx="19">
                  <c:v>0.08637922001287462</c:v>
                </c:pt>
                <c:pt idx="20">
                  <c:v>0.09866248672196472</c:v>
                </c:pt>
                <c:pt idx="21">
                  <c:v>0.10950966288680872</c:v>
                </c:pt>
                <c:pt idx="22">
                  <c:v>0.09769686639044423</c:v>
                </c:pt>
                <c:pt idx="23">
                  <c:v>0.10100086019049094</c:v>
                </c:pt>
                <c:pt idx="24">
                  <c:v>0.09764246609844361</c:v>
                </c:pt>
                <c:pt idx="25">
                  <c:v>0.08028208294385052</c:v>
                </c:pt>
                <c:pt idx="26">
                  <c:v>0.08227019793441837</c:v>
                </c:pt>
                <c:pt idx="27">
                  <c:v>0.08499465092081669</c:v>
                </c:pt>
                <c:pt idx="28">
                  <c:v>0.07611663332651929</c:v>
                </c:pt>
                <c:pt idx="29">
                  <c:v>0.10140531762865691</c:v>
                </c:pt>
                <c:pt idx="30">
                  <c:v>0.10098202682682071</c:v>
                </c:pt>
                <c:pt idx="31">
                  <c:v>0.09185720637433689</c:v>
                </c:pt>
                <c:pt idx="32">
                  <c:v>0.10020555795339321</c:v>
                </c:pt>
                <c:pt idx="33">
                  <c:v>0.09213680230196732</c:v>
                </c:pt>
                <c:pt idx="34">
                  <c:v>0.09957616620920752</c:v>
                </c:pt>
                <c:pt idx="35">
                  <c:v>0.0854743290897137</c:v>
                </c:pt>
                <c:pt idx="36">
                  <c:v>0.08270224974005104</c:v>
                </c:pt>
                <c:pt idx="37">
                  <c:v>0.09383975020349052</c:v>
                </c:pt>
                <c:pt idx="38">
                  <c:v>0.10510997605484597</c:v>
                </c:pt>
                <c:pt idx="39">
                  <c:v>0.10255033835140874</c:v>
                </c:pt>
                <c:pt idx="40">
                  <c:v>0.11862542378423276</c:v>
                </c:pt>
                <c:pt idx="41">
                  <c:v>0.10984813268770524</c:v>
                </c:pt>
                <c:pt idx="42">
                  <c:v>0.10820280373365031</c:v>
                </c:pt>
                <c:pt idx="43">
                  <c:v>0.09780256179925151</c:v>
                </c:pt>
                <c:pt idx="44">
                  <c:v>0.11592710620050042</c:v>
                </c:pt>
                <c:pt idx="45">
                  <c:v>0.11647079851252419</c:v>
                </c:pt>
                <c:pt idx="46">
                  <c:v>0.10788397982741381</c:v>
                </c:pt>
                <c:pt idx="47">
                  <c:v>0.0894316676429813</c:v>
                </c:pt>
                <c:pt idx="48">
                  <c:v>0.12196377040171703</c:v>
                </c:pt>
                <c:pt idx="49">
                  <c:v>0.13651599566087821</c:v>
                </c:pt>
                <c:pt idx="50">
                  <c:v>0.11187734474871903</c:v>
                </c:pt>
                <c:pt idx="51">
                  <c:v>0.10568338916419033</c:v>
                </c:pt>
                <c:pt idx="52">
                  <c:v>0.12340483395409331</c:v>
                </c:pt>
                <c:pt idx="53">
                  <c:v>0.14253833936084048</c:v>
                </c:pt>
                <c:pt idx="54">
                  <c:v>0.12434024101380131</c:v>
                </c:pt>
                <c:pt idx="55">
                  <c:v>0.10823473368283265</c:v>
                </c:pt>
                <c:pt idx="56">
                  <c:v>0.10594879630505219</c:v>
                </c:pt>
                <c:pt idx="57">
                  <c:v>0.10904625329565233</c:v>
                </c:pt>
                <c:pt idx="58">
                  <c:v>0.13268703464190215</c:v>
                </c:pt>
                <c:pt idx="59">
                  <c:v>0.13559086653203697</c:v>
                </c:pt>
                <c:pt idx="60">
                  <c:v>0.12706920083335294</c:v>
                </c:pt>
                <c:pt idx="61">
                  <c:v>0.14174625404606084</c:v>
                </c:pt>
                <c:pt idx="62">
                  <c:v>0.12225961561200539</c:v>
                </c:pt>
                <c:pt idx="63">
                  <c:v>0.13133649034109604</c:v>
                </c:pt>
                <c:pt idx="64">
                  <c:v>0.1394885237240722</c:v>
                </c:pt>
                <c:pt idx="65">
                  <c:v>0.10697197081779779</c:v>
                </c:pt>
                <c:pt idx="66">
                  <c:v>0.12867520251134332</c:v>
                </c:pt>
                <c:pt idx="67">
                  <c:v>0.13673294576790845</c:v>
                </c:pt>
                <c:pt idx="68">
                  <c:v>0.13065069447347616</c:v>
                </c:pt>
                <c:pt idx="69">
                  <c:v>0.10453783058377648</c:v>
                </c:pt>
                <c:pt idx="70">
                  <c:v>0.09853417494311602</c:v>
                </c:pt>
                <c:pt idx="71">
                  <c:v>0.10717095417516448</c:v>
                </c:pt>
                <c:pt idx="72">
                  <c:v>0.11248720111757879</c:v>
                </c:pt>
                <c:pt idx="73">
                  <c:v>0.1140426231715331</c:v>
                </c:pt>
                <c:pt idx="74">
                  <c:v>0.09323114523621212</c:v>
                </c:pt>
                <c:pt idx="75">
                  <c:v>0.11164425561594711</c:v>
                </c:pt>
                <c:pt idx="76">
                  <c:v>0.08781501952940336</c:v>
                </c:pt>
                <c:pt idx="77">
                  <c:v>0.08973218980633757</c:v>
                </c:pt>
                <c:pt idx="78">
                  <c:v>0.10613234009232683</c:v>
                </c:pt>
                <c:pt idx="79">
                  <c:v>0.10439285049269731</c:v>
                </c:pt>
                <c:pt idx="80">
                  <c:v>0.09929678272763923</c:v>
                </c:pt>
                <c:pt idx="81">
                  <c:v>0.1164867585691597</c:v>
                </c:pt>
                <c:pt idx="82">
                  <c:v>0.12283883044392434</c:v>
                </c:pt>
                <c:pt idx="83">
                  <c:v>0.10263121555218019</c:v>
                </c:pt>
                <c:pt idx="84">
                  <c:v>0.0974035309837385</c:v>
                </c:pt>
                <c:pt idx="85">
                  <c:v>0.12625834440017708</c:v>
                </c:pt>
                <c:pt idx="86">
                  <c:v>0.12023087315282173</c:v>
                </c:pt>
                <c:pt idx="87">
                  <c:v>0.09510615061139722</c:v>
                </c:pt>
                <c:pt idx="88">
                  <c:v>0.09815940582353616</c:v>
                </c:pt>
                <c:pt idx="89">
                  <c:v>0.09062572677332692</c:v>
                </c:pt>
                <c:pt idx="90">
                  <c:v>0.10366714969567833</c:v>
                </c:pt>
                <c:pt idx="91">
                  <c:v>0.11638307983099819</c:v>
                </c:pt>
                <c:pt idx="92">
                  <c:v>0.1207109366909309</c:v>
                </c:pt>
                <c:pt idx="93">
                  <c:v>0.11991673612708822</c:v>
                </c:pt>
                <c:pt idx="94">
                  <c:v>0.08277235099069319</c:v>
                </c:pt>
                <c:pt idx="95">
                  <c:v>0.08957363658717543</c:v>
                </c:pt>
                <c:pt idx="96">
                  <c:v>0.10345349234143175</c:v>
                </c:pt>
                <c:pt idx="97">
                  <c:v>0.11892029986714085</c:v>
                </c:pt>
                <c:pt idx="98">
                  <c:v>0.12255519745162423</c:v>
                </c:pt>
                <c:pt idx="99">
                  <c:v>0.12279767772326065</c:v>
                </c:pt>
                <c:pt idx="100">
                  <c:v>0.13881520795488306</c:v>
                </c:pt>
                <c:pt idx="101">
                  <c:v>0.14299501229249</c:v>
                </c:pt>
                <c:pt idx="102">
                  <c:v>0.13365771018171388</c:v>
                </c:pt>
                <c:pt idx="103">
                  <c:v>0.1409838913749227</c:v>
                </c:pt>
                <c:pt idx="104">
                  <c:v>0.13322918287526267</c:v>
                </c:pt>
              </c:numCache>
            </c:numRef>
          </c:xVal>
          <c:yVal>
            <c:numRef>
              <c:f>Sheet1!$B$2:$B$106</c:f>
              <c:numCache>
                <c:formatCode>General</c:formatCode>
                <c:ptCount val="105"/>
                <c:pt idx="0">
                  <c:v>0.23141242937853107</c:v>
                </c:pt>
                <c:pt idx="1">
                  <c:v>0.23020874359984245</c:v>
                </c:pt>
                <c:pt idx="2">
                  <c:v>0.24469253294289897</c:v>
                </c:pt>
                <c:pt idx="3">
                  <c:v>0.24938875305623473</c:v>
                </c:pt>
                <c:pt idx="4">
                  <c:v>0.24951219512195122</c:v>
                </c:pt>
                <c:pt idx="5">
                  <c:v>0.25216637781629114</c:v>
                </c:pt>
                <c:pt idx="6">
                  <c:v>0.28717948717948716</c:v>
                </c:pt>
                <c:pt idx="7">
                  <c:v>0.26748878923766817</c:v>
                </c:pt>
                <c:pt idx="8">
                  <c:v>0.2665582151986986</c:v>
                </c:pt>
                <c:pt idx="9">
                  <c:v>0.23812249570692615</c:v>
                </c:pt>
                <c:pt idx="10">
                  <c:v>0.22774182263424872</c:v>
                </c:pt>
                <c:pt idx="11">
                  <c:v>0.22689228529839883</c:v>
                </c:pt>
                <c:pt idx="12">
                  <c:v>0.21567614125753662</c:v>
                </c:pt>
                <c:pt idx="13">
                  <c:v>0.21331058020477817</c:v>
                </c:pt>
                <c:pt idx="14">
                  <c:v>0.18866396761133603</c:v>
                </c:pt>
                <c:pt idx="15">
                  <c:v>0.18433179723502305</c:v>
                </c:pt>
                <c:pt idx="16">
                  <c:v>0.1882716049382716</c:v>
                </c:pt>
                <c:pt idx="17">
                  <c:v>0.17803427771948233</c:v>
                </c:pt>
                <c:pt idx="18">
                  <c:v>0.15098374679213003</c:v>
                </c:pt>
                <c:pt idx="19">
                  <c:v>0.16349438750610054</c:v>
                </c:pt>
                <c:pt idx="20">
                  <c:v>0.1650943396226415</c:v>
                </c:pt>
                <c:pt idx="21">
                  <c:v>0.16135265700483092</c:v>
                </c:pt>
                <c:pt idx="22">
                  <c:v>0.20331728196896737</c:v>
                </c:pt>
                <c:pt idx="23">
                  <c:v>0.1956521739130435</c:v>
                </c:pt>
                <c:pt idx="24">
                  <c:v>0.20112044817927172</c:v>
                </c:pt>
                <c:pt idx="25">
                  <c:v>0.22847457627118645</c:v>
                </c:pt>
                <c:pt idx="26">
                  <c:v>0.24375821287779237</c:v>
                </c:pt>
                <c:pt idx="27">
                  <c:v>0.24875</c:v>
                </c:pt>
                <c:pt idx="28">
                  <c:v>0.2421340629274966</c:v>
                </c:pt>
                <c:pt idx="29">
                  <c:v>0.213452299245024</c:v>
                </c:pt>
                <c:pt idx="30">
                  <c:v>0.2119815668202765</c:v>
                </c:pt>
                <c:pt idx="31">
                  <c:v>0.248559670781893</c:v>
                </c:pt>
                <c:pt idx="32">
                  <c:v>0.23083131557707828</c:v>
                </c:pt>
                <c:pt idx="33">
                  <c:v>0.21878862793572312</c:v>
                </c:pt>
                <c:pt idx="34">
                  <c:v>0.20626276378488767</c:v>
                </c:pt>
                <c:pt idx="35">
                  <c:v>0.22306717363751585</c:v>
                </c:pt>
                <c:pt idx="36">
                  <c:v>0.20675944333996024</c:v>
                </c:pt>
                <c:pt idx="37">
                  <c:v>0.18614130434782608</c:v>
                </c:pt>
                <c:pt idx="38">
                  <c:v>0.18341200269723534</c:v>
                </c:pt>
                <c:pt idx="39">
                  <c:v>0.16640625</c:v>
                </c:pt>
                <c:pt idx="40">
                  <c:v>0.16932907348242812</c:v>
                </c:pt>
                <c:pt idx="41">
                  <c:v>0.16224951519069167</c:v>
                </c:pt>
                <c:pt idx="42">
                  <c:v>0.15375</c:v>
                </c:pt>
                <c:pt idx="43">
                  <c:v>0.1634446397188049</c:v>
                </c:pt>
                <c:pt idx="44">
                  <c:v>0.1818634778276034</c:v>
                </c:pt>
                <c:pt idx="45">
                  <c:v>0.19259751773049646</c:v>
                </c:pt>
                <c:pt idx="46">
                  <c:v>0.1890495867768595</c:v>
                </c:pt>
                <c:pt idx="47">
                  <c:v>0.18433818433818433</c:v>
                </c:pt>
                <c:pt idx="48">
                  <c:v>0.1922816519972918</c:v>
                </c:pt>
                <c:pt idx="49">
                  <c:v>0.2071188717259906</c:v>
                </c:pt>
                <c:pt idx="50">
                  <c:v>0.19093778178539225</c:v>
                </c:pt>
                <c:pt idx="51">
                  <c:v>0.18667020711630378</c:v>
                </c:pt>
                <c:pt idx="52">
                  <c:v>0.18287132809267687</c:v>
                </c:pt>
                <c:pt idx="53">
                  <c:v>0.16892980437284236</c:v>
                </c:pt>
                <c:pt idx="54">
                  <c:v>0.18629715165511931</c:v>
                </c:pt>
                <c:pt idx="55">
                  <c:v>0.19595517901065865</c:v>
                </c:pt>
                <c:pt idx="56">
                  <c:v>0.19444444444444445</c:v>
                </c:pt>
                <c:pt idx="57">
                  <c:v>0.19769935659972704</c:v>
                </c:pt>
                <c:pt idx="58">
                  <c:v>0.18641114982578397</c:v>
                </c:pt>
                <c:pt idx="59">
                  <c:v>0.20507253528076583</c:v>
                </c:pt>
                <c:pt idx="60">
                  <c:v>0.23568605307735743</c:v>
                </c:pt>
                <c:pt idx="61">
                  <c:v>0.21632267212856468</c:v>
                </c:pt>
                <c:pt idx="62">
                  <c:v>0.22291913883709102</c:v>
                </c:pt>
                <c:pt idx="63">
                  <c:v>0.24849020474296657</c:v>
                </c:pt>
                <c:pt idx="64">
                  <c:v>0.22680883472962682</c:v>
                </c:pt>
                <c:pt idx="65">
                  <c:v>0.22332835573253693</c:v>
                </c:pt>
                <c:pt idx="66">
                  <c:v>0.20294744318181818</c:v>
                </c:pt>
                <c:pt idx="67">
                  <c:v>0.1918819188191882</c:v>
                </c:pt>
                <c:pt idx="68">
                  <c:v>0.19428444838280903</c:v>
                </c:pt>
                <c:pt idx="69">
                  <c:v>0.20064935064935066</c:v>
                </c:pt>
                <c:pt idx="70">
                  <c:v>0.18772893772893773</c:v>
                </c:pt>
                <c:pt idx="71">
                  <c:v>0.1883202099737533</c:v>
                </c:pt>
                <c:pt idx="72">
                  <c:v>0.18771929824561404</c:v>
                </c:pt>
                <c:pt idx="73">
                  <c:v>0.18907400232468036</c:v>
                </c:pt>
                <c:pt idx="74">
                  <c:v>0.1852537977028529</c:v>
                </c:pt>
                <c:pt idx="75">
                  <c:v>0.19722650231124808</c:v>
                </c:pt>
                <c:pt idx="76">
                  <c:v>0.2099514563106796</c:v>
                </c:pt>
                <c:pt idx="77">
                  <c:v>0.23292273236282196</c:v>
                </c:pt>
                <c:pt idx="78">
                  <c:v>0.18120351588911426</c:v>
                </c:pt>
                <c:pt idx="79">
                  <c:v>0.16643741403026135</c:v>
                </c:pt>
                <c:pt idx="80">
                  <c:v>0.16296296296296298</c:v>
                </c:pt>
                <c:pt idx="81">
                  <c:v>0.17077464788732394</c:v>
                </c:pt>
                <c:pt idx="82">
                  <c:v>0.15924032140248356</c:v>
                </c:pt>
                <c:pt idx="83">
                  <c:v>0.18165938864628822</c:v>
                </c:pt>
                <c:pt idx="84">
                  <c:v>0.17809439002671415</c:v>
                </c:pt>
                <c:pt idx="85">
                  <c:v>0.15801024140453548</c:v>
                </c:pt>
                <c:pt idx="86">
                  <c:v>0.15625</c:v>
                </c:pt>
                <c:pt idx="87">
                  <c:v>0.1923821820529374</c:v>
                </c:pt>
                <c:pt idx="88">
                  <c:v>0.16098334655035687</c:v>
                </c:pt>
                <c:pt idx="89">
                  <c:v>0.16464891041162227</c:v>
                </c:pt>
                <c:pt idx="90">
                  <c:v>0.16488413547237077</c:v>
                </c:pt>
                <c:pt idx="91">
                  <c:v>0.13717848791894</c:v>
                </c:pt>
                <c:pt idx="92">
                  <c:v>0.15772357723577235</c:v>
                </c:pt>
                <c:pt idx="93">
                  <c:v>0.1601804850535815</c:v>
                </c:pt>
                <c:pt idx="94">
                  <c:v>0.1807324840764331</c:v>
                </c:pt>
                <c:pt idx="95">
                  <c:v>0.19528772088808338</c:v>
                </c:pt>
                <c:pt idx="96">
                  <c:v>0.19106273274133487</c:v>
                </c:pt>
                <c:pt idx="97">
                  <c:v>0.18037436188315373</c:v>
                </c:pt>
                <c:pt idx="98">
                  <c:v>0.17879161528976573</c:v>
                </c:pt>
                <c:pt idx="99">
                  <c:v>0.17836617405582922</c:v>
                </c:pt>
                <c:pt idx="100">
                  <c:v>0.180733374766936</c:v>
                </c:pt>
                <c:pt idx="101">
                  <c:v>0.17605331040412725</c:v>
                </c:pt>
                <c:pt idx="102">
                  <c:v>0.18796577422025945</c:v>
                </c:pt>
                <c:pt idx="103">
                  <c:v>0.1666270501545044</c:v>
                </c:pt>
                <c:pt idx="104">
                  <c:v>0.172388425698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4351192847691646</c:v>
                </c:pt>
                <c:pt idx="1">
                  <c:v>0.15287079622857844</c:v>
                </c:pt>
                <c:pt idx="2">
                  <c:v>0.12353169246141789</c:v>
                </c:pt>
                <c:pt idx="3">
                  <c:v>0.12319929094232825</c:v>
                </c:pt>
                <c:pt idx="4">
                  <c:v>0.12445235931088264</c:v>
                </c:pt>
                <c:pt idx="5">
                  <c:v>0.13712355683381183</c:v>
                </c:pt>
                <c:pt idx="6">
                  <c:v>0.12946396314812297</c:v>
                </c:pt>
                <c:pt idx="7">
                  <c:v>0.1324087960218322</c:v>
                </c:pt>
                <c:pt idx="8">
                  <c:v>0.16375199013600966</c:v>
                </c:pt>
                <c:pt idx="9">
                  <c:v>0.16228621539220398</c:v>
                </c:pt>
                <c:pt idx="10">
                  <c:v>0.1631560626287786</c:v>
                </c:pt>
                <c:pt idx="11">
                  <c:v>0.13251399771694392</c:v>
                </c:pt>
                <c:pt idx="12">
                  <c:v>0.11856679368123176</c:v>
                </c:pt>
                <c:pt idx="13">
                  <c:v>0.12438415894516693</c:v>
                </c:pt>
                <c:pt idx="14">
                  <c:v>0.12501770561417905</c:v>
                </c:pt>
                <c:pt idx="15">
                  <c:v>0.13084196837852205</c:v>
                </c:pt>
                <c:pt idx="16">
                  <c:v>0.12396583454177877</c:v>
                </c:pt>
                <c:pt idx="17">
                  <c:v>0.12165009653434644</c:v>
                </c:pt>
                <c:pt idx="18">
                  <c:v>0.12207203608536614</c:v>
                </c:pt>
                <c:pt idx="19">
                  <c:v>0.12934465371898687</c:v>
                </c:pt>
                <c:pt idx="20">
                  <c:v>0.11911581124201776</c:v>
                </c:pt>
                <c:pt idx="21">
                  <c:v>0.12296179258204132</c:v>
                </c:pt>
                <c:pt idx="22">
                  <c:v>0.1120228809273854</c:v>
                </c:pt>
                <c:pt idx="23">
                  <c:v>0.1146017326725682</c:v>
                </c:pt>
                <c:pt idx="24">
                  <c:v>0.12359715000349485</c:v>
                </c:pt>
                <c:pt idx="25">
                  <c:v>0.10017417493552476</c:v>
                </c:pt>
                <c:pt idx="26">
                  <c:v>0.1023093880354243</c:v>
                </c:pt>
                <c:pt idx="27">
                  <c:v>0.09558221057735343</c:v>
                </c:pt>
                <c:pt idx="28">
                  <c:v>0.14041673362613255</c:v>
                </c:pt>
                <c:pt idx="29">
                  <c:v>0.14184322894260243</c:v>
                </c:pt>
                <c:pt idx="30">
                  <c:v>0.12930563798219585</c:v>
                </c:pt>
                <c:pt idx="31">
                  <c:v>0.11273957428773922</c:v>
                </c:pt>
                <c:pt idx="32">
                  <c:v>0.1347798201198184</c:v>
                </c:pt>
                <c:pt idx="33">
                  <c:v>0.12864790447971128</c:v>
                </c:pt>
                <c:pt idx="34">
                  <c:v>0.12907604509764234</c:v>
                </c:pt>
                <c:pt idx="35">
                  <c:v>0.10930540675873229</c:v>
                </c:pt>
                <c:pt idx="36">
                  <c:v>0.10164141233171761</c:v>
                </c:pt>
                <c:pt idx="37">
                  <c:v>0.10603053052843553</c:v>
                </c:pt>
                <c:pt idx="38">
                  <c:v>0.09610550380049074</c:v>
                </c:pt>
                <c:pt idx="39">
                  <c:v>0.0858943704245237</c:v>
                </c:pt>
                <c:pt idx="40">
                  <c:v>0.11074648746134491</c:v>
                </c:pt>
                <c:pt idx="41">
                  <c:v>0.11786385571209332</c:v>
                </c:pt>
                <c:pt idx="42">
                  <c:v>0.109378375020928</c:v>
                </c:pt>
                <c:pt idx="43">
                  <c:v>0.13249722455041413</c:v>
                </c:pt>
                <c:pt idx="44">
                  <c:v>0.15026904356595516</c:v>
                </c:pt>
                <c:pt idx="45">
                  <c:v>0.13428281674922332</c:v>
                </c:pt>
                <c:pt idx="46">
                  <c:v>0.12799175220742537</c:v>
                </c:pt>
                <c:pt idx="47">
                  <c:v>0.13028257479156874</c:v>
                </c:pt>
                <c:pt idx="48">
                  <c:v>0.14264232802385987</c:v>
                </c:pt>
                <c:pt idx="49">
                  <c:v>0.16279607139588337</c:v>
                </c:pt>
                <c:pt idx="50">
                  <c:v>0.15629813805572376</c:v>
                </c:pt>
                <c:pt idx="51">
                  <c:v>0.14008636759656534</c:v>
                </c:pt>
              </c:numCache>
            </c:numRef>
          </c:xVal>
          <c:yVal>
            <c:numRef>
              <c:f>Sheet1!$B$109:$B$160</c:f>
              <c:numCache>
                <c:formatCode>General</c:formatCode>
                <c:ptCount val="52"/>
                <c:pt idx="0">
                  <c:v>0.17980944658422868</c:v>
                </c:pt>
                <c:pt idx="1">
                  <c:v>0.18357991248176703</c:v>
                </c:pt>
                <c:pt idx="2">
                  <c:v>0.20700037636432067</c:v>
                </c:pt>
                <c:pt idx="3">
                  <c:v>0.21331264011036385</c:v>
                </c:pt>
                <c:pt idx="4">
                  <c:v>0.2121096725057121</c:v>
                </c:pt>
                <c:pt idx="5">
                  <c:v>0.2105997210599721</c:v>
                </c:pt>
                <c:pt idx="6">
                  <c:v>0.2025661587810746</c:v>
                </c:pt>
                <c:pt idx="7">
                  <c:v>0.19510204081632654</c:v>
                </c:pt>
                <c:pt idx="8">
                  <c:v>0.175146771037182</c:v>
                </c:pt>
                <c:pt idx="9">
                  <c:v>0.1846941149104443</c:v>
                </c:pt>
                <c:pt idx="10">
                  <c:v>0.195274831243973</c:v>
                </c:pt>
                <c:pt idx="11">
                  <c:v>0.20692701890793427</c:v>
                </c:pt>
                <c:pt idx="12">
                  <c:v>0.21109637488947833</c:v>
                </c:pt>
                <c:pt idx="13">
                  <c:v>0.20756756756756756</c:v>
                </c:pt>
                <c:pt idx="14">
                  <c:v>0.20819195346582647</c:v>
                </c:pt>
                <c:pt idx="15">
                  <c:v>0.20248480042294476</c:v>
                </c:pt>
                <c:pt idx="16">
                  <c:v>0.1946031746031746</c:v>
                </c:pt>
                <c:pt idx="17">
                  <c:v>0.1970479704797048</c:v>
                </c:pt>
                <c:pt idx="18">
                  <c:v>0.20963472736897829</c:v>
                </c:pt>
                <c:pt idx="19">
                  <c:v>0.20496592015579357</c:v>
                </c:pt>
                <c:pt idx="20">
                  <c:v>0.1948944526264114</c:v>
                </c:pt>
                <c:pt idx="21">
                  <c:v>0.2136015325670498</c:v>
                </c:pt>
                <c:pt idx="22">
                  <c:v>0.2103544776119403</c:v>
                </c:pt>
                <c:pt idx="23">
                  <c:v>0.1947049089906233</c:v>
                </c:pt>
                <c:pt idx="24">
                  <c:v>0.17257683215130024</c:v>
                </c:pt>
                <c:pt idx="25">
                  <c:v>0.18428005284015853</c:v>
                </c:pt>
                <c:pt idx="26">
                  <c:v>0.16706586826347306</c:v>
                </c:pt>
                <c:pt idx="27">
                  <c:v>0.17352754908169726</c:v>
                </c:pt>
                <c:pt idx="28">
                  <c:v>0.1552119129438717</c:v>
                </c:pt>
                <c:pt idx="29">
                  <c:v>0.14622641509433962</c:v>
                </c:pt>
                <c:pt idx="30">
                  <c:v>0.15914684167350288</c:v>
                </c:pt>
                <c:pt idx="31">
                  <c:v>0.17234262125902994</c:v>
                </c:pt>
                <c:pt idx="32">
                  <c:v>0.1579378068739771</c:v>
                </c:pt>
                <c:pt idx="33">
                  <c:v>0.15345821325648415</c:v>
                </c:pt>
                <c:pt idx="34">
                  <c:v>0.17226634086744044</c:v>
                </c:pt>
                <c:pt idx="35">
                  <c:v>0.1580547112462006</c:v>
                </c:pt>
                <c:pt idx="36">
                  <c:v>0.1368547418967587</c:v>
                </c:pt>
                <c:pt idx="37">
                  <c:v>0.14979338842975207</c:v>
                </c:pt>
                <c:pt idx="38">
                  <c:v>0.15932203389830507</c:v>
                </c:pt>
                <c:pt idx="39">
                  <c:v>0.1541471048513302</c:v>
                </c:pt>
                <c:pt idx="40">
                  <c:v>0.1434878587196468</c:v>
                </c:pt>
                <c:pt idx="41">
                  <c:v>0.14786967418546365</c:v>
                </c:pt>
                <c:pt idx="42">
                  <c:v>0.16152716593245228</c:v>
                </c:pt>
                <c:pt idx="43">
                  <c:v>0.14766606822262118</c:v>
                </c:pt>
                <c:pt idx="44">
                  <c:v>0.14955357142857142</c:v>
                </c:pt>
                <c:pt idx="45">
                  <c:v>0.1631720430107527</c:v>
                </c:pt>
                <c:pt idx="46">
                  <c:v>0.17286874154262516</c:v>
                </c:pt>
                <c:pt idx="47">
                  <c:v>0.17989417989417988</c:v>
                </c:pt>
                <c:pt idx="48">
                  <c:v>0.1851232762223151</c:v>
                </c:pt>
                <c:pt idx="49">
                  <c:v>0.17680422452571876</c:v>
                </c:pt>
                <c:pt idx="50">
                  <c:v>0.19098864711447494</c:v>
                </c:pt>
                <c:pt idx="51">
                  <c:v>0.192325056433408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02550381268798</c:v>
                </c:pt>
              </c:numCache>
            </c:numRef>
          </c:xVal>
          <c:yVal>
            <c:numRef>
              <c:f>Sheet1!$B$163:$B$164</c:f>
              <c:numCache>
                <c:formatCode>General</c:formatCode>
                <c:ptCount val="2"/>
                <c:pt idx="0">
                  <c:v>0.2531786137257337</c:v>
                </c:pt>
                <c:pt idx="1">
                  <c:v>0.25317861372573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02550381268798</c:v>
                </c:pt>
                <c:pt idx="1">
                  <c:v>0.4802550381268798</c:v>
                </c:pt>
              </c:numCache>
            </c:numRef>
          </c:xVal>
          <c:yVal>
            <c:numRef>
              <c:f>Sheet1!$B$167:$B$168</c:f>
              <c:numCache>
                <c:formatCode>General</c:formatCode>
                <c:ptCount val="2"/>
                <c:pt idx="0">
                  <c:v>0.25317861372573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254679992029534</c:v>
                </c:pt>
              </c:numCache>
            </c:numRef>
          </c:xVal>
          <c:yVal>
            <c:numRef>
              <c:f>Sheet1!$B$171:$B$172</c:f>
              <c:numCache>
                <c:formatCode>General</c:formatCode>
                <c:ptCount val="2"/>
                <c:pt idx="0">
                  <c:v>0.20238341840071394</c:v>
                </c:pt>
                <c:pt idx="1">
                  <c:v>0.2023834184007139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254679992029534</c:v>
                </c:pt>
                <c:pt idx="1">
                  <c:v>0.23254679992029534</c:v>
                </c:pt>
              </c:numCache>
            </c:numRef>
          </c:xVal>
          <c:yVal>
            <c:numRef>
              <c:f>Sheet1!$B$175:$B$176</c:f>
              <c:numCache>
                <c:formatCode>General</c:formatCode>
                <c:ptCount val="2"/>
                <c:pt idx="0">
                  <c:v>0.202383418400713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5790541641260929</c:v>
                </c:pt>
              </c:numCache>
            </c:numRef>
          </c:xVal>
          <c:yVal>
            <c:numRef>
              <c:f>Sheet1!$B$179:$B$180</c:f>
              <c:numCache>
                <c:formatCode>General</c:formatCode>
                <c:ptCount val="2"/>
                <c:pt idx="0">
                  <c:v>0.1665713547756585</c:v>
                </c:pt>
                <c:pt idx="1">
                  <c:v>0.166571354775658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5790541641260929</c:v>
                </c:pt>
                <c:pt idx="1">
                  <c:v>0.05790541641260929</c:v>
                </c:pt>
              </c:numCache>
            </c:numRef>
          </c:xVal>
          <c:yVal>
            <c:numRef>
              <c:f>Sheet1!$B$183:$B$184</c:f>
              <c:numCache>
                <c:formatCode>General</c:formatCode>
                <c:ptCount val="2"/>
                <c:pt idx="0">
                  <c:v>0.16657135477565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4351192847691646</c:v>
                </c:pt>
                <c:pt idx="1">
                  <c:v>0.15287079622857844</c:v>
                </c:pt>
                <c:pt idx="2">
                  <c:v>0.12353169246141789</c:v>
                </c:pt>
                <c:pt idx="3">
                  <c:v>0.12319929094232825</c:v>
                </c:pt>
                <c:pt idx="4">
                  <c:v>0.12445235931088264</c:v>
                </c:pt>
                <c:pt idx="5">
                  <c:v>0.13712355683381183</c:v>
                </c:pt>
                <c:pt idx="6">
                  <c:v>0.12946396314812297</c:v>
                </c:pt>
                <c:pt idx="7">
                  <c:v>0.1324087960218322</c:v>
                </c:pt>
                <c:pt idx="8">
                  <c:v>0.16375199013600966</c:v>
                </c:pt>
                <c:pt idx="9">
                  <c:v>0.16228621539220398</c:v>
                </c:pt>
                <c:pt idx="10">
                  <c:v>0.1631560626287786</c:v>
                </c:pt>
                <c:pt idx="11">
                  <c:v>0.13251399771694392</c:v>
                </c:pt>
                <c:pt idx="12">
                  <c:v>0.11856679368123176</c:v>
                </c:pt>
                <c:pt idx="13">
                  <c:v>0.12438415894516693</c:v>
                </c:pt>
                <c:pt idx="14">
                  <c:v>0.12501770561417905</c:v>
                </c:pt>
                <c:pt idx="15">
                  <c:v>0.13084196837852205</c:v>
                </c:pt>
                <c:pt idx="16">
                  <c:v>0.12396583454177877</c:v>
                </c:pt>
                <c:pt idx="17">
                  <c:v>0.12165009653434644</c:v>
                </c:pt>
                <c:pt idx="18">
                  <c:v>0.12207203608536614</c:v>
                </c:pt>
                <c:pt idx="19">
                  <c:v>0.12934465371898687</c:v>
                </c:pt>
                <c:pt idx="20">
                  <c:v>0.11911581124201776</c:v>
                </c:pt>
                <c:pt idx="21">
                  <c:v>0.12296179258204132</c:v>
                </c:pt>
                <c:pt idx="22">
                  <c:v>0.1120228809273854</c:v>
                </c:pt>
                <c:pt idx="23">
                  <c:v>0.1146017326725682</c:v>
                </c:pt>
                <c:pt idx="24">
                  <c:v>0.12359715000349485</c:v>
                </c:pt>
                <c:pt idx="25">
                  <c:v>0.10017417493552476</c:v>
                </c:pt>
                <c:pt idx="26">
                  <c:v>0.1023093880354243</c:v>
                </c:pt>
                <c:pt idx="27">
                  <c:v>0.09558221057735343</c:v>
                </c:pt>
                <c:pt idx="28">
                  <c:v>0.14041673362613255</c:v>
                </c:pt>
                <c:pt idx="29">
                  <c:v>0.14184322894260243</c:v>
                </c:pt>
                <c:pt idx="30">
                  <c:v>0.12930563798219585</c:v>
                </c:pt>
                <c:pt idx="31">
                  <c:v>0.11273957428773922</c:v>
                </c:pt>
                <c:pt idx="32">
                  <c:v>0.1347798201198184</c:v>
                </c:pt>
                <c:pt idx="33">
                  <c:v>0.12864790447971128</c:v>
                </c:pt>
                <c:pt idx="34">
                  <c:v>0.12907604509764234</c:v>
                </c:pt>
                <c:pt idx="35">
                  <c:v>0.10930540675873229</c:v>
                </c:pt>
                <c:pt idx="36">
                  <c:v>0.10164141233171761</c:v>
                </c:pt>
                <c:pt idx="37">
                  <c:v>0.10603053052843553</c:v>
                </c:pt>
                <c:pt idx="38">
                  <c:v>0.09610550380049074</c:v>
                </c:pt>
                <c:pt idx="39">
                  <c:v>0.0858943704245237</c:v>
                </c:pt>
                <c:pt idx="40">
                  <c:v>0.11074648746134491</c:v>
                </c:pt>
                <c:pt idx="41">
                  <c:v>0.11786385571209332</c:v>
                </c:pt>
                <c:pt idx="42">
                  <c:v>0.109378375020928</c:v>
                </c:pt>
                <c:pt idx="43">
                  <c:v>0.13249722455041413</c:v>
                </c:pt>
                <c:pt idx="44">
                  <c:v>0.15026904356595516</c:v>
                </c:pt>
                <c:pt idx="45">
                  <c:v>0.13428281674922332</c:v>
                </c:pt>
                <c:pt idx="46">
                  <c:v>0.12799175220742537</c:v>
                </c:pt>
                <c:pt idx="47">
                  <c:v>0.13028257479156874</c:v>
                </c:pt>
                <c:pt idx="48">
                  <c:v>0.14264232802385987</c:v>
                </c:pt>
                <c:pt idx="49">
                  <c:v>0.16279607139588337</c:v>
                </c:pt>
                <c:pt idx="50">
                  <c:v>0.15629813805572376</c:v>
                </c:pt>
                <c:pt idx="51">
                  <c:v>0.14008636759656534</c:v>
                </c:pt>
                <c:pt idx="52">
                  <c:v>0.23254679992029534</c:v>
                </c:pt>
                <c:pt idx="53">
                  <c:v>0.4802550381268798</c:v>
                </c:pt>
                <c:pt idx="54">
                  <c:v>0.05790541641260929</c:v>
                </c:pt>
              </c:numCache>
            </c:numRef>
          </c:xVal>
          <c:yVal>
            <c:numRef>
              <c:f>Sheet1!$B$187:$B$241</c:f>
              <c:numCache>
                <c:formatCode>General</c:formatCode>
                <c:ptCount val="55"/>
                <c:pt idx="0">
                  <c:v>0.18412587590455873</c:v>
                </c:pt>
                <c:pt idx="1">
                  <c:v>0.18604501076623514</c:v>
                </c:pt>
                <c:pt idx="2">
                  <c:v>0.18002871709225943</c:v>
                </c:pt>
                <c:pt idx="3">
                  <c:v>0.17996055464352242</c:v>
                </c:pt>
                <c:pt idx="4">
                  <c:v>0.18021750957161503</c:v>
                </c:pt>
                <c:pt idx="5">
                  <c:v>0.1828158727017194</c:v>
                </c:pt>
                <c:pt idx="6">
                  <c:v>0.18124519196783773</c:v>
                </c:pt>
                <c:pt idx="7">
                  <c:v>0.1818490611088182</c:v>
                </c:pt>
                <c:pt idx="8">
                  <c:v>0.18827631471437606</c:v>
                </c:pt>
                <c:pt idx="9">
                  <c:v>0.1879757420933234</c:v>
                </c:pt>
                <c:pt idx="10">
                  <c:v>0.18815411347331717</c:v>
                </c:pt>
                <c:pt idx="11">
                  <c:v>0.1818706338295739</c:v>
                </c:pt>
                <c:pt idx="12">
                  <c:v>0.179010612062187</c:v>
                </c:pt>
                <c:pt idx="13">
                  <c:v>0.18020352436497497</c:v>
                </c:pt>
                <c:pt idx="14">
                  <c:v>0.18033343981321753</c:v>
                </c:pt>
                <c:pt idx="15">
                  <c:v>0.18152776652144884</c:v>
                </c:pt>
                <c:pt idx="16">
                  <c:v>0.1801177425196348</c:v>
                </c:pt>
                <c:pt idx="17">
                  <c:v>0.17964287593764006</c:v>
                </c:pt>
                <c:pt idx="18">
                  <c:v>0.17972939910725513</c:v>
                </c:pt>
                <c:pt idx="19">
                  <c:v>0.1812207263069418</c:v>
                </c:pt>
                <c:pt idx="20">
                  <c:v>0.17912319392235804</c:v>
                </c:pt>
                <c:pt idx="21">
                  <c:v>0.17991185309169883</c:v>
                </c:pt>
                <c:pt idx="22">
                  <c:v>0.17766871350875937</c:v>
                </c:pt>
                <c:pt idx="23">
                  <c:v>0.17819753434677116</c:v>
                </c:pt>
                <c:pt idx="24">
                  <c:v>0.18004213985388967</c:v>
                </c:pt>
                <c:pt idx="25">
                  <c:v>0.1752390109701488</c:v>
                </c:pt>
                <c:pt idx="26">
                  <c:v>0.17567685900966168</c:v>
                </c:pt>
                <c:pt idx="27">
                  <c:v>0.1742973800894499</c:v>
                </c:pt>
                <c:pt idx="28">
                  <c:v>0.1834911734491505</c:v>
                </c:pt>
                <c:pt idx="29">
                  <c:v>0.1837836914079997</c:v>
                </c:pt>
                <c:pt idx="30">
                  <c:v>0.18121272571727473</c:v>
                </c:pt>
                <c:pt idx="31">
                  <c:v>0.17781567906586354</c:v>
                </c:pt>
                <c:pt idx="32">
                  <c:v>0.18233526468868097</c:v>
                </c:pt>
                <c:pt idx="33">
                  <c:v>0.18107785050289993</c:v>
                </c:pt>
                <c:pt idx="34">
                  <c:v>0.18116564526690065</c:v>
                </c:pt>
                <c:pt idx="35">
                  <c:v>0.17711146667600644</c:v>
                </c:pt>
                <c:pt idx="36">
                  <c:v>0.17553988352355027</c:v>
                </c:pt>
                <c:pt idx="37">
                  <c:v>0.17643991865246247</c:v>
                </c:pt>
                <c:pt idx="38">
                  <c:v>0.17440468690198857</c:v>
                </c:pt>
                <c:pt idx="39">
                  <c:v>0.17231078595595098</c:v>
                </c:pt>
                <c:pt idx="40">
                  <c:v>0.17740697552261686</c:v>
                </c:pt>
                <c:pt idx="41">
                  <c:v>0.17886646719360177</c:v>
                </c:pt>
                <c:pt idx="42">
                  <c:v>0.1771264295902704</c:v>
                </c:pt>
                <c:pt idx="43">
                  <c:v>0.1818671943142947</c:v>
                </c:pt>
                <c:pt idx="44">
                  <c:v>0.18551149385278018</c:v>
                </c:pt>
                <c:pt idx="45">
                  <c:v>0.18223334888858747</c:v>
                </c:pt>
                <c:pt idx="46">
                  <c:v>0.1809432995365089</c:v>
                </c:pt>
                <c:pt idx="47">
                  <c:v>0.1814130569473201</c:v>
                </c:pt>
                <c:pt idx="48">
                  <c:v>0.1839475551301366</c:v>
                </c:pt>
                <c:pt idx="49">
                  <c:v>0.18808029346182867</c:v>
                </c:pt>
                <c:pt idx="50">
                  <c:v>0.18674782347370056</c:v>
                </c:pt>
                <c:pt idx="51">
                  <c:v>0.18342342839907824</c:v>
                </c:pt>
                <c:pt idx="52">
                  <c:v>0.20238341840071394</c:v>
                </c:pt>
                <c:pt idx="53">
                  <c:v>0.2531786137257337</c:v>
                </c:pt>
                <c:pt idx="54">
                  <c:v>0.16657135477565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6153846153846"/>
          <c:min val="0.1094837935174069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1694628029147602</c:v>
                </c:pt>
                <c:pt idx="8">
                  <c:v>0.00038632412594166504</c:v>
                </c:pt>
                <c:pt idx="9">
                  <c:v>0.0002813731007315701</c:v>
                </c:pt>
                <c:pt idx="10">
                  <c:v>0.00024283632831471587</c:v>
                </c:pt>
                <c:pt idx="11">
                  <c:v>0.00024125452352231604</c:v>
                </c:pt>
                <c:pt idx="12">
                  <c:v>0.00047596382674916705</c:v>
                </c:pt>
                <c:pt idx="13">
                  <c:v>0.0002525252525252525</c:v>
                </c:pt>
                <c:pt idx="14">
                  <c:v>0.00025113008538422905</c:v>
                </c:pt>
                <c:pt idx="15">
                  <c:v>0.00028169014084507044</c:v>
                </c:pt>
                <c:pt idx="16">
                  <c:v>0.0009674298613350532</c:v>
                </c:pt>
                <c:pt idx="17">
                  <c:v>0.0007984031936127744</c:v>
                </c:pt>
                <c:pt idx="18">
                  <c:v>0.0004078303425774878</c:v>
                </c:pt>
                <c:pt idx="19">
                  <c:v>0.00044603033006244426</c:v>
                </c:pt>
                <c:pt idx="20">
                  <c:v>0.0011961722488038277</c:v>
                </c:pt>
                <c:pt idx="21">
                  <c:v>0.0008410428931875525</c:v>
                </c:pt>
                <c:pt idx="22">
                  <c:v>0.0015088645794039985</c:v>
                </c:pt>
                <c:pt idx="23">
                  <c:v>0.0008733624454148472</c:v>
                </c:pt>
                <c:pt idx="24">
                  <c:v>0.0009528346831824678</c:v>
                </c:pt>
                <c:pt idx="25">
                  <c:v>0.001989060169070114</c:v>
                </c:pt>
                <c:pt idx="26">
                  <c:v>0.0035460992907801418</c:v>
                </c:pt>
                <c:pt idx="27">
                  <c:v>0.002280501710376283</c:v>
                </c:pt>
                <c:pt idx="28">
                  <c:v>0.0015564202334630351</c:v>
                </c:pt>
                <c:pt idx="29">
                  <c:v>0.0016291951775822744</c:v>
                </c:pt>
                <c:pt idx="30">
                  <c:v>0.0017338534893801473</c:v>
                </c:pt>
                <c:pt idx="31">
                  <c:v>0.00110803324099723</c:v>
                </c:pt>
                <c:pt idx="32">
                  <c:v>0.0017482517482517483</c:v>
                </c:pt>
                <c:pt idx="33">
                  <c:v>0.0018390804597701149</c:v>
                </c:pt>
                <c:pt idx="34">
                  <c:v>0.0018057060310581437</c:v>
                </c:pt>
                <c:pt idx="35">
                  <c:v>0.0016144656118824668</c:v>
                </c:pt>
                <c:pt idx="36">
                  <c:v>0.0024283632831471587</c:v>
                </c:pt>
                <c:pt idx="37">
                  <c:v>0.002785515320334262</c:v>
                </c:pt>
                <c:pt idx="38">
                  <c:v>0.002696871628910464</c:v>
                </c:pt>
                <c:pt idx="39">
                  <c:v>0.00254323499491353</c:v>
                </c:pt>
                <c:pt idx="40">
                  <c:v>0.0020798668885191347</c:v>
                </c:pt>
                <c:pt idx="41">
                  <c:v>0.0037531276063386154</c:v>
                </c:pt>
                <c:pt idx="42">
                  <c:v>0.00333889816360601</c:v>
                </c:pt>
                <c:pt idx="43">
                  <c:v>0.0029476787030213707</c:v>
                </c:pt>
                <c:pt idx="44">
                  <c:v>0.004086845466155811</c:v>
                </c:pt>
                <c:pt idx="45">
                  <c:v>0.0036338859868271633</c:v>
                </c:pt>
                <c:pt idx="46">
                  <c:v>0.003074697051908121</c:v>
                </c:pt>
                <c:pt idx="47">
                  <c:v>0.0028939372015627262</c:v>
                </c:pt>
                <c:pt idx="48">
                  <c:v>0.0027109454422229754</c:v>
                </c:pt>
                <c:pt idx="49">
                  <c:v>0.0035754610462928114</c:v>
                </c:pt>
                <c:pt idx="50">
                  <c:v>0.002867570385818561</c:v>
                </c:pt>
                <c:pt idx="51">
                  <c:v>0.0028621752531924264</c:v>
                </c:pt>
                <c:pt idx="52">
                  <c:v>0.0018726591760299626</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27848101265822785</c:v>
                </c:pt>
                <c:pt idx="1">
                  <c:v>0.0025560920193126954</c:v>
                </c:pt>
                <c:pt idx="2">
                  <c:v>0.0021945866861741038</c:v>
                </c:pt>
                <c:pt idx="3">
                  <c:v>0.0029710324337707352</c:v>
                </c:pt>
                <c:pt idx="4">
                  <c:v>0.0026852846401718583</c:v>
                </c:pt>
                <c:pt idx="5">
                  <c:v>0.002129358530742614</c:v>
                </c:pt>
                <c:pt idx="6">
                  <c:v>0.0022207417277370642</c:v>
                </c:pt>
                <c:pt idx="7">
                  <c:v>0.002937720329024677</c:v>
                </c:pt>
                <c:pt idx="8">
                  <c:v>0.0030592734225621415</c:v>
                </c:pt>
                <c:pt idx="9">
                  <c:v>0.0033647375504710633</c:v>
                </c:pt>
                <c:pt idx="10">
                  <c:v>0.004056795131845842</c:v>
                </c:pt>
                <c:pt idx="11">
                  <c:v>0.0027993109388458224</c:v>
                </c:pt>
                <c:pt idx="12">
                  <c:v>0.0036231884057971015</c:v>
                </c:pt>
                <c:pt idx="13">
                  <c:v>0.005658597925180761</c:v>
                </c:pt>
                <c:pt idx="14">
                  <c:v>0.005521273140630075</c:v>
                </c:pt>
                <c:pt idx="15">
                  <c:v>0.005317128750474744</c:v>
                </c:pt>
                <c:pt idx="16">
                  <c:v>0.0044444444444444444</c:v>
                </c:pt>
                <c:pt idx="17">
                  <c:v>0.0071174377224199285</c:v>
                </c:pt>
                <c:pt idx="18">
                  <c:v>0.0029140359397765905</c:v>
                </c:pt>
                <c:pt idx="19">
                  <c:v>0.003176043557168784</c:v>
                </c:pt>
                <c:pt idx="20">
                  <c:v>0.003940886699507389</c:v>
                </c:pt>
                <c:pt idx="21">
                  <c:v>0.0037837837837837837</c:v>
                </c:pt>
                <c:pt idx="22">
                  <c:v>0.0030864197530864196</c:v>
                </c:pt>
                <c:pt idx="23">
                  <c:v>0.0032876712328767125</c:v>
                </c:pt>
                <c:pt idx="24">
                  <c:v>0.0027945971122496508</c:v>
                </c:pt>
                <c:pt idx="25">
                  <c:v>0.003367003367003367</c:v>
                </c:pt>
                <c:pt idx="26">
                  <c:v>0.004120879120879121</c:v>
                </c:pt>
                <c:pt idx="27">
                  <c:v>0.0029850746268656717</c:v>
                </c:pt>
                <c:pt idx="28">
                  <c:v>0.0027591643673630273</c:v>
                </c:pt>
                <c:pt idx="29">
                  <c:v>0.002810304449648712</c:v>
                </c:pt>
                <c:pt idx="30">
                  <c:v>0.003054989816700611</c:v>
                </c:pt>
                <c:pt idx="31">
                  <c:v>0.0033370411568409346</c:v>
                </c:pt>
                <c:pt idx="32">
                  <c:v>0.0027906976744186047</c:v>
                </c:pt>
                <c:pt idx="33">
                  <c:v>0.002909090909090909</c:v>
                </c:pt>
                <c:pt idx="34">
                  <c:v>0.0026086956521739132</c:v>
                </c:pt>
                <c:pt idx="35">
                  <c:v>0.0032064128256513026</c:v>
                </c:pt>
                <c:pt idx="36">
                  <c:v>0.004166666666666667</c:v>
                </c:pt>
                <c:pt idx="37">
                  <c:v>0.005535055350553505</c:v>
                </c:pt>
                <c:pt idx="38">
                  <c:v>0.007430340557275541</c:v>
                </c:pt>
                <c:pt idx="39">
                  <c:v>0.003972194637537239</c:v>
                </c:pt>
                <c:pt idx="40">
                  <c:v>0.004418262150220913</c:v>
                </c:pt>
                <c:pt idx="41">
                  <c:v>0.00410958904109589</c:v>
                </c:pt>
                <c:pt idx="42">
                  <c:v>0.0030211480362537764</c:v>
                </c:pt>
                <c:pt idx="43">
                  <c:v>0.0028787333573227778</c:v>
                </c:pt>
                <c:pt idx="44">
                  <c:v>0.0022727272727272726</c:v>
                </c:pt>
                <c:pt idx="45">
                  <c:v>0.0017352503718393653</c:v>
                </c:pt>
                <c:pt idx="46">
                  <c:v>0.002365930599369085</c:v>
                </c:pt>
                <c:pt idx="47">
                  <c:v>0.0022315893875526904</c:v>
                </c:pt>
                <c:pt idx="48">
                  <c:v>0.0023781212841854932</c:v>
                </c:pt>
                <c:pt idx="49">
                  <c:v>0.0017931858936043037</c:v>
                </c:pt>
                <c:pt idx="50">
                  <c:v>0.0013579576317218902</c:v>
                </c:pt>
                <c:pt idx="51">
                  <c:v>0.00222172850477671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30.709745778146</c:v>
                </c:pt>
              </c:numCache>
            </c:numRef>
          </c:xVal>
          <c:yVal>
            <c:numRef>
              <c:f>Sheet1!$B$111:$B$112</c:f>
              <c:numCache>
                <c:formatCode>General</c:formatCode>
                <c:ptCount val="2"/>
                <c:pt idx="0">
                  <c:v>0.004285974153103563</c:v>
                </c:pt>
                <c:pt idx="1">
                  <c:v>0.004285974153103563</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30.709745778146</c:v>
                </c:pt>
                <c:pt idx="1">
                  <c:v>3630.709745778146</c:v>
                </c:pt>
              </c:numCache>
            </c:numRef>
          </c:xVal>
          <c:yVal>
            <c:numRef>
              <c:f>Sheet1!$B$115:$B$116</c:f>
              <c:numCache>
                <c:formatCode>General</c:formatCode>
                <c:ptCount val="2"/>
                <c:pt idx="0">
                  <c:v>0.0042859741531035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30.709745778146</c:v>
                </c:pt>
              </c:numCache>
            </c:numRef>
          </c:xVal>
          <c:yVal>
            <c:numRef>
              <c:f>Sheet1!$B$119:$B$120</c:f>
              <c:numCache>
                <c:formatCode>General</c:formatCode>
                <c:ptCount val="2"/>
                <c:pt idx="0">
                  <c:v>0.004285974153103563</c:v>
                </c:pt>
                <c:pt idx="1">
                  <c:v>0.004285974153103563</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30.709745778146</c:v>
                </c:pt>
                <c:pt idx="1">
                  <c:v>3630.709745778146</c:v>
                </c:pt>
              </c:numCache>
            </c:numRef>
          </c:xVal>
          <c:yVal>
            <c:numRef>
              <c:f>Sheet1!$B$123:$B$124</c:f>
              <c:numCache>
                <c:formatCode>General</c:formatCode>
                <c:ptCount val="2"/>
                <c:pt idx="0">
                  <c:v>0.0042859741531035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44.918839540859</c:v>
                </c:pt>
              </c:numCache>
            </c:numRef>
          </c:xVal>
          <c:yVal>
            <c:numRef>
              <c:f>Sheet1!$B$127:$B$128</c:f>
              <c:numCache>
                <c:formatCode>General</c:formatCode>
                <c:ptCount val="2"/>
                <c:pt idx="0">
                  <c:v>0.0026735706283236476</c:v>
                </c:pt>
                <c:pt idx="1">
                  <c:v>0.0026735706283236476</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44.918839540859</c:v>
                </c:pt>
                <c:pt idx="1">
                  <c:v>4644.918839540859</c:v>
                </c:pt>
              </c:numCache>
            </c:numRef>
          </c:xVal>
          <c:yVal>
            <c:numRef>
              <c:f>Sheet1!$B$131:$B$132</c:f>
              <c:numCache>
                <c:formatCode>General</c:formatCode>
                <c:ptCount val="2"/>
                <c:pt idx="0">
                  <c:v>0.00267357062832364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30.709745778146</c:v>
                </c:pt>
                <c:pt idx="53">
                  <c:v>3630.709745778146</c:v>
                </c:pt>
                <c:pt idx="54">
                  <c:v>4644.918839540859</c:v>
                </c:pt>
              </c:numCache>
            </c:numRef>
          </c:xVal>
          <c:yVal>
            <c:numRef>
              <c:f>Sheet1!$B$135:$B$189</c:f>
              <c:numCache>
                <c:formatCode>General</c:formatCode>
                <c:ptCount val="55"/>
                <c:pt idx="0">
                  <c:v>0.0043564762637657815</c:v>
                </c:pt>
                <c:pt idx="1">
                  <c:v>0.00279762369620462</c:v>
                </c:pt>
                <c:pt idx="2">
                  <c:v>0.0027960338824919483</c:v>
                </c:pt>
                <c:pt idx="3">
                  <c:v>0.00486062781352035</c:v>
                </c:pt>
                <c:pt idx="4">
                  <c:v>0.0033693030603490163</c:v>
                </c:pt>
                <c:pt idx="5">
                  <c:v>0.0020728894683511873</c:v>
                </c:pt>
                <c:pt idx="6">
                  <c:v>0.0029887016575355025</c:v>
                </c:pt>
                <c:pt idx="7">
                  <c:v>0.003619380757352215</c:v>
                </c:pt>
                <c:pt idx="8">
                  <c:v>0.0028324229695799114</c:v>
                </c:pt>
                <c:pt idx="9">
                  <c:v>0.0037551508484143462</c:v>
                </c:pt>
                <c:pt idx="10">
                  <c:v>0.0036743617619216414</c:v>
                </c:pt>
                <c:pt idx="11">
                  <c:v>0.003091318091396327</c:v>
                </c:pt>
                <c:pt idx="12">
                  <c:v>0.0043366312551159905</c:v>
                </c:pt>
                <c:pt idx="13">
                  <c:v>0.004509853064751633</c:v>
                </c:pt>
                <c:pt idx="14">
                  <c:v>0.004843163232942542</c:v>
                </c:pt>
                <c:pt idx="15">
                  <c:v>0.0038433173064593316</c:v>
                </c:pt>
                <c:pt idx="16">
                  <c:v>0.003361830935899461</c:v>
                </c:pt>
                <c:pt idx="17">
                  <c:v>0.005439121278218627</c:v>
                </c:pt>
                <c:pt idx="18">
                  <c:v>0.0026652275078035206</c:v>
                </c:pt>
                <c:pt idx="19">
                  <c:v>0.002433379727699409</c:v>
                </c:pt>
                <c:pt idx="20">
                  <c:v>0.002954043718599267</c:v>
                </c:pt>
                <c:pt idx="21">
                  <c:v>0.003084067745959691</c:v>
                </c:pt>
                <c:pt idx="22">
                  <c:v>0.0028544153396114075</c:v>
                </c:pt>
                <c:pt idx="23">
                  <c:v>0.0036000379708542567</c:v>
                </c:pt>
                <c:pt idx="24">
                  <c:v>0.003028235078184386</c:v>
                </c:pt>
                <c:pt idx="25">
                  <c:v>0.0036638955413070126</c:v>
                </c:pt>
                <c:pt idx="26">
                  <c:v>0.00406329203979447</c:v>
                </c:pt>
                <c:pt idx="27">
                  <c:v>0.0033470684027077082</c:v>
                </c:pt>
                <c:pt idx="28">
                  <c:v>0.0029598352509731573</c:v>
                </c:pt>
                <c:pt idx="29">
                  <c:v>0.0024763046979415348</c:v>
                </c:pt>
                <c:pt idx="30">
                  <c:v>0.002791882719906792</c:v>
                </c:pt>
                <c:pt idx="31">
                  <c:v>0.00267503141202545</c:v>
                </c:pt>
                <c:pt idx="32">
                  <c:v>0.003350702239910762</c:v>
                </c:pt>
                <c:pt idx="33">
                  <c:v>0.002601502527814402</c:v>
                </c:pt>
                <c:pt idx="34">
                  <c:v>0.0028108720908164245</c:v>
                </c:pt>
                <c:pt idx="35">
                  <c:v>0.0026833779340169747</c:v>
                </c:pt>
                <c:pt idx="36">
                  <c:v>0.003333479311017279</c:v>
                </c:pt>
                <c:pt idx="37">
                  <c:v>0.004032555694343281</c:v>
                </c:pt>
                <c:pt idx="38">
                  <c:v>0.0049676752171797615</c:v>
                </c:pt>
                <c:pt idx="39">
                  <c:v>0.003924227536756942</c:v>
                </c:pt>
                <c:pt idx="40">
                  <c:v>0.0043998026619703565</c:v>
                </c:pt>
                <c:pt idx="41">
                  <c:v>0.004428595937101918</c:v>
                </c:pt>
                <c:pt idx="42">
                  <c:v>0.0012908335531991617</c:v>
                </c:pt>
                <c:pt idx="43">
                  <c:v>0.0022638658405858296</c:v>
                </c:pt>
                <c:pt idx="44">
                  <c:v>0.003030014079728866</c:v>
                </c:pt>
                <c:pt idx="45">
                  <c:v>0.0022889338642258592</c:v>
                </c:pt>
                <c:pt idx="46">
                  <c:v>0.0031698167332731867</c:v>
                </c:pt>
                <c:pt idx="47">
                  <c:v>0.003953771521923626</c:v>
                </c:pt>
                <c:pt idx="48">
                  <c:v>0.003913814256938944</c:v>
                </c:pt>
                <c:pt idx="49">
                  <c:v>0.0027826088595766666</c:v>
                </c:pt>
                <c:pt idx="50">
                  <c:v>0.0025050803261408867</c:v>
                </c:pt>
                <c:pt idx="51">
                  <c:v>0.0033866320298171345</c:v>
                </c:pt>
                <c:pt idx="52">
                  <c:v>0.004285974153103563</c:v>
                </c:pt>
                <c:pt idx="53">
                  <c:v>0.004285974153103563</c:v>
                </c:pt>
                <c:pt idx="54">
                  <c:v>0.00267357062832364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89164086687306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0.07460606710258334</c:v>
                </c:pt>
                <c:pt idx="2">
                  <c:v>0.0</c:v>
                </c:pt>
                <c:pt idx="3">
                  <c:v>0.0</c:v>
                </c:pt>
                <c:pt idx="4">
                  <c:v>0.0</c:v>
                </c:pt>
                <c:pt idx="5">
                  <c:v>0.03891108152093505</c:v>
                </c:pt>
                <c:pt idx="6">
                  <c:v>0.0</c:v>
                </c:pt>
                <c:pt idx="7">
                  <c:v>0.0</c:v>
                </c:pt>
              </c:numCache>
            </c:numRef>
          </c:xVal>
          <c:yVal>
            <c:numRef>
              <c:f>Sheet1!$B$2:$B$9</c:f>
              <c:numCache>
                <c:formatCode>General</c:formatCode>
                <c:ptCount val="8"/>
                <c:pt idx="0">
                  <c:v>0.0</c:v>
                </c:pt>
                <c:pt idx="1">
                  <c:v>0.03225806451612903</c:v>
                </c:pt>
                <c:pt idx="2">
                  <c:v>0.0</c:v>
                </c:pt>
                <c:pt idx="3">
                  <c:v>0.0</c:v>
                </c:pt>
                <c:pt idx="4">
                  <c:v>0.0</c:v>
                </c:pt>
                <c:pt idx="5">
                  <c:v>0.022222222222222223</c:v>
                </c:pt>
                <c:pt idx="6">
                  <c:v>0.26785714285714285</c:v>
                </c:pt>
                <c:pt idx="7">
                  <c:v>0.0392156862745098</c:v>
                </c:pt>
              </c:numCache>
            </c:numRef>
          </c:yVal>
          <c:smooth val="0"/>
          <c:extLst>
            <c:ext xmlns:c16="http://schemas.microsoft.com/office/drawing/2014/chart" uri="{C3380CC4-5D6E-409C-BE32-E72D297353CC}">
              <c16:uniqueId val="{00000000-096C-4121-9522-6AB7243CCAAE}"/>
            </c:ext>
          </c:extLst>
        </c:ser>
        <c:ser>
          <c:idx val="1"/>
          <c:order val="1"/>
          <c:tx>
            <c:strRef>
              <c:f>Sheet1!$B$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04519413948375049</c:v>
                </c:pt>
              </c:numCache>
            </c:numRef>
          </c:xVal>
          <c:yVal>
            <c:numRef>
              <c:f>Sheet1!$B$14:$B$15</c:f>
              <c:numCache>
                <c:formatCode>General</c:formatCode>
                <c:ptCount val="2"/>
                <c:pt idx="0">
                  <c:v>0.04519413948375049</c:v>
                </c:pt>
                <c:pt idx="1">
                  <c:v>0.04519413948375049</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04519413948375049</c:v>
                </c:pt>
                <c:pt idx="1">
                  <c:v>0.04519413948375049</c:v>
                </c:pt>
              </c:numCache>
            </c:numRef>
          </c:xVal>
          <c:yVal>
            <c:numRef>
              <c:f>Sheet1!$B$18:$B$19</c:f>
              <c:numCache>
                <c:formatCode>General</c:formatCode>
                <c:ptCount val="2"/>
                <c:pt idx="0">
                  <c:v>0.045194139483750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4</c:f>
              <c:numCache>
                <c:formatCode>General</c:formatCode>
                <c:ptCount val="3"/>
                <c:pt idx="0">
                  <c:v>0</c:v>
                </c:pt>
                <c:pt idx="1">
                  <c:v>0.04519413948375049</c:v>
                </c:pt>
                <c:pt idx="2">
                  <c:v>0</c:v>
                </c:pt>
              </c:numCache>
            </c:numRef>
          </c:xVal>
          <c:yVal>
            <c:numRef>
              <c:f>Sheet1!$B$22:$B$24</c:f>
              <c:numCache>
                <c:formatCode>General</c:formatCode>
                <c:ptCount val="3"/>
                <c:pt idx="0">
                  <c:v>0</c:v>
                </c:pt>
                <c:pt idx="1">
                  <c:v>0.0451941394837504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428571428571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522.0</c:v>
                </c:pt>
                <c:pt idx="2">
                  <c:v>0.0</c:v>
                </c:pt>
                <c:pt idx="3">
                  <c:v>0.0</c:v>
                </c:pt>
                <c:pt idx="4">
                  <c:v>0.0</c:v>
                </c:pt>
                <c:pt idx="5">
                  <c:v>526.0</c:v>
                </c:pt>
                <c:pt idx="6">
                  <c:v>139.5333</c:v>
                </c:pt>
                <c:pt idx="7">
                  <c:v>69.5</c:v>
                </c:pt>
              </c:numCache>
            </c:numRef>
          </c:xVal>
          <c:yVal>
            <c:numRef>
              <c:f>Sheet1!$B$2:$B$9</c:f>
              <c:numCache>
                <c:formatCode>General</c:formatCode>
                <c:ptCount val="8"/>
                <c:pt idx="0">
                  <c:v>0.0</c:v>
                </c:pt>
                <c:pt idx="1">
                  <c:v>0.03225806451612903</c:v>
                </c:pt>
                <c:pt idx="2">
                  <c:v>0.0</c:v>
                </c:pt>
                <c:pt idx="3">
                  <c:v>0.0</c:v>
                </c:pt>
                <c:pt idx="4">
                  <c:v>0.0</c:v>
                </c:pt>
                <c:pt idx="5">
                  <c:v>0.022222222222222223</c:v>
                </c:pt>
                <c:pt idx="6">
                  <c:v>0.26785714285714285</c:v>
                </c:pt>
                <c:pt idx="7">
                  <c:v>0.0392156862745098</c:v>
                </c:pt>
              </c:numCache>
            </c:numRef>
          </c:yVal>
          <c:smooth val="0"/>
          <c:extLst>
            <c:ext xmlns:c16="http://schemas.microsoft.com/office/drawing/2014/chart" uri="{C3380CC4-5D6E-409C-BE32-E72D297353CC}">
              <c16:uniqueId val="{00000000-F32D-48B7-BC20-E66FC6253BAD}"/>
            </c:ext>
          </c:extLst>
        </c:ser>
        <c:ser>
          <c:idx val="1"/>
          <c:order val="1"/>
          <c:tx>
            <c:strRef>
              <c:f>Sheet1!$B$1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0.04519413948375049</c:v>
                </c:pt>
              </c:numCache>
            </c:numRef>
          </c:xVal>
          <c:yVal>
            <c:numRef>
              <c:f>Sheet1!$B$14:$B$15</c:f>
              <c:numCache>
                <c:formatCode>General</c:formatCode>
                <c:ptCount val="2"/>
                <c:pt idx="0">
                  <c:v>0.04519413948375049</c:v>
                </c:pt>
                <c:pt idx="1">
                  <c:v>0.04519413948375049</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0.04519413948375049</c:v>
                </c:pt>
                <c:pt idx="1">
                  <c:v>0.04519413948375049</c:v>
                </c:pt>
              </c:numCache>
            </c:numRef>
          </c:xVal>
          <c:yVal>
            <c:numRef>
              <c:f>Sheet1!$B$18:$B$19</c:f>
              <c:numCache>
                <c:formatCode>General</c:formatCode>
                <c:ptCount val="2"/>
                <c:pt idx="0">
                  <c:v>0.045194139483750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4</c:f>
              <c:numCache>
                <c:formatCode>General</c:formatCode>
                <c:ptCount val="3"/>
                <c:pt idx="0">
                  <c:v>0</c:v>
                </c:pt>
                <c:pt idx="1">
                  <c:v>0.04519413948375049</c:v>
                </c:pt>
                <c:pt idx="2">
                  <c:v>0</c:v>
                </c:pt>
              </c:numCache>
            </c:numRef>
          </c:xVal>
          <c:yVal>
            <c:numRef>
              <c:f>Sheet1!$B$22:$B$24</c:f>
              <c:numCache>
                <c:formatCode>General</c:formatCode>
                <c:ptCount val="3"/>
                <c:pt idx="0">
                  <c:v>0</c:v>
                </c:pt>
                <c:pt idx="1">
                  <c:v>0.0451941394837504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3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428571428571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0.059903603396832684</c:v>
                </c:pt>
                <c:pt idx="2">
                  <c:v>0.0</c:v>
                </c:pt>
                <c:pt idx="3">
                  <c:v>0.0</c:v>
                </c:pt>
                <c:pt idx="4">
                  <c:v>0.0</c:v>
                </c:pt>
                <c:pt idx="5">
                  <c:v>0.0</c:v>
                </c:pt>
                <c:pt idx="6">
                  <c:v>0.0</c:v>
                </c:pt>
                <c:pt idx="7">
                  <c:v>0.0</c:v>
                </c:pt>
              </c:numCache>
            </c:numRef>
          </c:xVal>
          <c:yVal>
            <c:numRef>
              <c:f>Sheet1!$B$2:$B$9</c:f>
              <c:numCache>
                <c:formatCode>General</c:formatCode>
                <c:ptCount val="8"/>
                <c:pt idx="0">
                  <c:v>0.0</c:v>
                </c:pt>
                <c:pt idx="1">
                  <c:v>0.03225806451612903</c:v>
                </c:pt>
                <c:pt idx="2">
                  <c:v>0.0</c:v>
                </c:pt>
                <c:pt idx="3">
                  <c:v>0.0</c:v>
                </c:pt>
                <c:pt idx="4">
                  <c:v>0.0</c:v>
                </c:pt>
                <c:pt idx="5">
                  <c:v>0.022222222222222223</c:v>
                </c:pt>
                <c:pt idx="6">
                  <c:v>0.26785714285714285</c:v>
                </c:pt>
                <c:pt idx="7">
                  <c:v>0.0392156862745098</c:v>
                </c:pt>
              </c:numCache>
            </c:numRef>
          </c:yVal>
          <c:smooth val="0"/>
          <c:extLst>
            <c:ext xmlns:c16="http://schemas.microsoft.com/office/drawing/2014/chart" uri="{C3380CC4-5D6E-409C-BE32-E72D297353CC}">
              <c16:uniqueId val="{00000000-096C-4121-9522-6AB7243CCAAE}"/>
            </c:ext>
          </c:extLst>
        </c:ser>
        <c:ser>
          <c:idx val="1"/>
          <c:order val="1"/>
          <c:tx>
            <c:strRef>
              <c:f>Sheet1!$B$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04519413948375049</c:v>
                </c:pt>
              </c:numCache>
            </c:numRef>
          </c:xVal>
          <c:yVal>
            <c:numRef>
              <c:f>Sheet1!$B$14:$B$15</c:f>
              <c:numCache>
                <c:formatCode>General</c:formatCode>
                <c:ptCount val="2"/>
                <c:pt idx="0">
                  <c:v>0.04519413948375049</c:v>
                </c:pt>
                <c:pt idx="1">
                  <c:v>0.04519413948375049</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04519413948375049</c:v>
                </c:pt>
                <c:pt idx="1">
                  <c:v>0.04519413948375049</c:v>
                </c:pt>
              </c:numCache>
            </c:numRef>
          </c:xVal>
          <c:yVal>
            <c:numRef>
              <c:f>Sheet1!$B$18:$B$19</c:f>
              <c:numCache>
                <c:formatCode>General</c:formatCode>
                <c:ptCount val="2"/>
                <c:pt idx="0">
                  <c:v>0.045194139483750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4</c:f>
              <c:numCache>
                <c:formatCode>General</c:formatCode>
                <c:ptCount val="3"/>
                <c:pt idx="0">
                  <c:v>0</c:v>
                </c:pt>
                <c:pt idx="1">
                  <c:v>0.04519413948375049</c:v>
                </c:pt>
                <c:pt idx="2">
                  <c:v>0</c:v>
                </c:pt>
              </c:numCache>
            </c:numRef>
          </c:xVal>
          <c:yVal>
            <c:numRef>
              <c:f>Sheet1!$B$22:$B$24</c:f>
              <c:numCache>
                <c:formatCode>General</c:formatCode>
                <c:ptCount val="3"/>
                <c:pt idx="0">
                  <c:v>0</c:v>
                </c:pt>
                <c:pt idx="1">
                  <c:v>0.0451941394837504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ve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428571428571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c:f>
              <c:numCache>
                <c:formatCode>General</c:formatCode>
                <c:ptCount val="8"/>
                <c:pt idx="0">
                  <c:v>0.0</c:v>
                </c:pt>
                <c:pt idx="1">
                  <c:v>522.0</c:v>
                </c:pt>
                <c:pt idx="2">
                  <c:v>0.0</c:v>
                </c:pt>
                <c:pt idx="3">
                  <c:v>0.0</c:v>
                </c:pt>
                <c:pt idx="4">
                  <c:v>0.0</c:v>
                </c:pt>
                <c:pt idx="5">
                  <c:v>526.0</c:v>
                </c:pt>
                <c:pt idx="6">
                  <c:v>139.5333</c:v>
                </c:pt>
                <c:pt idx="7">
                  <c:v>69.5</c:v>
                </c:pt>
              </c:numCache>
            </c:numRef>
          </c:xVal>
          <c:yVal>
            <c:numRef>
              <c:f>Sheet1!$B$2:$B$9</c:f>
              <c:numCache>
                <c:formatCode>General</c:formatCode>
                <c:ptCount val="8"/>
                <c:pt idx="0">
                  <c:v>0.0</c:v>
                </c:pt>
                <c:pt idx="1">
                  <c:v>0.03225806451612903</c:v>
                </c:pt>
                <c:pt idx="2">
                  <c:v>0.0</c:v>
                </c:pt>
                <c:pt idx="3">
                  <c:v>0.0</c:v>
                </c:pt>
                <c:pt idx="4">
                  <c:v>0.0</c:v>
                </c:pt>
                <c:pt idx="5">
                  <c:v>0.022222222222222223</c:v>
                </c:pt>
                <c:pt idx="6">
                  <c:v>0.26785714285714285</c:v>
                </c:pt>
                <c:pt idx="7">
                  <c:v>0.0392156862745098</c:v>
                </c:pt>
              </c:numCache>
            </c:numRef>
          </c:yVal>
          <c:smooth val="0"/>
          <c:extLst>
            <c:ext xmlns:c16="http://schemas.microsoft.com/office/drawing/2014/chart" uri="{C3380CC4-5D6E-409C-BE32-E72D297353CC}">
              <c16:uniqueId val="{00000000-F32D-48B7-BC20-E66FC6253BAD}"/>
            </c:ext>
          </c:extLst>
        </c:ser>
        <c:ser>
          <c:idx val="1"/>
          <c:order val="1"/>
          <c:tx>
            <c:strRef>
              <c:f>Sheet1!$B$1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2:$A$11</c:f>
              <c:numCache>
                <c:formatCode>General</c:formatCode>
                <c:ptCount val="0"/>
              </c:numCache>
            </c:numRef>
          </c:xVal>
          <c:yVal>
            <c:numRef>
              <c:f>Sheet1!$B$12:$B$1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0.04519413948375049</c:v>
                </c:pt>
              </c:numCache>
            </c:numRef>
          </c:xVal>
          <c:yVal>
            <c:numRef>
              <c:f>Sheet1!$B$14:$B$15</c:f>
              <c:numCache>
                <c:formatCode>General</c:formatCode>
                <c:ptCount val="2"/>
                <c:pt idx="0">
                  <c:v>0.04519413948375049</c:v>
                </c:pt>
                <c:pt idx="1">
                  <c:v>0.04519413948375049</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0.04519413948375049</c:v>
                </c:pt>
                <c:pt idx="1">
                  <c:v>0.04519413948375049</c:v>
                </c:pt>
              </c:numCache>
            </c:numRef>
          </c:xVal>
          <c:yVal>
            <c:numRef>
              <c:f>Sheet1!$B$18:$B$19</c:f>
              <c:numCache>
                <c:formatCode>General</c:formatCode>
                <c:ptCount val="2"/>
                <c:pt idx="0">
                  <c:v>0.045194139483750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4</c:f>
              <c:numCache>
                <c:formatCode>General</c:formatCode>
                <c:ptCount val="3"/>
                <c:pt idx="0">
                  <c:v>0</c:v>
                </c:pt>
                <c:pt idx="1">
                  <c:v>0.04519413948375049</c:v>
                </c:pt>
                <c:pt idx="2">
                  <c:v>0</c:v>
                </c:pt>
              </c:numCache>
            </c:numRef>
          </c:xVal>
          <c:yVal>
            <c:numRef>
              <c:f>Sheet1!$B$22:$B$24</c:f>
              <c:numCache>
                <c:formatCode>General</c:formatCode>
                <c:ptCount val="3"/>
                <c:pt idx="0">
                  <c:v>0</c:v>
                </c:pt>
                <c:pt idx="1">
                  <c:v>0.0451941394837504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3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1428571428571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0.08650610943863998</c:v>
                </c:pt>
                <c:pt idx="1">
                  <c:v>0.1174385922033484</c:v>
                </c:pt>
                <c:pt idx="2">
                  <c:v>0.09757429313770442</c:v>
                </c:pt>
                <c:pt idx="3">
                  <c:v>0.08789494697442295</c:v>
                </c:pt>
                <c:pt idx="4">
                  <c:v>0.10959576353234561</c:v>
                </c:pt>
                <c:pt idx="5">
                  <c:v>0.09592071082653532</c:v>
                </c:pt>
                <c:pt idx="6">
                  <c:v>0.12618273172021685</c:v>
                </c:pt>
                <c:pt idx="7">
                  <c:v>0.0</c:v>
                </c:pt>
                <c:pt idx="8">
                  <c:v>0.05745324224437227</c:v>
                </c:pt>
                <c:pt idx="9">
                  <c:v>0.11867694903000361</c:v>
                </c:pt>
                <c:pt idx="10">
                  <c:v>0.11596937604055768</c:v>
                </c:pt>
                <c:pt idx="11">
                  <c:v>0.0</c:v>
                </c:pt>
                <c:pt idx="12">
                  <c:v>0.0</c:v>
                </c:pt>
                <c:pt idx="13">
                  <c:v>0.0</c:v>
                </c:pt>
                <c:pt idx="14">
                  <c:v>0.060252772762445186</c:v>
                </c:pt>
                <c:pt idx="15">
                  <c:v>0.0</c:v>
                </c:pt>
                <c:pt idx="16">
                  <c:v>0.0</c:v>
                </c:pt>
                <c:pt idx="17">
                  <c:v>0.0</c:v>
                </c:pt>
                <c:pt idx="18">
                  <c:v>0.07001232689536789</c:v>
                </c:pt>
                <c:pt idx="19">
                  <c:v>0.09760400406352981</c:v>
                </c:pt>
                <c:pt idx="20">
                  <c:v>0.06587646731723656</c:v>
                </c:pt>
                <c:pt idx="21">
                  <c:v>0.0</c:v>
                </c:pt>
                <c:pt idx="22">
                  <c:v>0.041306559571619814</c:v>
                </c:pt>
                <c:pt idx="23">
                  <c:v>0.0</c:v>
                </c:pt>
                <c:pt idx="24">
                  <c:v>0.033896634970685326</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numCache>
            </c:numRef>
          </c:xVal>
          <c:yVal>
            <c:numRef>
              <c:f>Sheet1!$B$2:$B$56</c:f>
              <c:numCache>
                <c:formatCode>General</c:formatCode>
                <c:ptCount val="55"/>
                <c:pt idx="0">
                  <c:v>0.15254237288135594</c:v>
                </c:pt>
                <c:pt idx="1">
                  <c:v>0.20512820512820512</c:v>
                </c:pt>
                <c:pt idx="2">
                  <c:v>0.27450980392156865</c:v>
                </c:pt>
                <c:pt idx="3">
                  <c:v>0.29545454545454547</c:v>
                </c:pt>
                <c:pt idx="4">
                  <c:v>0.22950819672131148</c:v>
                </c:pt>
                <c:pt idx="5">
                  <c:v>0.3416149068322981</c:v>
                </c:pt>
                <c:pt idx="6">
                  <c:v>0.30120481927710846</c:v>
                </c:pt>
                <c:pt idx="7">
                  <c:v>0.26229508196721313</c:v>
                </c:pt>
                <c:pt idx="8">
                  <c:v>0.19047619047619047</c:v>
                </c:pt>
                <c:pt idx="9">
                  <c:v>0.19607843137254902</c:v>
                </c:pt>
                <c:pt idx="10">
                  <c:v>0.13953488372093023</c:v>
                </c:pt>
                <c:pt idx="11">
                  <c:v>0.12962962962962962</c:v>
                </c:pt>
                <c:pt idx="12">
                  <c:v>0.06896551724137931</c:v>
                </c:pt>
                <c:pt idx="13">
                  <c:v>0.10526315789473684</c:v>
                </c:pt>
                <c:pt idx="14">
                  <c:v>0.14925373134328357</c:v>
                </c:pt>
                <c:pt idx="15">
                  <c:v>0.18681318681318682</c:v>
                </c:pt>
                <c:pt idx="16">
                  <c:v>0.15294117647058825</c:v>
                </c:pt>
                <c:pt idx="17">
                  <c:v>0.14035087719298245</c:v>
                </c:pt>
                <c:pt idx="18">
                  <c:v>0.11864406779661017</c:v>
                </c:pt>
                <c:pt idx="19">
                  <c:v>0.07692307692307693</c:v>
                </c:pt>
                <c:pt idx="20">
                  <c:v>0.09375</c:v>
                </c:pt>
                <c:pt idx="21">
                  <c:v>0.07936507936507936</c:v>
                </c:pt>
                <c:pt idx="22">
                  <c:v>0.0847457627118644</c:v>
                </c:pt>
                <c:pt idx="23">
                  <c:v>0.11320754716981132</c:v>
                </c:pt>
                <c:pt idx="24">
                  <c:v>0.05128205128205128</c:v>
                </c:pt>
                <c:pt idx="25">
                  <c:v>0.047619047619047616</c:v>
                </c:pt>
                <c:pt idx="26">
                  <c:v>0.058823529411764705</c:v>
                </c:pt>
                <c:pt idx="27">
                  <c:v>0.07894736842105263</c:v>
                </c:pt>
                <c:pt idx="28">
                  <c:v>0.13636363636363635</c:v>
                </c:pt>
                <c:pt idx="29">
                  <c:v>0.11363636363636363</c:v>
                </c:pt>
                <c:pt idx="30">
                  <c:v>0.0</c:v>
                </c:pt>
                <c:pt idx="31">
                  <c:v>0.047619047619047616</c:v>
                </c:pt>
                <c:pt idx="32">
                  <c:v>0.0</c:v>
                </c:pt>
                <c:pt idx="33">
                  <c:v>0.022727272727272728</c:v>
                </c:pt>
                <c:pt idx="34">
                  <c:v>0.025</c:v>
                </c:pt>
                <c:pt idx="35">
                  <c:v>0.11538461538461539</c:v>
                </c:pt>
                <c:pt idx="36">
                  <c:v>0.2</c:v>
                </c:pt>
                <c:pt idx="37">
                  <c:v>0.04</c:v>
                </c:pt>
                <c:pt idx="38">
                  <c:v>0.25</c:v>
                </c:pt>
                <c:pt idx="39">
                  <c:v>0.3076923076923077</c:v>
                </c:pt>
                <c:pt idx="40">
                  <c:v>0.13333333333333333</c:v>
                </c:pt>
                <c:pt idx="41">
                  <c:v>0.0</c:v>
                </c:pt>
                <c:pt idx="42">
                  <c:v>0.0</c:v>
                </c:pt>
                <c:pt idx="43">
                  <c:v>0.045454545454545456</c:v>
                </c:pt>
                <c:pt idx="44">
                  <c:v>0.07142857142857142</c:v>
                </c:pt>
                <c:pt idx="45">
                  <c:v>0.0</c:v>
                </c:pt>
                <c:pt idx="46">
                  <c:v>0.2222222222222222</c:v>
                </c:pt>
                <c:pt idx="47">
                  <c:v>0.0</c:v>
                </c:pt>
                <c:pt idx="48">
                  <c:v>0.0</c:v>
                </c:pt>
                <c:pt idx="49">
                  <c:v>0.0</c:v>
                </c:pt>
                <c:pt idx="50">
                  <c:v>0.0</c:v>
                </c:pt>
                <c:pt idx="51">
                  <c:v>0.0</c:v>
                </c:pt>
                <c:pt idx="52">
                  <c:v>0.0</c:v>
                </c:pt>
                <c:pt idx="53">
                  <c:v>0.0</c:v>
                </c:pt>
                <c:pt idx="54">
                  <c:v>0.0</c:v>
                </c:pt>
              </c:numCache>
            </c:numRef>
          </c:yVal>
          <c:smooth val="0"/>
          <c:extLst>
            <c:ext xmlns:c16="http://schemas.microsoft.com/office/drawing/2014/chart" uri="{C3380CC4-5D6E-409C-BE32-E72D297353CC}">
              <c16:uniqueId val="{00000000-096C-4121-9522-6AB7243CCAAE}"/>
            </c:ext>
          </c:extLst>
        </c:ser>
        <c:ser>
          <c:idx val="1"/>
          <c:order val="1"/>
          <c:tx>
            <c:strRef>
              <c:f>Sheet1!$B$5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9:$A$58</c:f>
              <c:numCache>
                <c:formatCode>General</c:formatCode>
                <c:ptCount val="0"/>
              </c:numCache>
            </c:numRef>
          </c:xVal>
          <c:yVal>
            <c:numRef>
              <c:f>Sheet1!$B$59:$B$58</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1:$A$62</c:f>
              <c:numCache>
                <c:formatCode>General</c:formatCode>
                <c:ptCount val="2"/>
                <c:pt idx="0">
                  <c:v>0</c:v>
                </c:pt>
                <c:pt idx="1">
                  <c:v>0.2319087318464188</c:v>
                </c:pt>
              </c:numCache>
            </c:numRef>
          </c:xVal>
          <c:yVal>
            <c:numRef>
              <c:f>Sheet1!$B$61:$B$62</c:f>
              <c:numCache>
                <c:formatCode>General</c:formatCode>
                <c:ptCount val="2"/>
                <c:pt idx="0">
                  <c:v>0.2319087318464188</c:v>
                </c:pt>
                <c:pt idx="1">
                  <c:v>0.2319087318464188</c:v>
                </c:pt>
              </c:numCache>
            </c:numRef>
          </c:yVal>
          <c:smooth val="0"/>
          <c:extLst>
            <c:ext xmlns:c16="http://schemas.microsoft.com/office/drawing/2014/chart" uri="{C3380CC4-5D6E-409C-BE32-E72D297353CC}">
              <c16:uniqueId val="{00000005-096C-4121-9522-6AB7243CCAAE}"/>
            </c:ext>
          </c:extLst>
        </c:ser>
        <c:ser>
          <c:idx val="3"/>
          <c:order val="3"/>
          <c:tx>
            <c:strRef>
              <c:f>Sheet1!$B$6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5:$A$66</c:f>
              <c:numCache>
                <c:formatCode>General</c:formatCode>
                <c:ptCount val="2"/>
                <c:pt idx="0">
                  <c:v>0.2319087318464188</c:v>
                </c:pt>
                <c:pt idx="1">
                  <c:v>0.2319087318464188</c:v>
                </c:pt>
              </c:numCache>
            </c:numRef>
          </c:xVal>
          <c:yVal>
            <c:numRef>
              <c:f>Sheet1!$B$65:$B$66</c:f>
              <c:numCache>
                <c:formatCode>General</c:formatCode>
                <c:ptCount val="2"/>
                <c:pt idx="0">
                  <c:v>0.23190873184641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9:$A$70</c:f>
              <c:numCache>
                <c:formatCode>General</c:formatCode>
                <c:ptCount val="2"/>
                <c:pt idx="0">
                  <c:v>0</c:v>
                </c:pt>
                <c:pt idx="1">
                  <c:v>0.0</c:v>
                </c:pt>
              </c:numCache>
            </c:numRef>
          </c:xVal>
          <c:yVal>
            <c:numRef>
              <c:f>Sheet1!$B$69:$B$70</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7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3:$A$74</c:f>
              <c:numCache>
                <c:formatCode>General</c:formatCode>
                <c:ptCount val="2"/>
                <c:pt idx="0">
                  <c:v>0.0</c:v>
                </c:pt>
                <c:pt idx="1">
                  <c:v>0.0</c:v>
                </c:pt>
              </c:numCache>
            </c:numRef>
          </c:xVal>
          <c:yVal>
            <c:numRef>
              <c:f>Sheet1!$B$73:$B$74</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6</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7:$A$79</c:f>
              <c:numCache>
                <c:formatCode>General</c:formatCode>
                <c:ptCount val="3"/>
                <c:pt idx="0">
                  <c:v>0.0</c:v>
                </c:pt>
                <c:pt idx="1">
                  <c:v>0.2319087318464188</c:v>
                </c:pt>
                <c:pt idx="2">
                  <c:v>0</c:v>
                </c:pt>
              </c:numCache>
            </c:numRef>
          </c:xVal>
          <c:yVal>
            <c:numRef>
              <c:f>Sheet1!$B$77:$B$79</c:f>
              <c:numCache>
                <c:formatCode>General</c:formatCode>
                <c:ptCount val="3"/>
                <c:pt idx="0">
                  <c:v>0.0</c:v>
                </c:pt>
                <c:pt idx="1">
                  <c:v>0.2319087318464188</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937888198757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2.3369</c:v>
                </c:pt>
                <c:pt idx="1">
                  <c:v>834.6108</c:v>
                </c:pt>
                <c:pt idx="2">
                  <c:v>841.1227</c:v>
                </c:pt>
                <c:pt idx="3">
                  <c:v>868.652</c:v>
                </c:pt>
                <c:pt idx="4">
                  <c:v>866.5152</c:v>
                </c:pt>
                <c:pt idx="5">
                  <c:v>852.5404</c:v>
                </c:pt>
                <c:pt idx="6">
                  <c:v>813.2136</c:v>
                </c:pt>
                <c:pt idx="7">
                  <c:v>838.9195</c:v>
                </c:pt>
                <c:pt idx="8">
                  <c:v>820.2345</c:v>
                </c:pt>
                <c:pt idx="9">
                  <c:v>847.9696</c:v>
                </c:pt>
                <c:pt idx="10">
                  <c:v>852.3687</c:v>
                </c:pt>
                <c:pt idx="11">
                  <c:v>904.899</c:v>
                </c:pt>
                <c:pt idx="12">
                  <c:v>867.0623</c:v>
                </c:pt>
                <c:pt idx="13">
                  <c:v>868.2418</c:v>
                </c:pt>
                <c:pt idx="14">
                  <c:v>885.3745</c:v>
                </c:pt>
                <c:pt idx="15">
                  <c:v>921.3583</c:v>
                </c:pt>
                <c:pt idx="16">
                  <c:v>943.2656</c:v>
                </c:pt>
                <c:pt idx="17">
                  <c:v>891.7014</c:v>
                </c:pt>
                <c:pt idx="18">
                  <c:v>966.8612</c:v>
                </c:pt>
                <c:pt idx="19">
                  <c:v>966.1343</c:v>
                </c:pt>
                <c:pt idx="20">
                  <c:v>982.4333</c:v>
                </c:pt>
                <c:pt idx="21">
                  <c:v>1027.8293</c:v>
                </c:pt>
                <c:pt idx="22">
                  <c:v>1004.7105</c:v>
                </c:pt>
                <c:pt idx="23">
                  <c:v>1014.9865</c:v>
                </c:pt>
                <c:pt idx="24">
                  <c:v>1000.9499</c:v>
                </c:pt>
                <c:pt idx="25">
                  <c:v>918.4837</c:v>
                </c:pt>
                <c:pt idx="26">
                  <c:v>859.6173</c:v>
                </c:pt>
                <c:pt idx="27">
                  <c:v>886.8216</c:v>
                </c:pt>
                <c:pt idx="28">
                  <c:v>834.0678</c:v>
                </c:pt>
                <c:pt idx="29">
                  <c:v>881.7974</c:v>
                </c:pt>
                <c:pt idx="30">
                  <c:v>897.1391</c:v>
                </c:pt>
                <c:pt idx="31">
                  <c:v>824.2185</c:v>
                </c:pt>
                <c:pt idx="32">
                  <c:v>898.0664</c:v>
                </c:pt>
                <c:pt idx="33">
                  <c:v>805.3079</c:v>
                </c:pt>
                <c:pt idx="34">
                  <c:v>843.6469</c:v>
                </c:pt>
                <c:pt idx="35">
                  <c:v>858.0426</c:v>
                </c:pt>
                <c:pt idx="36">
                  <c:v>874.9071</c:v>
                </c:pt>
                <c:pt idx="37">
                  <c:v>954.8467</c:v>
                </c:pt>
                <c:pt idx="38">
                  <c:v>999.1507</c:v>
                </c:pt>
                <c:pt idx="39">
                  <c:v>985.0141</c:v>
                </c:pt>
                <c:pt idx="40">
                  <c:v>947.9925</c:v>
                </c:pt>
                <c:pt idx="41">
                  <c:v>986.8207</c:v>
                </c:pt>
                <c:pt idx="42">
                  <c:v>1083.2886</c:v>
                </c:pt>
                <c:pt idx="43">
                  <c:v>1062.8925</c:v>
                </c:pt>
                <c:pt idx="44">
                  <c:v>961.9384</c:v>
                </c:pt>
                <c:pt idx="45">
                  <c:v>924.1519</c:v>
                </c:pt>
                <c:pt idx="46">
                  <c:v>950.7077</c:v>
                </c:pt>
                <c:pt idx="47">
                  <c:v>954.9586</c:v>
                </c:pt>
                <c:pt idx="48">
                  <c:v>982.6329</c:v>
                </c:pt>
                <c:pt idx="49">
                  <c:v>967.4462</c:v>
                </c:pt>
                <c:pt idx="50">
                  <c:v>963.5455</c:v>
                </c:pt>
                <c:pt idx="51">
                  <c:v>1003.4026</c:v>
                </c:pt>
                <c:pt idx="52">
                  <c:v>1027.5023</c:v>
                </c:pt>
                <c:pt idx="53">
                  <c:v>1094.0381</c:v>
                </c:pt>
                <c:pt idx="54">
                  <c:v>1079.5427</c:v>
                </c:pt>
                <c:pt idx="55">
                  <c:v>1067.0572</c:v>
                </c:pt>
                <c:pt idx="56">
                  <c:v>1064.3775</c:v>
                </c:pt>
                <c:pt idx="57">
                  <c:v>1012.4901</c:v>
                </c:pt>
                <c:pt idx="58">
                  <c:v>1067.715</c:v>
                </c:pt>
                <c:pt idx="59">
                  <c:v>1024.4889</c:v>
                </c:pt>
                <c:pt idx="60">
                  <c:v>1024.2655</c:v>
                </c:pt>
                <c:pt idx="61">
                  <c:v>1104.8492</c:v>
                </c:pt>
                <c:pt idx="62">
                  <c:v>1080.4996</c:v>
                </c:pt>
                <c:pt idx="63">
                  <c:v>1085.7872</c:v>
                </c:pt>
                <c:pt idx="64">
                  <c:v>1097.0759</c:v>
                </c:pt>
                <c:pt idx="65">
                  <c:v>1040.3841</c:v>
                </c:pt>
                <c:pt idx="66">
                  <c:v>1084.9746</c:v>
                </c:pt>
                <c:pt idx="67">
                  <c:v>1120.9221</c:v>
                </c:pt>
                <c:pt idx="68">
                  <c:v>1103.8176</c:v>
                </c:pt>
                <c:pt idx="69">
                  <c:v>1130.0162</c:v>
                </c:pt>
                <c:pt idx="70">
                  <c:v>1098.8228</c:v>
                </c:pt>
                <c:pt idx="71">
                  <c:v>1162.6307</c:v>
                </c:pt>
                <c:pt idx="72">
                  <c:v>1196.2037</c:v>
                </c:pt>
                <c:pt idx="73">
                  <c:v>1229.2377</c:v>
                </c:pt>
                <c:pt idx="74">
                  <c:v>1213.826</c:v>
                </c:pt>
                <c:pt idx="75">
                  <c:v>1174.7786</c:v>
                </c:pt>
                <c:pt idx="76">
                  <c:v>1083.7977</c:v>
                </c:pt>
                <c:pt idx="77">
                  <c:v>962.4567</c:v>
                </c:pt>
                <c:pt idx="78">
                  <c:v>1186.194</c:v>
                </c:pt>
                <c:pt idx="79">
                  <c:v>1188.9959</c:v>
                </c:pt>
                <c:pt idx="80">
                  <c:v>1210.5</c:v>
                </c:pt>
                <c:pt idx="81">
                  <c:v>1104.3093</c:v>
                </c:pt>
                <c:pt idx="82">
                  <c:v>1091.2615</c:v>
                </c:pt>
                <c:pt idx="83">
                  <c:v>1061.0192</c:v>
                </c:pt>
                <c:pt idx="84">
                  <c:v>1101.935</c:v>
                </c:pt>
                <c:pt idx="85">
                  <c:v>1140.8704</c:v>
                </c:pt>
                <c:pt idx="86">
                  <c:v>1124.0941</c:v>
                </c:pt>
                <c:pt idx="87">
                  <c:v>1106.4128</c:v>
                </c:pt>
                <c:pt idx="88">
                  <c:v>1186.0148</c:v>
                </c:pt>
                <c:pt idx="89">
                  <c:v>1175.2598</c:v>
                </c:pt>
                <c:pt idx="90">
                  <c:v>1224.0216</c:v>
                </c:pt>
                <c:pt idx="91">
                  <c:v>1190.6591</c:v>
                </c:pt>
                <c:pt idx="92">
                  <c:v>1120.6117</c:v>
                </c:pt>
                <c:pt idx="93">
                  <c:v>1182.4859</c:v>
                </c:pt>
                <c:pt idx="94">
                  <c:v>1054.2335</c:v>
                </c:pt>
                <c:pt idx="95">
                  <c:v>991.3852</c:v>
                </c:pt>
                <c:pt idx="96">
                  <c:v>966.0945</c:v>
                </c:pt>
                <c:pt idx="97">
                  <c:v>1016.8082</c:v>
                </c:pt>
                <c:pt idx="98">
                  <c:v>1045.4552</c:v>
                </c:pt>
                <c:pt idx="99">
                  <c:v>1064.7606</c:v>
                </c:pt>
                <c:pt idx="100">
                  <c:v>1057.1149</c:v>
                </c:pt>
                <c:pt idx="101">
                  <c:v>1066.9292</c:v>
                </c:pt>
                <c:pt idx="102">
                  <c:v>1075.7137</c:v>
                </c:pt>
                <c:pt idx="103">
                  <c:v>1093.7004</c:v>
                </c:pt>
                <c:pt idx="104">
                  <c:v>1128.8336</c:v>
                </c:pt>
              </c:numCache>
            </c:numRef>
          </c:xVal>
          <c:yVal>
            <c:numRef>
              <c:f>Sheet1!$B$2:$B$106</c:f>
              <c:numCache>
                <c:formatCode>General</c:formatCode>
                <c:ptCount val="105"/>
                <c:pt idx="0">
                  <c:v>0.23141242937853107</c:v>
                </c:pt>
                <c:pt idx="1">
                  <c:v>0.23020874359984245</c:v>
                </c:pt>
                <c:pt idx="2">
                  <c:v>0.24469253294289897</c:v>
                </c:pt>
                <c:pt idx="3">
                  <c:v>0.24938875305623473</c:v>
                </c:pt>
                <c:pt idx="4">
                  <c:v>0.24951219512195122</c:v>
                </c:pt>
                <c:pt idx="5">
                  <c:v>0.25216637781629114</c:v>
                </c:pt>
                <c:pt idx="6">
                  <c:v>0.28717948717948716</c:v>
                </c:pt>
                <c:pt idx="7">
                  <c:v>0.26748878923766817</c:v>
                </c:pt>
                <c:pt idx="8">
                  <c:v>0.2665582151986986</c:v>
                </c:pt>
                <c:pt idx="9">
                  <c:v>0.23812249570692615</c:v>
                </c:pt>
                <c:pt idx="10">
                  <c:v>0.22774182263424872</c:v>
                </c:pt>
                <c:pt idx="11">
                  <c:v>0.22689228529839883</c:v>
                </c:pt>
                <c:pt idx="12">
                  <c:v>0.21567614125753662</c:v>
                </c:pt>
                <c:pt idx="13">
                  <c:v>0.21331058020477817</c:v>
                </c:pt>
                <c:pt idx="14">
                  <c:v>0.18866396761133603</c:v>
                </c:pt>
                <c:pt idx="15">
                  <c:v>0.18433179723502305</c:v>
                </c:pt>
                <c:pt idx="16">
                  <c:v>0.1882716049382716</c:v>
                </c:pt>
                <c:pt idx="17">
                  <c:v>0.17803427771948233</c:v>
                </c:pt>
                <c:pt idx="18">
                  <c:v>0.15098374679213003</c:v>
                </c:pt>
                <c:pt idx="19">
                  <c:v>0.16349438750610054</c:v>
                </c:pt>
                <c:pt idx="20">
                  <c:v>0.1650943396226415</c:v>
                </c:pt>
                <c:pt idx="21">
                  <c:v>0.16135265700483092</c:v>
                </c:pt>
                <c:pt idx="22">
                  <c:v>0.20331728196896737</c:v>
                </c:pt>
                <c:pt idx="23">
                  <c:v>0.1956521739130435</c:v>
                </c:pt>
                <c:pt idx="24">
                  <c:v>0.20112044817927172</c:v>
                </c:pt>
                <c:pt idx="25">
                  <c:v>0.22847457627118645</c:v>
                </c:pt>
                <c:pt idx="26">
                  <c:v>0.24375821287779237</c:v>
                </c:pt>
                <c:pt idx="27">
                  <c:v>0.24875</c:v>
                </c:pt>
                <c:pt idx="28">
                  <c:v>0.2421340629274966</c:v>
                </c:pt>
                <c:pt idx="29">
                  <c:v>0.213452299245024</c:v>
                </c:pt>
                <c:pt idx="30">
                  <c:v>0.2119815668202765</c:v>
                </c:pt>
                <c:pt idx="31">
                  <c:v>0.248559670781893</c:v>
                </c:pt>
                <c:pt idx="32">
                  <c:v>0.23083131557707828</c:v>
                </c:pt>
                <c:pt idx="33">
                  <c:v>0.21878862793572312</c:v>
                </c:pt>
                <c:pt idx="34">
                  <c:v>0.20626276378488767</c:v>
                </c:pt>
                <c:pt idx="35">
                  <c:v>0.22306717363751585</c:v>
                </c:pt>
                <c:pt idx="36">
                  <c:v>0.20675944333996024</c:v>
                </c:pt>
                <c:pt idx="37">
                  <c:v>0.18614130434782608</c:v>
                </c:pt>
                <c:pt idx="38">
                  <c:v>0.18341200269723534</c:v>
                </c:pt>
                <c:pt idx="39">
                  <c:v>0.16640625</c:v>
                </c:pt>
                <c:pt idx="40">
                  <c:v>0.16932907348242812</c:v>
                </c:pt>
                <c:pt idx="41">
                  <c:v>0.16224951519069167</c:v>
                </c:pt>
                <c:pt idx="42">
                  <c:v>0.15375</c:v>
                </c:pt>
                <c:pt idx="43">
                  <c:v>0.1634446397188049</c:v>
                </c:pt>
                <c:pt idx="44">
                  <c:v>0.1818634778276034</c:v>
                </c:pt>
                <c:pt idx="45">
                  <c:v>0.19259751773049646</c:v>
                </c:pt>
                <c:pt idx="46">
                  <c:v>0.1890495867768595</c:v>
                </c:pt>
                <c:pt idx="47">
                  <c:v>0.18433818433818433</c:v>
                </c:pt>
                <c:pt idx="48">
                  <c:v>0.1922816519972918</c:v>
                </c:pt>
                <c:pt idx="49">
                  <c:v>0.2071188717259906</c:v>
                </c:pt>
                <c:pt idx="50">
                  <c:v>0.19093778178539225</c:v>
                </c:pt>
                <c:pt idx="51">
                  <c:v>0.18667020711630378</c:v>
                </c:pt>
                <c:pt idx="52">
                  <c:v>0.18287132809267687</c:v>
                </c:pt>
                <c:pt idx="53">
                  <c:v>0.16892980437284236</c:v>
                </c:pt>
                <c:pt idx="54">
                  <c:v>0.18629715165511931</c:v>
                </c:pt>
                <c:pt idx="55">
                  <c:v>0.19595517901065865</c:v>
                </c:pt>
                <c:pt idx="56">
                  <c:v>0.19444444444444445</c:v>
                </c:pt>
                <c:pt idx="57">
                  <c:v>0.19769935659972704</c:v>
                </c:pt>
                <c:pt idx="58">
                  <c:v>0.18641114982578397</c:v>
                </c:pt>
                <c:pt idx="59">
                  <c:v>0.20507253528076583</c:v>
                </c:pt>
                <c:pt idx="60">
                  <c:v>0.23568605307735743</c:v>
                </c:pt>
                <c:pt idx="61">
                  <c:v>0.21632267212856468</c:v>
                </c:pt>
                <c:pt idx="62">
                  <c:v>0.22291913883709102</c:v>
                </c:pt>
                <c:pt idx="63">
                  <c:v>0.24849020474296657</c:v>
                </c:pt>
                <c:pt idx="64">
                  <c:v>0.22680883472962682</c:v>
                </c:pt>
                <c:pt idx="65">
                  <c:v>0.22332835573253693</c:v>
                </c:pt>
                <c:pt idx="66">
                  <c:v>0.20294744318181818</c:v>
                </c:pt>
                <c:pt idx="67">
                  <c:v>0.1918819188191882</c:v>
                </c:pt>
                <c:pt idx="68">
                  <c:v>0.19428444838280903</c:v>
                </c:pt>
                <c:pt idx="69">
                  <c:v>0.20064935064935066</c:v>
                </c:pt>
                <c:pt idx="70">
                  <c:v>0.18772893772893773</c:v>
                </c:pt>
                <c:pt idx="71">
                  <c:v>0.1883202099737533</c:v>
                </c:pt>
                <c:pt idx="72">
                  <c:v>0.18771929824561404</c:v>
                </c:pt>
                <c:pt idx="73">
                  <c:v>0.18907400232468036</c:v>
                </c:pt>
                <c:pt idx="74">
                  <c:v>0.1852537977028529</c:v>
                </c:pt>
                <c:pt idx="75">
                  <c:v>0.19722650231124808</c:v>
                </c:pt>
                <c:pt idx="76">
                  <c:v>0.2099514563106796</c:v>
                </c:pt>
                <c:pt idx="77">
                  <c:v>0.23292273236282196</c:v>
                </c:pt>
                <c:pt idx="78">
                  <c:v>0.18120351588911426</c:v>
                </c:pt>
                <c:pt idx="79">
                  <c:v>0.16643741403026135</c:v>
                </c:pt>
                <c:pt idx="80">
                  <c:v>0.16296296296296298</c:v>
                </c:pt>
                <c:pt idx="81">
                  <c:v>0.17077464788732394</c:v>
                </c:pt>
                <c:pt idx="82">
                  <c:v>0.15924032140248356</c:v>
                </c:pt>
                <c:pt idx="83">
                  <c:v>0.18165938864628822</c:v>
                </c:pt>
                <c:pt idx="84">
                  <c:v>0.17809439002671415</c:v>
                </c:pt>
                <c:pt idx="85">
                  <c:v>0.15801024140453548</c:v>
                </c:pt>
                <c:pt idx="86">
                  <c:v>0.15625</c:v>
                </c:pt>
                <c:pt idx="87">
                  <c:v>0.1923821820529374</c:v>
                </c:pt>
                <c:pt idx="88">
                  <c:v>0.16098334655035687</c:v>
                </c:pt>
                <c:pt idx="89">
                  <c:v>0.16464891041162227</c:v>
                </c:pt>
                <c:pt idx="90">
                  <c:v>0.16488413547237077</c:v>
                </c:pt>
                <c:pt idx="91">
                  <c:v>0.13717848791894</c:v>
                </c:pt>
                <c:pt idx="92">
                  <c:v>0.15772357723577235</c:v>
                </c:pt>
                <c:pt idx="93">
                  <c:v>0.1601804850535815</c:v>
                </c:pt>
                <c:pt idx="94">
                  <c:v>0.1807324840764331</c:v>
                </c:pt>
                <c:pt idx="95">
                  <c:v>0.19528772088808338</c:v>
                </c:pt>
                <c:pt idx="96">
                  <c:v>0.19106273274133487</c:v>
                </c:pt>
                <c:pt idx="97">
                  <c:v>0.18037436188315373</c:v>
                </c:pt>
                <c:pt idx="98">
                  <c:v>0.17879161528976573</c:v>
                </c:pt>
                <c:pt idx="99">
                  <c:v>0.17836617405582922</c:v>
                </c:pt>
                <c:pt idx="100">
                  <c:v>0.180733374766936</c:v>
                </c:pt>
                <c:pt idx="101">
                  <c:v>0.17605331040412725</c:v>
                </c:pt>
                <c:pt idx="102">
                  <c:v>0.18796577422025945</c:v>
                </c:pt>
                <c:pt idx="103">
                  <c:v>0.1666270501545044</c:v>
                </c:pt>
                <c:pt idx="104">
                  <c:v>0.172388425698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6.6471</c:v>
                </c:pt>
                <c:pt idx="1">
                  <c:v>1164.9909</c:v>
                </c:pt>
                <c:pt idx="2">
                  <c:v>1146.3336</c:v>
                </c:pt>
                <c:pt idx="3">
                  <c:v>1136.1908</c:v>
                </c:pt>
                <c:pt idx="4">
                  <c:v>1135.9695</c:v>
                </c:pt>
                <c:pt idx="5">
                  <c:v>1144.1788</c:v>
                </c:pt>
                <c:pt idx="6">
                  <c:v>1093.1584</c:v>
                </c:pt>
                <c:pt idx="7">
                  <c:v>1161.3752</c:v>
                </c:pt>
                <c:pt idx="8">
                  <c:v>1203.824</c:v>
                </c:pt>
                <c:pt idx="9">
                  <c:v>1189.8275</c:v>
                </c:pt>
                <c:pt idx="10">
                  <c:v>1197.6321</c:v>
                </c:pt>
                <c:pt idx="11">
                  <c:v>1049.3365</c:v>
                </c:pt>
                <c:pt idx="12">
                  <c:v>1039.0052</c:v>
                </c:pt>
                <c:pt idx="13">
                  <c:v>1146.0813</c:v>
                </c:pt>
                <c:pt idx="14">
                  <c:v>1147.1327</c:v>
                </c:pt>
                <c:pt idx="15">
                  <c:v>1165.812</c:v>
                </c:pt>
                <c:pt idx="16">
                  <c:v>1228.832</c:v>
                </c:pt>
                <c:pt idx="17">
                  <c:v>1187.5693</c:v>
                </c:pt>
                <c:pt idx="18">
                  <c:v>1223.9217</c:v>
                </c:pt>
                <c:pt idx="19">
                  <c:v>1214.38</c:v>
                </c:pt>
                <c:pt idx="20">
                  <c:v>1182.2695</c:v>
                </c:pt>
                <c:pt idx="21">
                  <c:v>1122.2108</c:v>
                </c:pt>
                <c:pt idx="22">
                  <c:v>1074.0953</c:v>
                </c:pt>
                <c:pt idx="23">
                  <c:v>1119.8725</c:v>
                </c:pt>
                <c:pt idx="24">
                  <c:v>1195.1781</c:v>
                </c:pt>
                <c:pt idx="25">
                  <c:v>1145.8423</c:v>
                </c:pt>
                <c:pt idx="26">
                  <c:v>1190.3405</c:v>
                </c:pt>
                <c:pt idx="27">
                  <c:v>1170.8613</c:v>
                </c:pt>
                <c:pt idx="28">
                  <c:v>1186.5756</c:v>
                </c:pt>
                <c:pt idx="29">
                  <c:v>1205.9217</c:v>
                </c:pt>
                <c:pt idx="30">
                  <c:v>1166.7474</c:v>
                </c:pt>
                <c:pt idx="31">
                  <c:v>1116.4551</c:v>
                </c:pt>
                <c:pt idx="32">
                  <c:v>1225.2798</c:v>
                </c:pt>
                <c:pt idx="33">
                  <c:v>1216.9624</c:v>
                </c:pt>
                <c:pt idx="34">
                  <c:v>1227.5745</c:v>
                </c:pt>
                <c:pt idx="35">
                  <c:v>1228.2837</c:v>
                </c:pt>
                <c:pt idx="36">
                  <c:v>1290.6579</c:v>
                </c:pt>
                <c:pt idx="37">
                  <c:v>1182.9517</c:v>
                </c:pt>
                <c:pt idx="38">
                  <c:v>1175.0567</c:v>
                </c:pt>
                <c:pt idx="39">
                  <c:v>1050.1371</c:v>
                </c:pt>
                <c:pt idx="40">
                  <c:v>1187.4423</c:v>
                </c:pt>
                <c:pt idx="41">
                  <c:v>1224.8602</c:v>
                </c:pt>
                <c:pt idx="42">
                  <c:v>1175.3545</c:v>
                </c:pt>
                <c:pt idx="43">
                  <c:v>1204.4195</c:v>
                </c:pt>
                <c:pt idx="44">
                  <c:v>1127.3408</c:v>
                </c:pt>
                <c:pt idx="45">
                  <c:v>1127.0412</c:v>
                </c:pt>
                <c:pt idx="46">
                  <c:v>1170.9119</c:v>
                </c:pt>
                <c:pt idx="47">
                  <c:v>1122.1046</c:v>
                </c:pt>
                <c:pt idx="48">
                  <c:v>1199.0102</c:v>
                </c:pt>
                <c:pt idx="49">
                  <c:v>1188.333</c:v>
                </c:pt>
                <c:pt idx="50">
                  <c:v>1073.1523</c:v>
                </c:pt>
                <c:pt idx="51">
                  <c:v>1038.7441</c:v>
                </c:pt>
              </c:numCache>
            </c:numRef>
          </c:xVal>
          <c:yVal>
            <c:numRef>
              <c:f>Sheet1!$B$109:$B$160</c:f>
              <c:numCache>
                <c:formatCode>General</c:formatCode>
                <c:ptCount val="52"/>
                <c:pt idx="0">
                  <c:v>0.17980944658422868</c:v>
                </c:pt>
                <c:pt idx="1">
                  <c:v>0.18357991248176703</c:v>
                </c:pt>
                <c:pt idx="2">
                  <c:v>0.20700037636432067</c:v>
                </c:pt>
                <c:pt idx="3">
                  <c:v>0.21331264011036385</c:v>
                </c:pt>
                <c:pt idx="4">
                  <c:v>0.2121096725057121</c:v>
                </c:pt>
                <c:pt idx="5">
                  <c:v>0.2105997210599721</c:v>
                </c:pt>
                <c:pt idx="6">
                  <c:v>0.2025661587810746</c:v>
                </c:pt>
                <c:pt idx="7">
                  <c:v>0.19510204081632654</c:v>
                </c:pt>
                <c:pt idx="8">
                  <c:v>0.175146771037182</c:v>
                </c:pt>
                <c:pt idx="9">
                  <c:v>0.1846941149104443</c:v>
                </c:pt>
                <c:pt idx="10">
                  <c:v>0.195274831243973</c:v>
                </c:pt>
                <c:pt idx="11">
                  <c:v>0.20692701890793427</c:v>
                </c:pt>
                <c:pt idx="12">
                  <c:v>0.21109637488947833</c:v>
                </c:pt>
                <c:pt idx="13">
                  <c:v>0.20756756756756756</c:v>
                </c:pt>
                <c:pt idx="14">
                  <c:v>0.20819195346582647</c:v>
                </c:pt>
                <c:pt idx="15">
                  <c:v>0.20248480042294476</c:v>
                </c:pt>
                <c:pt idx="16">
                  <c:v>0.1946031746031746</c:v>
                </c:pt>
                <c:pt idx="17">
                  <c:v>0.1970479704797048</c:v>
                </c:pt>
                <c:pt idx="18">
                  <c:v>0.20963472736897829</c:v>
                </c:pt>
                <c:pt idx="19">
                  <c:v>0.20496592015579357</c:v>
                </c:pt>
                <c:pt idx="20">
                  <c:v>0.1948944526264114</c:v>
                </c:pt>
                <c:pt idx="21">
                  <c:v>0.2136015325670498</c:v>
                </c:pt>
                <c:pt idx="22">
                  <c:v>0.2103544776119403</c:v>
                </c:pt>
                <c:pt idx="23">
                  <c:v>0.1947049089906233</c:v>
                </c:pt>
                <c:pt idx="24">
                  <c:v>0.17257683215130024</c:v>
                </c:pt>
                <c:pt idx="25">
                  <c:v>0.18428005284015853</c:v>
                </c:pt>
                <c:pt idx="26">
                  <c:v>0.16706586826347306</c:v>
                </c:pt>
                <c:pt idx="27">
                  <c:v>0.17352754908169726</c:v>
                </c:pt>
                <c:pt idx="28">
                  <c:v>0.1552119129438717</c:v>
                </c:pt>
                <c:pt idx="29">
                  <c:v>0.14622641509433962</c:v>
                </c:pt>
                <c:pt idx="30">
                  <c:v>0.15914684167350288</c:v>
                </c:pt>
                <c:pt idx="31">
                  <c:v>0.17234262125902994</c:v>
                </c:pt>
                <c:pt idx="32">
                  <c:v>0.1579378068739771</c:v>
                </c:pt>
                <c:pt idx="33">
                  <c:v>0.15345821325648415</c:v>
                </c:pt>
                <c:pt idx="34">
                  <c:v>0.17226634086744044</c:v>
                </c:pt>
                <c:pt idx="35">
                  <c:v>0.1580547112462006</c:v>
                </c:pt>
                <c:pt idx="36">
                  <c:v>0.1368547418967587</c:v>
                </c:pt>
                <c:pt idx="37">
                  <c:v>0.14979338842975207</c:v>
                </c:pt>
                <c:pt idx="38">
                  <c:v>0.15932203389830507</c:v>
                </c:pt>
                <c:pt idx="39">
                  <c:v>0.1541471048513302</c:v>
                </c:pt>
                <c:pt idx="40">
                  <c:v>0.1434878587196468</c:v>
                </c:pt>
                <c:pt idx="41">
                  <c:v>0.14786967418546365</c:v>
                </c:pt>
                <c:pt idx="42">
                  <c:v>0.16152716593245228</c:v>
                </c:pt>
                <c:pt idx="43">
                  <c:v>0.14766606822262118</c:v>
                </c:pt>
                <c:pt idx="44">
                  <c:v>0.14955357142857142</c:v>
                </c:pt>
                <c:pt idx="45">
                  <c:v>0.1631720430107527</c:v>
                </c:pt>
                <c:pt idx="46">
                  <c:v>0.17286874154262516</c:v>
                </c:pt>
                <c:pt idx="47">
                  <c:v>0.17989417989417988</c:v>
                </c:pt>
                <c:pt idx="48">
                  <c:v>0.1851232762223151</c:v>
                </c:pt>
                <c:pt idx="49">
                  <c:v>0.17680422452571876</c:v>
                </c:pt>
                <c:pt idx="50">
                  <c:v>0.19098864711447494</c:v>
                </c:pt>
                <c:pt idx="51">
                  <c:v>0.192325056433408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7.372430685546</c:v>
                </c:pt>
              </c:numCache>
            </c:numRef>
          </c:xVal>
          <c:yVal>
            <c:numRef>
              <c:f>Sheet1!$B$163:$B$164</c:f>
              <c:numCache>
                <c:formatCode>General</c:formatCode>
                <c:ptCount val="2"/>
                <c:pt idx="0">
                  <c:v>0.2531786137257337</c:v>
                </c:pt>
                <c:pt idx="1">
                  <c:v>0.25317861372573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7.372430685546</c:v>
                </c:pt>
                <c:pt idx="1">
                  <c:v>767.372430685546</c:v>
                </c:pt>
              </c:numCache>
            </c:numRef>
          </c:xVal>
          <c:yVal>
            <c:numRef>
              <c:f>Sheet1!$B$167:$B$168</c:f>
              <c:numCache>
                <c:formatCode>General</c:formatCode>
                <c:ptCount val="2"/>
                <c:pt idx="0">
                  <c:v>0.25317861372573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4.5199648987582</c:v>
                </c:pt>
              </c:numCache>
            </c:numRef>
          </c:xVal>
          <c:yVal>
            <c:numRef>
              <c:f>Sheet1!$B$171:$B$172</c:f>
              <c:numCache>
                <c:formatCode>General</c:formatCode>
                <c:ptCount val="2"/>
                <c:pt idx="0">
                  <c:v>0.20238341840071394</c:v>
                </c:pt>
                <c:pt idx="1">
                  <c:v>0.2023834184007139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4.5199648987582</c:v>
                </c:pt>
                <c:pt idx="1">
                  <c:v>1044.5199648987582</c:v>
                </c:pt>
              </c:numCache>
            </c:numRef>
          </c:xVal>
          <c:yVal>
            <c:numRef>
              <c:f>Sheet1!$B$175:$B$176</c:f>
              <c:numCache>
                <c:formatCode>General</c:formatCode>
                <c:ptCount val="2"/>
                <c:pt idx="0">
                  <c:v>0.202383418400713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9.9168929992002</c:v>
                </c:pt>
              </c:numCache>
            </c:numRef>
          </c:xVal>
          <c:yVal>
            <c:numRef>
              <c:f>Sheet1!$B$179:$B$180</c:f>
              <c:numCache>
                <c:formatCode>General</c:formatCode>
                <c:ptCount val="2"/>
                <c:pt idx="0">
                  <c:v>0.1665713547756585</c:v>
                </c:pt>
                <c:pt idx="1">
                  <c:v>0.166571354775658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9.9168929992002</c:v>
                </c:pt>
                <c:pt idx="1">
                  <c:v>1239.9168929992002</c:v>
                </c:pt>
              </c:numCache>
            </c:numRef>
          </c:xVal>
          <c:yVal>
            <c:numRef>
              <c:f>Sheet1!$B$183:$B$184</c:f>
              <c:numCache>
                <c:formatCode>General</c:formatCode>
                <c:ptCount val="2"/>
                <c:pt idx="0">
                  <c:v>0.16657135477565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6.6471</c:v>
                </c:pt>
                <c:pt idx="1">
                  <c:v>1164.9909</c:v>
                </c:pt>
                <c:pt idx="2">
                  <c:v>1146.3336</c:v>
                </c:pt>
                <c:pt idx="3">
                  <c:v>1136.1908</c:v>
                </c:pt>
                <c:pt idx="4">
                  <c:v>1135.9695</c:v>
                </c:pt>
                <c:pt idx="5">
                  <c:v>1144.1788</c:v>
                </c:pt>
                <c:pt idx="6">
                  <c:v>1093.1584</c:v>
                </c:pt>
                <c:pt idx="7">
                  <c:v>1161.3752</c:v>
                </c:pt>
                <c:pt idx="8">
                  <c:v>1203.824</c:v>
                </c:pt>
                <c:pt idx="9">
                  <c:v>1189.8275</c:v>
                </c:pt>
                <c:pt idx="10">
                  <c:v>1197.6321</c:v>
                </c:pt>
                <c:pt idx="11">
                  <c:v>1049.3365</c:v>
                </c:pt>
                <c:pt idx="12">
                  <c:v>1039.0052</c:v>
                </c:pt>
                <c:pt idx="13">
                  <c:v>1146.0813</c:v>
                </c:pt>
                <c:pt idx="14">
                  <c:v>1147.1327</c:v>
                </c:pt>
                <c:pt idx="15">
                  <c:v>1165.812</c:v>
                </c:pt>
                <c:pt idx="16">
                  <c:v>1228.832</c:v>
                </c:pt>
                <c:pt idx="17">
                  <c:v>1187.5693</c:v>
                </c:pt>
                <c:pt idx="18">
                  <c:v>1223.9217</c:v>
                </c:pt>
                <c:pt idx="19">
                  <c:v>1214.38</c:v>
                </c:pt>
                <c:pt idx="20">
                  <c:v>1182.2695</c:v>
                </c:pt>
                <c:pt idx="21">
                  <c:v>1122.2108</c:v>
                </c:pt>
                <c:pt idx="22">
                  <c:v>1074.0953</c:v>
                </c:pt>
                <c:pt idx="23">
                  <c:v>1119.8725</c:v>
                </c:pt>
                <c:pt idx="24">
                  <c:v>1195.1781</c:v>
                </c:pt>
                <c:pt idx="25">
                  <c:v>1145.8423</c:v>
                </c:pt>
                <c:pt idx="26">
                  <c:v>1190.3405</c:v>
                </c:pt>
                <c:pt idx="27">
                  <c:v>1170.8613</c:v>
                </c:pt>
                <c:pt idx="28">
                  <c:v>1186.5756</c:v>
                </c:pt>
                <c:pt idx="29">
                  <c:v>1205.9217</c:v>
                </c:pt>
                <c:pt idx="30">
                  <c:v>1166.7474</c:v>
                </c:pt>
                <c:pt idx="31">
                  <c:v>1116.4551</c:v>
                </c:pt>
                <c:pt idx="32">
                  <c:v>1225.2798</c:v>
                </c:pt>
                <c:pt idx="33">
                  <c:v>1216.9624</c:v>
                </c:pt>
                <c:pt idx="34">
                  <c:v>1227.5745</c:v>
                </c:pt>
                <c:pt idx="35">
                  <c:v>1228.2837</c:v>
                </c:pt>
                <c:pt idx="36">
                  <c:v>1290.6579</c:v>
                </c:pt>
                <c:pt idx="37">
                  <c:v>1182.9517</c:v>
                </c:pt>
                <c:pt idx="38">
                  <c:v>1175.0567</c:v>
                </c:pt>
                <c:pt idx="39">
                  <c:v>1050.1371</c:v>
                </c:pt>
                <c:pt idx="40">
                  <c:v>1187.4423</c:v>
                </c:pt>
                <c:pt idx="41">
                  <c:v>1224.8602</c:v>
                </c:pt>
                <c:pt idx="42">
                  <c:v>1175.3545</c:v>
                </c:pt>
                <c:pt idx="43">
                  <c:v>1204.4195</c:v>
                </c:pt>
                <c:pt idx="44">
                  <c:v>1127.3408</c:v>
                </c:pt>
                <c:pt idx="45">
                  <c:v>1127.0412</c:v>
                </c:pt>
                <c:pt idx="46">
                  <c:v>1170.9119</c:v>
                </c:pt>
                <c:pt idx="47">
                  <c:v>1122.1046</c:v>
                </c:pt>
                <c:pt idx="48">
                  <c:v>1199.0102</c:v>
                </c:pt>
                <c:pt idx="49">
                  <c:v>1188.333</c:v>
                </c:pt>
                <c:pt idx="50">
                  <c:v>1073.1523</c:v>
                </c:pt>
                <c:pt idx="51">
                  <c:v>1038.7441</c:v>
                </c:pt>
                <c:pt idx="52">
                  <c:v>1044.5199648987582</c:v>
                </c:pt>
                <c:pt idx="53">
                  <c:v>767.372430685546</c:v>
                </c:pt>
                <c:pt idx="54">
                  <c:v>1239.9168929992002</c:v>
                </c:pt>
              </c:numCache>
            </c:numRef>
          </c:xVal>
          <c:yVal>
            <c:numRef>
              <c:f>Sheet1!$B$187:$B$241</c:f>
              <c:numCache>
                <c:formatCode>General</c:formatCode>
                <c:ptCount val="55"/>
                <c:pt idx="0">
                  <c:v>0.1800001354335263</c:v>
                </c:pt>
                <c:pt idx="1">
                  <c:v>0.18030368135081587</c:v>
                </c:pt>
                <c:pt idx="2">
                  <c:v>0.18372316404774083</c:v>
                </c:pt>
                <c:pt idx="3">
                  <c:v>0.1855821216192206</c:v>
                </c:pt>
                <c:pt idx="4">
                  <c:v>0.18562268116003466</c:v>
                </c:pt>
                <c:pt idx="5">
                  <c:v>0.18411809264487622</c:v>
                </c:pt>
                <c:pt idx="6">
                  <c:v>0.19346903704680943</c:v>
                </c:pt>
                <c:pt idx="7">
                  <c:v>0.1809663615664565</c:v>
                </c:pt>
                <c:pt idx="8">
                  <c:v>0.17318640749457967</c:v>
                </c:pt>
                <c:pt idx="9">
                  <c:v>0.17575166557412547</c:v>
                </c:pt>
                <c:pt idx="10">
                  <c:v>0.17432124988394412</c:v>
                </c:pt>
                <c:pt idx="11">
                  <c:v>0.2015006508814144</c:v>
                </c:pt>
                <c:pt idx="12">
                  <c:v>0.20339415645760925</c:v>
                </c:pt>
                <c:pt idx="13">
                  <c:v>0.1837694052232825</c:v>
                </c:pt>
                <c:pt idx="14">
                  <c:v>0.18357670616674449</c:v>
                </c:pt>
                <c:pt idx="15">
                  <c:v>0.18015319134194832</c:v>
                </c:pt>
                <c:pt idx="16">
                  <c:v>0.1686029777762014</c:v>
                </c:pt>
                <c:pt idx="17">
                  <c:v>0.17616554517225574</c:v>
                </c:pt>
                <c:pt idx="18">
                  <c:v>0.16950293038921135</c:v>
                </c:pt>
                <c:pt idx="19">
                  <c:v>0.17125171923053611</c:v>
                </c:pt>
                <c:pt idx="20">
                  <c:v>0.17713688477644085</c:v>
                </c:pt>
                <c:pt idx="21">
                  <c:v>0.18814435560286297</c:v>
                </c:pt>
                <c:pt idx="22">
                  <c:v>0.19696289417510504</c:v>
                </c:pt>
                <c:pt idx="23">
                  <c:v>0.18857291581201543</c:v>
                </c:pt>
                <c:pt idx="24">
                  <c:v>0.17477101542012854</c:v>
                </c:pt>
                <c:pt idx="25">
                  <c:v>0.1838132087942475</c:v>
                </c:pt>
                <c:pt idx="26">
                  <c:v>0.1756576436833094</c:v>
                </c:pt>
                <c:pt idx="27">
                  <c:v>0.1792277630119336</c:v>
                </c:pt>
                <c:pt idx="28">
                  <c:v>0.17634766905705873</c:v>
                </c:pt>
                <c:pt idx="29">
                  <c:v>0.1728019441020556</c:v>
                </c:pt>
                <c:pt idx="30">
                  <c:v>0.17998175259600419</c:v>
                </c:pt>
                <c:pt idx="31">
                  <c:v>0.18919925189325287</c:v>
                </c:pt>
                <c:pt idx="32">
                  <c:v>0.16925401980457727</c:v>
                </c:pt>
                <c:pt idx="33">
                  <c:v>0.17077842072986676</c:v>
                </c:pt>
                <c:pt idx="34">
                  <c:v>0.16883345053975152</c:v>
                </c:pt>
                <c:pt idx="35">
                  <c:v>0.16870346939946546</c:v>
                </c:pt>
                <c:pt idx="36">
                  <c:v>0.15727161711459384</c:v>
                </c:pt>
                <c:pt idx="37">
                  <c:v>0.17701185215672405</c:v>
                </c:pt>
                <c:pt idx="38">
                  <c:v>0.17845883622688544</c:v>
                </c:pt>
                <c:pt idx="39">
                  <c:v>0.20135391808260866</c:v>
                </c:pt>
                <c:pt idx="40">
                  <c:v>0.17618882154678528</c:v>
                </c:pt>
                <c:pt idx="41">
                  <c:v>0.16933092347979445</c:v>
                </c:pt>
                <c:pt idx="42">
                  <c:v>0.17840425587779188</c:v>
                </c:pt>
                <c:pt idx="43">
                  <c:v>0.17307726512424643</c:v>
                </c:pt>
                <c:pt idx="44">
                  <c:v>0.1872041366947024</c:v>
                </c:pt>
                <c:pt idx="45">
                  <c:v>0.1872590469451673</c:v>
                </c:pt>
                <c:pt idx="46">
                  <c:v>0.17921848911782973</c:v>
                </c:pt>
                <c:pt idx="47">
                  <c:v>0.18816381978376878</c:v>
                </c:pt>
                <c:pt idx="48">
                  <c:v>0.174068673728518</c:v>
                </c:pt>
                <c:pt idx="49">
                  <c:v>0.17602557535156135</c:v>
                </c:pt>
                <c:pt idx="50">
                  <c:v>0.19713572583795017</c:v>
                </c:pt>
                <c:pt idx="51">
                  <c:v>0.20344201048429947</c:v>
                </c:pt>
                <c:pt idx="52">
                  <c:v>0.20238341840071394</c:v>
                </c:pt>
                <c:pt idx="53">
                  <c:v>0.2531786137257337</c:v>
                </c:pt>
                <c:pt idx="54">
                  <c:v>0.166571354775658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9.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6153846153846"/>
          <c:min val="0.1094837935174069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3</c:f>
              <c:numCache>
                <c:formatCode>General</c:formatCode>
                <c:ptCount val="42"/>
                <c:pt idx="0">
                  <c:v>977.0</c:v>
                </c:pt>
                <c:pt idx="1">
                  <c:v>961.0</c:v>
                </c:pt>
                <c:pt idx="2">
                  <c:v>957.6429</c:v>
                </c:pt>
                <c:pt idx="3">
                  <c:v>986.2692</c:v>
                </c:pt>
                <c:pt idx="4">
                  <c:v>933.8929</c:v>
                </c:pt>
                <c:pt idx="5">
                  <c:v>864.2182</c:v>
                </c:pt>
                <c:pt idx="6">
                  <c:v>954.32</c:v>
                </c:pt>
                <c:pt idx="7">
                  <c:v>999.9375</c:v>
                </c:pt>
                <c:pt idx="8">
                  <c:v>1026.0</c:v>
                </c:pt>
                <c:pt idx="9">
                  <c:v>984.9</c:v>
                </c:pt>
                <c:pt idx="10">
                  <c:v>1055.1667</c:v>
                </c:pt>
                <c:pt idx="11">
                  <c:v>1055.2857</c:v>
                </c:pt>
                <c:pt idx="12">
                  <c:v>888.0</c:v>
                </c:pt>
                <c:pt idx="13">
                  <c:v>874.875</c:v>
                </c:pt>
                <c:pt idx="14">
                  <c:v>934.4</c:v>
                </c:pt>
                <c:pt idx="15">
                  <c:v>777.8824</c:v>
                </c:pt>
                <c:pt idx="16">
                  <c:v>936.2308</c:v>
                </c:pt>
                <c:pt idx="17">
                  <c:v>1024.375</c:v>
                </c:pt>
                <c:pt idx="18">
                  <c:v>954.5714</c:v>
                </c:pt>
                <c:pt idx="19">
                  <c:v>984.8</c:v>
                </c:pt>
                <c:pt idx="20">
                  <c:v>873.5</c:v>
                </c:pt>
                <c:pt idx="21">
                  <c:v>696.4</c:v>
                </c:pt>
                <c:pt idx="22">
                  <c:v>771.4</c:v>
                </c:pt>
                <c:pt idx="23">
                  <c:v>630.3333</c:v>
                </c:pt>
                <c:pt idx="24">
                  <c:v>688.0</c:v>
                </c:pt>
                <c:pt idx="25">
                  <c:v>654.0</c:v>
                </c:pt>
                <c:pt idx="26">
                  <c:v>652.5</c:v>
                </c:pt>
                <c:pt idx="27">
                  <c:v>766.0</c:v>
                </c:pt>
                <c:pt idx="28">
                  <c:v>597.8333</c:v>
                </c:pt>
                <c:pt idx="29">
                  <c:v>587.6</c:v>
                </c:pt>
                <c:pt idx="30">
                  <c:v>656.0</c:v>
                </c:pt>
                <c:pt idx="31">
                  <c:v>773.0</c:v>
                </c:pt>
                <c:pt idx="32">
                  <c:v>614.0</c:v>
                </c:pt>
                <c:pt idx="33">
                  <c:v>190.0</c:v>
                </c:pt>
                <c:pt idx="34">
                  <c:v>192.5</c:v>
                </c:pt>
                <c:pt idx="35">
                  <c:v>281.0</c:v>
                </c:pt>
                <c:pt idx="36">
                  <c:v>192.5</c:v>
                </c:pt>
                <c:pt idx="37">
                  <c:v>208.0</c:v>
                </c:pt>
                <c:pt idx="38">
                  <c:v>161.5</c:v>
                </c:pt>
                <c:pt idx="39">
                  <c:v>211.0</c:v>
                </c:pt>
                <c:pt idx="40">
                  <c:v>267.0</c:v>
                </c:pt>
                <c:pt idx="41">
                  <c:v>158.0</c:v>
                </c:pt>
              </c:numCache>
            </c:numRef>
          </c:xVal>
          <c:yVal>
            <c:numRef>
              <c:f>Sheet1!$B$2:$B$43</c:f>
              <c:numCache>
                <c:formatCode>General</c:formatCode>
                <c:ptCount val="42"/>
                <c:pt idx="0">
                  <c:v>0.15254237288135594</c:v>
                </c:pt>
                <c:pt idx="1">
                  <c:v>0.20512820512820512</c:v>
                </c:pt>
                <c:pt idx="2">
                  <c:v>0.27450980392156865</c:v>
                </c:pt>
                <c:pt idx="3">
                  <c:v>0.29545454545454547</c:v>
                </c:pt>
                <c:pt idx="4">
                  <c:v>0.22950819672131148</c:v>
                </c:pt>
                <c:pt idx="5">
                  <c:v>0.3416149068322981</c:v>
                </c:pt>
                <c:pt idx="6">
                  <c:v>0.30120481927710846</c:v>
                </c:pt>
                <c:pt idx="7">
                  <c:v>0.26229508196721313</c:v>
                </c:pt>
                <c:pt idx="8">
                  <c:v>0.19047619047619047</c:v>
                </c:pt>
                <c:pt idx="9">
                  <c:v>0.19607843137254902</c:v>
                </c:pt>
                <c:pt idx="10">
                  <c:v>0.13953488372093023</c:v>
                </c:pt>
                <c:pt idx="11">
                  <c:v>0.12962962962962962</c:v>
                </c:pt>
                <c:pt idx="12">
                  <c:v>0.06896551724137931</c:v>
                </c:pt>
                <c:pt idx="13">
                  <c:v>0.10526315789473684</c:v>
                </c:pt>
                <c:pt idx="14">
                  <c:v>0.14925373134328357</c:v>
                </c:pt>
                <c:pt idx="15">
                  <c:v>0.18681318681318682</c:v>
                </c:pt>
                <c:pt idx="16">
                  <c:v>0.15294117647058825</c:v>
                </c:pt>
                <c:pt idx="17">
                  <c:v>0.14035087719298245</c:v>
                </c:pt>
                <c:pt idx="18">
                  <c:v>0.11864406779661017</c:v>
                </c:pt>
                <c:pt idx="19">
                  <c:v>0.07692307692307693</c:v>
                </c:pt>
                <c:pt idx="20">
                  <c:v>0.09375</c:v>
                </c:pt>
                <c:pt idx="21">
                  <c:v>0.07936507936507936</c:v>
                </c:pt>
                <c:pt idx="22">
                  <c:v>0.0847457627118644</c:v>
                </c:pt>
                <c:pt idx="23">
                  <c:v>0.11320754716981132</c:v>
                </c:pt>
                <c:pt idx="24">
                  <c:v>0.05128205128205128</c:v>
                </c:pt>
                <c:pt idx="25">
                  <c:v>0.047619047619047616</c:v>
                </c:pt>
                <c:pt idx="26">
                  <c:v>0.058823529411764705</c:v>
                </c:pt>
                <c:pt idx="27">
                  <c:v>0.07894736842105263</c:v>
                </c:pt>
                <c:pt idx="28">
                  <c:v>0.13636363636363635</c:v>
                </c:pt>
                <c:pt idx="29">
                  <c:v>0.11363636363636363</c:v>
                </c:pt>
                <c:pt idx="30">
                  <c:v>0.047619047619047616</c:v>
                </c:pt>
                <c:pt idx="31">
                  <c:v>0.022727272727272728</c:v>
                </c:pt>
                <c:pt idx="32">
                  <c:v>0.025</c:v>
                </c:pt>
                <c:pt idx="33">
                  <c:v>0.11538461538461539</c:v>
                </c:pt>
                <c:pt idx="34">
                  <c:v>0.2</c:v>
                </c:pt>
                <c:pt idx="35">
                  <c:v>0.04</c:v>
                </c:pt>
                <c:pt idx="36">
                  <c:v>0.25</c:v>
                </c:pt>
                <c:pt idx="37">
                  <c:v>0.3076923076923077</c:v>
                </c:pt>
                <c:pt idx="38">
                  <c:v>0.13333333333333333</c:v>
                </c:pt>
                <c:pt idx="39">
                  <c:v>0.045454545454545456</c:v>
                </c:pt>
                <c:pt idx="40">
                  <c:v>0.07142857142857142</c:v>
                </c:pt>
                <c:pt idx="41">
                  <c:v>0.2222222222222222</c:v>
                </c:pt>
              </c:numCache>
            </c:numRef>
          </c:yVal>
          <c:smooth val="0"/>
          <c:extLst>
            <c:ext xmlns:c16="http://schemas.microsoft.com/office/drawing/2014/chart" uri="{C3380CC4-5D6E-409C-BE32-E72D297353CC}">
              <c16:uniqueId val="{00000000-F32D-48B7-BC20-E66FC6253BAD}"/>
            </c:ext>
          </c:extLst>
        </c:ser>
        <c:ser>
          <c:idx val="1"/>
          <c:order val="1"/>
          <c:tx>
            <c:strRef>
              <c:f>Sheet1!$B$4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6:$A$58</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xVal>
          <c:yVal>
            <c:numRef>
              <c:f>Sheet1!$B$46:$B$58</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yVal>
          <c:smooth val="0"/>
          <c:extLst>
            <c:ext xmlns:c16="http://schemas.microsoft.com/office/drawing/2014/chart" uri="{C3380CC4-5D6E-409C-BE32-E72D297353CC}">
              <c16:uniqueId val="{00000002-F32D-48B7-BC20-E66FC6253BAD}"/>
            </c:ext>
          </c:extLst>
        </c:ser>
        <c:ser>
          <c:idx val="2"/>
          <c:order val="2"/>
          <c:tx>
            <c:strRef>
              <c:f>Sheet1!$B$60</c:f>
              <c:strCache>
                <c:ptCount val="1"/>
                <c:pt idx="0">
                  <c:v>Custom Linep3yQ</c:v>
                </c:pt>
              </c:strCache>
            </c:strRef>
          </c:tx>
          <c:spPr>
            <a:ln w="19050" cap="rnd">
              <a:solidFill>
                <a:srgbClr val="C00000"/>
              </a:solidFill>
              <a:prstDash val="sysDot"/>
              <a:round/>
            </a:ln>
            <a:effectLst/>
          </c:spPr>
          <c:marker>
            <c:symbol val="none"/>
          </c:marker>
          <c:xVal>
            <c:numRef>
              <c:f>Sheet1!$A$61:$A$62</c:f>
              <c:numCache>
                <c:formatCode>General</c:formatCode>
                <c:ptCount val="2"/>
                <c:pt idx="0">
                  <c:v>0</c:v>
                </c:pt>
                <c:pt idx="1">
                  <c:v>0.2319087318464188</c:v>
                </c:pt>
              </c:numCache>
            </c:numRef>
          </c:xVal>
          <c:yVal>
            <c:numRef>
              <c:f>Sheet1!$B$61:$B$62</c:f>
              <c:numCache>
                <c:formatCode>General</c:formatCode>
                <c:ptCount val="2"/>
                <c:pt idx="0">
                  <c:v>0.2319087318464188</c:v>
                </c:pt>
                <c:pt idx="1">
                  <c:v>0.2319087318464188</c:v>
                </c:pt>
              </c:numCache>
            </c:numRef>
          </c:yVal>
          <c:smooth val="0"/>
          <c:extLst>
            <c:ext xmlns:c16="http://schemas.microsoft.com/office/drawing/2014/chart" uri="{C3380CC4-5D6E-409C-BE32-E72D297353CC}">
              <c16:uniqueId val="{00000003-F32D-48B7-BC20-E66FC6253BAD}"/>
            </c:ext>
          </c:extLst>
        </c:ser>
        <c:ser>
          <c:idx val="3"/>
          <c:order val="3"/>
          <c:tx>
            <c:strRef>
              <c:f>Sheet1!$B$6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5:$A$66</c:f>
              <c:numCache>
                <c:formatCode>General</c:formatCode>
                <c:ptCount val="2"/>
                <c:pt idx="0">
                  <c:v>0.2319087318464188</c:v>
                </c:pt>
                <c:pt idx="1">
                  <c:v>0.2319087318464188</c:v>
                </c:pt>
              </c:numCache>
            </c:numRef>
          </c:xVal>
          <c:yVal>
            <c:numRef>
              <c:f>Sheet1!$B$65:$B$66</c:f>
              <c:numCache>
                <c:formatCode>General</c:formatCode>
                <c:ptCount val="2"/>
                <c:pt idx="0">
                  <c:v>0.23190873184641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9:$A$70</c:f>
              <c:numCache>
                <c:formatCode>General</c:formatCode>
                <c:ptCount val="2"/>
                <c:pt idx="0">
                  <c:v>0</c:v>
                </c:pt>
                <c:pt idx="1">
                  <c:v>0.0</c:v>
                </c:pt>
              </c:numCache>
            </c:numRef>
          </c:xVal>
          <c:yVal>
            <c:numRef>
              <c:f>Sheet1!$B$69:$B$70</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7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3:$A$74</c:f>
              <c:numCache>
                <c:formatCode>General</c:formatCode>
                <c:ptCount val="2"/>
                <c:pt idx="0">
                  <c:v>0.0</c:v>
                </c:pt>
                <c:pt idx="1">
                  <c:v>0.0</c:v>
                </c:pt>
              </c:numCache>
            </c:numRef>
          </c:xVal>
          <c:yVal>
            <c:numRef>
              <c:f>Sheet1!$B$73:$B$74</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6</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7:$A$92</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2319087318464188</c:v>
                </c:pt>
                <c:pt idx="15">
                  <c:v>0</c:v>
                </c:pt>
              </c:numCache>
            </c:numRef>
          </c:xVal>
          <c:yVal>
            <c:numRef>
              <c:f>Sheet1!$B$77:$B$92</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2319087318464188</c:v>
                </c:pt>
                <c:pt idx="15">
                  <c:v>0</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937888198757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20619064513676147</c:v>
                </c:pt>
                <c:pt idx="1">
                  <c:v>0.2551372590665322</c:v>
                </c:pt>
                <c:pt idx="2">
                  <c:v>0.2587245096449992</c:v>
                </c:pt>
                <c:pt idx="3">
                  <c:v>0.22711490811955967</c:v>
                </c:pt>
                <c:pt idx="4">
                  <c:v>0.29399398987222514</c:v>
                </c:pt>
                <c:pt idx="5">
                  <c:v>0.2869250332005312</c:v>
                </c:pt>
                <c:pt idx="6">
                  <c:v>0.10874202370100274</c:v>
                </c:pt>
                <c:pt idx="7">
                  <c:v>0.0</c:v>
                </c:pt>
                <c:pt idx="8">
                  <c:v>0.17871450966730534</c:v>
                </c:pt>
                <c:pt idx="9">
                  <c:v>0.0</c:v>
                </c:pt>
                <c:pt idx="10">
                  <c:v>0.0</c:v>
                </c:pt>
                <c:pt idx="11">
                  <c:v>0.44414381313131307</c:v>
                </c:pt>
                <c:pt idx="12">
                  <c:v>0.0</c:v>
                </c:pt>
                <c:pt idx="13">
                  <c:v>0.0</c:v>
                </c:pt>
                <c:pt idx="14">
                  <c:v>0.2849649283318085</c:v>
                </c:pt>
                <c:pt idx="15">
                  <c:v>0.0</c:v>
                </c:pt>
                <c:pt idx="16">
                  <c:v>0.26013637121422617</c:v>
                </c:pt>
                <c:pt idx="17">
                  <c:v>0.2506014005496094</c:v>
                </c:pt>
                <c:pt idx="18">
                  <c:v>0.1262159724976861</c:v>
                </c:pt>
                <c:pt idx="19">
                  <c:v>0.06933258237116305</c:v>
                </c:pt>
                <c:pt idx="20">
                  <c:v>0.07437840599455041</c:v>
                </c:pt>
                <c:pt idx="21">
                  <c:v>0.0955543358946213</c:v>
                </c:pt>
                <c:pt idx="22">
                  <c:v>0.11369196757553426</c:v>
                </c:pt>
                <c:pt idx="23">
                  <c:v>0.0</c:v>
                </c:pt>
                <c:pt idx="24">
                  <c:v>0.0</c:v>
                </c:pt>
                <c:pt idx="25">
                  <c:v>0.08998348926802421</c:v>
                </c:pt>
                <c:pt idx="26">
                  <c:v>0.0</c:v>
                </c:pt>
                <c:pt idx="27">
                  <c:v>0.0</c:v>
                </c:pt>
                <c:pt idx="28">
                  <c:v>0.0</c:v>
                </c:pt>
                <c:pt idx="29">
                  <c:v>0.0</c:v>
                </c:pt>
                <c:pt idx="30">
                  <c:v>0.0</c:v>
                </c:pt>
                <c:pt idx="31">
                  <c:v>0.0</c:v>
                </c:pt>
                <c:pt idx="32">
                  <c:v>0.0</c:v>
                </c:pt>
                <c:pt idx="33">
                  <c:v>0.0</c:v>
                </c:pt>
                <c:pt idx="34">
                  <c:v>0.0</c:v>
                </c:pt>
                <c:pt idx="35">
                  <c:v>0.0</c:v>
                </c:pt>
                <c:pt idx="36">
                  <c:v>0.0</c:v>
                </c:pt>
                <c:pt idx="37">
                  <c:v>0.0</c:v>
                </c:pt>
                <c:pt idx="38">
                  <c:v>0.04131787937325607</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numCache>
            </c:numRef>
          </c:xVal>
          <c:yVal>
            <c:numRef>
              <c:f>Sheet1!$B$2:$B$57</c:f>
              <c:numCache>
                <c:formatCode>General</c:formatCode>
                <c:ptCount val="56"/>
                <c:pt idx="0">
                  <c:v>0.15254237288135594</c:v>
                </c:pt>
                <c:pt idx="1">
                  <c:v>0.20512820512820512</c:v>
                </c:pt>
                <c:pt idx="2">
                  <c:v>0.27450980392156865</c:v>
                </c:pt>
                <c:pt idx="3">
                  <c:v>0.29545454545454547</c:v>
                </c:pt>
                <c:pt idx="4">
                  <c:v>0.22950819672131148</c:v>
                </c:pt>
                <c:pt idx="5">
                  <c:v>0.3416149068322981</c:v>
                </c:pt>
                <c:pt idx="6">
                  <c:v>0.30120481927710846</c:v>
                </c:pt>
                <c:pt idx="7">
                  <c:v>0.26229508196721313</c:v>
                </c:pt>
                <c:pt idx="8">
                  <c:v>0.19047619047619047</c:v>
                </c:pt>
                <c:pt idx="9">
                  <c:v>0.19607843137254902</c:v>
                </c:pt>
                <c:pt idx="10">
                  <c:v>0.13953488372093023</c:v>
                </c:pt>
                <c:pt idx="11">
                  <c:v>0.12962962962962962</c:v>
                </c:pt>
                <c:pt idx="12">
                  <c:v>0.06896551724137931</c:v>
                </c:pt>
                <c:pt idx="13">
                  <c:v>0.10526315789473684</c:v>
                </c:pt>
                <c:pt idx="14">
                  <c:v>0.14925373134328357</c:v>
                </c:pt>
                <c:pt idx="15">
                  <c:v>0.18681318681318682</c:v>
                </c:pt>
                <c:pt idx="16">
                  <c:v>0.15294117647058825</c:v>
                </c:pt>
                <c:pt idx="17">
                  <c:v>0.14035087719298245</c:v>
                </c:pt>
                <c:pt idx="18">
                  <c:v>0.11864406779661017</c:v>
                </c:pt>
                <c:pt idx="19">
                  <c:v>0.07692307692307693</c:v>
                </c:pt>
                <c:pt idx="20">
                  <c:v>0.09375</c:v>
                </c:pt>
                <c:pt idx="21">
                  <c:v>0.07936507936507936</c:v>
                </c:pt>
                <c:pt idx="22">
                  <c:v>0.0847457627118644</c:v>
                </c:pt>
                <c:pt idx="23">
                  <c:v>0.11320754716981132</c:v>
                </c:pt>
                <c:pt idx="24">
                  <c:v>0.05128205128205128</c:v>
                </c:pt>
                <c:pt idx="25">
                  <c:v>0.047619047619047616</c:v>
                </c:pt>
                <c:pt idx="26">
                  <c:v>0.058823529411764705</c:v>
                </c:pt>
                <c:pt idx="27">
                  <c:v>0.07894736842105263</c:v>
                </c:pt>
                <c:pt idx="28">
                  <c:v>0.13636363636363635</c:v>
                </c:pt>
                <c:pt idx="29">
                  <c:v>0.11363636363636363</c:v>
                </c:pt>
                <c:pt idx="30">
                  <c:v>0.0</c:v>
                </c:pt>
                <c:pt idx="31">
                  <c:v>0.047619047619047616</c:v>
                </c:pt>
                <c:pt idx="32">
                  <c:v>0.0</c:v>
                </c:pt>
                <c:pt idx="33">
                  <c:v>0.022727272727272728</c:v>
                </c:pt>
                <c:pt idx="34">
                  <c:v>0.025</c:v>
                </c:pt>
                <c:pt idx="35">
                  <c:v>0.11538461538461539</c:v>
                </c:pt>
                <c:pt idx="36">
                  <c:v>0.2</c:v>
                </c:pt>
                <c:pt idx="37">
                  <c:v>0.04</c:v>
                </c:pt>
                <c:pt idx="38">
                  <c:v>0.25</c:v>
                </c:pt>
                <c:pt idx="39">
                  <c:v>0.3076923076923077</c:v>
                </c:pt>
                <c:pt idx="40">
                  <c:v>0.13333333333333333</c:v>
                </c:pt>
                <c:pt idx="41">
                  <c:v>0.0</c:v>
                </c:pt>
                <c:pt idx="42">
                  <c:v>0.0</c:v>
                </c:pt>
                <c:pt idx="43">
                  <c:v>0.045454545454545456</c:v>
                </c:pt>
                <c:pt idx="44">
                  <c:v>0.07142857142857142</c:v>
                </c:pt>
                <c:pt idx="45">
                  <c:v>0.0</c:v>
                </c:pt>
                <c:pt idx="46">
                  <c:v>0.2222222222222222</c:v>
                </c:pt>
                <c:pt idx="47">
                  <c:v>0.07142857142857142</c:v>
                </c:pt>
                <c:pt idx="48">
                  <c:v>0.0</c:v>
                </c:pt>
                <c:pt idx="49">
                  <c:v>0.0</c:v>
                </c:pt>
                <c:pt idx="50">
                  <c:v>0.0</c:v>
                </c:pt>
                <c:pt idx="51">
                  <c:v>0.0</c:v>
                </c:pt>
                <c:pt idx="52">
                  <c:v>0.0</c:v>
                </c:pt>
                <c:pt idx="53">
                  <c:v>0.0</c:v>
                </c:pt>
                <c:pt idx="54">
                  <c:v>0.0</c:v>
                </c:pt>
                <c:pt idx="55">
                  <c:v>0.0</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59</c:f>
              <c:numCache>
                <c:formatCode>General</c:formatCode>
                <c:ptCount val="0"/>
              </c:numCache>
            </c:numRef>
          </c:xVal>
          <c:yVal>
            <c:numRef>
              <c:f>Sheet1!$B$60:$B$59</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0.2319087318464188</c:v>
                </c:pt>
              </c:numCache>
            </c:numRef>
          </c:xVal>
          <c:yVal>
            <c:numRef>
              <c:f>Sheet1!$B$62:$B$63</c:f>
              <c:numCache>
                <c:formatCode>General</c:formatCode>
                <c:ptCount val="2"/>
                <c:pt idx="0">
                  <c:v>0.2319087318464188</c:v>
                </c:pt>
                <c:pt idx="1">
                  <c:v>0.2319087318464188</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2319087318464188</c:v>
                </c:pt>
                <c:pt idx="1">
                  <c:v>0.2319087318464188</c:v>
                </c:pt>
              </c:numCache>
            </c:numRef>
          </c:xVal>
          <c:yVal>
            <c:numRef>
              <c:f>Sheet1!$B$66:$B$67</c:f>
              <c:numCache>
                <c:formatCode>General</c:formatCode>
                <c:ptCount val="2"/>
                <c:pt idx="0">
                  <c:v>0.23190873184641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0.0</c:v>
                </c:pt>
              </c:numCache>
            </c:numRef>
          </c:xVal>
          <c:yVal>
            <c:numRef>
              <c:f>Sheet1!$B$70:$B$71</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0</c:v>
                </c:pt>
                <c:pt idx="1">
                  <c:v>0.0</c:v>
                </c:pt>
              </c:numCache>
            </c:numRef>
          </c:xVal>
          <c:yVal>
            <c:numRef>
              <c:f>Sheet1!$B$74:$B$75</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80</c:f>
              <c:numCache>
                <c:formatCode>General</c:formatCode>
                <c:ptCount val="3"/>
                <c:pt idx="0">
                  <c:v>0.0</c:v>
                </c:pt>
                <c:pt idx="1">
                  <c:v>0.2319087318464188</c:v>
                </c:pt>
                <c:pt idx="2">
                  <c:v>0</c:v>
                </c:pt>
              </c:numCache>
            </c:numRef>
          </c:xVal>
          <c:yVal>
            <c:numRef>
              <c:f>Sheet1!$B$78:$B$80</c:f>
              <c:numCache>
                <c:formatCode>General</c:formatCode>
                <c:ptCount val="3"/>
                <c:pt idx="0">
                  <c:v>0.0</c:v>
                </c:pt>
                <c:pt idx="1">
                  <c:v>0.2319087318464188</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Vich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937888198757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4</c:f>
              <c:numCache>
                <c:formatCode>General</c:formatCode>
                <c:ptCount val="43"/>
                <c:pt idx="0">
                  <c:v>977.0</c:v>
                </c:pt>
                <c:pt idx="1">
                  <c:v>961.0</c:v>
                </c:pt>
                <c:pt idx="2">
                  <c:v>957.6429</c:v>
                </c:pt>
                <c:pt idx="3">
                  <c:v>986.2692</c:v>
                </c:pt>
                <c:pt idx="4">
                  <c:v>933.8929</c:v>
                </c:pt>
                <c:pt idx="5">
                  <c:v>864.2182</c:v>
                </c:pt>
                <c:pt idx="6">
                  <c:v>954.32</c:v>
                </c:pt>
                <c:pt idx="7">
                  <c:v>999.9375</c:v>
                </c:pt>
                <c:pt idx="8">
                  <c:v>1026.0</c:v>
                </c:pt>
                <c:pt idx="9">
                  <c:v>984.9</c:v>
                </c:pt>
                <c:pt idx="10">
                  <c:v>1055.1667</c:v>
                </c:pt>
                <c:pt idx="11">
                  <c:v>1055.2857</c:v>
                </c:pt>
                <c:pt idx="12">
                  <c:v>888.0</c:v>
                </c:pt>
                <c:pt idx="13">
                  <c:v>874.875</c:v>
                </c:pt>
                <c:pt idx="14">
                  <c:v>934.4</c:v>
                </c:pt>
                <c:pt idx="15">
                  <c:v>777.8824</c:v>
                </c:pt>
                <c:pt idx="16">
                  <c:v>936.2308</c:v>
                </c:pt>
                <c:pt idx="17">
                  <c:v>1024.375</c:v>
                </c:pt>
                <c:pt idx="18">
                  <c:v>954.5714</c:v>
                </c:pt>
                <c:pt idx="19">
                  <c:v>984.8</c:v>
                </c:pt>
                <c:pt idx="20">
                  <c:v>873.5</c:v>
                </c:pt>
                <c:pt idx="21">
                  <c:v>696.4</c:v>
                </c:pt>
                <c:pt idx="22">
                  <c:v>771.4</c:v>
                </c:pt>
                <c:pt idx="23">
                  <c:v>630.3333</c:v>
                </c:pt>
                <c:pt idx="24">
                  <c:v>688.0</c:v>
                </c:pt>
                <c:pt idx="25">
                  <c:v>654.0</c:v>
                </c:pt>
                <c:pt idx="26">
                  <c:v>652.5</c:v>
                </c:pt>
                <c:pt idx="27">
                  <c:v>766.0</c:v>
                </c:pt>
                <c:pt idx="28">
                  <c:v>597.8333</c:v>
                </c:pt>
                <c:pt idx="29">
                  <c:v>587.6</c:v>
                </c:pt>
                <c:pt idx="30">
                  <c:v>656.0</c:v>
                </c:pt>
                <c:pt idx="31">
                  <c:v>773.0</c:v>
                </c:pt>
                <c:pt idx="32">
                  <c:v>614.0</c:v>
                </c:pt>
                <c:pt idx="33">
                  <c:v>190.0</c:v>
                </c:pt>
                <c:pt idx="34">
                  <c:v>192.5</c:v>
                </c:pt>
                <c:pt idx="35">
                  <c:v>281.0</c:v>
                </c:pt>
                <c:pt idx="36">
                  <c:v>192.5</c:v>
                </c:pt>
                <c:pt idx="37">
                  <c:v>208.0</c:v>
                </c:pt>
                <c:pt idx="38">
                  <c:v>161.5</c:v>
                </c:pt>
                <c:pt idx="39">
                  <c:v>211.0</c:v>
                </c:pt>
                <c:pt idx="40">
                  <c:v>267.0</c:v>
                </c:pt>
                <c:pt idx="41">
                  <c:v>158.0</c:v>
                </c:pt>
                <c:pt idx="42">
                  <c:v>140.0</c:v>
                </c:pt>
              </c:numCache>
            </c:numRef>
          </c:xVal>
          <c:yVal>
            <c:numRef>
              <c:f>Sheet1!$B$2:$B$44</c:f>
              <c:numCache>
                <c:formatCode>General</c:formatCode>
                <c:ptCount val="43"/>
                <c:pt idx="0">
                  <c:v>0.15254237288135594</c:v>
                </c:pt>
                <c:pt idx="1">
                  <c:v>0.20512820512820512</c:v>
                </c:pt>
                <c:pt idx="2">
                  <c:v>0.27450980392156865</c:v>
                </c:pt>
                <c:pt idx="3">
                  <c:v>0.29545454545454547</c:v>
                </c:pt>
                <c:pt idx="4">
                  <c:v>0.22950819672131148</c:v>
                </c:pt>
                <c:pt idx="5">
                  <c:v>0.3416149068322981</c:v>
                </c:pt>
                <c:pt idx="6">
                  <c:v>0.30120481927710846</c:v>
                </c:pt>
                <c:pt idx="7">
                  <c:v>0.26229508196721313</c:v>
                </c:pt>
                <c:pt idx="8">
                  <c:v>0.19047619047619047</c:v>
                </c:pt>
                <c:pt idx="9">
                  <c:v>0.19607843137254902</c:v>
                </c:pt>
                <c:pt idx="10">
                  <c:v>0.13953488372093023</c:v>
                </c:pt>
                <c:pt idx="11">
                  <c:v>0.12962962962962962</c:v>
                </c:pt>
                <c:pt idx="12">
                  <c:v>0.06896551724137931</c:v>
                </c:pt>
                <c:pt idx="13">
                  <c:v>0.10526315789473684</c:v>
                </c:pt>
                <c:pt idx="14">
                  <c:v>0.14925373134328357</c:v>
                </c:pt>
                <c:pt idx="15">
                  <c:v>0.18681318681318682</c:v>
                </c:pt>
                <c:pt idx="16">
                  <c:v>0.15294117647058825</c:v>
                </c:pt>
                <c:pt idx="17">
                  <c:v>0.14035087719298245</c:v>
                </c:pt>
                <c:pt idx="18">
                  <c:v>0.11864406779661017</c:v>
                </c:pt>
                <c:pt idx="19">
                  <c:v>0.07692307692307693</c:v>
                </c:pt>
                <c:pt idx="20">
                  <c:v>0.09375</c:v>
                </c:pt>
                <c:pt idx="21">
                  <c:v>0.07936507936507936</c:v>
                </c:pt>
                <c:pt idx="22">
                  <c:v>0.0847457627118644</c:v>
                </c:pt>
                <c:pt idx="23">
                  <c:v>0.11320754716981132</c:v>
                </c:pt>
                <c:pt idx="24">
                  <c:v>0.05128205128205128</c:v>
                </c:pt>
                <c:pt idx="25">
                  <c:v>0.047619047619047616</c:v>
                </c:pt>
                <c:pt idx="26">
                  <c:v>0.058823529411764705</c:v>
                </c:pt>
                <c:pt idx="27">
                  <c:v>0.07894736842105263</c:v>
                </c:pt>
                <c:pt idx="28">
                  <c:v>0.13636363636363635</c:v>
                </c:pt>
                <c:pt idx="29">
                  <c:v>0.11363636363636363</c:v>
                </c:pt>
                <c:pt idx="30">
                  <c:v>0.047619047619047616</c:v>
                </c:pt>
                <c:pt idx="31">
                  <c:v>0.022727272727272728</c:v>
                </c:pt>
                <c:pt idx="32">
                  <c:v>0.025</c:v>
                </c:pt>
                <c:pt idx="33">
                  <c:v>0.11538461538461539</c:v>
                </c:pt>
                <c:pt idx="34">
                  <c:v>0.2</c:v>
                </c:pt>
                <c:pt idx="35">
                  <c:v>0.04</c:v>
                </c:pt>
                <c:pt idx="36">
                  <c:v>0.25</c:v>
                </c:pt>
                <c:pt idx="37">
                  <c:v>0.3076923076923077</c:v>
                </c:pt>
                <c:pt idx="38">
                  <c:v>0.13333333333333333</c:v>
                </c:pt>
                <c:pt idx="39">
                  <c:v>0.045454545454545456</c:v>
                </c:pt>
                <c:pt idx="40">
                  <c:v>0.07142857142857142</c:v>
                </c:pt>
                <c:pt idx="41">
                  <c:v>0.2222222222222222</c:v>
                </c:pt>
                <c:pt idx="42">
                  <c:v>0.07142857142857142</c:v>
                </c:pt>
              </c:numCache>
            </c:numRef>
          </c:yVal>
          <c:smooth val="0"/>
          <c:extLst>
            <c:ext xmlns:c16="http://schemas.microsoft.com/office/drawing/2014/chart" uri="{C3380CC4-5D6E-409C-BE32-E72D297353CC}">
              <c16:uniqueId val="{00000000-F32D-48B7-BC20-E66FC6253BAD}"/>
            </c:ext>
          </c:extLst>
        </c:ser>
        <c:ser>
          <c:idx val="1"/>
          <c:order val="1"/>
          <c:tx>
            <c:strRef>
              <c:f>Sheet1!$B$4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7:$A$59</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xVal>
          <c:yVal>
            <c:numRef>
              <c:f>Sheet1!$B$47:$B$59</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0.2319087318464188</c:v>
                </c:pt>
              </c:numCache>
            </c:numRef>
          </c:xVal>
          <c:yVal>
            <c:numRef>
              <c:f>Sheet1!$B$62:$B$63</c:f>
              <c:numCache>
                <c:formatCode>General</c:formatCode>
                <c:ptCount val="2"/>
                <c:pt idx="0">
                  <c:v>0.2319087318464188</c:v>
                </c:pt>
                <c:pt idx="1">
                  <c:v>0.2319087318464188</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0.2319087318464188</c:v>
                </c:pt>
                <c:pt idx="1">
                  <c:v>0.2319087318464188</c:v>
                </c:pt>
              </c:numCache>
            </c:numRef>
          </c:xVal>
          <c:yVal>
            <c:numRef>
              <c:f>Sheet1!$B$66:$B$67</c:f>
              <c:numCache>
                <c:formatCode>General</c:formatCode>
                <c:ptCount val="2"/>
                <c:pt idx="0">
                  <c:v>0.23190873184641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0.0</c:v>
                </c:pt>
              </c:numCache>
            </c:numRef>
          </c:xVal>
          <c:yVal>
            <c:numRef>
              <c:f>Sheet1!$B$70:$B$71</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0.0</c:v>
                </c:pt>
                <c:pt idx="1">
                  <c:v>0.0</c:v>
                </c:pt>
              </c:numCache>
            </c:numRef>
          </c:xVal>
          <c:yVal>
            <c:numRef>
              <c:f>Sheet1!$B$74:$B$75</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93</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2319087318464188</c:v>
                </c:pt>
                <c:pt idx="15">
                  <c:v>0</c:v>
                </c:pt>
              </c:numCache>
            </c:numRef>
          </c:xVal>
          <c:yVal>
            <c:numRef>
              <c:f>Sheet1!$B$78:$B$93</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2319087318464188</c:v>
                </c:pt>
                <c:pt idx="15">
                  <c:v>0</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2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937888198757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464685402150407</c:v>
                </c:pt>
                <c:pt idx="1">
                  <c:v>0.8080263191455492</c:v>
                </c:pt>
                <c:pt idx="2">
                  <c:v>0.7449471093881679</c:v>
                </c:pt>
                <c:pt idx="3">
                  <c:v>0.7515207732191274</c:v>
                </c:pt>
                <c:pt idx="4">
                  <c:v>0.7056323245132626</c:v>
                </c:pt>
                <c:pt idx="5">
                  <c:v>0.7843655111153514</c:v>
                </c:pt>
                <c:pt idx="6">
                  <c:v>0.7841547470292785</c:v>
                </c:pt>
                <c:pt idx="7">
                  <c:v>0.7852390858208955</c:v>
                </c:pt>
                <c:pt idx="8">
                  <c:v>0.7850825113808801</c:v>
                </c:pt>
                <c:pt idx="9">
                  <c:v>0.7568533553592461</c:v>
                </c:pt>
                <c:pt idx="10">
                  <c:v>0.7609619609831653</c:v>
                </c:pt>
                <c:pt idx="11">
                  <c:v>0.7492256769124794</c:v>
                </c:pt>
                <c:pt idx="12">
                  <c:v>0.7717729907264296</c:v>
                </c:pt>
                <c:pt idx="13">
                  <c:v>0.761888064824089</c:v>
                </c:pt>
                <c:pt idx="14">
                  <c:v>0.7264450341309729</c:v>
                </c:pt>
                <c:pt idx="15">
                  <c:v>0.7120738447657242</c:v>
                </c:pt>
                <c:pt idx="16">
                  <c:v>0.7263788272872462</c:v>
                </c:pt>
                <c:pt idx="17">
                  <c:v>0.7423941541724388</c:v>
                </c:pt>
                <c:pt idx="18">
                  <c:v>0.7358069660523023</c:v>
                </c:pt>
                <c:pt idx="19">
                  <c:v>0.7375901697626879</c:v>
                </c:pt>
                <c:pt idx="20">
                  <c:v>0.7720284093487634</c:v>
                </c:pt>
                <c:pt idx="21">
                  <c:v>0.7456357868020305</c:v>
                </c:pt>
                <c:pt idx="22">
                  <c:v>0.7117053815261044</c:v>
                </c:pt>
                <c:pt idx="23">
                  <c:v>0.7492845236839328</c:v>
                </c:pt>
                <c:pt idx="24">
                  <c:v>0.7242077888949292</c:v>
                </c:pt>
                <c:pt idx="25">
                  <c:v>0.7059632685442285</c:v>
                </c:pt>
                <c:pt idx="26">
                  <c:v>0.6927335436672558</c:v>
                </c:pt>
                <c:pt idx="27">
                  <c:v>0.6924085373743273</c:v>
                </c:pt>
                <c:pt idx="28">
                  <c:v>0.6968259701256619</c:v>
                </c:pt>
                <c:pt idx="29">
                  <c:v>0.6093657726085925</c:v>
                </c:pt>
                <c:pt idx="30">
                  <c:v>0.6294347369615523</c:v>
                </c:pt>
                <c:pt idx="31">
                  <c:v>0.7048779783573802</c:v>
                </c:pt>
                <c:pt idx="32">
                  <c:v>0.6718325515235092</c:v>
                </c:pt>
                <c:pt idx="33">
                  <c:v>0.547797576571408</c:v>
                </c:pt>
                <c:pt idx="34">
                  <c:v>0.6228954938513014</c:v>
                </c:pt>
                <c:pt idx="35">
                  <c:v>0.6763728117973943</c:v>
                </c:pt>
                <c:pt idx="36">
                  <c:v>0.6424322316089713</c:v>
                </c:pt>
                <c:pt idx="37">
                  <c:v>0.644107204358462</c:v>
                </c:pt>
                <c:pt idx="38">
                  <c:v>0.7015398059792076</c:v>
                </c:pt>
                <c:pt idx="39">
                  <c:v>0.6467756822201615</c:v>
                </c:pt>
                <c:pt idx="40">
                  <c:v>0.7129197242796592</c:v>
                </c:pt>
                <c:pt idx="41">
                  <c:v>0.6642190003292822</c:v>
                </c:pt>
                <c:pt idx="42">
                  <c:v>0.7318720708839686</c:v>
                </c:pt>
                <c:pt idx="43">
                  <c:v>0.7580746839309342</c:v>
                </c:pt>
                <c:pt idx="44">
                  <c:v>0.7406152954557683</c:v>
                </c:pt>
                <c:pt idx="45">
                  <c:v>0.7862779940653686</c:v>
                </c:pt>
                <c:pt idx="46">
                  <c:v>0.7355374632289323</c:v>
                </c:pt>
                <c:pt idx="47">
                  <c:v>0.7339183055923105</c:v>
                </c:pt>
                <c:pt idx="48">
                  <c:v>0.7269549698962723</c:v>
                </c:pt>
                <c:pt idx="49">
                  <c:v>0.8055047836189367</c:v>
                </c:pt>
                <c:pt idx="50">
                  <c:v>0.8085531712495433</c:v>
                </c:pt>
                <c:pt idx="51">
                  <c:v>0.7433303083461644</c:v>
                </c:pt>
                <c:pt idx="52">
                  <c:v>0.7141211897132528</c:v>
                </c:pt>
                <c:pt idx="53">
                  <c:v>0.7026101909381438</c:v>
                </c:pt>
                <c:pt idx="54">
                  <c:v>0.7147251482321689</c:v>
                </c:pt>
                <c:pt idx="55">
                  <c:v>0.7018433829287393</c:v>
                </c:pt>
                <c:pt idx="56">
                  <c:v>0.730334631362066</c:v>
                </c:pt>
                <c:pt idx="57">
                  <c:v>0.6903320834478994</c:v>
                </c:pt>
                <c:pt idx="58">
                  <c:v>0.7482956763336894</c:v>
                </c:pt>
                <c:pt idx="59">
                  <c:v>0.6969324187190905</c:v>
                </c:pt>
                <c:pt idx="60">
                  <c:v>0.712273478710094</c:v>
                </c:pt>
                <c:pt idx="61">
                  <c:v>0.666549777052783</c:v>
                </c:pt>
                <c:pt idx="62">
                  <c:v>0.7442190743657696</c:v>
                </c:pt>
                <c:pt idx="63">
                  <c:v>0.7321664060087504</c:v>
                </c:pt>
                <c:pt idx="64">
                  <c:v>0.7312036197401465</c:v>
                </c:pt>
                <c:pt idx="65">
                  <c:v>0.7527765212929708</c:v>
                </c:pt>
                <c:pt idx="66">
                  <c:v>0.8383775659622318</c:v>
                </c:pt>
                <c:pt idx="67">
                  <c:v>0.9130621875682345</c:v>
                </c:pt>
                <c:pt idx="68">
                  <c:v>0.897952597299079</c:v>
                </c:pt>
                <c:pt idx="69">
                  <c:v>0.9196322912658633</c:v>
                </c:pt>
                <c:pt idx="70">
                  <c:v>1.021018803641293</c:v>
                </c:pt>
                <c:pt idx="71">
                  <c:v>1.2955029852799826</c:v>
                </c:pt>
                <c:pt idx="72">
                  <c:v>1.1789507309782765</c:v>
                </c:pt>
                <c:pt idx="73">
                  <c:v>1.1950509335897093</c:v>
                </c:pt>
                <c:pt idx="74">
                  <c:v>0.9661084619386162</c:v>
                </c:pt>
                <c:pt idx="75">
                  <c:v>1.675450361904762</c:v>
                </c:pt>
                <c:pt idx="76">
                  <c:v>1.029124002948976</c:v>
                </c:pt>
                <c:pt idx="77">
                  <c:v>0.8441315252383083</c:v>
                </c:pt>
                <c:pt idx="78">
                  <c:v>1.1138254185532273</c:v>
                </c:pt>
                <c:pt idx="79">
                  <c:v>1.1873362887903736</c:v>
                </c:pt>
                <c:pt idx="80">
                  <c:v>1.0932106097996657</c:v>
                </c:pt>
                <c:pt idx="81">
                  <c:v>1.2453590827287742</c:v>
                </c:pt>
                <c:pt idx="82">
                  <c:v>0.8807283992623979</c:v>
                </c:pt>
                <c:pt idx="83">
                  <c:v>0.8985013205282113</c:v>
                </c:pt>
                <c:pt idx="84">
                  <c:v>0.9730449076410185</c:v>
                </c:pt>
                <c:pt idx="85">
                  <c:v>0.9522301204186501</c:v>
                </c:pt>
                <c:pt idx="86">
                  <c:v>0.9351756785188302</c:v>
                </c:pt>
                <c:pt idx="87">
                  <c:v>0.9577618775304801</c:v>
                </c:pt>
                <c:pt idx="88">
                  <c:v>0.912038753343734</c:v>
                </c:pt>
                <c:pt idx="89">
                  <c:v>0.9273230522088354</c:v>
                </c:pt>
                <c:pt idx="90">
                  <c:v>1.041567448797084</c:v>
                </c:pt>
                <c:pt idx="91">
                  <c:v>0.9184938339920949</c:v>
                </c:pt>
                <c:pt idx="92">
                  <c:v>1.0716821018979832</c:v>
                </c:pt>
                <c:pt idx="93">
                  <c:v>0.9068545974662852</c:v>
                </c:pt>
                <c:pt idx="94">
                  <c:v>0.8485909256692683</c:v>
                </c:pt>
                <c:pt idx="95">
                  <c:v>0.8296440686292903</c:v>
                </c:pt>
                <c:pt idx="96">
                  <c:v>0.811033641294168</c:v>
                </c:pt>
                <c:pt idx="97">
                  <c:v>0.9860989791806286</c:v>
                </c:pt>
                <c:pt idx="98">
                  <c:v>0.963784262487867</c:v>
                </c:pt>
                <c:pt idx="99">
                  <c:v>1.3528115531173248</c:v>
                </c:pt>
                <c:pt idx="100">
                  <c:v>1.0264196265802892</c:v>
                </c:pt>
                <c:pt idx="101">
                  <c:v>0.8824013365975755</c:v>
                </c:pt>
                <c:pt idx="102">
                  <c:v>0.8273489315186425</c:v>
                </c:pt>
                <c:pt idx="103">
                  <c:v>0.9582675235646958</c:v>
                </c:pt>
                <c:pt idx="104">
                  <c:v>0.8460688625548195</c:v>
                </c:pt>
              </c:numCache>
            </c:numRef>
          </c:xVal>
          <c:yVal>
            <c:numRef>
              <c:f>Sheet1!$B$2:$B$106</c:f>
              <c:numCache>
                <c:formatCode>General</c:formatCode>
                <c:ptCount val="105"/>
                <c:pt idx="0">
                  <c:v>0.5906976744186047</c:v>
                </c:pt>
                <c:pt idx="1">
                  <c:v>0.5606936416184971</c:v>
                </c:pt>
                <c:pt idx="2">
                  <c:v>0.5625</c:v>
                </c:pt>
                <c:pt idx="3">
                  <c:v>0.6</c:v>
                </c:pt>
                <c:pt idx="4">
                  <c:v>0.60625</c:v>
                </c:pt>
                <c:pt idx="5">
                  <c:v>0.58125</c:v>
                </c:pt>
                <c:pt idx="6">
                  <c:v>0.5352941176470588</c:v>
                </c:pt>
                <c:pt idx="7">
                  <c:v>0.5757575757575758</c:v>
                </c:pt>
                <c:pt idx="8">
                  <c:v>0.5403225806451613</c:v>
                </c:pt>
                <c:pt idx="9">
                  <c:v>0.5153374233128835</c:v>
                </c:pt>
                <c:pt idx="10">
                  <c:v>0.5397727272727273</c:v>
                </c:pt>
                <c:pt idx="11">
                  <c:v>0.5544041450777202</c:v>
                </c:pt>
                <c:pt idx="12">
                  <c:v>0.49748743718592964</c:v>
                </c:pt>
                <c:pt idx="13">
                  <c:v>0.48205128205128206</c:v>
                </c:pt>
                <c:pt idx="14">
                  <c:v>0.5317919075144508</c:v>
                </c:pt>
                <c:pt idx="15">
                  <c:v>0.5857142857142857</c:v>
                </c:pt>
                <c:pt idx="16">
                  <c:v>0.5634920634920635</c:v>
                </c:pt>
                <c:pt idx="17">
                  <c:v>0.5338345864661654</c:v>
                </c:pt>
                <c:pt idx="18">
                  <c:v>0.5603448275862069</c:v>
                </c:pt>
                <c:pt idx="19">
                  <c:v>0.5151515151515151</c:v>
                </c:pt>
                <c:pt idx="20">
                  <c:v>0.6030534351145038</c:v>
                </c:pt>
                <c:pt idx="21">
                  <c:v>0.5</c:v>
                </c:pt>
                <c:pt idx="22">
                  <c:v>0.44565217391304346</c:v>
                </c:pt>
                <c:pt idx="23">
                  <c:v>0.4845360824742268</c:v>
                </c:pt>
                <c:pt idx="24">
                  <c:v>0.5242718446601942</c:v>
                </c:pt>
                <c:pt idx="25">
                  <c:v>0.5487804878048781</c:v>
                </c:pt>
                <c:pt idx="26">
                  <c:v>0.44554455445544555</c:v>
                </c:pt>
                <c:pt idx="27">
                  <c:v>0.46808510638297873</c:v>
                </c:pt>
                <c:pt idx="28">
                  <c:v>0.45794392523364486</c:v>
                </c:pt>
                <c:pt idx="29">
                  <c:v>0.5081967213114754</c:v>
                </c:pt>
                <c:pt idx="30">
                  <c:v>0.43478260869565216</c:v>
                </c:pt>
                <c:pt idx="31">
                  <c:v>0.5</c:v>
                </c:pt>
                <c:pt idx="32">
                  <c:v>0.5151515151515151</c:v>
                </c:pt>
                <c:pt idx="33">
                  <c:v>0.5906040268456376</c:v>
                </c:pt>
                <c:pt idx="34">
                  <c:v>0.5444444444444444</c:v>
                </c:pt>
                <c:pt idx="35">
                  <c:v>0.5299145299145299</c:v>
                </c:pt>
                <c:pt idx="36">
                  <c:v>0.4962962962962963</c:v>
                </c:pt>
                <c:pt idx="37">
                  <c:v>0.4666666666666667</c:v>
                </c:pt>
                <c:pt idx="38">
                  <c:v>0.4948453608247423</c:v>
                </c:pt>
                <c:pt idx="39">
                  <c:v>0.49514563106796117</c:v>
                </c:pt>
                <c:pt idx="40">
                  <c:v>0.5070422535211268</c:v>
                </c:pt>
                <c:pt idx="41">
                  <c:v>0.5362318840579711</c:v>
                </c:pt>
                <c:pt idx="42">
                  <c:v>0.47183098591549294</c:v>
                </c:pt>
                <c:pt idx="43">
                  <c:v>0.44776119402985076</c:v>
                </c:pt>
                <c:pt idx="44">
                  <c:v>0.4406779661016949</c:v>
                </c:pt>
                <c:pt idx="45">
                  <c:v>0.4876847290640394</c:v>
                </c:pt>
                <c:pt idx="46">
                  <c:v>0.5209790209790209</c:v>
                </c:pt>
                <c:pt idx="47">
                  <c:v>0.4892703862660944</c:v>
                </c:pt>
                <c:pt idx="48">
                  <c:v>0.5224358974358975</c:v>
                </c:pt>
                <c:pt idx="49">
                  <c:v>0.532293986636971</c:v>
                </c:pt>
                <c:pt idx="50">
                  <c:v>0.4649122807017544</c:v>
                </c:pt>
                <c:pt idx="51">
                  <c:v>0.4427083333333333</c:v>
                </c:pt>
                <c:pt idx="52">
                  <c:v>0.5125628140703518</c:v>
                </c:pt>
                <c:pt idx="53">
                  <c:v>0.4426229508196721</c:v>
                </c:pt>
                <c:pt idx="54">
                  <c:v>0.47305389221556887</c:v>
                </c:pt>
                <c:pt idx="55">
                  <c:v>0.44680851063829785</c:v>
                </c:pt>
                <c:pt idx="56">
                  <c:v>0.4014084507042254</c:v>
                </c:pt>
                <c:pt idx="57">
                  <c:v>0.432258064516129</c:v>
                </c:pt>
                <c:pt idx="58">
                  <c:v>0.4117647058823529</c:v>
                </c:pt>
                <c:pt idx="59">
                  <c:v>0.4350282485875706</c:v>
                </c:pt>
                <c:pt idx="60">
                  <c:v>0.5279503105590062</c:v>
                </c:pt>
                <c:pt idx="61">
                  <c:v>0.4444444444444444</c:v>
                </c:pt>
                <c:pt idx="62">
                  <c:v>0.5174418604651163</c:v>
                </c:pt>
                <c:pt idx="63">
                  <c:v>0.4835164835164835</c:v>
                </c:pt>
                <c:pt idx="64">
                  <c:v>0.48186528497409326</c:v>
                </c:pt>
                <c:pt idx="65">
                  <c:v>0.4911242603550296</c:v>
                </c:pt>
                <c:pt idx="66">
                  <c:v>0.5087719298245614</c:v>
                </c:pt>
                <c:pt idx="67">
                  <c:v>0.4791666666666667</c:v>
                </c:pt>
                <c:pt idx="68">
                  <c:v>0.46774193548387094</c:v>
                </c:pt>
                <c:pt idx="69">
                  <c:v>0.3942307692307692</c:v>
                </c:pt>
                <c:pt idx="70">
                  <c:v>0.39</c:v>
                </c:pt>
                <c:pt idx="71">
                  <c:v>0.4222222222222222</c:v>
                </c:pt>
                <c:pt idx="72">
                  <c:v>0.38333333333333336</c:v>
                </c:pt>
                <c:pt idx="73">
                  <c:v>0.3465346534653465</c:v>
                </c:pt>
                <c:pt idx="74">
                  <c:v>0.4077669902912621</c:v>
                </c:pt>
                <c:pt idx="75">
                  <c:v>0.3431372549019608</c:v>
                </c:pt>
                <c:pt idx="76">
                  <c:v>0.4024390243902439</c:v>
                </c:pt>
                <c:pt idx="77">
                  <c:v>0.4153846153846154</c:v>
                </c:pt>
                <c:pt idx="78">
                  <c:v>0.44871794871794873</c:v>
                </c:pt>
                <c:pt idx="79">
                  <c:v>0.3953488372093023</c:v>
                </c:pt>
                <c:pt idx="80">
                  <c:v>0.42028985507246375</c:v>
                </c:pt>
                <c:pt idx="81">
                  <c:v>0.4423076923076923</c:v>
                </c:pt>
                <c:pt idx="82">
                  <c:v>0.4166666666666667</c:v>
                </c:pt>
                <c:pt idx="83">
                  <c:v>0.43661971830985913</c:v>
                </c:pt>
                <c:pt idx="84">
                  <c:v>0.4393939393939394</c:v>
                </c:pt>
                <c:pt idx="85">
                  <c:v>0.47058823529411764</c:v>
                </c:pt>
                <c:pt idx="86">
                  <c:v>0.44537815126050423</c:v>
                </c:pt>
                <c:pt idx="87">
                  <c:v>0.48</c:v>
                </c:pt>
                <c:pt idx="88">
                  <c:v>0.46987951807228917</c:v>
                </c:pt>
                <c:pt idx="89">
                  <c:v>0.4027777777777778</c:v>
                </c:pt>
                <c:pt idx="90">
                  <c:v>0.37333333333333335</c:v>
                </c:pt>
                <c:pt idx="91">
                  <c:v>0.4318181818181818</c:v>
                </c:pt>
                <c:pt idx="92">
                  <c:v>0.48623853211009177</c:v>
                </c:pt>
                <c:pt idx="93">
                  <c:v>0.45555555555555555</c:v>
                </c:pt>
                <c:pt idx="94">
                  <c:v>0.39473684210526316</c:v>
                </c:pt>
                <c:pt idx="95">
                  <c:v>0.5</c:v>
                </c:pt>
                <c:pt idx="96">
                  <c:v>0.40298507462686567</c:v>
                </c:pt>
                <c:pt idx="97">
                  <c:v>0.38513513513513514</c:v>
                </c:pt>
                <c:pt idx="98">
                  <c:v>0.44785276073619634</c:v>
                </c:pt>
                <c:pt idx="99">
                  <c:v>0.4618834080717489</c:v>
                </c:pt>
                <c:pt idx="100">
                  <c:v>0.49333333333333335</c:v>
                </c:pt>
                <c:pt idx="101">
                  <c:v>0.48863636363636365</c:v>
                </c:pt>
                <c:pt idx="102">
                  <c:v>0.463768115942029</c:v>
                </c:pt>
                <c:pt idx="103">
                  <c:v>0.4596774193548387</c:v>
                </c:pt>
                <c:pt idx="104">
                  <c:v>0.401574803149606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94789571806816</c:v>
                </c:pt>
                <c:pt idx="1">
                  <c:v>0.7768746087420398</c:v>
                </c:pt>
                <c:pt idx="2">
                  <c:v>0.9220714128366876</c:v>
                </c:pt>
                <c:pt idx="3">
                  <c:v>0.9386197174481039</c:v>
                </c:pt>
                <c:pt idx="4">
                  <c:v>0.8673294423791821</c:v>
                </c:pt>
                <c:pt idx="5">
                  <c:v>0.9026299203243018</c:v>
                </c:pt>
                <c:pt idx="6">
                  <c:v>0.8473727076732279</c:v>
                </c:pt>
                <c:pt idx="7">
                  <c:v>0.9355833333333333</c:v>
                </c:pt>
                <c:pt idx="8">
                  <c:v>0.9112769016881828</c:v>
                </c:pt>
                <c:pt idx="9">
                  <c:v>0.8525830362806289</c:v>
                </c:pt>
                <c:pt idx="10">
                  <c:v>0.9156693853063578</c:v>
                </c:pt>
                <c:pt idx="11">
                  <c:v>0.7954069107363225</c:v>
                </c:pt>
                <c:pt idx="12">
                  <c:v>0.8408408882961156</c:v>
                </c:pt>
                <c:pt idx="13">
                  <c:v>0.7884801734396597</c:v>
                </c:pt>
                <c:pt idx="14">
                  <c:v>0.7133361963190185</c:v>
                </c:pt>
                <c:pt idx="15">
                  <c:v>0.8102721569991896</c:v>
                </c:pt>
                <c:pt idx="16">
                  <c:v>0.8873135048181979</c:v>
                </c:pt>
                <c:pt idx="17">
                  <c:v>0.8938867307299121</c:v>
                </c:pt>
                <c:pt idx="18">
                  <c:v>1.024515448312706</c:v>
                </c:pt>
                <c:pt idx="19">
                  <c:v>0.8321835904314777</c:v>
                </c:pt>
                <c:pt idx="20">
                  <c:v>0.9466108608360656</c:v>
                </c:pt>
                <c:pt idx="21">
                  <c:v>0.8159551582395647</c:v>
                </c:pt>
                <c:pt idx="22">
                  <c:v>0.8638481602982511</c:v>
                </c:pt>
                <c:pt idx="23">
                  <c:v>0.8386214741058834</c:v>
                </c:pt>
                <c:pt idx="24">
                  <c:v>0.9203831973726107</c:v>
                </c:pt>
                <c:pt idx="25">
                  <c:v>0.913047706784963</c:v>
                </c:pt>
                <c:pt idx="26">
                  <c:v>0.8637245329230457</c:v>
                </c:pt>
                <c:pt idx="27">
                  <c:v>1.0134472698204102</c:v>
                </c:pt>
                <c:pt idx="28">
                  <c:v>0.9959337490935459</c:v>
                </c:pt>
                <c:pt idx="29">
                  <c:v>0.9632129431358553</c:v>
                </c:pt>
                <c:pt idx="30">
                  <c:v>0.9696455204883159</c:v>
                </c:pt>
                <c:pt idx="31">
                  <c:v>1.0244136193867803</c:v>
                </c:pt>
                <c:pt idx="32">
                  <c:v>0.9752978565216691</c:v>
                </c:pt>
                <c:pt idx="33">
                  <c:v>0.9485271462583447</c:v>
                </c:pt>
                <c:pt idx="34">
                  <c:v>0.9682591291061879</c:v>
                </c:pt>
                <c:pt idx="35">
                  <c:v>0.935313981933491</c:v>
                </c:pt>
                <c:pt idx="36">
                  <c:v>0.9416009711056276</c:v>
                </c:pt>
                <c:pt idx="37">
                  <c:v>0.8876768639334496</c:v>
                </c:pt>
                <c:pt idx="38">
                  <c:v>0.891548482986039</c:v>
                </c:pt>
                <c:pt idx="39">
                  <c:v>0.8387219261011274</c:v>
                </c:pt>
                <c:pt idx="40">
                  <c:v>0.896167015619514</c:v>
                </c:pt>
                <c:pt idx="41">
                  <c:v>0.953109941338317</c:v>
                </c:pt>
                <c:pt idx="42">
                  <c:v>0.8499694133218766</c:v>
                </c:pt>
                <c:pt idx="43">
                  <c:v>0.8860816853137372</c:v>
                </c:pt>
                <c:pt idx="44">
                  <c:v>1.0187757996612663</c:v>
                </c:pt>
                <c:pt idx="45">
                  <c:v>0.9558954674318749</c:v>
                </c:pt>
                <c:pt idx="46">
                  <c:v>0.9775848470363288</c:v>
                </c:pt>
                <c:pt idx="47">
                  <c:v>1.0123400245936682</c:v>
                </c:pt>
                <c:pt idx="48">
                  <c:v>1.0085631819482113</c:v>
                </c:pt>
                <c:pt idx="49">
                  <c:v>0.9827046496949294</c:v>
                </c:pt>
                <c:pt idx="50">
                  <c:v>0.9304808324619273</c:v>
                </c:pt>
                <c:pt idx="51">
                  <c:v>0.9398872064564141</c:v>
                </c:pt>
              </c:numCache>
            </c:numRef>
          </c:xVal>
          <c:yVal>
            <c:numRef>
              <c:f>Sheet1!$B$109:$B$160</c:f>
              <c:numCache>
                <c:formatCode>General</c:formatCode>
                <c:ptCount val="52"/>
                <c:pt idx="0">
                  <c:v>0.4453125</c:v>
                </c:pt>
                <c:pt idx="1">
                  <c:v>0.4358974358974359</c:v>
                </c:pt>
                <c:pt idx="2">
                  <c:v>0.44</c:v>
                </c:pt>
                <c:pt idx="3">
                  <c:v>0.4358974358974359</c:v>
                </c:pt>
                <c:pt idx="4">
                  <c:v>0.42574257425742573</c:v>
                </c:pt>
                <c:pt idx="5">
                  <c:v>0.42857142857142855</c:v>
                </c:pt>
                <c:pt idx="6">
                  <c:v>0.424</c:v>
                </c:pt>
                <c:pt idx="7">
                  <c:v>0.423728813559322</c:v>
                </c:pt>
                <c:pt idx="8">
                  <c:v>0.4673913043478261</c:v>
                </c:pt>
                <c:pt idx="9">
                  <c:v>0.4956521739130435</c:v>
                </c:pt>
                <c:pt idx="10">
                  <c:v>0.4523809523809524</c:v>
                </c:pt>
                <c:pt idx="11">
                  <c:v>0.49101796407185627</c:v>
                </c:pt>
                <c:pt idx="12">
                  <c:v>0.5111111111111111</c:v>
                </c:pt>
                <c:pt idx="13">
                  <c:v>0.5114503816793893</c:v>
                </c:pt>
                <c:pt idx="14">
                  <c:v>0.47413793103448276</c:v>
                </c:pt>
                <c:pt idx="15">
                  <c:v>0.5434782608695652</c:v>
                </c:pt>
                <c:pt idx="16">
                  <c:v>0.35106382978723405</c:v>
                </c:pt>
                <c:pt idx="17">
                  <c:v>0.4520547945205479</c:v>
                </c:pt>
                <c:pt idx="18">
                  <c:v>0.4411764705882353</c:v>
                </c:pt>
                <c:pt idx="19">
                  <c:v>0.5233644859813084</c:v>
                </c:pt>
                <c:pt idx="20">
                  <c:v>0.421875</c:v>
                </c:pt>
                <c:pt idx="21">
                  <c:v>0.42028985507246375</c:v>
                </c:pt>
                <c:pt idx="22">
                  <c:v>0.38571428571428573</c:v>
                </c:pt>
                <c:pt idx="23">
                  <c:v>0.453125</c:v>
                </c:pt>
                <c:pt idx="24">
                  <c:v>0.3968253968253968</c:v>
                </c:pt>
                <c:pt idx="25">
                  <c:v>0.4461538461538462</c:v>
                </c:pt>
                <c:pt idx="26">
                  <c:v>0.47761194029850745</c:v>
                </c:pt>
                <c:pt idx="27">
                  <c:v>0.4027777777777778</c:v>
                </c:pt>
                <c:pt idx="28">
                  <c:v>0.43902439024390244</c:v>
                </c:pt>
                <c:pt idx="29">
                  <c:v>0.4032258064516129</c:v>
                </c:pt>
                <c:pt idx="30">
                  <c:v>0.4444444444444444</c:v>
                </c:pt>
                <c:pt idx="31">
                  <c:v>0.47368421052631576</c:v>
                </c:pt>
                <c:pt idx="32">
                  <c:v>0.2636363636363636</c:v>
                </c:pt>
                <c:pt idx="33">
                  <c:v>0.41237113402061853</c:v>
                </c:pt>
                <c:pt idx="34">
                  <c:v>0.49696969696969695</c:v>
                </c:pt>
                <c:pt idx="35">
                  <c:v>0.44954128440366975</c:v>
                </c:pt>
                <c:pt idx="36">
                  <c:v>0.32608695652173914</c:v>
                </c:pt>
                <c:pt idx="37">
                  <c:v>0.4</c:v>
                </c:pt>
                <c:pt idx="38">
                  <c:v>0.410958904109589</c:v>
                </c:pt>
                <c:pt idx="39">
                  <c:v>0.3904761904761905</c:v>
                </c:pt>
                <c:pt idx="40">
                  <c:v>0.3563218390804598</c:v>
                </c:pt>
                <c:pt idx="41">
                  <c:v>0.4024390243902439</c:v>
                </c:pt>
                <c:pt idx="42">
                  <c:v>0.475</c:v>
                </c:pt>
                <c:pt idx="43">
                  <c:v>0.41</c:v>
                </c:pt>
                <c:pt idx="44">
                  <c:v>0.411214953271028</c:v>
                </c:pt>
                <c:pt idx="45">
                  <c:v>0.527027027027027</c:v>
                </c:pt>
                <c:pt idx="46">
                  <c:v>0.484375</c:v>
                </c:pt>
                <c:pt idx="47">
                  <c:v>0.43478260869565216</c:v>
                </c:pt>
                <c:pt idx="48">
                  <c:v>0.4251968503937008</c:v>
                </c:pt>
                <c:pt idx="49">
                  <c:v>0.41089108910891087</c:v>
                </c:pt>
                <c:pt idx="50">
                  <c:v>0.484375</c:v>
                </c:pt>
                <c:pt idx="51">
                  <c:v>0.421052631578947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584678084702943</c:v>
                </c:pt>
              </c:numCache>
            </c:numRef>
          </c:xVal>
          <c:yVal>
            <c:numRef>
              <c:f>Sheet1!$B$163:$B$164</c:f>
              <c:numCache>
                <c:formatCode>General</c:formatCode>
                <c:ptCount val="2"/>
                <c:pt idx="0">
                  <c:v>0.5725295100096552</c:v>
                </c:pt>
                <c:pt idx="1">
                  <c:v>0.57252951000965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584678084702943</c:v>
                </c:pt>
                <c:pt idx="1">
                  <c:v>0.2584678084702943</c:v>
                </c:pt>
              </c:numCache>
            </c:numRef>
          </c:xVal>
          <c:yVal>
            <c:numRef>
              <c:f>Sheet1!$B$167:$B$168</c:f>
              <c:numCache>
                <c:formatCode>General</c:formatCode>
                <c:ptCount val="2"/>
                <c:pt idx="0">
                  <c:v>0.5725295100096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591970597176997</c:v>
                </c:pt>
              </c:numCache>
            </c:numRef>
          </c:xVal>
          <c:yVal>
            <c:numRef>
              <c:f>Sheet1!$B$171:$B$172</c:f>
              <c:numCache>
                <c:formatCode>General</c:formatCode>
                <c:ptCount val="2"/>
                <c:pt idx="0">
                  <c:v>0.46838870853924536</c:v>
                </c:pt>
                <c:pt idx="1">
                  <c:v>0.468388708539245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591970597176997</c:v>
                </c:pt>
                <c:pt idx="1">
                  <c:v>0.7591970597176997</c:v>
                </c:pt>
              </c:numCache>
            </c:numRef>
          </c:xVal>
          <c:yVal>
            <c:numRef>
              <c:f>Sheet1!$B$175:$B$176</c:f>
              <c:numCache>
                <c:formatCode>General</c:formatCode>
                <c:ptCount val="2"/>
                <c:pt idx="0">
                  <c:v>0.468388708539245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27817118509062</c:v>
                </c:pt>
              </c:numCache>
            </c:numRef>
          </c:xVal>
          <c:yVal>
            <c:numRef>
              <c:f>Sheet1!$B$179:$B$180</c:f>
              <c:numCache>
                <c:formatCode>General</c:formatCode>
                <c:ptCount val="2"/>
                <c:pt idx="0">
                  <c:v>0.43331940107862776</c:v>
                </c:pt>
                <c:pt idx="1">
                  <c:v>0.43331940107862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27817118509062</c:v>
                </c:pt>
                <c:pt idx="1">
                  <c:v>0.927817118509062</c:v>
                </c:pt>
              </c:numCache>
            </c:numRef>
          </c:xVal>
          <c:yVal>
            <c:numRef>
              <c:f>Sheet1!$B$183:$B$184</c:f>
              <c:numCache>
                <c:formatCode>General</c:formatCode>
                <c:ptCount val="2"/>
                <c:pt idx="0">
                  <c:v>0.43331940107862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94789571806816</c:v>
                </c:pt>
                <c:pt idx="1">
                  <c:v>0.7768746087420398</c:v>
                </c:pt>
                <c:pt idx="2">
                  <c:v>0.9220714128366876</c:v>
                </c:pt>
                <c:pt idx="3">
                  <c:v>0.9386197174481039</c:v>
                </c:pt>
                <c:pt idx="4">
                  <c:v>0.8673294423791821</c:v>
                </c:pt>
                <c:pt idx="5">
                  <c:v>0.9026299203243018</c:v>
                </c:pt>
                <c:pt idx="6">
                  <c:v>0.8473727076732279</c:v>
                </c:pt>
                <c:pt idx="7">
                  <c:v>0.9355833333333333</c:v>
                </c:pt>
                <c:pt idx="8">
                  <c:v>0.9112769016881828</c:v>
                </c:pt>
                <c:pt idx="9">
                  <c:v>0.8525830362806289</c:v>
                </c:pt>
                <c:pt idx="10">
                  <c:v>0.9156693853063578</c:v>
                </c:pt>
                <c:pt idx="11">
                  <c:v>0.7954069107363225</c:v>
                </c:pt>
                <c:pt idx="12">
                  <c:v>0.8408408882961156</c:v>
                </c:pt>
                <c:pt idx="13">
                  <c:v>0.7884801734396597</c:v>
                </c:pt>
                <c:pt idx="14">
                  <c:v>0.7133361963190185</c:v>
                </c:pt>
                <c:pt idx="15">
                  <c:v>0.8102721569991896</c:v>
                </c:pt>
                <c:pt idx="16">
                  <c:v>0.8873135048181979</c:v>
                </c:pt>
                <c:pt idx="17">
                  <c:v>0.8938867307299121</c:v>
                </c:pt>
                <c:pt idx="18">
                  <c:v>1.024515448312706</c:v>
                </c:pt>
                <c:pt idx="19">
                  <c:v>0.8321835904314777</c:v>
                </c:pt>
                <c:pt idx="20">
                  <c:v>0.9466108608360656</c:v>
                </c:pt>
                <c:pt idx="21">
                  <c:v>0.8159551582395647</c:v>
                </c:pt>
                <c:pt idx="22">
                  <c:v>0.8638481602982511</c:v>
                </c:pt>
                <c:pt idx="23">
                  <c:v>0.8386214741058834</c:v>
                </c:pt>
                <c:pt idx="24">
                  <c:v>0.9203831973726107</c:v>
                </c:pt>
                <c:pt idx="25">
                  <c:v>0.913047706784963</c:v>
                </c:pt>
                <c:pt idx="26">
                  <c:v>0.8637245329230457</c:v>
                </c:pt>
                <c:pt idx="27">
                  <c:v>1.0134472698204102</c:v>
                </c:pt>
                <c:pt idx="28">
                  <c:v>0.9959337490935459</c:v>
                </c:pt>
                <c:pt idx="29">
                  <c:v>0.9632129431358553</c:v>
                </c:pt>
                <c:pt idx="30">
                  <c:v>0.9696455204883159</c:v>
                </c:pt>
                <c:pt idx="31">
                  <c:v>1.0244136193867803</c:v>
                </c:pt>
                <c:pt idx="32">
                  <c:v>0.9752978565216691</c:v>
                </c:pt>
                <c:pt idx="33">
                  <c:v>0.9485271462583447</c:v>
                </c:pt>
                <c:pt idx="34">
                  <c:v>0.9682591291061879</c:v>
                </c:pt>
                <c:pt idx="35">
                  <c:v>0.935313981933491</c:v>
                </c:pt>
                <c:pt idx="36">
                  <c:v>0.9416009711056276</c:v>
                </c:pt>
                <c:pt idx="37">
                  <c:v>0.8876768639334496</c:v>
                </c:pt>
                <c:pt idx="38">
                  <c:v>0.891548482986039</c:v>
                </c:pt>
                <c:pt idx="39">
                  <c:v>0.8387219261011274</c:v>
                </c:pt>
                <c:pt idx="40">
                  <c:v>0.896167015619514</c:v>
                </c:pt>
                <c:pt idx="41">
                  <c:v>0.953109941338317</c:v>
                </c:pt>
                <c:pt idx="42">
                  <c:v>0.8499694133218766</c:v>
                </c:pt>
                <c:pt idx="43">
                  <c:v>0.8860816853137372</c:v>
                </c:pt>
                <c:pt idx="44">
                  <c:v>1.0187757996612663</c:v>
                </c:pt>
                <c:pt idx="45">
                  <c:v>0.9558954674318749</c:v>
                </c:pt>
                <c:pt idx="46">
                  <c:v>0.9775848470363288</c:v>
                </c:pt>
                <c:pt idx="47">
                  <c:v>1.0123400245936682</c:v>
                </c:pt>
                <c:pt idx="48">
                  <c:v>1.0085631819482113</c:v>
                </c:pt>
                <c:pt idx="49">
                  <c:v>0.9827046496949294</c:v>
                </c:pt>
                <c:pt idx="50">
                  <c:v>0.9304808324619273</c:v>
                </c:pt>
                <c:pt idx="51">
                  <c:v>0.9398872064564141</c:v>
                </c:pt>
                <c:pt idx="52">
                  <c:v>0.7591970597176997</c:v>
                </c:pt>
                <c:pt idx="53">
                  <c:v>0.2584678084702943</c:v>
                </c:pt>
                <c:pt idx="54">
                  <c:v>0.927817118509062</c:v>
                </c:pt>
              </c:numCache>
            </c:numRef>
          </c:xVal>
          <c:yVal>
            <c:numRef>
              <c:f>Sheet1!$B$187:$B$241</c:f>
              <c:numCache>
                <c:formatCode>General</c:formatCode>
                <c:ptCount val="55"/>
                <c:pt idx="0">
                  <c:v>0.4371333400755481</c:v>
                </c:pt>
                <c:pt idx="1">
                  <c:v>0.46471216254389736</c:v>
                </c:pt>
                <c:pt idx="2">
                  <c:v>0.43451438298200873</c:v>
                </c:pt>
                <c:pt idx="3">
                  <c:v>0.43107269528168723</c:v>
                </c:pt>
                <c:pt idx="4">
                  <c:v>0.4458995230817977</c:v>
                </c:pt>
                <c:pt idx="5">
                  <c:v>0.4385577908855356</c:v>
                </c:pt>
                <c:pt idx="6">
                  <c:v>0.45005009016337516</c:v>
                </c:pt>
                <c:pt idx="7">
                  <c:v>0.431704197185154</c:v>
                </c:pt>
                <c:pt idx="8">
                  <c:v>0.4367594066942966</c:v>
                </c:pt>
                <c:pt idx="9">
                  <c:v>0.44896645505368815</c:v>
                </c:pt>
                <c:pt idx="10">
                  <c:v>0.43584586556742444</c:v>
                </c:pt>
                <c:pt idx="11">
                  <c:v>0.4608578465078991</c:v>
                </c:pt>
                <c:pt idx="12">
                  <c:v>0.4514085666320413</c:v>
                </c:pt>
                <c:pt idx="13">
                  <c:v>0.46229845732073344</c:v>
                </c:pt>
                <c:pt idx="14">
                  <c:v>0.4779267713917067</c:v>
                </c:pt>
                <c:pt idx="15">
                  <c:v>0.45776619836468907</c:v>
                </c:pt>
                <c:pt idx="16">
                  <c:v>0.441743272425681</c:v>
                </c:pt>
                <c:pt idx="17">
                  <c:v>0.4403761842977423</c:v>
                </c:pt>
                <c:pt idx="18">
                  <c:v>0.4132082501092871</c:v>
                </c:pt>
                <c:pt idx="19">
                  <c:v>0.4532090964312201</c:v>
                </c:pt>
                <c:pt idx="20">
                  <c:v>0.4294107111355362</c:v>
                </c:pt>
                <c:pt idx="21">
                  <c:v>0.45658425762035343</c:v>
                </c:pt>
                <c:pt idx="22">
                  <c:v>0.44662355409286714</c:v>
                </c:pt>
                <c:pt idx="23">
                  <c:v>0.4518701565471297</c:v>
                </c:pt>
                <c:pt idx="24">
                  <c:v>0.4348654951070658</c:v>
                </c:pt>
                <c:pt idx="25">
                  <c:v>0.43639111772063033</c:v>
                </c:pt>
                <c:pt idx="26">
                  <c:v>0.4466492659000074</c:v>
                </c:pt>
                <c:pt idx="27">
                  <c:v>0.4155101906812304</c:v>
                </c:pt>
                <c:pt idx="28">
                  <c:v>0.41915262235567463</c:v>
                </c:pt>
                <c:pt idx="29">
                  <c:v>0.42595783884483085</c:v>
                </c:pt>
                <c:pt idx="30">
                  <c:v>0.424620002560378</c:v>
                </c:pt>
                <c:pt idx="31">
                  <c:v>0.413229428312742</c:v>
                </c:pt>
                <c:pt idx="32">
                  <c:v>0.423444439512629</c:v>
                </c:pt>
                <c:pt idx="33">
                  <c:v>0.42901216541601794</c:v>
                </c:pt>
                <c:pt idx="34">
                  <c:v>0.42490834183619786</c:v>
                </c:pt>
                <c:pt idx="35">
                  <c:v>0.43176021642227047</c:v>
                </c:pt>
                <c:pt idx="36">
                  <c:v>0.4304526593151291</c:v>
                </c:pt>
                <c:pt idx="37">
                  <c:v>0.4416677016269118</c:v>
                </c:pt>
                <c:pt idx="38">
                  <c:v>0.44086248900927394</c:v>
                </c:pt>
                <c:pt idx="39">
                  <c:v>0.4518492647153305</c:v>
                </c:pt>
                <c:pt idx="40">
                  <c:v>0.4399019346001414</c:v>
                </c:pt>
                <c:pt idx="41">
                  <c:v>0.4280590436412983</c:v>
                </c:pt>
                <c:pt idx="42">
                  <c:v>0.44951003182494303</c:v>
                </c:pt>
                <c:pt idx="43">
                  <c:v>0.4419994641103926</c:v>
                </c:pt>
                <c:pt idx="44">
                  <c:v>0.41440197228395614</c:v>
                </c:pt>
                <c:pt idx="45">
                  <c:v>0.42747971475412583</c:v>
                </c:pt>
                <c:pt idx="46">
                  <c:v>0.42296879519075536</c:v>
                </c:pt>
                <c:pt idx="47">
                  <c:v>0.41574047362365874</c:v>
                </c:pt>
                <c:pt idx="48">
                  <c:v>0.4165259748084721</c:v>
                </c:pt>
                <c:pt idx="49">
                  <c:v>0.4219039875109388</c:v>
                </c:pt>
                <c:pt idx="50">
                  <c:v>0.432765406469269</c:v>
                </c:pt>
                <c:pt idx="51">
                  <c:v>0.4308090851154117</c:v>
                </c:pt>
                <c:pt idx="52">
                  <c:v>0.46838870853924536</c:v>
                </c:pt>
                <c:pt idx="53">
                  <c:v>0.5725295100096552</c:v>
                </c:pt>
                <c:pt idx="54">
                  <c:v>0.43331940107862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21090909090909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5.0866</c:v>
                </c:pt>
                <c:pt idx="1">
                  <c:v>801.4948</c:v>
                </c:pt>
                <c:pt idx="2">
                  <c:v>828.7071</c:v>
                </c:pt>
                <c:pt idx="3">
                  <c:v>844.8704</c:v>
                </c:pt>
                <c:pt idx="4">
                  <c:v>828.866</c:v>
                </c:pt>
                <c:pt idx="5">
                  <c:v>815.5591</c:v>
                </c:pt>
                <c:pt idx="6">
                  <c:v>800.1319</c:v>
                </c:pt>
                <c:pt idx="7">
                  <c:v>841.7763</c:v>
                </c:pt>
                <c:pt idx="8">
                  <c:v>827.791</c:v>
                </c:pt>
                <c:pt idx="9">
                  <c:v>777.4048</c:v>
                </c:pt>
                <c:pt idx="10">
                  <c:v>773.0105</c:v>
                </c:pt>
                <c:pt idx="11">
                  <c:v>799.5421</c:v>
                </c:pt>
                <c:pt idx="12">
                  <c:v>798.9394</c:v>
                </c:pt>
                <c:pt idx="13">
                  <c:v>795.266</c:v>
                </c:pt>
                <c:pt idx="14">
                  <c:v>774.7391</c:v>
                </c:pt>
                <c:pt idx="15">
                  <c:v>805.6098</c:v>
                </c:pt>
                <c:pt idx="16">
                  <c:v>795.9296</c:v>
                </c:pt>
                <c:pt idx="17">
                  <c:v>798.8732</c:v>
                </c:pt>
                <c:pt idx="18">
                  <c:v>811.5385</c:v>
                </c:pt>
                <c:pt idx="19">
                  <c:v>829.8627</c:v>
                </c:pt>
                <c:pt idx="20">
                  <c:v>850.5823</c:v>
                </c:pt>
                <c:pt idx="21">
                  <c:v>881.3415</c:v>
                </c:pt>
                <c:pt idx="22">
                  <c:v>886.0732</c:v>
                </c:pt>
                <c:pt idx="23">
                  <c:v>887.8085</c:v>
                </c:pt>
                <c:pt idx="24">
                  <c:v>907.3519</c:v>
                </c:pt>
                <c:pt idx="25">
                  <c:v>889.8667</c:v>
                </c:pt>
                <c:pt idx="26">
                  <c:v>850.5778</c:v>
                </c:pt>
                <c:pt idx="27">
                  <c:v>850.8636</c:v>
                </c:pt>
                <c:pt idx="28">
                  <c:v>881.6939</c:v>
                </c:pt>
                <c:pt idx="29">
                  <c:v>770.1774</c:v>
                </c:pt>
                <c:pt idx="30">
                  <c:v>774.35</c:v>
                </c:pt>
                <c:pt idx="31">
                  <c:v>812.9412</c:v>
                </c:pt>
                <c:pt idx="32">
                  <c:v>765.7059</c:v>
                </c:pt>
                <c:pt idx="33">
                  <c:v>592.0909</c:v>
                </c:pt>
                <c:pt idx="34">
                  <c:v>716.7347</c:v>
                </c:pt>
                <c:pt idx="35">
                  <c:v>792.2419</c:v>
                </c:pt>
                <c:pt idx="36">
                  <c:v>776.8358</c:v>
                </c:pt>
                <c:pt idx="37">
                  <c:v>786.0408</c:v>
                </c:pt>
                <c:pt idx="38">
                  <c:v>795.3958</c:v>
                </c:pt>
                <c:pt idx="39">
                  <c:v>806.3529</c:v>
                </c:pt>
                <c:pt idx="40">
                  <c:v>832.5833</c:v>
                </c:pt>
                <c:pt idx="41">
                  <c:v>821.5946</c:v>
                </c:pt>
                <c:pt idx="42">
                  <c:v>901.3582</c:v>
                </c:pt>
                <c:pt idx="43">
                  <c:v>920.05</c:v>
                </c:pt>
                <c:pt idx="44">
                  <c:v>885.1026</c:v>
                </c:pt>
                <c:pt idx="45">
                  <c:v>893.0606</c:v>
                </c:pt>
                <c:pt idx="46">
                  <c:v>850.1342</c:v>
                </c:pt>
                <c:pt idx="47">
                  <c:v>842.9211</c:v>
                </c:pt>
                <c:pt idx="48">
                  <c:v>844.9141</c:v>
                </c:pt>
                <c:pt idx="49">
                  <c:v>852.3556</c:v>
                </c:pt>
                <c:pt idx="50">
                  <c:v>903.1792</c:v>
                </c:pt>
                <c:pt idx="51">
                  <c:v>844.1647</c:v>
                </c:pt>
                <c:pt idx="52">
                  <c:v>869.1569</c:v>
                </c:pt>
                <c:pt idx="53">
                  <c:v>861.8889</c:v>
                </c:pt>
                <c:pt idx="54">
                  <c:v>890.8861</c:v>
                </c:pt>
                <c:pt idx="55">
                  <c:v>896.254</c:v>
                </c:pt>
                <c:pt idx="56">
                  <c:v>907.6842</c:v>
                </c:pt>
                <c:pt idx="57">
                  <c:v>851.1194</c:v>
                </c:pt>
                <c:pt idx="58">
                  <c:v>879.5195</c:v>
                </c:pt>
                <c:pt idx="59">
                  <c:v>862.9351</c:v>
                </c:pt>
                <c:pt idx="60">
                  <c:v>878.4706</c:v>
                </c:pt>
                <c:pt idx="61">
                  <c:v>864.6719</c:v>
                </c:pt>
                <c:pt idx="62">
                  <c:v>835.191</c:v>
                </c:pt>
                <c:pt idx="63">
                  <c:v>880.8295</c:v>
                </c:pt>
                <c:pt idx="64">
                  <c:v>898.6774</c:v>
                </c:pt>
                <c:pt idx="65">
                  <c:v>916.9759</c:v>
                </c:pt>
                <c:pt idx="66">
                  <c:v>901.8736</c:v>
                </c:pt>
                <c:pt idx="67">
                  <c:v>914.942</c:v>
                </c:pt>
                <c:pt idx="68">
                  <c:v>922.069</c:v>
                </c:pt>
                <c:pt idx="69">
                  <c:v>968.2195</c:v>
                </c:pt>
                <c:pt idx="70">
                  <c:v>979.0</c:v>
                </c:pt>
                <c:pt idx="71">
                  <c:v>1074.3421</c:v>
                </c:pt>
                <c:pt idx="72">
                  <c:v>1137.8261</c:v>
                </c:pt>
                <c:pt idx="73">
                  <c:v>1177.8857</c:v>
                </c:pt>
                <c:pt idx="74">
                  <c:v>1114.3095</c:v>
                </c:pt>
                <c:pt idx="75">
                  <c:v>1099.5143</c:v>
                </c:pt>
                <c:pt idx="76">
                  <c:v>1096.4848</c:v>
                </c:pt>
                <c:pt idx="77">
                  <c:v>1019.1481</c:v>
                </c:pt>
                <c:pt idx="78">
                  <c:v>1057.8</c:v>
                </c:pt>
                <c:pt idx="79">
                  <c:v>1124.8824</c:v>
                </c:pt>
                <c:pt idx="80">
                  <c:v>1158.2069</c:v>
                </c:pt>
                <c:pt idx="81">
                  <c:v>1160.1957</c:v>
                </c:pt>
                <c:pt idx="82">
                  <c:v>1152.6333</c:v>
                </c:pt>
                <c:pt idx="83">
                  <c:v>1122.6774</c:v>
                </c:pt>
                <c:pt idx="84">
                  <c:v>1109.3793</c:v>
                </c:pt>
                <c:pt idx="85">
                  <c:v>1113.225</c:v>
                </c:pt>
                <c:pt idx="86">
                  <c:v>1066.7736</c:v>
                </c:pt>
                <c:pt idx="87">
                  <c:v>1046.7619</c:v>
                </c:pt>
                <c:pt idx="88">
                  <c:v>1141.0256</c:v>
                </c:pt>
                <c:pt idx="89">
                  <c:v>1154.5172</c:v>
                </c:pt>
                <c:pt idx="90">
                  <c:v>1186.6429</c:v>
                </c:pt>
                <c:pt idx="91">
                  <c:v>1161.8947</c:v>
                </c:pt>
                <c:pt idx="92">
                  <c:v>1132.4528</c:v>
                </c:pt>
                <c:pt idx="93">
                  <c:v>1109.5366</c:v>
                </c:pt>
                <c:pt idx="94">
                  <c:v>1163.3333</c:v>
                </c:pt>
                <c:pt idx="95">
                  <c:v>1072.3469</c:v>
                </c:pt>
                <c:pt idx="96">
                  <c:v>1007.5741</c:v>
                </c:pt>
                <c:pt idx="97">
                  <c:v>1074.7193</c:v>
                </c:pt>
                <c:pt idx="98">
                  <c:v>1067.7123</c:v>
                </c:pt>
                <c:pt idx="99">
                  <c:v>1074.6505</c:v>
                </c:pt>
                <c:pt idx="100">
                  <c:v>1045.9527</c:v>
                </c:pt>
                <c:pt idx="101">
                  <c:v>1028.7791</c:v>
                </c:pt>
                <c:pt idx="102">
                  <c:v>1022.5313</c:v>
                </c:pt>
                <c:pt idx="103">
                  <c:v>1118.2982</c:v>
                </c:pt>
                <c:pt idx="104">
                  <c:v>1088.0784</c:v>
                </c:pt>
              </c:numCache>
            </c:numRef>
          </c:xVal>
          <c:yVal>
            <c:numRef>
              <c:f>Sheet1!$B$2:$B$106</c:f>
              <c:numCache>
                <c:formatCode>General</c:formatCode>
                <c:ptCount val="105"/>
                <c:pt idx="0">
                  <c:v>0.5906976744186047</c:v>
                </c:pt>
                <c:pt idx="1">
                  <c:v>0.5606936416184971</c:v>
                </c:pt>
                <c:pt idx="2">
                  <c:v>0.5625</c:v>
                </c:pt>
                <c:pt idx="3">
                  <c:v>0.6</c:v>
                </c:pt>
                <c:pt idx="4">
                  <c:v>0.60625</c:v>
                </c:pt>
                <c:pt idx="5">
                  <c:v>0.58125</c:v>
                </c:pt>
                <c:pt idx="6">
                  <c:v>0.5352941176470588</c:v>
                </c:pt>
                <c:pt idx="7">
                  <c:v>0.5757575757575758</c:v>
                </c:pt>
                <c:pt idx="8">
                  <c:v>0.5403225806451613</c:v>
                </c:pt>
                <c:pt idx="9">
                  <c:v>0.5153374233128835</c:v>
                </c:pt>
                <c:pt idx="10">
                  <c:v>0.5397727272727273</c:v>
                </c:pt>
                <c:pt idx="11">
                  <c:v>0.5544041450777202</c:v>
                </c:pt>
                <c:pt idx="12">
                  <c:v>0.49748743718592964</c:v>
                </c:pt>
                <c:pt idx="13">
                  <c:v>0.48205128205128206</c:v>
                </c:pt>
                <c:pt idx="14">
                  <c:v>0.5317919075144508</c:v>
                </c:pt>
                <c:pt idx="15">
                  <c:v>0.5857142857142857</c:v>
                </c:pt>
                <c:pt idx="16">
                  <c:v>0.5634920634920635</c:v>
                </c:pt>
                <c:pt idx="17">
                  <c:v>0.5338345864661654</c:v>
                </c:pt>
                <c:pt idx="18">
                  <c:v>0.5603448275862069</c:v>
                </c:pt>
                <c:pt idx="19">
                  <c:v>0.5151515151515151</c:v>
                </c:pt>
                <c:pt idx="20">
                  <c:v>0.6030534351145038</c:v>
                </c:pt>
                <c:pt idx="21">
                  <c:v>0.5</c:v>
                </c:pt>
                <c:pt idx="22">
                  <c:v>0.44565217391304346</c:v>
                </c:pt>
                <c:pt idx="23">
                  <c:v>0.4845360824742268</c:v>
                </c:pt>
                <c:pt idx="24">
                  <c:v>0.5242718446601942</c:v>
                </c:pt>
                <c:pt idx="25">
                  <c:v>0.5487804878048781</c:v>
                </c:pt>
                <c:pt idx="26">
                  <c:v>0.44554455445544555</c:v>
                </c:pt>
                <c:pt idx="27">
                  <c:v>0.46808510638297873</c:v>
                </c:pt>
                <c:pt idx="28">
                  <c:v>0.45794392523364486</c:v>
                </c:pt>
                <c:pt idx="29">
                  <c:v>0.5081967213114754</c:v>
                </c:pt>
                <c:pt idx="30">
                  <c:v>0.43478260869565216</c:v>
                </c:pt>
                <c:pt idx="31">
                  <c:v>0.5</c:v>
                </c:pt>
                <c:pt idx="32">
                  <c:v>0.5151515151515151</c:v>
                </c:pt>
                <c:pt idx="33">
                  <c:v>0.5906040268456376</c:v>
                </c:pt>
                <c:pt idx="34">
                  <c:v>0.5444444444444444</c:v>
                </c:pt>
                <c:pt idx="35">
                  <c:v>0.5299145299145299</c:v>
                </c:pt>
                <c:pt idx="36">
                  <c:v>0.4962962962962963</c:v>
                </c:pt>
                <c:pt idx="37">
                  <c:v>0.4666666666666667</c:v>
                </c:pt>
                <c:pt idx="38">
                  <c:v>0.4948453608247423</c:v>
                </c:pt>
                <c:pt idx="39">
                  <c:v>0.49514563106796117</c:v>
                </c:pt>
                <c:pt idx="40">
                  <c:v>0.5070422535211268</c:v>
                </c:pt>
                <c:pt idx="41">
                  <c:v>0.5362318840579711</c:v>
                </c:pt>
                <c:pt idx="42">
                  <c:v>0.47183098591549294</c:v>
                </c:pt>
                <c:pt idx="43">
                  <c:v>0.44776119402985076</c:v>
                </c:pt>
                <c:pt idx="44">
                  <c:v>0.4406779661016949</c:v>
                </c:pt>
                <c:pt idx="45">
                  <c:v>0.4876847290640394</c:v>
                </c:pt>
                <c:pt idx="46">
                  <c:v>0.5209790209790209</c:v>
                </c:pt>
                <c:pt idx="47">
                  <c:v>0.4892703862660944</c:v>
                </c:pt>
                <c:pt idx="48">
                  <c:v>0.5224358974358975</c:v>
                </c:pt>
                <c:pt idx="49">
                  <c:v>0.532293986636971</c:v>
                </c:pt>
                <c:pt idx="50">
                  <c:v>0.4649122807017544</c:v>
                </c:pt>
                <c:pt idx="51">
                  <c:v>0.4427083333333333</c:v>
                </c:pt>
                <c:pt idx="52">
                  <c:v>0.5125628140703518</c:v>
                </c:pt>
                <c:pt idx="53">
                  <c:v>0.4426229508196721</c:v>
                </c:pt>
                <c:pt idx="54">
                  <c:v>0.47305389221556887</c:v>
                </c:pt>
                <c:pt idx="55">
                  <c:v>0.44680851063829785</c:v>
                </c:pt>
                <c:pt idx="56">
                  <c:v>0.4014084507042254</c:v>
                </c:pt>
                <c:pt idx="57">
                  <c:v>0.432258064516129</c:v>
                </c:pt>
                <c:pt idx="58">
                  <c:v>0.4117647058823529</c:v>
                </c:pt>
                <c:pt idx="59">
                  <c:v>0.4350282485875706</c:v>
                </c:pt>
                <c:pt idx="60">
                  <c:v>0.5279503105590062</c:v>
                </c:pt>
                <c:pt idx="61">
                  <c:v>0.4444444444444444</c:v>
                </c:pt>
                <c:pt idx="62">
                  <c:v>0.5174418604651163</c:v>
                </c:pt>
                <c:pt idx="63">
                  <c:v>0.4835164835164835</c:v>
                </c:pt>
                <c:pt idx="64">
                  <c:v>0.48186528497409326</c:v>
                </c:pt>
                <c:pt idx="65">
                  <c:v>0.4911242603550296</c:v>
                </c:pt>
                <c:pt idx="66">
                  <c:v>0.5087719298245614</c:v>
                </c:pt>
                <c:pt idx="67">
                  <c:v>0.4791666666666667</c:v>
                </c:pt>
                <c:pt idx="68">
                  <c:v>0.46774193548387094</c:v>
                </c:pt>
                <c:pt idx="69">
                  <c:v>0.3942307692307692</c:v>
                </c:pt>
                <c:pt idx="70">
                  <c:v>0.39</c:v>
                </c:pt>
                <c:pt idx="71">
                  <c:v>0.4222222222222222</c:v>
                </c:pt>
                <c:pt idx="72">
                  <c:v>0.38333333333333336</c:v>
                </c:pt>
                <c:pt idx="73">
                  <c:v>0.3465346534653465</c:v>
                </c:pt>
                <c:pt idx="74">
                  <c:v>0.4077669902912621</c:v>
                </c:pt>
                <c:pt idx="75">
                  <c:v>0.3431372549019608</c:v>
                </c:pt>
                <c:pt idx="76">
                  <c:v>0.4024390243902439</c:v>
                </c:pt>
                <c:pt idx="77">
                  <c:v>0.4153846153846154</c:v>
                </c:pt>
                <c:pt idx="78">
                  <c:v>0.44871794871794873</c:v>
                </c:pt>
                <c:pt idx="79">
                  <c:v>0.3953488372093023</c:v>
                </c:pt>
                <c:pt idx="80">
                  <c:v>0.42028985507246375</c:v>
                </c:pt>
                <c:pt idx="81">
                  <c:v>0.4423076923076923</c:v>
                </c:pt>
                <c:pt idx="82">
                  <c:v>0.4166666666666667</c:v>
                </c:pt>
                <c:pt idx="83">
                  <c:v>0.43661971830985913</c:v>
                </c:pt>
                <c:pt idx="84">
                  <c:v>0.4393939393939394</c:v>
                </c:pt>
                <c:pt idx="85">
                  <c:v>0.47058823529411764</c:v>
                </c:pt>
                <c:pt idx="86">
                  <c:v>0.44537815126050423</c:v>
                </c:pt>
                <c:pt idx="87">
                  <c:v>0.48</c:v>
                </c:pt>
                <c:pt idx="88">
                  <c:v>0.46987951807228917</c:v>
                </c:pt>
                <c:pt idx="89">
                  <c:v>0.4027777777777778</c:v>
                </c:pt>
                <c:pt idx="90">
                  <c:v>0.37333333333333335</c:v>
                </c:pt>
                <c:pt idx="91">
                  <c:v>0.4318181818181818</c:v>
                </c:pt>
                <c:pt idx="92">
                  <c:v>0.48623853211009177</c:v>
                </c:pt>
                <c:pt idx="93">
                  <c:v>0.45555555555555555</c:v>
                </c:pt>
                <c:pt idx="94">
                  <c:v>0.39473684210526316</c:v>
                </c:pt>
                <c:pt idx="95">
                  <c:v>0.5</c:v>
                </c:pt>
                <c:pt idx="96">
                  <c:v>0.40298507462686567</c:v>
                </c:pt>
                <c:pt idx="97">
                  <c:v>0.38513513513513514</c:v>
                </c:pt>
                <c:pt idx="98">
                  <c:v>0.44785276073619634</c:v>
                </c:pt>
                <c:pt idx="99">
                  <c:v>0.4618834080717489</c:v>
                </c:pt>
                <c:pt idx="100">
                  <c:v>0.49333333333333335</c:v>
                </c:pt>
                <c:pt idx="101">
                  <c:v>0.48863636363636365</c:v>
                </c:pt>
                <c:pt idx="102">
                  <c:v>0.463768115942029</c:v>
                </c:pt>
                <c:pt idx="103">
                  <c:v>0.4596774193548387</c:v>
                </c:pt>
                <c:pt idx="104">
                  <c:v>0.401574803149606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7.9649</c:v>
                </c:pt>
                <c:pt idx="1">
                  <c:v>1079.4118</c:v>
                </c:pt>
                <c:pt idx="2">
                  <c:v>1151.0909</c:v>
                </c:pt>
                <c:pt idx="3">
                  <c:v>1147.4902</c:v>
                </c:pt>
                <c:pt idx="4">
                  <c:v>1166.5581</c:v>
                </c:pt>
                <c:pt idx="5">
                  <c:v>1151.7083</c:v>
                </c:pt>
                <c:pt idx="6">
                  <c:v>1110.8491</c:v>
                </c:pt>
                <c:pt idx="7">
                  <c:v>1122.7</c:v>
                </c:pt>
                <c:pt idx="8">
                  <c:v>1147.0698</c:v>
                </c:pt>
                <c:pt idx="9">
                  <c:v>1136.4561</c:v>
                </c:pt>
                <c:pt idx="10">
                  <c:v>1099.8246</c:v>
                </c:pt>
                <c:pt idx="11">
                  <c:v>966.8171</c:v>
                </c:pt>
                <c:pt idx="12">
                  <c:v>1010.971</c:v>
                </c:pt>
                <c:pt idx="13">
                  <c:v>1001.8955</c:v>
                </c:pt>
                <c:pt idx="14">
                  <c:v>988.3273</c:v>
                </c:pt>
                <c:pt idx="15">
                  <c:v>1071.72</c:v>
                </c:pt>
                <c:pt idx="16">
                  <c:v>1123.2121</c:v>
                </c:pt>
                <c:pt idx="17">
                  <c:v>1093.0</c:v>
                </c:pt>
                <c:pt idx="18">
                  <c:v>1150.6333</c:v>
                </c:pt>
                <c:pt idx="19">
                  <c:v>930.5893</c:v>
                </c:pt>
                <c:pt idx="20">
                  <c:v>1096.7778</c:v>
                </c:pt>
                <c:pt idx="21">
                  <c:v>1034.4828</c:v>
                </c:pt>
                <c:pt idx="22">
                  <c:v>1134.5926</c:v>
                </c:pt>
                <c:pt idx="23">
                  <c:v>1227.2759</c:v>
                </c:pt>
                <c:pt idx="24">
                  <c:v>1288.92</c:v>
                </c:pt>
                <c:pt idx="25">
                  <c:v>1136.8966</c:v>
                </c:pt>
                <c:pt idx="26">
                  <c:v>1179.0625</c:v>
                </c:pt>
                <c:pt idx="27">
                  <c:v>1212.7586</c:v>
                </c:pt>
                <c:pt idx="28">
                  <c:v>1287.5556</c:v>
                </c:pt>
                <c:pt idx="29">
                  <c:v>1265.12</c:v>
                </c:pt>
                <c:pt idx="30">
                  <c:v>1257.9286</c:v>
                </c:pt>
                <c:pt idx="31">
                  <c:v>1179.4074</c:v>
                </c:pt>
                <c:pt idx="32">
                  <c:v>1182.5862</c:v>
                </c:pt>
                <c:pt idx="33">
                  <c:v>1269.9</c:v>
                </c:pt>
                <c:pt idx="34">
                  <c:v>1267.4512</c:v>
                </c:pt>
                <c:pt idx="35">
                  <c:v>1257.6735</c:v>
                </c:pt>
                <c:pt idx="36">
                  <c:v>1182.9333</c:v>
                </c:pt>
                <c:pt idx="37">
                  <c:v>1136.8182</c:v>
                </c:pt>
                <c:pt idx="38">
                  <c:v>1126.1</c:v>
                </c:pt>
                <c:pt idx="39">
                  <c:v>1153.4634</c:v>
                </c:pt>
                <c:pt idx="40">
                  <c:v>1132.5161</c:v>
                </c:pt>
                <c:pt idx="41">
                  <c:v>1147.4848</c:v>
                </c:pt>
                <c:pt idx="42">
                  <c:v>1123.9211</c:v>
                </c:pt>
                <c:pt idx="43">
                  <c:v>1190.2683</c:v>
                </c:pt>
                <c:pt idx="44">
                  <c:v>1231.4318</c:v>
                </c:pt>
                <c:pt idx="45">
                  <c:v>1160.3205</c:v>
                </c:pt>
                <c:pt idx="46">
                  <c:v>1227.0645</c:v>
                </c:pt>
                <c:pt idx="47">
                  <c:v>1178.98</c:v>
                </c:pt>
                <c:pt idx="48">
                  <c:v>1127.8519</c:v>
                </c:pt>
                <c:pt idx="49">
                  <c:v>1167.6988</c:v>
                </c:pt>
                <c:pt idx="50">
                  <c:v>1114.4194</c:v>
                </c:pt>
                <c:pt idx="51">
                  <c:v>1061.6667</c:v>
                </c:pt>
              </c:numCache>
            </c:numRef>
          </c:xVal>
          <c:yVal>
            <c:numRef>
              <c:f>Sheet1!$B$109:$B$160</c:f>
              <c:numCache>
                <c:formatCode>General</c:formatCode>
                <c:ptCount val="52"/>
                <c:pt idx="0">
                  <c:v>0.4453125</c:v>
                </c:pt>
                <c:pt idx="1">
                  <c:v>0.4358974358974359</c:v>
                </c:pt>
                <c:pt idx="2">
                  <c:v>0.44</c:v>
                </c:pt>
                <c:pt idx="3">
                  <c:v>0.4358974358974359</c:v>
                </c:pt>
                <c:pt idx="4">
                  <c:v>0.42574257425742573</c:v>
                </c:pt>
                <c:pt idx="5">
                  <c:v>0.42857142857142855</c:v>
                </c:pt>
                <c:pt idx="6">
                  <c:v>0.424</c:v>
                </c:pt>
                <c:pt idx="7">
                  <c:v>0.423728813559322</c:v>
                </c:pt>
                <c:pt idx="8">
                  <c:v>0.4673913043478261</c:v>
                </c:pt>
                <c:pt idx="9">
                  <c:v>0.4956521739130435</c:v>
                </c:pt>
                <c:pt idx="10">
                  <c:v>0.4523809523809524</c:v>
                </c:pt>
                <c:pt idx="11">
                  <c:v>0.49101796407185627</c:v>
                </c:pt>
                <c:pt idx="12">
                  <c:v>0.5111111111111111</c:v>
                </c:pt>
                <c:pt idx="13">
                  <c:v>0.5114503816793893</c:v>
                </c:pt>
                <c:pt idx="14">
                  <c:v>0.47413793103448276</c:v>
                </c:pt>
                <c:pt idx="15">
                  <c:v>0.5434782608695652</c:v>
                </c:pt>
                <c:pt idx="16">
                  <c:v>0.35106382978723405</c:v>
                </c:pt>
                <c:pt idx="17">
                  <c:v>0.4520547945205479</c:v>
                </c:pt>
                <c:pt idx="18">
                  <c:v>0.4411764705882353</c:v>
                </c:pt>
                <c:pt idx="19">
                  <c:v>0.5233644859813084</c:v>
                </c:pt>
                <c:pt idx="20">
                  <c:v>0.421875</c:v>
                </c:pt>
                <c:pt idx="21">
                  <c:v>0.42028985507246375</c:v>
                </c:pt>
                <c:pt idx="22">
                  <c:v>0.38571428571428573</c:v>
                </c:pt>
                <c:pt idx="23">
                  <c:v>0.453125</c:v>
                </c:pt>
                <c:pt idx="24">
                  <c:v>0.3968253968253968</c:v>
                </c:pt>
                <c:pt idx="25">
                  <c:v>0.4461538461538462</c:v>
                </c:pt>
                <c:pt idx="26">
                  <c:v>0.47761194029850745</c:v>
                </c:pt>
                <c:pt idx="27">
                  <c:v>0.4027777777777778</c:v>
                </c:pt>
                <c:pt idx="28">
                  <c:v>0.43902439024390244</c:v>
                </c:pt>
                <c:pt idx="29">
                  <c:v>0.4032258064516129</c:v>
                </c:pt>
                <c:pt idx="30">
                  <c:v>0.4444444444444444</c:v>
                </c:pt>
                <c:pt idx="31">
                  <c:v>0.47368421052631576</c:v>
                </c:pt>
                <c:pt idx="32">
                  <c:v>0.2636363636363636</c:v>
                </c:pt>
                <c:pt idx="33">
                  <c:v>0.41237113402061853</c:v>
                </c:pt>
                <c:pt idx="34">
                  <c:v>0.49696969696969695</c:v>
                </c:pt>
                <c:pt idx="35">
                  <c:v>0.44954128440366975</c:v>
                </c:pt>
                <c:pt idx="36">
                  <c:v>0.32608695652173914</c:v>
                </c:pt>
                <c:pt idx="37">
                  <c:v>0.4</c:v>
                </c:pt>
                <c:pt idx="38">
                  <c:v>0.410958904109589</c:v>
                </c:pt>
                <c:pt idx="39">
                  <c:v>0.3904761904761905</c:v>
                </c:pt>
                <c:pt idx="40">
                  <c:v>0.3563218390804598</c:v>
                </c:pt>
                <c:pt idx="41">
                  <c:v>0.4024390243902439</c:v>
                </c:pt>
                <c:pt idx="42">
                  <c:v>0.475</c:v>
                </c:pt>
                <c:pt idx="43">
                  <c:v>0.41</c:v>
                </c:pt>
                <c:pt idx="44">
                  <c:v>0.411214953271028</c:v>
                </c:pt>
                <c:pt idx="45">
                  <c:v>0.527027027027027</c:v>
                </c:pt>
                <c:pt idx="46">
                  <c:v>0.484375</c:v>
                </c:pt>
                <c:pt idx="47">
                  <c:v>0.43478260869565216</c:v>
                </c:pt>
                <c:pt idx="48">
                  <c:v>0.4251968503937008</c:v>
                </c:pt>
                <c:pt idx="49">
                  <c:v>0.41089108910891087</c:v>
                </c:pt>
                <c:pt idx="50">
                  <c:v>0.484375</c:v>
                </c:pt>
                <c:pt idx="51">
                  <c:v>0.421052631578947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02.77416281141666</c:v>
                </c:pt>
              </c:numCache>
            </c:numRef>
          </c:xVal>
          <c:yVal>
            <c:numRef>
              <c:f>Sheet1!$B$163:$B$164</c:f>
              <c:numCache>
                <c:formatCode>General</c:formatCode>
                <c:ptCount val="2"/>
                <c:pt idx="0">
                  <c:v>0.5725295100096552</c:v>
                </c:pt>
                <c:pt idx="1">
                  <c:v>0.57252951000965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02.77416281141666</c:v>
                </c:pt>
                <c:pt idx="1">
                  <c:v>502.77416281141666</c:v>
                </c:pt>
              </c:numCache>
            </c:numRef>
          </c:xVal>
          <c:yVal>
            <c:numRef>
              <c:f>Sheet1!$B$167:$B$168</c:f>
              <c:numCache>
                <c:formatCode>General</c:formatCode>
                <c:ptCount val="2"/>
                <c:pt idx="0">
                  <c:v>0.5725295100096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6.5900871168952</c:v>
                </c:pt>
              </c:numCache>
            </c:numRef>
          </c:xVal>
          <c:yVal>
            <c:numRef>
              <c:f>Sheet1!$B$171:$B$172</c:f>
              <c:numCache>
                <c:formatCode>General</c:formatCode>
                <c:ptCount val="2"/>
                <c:pt idx="0">
                  <c:v>0.46838870853924536</c:v>
                </c:pt>
                <c:pt idx="1">
                  <c:v>0.468388708539245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6.5900871168952</c:v>
                </c:pt>
                <c:pt idx="1">
                  <c:v>996.5900871168952</c:v>
                </c:pt>
              </c:numCache>
            </c:numRef>
          </c:xVal>
          <c:yVal>
            <c:numRef>
              <c:f>Sheet1!$B$175:$B$176</c:f>
              <c:numCache>
                <c:formatCode>General</c:formatCode>
                <c:ptCount val="2"/>
                <c:pt idx="0">
                  <c:v>0.468388708539245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62.8820901925435</c:v>
                </c:pt>
              </c:numCache>
            </c:numRef>
          </c:xVal>
          <c:yVal>
            <c:numRef>
              <c:f>Sheet1!$B$179:$B$180</c:f>
              <c:numCache>
                <c:formatCode>General</c:formatCode>
                <c:ptCount val="2"/>
                <c:pt idx="0">
                  <c:v>0.43331940107862776</c:v>
                </c:pt>
                <c:pt idx="1">
                  <c:v>0.43331940107862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62.8820901925435</c:v>
                </c:pt>
                <c:pt idx="1">
                  <c:v>1162.8820901925435</c:v>
                </c:pt>
              </c:numCache>
            </c:numRef>
          </c:xVal>
          <c:yVal>
            <c:numRef>
              <c:f>Sheet1!$B$183:$B$184</c:f>
              <c:numCache>
                <c:formatCode>General</c:formatCode>
                <c:ptCount val="2"/>
                <c:pt idx="0">
                  <c:v>0.43331940107862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7.9649</c:v>
                </c:pt>
                <c:pt idx="1">
                  <c:v>1079.4118</c:v>
                </c:pt>
                <c:pt idx="2">
                  <c:v>1151.0909</c:v>
                </c:pt>
                <c:pt idx="3">
                  <c:v>1147.4902</c:v>
                </c:pt>
                <c:pt idx="4">
                  <c:v>1166.5581</c:v>
                </c:pt>
                <c:pt idx="5">
                  <c:v>1151.7083</c:v>
                </c:pt>
                <c:pt idx="6">
                  <c:v>1110.8491</c:v>
                </c:pt>
                <c:pt idx="7">
                  <c:v>1122.7</c:v>
                </c:pt>
                <c:pt idx="8">
                  <c:v>1147.0698</c:v>
                </c:pt>
                <c:pt idx="9">
                  <c:v>1136.4561</c:v>
                </c:pt>
                <c:pt idx="10">
                  <c:v>1099.8246</c:v>
                </c:pt>
                <c:pt idx="11">
                  <c:v>966.8171</c:v>
                </c:pt>
                <c:pt idx="12">
                  <c:v>1010.971</c:v>
                </c:pt>
                <c:pt idx="13">
                  <c:v>1001.8955</c:v>
                </c:pt>
                <c:pt idx="14">
                  <c:v>988.3273</c:v>
                </c:pt>
                <c:pt idx="15">
                  <c:v>1071.72</c:v>
                </c:pt>
                <c:pt idx="16">
                  <c:v>1123.2121</c:v>
                </c:pt>
                <c:pt idx="17">
                  <c:v>1093.0</c:v>
                </c:pt>
                <c:pt idx="18">
                  <c:v>1150.6333</c:v>
                </c:pt>
                <c:pt idx="19">
                  <c:v>930.5893</c:v>
                </c:pt>
                <c:pt idx="20">
                  <c:v>1096.7778</c:v>
                </c:pt>
                <c:pt idx="21">
                  <c:v>1034.4828</c:v>
                </c:pt>
                <c:pt idx="22">
                  <c:v>1134.5926</c:v>
                </c:pt>
                <c:pt idx="23">
                  <c:v>1227.2759</c:v>
                </c:pt>
                <c:pt idx="24">
                  <c:v>1288.92</c:v>
                </c:pt>
                <c:pt idx="25">
                  <c:v>1136.8966</c:v>
                </c:pt>
                <c:pt idx="26">
                  <c:v>1179.0625</c:v>
                </c:pt>
                <c:pt idx="27">
                  <c:v>1212.7586</c:v>
                </c:pt>
                <c:pt idx="28">
                  <c:v>1287.5556</c:v>
                </c:pt>
                <c:pt idx="29">
                  <c:v>1265.12</c:v>
                </c:pt>
                <c:pt idx="30">
                  <c:v>1257.9286</c:v>
                </c:pt>
                <c:pt idx="31">
                  <c:v>1179.4074</c:v>
                </c:pt>
                <c:pt idx="32">
                  <c:v>1182.5862</c:v>
                </c:pt>
                <c:pt idx="33">
                  <c:v>1269.9</c:v>
                </c:pt>
                <c:pt idx="34">
                  <c:v>1267.4512</c:v>
                </c:pt>
                <c:pt idx="35">
                  <c:v>1257.6735</c:v>
                </c:pt>
                <c:pt idx="36">
                  <c:v>1182.9333</c:v>
                </c:pt>
                <c:pt idx="37">
                  <c:v>1136.8182</c:v>
                </c:pt>
                <c:pt idx="38">
                  <c:v>1126.1</c:v>
                </c:pt>
                <c:pt idx="39">
                  <c:v>1153.4634</c:v>
                </c:pt>
                <c:pt idx="40">
                  <c:v>1132.5161</c:v>
                </c:pt>
                <c:pt idx="41">
                  <c:v>1147.4848</c:v>
                </c:pt>
                <c:pt idx="42">
                  <c:v>1123.9211</c:v>
                </c:pt>
                <c:pt idx="43">
                  <c:v>1190.2683</c:v>
                </c:pt>
                <c:pt idx="44">
                  <c:v>1231.4318</c:v>
                </c:pt>
                <c:pt idx="45">
                  <c:v>1160.3205</c:v>
                </c:pt>
                <c:pt idx="46">
                  <c:v>1227.0645</c:v>
                </c:pt>
                <c:pt idx="47">
                  <c:v>1178.98</c:v>
                </c:pt>
                <c:pt idx="48">
                  <c:v>1127.8519</c:v>
                </c:pt>
                <c:pt idx="49">
                  <c:v>1167.6988</c:v>
                </c:pt>
                <c:pt idx="50">
                  <c:v>1114.4194</c:v>
                </c:pt>
                <c:pt idx="51">
                  <c:v>1061.6667</c:v>
                </c:pt>
                <c:pt idx="52">
                  <c:v>996.5900871168952</c:v>
                </c:pt>
                <c:pt idx="53">
                  <c:v>502.77416281141666</c:v>
                </c:pt>
                <c:pt idx="54">
                  <c:v>1162.8820901925435</c:v>
                </c:pt>
              </c:numCache>
            </c:numRef>
          </c:xVal>
          <c:yVal>
            <c:numRef>
              <c:f>Sheet1!$B$187:$B$241</c:f>
              <c:numCache>
                <c:formatCode>General</c:formatCode>
                <c:ptCount val="55"/>
                <c:pt idx="0">
                  <c:v>0.4385741853602236</c:v>
                </c:pt>
                <c:pt idx="1">
                  <c:v>0.4509224440178462</c:v>
                </c:pt>
                <c:pt idx="2">
                  <c:v>0.43580604425172625</c:v>
                </c:pt>
                <c:pt idx="3">
                  <c:v>0.4365653955917663</c:v>
                </c:pt>
                <c:pt idx="4">
                  <c:v>0.4325441676592114</c:v>
                </c:pt>
                <c:pt idx="5">
                  <c:v>0.43567584081424443</c:v>
                </c:pt>
                <c:pt idx="6">
                  <c:v>0.4442926342913368</c:v>
                </c:pt>
                <c:pt idx="7">
                  <c:v>0.44179339892163605</c:v>
                </c:pt>
                <c:pt idx="8">
                  <c:v>0.4366540537147293</c:v>
                </c:pt>
                <c:pt idx="9">
                  <c:v>0.43889237607365494</c:v>
                </c:pt>
                <c:pt idx="10">
                  <c:v>0.4466175902299798</c:v>
                </c:pt>
                <c:pt idx="11">
                  <c:v>0.47466753145262636</c:v>
                </c:pt>
                <c:pt idx="12">
                  <c:v>0.465355918951447</c:v>
                </c:pt>
                <c:pt idx="13">
                  <c:v>0.46726985043325164</c:v>
                </c:pt>
                <c:pt idx="14">
                  <c:v>0.47013124706499876</c:v>
                </c:pt>
                <c:pt idx="15">
                  <c:v>0.4525445671153885</c:v>
                </c:pt>
                <c:pt idx="16">
                  <c:v>0.44168540219287933</c:v>
                </c:pt>
                <c:pt idx="17">
                  <c:v>0.44805682958767074</c:v>
                </c:pt>
                <c:pt idx="18">
                  <c:v>0.43590254747976587</c:v>
                </c:pt>
                <c:pt idx="19">
                  <c:v>0.4823076093476758</c:v>
                </c:pt>
                <c:pt idx="20">
                  <c:v>0.44726012964254797</c:v>
                </c:pt>
                <c:pt idx="21">
                  <c:v>0.46039751729711453</c:v>
                </c:pt>
                <c:pt idx="22">
                  <c:v>0.4392853694422124</c:v>
                </c:pt>
                <c:pt idx="23">
                  <c:v>0.419739395588701</c:v>
                </c:pt>
                <c:pt idx="24">
                  <c:v>0.40673927618398364</c:v>
                </c:pt>
                <c:pt idx="25">
                  <c:v>0.43879947906327155</c:v>
                </c:pt>
                <c:pt idx="26">
                  <c:v>0.4299071157258658</c:v>
                </c:pt>
                <c:pt idx="27">
                  <c:v>0.4228009478448635</c:v>
                </c:pt>
                <c:pt idx="28">
                  <c:v>0.40702701439276273</c:v>
                </c:pt>
                <c:pt idx="29">
                  <c:v>0.411758456313668</c:v>
                </c:pt>
                <c:pt idx="30">
                  <c:v>0.413275050094534</c:v>
                </c:pt>
                <c:pt idx="31">
                  <c:v>0.4298343797919697</c:v>
                </c:pt>
                <c:pt idx="32">
                  <c:v>0.4291640029097747</c:v>
                </c:pt>
                <c:pt idx="33">
                  <c:v>0.4107504024893028</c:v>
                </c:pt>
                <c:pt idx="34">
                  <c:v>0.41126682972886464</c:v>
                </c:pt>
                <c:pt idx="35">
                  <c:v>0.413328848113487</c:v>
                </c:pt>
                <c:pt idx="36">
                  <c:v>0.42909080301805147</c:v>
                </c:pt>
                <c:pt idx="37">
                  <c:v>0.4388160128331105</c:v>
                </c:pt>
                <c:pt idx="38">
                  <c:v>0.4410763731888241</c:v>
                </c:pt>
                <c:pt idx="39">
                  <c:v>0.43530570791316836</c:v>
                </c:pt>
                <c:pt idx="40">
                  <c:v>0.43972328236403124</c:v>
                </c:pt>
                <c:pt idx="41">
                  <c:v>0.43656653439734194</c:v>
                </c:pt>
                <c:pt idx="42">
                  <c:v>0.4415358812385959</c:v>
                </c:pt>
                <c:pt idx="43">
                  <c:v>0.4275439254444702</c:v>
                </c:pt>
                <c:pt idx="44">
                  <c:v>0.41886295816429114</c:v>
                </c:pt>
                <c:pt idx="45">
                  <c:v>0.43385961463303147</c:v>
                </c:pt>
                <c:pt idx="46">
                  <c:v>0.41978397771808823</c:v>
                </c:pt>
                <c:pt idx="47">
                  <c:v>0.4299245141443826</c:v>
                </c:pt>
                <c:pt idx="48">
                  <c:v>0.4407069151354966</c:v>
                </c:pt>
                <c:pt idx="49">
                  <c:v>0.43230360552585295</c:v>
                </c:pt>
                <c:pt idx="50">
                  <c:v>0.44353969400490767</c:v>
                </c:pt>
                <c:pt idx="51">
                  <c:v>0.454664706762353</c:v>
                </c:pt>
                <c:pt idx="52">
                  <c:v>0.46838870853924536</c:v>
                </c:pt>
                <c:pt idx="53">
                  <c:v>0.5725295100096552</c:v>
                </c:pt>
                <c:pt idx="54">
                  <c:v>0.43331940107862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7.0"/>
          <c:min val="40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21090909090909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4.0853032233398725</c:v>
                </c:pt>
                <c:pt idx="1">
                  <c:v>2.1688070753088304</c:v>
                </c:pt>
                <c:pt idx="2">
                  <c:v>2.218760642570281</c:v>
                </c:pt>
                <c:pt idx="3">
                  <c:v>1.4642467937608319</c:v>
                </c:pt>
                <c:pt idx="4">
                  <c:v>1.3977504215851602</c:v>
                </c:pt>
                <c:pt idx="5">
                  <c:v>0.965158698224852</c:v>
                </c:pt>
                <c:pt idx="6">
                  <c:v>1.2012490029400227</c:v>
                </c:pt>
                <c:pt idx="7">
                  <c:v>1.150950333276363</c:v>
                </c:pt>
                <c:pt idx="8">
                  <c:v>0.9582300680075243</c:v>
                </c:pt>
                <c:pt idx="9">
                  <c:v>0.9062885474816375</c:v>
                </c:pt>
                <c:pt idx="10">
                  <c:v>1.0011792513923066</c:v>
                </c:pt>
                <c:pt idx="11">
                  <c:v>0.9720483049136126</c:v>
                </c:pt>
                <c:pt idx="12">
                  <c:v>0.9960530119923157</c:v>
                </c:pt>
                <c:pt idx="13">
                  <c:v>0.9754714796399494</c:v>
                </c:pt>
                <c:pt idx="14">
                  <c:v>0.9308659921002339</c:v>
                </c:pt>
                <c:pt idx="15">
                  <c:v>0.9621774278501114</c:v>
                </c:pt>
                <c:pt idx="16">
                  <c:v>0.9669269582427974</c:v>
                </c:pt>
                <c:pt idx="17">
                  <c:v>0.8478357123905546</c:v>
                </c:pt>
                <c:pt idx="18">
                  <c:v>0.9167706622001023</c:v>
                </c:pt>
                <c:pt idx="19">
                  <c:v>0.9744882561782796</c:v>
                </c:pt>
                <c:pt idx="20">
                  <c:v>0.9698771949828963</c:v>
                </c:pt>
                <c:pt idx="21">
                  <c:v>1.02932702257382</c:v>
                </c:pt>
                <c:pt idx="22">
                  <c:v>1.152915490208835</c:v>
                </c:pt>
                <c:pt idx="23">
                  <c:v>0.9498403913245032</c:v>
                </c:pt>
                <c:pt idx="24">
                  <c:v>1.0773408858054299</c:v>
                </c:pt>
                <c:pt idx="25">
                  <c:v>0.9486074116098584</c:v>
                </c:pt>
                <c:pt idx="26">
                  <c:v>1.0879373303091315</c:v>
                </c:pt>
                <c:pt idx="27">
                  <c:v>0.870114891985172</c:v>
                </c:pt>
                <c:pt idx="28">
                  <c:v>0.9097525800491333</c:v>
                </c:pt>
                <c:pt idx="29">
                  <c:v>0.8023609815677627</c:v>
                </c:pt>
                <c:pt idx="30">
                  <c:v>0.7737481786666331</c:v>
                </c:pt>
                <c:pt idx="31">
                  <c:v>0.9307243688820195</c:v>
                </c:pt>
                <c:pt idx="32">
                  <c:v>0.8911847067039106</c:v>
                </c:pt>
                <c:pt idx="33">
                  <c:v>0.6677188766723113</c:v>
                </c:pt>
                <c:pt idx="34">
                  <c:v>0.7572874425484706</c:v>
                </c:pt>
                <c:pt idx="35">
                  <c:v>0.8668249962826531</c:v>
                </c:pt>
                <c:pt idx="36">
                  <c:v>0.7950757927772617</c:v>
                </c:pt>
                <c:pt idx="37">
                  <c:v>0.9324327402135231</c:v>
                </c:pt>
                <c:pt idx="38">
                  <c:v>0.8770214105057443</c:v>
                </c:pt>
                <c:pt idx="39">
                  <c:v>0.8590407010283841</c:v>
                </c:pt>
                <c:pt idx="40">
                  <c:v>0.845971733247549</c:v>
                </c:pt>
                <c:pt idx="41">
                  <c:v>0.8759004264392324</c:v>
                </c:pt>
                <c:pt idx="42">
                  <c:v>1.0034789402708628</c:v>
                </c:pt>
                <c:pt idx="43">
                  <c:v>1.0789539078349022</c:v>
                </c:pt>
                <c:pt idx="44">
                  <c:v>1.064577866227061</c:v>
                </c:pt>
                <c:pt idx="45">
                  <c:v>1.0207740279673105</c:v>
                </c:pt>
                <c:pt idx="46">
                  <c:v>0.984749449785706</c:v>
                </c:pt>
                <c:pt idx="47">
                  <c:v>0.9573511804234137</c:v>
                </c:pt>
                <c:pt idx="48">
                  <c:v>0.9005784006553039</c:v>
                </c:pt>
                <c:pt idx="49">
                  <c:v>0.9377916035773486</c:v>
                </c:pt>
                <c:pt idx="50">
                  <c:v>0.8539187614489158</c:v>
                </c:pt>
                <c:pt idx="51">
                  <c:v>0.8149927673849464</c:v>
                </c:pt>
                <c:pt idx="52">
                  <c:v>0.8262218675422339</c:v>
                </c:pt>
                <c:pt idx="53">
                  <c:v>0.8330759679570442</c:v>
                </c:pt>
                <c:pt idx="54">
                  <c:v>0.8602976991288542</c:v>
                </c:pt>
                <c:pt idx="55">
                  <c:v>0.7966985492817522</c:v>
                </c:pt>
                <c:pt idx="56">
                  <c:v>0.818442461645831</c:v>
                </c:pt>
                <c:pt idx="57">
                  <c:v>0.8631417562663313</c:v>
                </c:pt>
                <c:pt idx="58">
                  <c:v>0.8945218843308667</c:v>
                </c:pt>
                <c:pt idx="59">
                  <c:v>0.7863576999230169</c:v>
                </c:pt>
                <c:pt idx="60">
                  <c:v>0.8356154754126305</c:v>
                </c:pt>
                <c:pt idx="61">
                  <c:v>0.8602273632821302</c:v>
                </c:pt>
                <c:pt idx="62">
                  <c:v>0.839106859983485</c:v>
                </c:pt>
                <c:pt idx="63">
                  <c:v>0.890986748937892</c:v>
                </c:pt>
                <c:pt idx="64">
                  <c:v>0.9086457894982698</c:v>
                </c:pt>
                <c:pt idx="65">
                  <c:v>0.9958802922599931</c:v>
                </c:pt>
                <c:pt idx="66">
                  <c:v>0.9968994513631693</c:v>
                </c:pt>
                <c:pt idx="67">
                  <c:v>1.0074940284300904</c:v>
                </c:pt>
                <c:pt idx="68">
                  <c:v>0.9906287303593274</c:v>
                </c:pt>
                <c:pt idx="69">
                  <c:v>1.0928441706933587</c:v>
                </c:pt>
                <c:pt idx="70">
                  <c:v>1.1936597767258779</c:v>
                </c:pt>
                <c:pt idx="71">
                  <c:v>1.1877433186390451</c:v>
                </c:pt>
                <c:pt idx="72">
                  <c:v>1.360425765954267</c:v>
                </c:pt>
                <c:pt idx="73">
                  <c:v>1.5712825190663222</c:v>
                </c:pt>
                <c:pt idx="74">
                  <c:v>1.3410873751353956</c:v>
                </c:pt>
                <c:pt idx="75">
                  <c:v>1.7117821389727945</c:v>
                </c:pt>
                <c:pt idx="76">
                  <c:v>1.2129927540240055</c:v>
                </c:pt>
                <c:pt idx="77">
                  <c:v>1.344079261457303</c:v>
                </c:pt>
                <c:pt idx="78">
                  <c:v>1.4247337715644526</c:v>
                </c:pt>
                <c:pt idx="79">
                  <c:v>1.3648474159463362</c:v>
                </c:pt>
                <c:pt idx="80">
                  <c:v>1.1465005560722243</c:v>
                </c:pt>
                <c:pt idx="81">
                  <c:v>1.4094094525780918</c:v>
                </c:pt>
                <c:pt idx="82">
                  <c:v>1.4517624120777701</c:v>
                </c:pt>
                <c:pt idx="83">
                  <c:v>1.1908086853672049</c:v>
                </c:pt>
                <c:pt idx="84">
                  <c:v>1.168656108886145</c:v>
                </c:pt>
                <c:pt idx="85">
                  <c:v>1.3458562534002296</c:v>
                </c:pt>
                <c:pt idx="86">
                  <c:v>1.447989778578858</c:v>
                </c:pt>
                <c:pt idx="87">
                  <c:v>1.1214395702805984</c:v>
                </c:pt>
                <c:pt idx="88">
                  <c:v>1.07651175749008</c:v>
                </c:pt>
                <c:pt idx="89">
                  <c:v>1.7138580991169718</c:v>
                </c:pt>
                <c:pt idx="90">
                  <c:v>1.4172630637047825</c:v>
                </c:pt>
                <c:pt idx="91">
                  <c:v>1.1294542880478327</c:v>
                </c:pt>
                <c:pt idx="92">
                  <c:v>1.1736848170986007</c:v>
                </c:pt>
                <c:pt idx="93">
                  <c:v>1.2309622900845847</c:v>
                </c:pt>
                <c:pt idx="94">
                  <c:v>1.1681073547588996</c:v>
                </c:pt>
                <c:pt idx="95">
                  <c:v>1.1994931767337809</c:v>
                </c:pt>
                <c:pt idx="96">
                  <c:v>1.3518868335906091</c:v>
                </c:pt>
                <c:pt idx="97">
                  <c:v>1.3601941219204123</c:v>
                </c:pt>
                <c:pt idx="98">
                  <c:v>1.283099703401527</c:v>
                </c:pt>
                <c:pt idx="99">
                  <c:v>1.2786988725942232</c:v>
                </c:pt>
                <c:pt idx="100">
                  <c:v>1.223296716200339</c:v>
                </c:pt>
                <c:pt idx="101">
                  <c:v>1.2824912699564333</c:v>
                </c:pt>
                <c:pt idx="102">
                  <c:v>1.0443317247542447</c:v>
                </c:pt>
                <c:pt idx="103">
                  <c:v>1.1514693845904667</c:v>
                </c:pt>
                <c:pt idx="104">
                  <c:v>1.1818522287171136</c:v>
                </c:pt>
              </c:numCache>
            </c:numRef>
          </c:xVal>
          <c:yVal>
            <c:numRef>
              <c:f>Sheet1!$B$2:$B$106</c:f>
              <c:numCache>
                <c:formatCode>General</c:formatCode>
                <c:ptCount val="105"/>
                <c:pt idx="0">
                  <c:v>0.5906976744186047</c:v>
                </c:pt>
                <c:pt idx="1">
                  <c:v>0.5606936416184971</c:v>
                </c:pt>
                <c:pt idx="2">
                  <c:v>0.5625</c:v>
                </c:pt>
                <c:pt idx="3">
                  <c:v>0.6</c:v>
                </c:pt>
                <c:pt idx="4">
                  <c:v>0.60625</c:v>
                </c:pt>
                <c:pt idx="5">
                  <c:v>0.58125</c:v>
                </c:pt>
                <c:pt idx="6">
                  <c:v>0.5352941176470588</c:v>
                </c:pt>
                <c:pt idx="7">
                  <c:v>0.5757575757575758</c:v>
                </c:pt>
                <c:pt idx="8">
                  <c:v>0.5403225806451613</c:v>
                </c:pt>
                <c:pt idx="9">
                  <c:v>0.5153374233128835</c:v>
                </c:pt>
                <c:pt idx="10">
                  <c:v>0.5397727272727273</c:v>
                </c:pt>
                <c:pt idx="11">
                  <c:v>0.5544041450777202</c:v>
                </c:pt>
                <c:pt idx="12">
                  <c:v>0.49748743718592964</c:v>
                </c:pt>
                <c:pt idx="13">
                  <c:v>0.48205128205128206</c:v>
                </c:pt>
                <c:pt idx="14">
                  <c:v>0.5317919075144508</c:v>
                </c:pt>
                <c:pt idx="15">
                  <c:v>0.5857142857142857</c:v>
                </c:pt>
                <c:pt idx="16">
                  <c:v>0.5634920634920635</c:v>
                </c:pt>
                <c:pt idx="17">
                  <c:v>0.5338345864661654</c:v>
                </c:pt>
                <c:pt idx="18">
                  <c:v>0.5603448275862069</c:v>
                </c:pt>
                <c:pt idx="19">
                  <c:v>0.5151515151515151</c:v>
                </c:pt>
                <c:pt idx="20">
                  <c:v>0.6030534351145038</c:v>
                </c:pt>
                <c:pt idx="21">
                  <c:v>0.5</c:v>
                </c:pt>
                <c:pt idx="22">
                  <c:v>0.44565217391304346</c:v>
                </c:pt>
                <c:pt idx="23">
                  <c:v>0.4845360824742268</c:v>
                </c:pt>
                <c:pt idx="24">
                  <c:v>0.5242718446601942</c:v>
                </c:pt>
                <c:pt idx="25">
                  <c:v>0.5487804878048781</c:v>
                </c:pt>
                <c:pt idx="26">
                  <c:v>0.44554455445544555</c:v>
                </c:pt>
                <c:pt idx="27">
                  <c:v>0.46808510638297873</c:v>
                </c:pt>
                <c:pt idx="28">
                  <c:v>0.45794392523364486</c:v>
                </c:pt>
                <c:pt idx="29">
                  <c:v>0.5081967213114754</c:v>
                </c:pt>
                <c:pt idx="30">
                  <c:v>0.43478260869565216</c:v>
                </c:pt>
                <c:pt idx="31">
                  <c:v>0.5</c:v>
                </c:pt>
                <c:pt idx="32">
                  <c:v>0.5151515151515151</c:v>
                </c:pt>
                <c:pt idx="33">
                  <c:v>0.5906040268456376</c:v>
                </c:pt>
                <c:pt idx="34">
                  <c:v>0.5444444444444444</c:v>
                </c:pt>
                <c:pt idx="35">
                  <c:v>0.5299145299145299</c:v>
                </c:pt>
                <c:pt idx="36">
                  <c:v>0.4962962962962963</c:v>
                </c:pt>
                <c:pt idx="37">
                  <c:v>0.4666666666666667</c:v>
                </c:pt>
                <c:pt idx="38">
                  <c:v>0.4948453608247423</c:v>
                </c:pt>
                <c:pt idx="39">
                  <c:v>0.49514563106796117</c:v>
                </c:pt>
                <c:pt idx="40">
                  <c:v>0.5070422535211268</c:v>
                </c:pt>
                <c:pt idx="41">
                  <c:v>0.5362318840579711</c:v>
                </c:pt>
                <c:pt idx="42">
                  <c:v>0.47183098591549294</c:v>
                </c:pt>
                <c:pt idx="43">
                  <c:v>0.44776119402985076</c:v>
                </c:pt>
                <c:pt idx="44">
                  <c:v>0.4406779661016949</c:v>
                </c:pt>
                <c:pt idx="45">
                  <c:v>0.4876847290640394</c:v>
                </c:pt>
                <c:pt idx="46">
                  <c:v>0.5209790209790209</c:v>
                </c:pt>
                <c:pt idx="47">
                  <c:v>0.4892703862660944</c:v>
                </c:pt>
                <c:pt idx="48">
                  <c:v>0.5224358974358975</c:v>
                </c:pt>
                <c:pt idx="49">
                  <c:v>0.532293986636971</c:v>
                </c:pt>
                <c:pt idx="50">
                  <c:v>0.4649122807017544</c:v>
                </c:pt>
                <c:pt idx="51">
                  <c:v>0.4427083333333333</c:v>
                </c:pt>
                <c:pt idx="52">
                  <c:v>0.5125628140703518</c:v>
                </c:pt>
                <c:pt idx="53">
                  <c:v>0.4426229508196721</c:v>
                </c:pt>
                <c:pt idx="54">
                  <c:v>0.47305389221556887</c:v>
                </c:pt>
                <c:pt idx="55">
                  <c:v>0.44680851063829785</c:v>
                </c:pt>
                <c:pt idx="56">
                  <c:v>0.4014084507042254</c:v>
                </c:pt>
                <c:pt idx="57">
                  <c:v>0.432258064516129</c:v>
                </c:pt>
                <c:pt idx="58">
                  <c:v>0.4117647058823529</c:v>
                </c:pt>
                <c:pt idx="59">
                  <c:v>0.4350282485875706</c:v>
                </c:pt>
                <c:pt idx="60">
                  <c:v>0.5279503105590062</c:v>
                </c:pt>
                <c:pt idx="61">
                  <c:v>0.4444444444444444</c:v>
                </c:pt>
                <c:pt idx="62">
                  <c:v>0.5174418604651163</c:v>
                </c:pt>
                <c:pt idx="63">
                  <c:v>0.4835164835164835</c:v>
                </c:pt>
                <c:pt idx="64">
                  <c:v>0.48186528497409326</c:v>
                </c:pt>
                <c:pt idx="65">
                  <c:v>0.4911242603550296</c:v>
                </c:pt>
                <c:pt idx="66">
                  <c:v>0.5087719298245614</c:v>
                </c:pt>
                <c:pt idx="67">
                  <c:v>0.4791666666666667</c:v>
                </c:pt>
                <c:pt idx="68">
                  <c:v>0.46774193548387094</c:v>
                </c:pt>
                <c:pt idx="69">
                  <c:v>0.3942307692307692</c:v>
                </c:pt>
                <c:pt idx="70">
                  <c:v>0.39</c:v>
                </c:pt>
                <c:pt idx="71">
                  <c:v>0.4222222222222222</c:v>
                </c:pt>
                <c:pt idx="72">
                  <c:v>0.38333333333333336</c:v>
                </c:pt>
                <c:pt idx="73">
                  <c:v>0.3465346534653465</c:v>
                </c:pt>
                <c:pt idx="74">
                  <c:v>0.4077669902912621</c:v>
                </c:pt>
                <c:pt idx="75">
                  <c:v>0.3431372549019608</c:v>
                </c:pt>
                <c:pt idx="76">
                  <c:v>0.4024390243902439</c:v>
                </c:pt>
                <c:pt idx="77">
                  <c:v>0.4153846153846154</c:v>
                </c:pt>
                <c:pt idx="78">
                  <c:v>0.44871794871794873</c:v>
                </c:pt>
                <c:pt idx="79">
                  <c:v>0.3953488372093023</c:v>
                </c:pt>
                <c:pt idx="80">
                  <c:v>0.42028985507246375</c:v>
                </c:pt>
                <c:pt idx="81">
                  <c:v>0.4423076923076923</c:v>
                </c:pt>
                <c:pt idx="82">
                  <c:v>0.4166666666666667</c:v>
                </c:pt>
                <c:pt idx="83">
                  <c:v>0.43661971830985913</c:v>
                </c:pt>
                <c:pt idx="84">
                  <c:v>0.4393939393939394</c:v>
                </c:pt>
                <c:pt idx="85">
                  <c:v>0.47058823529411764</c:v>
                </c:pt>
                <c:pt idx="86">
                  <c:v>0.44537815126050423</c:v>
                </c:pt>
                <c:pt idx="87">
                  <c:v>0.48</c:v>
                </c:pt>
                <c:pt idx="88">
                  <c:v>0.46987951807228917</c:v>
                </c:pt>
                <c:pt idx="89">
                  <c:v>0.4027777777777778</c:v>
                </c:pt>
                <c:pt idx="90">
                  <c:v>0.37333333333333335</c:v>
                </c:pt>
                <c:pt idx="91">
                  <c:v>0.4318181818181818</c:v>
                </c:pt>
                <c:pt idx="92">
                  <c:v>0.48623853211009177</c:v>
                </c:pt>
                <c:pt idx="93">
                  <c:v>0.45555555555555555</c:v>
                </c:pt>
                <c:pt idx="94">
                  <c:v>0.39473684210526316</c:v>
                </c:pt>
                <c:pt idx="95">
                  <c:v>0.5</c:v>
                </c:pt>
                <c:pt idx="96">
                  <c:v>0.40298507462686567</c:v>
                </c:pt>
                <c:pt idx="97">
                  <c:v>0.38513513513513514</c:v>
                </c:pt>
                <c:pt idx="98">
                  <c:v>0.44785276073619634</c:v>
                </c:pt>
                <c:pt idx="99">
                  <c:v>0.4618834080717489</c:v>
                </c:pt>
                <c:pt idx="100">
                  <c:v>0.49333333333333335</c:v>
                </c:pt>
                <c:pt idx="101">
                  <c:v>0.48863636363636365</c:v>
                </c:pt>
                <c:pt idx="102">
                  <c:v>0.463768115942029</c:v>
                </c:pt>
                <c:pt idx="103">
                  <c:v>0.4596774193548387</c:v>
                </c:pt>
                <c:pt idx="104">
                  <c:v>0.401574803149606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292830520172369</c:v>
                </c:pt>
                <c:pt idx="1">
                  <c:v>1.1480814199295355</c:v>
                </c:pt>
                <c:pt idx="2">
                  <c:v>1.3242476715904234</c:v>
                </c:pt>
                <c:pt idx="3">
                  <c:v>1.181716247681602</c:v>
                </c:pt>
                <c:pt idx="4">
                  <c:v>1.2652473969631237</c:v>
                </c:pt>
                <c:pt idx="5">
                  <c:v>1.285016847244988</c:v>
                </c:pt>
                <c:pt idx="6">
                  <c:v>1.2041258674325557</c:v>
                </c:pt>
                <c:pt idx="7">
                  <c:v>1.2507798573975044</c:v>
                </c:pt>
                <c:pt idx="8">
                  <c:v>1.0284547229065966</c:v>
                </c:pt>
                <c:pt idx="9">
                  <c:v>1.1248523481469854</c:v>
                </c:pt>
                <c:pt idx="10">
                  <c:v>1.0755954150030174</c:v>
                </c:pt>
                <c:pt idx="11">
                  <c:v>1.1023691509935114</c:v>
                </c:pt>
                <c:pt idx="12">
                  <c:v>1.0303181073563155</c:v>
                </c:pt>
                <c:pt idx="13">
                  <c:v>1.1005572674069584</c:v>
                </c:pt>
                <c:pt idx="14">
                  <c:v>1.011231697958766</c:v>
                </c:pt>
                <c:pt idx="15">
                  <c:v>1.03486294236258</c:v>
                </c:pt>
                <c:pt idx="16">
                  <c:v>1.0984011941463827</c:v>
                </c:pt>
                <c:pt idx="17">
                  <c:v>1.0524071816343104</c:v>
                </c:pt>
                <c:pt idx="18">
                  <c:v>0.9619071225547566</c:v>
                </c:pt>
                <c:pt idx="19">
                  <c:v>1.018971639282082</c:v>
                </c:pt>
                <c:pt idx="20">
                  <c:v>1.0380419603451996</c:v>
                </c:pt>
                <c:pt idx="21">
                  <c:v>0.9838162624821684</c:v>
                </c:pt>
                <c:pt idx="22">
                  <c:v>1.1339819507195374</c:v>
                </c:pt>
                <c:pt idx="23">
                  <c:v>1.3211735541353773</c:v>
                </c:pt>
                <c:pt idx="24">
                  <c:v>1.4358939395610437</c:v>
                </c:pt>
                <c:pt idx="25">
                  <c:v>1.3413719932158397</c:v>
                </c:pt>
                <c:pt idx="26">
                  <c:v>1.4754265652551333</c:v>
                </c:pt>
                <c:pt idx="27">
                  <c:v>1.3534364039502764</c:v>
                </c:pt>
                <c:pt idx="28">
                  <c:v>1.3931923177012182</c:v>
                </c:pt>
                <c:pt idx="29">
                  <c:v>1.2023777639947772</c:v>
                </c:pt>
                <c:pt idx="30">
                  <c:v>1.3258300583577514</c:v>
                </c:pt>
                <c:pt idx="31">
                  <c:v>1.2876630339963182</c:v>
                </c:pt>
                <c:pt idx="32">
                  <c:v>1.297074703753828</c:v>
                </c:pt>
                <c:pt idx="33">
                  <c:v>1.2557725587144624</c:v>
                </c:pt>
                <c:pt idx="34">
                  <c:v>1.1762888167053365</c:v>
                </c:pt>
                <c:pt idx="35">
                  <c:v>1.3159628919315032</c:v>
                </c:pt>
                <c:pt idx="36">
                  <c:v>1.245192947368421</c:v>
                </c:pt>
                <c:pt idx="37">
                  <c:v>1.1772874563106794</c:v>
                </c:pt>
                <c:pt idx="38">
                  <c:v>1.2731829301907727</c:v>
                </c:pt>
                <c:pt idx="39">
                  <c:v>1.2853750104471375</c:v>
                </c:pt>
                <c:pt idx="40">
                  <c:v>1.2813079903832556</c:v>
                </c:pt>
                <c:pt idx="41">
                  <c:v>1.1304649715739707</c:v>
                </c:pt>
                <c:pt idx="42">
                  <c:v>1.0748368481084842</c:v>
                </c:pt>
                <c:pt idx="43">
                  <c:v>1.1345753974646526</c:v>
                </c:pt>
                <c:pt idx="44">
                  <c:v>1.1735905673735954</c:v>
                </c:pt>
                <c:pt idx="45">
                  <c:v>1.1699047103586715</c:v>
                </c:pt>
                <c:pt idx="46">
                  <c:v>1.1397060326011237</c:v>
                </c:pt>
                <c:pt idx="47">
                  <c:v>1.0569072164948454</c:v>
                </c:pt>
                <c:pt idx="48">
                  <c:v>1.1169483617870708</c:v>
                </c:pt>
                <c:pt idx="49">
                  <c:v>1.1495572915154078</c:v>
                </c:pt>
                <c:pt idx="50">
                  <c:v>1.0543969071057868</c:v>
                </c:pt>
                <c:pt idx="51">
                  <c:v>1.0418711481844947</c:v>
                </c:pt>
              </c:numCache>
            </c:numRef>
          </c:xVal>
          <c:yVal>
            <c:numRef>
              <c:f>Sheet1!$B$109:$B$160</c:f>
              <c:numCache>
                <c:formatCode>General</c:formatCode>
                <c:ptCount val="52"/>
                <c:pt idx="0">
                  <c:v>0.4453125</c:v>
                </c:pt>
                <c:pt idx="1">
                  <c:v>0.4358974358974359</c:v>
                </c:pt>
                <c:pt idx="2">
                  <c:v>0.44</c:v>
                </c:pt>
                <c:pt idx="3">
                  <c:v>0.4358974358974359</c:v>
                </c:pt>
                <c:pt idx="4">
                  <c:v>0.42574257425742573</c:v>
                </c:pt>
                <c:pt idx="5">
                  <c:v>0.42857142857142855</c:v>
                </c:pt>
                <c:pt idx="6">
                  <c:v>0.424</c:v>
                </c:pt>
                <c:pt idx="7">
                  <c:v>0.423728813559322</c:v>
                </c:pt>
                <c:pt idx="8">
                  <c:v>0.4673913043478261</c:v>
                </c:pt>
                <c:pt idx="9">
                  <c:v>0.4956521739130435</c:v>
                </c:pt>
                <c:pt idx="10">
                  <c:v>0.4523809523809524</c:v>
                </c:pt>
                <c:pt idx="11">
                  <c:v>0.49101796407185627</c:v>
                </c:pt>
                <c:pt idx="12">
                  <c:v>0.5111111111111111</c:v>
                </c:pt>
                <c:pt idx="13">
                  <c:v>0.5114503816793893</c:v>
                </c:pt>
                <c:pt idx="14">
                  <c:v>0.47413793103448276</c:v>
                </c:pt>
                <c:pt idx="15">
                  <c:v>0.5434782608695652</c:v>
                </c:pt>
                <c:pt idx="16">
                  <c:v>0.35106382978723405</c:v>
                </c:pt>
                <c:pt idx="17">
                  <c:v>0.4520547945205479</c:v>
                </c:pt>
                <c:pt idx="18">
                  <c:v>0.4411764705882353</c:v>
                </c:pt>
                <c:pt idx="19">
                  <c:v>0.5233644859813084</c:v>
                </c:pt>
                <c:pt idx="20">
                  <c:v>0.421875</c:v>
                </c:pt>
                <c:pt idx="21">
                  <c:v>0.42028985507246375</c:v>
                </c:pt>
                <c:pt idx="22">
                  <c:v>0.38571428571428573</c:v>
                </c:pt>
                <c:pt idx="23">
                  <c:v>0.453125</c:v>
                </c:pt>
                <c:pt idx="24">
                  <c:v>0.3968253968253968</c:v>
                </c:pt>
                <c:pt idx="25">
                  <c:v>0.4461538461538462</c:v>
                </c:pt>
                <c:pt idx="26">
                  <c:v>0.47761194029850745</c:v>
                </c:pt>
                <c:pt idx="27">
                  <c:v>0.4027777777777778</c:v>
                </c:pt>
                <c:pt idx="28">
                  <c:v>0.43902439024390244</c:v>
                </c:pt>
                <c:pt idx="29">
                  <c:v>0.4032258064516129</c:v>
                </c:pt>
                <c:pt idx="30">
                  <c:v>0.4444444444444444</c:v>
                </c:pt>
                <c:pt idx="31">
                  <c:v>0.47368421052631576</c:v>
                </c:pt>
                <c:pt idx="32">
                  <c:v>0.2636363636363636</c:v>
                </c:pt>
                <c:pt idx="33">
                  <c:v>0.41237113402061853</c:v>
                </c:pt>
                <c:pt idx="34">
                  <c:v>0.49696969696969695</c:v>
                </c:pt>
                <c:pt idx="35">
                  <c:v>0.44954128440366975</c:v>
                </c:pt>
                <c:pt idx="36">
                  <c:v>0.32608695652173914</c:v>
                </c:pt>
                <c:pt idx="37">
                  <c:v>0.4</c:v>
                </c:pt>
                <c:pt idx="38">
                  <c:v>0.410958904109589</c:v>
                </c:pt>
                <c:pt idx="39">
                  <c:v>0.3904761904761905</c:v>
                </c:pt>
                <c:pt idx="40">
                  <c:v>0.3563218390804598</c:v>
                </c:pt>
                <c:pt idx="41">
                  <c:v>0.4024390243902439</c:v>
                </c:pt>
                <c:pt idx="42">
                  <c:v>0.475</c:v>
                </c:pt>
                <c:pt idx="43">
                  <c:v>0.41</c:v>
                </c:pt>
                <c:pt idx="44">
                  <c:v>0.411214953271028</c:v>
                </c:pt>
                <c:pt idx="45">
                  <c:v>0.527027027027027</c:v>
                </c:pt>
                <c:pt idx="46">
                  <c:v>0.484375</c:v>
                </c:pt>
                <c:pt idx="47">
                  <c:v>0.43478260869565216</c:v>
                </c:pt>
                <c:pt idx="48">
                  <c:v>0.4251968503937008</c:v>
                </c:pt>
                <c:pt idx="49">
                  <c:v>0.41089108910891087</c:v>
                </c:pt>
                <c:pt idx="50">
                  <c:v>0.484375</c:v>
                </c:pt>
                <c:pt idx="51">
                  <c:v>0.421052631578947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890006698867288</c:v>
                </c:pt>
              </c:numCache>
            </c:numRef>
          </c:xVal>
          <c:yVal>
            <c:numRef>
              <c:f>Sheet1!$B$163:$B$164</c:f>
              <c:numCache>
                <c:formatCode>General</c:formatCode>
                <c:ptCount val="2"/>
                <c:pt idx="0">
                  <c:v>0.5725295100096552</c:v>
                </c:pt>
                <c:pt idx="1">
                  <c:v>0.57252951000965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890006698867288</c:v>
                </c:pt>
                <c:pt idx="1">
                  <c:v>0.13890006698867288</c:v>
                </c:pt>
              </c:numCache>
            </c:numRef>
          </c:xVal>
          <c:yVal>
            <c:numRef>
              <c:f>Sheet1!$B$167:$B$168</c:f>
              <c:numCache>
                <c:formatCode>General</c:formatCode>
                <c:ptCount val="2"/>
                <c:pt idx="0">
                  <c:v>0.5725295100096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398248059749365</c:v>
                </c:pt>
              </c:numCache>
            </c:numRef>
          </c:xVal>
          <c:yVal>
            <c:numRef>
              <c:f>Sheet1!$B$171:$B$172</c:f>
              <c:numCache>
                <c:formatCode>General</c:formatCode>
                <c:ptCount val="2"/>
                <c:pt idx="0">
                  <c:v>0.46838870853924536</c:v>
                </c:pt>
                <c:pt idx="1">
                  <c:v>0.468388708539245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398248059749365</c:v>
                </c:pt>
                <c:pt idx="1">
                  <c:v>0.9398248059749365</c:v>
                </c:pt>
              </c:numCache>
            </c:numRef>
          </c:xVal>
          <c:yVal>
            <c:numRef>
              <c:f>Sheet1!$B$175:$B$176</c:f>
              <c:numCache>
                <c:formatCode>General</c:formatCode>
                <c:ptCount val="2"/>
                <c:pt idx="0">
                  <c:v>0.468388708539245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095353855723572</c:v>
                </c:pt>
              </c:numCache>
            </c:numRef>
          </c:xVal>
          <c:yVal>
            <c:numRef>
              <c:f>Sheet1!$B$179:$B$180</c:f>
              <c:numCache>
                <c:formatCode>General</c:formatCode>
                <c:ptCount val="2"/>
                <c:pt idx="0">
                  <c:v>0.43331940107862776</c:v>
                </c:pt>
                <c:pt idx="1">
                  <c:v>0.4333194010786277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095353855723572</c:v>
                </c:pt>
                <c:pt idx="1">
                  <c:v>1.2095353855723572</c:v>
                </c:pt>
              </c:numCache>
            </c:numRef>
          </c:xVal>
          <c:yVal>
            <c:numRef>
              <c:f>Sheet1!$B$183:$B$184</c:f>
              <c:numCache>
                <c:formatCode>General</c:formatCode>
                <c:ptCount val="2"/>
                <c:pt idx="0">
                  <c:v>0.4333194010786277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292830520172369</c:v>
                </c:pt>
                <c:pt idx="1">
                  <c:v>1.1480814199295355</c:v>
                </c:pt>
                <c:pt idx="2">
                  <c:v>1.3242476715904234</c:v>
                </c:pt>
                <c:pt idx="3">
                  <c:v>1.181716247681602</c:v>
                </c:pt>
                <c:pt idx="4">
                  <c:v>1.2652473969631237</c:v>
                </c:pt>
                <c:pt idx="5">
                  <c:v>1.285016847244988</c:v>
                </c:pt>
                <c:pt idx="6">
                  <c:v>1.2041258674325557</c:v>
                </c:pt>
                <c:pt idx="7">
                  <c:v>1.2507798573975044</c:v>
                </c:pt>
                <c:pt idx="8">
                  <c:v>1.0284547229065966</c:v>
                </c:pt>
                <c:pt idx="9">
                  <c:v>1.1248523481469854</c:v>
                </c:pt>
                <c:pt idx="10">
                  <c:v>1.0755954150030174</c:v>
                </c:pt>
                <c:pt idx="11">
                  <c:v>1.1023691509935114</c:v>
                </c:pt>
                <c:pt idx="12">
                  <c:v>1.0303181073563155</c:v>
                </c:pt>
                <c:pt idx="13">
                  <c:v>1.1005572674069584</c:v>
                </c:pt>
                <c:pt idx="14">
                  <c:v>1.011231697958766</c:v>
                </c:pt>
                <c:pt idx="15">
                  <c:v>1.03486294236258</c:v>
                </c:pt>
                <c:pt idx="16">
                  <c:v>1.0984011941463827</c:v>
                </c:pt>
                <c:pt idx="17">
                  <c:v>1.0524071816343104</c:v>
                </c:pt>
                <c:pt idx="18">
                  <c:v>0.9619071225547566</c:v>
                </c:pt>
                <c:pt idx="19">
                  <c:v>1.018971639282082</c:v>
                </c:pt>
                <c:pt idx="20">
                  <c:v>1.0380419603451996</c:v>
                </c:pt>
                <c:pt idx="21">
                  <c:v>0.9838162624821684</c:v>
                </c:pt>
                <c:pt idx="22">
                  <c:v>1.1339819507195374</c:v>
                </c:pt>
                <c:pt idx="23">
                  <c:v>1.3211735541353773</c:v>
                </c:pt>
                <c:pt idx="24">
                  <c:v>1.4358939395610437</c:v>
                </c:pt>
                <c:pt idx="25">
                  <c:v>1.3413719932158397</c:v>
                </c:pt>
                <c:pt idx="26">
                  <c:v>1.4754265652551333</c:v>
                </c:pt>
                <c:pt idx="27">
                  <c:v>1.3534364039502764</c:v>
                </c:pt>
                <c:pt idx="28">
                  <c:v>1.3931923177012182</c:v>
                </c:pt>
                <c:pt idx="29">
                  <c:v>1.2023777639947772</c:v>
                </c:pt>
                <c:pt idx="30">
                  <c:v>1.3258300583577514</c:v>
                </c:pt>
                <c:pt idx="31">
                  <c:v>1.2876630339963182</c:v>
                </c:pt>
                <c:pt idx="32">
                  <c:v>1.297074703753828</c:v>
                </c:pt>
                <c:pt idx="33">
                  <c:v>1.2557725587144624</c:v>
                </c:pt>
                <c:pt idx="34">
                  <c:v>1.1762888167053365</c:v>
                </c:pt>
                <c:pt idx="35">
                  <c:v>1.3159628919315032</c:v>
                </c:pt>
                <c:pt idx="36">
                  <c:v>1.245192947368421</c:v>
                </c:pt>
                <c:pt idx="37">
                  <c:v>1.1772874563106794</c:v>
                </c:pt>
                <c:pt idx="38">
                  <c:v>1.2731829301907727</c:v>
                </c:pt>
                <c:pt idx="39">
                  <c:v>1.2853750104471375</c:v>
                </c:pt>
                <c:pt idx="40">
                  <c:v>1.2813079903832556</c:v>
                </c:pt>
                <c:pt idx="41">
                  <c:v>1.1304649715739707</c:v>
                </c:pt>
                <c:pt idx="42">
                  <c:v>1.0748368481084842</c:v>
                </c:pt>
                <c:pt idx="43">
                  <c:v>1.1345753974646526</c:v>
                </c:pt>
                <c:pt idx="44">
                  <c:v>1.1735905673735954</c:v>
                </c:pt>
                <c:pt idx="45">
                  <c:v>1.1699047103586715</c:v>
                </c:pt>
                <c:pt idx="46">
                  <c:v>1.1397060326011237</c:v>
                </c:pt>
                <c:pt idx="47">
                  <c:v>1.0569072164948454</c:v>
                </c:pt>
                <c:pt idx="48">
                  <c:v>1.1169483617870708</c:v>
                </c:pt>
                <c:pt idx="49">
                  <c:v>1.1495572915154078</c:v>
                </c:pt>
                <c:pt idx="50">
                  <c:v>1.0543969071057868</c:v>
                </c:pt>
                <c:pt idx="51">
                  <c:v>1.0418711481844947</c:v>
                </c:pt>
                <c:pt idx="52">
                  <c:v>0.9398248059749365</c:v>
                </c:pt>
                <c:pt idx="53">
                  <c:v>0.13890006698867288</c:v>
                </c:pt>
                <c:pt idx="54">
                  <c:v>1.2095353855723572</c:v>
                </c:pt>
              </c:numCache>
            </c:numRef>
          </c:xVal>
          <c:yVal>
            <c:numRef>
              <c:f>Sheet1!$B$187:$B$241</c:f>
              <c:numCache>
                <c:formatCode>General</c:formatCode>
                <c:ptCount val="55"/>
                <c:pt idx="0">
                  <c:v>0.4307516968854185</c:v>
                </c:pt>
                <c:pt idx="1">
                  <c:v>0.4413099961046708</c:v>
                </c:pt>
                <c:pt idx="2">
                  <c:v>0.4184038555561549</c:v>
                </c:pt>
                <c:pt idx="3">
                  <c:v>0.4369366040131082</c:v>
                </c:pt>
                <c:pt idx="4">
                  <c:v>0.42607540768530777</c:v>
                </c:pt>
                <c:pt idx="5">
                  <c:v>0.42350487103340134</c:v>
                </c:pt>
                <c:pt idx="6">
                  <c:v>0.43402277747247053</c:v>
                </c:pt>
                <c:pt idx="7">
                  <c:v>0.42795655967416435</c:v>
                </c:pt>
                <c:pt idx="8">
                  <c:v>0.4568645413681808</c:v>
                </c:pt>
                <c:pt idx="9">
                  <c:v>0.4443303724710075</c:v>
                </c:pt>
                <c:pt idx="10">
                  <c:v>0.45073503978354407</c:v>
                </c:pt>
                <c:pt idx="11">
                  <c:v>0.4472537659650623</c:v>
                </c:pt>
                <c:pt idx="12">
                  <c:v>0.45662225349692986</c:v>
                </c:pt>
                <c:pt idx="13">
                  <c:v>0.44748935740042434</c:v>
                </c:pt>
                <c:pt idx="14">
                  <c:v>0.459103977278329</c:v>
                </c:pt>
                <c:pt idx="15">
                  <c:v>0.45603130813457005</c:v>
                </c:pt>
                <c:pt idx="16">
                  <c:v>0.44776970233978713</c:v>
                </c:pt>
                <c:pt idx="17">
                  <c:v>0.4537501061064504</c:v>
                </c:pt>
                <c:pt idx="18">
                  <c:v>0.4655174398232153</c:v>
                </c:pt>
                <c:pt idx="19">
                  <c:v>0.4580975859739922</c:v>
                </c:pt>
                <c:pt idx="20">
                  <c:v>0.4556179540895722</c:v>
                </c:pt>
                <c:pt idx="21">
                  <c:v>0.46266868852299214</c:v>
                </c:pt>
                <c:pt idx="22">
                  <c:v>0.4431432894871365</c:v>
                </c:pt>
                <c:pt idx="23">
                  <c:v>0.4188035698364103</c:v>
                </c:pt>
                <c:pt idx="24">
                  <c:v>0.40388697118277817</c:v>
                </c:pt>
                <c:pt idx="25">
                  <c:v>0.41617725361479757</c:v>
                </c:pt>
                <c:pt idx="26">
                  <c:v>0.39874671377329535</c:v>
                </c:pt>
                <c:pt idx="27">
                  <c:v>0.4146085701393156</c:v>
                </c:pt>
                <c:pt idx="28">
                  <c:v>0.4094392795434828</c:v>
                </c:pt>
                <c:pt idx="29">
                  <c:v>0.4342500758492117</c:v>
                </c:pt>
                <c:pt idx="30">
                  <c:v>0.4181981046058293</c:v>
                </c:pt>
                <c:pt idx="31">
                  <c:v>0.42316079874332235</c:v>
                </c:pt>
                <c:pt idx="32">
                  <c:v>0.42193703977570396</c:v>
                </c:pt>
                <c:pt idx="33">
                  <c:v>0.4273073801803352</c:v>
                </c:pt>
                <c:pt idx="34">
                  <c:v>0.43764230953608785</c:v>
                </c:pt>
                <c:pt idx="35">
                  <c:v>0.41948108984757876</c:v>
                </c:pt>
                <c:pt idx="36">
                  <c:v>0.4286830015729478</c:v>
                </c:pt>
                <c:pt idx="37">
                  <c:v>0.437512460720315</c:v>
                </c:pt>
                <c:pt idx="38">
                  <c:v>0.425043584406296</c:v>
                </c:pt>
                <c:pt idx="39">
                  <c:v>0.42345830061159584</c:v>
                </c:pt>
                <c:pt idx="40">
                  <c:v>0.42398711775062564</c:v>
                </c:pt>
                <c:pt idx="41">
                  <c:v>0.44360058716960993</c:v>
                </c:pt>
                <c:pt idx="42">
                  <c:v>0.4508336729765524</c:v>
                </c:pt>
                <c:pt idx="43">
                  <c:v>0.44306612615747765</c:v>
                </c:pt>
                <c:pt idx="44">
                  <c:v>0.43799315129973493</c:v>
                </c:pt>
                <c:pt idx="45">
                  <c:v>0.438472407445731</c:v>
                </c:pt>
                <c:pt idx="46">
                  <c:v>0.44239901172193086</c:v>
                </c:pt>
                <c:pt idx="47">
                  <c:v>0.4531649859144907</c:v>
                </c:pt>
                <c:pt idx="48">
                  <c:v>0.4453580938463948</c:v>
                </c:pt>
                <c:pt idx="49">
                  <c:v>0.4411180948655923</c:v>
                </c:pt>
                <c:pt idx="50">
                  <c:v>0.45349139065514854</c:v>
                </c:pt>
                <c:pt idx="51">
                  <c:v>0.45512006125251275</c:v>
                </c:pt>
                <c:pt idx="52">
                  <c:v>0.46838870853924536</c:v>
                </c:pt>
                <c:pt idx="53">
                  <c:v>0.5725295100096552</c:v>
                </c:pt>
                <c:pt idx="54">
                  <c:v>0.4333194010786277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21090909090909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5.0866</c:v>
                </c:pt>
                <c:pt idx="1">
                  <c:v>801.4948</c:v>
                </c:pt>
                <c:pt idx="2">
                  <c:v>828.7071</c:v>
                </c:pt>
                <c:pt idx="3">
                  <c:v>844.8704</c:v>
                </c:pt>
                <c:pt idx="4">
                  <c:v>828.866</c:v>
                </c:pt>
                <c:pt idx="5">
                  <c:v>815.5591</c:v>
                </c:pt>
                <c:pt idx="6">
                  <c:v>800.1319</c:v>
                </c:pt>
                <c:pt idx="7">
                  <c:v>841.7763</c:v>
                </c:pt>
                <c:pt idx="8">
                  <c:v>827.791</c:v>
                </c:pt>
                <c:pt idx="9">
                  <c:v>777.4048</c:v>
                </c:pt>
                <c:pt idx="10">
                  <c:v>773.0105</c:v>
                </c:pt>
                <c:pt idx="11">
                  <c:v>799.5421</c:v>
                </c:pt>
                <c:pt idx="12">
                  <c:v>798.9394</c:v>
                </c:pt>
                <c:pt idx="13">
                  <c:v>795.266</c:v>
                </c:pt>
                <c:pt idx="14">
                  <c:v>774.7391</c:v>
                </c:pt>
                <c:pt idx="15">
                  <c:v>805.6098</c:v>
                </c:pt>
                <c:pt idx="16">
                  <c:v>795.9296</c:v>
                </c:pt>
                <c:pt idx="17">
                  <c:v>798.8732</c:v>
                </c:pt>
                <c:pt idx="18">
                  <c:v>811.5385</c:v>
                </c:pt>
                <c:pt idx="19">
                  <c:v>829.8627</c:v>
                </c:pt>
                <c:pt idx="20">
                  <c:v>850.5823</c:v>
                </c:pt>
                <c:pt idx="21">
                  <c:v>881.3415</c:v>
                </c:pt>
                <c:pt idx="22">
                  <c:v>886.0732</c:v>
                </c:pt>
                <c:pt idx="23">
                  <c:v>887.8085</c:v>
                </c:pt>
                <c:pt idx="24">
                  <c:v>907.3519</c:v>
                </c:pt>
                <c:pt idx="25">
                  <c:v>889.8667</c:v>
                </c:pt>
                <c:pt idx="26">
                  <c:v>850.5778</c:v>
                </c:pt>
                <c:pt idx="27">
                  <c:v>850.8636</c:v>
                </c:pt>
                <c:pt idx="28">
                  <c:v>881.6939</c:v>
                </c:pt>
                <c:pt idx="29">
                  <c:v>770.1774</c:v>
                </c:pt>
                <c:pt idx="30">
                  <c:v>774.35</c:v>
                </c:pt>
                <c:pt idx="31">
                  <c:v>812.9412</c:v>
                </c:pt>
                <c:pt idx="32">
                  <c:v>765.7059</c:v>
                </c:pt>
                <c:pt idx="33">
                  <c:v>592.0909</c:v>
                </c:pt>
                <c:pt idx="34">
                  <c:v>716.7347</c:v>
                </c:pt>
                <c:pt idx="35">
                  <c:v>792.2419</c:v>
                </c:pt>
                <c:pt idx="36">
                  <c:v>776.8358</c:v>
                </c:pt>
                <c:pt idx="37">
                  <c:v>786.0408</c:v>
                </c:pt>
                <c:pt idx="38">
                  <c:v>795.3958</c:v>
                </c:pt>
                <c:pt idx="39">
                  <c:v>806.3529</c:v>
                </c:pt>
                <c:pt idx="40">
                  <c:v>832.5833</c:v>
                </c:pt>
                <c:pt idx="41">
                  <c:v>821.5946</c:v>
                </c:pt>
                <c:pt idx="42">
                  <c:v>901.3582</c:v>
                </c:pt>
                <c:pt idx="43">
                  <c:v>920.05</c:v>
                </c:pt>
                <c:pt idx="44">
                  <c:v>885.1026</c:v>
                </c:pt>
                <c:pt idx="45">
                  <c:v>893.0606</c:v>
                </c:pt>
                <c:pt idx="46">
                  <c:v>850.1342</c:v>
                </c:pt>
                <c:pt idx="47">
                  <c:v>842.9211</c:v>
                </c:pt>
                <c:pt idx="48">
                  <c:v>844.9141</c:v>
                </c:pt>
                <c:pt idx="49">
                  <c:v>852.3556</c:v>
                </c:pt>
                <c:pt idx="50">
                  <c:v>903.1792</c:v>
                </c:pt>
                <c:pt idx="51">
                  <c:v>844.1647</c:v>
                </c:pt>
                <c:pt idx="52">
                  <c:v>869.1569</c:v>
                </c:pt>
                <c:pt idx="53">
                  <c:v>861.8889</c:v>
                </c:pt>
                <c:pt idx="54">
                  <c:v>890.8861</c:v>
                </c:pt>
                <c:pt idx="55">
                  <c:v>896.254</c:v>
                </c:pt>
                <c:pt idx="56">
                  <c:v>907.6842</c:v>
                </c:pt>
                <c:pt idx="57">
                  <c:v>851.1194</c:v>
                </c:pt>
                <c:pt idx="58">
                  <c:v>879.5195</c:v>
                </c:pt>
                <c:pt idx="59">
                  <c:v>862.9351</c:v>
                </c:pt>
                <c:pt idx="60">
                  <c:v>878.4706</c:v>
                </c:pt>
                <c:pt idx="61">
                  <c:v>864.6719</c:v>
                </c:pt>
                <c:pt idx="62">
                  <c:v>835.191</c:v>
                </c:pt>
                <c:pt idx="63">
                  <c:v>880.8295</c:v>
                </c:pt>
                <c:pt idx="64">
                  <c:v>898.6774</c:v>
                </c:pt>
                <c:pt idx="65">
                  <c:v>916.9759</c:v>
                </c:pt>
                <c:pt idx="66">
                  <c:v>901.8736</c:v>
                </c:pt>
                <c:pt idx="67">
                  <c:v>914.942</c:v>
                </c:pt>
                <c:pt idx="68">
                  <c:v>922.069</c:v>
                </c:pt>
                <c:pt idx="69">
                  <c:v>968.2195</c:v>
                </c:pt>
                <c:pt idx="70">
                  <c:v>979.0</c:v>
                </c:pt>
                <c:pt idx="71">
                  <c:v>1074.3421</c:v>
                </c:pt>
                <c:pt idx="72">
                  <c:v>1137.8261</c:v>
                </c:pt>
                <c:pt idx="73">
                  <c:v>1177.8857</c:v>
                </c:pt>
                <c:pt idx="74">
                  <c:v>1114.3095</c:v>
                </c:pt>
                <c:pt idx="75">
                  <c:v>1099.5143</c:v>
                </c:pt>
                <c:pt idx="76">
                  <c:v>1096.4848</c:v>
                </c:pt>
                <c:pt idx="77">
                  <c:v>1019.1481</c:v>
                </c:pt>
                <c:pt idx="78">
                  <c:v>1057.8</c:v>
                </c:pt>
                <c:pt idx="79">
                  <c:v>1124.8824</c:v>
                </c:pt>
                <c:pt idx="80">
                  <c:v>1158.2069</c:v>
                </c:pt>
                <c:pt idx="81">
                  <c:v>1160.1957</c:v>
                </c:pt>
                <c:pt idx="82">
                  <c:v>1152.6333</c:v>
                </c:pt>
                <c:pt idx="83">
                  <c:v>1122.6774</c:v>
                </c:pt>
                <c:pt idx="84">
                  <c:v>1109.3793</c:v>
                </c:pt>
                <c:pt idx="85">
                  <c:v>1113.225</c:v>
                </c:pt>
                <c:pt idx="86">
                  <c:v>1066.7736</c:v>
                </c:pt>
                <c:pt idx="87">
                  <c:v>1046.7619</c:v>
                </c:pt>
                <c:pt idx="88">
                  <c:v>1141.0256</c:v>
                </c:pt>
                <c:pt idx="89">
                  <c:v>1154.5172</c:v>
                </c:pt>
                <c:pt idx="90">
                  <c:v>1186.6429</c:v>
                </c:pt>
                <c:pt idx="91">
                  <c:v>1161.8947</c:v>
                </c:pt>
                <c:pt idx="92">
                  <c:v>1132.4528</c:v>
                </c:pt>
                <c:pt idx="93">
                  <c:v>1109.5366</c:v>
                </c:pt>
                <c:pt idx="94">
                  <c:v>1163.3333</c:v>
                </c:pt>
                <c:pt idx="95">
                  <c:v>1072.3469</c:v>
                </c:pt>
                <c:pt idx="96">
                  <c:v>1007.5741</c:v>
                </c:pt>
                <c:pt idx="97">
                  <c:v>1074.7193</c:v>
                </c:pt>
                <c:pt idx="98">
                  <c:v>1067.7123</c:v>
                </c:pt>
                <c:pt idx="99">
                  <c:v>1074.6505</c:v>
                </c:pt>
                <c:pt idx="100">
                  <c:v>1045.9527</c:v>
                </c:pt>
                <c:pt idx="101">
                  <c:v>1028.7791</c:v>
                </c:pt>
                <c:pt idx="102">
                  <c:v>1022.5313</c:v>
                </c:pt>
                <c:pt idx="103">
                  <c:v>1118.2982</c:v>
                </c:pt>
                <c:pt idx="104">
                  <c:v>1088.0784</c:v>
                </c:pt>
              </c:numCache>
            </c:numRef>
          </c:xVal>
          <c:yVal>
            <c:numRef>
              <c:f>Sheet1!$B$2:$B$106</c:f>
              <c:numCache>
                <c:formatCode>General</c:formatCode>
                <c:ptCount val="105"/>
                <c:pt idx="0">
                  <c:v>0.5906976744186047</c:v>
                </c:pt>
                <c:pt idx="1">
                  <c:v>0.5606936416184971</c:v>
                </c:pt>
                <c:pt idx="2">
                  <c:v>0.5625</c:v>
                </c:pt>
                <c:pt idx="3">
                  <c:v>0.6</c:v>
                </c:pt>
                <c:pt idx="4">
                  <c:v>0.60625</c:v>
                </c:pt>
                <c:pt idx="5">
                  <c:v>0.58125</c:v>
                </c:pt>
                <c:pt idx="6">
                  <c:v>0.5352941176470588</c:v>
                </c:pt>
                <c:pt idx="7">
                  <c:v>0.5757575757575758</c:v>
                </c:pt>
                <c:pt idx="8">
                  <c:v>0.5403225806451613</c:v>
                </c:pt>
                <c:pt idx="9">
                  <c:v>0.5153374233128835</c:v>
                </c:pt>
                <c:pt idx="10">
                  <c:v>0.5397727272727273</c:v>
                </c:pt>
                <c:pt idx="11">
                  <c:v>0.5544041450777202</c:v>
                </c:pt>
                <c:pt idx="12">
                  <c:v>0.49748743718592964</c:v>
                </c:pt>
                <c:pt idx="13">
                  <c:v>0.48205128205128206</c:v>
                </c:pt>
                <c:pt idx="14">
                  <c:v>0.5317919075144508</c:v>
                </c:pt>
                <c:pt idx="15">
                  <c:v>0.5857142857142857</c:v>
                </c:pt>
                <c:pt idx="16">
                  <c:v>0.5634920634920635</c:v>
                </c:pt>
                <c:pt idx="17">
                  <c:v>0.5338345864661654</c:v>
                </c:pt>
                <c:pt idx="18">
                  <c:v>0.5603448275862069</c:v>
                </c:pt>
                <c:pt idx="19">
                  <c:v>0.5151515151515151</c:v>
                </c:pt>
                <c:pt idx="20">
                  <c:v>0.6030534351145038</c:v>
                </c:pt>
                <c:pt idx="21">
                  <c:v>0.5</c:v>
                </c:pt>
                <c:pt idx="22">
                  <c:v>0.44565217391304346</c:v>
                </c:pt>
                <c:pt idx="23">
                  <c:v>0.4845360824742268</c:v>
                </c:pt>
                <c:pt idx="24">
                  <c:v>0.5242718446601942</c:v>
                </c:pt>
                <c:pt idx="25">
                  <c:v>0.5487804878048781</c:v>
                </c:pt>
                <c:pt idx="26">
                  <c:v>0.44554455445544555</c:v>
                </c:pt>
                <c:pt idx="27">
                  <c:v>0.46808510638297873</c:v>
                </c:pt>
                <c:pt idx="28">
                  <c:v>0.45794392523364486</c:v>
                </c:pt>
                <c:pt idx="29">
                  <c:v>0.5081967213114754</c:v>
                </c:pt>
                <c:pt idx="30">
                  <c:v>0.43478260869565216</c:v>
                </c:pt>
                <c:pt idx="31">
                  <c:v>0.5</c:v>
                </c:pt>
                <c:pt idx="32">
                  <c:v>0.5151515151515151</c:v>
                </c:pt>
                <c:pt idx="33">
                  <c:v>0.5906040268456376</c:v>
                </c:pt>
                <c:pt idx="34">
                  <c:v>0.5444444444444444</c:v>
                </c:pt>
                <c:pt idx="35">
                  <c:v>0.5299145299145299</c:v>
                </c:pt>
                <c:pt idx="36">
                  <c:v>0.4962962962962963</c:v>
                </c:pt>
                <c:pt idx="37">
                  <c:v>0.4666666666666667</c:v>
                </c:pt>
                <c:pt idx="38">
                  <c:v>0.4948453608247423</c:v>
                </c:pt>
                <c:pt idx="39">
                  <c:v>0.49514563106796117</c:v>
                </c:pt>
                <c:pt idx="40">
                  <c:v>0.5070422535211268</c:v>
                </c:pt>
                <c:pt idx="41">
                  <c:v>0.5362318840579711</c:v>
                </c:pt>
                <c:pt idx="42">
                  <c:v>0.47183098591549294</c:v>
                </c:pt>
                <c:pt idx="43">
                  <c:v>0.44776119402985076</c:v>
                </c:pt>
                <c:pt idx="44">
                  <c:v>0.4406779661016949</c:v>
                </c:pt>
                <c:pt idx="45">
                  <c:v>0.4876847290640394</c:v>
                </c:pt>
                <c:pt idx="46">
                  <c:v>0.5209790209790209</c:v>
                </c:pt>
                <c:pt idx="47">
                  <c:v>0.4892703862660944</c:v>
                </c:pt>
                <c:pt idx="48">
                  <c:v>0.5224358974358975</c:v>
                </c:pt>
                <c:pt idx="49">
                  <c:v>0.532293986636971</c:v>
                </c:pt>
                <c:pt idx="50">
                  <c:v>0.4649122807017544</c:v>
                </c:pt>
                <c:pt idx="51">
                  <c:v>0.4427083333333333</c:v>
                </c:pt>
                <c:pt idx="52">
                  <c:v>0.5125628140703518</c:v>
                </c:pt>
                <c:pt idx="53">
                  <c:v>0.4426229508196721</c:v>
                </c:pt>
                <c:pt idx="54">
                  <c:v>0.47305389221556887</c:v>
                </c:pt>
                <c:pt idx="55">
                  <c:v>0.44680851063829785</c:v>
                </c:pt>
                <c:pt idx="56">
                  <c:v>0.4014084507042254</c:v>
                </c:pt>
                <c:pt idx="57">
                  <c:v>0.432258064516129</c:v>
                </c:pt>
                <c:pt idx="58">
                  <c:v>0.4117647058823529</c:v>
                </c:pt>
                <c:pt idx="59">
                  <c:v>0.4350282485875706</c:v>
                </c:pt>
                <c:pt idx="60">
                  <c:v>0.5279503105590062</c:v>
                </c:pt>
                <c:pt idx="61">
                  <c:v>0.4444444444444444</c:v>
                </c:pt>
                <c:pt idx="62">
                  <c:v>0.5174418604651163</c:v>
                </c:pt>
                <c:pt idx="63">
                  <c:v>0.4835164835164835</c:v>
                </c:pt>
                <c:pt idx="64">
                  <c:v>0.48186528497409326</c:v>
                </c:pt>
                <c:pt idx="65">
                  <c:v>0.4911242603550296</c:v>
                </c:pt>
                <c:pt idx="66">
                  <c:v>0.5087719298245614</c:v>
                </c:pt>
                <c:pt idx="67">
                  <c:v>0.4791666666666667</c:v>
                </c:pt>
                <c:pt idx="68">
                  <c:v>0.46774193548387094</c:v>
                </c:pt>
                <c:pt idx="69">
                  <c:v>0.3942307692307692</c:v>
                </c:pt>
                <c:pt idx="70">
                  <c:v>0.39</c:v>
                </c:pt>
                <c:pt idx="71">
                  <c:v>0.4222222222222222</c:v>
                </c:pt>
                <c:pt idx="72">
                  <c:v>0.38333333333333336</c:v>
                </c:pt>
                <c:pt idx="73">
                  <c:v>0.3465346534653465</c:v>
                </c:pt>
                <c:pt idx="74">
                  <c:v>0.4077669902912621</c:v>
                </c:pt>
                <c:pt idx="75">
                  <c:v>0.3431372549019608</c:v>
                </c:pt>
                <c:pt idx="76">
                  <c:v>0.4024390243902439</c:v>
                </c:pt>
                <c:pt idx="77">
                  <c:v>0.4153846153846154</c:v>
                </c:pt>
                <c:pt idx="78">
                  <c:v>0.44871794871794873</c:v>
                </c:pt>
                <c:pt idx="79">
                  <c:v>0.3953488372093023</c:v>
                </c:pt>
                <c:pt idx="80">
                  <c:v>0.42028985507246375</c:v>
                </c:pt>
                <c:pt idx="81">
                  <c:v>0.4423076923076923</c:v>
                </c:pt>
                <c:pt idx="82">
                  <c:v>0.4166666666666667</c:v>
                </c:pt>
                <c:pt idx="83">
                  <c:v>0.43661971830985913</c:v>
                </c:pt>
                <c:pt idx="84">
                  <c:v>0.4393939393939394</c:v>
                </c:pt>
                <c:pt idx="85">
                  <c:v>0.47058823529411764</c:v>
                </c:pt>
                <c:pt idx="86">
                  <c:v>0.44537815126050423</c:v>
                </c:pt>
                <c:pt idx="87">
                  <c:v>0.48</c:v>
                </c:pt>
                <c:pt idx="88">
                  <c:v>0.46987951807228917</c:v>
                </c:pt>
                <c:pt idx="89">
                  <c:v>0.4027777777777778</c:v>
                </c:pt>
                <c:pt idx="90">
                  <c:v>0.37333333333333335</c:v>
                </c:pt>
                <c:pt idx="91">
                  <c:v>0.4318181818181818</c:v>
                </c:pt>
                <c:pt idx="92">
                  <c:v>0.48623853211009177</c:v>
                </c:pt>
                <c:pt idx="93">
                  <c:v>0.45555555555555555</c:v>
                </c:pt>
                <c:pt idx="94">
                  <c:v>0.39473684210526316</c:v>
                </c:pt>
                <c:pt idx="95">
                  <c:v>0.5</c:v>
                </c:pt>
                <c:pt idx="96">
                  <c:v>0.40298507462686567</c:v>
                </c:pt>
                <c:pt idx="97">
                  <c:v>0.38513513513513514</c:v>
                </c:pt>
                <c:pt idx="98">
                  <c:v>0.44785276073619634</c:v>
                </c:pt>
                <c:pt idx="99">
                  <c:v>0.4618834080717489</c:v>
                </c:pt>
                <c:pt idx="100">
                  <c:v>0.49333333333333335</c:v>
                </c:pt>
                <c:pt idx="101">
                  <c:v>0.48863636363636365</c:v>
                </c:pt>
                <c:pt idx="102">
                  <c:v>0.463768115942029</c:v>
                </c:pt>
                <c:pt idx="103">
                  <c:v>0.4596774193548387</c:v>
                </c:pt>
                <c:pt idx="104">
                  <c:v>0.401574803149606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7.9649</c:v>
                </c:pt>
                <c:pt idx="1">
                  <c:v>1079.4118</c:v>
                </c:pt>
                <c:pt idx="2">
                  <c:v>1151.0909</c:v>
                </c:pt>
                <c:pt idx="3">
                  <c:v>1147.4902</c:v>
                </c:pt>
                <c:pt idx="4">
                  <c:v>1166.5581</c:v>
                </c:pt>
                <c:pt idx="5">
                  <c:v>1151.7083</c:v>
                </c:pt>
                <c:pt idx="6">
                  <c:v>1110.8491</c:v>
                </c:pt>
                <c:pt idx="7">
                  <c:v>1122.7</c:v>
                </c:pt>
                <c:pt idx="8">
                  <c:v>1147.0698</c:v>
                </c:pt>
                <c:pt idx="9">
                  <c:v>1136.4561</c:v>
                </c:pt>
                <c:pt idx="10">
                  <c:v>1099.8246</c:v>
                </c:pt>
                <c:pt idx="11">
                  <c:v>966.8171</c:v>
                </c:pt>
                <c:pt idx="12">
                  <c:v>1010.971</c:v>
                </c:pt>
                <c:pt idx="13">
                  <c:v>1001.8955</c:v>
                </c:pt>
                <c:pt idx="14">
                  <c:v>988.3273</c:v>
                </c:pt>
                <c:pt idx="15">
                  <c:v>1071.72</c:v>
                </c:pt>
                <c:pt idx="16">
                  <c:v>1123.2121</c:v>
                </c:pt>
                <c:pt idx="17">
                  <c:v>1093.0</c:v>
                </c:pt>
                <c:pt idx="18">
                  <c:v>1150.6333</c:v>
                </c:pt>
                <c:pt idx="19">
                  <c:v>930.5893</c:v>
                </c:pt>
                <c:pt idx="20">
                  <c:v>1096.7778</c:v>
                </c:pt>
                <c:pt idx="21">
                  <c:v>1034.4828</c:v>
                </c:pt>
                <c:pt idx="22">
                  <c:v>1134.5926</c:v>
                </c:pt>
                <c:pt idx="23">
                  <c:v>1227.2759</c:v>
                </c:pt>
                <c:pt idx="24">
                  <c:v>1288.92</c:v>
                </c:pt>
                <c:pt idx="25">
                  <c:v>1136.8966</c:v>
                </c:pt>
                <c:pt idx="26">
                  <c:v>1179.0625</c:v>
                </c:pt>
                <c:pt idx="27">
                  <c:v>1212.7586</c:v>
                </c:pt>
                <c:pt idx="28">
                  <c:v>1287.5556</c:v>
                </c:pt>
                <c:pt idx="29">
                  <c:v>1265.12</c:v>
                </c:pt>
                <c:pt idx="30">
                  <c:v>1257.9286</c:v>
                </c:pt>
                <c:pt idx="31">
                  <c:v>1179.4074</c:v>
                </c:pt>
                <c:pt idx="32">
                  <c:v>1182.5862</c:v>
                </c:pt>
                <c:pt idx="33">
                  <c:v>1269.9</c:v>
                </c:pt>
                <c:pt idx="34">
                  <c:v>1267.4512</c:v>
                </c:pt>
                <c:pt idx="35">
                  <c:v>1257.6735</c:v>
                </c:pt>
                <c:pt idx="36">
                  <c:v>1182.9333</c:v>
                </c:pt>
                <c:pt idx="37">
                  <c:v>1136.8182</c:v>
                </c:pt>
                <c:pt idx="38">
                  <c:v>1126.1</c:v>
                </c:pt>
                <c:pt idx="39">
                  <c:v>1153.4634</c:v>
                </c:pt>
                <c:pt idx="40">
                  <c:v>1132.5161</c:v>
                </c:pt>
                <c:pt idx="41">
                  <c:v>1147.4848</c:v>
                </c:pt>
                <c:pt idx="42">
                  <c:v>1123.9211</c:v>
                </c:pt>
                <c:pt idx="43">
                  <c:v>1190.2683</c:v>
                </c:pt>
                <c:pt idx="44">
                  <c:v>1231.4318</c:v>
                </c:pt>
                <c:pt idx="45">
                  <c:v>1160.3205</c:v>
                </c:pt>
                <c:pt idx="46">
                  <c:v>1227.0645</c:v>
                </c:pt>
                <c:pt idx="47">
                  <c:v>1178.98</c:v>
                </c:pt>
                <c:pt idx="48">
                  <c:v>1127.8519</c:v>
                </c:pt>
                <c:pt idx="49">
                  <c:v>1167.6988</c:v>
                </c:pt>
                <c:pt idx="50">
                  <c:v>1114.4194</c:v>
                </c:pt>
                <c:pt idx="51">
                  <c:v>1061.6667</c:v>
                </c:pt>
              </c:numCache>
            </c:numRef>
          </c:xVal>
          <c:yVal>
            <c:numRef>
              <c:f>Sheet1!$B$109:$B$160</c:f>
              <c:numCache>
                <c:formatCode>General</c:formatCode>
                <c:ptCount val="52"/>
                <c:pt idx="0">
                  <c:v>0.4453125</c:v>
                </c:pt>
                <c:pt idx="1">
                  <c:v>0.4358974358974359</c:v>
                </c:pt>
                <c:pt idx="2">
                  <c:v>0.44</c:v>
                </c:pt>
                <c:pt idx="3">
                  <c:v>0.4358974358974359</c:v>
                </c:pt>
                <c:pt idx="4">
                  <c:v>0.42574257425742573</c:v>
                </c:pt>
                <c:pt idx="5">
                  <c:v>0.42857142857142855</c:v>
                </c:pt>
                <c:pt idx="6">
                  <c:v>0.424</c:v>
                </c:pt>
                <c:pt idx="7">
                  <c:v>0.423728813559322</c:v>
                </c:pt>
                <c:pt idx="8">
                  <c:v>0.4673913043478261</c:v>
                </c:pt>
                <c:pt idx="9">
                  <c:v>0.4956521739130435</c:v>
                </c:pt>
                <c:pt idx="10">
                  <c:v>0.4523809523809524</c:v>
                </c:pt>
                <c:pt idx="11">
                  <c:v>0.49101796407185627</c:v>
                </c:pt>
                <c:pt idx="12">
                  <c:v>0.5111111111111111</c:v>
                </c:pt>
                <c:pt idx="13">
                  <c:v>0.5114503816793893</c:v>
                </c:pt>
                <c:pt idx="14">
                  <c:v>0.47413793103448276</c:v>
                </c:pt>
                <c:pt idx="15">
                  <c:v>0.5434782608695652</c:v>
                </c:pt>
                <c:pt idx="16">
                  <c:v>0.35106382978723405</c:v>
                </c:pt>
                <c:pt idx="17">
                  <c:v>0.4520547945205479</c:v>
                </c:pt>
                <c:pt idx="18">
                  <c:v>0.4411764705882353</c:v>
                </c:pt>
                <c:pt idx="19">
                  <c:v>0.5233644859813084</c:v>
                </c:pt>
                <c:pt idx="20">
                  <c:v>0.421875</c:v>
                </c:pt>
                <c:pt idx="21">
                  <c:v>0.42028985507246375</c:v>
                </c:pt>
                <c:pt idx="22">
                  <c:v>0.38571428571428573</c:v>
                </c:pt>
                <c:pt idx="23">
                  <c:v>0.453125</c:v>
                </c:pt>
                <c:pt idx="24">
                  <c:v>0.3968253968253968</c:v>
                </c:pt>
                <c:pt idx="25">
                  <c:v>0.4461538461538462</c:v>
                </c:pt>
                <c:pt idx="26">
                  <c:v>0.47761194029850745</c:v>
                </c:pt>
                <c:pt idx="27">
                  <c:v>0.4027777777777778</c:v>
                </c:pt>
                <c:pt idx="28">
                  <c:v>0.43902439024390244</c:v>
                </c:pt>
                <c:pt idx="29">
                  <c:v>0.4032258064516129</c:v>
                </c:pt>
                <c:pt idx="30">
                  <c:v>0.4444444444444444</c:v>
                </c:pt>
                <c:pt idx="31">
                  <c:v>0.47368421052631576</c:v>
                </c:pt>
                <c:pt idx="32">
                  <c:v>0.2636363636363636</c:v>
                </c:pt>
                <c:pt idx="33">
                  <c:v>0.41237113402061853</c:v>
                </c:pt>
                <c:pt idx="34">
                  <c:v>0.49696969696969695</c:v>
                </c:pt>
                <c:pt idx="35">
                  <c:v>0.44954128440366975</c:v>
                </c:pt>
                <c:pt idx="36">
                  <c:v>0.32608695652173914</c:v>
                </c:pt>
                <c:pt idx="37">
                  <c:v>0.4</c:v>
                </c:pt>
                <c:pt idx="38">
                  <c:v>0.410958904109589</c:v>
                </c:pt>
                <c:pt idx="39">
                  <c:v>0.3904761904761905</c:v>
                </c:pt>
                <c:pt idx="40">
                  <c:v>0.3563218390804598</c:v>
                </c:pt>
                <c:pt idx="41">
                  <c:v>0.4024390243902439</c:v>
                </c:pt>
                <c:pt idx="42">
                  <c:v>0.475</c:v>
                </c:pt>
                <c:pt idx="43">
                  <c:v>0.41</c:v>
                </c:pt>
                <c:pt idx="44">
                  <c:v>0.411214953271028</c:v>
                </c:pt>
                <c:pt idx="45">
                  <c:v>0.527027027027027</c:v>
                </c:pt>
                <c:pt idx="46">
                  <c:v>0.484375</c:v>
                </c:pt>
                <c:pt idx="47">
                  <c:v>0.43478260869565216</c:v>
                </c:pt>
                <c:pt idx="48">
                  <c:v>0.4251968503937008</c:v>
                </c:pt>
                <c:pt idx="49">
                  <c:v>0.41089108910891087</c:v>
                </c:pt>
                <c:pt idx="50">
                  <c:v>0.484375</c:v>
                </c:pt>
                <c:pt idx="51">
                  <c:v>0.421052631578947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02.77416281141666</c:v>
                </c:pt>
              </c:numCache>
            </c:numRef>
          </c:xVal>
          <c:yVal>
            <c:numRef>
              <c:f>Sheet1!$B$163:$B$164</c:f>
              <c:numCache>
                <c:formatCode>General</c:formatCode>
                <c:ptCount val="2"/>
                <c:pt idx="0">
                  <c:v>0.5725295100096552</c:v>
                </c:pt>
                <c:pt idx="1">
                  <c:v>0.57252951000965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02.77416281141666</c:v>
                </c:pt>
                <c:pt idx="1">
                  <c:v>502.77416281141666</c:v>
                </c:pt>
              </c:numCache>
            </c:numRef>
          </c:xVal>
          <c:yVal>
            <c:numRef>
              <c:f>Sheet1!$B$167:$B$168</c:f>
              <c:numCache>
                <c:formatCode>General</c:formatCode>
                <c:ptCount val="2"/>
                <c:pt idx="0">
                  <c:v>0.5725295100096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96.5900871168952</c:v>
                </c:pt>
              </c:numCache>
            </c:numRef>
          </c:xVal>
          <c:yVal>
            <c:numRef>
              <c:f>Sheet1!$B$171:$B$172</c:f>
              <c:numCache>
                <c:formatCode>General</c:formatCode>
                <c:ptCount val="2"/>
                <c:pt idx="0">
                  <c:v>0.46838870853924536</c:v>
                </c:pt>
                <c:pt idx="1">
                  <c:v>0.468388708539245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96.5900871168952</c:v>
                </c:pt>
                <c:pt idx="1">
                  <c:v>996.5900871168952</c:v>
                </c:pt>
              </c:numCache>
            </c:numRef>
          </c:xVal>
          <c:yVal>
            <c:numRef>
              <c:f>Sheet1!$B$175:$B$176</c:f>
              <c:numCache>
                <c:formatCode>General</c:formatCode>
                <c:ptCount val="2"/>
                <c:pt idx="0">
                  <c:v>0.468388708539245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62.8820901925435</c:v>
                </c:pt>
              </c:numCache>
            </c:numRef>
          </c:xVal>
          <c:yVal>
            <c:numRef>
              <c:f>Sheet1!$B$179:$B$180</c:f>
              <c:numCache>
                <c:formatCode>General</c:formatCode>
                <c:ptCount val="2"/>
                <c:pt idx="0">
                  <c:v>0.43331940107862776</c:v>
                </c:pt>
                <c:pt idx="1">
                  <c:v>0.4333194010786277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62.8820901925435</c:v>
                </c:pt>
                <c:pt idx="1">
                  <c:v>1162.8820901925435</c:v>
                </c:pt>
              </c:numCache>
            </c:numRef>
          </c:xVal>
          <c:yVal>
            <c:numRef>
              <c:f>Sheet1!$B$183:$B$184</c:f>
              <c:numCache>
                <c:formatCode>General</c:formatCode>
                <c:ptCount val="2"/>
                <c:pt idx="0">
                  <c:v>0.4333194010786277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7.9649</c:v>
                </c:pt>
                <c:pt idx="1">
                  <c:v>1079.4118</c:v>
                </c:pt>
                <c:pt idx="2">
                  <c:v>1151.0909</c:v>
                </c:pt>
                <c:pt idx="3">
                  <c:v>1147.4902</c:v>
                </c:pt>
                <c:pt idx="4">
                  <c:v>1166.5581</c:v>
                </c:pt>
                <c:pt idx="5">
                  <c:v>1151.7083</c:v>
                </c:pt>
                <c:pt idx="6">
                  <c:v>1110.8491</c:v>
                </c:pt>
                <c:pt idx="7">
                  <c:v>1122.7</c:v>
                </c:pt>
                <c:pt idx="8">
                  <c:v>1147.0698</c:v>
                </c:pt>
                <c:pt idx="9">
                  <c:v>1136.4561</c:v>
                </c:pt>
                <c:pt idx="10">
                  <c:v>1099.8246</c:v>
                </c:pt>
                <c:pt idx="11">
                  <c:v>966.8171</c:v>
                </c:pt>
                <c:pt idx="12">
                  <c:v>1010.971</c:v>
                </c:pt>
                <c:pt idx="13">
                  <c:v>1001.8955</c:v>
                </c:pt>
                <c:pt idx="14">
                  <c:v>988.3273</c:v>
                </c:pt>
                <c:pt idx="15">
                  <c:v>1071.72</c:v>
                </c:pt>
                <c:pt idx="16">
                  <c:v>1123.2121</c:v>
                </c:pt>
                <c:pt idx="17">
                  <c:v>1093.0</c:v>
                </c:pt>
                <c:pt idx="18">
                  <c:v>1150.6333</c:v>
                </c:pt>
                <c:pt idx="19">
                  <c:v>930.5893</c:v>
                </c:pt>
                <c:pt idx="20">
                  <c:v>1096.7778</c:v>
                </c:pt>
                <c:pt idx="21">
                  <c:v>1034.4828</c:v>
                </c:pt>
                <c:pt idx="22">
                  <c:v>1134.5926</c:v>
                </c:pt>
                <c:pt idx="23">
                  <c:v>1227.2759</c:v>
                </c:pt>
                <c:pt idx="24">
                  <c:v>1288.92</c:v>
                </c:pt>
                <c:pt idx="25">
                  <c:v>1136.8966</c:v>
                </c:pt>
                <c:pt idx="26">
                  <c:v>1179.0625</c:v>
                </c:pt>
                <c:pt idx="27">
                  <c:v>1212.7586</c:v>
                </c:pt>
                <c:pt idx="28">
                  <c:v>1287.5556</c:v>
                </c:pt>
                <c:pt idx="29">
                  <c:v>1265.12</c:v>
                </c:pt>
                <c:pt idx="30">
                  <c:v>1257.9286</c:v>
                </c:pt>
                <c:pt idx="31">
                  <c:v>1179.4074</c:v>
                </c:pt>
                <c:pt idx="32">
                  <c:v>1182.5862</c:v>
                </c:pt>
                <c:pt idx="33">
                  <c:v>1269.9</c:v>
                </c:pt>
                <c:pt idx="34">
                  <c:v>1267.4512</c:v>
                </c:pt>
                <c:pt idx="35">
                  <c:v>1257.6735</c:v>
                </c:pt>
                <c:pt idx="36">
                  <c:v>1182.9333</c:v>
                </c:pt>
                <c:pt idx="37">
                  <c:v>1136.8182</c:v>
                </c:pt>
                <c:pt idx="38">
                  <c:v>1126.1</c:v>
                </c:pt>
                <c:pt idx="39">
                  <c:v>1153.4634</c:v>
                </c:pt>
                <c:pt idx="40">
                  <c:v>1132.5161</c:v>
                </c:pt>
                <c:pt idx="41">
                  <c:v>1147.4848</c:v>
                </c:pt>
                <c:pt idx="42">
                  <c:v>1123.9211</c:v>
                </c:pt>
                <c:pt idx="43">
                  <c:v>1190.2683</c:v>
                </c:pt>
                <c:pt idx="44">
                  <c:v>1231.4318</c:v>
                </c:pt>
                <c:pt idx="45">
                  <c:v>1160.3205</c:v>
                </c:pt>
                <c:pt idx="46">
                  <c:v>1227.0645</c:v>
                </c:pt>
                <c:pt idx="47">
                  <c:v>1178.98</c:v>
                </c:pt>
                <c:pt idx="48">
                  <c:v>1127.8519</c:v>
                </c:pt>
                <c:pt idx="49">
                  <c:v>1167.6988</c:v>
                </c:pt>
                <c:pt idx="50">
                  <c:v>1114.4194</c:v>
                </c:pt>
                <c:pt idx="51">
                  <c:v>1061.6667</c:v>
                </c:pt>
                <c:pt idx="52">
                  <c:v>996.5900871168952</c:v>
                </c:pt>
                <c:pt idx="53">
                  <c:v>502.77416281141666</c:v>
                </c:pt>
                <c:pt idx="54">
                  <c:v>1162.8820901925435</c:v>
                </c:pt>
              </c:numCache>
            </c:numRef>
          </c:xVal>
          <c:yVal>
            <c:numRef>
              <c:f>Sheet1!$B$187:$B$241</c:f>
              <c:numCache>
                <c:formatCode>General</c:formatCode>
                <c:ptCount val="55"/>
                <c:pt idx="0">
                  <c:v>0.4385741853602236</c:v>
                </c:pt>
                <c:pt idx="1">
                  <c:v>0.4509224440178462</c:v>
                </c:pt>
                <c:pt idx="2">
                  <c:v>0.43580604425172625</c:v>
                </c:pt>
                <c:pt idx="3">
                  <c:v>0.4365653955917663</c:v>
                </c:pt>
                <c:pt idx="4">
                  <c:v>0.4325441676592114</c:v>
                </c:pt>
                <c:pt idx="5">
                  <c:v>0.43567584081424443</c:v>
                </c:pt>
                <c:pt idx="6">
                  <c:v>0.4442926342913368</c:v>
                </c:pt>
                <c:pt idx="7">
                  <c:v>0.44179339892163605</c:v>
                </c:pt>
                <c:pt idx="8">
                  <c:v>0.4366540537147293</c:v>
                </c:pt>
                <c:pt idx="9">
                  <c:v>0.43889237607365494</c:v>
                </c:pt>
                <c:pt idx="10">
                  <c:v>0.4466175902299798</c:v>
                </c:pt>
                <c:pt idx="11">
                  <c:v>0.47466753145262636</c:v>
                </c:pt>
                <c:pt idx="12">
                  <c:v>0.465355918951447</c:v>
                </c:pt>
                <c:pt idx="13">
                  <c:v>0.46726985043325164</c:v>
                </c:pt>
                <c:pt idx="14">
                  <c:v>0.47013124706499876</c:v>
                </c:pt>
                <c:pt idx="15">
                  <c:v>0.4525445671153885</c:v>
                </c:pt>
                <c:pt idx="16">
                  <c:v>0.44168540219287933</c:v>
                </c:pt>
                <c:pt idx="17">
                  <c:v>0.44805682958767074</c:v>
                </c:pt>
                <c:pt idx="18">
                  <c:v>0.43590254747976587</c:v>
                </c:pt>
                <c:pt idx="19">
                  <c:v>0.4823076093476758</c:v>
                </c:pt>
                <c:pt idx="20">
                  <c:v>0.44726012964254797</c:v>
                </c:pt>
                <c:pt idx="21">
                  <c:v>0.46039751729711453</c:v>
                </c:pt>
                <c:pt idx="22">
                  <c:v>0.4392853694422124</c:v>
                </c:pt>
                <c:pt idx="23">
                  <c:v>0.419739395588701</c:v>
                </c:pt>
                <c:pt idx="24">
                  <c:v>0.40673927618398364</c:v>
                </c:pt>
                <c:pt idx="25">
                  <c:v>0.43879947906327155</c:v>
                </c:pt>
                <c:pt idx="26">
                  <c:v>0.4299071157258658</c:v>
                </c:pt>
                <c:pt idx="27">
                  <c:v>0.4228009478448635</c:v>
                </c:pt>
                <c:pt idx="28">
                  <c:v>0.40702701439276273</c:v>
                </c:pt>
                <c:pt idx="29">
                  <c:v>0.411758456313668</c:v>
                </c:pt>
                <c:pt idx="30">
                  <c:v>0.413275050094534</c:v>
                </c:pt>
                <c:pt idx="31">
                  <c:v>0.4298343797919697</c:v>
                </c:pt>
                <c:pt idx="32">
                  <c:v>0.4291640029097747</c:v>
                </c:pt>
                <c:pt idx="33">
                  <c:v>0.4107504024893028</c:v>
                </c:pt>
                <c:pt idx="34">
                  <c:v>0.41126682972886464</c:v>
                </c:pt>
                <c:pt idx="35">
                  <c:v>0.413328848113487</c:v>
                </c:pt>
                <c:pt idx="36">
                  <c:v>0.42909080301805147</c:v>
                </c:pt>
                <c:pt idx="37">
                  <c:v>0.4388160128331105</c:v>
                </c:pt>
                <c:pt idx="38">
                  <c:v>0.4410763731888241</c:v>
                </c:pt>
                <c:pt idx="39">
                  <c:v>0.43530570791316836</c:v>
                </c:pt>
                <c:pt idx="40">
                  <c:v>0.43972328236403124</c:v>
                </c:pt>
                <c:pt idx="41">
                  <c:v>0.43656653439734194</c:v>
                </c:pt>
                <c:pt idx="42">
                  <c:v>0.4415358812385959</c:v>
                </c:pt>
                <c:pt idx="43">
                  <c:v>0.4275439254444702</c:v>
                </c:pt>
                <c:pt idx="44">
                  <c:v>0.41886295816429114</c:v>
                </c:pt>
                <c:pt idx="45">
                  <c:v>0.43385961463303147</c:v>
                </c:pt>
                <c:pt idx="46">
                  <c:v>0.41978397771808823</c:v>
                </c:pt>
                <c:pt idx="47">
                  <c:v>0.4299245141443826</c:v>
                </c:pt>
                <c:pt idx="48">
                  <c:v>0.4407069151354966</c:v>
                </c:pt>
                <c:pt idx="49">
                  <c:v>0.43230360552585295</c:v>
                </c:pt>
                <c:pt idx="50">
                  <c:v>0.44353969400490767</c:v>
                </c:pt>
                <c:pt idx="51">
                  <c:v>0.454664706762353</c:v>
                </c:pt>
                <c:pt idx="52">
                  <c:v>0.46838870853924536</c:v>
                </c:pt>
                <c:pt idx="53">
                  <c:v>0.5725295100096552</c:v>
                </c:pt>
                <c:pt idx="54">
                  <c:v>0.4333194010786277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7.0"/>
          <c:min val="40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274999999999999"/>
          <c:min val="0.21090909090909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61324253265067</c:v>
                </c:pt>
                <c:pt idx="1">
                  <c:v>0.6312700784159725</c:v>
                </c:pt>
                <c:pt idx="2">
                  <c:v>0.6622326917502714</c:v>
                </c:pt>
                <c:pt idx="3">
                  <c:v>0.6809562890164795</c:v>
                </c:pt>
                <c:pt idx="4">
                  <c:v>0.6813171579442404</c:v>
                </c:pt>
                <c:pt idx="5">
                  <c:v>0.6738444179744932</c:v>
                </c:pt>
                <c:pt idx="6">
                  <c:v>0.6447013315950535</c:v>
                </c:pt>
                <c:pt idx="7">
                  <c:v>0.6675623810577435</c:v>
                </c:pt>
                <c:pt idx="8">
                  <c:v>0.6418347008007602</c:v>
                </c:pt>
                <c:pt idx="9">
                  <c:v>0.6762275565252951</c:v>
                </c:pt>
                <c:pt idx="10">
                  <c:v>0.6975661173346394</c:v>
                </c:pt>
                <c:pt idx="11">
                  <c:v>0.7055161527485022</c:v>
                </c:pt>
                <c:pt idx="12">
                  <c:v>0.7166729897715257</c:v>
                </c:pt>
                <c:pt idx="13">
                  <c:v>0.6634394417534464</c:v>
                </c:pt>
                <c:pt idx="14">
                  <c:v>0.6641936118804715</c:v>
                </c:pt>
                <c:pt idx="15">
                  <c:v>0.6583366676670256</c:v>
                </c:pt>
                <c:pt idx="16">
                  <c:v>0.6390695483489941</c:v>
                </c:pt>
                <c:pt idx="17">
                  <c:v>0.6533217107796659</c:v>
                </c:pt>
                <c:pt idx="18">
                  <c:v>0.638963655502151</c:v>
                </c:pt>
                <c:pt idx="19">
                  <c:v>0.6606915041595494</c:v>
                </c:pt>
                <c:pt idx="20">
                  <c:v>0.6561630591049681</c:v>
                </c:pt>
                <c:pt idx="21">
                  <c:v>0.604808864728035</c:v>
                </c:pt>
                <c:pt idx="22">
                  <c:v>0.5325208296492171</c:v>
                </c:pt>
                <c:pt idx="23">
                  <c:v>0.5157542172603821</c:v>
                </c:pt>
                <c:pt idx="24">
                  <c:v>0.5463374841603603</c:v>
                </c:pt>
                <c:pt idx="25">
                  <c:v>0.481706812305199</c:v>
                </c:pt>
                <c:pt idx="26">
                  <c:v>0.4894851680874506</c:v>
                </c:pt>
                <c:pt idx="27">
                  <c:v>0.4771766395279383</c:v>
                </c:pt>
                <c:pt idx="28">
                  <c:v>0.47445699923983325</c:v>
                </c:pt>
                <c:pt idx="29">
                  <c:v>0.3918041751169913</c:v>
                </c:pt>
                <c:pt idx="30">
                  <c:v>0.4288500518973261</c:v>
                </c:pt>
                <c:pt idx="31">
                  <c:v>0.4235630248126521</c:v>
                </c:pt>
                <c:pt idx="32">
                  <c:v>0.4151377643360117</c:v>
                </c:pt>
                <c:pt idx="33">
                  <c:v>0.3353882256242725</c:v>
                </c:pt>
                <c:pt idx="34">
                  <c:v>0.45943812048929594</c:v>
                </c:pt>
                <c:pt idx="35">
                  <c:v>0.47762955223542264</c:v>
                </c:pt>
                <c:pt idx="36">
                  <c:v>0.5108818046332207</c:v>
                </c:pt>
                <c:pt idx="37">
                  <c:v>0.49954917541731253</c:v>
                </c:pt>
                <c:pt idx="38">
                  <c:v>0.5190734336504321</c:v>
                </c:pt>
                <c:pt idx="39">
                  <c:v>0.5506837898718434</c:v>
                </c:pt>
                <c:pt idx="40">
                  <c:v>0.5559204225747498</c:v>
                </c:pt>
                <c:pt idx="41">
                  <c:v>0.5299365487298602</c:v>
                </c:pt>
                <c:pt idx="42">
                  <c:v>0.5784082793027794</c:v>
                </c:pt>
                <c:pt idx="43">
                  <c:v>0.599399705175447</c:v>
                </c:pt>
                <c:pt idx="44">
                  <c:v>0.6086100536184612</c:v>
                </c:pt>
                <c:pt idx="45">
                  <c:v>0.6095906660767411</c:v>
                </c:pt>
                <c:pt idx="46">
                  <c:v>0.5866580949665801</c:v>
                </c:pt>
                <c:pt idx="47">
                  <c:v>0.6205670809165953</c:v>
                </c:pt>
                <c:pt idx="48">
                  <c:v>0.6376499407227799</c:v>
                </c:pt>
                <c:pt idx="49">
                  <c:v>0.6196571676944392</c:v>
                </c:pt>
                <c:pt idx="50">
                  <c:v>0.5811206165929881</c:v>
                </c:pt>
                <c:pt idx="51">
                  <c:v>0.6077089300271192</c:v>
                </c:pt>
                <c:pt idx="52">
                  <c:v>0.630631733342595</c:v>
                </c:pt>
                <c:pt idx="53">
                  <c:v>0.5980749430955646</c:v>
                </c:pt>
                <c:pt idx="54">
                  <c:v>0.5802906034184429</c:v>
                </c:pt>
                <c:pt idx="55">
                  <c:v>0.6027604306367854</c:v>
                </c:pt>
                <c:pt idx="56">
                  <c:v>0.5940707721023913</c:v>
                </c:pt>
                <c:pt idx="57">
                  <c:v>0.588651723716196</c:v>
                </c:pt>
                <c:pt idx="58">
                  <c:v>0.6256962532435042</c:v>
                </c:pt>
                <c:pt idx="59">
                  <c:v>0.6488134124095027</c:v>
                </c:pt>
                <c:pt idx="60">
                  <c:v>0.6562591786759882</c:v>
                </c:pt>
                <c:pt idx="61">
                  <c:v>0.6774097565207521</c:v>
                </c:pt>
                <c:pt idx="62">
                  <c:v>0.6399790934116247</c:v>
                </c:pt>
                <c:pt idx="63">
                  <c:v>0.662234736535651</c:v>
                </c:pt>
                <c:pt idx="64">
                  <c:v>0.6877771399223545</c:v>
                </c:pt>
                <c:pt idx="65">
                  <c:v>0.6977469868846793</c:v>
                </c:pt>
                <c:pt idx="66">
                  <c:v>0.6933493441947868</c:v>
                </c:pt>
                <c:pt idx="67">
                  <c:v>0.6965262079360444</c:v>
                </c:pt>
                <c:pt idx="68">
                  <c:v>0.6549145114555565</c:v>
                </c:pt>
                <c:pt idx="69">
                  <c:v>0.630201035834143</c:v>
                </c:pt>
                <c:pt idx="70">
                  <c:v>0.6424804111529945</c:v>
                </c:pt>
                <c:pt idx="71">
                  <c:v>0.6345708795710137</c:v>
                </c:pt>
                <c:pt idx="72">
                  <c:v>0.5875694675072212</c:v>
                </c:pt>
                <c:pt idx="73">
                  <c:v>0.6035565044326456</c:v>
                </c:pt>
                <c:pt idx="74">
                  <c:v>0.610542072523846</c:v>
                </c:pt>
                <c:pt idx="75">
                  <c:v>0.578963306442576</c:v>
                </c:pt>
                <c:pt idx="76">
                  <c:v>0.5636941979820255</c:v>
                </c:pt>
                <c:pt idx="77">
                  <c:v>0.5384546728060793</c:v>
                </c:pt>
                <c:pt idx="78">
                  <c:v>0.5529997658360646</c:v>
                </c:pt>
                <c:pt idx="79">
                  <c:v>0.364007675169747</c:v>
                </c:pt>
                <c:pt idx="80">
                  <c:v>0.41741851208996633</c:v>
                </c:pt>
                <c:pt idx="81">
                  <c:v>0.4901322639209346</c:v>
                </c:pt>
                <c:pt idx="82">
                  <c:v>0.4524774783747553</c:v>
                </c:pt>
                <c:pt idx="83">
                  <c:v>0.4811270648527666</c:v>
                </c:pt>
                <c:pt idx="84">
                  <c:v>0.48059016865950066</c:v>
                </c:pt>
                <c:pt idx="85">
                  <c:v>0.46361013513113924</c:v>
                </c:pt>
                <c:pt idx="86">
                  <c:v>0.4976276358976409</c:v>
                </c:pt>
                <c:pt idx="87">
                  <c:v>0.5484749302712398</c:v>
                </c:pt>
                <c:pt idx="88">
                  <c:v>0.45101452740176984</c:v>
                </c:pt>
                <c:pt idx="89">
                  <c:v>0.4424249949089917</c:v>
                </c:pt>
                <c:pt idx="90">
                  <c:v>0.5188647158427409</c:v>
                </c:pt>
                <c:pt idx="91">
                  <c:v>0.5781963652738231</c:v>
                </c:pt>
                <c:pt idx="92">
                  <c:v>0.5395550897817545</c:v>
                </c:pt>
                <c:pt idx="93">
                  <c:v>0.5860708003834517</c:v>
                </c:pt>
                <c:pt idx="94">
                  <c:v>0.5532075467408819</c:v>
                </c:pt>
                <c:pt idx="95">
                  <c:v>0.5500892554056741</c:v>
                </c:pt>
                <c:pt idx="96">
                  <c:v>0.5929801021456798</c:v>
                </c:pt>
                <c:pt idx="97">
                  <c:v>0.6465440263414315</c:v>
                </c:pt>
                <c:pt idx="98">
                  <c:v>0.6830906534875882</c:v>
                </c:pt>
                <c:pt idx="99">
                  <c:v>0.7037332695959115</c:v>
                </c:pt>
                <c:pt idx="100">
                  <c:v>0.7175298503241695</c:v>
                </c:pt>
                <c:pt idx="101">
                  <c:v>0.6803603184516004</c:v>
                </c:pt>
                <c:pt idx="102">
                  <c:v>0.6989859823067122</c:v>
                </c:pt>
                <c:pt idx="103">
                  <c:v>0.5618888645183969</c:v>
                </c:pt>
                <c:pt idx="104">
                  <c:v>0.6418895678711228</c:v>
                </c:pt>
              </c:numCache>
            </c:numRef>
          </c:xVal>
          <c:yVal>
            <c:numRef>
              <c:f>Sheet1!$B$2:$B$106</c:f>
              <c:numCache>
                <c:formatCode>General</c:formatCode>
                <c:ptCount val="105"/>
                <c:pt idx="0">
                  <c:v>0.22779661016949151</c:v>
                </c:pt>
                <c:pt idx="1">
                  <c:v>0.23198109491925956</c:v>
                </c:pt>
                <c:pt idx="2">
                  <c:v>0.20863836017569545</c:v>
                </c:pt>
                <c:pt idx="3">
                  <c:v>0.1976365118174409</c:v>
                </c:pt>
                <c:pt idx="4">
                  <c:v>0.18902439024390244</c:v>
                </c:pt>
                <c:pt idx="5">
                  <c:v>0.18760831889081456</c:v>
                </c:pt>
                <c:pt idx="6">
                  <c:v>0.1856015779092702</c:v>
                </c:pt>
                <c:pt idx="7">
                  <c:v>0.17376681614349776</c:v>
                </c:pt>
                <c:pt idx="8">
                  <c:v>0.21101557053218684</c:v>
                </c:pt>
                <c:pt idx="9">
                  <c:v>0.21751574127074985</c:v>
                </c:pt>
                <c:pt idx="10">
                  <c:v>0.22284414902921112</c:v>
                </c:pt>
                <c:pt idx="11">
                  <c:v>0.22962154294032022</c:v>
                </c:pt>
                <c:pt idx="12">
                  <c:v>0.22549526270456502</c:v>
                </c:pt>
                <c:pt idx="13">
                  <c:v>0.2593856655290102</c:v>
                </c:pt>
                <c:pt idx="14">
                  <c:v>0.23421052631578948</c:v>
                </c:pt>
                <c:pt idx="15">
                  <c:v>0.22478238607270865</c:v>
                </c:pt>
                <c:pt idx="16">
                  <c:v>0.2111111111111111</c:v>
                </c:pt>
                <c:pt idx="17">
                  <c:v>0.20006995452955578</c:v>
                </c:pt>
                <c:pt idx="18">
                  <c:v>0.18135158254918735</c:v>
                </c:pt>
                <c:pt idx="19">
                  <c:v>0.17179111761835042</c:v>
                </c:pt>
                <c:pt idx="20">
                  <c:v>0.1831761006289308</c:v>
                </c:pt>
                <c:pt idx="21">
                  <c:v>0.18309178743961352</c:v>
                </c:pt>
                <c:pt idx="22">
                  <c:v>0.1819154628143392</c:v>
                </c:pt>
                <c:pt idx="23">
                  <c:v>0.16996047430830039</c:v>
                </c:pt>
                <c:pt idx="24">
                  <c:v>0.17142857142857143</c:v>
                </c:pt>
                <c:pt idx="25">
                  <c:v>0.1776271186440678</c:v>
                </c:pt>
                <c:pt idx="26">
                  <c:v>0.17148488830486203</c:v>
                </c:pt>
                <c:pt idx="27">
                  <c:v>0.17375</c:v>
                </c:pt>
                <c:pt idx="28">
                  <c:v>0.16347469220246238</c:v>
                </c:pt>
                <c:pt idx="29">
                  <c:v>0.19423472889498972</c:v>
                </c:pt>
                <c:pt idx="30">
                  <c:v>0.1456221198156682</c:v>
                </c:pt>
                <c:pt idx="31">
                  <c:v>0.13991769547325103</c:v>
                </c:pt>
                <c:pt idx="32">
                  <c:v>0.1678773204196933</c:v>
                </c:pt>
                <c:pt idx="33">
                  <c:v>0.2027194066749073</c:v>
                </c:pt>
                <c:pt idx="34">
                  <c:v>0.15112321307011573</c:v>
                </c:pt>
                <c:pt idx="35">
                  <c:v>0.1641318124207858</c:v>
                </c:pt>
                <c:pt idx="36">
                  <c:v>0.12458581842279655</c:v>
                </c:pt>
                <c:pt idx="37">
                  <c:v>0.125</c:v>
                </c:pt>
                <c:pt idx="38">
                  <c:v>0.11665542818610924</c:v>
                </c:pt>
                <c:pt idx="39">
                  <c:v>0.10859375</c:v>
                </c:pt>
                <c:pt idx="40">
                  <c:v>0.12140575079872204</c:v>
                </c:pt>
                <c:pt idx="41">
                  <c:v>0.11570782159017454</c:v>
                </c:pt>
                <c:pt idx="42">
                  <c:v>0.11375</c:v>
                </c:pt>
                <c:pt idx="43">
                  <c:v>0.13620386643233742</c:v>
                </c:pt>
                <c:pt idx="44">
                  <c:v>0.1504733432984554</c:v>
                </c:pt>
                <c:pt idx="45">
                  <c:v>0.16910460992907803</c:v>
                </c:pt>
                <c:pt idx="46">
                  <c:v>0.1758780991735537</c:v>
                </c:pt>
                <c:pt idx="47">
                  <c:v>0.18572418572418573</c:v>
                </c:pt>
                <c:pt idx="48">
                  <c:v>0.21310088016249154</c:v>
                </c:pt>
                <c:pt idx="49">
                  <c:v>0.26044325050369377</c:v>
                </c:pt>
                <c:pt idx="50">
                  <c:v>0.21934174932371506</c:v>
                </c:pt>
                <c:pt idx="51">
                  <c:v>0.19888475836431227</c:v>
                </c:pt>
                <c:pt idx="52">
                  <c:v>0.21948696731485312</c:v>
                </c:pt>
                <c:pt idx="53">
                  <c:v>0.20253164556962025</c:v>
                </c:pt>
                <c:pt idx="54">
                  <c:v>0.19784449576597382</c:v>
                </c:pt>
                <c:pt idx="55">
                  <c:v>0.1896693085542498</c:v>
                </c:pt>
                <c:pt idx="56">
                  <c:v>0.20871559633027523</c:v>
                </c:pt>
                <c:pt idx="57">
                  <c:v>0.2047182686683564</c:v>
                </c:pt>
                <c:pt idx="58">
                  <c:v>0.2113240418118467</c:v>
                </c:pt>
                <c:pt idx="59">
                  <c:v>0.22925096220270402</c:v>
                </c:pt>
                <c:pt idx="60">
                  <c:v>0.24155844155844156</c:v>
                </c:pt>
                <c:pt idx="61">
                  <c:v>0.23333858515834252</c:v>
                </c:pt>
                <c:pt idx="62">
                  <c:v>0.2478386167146974</c:v>
                </c:pt>
                <c:pt idx="63">
                  <c:v>0.26587126233613195</c:v>
                </c:pt>
                <c:pt idx="64">
                  <c:v>0.25666412795125665</c:v>
                </c:pt>
                <c:pt idx="65">
                  <c:v>0.2351086776173884</c:v>
                </c:pt>
                <c:pt idx="66">
                  <c:v>0.21803977272727273</c:v>
                </c:pt>
                <c:pt idx="67">
                  <c:v>0.2037288793940571</c:v>
                </c:pt>
                <c:pt idx="68">
                  <c:v>0.19561364643331858</c:v>
                </c:pt>
                <c:pt idx="69">
                  <c:v>0.17662337662337663</c:v>
                </c:pt>
                <c:pt idx="70">
                  <c:v>0.16636141636141635</c:v>
                </c:pt>
                <c:pt idx="71">
                  <c:v>0.1643700787401575</c:v>
                </c:pt>
                <c:pt idx="72">
                  <c:v>0.17087719298245613</c:v>
                </c:pt>
                <c:pt idx="73">
                  <c:v>0.15652847733436653</c:v>
                </c:pt>
                <c:pt idx="74">
                  <c:v>0.1519081141163394</c:v>
                </c:pt>
                <c:pt idx="75">
                  <c:v>0.15408320493066255</c:v>
                </c:pt>
                <c:pt idx="76">
                  <c:v>0.15351941747572814</c:v>
                </c:pt>
                <c:pt idx="77">
                  <c:v>0.14613661814109744</c:v>
                </c:pt>
                <c:pt idx="78">
                  <c:v>0.14739688979039892</c:v>
                </c:pt>
                <c:pt idx="79">
                  <c:v>0.18225584594222832</c:v>
                </c:pt>
                <c:pt idx="80">
                  <c:v>0.15259259259259259</c:v>
                </c:pt>
                <c:pt idx="81">
                  <c:v>0.12910798122065728</c:v>
                </c:pt>
                <c:pt idx="82">
                  <c:v>0.1168736303871439</c:v>
                </c:pt>
                <c:pt idx="83">
                  <c:v>0.11091703056768559</c:v>
                </c:pt>
                <c:pt idx="84">
                  <c:v>0.11665182546749778</c:v>
                </c:pt>
                <c:pt idx="85">
                  <c:v>0.14045354791514264</c:v>
                </c:pt>
                <c:pt idx="86">
                  <c:v>0.11764705882352941</c:v>
                </c:pt>
                <c:pt idx="87">
                  <c:v>0.1329890251775339</c:v>
                </c:pt>
                <c:pt idx="88">
                  <c:v>0.1260904044409199</c:v>
                </c:pt>
                <c:pt idx="89">
                  <c:v>0.10653753026634383</c:v>
                </c:pt>
                <c:pt idx="90">
                  <c:v>0.09536541889483066</c:v>
                </c:pt>
                <c:pt idx="91">
                  <c:v>0.08651597817614964</c:v>
                </c:pt>
                <c:pt idx="92">
                  <c:v>0.11219512195121951</c:v>
                </c:pt>
                <c:pt idx="93">
                  <c:v>0.10772701635645798</c:v>
                </c:pt>
                <c:pt idx="94">
                  <c:v>0.10748407643312102</c:v>
                </c:pt>
                <c:pt idx="95">
                  <c:v>0.13411871318531943</c:v>
                </c:pt>
                <c:pt idx="96">
                  <c:v>0.14322543683758235</c:v>
                </c:pt>
                <c:pt idx="97">
                  <c:v>0.15002836074872378</c:v>
                </c:pt>
                <c:pt idx="98">
                  <c:v>0.15980271270036991</c:v>
                </c:pt>
                <c:pt idx="99">
                  <c:v>0.17508210180623973</c:v>
                </c:pt>
                <c:pt idx="100">
                  <c:v>0.1992541951522685</c:v>
                </c:pt>
                <c:pt idx="101">
                  <c:v>0.1721840068787618</c:v>
                </c:pt>
                <c:pt idx="102">
                  <c:v>0.15318796577422025</c:v>
                </c:pt>
                <c:pt idx="103">
                  <c:v>0.1927739481816021</c:v>
                </c:pt>
                <c:pt idx="104">
                  <c:v>0.19323197645904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55012226606597</c:v>
                </c:pt>
                <c:pt idx="1">
                  <c:v>0.6369152112247658</c:v>
                </c:pt>
                <c:pt idx="2">
                  <c:v>0.6660202267994193</c:v>
                </c:pt>
                <c:pt idx="3">
                  <c:v>0.6873675791159685</c:v>
                </c:pt>
                <c:pt idx="4">
                  <c:v>0.6461696881331704</c:v>
                </c:pt>
                <c:pt idx="5">
                  <c:v>0.6569227141818743</c:v>
                </c:pt>
                <c:pt idx="6">
                  <c:v>0.697116846665321</c:v>
                </c:pt>
                <c:pt idx="7">
                  <c:v>0.7302413407523595</c:v>
                </c:pt>
                <c:pt idx="8">
                  <c:v>0.7434067157611608</c:v>
                </c:pt>
                <c:pt idx="9">
                  <c:v>0.7126098497693012</c:v>
                </c:pt>
                <c:pt idx="10">
                  <c:v>0.7114398046988433</c:v>
                </c:pt>
                <c:pt idx="11">
                  <c:v>0.6838591948355269</c:v>
                </c:pt>
                <c:pt idx="12">
                  <c:v>0.6795864443376832</c:v>
                </c:pt>
                <c:pt idx="13">
                  <c:v>0.6672316169454072</c:v>
                </c:pt>
                <c:pt idx="14">
                  <c:v>0.6585404013903939</c:v>
                </c:pt>
                <c:pt idx="15">
                  <c:v>0.662684017065638</c:v>
                </c:pt>
                <c:pt idx="16">
                  <c:v>0.7107801165534873</c:v>
                </c:pt>
                <c:pt idx="17">
                  <c:v>0.6865709362068124</c:v>
                </c:pt>
                <c:pt idx="18">
                  <c:v>0.6875007332302998</c:v>
                </c:pt>
                <c:pt idx="19">
                  <c:v>0.641611551742214</c:v>
                </c:pt>
                <c:pt idx="20">
                  <c:v>0.572129352332634</c:v>
                </c:pt>
                <c:pt idx="21">
                  <c:v>0.5191770602106371</c:v>
                </c:pt>
                <c:pt idx="22">
                  <c:v>0.47544121090362673</c:v>
                </c:pt>
                <c:pt idx="23">
                  <c:v>0.48701419416679503</c:v>
                </c:pt>
                <c:pt idx="24">
                  <c:v>0.4922747603654471</c:v>
                </c:pt>
                <c:pt idx="25">
                  <c:v>0.516218470090575</c:v>
                </c:pt>
                <c:pt idx="26">
                  <c:v>0.554643872112209</c:v>
                </c:pt>
                <c:pt idx="27">
                  <c:v>0.5627429694652162</c:v>
                </c:pt>
                <c:pt idx="28">
                  <c:v>0.5624818973560809</c:v>
                </c:pt>
                <c:pt idx="29">
                  <c:v>0.5226795071498793</c:v>
                </c:pt>
                <c:pt idx="30">
                  <c:v>0.4939781891611229</c:v>
                </c:pt>
                <c:pt idx="31">
                  <c:v>0.5008775173935385</c:v>
                </c:pt>
                <c:pt idx="32">
                  <c:v>0.5185964605929205</c:v>
                </c:pt>
                <c:pt idx="33">
                  <c:v>0.5169441112573595</c:v>
                </c:pt>
                <c:pt idx="34">
                  <c:v>0.5430588801247361</c:v>
                </c:pt>
                <c:pt idx="35">
                  <c:v>0.5076200601066296</c:v>
                </c:pt>
                <c:pt idx="36">
                  <c:v>0.4808759660650845</c:v>
                </c:pt>
                <c:pt idx="37">
                  <c:v>0.47894110574398197</c:v>
                </c:pt>
                <c:pt idx="38">
                  <c:v>0.4278250390879043</c:v>
                </c:pt>
                <c:pt idx="39">
                  <c:v>0.49373205463813236</c:v>
                </c:pt>
                <c:pt idx="40">
                  <c:v>0.5160195425799504</c:v>
                </c:pt>
                <c:pt idx="41">
                  <c:v>0.5741948022341103</c:v>
                </c:pt>
                <c:pt idx="42">
                  <c:v>0.5351078292764264</c:v>
                </c:pt>
                <c:pt idx="43">
                  <c:v>0.5152285374751381</c:v>
                </c:pt>
                <c:pt idx="44">
                  <c:v>0.63312618920347</c:v>
                </c:pt>
                <c:pt idx="45">
                  <c:v>0.6878459369022633</c:v>
                </c:pt>
                <c:pt idx="46">
                  <c:v>0.6766557017025755</c:v>
                </c:pt>
                <c:pt idx="47">
                  <c:v>0.7068395301974328</c:v>
                </c:pt>
                <c:pt idx="48">
                  <c:v>0.7645173592276775</c:v>
                </c:pt>
                <c:pt idx="49">
                  <c:v>0.7697328710916668</c:v>
                </c:pt>
                <c:pt idx="50">
                  <c:v>0.7205186996681304</c:v>
                </c:pt>
                <c:pt idx="51">
                  <c:v>0.6640391444065601</c:v>
                </c:pt>
              </c:numCache>
            </c:numRef>
          </c:xVal>
          <c:yVal>
            <c:numRef>
              <c:f>Sheet1!$B$109:$B$160</c:f>
              <c:numCache>
                <c:formatCode>General</c:formatCode>
                <c:ptCount val="52"/>
                <c:pt idx="0">
                  <c:v>0.17717413338739105</c:v>
                </c:pt>
                <c:pt idx="1">
                  <c:v>0.18128776828505938</c:v>
                </c:pt>
                <c:pt idx="2">
                  <c:v>0.19966127211140383</c:v>
                </c:pt>
                <c:pt idx="3">
                  <c:v>0.21055354371443352</c:v>
                </c:pt>
                <c:pt idx="4">
                  <c:v>0.2043031226199543</c:v>
                </c:pt>
                <c:pt idx="5">
                  <c:v>0.20003984857541343</c:v>
                </c:pt>
                <c:pt idx="6">
                  <c:v>0.2065757818765036</c:v>
                </c:pt>
                <c:pt idx="7">
                  <c:v>0.1874829931972789</c:v>
                </c:pt>
                <c:pt idx="8">
                  <c:v>0.19300391389432486</c:v>
                </c:pt>
                <c:pt idx="9">
                  <c:v>0.2081879506862061</c:v>
                </c:pt>
                <c:pt idx="10">
                  <c:v>0.22299903567984572</c:v>
                </c:pt>
                <c:pt idx="11">
                  <c:v>0.24650998409613006</c:v>
                </c:pt>
                <c:pt idx="12">
                  <c:v>0.23916887709991158</c:v>
                </c:pt>
                <c:pt idx="13">
                  <c:v>0.2157837837837838</c:v>
                </c:pt>
                <c:pt idx="14">
                  <c:v>0.21158507028599127</c:v>
                </c:pt>
                <c:pt idx="15">
                  <c:v>0.20512820512820512</c:v>
                </c:pt>
                <c:pt idx="16">
                  <c:v>0.17904761904761904</c:v>
                </c:pt>
                <c:pt idx="17">
                  <c:v>0.16014760147601476</c:v>
                </c:pt>
                <c:pt idx="18">
                  <c:v>0.15457914240338805</c:v>
                </c:pt>
                <c:pt idx="19">
                  <c:v>0.17137293086660174</c:v>
                </c:pt>
                <c:pt idx="20">
                  <c:v>0.17623956799214532</c:v>
                </c:pt>
                <c:pt idx="21">
                  <c:v>0.2006704980842912</c:v>
                </c:pt>
                <c:pt idx="22">
                  <c:v>0.20475746268656717</c:v>
                </c:pt>
                <c:pt idx="23">
                  <c:v>0.18422504136789852</c:v>
                </c:pt>
                <c:pt idx="24">
                  <c:v>0.1814420803782506</c:v>
                </c:pt>
                <c:pt idx="25">
                  <c:v>0.17239101717305153</c:v>
                </c:pt>
                <c:pt idx="26">
                  <c:v>0.13053892215568863</c:v>
                </c:pt>
                <c:pt idx="27">
                  <c:v>0.13616212792906904</c:v>
                </c:pt>
                <c:pt idx="28">
                  <c:v>0.1311569301260023</c:v>
                </c:pt>
                <c:pt idx="29">
                  <c:v>0.10983827493261455</c:v>
                </c:pt>
                <c:pt idx="30">
                  <c:v>0.1173092698933552</c:v>
                </c:pt>
                <c:pt idx="31">
                  <c:v>0.13828689370485037</c:v>
                </c:pt>
                <c:pt idx="32">
                  <c:v>0.12520458265139117</c:v>
                </c:pt>
                <c:pt idx="33">
                  <c:v>0.1340057636887608</c:v>
                </c:pt>
                <c:pt idx="34">
                  <c:v>0.1417226634086744</c:v>
                </c:pt>
                <c:pt idx="35">
                  <c:v>0.12917933130699089</c:v>
                </c:pt>
                <c:pt idx="36">
                  <c:v>0.12965186074429771</c:v>
                </c:pt>
                <c:pt idx="37">
                  <c:v>0.11983471074380166</c:v>
                </c:pt>
                <c:pt idx="38">
                  <c:v>0.1480225988700565</c:v>
                </c:pt>
                <c:pt idx="39">
                  <c:v>0.14710485133020346</c:v>
                </c:pt>
                <c:pt idx="40">
                  <c:v>0.14183222958057395</c:v>
                </c:pt>
                <c:pt idx="41">
                  <c:v>0.12656641604010024</c:v>
                </c:pt>
                <c:pt idx="42">
                  <c:v>0.12848751835535976</c:v>
                </c:pt>
                <c:pt idx="43">
                  <c:v>0.1490125673249551</c:v>
                </c:pt>
                <c:pt idx="44">
                  <c:v>0.14136904761904762</c:v>
                </c:pt>
                <c:pt idx="45">
                  <c:v>0.1510752688172043</c:v>
                </c:pt>
                <c:pt idx="46">
                  <c:v>0.13159675236806495</c:v>
                </c:pt>
                <c:pt idx="47">
                  <c:v>0.1472663139329806</c:v>
                </c:pt>
                <c:pt idx="48">
                  <c:v>0.1464688675302967</c:v>
                </c:pt>
                <c:pt idx="49">
                  <c:v>0.1697633483277919</c:v>
                </c:pt>
                <c:pt idx="50">
                  <c:v>0.22504730368968778</c:v>
                </c:pt>
                <c:pt idx="51">
                  <c:v>0.2065462753950338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388880398757341</c:v>
                </c:pt>
              </c:numCache>
            </c:numRef>
          </c:xVal>
          <c:yVal>
            <c:numRef>
              <c:f>Sheet1!$B$163:$B$164</c:f>
              <c:numCache>
                <c:formatCode>General</c:formatCode>
                <c:ptCount val="2"/>
                <c:pt idx="0">
                  <c:v>0.21514387431773335</c:v>
                </c:pt>
                <c:pt idx="1">
                  <c:v>0.2151438743177333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388880398757341</c:v>
                </c:pt>
                <c:pt idx="1">
                  <c:v>0.8388880398757341</c:v>
                </c:pt>
              </c:numCache>
            </c:numRef>
          </c:xVal>
          <c:yVal>
            <c:numRef>
              <c:f>Sheet1!$B$167:$B$168</c:f>
              <c:numCache>
                <c:formatCode>General</c:formatCode>
                <c:ptCount val="2"/>
                <c:pt idx="0">
                  <c:v>0.2151438743177333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597467073635589</c:v>
                </c:pt>
              </c:numCache>
            </c:numRef>
          </c:xVal>
          <c:yVal>
            <c:numRef>
              <c:f>Sheet1!$B$171:$B$172</c:f>
              <c:numCache>
                <c:formatCode>General</c:formatCode>
                <c:ptCount val="2"/>
                <c:pt idx="0">
                  <c:v>0.1993400205100103</c:v>
                </c:pt>
                <c:pt idx="1">
                  <c:v>0.19934002051001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597467073635589</c:v>
                </c:pt>
                <c:pt idx="1">
                  <c:v>0.7597467073635589</c:v>
                </c:pt>
              </c:numCache>
            </c:numRef>
          </c:xVal>
          <c:yVal>
            <c:numRef>
              <c:f>Sheet1!$B$175:$B$176</c:f>
              <c:numCache>
                <c:formatCode>General</c:formatCode>
                <c:ptCount val="2"/>
                <c:pt idx="0">
                  <c:v>0.19934002051001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366011907447737</c:v>
                </c:pt>
              </c:numCache>
            </c:numRef>
          </c:xVal>
          <c:yVal>
            <c:numRef>
              <c:f>Sheet1!$B$179:$B$180</c:f>
              <c:numCache>
                <c:formatCode>General</c:formatCode>
                <c:ptCount val="2"/>
                <c:pt idx="0">
                  <c:v>0.15477975079317696</c:v>
                </c:pt>
                <c:pt idx="1">
                  <c:v>0.1547797507931769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366011907447737</c:v>
                </c:pt>
                <c:pt idx="1">
                  <c:v>0.5366011907447737</c:v>
                </c:pt>
              </c:numCache>
            </c:numRef>
          </c:xVal>
          <c:yVal>
            <c:numRef>
              <c:f>Sheet1!$B$183:$B$184</c:f>
              <c:numCache>
                <c:formatCode>General</c:formatCode>
                <c:ptCount val="2"/>
                <c:pt idx="0">
                  <c:v>0.154779750793176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55012226606597</c:v>
                </c:pt>
                <c:pt idx="1">
                  <c:v>0.6369152112247658</c:v>
                </c:pt>
                <c:pt idx="2">
                  <c:v>0.6660202267994193</c:v>
                </c:pt>
                <c:pt idx="3">
                  <c:v>0.6873675791159685</c:v>
                </c:pt>
                <c:pt idx="4">
                  <c:v>0.6461696881331704</c:v>
                </c:pt>
                <c:pt idx="5">
                  <c:v>0.6569227141818743</c:v>
                </c:pt>
                <c:pt idx="6">
                  <c:v>0.697116846665321</c:v>
                </c:pt>
                <c:pt idx="7">
                  <c:v>0.7302413407523595</c:v>
                </c:pt>
                <c:pt idx="8">
                  <c:v>0.7434067157611608</c:v>
                </c:pt>
                <c:pt idx="9">
                  <c:v>0.7126098497693012</c:v>
                </c:pt>
                <c:pt idx="10">
                  <c:v>0.7114398046988433</c:v>
                </c:pt>
                <c:pt idx="11">
                  <c:v>0.6838591948355269</c:v>
                </c:pt>
                <c:pt idx="12">
                  <c:v>0.6795864443376832</c:v>
                </c:pt>
                <c:pt idx="13">
                  <c:v>0.6672316169454072</c:v>
                </c:pt>
                <c:pt idx="14">
                  <c:v>0.6585404013903939</c:v>
                </c:pt>
                <c:pt idx="15">
                  <c:v>0.662684017065638</c:v>
                </c:pt>
                <c:pt idx="16">
                  <c:v>0.7107801165534873</c:v>
                </c:pt>
                <c:pt idx="17">
                  <c:v>0.6865709362068124</c:v>
                </c:pt>
                <c:pt idx="18">
                  <c:v>0.6875007332302998</c:v>
                </c:pt>
                <c:pt idx="19">
                  <c:v>0.641611551742214</c:v>
                </c:pt>
                <c:pt idx="20">
                  <c:v>0.572129352332634</c:v>
                </c:pt>
                <c:pt idx="21">
                  <c:v>0.5191770602106371</c:v>
                </c:pt>
                <c:pt idx="22">
                  <c:v>0.47544121090362673</c:v>
                </c:pt>
                <c:pt idx="23">
                  <c:v>0.48701419416679503</c:v>
                </c:pt>
                <c:pt idx="24">
                  <c:v>0.4922747603654471</c:v>
                </c:pt>
                <c:pt idx="25">
                  <c:v>0.516218470090575</c:v>
                </c:pt>
                <c:pt idx="26">
                  <c:v>0.554643872112209</c:v>
                </c:pt>
                <c:pt idx="27">
                  <c:v>0.5627429694652162</c:v>
                </c:pt>
                <c:pt idx="28">
                  <c:v>0.5624818973560809</c:v>
                </c:pt>
                <c:pt idx="29">
                  <c:v>0.5226795071498793</c:v>
                </c:pt>
                <c:pt idx="30">
                  <c:v>0.4939781891611229</c:v>
                </c:pt>
                <c:pt idx="31">
                  <c:v>0.5008775173935385</c:v>
                </c:pt>
                <c:pt idx="32">
                  <c:v>0.5185964605929205</c:v>
                </c:pt>
                <c:pt idx="33">
                  <c:v>0.5169441112573595</c:v>
                </c:pt>
                <c:pt idx="34">
                  <c:v>0.5430588801247361</c:v>
                </c:pt>
                <c:pt idx="35">
                  <c:v>0.5076200601066296</c:v>
                </c:pt>
                <c:pt idx="36">
                  <c:v>0.4808759660650845</c:v>
                </c:pt>
                <c:pt idx="37">
                  <c:v>0.47894110574398197</c:v>
                </c:pt>
                <c:pt idx="38">
                  <c:v>0.4278250390879043</c:v>
                </c:pt>
                <c:pt idx="39">
                  <c:v>0.49373205463813236</c:v>
                </c:pt>
                <c:pt idx="40">
                  <c:v>0.5160195425799504</c:v>
                </c:pt>
                <c:pt idx="41">
                  <c:v>0.5741948022341103</c:v>
                </c:pt>
                <c:pt idx="42">
                  <c:v>0.5351078292764264</c:v>
                </c:pt>
                <c:pt idx="43">
                  <c:v>0.5152285374751381</c:v>
                </c:pt>
                <c:pt idx="44">
                  <c:v>0.63312618920347</c:v>
                </c:pt>
                <c:pt idx="45">
                  <c:v>0.6878459369022633</c:v>
                </c:pt>
                <c:pt idx="46">
                  <c:v>0.6766557017025755</c:v>
                </c:pt>
                <c:pt idx="47">
                  <c:v>0.7068395301974328</c:v>
                </c:pt>
                <c:pt idx="48">
                  <c:v>0.7645173592276775</c:v>
                </c:pt>
                <c:pt idx="49">
                  <c:v>0.7697328710916668</c:v>
                </c:pt>
                <c:pt idx="50">
                  <c:v>0.7205186996681304</c:v>
                </c:pt>
                <c:pt idx="51">
                  <c:v>0.6640391444065601</c:v>
                </c:pt>
                <c:pt idx="52">
                  <c:v>0.7597467073635589</c:v>
                </c:pt>
                <c:pt idx="53">
                  <c:v>0.8388880398757341</c:v>
                </c:pt>
                <c:pt idx="54">
                  <c:v>0.5366011907447737</c:v>
                </c:pt>
              </c:numCache>
            </c:numRef>
          </c:xVal>
          <c:yVal>
            <c:numRef>
              <c:f>Sheet1!$B$187:$B$241</c:f>
              <c:numCache>
                <c:formatCode>General</c:formatCode>
                <c:ptCount val="55"/>
                <c:pt idx="0">
                  <c:v>0.1865107413480158</c:v>
                </c:pt>
                <c:pt idx="1">
                  <c:v>0.1748116110640012</c:v>
                </c:pt>
                <c:pt idx="2">
                  <c:v>0.180623636166593</c:v>
                </c:pt>
                <c:pt idx="3">
                  <c:v>0.18488652162079985</c:v>
                </c:pt>
                <c:pt idx="4">
                  <c:v>0.1766596517209471</c:v>
                </c:pt>
                <c:pt idx="5">
                  <c:v>0.1788069399491079</c:v>
                </c:pt>
                <c:pt idx="6">
                  <c:v>0.18683336777806722</c:v>
                </c:pt>
                <c:pt idx="7">
                  <c:v>0.19344804869623103</c:v>
                </c:pt>
                <c:pt idx="8">
                  <c:v>0.1960770625801069</c:v>
                </c:pt>
                <c:pt idx="9">
                  <c:v>0.18992718927848526</c:v>
                </c:pt>
                <c:pt idx="10">
                  <c:v>0.18969354118772158</c:v>
                </c:pt>
                <c:pt idx="11">
                  <c:v>0.18418592699458627</c:v>
                </c:pt>
                <c:pt idx="12">
                  <c:v>0.18333269490862905</c:v>
                </c:pt>
                <c:pt idx="13">
                  <c:v>0.18086554051876402</c:v>
                </c:pt>
                <c:pt idx="14">
                  <c:v>0.17912997838349534</c:v>
                </c:pt>
                <c:pt idx="15">
                  <c:v>0.17995742333909892</c:v>
                </c:pt>
                <c:pt idx="16">
                  <c:v>0.18956180705238476</c:v>
                </c:pt>
                <c:pt idx="17">
                  <c:v>0.18472743877908343</c:v>
                </c:pt>
                <c:pt idx="18">
                  <c:v>0.18491311136967054</c:v>
                </c:pt>
                <c:pt idx="19">
                  <c:v>0.1757494304892379</c:v>
                </c:pt>
                <c:pt idx="20">
                  <c:v>0.16187442375316693</c:v>
                </c:pt>
                <c:pt idx="21">
                  <c:v>0.15130029950082205</c:v>
                </c:pt>
                <c:pt idx="22">
                  <c:v>0.14256662081910076</c:v>
                </c:pt>
                <c:pt idx="23">
                  <c:v>0.14487764755828542</c:v>
                </c:pt>
                <c:pt idx="24">
                  <c:v>0.14592813807329608</c:v>
                </c:pt>
                <c:pt idx="25">
                  <c:v>0.15070949411190288</c:v>
                </c:pt>
                <c:pt idx="26">
                  <c:v>0.15838272144806717</c:v>
                </c:pt>
                <c:pt idx="27">
                  <c:v>0.160000042593396</c:v>
                </c:pt>
                <c:pt idx="28">
                  <c:v>0.15994790870437647</c:v>
                </c:pt>
                <c:pt idx="29">
                  <c:v>0.151999708490285</c:v>
                </c:pt>
                <c:pt idx="30">
                  <c:v>0.14626829837644217</c:v>
                </c:pt>
                <c:pt idx="31">
                  <c:v>0.14764603578994626</c:v>
                </c:pt>
                <c:pt idx="32">
                  <c:v>0.1511843586746071</c:v>
                </c:pt>
                <c:pt idx="33">
                  <c:v>0.15085439850702365</c:v>
                </c:pt>
                <c:pt idx="34">
                  <c:v>0.15606929666834796</c:v>
                </c:pt>
                <c:pt idx="35">
                  <c:v>0.14899246446315095</c:v>
                </c:pt>
                <c:pt idx="36">
                  <c:v>0.14365189539467396</c:v>
                </c:pt>
                <c:pt idx="37">
                  <c:v>0.14326552017603122</c:v>
                </c:pt>
                <c:pt idx="38">
                  <c:v>0.13305807459714614</c:v>
                </c:pt>
                <c:pt idx="39">
                  <c:v>0.14621914739686043</c:v>
                </c:pt>
                <c:pt idx="40">
                  <c:v>0.1506697699728664</c:v>
                </c:pt>
                <c:pt idx="41">
                  <c:v>0.1622868766049696</c:v>
                </c:pt>
                <c:pt idx="42">
                  <c:v>0.1544815391561134</c:v>
                </c:pt>
                <c:pt idx="43">
                  <c:v>0.15051181295292754</c:v>
                </c:pt>
                <c:pt idx="44">
                  <c:v>0.17405497545782675</c:v>
                </c:pt>
                <c:pt idx="45">
                  <c:v>0.18498204561922668</c:v>
                </c:pt>
                <c:pt idx="46">
                  <c:v>0.1827474504265984</c:v>
                </c:pt>
                <c:pt idx="47">
                  <c:v>0.18877490533224742</c:v>
                </c:pt>
                <c:pt idx="48">
                  <c:v>0.20029267928179018</c:v>
                </c:pt>
                <c:pt idx="49">
                  <c:v>0.20133417282776062</c:v>
                </c:pt>
                <c:pt idx="50">
                  <c:v>0.1915065196185335</c:v>
                </c:pt>
                <c:pt idx="51">
                  <c:v>0.18022803079170263</c:v>
                </c:pt>
                <c:pt idx="52">
                  <c:v>0.1993400205100103</c:v>
                </c:pt>
                <c:pt idx="53">
                  <c:v>0.21514387431773335</c:v>
                </c:pt>
                <c:pt idx="54">
                  <c:v>0.154779750793176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904551480335835"/>
          <c:min val="0.06921278254091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58843416730367</c:v>
                </c:pt>
                <c:pt idx="1">
                  <c:v>0.7467168362020722</c:v>
                </c:pt>
                <c:pt idx="2">
                  <c:v>0.6698443732793977</c:v>
                </c:pt>
                <c:pt idx="3">
                  <c:v>0.6713406865577141</c:v>
                </c:pt>
                <c:pt idx="4">
                  <c:v>0.641920195490902</c:v>
                </c:pt>
                <c:pt idx="5">
                  <c:v>0.7153029730059325</c:v>
                </c:pt>
                <c:pt idx="6">
                  <c:v>0.7191800073502389</c:v>
                </c:pt>
                <c:pt idx="7">
                  <c:v>0.6867043843283582</c:v>
                </c:pt>
                <c:pt idx="8">
                  <c:v>0.6931271813353566</c:v>
                </c:pt>
                <c:pt idx="9">
                  <c:v>0.7062936436588172</c:v>
                </c:pt>
                <c:pt idx="10">
                  <c:v>0.707156282433348</c:v>
                </c:pt>
                <c:pt idx="11">
                  <c:v>0.7053225206878946</c:v>
                </c:pt>
                <c:pt idx="12">
                  <c:v>0.7212597565687789</c:v>
                </c:pt>
                <c:pt idx="13">
                  <c:v>0.7021017724019565</c:v>
                </c:pt>
                <c:pt idx="14">
                  <c:v>0.6584277248518491</c:v>
                </c:pt>
                <c:pt idx="15">
                  <c:v>0.6612265039924177</c:v>
                </c:pt>
                <c:pt idx="16">
                  <c:v>0.701030161989505</c:v>
                </c:pt>
                <c:pt idx="17">
                  <c:v>0.5435485140513656</c:v>
                </c:pt>
                <c:pt idx="18">
                  <c:v>0.702624870219873</c:v>
                </c:pt>
                <c:pt idx="19">
                  <c:v>0.6823968536130122</c:v>
                </c:pt>
                <c:pt idx="20">
                  <c:v>0.7266621284320399</c:v>
                </c:pt>
                <c:pt idx="21">
                  <c:v>0.6631830795262267</c:v>
                </c:pt>
                <c:pt idx="22">
                  <c:v>0.648995983935743</c:v>
                </c:pt>
                <c:pt idx="23">
                  <c:v>0.6802405317016563</c:v>
                </c:pt>
                <c:pt idx="24">
                  <c:v>0.6459357250271752</c:v>
                </c:pt>
                <c:pt idx="25">
                  <c:v>0.6409625545418485</c:v>
                </c:pt>
                <c:pt idx="26">
                  <c:v>0.6308958917124803</c:v>
                </c:pt>
                <c:pt idx="27">
                  <c:v>0.6318031499792245</c:v>
                </c:pt>
                <c:pt idx="28">
                  <c:v>0.6134689006559709</c:v>
                </c:pt>
                <c:pt idx="29">
                  <c:v>0.6077419099612311</c:v>
                </c:pt>
                <c:pt idx="30">
                  <c:v>0.6677156839188223</c:v>
                </c:pt>
                <c:pt idx="31">
                  <c:v>0.695607945737291</c:v>
                </c:pt>
                <c:pt idx="32">
                  <c:v>0.6913934587686019</c:v>
                </c:pt>
                <c:pt idx="33">
                  <c:v>0.6736276238551794</c:v>
                </c:pt>
                <c:pt idx="34">
                  <c:v>0.6214623908225785</c:v>
                </c:pt>
                <c:pt idx="35">
                  <c:v>0.6748752571374175</c:v>
                </c:pt>
                <c:pt idx="36">
                  <c:v>0.7117803724000082</c:v>
                </c:pt>
                <c:pt idx="37">
                  <c:v>0.7256657907755034</c:v>
                </c:pt>
                <c:pt idx="38">
                  <c:v>0.7590720186363261</c:v>
                </c:pt>
                <c:pt idx="39">
                  <c:v>0.6862176676487312</c:v>
                </c:pt>
                <c:pt idx="40">
                  <c:v>0.7399699447703044</c:v>
                </c:pt>
                <c:pt idx="41">
                  <c:v>0.7429664962532742</c:v>
                </c:pt>
                <c:pt idx="42">
                  <c:v>0.7545192597892023</c:v>
                </c:pt>
                <c:pt idx="43">
                  <c:v>0.7481002815682427</c:v>
                </c:pt>
                <c:pt idx="44">
                  <c:v>0.7339163907950433</c:v>
                </c:pt>
                <c:pt idx="45">
                  <c:v>0.7641071635629868</c:v>
                </c:pt>
                <c:pt idx="46">
                  <c:v>0.7286799619311299</c:v>
                </c:pt>
                <c:pt idx="47">
                  <c:v>0.7102521441257923</c:v>
                </c:pt>
                <c:pt idx="48">
                  <c:v>0.7272296061301698</c:v>
                </c:pt>
                <c:pt idx="49">
                  <c:v>0.7136173594378108</c:v>
                </c:pt>
                <c:pt idx="50">
                  <c:v>0.6574797859290067</c:v>
                </c:pt>
                <c:pt idx="51">
                  <c:v>0.6554308616669787</c:v>
                </c:pt>
                <c:pt idx="52">
                  <c:v>0.6031662147728207</c:v>
                </c:pt>
                <c:pt idx="53">
                  <c:v>0.6214866490524097</c:v>
                </c:pt>
                <c:pt idx="54">
                  <c:v>0.6376957652616336</c:v>
                </c:pt>
                <c:pt idx="55">
                  <c:v>0.6137562255285827</c:v>
                </c:pt>
                <c:pt idx="56">
                  <c:v>0.621770916501835</c:v>
                </c:pt>
                <c:pt idx="57">
                  <c:v>0.6316971270478938</c:v>
                </c:pt>
                <c:pt idx="58">
                  <c:v>0.6490899496972682</c:v>
                </c:pt>
                <c:pt idx="59">
                  <c:v>0.6174332624907073</c:v>
                </c:pt>
                <c:pt idx="60">
                  <c:v>0.6315000170675681</c:v>
                </c:pt>
                <c:pt idx="61">
                  <c:v>0.6272537449451152</c:v>
                </c:pt>
                <c:pt idx="62">
                  <c:v>0.7041732053117783</c:v>
                </c:pt>
                <c:pt idx="63">
                  <c:v>0.6202228427769357</c:v>
                </c:pt>
                <c:pt idx="64">
                  <c:v>0.6131236735057526</c:v>
                </c:pt>
                <c:pt idx="65">
                  <c:v>0.5931954438173422</c:v>
                </c:pt>
                <c:pt idx="66">
                  <c:v>0.6289193602003762</c:v>
                </c:pt>
                <c:pt idx="67">
                  <c:v>0.6774053578492599</c:v>
                </c:pt>
                <c:pt idx="68">
                  <c:v>0.590330631204673</c:v>
                </c:pt>
                <c:pt idx="69">
                  <c:v>0.5880668858023392</c:v>
                </c:pt>
                <c:pt idx="70">
                  <c:v>0.5493735074509343</c:v>
                </c:pt>
                <c:pt idx="71">
                  <c:v>0.9077519363953822</c:v>
                </c:pt>
                <c:pt idx="72">
                  <c:v>0.33895247584335836</c:v>
                </c:pt>
                <c:pt idx="73">
                  <c:v>0.45379076909091426</c:v>
                </c:pt>
                <c:pt idx="74">
                  <c:v>0.7905199410438702</c:v>
                </c:pt>
                <c:pt idx="75">
                  <c:v>1.2139683047619048</c:v>
                </c:pt>
                <c:pt idx="76">
                  <c:v>0.8527816063473381</c:v>
                </c:pt>
                <c:pt idx="77">
                  <c:v>0.7810602093059141</c:v>
                </c:pt>
                <c:pt idx="78">
                  <c:v>0.9717353901231967</c:v>
                </c:pt>
                <c:pt idx="79">
                  <c:v>0.9606554781507284</c:v>
                </c:pt>
                <c:pt idx="80">
                  <c:v>0.9224086546425542</c:v>
                </c:pt>
                <c:pt idx="81">
                  <c:v>0.9505666179412663</c:v>
                </c:pt>
                <c:pt idx="82">
                  <c:v>0.6390432139682576</c:v>
                </c:pt>
                <c:pt idx="83">
                  <c:v>0.4533813525410164</c:v>
                </c:pt>
                <c:pt idx="84">
                  <c:v>0.9474515246803579</c:v>
                </c:pt>
                <c:pt idx="85">
                  <c:v>0.7782055056688582</c:v>
                </c:pt>
                <c:pt idx="86">
                  <c:v>0.6749607265586647</c:v>
                </c:pt>
                <c:pt idx="87">
                  <c:v>0.6723608664821465</c:v>
                </c:pt>
                <c:pt idx="88">
                  <c:v>0.40793602987007777</c:v>
                </c:pt>
                <c:pt idx="89">
                  <c:v>0.8080321285140563</c:v>
                </c:pt>
                <c:pt idx="90">
                  <c:v>0.5609452484131067</c:v>
                </c:pt>
                <c:pt idx="91">
                  <c:v>0.4517786561264822</c:v>
                </c:pt>
                <c:pt idx="92">
                  <c:v>0.8183450097136773</c:v>
                </c:pt>
                <c:pt idx="93">
                  <c:v>0.5996210870453617</c:v>
                </c:pt>
                <c:pt idx="94">
                  <c:v>0.40873389743963817</c:v>
                </c:pt>
                <c:pt idx="95">
                  <c:v>0.6034636492452642</c:v>
                </c:pt>
                <c:pt idx="96">
                  <c:v>0.6982023262195418</c:v>
                </c:pt>
                <c:pt idx="97">
                  <c:v>0.7532471774604962</c:v>
                </c:pt>
                <c:pt idx="98">
                  <c:v>0.6570031790884062</c:v>
                </c:pt>
                <c:pt idx="99">
                  <c:v>0.9443388138970747</c:v>
                </c:pt>
                <c:pt idx="100">
                  <c:v>0.8290412954354743</c:v>
                </c:pt>
                <c:pt idx="101">
                  <c:v>0.780336014070676</c:v>
                </c:pt>
                <c:pt idx="102">
                  <c:v>0.7915875146551578</c:v>
                </c:pt>
                <c:pt idx="103">
                  <c:v>0.765038560411311</c:v>
                </c:pt>
                <c:pt idx="104">
                  <c:v>0.7385721283941402</c:v>
                </c:pt>
              </c:numCache>
            </c:numRef>
          </c:xVal>
          <c:yVal>
            <c:numRef>
              <c:f>Sheet1!$B$2:$B$106</c:f>
              <c:numCache>
                <c:formatCode>General</c:formatCode>
                <c:ptCount val="105"/>
                <c:pt idx="0">
                  <c:v>0.22325581395348837</c:v>
                </c:pt>
                <c:pt idx="1">
                  <c:v>0.27167630057803466</c:v>
                </c:pt>
                <c:pt idx="2">
                  <c:v>0.2840909090909091</c:v>
                </c:pt>
                <c:pt idx="3">
                  <c:v>0.28888888888888886</c:v>
                </c:pt>
                <c:pt idx="4">
                  <c:v>0.23125</c:v>
                </c:pt>
                <c:pt idx="5">
                  <c:v>0.225</c:v>
                </c:pt>
                <c:pt idx="6">
                  <c:v>0.21176470588235294</c:v>
                </c:pt>
                <c:pt idx="7">
                  <c:v>0.25757575757575757</c:v>
                </c:pt>
                <c:pt idx="8">
                  <c:v>0.2903225806451613</c:v>
                </c:pt>
                <c:pt idx="9">
                  <c:v>0.22085889570552147</c:v>
                </c:pt>
                <c:pt idx="10">
                  <c:v>0.19318181818181818</c:v>
                </c:pt>
                <c:pt idx="11">
                  <c:v>0.21761658031088082</c:v>
                </c:pt>
                <c:pt idx="12">
                  <c:v>0.271356783919598</c:v>
                </c:pt>
                <c:pt idx="13">
                  <c:v>0.2205128205128205</c:v>
                </c:pt>
                <c:pt idx="14">
                  <c:v>0.2023121387283237</c:v>
                </c:pt>
                <c:pt idx="15">
                  <c:v>0.17142857142857143</c:v>
                </c:pt>
                <c:pt idx="16">
                  <c:v>0.20634920634920634</c:v>
                </c:pt>
                <c:pt idx="17">
                  <c:v>0.22556390977443608</c:v>
                </c:pt>
                <c:pt idx="18">
                  <c:v>0.14655172413793102</c:v>
                </c:pt>
                <c:pt idx="19">
                  <c:v>0.1717171717171717</c:v>
                </c:pt>
                <c:pt idx="20">
                  <c:v>0.15267175572519084</c:v>
                </c:pt>
                <c:pt idx="21">
                  <c:v>0.2073170731707317</c:v>
                </c:pt>
                <c:pt idx="22">
                  <c:v>0.17391304347826086</c:v>
                </c:pt>
                <c:pt idx="23">
                  <c:v>0.16494845360824742</c:v>
                </c:pt>
                <c:pt idx="24">
                  <c:v>0.20388349514563106</c:v>
                </c:pt>
                <c:pt idx="25">
                  <c:v>0.18292682926829268</c:v>
                </c:pt>
                <c:pt idx="26">
                  <c:v>0.19801980198019803</c:v>
                </c:pt>
                <c:pt idx="27">
                  <c:v>0.19148936170212766</c:v>
                </c:pt>
                <c:pt idx="28">
                  <c:v>0.16822429906542055</c:v>
                </c:pt>
                <c:pt idx="29">
                  <c:v>0.19672131147540983</c:v>
                </c:pt>
                <c:pt idx="30">
                  <c:v>0.1956521739130435</c:v>
                </c:pt>
                <c:pt idx="31">
                  <c:v>0.1568627450980392</c:v>
                </c:pt>
                <c:pt idx="32">
                  <c:v>0.12121212121212122</c:v>
                </c:pt>
                <c:pt idx="33">
                  <c:v>0.14093959731543623</c:v>
                </c:pt>
                <c:pt idx="34">
                  <c:v>0.19444444444444445</c:v>
                </c:pt>
                <c:pt idx="35">
                  <c:v>0.1752136752136752</c:v>
                </c:pt>
                <c:pt idx="36">
                  <c:v>0.1925925925925926</c:v>
                </c:pt>
                <c:pt idx="37">
                  <c:v>0.2</c:v>
                </c:pt>
                <c:pt idx="38">
                  <c:v>0.16494845360824742</c:v>
                </c:pt>
                <c:pt idx="39">
                  <c:v>0.18446601941747573</c:v>
                </c:pt>
                <c:pt idx="40">
                  <c:v>0.1619718309859155</c:v>
                </c:pt>
                <c:pt idx="41">
                  <c:v>0.13043478260869565</c:v>
                </c:pt>
                <c:pt idx="42">
                  <c:v>0.14084507042253522</c:v>
                </c:pt>
                <c:pt idx="43">
                  <c:v>0.13432835820895522</c:v>
                </c:pt>
                <c:pt idx="44">
                  <c:v>0.1751412429378531</c:v>
                </c:pt>
                <c:pt idx="45">
                  <c:v>0.1625615763546798</c:v>
                </c:pt>
                <c:pt idx="46">
                  <c:v>0.16783216783216784</c:v>
                </c:pt>
                <c:pt idx="47">
                  <c:v>0.2145922746781116</c:v>
                </c:pt>
                <c:pt idx="48">
                  <c:v>0.19230769230769232</c:v>
                </c:pt>
                <c:pt idx="49">
                  <c:v>0.21603563474387527</c:v>
                </c:pt>
                <c:pt idx="50">
                  <c:v>0.20614035087719298</c:v>
                </c:pt>
                <c:pt idx="51">
                  <c:v>0.21354166666666666</c:v>
                </c:pt>
                <c:pt idx="52">
                  <c:v>0.22110552763819097</c:v>
                </c:pt>
                <c:pt idx="53">
                  <c:v>0.17486338797814208</c:v>
                </c:pt>
                <c:pt idx="54">
                  <c:v>0.18562874251497005</c:v>
                </c:pt>
                <c:pt idx="55">
                  <c:v>0.2127659574468085</c:v>
                </c:pt>
                <c:pt idx="56">
                  <c:v>0.2323943661971831</c:v>
                </c:pt>
                <c:pt idx="57">
                  <c:v>0.1870967741935484</c:v>
                </c:pt>
                <c:pt idx="58">
                  <c:v>0.1925133689839572</c:v>
                </c:pt>
                <c:pt idx="59">
                  <c:v>0.1694915254237288</c:v>
                </c:pt>
                <c:pt idx="60">
                  <c:v>0.12422360248447205</c:v>
                </c:pt>
                <c:pt idx="61">
                  <c:v>0.1597222222222222</c:v>
                </c:pt>
                <c:pt idx="62">
                  <c:v>0.11627906976744186</c:v>
                </c:pt>
                <c:pt idx="63">
                  <c:v>0.17582417582417584</c:v>
                </c:pt>
                <c:pt idx="64">
                  <c:v>0.19689119170984457</c:v>
                </c:pt>
                <c:pt idx="65">
                  <c:v>0.17159763313609466</c:v>
                </c:pt>
                <c:pt idx="66">
                  <c:v>0.1695906432748538</c:v>
                </c:pt>
                <c:pt idx="67">
                  <c:v>0.20833333333333334</c:v>
                </c:pt>
                <c:pt idx="68">
                  <c:v>0.21774193548387097</c:v>
                </c:pt>
                <c:pt idx="69">
                  <c:v>0.21153846153846154</c:v>
                </c:pt>
                <c:pt idx="70">
                  <c:v>0.17</c:v>
                </c:pt>
                <c:pt idx="71">
                  <c:v>0.15555555555555556</c:v>
                </c:pt>
                <c:pt idx="72">
                  <c:v>0.25833333333333336</c:v>
                </c:pt>
                <c:pt idx="73">
                  <c:v>0.21782178217821782</c:v>
                </c:pt>
                <c:pt idx="74">
                  <c:v>0.13592233009708737</c:v>
                </c:pt>
                <c:pt idx="75">
                  <c:v>0.08823529411764706</c:v>
                </c:pt>
                <c:pt idx="76">
                  <c:v>0.12195121951219512</c:v>
                </c:pt>
                <c:pt idx="77">
                  <c:v>0.12307692307692308</c:v>
                </c:pt>
                <c:pt idx="78">
                  <c:v>0.08974358974358974</c:v>
                </c:pt>
                <c:pt idx="79">
                  <c:v>0.09302325581395349</c:v>
                </c:pt>
                <c:pt idx="80">
                  <c:v>0.11594202898550725</c:v>
                </c:pt>
                <c:pt idx="81">
                  <c:v>0.15384615384615385</c:v>
                </c:pt>
                <c:pt idx="82">
                  <c:v>0.08333333333333333</c:v>
                </c:pt>
                <c:pt idx="83">
                  <c:v>0.19718309859154928</c:v>
                </c:pt>
                <c:pt idx="84">
                  <c:v>0.07575757575757576</c:v>
                </c:pt>
                <c:pt idx="85">
                  <c:v>0.10588235294117647</c:v>
                </c:pt>
                <c:pt idx="86">
                  <c:v>0.14285714285714285</c:v>
                </c:pt>
                <c:pt idx="87">
                  <c:v>0.14285714285714285</c:v>
                </c:pt>
                <c:pt idx="88">
                  <c:v>0.1686746987951807</c:v>
                </c:pt>
                <c:pt idx="89">
                  <c:v>0.125</c:v>
                </c:pt>
                <c:pt idx="90">
                  <c:v>0.17333333333333334</c:v>
                </c:pt>
                <c:pt idx="91">
                  <c:v>0.1590909090909091</c:v>
                </c:pt>
                <c:pt idx="92">
                  <c:v>0.11009174311926606</c:v>
                </c:pt>
                <c:pt idx="93">
                  <c:v>0.12222222222222222</c:v>
                </c:pt>
                <c:pt idx="94">
                  <c:v>0.15789473684210525</c:v>
                </c:pt>
                <c:pt idx="95">
                  <c:v>0.12244897959183673</c:v>
                </c:pt>
                <c:pt idx="96">
                  <c:v>0.11194029850746269</c:v>
                </c:pt>
                <c:pt idx="97">
                  <c:v>0.11486486486486487</c:v>
                </c:pt>
                <c:pt idx="98">
                  <c:v>0.12269938650306748</c:v>
                </c:pt>
                <c:pt idx="99">
                  <c:v>0.10762331838565023</c:v>
                </c:pt>
                <c:pt idx="100">
                  <c:v>0.14666666666666667</c:v>
                </c:pt>
                <c:pt idx="101">
                  <c:v>0.13068181818181818</c:v>
                </c:pt>
                <c:pt idx="102">
                  <c:v>0.10869565217391304</c:v>
                </c:pt>
                <c:pt idx="103">
                  <c:v>0.12096774193548387</c:v>
                </c:pt>
                <c:pt idx="104">
                  <c:v>0.1417322834645669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770764192884858</c:v>
                </c:pt>
                <c:pt idx="1">
                  <c:v>0.6022952168970755</c:v>
                </c:pt>
                <c:pt idx="2">
                  <c:v>0.5265645338940623</c:v>
                </c:pt>
                <c:pt idx="3">
                  <c:v>0.7361355890500466</c:v>
                </c:pt>
                <c:pt idx="4">
                  <c:v>0.6969604460966543</c:v>
                </c:pt>
                <c:pt idx="5">
                  <c:v>0.766993137804897</c:v>
                </c:pt>
                <c:pt idx="6">
                  <c:v>0.4868214881718239</c:v>
                </c:pt>
                <c:pt idx="7">
                  <c:v>0.6483854166666667</c:v>
                </c:pt>
                <c:pt idx="8">
                  <c:v>0.7046143396226415</c:v>
                </c:pt>
                <c:pt idx="9">
                  <c:v>0.7118011728064644</c:v>
                </c:pt>
                <c:pt idx="10">
                  <c:v>0.7822140986619605</c:v>
                </c:pt>
                <c:pt idx="11">
                  <c:v>0.7944878650761004</c:v>
                </c:pt>
                <c:pt idx="12">
                  <c:v>0.8074985530218617</c:v>
                </c:pt>
                <c:pt idx="13">
                  <c:v>0.746666848198666</c:v>
                </c:pt>
                <c:pt idx="14">
                  <c:v>0.7015517863587153</c:v>
                </c:pt>
                <c:pt idx="15">
                  <c:v>0.7121288378999788</c:v>
                </c:pt>
                <c:pt idx="16">
                  <c:v>0.792216830793934</c:v>
                </c:pt>
                <c:pt idx="17">
                  <c:v>0.7495854426497649</c:v>
                </c:pt>
                <c:pt idx="18">
                  <c:v>0.5385603241029294</c:v>
                </c:pt>
                <c:pt idx="19">
                  <c:v>0.8055315895372234</c:v>
                </c:pt>
                <c:pt idx="20">
                  <c:v>0.6990017748449815</c:v>
                </c:pt>
                <c:pt idx="21">
                  <c:v>0.7258313534227542</c:v>
                </c:pt>
                <c:pt idx="22">
                  <c:v>0.7721273834876624</c:v>
                </c:pt>
                <c:pt idx="23">
                  <c:v>0.7295574058023659</c:v>
                </c:pt>
                <c:pt idx="24">
                  <c:v>0.6602320580724295</c:v>
                </c:pt>
                <c:pt idx="25">
                  <c:v>0.8965332111756603</c:v>
                </c:pt>
                <c:pt idx="26">
                  <c:v>0.811667560013769</c:v>
                </c:pt>
                <c:pt idx="27">
                  <c:v>0.8209841554043411</c:v>
                </c:pt>
                <c:pt idx="28">
                  <c:v>0.7792734832003868</c:v>
                </c:pt>
                <c:pt idx="29">
                  <c:v>0.7833316012372115</c:v>
                </c:pt>
                <c:pt idx="30">
                  <c:v>0.8798991943083356</c:v>
                </c:pt>
                <c:pt idx="31">
                  <c:v>0.7950432554503605</c:v>
                </c:pt>
                <c:pt idx="32">
                  <c:v>0.916754395839802</c:v>
                </c:pt>
                <c:pt idx="33">
                  <c:v>0.791704887726997</c:v>
                </c:pt>
                <c:pt idx="34">
                  <c:v>0.8366528647822765</c:v>
                </c:pt>
                <c:pt idx="35">
                  <c:v>0.7685706908350683</c:v>
                </c:pt>
                <c:pt idx="36">
                  <c:v>0.7843667913714877</c:v>
                </c:pt>
                <c:pt idx="37">
                  <c:v>0.7599836085376469</c:v>
                </c:pt>
                <c:pt idx="38">
                  <c:v>0.6819291332566902</c:v>
                </c:pt>
                <c:pt idx="39">
                  <c:v>0.6770468372890367</c:v>
                </c:pt>
                <c:pt idx="40">
                  <c:v>0.8635128946906756</c:v>
                </c:pt>
                <c:pt idx="41">
                  <c:v>0.895017806156881</c:v>
                </c:pt>
                <c:pt idx="42">
                  <c:v>0.8100421709712496</c:v>
                </c:pt>
                <c:pt idx="43">
                  <c:v>0.7901152100645717</c:v>
                </c:pt>
                <c:pt idx="44">
                  <c:v>0.8178234500678726</c:v>
                </c:pt>
                <c:pt idx="45">
                  <c:v>0.8222210011376133</c:v>
                </c:pt>
                <c:pt idx="46">
                  <c:v>0.8237731038878267</c:v>
                </c:pt>
                <c:pt idx="47">
                  <c:v>0.7719330964984205</c:v>
                </c:pt>
                <c:pt idx="48">
                  <c:v>0.7959673458043761</c:v>
                </c:pt>
                <c:pt idx="49">
                  <c:v>0.7593450031559015</c:v>
                </c:pt>
                <c:pt idx="50">
                  <c:v>0.8202709535726201</c:v>
                </c:pt>
                <c:pt idx="51">
                  <c:v>0.8381205313676501</c:v>
                </c:pt>
              </c:numCache>
            </c:numRef>
          </c:xVal>
          <c:yVal>
            <c:numRef>
              <c:f>Sheet1!$B$109:$B$160</c:f>
              <c:numCache>
                <c:formatCode>General</c:formatCode>
                <c:ptCount val="52"/>
                <c:pt idx="0">
                  <c:v>0.1328125</c:v>
                </c:pt>
                <c:pt idx="1">
                  <c:v>0.1111111111111111</c:v>
                </c:pt>
                <c:pt idx="2">
                  <c:v>0.16</c:v>
                </c:pt>
                <c:pt idx="3">
                  <c:v>0.1623931623931624</c:v>
                </c:pt>
                <c:pt idx="4">
                  <c:v>0.16831683168316833</c:v>
                </c:pt>
                <c:pt idx="5">
                  <c:v>0.125</c:v>
                </c:pt>
                <c:pt idx="6">
                  <c:v>0.168</c:v>
                </c:pt>
                <c:pt idx="7">
                  <c:v>0.13559322033898305</c:v>
                </c:pt>
                <c:pt idx="8">
                  <c:v>0.16304347826086957</c:v>
                </c:pt>
                <c:pt idx="9">
                  <c:v>0.08695652173913043</c:v>
                </c:pt>
                <c:pt idx="10">
                  <c:v>0.1349206349206349</c:v>
                </c:pt>
                <c:pt idx="11">
                  <c:v>0.11976047904191617</c:v>
                </c:pt>
                <c:pt idx="12">
                  <c:v>0.1259259259259259</c:v>
                </c:pt>
                <c:pt idx="13">
                  <c:v>0.1297709923664122</c:v>
                </c:pt>
                <c:pt idx="14">
                  <c:v>0.12931034482758622</c:v>
                </c:pt>
                <c:pt idx="15">
                  <c:v>0.11956521739130435</c:v>
                </c:pt>
                <c:pt idx="16">
                  <c:v>0.1276595744680851</c:v>
                </c:pt>
                <c:pt idx="17">
                  <c:v>0.1232876712328767</c:v>
                </c:pt>
                <c:pt idx="18">
                  <c:v>0.20588235294117646</c:v>
                </c:pt>
                <c:pt idx="19">
                  <c:v>0.1308411214953271</c:v>
                </c:pt>
                <c:pt idx="20">
                  <c:v>0.140625</c:v>
                </c:pt>
                <c:pt idx="21">
                  <c:v>0.13043478260869565</c:v>
                </c:pt>
                <c:pt idx="22">
                  <c:v>0.11428571428571428</c:v>
                </c:pt>
                <c:pt idx="23">
                  <c:v>0.140625</c:v>
                </c:pt>
                <c:pt idx="24">
                  <c:v>0.15873015873015872</c:v>
                </c:pt>
                <c:pt idx="25">
                  <c:v>0.09230769230769231</c:v>
                </c:pt>
                <c:pt idx="26">
                  <c:v>0.11940298507462686</c:v>
                </c:pt>
                <c:pt idx="27">
                  <c:v>0.125</c:v>
                </c:pt>
                <c:pt idx="28">
                  <c:v>0.13414634146341464</c:v>
                </c:pt>
                <c:pt idx="29">
                  <c:v>0.11290322580645161</c:v>
                </c:pt>
                <c:pt idx="30">
                  <c:v>0.09523809523809523</c:v>
                </c:pt>
                <c:pt idx="31">
                  <c:v>0.10526315789473684</c:v>
                </c:pt>
                <c:pt idx="32">
                  <c:v>0.09090909090909091</c:v>
                </c:pt>
                <c:pt idx="33">
                  <c:v>0.18556701030927836</c:v>
                </c:pt>
                <c:pt idx="34">
                  <c:v>0.1696969696969697</c:v>
                </c:pt>
                <c:pt idx="35">
                  <c:v>0.11926605504587157</c:v>
                </c:pt>
                <c:pt idx="36">
                  <c:v>0.10869565217391304</c:v>
                </c:pt>
                <c:pt idx="37">
                  <c:v>0.12727272727272726</c:v>
                </c:pt>
                <c:pt idx="38">
                  <c:v>0.0821917808219178</c:v>
                </c:pt>
                <c:pt idx="39">
                  <c:v>0.1619047619047619</c:v>
                </c:pt>
                <c:pt idx="40">
                  <c:v>0.13793103448275862</c:v>
                </c:pt>
                <c:pt idx="41">
                  <c:v>0.13414634146341464</c:v>
                </c:pt>
                <c:pt idx="42">
                  <c:v>0.1</c:v>
                </c:pt>
                <c:pt idx="43">
                  <c:v>0.14</c:v>
                </c:pt>
                <c:pt idx="44">
                  <c:v>0.14018691588785046</c:v>
                </c:pt>
                <c:pt idx="45">
                  <c:v>0.11486486486486487</c:v>
                </c:pt>
                <c:pt idx="46">
                  <c:v>0.140625</c:v>
                </c:pt>
                <c:pt idx="47">
                  <c:v>0.12173913043478261</c:v>
                </c:pt>
                <c:pt idx="48">
                  <c:v>0.14173228346456693</c:v>
                </c:pt>
                <c:pt idx="49">
                  <c:v>0.1188118811881188</c:v>
                </c:pt>
                <c:pt idx="50">
                  <c:v>0.1015625</c:v>
                </c:pt>
                <c:pt idx="51">
                  <c:v>0.1228070175438596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869447397422812</c:v>
                </c:pt>
              </c:numCache>
            </c:numRef>
          </c:xVal>
          <c:yVal>
            <c:numRef>
              <c:f>Sheet1!$B$163:$B$164</c:f>
              <c:numCache>
                <c:formatCode>General</c:formatCode>
                <c:ptCount val="2"/>
                <c:pt idx="0">
                  <c:v>0.25375832851273256</c:v>
                </c:pt>
                <c:pt idx="1">
                  <c:v>0.253758328512732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869447397422812</c:v>
                </c:pt>
                <c:pt idx="1">
                  <c:v>-0.1869447397422812</c:v>
                </c:pt>
              </c:numCache>
            </c:numRef>
          </c:xVal>
          <c:yVal>
            <c:numRef>
              <c:f>Sheet1!$B$167:$B$168</c:f>
              <c:numCache>
                <c:formatCode>General</c:formatCode>
                <c:ptCount val="2"/>
                <c:pt idx="0">
                  <c:v>0.25375832851273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82857831549049</c:v>
                </c:pt>
              </c:numCache>
            </c:numRef>
          </c:xVal>
          <c:yVal>
            <c:numRef>
              <c:f>Sheet1!$B$171:$B$172</c:f>
              <c:numCache>
                <c:formatCode>General</c:formatCode>
                <c:ptCount val="2"/>
                <c:pt idx="0">
                  <c:v>0.14736336708747716</c:v>
                </c:pt>
                <c:pt idx="1">
                  <c:v>0.147363367087477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82857831549049</c:v>
                </c:pt>
                <c:pt idx="1">
                  <c:v>0.6282857831549049</c:v>
                </c:pt>
              </c:numCache>
            </c:numRef>
          </c:xVal>
          <c:yVal>
            <c:numRef>
              <c:f>Sheet1!$B$175:$B$176</c:f>
              <c:numCache>
                <c:formatCode>General</c:formatCode>
                <c:ptCount val="2"/>
                <c:pt idx="0">
                  <c:v>0.147363367087477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693971526567673</c:v>
                </c:pt>
              </c:numCache>
            </c:numRef>
          </c:xVal>
          <c:yVal>
            <c:numRef>
              <c:f>Sheet1!$B$179:$B$180</c:f>
              <c:numCache>
                <c:formatCode>General</c:formatCode>
                <c:ptCount val="2"/>
                <c:pt idx="0">
                  <c:v>0.1289470562488445</c:v>
                </c:pt>
                <c:pt idx="1">
                  <c:v>0.12894705624884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693971526567673</c:v>
                </c:pt>
                <c:pt idx="1">
                  <c:v>0.7693971526567673</c:v>
                </c:pt>
              </c:numCache>
            </c:numRef>
          </c:xVal>
          <c:yVal>
            <c:numRef>
              <c:f>Sheet1!$B$183:$B$184</c:f>
              <c:numCache>
                <c:formatCode>General</c:formatCode>
                <c:ptCount val="2"/>
                <c:pt idx="0">
                  <c:v>0.1289470562488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770764192884858</c:v>
                </c:pt>
                <c:pt idx="1">
                  <c:v>0.6022952168970755</c:v>
                </c:pt>
                <c:pt idx="2">
                  <c:v>0.5265645338940623</c:v>
                </c:pt>
                <c:pt idx="3">
                  <c:v>0.7361355890500466</c:v>
                </c:pt>
                <c:pt idx="4">
                  <c:v>0.6969604460966543</c:v>
                </c:pt>
                <c:pt idx="5">
                  <c:v>0.766993137804897</c:v>
                </c:pt>
                <c:pt idx="6">
                  <c:v>0.4868214881718239</c:v>
                </c:pt>
                <c:pt idx="7">
                  <c:v>0.6483854166666667</c:v>
                </c:pt>
                <c:pt idx="8">
                  <c:v>0.7046143396226415</c:v>
                </c:pt>
                <c:pt idx="9">
                  <c:v>0.7118011728064644</c:v>
                </c:pt>
                <c:pt idx="10">
                  <c:v>0.7822140986619605</c:v>
                </c:pt>
                <c:pt idx="11">
                  <c:v>0.7944878650761004</c:v>
                </c:pt>
                <c:pt idx="12">
                  <c:v>0.8074985530218617</c:v>
                </c:pt>
                <c:pt idx="13">
                  <c:v>0.746666848198666</c:v>
                </c:pt>
                <c:pt idx="14">
                  <c:v>0.7015517863587153</c:v>
                </c:pt>
                <c:pt idx="15">
                  <c:v>0.7121288378999788</c:v>
                </c:pt>
                <c:pt idx="16">
                  <c:v>0.792216830793934</c:v>
                </c:pt>
                <c:pt idx="17">
                  <c:v>0.7495854426497649</c:v>
                </c:pt>
                <c:pt idx="18">
                  <c:v>0.5385603241029294</c:v>
                </c:pt>
                <c:pt idx="19">
                  <c:v>0.8055315895372234</c:v>
                </c:pt>
                <c:pt idx="20">
                  <c:v>0.6990017748449815</c:v>
                </c:pt>
                <c:pt idx="21">
                  <c:v>0.7258313534227542</c:v>
                </c:pt>
                <c:pt idx="22">
                  <c:v>0.7721273834876624</c:v>
                </c:pt>
                <c:pt idx="23">
                  <c:v>0.7295574058023659</c:v>
                </c:pt>
                <c:pt idx="24">
                  <c:v>0.6602320580724295</c:v>
                </c:pt>
                <c:pt idx="25">
                  <c:v>0.8965332111756603</c:v>
                </c:pt>
                <c:pt idx="26">
                  <c:v>0.811667560013769</c:v>
                </c:pt>
                <c:pt idx="27">
                  <c:v>0.8209841554043411</c:v>
                </c:pt>
                <c:pt idx="28">
                  <c:v>0.7792734832003868</c:v>
                </c:pt>
                <c:pt idx="29">
                  <c:v>0.7833316012372115</c:v>
                </c:pt>
                <c:pt idx="30">
                  <c:v>0.8798991943083356</c:v>
                </c:pt>
                <c:pt idx="31">
                  <c:v>0.7950432554503605</c:v>
                </c:pt>
                <c:pt idx="32">
                  <c:v>0.916754395839802</c:v>
                </c:pt>
                <c:pt idx="33">
                  <c:v>0.791704887726997</c:v>
                </c:pt>
                <c:pt idx="34">
                  <c:v>0.8366528647822765</c:v>
                </c:pt>
                <c:pt idx="35">
                  <c:v>0.7685706908350683</c:v>
                </c:pt>
                <c:pt idx="36">
                  <c:v>0.7843667913714877</c:v>
                </c:pt>
                <c:pt idx="37">
                  <c:v>0.7599836085376469</c:v>
                </c:pt>
                <c:pt idx="38">
                  <c:v>0.6819291332566902</c:v>
                </c:pt>
                <c:pt idx="39">
                  <c:v>0.6770468372890367</c:v>
                </c:pt>
                <c:pt idx="40">
                  <c:v>0.8635128946906756</c:v>
                </c:pt>
                <c:pt idx="41">
                  <c:v>0.895017806156881</c:v>
                </c:pt>
                <c:pt idx="42">
                  <c:v>0.8100421709712496</c:v>
                </c:pt>
                <c:pt idx="43">
                  <c:v>0.7901152100645717</c:v>
                </c:pt>
                <c:pt idx="44">
                  <c:v>0.8178234500678726</c:v>
                </c:pt>
                <c:pt idx="45">
                  <c:v>0.8222210011376133</c:v>
                </c:pt>
                <c:pt idx="46">
                  <c:v>0.8237731038878267</c:v>
                </c:pt>
                <c:pt idx="47">
                  <c:v>0.7719330964984205</c:v>
                </c:pt>
                <c:pt idx="48">
                  <c:v>0.7959673458043761</c:v>
                </c:pt>
                <c:pt idx="49">
                  <c:v>0.7593450031559015</c:v>
                </c:pt>
                <c:pt idx="50">
                  <c:v>0.8202709535726201</c:v>
                </c:pt>
                <c:pt idx="51">
                  <c:v>0.8381205313676501</c:v>
                </c:pt>
                <c:pt idx="52">
                  <c:v>0.6282857831549049</c:v>
                </c:pt>
                <c:pt idx="53">
                  <c:v>-0.1869447397422812</c:v>
                </c:pt>
                <c:pt idx="54">
                  <c:v>0.7693971526567673</c:v>
                </c:pt>
              </c:numCache>
            </c:numRef>
          </c:xVal>
          <c:yVal>
            <c:numRef>
              <c:f>Sheet1!$B$187:$B$241</c:f>
              <c:numCache>
                <c:formatCode>General</c:formatCode>
                <c:ptCount val="55"/>
                <c:pt idx="0">
                  <c:v>0.14099574749578445</c:v>
                </c:pt>
                <c:pt idx="1">
                  <c:v>0.15075537120993693</c:v>
                </c:pt>
                <c:pt idx="2">
                  <c:v>0.1606389107371119</c:v>
                </c:pt>
                <c:pt idx="3">
                  <c:v>0.13328799133099062</c:v>
                </c:pt>
                <c:pt idx="4">
                  <c:v>0.13840070203831617</c:v>
                </c:pt>
                <c:pt idx="5">
                  <c:v>0.12926080194438289</c:v>
                </c:pt>
                <c:pt idx="6">
                  <c:v>0.16582573789553637</c:v>
                </c:pt>
                <c:pt idx="7">
                  <c:v>0.14474018300385647</c:v>
                </c:pt>
                <c:pt idx="8">
                  <c:v>0.13740179966214358</c:v>
                </c:pt>
                <c:pt idx="9">
                  <c:v>0.13646385288772062</c:v>
                </c:pt>
                <c:pt idx="10">
                  <c:v>0.12727432879628803</c:v>
                </c:pt>
                <c:pt idx="11">
                  <c:v>0.12567249119637308</c:v>
                </c:pt>
                <c:pt idx="12">
                  <c:v>0.1239744786671245</c:v>
                </c:pt>
                <c:pt idx="13">
                  <c:v>0.13191356669966703</c:v>
                </c:pt>
                <c:pt idx="14">
                  <c:v>0.13780149058051136</c:v>
                </c:pt>
                <c:pt idx="15">
                  <c:v>0.13642108962750682</c:v>
                </c:pt>
                <c:pt idx="16">
                  <c:v>0.1259688817240337</c:v>
                </c:pt>
                <c:pt idx="17">
                  <c:v>0.13153266370926242</c:v>
                </c:pt>
                <c:pt idx="18">
                  <c:v>0.1590733515477894</c:v>
                </c:pt>
                <c:pt idx="19">
                  <c:v>0.12423118520373608</c:v>
                </c:pt>
                <c:pt idx="20">
                  <c:v>0.13813429016175555</c:v>
                </c:pt>
                <c:pt idx="21">
                  <c:v>0.1346327873381205</c:v>
                </c:pt>
                <c:pt idx="22">
                  <c:v>0.12859073641564836</c:v>
                </c:pt>
                <c:pt idx="23">
                  <c:v>0.13414650378020312</c:v>
                </c:pt>
                <c:pt idx="24">
                  <c:v>0.14319408908319997</c:v>
                </c:pt>
                <c:pt idx="25">
                  <c:v>0.11235464997606985</c:v>
                </c:pt>
                <c:pt idx="26">
                  <c:v>0.12343038552337264</c:v>
                </c:pt>
                <c:pt idx="27">
                  <c:v>0.12221448550570409</c:v>
                </c:pt>
                <c:pt idx="28">
                  <c:v>0.12765810572785918</c:v>
                </c:pt>
                <c:pt idx="29">
                  <c:v>0.1271284845963384</c:v>
                </c:pt>
                <c:pt idx="30">
                  <c:v>0.11452553972226898</c:v>
                </c:pt>
                <c:pt idx="31">
                  <c:v>0.12560000772601018</c:v>
                </c:pt>
                <c:pt idx="32">
                  <c:v>0.10971560236697334</c:v>
                </c:pt>
                <c:pt idx="33">
                  <c:v>0.1260356949275741</c:v>
                </c:pt>
                <c:pt idx="34">
                  <c:v>0.12016957712331858</c:v>
                </c:pt>
                <c:pt idx="35">
                  <c:v>0.12905491699641147</c:v>
                </c:pt>
                <c:pt idx="36">
                  <c:v>0.126993382914899</c:v>
                </c:pt>
                <c:pt idx="37">
                  <c:v>0.13017560895301633</c:v>
                </c:pt>
                <c:pt idx="38">
                  <c:v>0.14036242440378338</c:v>
                </c:pt>
                <c:pt idx="39">
                  <c:v>0.1409996082144424</c:v>
                </c:pt>
                <c:pt idx="40">
                  <c:v>0.11666410012543912</c:v>
                </c:pt>
                <c:pt idx="41">
                  <c:v>0.11255242404608833</c:v>
                </c:pt>
                <c:pt idx="42">
                  <c:v>0.12364251350389195</c:v>
                </c:pt>
                <c:pt idx="43">
                  <c:v>0.12624316224978777</c:v>
                </c:pt>
                <c:pt idx="44">
                  <c:v>0.12262698615785715</c:v>
                </c:pt>
                <c:pt idx="45">
                  <c:v>0.12205306594352575</c:v>
                </c:pt>
                <c:pt idx="46">
                  <c:v>0.12185050248742486</c:v>
                </c:pt>
                <c:pt idx="47">
                  <c:v>0.12861609262612533</c:v>
                </c:pt>
                <c:pt idx="48">
                  <c:v>0.12547940557139564</c:v>
                </c:pt>
                <c:pt idx="49">
                  <c:v>0.13025895273498772</c:v>
                </c:pt>
                <c:pt idx="50">
                  <c:v>0.12230756479952727</c:v>
                </c:pt>
                <c:pt idx="51">
                  <c:v>0.11997803335091294</c:v>
                </c:pt>
                <c:pt idx="52">
                  <c:v>0.14736336708747716</c:v>
                </c:pt>
                <c:pt idx="53">
                  <c:v>0.25375832851273256</c:v>
                </c:pt>
                <c:pt idx="54">
                  <c:v>0.12894705624884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38709677419355"/>
          <c:min val="0.060606060606060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2.25</c:v>
                </c:pt>
                <c:pt idx="1">
                  <c:v>740.6809</c:v>
                </c:pt>
                <c:pt idx="2">
                  <c:v>745.16</c:v>
                </c:pt>
                <c:pt idx="3">
                  <c:v>754.7308</c:v>
                </c:pt>
                <c:pt idx="4">
                  <c:v>754.027</c:v>
                </c:pt>
                <c:pt idx="5">
                  <c:v>743.75</c:v>
                </c:pt>
                <c:pt idx="6">
                  <c:v>733.8333</c:v>
                </c:pt>
                <c:pt idx="7">
                  <c:v>736.1471</c:v>
                </c:pt>
                <c:pt idx="8">
                  <c:v>730.8333</c:v>
                </c:pt>
                <c:pt idx="9">
                  <c:v>725.4722</c:v>
                </c:pt>
                <c:pt idx="10">
                  <c:v>718.3529</c:v>
                </c:pt>
                <c:pt idx="11">
                  <c:v>752.6905</c:v>
                </c:pt>
                <c:pt idx="12">
                  <c:v>746.6481</c:v>
                </c:pt>
                <c:pt idx="13">
                  <c:v>732.8605</c:v>
                </c:pt>
                <c:pt idx="14">
                  <c:v>702.2</c:v>
                </c:pt>
                <c:pt idx="15">
                  <c:v>748.0833</c:v>
                </c:pt>
                <c:pt idx="16">
                  <c:v>768.1538</c:v>
                </c:pt>
                <c:pt idx="17">
                  <c:v>584.9</c:v>
                </c:pt>
                <c:pt idx="18">
                  <c:v>774.9412</c:v>
                </c:pt>
                <c:pt idx="19">
                  <c:v>767.7647</c:v>
                </c:pt>
                <c:pt idx="20">
                  <c:v>800.6</c:v>
                </c:pt>
                <c:pt idx="21">
                  <c:v>783.8824</c:v>
                </c:pt>
                <c:pt idx="22">
                  <c:v>808.0</c:v>
                </c:pt>
                <c:pt idx="23">
                  <c:v>806.0</c:v>
                </c:pt>
                <c:pt idx="24">
                  <c:v>809.2857</c:v>
                </c:pt>
                <c:pt idx="25">
                  <c:v>807.9333</c:v>
                </c:pt>
                <c:pt idx="26">
                  <c:v>774.65</c:v>
                </c:pt>
                <c:pt idx="27">
                  <c:v>776.3889</c:v>
                </c:pt>
                <c:pt idx="28">
                  <c:v>776.2222</c:v>
                </c:pt>
                <c:pt idx="29">
                  <c:v>768.125</c:v>
                </c:pt>
                <c:pt idx="30">
                  <c:v>821.4444</c:v>
                </c:pt>
                <c:pt idx="31">
                  <c:v>802.25</c:v>
                </c:pt>
                <c:pt idx="32">
                  <c:v>788.0</c:v>
                </c:pt>
                <c:pt idx="33">
                  <c:v>728.0952</c:v>
                </c:pt>
                <c:pt idx="34">
                  <c:v>715.0857</c:v>
                </c:pt>
                <c:pt idx="35">
                  <c:v>790.4878</c:v>
                </c:pt>
                <c:pt idx="36">
                  <c:v>860.6923</c:v>
                </c:pt>
                <c:pt idx="37">
                  <c:v>885.5714</c:v>
                </c:pt>
                <c:pt idx="38">
                  <c:v>860.625</c:v>
                </c:pt>
                <c:pt idx="39">
                  <c:v>855.5263</c:v>
                </c:pt>
                <c:pt idx="40">
                  <c:v>864.1739</c:v>
                </c:pt>
                <c:pt idx="41">
                  <c:v>919.0</c:v>
                </c:pt>
                <c:pt idx="42">
                  <c:v>929.25</c:v>
                </c:pt>
                <c:pt idx="43">
                  <c:v>907.9444</c:v>
                </c:pt>
                <c:pt idx="44">
                  <c:v>877.0968</c:v>
                </c:pt>
                <c:pt idx="45">
                  <c:v>867.8788</c:v>
                </c:pt>
                <c:pt idx="46">
                  <c:v>842.2083</c:v>
                </c:pt>
                <c:pt idx="47">
                  <c:v>815.74</c:v>
                </c:pt>
                <c:pt idx="48">
                  <c:v>845.2333</c:v>
                </c:pt>
                <c:pt idx="49">
                  <c:v>755.1237</c:v>
                </c:pt>
                <c:pt idx="50">
                  <c:v>734.4255</c:v>
                </c:pt>
                <c:pt idx="51">
                  <c:v>744.3415</c:v>
                </c:pt>
                <c:pt idx="52">
                  <c:v>734.1136</c:v>
                </c:pt>
                <c:pt idx="53">
                  <c:v>762.375</c:v>
                </c:pt>
                <c:pt idx="54">
                  <c:v>794.871</c:v>
                </c:pt>
                <c:pt idx="55">
                  <c:v>783.7667</c:v>
                </c:pt>
                <c:pt idx="56">
                  <c:v>772.7576</c:v>
                </c:pt>
                <c:pt idx="57">
                  <c:v>778.8276</c:v>
                </c:pt>
                <c:pt idx="58">
                  <c:v>762.9167</c:v>
                </c:pt>
                <c:pt idx="59">
                  <c:v>764.5</c:v>
                </c:pt>
                <c:pt idx="60">
                  <c:v>778.85</c:v>
                </c:pt>
                <c:pt idx="61">
                  <c:v>813.6957</c:v>
                </c:pt>
                <c:pt idx="62">
                  <c:v>790.25</c:v>
                </c:pt>
                <c:pt idx="63">
                  <c:v>746.1563</c:v>
                </c:pt>
                <c:pt idx="64">
                  <c:v>753.5526</c:v>
                </c:pt>
                <c:pt idx="65">
                  <c:v>722.5862</c:v>
                </c:pt>
                <c:pt idx="66">
                  <c:v>676.5517</c:v>
                </c:pt>
                <c:pt idx="67">
                  <c:v>678.8</c:v>
                </c:pt>
                <c:pt idx="68">
                  <c:v>606.1852</c:v>
                </c:pt>
                <c:pt idx="69">
                  <c:v>619.1364</c:v>
                </c:pt>
                <c:pt idx="70">
                  <c:v>526.7647</c:v>
                </c:pt>
                <c:pt idx="71">
                  <c:v>752.7857</c:v>
                </c:pt>
                <c:pt idx="72">
                  <c:v>327.129</c:v>
                </c:pt>
                <c:pt idx="73">
                  <c:v>447.2727</c:v>
                </c:pt>
                <c:pt idx="74">
                  <c:v>911.7857</c:v>
                </c:pt>
                <c:pt idx="75">
                  <c:v>796.6667</c:v>
                </c:pt>
                <c:pt idx="76">
                  <c:v>908.6</c:v>
                </c:pt>
                <c:pt idx="77">
                  <c:v>943.0</c:v>
                </c:pt>
                <c:pt idx="78">
                  <c:v>922.8571</c:v>
                </c:pt>
                <c:pt idx="79">
                  <c:v>910.125</c:v>
                </c:pt>
                <c:pt idx="80">
                  <c:v>977.25</c:v>
                </c:pt>
                <c:pt idx="81">
                  <c:v>885.5625</c:v>
                </c:pt>
                <c:pt idx="82">
                  <c:v>836.3333</c:v>
                </c:pt>
                <c:pt idx="83">
                  <c:v>566.5</c:v>
                </c:pt>
                <c:pt idx="84">
                  <c:v>1080.2</c:v>
                </c:pt>
                <c:pt idx="85">
                  <c:v>909.7778</c:v>
                </c:pt>
                <c:pt idx="86">
                  <c:v>769.9412</c:v>
                </c:pt>
                <c:pt idx="87">
                  <c:v>734.84</c:v>
                </c:pt>
                <c:pt idx="88">
                  <c:v>510.3571</c:v>
                </c:pt>
                <c:pt idx="89">
                  <c:v>1006.0</c:v>
                </c:pt>
                <c:pt idx="90">
                  <c:v>639.0769</c:v>
                </c:pt>
                <c:pt idx="91">
                  <c:v>571.5</c:v>
                </c:pt>
                <c:pt idx="92">
                  <c:v>864.75</c:v>
                </c:pt>
                <c:pt idx="93">
                  <c:v>733.6364</c:v>
                </c:pt>
                <c:pt idx="94">
                  <c:v>560.3333</c:v>
                </c:pt>
                <c:pt idx="95">
                  <c:v>780.0</c:v>
                </c:pt>
                <c:pt idx="96">
                  <c:v>867.4</c:v>
                </c:pt>
                <c:pt idx="97">
                  <c:v>820.9412</c:v>
                </c:pt>
                <c:pt idx="98">
                  <c:v>727.85</c:v>
                </c:pt>
                <c:pt idx="99">
                  <c:v>750.1667</c:v>
                </c:pt>
                <c:pt idx="100">
                  <c:v>844.8182</c:v>
                </c:pt>
                <c:pt idx="101">
                  <c:v>909.7826</c:v>
                </c:pt>
                <c:pt idx="102">
                  <c:v>978.3333</c:v>
                </c:pt>
                <c:pt idx="103">
                  <c:v>892.8</c:v>
                </c:pt>
                <c:pt idx="104">
                  <c:v>949.8333</c:v>
                </c:pt>
              </c:numCache>
            </c:numRef>
          </c:xVal>
          <c:yVal>
            <c:numRef>
              <c:f>Sheet1!$B$2:$B$106</c:f>
              <c:numCache>
                <c:formatCode>General</c:formatCode>
                <c:ptCount val="105"/>
                <c:pt idx="0">
                  <c:v>0.22325581395348837</c:v>
                </c:pt>
                <c:pt idx="1">
                  <c:v>0.27167630057803466</c:v>
                </c:pt>
                <c:pt idx="2">
                  <c:v>0.2840909090909091</c:v>
                </c:pt>
                <c:pt idx="3">
                  <c:v>0.28888888888888886</c:v>
                </c:pt>
                <c:pt idx="4">
                  <c:v>0.23125</c:v>
                </c:pt>
                <c:pt idx="5">
                  <c:v>0.225</c:v>
                </c:pt>
                <c:pt idx="6">
                  <c:v>0.21176470588235294</c:v>
                </c:pt>
                <c:pt idx="7">
                  <c:v>0.25757575757575757</c:v>
                </c:pt>
                <c:pt idx="8">
                  <c:v>0.2903225806451613</c:v>
                </c:pt>
                <c:pt idx="9">
                  <c:v>0.22085889570552147</c:v>
                </c:pt>
                <c:pt idx="10">
                  <c:v>0.19318181818181818</c:v>
                </c:pt>
                <c:pt idx="11">
                  <c:v>0.21761658031088082</c:v>
                </c:pt>
                <c:pt idx="12">
                  <c:v>0.271356783919598</c:v>
                </c:pt>
                <c:pt idx="13">
                  <c:v>0.2205128205128205</c:v>
                </c:pt>
                <c:pt idx="14">
                  <c:v>0.2023121387283237</c:v>
                </c:pt>
                <c:pt idx="15">
                  <c:v>0.17142857142857143</c:v>
                </c:pt>
                <c:pt idx="16">
                  <c:v>0.20634920634920634</c:v>
                </c:pt>
                <c:pt idx="17">
                  <c:v>0.22556390977443608</c:v>
                </c:pt>
                <c:pt idx="18">
                  <c:v>0.14655172413793102</c:v>
                </c:pt>
                <c:pt idx="19">
                  <c:v>0.1717171717171717</c:v>
                </c:pt>
                <c:pt idx="20">
                  <c:v>0.15267175572519084</c:v>
                </c:pt>
                <c:pt idx="21">
                  <c:v>0.2073170731707317</c:v>
                </c:pt>
                <c:pt idx="22">
                  <c:v>0.17391304347826086</c:v>
                </c:pt>
                <c:pt idx="23">
                  <c:v>0.16494845360824742</c:v>
                </c:pt>
                <c:pt idx="24">
                  <c:v>0.20388349514563106</c:v>
                </c:pt>
                <c:pt idx="25">
                  <c:v>0.18292682926829268</c:v>
                </c:pt>
                <c:pt idx="26">
                  <c:v>0.19801980198019803</c:v>
                </c:pt>
                <c:pt idx="27">
                  <c:v>0.19148936170212766</c:v>
                </c:pt>
                <c:pt idx="28">
                  <c:v>0.16822429906542055</c:v>
                </c:pt>
                <c:pt idx="29">
                  <c:v>0.19672131147540983</c:v>
                </c:pt>
                <c:pt idx="30">
                  <c:v>0.1956521739130435</c:v>
                </c:pt>
                <c:pt idx="31">
                  <c:v>0.1568627450980392</c:v>
                </c:pt>
                <c:pt idx="32">
                  <c:v>0.12121212121212122</c:v>
                </c:pt>
                <c:pt idx="33">
                  <c:v>0.14093959731543623</c:v>
                </c:pt>
                <c:pt idx="34">
                  <c:v>0.19444444444444445</c:v>
                </c:pt>
                <c:pt idx="35">
                  <c:v>0.1752136752136752</c:v>
                </c:pt>
                <c:pt idx="36">
                  <c:v>0.1925925925925926</c:v>
                </c:pt>
                <c:pt idx="37">
                  <c:v>0.2</c:v>
                </c:pt>
                <c:pt idx="38">
                  <c:v>0.16494845360824742</c:v>
                </c:pt>
                <c:pt idx="39">
                  <c:v>0.18446601941747573</c:v>
                </c:pt>
                <c:pt idx="40">
                  <c:v>0.1619718309859155</c:v>
                </c:pt>
                <c:pt idx="41">
                  <c:v>0.13043478260869565</c:v>
                </c:pt>
                <c:pt idx="42">
                  <c:v>0.14084507042253522</c:v>
                </c:pt>
                <c:pt idx="43">
                  <c:v>0.13432835820895522</c:v>
                </c:pt>
                <c:pt idx="44">
                  <c:v>0.1751412429378531</c:v>
                </c:pt>
                <c:pt idx="45">
                  <c:v>0.1625615763546798</c:v>
                </c:pt>
                <c:pt idx="46">
                  <c:v>0.16783216783216784</c:v>
                </c:pt>
                <c:pt idx="47">
                  <c:v>0.2145922746781116</c:v>
                </c:pt>
                <c:pt idx="48">
                  <c:v>0.19230769230769232</c:v>
                </c:pt>
                <c:pt idx="49">
                  <c:v>0.21603563474387527</c:v>
                </c:pt>
                <c:pt idx="50">
                  <c:v>0.20614035087719298</c:v>
                </c:pt>
                <c:pt idx="51">
                  <c:v>0.21354166666666666</c:v>
                </c:pt>
                <c:pt idx="52">
                  <c:v>0.22110552763819097</c:v>
                </c:pt>
                <c:pt idx="53">
                  <c:v>0.17486338797814208</c:v>
                </c:pt>
                <c:pt idx="54">
                  <c:v>0.18562874251497005</c:v>
                </c:pt>
                <c:pt idx="55">
                  <c:v>0.2127659574468085</c:v>
                </c:pt>
                <c:pt idx="56">
                  <c:v>0.2323943661971831</c:v>
                </c:pt>
                <c:pt idx="57">
                  <c:v>0.1870967741935484</c:v>
                </c:pt>
                <c:pt idx="58">
                  <c:v>0.1925133689839572</c:v>
                </c:pt>
                <c:pt idx="59">
                  <c:v>0.1694915254237288</c:v>
                </c:pt>
                <c:pt idx="60">
                  <c:v>0.12422360248447205</c:v>
                </c:pt>
                <c:pt idx="61">
                  <c:v>0.1597222222222222</c:v>
                </c:pt>
                <c:pt idx="62">
                  <c:v>0.11627906976744186</c:v>
                </c:pt>
                <c:pt idx="63">
                  <c:v>0.17582417582417584</c:v>
                </c:pt>
                <c:pt idx="64">
                  <c:v>0.19689119170984457</c:v>
                </c:pt>
                <c:pt idx="65">
                  <c:v>0.17159763313609466</c:v>
                </c:pt>
                <c:pt idx="66">
                  <c:v>0.1695906432748538</c:v>
                </c:pt>
                <c:pt idx="67">
                  <c:v>0.20833333333333334</c:v>
                </c:pt>
                <c:pt idx="68">
                  <c:v>0.21774193548387097</c:v>
                </c:pt>
                <c:pt idx="69">
                  <c:v>0.21153846153846154</c:v>
                </c:pt>
                <c:pt idx="70">
                  <c:v>0.17</c:v>
                </c:pt>
                <c:pt idx="71">
                  <c:v>0.15555555555555556</c:v>
                </c:pt>
                <c:pt idx="72">
                  <c:v>0.25833333333333336</c:v>
                </c:pt>
                <c:pt idx="73">
                  <c:v>0.21782178217821782</c:v>
                </c:pt>
                <c:pt idx="74">
                  <c:v>0.13592233009708737</c:v>
                </c:pt>
                <c:pt idx="75">
                  <c:v>0.08823529411764706</c:v>
                </c:pt>
                <c:pt idx="76">
                  <c:v>0.12195121951219512</c:v>
                </c:pt>
                <c:pt idx="77">
                  <c:v>0.12307692307692308</c:v>
                </c:pt>
                <c:pt idx="78">
                  <c:v>0.08974358974358974</c:v>
                </c:pt>
                <c:pt idx="79">
                  <c:v>0.09302325581395349</c:v>
                </c:pt>
                <c:pt idx="80">
                  <c:v>0.11594202898550725</c:v>
                </c:pt>
                <c:pt idx="81">
                  <c:v>0.15384615384615385</c:v>
                </c:pt>
                <c:pt idx="82">
                  <c:v>0.08333333333333333</c:v>
                </c:pt>
                <c:pt idx="83">
                  <c:v>0.19718309859154928</c:v>
                </c:pt>
                <c:pt idx="84">
                  <c:v>0.07575757575757576</c:v>
                </c:pt>
                <c:pt idx="85">
                  <c:v>0.10588235294117647</c:v>
                </c:pt>
                <c:pt idx="86">
                  <c:v>0.14285714285714285</c:v>
                </c:pt>
                <c:pt idx="87">
                  <c:v>0.14285714285714285</c:v>
                </c:pt>
                <c:pt idx="88">
                  <c:v>0.1686746987951807</c:v>
                </c:pt>
                <c:pt idx="89">
                  <c:v>0.125</c:v>
                </c:pt>
                <c:pt idx="90">
                  <c:v>0.17333333333333334</c:v>
                </c:pt>
                <c:pt idx="91">
                  <c:v>0.1590909090909091</c:v>
                </c:pt>
                <c:pt idx="92">
                  <c:v>0.11009174311926606</c:v>
                </c:pt>
                <c:pt idx="93">
                  <c:v>0.12222222222222222</c:v>
                </c:pt>
                <c:pt idx="94">
                  <c:v>0.15789473684210525</c:v>
                </c:pt>
                <c:pt idx="95">
                  <c:v>0.12244897959183673</c:v>
                </c:pt>
                <c:pt idx="96">
                  <c:v>0.11194029850746269</c:v>
                </c:pt>
                <c:pt idx="97">
                  <c:v>0.11486486486486487</c:v>
                </c:pt>
                <c:pt idx="98">
                  <c:v>0.12269938650306748</c:v>
                </c:pt>
                <c:pt idx="99">
                  <c:v>0.10762331838565023</c:v>
                </c:pt>
                <c:pt idx="100">
                  <c:v>0.14666666666666667</c:v>
                </c:pt>
                <c:pt idx="101">
                  <c:v>0.13068181818181818</c:v>
                </c:pt>
                <c:pt idx="102">
                  <c:v>0.10869565217391304</c:v>
                </c:pt>
                <c:pt idx="103">
                  <c:v>0.12096774193548387</c:v>
                </c:pt>
                <c:pt idx="104">
                  <c:v>0.1417322834645669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47.1765</c:v>
                </c:pt>
                <c:pt idx="1">
                  <c:v>836.8462</c:v>
                </c:pt>
                <c:pt idx="2">
                  <c:v>657.35</c:v>
                </c:pt>
                <c:pt idx="3">
                  <c:v>899.9474</c:v>
                </c:pt>
                <c:pt idx="4">
                  <c:v>937.4118</c:v>
                </c:pt>
                <c:pt idx="5">
                  <c:v>978.6429</c:v>
                </c:pt>
                <c:pt idx="6">
                  <c:v>638.1905</c:v>
                </c:pt>
                <c:pt idx="7">
                  <c:v>778.0625</c:v>
                </c:pt>
                <c:pt idx="8">
                  <c:v>886.9333</c:v>
                </c:pt>
                <c:pt idx="9">
                  <c:v>948.8</c:v>
                </c:pt>
                <c:pt idx="10">
                  <c:v>939.5294</c:v>
                </c:pt>
                <c:pt idx="11">
                  <c:v>965.7</c:v>
                </c:pt>
                <c:pt idx="12">
                  <c:v>970.8824</c:v>
                </c:pt>
                <c:pt idx="13">
                  <c:v>948.7647</c:v>
                </c:pt>
                <c:pt idx="14">
                  <c:v>972.0</c:v>
                </c:pt>
                <c:pt idx="15">
                  <c:v>941.9091</c:v>
                </c:pt>
                <c:pt idx="16">
                  <c:v>1002.8333</c:v>
                </c:pt>
                <c:pt idx="17">
                  <c:v>916.5556</c:v>
                </c:pt>
                <c:pt idx="18">
                  <c:v>604.8571</c:v>
                </c:pt>
                <c:pt idx="19">
                  <c:v>900.7857</c:v>
                </c:pt>
                <c:pt idx="20">
                  <c:v>809.8889</c:v>
                </c:pt>
                <c:pt idx="21">
                  <c:v>920.2222</c:v>
                </c:pt>
                <c:pt idx="22">
                  <c:v>1014.125</c:v>
                </c:pt>
                <c:pt idx="23">
                  <c:v>1067.6667</c:v>
                </c:pt>
                <c:pt idx="24">
                  <c:v>924.6</c:v>
                </c:pt>
                <c:pt idx="25">
                  <c:v>1116.3333</c:v>
                </c:pt>
                <c:pt idx="26">
                  <c:v>1108.0</c:v>
                </c:pt>
                <c:pt idx="27">
                  <c:v>982.4444</c:v>
                </c:pt>
                <c:pt idx="28">
                  <c:v>1007.4545</c:v>
                </c:pt>
                <c:pt idx="29">
                  <c:v>1028.8571</c:v>
                </c:pt>
                <c:pt idx="30">
                  <c:v>1141.5</c:v>
                </c:pt>
                <c:pt idx="31">
                  <c:v>915.3333</c:v>
                </c:pt>
                <c:pt idx="32">
                  <c:v>1111.6</c:v>
                </c:pt>
                <c:pt idx="33">
                  <c:v>1059.9444</c:v>
                </c:pt>
                <c:pt idx="34">
                  <c:v>1095.1786</c:v>
                </c:pt>
                <c:pt idx="35">
                  <c:v>1033.4615</c:v>
                </c:pt>
                <c:pt idx="36">
                  <c:v>985.4</c:v>
                </c:pt>
                <c:pt idx="37">
                  <c:v>973.2857</c:v>
                </c:pt>
                <c:pt idx="38">
                  <c:v>861.3333</c:v>
                </c:pt>
                <c:pt idx="39">
                  <c:v>931.1176</c:v>
                </c:pt>
                <c:pt idx="40">
                  <c:v>1091.25</c:v>
                </c:pt>
                <c:pt idx="41">
                  <c:v>1077.5455</c:v>
                </c:pt>
                <c:pt idx="42">
                  <c:v>1071.125</c:v>
                </c:pt>
                <c:pt idx="43">
                  <c:v>1061.3571</c:v>
                </c:pt>
                <c:pt idx="44">
                  <c:v>988.5333</c:v>
                </c:pt>
                <c:pt idx="45">
                  <c:v>998.0588</c:v>
                </c:pt>
                <c:pt idx="46">
                  <c:v>1034.0</c:v>
                </c:pt>
                <c:pt idx="47">
                  <c:v>899.0</c:v>
                </c:pt>
                <c:pt idx="48">
                  <c:v>890.1111</c:v>
                </c:pt>
                <c:pt idx="49">
                  <c:v>902.2917</c:v>
                </c:pt>
                <c:pt idx="50">
                  <c:v>982.4231</c:v>
                </c:pt>
                <c:pt idx="51">
                  <c:v>946.7143</c:v>
                </c:pt>
              </c:numCache>
            </c:numRef>
          </c:xVal>
          <c:yVal>
            <c:numRef>
              <c:f>Sheet1!$B$109:$B$160</c:f>
              <c:numCache>
                <c:formatCode>General</c:formatCode>
                <c:ptCount val="52"/>
                <c:pt idx="0">
                  <c:v>0.1328125</c:v>
                </c:pt>
                <c:pt idx="1">
                  <c:v>0.1111111111111111</c:v>
                </c:pt>
                <c:pt idx="2">
                  <c:v>0.16</c:v>
                </c:pt>
                <c:pt idx="3">
                  <c:v>0.1623931623931624</c:v>
                </c:pt>
                <c:pt idx="4">
                  <c:v>0.16831683168316833</c:v>
                </c:pt>
                <c:pt idx="5">
                  <c:v>0.125</c:v>
                </c:pt>
                <c:pt idx="6">
                  <c:v>0.168</c:v>
                </c:pt>
                <c:pt idx="7">
                  <c:v>0.13559322033898305</c:v>
                </c:pt>
                <c:pt idx="8">
                  <c:v>0.16304347826086957</c:v>
                </c:pt>
                <c:pt idx="9">
                  <c:v>0.08695652173913043</c:v>
                </c:pt>
                <c:pt idx="10">
                  <c:v>0.1349206349206349</c:v>
                </c:pt>
                <c:pt idx="11">
                  <c:v>0.11976047904191617</c:v>
                </c:pt>
                <c:pt idx="12">
                  <c:v>0.1259259259259259</c:v>
                </c:pt>
                <c:pt idx="13">
                  <c:v>0.1297709923664122</c:v>
                </c:pt>
                <c:pt idx="14">
                  <c:v>0.12931034482758622</c:v>
                </c:pt>
                <c:pt idx="15">
                  <c:v>0.11956521739130435</c:v>
                </c:pt>
                <c:pt idx="16">
                  <c:v>0.1276595744680851</c:v>
                </c:pt>
                <c:pt idx="17">
                  <c:v>0.1232876712328767</c:v>
                </c:pt>
                <c:pt idx="18">
                  <c:v>0.20588235294117646</c:v>
                </c:pt>
                <c:pt idx="19">
                  <c:v>0.1308411214953271</c:v>
                </c:pt>
                <c:pt idx="20">
                  <c:v>0.140625</c:v>
                </c:pt>
                <c:pt idx="21">
                  <c:v>0.13043478260869565</c:v>
                </c:pt>
                <c:pt idx="22">
                  <c:v>0.11428571428571428</c:v>
                </c:pt>
                <c:pt idx="23">
                  <c:v>0.140625</c:v>
                </c:pt>
                <c:pt idx="24">
                  <c:v>0.15873015873015872</c:v>
                </c:pt>
                <c:pt idx="25">
                  <c:v>0.09230769230769231</c:v>
                </c:pt>
                <c:pt idx="26">
                  <c:v>0.11940298507462686</c:v>
                </c:pt>
                <c:pt idx="27">
                  <c:v>0.125</c:v>
                </c:pt>
                <c:pt idx="28">
                  <c:v>0.13414634146341464</c:v>
                </c:pt>
                <c:pt idx="29">
                  <c:v>0.11290322580645161</c:v>
                </c:pt>
                <c:pt idx="30">
                  <c:v>0.09523809523809523</c:v>
                </c:pt>
                <c:pt idx="31">
                  <c:v>0.10526315789473684</c:v>
                </c:pt>
                <c:pt idx="32">
                  <c:v>0.09090909090909091</c:v>
                </c:pt>
                <c:pt idx="33">
                  <c:v>0.18556701030927836</c:v>
                </c:pt>
                <c:pt idx="34">
                  <c:v>0.1696969696969697</c:v>
                </c:pt>
                <c:pt idx="35">
                  <c:v>0.11926605504587157</c:v>
                </c:pt>
                <c:pt idx="36">
                  <c:v>0.10869565217391304</c:v>
                </c:pt>
                <c:pt idx="37">
                  <c:v>0.12727272727272726</c:v>
                </c:pt>
                <c:pt idx="38">
                  <c:v>0.0821917808219178</c:v>
                </c:pt>
                <c:pt idx="39">
                  <c:v>0.1619047619047619</c:v>
                </c:pt>
                <c:pt idx="40">
                  <c:v>0.13793103448275862</c:v>
                </c:pt>
                <c:pt idx="41">
                  <c:v>0.13414634146341464</c:v>
                </c:pt>
                <c:pt idx="42">
                  <c:v>0.1</c:v>
                </c:pt>
                <c:pt idx="43">
                  <c:v>0.14</c:v>
                </c:pt>
                <c:pt idx="44">
                  <c:v>0.14018691588785046</c:v>
                </c:pt>
                <c:pt idx="45">
                  <c:v>0.11486486486486487</c:v>
                </c:pt>
                <c:pt idx="46">
                  <c:v>0.140625</c:v>
                </c:pt>
                <c:pt idx="47">
                  <c:v>0.12173913043478261</c:v>
                </c:pt>
                <c:pt idx="48">
                  <c:v>0.14173228346456693</c:v>
                </c:pt>
                <c:pt idx="49">
                  <c:v>0.1188118811881188</c:v>
                </c:pt>
                <c:pt idx="50">
                  <c:v>0.1015625</c:v>
                </c:pt>
                <c:pt idx="51">
                  <c:v>0.1228070175438596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8.5361308822341</c:v>
                </c:pt>
              </c:numCache>
            </c:numRef>
          </c:xVal>
          <c:yVal>
            <c:numRef>
              <c:f>Sheet1!$B$163:$B$164</c:f>
              <c:numCache>
                <c:formatCode>General</c:formatCode>
                <c:ptCount val="2"/>
                <c:pt idx="0">
                  <c:v>0.25375832851273256</c:v>
                </c:pt>
                <c:pt idx="1">
                  <c:v>0.253758328512732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8.5361308822341</c:v>
                </c:pt>
                <c:pt idx="1">
                  <c:v>-398.5361308822341</c:v>
                </c:pt>
              </c:numCache>
            </c:numRef>
          </c:xVal>
          <c:yVal>
            <c:numRef>
              <c:f>Sheet1!$B$167:$B$168</c:f>
              <c:numCache>
                <c:formatCode>General</c:formatCode>
                <c:ptCount val="2"/>
                <c:pt idx="0">
                  <c:v>0.25375832851273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69.4288625247739</c:v>
                </c:pt>
              </c:numCache>
            </c:numRef>
          </c:xVal>
          <c:yVal>
            <c:numRef>
              <c:f>Sheet1!$B$171:$B$172</c:f>
              <c:numCache>
                <c:formatCode>General</c:formatCode>
                <c:ptCount val="2"/>
                <c:pt idx="0">
                  <c:v>0.14736336708747716</c:v>
                </c:pt>
                <c:pt idx="1">
                  <c:v>0.147363367087477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69.4288625247739</c:v>
                </c:pt>
                <c:pt idx="1">
                  <c:v>769.4288625247739</c:v>
                </c:pt>
              </c:numCache>
            </c:numRef>
          </c:xVal>
          <c:yVal>
            <c:numRef>
              <c:f>Sheet1!$B$175:$B$176</c:f>
              <c:numCache>
                <c:formatCode>General</c:formatCode>
                <c:ptCount val="2"/>
                <c:pt idx="0">
                  <c:v>0.147363367087477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71.5963907524703</c:v>
                </c:pt>
              </c:numCache>
            </c:numRef>
          </c:xVal>
          <c:yVal>
            <c:numRef>
              <c:f>Sheet1!$B$179:$B$180</c:f>
              <c:numCache>
                <c:formatCode>General</c:formatCode>
                <c:ptCount val="2"/>
                <c:pt idx="0">
                  <c:v>0.1289470562488445</c:v>
                </c:pt>
                <c:pt idx="1">
                  <c:v>0.12894705624884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71.5963907524703</c:v>
                </c:pt>
                <c:pt idx="1">
                  <c:v>971.5963907524703</c:v>
                </c:pt>
              </c:numCache>
            </c:numRef>
          </c:xVal>
          <c:yVal>
            <c:numRef>
              <c:f>Sheet1!$B$183:$B$184</c:f>
              <c:numCache>
                <c:formatCode>General</c:formatCode>
                <c:ptCount val="2"/>
                <c:pt idx="0">
                  <c:v>0.1289470562488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47.1765</c:v>
                </c:pt>
                <c:pt idx="1">
                  <c:v>836.8462</c:v>
                </c:pt>
                <c:pt idx="2">
                  <c:v>657.35</c:v>
                </c:pt>
                <c:pt idx="3">
                  <c:v>899.9474</c:v>
                </c:pt>
                <c:pt idx="4">
                  <c:v>937.4118</c:v>
                </c:pt>
                <c:pt idx="5">
                  <c:v>978.6429</c:v>
                </c:pt>
                <c:pt idx="6">
                  <c:v>638.1905</c:v>
                </c:pt>
                <c:pt idx="7">
                  <c:v>778.0625</c:v>
                </c:pt>
                <c:pt idx="8">
                  <c:v>886.9333</c:v>
                </c:pt>
                <c:pt idx="9">
                  <c:v>948.8</c:v>
                </c:pt>
                <c:pt idx="10">
                  <c:v>939.5294</c:v>
                </c:pt>
                <c:pt idx="11">
                  <c:v>965.7</c:v>
                </c:pt>
                <c:pt idx="12">
                  <c:v>970.8824</c:v>
                </c:pt>
                <c:pt idx="13">
                  <c:v>948.7647</c:v>
                </c:pt>
                <c:pt idx="14">
                  <c:v>972.0</c:v>
                </c:pt>
                <c:pt idx="15">
                  <c:v>941.9091</c:v>
                </c:pt>
                <c:pt idx="16">
                  <c:v>1002.8333</c:v>
                </c:pt>
                <c:pt idx="17">
                  <c:v>916.5556</c:v>
                </c:pt>
                <c:pt idx="18">
                  <c:v>604.8571</c:v>
                </c:pt>
                <c:pt idx="19">
                  <c:v>900.7857</c:v>
                </c:pt>
                <c:pt idx="20">
                  <c:v>809.8889</c:v>
                </c:pt>
                <c:pt idx="21">
                  <c:v>920.2222</c:v>
                </c:pt>
                <c:pt idx="22">
                  <c:v>1014.125</c:v>
                </c:pt>
                <c:pt idx="23">
                  <c:v>1067.6667</c:v>
                </c:pt>
                <c:pt idx="24">
                  <c:v>924.6</c:v>
                </c:pt>
                <c:pt idx="25">
                  <c:v>1116.3333</c:v>
                </c:pt>
                <c:pt idx="26">
                  <c:v>1108.0</c:v>
                </c:pt>
                <c:pt idx="27">
                  <c:v>982.4444</c:v>
                </c:pt>
                <c:pt idx="28">
                  <c:v>1007.4545</c:v>
                </c:pt>
                <c:pt idx="29">
                  <c:v>1028.8571</c:v>
                </c:pt>
                <c:pt idx="30">
                  <c:v>1141.5</c:v>
                </c:pt>
                <c:pt idx="31">
                  <c:v>915.3333</c:v>
                </c:pt>
                <c:pt idx="32">
                  <c:v>1111.6</c:v>
                </c:pt>
                <c:pt idx="33">
                  <c:v>1059.9444</c:v>
                </c:pt>
                <c:pt idx="34">
                  <c:v>1095.1786</c:v>
                </c:pt>
                <c:pt idx="35">
                  <c:v>1033.4615</c:v>
                </c:pt>
                <c:pt idx="36">
                  <c:v>985.4</c:v>
                </c:pt>
                <c:pt idx="37">
                  <c:v>973.2857</c:v>
                </c:pt>
                <c:pt idx="38">
                  <c:v>861.3333</c:v>
                </c:pt>
                <c:pt idx="39">
                  <c:v>931.1176</c:v>
                </c:pt>
                <c:pt idx="40">
                  <c:v>1091.25</c:v>
                </c:pt>
                <c:pt idx="41">
                  <c:v>1077.5455</c:v>
                </c:pt>
                <c:pt idx="42">
                  <c:v>1071.125</c:v>
                </c:pt>
                <c:pt idx="43">
                  <c:v>1061.3571</c:v>
                </c:pt>
                <c:pt idx="44">
                  <c:v>988.5333</c:v>
                </c:pt>
                <c:pt idx="45">
                  <c:v>998.0588</c:v>
                </c:pt>
                <c:pt idx="46">
                  <c:v>1034.0</c:v>
                </c:pt>
                <c:pt idx="47">
                  <c:v>899.0</c:v>
                </c:pt>
                <c:pt idx="48">
                  <c:v>890.1111</c:v>
                </c:pt>
                <c:pt idx="49">
                  <c:v>902.2917</c:v>
                </c:pt>
                <c:pt idx="50">
                  <c:v>982.4231</c:v>
                </c:pt>
                <c:pt idx="51">
                  <c:v>946.7143</c:v>
                </c:pt>
                <c:pt idx="52">
                  <c:v>769.4288625247739</c:v>
                </c:pt>
                <c:pt idx="53">
                  <c:v>-398.5361308822341</c:v>
                </c:pt>
                <c:pt idx="54">
                  <c:v>971.5963907524703</c:v>
                </c:pt>
              </c:numCache>
            </c:numRef>
          </c:xVal>
          <c:yVal>
            <c:numRef>
              <c:f>Sheet1!$B$187:$B$241</c:f>
              <c:numCache>
                <c:formatCode>General</c:formatCode>
                <c:ptCount val="55"/>
                <c:pt idx="0">
                  <c:v>0.14028099994738696</c:v>
                </c:pt>
                <c:pt idx="1">
                  <c:v>0.14122203146478307</c:v>
                </c:pt>
                <c:pt idx="2">
                  <c:v>0.15757311337458557</c:v>
                </c:pt>
                <c:pt idx="3">
                  <c:v>0.13547387139338976</c:v>
                </c:pt>
                <c:pt idx="4">
                  <c:v>0.13206107784621937</c:v>
                </c:pt>
                <c:pt idx="5">
                  <c:v>0.12830515937367645</c:v>
                </c:pt>
                <c:pt idx="6">
                  <c:v>0.15931843474546062</c:v>
                </c:pt>
                <c:pt idx="7">
                  <c:v>0.1465768918666259</c:v>
                </c:pt>
                <c:pt idx="8">
                  <c:v>0.13665938181133935</c:v>
                </c:pt>
                <c:pt idx="9">
                  <c:v>0.1310236776616739</c:v>
                </c:pt>
                <c:pt idx="10">
                  <c:v>0.13186817654216837</c:v>
                </c:pt>
                <c:pt idx="11">
                  <c:v>0.12948418387698285</c:v>
                </c:pt>
                <c:pt idx="12">
                  <c:v>0.12901209674149272</c:v>
                </c:pt>
                <c:pt idx="13">
                  <c:v>0.13102689329070344</c:v>
                </c:pt>
                <c:pt idx="14">
                  <c:v>0.1289102897442282</c:v>
                </c:pt>
                <c:pt idx="15">
                  <c:v>0.13165139942030868</c:v>
                </c:pt>
                <c:pt idx="16">
                  <c:v>0.12610155165478945</c:v>
                </c:pt>
                <c:pt idx="17">
                  <c:v>0.133960958927419</c:v>
                </c:pt>
                <c:pt idx="18">
                  <c:v>0.16235491771129618</c:v>
                </c:pt>
                <c:pt idx="19">
                  <c:v>0.13539750703601067</c:v>
                </c:pt>
                <c:pt idx="20">
                  <c:v>0.14367768802111752</c:v>
                </c:pt>
                <c:pt idx="21">
                  <c:v>0.13362695254215579</c:v>
                </c:pt>
                <c:pt idx="22">
                  <c:v>0.12507294207084885</c:v>
                </c:pt>
                <c:pt idx="23">
                  <c:v>0.12019559802518064</c:v>
                </c:pt>
                <c:pt idx="24">
                  <c:v>0.13322815988590606</c:v>
                </c:pt>
                <c:pt idx="25">
                  <c:v>0.11576234783452705</c:v>
                </c:pt>
                <c:pt idx="26">
                  <c:v>0.11652146402127059</c:v>
                </c:pt>
                <c:pt idx="27">
                  <c:v>0.12795886436642775</c:v>
                </c:pt>
                <c:pt idx="28">
                  <c:v>0.1256805866442679</c:v>
                </c:pt>
                <c:pt idx="29">
                  <c:v>0.12373093163384016</c:v>
                </c:pt>
                <c:pt idx="30">
                  <c:v>0.11346980474392442</c:v>
                </c:pt>
                <c:pt idx="31">
                  <c:v>0.13407230349860408</c:v>
                </c:pt>
                <c:pt idx="32">
                  <c:v>0.11619352451683937</c:v>
                </c:pt>
                <c:pt idx="33">
                  <c:v>0.12089905559047764</c:v>
                </c:pt>
                <c:pt idx="34">
                  <c:v>0.11768942056630242</c:v>
                </c:pt>
                <c:pt idx="35">
                  <c:v>0.12331149700767262</c:v>
                </c:pt>
                <c:pt idx="36">
                  <c:v>0.1276896260332897</c:v>
                </c:pt>
                <c:pt idx="37">
                  <c:v>0.12879316979399286</c:v>
                </c:pt>
                <c:pt idx="38">
                  <c:v>0.13899139606507255</c:v>
                </c:pt>
                <c:pt idx="39">
                  <c:v>0.13263444363199467</c:v>
                </c:pt>
                <c:pt idx="40">
                  <c:v>0.11804729365994368</c:v>
                </c:pt>
                <c:pt idx="41">
                  <c:v>0.11929569558729863</c:v>
                </c:pt>
                <c:pt idx="42">
                  <c:v>0.11988056658402105</c:v>
                </c:pt>
                <c:pt idx="43">
                  <c:v>0.12077036666328043</c:v>
                </c:pt>
                <c:pt idx="44">
                  <c:v>0.1274042002418357</c:v>
                </c:pt>
                <c:pt idx="45">
                  <c:v>0.12653648142254137</c:v>
                </c:pt>
                <c:pt idx="46">
                  <c:v>0.1232624427234681</c:v>
                </c:pt>
                <c:pt idx="47">
                  <c:v>0.13556017413963925</c:v>
                </c:pt>
                <c:pt idx="48">
                  <c:v>0.13636990232323334</c:v>
                </c:pt>
                <c:pt idx="49">
                  <c:v>0.13526031900999028</c:v>
                </c:pt>
                <c:pt idx="50">
                  <c:v>0.1279608046751623</c:v>
                </c:pt>
                <c:pt idx="51">
                  <c:v>0.1312136730573384</c:v>
                </c:pt>
                <c:pt idx="52">
                  <c:v>0.14736336708747716</c:v>
                </c:pt>
                <c:pt idx="53">
                  <c:v>0.25375832851273256</c:v>
                </c:pt>
                <c:pt idx="54">
                  <c:v>0.12894705624884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3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38709677419355"/>
          <c:min val="0.060606060606060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7</c:f>
              <c:numCache>
                <c:formatCode>General</c:formatCode>
                <c:ptCount val="106"/>
                <c:pt idx="0">
                  <c:v>0.9233077692564188</c:v>
                </c:pt>
                <c:pt idx="1">
                  <c:v>1.0099620248849497</c:v>
                </c:pt>
                <c:pt idx="2">
                  <c:v>0.9618513560418337</c:v>
                </c:pt>
                <c:pt idx="3">
                  <c:v>0.9089492135266646</c:v>
                </c:pt>
                <c:pt idx="4">
                  <c:v>0.993284373456282</c:v>
                </c:pt>
                <c:pt idx="5">
                  <c:v>0.9837962962962963</c:v>
                </c:pt>
                <c:pt idx="6">
                  <c:v>1.2415307186238413</c:v>
                </c:pt>
                <c:pt idx="7">
                  <c:v>1.108238012796387</c:v>
                </c:pt>
                <c:pt idx="8">
                  <c:v>0.8983814382298709</c:v>
                </c:pt>
                <c:pt idx="9">
                  <c:v>1.0053661308203992</c:v>
                </c:pt>
                <c:pt idx="10">
                  <c:v>1.2716711197546986</c:v>
                </c:pt>
                <c:pt idx="11">
                  <c:v>1.286430524696633</c:v>
                </c:pt>
                <c:pt idx="12">
                  <c:v>0.9509709633749474</c:v>
                </c:pt>
                <c:pt idx="13">
                  <c:v>1.0195925639328316</c:v>
                </c:pt>
                <c:pt idx="14">
                  <c:v>1.0392698056600984</c:v>
                </c:pt>
                <c:pt idx="15">
                  <c:v>0.8559305491990846</c:v>
                </c:pt>
                <c:pt idx="16">
                  <c:v>1.1036692528735632</c:v>
                </c:pt>
                <c:pt idx="17">
                  <c:v>0.7723637195314793</c:v>
                </c:pt>
                <c:pt idx="18">
                  <c:v>1.010165381182567</c:v>
                </c:pt>
                <c:pt idx="19">
                  <c:v>1.0535364665523155</c:v>
                </c:pt>
                <c:pt idx="20">
                  <c:v>1.079848934448341</c:v>
                </c:pt>
                <c:pt idx="21">
                  <c:v>1.0767615384615383</c:v>
                </c:pt>
                <c:pt idx="22">
                  <c:v>1.0816599732262382</c:v>
                </c:pt>
                <c:pt idx="23">
                  <c:v>1.1174149395604678</c:v>
                </c:pt>
                <c:pt idx="24">
                  <c:v>1.1236957789502915</c:v>
                </c:pt>
                <c:pt idx="25">
                  <c:v>1.2378956977581361</c:v>
                </c:pt>
                <c:pt idx="26">
                  <c:v>0.988284116023139</c:v>
                </c:pt>
                <c:pt idx="27">
                  <c:v>0.970890622305518</c:v>
                </c:pt>
                <c:pt idx="28">
                  <c:v>1.045481170900035</c:v>
                </c:pt>
                <c:pt idx="29">
                  <c:v>1.0432937181663837</c:v>
                </c:pt>
                <c:pt idx="30">
                  <c:v>1.3371314887211876</c:v>
                </c:pt>
                <c:pt idx="31">
                  <c:v>0.9189576174112256</c:v>
                </c:pt>
                <c:pt idx="32">
                  <c:v>1.0697800705946239</c:v>
                </c:pt>
                <c:pt idx="33">
                  <c:v>1.2000626983738474</c:v>
                </c:pt>
                <c:pt idx="34">
                  <c:v>1.2557951953941198</c:v>
                </c:pt>
                <c:pt idx="35">
                  <c:v>1.1699374854495568</c:v>
                </c:pt>
                <c:pt idx="36">
                  <c:v>1.2428769675090254</c:v>
                </c:pt>
                <c:pt idx="37">
                  <c:v>1.1977972586923922</c:v>
                </c:pt>
                <c:pt idx="38">
                  <c:v>1.232987106017192</c:v>
                </c:pt>
                <c:pt idx="39">
                  <c:v>0.9901924768518519</c:v>
                </c:pt>
                <c:pt idx="40">
                  <c:v>1.1107633676092545</c:v>
                </c:pt>
                <c:pt idx="41">
                  <c:v>1.258688580722479</c:v>
                </c:pt>
                <c:pt idx="42">
                  <c:v>1.3928303076277637</c:v>
                </c:pt>
                <c:pt idx="43">
                  <c:v>1.2575407202216067</c:v>
                </c:pt>
                <c:pt idx="44">
                  <c:v>1.2046654551752527</c:v>
                </c:pt>
                <c:pt idx="45">
                  <c:v>1.2473107214716872</c:v>
                </c:pt>
                <c:pt idx="46">
                  <c:v>1.3675718175162108</c:v>
                </c:pt>
                <c:pt idx="47">
                  <c:v>1.2365317568591783</c:v>
                </c:pt>
                <c:pt idx="48">
                  <c:v>1.1673253213850627</c:v>
                </c:pt>
                <c:pt idx="49">
                  <c:v>1.1181496603232803</c:v>
                </c:pt>
                <c:pt idx="50">
                  <c:v>1.042275846095944</c:v>
                </c:pt>
                <c:pt idx="51">
                  <c:v>1.0352454798331014</c:v>
                </c:pt>
                <c:pt idx="52">
                  <c:v>0.9490802844214609</c:v>
                </c:pt>
                <c:pt idx="53">
                  <c:v>1.1130465480117804</c:v>
                </c:pt>
                <c:pt idx="54">
                  <c:v>1.147165536152403</c:v>
                </c:pt>
                <c:pt idx="55">
                  <c:v>1.1371297787450128</c:v>
                </c:pt>
                <c:pt idx="56">
                  <c:v>1.08571492799438</c:v>
                </c:pt>
                <c:pt idx="57">
                  <c:v>1.0315597350993377</c:v>
                </c:pt>
                <c:pt idx="58">
                  <c:v>1.4439528958769792</c:v>
                </c:pt>
                <c:pt idx="59">
                  <c:v>1.3671316165951357</c:v>
                </c:pt>
                <c:pt idx="60">
                  <c:v>1.0529742653008443</c:v>
                </c:pt>
                <c:pt idx="61">
                  <c:v>1.0319539632213062</c:v>
                </c:pt>
                <c:pt idx="62">
                  <c:v>1.5967333492686748</c:v>
                </c:pt>
                <c:pt idx="63">
                  <c:v>1.2200070307390452</c:v>
                </c:pt>
                <c:pt idx="64">
                  <c:v>0.9360901863354038</c:v>
                </c:pt>
                <c:pt idx="65">
                  <c:v>1.0293250712250712</c:v>
                </c:pt>
                <c:pt idx="66">
                  <c:v>1.3619561147458479</c:v>
                </c:pt>
                <c:pt idx="67">
                  <c:v>1.3219084712755598</c:v>
                </c:pt>
                <c:pt idx="68">
                  <c:v>0.7114849765258217</c:v>
                </c:pt>
                <c:pt idx="69">
                  <c:v>0.9018738528769118</c:v>
                </c:pt>
                <c:pt idx="70">
                  <c:v>0.7601222222222221</c:v>
                </c:pt>
                <c:pt idx="71">
                  <c:v>0.9780671295769975</c:v>
                </c:pt>
                <c:pt idx="72">
                  <c:v>0.38622077922077924</c:v>
                </c:pt>
                <c:pt idx="73">
                  <c:v>0.5479045140018176</c:v>
                </c:pt>
                <c:pt idx="74">
                  <c:v>1.317609393063584</c:v>
                </c:pt>
                <c:pt idx="75">
                  <c:v>1.0979419790518192</c:v>
                </c:pt>
                <c:pt idx="76">
                  <c:v>1.3520833333333333</c:v>
                </c:pt>
                <c:pt idx="77">
                  <c:v>0.9968287526427061</c:v>
                </c:pt>
                <c:pt idx="78">
                  <c:v>1.4544635145784082</c:v>
                </c:pt>
                <c:pt idx="79">
                  <c:v>1.3454856876246806</c:v>
                </c:pt>
                <c:pt idx="80">
                  <c:v>1.3012649800266312</c:v>
                </c:pt>
                <c:pt idx="81">
                  <c:v>1.052987514863258</c:v>
                </c:pt>
                <c:pt idx="82">
                  <c:v>1.3800879537953796</c:v>
                </c:pt>
                <c:pt idx="83">
                  <c:v>0.7333333333333333</c:v>
                </c:pt>
                <c:pt idx="84">
                  <c:v>1.6107963018192664</c:v>
                </c:pt>
                <c:pt idx="85">
                  <c:v>1.2688672245467223</c:v>
                </c:pt>
                <c:pt idx="86">
                  <c:v>1.0355631472763953</c:v>
                </c:pt>
                <c:pt idx="87">
                  <c:v>1.206633825944171</c:v>
                </c:pt>
                <c:pt idx="88">
                  <c:v>0.9575180112570356</c:v>
                </c:pt>
                <c:pt idx="89">
                  <c:v>1.1779859484777517</c:v>
                </c:pt>
                <c:pt idx="90">
                  <c:v>1.0072133963750984</c:v>
                </c:pt>
                <c:pt idx="91">
                  <c:v>0.7764945652173914</c:v>
                </c:pt>
                <c:pt idx="92">
                  <c:v>1.3748012718600955</c:v>
                </c:pt>
                <c:pt idx="93">
                  <c:v>1.1409586314152411</c:v>
                </c:pt>
                <c:pt idx="94">
                  <c:v>1.045397947761194</c:v>
                </c:pt>
                <c:pt idx="95">
                  <c:v>0.9539339195298036</c:v>
                </c:pt>
                <c:pt idx="96">
                  <c:v>1.1621114683815648</c:v>
                </c:pt>
                <c:pt idx="97">
                  <c:v>1.1871890093998554</c:v>
                </c:pt>
                <c:pt idx="98">
                  <c:v>1.0729975957246976</c:v>
                </c:pt>
                <c:pt idx="99">
                  <c:v>1.275070950428949</c:v>
                </c:pt>
                <c:pt idx="100">
                  <c:v>1.1935270635049242</c:v>
                </c:pt>
                <c:pt idx="101">
                  <c:v>1.1496831992284413</c:v>
                </c:pt>
                <c:pt idx="102">
                  <c:v>1.2949481138318994</c:v>
                </c:pt>
                <c:pt idx="103">
                  <c:v>1.0603325415676959</c:v>
                </c:pt>
                <c:pt idx="104">
                  <c:v>1.2681352469959948</c:v>
                </c:pt>
                <c:pt idx="105">
                  <c:v>0.0</c:v>
                </c:pt>
              </c:numCache>
            </c:numRef>
          </c:xVal>
          <c:yVal>
            <c:numRef>
              <c:f>Sheet1!$B$2:$B$107</c:f>
              <c:numCache>
                <c:formatCode>General</c:formatCode>
                <c:ptCount val="106"/>
                <c:pt idx="0">
                  <c:v>0.22325581395348837</c:v>
                </c:pt>
                <c:pt idx="1">
                  <c:v>0.27167630057803466</c:v>
                </c:pt>
                <c:pt idx="2">
                  <c:v>0.2840909090909091</c:v>
                </c:pt>
                <c:pt idx="3">
                  <c:v>0.28888888888888886</c:v>
                </c:pt>
                <c:pt idx="4">
                  <c:v>0.23125</c:v>
                </c:pt>
                <c:pt idx="5">
                  <c:v>0.225</c:v>
                </c:pt>
                <c:pt idx="6">
                  <c:v>0.21176470588235294</c:v>
                </c:pt>
                <c:pt idx="7">
                  <c:v>0.25757575757575757</c:v>
                </c:pt>
                <c:pt idx="8">
                  <c:v>0.2903225806451613</c:v>
                </c:pt>
                <c:pt idx="9">
                  <c:v>0.22085889570552147</c:v>
                </c:pt>
                <c:pt idx="10">
                  <c:v>0.19318181818181818</c:v>
                </c:pt>
                <c:pt idx="11">
                  <c:v>0.21761658031088082</c:v>
                </c:pt>
                <c:pt idx="12">
                  <c:v>0.271356783919598</c:v>
                </c:pt>
                <c:pt idx="13">
                  <c:v>0.2205128205128205</c:v>
                </c:pt>
                <c:pt idx="14">
                  <c:v>0.2023121387283237</c:v>
                </c:pt>
                <c:pt idx="15">
                  <c:v>0.17142857142857143</c:v>
                </c:pt>
                <c:pt idx="16">
                  <c:v>0.20634920634920634</c:v>
                </c:pt>
                <c:pt idx="17">
                  <c:v>0.22556390977443608</c:v>
                </c:pt>
                <c:pt idx="18">
                  <c:v>0.14655172413793102</c:v>
                </c:pt>
                <c:pt idx="19">
                  <c:v>0.1717171717171717</c:v>
                </c:pt>
                <c:pt idx="20">
                  <c:v>0.15267175572519084</c:v>
                </c:pt>
                <c:pt idx="21">
                  <c:v>0.2073170731707317</c:v>
                </c:pt>
                <c:pt idx="22">
                  <c:v>0.17391304347826086</c:v>
                </c:pt>
                <c:pt idx="23">
                  <c:v>0.16494845360824742</c:v>
                </c:pt>
                <c:pt idx="24">
                  <c:v>0.20388349514563106</c:v>
                </c:pt>
                <c:pt idx="25">
                  <c:v>0.18292682926829268</c:v>
                </c:pt>
                <c:pt idx="26">
                  <c:v>0.19801980198019803</c:v>
                </c:pt>
                <c:pt idx="27">
                  <c:v>0.19148936170212766</c:v>
                </c:pt>
                <c:pt idx="28">
                  <c:v>0.16822429906542055</c:v>
                </c:pt>
                <c:pt idx="29">
                  <c:v>0.19672131147540983</c:v>
                </c:pt>
                <c:pt idx="30">
                  <c:v>0.1956521739130435</c:v>
                </c:pt>
                <c:pt idx="31">
                  <c:v>0.1568627450980392</c:v>
                </c:pt>
                <c:pt idx="32">
                  <c:v>0.12121212121212122</c:v>
                </c:pt>
                <c:pt idx="33">
                  <c:v>0.14093959731543623</c:v>
                </c:pt>
                <c:pt idx="34">
                  <c:v>0.19444444444444445</c:v>
                </c:pt>
                <c:pt idx="35">
                  <c:v>0.1752136752136752</c:v>
                </c:pt>
                <c:pt idx="36">
                  <c:v>0.1925925925925926</c:v>
                </c:pt>
                <c:pt idx="37">
                  <c:v>0.2</c:v>
                </c:pt>
                <c:pt idx="38">
                  <c:v>0.16494845360824742</c:v>
                </c:pt>
                <c:pt idx="39">
                  <c:v>0.18446601941747573</c:v>
                </c:pt>
                <c:pt idx="40">
                  <c:v>0.1619718309859155</c:v>
                </c:pt>
                <c:pt idx="41">
                  <c:v>0.13043478260869565</c:v>
                </c:pt>
                <c:pt idx="42">
                  <c:v>0.14084507042253522</c:v>
                </c:pt>
                <c:pt idx="43">
                  <c:v>0.13432835820895522</c:v>
                </c:pt>
                <c:pt idx="44">
                  <c:v>0.1751412429378531</c:v>
                </c:pt>
                <c:pt idx="45">
                  <c:v>0.1625615763546798</c:v>
                </c:pt>
                <c:pt idx="46">
                  <c:v>0.16783216783216784</c:v>
                </c:pt>
                <c:pt idx="47">
                  <c:v>0.2145922746781116</c:v>
                </c:pt>
                <c:pt idx="48">
                  <c:v>0.19230769230769232</c:v>
                </c:pt>
                <c:pt idx="49">
                  <c:v>0.21603563474387527</c:v>
                </c:pt>
                <c:pt idx="50">
                  <c:v>0.20614035087719298</c:v>
                </c:pt>
                <c:pt idx="51">
                  <c:v>0.21354166666666666</c:v>
                </c:pt>
                <c:pt idx="52">
                  <c:v>0.22110552763819097</c:v>
                </c:pt>
                <c:pt idx="53">
                  <c:v>0.17486338797814208</c:v>
                </c:pt>
                <c:pt idx="54">
                  <c:v>0.18562874251497005</c:v>
                </c:pt>
                <c:pt idx="55">
                  <c:v>0.2127659574468085</c:v>
                </c:pt>
                <c:pt idx="56">
                  <c:v>0.2323943661971831</c:v>
                </c:pt>
                <c:pt idx="57">
                  <c:v>0.1870967741935484</c:v>
                </c:pt>
                <c:pt idx="58">
                  <c:v>0.1925133689839572</c:v>
                </c:pt>
                <c:pt idx="59">
                  <c:v>0.1694915254237288</c:v>
                </c:pt>
                <c:pt idx="60">
                  <c:v>0.12422360248447205</c:v>
                </c:pt>
                <c:pt idx="61">
                  <c:v>0.1597222222222222</c:v>
                </c:pt>
                <c:pt idx="62">
                  <c:v>0.11627906976744186</c:v>
                </c:pt>
                <c:pt idx="63">
                  <c:v>0.17582417582417584</c:v>
                </c:pt>
                <c:pt idx="64">
                  <c:v>0.19689119170984457</c:v>
                </c:pt>
                <c:pt idx="65">
                  <c:v>0.17159763313609466</c:v>
                </c:pt>
                <c:pt idx="66">
                  <c:v>0.1695906432748538</c:v>
                </c:pt>
                <c:pt idx="67">
                  <c:v>0.20833333333333334</c:v>
                </c:pt>
                <c:pt idx="68">
                  <c:v>0.21774193548387097</c:v>
                </c:pt>
                <c:pt idx="69">
                  <c:v>0.21153846153846154</c:v>
                </c:pt>
                <c:pt idx="70">
                  <c:v>0.17</c:v>
                </c:pt>
                <c:pt idx="71">
                  <c:v>0.15555555555555556</c:v>
                </c:pt>
                <c:pt idx="72">
                  <c:v>0.25833333333333336</c:v>
                </c:pt>
                <c:pt idx="73">
                  <c:v>0.21782178217821782</c:v>
                </c:pt>
                <c:pt idx="74">
                  <c:v>0.13592233009708737</c:v>
                </c:pt>
                <c:pt idx="75">
                  <c:v>0.08823529411764706</c:v>
                </c:pt>
                <c:pt idx="76">
                  <c:v>0.12195121951219512</c:v>
                </c:pt>
                <c:pt idx="77">
                  <c:v>0.12307692307692308</c:v>
                </c:pt>
                <c:pt idx="78">
                  <c:v>0.08974358974358974</c:v>
                </c:pt>
                <c:pt idx="79">
                  <c:v>0.09302325581395349</c:v>
                </c:pt>
                <c:pt idx="80">
                  <c:v>0.11594202898550725</c:v>
                </c:pt>
                <c:pt idx="81">
                  <c:v>0.15384615384615385</c:v>
                </c:pt>
                <c:pt idx="82">
                  <c:v>0.08333333333333333</c:v>
                </c:pt>
                <c:pt idx="83">
                  <c:v>0.19718309859154928</c:v>
                </c:pt>
                <c:pt idx="84">
                  <c:v>0.07575757575757576</c:v>
                </c:pt>
                <c:pt idx="85">
                  <c:v>0.10588235294117647</c:v>
                </c:pt>
                <c:pt idx="86">
                  <c:v>0.14285714285714285</c:v>
                </c:pt>
                <c:pt idx="87">
                  <c:v>0.14285714285714285</c:v>
                </c:pt>
                <c:pt idx="88">
                  <c:v>0.1686746987951807</c:v>
                </c:pt>
                <c:pt idx="89">
                  <c:v>0.125</c:v>
                </c:pt>
                <c:pt idx="90">
                  <c:v>0.17333333333333334</c:v>
                </c:pt>
                <c:pt idx="91">
                  <c:v>0.1590909090909091</c:v>
                </c:pt>
                <c:pt idx="92">
                  <c:v>0.11009174311926606</c:v>
                </c:pt>
                <c:pt idx="93">
                  <c:v>0.12222222222222222</c:v>
                </c:pt>
                <c:pt idx="94">
                  <c:v>0.15789473684210525</c:v>
                </c:pt>
                <c:pt idx="95">
                  <c:v>0.12244897959183673</c:v>
                </c:pt>
                <c:pt idx="96">
                  <c:v>0.11194029850746269</c:v>
                </c:pt>
                <c:pt idx="97">
                  <c:v>0.11486486486486487</c:v>
                </c:pt>
                <c:pt idx="98">
                  <c:v>0.12269938650306748</c:v>
                </c:pt>
                <c:pt idx="99">
                  <c:v>0.10762331838565023</c:v>
                </c:pt>
                <c:pt idx="100">
                  <c:v>0.14666666666666667</c:v>
                </c:pt>
                <c:pt idx="101">
                  <c:v>0.13068181818181818</c:v>
                </c:pt>
                <c:pt idx="102">
                  <c:v>0.10869565217391304</c:v>
                </c:pt>
                <c:pt idx="103">
                  <c:v>0.12096774193548387</c:v>
                </c:pt>
                <c:pt idx="104">
                  <c:v>0.14173228346456693</c:v>
                </c:pt>
                <c:pt idx="105">
                  <c:v>0.10526315789473684</c:v>
                </c:pt>
              </c:numCache>
            </c:numRef>
          </c:yVal>
          <c:smooth val="0"/>
          <c:extLst>
            <c:ext xmlns:c16="http://schemas.microsoft.com/office/drawing/2014/chart" uri="{C3380CC4-5D6E-409C-BE32-E72D297353CC}">
              <c16:uniqueId val="{00000000-096C-4121-9522-6AB7243CCAAE}"/>
            </c:ext>
          </c:extLst>
        </c:ser>
        <c:ser>
          <c:idx val="1"/>
          <c:order val="1"/>
          <c:tx>
            <c:strRef>
              <c:f>Sheet1!$B$10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0:$A$160</c:f>
              <c:numCache>
                <c:formatCode>General</c:formatCode>
                <c:ptCount val="51"/>
                <c:pt idx="0">
                  <c:v>1.325093656157125</c:v>
                </c:pt>
                <c:pt idx="1">
                  <c:v>1.2418748722837527</c:v>
                </c:pt>
                <c:pt idx="2">
                  <c:v>0.8631171218487395</c:v>
                </c:pt>
                <c:pt idx="3">
                  <c:v>1.1377337547408344</c:v>
                </c:pt>
                <c:pt idx="4">
                  <c:v>1.358286522979516</c:v>
                </c:pt>
                <c:pt idx="5">
                  <c:v>1.3531184237815417</c:v>
                </c:pt>
                <c:pt idx="6">
                  <c:v>0.8580712605042017</c:v>
                </c:pt>
                <c:pt idx="7">
                  <c:v>0.986137515842839</c:v>
                </c:pt>
                <c:pt idx="8">
                  <c:v>0.844698380952381</c:v>
                </c:pt>
                <c:pt idx="9">
                  <c:v>0.8827415376877512</c:v>
                </c:pt>
                <c:pt idx="10">
                  <c:v>1.096300350058343</c:v>
                </c:pt>
                <c:pt idx="11">
                  <c:v>1.1361176470588237</c:v>
                </c:pt>
                <c:pt idx="12">
                  <c:v>0.8970962346962347</c:v>
                </c:pt>
                <c:pt idx="13">
                  <c:v>1.1612787025703795</c:v>
                </c:pt>
                <c:pt idx="14">
                  <c:v>1.3430051813471502</c:v>
                </c:pt>
                <c:pt idx="15">
                  <c:v>0.9914832631578947</c:v>
                </c:pt>
                <c:pt idx="16">
                  <c:v>1.0446180208333333</c:v>
                </c:pt>
                <c:pt idx="17">
                  <c:v>0.8830015414258189</c:v>
                </c:pt>
                <c:pt idx="18">
                  <c:v>0.5377702600577906</c:v>
                </c:pt>
                <c:pt idx="19">
                  <c:v>0.75065475</c:v>
                </c:pt>
                <c:pt idx="20">
                  <c:v>0.8241047061816332</c:v>
                </c:pt>
                <c:pt idx="21">
                  <c:v>0.9439386588024106</c:v>
                </c:pt>
                <c:pt idx="22">
                  <c:v>0.9798309178743961</c:v>
                </c:pt>
                <c:pt idx="23">
                  <c:v>1.2560784705882353</c:v>
                </c:pt>
                <c:pt idx="24">
                  <c:v>0.9483076923076923</c:v>
                </c:pt>
                <c:pt idx="25">
                  <c:v>1.0541390934844193</c:v>
                </c:pt>
                <c:pt idx="26">
                  <c:v>0.9397794741306191</c:v>
                </c:pt>
                <c:pt idx="27">
                  <c:v>0.9770705121829935</c:v>
                </c:pt>
                <c:pt idx="28">
                  <c:v>0.8610722222222222</c:v>
                </c:pt>
                <c:pt idx="29">
                  <c:v>1.3095338010380229</c:v>
                </c:pt>
                <c:pt idx="30">
                  <c:v>1.522</c:v>
                </c:pt>
                <c:pt idx="31">
                  <c:v>1.2208676551345414</c:v>
                </c:pt>
                <c:pt idx="32">
                  <c:v>1.2355722182633917</c:v>
                </c:pt>
                <c:pt idx="33">
                  <c:v>1.1205784147536977</c:v>
                </c:pt>
                <c:pt idx="34">
                  <c:v>1.1909668683376546</c:v>
                </c:pt>
                <c:pt idx="35">
                  <c:v>0.9785501489572989</c:v>
                </c:pt>
                <c:pt idx="36">
                  <c:v>0.9881073096446701</c:v>
                </c:pt>
                <c:pt idx="37">
                  <c:v>0.9957610404624277</c:v>
                </c:pt>
                <c:pt idx="38">
                  <c:v>1.0345751111111112</c:v>
                </c:pt>
                <c:pt idx="39">
                  <c:v>0.9610303830911493</c:v>
                </c:pt>
                <c:pt idx="40">
                  <c:v>1.016073078736445</c:v>
                </c:pt>
                <c:pt idx="41">
                  <c:v>1.1901388888888889</c:v>
                </c:pt>
                <c:pt idx="42">
                  <c:v>1.043102800982801</c:v>
                </c:pt>
                <c:pt idx="43">
                  <c:v>0.9319192081074712</c:v>
                </c:pt>
                <c:pt idx="44">
                  <c:v>1.143251775486827</c:v>
                </c:pt>
                <c:pt idx="45">
                  <c:v>1.19158743877845</c:v>
                </c:pt>
                <c:pt idx="46">
                  <c:v>1.0896969696969696</c:v>
                </c:pt>
                <c:pt idx="47">
                  <c:v>1.0613406970850279</c:v>
                </c:pt>
                <c:pt idx="48">
                  <c:v>1.0850441705907634</c:v>
                </c:pt>
                <c:pt idx="49">
                  <c:v>0.9666347644025832</c:v>
                </c:pt>
                <c:pt idx="50">
                  <c:v>0.9194376199599346</c:v>
                </c:pt>
              </c:numCache>
            </c:numRef>
          </c:xVal>
          <c:yVal>
            <c:numRef>
              <c:f>Sheet1!$B$110:$B$160</c:f>
              <c:numCache>
                <c:formatCode>General</c:formatCode>
                <c:ptCount val="51"/>
                <c:pt idx="0">
                  <c:v>0.1328125</c:v>
                </c:pt>
                <c:pt idx="1">
                  <c:v>0.1111111111111111</c:v>
                </c:pt>
                <c:pt idx="2">
                  <c:v>0.16</c:v>
                </c:pt>
                <c:pt idx="3">
                  <c:v>0.1623931623931624</c:v>
                </c:pt>
                <c:pt idx="4">
                  <c:v>0.16831683168316833</c:v>
                </c:pt>
                <c:pt idx="5">
                  <c:v>0.125</c:v>
                </c:pt>
                <c:pt idx="6">
                  <c:v>0.168</c:v>
                </c:pt>
                <c:pt idx="7">
                  <c:v>0.13559322033898305</c:v>
                </c:pt>
                <c:pt idx="8">
                  <c:v>0.16304347826086957</c:v>
                </c:pt>
                <c:pt idx="9">
                  <c:v>0.08695652173913043</c:v>
                </c:pt>
                <c:pt idx="10">
                  <c:v>0.1349206349206349</c:v>
                </c:pt>
                <c:pt idx="11">
                  <c:v>0.11976047904191617</c:v>
                </c:pt>
                <c:pt idx="12">
                  <c:v>0.1259259259259259</c:v>
                </c:pt>
                <c:pt idx="13">
                  <c:v>0.1297709923664122</c:v>
                </c:pt>
                <c:pt idx="14">
                  <c:v>0.12931034482758622</c:v>
                </c:pt>
                <c:pt idx="15">
                  <c:v>0.11956521739130435</c:v>
                </c:pt>
                <c:pt idx="16">
                  <c:v>0.1276595744680851</c:v>
                </c:pt>
                <c:pt idx="17">
                  <c:v>0.1232876712328767</c:v>
                </c:pt>
                <c:pt idx="18">
                  <c:v>0.20588235294117646</c:v>
                </c:pt>
                <c:pt idx="19">
                  <c:v>0.1308411214953271</c:v>
                </c:pt>
                <c:pt idx="20">
                  <c:v>0.140625</c:v>
                </c:pt>
                <c:pt idx="21">
                  <c:v>0.13043478260869565</c:v>
                </c:pt>
                <c:pt idx="22">
                  <c:v>0.11428571428571428</c:v>
                </c:pt>
                <c:pt idx="23">
                  <c:v>0.140625</c:v>
                </c:pt>
                <c:pt idx="24">
                  <c:v>0.15873015873015872</c:v>
                </c:pt>
                <c:pt idx="25">
                  <c:v>0.09230769230769231</c:v>
                </c:pt>
                <c:pt idx="26">
                  <c:v>0.11940298507462686</c:v>
                </c:pt>
                <c:pt idx="27">
                  <c:v>0.125</c:v>
                </c:pt>
                <c:pt idx="28">
                  <c:v>0.13414634146341464</c:v>
                </c:pt>
                <c:pt idx="29">
                  <c:v>0.11290322580645161</c:v>
                </c:pt>
                <c:pt idx="30">
                  <c:v>0.09523809523809523</c:v>
                </c:pt>
                <c:pt idx="31">
                  <c:v>0.09090909090909091</c:v>
                </c:pt>
                <c:pt idx="32">
                  <c:v>0.18556701030927836</c:v>
                </c:pt>
                <c:pt idx="33">
                  <c:v>0.1696969696969697</c:v>
                </c:pt>
                <c:pt idx="34">
                  <c:v>0.11926605504587157</c:v>
                </c:pt>
                <c:pt idx="35">
                  <c:v>0.10869565217391304</c:v>
                </c:pt>
                <c:pt idx="36">
                  <c:v>0.12727272727272726</c:v>
                </c:pt>
                <c:pt idx="37">
                  <c:v>0.0821917808219178</c:v>
                </c:pt>
                <c:pt idx="38">
                  <c:v>0.1619047619047619</c:v>
                </c:pt>
                <c:pt idx="39">
                  <c:v>0.13793103448275862</c:v>
                </c:pt>
                <c:pt idx="40">
                  <c:v>0.13414634146341464</c:v>
                </c:pt>
                <c:pt idx="41">
                  <c:v>0.1</c:v>
                </c:pt>
                <c:pt idx="42">
                  <c:v>0.14</c:v>
                </c:pt>
                <c:pt idx="43">
                  <c:v>0.14018691588785046</c:v>
                </c:pt>
                <c:pt idx="44">
                  <c:v>0.11486486486486487</c:v>
                </c:pt>
                <c:pt idx="45">
                  <c:v>0.140625</c:v>
                </c:pt>
                <c:pt idx="46">
                  <c:v>0.12173913043478261</c:v>
                </c:pt>
                <c:pt idx="47">
                  <c:v>0.14173228346456693</c:v>
                </c:pt>
                <c:pt idx="48">
                  <c:v>0.1188118811881188</c:v>
                </c:pt>
                <c:pt idx="49">
                  <c:v>0.1015625</c:v>
                </c:pt>
                <c:pt idx="50">
                  <c:v>0.1228070175438596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428855750096224</c:v>
                </c:pt>
              </c:numCache>
            </c:numRef>
          </c:xVal>
          <c:yVal>
            <c:numRef>
              <c:f>Sheet1!$B$163:$B$164</c:f>
              <c:numCache>
                <c:formatCode>General</c:formatCode>
                <c:ptCount val="2"/>
                <c:pt idx="0">
                  <c:v>0.25375832851273256</c:v>
                </c:pt>
                <c:pt idx="1">
                  <c:v>0.253758328512732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428855750096224</c:v>
                </c:pt>
                <c:pt idx="1">
                  <c:v>-2.428855750096224</c:v>
                </c:pt>
              </c:numCache>
            </c:numRef>
          </c:xVal>
          <c:yVal>
            <c:numRef>
              <c:f>Sheet1!$B$167:$B$168</c:f>
              <c:numCache>
                <c:formatCode>General</c:formatCode>
                <c:ptCount val="2"/>
                <c:pt idx="0">
                  <c:v>0.25375832851273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9687050630401</c:v>
                </c:pt>
              </c:numCache>
            </c:numRef>
          </c:xVal>
          <c:yVal>
            <c:numRef>
              <c:f>Sheet1!$B$171:$B$172</c:f>
              <c:numCache>
                <c:formatCode>General</c:formatCode>
                <c:ptCount val="2"/>
                <c:pt idx="0">
                  <c:v>0.14736336708747716</c:v>
                </c:pt>
                <c:pt idx="1">
                  <c:v>0.147363367087477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9687050630401</c:v>
                </c:pt>
                <c:pt idx="1">
                  <c:v>0.589687050630401</c:v>
                </c:pt>
              </c:numCache>
            </c:numRef>
          </c:xVal>
          <c:yVal>
            <c:numRef>
              <c:f>Sheet1!$B$175:$B$176</c:f>
              <c:numCache>
                <c:formatCode>General</c:formatCode>
                <c:ptCount val="2"/>
                <c:pt idx="0">
                  <c:v>0.147363367087477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121781700707865</c:v>
                </c:pt>
              </c:numCache>
            </c:numRef>
          </c:xVal>
          <c:yVal>
            <c:numRef>
              <c:f>Sheet1!$B$179:$B$180</c:f>
              <c:numCache>
                <c:formatCode>General</c:formatCode>
                <c:ptCount val="2"/>
                <c:pt idx="0">
                  <c:v>0.1289470562488445</c:v>
                </c:pt>
                <c:pt idx="1">
                  <c:v>0.12894705624884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121781700707865</c:v>
                </c:pt>
                <c:pt idx="1">
                  <c:v>1.1121781700707865</c:v>
                </c:pt>
              </c:numCache>
            </c:numRef>
          </c:xVal>
          <c:yVal>
            <c:numRef>
              <c:f>Sheet1!$B$183:$B$184</c:f>
              <c:numCache>
                <c:formatCode>General</c:formatCode>
                <c:ptCount val="2"/>
                <c:pt idx="0">
                  <c:v>0.1289470562488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0</c:f>
              <c:numCache>
                <c:formatCode>General</c:formatCode>
                <c:ptCount val="54"/>
                <c:pt idx="0">
                  <c:v>1.325093656157125</c:v>
                </c:pt>
                <c:pt idx="1">
                  <c:v>1.2418748722837527</c:v>
                </c:pt>
                <c:pt idx="2">
                  <c:v>0.8631171218487395</c:v>
                </c:pt>
                <c:pt idx="3">
                  <c:v>1.1377337547408344</c:v>
                </c:pt>
                <c:pt idx="4">
                  <c:v>1.358286522979516</c:v>
                </c:pt>
                <c:pt idx="5">
                  <c:v>1.3531184237815417</c:v>
                </c:pt>
                <c:pt idx="6">
                  <c:v>0.8580712605042017</c:v>
                </c:pt>
                <c:pt idx="7">
                  <c:v>0.986137515842839</c:v>
                </c:pt>
                <c:pt idx="8">
                  <c:v>0.844698380952381</c:v>
                </c:pt>
                <c:pt idx="9">
                  <c:v>0.8827415376877512</c:v>
                </c:pt>
                <c:pt idx="10">
                  <c:v>1.096300350058343</c:v>
                </c:pt>
                <c:pt idx="11">
                  <c:v>1.1361176470588237</c:v>
                </c:pt>
                <c:pt idx="12">
                  <c:v>0.8970962346962347</c:v>
                </c:pt>
                <c:pt idx="13">
                  <c:v>1.1612787025703795</c:v>
                </c:pt>
                <c:pt idx="14">
                  <c:v>1.3430051813471502</c:v>
                </c:pt>
                <c:pt idx="15">
                  <c:v>0.9914832631578947</c:v>
                </c:pt>
                <c:pt idx="16">
                  <c:v>1.0446180208333333</c:v>
                </c:pt>
                <c:pt idx="17">
                  <c:v>0.8830015414258189</c:v>
                </c:pt>
                <c:pt idx="18">
                  <c:v>0.5377702600577906</c:v>
                </c:pt>
                <c:pt idx="19">
                  <c:v>0.75065475</c:v>
                </c:pt>
                <c:pt idx="20">
                  <c:v>0.8241047061816332</c:v>
                </c:pt>
                <c:pt idx="21">
                  <c:v>0.9439386588024106</c:v>
                </c:pt>
                <c:pt idx="22">
                  <c:v>0.9798309178743961</c:v>
                </c:pt>
                <c:pt idx="23">
                  <c:v>1.2560784705882353</c:v>
                </c:pt>
                <c:pt idx="24">
                  <c:v>0.9483076923076923</c:v>
                </c:pt>
                <c:pt idx="25">
                  <c:v>1.0541390934844193</c:v>
                </c:pt>
                <c:pt idx="26">
                  <c:v>0.9397794741306191</c:v>
                </c:pt>
                <c:pt idx="27">
                  <c:v>0.9770705121829935</c:v>
                </c:pt>
                <c:pt idx="28">
                  <c:v>0.8610722222222222</c:v>
                </c:pt>
                <c:pt idx="29">
                  <c:v>1.3095338010380229</c:v>
                </c:pt>
                <c:pt idx="30">
                  <c:v>1.522</c:v>
                </c:pt>
                <c:pt idx="31">
                  <c:v>1.2208676551345414</c:v>
                </c:pt>
                <c:pt idx="32">
                  <c:v>1.2355722182633917</c:v>
                </c:pt>
                <c:pt idx="33">
                  <c:v>1.1205784147536977</c:v>
                </c:pt>
                <c:pt idx="34">
                  <c:v>1.1909668683376546</c:v>
                </c:pt>
                <c:pt idx="35">
                  <c:v>0.9785501489572989</c:v>
                </c:pt>
                <c:pt idx="36">
                  <c:v>0.9881073096446701</c:v>
                </c:pt>
                <c:pt idx="37">
                  <c:v>0.9957610404624277</c:v>
                </c:pt>
                <c:pt idx="38">
                  <c:v>1.0345751111111112</c:v>
                </c:pt>
                <c:pt idx="39">
                  <c:v>0.9610303830911493</c:v>
                </c:pt>
                <c:pt idx="40">
                  <c:v>1.016073078736445</c:v>
                </c:pt>
                <c:pt idx="41">
                  <c:v>1.1901388888888889</c:v>
                </c:pt>
                <c:pt idx="42">
                  <c:v>1.043102800982801</c:v>
                </c:pt>
                <c:pt idx="43">
                  <c:v>0.9319192081074712</c:v>
                </c:pt>
                <c:pt idx="44">
                  <c:v>1.143251775486827</c:v>
                </c:pt>
                <c:pt idx="45">
                  <c:v>1.19158743877845</c:v>
                </c:pt>
                <c:pt idx="46">
                  <c:v>1.0896969696969696</c:v>
                </c:pt>
                <c:pt idx="47">
                  <c:v>1.0613406970850279</c:v>
                </c:pt>
                <c:pt idx="48">
                  <c:v>1.0850441705907634</c:v>
                </c:pt>
                <c:pt idx="49">
                  <c:v>0.9666347644025832</c:v>
                </c:pt>
                <c:pt idx="50">
                  <c:v>0.9194376199599346</c:v>
                </c:pt>
                <c:pt idx="51">
                  <c:v>0.589687050630401</c:v>
                </c:pt>
                <c:pt idx="52">
                  <c:v>-2.428855750096224</c:v>
                </c:pt>
                <c:pt idx="53">
                  <c:v>1.1121781700707865</c:v>
                </c:pt>
              </c:numCache>
            </c:numRef>
          </c:xVal>
          <c:yVal>
            <c:numRef>
              <c:f>Sheet1!$B$187:$B$240</c:f>
              <c:numCache>
                <c:formatCode>General</c:formatCode>
                <c:ptCount val="54"/>
                <c:pt idx="0">
                  <c:v>0.12144239707238942</c:v>
                </c:pt>
                <c:pt idx="1">
                  <c:v>0.12437562011561834</c:v>
                </c:pt>
                <c:pt idx="2">
                  <c:v>0.1377257426440613</c:v>
                </c:pt>
                <c:pt idx="3">
                  <c:v>0.12804629531064773</c:v>
                </c:pt>
                <c:pt idx="4">
                  <c:v>0.12027244388030223</c:v>
                </c:pt>
                <c:pt idx="5">
                  <c:v>0.12045460452903578</c:v>
                </c:pt>
                <c:pt idx="6">
                  <c:v>0.13790359475965164</c:v>
                </c:pt>
                <c:pt idx="7">
                  <c:v>0.13338962719445718</c:v>
                </c:pt>
                <c:pt idx="8">
                  <c:v>0.13837495034345124</c:v>
                </c:pt>
                <c:pt idx="9">
                  <c:v>0.13703403836685765</c:v>
                </c:pt>
                <c:pt idx="10">
                  <c:v>0.12950670378716478</c:v>
                </c:pt>
                <c:pt idx="11">
                  <c:v>0.12810325846334686</c:v>
                </c:pt>
                <c:pt idx="12">
                  <c:v>0.13652807653848098</c:v>
                </c:pt>
                <c:pt idx="13">
                  <c:v>0.12721640354450114</c:v>
                </c:pt>
                <c:pt idx="14">
                  <c:v>0.12081106726941247</c:v>
                </c:pt>
                <c:pt idx="15">
                  <c:v>0.1332012049599811</c:v>
                </c:pt>
                <c:pt idx="16">
                  <c:v>0.1313283574085541</c:v>
                </c:pt>
                <c:pt idx="17">
                  <c:v>0.13702487398208382</c:v>
                </c:pt>
                <c:pt idx="18">
                  <c:v>0.14919328479775984</c:v>
                </c:pt>
                <c:pt idx="19">
                  <c:v>0.1416897181463331</c:v>
                </c:pt>
                <c:pt idx="20">
                  <c:v>0.139100818213309</c:v>
                </c:pt>
                <c:pt idx="21">
                  <c:v>0.13487701566744006</c:v>
                </c:pt>
                <c:pt idx="22">
                  <c:v>0.13361191665393263</c:v>
                </c:pt>
                <c:pt idx="23">
                  <c:v>0.12387498408244979</c:v>
                </c:pt>
                <c:pt idx="24">
                  <c:v>0.13472301978865106</c:v>
                </c:pt>
                <c:pt idx="25">
                  <c:v>0.13099276695172984</c:v>
                </c:pt>
                <c:pt idx="26">
                  <c:v>0.1350236149777461</c:v>
                </c:pt>
                <c:pt idx="27">
                  <c:v>0.13370921302388444</c:v>
                </c:pt>
                <c:pt idx="28">
                  <c:v>0.13779781948088116</c:v>
                </c:pt>
                <c:pt idx="29">
                  <c:v>0.1219908372617354</c:v>
                </c:pt>
                <c:pt idx="30">
                  <c:v>0.11450201416560814</c:v>
                </c:pt>
                <c:pt idx="31">
                  <c:v>0.12511606416620602</c:v>
                </c:pt>
                <c:pt idx="32">
                  <c:v>0.12459777056225492</c:v>
                </c:pt>
                <c:pt idx="33">
                  <c:v>0.1286509717577497</c:v>
                </c:pt>
                <c:pt idx="34">
                  <c:v>0.12616998099556942</c:v>
                </c:pt>
                <c:pt idx="35">
                  <c:v>0.13365706007859982</c:v>
                </c:pt>
                <c:pt idx="36">
                  <c:v>0.13332019762217778</c:v>
                </c:pt>
                <c:pt idx="37">
                  <c:v>0.13305042560008865</c:v>
                </c:pt>
                <c:pt idx="38">
                  <c:v>0.13168234112289331</c:v>
                </c:pt>
                <c:pt idx="39">
                  <c:v>0.13427458149093818</c:v>
                </c:pt>
                <c:pt idx="40">
                  <c:v>0.13233448460759645</c:v>
                </c:pt>
                <c:pt idx="41">
                  <c:v>0.1261991648923461</c:v>
                </c:pt>
                <c:pt idx="42">
                  <c:v>0.13138176455504522</c:v>
                </c:pt>
                <c:pt idx="43">
                  <c:v>0.13530066677244776</c:v>
                </c:pt>
                <c:pt idx="44">
                  <c:v>0.12785180093267426</c:v>
                </c:pt>
                <c:pt idx="45">
                  <c:v>0.1261481076704358</c:v>
                </c:pt>
                <c:pt idx="46">
                  <c:v>0.12973945397333259</c:v>
                </c:pt>
                <c:pt idx="47">
                  <c:v>0.1307389311150797</c:v>
                </c:pt>
                <c:pt idx="48">
                  <c:v>0.12990345177429308</c:v>
                </c:pt>
                <c:pt idx="49">
                  <c:v>0.13407704315114755</c:v>
                </c:pt>
                <c:pt idx="50">
                  <c:v>0.13574060689493447</c:v>
                </c:pt>
                <c:pt idx="51">
                  <c:v>0.14736336708747716</c:v>
                </c:pt>
                <c:pt idx="52">
                  <c:v>0.25375832851273256</c:v>
                </c:pt>
                <c:pt idx="53">
                  <c:v>0.12894705624884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erapi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38709677419355"/>
          <c:min val="0.060606060606060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2.25</c:v>
                </c:pt>
                <c:pt idx="1">
                  <c:v>740.6809</c:v>
                </c:pt>
                <c:pt idx="2">
                  <c:v>745.16</c:v>
                </c:pt>
                <c:pt idx="3">
                  <c:v>754.7308</c:v>
                </c:pt>
                <c:pt idx="4">
                  <c:v>754.027</c:v>
                </c:pt>
                <c:pt idx="5">
                  <c:v>743.75</c:v>
                </c:pt>
                <c:pt idx="6">
                  <c:v>733.8333</c:v>
                </c:pt>
                <c:pt idx="7">
                  <c:v>736.1471</c:v>
                </c:pt>
                <c:pt idx="8">
                  <c:v>730.8333</c:v>
                </c:pt>
                <c:pt idx="9">
                  <c:v>725.4722</c:v>
                </c:pt>
                <c:pt idx="10">
                  <c:v>718.3529</c:v>
                </c:pt>
                <c:pt idx="11">
                  <c:v>752.6905</c:v>
                </c:pt>
                <c:pt idx="12">
                  <c:v>746.6481</c:v>
                </c:pt>
                <c:pt idx="13">
                  <c:v>732.8605</c:v>
                </c:pt>
                <c:pt idx="14">
                  <c:v>702.2</c:v>
                </c:pt>
                <c:pt idx="15">
                  <c:v>748.0833</c:v>
                </c:pt>
                <c:pt idx="16">
                  <c:v>768.1538</c:v>
                </c:pt>
                <c:pt idx="17">
                  <c:v>584.9</c:v>
                </c:pt>
                <c:pt idx="18">
                  <c:v>774.9412</c:v>
                </c:pt>
                <c:pt idx="19">
                  <c:v>767.7647</c:v>
                </c:pt>
                <c:pt idx="20">
                  <c:v>800.6</c:v>
                </c:pt>
                <c:pt idx="21">
                  <c:v>783.8824</c:v>
                </c:pt>
                <c:pt idx="22">
                  <c:v>808.0</c:v>
                </c:pt>
                <c:pt idx="23">
                  <c:v>806.0</c:v>
                </c:pt>
                <c:pt idx="24">
                  <c:v>809.2857</c:v>
                </c:pt>
                <c:pt idx="25">
                  <c:v>807.9333</c:v>
                </c:pt>
                <c:pt idx="26">
                  <c:v>774.65</c:v>
                </c:pt>
                <c:pt idx="27">
                  <c:v>776.3889</c:v>
                </c:pt>
                <c:pt idx="28">
                  <c:v>776.2222</c:v>
                </c:pt>
                <c:pt idx="29">
                  <c:v>768.125</c:v>
                </c:pt>
                <c:pt idx="30">
                  <c:v>821.4444</c:v>
                </c:pt>
                <c:pt idx="31">
                  <c:v>802.25</c:v>
                </c:pt>
                <c:pt idx="32">
                  <c:v>788.0</c:v>
                </c:pt>
                <c:pt idx="33">
                  <c:v>728.0952</c:v>
                </c:pt>
                <c:pt idx="34">
                  <c:v>715.0857</c:v>
                </c:pt>
                <c:pt idx="35">
                  <c:v>790.4878</c:v>
                </c:pt>
                <c:pt idx="36">
                  <c:v>860.6923</c:v>
                </c:pt>
                <c:pt idx="37">
                  <c:v>885.5714</c:v>
                </c:pt>
                <c:pt idx="38">
                  <c:v>860.625</c:v>
                </c:pt>
                <c:pt idx="39">
                  <c:v>855.5263</c:v>
                </c:pt>
                <c:pt idx="40">
                  <c:v>864.1739</c:v>
                </c:pt>
                <c:pt idx="41">
                  <c:v>919.0</c:v>
                </c:pt>
                <c:pt idx="42">
                  <c:v>929.25</c:v>
                </c:pt>
                <c:pt idx="43">
                  <c:v>907.9444</c:v>
                </c:pt>
                <c:pt idx="44">
                  <c:v>877.0968</c:v>
                </c:pt>
                <c:pt idx="45">
                  <c:v>867.8788</c:v>
                </c:pt>
                <c:pt idx="46">
                  <c:v>842.2083</c:v>
                </c:pt>
                <c:pt idx="47">
                  <c:v>815.74</c:v>
                </c:pt>
                <c:pt idx="48">
                  <c:v>845.2333</c:v>
                </c:pt>
                <c:pt idx="49">
                  <c:v>755.1237</c:v>
                </c:pt>
                <c:pt idx="50">
                  <c:v>734.4255</c:v>
                </c:pt>
                <c:pt idx="51">
                  <c:v>744.3415</c:v>
                </c:pt>
                <c:pt idx="52">
                  <c:v>734.1136</c:v>
                </c:pt>
                <c:pt idx="53">
                  <c:v>762.375</c:v>
                </c:pt>
                <c:pt idx="54">
                  <c:v>794.871</c:v>
                </c:pt>
                <c:pt idx="55">
                  <c:v>783.7667</c:v>
                </c:pt>
                <c:pt idx="56">
                  <c:v>772.7576</c:v>
                </c:pt>
                <c:pt idx="57">
                  <c:v>778.8276</c:v>
                </c:pt>
                <c:pt idx="58">
                  <c:v>762.9167</c:v>
                </c:pt>
                <c:pt idx="59">
                  <c:v>764.5</c:v>
                </c:pt>
                <c:pt idx="60">
                  <c:v>778.85</c:v>
                </c:pt>
                <c:pt idx="61">
                  <c:v>813.6957</c:v>
                </c:pt>
                <c:pt idx="62">
                  <c:v>790.25</c:v>
                </c:pt>
                <c:pt idx="63">
                  <c:v>746.1563</c:v>
                </c:pt>
                <c:pt idx="64">
                  <c:v>753.5526</c:v>
                </c:pt>
                <c:pt idx="65">
                  <c:v>722.5862</c:v>
                </c:pt>
                <c:pt idx="66">
                  <c:v>676.5517</c:v>
                </c:pt>
                <c:pt idx="67">
                  <c:v>678.8</c:v>
                </c:pt>
                <c:pt idx="68">
                  <c:v>606.1852</c:v>
                </c:pt>
                <c:pt idx="69">
                  <c:v>619.1364</c:v>
                </c:pt>
                <c:pt idx="70">
                  <c:v>526.7647</c:v>
                </c:pt>
                <c:pt idx="71">
                  <c:v>752.7857</c:v>
                </c:pt>
                <c:pt idx="72">
                  <c:v>327.129</c:v>
                </c:pt>
                <c:pt idx="73">
                  <c:v>447.2727</c:v>
                </c:pt>
                <c:pt idx="74">
                  <c:v>911.7857</c:v>
                </c:pt>
                <c:pt idx="75">
                  <c:v>796.6667</c:v>
                </c:pt>
                <c:pt idx="76">
                  <c:v>908.6</c:v>
                </c:pt>
                <c:pt idx="77">
                  <c:v>943.0</c:v>
                </c:pt>
                <c:pt idx="78">
                  <c:v>922.8571</c:v>
                </c:pt>
                <c:pt idx="79">
                  <c:v>910.125</c:v>
                </c:pt>
                <c:pt idx="80">
                  <c:v>977.25</c:v>
                </c:pt>
                <c:pt idx="81">
                  <c:v>885.5625</c:v>
                </c:pt>
                <c:pt idx="82">
                  <c:v>836.3333</c:v>
                </c:pt>
                <c:pt idx="83">
                  <c:v>566.5</c:v>
                </c:pt>
                <c:pt idx="84">
                  <c:v>1080.2</c:v>
                </c:pt>
                <c:pt idx="85">
                  <c:v>909.7778</c:v>
                </c:pt>
                <c:pt idx="86">
                  <c:v>769.9412</c:v>
                </c:pt>
                <c:pt idx="87">
                  <c:v>734.84</c:v>
                </c:pt>
                <c:pt idx="88">
                  <c:v>510.3571</c:v>
                </c:pt>
                <c:pt idx="89">
                  <c:v>1006.0</c:v>
                </c:pt>
                <c:pt idx="90">
                  <c:v>639.0769</c:v>
                </c:pt>
                <c:pt idx="91">
                  <c:v>571.5</c:v>
                </c:pt>
                <c:pt idx="92">
                  <c:v>864.75</c:v>
                </c:pt>
                <c:pt idx="93">
                  <c:v>733.6364</c:v>
                </c:pt>
                <c:pt idx="94">
                  <c:v>560.3333</c:v>
                </c:pt>
                <c:pt idx="95">
                  <c:v>780.0</c:v>
                </c:pt>
                <c:pt idx="96">
                  <c:v>867.4</c:v>
                </c:pt>
                <c:pt idx="97">
                  <c:v>820.9412</c:v>
                </c:pt>
                <c:pt idx="98">
                  <c:v>727.85</c:v>
                </c:pt>
                <c:pt idx="99">
                  <c:v>750.1667</c:v>
                </c:pt>
                <c:pt idx="100">
                  <c:v>844.8182</c:v>
                </c:pt>
                <c:pt idx="101">
                  <c:v>909.7826</c:v>
                </c:pt>
                <c:pt idx="102">
                  <c:v>978.3333</c:v>
                </c:pt>
                <c:pt idx="103">
                  <c:v>892.8</c:v>
                </c:pt>
                <c:pt idx="104">
                  <c:v>949.8333</c:v>
                </c:pt>
              </c:numCache>
            </c:numRef>
          </c:xVal>
          <c:yVal>
            <c:numRef>
              <c:f>Sheet1!$B$2:$B$106</c:f>
              <c:numCache>
                <c:formatCode>General</c:formatCode>
                <c:ptCount val="105"/>
                <c:pt idx="0">
                  <c:v>0.22325581395348837</c:v>
                </c:pt>
                <c:pt idx="1">
                  <c:v>0.27167630057803466</c:v>
                </c:pt>
                <c:pt idx="2">
                  <c:v>0.2840909090909091</c:v>
                </c:pt>
                <c:pt idx="3">
                  <c:v>0.28888888888888886</c:v>
                </c:pt>
                <c:pt idx="4">
                  <c:v>0.23125</c:v>
                </c:pt>
                <c:pt idx="5">
                  <c:v>0.225</c:v>
                </c:pt>
                <c:pt idx="6">
                  <c:v>0.21176470588235294</c:v>
                </c:pt>
                <c:pt idx="7">
                  <c:v>0.25757575757575757</c:v>
                </c:pt>
                <c:pt idx="8">
                  <c:v>0.2903225806451613</c:v>
                </c:pt>
                <c:pt idx="9">
                  <c:v>0.22085889570552147</c:v>
                </c:pt>
                <c:pt idx="10">
                  <c:v>0.19318181818181818</c:v>
                </c:pt>
                <c:pt idx="11">
                  <c:v>0.21761658031088082</c:v>
                </c:pt>
                <c:pt idx="12">
                  <c:v>0.271356783919598</c:v>
                </c:pt>
                <c:pt idx="13">
                  <c:v>0.2205128205128205</c:v>
                </c:pt>
                <c:pt idx="14">
                  <c:v>0.2023121387283237</c:v>
                </c:pt>
                <c:pt idx="15">
                  <c:v>0.17142857142857143</c:v>
                </c:pt>
                <c:pt idx="16">
                  <c:v>0.20634920634920634</c:v>
                </c:pt>
                <c:pt idx="17">
                  <c:v>0.22556390977443608</c:v>
                </c:pt>
                <c:pt idx="18">
                  <c:v>0.14655172413793102</c:v>
                </c:pt>
                <c:pt idx="19">
                  <c:v>0.1717171717171717</c:v>
                </c:pt>
                <c:pt idx="20">
                  <c:v>0.15267175572519084</c:v>
                </c:pt>
                <c:pt idx="21">
                  <c:v>0.2073170731707317</c:v>
                </c:pt>
                <c:pt idx="22">
                  <c:v>0.17391304347826086</c:v>
                </c:pt>
                <c:pt idx="23">
                  <c:v>0.16494845360824742</c:v>
                </c:pt>
                <c:pt idx="24">
                  <c:v>0.20388349514563106</c:v>
                </c:pt>
                <c:pt idx="25">
                  <c:v>0.18292682926829268</c:v>
                </c:pt>
                <c:pt idx="26">
                  <c:v>0.19801980198019803</c:v>
                </c:pt>
                <c:pt idx="27">
                  <c:v>0.19148936170212766</c:v>
                </c:pt>
                <c:pt idx="28">
                  <c:v>0.16822429906542055</c:v>
                </c:pt>
                <c:pt idx="29">
                  <c:v>0.19672131147540983</c:v>
                </c:pt>
                <c:pt idx="30">
                  <c:v>0.1956521739130435</c:v>
                </c:pt>
                <c:pt idx="31">
                  <c:v>0.1568627450980392</c:v>
                </c:pt>
                <c:pt idx="32">
                  <c:v>0.12121212121212122</c:v>
                </c:pt>
                <c:pt idx="33">
                  <c:v>0.14093959731543623</c:v>
                </c:pt>
                <c:pt idx="34">
                  <c:v>0.19444444444444445</c:v>
                </c:pt>
                <c:pt idx="35">
                  <c:v>0.1752136752136752</c:v>
                </c:pt>
                <c:pt idx="36">
                  <c:v>0.1925925925925926</c:v>
                </c:pt>
                <c:pt idx="37">
                  <c:v>0.2</c:v>
                </c:pt>
                <c:pt idx="38">
                  <c:v>0.16494845360824742</c:v>
                </c:pt>
                <c:pt idx="39">
                  <c:v>0.18446601941747573</c:v>
                </c:pt>
                <c:pt idx="40">
                  <c:v>0.1619718309859155</c:v>
                </c:pt>
                <c:pt idx="41">
                  <c:v>0.13043478260869565</c:v>
                </c:pt>
                <c:pt idx="42">
                  <c:v>0.14084507042253522</c:v>
                </c:pt>
                <c:pt idx="43">
                  <c:v>0.13432835820895522</c:v>
                </c:pt>
                <c:pt idx="44">
                  <c:v>0.1751412429378531</c:v>
                </c:pt>
                <c:pt idx="45">
                  <c:v>0.1625615763546798</c:v>
                </c:pt>
                <c:pt idx="46">
                  <c:v>0.16783216783216784</c:v>
                </c:pt>
                <c:pt idx="47">
                  <c:v>0.2145922746781116</c:v>
                </c:pt>
                <c:pt idx="48">
                  <c:v>0.19230769230769232</c:v>
                </c:pt>
                <c:pt idx="49">
                  <c:v>0.21603563474387527</c:v>
                </c:pt>
                <c:pt idx="50">
                  <c:v>0.20614035087719298</c:v>
                </c:pt>
                <c:pt idx="51">
                  <c:v>0.21354166666666666</c:v>
                </c:pt>
                <c:pt idx="52">
                  <c:v>0.22110552763819097</c:v>
                </c:pt>
                <c:pt idx="53">
                  <c:v>0.17486338797814208</c:v>
                </c:pt>
                <c:pt idx="54">
                  <c:v>0.18562874251497005</c:v>
                </c:pt>
                <c:pt idx="55">
                  <c:v>0.2127659574468085</c:v>
                </c:pt>
                <c:pt idx="56">
                  <c:v>0.2323943661971831</c:v>
                </c:pt>
                <c:pt idx="57">
                  <c:v>0.1870967741935484</c:v>
                </c:pt>
                <c:pt idx="58">
                  <c:v>0.1925133689839572</c:v>
                </c:pt>
                <c:pt idx="59">
                  <c:v>0.1694915254237288</c:v>
                </c:pt>
                <c:pt idx="60">
                  <c:v>0.12422360248447205</c:v>
                </c:pt>
                <c:pt idx="61">
                  <c:v>0.1597222222222222</c:v>
                </c:pt>
                <c:pt idx="62">
                  <c:v>0.11627906976744186</c:v>
                </c:pt>
                <c:pt idx="63">
                  <c:v>0.17582417582417584</c:v>
                </c:pt>
                <c:pt idx="64">
                  <c:v>0.19689119170984457</c:v>
                </c:pt>
                <c:pt idx="65">
                  <c:v>0.17159763313609466</c:v>
                </c:pt>
                <c:pt idx="66">
                  <c:v>0.1695906432748538</c:v>
                </c:pt>
                <c:pt idx="67">
                  <c:v>0.20833333333333334</c:v>
                </c:pt>
                <c:pt idx="68">
                  <c:v>0.21774193548387097</c:v>
                </c:pt>
                <c:pt idx="69">
                  <c:v>0.21153846153846154</c:v>
                </c:pt>
                <c:pt idx="70">
                  <c:v>0.17</c:v>
                </c:pt>
                <c:pt idx="71">
                  <c:v>0.15555555555555556</c:v>
                </c:pt>
                <c:pt idx="72">
                  <c:v>0.25833333333333336</c:v>
                </c:pt>
                <c:pt idx="73">
                  <c:v>0.21782178217821782</c:v>
                </c:pt>
                <c:pt idx="74">
                  <c:v>0.13592233009708737</c:v>
                </c:pt>
                <c:pt idx="75">
                  <c:v>0.08823529411764706</c:v>
                </c:pt>
                <c:pt idx="76">
                  <c:v>0.12195121951219512</c:v>
                </c:pt>
                <c:pt idx="77">
                  <c:v>0.12307692307692308</c:v>
                </c:pt>
                <c:pt idx="78">
                  <c:v>0.08974358974358974</c:v>
                </c:pt>
                <c:pt idx="79">
                  <c:v>0.09302325581395349</c:v>
                </c:pt>
                <c:pt idx="80">
                  <c:v>0.11594202898550725</c:v>
                </c:pt>
                <c:pt idx="81">
                  <c:v>0.15384615384615385</c:v>
                </c:pt>
                <c:pt idx="82">
                  <c:v>0.08333333333333333</c:v>
                </c:pt>
                <c:pt idx="83">
                  <c:v>0.19718309859154928</c:v>
                </c:pt>
                <c:pt idx="84">
                  <c:v>0.07575757575757576</c:v>
                </c:pt>
                <c:pt idx="85">
                  <c:v>0.10588235294117647</c:v>
                </c:pt>
                <c:pt idx="86">
                  <c:v>0.14285714285714285</c:v>
                </c:pt>
                <c:pt idx="87">
                  <c:v>0.14285714285714285</c:v>
                </c:pt>
                <c:pt idx="88">
                  <c:v>0.1686746987951807</c:v>
                </c:pt>
                <c:pt idx="89">
                  <c:v>0.125</c:v>
                </c:pt>
                <c:pt idx="90">
                  <c:v>0.17333333333333334</c:v>
                </c:pt>
                <c:pt idx="91">
                  <c:v>0.1590909090909091</c:v>
                </c:pt>
                <c:pt idx="92">
                  <c:v>0.11009174311926606</c:v>
                </c:pt>
                <c:pt idx="93">
                  <c:v>0.12222222222222222</c:v>
                </c:pt>
                <c:pt idx="94">
                  <c:v>0.15789473684210525</c:v>
                </c:pt>
                <c:pt idx="95">
                  <c:v>0.12244897959183673</c:v>
                </c:pt>
                <c:pt idx="96">
                  <c:v>0.11194029850746269</c:v>
                </c:pt>
                <c:pt idx="97">
                  <c:v>0.11486486486486487</c:v>
                </c:pt>
                <c:pt idx="98">
                  <c:v>0.12269938650306748</c:v>
                </c:pt>
                <c:pt idx="99">
                  <c:v>0.10762331838565023</c:v>
                </c:pt>
                <c:pt idx="100">
                  <c:v>0.14666666666666667</c:v>
                </c:pt>
                <c:pt idx="101">
                  <c:v>0.13068181818181818</c:v>
                </c:pt>
                <c:pt idx="102">
                  <c:v>0.10869565217391304</c:v>
                </c:pt>
                <c:pt idx="103">
                  <c:v>0.12096774193548387</c:v>
                </c:pt>
                <c:pt idx="104">
                  <c:v>0.1417322834645669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47.1765</c:v>
                </c:pt>
                <c:pt idx="1">
                  <c:v>836.8462</c:v>
                </c:pt>
                <c:pt idx="2">
                  <c:v>657.35</c:v>
                </c:pt>
                <c:pt idx="3">
                  <c:v>899.9474</c:v>
                </c:pt>
                <c:pt idx="4">
                  <c:v>937.4118</c:v>
                </c:pt>
                <c:pt idx="5">
                  <c:v>978.6429</c:v>
                </c:pt>
                <c:pt idx="6">
                  <c:v>638.1905</c:v>
                </c:pt>
                <c:pt idx="7">
                  <c:v>778.0625</c:v>
                </c:pt>
                <c:pt idx="8">
                  <c:v>886.9333</c:v>
                </c:pt>
                <c:pt idx="9">
                  <c:v>948.8</c:v>
                </c:pt>
                <c:pt idx="10">
                  <c:v>939.5294</c:v>
                </c:pt>
                <c:pt idx="11">
                  <c:v>965.7</c:v>
                </c:pt>
                <c:pt idx="12">
                  <c:v>970.8824</c:v>
                </c:pt>
                <c:pt idx="13">
                  <c:v>948.7647</c:v>
                </c:pt>
                <c:pt idx="14">
                  <c:v>972.0</c:v>
                </c:pt>
                <c:pt idx="15">
                  <c:v>941.9091</c:v>
                </c:pt>
                <c:pt idx="16">
                  <c:v>1002.8333</c:v>
                </c:pt>
                <c:pt idx="17">
                  <c:v>916.5556</c:v>
                </c:pt>
                <c:pt idx="18">
                  <c:v>604.8571</c:v>
                </c:pt>
                <c:pt idx="19">
                  <c:v>900.7857</c:v>
                </c:pt>
                <c:pt idx="20">
                  <c:v>809.8889</c:v>
                </c:pt>
                <c:pt idx="21">
                  <c:v>920.2222</c:v>
                </c:pt>
                <c:pt idx="22">
                  <c:v>1014.125</c:v>
                </c:pt>
                <c:pt idx="23">
                  <c:v>1067.6667</c:v>
                </c:pt>
                <c:pt idx="24">
                  <c:v>924.6</c:v>
                </c:pt>
                <c:pt idx="25">
                  <c:v>1116.3333</c:v>
                </c:pt>
                <c:pt idx="26">
                  <c:v>1108.0</c:v>
                </c:pt>
                <c:pt idx="27">
                  <c:v>982.4444</c:v>
                </c:pt>
                <c:pt idx="28">
                  <c:v>1007.4545</c:v>
                </c:pt>
                <c:pt idx="29">
                  <c:v>1028.8571</c:v>
                </c:pt>
                <c:pt idx="30">
                  <c:v>1141.5</c:v>
                </c:pt>
                <c:pt idx="31">
                  <c:v>915.3333</c:v>
                </c:pt>
                <c:pt idx="32">
                  <c:v>1111.6</c:v>
                </c:pt>
                <c:pt idx="33">
                  <c:v>1059.9444</c:v>
                </c:pt>
                <c:pt idx="34">
                  <c:v>1095.1786</c:v>
                </c:pt>
                <c:pt idx="35">
                  <c:v>1033.4615</c:v>
                </c:pt>
                <c:pt idx="36">
                  <c:v>985.4</c:v>
                </c:pt>
                <c:pt idx="37">
                  <c:v>973.2857</c:v>
                </c:pt>
                <c:pt idx="38">
                  <c:v>861.3333</c:v>
                </c:pt>
                <c:pt idx="39">
                  <c:v>931.1176</c:v>
                </c:pt>
                <c:pt idx="40">
                  <c:v>1091.25</c:v>
                </c:pt>
                <c:pt idx="41">
                  <c:v>1077.5455</c:v>
                </c:pt>
                <c:pt idx="42">
                  <c:v>1071.125</c:v>
                </c:pt>
                <c:pt idx="43">
                  <c:v>1061.3571</c:v>
                </c:pt>
                <c:pt idx="44">
                  <c:v>988.5333</c:v>
                </c:pt>
                <c:pt idx="45">
                  <c:v>998.0588</c:v>
                </c:pt>
                <c:pt idx="46">
                  <c:v>1034.0</c:v>
                </c:pt>
                <c:pt idx="47">
                  <c:v>899.0</c:v>
                </c:pt>
                <c:pt idx="48">
                  <c:v>890.1111</c:v>
                </c:pt>
                <c:pt idx="49">
                  <c:v>902.2917</c:v>
                </c:pt>
                <c:pt idx="50">
                  <c:v>982.4231</c:v>
                </c:pt>
                <c:pt idx="51">
                  <c:v>946.7143</c:v>
                </c:pt>
              </c:numCache>
            </c:numRef>
          </c:xVal>
          <c:yVal>
            <c:numRef>
              <c:f>Sheet1!$B$109:$B$160</c:f>
              <c:numCache>
                <c:formatCode>General</c:formatCode>
                <c:ptCount val="52"/>
                <c:pt idx="0">
                  <c:v>0.1328125</c:v>
                </c:pt>
                <c:pt idx="1">
                  <c:v>0.1111111111111111</c:v>
                </c:pt>
                <c:pt idx="2">
                  <c:v>0.16</c:v>
                </c:pt>
                <c:pt idx="3">
                  <c:v>0.1623931623931624</c:v>
                </c:pt>
                <c:pt idx="4">
                  <c:v>0.16831683168316833</c:v>
                </c:pt>
                <c:pt idx="5">
                  <c:v>0.125</c:v>
                </c:pt>
                <c:pt idx="6">
                  <c:v>0.168</c:v>
                </c:pt>
                <c:pt idx="7">
                  <c:v>0.13559322033898305</c:v>
                </c:pt>
                <c:pt idx="8">
                  <c:v>0.16304347826086957</c:v>
                </c:pt>
                <c:pt idx="9">
                  <c:v>0.08695652173913043</c:v>
                </c:pt>
                <c:pt idx="10">
                  <c:v>0.1349206349206349</c:v>
                </c:pt>
                <c:pt idx="11">
                  <c:v>0.11976047904191617</c:v>
                </c:pt>
                <c:pt idx="12">
                  <c:v>0.1259259259259259</c:v>
                </c:pt>
                <c:pt idx="13">
                  <c:v>0.1297709923664122</c:v>
                </c:pt>
                <c:pt idx="14">
                  <c:v>0.12931034482758622</c:v>
                </c:pt>
                <c:pt idx="15">
                  <c:v>0.11956521739130435</c:v>
                </c:pt>
                <c:pt idx="16">
                  <c:v>0.1276595744680851</c:v>
                </c:pt>
                <c:pt idx="17">
                  <c:v>0.1232876712328767</c:v>
                </c:pt>
                <c:pt idx="18">
                  <c:v>0.20588235294117646</c:v>
                </c:pt>
                <c:pt idx="19">
                  <c:v>0.1308411214953271</c:v>
                </c:pt>
                <c:pt idx="20">
                  <c:v>0.140625</c:v>
                </c:pt>
                <c:pt idx="21">
                  <c:v>0.13043478260869565</c:v>
                </c:pt>
                <c:pt idx="22">
                  <c:v>0.11428571428571428</c:v>
                </c:pt>
                <c:pt idx="23">
                  <c:v>0.140625</c:v>
                </c:pt>
                <c:pt idx="24">
                  <c:v>0.15873015873015872</c:v>
                </c:pt>
                <c:pt idx="25">
                  <c:v>0.09230769230769231</c:v>
                </c:pt>
                <c:pt idx="26">
                  <c:v>0.11940298507462686</c:v>
                </c:pt>
                <c:pt idx="27">
                  <c:v>0.125</c:v>
                </c:pt>
                <c:pt idx="28">
                  <c:v>0.13414634146341464</c:v>
                </c:pt>
                <c:pt idx="29">
                  <c:v>0.11290322580645161</c:v>
                </c:pt>
                <c:pt idx="30">
                  <c:v>0.09523809523809523</c:v>
                </c:pt>
                <c:pt idx="31">
                  <c:v>0.10526315789473684</c:v>
                </c:pt>
                <c:pt idx="32">
                  <c:v>0.09090909090909091</c:v>
                </c:pt>
                <c:pt idx="33">
                  <c:v>0.18556701030927836</c:v>
                </c:pt>
                <c:pt idx="34">
                  <c:v>0.1696969696969697</c:v>
                </c:pt>
                <c:pt idx="35">
                  <c:v>0.11926605504587157</c:v>
                </c:pt>
                <c:pt idx="36">
                  <c:v>0.10869565217391304</c:v>
                </c:pt>
                <c:pt idx="37">
                  <c:v>0.12727272727272726</c:v>
                </c:pt>
                <c:pt idx="38">
                  <c:v>0.0821917808219178</c:v>
                </c:pt>
                <c:pt idx="39">
                  <c:v>0.1619047619047619</c:v>
                </c:pt>
                <c:pt idx="40">
                  <c:v>0.13793103448275862</c:v>
                </c:pt>
                <c:pt idx="41">
                  <c:v>0.13414634146341464</c:v>
                </c:pt>
                <c:pt idx="42">
                  <c:v>0.1</c:v>
                </c:pt>
                <c:pt idx="43">
                  <c:v>0.14</c:v>
                </c:pt>
                <c:pt idx="44">
                  <c:v>0.14018691588785046</c:v>
                </c:pt>
                <c:pt idx="45">
                  <c:v>0.11486486486486487</c:v>
                </c:pt>
                <c:pt idx="46">
                  <c:v>0.140625</c:v>
                </c:pt>
                <c:pt idx="47">
                  <c:v>0.12173913043478261</c:v>
                </c:pt>
                <c:pt idx="48">
                  <c:v>0.14173228346456693</c:v>
                </c:pt>
                <c:pt idx="49">
                  <c:v>0.1188118811881188</c:v>
                </c:pt>
                <c:pt idx="50">
                  <c:v>0.1015625</c:v>
                </c:pt>
                <c:pt idx="51">
                  <c:v>0.1228070175438596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8.5361308822341</c:v>
                </c:pt>
              </c:numCache>
            </c:numRef>
          </c:xVal>
          <c:yVal>
            <c:numRef>
              <c:f>Sheet1!$B$163:$B$164</c:f>
              <c:numCache>
                <c:formatCode>General</c:formatCode>
                <c:ptCount val="2"/>
                <c:pt idx="0">
                  <c:v>0.25375832851273256</c:v>
                </c:pt>
                <c:pt idx="1">
                  <c:v>0.253758328512732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8.5361308822341</c:v>
                </c:pt>
                <c:pt idx="1">
                  <c:v>-398.5361308822341</c:v>
                </c:pt>
              </c:numCache>
            </c:numRef>
          </c:xVal>
          <c:yVal>
            <c:numRef>
              <c:f>Sheet1!$B$167:$B$168</c:f>
              <c:numCache>
                <c:formatCode>General</c:formatCode>
                <c:ptCount val="2"/>
                <c:pt idx="0">
                  <c:v>0.25375832851273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69.4288625247739</c:v>
                </c:pt>
              </c:numCache>
            </c:numRef>
          </c:xVal>
          <c:yVal>
            <c:numRef>
              <c:f>Sheet1!$B$171:$B$172</c:f>
              <c:numCache>
                <c:formatCode>General</c:formatCode>
                <c:ptCount val="2"/>
                <c:pt idx="0">
                  <c:v>0.14736336708747716</c:v>
                </c:pt>
                <c:pt idx="1">
                  <c:v>0.147363367087477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69.4288625247739</c:v>
                </c:pt>
                <c:pt idx="1">
                  <c:v>769.4288625247739</c:v>
                </c:pt>
              </c:numCache>
            </c:numRef>
          </c:xVal>
          <c:yVal>
            <c:numRef>
              <c:f>Sheet1!$B$175:$B$176</c:f>
              <c:numCache>
                <c:formatCode>General</c:formatCode>
                <c:ptCount val="2"/>
                <c:pt idx="0">
                  <c:v>0.147363367087477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71.5963907524703</c:v>
                </c:pt>
              </c:numCache>
            </c:numRef>
          </c:xVal>
          <c:yVal>
            <c:numRef>
              <c:f>Sheet1!$B$179:$B$180</c:f>
              <c:numCache>
                <c:formatCode>General</c:formatCode>
                <c:ptCount val="2"/>
                <c:pt idx="0">
                  <c:v>0.1289470562488445</c:v>
                </c:pt>
                <c:pt idx="1">
                  <c:v>0.12894705624884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71.5963907524703</c:v>
                </c:pt>
                <c:pt idx="1">
                  <c:v>971.5963907524703</c:v>
                </c:pt>
              </c:numCache>
            </c:numRef>
          </c:xVal>
          <c:yVal>
            <c:numRef>
              <c:f>Sheet1!$B$183:$B$184</c:f>
              <c:numCache>
                <c:formatCode>General</c:formatCode>
                <c:ptCount val="2"/>
                <c:pt idx="0">
                  <c:v>0.1289470562488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47.1765</c:v>
                </c:pt>
                <c:pt idx="1">
                  <c:v>836.8462</c:v>
                </c:pt>
                <c:pt idx="2">
                  <c:v>657.35</c:v>
                </c:pt>
                <c:pt idx="3">
                  <c:v>899.9474</c:v>
                </c:pt>
                <c:pt idx="4">
                  <c:v>937.4118</c:v>
                </c:pt>
                <c:pt idx="5">
                  <c:v>978.6429</c:v>
                </c:pt>
                <c:pt idx="6">
                  <c:v>638.1905</c:v>
                </c:pt>
                <c:pt idx="7">
                  <c:v>778.0625</c:v>
                </c:pt>
                <c:pt idx="8">
                  <c:v>886.9333</c:v>
                </c:pt>
                <c:pt idx="9">
                  <c:v>948.8</c:v>
                </c:pt>
                <c:pt idx="10">
                  <c:v>939.5294</c:v>
                </c:pt>
                <c:pt idx="11">
                  <c:v>965.7</c:v>
                </c:pt>
                <c:pt idx="12">
                  <c:v>970.8824</c:v>
                </c:pt>
                <c:pt idx="13">
                  <c:v>948.7647</c:v>
                </c:pt>
                <c:pt idx="14">
                  <c:v>972.0</c:v>
                </c:pt>
                <c:pt idx="15">
                  <c:v>941.9091</c:v>
                </c:pt>
                <c:pt idx="16">
                  <c:v>1002.8333</c:v>
                </c:pt>
                <c:pt idx="17">
                  <c:v>916.5556</c:v>
                </c:pt>
                <c:pt idx="18">
                  <c:v>604.8571</c:v>
                </c:pt>
                <c:pt idx="19">
                  <c:v>900.7857</c:v>
                </c:pt>
                <c:pt idx="20">
                  <c:v>809.8889</c:v>
                </c:pt>
                <c:pt idx="21">
                  <c:v>920.2222</c:v>
                </c:pt>
                <c:pt idx="22">
                  <c:v>1014.125</c:v>
                </c:pt>
                <c:pt idx="23">
                  <c:v>1067.6667</c:v>
                </c:pt>
                <c:pt idx="24">
                  <c:v>924.6</c:v>
                </c:pt>
                <c:pt idx="25">
                  <c:v>1116.3333</c:v>
                </c:pt>
                <c:pt idx="26">
                  <c:v>1108.0</c:v>
                </c:pt>
                <c:pt idx="27">
                  <c:v>982.4444</c:v>
                </c:pt>
                <c:pt idx="28">
                  <c:v>1007.4545</c:v>
                </c:pt>
                <c:pt idx="29">
                  <c:v>1028.8571</c:v>
                </c:pt>
                <c:pt idx="30">
                  <c:v>1141.5</c:v>
                </c:pt>
                <c:pt idx="31">
                  <c:v>915.3333</c:v>
                </c:pt>
                <c:pt idx="32">
                  <c:v>1111.6</c:v>
                </c:pt>
                <c:pt idx="33">
                  <c:v>1059.9444</c:v>
                </c:pt>
                <c:pt idx="34">
                  <c:v>1095.1786</c:v>
                </c:pt>
                <c:pt idx="35">
                  <c:v>1033.4615</c:v>
                </c:pt>
                <c:pt idx="36">
                  <c:v>985.4</c:v>
                </c:pt>
                <c:pt idx="37">
                  <c:v>973.2857</c:v>
                </c:pt>
                <c:pt idx="38">
                  <c:v>861.3333</c:v>
                </c:pt>
                <c:pt idx="39">
                  <c:v>931.1176</c:v>
                </c:pt>
                <c:pt idx="40">
                  <c:v>1091.25</c:v>
                </c:pt>
                <c:pt idx="41">
                  <c:v>1077.5455</c:v>
                </c:pt>
                <c:pt idx="42">
                  <c:v>1071.125</c:v>
                </c:pt>
                <c:pt idx="43">
                  <c:v>1061.3571</c:v>
                </c:pt>
                <c:pt idx="44">
                  <c:v>988.5333</c:v>
                </c:pt>
                <c:pt idx="45">
                  <c:v>998.0588</c:v>
                </c:pt>
                <c:pt idx="46">
                  <c:v>1034.0</c:v>
                </c:pt>
                <c:pt idx="47">
                  <c:v>899.0</c:v>
                </c:pt>
                <c:pt idx="48">
                  <c:v>890.1111</c:v>
                </c:pt>
                <c:pt idx="49">
                  <c:v>902.2917</c:v>
                </c:pt>
                <c:pt idx="50">
                  <c:v>982.4231</c:v>
                </c:pt>
                <c:pt idx="51">
                  <c:v>946.7143</c:v>
                </c:pt>
                <c:pt idx="52">
                  <c:v>769.4288625247739</c:v>
                </c:pt>
                <c:pt idx="53">
                  <c:v>-398.5361308822341</c:v>
                </c:pt>
                <c:pt idx="54">
                  <c:v>971.5963907524703</c:v>
                </c:pt>
              </c:numCache>
            </c:numRef>
          </c:xVal>
          <c:yVal>
            <c:numRef>
              <c:f>Sheet1!$B$187:$B$241</c:f>
              <c:numCache>
                <c:formatCode>General</c:formatCode>
                <c:ptCount val="55"/>
                <c:pt idx="0">
                  <c:v>0.14028099994738696</c:v>
                </c:pt>
                <c:pt idx="1">
                  <c:v>0.14122203146478307</c:v>
                </c:pt>
                <c:pt idx="2">
                  <c:v>0.15757311337458557</c:v>
                </c:pt>
                <c:pt idx="3">
                  <c:v>0.13547387139338976</c:v>
                </c:pt>
                <c:pt idx="4">
                  <c:v>0.13206107784621937</c:v>
                </c:pt>
                <c:pt idx="5">
                  <c:v>0.12830515937367645</c:v>
                </c:pt>
                <c:pt idx="6">
                  <c:v>0.15931843474546062</c:v>
                </c:pt>
                <c:pt idx="7">
                  <c:v>0.1465768918666259</c:v>
                </c:pt>
                <c:pt idx="8">
                  <c:v>0.13665938181133935</c:v>
                </c:pt>
                <c:pt idx="9">
                  <c:v>0.1310236776616739</c:v>
                </c:pt>
                <c:pt idx="10">
                  <c:v>0.13186817654216837</c:v>
                </c:pt>
                <c:pt idx="11">
                  <c:v>0.12948418387698285</c:v>
                </c:pt>
                <c:pt idx="12">
                  <c:v>0.12901209674149272</c:v>
                </c:pt>
                <c:pt idx="13">
                  <c:v>0.13102689329070344</c:v>
                </c:pt>
                <c:pt idx="14">
                  <c:v>0.1289102897442282</c:v>
                </c:pt>
                <c:pt idx="15">
                  <c:v>0.13165139942030868</c:v>
                </c:pt>
                <c:pt idx="16">
                  <c:v>0.12610155165478945</c:v>
                </c:pt>
                <c:pt idx="17">
                  <c:v>0.133960958927419</c:v>
                </c:pt>
                <c:pt idx="18">
                  <c:v>0.16235491771129618</c:v>
                </c:pt>
                <c:pt idx="19">
                  <c:v>0.13539750703601067</c:v>
                </c:pt>
                <c:pt idx="20">
                  <c:v>0.14367768802111752</c:v>
                </c:pt>
                <c:pt idx="21">
                  <c:v>0.13362695254215579</c:v>
                </c:pt>
                <c:pt idx="22">
                  <c:v>0.12507294207084885</c:v>
                </c:pt>
                <c:pt idx="23">
                  <c:v>0.12019559802518064</c:v>
                </c:pt>
                <c:pt idx="24">
                  <c:v>0.13322815988590606</c:v>
                </c:pt>
                <c:pt idx="25">
                  <c:v>0.11576234783452705</c:v>
                </c:pt>
                <c:pt idx="26">
                  <c:v>0.11652146402127059</c:v>
                </c:pt>
                <c:pt idx="27">
                  <c:v>0.12795886436642775</c:v>
                </c:pt>
                <c:pt idx="28">
                  <c:v>0.1256805866442679</c:v>
                </c:pt>
                <c:pt idx="29">
                  <c:v>0.12373093163384016</c:v>
                </c:pt>
                <c:pt idx="30">
                  <c:v>0.11346980474392442</c:v>
                </c:pt>
                <c:pt idx="31">
                  <c:v>0.13407230349860408</c:v>
                </c:pt>
                <c:pt idx="32">
                  <c:v>0.11619352451683937</c:v>
                </c:pt>
                <c:pt idx="33">
                  <c:v>0.12089905559047764</c:v>
                </c:pt>
                <c:pt idx="34">
                  <c:v>0.11768942056630242</c:v>
                </c:pt>
                <c:pt idx="35">
                  <c:v>0.12331149700767262</c:v>
                </c:pt>
                <c:pt idx="36">
                  <c:v>0.1276896260332897</c:v>
                </c:pt>
                <c:pt idx="37">
                  <c:v>0.12879316979399286</c:v>
                </c:pt>
                <c:pt idx="38">
                  <c:v>0.13899139606507255</c:v>
                </c:pt>
                <c:pt idx="39">
                  <c:v>0.13263444363199467</c:v>
                </c:pt>
                <c:pt idx="40">
                  <c:v>0.11804729365994368</c:v>
                </c:pt>
                <c:pt idx="41">
                  <c:v>0.11929569558729863</c:v>
                </c:pt>
                <c:pt idx="42">
                  <c:v>0.11988056658402105</c:v>
                </c:pt>
                <c:pt idx="43">
                  <c:v>0.12077036666328043</c:v>
                </c:pt>
                <c:pt idx="44">
                  <c:v>0.1274042002418357</c:v>
                </c:pt>
                <c:pt idx="45">
                  <c:v>0.12653648142254137</c:v>
                </c:pt>
                <c:pt idx="46">
                  <c:v>0.1232624427234681</c:v>
                </c:pt>
                <c:pt idx="47">
                  <c:v>0.13556017413963925</c:v>
                </c:pt>
                <c:pt idx="48">
                  <c:v>0.13636990232323334</c:v>
                </c:pt>
                <c:pt idx="49">
                  <c:v>0.13526031900999028</c:v>
                </c:pt>
                <c:pt idx="50">
                  <c:v>0.1279608046751623</c:v>
                </c:pt>
                <c:pt idx="51">
                  <c:v>0.1312136730573384</c:v>
                </c:pt>
                <c:pt idx="52">
                  <c:v>0.14736336708747716</c:v>
                </c:pt>
                <c:pt idx="53">
                  <c:v>0.25375832851273256</c:v>
                </c:pt>
                <c:pt idx="54">
                  <c:v>0.12894705624884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3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838709677419355"/>
          <c:min val="0.060606060606060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373093392122808</c:v>
                </c:pt>
                <c:pt idx="1">
                  <c:v>1.6393245816838191</c:v>
                </c:pt>
                <c:pt idx="2">
                  <c:v>1.6408941521004252</c:v>
                </c:pt>
                <c:pt idx="3">
                  <c:v>1.5470966005919815</c:v>
                </c:pt>
                <c:pt idx="4">
                  <c:v>1.514550408719346</c:v>
                </c:pt>
                <c:pt idx="5">
                  <c:v>1.5190520679437478</c:v>
                </c:pt>
                <c:pt idx="6">
                  <c:v>1.5229557283454518</c:v>
                </c:pt>
                <c:pt idx="7">
                  <c:v>1.4535173627696907</c:v>
                </c:pt>
                <c:pt idx="8">
                  <c:v>1.5179400716027256</c:v>
                </c:pt>
                <c:pt idx="9">
                  <c:v>1.395618019539867</c:v>
                </c:pt>
                <c:pt idx="10">
                  <c:v>1.3279335077967331</c:v>
                </c:pt>
                <c:pt idx="11">
                  <c:v>1.3882594971154891</c:v>
                </c:pt>
                <c:pt idx="12">
                  <c:v>1.3301924099565914</c:v>
                </c:pt>
                <c:pt idx="13">
                  <c:v>1.310542521994135</c:v>
                </c:pt>
                <c:pt idx="14">
                  <c:v>1.1036960346777118</c:v>
                </c:pt>
                <c:pt idx="15">
                  <c:v>1.07152254460419</c:v>
                </c:pt>
                <c:pt idx="16">
                  <c:v>1.135007857870776</c:v>
                </c:pt>
                <c:pt idx="17">
                  <c:v>1.1812950572505043</c:v>
                </c:pt>
                <c:pt idx="18">
                  <c:v>0.9948056552015193</c:v>
                </c:pt>
                <c:pt idx="19">
                  <c:v>1.109338467886123</c:v>
                </c:pt>
                <c:pt idx="20">
                  <c:v>1.3887538793103449</c:v>
                </c:pt>
                <c:pt idx="21">
                  <c:v>1.19219597662284</c:v>
                </c:pt>
                <c:pt idx="22">
                  <c:v>1.3009957245059784</c:v>
                </c:pt>
                <c:pt idx="23">
                  <c:v>1.2827233870967742</c:v>
                </c:pt>
                <c:pt idx="24">
                  <c:v>1.341838583771888</c:v>
                </c:pt>
                <c:pt idx="25">
                  <c:v>1.2805543241718387</c:v>
                </c:pt>
                <c:pt idx="26">
                  <c:v>1.3055875123696499</c:v>
                </c:pt>
                <c:pt idx="27">
                  <c:v>1.25297231190898</c:v>
                </c:pt>
                <c:pt idx="28">
                  <c:v>1.3178299241825937</c:v>
                </c:pt>
                <c:pt idx="29">
                  <c:v>1.3187123092573754</c:v>
                </c:pt>
                <c:pt idx="30">
                  <c:v>1.2034508012095206</c:v>
                </c:pt>
                <c:pt idx="31">
                  <c:v>1.055222345287091</c:v>
                </c:pt>
                <c:pt idx="32">
                  <c:v>1.2698843713143468</c:v>
                </c:pt>
                <c:pt idx="33">
                  <c:v>1.1586138585841432</c:v>
                </c:pt>
                <c:pt idx="34">
                  <c:v>1.344280872373473</c:v>
                </c:pt>
                <c:pt idx="35">
                  <c:v>1.407750394243783</c:v>
                </c:pt>
                <c:pt idx="36">
                  <c:v>1.3381701902653984</c:v>
                </c:pt>
                <c:pt idx="37">
                  <c:v>1.270431860519467</c:v>
                </c:pt>
                <c:pt idx="38">
                  <c:v>1.244915730517156</c:v>
                </c:pt>
                <c:pt idx="39">
                  <c:v>1.3792442319614575</c:v>
                </c:pt>
                <c:pt idx="40">
                  <c:v>1.3084979928277043</c:v>
                </c:pt>
                <c:pt idx="41">
                  <c:v>1.273457584783221</c:v>
                </c:pt>
                <c:pt idx="42">
                  <c:v>1.2368220206125677</c:v>
                </c:pt>
                <c:pt idx="43">
                  <c:v>1.3092628209175472</c:v>
                </c:pt>
                <c:pt idx="44">
                  <c:v>1.3855992475164227</c:v>
                </c:pt>
                <c:pt idx="45">
                  <c:v>1.3773516808046027</c:v>
                </c:pt>
                <c:pt idx="46">
                  <c:v>1.3558541729797398</c:v>
                </c:pt>
                <c:pt idx="47">
                  <c:v>1.334471067476403</c:v>
                </c:pt>
                <c:pt idx="48">
                  <c:v>1.356340346334393</c:v>
                </c:pt>
                <c:pt idx="49">
                  <c:v>1.3251363313329474</c:v>
                </c:pt>
                <c:pt idx="50">
                  <c:v>1.3559669435806774</c:v>
                </c:pt>
                <c:pt idx="51">
                  <c:v>1.3678336825141015</c:v>
                </c:pt>
                <c:pt idx="52">
                  <c:v>1.3096321536114435</c:v>
                </c:pt>
                <c:pt idx="53">
                  <c:v>1.407103762243448</c:v>
                </c:pt>
                <c:pt idx="54">
                  <c:v>1.4033291799300882</c:v>
                </c:pt>
                <c:pt idx="55">
                  <c:v>1.4086328904633074</c:v>
                </c:pt>
                <c:pt idx="56">
                  <c:v>1.4475063897002969</c:v>
                </c:pt>
                <c:pt idx="57">
                  <c:v>1.3209220083491275</c:v>
                </c:pt>
                <c:pt idx="58">
                  <c:v>1.20793698904366</c:v>
                </c:pt>
                <c:pt idx="59">
                  <c:v>1.2156251169687746</c:v>
                </c:pt>
                <c:pt idx="60">
                  <c:v>1.1727647201356919</c:v>
                </c:pt>
                <c:pt idx="61">
                  <c:v>1.1808650353744947</c:v>
                </c:pt>
                <c:pt idx="62">
                  <c:v>1.1356181971583867</c:v>
                </c:pt>
                <c:pt idx="63">
                  <c:v>1.1872898892020232</c:v>
                </c:pt>
                <c:pt idx="64">
                  <c:v>1.153788073940503</c:v>
                </c:pt>
                <c:pt idx="65">
                  <c:v>1.248475548782831</c:v>
                </c:pt>
                <c:pt idx="66">
                  <c:v>1.226435180031148</c:v>
                </c:pt>
                <c:pt idx="67">
                  <c:v>1.127681807316559</c:v>
                </c:pt>
                <c:pt idx="68">
                  <c:v>1.075782273519053</c:v>
                </c:pt>
                <c:pt idx="69">
                  <c:v>0.9318182330827068</c:v>
                </c:pt>
                <c:pt idx="70">
                  <c:v>0.9855791514200269</c:v>
                </c:pt>
                <c:pt idx="71">
                  <c:v>1.0140796914243462</c:v>
                </c:pt>
                <c:pt idx="72">
                  <c:v>1.3703918421109547</c:v>
                </c:pt>
                <c:pt idx="73">
                  <c:v>1.3961735347452449</c:v>
                </c:pt>
                <c:pt idx="74">
                  <c:v>1.3172238523426407</c:v>
                </c:pt>
                <c:pt idx="75">
                  <c:v>1.2896634670762144</c:v>
                </c:pt>
                <c:pt idx="76">
                  <c:v>1.2694749167063304</c:v>
                </c:pt>
                <c:pt idx="77">
                  <c:v>1.22774950213576</c:v>
                </c:pt>
                <c:pt idx="78">
                  <c:v>1.2513849482596424</c:v>
                </c:pt>
                <c:pt idx="79">
                  <c:v>1.3523683708094645</c:v>
                </c:pt>
                <c:pt idx="80">
                  <c:v>1.3279776276119395</c:v>
                </c:pt>
                <c:pt idx="81">
                  <c:v>1.3485045161885896</c:v>
                </c:pt>
                <c:pt idx="82">
                  <c:v>1.3907175064369997</c:v>
                </c:pt>
                <c:pt idx="83">
                  <c:v>1.4296307316053052</c:v>
                </c:pt>
                <c:pt idx="84">
                  <c:v>1.5318015984015985</c:v>
                </c:pt>
                <c:pt idx="85">
                  <c:v>1.3300634701484433</c:v>
                </c:pt>
                <c:pt idx="86">
                  <c:v>1.2423055413842392</c:v>
                </c:pt>
                <c:pt idx="87">
                  <c:v>1.2941214144988304</c:v>
                </c:pt>
                <c:pt idx="88">
                  <c:v>1.4111353110047848</c:v>
                </c:pt>
                <c:pt idx="89">
                  <c:v>1.4181885034930752</c:v>
                </c:pt>
                <c:pt idx="90">
                  <c:v>1.390511549851925</c:v>
                </c:pt>
                <c:pt idx="91">
                  <c:v>1.395579501927644</c:v>
                </c:pt>
                <c:pt idx="92">
                  <c:v>1.3287154452780467</c:v>
                </c:pt>
                <c:pt idx="93">
                  <c:v>1.3019821075383056</c:v>
                </c:pt>
                <c:pt idx="94">
                  <c:v>1.3506051626938949</c:v>
                </c:pt>
                <c:pt idx="95">
                  <c:v>1.1651674437106796</c:v>
                </c:pt>
                <c:pt idx="96">
                  <c:v>0.9923880103624018</c:v>
                </c:pt>
                <c:pt idx="97">
                  <c:v>1.3300102796235347</c:v>
                </c:pt>
                <c:pt idx="98">
                  <c:v>1.3054436251570092</c:v>
                </c:pt>
                <c:pt idx="99">
                  <c:v>1.2853072403847323</c:v>
                </c:pt>
                <c:pt idx="100">
                  <c:v>1.3197589437004968</c:v>
                </c:pt>
                <c:pt idx="101">
                  <c:v>1.1795440399942032</c:v>
                </c:pt>
                <c:pt idx="102">
                  <c:v>1.1762147077437295</c:v>
                </c:pt>
                <c:pt idx="103">
                  <c:v>1.1405783607472808</c:v>
                </c:pt>
                <c:pt idx="104">
                  <c:v>1.159921073603157</c:v>
                </c:pt>
              </c:numCache>
            </c:numRef>
          </c:xVal>
          <c:yVal>
            <c:numRef>
              <c:f>Sheet1!$B$2:$B$106</c:f>
              <c:numCache>
                <c:formatCode>General</c:formatCode>
                <c:ptCount val="105"/>
                <c:pt idx="0">
                  <c:v>0.3535714285714286</c:v>
                </c:pt>
                <c:pt idx="1">
                  <c:v>0.37218045112781956</c:v>
                </c:pt>
                <c:pt idx="2">
                  <c:v>0.41044776119402987</c:v>
                </c:pt>
                <c:pt idx="3">
                  <c:v>0.3793103448275862</c:v>
                </c:pt>
                <c:pt idx="4">
                  <c:v>0.3712871287128713</c:v>
                </c:pt>
                <c:pt idx="5">
                  <c:v>0.35294117647058826</c:v>
                </c:pt>
                <c:pt idx="6">
                  <c:v>0.3287671232876712</c:v>
                </c:pt>
                <c:pt idx="7">
                  <c:v>0.36231884057971014</c:v>
                </c:pt>
                <c:pt idx="8">
                  <c:v>0.4</c:v>
                </c:pt>
                <c:pt idx="9">
                  <c:v>0.3755274261603376</c:v>
                </c:pt>
                <c:pt idx="10">
                  <c:v>0.3433962264150943</c:v>
                </c:pt>
                <c:pt idx="11">
                  <c:v>0.38823529411764707</c:v>
                </c:pt>
                <c:pt idx="12">
                  <c:v>0.38943894389438943</c:v>
                </c:pt>
                <c:pt idx="13">
                  <c:v>0.3745819397993311</c:v>
                </c:pt>
                <c:pt idx="14">
                  <c:v>0.4192546583850932</c:v>
                </c:pt>
                <c:pt idx="15">
                  <c:v>0.43434343434343436</c:v>
                </c:pt>
                <c:pt idx="16">
                  <c:v>0.35909090909090907</c:v>
                </c:pt>
                <c:pt idx="17">
                  <c:v>0.35353535353535354</c:v>
                </c:pt>
                <c:pt idx="18">
                  <c:v>0.27137546468401486</c:v>
                </c:pt>
                <c:pt idx="19">
                  <c:v>0.24870466321243523</c:v>
                </c:pt>
                <c:pt idx="20">
                  <c:v>0.24774774774774774</c:v>
                </c:pt>
                <c:pt idx="21">
                  <c:v>0.3157894736842105</c:v>
                </c:pt>
                <c:pt idx="22">
                  <c:v>0.23076923076923078</c:v>
                </c:pt>
                <c:pt idx="23">
                  <c:v>0.2549019607843137</c:v>
                </c:pt>
                <c:pt idx="24">
                  <c:v>0.23809523809523808</c:v>
                </c:pt>
                <c:pt idx="25">
                  <c:v>0.2781954887218045</c:v>
                </c:pt>
                <c:pt idx="26">
                  <c:v>0.2807017543859649</c:v>
                </c:pt>
                <c:pt idx="27">
                  <c:v>0.21481481481481482</c:v>
                </c:pt>
                <c:pt idx="28">
                  <c:v>0.3113207547169811</c:v>
                </c:pt>
                <c:pt idx="29">
                  <c:v>0.29310344827586204</c:v>
                </c:pt>
                <c:pt idx="30">
                  <c:v>0.2545454545454545</c:v>
                </c:pt>
                <c:pt idx="31">
                  <c:v>0.3368421052631579</c:v>
                </c:pt>
                <c:pt idx="32">
                  <c:v>0.25892857142857145</c:v>
                </c:pt>
                <c:pt idx="33">
                  <c:v>0.31386861313868614</c:v>
                </c:pt>
                <c:pt idx="34">
                  <c:v>0.2805755395683453</c:v>
                </c:pt>
                <c:pt idx="35">
                  <c:v>0.310126582278481</c:v>
                </c:pt>
                <c:pt idx="36">
                  <c:v>0.35036496350364965</c:v>
                </c:pt>
                <c:pt idx="37">
                  <c:v>0.24786324786324787</c:v>
                </c:pt>
                <c:pt idx="38">
                  <c:v>0.373015873015873</c:v>
                </c:pt>
                <c:pt idx="39">
                  <c:v>0.24074074074074073</c:v>
                </c:pt>
                <c:pt idx="40">
                  <c:v>0.28187919463087246</c:v>
                </c:pt>
                <c:pt idx="41">
                  <c:v>0.2867132867132867</c:v>
                </c:pt>
                <c:pt idx="42">
                  <c:v>0.30434782608695654</c:v>
                </c:pt>
                <c:pt idx="43">
                  <c:v>0.3423913043478261</c:v>
                </c:pt>
                <c:pt idx="44">
                  <c:v>0.29130434782608694</c:v>
                </c:pt>
                <c:pt idx="45">
                  <c:v>0.35587188612099646</c:v>
                </c:pt>
                <c:pt idx="46">
                  <c:v>0.3342696629213483</c:v>
                </c:pt>
                <c:pt idx="47">
                  <c:v>0.35311572700296734</c:v>
                </c:pt>
                <c:pt idx="48">
                  <c:v>0.33405172413793105</c:v>
                </c:pt>
                <c:pt idx="49">
                  <c:v>0.36797752808988765</c:v>
                </c:pt>
                <c:pt idx="50">
                  <c:v>0.3641304347826087</c:v>
                </c:pt>
                <c:pt idx="51">
                  <c:v>0.37894736842105264</c:v>
                </c:pt>
                <c:pt idx="52">
                  <c:v>0.3724137931034483</c:v>
                </c:pt>
                <c:pt idx="53">
                  <c:v>0.3067226890756303</c:v>
                </c:pt>
                <c:pt idx="54">
                  <c:v>0.3271889400921659</c:v>
                </c:pt>
                <c:pt idx="55">
                  <c:v>0.3488372093023256</c:v>
                </c:pt>
                <c:pt idx="56">
                  <c:v>0.3238095238095238</c:v>
                </c:pt>
                <c:pt idx="57">
                  <c:v>0.3050847457627119</c:v>
                </c:pt>
                <c:pt idx="58">
                  <c:v>0.332089552238806</c:v>
                </c:pt>
                <c:pt idx="59">
                  <c:v>0.326007326007326</c:v>
                </c:pt>
                <c:pt idx="60">
                  <c:v>0.359375</c:v>
                </c:pt>
                <c:pt idx="61">
                  <c:v>0.34375</c:v>
                </c:pt>
                <c:pt idx="62">
                  <c:v>0.3552123552123552</c:v>
                </c:pt>
                <c:pt idx="63">
                  <c:v>0.3814814814814815</c:v>
                </c:pt>
                <c:pt idx="64">
                  <c:v>0.3204633204633205</c:v>
                </c:pt>
                <c:pt idx="65">
                  <c:v>0.34439834024896265</c:v>
                </c:pt>
                <c:pt idx="66">
                  <c:v>0.3021276595744681</c:v>
                </c:pt>
                <c:pt idx="67">
                  <c:v>0.3317307692307692</c:v>
                </c:pt>
                <c:pt idx="68">
                  <c:v>0.35294117647058826</c:v>
                </c:pt>
                <c:pt idx="69">
                  <c:v>0.33587786259541985</c:v>
                </c:pt>
                <c:pt idx="70">
                  <c:v>0.3508771929824561</c:v>
                </c:pt>
                <c:pt idx="71">
                  <c:v>0.3008849557522124</c:v>
                </c:pt>
                <c:pt idx="72">
                  <c:v>0.2831858407079646</c:v>
                </c:pt>
                <c:pt idx="73">
                  <c:v>0.30526315789473685</c:v>
                </c:pt>
                <c:pt idx="74">
                  <c:v>0.2982456140350877</c:v>
                </c:pt>
                <c:pt idx="75">
                  <c:v>0.2916666666666667</c:v>
                </c:pt>
                <c:pt idx="76">
                  <c:v>0.2823529411764706</c:v>
                </c:pt>
                <c:pt idx="77">
                  <c:v>0.28735632183908044</c:v>
                </c:pt>
                <c:pt idx="78">
                  <c:v>0.32142857142857145</c:v>
                </c:pt>
                <c:pt idx="79">
                  <c:v>0.27927927927927926</c:v>
                </c:pt>
                <c:pt idx="80">
                  <c:v>0.2682926829268293</c:v>
                </c:pt>
                <c:pt idx="81">
                  <c:v>0.27884615384615385</c:v>
                </c:pt>
                <c:pt idx="82">
                  <c:v>0.2597402597402597</c:v>
                </c:pt>
                <c:pt idx="83">
                  <c:v>0.2708333333333333</c:v>
                </c:pt>
                <c:pt idx="84">
                  <c:v>0.21428571428571427</c:v>
                </c:pt>
                <c:pt idx="85">
                  <c:v>0.3026315789473684</c:v>
                </c:pt>
                <c:pt idx="86">
                  <c:v>0.2956521739130435</c:v>
                </c:pt>
                <c:pt idx="87">
                  <c:v>0.2833333333333333</c:v>
                </c:pt>
                <c:pt idx="88">
                  <c:v>0.275</c:v>
                </c:pt>
                <c:pt idx="89">
                  <c:v>0.23529411764705882</c:v>
                </c:pt>
                <c:pt idx="90">
                  <c:v>0.26153846153846155</c:v>
                </c:pt>
                <c:pt idx="91">
                  <c:v>0.2804878048780488</c:v>
                </c:pt>
                <c:pt idx="92">
                  <c:v>0.2840909090909091</c:v>
                </c:pt>
                <c:pt idx="93">
                  <c:v>0.2840909090909091</c:v>
                </c:pt>
                <c:pt idx="94">
                  <c:v>0.373134328358209</c:v>
                </c:pt>
                <c:pt idx="95">
                  <c:v>0.30952380952380953</c:v>
                </c:pt>
                <c:pt idx="96">
                  <c:v>0.4</c:v>
                </c:pt>
                <c:pt idx="97">
                  <c:v>0.3567567567567568</c:v>
                </c:pt>
                <c:pt idx="98">
                  <c:v>0.30493273542600896</c:v>
                </c:pt>
                <c:pt idx="99">
                  <c:v>0.2785234899328859</c:v>
                </c:pt>
                <c:pt idx="100">
                  <c:v>0.3049645390070922</c:v>
                </c:pt>
                <c:pt idx="101">
                  <c:v>0.3191489361702128</c:v>
                </c:pt>
                <c:pt idx="102">
                  <c:v>0.3026315789473684</c:v>
                </c:pt>
                <c:pt idx="103">
                  <c:v>0.2946859903381642</c:v>
                </c:pt>
                <c:pt idx="104">
                  <c:v>0.264150943396226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85698193063715</c:v>
                </c:pt>
                <c:pt idx="1">
                  <c:v>1.1454880337877411</c:v>
                </c:pt>
                <c:pt idx="2">
                  <c:v>1.184349517119468</c:v>
                </c:pt>
                <c:pt idx="3">
                  <c:v>1.1908435115687896</c:v>
                </c:pt>
                <c:pt idx="4">
                  <c:v>1.2009405491047234</c:v>
                </c:pt>
                <c:pt idx="5">
                  <c:v>1.1397376692717616</c:v>
                </c:pt>
                <c:pt idx="6">
                  <c:v>1.1215640194233163</c:v>
                </c:pt>
                <c:pt idx="7">
                  <c:v>1.208195662218679</c:v>
                </c:pt>
                <c:pt idx="8">
                  <c:v>1.1751759399500195</c:v>
                </c:pt>
                <c:pt idx="9">
                  <c:v>1.1955959871229986</c:v>
                </c:pt>
                <c:pt idx="10">
                  <c:v>1.2054843182907622</c:v>
                </c:pt>
                <c:pt idx="11">
                  <c:v>1.126901875906657</c:v>
                </c:pt>
                <c:pt idx="12">
                  <c:v>1.1976943765222967</c:v>
                </c:pt>
                <c:pt idx="13">
                  <c:v>1.1721868707556322</c:v>
                </c:pt>
                <c:pt idx="14">
                  <c:v>1.143918849746255</c:v>
                </c:pt>
                <c:pt idx="15">
                  <c:v>1.1536825229883798</c:v>
                </c:pt>
                <c:pt idx="16">
                  <c:v>1.2548358522861944</c:v>
                </c:pt>
                <c:pt idx="17">
                  <c:v>1.1767150275237166</c:v>
                </c:pt>
                <c:pt idx="18">
                  <c:v>1.24485628915109</c:v>
                </c:pt>
                <c:pt idx="19">
                  <c:v>1.2183752169385629</c:v>
                </c:pt>
                <c:pt idx="20">
                  <c:v>1.1906617637893424</c:v>
                </c:pt>
                <c:pt idx="21">
                  <c:v>1.0793551776804806</c:v>
                </c:pt>
                <c:pt idx="22">
                  <c:v>1.2572336527569228</c:v>
                </c:pt>
                <c:pt idx="23">
                  <c:v>1.2093794101632624</c:v>
                </c:pt>
                <c:pt idx="24">
                  <c:v>1.2922785668201242</c:v>
                </c:pt>
                <c:pt idx="25">
                  <c:v>0.9813998948184566</c:v>
                </c:pt>
                <c:pt idx="26">
                  <c:v>1.1857940965256755</c:v>
                </c:pt>
                <c:pt idx="27">
                  <c:v>1.1847157108875062</c:v>
                </c:pt>
                <c:pt idx="28">
                  <c:v>1.3030789699570815</c:v>
                </c:pt>
                <c:pt idx="29">
                  <c:v>1.3013136174482625</c:v>
                </c:pt>
                <c:pt idx="30">
                  <c:v>1.3138800521512386</c:v>
                </c:pt>
                <c:pt idx="31">
                  <c:v>1.3777701445244543</c:v>
                </c:pt>
                <c:pt idx="32">
                  <c:v>1.2450193629915818</c:v>
                </c:pt>
                <c:pt idx="33">
                  <c:v>1.307952946901007</c:v>
                </c:pt>
                <c:pt idx="34">
                  <c:v>1.2830058088480527</c:v>
                </c:pt>
                <c:pt idx="35">
                  <c:v>1.3059064249768286</c:v>
                </c:pt>
                <c:pt idx="36">
                  <c:v>1.2850103278337262</c:v>
                </c:pt>
                <c:pt idx="37">
                  <c:v>1.196042928195293</c:v>
                </c:pt>
                <c:pt idx="38">
                  <c:v>1.2094983382380493</c:v>
                </c:pt>
                <c:pt idx="39">
                  <c:v>1.1889487878185083</c:v>
                </c:pt>
                <c:pt idx="40">
                  <c:v>1.3338404940923738</c:v>
                </c:pt>
                <c:pt idx="41">
                  <c:v>1.3450362343447757</c:v>
                </c:pt>
                <c:pt idx="42">
                  <c:v>1.387725111385675</c:v>
                </c:pt>
                <c:pt idx="43">
                  <c:v>1.2622289593748994</c:v>
                </c:pt>
                <c:pt idx="44">
                  <c:v>1.2660956629262663</c:v>
                </c:pt>
                <c:pt idx="45">
                  <c:v>1.256806895431161</c:v>
                </c:pt>
                <c:pt idx="46">
                  <c:v>1.2794563739453537</c:v>
                </c:pt>
                <c:pt idx="47">
                  <c:v>1.2892414773886205</c:v>
                </c:pt>
                <c:pt idx="48">
                  <c:v>1.2046503512474398</c:v>
                </c:pt>
                <c:pt idx="49">
                  <c:v>1.294611428851524</c:v>
                </c:pt>
                <c:pt idx="50">
                  <c:v>1.3095846459527578</c:v>
                </c:pt>
                <c:pt idx="51">
                  <c:v>1.2562825124572727</c:v>
                </c:pt>
              </c:numCache>
            </c:numRef>
          </c:xVal>
          <c:yVal>
            <c:numRef>
              <c:f>Sheet1!$B$109:$B$160</c:f>
              <c:numCache>
                <c:formatCode>General</c:formatCode>
                <c:ptCount val="52"/>
                <c:pt idx="0">
                  <c:v>0.30177514792899407</c:v>
                </c:pt>
                <c:pt idx="1">
                  <c:v>0.31901840490797545</c:v>
                </c:pt>
                <c:pt idx="2">
                  <c:v>0.2696629213483146</c:v>
                </c:pt>
                <c:pt idx="3">
                  <c:v>0.2864583333333333</c:v>
                </c:pt>
                <c:pt idx="4">
                  <c:v>0.2756756756756757</c:v>
                </c:pt>
                <c:pt idx="5">
                  <c:v>0.32727272727272727</c:v>
                </c:pt>
                <c:pt idx="6">
                  <c:v>0.3370165745856354</c:v>
                </c:pt>
                <c:pt idx="7">
                  <c:v>0.3051948051948052</c:v>
                </c:pt>
                <c:pt idx="8">
                  <c:v>0.31297709923664124</c:v>
                </c:pt>
                <c:pt idx="9">
                  <c:v>0.3006134969325153</c:v>
                </c:pt>
                <c:pt idx="10">
                  <c:v>0.3485714285714286</c:v>
                </c:pt>
                <c:pt idx="11">
                  <c:v>0.4462809917355372</c:v>
                </c:pt>
                <c:pt idx="12">
                  <c:v>0.42105263157894735</c:v>
                </c:pt>
                <c:pt idx="13">
                  <c:v>0.4111111111111111</c:v>
                </c:pt>
                <c:pt idx="14">
                  <c:v>0.43870967741935485</c:v>
                </c:pt>
                <c:pt idx="15">
                  <c:v>0.4090909090909091</c:v>
                </c:pt>
                <c:pt idx="16">
                  <c:v>0.38823529411764707</c:v>
                </c:pt>
                <c:pt idx="17">
                  <c:v>0.3157894736842105</c:v>
                </c:pt>
                <c:pt idx="18">
                  <c:v>0.37</c:v>
                </c:pt>
                <c:pt idx="19">
                  <c:v>0.3302752293577982</c:v>
                </c:pt>
                <c:pt idx="20">
                  <c:v>0.3137254901960784</c:v>
                </c:pt>
                <c:pt idx="21">
                  <c:v>0.2911392405063291</c:v>
                </c:pt>
                <c:pt idx="22">
                  <c:v>0.29213483146067415</c:v>
                </c:pt>
                <c:pt idx="23">
                  <c:v>0.2926829268292683</c:v>
                </c:pt>
                <c:pt idx="24">
                  <c:v>0.3163265306122449</c:v>
                </c:pt>
                <c:pt idx="25">
                  <c:v>0.4</c:v>
                </c:pt>
                <c:pt idx="26">
                  <c:v>0.3194444444444444</c:v>
                </c:pt>
                <c:pt idx="27">
                  <c:v>0.2828282828282828</c:v>
                </c:pt>
                <c:pt idx="28">
                  <c:v>0.26136363636363635</c:v>
                </c:pt>
                <c:pt idx="29">
                  <c:v>0.23170731707317074</c:v>
                </c:pt>
                <c:pt idx="30">
                  <c:v>0.3333333333333333</c:v>
                </c:pt>
                <c:pt idx="31">
                  <c:v>0.2641509433962264</c:v>
                </c:pt>
                <c:pt idx="32">
                  <c:v>0.24285714285714285</c:v>
                </c:pt>
                <c:pt idx="33">
                  <c:v>0.2830188679245283</c:v>
                </c:pt>
                <c:pt idx="34">
                  <c:v>0.34375</c:v>
                </c:pt>
                <c:pt idx="35">
                  <c:v>0.2840909090909091</c:v>
                </c:pt>
                <c:pt idx="36">
                  <c:v>0.32558139534883723</c:v>
                </c:pt>
                <c:pt idx="37">
                  <c:v>0.3064516129032258</c:v>
                </c:pt>
                <c:pt idx="38">
                  <c:v>0.2236842105263158</c:v>
                </c:pt>
                <c:pt idx="39">
                  <c:v>0.29473684210526313</c:v>
                </c:pt>
                <c:pt idx="40">
                  <c:v>0.2823529411764706</c:v>
                </c:pt>
                <c:pt idx="41">
                  <c:v>0.24731182795698925</c:v>
                </c:pt>
                <c:pt idx="42">
                  <c:v>0.2558139534883721</c:v>
                </c:pt>
                <c:pt idx="43">
                  <c:v>0.3148148148148148</c:v>
                </c:pt>
                <c:pt idx="44">
                  <c:v>0.2773722627737226</c:v>
                </c:pt>
                <c:pt idx="45">
                  <c:v>0.30726256983240224</c:v>
                </c:pt>
                <c:pt idx="46">
                  <c:v>0.27419354838709675</c:v>
                </c:pt>
                <c:pt idx="47">
                  <c:v>0.3063583815028902</c:v>
                </c:pt>
                <c:pt idx="48">
                  <c:v>0.2761904761904762</c:v>
                </c:pt>
                <c:pt idx="49">
                  <c:v>0.29961089494163423</c:v>
                </c:pt>
                <c:pt idx="50">
                  <c:v>0.27900552486187846</c:v>
                </c:pt>
                <c:pt idx="51">
                  <c:v>0.351020408163265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533887745391313</c:v>
                </c:pt>
              </c:numCache>
            </c:numRef>
          </c:xVal>
          <c:yVal>
            <c:numRef>
              <c:f>Sheet1!$B$163:$B$164</c:f>
              <c:numCache>
                <c:formatCode>General</c:formatCode>
                <c:ptCount val="2"/>
                <c:pt idx="0">
                  <c:v>0.3700915838635228</c:v>
                </c:pt>
                <c:pt idx="1">
                  <c:v>0.37009158386352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533887745391313</c:v>
                </c:pt>
                <c:pt idx="1">
                  <c:v>1.0533887745391313</c:v>
                </c:pt>
              </c:numCache>
            </c:numRef>
          </c:xVal>
          <c:yVal>
            <c:numRef>
              <c:f>Sheet1!$B$167:$B$168</c:f>
              <c:numCache>
                <c:formatCode>General</c:formatCode>
                <c:ptCount val="2"/>
                <c:pt idx="0">
                  <c:v>0.37009158386352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596527772757147</c:v>
                </c:pt>
              </c:numCache>
            </c:numRef>
          </c:xVal>
          <c:yVal>
            <c:numRef>
              <c:f>Sheet1!$B$171:$B$172</c:f>
              <c:numCache>
                <c:formatCode>General</c:formatCode>
                <c:ptCount val="2"/>
                <c:pt idx="0">
                  <c:v>0.36804576725398974</c:v>
                </c:pt>
                <c:pt idx="1">
                  <c:v>0.3680457672539897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596527772757147</c:v>
                </c:pt>
                <c:pt idx="1">
                  <c:v>1.0596527772757147</c:v>
                </c:pt>
              </c:numCache>
            </c:numRef>
          </c:xVal>
          <c:yVal>
            <c:numRef>
              <c:f>Sheet1!$B$175:$B$176</c:f>
              <c:numCache>
                <c:formatCode>General</c:formatCode>
                <c:ptCount val="2"/>
                <c:pt idx="0">
                  <c:v>0.368045767253989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995495825859251</c:v>
                </c:pt>
              </c:numCache>
            </c:numRef>
          </c:xVal>
          <c:yVal>
            <c:numRef>
              <c:f>Sheet1!$B$179:$B$180</c:f>
              <c:numCache>
                <c:formatCode>General</c:formatCode>
                <c:ptCount val="2"/>
                <c:pt idx="0">
                  <c:v>0.28969572663040577</c:v>
                </c:pt>
                <c:pt idx="1">
                  <c:v>0.2896957266304057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995495825859251</c:v>
                </c:pt>
                <c:pt idx="1">
                  <c:v>1.2995495825859251</c:v>
                </c:pt>
              </c:numCache>
            </c:numRef>
          </c:xVal>
          <c:yVal>
            <c:numRef>
              <c:f>Sheet1!$B$183:$B$184</c:f>
              <c:numCache>
                <c:formatCode>General</c:formatCode>
                <c:ptCount val="2"/>
                <c:pt idx="0">
                  <c:v>0.289695726630405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85698193063715</c:v>
                </c:pt>
                <c:pt idx="1">
                  <c:v>1.1454880337877411</c:v>
                </c:pt>
                <c:pt idx="2">
                  <c:v>1.184349517119468</c:v>
                </c:pt>
                <c:pt idx="3">
                  <c:v>1.1908435115687896</c:v>
                </c:pt>
                <c:pt idx="4">
                  <c:v>1.2009405491047234</c:v>
                </c:pt>
                <c:pt idx="5">
                  <c:v>1.1397376692717616</c:v>
                </c:pt>
                <c:pt idx="6">
                  <c:v>1.1215640194233163</c:v>
                </c:pt>
                <c:pt idx="7">
                  <c:v>1.208195662218679</c:v>
                </c:pt>
                <c:pt idx="8">
                  <c:v>1.1751759399500195</c:v>
                </c:pt>
                <c:pt idx="9">
                  <c:v>1.1955959871229986</c:v>
                </c:pt>
                <c:pt idx="10">
                  <c:v>1.2054843182907622</c:v>
                </c:pt>
                <c:pt idx="11">
                  <c:v>1.126901875906657</c:v>
                </c:pt>
                <c:pt idx="12">
                  <c:v>1.1976943765222967</c:v>
                </c:pt>
                <c:pt idx="13">
                  <c:v>1.1721868707556322</c:v>
                </c:pt>
                <c:pt idx="14">
                  <c:v>1.143918849746255</c:v>
                </c:pt>
                <c:pt idx="15">
                  <c:v>1.1536825229883798</c:v>
                </c:pt>
                <c:pt idx="16">
                  <c:v>1.2548358522861944</c:v>
                </c:pt>
                <c:pt idx="17">
                  <c:v>1.1767150275237166</c:v>
                </c:pt>
                <c:pt idx="18">
                  <c:v>1.24485628915109</c:v>
                </c:pt>
                <c:pt idx="19">
                  <c:v>1.2183752169385629</c:v>
                </c:pt>
                <c:pt idx="20">
                  <c:v>1.1906617637893424</c:v>
                </c:pt>
                <c:pt idx="21">
                  <c:v>1.0793551776804806</c:v>
                </c:pt>
                <c:pt idx="22">
                  <c:v>1.2572336527569228</c:v>
                </c:pt>
                <c:pt idx="23">
                  <c:v>1.2093794101632624</c:v>
                </c:pt>
                <c:pt idx="24">
                  <c:v>1.2922785668201242</c:v>
                </c:pt>
                <c:pt idx="25">
                  <c:v>0.9813998948184566</c:v>
                </c:pt>
                <c:pt idx="26">
                  <c:v>1.1857940965256755</c:v>
                </c:pt>
                <c:pt idx="27">
                  <c:v>1.1847157108875062</c:v>
                </c:pt>
                <c:pt idx="28">
                  <c:v>1.3030789699570815</c:v>
                </c:pt>
                <c:pt idx="29">
                  <c:v>1.3013136174482625</c:v>
                </c:pt>
                <c:pt idx="30">
                  <c:v>1.3138800521512386</c:v>
                </c:pt>
                <c:pt idx="31">
                  <c:v>1.3777701445244543</c:v>
                </c:pt>
                <c:pt idx="32">
                  <c:v>1.2450193629915818</c:v>
                </c:pt>
                <c:pt idx="33">
                  <c:v>1.307952946901007</c:v>
                </c:pt>
                <c:pt idx="34">
                  <c:v>1.2830058088480527</c:v>
                </c:pt>
                <c:pt idx="35">
                  <c:v>1.3059064249768286</c:v>
                </c:pt>
                <c:pt idx="36">
                  <c:v>1.2850103278337262</c:v>
                </c:pt>
                <c:pt idx="37">
                  <c:v>1.196042928195293</c:v>
                </c:pt>
                <c:pt idx="38">
                  <c:v>1.2094983382380493</c:v>
                </c:pt>
                <c:pt idx="39">
                  <c:v>1.1889487878185083</c:v>
                </c:pt>
                <c:pt idx="40">
                  <c:v>1.3338404940923738</c:v>
                </c:pt>
                <c:pt idx="41">
                  <c:v>1.3450362343447757</c:v>
                </c:pt>
                <c:pt idx="42">
                  <c:v>1.387725111385675</c:v>
                </c:pt>
                <c:pt idx="43">
                  <c:v>1.2622289593748994</c:v>
                </c:pt>
                <c:pt idx="44">
                  <c:v>1.2660956629262663</c:v>
                </c:pt>
                <c:pt idx="45">
                  <c:v>1.256806895431161</c:v>
                </c:pt>
                <c:pt idx="46">
                  <c:v>1.2794563739453537</c:v>
                </c:pt>
                <c:pt idx="47">
                  <c:v>1.2892414773886205</c:v>
                </c:pt>
                <c:pt idx="48">
                  <c:v>1.2046503512474398</c:v>
                </c:pt>
                <c:pt idx="49">
                  <c:v>1.294611428851524</c:v>
                </c:pt>
                <c:pt idx="50">
                  <c:v>1.3095846459527578</c:v>
                </c:pt>
                <c:pt idx="51">
                  <c:v>1.2562825124572727</c:v>
                </c:pt>
                <c:pt idx="52">
                  <c:v>1.0596527772757147</c:v>
                </c:pt>
                <c:pt idx="53">
                  <c:v>1.0533887745391313</c:v>
                </c:pt>
                <c:pt idx="54">
                  <c:v>1.2995495825859251</c:v>
                </c:pt>
              </c:numCache>
            </c:numRef>
          </c:xVal>
          <c:yVal>
            <c:numRef>
              <c:f>Sheet1!$B$187:$B$241</c:f>
              <c:numCache>
                <c:formatCode>General</c:formatCode>
                <c:ptCount val="55"/>
                <c:pt idx="0">
                  <c:v>0.3268794689590369</c:v>
                </c:pt>
                <c:pt idx="1">
                  <c:v>0.340012064070837</c:v>
                </c:pt>
                <c:pt idx="2">
                  <c:v>0.32731994508327356</c:v>
                </c:pt>
                <c:pt idx="3">
                  <c:v>0.3251990134257813</c:v>
                </c:pt>
                <c:pt idx="4">
                  <c:v>0.3219013317409615</c:v>
                </c:pt>
                <c:pt idx="5">
                  <c:v>0.34189012698561744</c:v>
                </c:pt>
                <c:pt idx="6">
                  <c:v>0.3478256216332566</c:v>
                </c:pt>
                <c:pt idx="7">
                  <c:v>0.31953181953977955</c:v>
                </c:pt>
                <c:pt idx="8">
                  <c:v>0.3303160255978117</c:v>
                </c:pt>
                <c:pt idx="9">
                  <c:v>0.3236468599810809</c:v>
                </c:pt>
                <c:pt idx="10">
                  <c:v>0.3204173415733977</c:v>
                </c:pt>
                <c:pt idx="11">
                  <c:v>0.34608228340175407</c:v>
                </c:pt>
                <c:pt idx="12">
                  <c:v>0.3229615282424339</c:v>
                </c:pt>
                <c:pt idx="13">
                  <c:v>0.3312922524071021</c:v>
                </c:pt>
                <c:pt idx="14">
                  <c:v>0.3405245579043307</c:v>
                </c:pt>
                <c:pt idx="15">
                  <c:v>0.3373357526421402</c:v>
                </c:pt>
                <c:pt idx="16">
                  <c:v>0.30429918323286337</c:v>
                </c:pt>
                <c:pt idx="17">
                  <c:v>0.32981336123858235</c:v>
                </c:pt>
                <c:pt idx="18">
                  <c:v>0.30755849790372775</c:v>
                </c:pt>
                <c:pt idx="19">
                  <c:v>0.31620718783073465</c:v>
                </c:pt>
                <c:pt idx="20">
                  <c:v>0.3252583720566081</c:v>
                </c:pt>
                <c:pt idx="21">
                  <c:v>0.36161098430596594</c:v>
                </c:pt>
                <c:pt idx="22">
                  <c:v>0.30351606415778487</c:v>
                </c:pt>
                <c:pt idx="23">
                  <c:v>0.31914520872424046</c:v>
                </c:pt>
                <c:pt idx="24">
                  <c:v>0.2920704326207109</c:v>
                </c:pt>
                <c:pt idx="25">
                  <c:v>0.39360307516190696</c:v>
                </c:pt>
                <c:pt idx="26">
                  <c:v>0.3268481469906979</c:v>
                </c:pt>
                <c:pt idx="27">
                  <c:v>0.32720034658939284</c:v>
                </c:pt>
                <c:pt idx="28">
                  <c:v>0.28854303248114904</c:v>
                </c:pt>
                <c:pt idx="29">
                  <c:v>0.28911959472674487</c:v>
                </c:pt>
                <c:pt idx="30">
                  <c:v>0.2850154105622303</c:v>
                </c:pt>
                <c:pt idx="31">
                  <c:v>0.26414897456941666</c:v>
                </c:pt>
                <c:pt idx="32">
                  <c:v>0.30750523816143704</c:v>
                </c:pt>
                <c:pt idx="33">
                  <c:v>0.28695119681221976</c:v>
                </c:pt>
                <c:pt idx="34">
                  <c:v>0.2950989054795512</c:v>
                </c:pt>
                <c:pt idx="35">
                  <c:v>0.28761958868883974</c:v>
                </c:pt>
                <c:pt idx="36">
                  <c:v>0.29444423171782613</c:v>
                </c:pt>
                <c:pt idx="37">
                  <c:v>0.3235008895037946</c:v>
                </c:pt>
                <c:pt idx="38">
                  <c:v>0.3191063669419217</c:v>
                </c:pt>
                <c:pt idx="39">
                  <c:v>0.32581782818078836</c:v>
                </c:pt>
                <c:pt idx="40">
                  <c:v>0.27849635152378105</c:v>
                </c:pt>
                <c:pt idx="41">
                  <c:v>0.274839834704174</c:v>
                </c:pt>
                <c:pt idx="42">
                  <c:v>0.26089769301535637</c:v>
                </c:pt>
                <c:pt idx="43">
                  <c:v>0.30188460234677983</c:v>
                </c:pt>
                <c:pt idx="44">
                  <c:v>0.300621741093012</c:v>
                </c:pt>
                <c:pt idx="45">
                  <c:v>0.3036554426449915</c:v>
                </c:pt>
                <c:pt idx="46">
                  <c:v>0.29625814713121734</c:v>
                </c:pt>
                <c:pt idx="47">
                  <c:v>0.29306234278820176</c:v>
                </c:pt>
                <c:pt idx="48">
                  <c:v>0.3206897143198315</c:v>
                </c:pt>
                <c:pt idx="49">
                  <c:v>0.29130852237062216</c:v>
                </c:pt>
                <c:pt idx="50">
                  <c:v>0.2864182856430826</c:v>
                </c:pt>
                <c:pt idx="51">
                  <c:v>0.30382670556470126</c:v>
                </c:pt>
                <c:pt idx="52">
                  <c:v>0.36804576725398974</c:v>
                </c:pt>
                <c:pt idx="53">
                  <c:v>0.3700915838635228</c:v>
                </c:pt>
                <c:pt idx="54">
                  <c:v>0.289695726630405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55371900826447"/>
          <c:min val="0.171428571428571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5.4646</c:v>
                </c:pt>
                <c:pt idx="1">
                  <c:v>679.0707</c:v>
                </c:pt>
                <c:pt idx="2">
                  <c:v>681.5636</c:v>
                </c:pt>
                <c:pt idx="3">
                  <c:v>689.9432</c:v>
                </c:pt>
                <c:pt idx="4">
                  <c:v>694.8</c:v>
                </c:pt>
                <c:pt idx="5">
                  <c:v>674.5972</c:v>
                </c:pt>
                <c:pt idx="6">
                  <c:v>659.2222</c:v>
                </c:pt>
                <c:pt idx="7">
                  <c:v>668.2267</c:v>
                </c:pt>
                <c:pt idx="8">
                  <c:v>676.3056</c:v>
                </c:pt>
                <c:pt idx="9">
                  <c:v>637.1461</c:v>
                </c:pt>
                <c:pt idx="10">
                  <c:v>608.5165</c:v>
                </c:pt>
                <c:pt idx="11">
                  <c:v>637.697</c:v>
                </c:pt>
                <c:pt idx="12">
                  <c:v>610.8475</c:v>
                </c:pt>
                <c:pt idx="13">
                  <c:v>598.8393</c:v>
                </c:pt>
                <c:pt idx="14">
                  <c:v>505.5185</c:v>
                </c:pt>
                <c:pt idx="15">
                  <c:v>492.9922</c:v>
                </c:pt>
                <c:pt idx="16">
                  <c:v>519.3418</c:v>
                </c:pt>
                <c:pt idx="17">
                  <c:v>537.8714</c:v>
                </c:pt>
                <c:pt idx="18">
                  <c:v>471.4384</c:v>
                </c:pt>
                <c:pt idx="19">
                  <c:v>504.125</c:v>
                </c:pt>
                <c:pt idx="20">
                  <c:v>644.3818</c:v>
                </c:pt>
                <c:pt idx="21">
                  <c:v>581.2381</c:v>
                </c:pt>
                <c:pt idx="22">
                  <c:v>660.5556</c:v>
                </c:pt>
                <c:pt idx="23">
                  <c:v>636.2308</c:v>
                </c:pt>
                <c:pt idx="24">
                  <c:v>655.3333</c:v>
                </c:pt>
                <c:pt idx="25">
                  <c:v>635.5135</c:v>
                </c:pt>
                <c:pt idx="26">
                  <c:v>649.25</c:v>
                </c:pt>
                <c:pt idx="27">
                  <c:v>635.6207</c:v>
                </c:pt>
                <c:pt idx="28">
                  <c:v>667.4545</c:v>
                </c:pt>
                <c:pt idx="29">
                  <c:v>648.1471</c:v>
                </c:pt>
                <c:pt idx="30">
                  <c:v>595.3571</c:v>
                </c:pt>
                <c:pt idx="31">
                  <c:v>524.0938</c:v>
                </c:pt>
                <c:pt idx="32">
                  <c:v>632.1379</c:v>
                </c:pt>
                <c:pt idx="33">
                  <c:v>573.1628</c:v>
                </c:pt>
                <c:pt idx="34">
                  <c:v>639.1538</c:v>
                </c:pt>
                <c:pt idx="35">
                  <c:v>654.8776</c:v>
                </c:pt>
                <c:pt idx="36">
                  <c:v>629.1458</c:v>
                </c:pt>
                <c:pt idx="37">
                  <c:v>615.8966</c:v>
                </c:pt>
                <c:pt idx="38">
                  <c:v>582.5745</c:v>
                </c:pt>
                <c:pt idx="39">
                  <c:v>627.1538</c:v>
                </c:pt>
                <c:pt idx="40">
                  <c:v>611.1667</c:v>
                </c:pt>
                <c:pt idx="41">
                  <c:v>596.0976</c:v>
                </c:pt>
                <c:pt idx="42">
                  <c:v>584.2041</c:v>
                </c:pt>
                <c:pt idx="43">
                  <c:v>601.3651</c:v>
                </c:pt>
                <c:pt idx="44">
                  <c:v>650.2239</c:v>
                </c:pt>
                <c:pt idx="45">
                  <c:v>629.3</c:v>
                </c:pt>
                <c:pt idx="46">
                  <c:v>634.0168</c:v>
                </c:pt>
                <c:pt idx="47">
                  <c:v>615.3529</c:v>
                </c:pt>
                <c:pt idx="48">
                  <c:v>629.5097</c:v>
                </c:pt>
                <c:pt idx="49">
                  <c:v>595.9313</c:v>
                </c:pt>
                <c:pt idx="50">
                  <c:v>607.306</c:v>
                </c:pt>
                <c:pt idx="51">
                  <c:v>636.5556</c:v>
                </c:pt>
                <c:pt idx="52">
                  <c:v>605.2778</c:v>
                </c:pt>
                <c:pt idx="53">
                  <c:v>647.9589</c:v>
                </c:pt>
                <c:pt idx="54">
                  <c:v>650.5211</c:v>
                </c:pt>
                <c:pt idx="55">
                  <c:v>652.7733</c:v>
                </c:pt>
                <c:pt idx="56">
                  <c:v>662.7353</c:v>
                </c:pt>
                <c:pt idx="57">
                  <c:v>634.0139</c:v>
                </c:pt>
                <c:pt idx="58">
                  <c:v>608.9551</c:v>
                </c:pt>
                <c:pt idx="59">
                  <c:v>610.573</c:v>
                </c:pt>
                <c:pt idx="60">
                  <c:v>605.0</c:v>
                </c:pt>
                <c:pt idx="61">
                  <c:v>617.5303</c:v>
                </c:pt>
                <c:pt idx="62">
                  <c:v>575.2717</c:v>
                </c:pt>
                <c:pt idx="63">
                  <c:v>615.0874</c:v>
                </c:pt>
                <c:pt idx="64">
                  <c:v>597.494</c:v>
                </c:pt>
                <c:pt idx="65">
                  <c:v>636.747</c:v>
                </c:pt>
                <c:pt idx="66">
                  <c:v>619.1268</c:v>
                </c:pt>
                <c:pt idx="67">
                  <c:v>589.2319</c:v>
                </c:pt>
                <c:pt idx="68">
                  <c:v>550.0833</c:v>
                </c:pt>
                <c:pt idx="69">
                  <c:v>495.7273</c:v>
                </c:pt>
                <c:pt idx="70">
                  <c:v>529.475</c:v>
                </c:pt>
                <c:pt idx="71">
                  <c:v>524.9706</c:v>
                </c:pt>
                <c:pt idx="72">
                  <c:v>716.0</c:v>
                </c:pt>
                <c:pt idx="73">
                  <c:v>726.9655</c:v>
                </c:pt>
                <c:pt idx="74">
                  <c:v>695.8235</c:v>
                </c:pt>
                <c:pt idx="75">
                  <c:v>671.7857</c:v>
                </c:pt>
                <c:pt idx="76">
                  <c:v>666.7917</c:v>
                </c:pt>
                <c:pt idx="77">
                  <c:v>648.32</c:v>
                </c:pt>
                <c:pt idx="78">
                  <c:v>665.1111</c:v>
                </c:pt>
                <c:pt idx="79">
                  <c:v>711.1613</c:v>
                </c:pt>
                <c:pt idx="80">
                  <c:v>705.4091</c:v>
                </c:pt>
                <c:pt idx="81">
                  <c:v>712.8621</c:v>
                </c:pt>
                <c:pt idx="82">
                  <c:v>726.2</c:v>
                </c:pt>
                <c:pt idx="83">
                  <c:v>739.0</c:v>
                </c:pt>
                <c:pt idx="84">
                  <c:v>766.6667</c:v>
                </c:pt>
                <c:pt idx="85">
                  <c:v>704.2174</c:v>
                </c:pt>
                <c:pt idx="86">
                  <c:v>658.2059</c:v>
                </c:pt>
                <c:pt idx="87">
                  <c:v>660.7353</c:v>
                </c:pt>
                <c:pt idx="88">
                  <c:v>737.3182</c:v>
                </c:pt>
                <c:pt idx="89">
                  <c:v>723.1875</c:v>
                </c:pt>
                <c:pt idx="90">
                  <c:v>704.2941</c:v>
                </c:pt>
                <c:pt idx="91">
                  <c:v>728.0</c:v>
                </c:pt>
                <c:pt idx="92">
                  <c:v>658.6</c:v>
                </c:pt>
                <c:pt idx="93">
                  <c:v>698.04</c:v>
                </c:pt>
                <c:pt idx="94">
                  <c:v>691.96</c:v>
                </c:pt>
                <c:pt idx="95">
                  <c:v>597.8205</c:v>
                </c:pt>
                <c:pt idx="96">
                  <c:v>516.65</c:v>
                </c:pt>
                <c:pt idx="97">
                  <c:v>673.4394</c:v>
                </c:pt>
                <c:pt idx="98">
                  <c:v>656.5294</c:v>
                </c:pt>
                <c:pt idx="99">
                  <c:v>654.4458</c:v>
                </c:pt>
                <c:pt idx="100">
                  <c:v>673.5659</c:v>
                </c:pt>
                <c:pt idx="101">
                  <c:v>676.3778</c:v>
                </c:pt>
                <c:pt idx="102">
                  <c:v>691.5652</c:v>
                </c:pt>
                <c:pt idx="103">
                  <c:v>674.8525</c:v>
                </c:pt>
                <c:pt idx="104">
                  <c:v>699.9524</c:v>
                </c:pt>
              </c:numCache>
            </c:numRef>
          </c:xVal>
          <c:yVal>
            <c:numRef>
              <c:f>Sheet1!$B$2:$B$106</c:f>
              <c:numCache>
                <c:formatCode>General</c:formatCode>
                <c:ptCount val="105"/>
                <c:pt idx="0">
                  <c:v>0.3535714285714286</c:v>
                </c:pt>
                <c:pt idx="1">
                  <c:v>0.37218045112781956</c:v>
                </c:pt>
                <c:pt idx="2">
                  <c:v>0.41044776119402987</c:v>
                </c:pt>
                <c:pt idx="3">
                  <c:v>0.3793103448275862</c:v>
                </c:pt>
                <c:pt idx="4">
                  <c:v>0.3712871287128713</c:v>
                </c:pt>
                <c:pt idx="5">
                  <c:v>0.35294117647058826</c:v>
                </c:pt>
                <c:pt idx="6">
                  <c:v>0.3287671232876712</c:v>
                </c:pt>
                <c:pt idx="7">
                  <c:v>0.36231884057971014</c:v>
                </c:pt>
                <c:pt idx="8">
                  <c:v>0.4</c:v>
                </c:pt>
                <c:pt idx="9">
                  <c:v>0.3755274261603376</c:v>
                </c:pt>
                <c:pt idx="10">
                  <c:v>0.3433962264150943</c:v>
                </c:pt>
                <c:pt idx="11">
                  <c:v>0.38823529411764707</c:v>
                </c:pt>
                <c:pt idx="12">
                  <c:v>0.38943894389438943</c:v>
                </c:pt>
                <c:pt idx="13">
                  <c:v>0.3745819397993311</c:v>
                </c:pt>
                <c:pt idx="14">
                  <c:v>0.4192546583850932</c:v>
                </c:pt>
                <c:pt idx="15">
                  <c:v>0.43434343434343436</c:v>
                </c:pt>
                <c:pt idx="16">
                  <c:v>0.35909090909090907</c:v>
                </c:pt>
                <c:pt idx="17">
                  <c:v>0.35353535353535354</c:v>
                </c:pt>
                <c:pt idx="18">
                  <c:v>0.27137546468401486</c:v>
                </c:pt>
                <c:pt idx="19">
                  <c:v>0.24870466321243523</c:v>
                </c:pt>
                <c:pt idx="20">
                  <c:v>0.24774774774774774</c:v>
                </c:pt>
                <c:pt idx="21">
                  <c:v>0.3157894736842105</c:v>
                </c:pt>
                <c:pt idx="22">
                  <c:v>0.23076923076923078</c:v>
                </c:pt>
                <c:pt idx="23">
                  <c:v>0.2549019607843137</c:v>
                </c:pt>
                <c:pt idx="24">
                  <c:v>0.23809523809523808</c:v>
                </c:pt>
                <c:pt idx="25">
                  <c:v>0.2781954887218045</c:v>
                </c:pt>
                <c:pt idx="26">
                  <c:v>0.2807017543859649</c:v>
                </c:pt>
                <c:pt idx="27">
                  <c:v>0.21481481481481482</c:v>
                </c:pt>
                <c:pt idx="28">
                  <c:v>0.3113207547169811</c:v>
                </c:pt>
                <c:pt idx="29">
                  <c:v>0.29310344827586204</c:v>
                </c:pt>
                <c:pt idx="30">
                  <c:v>0.2545454545454545</c:v>
                </c:pt>
                <c:pt idx="31">
                  <c:v>0.3368421052631579</c:v>
                </c:pt>
                <c:pt idx="32">
                  <c:v>0.25892857142857145</c:v>
                </c:pt>
                <c:pt idx="33">
                  <c:v>0.31386861313868614</c:v>
                </c:pt>
                <c:pt idx="34">
                  <c:v>0.2805755395683453</c:v>
                </c:pt>
                <c:pt idx="35">
                  <c:v>0.310126582278481</c:v>
                </c:pt>
                <c:pt idx="36">
                  <c:v>0.35036496350364965</c:v>
                </c:pt>
                <c:pt idx="37">
                  <c:v>0.24786324786324787</c:v>
                </c:pt>
                <c:pt idx="38">
                  <c:v>0.373015873015873</c:v>
                </c:pt>
                <c:pt idx="39">
                  <c:v>0.24074074074074073</c:v>
                </c:pt>
                <c:pt idx="40">
                  <c:v>0.28187919463087246</c:v>
                </c:pt>
                <c:pt idx="41">
                  <c:v>0.2867132867132867</c:v>
                </c:pt>
                <c:pt idx="42">
                  <c:v>0.30434782608695654</c:v>
                </c:pt>
                <c:pt idx="43">
                  <c:v>0.3423913043478261</c:v>
                </c:pt>
                <c:pt idx="44">
                  <c:v>0.29130434782608694</c:v>
                </c:pt>
                <c:pt idx="45">
                  <c:v>0.35587188612099646</c:v>
                </c:pt>
                <c:pt idx="46">
                  <c:v>0.3342696629213483</c:v>
                </c:pt>
                <c:pt idx="47">
                  <c:v>0.35311572700296734</c:v>
                </c:pt>
                <c:pt idx="48">
                  <c:v>0.33405172413793105</c:v>
                </c:pt>
                <c:pt idx="49">
                  <c:v>0.36797752808988765</c:v>
                </c:pt>
                <c:pt idx="50">
                  <c:v>0.3641304347826087</c:v>
                </c:pt>
                <c:pt idx="51">
                  <c:v>0.37894736842105264</c:v>
                </c:pt>
                <c:pt idx="52">
                  <c:v>0.3724137931034483</c:v>
                </c:pt>
                <c:pt idx="53">
                  <c:v>0.3067226890756303</c:v>
                </c:pt>
                <c:pt idx="54">
                  <c:v>0.3271889400921659</c:v>
                </c:pt>
                <c:pt idx="55">
                  <c:v>0.3488372093023256</c:v>
                </c:pt>
                <c:pt idx="56">
                  <c:v>0.3238095238095238</c:v>
                </c:pt>
                <c:pt idx="57">
                  <c:v>0.3050847457627119</c:v>
                </c:pt>
                <c:pt idx="58">
                  <c:v>0.332089552238806</c:v>
                </c:pt>
                <c:pt idx="59">
                  <c:v>0.326007326007326</c:v>
                </c:pt>
                <c:pt idx="60">
                  <c:v>0.359375</c:v>
                </c:pt>
                <c:pt idx="61">
                  <c:v>0.34375</c:v>
                </c:pt>
                <c:pt idx="62">
                  <c:v>0.3552123552123552</c:v>
                </c:pt>
                <c:pt idx="63">
                  <c:v>0.3814814814814815</c:v>
                </c:pt>
                <c:pt idx="64">
                  <c:v>0.3204633204633205</c:v>
                </c:pt>
                <c:pt idx="65">
                  <c:v>0.34439834024896265</c:v>
                </c:pt>
                <c:pt idx="66">
                  <c:v>0.3021276595744681</c:v>
                </c:pt>
                <c:pt idx="67">
                  <c:v>0.3317307692307692</c:v>
                </c:pt>
                <c:pt idx="68">
                  <c:v>0.35294117647058826</c:v>
                </c:pt>
                <c:pt idx="69">
                  <c:v>0.33587786259541985</c:v>
                </c:pt>
                <c:pt idx="70">
                  <c:v>0.3508771929824561</c:v>
                </c:pt>
                <c:pt idx="71">
                  <c:v>0.3008849557522124</c:v>
                </c:pt>
                <c:pt idx="72">
                  <c:v>0.2831858407079646</c:v>
                </c:pt>
                <c:pt idx="73">
                  <c:v>0.30526315789473685</c:v>
                </c:pt>
                <c:pt idx="74">
                  <c:v>0.2982456140350877</c:v>
                </c:pt>
                <c:pt idx="75">
                  <c:v>0.2916666666666667</c:v>
                </c:pt>
                <c:pt idx="76">
                  <c:v>0.2823529411764706</c:v>
                </c:pt>
                <c:pt idx="77">
                  <c:v>0.28735632183908044</c:v>
                </c:pt>
                <c:pt idx="78">
                  <c:v>0.32142857142857145</c:v>
                </c:pt>
                <c:pt idx="79">
                  <c:v>0.27927927927927926</c:v>
                </c:pt>
                <c:pt idx="80">
                  <c:v>0.2682926829268293</c:v>
                </c:pt>
                <c:pt idx="81">
                  <c:v>0.27884615384615385</c:v>
                </c:pt>
                <c:pt idx="82">
                  <c:v>0.2597402597402597</c:v>
                </c:pt>
                <c:pt idx="83">
                  <c:v>0.2708333333333333</c:v>
                </c:pt>
                <c:pt idx="84">
                  <c:v>0.21428571428571427</c:v>
                </c:pt>
                <c:pt idx="85">
                  <c:v>0.3026315789473684</c:v>
                </c:pt>
                <c:pt idx="86">
                  <c:v>0.2956521739130435</c:v>
                </c:pt>
                <c:pt idx="87">
                  <c:v>0.2833333333333333</c:v>
                </c:pt>
                <c:pt idx="88">
                  <c:v>0.275</c:v>
                </c:pt>
                <c:pt idx="89">
                  <c:v>0.23529411764705882</c:v>
                </c:pt>
                <c:pt idx="90">
                  <c:v>0.26153846153846155</c:v>
                </c:pt>
                <c:pt idx="91">
                  <c:v>0.2804878048780488</c:v>
                </c:pt>
                <c:pt idx="92">
                  <c:v>0.2840909090909091</c:v>
                </c:pt>
                <c:pt idx="93">
                  <c:v>0.2840909090909091</c:v>
                </c:pt>
                <c:pt idx="94">
                  <c:v>0.373134328358209</c:v>
                </c:pt>
                <c:pt idx="95">
                  <c:v>0.30952380952380953</c:v>
                </c:pt>
                <c:pt idx="96">
                  <c:v>0.4</c:v>
                </c:pt>
                <c:pt idx="97">
                  <c:v>0.3567567567567568</c:v>
                </c:pt>
                <c:pt idx="98">
                  <c:v>0.30493273542600896</c:v>
                </c:pt>
                <c:pt idx="99">
                  <c:v>0.2785234899328859</c:v>
                </c:pt>
                <c:pt idx="100">
                  <c:v>0.3049645390070922</c:v>
                </c:pt>
                <c:pt idx="101">
                  <c:v>0.3191489361702128</c:v>
                </c:pt>
                <c:pt idx="102">
                  <c:v>0.3026315789473684</c:v>
                </c:pt>
                <c:pt idx="103">
                  <c:v>0.2946859903381642</c:v>
                </c:pt>
                <c:pt idx="104">
                  <c:v>0.26415094339622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numCache>
            </c:numRef>
          </c:xVal>
          <c:yVal>
            <c:numRef>
              <c:f>Sheet1!$B$109:$B$160</c:f>
              <c:numCache>
                <c:formatCode>General</c:formatCode>
                <c:ptCount val="52"/>
                <c:pt idx="0">
                  <c:v>0.30177514792899407</c:v>
                </c:pt>
                <c:pt idx="1">
                  <c:v>0.31901840490797545</c:v>
                </c:pt>
                <c:pt idx="2">
                  <c:v>0.2696629213483146</c:v>
                </c:pt>
                <c:pt idx="3">
                  <c:v>0.2864583333333333</c:v>
                </c:pt>
                <c:pt idx="4">
                  <c:v>0.2756756756756757</c:v>
                </c:pt>
                <c:pt idx="5">
                  <c:v>0.32727272727272727</c:v>
                </c:pt>
                <c:pt idx="6">
                  <c:v>0.3370165745856354</c:v>
                </c:pt>
                <c:pt idx="7">
                  <c:v>0.3051948051948052</c:v>
                </c:pt>
                <c:pt idx="8">
                  <c:v>0.31297709923664124</c:v>
                </c:pt>
                <c:pt idx="9">
                  <c:v>0.3006134969325153</c:v>
                </c:pt>
                <c:pt idx="10">
                  <c:v>0.3485714285714286</c:v>
                </c:pt>
                <c:pt idx="11">
                  <c:v>0.4462809917355372</c:v>
                </c:pt>
                <c:pt idx="12">
                  <c:v>0.42105263157894735</c:v>
                </c:pt>
                <c:pt idx="13">
                  <c:v>0.4111111111111111</c:v>
                </c:pt>
                <c:pt idx="14">
                  <c:v>0.43870967741935485</c:v>
                </c:pt>
                <c:pt idx="15">
                  <c:v>0.4090909090909091</c:v>
                </c:pt>
                <c:pt idx="16">
                  <c:v>0.38823529411764707</c:v>
                </c:pt>
                <c:pt idx="17">
                  <c:v>0.3157894736842105</c:v>
                </c:pt>
                <c:pt idx="18">
                  <c:v>0.37</c:v>
                </c:pt>
                <c:pt idx="19">
                  <c:v>0.3302752293577982</c:v>
                </c:pt>
                <c:pt idx="20">
                  <c:v>0.3137254901960784</c:v>
                </c:pt>
                <c:pt idx="21">
                  <c:v>0.2911392405063291</c:v>
                </c:pt>
                <c:pt idx="22">
                  <c:v>0.29213483146067415</c:v>
                </c:pt>
                <c:pt idx="23">
                  <c:v>0.2926829268292683</c:v>
                </c:pt>
                <c:pt idx="24">
                  <c:v>0.3163265306122449</c:v>
                </c:pt>
                <c:pt idx="25">
                  <c:v>0.4</c:v>
                </c:pt>
                <c:pt idx="26">
                  <c:v>0.3194444444444444</c:v>
                </c:pt>
                <c:pt idx="27">
                  <c:v>0.2828282828282828</c:v>
                </c:pt>
                <c:pt idx="28">
                  <c:v>0.26136363636363635</c:v>
                </c:pt>
                <c:pt idx="29">
                  <c:v>0.23170731707317074</c:v>
                </c:pt>
                <c:pt idx="30">
                  <c:v>0.3333333333333333</c:v>
                </c:pt>
                <c:pt idx="31">
                  <c:v>0.2641509433962264</c:v>
                </c:pt>
                <c:pt idx="32">
                  <c:v>0.24285714285714285</c:v>
                </c:pt>
                <c:pt idx="33">
                  <c:v>0.2830188679245283</c:v>
                </c:pt>
                <c:pt idx="34">
                  <c:v>0.34375</c:v>
                </c:pt>
                <c:pt idx="35">
                  <c:v>0.2840909090909091</c:v>
                </c:pt>
                <c:pt idx="36">
                  <c:v>0.32558139534883723</c:v>
                </c:pt>
                <c:pt idx="37">
                  <c:v>0.3064516129032258</c:v>
                </c:pt>
                <c:pt idx="38">
                  <c:v>0.2236842105263158</c:v>
                </c:pt>
                <c:pt idx="39">
                  <c:v>0.29473684210526313</c:v>
                </c:pt>
                <c:pt idx="40">
                  <c:v>0.2823529411764706</c:v>
                </c:pt>
                <c:pt idx="41">
                  <c:v>0.24731182795698925</c:v>
                </c:pt>
                <c:pt idx="42">
                  <c:v>0.2558139534883721</c:v>
                </c:pt>
                <c:pt idx="43">
                  <c:v>0.3148148148148148</c:v>
                </c:pt>
                <c:pt idx="44">
                  <c:v>0.2773722627737226</c:v>
                </c:pt>
                <c:pt idx="45">
                  <c:v>0.30726256983240224</c:v>
                </c:pt>
                <c:pt idx="46">
                  <c:v>0.27419354838709675</c:v>
                </c:pt>
                <c:pt idx="47">
                  <c:v>0.3063583815028902</c:v>
                </c:pt>
                <c:pt idx="48">
                  <c:v>0.2761904761904762</c:v>
                </c:pt>
                <c:pt idx="49">
                  <c:v>0.29961089494163423</c:v>
                </c:pt>
                <c:pt idx="50">
                  <c:v>0.27900552486187846</c:v>
                </c:pt>
                <c:pt idx="51">
                  <c:v>0.351020408163265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1.8354872312722</c:v>
                </c:pt>
              </c:numCache>
            </c:numRef>
          </c:xVal>
          <c:yVal>
            <c:numRef>
              <c:f>Sheet1!$B$163:$B$164</c:f>
              <c:numCache>
                <c:formatCode>General</c:formatCode>
                <c:ptCount val="2"/>
                <c:pt idx="0">
                  <c:v>0.3700915838635228</c:v>
                </c:pt>
                <c:pt idx="1">
                  <c:v>0.37009158386352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1.8354872312722</c:v>
                </c:pt>
                <c:pt idx="1">
                  <c:v>631.8354872312722</c:v>
                </c:pt>
              </c:numCache>
            </c:numRef>
          </c:xVal>
          <c:yVal>
            <c:numRef>
              <c:f>Sheet1!$B$167:$B$168</c:f>
              <c:numCache>
                <c:formatCode>General</c:formatCode>
                <c:ptCount val="2"/>
                <c:pt idx="0">
                  <c:v>0.37009158386352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34.6409125254518</c:v>
                </c:pt>
              </c:numCache>
            </c:numRef>
          </c:xVal>
          <c:yVal>
            <c:numRef>
              <c:f>Sheet1!$B$171:$B$172</c:f>
              <c:numCache>
                <c:formatCode>General</c:formatCode>
                <c:ptCount val="2"/>
                <c:pt idx="0">
                  <c:v>0.36804576725398974</c:v>
                </c:pt>
                <c:pt idx="1">
                  <c:v>0.3680457672539897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34.6409125254518</c:v>
                </c:pt>
                <c:pt idx="1">
                  <c:v>634.6409125254518</c:v>
                </c:pt>
              </c:numCache>
            </c:numRef>
          </c:xVal>
          <c:yVal>
            <c:numRef>
              <c:f>Sheet1!$B$175:$B$176</c:f>
              <c:numCache>
                <c:formatCode>General</c:formatCode>
                <c:ptCount val="2"/>
                <c:pt idx="0">
                  <c:v>0.368045767253989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42.0822074788508</c:v>
                </c:pt>
              </c:numCache>
            </c:numRef>
          </c:xVal>
          <c:yVal>
            <c:numRef>
              <c:f>Sheet1!$B$179:$B$180</c:f>
              <c:numCache>
                <c:formatCode>General</c:formatCode>
                <c:ptCount val="2"/>
                <c:pt idx="0">
                  <c:v>0.28969572663040577</c:v>
                </c:pt>
                <c:pt idx="1">
                  <c:v>0.2896957266304057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42.0822074788508</c:v>
                </c:pt>
                <c:pt idx="1">
                  <c:v>742.0822074788508</c:v>
                </c:pt>
              </c:numCache>
            </c:numRef>
          </c:xVal>
          <c:yVal>
            <c:numRef>
              <c:f>Sheet1!$B$183:$B$184</c:f>
              <c:numCache>
                <c:formatCode>General</c:formatCode>
                <c:ptCount val="2"/>
                <c:pt idx="0">
                  <c:v>0.289695726630405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pt idx="52">
                  <c:v>634.6409125254518</c:v>
                </c:pt>
                <c:pt idx="53">
                  <c:v>631.8354872312722</c:v>
                </c:pt>
                <c:pt idx="54">
                  <c:v>742.0822074788508</c:v>
                </c:pt>
              </c:numCache>
            </c:numRef>
          </c:xVal>
          <c:yVal>
            <c:numRef>
              <c:f>Sheet1!$B$187:$B$241</c:f>
              <c:numCache>
                <c:formatCode>General</c:formatCode>
                <c:ptCount val="55"/>
                <c:pt idx="0">
                  <c:v>0.32640334838377616</c:v>
                </c:pt>
                <c:pt idx="1">
                  <c:v>0.33251412576874917</c:v>
                </c:pt>
                <c:pt idx="2">
                  <c:v>0.3086550611955772</c:v>
                </c:pt>
                <c:pt idx="3">
                  <c:v>0.30738990997474713</c:v>
                </c:pt>
                <c:pt idx="4">
                  <c:v>0.29887826950582763</c:v>
                </c:pt>
                <c:pt idx="5">
                  <c:v>0.31911419884032755</c:v>
                </c:pt>
                <c:pt idx="6">
                  <c:v>0.3395110705198832</c:v>
                </c:pt>
                <c:pt idx="7">
                  <c:v>0.32516240779210714</c:v>
                </c:pt>
                <c:pt idx="8">
                  <c:v>0.30713285434886517</c:v>
                </c:pt>
                <c:pt idx="9">
                  <c:v>0.3148622435557037</c:v>
                </c:pt>
                <c:pt idx="10">
                  <c:v>0.31735907407331276</c:v>
                </c:pt>
                <c:pt idx="11">
                  <c:v>0.3595867867451455</c:v>
                </c:pt>
                <c:pt idx="12">
                  <c:v>0.35389196547081947</c:v>
                </c:pt>
                <c:pt idx="13">
                  <c:v>0.3352245494574812</c:v>
                </c:pt>
                <c:pt idx="14">
                  <c:v>0.3460248236179409</c:v>
                </c:pt>
                <c:pt idx="15">
                  <c:v>0.32401626785679183</c:v>
                </c:pt>
                <c:pt idx="16">
                  <c:v>0.29768888588649867</c:v>
                </c:pt>
                <c:pt idx="17">
                  <c:v>0.31666447695656796</c:v>
                </c:pt>
                <c:pt idx="18">
                  <c:v>0.388340482129437</c:v>
                </c:pt>
                <c:pt idx="19">
                  <c:v>0.3189048352369497</c:v>
                </c:pt>
                <c:pt idx="20">
                  <c:v>0.3084195180263294</c:v>
                </c:pt>
                <c:pt idx="21">
                  <c:v>0.34771409839058076</c:v>
                </c:pt>
                <c:pt idx="22">
                  <c:v>0.30874388211822246</c:v>
                </c:pt>
                <c:pt idx="23">
                  <c:v>0.32047473410616567</c:v>
                </c:pt>
                <c:pt idx="24">
                  <c:v>0.33510940312180243</c:v>
                </c:pt>
                <c:pt idx="25">
                  <c:v>0.43661567451723116</c:v>
                </c:pt>
                <c:pt idx="26">
                  <c:v>0.30849390007977606</c:v>
                </c:pt>
                <c:pt idx="27">
                  <c:v>0.3286655837387009</c:v>
                </c:pt>
                <c:pt idx="28">
                  <c:v>0.2773269446026302</c:v>
                </c:pt>
                <c:pt idx="29">
                  <c:v>0.26615147861375554</c:v>
                </c:pt>
                <c:pt idx="30">
                  <c:v>0.2796852932383813</c:v>
                </c:pt>
                <c:pt idx="31">
                  <c:v>0.26954541503479723</c:v>
                </c:pt>
                <c:pt idx="32">
                  <c:v>0.27950349474892766</c:v>
                </c:pt>
                <c:pt idx="33">
                  <c:v>0.2678786007253551</c:v>
                </c:pt>
                <c:pt idx="34">
                  <c:v>0.27904918083424846</c:v>
                </c:pt>
                <c:pt idx="35">
                  <c:v>0.27406252046288393</c:v>
                </c:pt>
                <c:pt idx="36">
                  <c:v>0.2841821988343064</c:v>
                </c:pt>
                <c:pt idx="37">
                  <c:v>0.3330108812080422</c:v>
                </c:pt>
                <c:pt idx="38">
                  <c:v>0.29936445102575815</c:v>
                </c:pt>
                <c:pt idx="39">
                  <c:v>0.33658304286302865</c:v>
                </c:pt>
                <c:pt idx="40">
                  <c:v>0.2875072224705373</c:v>
                </c:pt>
                <c:pt idx="41">
                  <c:v>0.2849363745173905</c:v>
                </c:pt>
                <c:pt idx="42">
                  <c:v>0.25783505457334266</c:v>
                </c:pt>
                <c:pt idx="43">
                  <c:v>0.30517689803754444</c:v>
                </c:pt>
                <c:pt idx="44">
                  <c:v>0.3039182370154956</c:v>
                </c:pt>
                <c:pt idx="45">
                  <c:v>0.3113410554844027</c:v>
                </c:pt>
                <c:pt idx="46">
                  <c:v>0.30405438534273566</c:v>
                </c:pt>
                <c:pt idx="47">
                  <c:v>0.3169162820845596</c:v>
                </c:pt>
                <c:pt idx="48">
                  <c:v>0.32888296893607805</c:v>
                </c:pt>
                <c:pt idx="49">
                  <c:v>0.2992641811007687</c:v>
                </c:pt>
                <c:pt idx="50">
                  <c:v>0.2923405245493542</c:v>
                </c:pt>
                <c:pt idx="51">
                  <c:v>0.31901837725382853</c:v>
                </c:pt>
                <c:pt idx="52">
                  <c:v>0.3680457672539898</c:v>
                </c:pt>
                <c:pt idx="53">
                  <c:v>0.3700915838635228</c:v>
                </c:pt>
                <c:pt idx="54">
                  <c:v>0.289695726630405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3.0"/>
          <c:min val="37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55371900826447"/>
          <c:min val="0.171428571428571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7708</c:v>
                </c:pt>
                <c:pt idx="1">
                  <c:v>863.2309</c:v>
                </c:pt>
                <c:pt idx="2">
                  <c:v>918.4386</c:v>
                </c:pt>
                <c:pt idx="3">
                  <c:v>956.7649</c:v>
                </c:pt>
                <c:pt idx="4">
                  <c:v>936.751</c:v>
                </c:pt>
                <c:pt idx="5">
                  <c:v>916.9596</c:v>
                </c:pt>
                <c:pt idx="6">
                  <c:v>929.882</c:v>
                </c:pt>
                <c:pt idx="7">
                  <c:v>930.1652</c:v>
                </c:pt>
                <c:pt idx="8">
                  <c:v>890.4857</c:v>
                </c:pt>
                <c:pt idx="9">
                  <c:v>918.6149</c:v>
                </c:pt>
                <c:pt idx="10">
                  <c:v>940.6075</c:v>
                </c:pt>
                <c:pt idx="11">
                  <c:v>975.6458</c:v>
                </c:pt>
                <c:pt idx="12">
                  <c:v>939.2269</c:v>
                </c:pt>
                <c:pt idx="13">
                  <c:v>885.5453</c:v>
                </c:pt>
                <c:pt idx="14">
                  <c:v>910.0925</c:v>
                </c:pt>
                <c:pt idx="15">
                  <c:v>930.7733</c:v>
                </c:pt>
                <c:pt idx="16">
                  <c:v>934.4898</c:v>
                </c:pt>
                <c:pt idx="17">
                  <c:v>948.701</c:v>
                </c:pt>
                <c:pt idx="18">
                  <c:v>947.5024</c:v>
                </c:pt>
                <c:pt idx="19">
                  <c:v>963.2528</c:v>
                </c:pt>
                <c:pt idx="20">
                  <c:v>961.6588</c:v>
                </c:pt>
                <c:pt idx="21">
                  <c:v>974.5356</c:v>
                </c:pt>
                <c:pt idx="22">
                  <c:v>987.4235</c:v>
                </c:pt>
                <c:pt idx="23">
                  <c:v>960.2868</c:v>
                </c:pt>
                <c:pt idx="24">
                  <c:v>960.9412</c:v>
                </c:pt>
                <c:pt idx="25">
                  <c:v>935.1107</c:v>
                </c:pt>
                <c:pt idx="26">
                  <c:v>949.8352</c:v>
                </c:pt>
                <c:pt idx="27">
                  <c:v>931.1007</c:v>
                </c:pt>
                <c:pt idx="28">
                  <c:v>933.4142</c:v>
                </c:pt>
                <c:pt idx="29">
                  <c:v>775.6961</c:v>
                </c:pt>
                <c:pt idx="30">
                  <c:v>880.3861</c:v>
                </c:pt>
                <c:pt idx="31">
                  <c:v>866.9294</c:v>
                </c:pt>
                <c:pt idx="32">
                  <c:v>849.3558</c:v>
                </c:pt>
                <c:pt idx="33">
                  <c:v>668.2165</c:v>
                </c:pt>
                <c:pt idx="34">
                  <c:v>893.6892</c:v>
                </c:pt>
                <c:pt idx="35">
                  <c:v>918.668</c:v>
                </c:pt>
                <c:pt idx="36">
                  <c:v>981.0426</c:v>
                </c:pt>
                <c:pt idx="37">
                  <c:v>968.5163</c:v>
                </c:pt>
                <c:pt idx="38">
                  <c:v>1020.4393</c:v>
                </c:pt>
                <c:pt idx="39">
                  <c:v>1033.3165</c:v>
                </c:pt>
                <c:pt idx="40">
                  <c:v>1034.7105</c:v>
                </c:pt>
                <c:pt idx="41">
                  <c:v>1022.352</c:v>
                </c:pt>
                <c:pt idx="42">
                  <c:v>1133.0659</c:v>
                </c:pt>
                <c:pt idx="43">
                  <c:v>1104.6903</c:v>
                </c:pt>
                <c:pt idx="44">
                  <c:v>1027.4023</c:v>
                </c:pt>
                <c:pt idx="45">
                  <c:v>964.308</c:v>
                </c:pt>
                <c:pt idx="46">
                  <c:v>958.7254</c:v>
                </c:pt>
                <c:pt idx="47">
                  <c:v>972.0896</c:v>
                </c:pt>
                <c:pt idx="48">
                  <c:v>998.7951</c:v>
                </c:pt>
                <c:pt idx="49">
                  <c:v>958.0284</c:v>
                </c:pt>
                <c:pt idx="50">
                  <c:v>972.4183</c:v>
                </c:pt>
                <c:pt idx="51">
                  <c:v>996.5634</c:v>
                </c:pt>
                <c:pt idx="52">
                  <c:v>1011.3723</c:v>
                </c:pt>
                <c:pt idx="53">
                  <c:v>1045.1307</c:v>
                </c:pt>
                <c:pt idx="54">
                  <c:v>1075.3541</c:v>
                </c:pt>
                <c:pt idx="55">
                  <c:v>1069.2219</c:v>
                </c:pt>
                <c:pt idx="56">
                  <c:v>1062.7717</c:v>
                </c:pt>
                <c:pt idx="57">
                  <c:v>993.4143</c:v>
                </c:pt>
                <c:pt idx="58">
                  <c:v>1065.3075</c:v>
                </c:pt>
                <c:pt idx="59">
                  <c:v>1035.0667</c:v>
                </c:pt>
                <c:pt idx="60">
                  <c:v>1055.7162</c:v>
                </c:pt>
                <c:pt idx="61">
                  <c:v>1106.4477</c:v>
                </c:pt>
                <c:pt idx="62">
                  <c:v>1085.7237</c:v>
                </c:pt>
                <c:pt idx="63">
                  <c:v>1096.6294</c:v>
                </c:pt>
                <c:pt idx="64">
                  <c:v>1082.578</c:v>
                </c:pt>
                <c:pt idx="65">
                  <c:v>1048.5314</c:v>
                </c:pt>
                <c:pt idx="66">
                  <c:v>1042.3787</c:v>
                </c:pt>
                <c:pt idx="67">
                  <c:v>1073.673</c:v>
                </c:pt>
                <c:pt idx="68">
                  <c:v>1031.0272</c:v>
                </c:pt>
                <c:pt idx="69">
                  <c:v>1043.0037</c:v>
                </c:pt>
                <c:pt idx="70">
                  <c:v>1023.5358</c:v>
                </c:pt>
                <c:pt idx="71">
                  <c:v>1065.0479</c:v>
                </c:pt>
                <c:pt idx="72">
                  <c:v>1050.5708</c:v>
                </c:pt>
                <c:pt idx="73">
                  <c:v>1131.8168</c:v>
                </c:pt>
                <c:pt idx="74">
                  <c:v>1140.2927</c:v>
                </c:pt>
                <c:pt idx="75">
                  <c:v>1090.16</c:v>
                </c:pt>
                <c:pt idx="76">
                  <c:v>1074.0158</c:v>
                </c:pt>
                <c:pt idx="77">
                  <c:v>1015.9349</c:v>
                </c:pt>
                <c:pt idx="78">
                  <c:v>1072.3991</c:v>
                </c:pt>
                <c:pt idx="79">
                  <c:v>727.4491</c:v>
                </c:pt>
                <c:pt idx="80">
                  <c:v>817.8301</c:v>
                </c:pt>
                <c:pt idx="81">
                  <c:v>936.8045</c:v>
                </c:pt>
                <c:pt idx="82">
                  <c:v>885.8938</c:v>
                </c:pt>
                <c:pt idx="83">
                  <c:v>984.9449</c:v>
                </c:pt>
                <c:pt idx="84">
                  <c:v>977.7557</c:v>
                </c:pt>
                <c:pt idx="85">
                  <c:v>917.1979</c:v>
                </c:pt>
                <c:pt idx="86">
                  <c:v>984.625</c:v>
                </c:pt>
                <c:pt idx="87">
                  <c:v>1084.3447</c:v>
                </c:pt>
                <c:pt idx="88">
                  <c:v>958.3522</c:v>
                </c:pt>
                <c:pt idx="89">
                  <c:v>985.2652</c:v>
                </c:pt>
                <c:pt idx="90">
                  <c:v>1117.2991</c:v>
                </c:pt>
                <c:pt idx="91">
                  <c:v>1170.5135</c:v>
                </c:pt>
                <c:pt idx="92">
                  <c:v>989.2271</c:v>
                </c:pt>
                <c:pt idx="93">
                  <c:v>1119.712</c:v>
                </c:pt>
                <c:pt idx="94">
                  <c:v>1168.0667</c:v>
                </c:pt>
                <c:pt idx="95">
                  <c:v>1044.7365</c:v>
                </c:pt>
                <c:pt idx="96">
                  <c:v>1039.788</c:v>
                </c:pt>
                <c:pt idx="97">
                  <c:v>1057.2703</c:v>
                </c:pt>
                <c:pt idx="98">
                  <c:v>1076.8086</c:v>
                </c:pt>
                <c:pt idx="99">
                  <c:v>1051.7046</c:v>
                </c:pt>
                <c:pt idx="100">
                  <c:v>1058.0025</c:v>
                </c:pt>
                <c:pt idx="101">
                  <c:v>1086.3833</c:v>
                </c:pt>
                <c:pt idx="102">
                  <c:v>1133.6955</c:v>
                </c:pt>
                <c:pt idx="103">
                  <c:v>856.1504</c:v>
                </c:pt>
                <c:pt idx="104">
                  <c:v>990.5799</c:v>
                </c:pt>
              </c:numCache>
            </c:numRef>
          </c:xVal>
          <c:yVal>
            <c:numRef>
              <c:f>Sheet1!$B$2:$B$106</c:f>
              <c:numCache>
                <c:formatCode>General</c:formatCode>
                <c:ptCount val="105"/>
                <c:pt idx="0">
                  <c:v>0.22779661016949151</c:v>
                </c:pt>
                <c:pt idx="1">
                  <c:v>0.23198109491925956</c:v>
                </c:pt>
                <c:pt idx="2">
                  <c:v>0.20863836017569545</c:v>
                </c:pt>
                <c:pt idx="3">
                  <c:v>0.1976365118174409</c:v>
                </c:pt>
                <c:pt idx="4">
                  <c:v>0.18902439024390244</c:v>
                </c:pt>
                <c:pt idx="5">
                  <c:v>0.18760831889081456</c:v>
                </c:pt>
                <c:pt idx="6">
                  <c:v>0.1856015779092702</c:v>
                </c:pt>
                <c:pt idx="7">
                  <c:v>0.17376681614349776</c:v>
                </c:pt>
                <c:pt idx="8">
                  <c:v>0.21101557053218684</c:v>
                </c:pt>
                <c:pt idx="9">
                  <c:v>0.21751574127074985</c:v>
                </c:pt>
                <c:pt idx="10">
                  <c:v>0.22284414902921112</c:v>
                </c:pt>
                <c:pt idx="11">
                  <c:v>0.22962154294032022</c:v>
                </c:pt>
                <c:pt idx="12">
                  <c:v>0.22549526270456502</c:v>
                </c:pt>
                <c:pt idx="13">
                  <c:v>0.2593856655290102</c:v>
                </c:pt>
                <c:pt idx="14">
                  <c:v>0.23421052631578948</c:v>
                </c:pt>
                <c:pt idx="15">
                  <c:v>0.22478238607270865</c:v>
                </c:pt>
                <c:pt idx="16">
                  <c:v>0.2111111111111111</c:v>
                </c:pt>
                <c:pt idx="17">
                  <c:v>0.20006995452955578</c:v>
                </c:pt>
                <c:pt idx="18">
                  <c:v>0.18135158254918735</c:v>
                </c:pt>
                <c:pt idx="19">
                  <c:v>0.17179111761835042</c:v>
                </c:pt>
                <c:pt idx="20">
                  <c:v>0.1831761006289308</c:v>
                </c:pt>
                <c:pt idx="21">
                  <c:v>0.18309178743961352</c:v>
                </c:pt>
                <c:pt idx="22">
                  <c:v>0.1819154628143392</c:v>
                </c:pt>
                <c:pt idx="23">
                  <c:v>0.16996047430830039</c:v>
                </c:pt>
                <c:pt idx="24">
                  <c:v>0.17142857142857143</c:v>
                </c:pt>
                <c:pt idx="25">
                  <c:v>0.1776271186440678</c:v>
                </c:pt>
                <c:pt idx="26">
                  <c:v>0.17148488830486203</c:v>
                </c:pt>
                <c:pt idx="27">
                  <c:v>0.17375</c:v>
                </c:pt>
                <c:pt idx="28">
                  <c:v>0.16347469220246238</c:v>
                </c:pt>
                <c:pt idx="29">
                  <c:v>0.19423472889498972</c:v>
                </c:pt>
                <c:pt idx="30">
                  <c:v>0.1456221198156682</c:v>
                </c:pt>
                <c:pt idx="31">
                  <c:v>0.13991769547325103</c:v>
                </c:pt>
                <c:pt idx="32">
                  <c:v>0.1678773204196933</c:v>
                </c:pt>
                <c:pt idx="33">
                  <c:v>0.2027194066749073</c:v>
                </c:pt>
                <c:pt idx="34">
                  <c:v>0.15112321307011573</c:v>
                </c:pt>
                <c:pt idx="35">
                  <c:v>0.1641318124207858</c:v>
                </c:pt>
                <c:pt idx="36">
                  <c:v>0.12458581842279655</c:v>
                </c:pt>
                <c:pt idx="37">
                  <c:v>0.125</c:v>
                </c:pt>
                <c:pt idx="38">
                  <c:v>0.11665542818610924</c:v>
                </c:pt>
                <c:pt idx="39">
                  <c:v>0.10859375</c:v>
                </c:pt>
                <c:pt idx="40">
                  <c:v>0.12140575079872204</c:v>
                </c:pt>
                <c:pt idx="41">
                  <c:v>0.11570782159017454</c:v>
                </c:pt>
                <c:pt idx="42">
                  <c:v>0.11375</c:v>
                </c:pt>
                <c:pt idx="43">
                  <c:v>0.13620386643233742</c:v>
                </c:pt>
                <c:pt idx="44">
                  <c:v>0.1504733432984554</c:v>
                </c:pt>
                <c:pt idx="45">
                  <c:v>0.16910460992907803</c:v>
                </c:pt>
                <c:pt idx="46">
                  <c:v>0.1758780991735537</c:v>
                </c:pt>
                <c:pt idx="47">
                  <c:v>0.18572418572418573</c:v>
                </c:pt>
                <c:pt idx="48">
                  <c:v>0.21310088016249154</c:v>
                </c:pt>
                <c:pt idx="49">
                  <c:v>0.26044325050369377</c:v>
                </c:pt>
                <c:pt idx="50">
                  <c:v>0.21934174932371506</c:v>
                </c:pt>
                <c:pt idx="51">
                  <c:v>0.19888475836431227</c:v>
                </c:pt>
                <c:pt idx="52">
                  <c:v>0.21948696731485312</c:v>
                </c:pt>
                <c:pt idx="53">
                  <c:v>0.20253164556962025</c:v>
                </c:pt>
                <c:pt idx="54">
                  <c:v>0.19784449576597382</c:v>
                </c:pt>
                <c:pt idx="55">
                  <c:v>0.1896693085542498</c:v>
                </c:pt>
                <c:pt idx="56">
                  <c:v>0.20871559633027523</c:v>
                </c:pt>
                <c:pt idx="57">
                  <c:v>0.2047182686683564</c:v>
                </c:pt>
                <c:pt idx="58">
                  <c:v>0.2113240418118467</c:v>
                </c:pt>
                <c:pt idx="59">
                  <c:v>0.22925096220270402</c:v>
                </c:pt>
                <c:pt idx="60">
                  <c:v>0.24155844155844156</c:v>
                </c:pt>
                <c:pt idx="61">
                  <c:v>0.23333858515834252</c:v>
                </c:pt>
                <c:pt idx="62">
                  <c:v>0.2478386167146974</c:v>
                </c:pt>
                <c:pt idx="63">
                  <c:v>0.26587126233613195</c:v>
                </c:pt>
                <c:pt idx="64">
                  <c:v>0.25666412795125665</c:v>
                </c:pt>
                <c:pt idx="65">
                  <c:v>0.2351086776173884</c:v>
                </c:pt>
                <c:pt idx="66">
                  <c:v>0.21803977272727273</c:v>
                </c:pt>
                <c:pt idx="67">
                  <c:v>0.2037288793940571</c:v>
                </c:pt>
                <c:pt idx="68">
                  <c:v>0.19561364643331858</c:v>
                </c:pt>
                <c:pt idx="69">
                  <c:v>0.17662337662337663</c:v>
                </c:pt>
                <c:pt idx="70">
                  <c:v>0.16636141636141635</c:v>
                </c:pt>
                <c:pt idx="71">
                  <c:v>0.1643700787401575</c:v>
                </c:pt>
                <c:pt idx="72">
                  <c:v>0.17087719298245613</c:v>
                </c:pt>
                <c:pt idx="73">
                  <c:v>0.15652847733436653</c:v>
                </c:pt>
                <c:pt idx="74">
                  <c:v>0.1519081141163394</c:v>
                </c:pt>
                <c:pt idx="75">
                  <c:v>0.15408320493066255</c:v>
                </c:pt>
                <c:pt idx="76">
                  <c:v>0.15351941747572814</c:v>
                </c:pt>
                <c:pt idx="77">
                  <c:v>0.14613661814109744</c:v>
                </c:pt>
                <c:pt idx="78">
                  <c:v>0.14739688979039892</c:v>
                </c:pt>
                <c:pt idx="79">
                  <c:v>0.18225584594222832</c:v>
                </c:pt>
                <c:pt idx="80">
                  <c:v>0.15259259259259259</c:v>
                </c:pt>
                <c:pt idx="81">
                  <c:v>0.12910798122065728</c:v>
                </c:pt>
                <c:pt idx="82">
                  <c:v>0.1168736303871439</c:v>
                </c:pt>
                <c:pt idx="83">
                  <c:v>0.11091703056768559</c:v>
                </c:pt>
                <c:pt idx="84">
                  <c:v>0.11665182546749778</c:v>
                </c:pt>
                <c:pt idx="85">
                  <c:v>0.14045354791514264</c:v>
                </c:pt>
                <c:pt idx="86">
                  <c:v>0.11764705882352941</c:v>
                </c:pt>
                <c:pt idx="87">
                  <c:v>0.1329890251775339</c:v>
                </c:pt>
                <c:pt idx="88">
                  <c:v>0.1260904044409199</c:v>
                </c:pt>
                <c:pt idx="89">
                  <c:v>0.10653753026634383</c:v>
                </c:pt>
                <c:pt idx="90">
                  <c:v>0.09536541889483066</c:v>
                </c:pt>
                <c:pt idx="91">
                  <c:v>0.08651597817614964</c:v>
                </c:pt>
                <c:pt idx="92">
                  <c:v>0.11219512195121951</c:v>
                </c:pt>
                <c:pt idx="93">
                  <c:v>0.10772701635645798</c:v>
                </c:pt>
                <c:pt idx="94">
                  <c:v>0.10748407643312102</c:v>
                </c:pt>
                <c:pt idx="95">
                  <c:v>0.13411871318531943</c:v>
                </c:pt>
                <c:pt idx="96">
                  <c:v>0.14322543683758235</c:v>
                </c:pt>
                <c:pt idx="97">
                  <c:v>0.15002836074872378</c:v>
                </c:pt>
                <c:pt idx="98">
                  <c:v>0.15980271270036991</c:v>
                </c:pt>
                <c:pt idx="99">
                  <c:v>0.17508210180623973</c:v>
                </c:pt>
                <c:pt idx="100">
                  <c:v>0.1992541951522685</c:v>
                </c:pt>
                <c:pt idx="101">
                  <c:v>0.1721840068787618</c:v>
                </c:pt>
                <c:pt idx="102">
                  <c:v>0.15318796577422025</c:v>
                </c:pt>
                <c:pt idx="103">
                  <c:v>0.1927739481816021</c:v>
                </c:pt>
                <c:pt idx="104">
                  <c:v>0.19323197645904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42.008</c:v>
                </c:pt>
                <c:pt idx="1">
                  <c:v>1142.9011</c:v>
                </c:pt>
                <c:pt idx="2">
                  <c:v>1145.7163</c:v>
                </c:pt>
                <c:pt idx="3">
                  <c:v>1155.9541</c:v>
                </c:pt>
                <c:pt idx="4">
                  <c:v>1140.5704</c:v>
                </c:pt>
                <c:pt idx="5">
                  <c:v>1150.1215</c:v>
                </c:pt>
                <c:pt idx="6">
                  <c:v>1085.4255</c:v>
                </c:pt>
                <c:pt idx="7">
                  <c:v>1173.2903</c:v>
                </c:pt>
                <c:pt idx="8">
                  <c:v>1223.18</c:v>
                </c:pt>
                <c:pt idx="9">
                  <c:v>1215.0883</c:v>
                </c:pt>
                <c:pt idx="10">
                  <c:v>1201.2151</c:v>
                </c:pt>
                <c:pt idx="11">
                  <c:v>1040.8538</c:v>
                </c:pt>
                <c:pt idx="12">
                  <c:v>1039.1294</c:v>
                </c:pt>
                <c:pt idx="13">
                  <c:v>1144.6293</c:v>
                </c:pt>
                <c:pt idx="14">
                  <c:v>1187.803</c:v>
                </c:pt>
                <c:pt idx="15">
                  <c:v>1191.5052</c:v>
                </c:pt>
                <c:pt idx="16">
                  <c:v>1265.7057</c:v>
                </c:pt>
                <c:pt idx="17">
                  <c:v>1245.5899</c:v>
                </c:pt>
                <c:pt idx="18">
                  <c:v>1271.6644</c:v>
                </c:pt>
                <c:pt idx="19">
                  <c:v>1216.6364</c:v>
                </c:pt>
                <c:pt idx="20">
                  <c:v>1146.5292</c:v>
                </c:pt>
                <c:pt idx="21">
                  <c:v>1029.3126</c:v>
                </c:pt>
                <c:pt idx="22">
                  <c:v>955.3713</c:v>
                </c:pt>
                <c:pt idx="23">
                  <c:v>981.6168</c:v>
                </c:pt>
                <c:pt idx="24">
                  <c:v>999.4397</c:v>
                </c:pt>
                <c:pt idx="25">
                  <c:v>1007.7586</c:v>
                </c:pt>
                <c:pt idx="26">
                  <c:v>1140.9771</c:v>
                </c:pt>
                <c:pt idx="27">
                  <c:v>1150.6558</c:v>
                </c:pt>
                <c:pt idx="28">
                  <c:v>1156.0655</c:v>
                </c:pt>
                <c:pt idx="29">
                  <c:v>1137.6074</c:v>
                </c:pt>
                <c:pt idx="30">
                  <c:v>1123.6224</c:v>
                </c:pt>
                <c:pt idx="31">
                  <c:v>1099.597</c:v>
                </c:pt>
                <c:pt idx="32">
                  <c:v>1153.4902</c:v>
                </c:pt>
                <c:pt idx="33">
                  <c:v>1168.8065</c:v>
                </c:pt>
                <c:pt idx="34">
                  <c:v>1164.5517</c:v>
                </c:pt>
                <c:pt idx="35">
                  <c:v>1147.6353</c:v>
                </c:pt>
                <c:pt idx="36">
                  <c:v>1147.4167</c:v>
                </c:pt>
                <c:pt idx="37">
                  <c:v>1073.8362</c:v>
                </c:pt>
                <c:pt idx="38">
                  <c:v>971.4962</c:v>
                </c:pt>
                <c:pt idx="39">
                  <c:v>965.984</c:v>
                </c:pt>
                <c:pt idx="40">
                  <c:v>1019.3658</c:v>
                </c:pt>
                <c:pt idx="41">
                  <c:v>1145.7525</c:v>
                </c:pt>
                <c:pt idx="42">
                  <c:v>1135.5771</c:v>
                </c:pt>
                <c:pt idx="43">
                  <c:v>1013.6175</c:v>
                </c:pt>
                <c:pt idx="44">
                  <c:v>1070.2474</c:v>
                </c:pt>
                <c:pt idx="45">
                  <c:v>1108.4964</c:v>
                </c:pt>
                <c:pt idx="46">
                  <c:v>1174.2725</c:v>
                </c:pt>
                <c:pt idx="47">
                  <c:v>1145.477</c:v>
                </c:pt>
                <c:pt idx="48">
                  <c:v>1169.5478</c:v>
                </c:pt>
                <c:pt idx="49">
                  <c:v>1123.6221</c:v>
                </c:pt>
                <c:pt idx="50">
                  <c:v>1011.9884</c:v>
                </c:pt>
                <c:pt idx="51">
                  <c:v>984.8251</c:v>
                </c:pt>
              </c:numCache>
            </c:numRef>
          </c:xVal>
          <c:yVal>
            <c:numRef>
              <c:f>Sheet1!$B$109:$B$160</c:f>
              <c:numCache>
                <c:formatCode>General</c:formatCode>
                <c:ptCount val="52"/>
                <c:pt idx="0">
                  <c:v>0.17717413338739105</c:v>
                </c:pt>
                <c:pt idx="1">
                  <c:v>0.18128776828505938</c:v>
                </c:pt>
                <c:pt idx="2">
                  <c:v>0.19966127211140383</c:v>
                </c:pt>
                <c:pt idx="3">
                  <c:v>0.21055354371443352</c:v>
                </c:pt>
                <c:pt idx="4">
                  <c:v>0.2043031226199543</c:v>
                </c:pt>
                <c:pt idx="5">
                  <c:v>0.20003984857541343</c:v>
                </c:pt>
                <c:pt idx="6">
                  <c:v>0.2065757818765036</c:v>
                </c:pt>
                <c:pt idx="7">
                  <c:v>0.1874829931972789</c:v>
                </c:pt>
                <c:pt idx="8">
                  <c:v>0.19300391389432486</c:v>
                </c:pt>
                <c:pt idx="9">
                  <c:v>0.2081879506862061</c:v>
                </c:pt>
                <c:pt idx="10">
                  <c:v>0.22299903567984572</c:v>
                </c:pt>
                <c:pt idx="11">
                  <c:v>0.24650998409613006</c:v>
                </c:pt>
                <c:pt idx="12">
                  <c:v>0.23916887709991158</c:v>
                </c:pt>
                <c:pt idx="13">
                  <c:v>0.2157837837837838</c:v>
                </c:pt>
                <c:pt idx="14">
                  <c:v>0.21158507028599127</c:v>
                </c:pt>
                <c:pt idx="15">
                  <c:v>0.20512820512820512</c:v>
                </c:pt>
                <c:pt idx="16">
                  <c:v>0.17904761904761904</c:v>
                </c:pt>
                <c:pt idx="17">
                  <c:v>0.16014760147601476</c:v>
                </c:pt>
                <c:pt idx="18">
                  <c:v>0.15457914240338805</c:v>
                </c:pt>
                <c:pt idx="19">
                  <c:v>0.17137293086660174</c:v>
                </c:pt>
                <c:pt idx="20">
                  <c:v>0.17623956799214532</c:v>
                </c:pt>
                <c:pt idx="21">
                  <c:v>0.2006704980842912</c:v>
                </c:pt>
                <c:pt idx="22">
                  <c:v>0.20475746268656717</c:v>
                </c:pt>
                <c:pt idx="23">
                  <c:v>0.18422504136789852</c:v>
                </c:pt>
                <c:pt idx="24">
                  <c:v>0.1814420803782506</c:v>
                </c:pt>
                <c:pt idx="25">
                  <c:v>0.17239101717305153</c:v>
                </c:pt>
                <c:pt idx="26">
                  <c:v>0.13053892215568863</c:v>
                </c:pt>
                <c:pt idx="27">
                  <c:v>0.13616212792906904</c:v>
                </c:pt>
                <c:pt idx="28">
                  <c:v>0.1311569301260023</c:v>
                </c:pt>
                <c:pt idx="29">
                  <c:v>0.10983827493261455</c:v>
                </c:pt>
                <c:pt idx="30">
                  <c:v>0.1173092698933552</c:v>
                </c:pt>
                <c:pt idx="31">
                  <c:v>0.13828689370485037</c:v>
                </c:pt>
                <c:pt idx="32">
                  <c:v>0.12520458265139117</c:v>
                </c:pt>
                <c:pt idx="33">
                  <c:v>0.1340057636887608</c:v>
                </c:pt>
                <c:pt idx="34">
                  <c:v>0.1417226634086744</c:v>
                </c:pt>
                <c:pt idx="35">
                  <c:v>0.12917933130699089</c:v>
                </c:pt>
                <c:pt idx="36">
                  <c:v>0.12965186074429771</c:v>
                </c:pt>
                <c:pt idx="37">
                  <c:v>0.11983471074380166</c:v>
                </c:pt>
                <c:pt idx="38">
                  <c:v>0.1480225988700565</c:v>
                </c:pt>
                <c:pt idx="39">
                  <c:v>0.14710485133020346</c:v>
                </c:pt>
                <c:pt idx="40">
                  <c:v>0.14183222958057395</c:v>
                </c:pt>
                <c:pt idx="41">
                  <c:v>0.12656641604010024</c:v>
                </c:pt>
                <c:pt idx="42">
                  <c:v>0.12848751835535976</c:v>
                </c:pt>
                <c:pt idx="43">
                  <c:v>0.1490125673249551</c:v>
                </c:pt>
                <c:pt idx="44">
                  <c:v>0.14136904761904762</c:v>
                </c:pt>
                <c:pt idx="45">
                  <c:v>0.1510752688172043</c:v>
                </c:pt>
                <c:pt idx="46">
                  <c:v>0.13159675236806495</c:v>
                </c:pt>
                <c:pt idx="47">
                  <c:v>0.1472663139329806</c:v>
                </c:pt>
                <c:pt idx="48">
                  <c:v>0.1464688675302967</c:v>
                </c:pt>
                <c:pt idx="49">
                  <c:v>0.1697633483277919</c:v>
                </c:pt>
                <c:pt idx="50">
                  <c:v>0.22504730368968778</c:v>
                </c:pt>
                <c:pt idx="51">
                  <c:v>0.2065462753950338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96.04308710611338</c:v>
                </c:pt>
              </c:numCache>
            </c:numRef>
          </c:xVal>
          <c:yVal>
            <c:numRef>
              <c:f>Sheet1!$B$163:$B$164</c:f>
              <c:numCache>
                <c:formatCode>General</c:formatCode>
                <c:ptCount val="2"/>
                <c:pt idx="0">
                  <c:v>0.21514387431773335</c:v>
                </c:pt>
                <c:pt idx="1">
                  <c:v>0.2151438743177333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96.04308710611338</c:v>
                </c:pt>
                <c:pt idx="1">
                  <c:v>196.04308710611338</c:v>
                </c:pt>
              </c:numCache>
            </c:numRef>
          </c:xVal>
          <c:yVal>
            <c:numRef>
              <c:f>Sheet1!$B$167:$B$168</c:f>
              <c:numCache>
                <c:formatCode>General</c:formatCode>
                <c:ptCount val="2"/>
                <c:pt idx="0">
                  <c:v>0.2151438743177333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13.4892574571213</c:v>
                </c:pt>
              </c:numCache>
            </c:numRef>
          </c:xVal>
          <c:yVal>
            <c:numRef>
              <c:f>Sheet1!$B$171:$B$172</c:f>
              <c:numCache>
                <c:formatCode>General</c:formatCode>
                <c:ptCount val="2"/>
                <c:pt idx="0">
                  <c:v>0.1993400205100103</c:v>
                </c:pt>
                <c:pt idx="1">
                  <c:v>0.19934002051001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13.4892574571213</c:v>
                </c:pt>
                <c:pt idx="1">
                  <c:v>513.4892574571213</c:v>
                </c:pt>
              </c:numCache>
            </c:numRef>
          </c:xVal>
          <c:yVal>
            <c:numRef>
              <c:f>Sheet1!$B$175:$B$176</c:f>
              <c:numCache>
                <c:formatCode>General</c:formatCode>
                <c:ptCount val="2"/>
                <c:pt idx="0">
                  <c:v>0.19934002051001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8.5549258388476</c:v>
                </c:pt>
              </c:numCache>
            </c:numRef>
          </c:xVal>
          <c:yVal>
            <c:numRef>
              <c:f>Sheet1!$B$179:$B$180</c:f>
              <c:numCache>
                <c:formatCode>General</c:formatCode>
                <c:ptCount val="2"/>
                <c:pt idx="0">
                  <c:v>0.15477975079317696</c:v>
                </c:pt>
                <c:pt idx="1">
                  <c:v>0.1547797507931769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8.5549258388476</c:v>
                </c:pt>
                <c:pt idx="1">
                  <c:v>1408.5549258388476</c:v>
                </c:pt>
              </c:numCache>
            </c:numRef>
          </c:xVal>
          <c:yVal>
            <c:numRef>
              <c:f>Sheet1!$B$183:$B$184</c:f>
              <c:numCache>
                <c:formatCode>General</c:formatCode>
                <c:ptCount val="2"/>
                <c:pt idx="0">
                  <c:v>0.154779750793176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42.008</c:v>
                </c:pt>
                <c:pt idx="1">
                  <c:v>1142.9011</c:v>
                </c:pt>
                <c:pt idx="2">
                  <c:v>1145.7163</c:v>
                </c:pt>
                <c:pt idx="3">
                  <c:v>1155.9541</c:v>
                </c:pt>
                <c:pt idx="4">
                  <c:v>1140.5704</c:v>
                </c:pt>
                <c:pt idx="5">
                  <c:v>1150.1215</c:v>
                </c:pt>
                <c:pt idx="6">
                  <c:v>1085.4255</c:v>
                </c:pt>
                <c:pt idx="7">
                  <c:v>1173.2903</c:v>
                </c:pt>
                <c:pt idx="8">
                  <c:v>1223.18</c:v>
                </c:pt>
                <c:pt idx="9">
                  <c:v>1215.0883</c:v>
                </c:pt>
                <c:pt idx="10">
                  <c:v>1201.2151</c:v>
                </c:pt>
                <c:pt idx="11">
                  <c:v>1040.8538</c:v>
                </c:pt>
                <c:pt idx="12">
                  <c:v>1039.1294</c:v>
                </c:pt>
                <c:pt idx="13">
                  <c:v>1144.6293</c:v>
                </c:pt>
                <c:pt idx="14">
                  <c:v>1187.803</c:v>
                </c:pt>
                <c:pt idx="15">
                  <c:v>1191.5052</c:v>
                </c:pt>
                <c:pt idx="16">
                  <c:v>1265.7057</c:v>
                </c:pt>
                <c:pt idx="17">
                  <c:v>1245.5899</c:v>
                </c:pt>
                <c:pt idx="18">
                  <c:v>1271.6644</c:v>
                </c:pt>
                <c:pt idx="19">
                  <c:v>1216.6364</c:v>
                </c:pt>
                <c:pt idx="20">
                  <c:v>1146.5292</c:v>
                </c:pt>
                <c:pt idx="21">
                  <c:v>1029.3126</c:v>
                </c:pt>
                <c:pt idx="22">
                  <c:v>955.3713</c:v>
                </c:pt>
                <c:pt idx="23">
                  <c:v>981.6168</c:v>
                </c:pt>
                <c:pt idx="24">
                  <c:v>999.4397</c:v>
                </c:pt>
                <c:pt idx="25">
                  <c:v>1007.7586</c:v>
                </c:pt>
                <c:pt idx="26">
                  <c:v>1140.9771</c:v>
                </c:pt>
                <c:pt idx="27">
                  <c:v>1150.6558</c:v>
                </c:pt>
                <c:pt idx="28">
                  <c:v>1156.0655</c:v>
                </c:pt>
                <c:pt idx="29">
                  <c:v>1137.6074</c:v>
                </c:pt>
                <c:pt idx="30">
                  <c:v>1123.6224</c:v>
                </c:pt>
                <c:pt idx="31">
                  <c:v>1099.597</c:v>
                </c:pt>
                <c:pt idx="32">
                  <c:v>1153.4902</c:v>
                </c:pt>
                <c:pt idx="33">
                  <c:v>1168.8065</c:v>
                </c:pt>
                <c:pt idx="34">
                  <c:v>1164.5517</c:v>
                </c:pt>
                <c:pt idx="35">
                  <c:v>1147.6353</c:v>
                </c:pt>
                <c:pt idx="36">
                  <c:v>1147.4167</c:v>
                </c:pt>
                <c:pt idx="37">
                  <c:v>1073.8362</c:v>
                </c:pt>
                <c:pt idx="38">
                  <c:v>971.4962</c:v>
                </c:pt>
                <c:pt idx="39">
                  <c:v>965.984</c:v>
                </c:pt>
                <c:pt idx="40">
                  <c:v>1019.3658</c:v>
                </c:pt>
                <c:pt idx="41">
                  <c:v>1145.7525</c:v>
                </c:pt>
                <c:pt idx="42">
                  <c:v>1135.5771</c:v>
                </c:pt>
                <c:pt idx="43">
                  <c:v>1013.6175</c:v>
                </c:pt>
                <c:pt idx="44">
                  <c:v>1070.2474</c:v>
                </c:pt>
                <c:pt idx="45">
                  <c:v>1108.4964</c:v>
                </c:pt>
                <c:pt idx="46">
                  <c:v>1174.2725</c:v>
                </c:pt>
                <c:pt idx="47">
                  <c:v>1145.477</c:v>
                </c:pt>
                <c:pt idx="48">
                  <c:v>1169.5478</c:v>
                </c:pt>
                <c:pt idx="49">
                  <c:v>1123.6221</c:v>
                </c:pt>
                <c:pt idx="50">
                  <c:v>1011.9884</c:v>
                </c:pt>
                <c:pt idx="51">
                  <c:v>984.8251</c:v>
                </c:pt>
                <c:pt idx="52">
                  <c:v>513.4892574571213</c:v>
                </c:pt>
                <c:pt idx="53">
                  <c:v>196.04308710611338</c:v>
                </c:pt>
                <c:pt idx="54">
                  <c:v>1408.5549258388476</c:v>
                </c:pt>
              </c:numCache>
            </c:numRef>
          </c:xVal>
          <c:yVal>
            <c:numRef>
              <c:f>Sheet1!$B$187:$B$241</c:f>
              <c:numCache>
                <c:formatCode>General</c:formatCode>
                <c:ptCount val="55"/>
                <c:pt idx="0">
                  <c:v>0.16804961838741292</c:v>
                </c:pt>
                <c:pt idx="1">
                  <c:v>0.16800515597723462</c:v>
                </c:pt>
                <c:pt idx="2">
                  <c:v>0.16786500305244012</c:v>
                </c:pt>
                <c:pt idx="3">
                  <c:v>0.16735532075155174</c:v>
                </c:pt>
                <c:pt idx="4">
                  <c:v>0.1681211883805518</c:v>
                </c:pt>
                <c:pt idx="5">
                  <c:v>0.1676456929983393</c:v>
                </c:pt>
                <c:pt idx="6">
                  <c:v>0.17086654182702074</c:v>
                </c:pt>
                <c:pt idx="7">
                  <c:v>0.16649224916345068</c:v>
                </c:pt>
                <c:pt idx="8">
                  <c:v>0.16400852247542871</c:v>
                </c:pt>
                <c:pt idx="9">
                  <c:v>0.16441136256549677</c:v>
                </c:pt>
                <c:pt idx="10">
                  <c:v>0.16510203092165576</c:v>
                </c:pt>
                <c:pt idx="11">
                  <c:v>0.17308551529890986</c:v>
                </c:pt>
                <c:pt idx="12">
                  <c:v>0.17317136344593873</c:v>
                </c:pt>
                <c:pt idx="13">
                  <c:v>0.16791911864964515</c:v>
                </c:pt>
                <c:pt idx="14">
                  <c:v>0.16576974371031594</c:v>
                </c:pt>
                <c:pt idx="15">
                  <c:v>0.16558543205992726</c:v>
                </c:pt>
                <c:pt idx="16">
                  <c:v>0.16189140780011868</c:v>
                </c:pt>
                <c:pt idx="17">
                  <c:v>0.16289285998986752</c:v>
                </c:pt>
                <c:pt idx="18">
                  <c:v>0.1615947577457805</c:v>
                </c:pt>
                <c:pt idx="19">
                  <c:v>0.16433429140079286</c:v>
                </c:pt>
                <c:pt idx="20">
                  <c:v>0.1678245333477778</c:v>
                </c:pt>
                <c:pt idx="21">
                  <c:v>0.17366008653208626</c:v>
                </c:pt>
                <c:pt idx="22">
                  <c:v>0.17734120668628717</c:v>
                </c:pt>
                <c:pt idx="23">
                  <c:v>0.17603459131697285</c:v>
                </c:pt>
                <c:pt idx="24">
                  <c:v>0.17514728968180676</c:v>
                </c:pt>
                <c:pt idx="25">
                  <c:v>0.17473313858558878</c:v>
                </c:pt>
                <c:pt idx="26">
                  <c:v>0.16810094108213108</c:v>
                </c:pt>
                <c:pt idx="27">
                  <c:v>0.16761909321583088</c:v>
                </c:pt>
                <c:pt idx="28">
                  <c:v>0.16734977477406449</c:v>
                </c:pt>
                <c:pt idx="29">
                  <c:v>0.1682686994334667</c:v>
                </c:pt>
                <c:pt idx="30">
                  <c:v>0.1689649336808562</c:v>
                </c:pt>
                <c:pt idx="31">
                  <c:v>0.17016102279685413</c:v>
                </c:pt>
                <c:pt idx="32">
                  <c:v>0.16747798443136175</c:v>
                </c:pt>
                <c:pt idx="33">
                  <c:v>0.16671547226809458</c:v>
                </c:pt>
                <c:pt idx="34">
                  <c:v>0.16692729475474405</c:v>
                </c:pt>
                <c:pt idx="35">
                  <c:v>0.16776946686933392</c:v>
                </c:pt>
                <c:pt idx="36">
                  <c:v>0.16778034973000458</c:v>
                </c:pt>
                <c:pt idx="37">
                  <c:v>0.17144350768781952</c:v>
                </c:pt>
                <c:pt idx="38">
                  <c:v>0.17653843889109727</c:v>
                </c:pt>
                <c:pt idx="39">
                  <c:v>0.17681286022956422</c:v>
                </c:pt>
                <c:pt idx="40">
                  <c:v>0.17415528158478083</c:v>
                </c:pt>
                <c:pt idx="41">
                  <c:v>0.16786320085867856</c:v>
                </c:pt>
                <c:pt idx="42">
                  <c:v>0.16836977661562436</c:v>
                </c:pt>
                <c:pt idx="43">
                  <c:v>0.1744414570101844</c:v>
                </c:pt>
                <c:pt idx="44">
                  <c:v>0.1716221737920048</c:v>
                </c:pt>
                <c:pt idx="45">
                  <c:v>0.16971797188078563</c:v>
                </c:pt>
                <c:pt idx="46">
                  <c:v>0.16644335096696972</c:v>
                </c:pt>
                <c:pt idx="47">
                  <c:v>0.1678769164493225</c:v>
                </c:pt>
                <c:pt idx="48">
                  <c:v>0.1666785671234689</c:v>
                </c:pt>
                <c:pt idx="49">
                  <c:v>0.1689649486161636</c:v>
                </c:pt>
                <c:pt idx="50">
                  <c:v>0.17452256070789068</c:v>
                </c:pt>
                <c:pt idx="51">
                  <c:v>0.1758748681610272</c:v>
                </c:pt>
                <c:pt idx="52">
                  <c:v>0.1993400205100103</c:v>
                </c:pt>
                <c:pt idx="53">
                  <c:v>0.21514387431773335</c:v>
                </c:pt>
                <c:pt idx="54">
                  <c:v>0.154779750793176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0.0"/>
          <c:min val="15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904551480335835"/>
          <c:min val="0.06921278254091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8</c:f>
              <c:numCache>
                <c:formatCode>General</c:formatCode>
                <c:ptCount val="137"/>
                <c:pt idx="0">
                  <c:v>0.0</c:v>
                </c:pt>
                <c:pt idx="1">
                  <c:v>0.7066292403746097</c:v>
                </c:pt>
                <c:pt idx="2">
                  <c:v>0.0</c:v>
                </c:pt>
                <c:pt idx="3">
                  <c:v>0.0</c:v>
                </c:pt>
                <c:pt idx="4">
                  <c:v>0.0</c:v>
                </c:pt>
                <c:pt idx="5">
                  <c:v>0.0</c:v>
                </c:pt>
                <c:pt idx="6">
                  <c:v>0.0</c:v>
                </c:pt>
                <c:pt idx="7">
                  <c:v>0.0</c:v>
                </c:pt>
                <c:pt idx="8">
                  <c:v>0.0</c:v>
                </c:pt>
                <c:pt idx="9">
                  <c:v>0.0</c:v>
                </c:pt>
                <c:pt idx="10">
                  <c:v>0.0</c:v>
                </c:pt>
                <c:pt idx="11">
                  <c:v>0.0</c:v>
                </c:pt>
                <c:pt idx="12">
                  <c:v>0.5583615173674589</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750180516431925</c:v>
                </c:pt>
                <c:pt idx="35">
                  <c:v>0.0</c:v>
                </c:pt>
                <c:pt idx="36">
                  <c:v>0.0</c:v>
                </c:pt>
                <c:pt idx="37">
                  <c:v>0.0</c:v>
                </c:pt>
                <c:pt idx="38">
                  <c:v>0.0</c:v>
                </c:pt>
                <c:pt idx="39">
                  <c:v>0.0</c:v>
                </c:pt>
                <c:pt idx="40">
                  <c:v>0.0</c:v>
                </c:pt>
                <c:pt idx="41">
                  <c:v>0.0</c:v>
                </c:pt>
                <c:pt idx="42">
                  <c:v>0.0</c:v>
                </c:pt>
                <c:pt idx="43">
                  <c:v>0.0</c:v>
                </c:pt>
                <c:pt idx="44">
                  <c:v>0.0</c:v>
                </c:pt>
                <c:pt idx="45">
                  <c:v>0.0</c:v>
                </c:pt>
                <c:pt idx="46">
                  <c:v>0.5665923145665773</c:v>
                </c:pt>
                <c:pt idx="47">
                  <c:v>0.38339744548286603</c:v>
                </c:pt>
                <c:pt idx="48">
                  <c:v>0.0</c:v>
                </c:pt>
                <c:pt idx="49">
                  <c:v>0.6481036432843936</c:v>
                </c:pt>
                <c:pt idx="50">
                  <c:v>0.4522010424422934</c:v>
                </c:pt>
                <c:pt idx="51">
                  <c:v>0.0</c:v>
                </c:pt>
                <c:pt idx="52">
                  <c:v>0.0</c:v>
                </c:pt>
                <c:pt idx="53">
                  <c:v>0.652526586102719</c:v>
                </c:pt>
                <c:pt idx="54">
                  <c:v>0.0</c:v>
                </c:pt>
                <c:pt idx="55">
                  <c:v>0.9365470588235293</c:v>
                </c:pt>
                <c:pt idx="56">
                  <c:v>0.7243008743169399</c:v>
                </c:pt>
                <c:pt idx="57">
                  <c:v>0.7629529482551144</c:v>
                </c:pt>
                <c:pt idx="58">
                  <c:v>0.0</c:v>
                </c:pt>
                <c:pt idx="59">
                  <c:v>0.8654472005669738</c:v>
                </c:pt>
                <c:pt idx="60">
                  <c:v>0.8299039780521262</c:v>
                </c:pt>
                <c:pt idx="61">
                  <c:v>0.0</c:v>
                </c:pt>
                <c:pt idx="62">
                  <c:v>0.0</c:v>
                </c:pt>
                <c:pt idx="63">
                  <c:v>0.6887876819708847</c:v>
                </c:pt>
                <c:pt idx="64">
                  <c:v>0.6249937238493725</c:v>
                </c:pt>
                <c:pt idx="65">
                  <c:v>1.4389762711864407</c:v>
                </c:pt>
                <c:pt idx="66">
                  <c:v>0.0</c:v>
                </c:pt>
                <c:pt idx="67">
                  <c:v>0.0</c:v>
                </c:pt>
                <c:pt idx="68">
                  <c:v>0.0</c:v>
                </c:pt>
                <c:pt idx="69">
                  <c:v>0.5301896256684492</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4981254931714719</c:v>
                </c:pt>
                <c:pt idx="99">
                  <c:v>0.8922233128834355</c:v>
                </c:pt>
                <c:pt idx="100">
                  <c:v>0.41373826781326783</c:v>
                </c:pt>
                <c:pt idx="101">
                  <c:v>0.5089373965387509</c:v>
                </c:pt>
                <c:pt idx="102">
                  <c:v>0.7170193882840851</c:v>
                </c:pt>
                <c:pt idx="103">
                  <c:v>0.0</c:v>
                </c:pt>
                <c:pt idx="104">
                  <c:v>0.5371852647735994</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numCache>
            </c:numRef>
          </c:xVal>
          <c:yVal>
            <c:numRef>
              <c:f>Sheet1!$B$2:$B$138</c:f>
              <c:numCache>
                <c:formatCode>General</c:formatCode>
                <c:ptCount val="137"/>
                <c:pt idx="0">
                  <c:v>0.3535714285714286</c:v>
                </c:pt>
                <c:pt idx="1">
                  <c:v>0.37218045112781956</c:v>
                </c:pt>
                <c:pt idx="2">
                  <c:v>0.41044776119402987</c:v>
                </c:pt>
                <c:pt idx="3">
                  <c:v>0.3793103448275862</c:v>
                </c:pt>
                <c:pt idx="4">
                  <c:v>0.3712871287128713</c:v>
                </c:pt>
                <c:pt idx="5">
                  <c:v>0.35294117647058826</c:v>
                </c:pt>
                <c:pt idx="6">
                  <c:v>0.3287671232876712</c:v>
                </c:pt>
                <c:pt idx="7">
                  <c:v>0.36231884057971014</c:v>
                </c:pt>
                <c:pt idx="8">
                  <c:v>0.4</c:v>
                </c:pt>
                <c:pt idx="9">
                  <c:v>0.3755274261603376</c:v>
                </c:pt>
                <c:pt idx="10">
                  <c:v>0.3433962264150943</c:v>
                </c:pt>
                <c:pt idx="11">
                  <c:v>0.38823529411764707</c:v>
                </c:pt>
                <c:pt idx="12">
                  <c:v>0.38943894389438943</c:v>
                </c:pt>
                <c:pt idx="13">
                  <c:v>0.3745819397993311</c:v>
                </c:pt>
                <c:pt idx="14">
                  <c:v>0.4192546583850932</c:v>
                </c:pt>
                <c:pt idx="15">
                  <c:v>0.43434343434343436</c:v>
                </c:pt>
                <c:pt idx="16">
                  <c:v>0.35909090909090907</c:v>
                </c:pt>
                <c:pt idx="17">
                  <c:v>0.35353535353535354</c:v>
                </c:pt>
                <c:pt idx="18">
                  <c:v>0.27137546468401486</c:v>
                </c:pt>
                <c:pt idx="19">
                  <c:v>0.24870466321243523</c:v>
                </c:pt>
                <c:pt idx="20">
                  <c:v>0.24774774774774774</c:v>
                </c:pt>
                <c:pt idx="21">
                  <c:v>0.3157894736842105</c:v>
                </c:pt>
                <c:pt idx="22">
                  <c:v>0.23076923076923078</c:v>
                </c:pt>
                <c:pt idx="23">
                  <c:v>0.2549019607843137</c:v>
                </c:pt>
                <c:pt idx="24">
                  <c:v>0.23809523809523808</c:v>
                </c:pt>
                <c:pt idx="25">
                  <c:v>0.2781954887218045</c:v>
                </c:pt>
                <c:pt idx="26">
                  <c:v>0.2807017543859649</c:v>
                </c:pt>
                <c:pt idx="27">
                  <c:v>0.21481481481481482</c:v>
                </c:pt>
                <c:pt idx="28">
                  <c:v>0.3113207547169811</c:v>
                </c:pt>
                <c:pt idx="29">
                  <c:v>0.29310344827586204</c:v>
                </c:pt>
                <c:pt idx="30">
                  <c:v>0.2545454545454545</c:v>
                </c:pt>
                <c:pt idx="31">
                  <c:v>0.3368421052631579</c:v>
                </c:pt>
                <c:pt idx="32">
                  <c:v>0.25892857142857145</c:v>
                </c:pt>
                <c:pt idx="33">
                  <c:v>0.31386861313868614</c:v>
                </c:pt>
                <c:pt idx="34">
                  <c:v>0.2805755395683453</c:v>
                </c:pt>
                <c:pt idx="35">
                  <c:v>0.310126582278481</c:v>
                </c:pt>
                <c:pt idx="36">
                  <c:v>0.35036496350364965</c:v>
                </c:pt>
                <c:pt idx="37">
                  <c:v>0.24786324786324787</c:v>
                </c:pt>
                <c:pt idx="38">
                  <c:v>0.373015873015873</c:v>
                </c:pt>
                <c:pt idx="39">
                  <c:v>0.24074074074074073</c:v>
                </c:pt>
                <c:pt idx="40">
                  <c:v>0.28187919463087246</c:v>
                </c:pt>
                <c:pt idx="41">
                  <c:v>0.2867132867132867</c:v>
                </c:pt>
                <c:pt idx="42">
                  <c:v>0.30434782608695654</c:v>
                </c:pt>
                <c:pt idx="43">
                  <c:v>0.3423913043478261</c:v>
                </c:pt>
                <c:pt idx="44">
                  <c:v>0.29130434782608694</c:v>
                </c:pt>
                <c:pt idx="45">
                  <c:v>0.35587188612099646</c:v>
                </c:pt>
                <c:pt idx="46">
                  <c:v>0.3342696629213483</c:v>
                </c:pt>
                <c:pt idx="47">
                  <c:v>0.35311572700296734</c:v>
                </c:pt>
                <c:pt idx="48">
                  <c:v>0.33405172413793105</c:v>
                </c:pt>
                <c:pt idx="49">
                  <c:v>0.36797752808988765</c:v>
                </c:pt>
                <c:pt idx="50">
                  <c:v>0.3641304347826087</c:v>
                </c:pt>
                <c:pt idx="51">
                  <c:v>0.37894736842105264</c:v>
                </c:pt>
                <c:pt idx="52">
                  <c:v>0.3724137931034483</c:v>
                </c:pt>
                <c:pt idx="53">
                  <c:v>0.3067226890756303</c:v>
                </c:pt>
                <c:pt idx="54">
                  <c:v>0.3271889400921659</c:v>
                </c:pt>
                <c:pt idx="55">
                  <c:v>0.3488372093023256</c:v>
                </c:pt>
                <c:pt idx="56">
                  <c:v>0.3238095238095238</c:v>
                </c:pt>
                <c:pt idx="57">
                  <c:v>0.3050847457627119</c:v>
                </c:pt>
                <c:pt idx="58">
                  <c:v>0.332089552238806</c:v>
                </c:pt>
                <c:pt idx="59">
                  <c:v>0.326007326007326</c:v>
                </c:pt>
                <c:pt idx="60">
                  <c:v>0.359375</c:v>
                </c:pt>
                <c:pt idx="61">
                  <c:v>0.34375</c:v>
                </c:pt>
                <c:pt idx="62">
                  <c:v>0.3552123552123552</c:v>
                </c:pt>
                <c:pt idx="63">
                  <c:v>0.3814814814814815</c:v>
                </c:pt>
                <c:pt idx="64">
                  <c:v>0.3204633204633205</c:v>
                </c:pt>
                <c:pt idx="65">
                  <c:v>0.34439834024896265</c:v>
                </c:pt>
                <c:pt idx="66">
                  <c:v>0.3021276595744681</c:v>
                </c:pt>
                <c:pt idx="67">
                  <c:v>0.3317307692307692</c:v>
                </c:pt>
                <c:pt idx="68">
                  <c:v>0.35294117647058826</c:v>
                </c:pt>
                <c:pt idx="69">
                  <c:v>0.33587786259541985</c:v>
                </c:pt>
                <c:pt idx="70">
                  <c:v>0.3508771929824561</c:v>
                </c:pt>
                <c:pt idx="71">
                  <c:v>0.3008849557522124</c:v>
                </c:pt>
                <c:pt idx="72">
                  <c:v>0.2831858407079646</c:v>
                </c:pt>
                <c:pt idx="73">
                  <c:v>0.30526315789473685</c:v>
                </c:pt>
                <c:pt idx="74">
                  <c:v>0.2982456140350877</c:v>
                </c:pt>
                <c:pt idx="75">
                  <c:v>0.2916666666666667</c:v>
                </c:pt>
                <c:pt idx="76">
                  <c:v>0.2823529411764706</c:v>
                </c:pt>
                <c:pt idx="77">
                  <c:v>0.28735632183908044</c:v>
                </c:pt>
                <c:pt idx="78">
                  <c:v>0.32142857142857145</c:v>
                </c:pt>
                <c:pt idx="79">
                  <c:v>0.27927927927927926</c:v>
                </c:pt>
                <c:pt idx="80">
                  <c:v>0.2682926829268293</c:v>
                </c:pt>
                <c:pt idx="81">
                  <c:v>0.27884615384615385</c:v>
                </c:pt>
                <c:pt idx="82">
                  <c:v>0.2597402597402597</c:v>
                </c:pt>
                <c:pt idx="83">
                  <c:v>0.2708333333333333</c:v>
                </c:pt>
                <c:pt idx="84">
                  <c:v>0.21428571428571427</c:v>
                </c:pt>
                <c:pt idx="85">
                  <c:v>0.3026315789473684</c:v>
                </c:pt>
                <c:pt idx="86">
                  <c:v>0.2956521739130435</c:v>
                </c:pt>
                <c:pt idx="87">
                  <c:v>0.2833333333333333</c:v>
                </c:pt>
                <c:pt idx="88">
                  <c:v>0.275</c:v>
                </c:pt>
                <c:pt idx="89">
                  <c:v>0.23529411764705882</c:v>
                </c:pt>
                <c:pt idx="90">
                  <c:v>0.26153846153846155</c:v>
                </c:pt>
                <c:pt idx="91">
                  <c:v>0.2804878048780488</c:v>
                </c:pt>
                <c:pt idx="92">
                  <c:v>0.2840909090909091</c:v>
                </c:pt>
                <c:pt idx="93">
                  <c:v>0.2840909090909091</c:v>
                </c:pt>
                <c:pt idx="94">
                  <c:v>0.373134328358209</c:v>
                </c:pt>
                <c:pt idx="95">
                  <c:v>0.30952380952380953</c:v>
                </c:pt>
                <c:pt idx="96">
                  <c:v>0.4</c:v>
                </c:pt>
                <c:pt idx="97">
                  <c:v>0.3567567567567568</c:v>
                </c:pt>
                <c:pt idx="98">
                  <c:v>0.30493273542600896</c:v>
                </c:pt>
                <c:pt idx="99">
                  <c:v>0.2785234899328859</c:v>
                </c:pt>
                <c:pt idx="100">
                  <c:v>0.3049645390070922</c:v>
                </c:pt>
                <c:pt idx="101">
                  <c:v>0.3191489361702128</c:v>
                </c:pt>
                <c:pt idx="102">
                  <c:v>0.3026315789473684</c:v>
                </c:pt>
                <c:pt idx="103">
                  <c:v>0.2946859903381642</c:v>
                </c:pt>
                <c:pt idx="104">
                  <c:v>0.2641509433962264</c:v>
                </c:pt>
                <c:pt idx="105">
                  <c:v>0.31901840490797545</c:v>
                </c:pt>
                <c:pt idx="106">
                  <c:v>0.2756756756756757</c:v>
                </c:pt>
                <c:pt idx="107">
                  <c:v>0.3370165745856354</c:v>
                </c:pt>
                <c:pt idx="108">
                  <c:v>0.43870967741935485</c:v>
                </c:pt>
                <c:pt idx="109">
                  <c:v>0.38823529411764707</c:v>
                </c:pt>
                <c:pt idx="110">
                  <c:v>0.3157894736842105</c:v>
                </c:pt>
                <c:pt idx="111">
                  <c:v>0.37</c:v>
                </c:pt>
                <c:pt idx="112">
                  <c:v>0.3137254901960784</c:v>
                </c:pt>
                <c:pt idx="113">
                  <c:v>0.2911392405063291</c:v>
                </c:pt>
                <c:pt idx="114">
                  <c:v>0.29213483146067415</c:v>
                </c:pt>
                <c:pt idx="115">
                  <c:v>0.2926829268292683</c:v>
                </c:pt>
                <c:pt idx="116">
                  <c:v>0.3163265306122449</c:v>
                </c:pt>
                <c:pt idx="117">
                  <c:v>0.4</c:v>
                </c:pt>
                <c:pt idx="118">
                  <c:v>0.3194444444444444</c:v>
                </c:pt>
                <c:pt idx="119">
                  <c:v>0.2828282828282828</c:v>
                </c:pt>
                <c:pt idx="120">
                  <c:v>0.26136363636363635</c:v>
                </c:pt>
                <c:pt idx="121">
                  <c:v>0.23170731707317074</c:v>
                </c:pt>
                <c:pt idx="122">
                  <c:v>0.3333333333333333</c:v>
                </c:pt>
                <c:pt idx="123">
                  <c:v>0.2641509433962264</c:v>
                </c:pt>
                <c:pt idx="124">
                  <c:v>0.24285714285714285</c:v>
                </c:pt>
                <c:pt idx="125">
                  <c:v>0.2830188679245283</c:v>
                </c:pt>
                <c:pt idx="126">
                  <c:v>0.34375</c:v>
                </c:pt>
                <c:pt idx="127">
                  <c:v>0.2840909090909091</c:v>
                </c:pt>
                <c:pt idx="128">
                  <c:v>0.32558139534883723</c:v>
                </c:pt>
                <c:pt idx="129">
                  <c:v>0.3064516129032258</c:v>
                </c:pt>
                <c:pt idx="130">
                  <c:v>0.2236842105263158</c:v>
                </c:pt>
                <c:pt idx="131">
                  <c:v>0.29473684210526313</c:v>
                </c:pt>
                <c:pt idx="132">
                  <c:v>0.2823529411764706</c:v>
                </c:pt>
                <c:pt idx="133">
                  <c:v>0.24731182795698925</c:v>
                </c:pt>
                <c:pt idx="134">
                  <c:v>0.2558139534883721</c:v>
                </c:pt>
                <c:pt idx="135">
                  <c:v>0.2761904761904762</c:v>
                </c:pt>
                <c:pt idx="136">
                  <c:v>0.29961089494163423</c:v>
                </c:pt>
              </c:numCache>
            </c:numRef>
          </c:yVal>
          <c:smooth val="0"/>
          <c:extLst>
            <c:ext xmlns:c16="http://schemas.microsoft.com/office/drawing/2014/chart" uri="{C3380CC4-5D6E-409C-BE32-E72D297353CC}">
              <c16:uniqueId val="{00000000-096C-4121-9522-6AB7243CCAAE}"/>
            </c:ext>
          </c:extLst>
        </c:ser>
        <c:ser>
          <c:idx val="1"/>
          <c:order val="1"/>
          <c:tx>
            <c:strRef>
              <c:f>Sheet1!$B$14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1:$A$160</c:f>
              <c:numCache>
                <c:formatCode>General</c:formatCode>
                <c:ptCount val="20"/>
                <c:pt idx="0">
                  <c:v>0.5296669984686064</c:v>
                </c:pt>
                <c:pt idx="1">
                  <c:v>0.7724738942826321</c:v>
                </c:pt>
                <c:pt idx="2">
                  <c:v>1.0925695585996957</c:v>
                </c:pt>
                <c:pt idx="3">
                  <c:v>0.503762167982771</c:v>
                </c:pt>
                <c:pt idx="4">
                  <c:v>0.4236083078802688</c:v>
                </c:pt>
                <c:pt idx="5">
                  <c:v>0.598974728940784</c:v>
                </c:pt>
                <c:pt idx="6">
                  <c:v>0.6497441689623508</c:v>
                </c:pt>
                <c:pt idx="7">
                  <c:v>0.5004601990049752</c:v>
                </c:pt>
                <c:pt idx="8">
                  <c:v>0.516372912504994</c:v>
                </c:pt>
                <c:pt idx="9">
                  <c:v>0.7618520675596971</c:v>
                </c:pt>
                <c:pt idx="10">
                  <c:v>1.2050507092198581</c:v>
                </c:pt>
                <c:pt idx="11">
                  <c:v>0.34304960513326754</c:v>
                </c:pt>
                <c:pt idx="12">
                  <c:v>0.563877751004016</c:v>
                </c:pt>
                <c:pt idx="13">
                  <c:v>0.5799299275945293</c:v>
                </c:pt>
                <c:pt idx="14">
                  <c:v>0.54044794315632</c:v>
                </c:pt>
                <c:pt idx="15">
                  <c:v>0.6827024436990896</c:v>
                </c:pt>
                <c:pt idx="16">
                  <c:v>0.6065425692695214</c:v>
                </c:pt>
                <c:pt idx="17">
                  <c:v>0.5824419008264462</c:v>
                </c:pt>
                <c:pt idx="18">
                  <c:v>0.8663927597337803</c:v>
                </c:pt>
                <c:pt idx="19">
                  <c:v>0.5353715484363082</c:v>
                </c:pt>
              </c:numCache>
            </c:numRef>
          </c:xVal>
          <c:yVal>
            <c:numRef>
              <c:f>Sheet1!$B$141:$B$160</c:f>
              <c:numCache>
                <c:formatCode>General</c:formatCode>
                <c:ptCount val="20"/>
                <c:pt idx="0">
                  <c:v>0.30177514792899407</c:v>
                </c:pt>
                <c:pt idx="1">
                  <c:v>0.2696629213483146</c:v>
                </c:pt>
                <c:pt idx="2">
                  <c:v>0.2864583333333333</c:v>
                </c:pt>
                <c:pt idx="3">
                  <c:v>0.32727272727272727</c:v>
                </c:pt>
                <c:pt idx="4">
                  <c:v>0.3051948051948052</c:v>
                </c:pt>
                <c:pt idx="5">
                  <c:v>0.31297709923664124</c:v>
                </c:pt>
                <c:pt idx="6">
                  <c:v>0.3006134969325153</c:v>
                </c:pt>
                <c:pt idx="7">
                  <c:v>0.3485714285714286</c:v>
                </c:pt>
                <c:pt idx="8">
                  <c:v>0.4462809917355372</c:v>
                </c:pt>
                <c:pt idx="9">
                  <c:v>0.42105263157894735</c:v>
                </c:pt>
                <c:pt idx="10">
                  <c:v>0.4111111111111111</c:v>
                </c:pt>
                <c:pt idx="11">
                  <c:v>0.4090909090909091</c:v>
                </c:pt>
                <c:pt idx="12">
                  <c:v>0.3302752293577982</c:v>
                </c:pt>
                <c:pt idx="13">
                  <c:v>0.3148148148148148</c:v>
                </c:pt>
                <c:pt idx="14">
                  <c:v>0.2773722627737226</c:v>
                </c:pt>
                <c:pt idx="15">
                  <c:v>0.30726256983240224</c:v>
                </c:pt>
                <c:pt idx="16">
                  <c:v>0.27419354838709675</c:v>
                </c:pt>
                <c:pt idx="17">
                  <c:v>0.3063583815028902</c:v>
                </c:pt>
                <c:pt idx="18">
                  <c:v>0.27900552486187846</c:v>
                </c:pt>
                <c:pt idx="19">
                  <c:v>0.351020408163265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1443618821734045</c:v>
                </c:pt>
              </c:numCache>
            </c:numRef>
          </c:xVal>
          <c:yVal>
            <c:numRef>
              <c:f>Sheet1!$B$163:$B$164</c:f>
              <c:numCache>
                <c:formatCode>General</c:formatCode>
                <c:ptCount val="2"/>
                <c:pt idx="0">
                  <c:v>0.3700915838635228</c:v>
                </c:pt>
                <c:pt idx="1">
                  <c:v>0.37009158386352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1443618821734045</c:v>
                </c:pt>
                <c:pt idx="1">
                  <c:v>-4.1443618821734045</c:v>
                </c:pt>
              </c:numCache>
            </c:numRef>
          </c:xVal>
          <c:yVal>
            <c:numRef>
              <c:f>Sheet1!$B$167:$B$168</c:f>
              <c:numCache>
                <c:formatCode>General</c:formatCode>
                <c:ptCount val="2"/>
                <c:pt idx="0">
                  <c:v>0.37009158386352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9059206812263545</c:v>
                </c:pt>
              </c:numCache>
            </c:numRef>
          </c:xVal>
          <c:yVal>
            <c:numRef>
              <c:f>Sheet1!$B$171:$B$172</c:f>
              <c:numCache>
                <c:formatCode>General</c:formatCode>
                <c:ptCount val="2"/>
                <c:pt idx="0">
                  <c:v>0.36804576725398974</c:v>
                </c:pt>
                <c:pt idx="1">
                  <c:v>0.3680457672539897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9059206812263545</c:v>
                </c:pt>
                <c:pt idx="1">
                  <c:v>-3.9059206812263545</c:v>
                </c:pt>
              </c:numCache>
            </c:numRef>
          </c:xVal>
          <c:yVal>
            <c:numRef>
              <c:f>Sheet1!$B$175:$B$176</c:f>
              <c:numCache>
                <c:formatCode>General</c:formatCode>
                <c:ptCount val="2"/>
                <c:pt idx="0">
                  <c:v>0.368045767253989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5.225825387059511</c:v>
                </c:pt>
              </c:numCache>
            </c:numRef>
          </c:xVal>
          <c:yVal>
            <c:numRef>
              <c:f>Sheet1!$B$179:$B$180</c:f>
              <c:numCache>
                <c:formatCode>General</c:formatCode>
                <c:ptCount val="2"/>
                <c:pt idx="0">
                  <c:v>0.28969572663040577</c:v>
                </c:pt>
                <c:pt idx="1">
                  <c:v>0.2896957266304057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5.225825387059511</c:v>
                </c:pt>
                <c:pt idx="1">
                  <c:v>5.225825387059511</c:v>
                </c:pt>
              </c:numCache>
            </c:numRef>
          </c:xVal>
          <c:yVal>
            <c:numRef>
              <c:f>Sheet1!$B$183:$B$184</c:f>
              <c:numCache>
                <c:formatCode>General</c:formatCode>
                <c:ptCount val="2"/>
                <c:pt idx="0">
                  <c:v>0.2896957266304057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09</c:f>
              <c:numCache>
                <c:formatCode>General</c:formatCode>
                <c:ptCount val="23"/>
                <c:pt idx="0">
                  <c:v>0.5296669984686064</c:v>
                </c:pt>
                <c:pt idx="1">
                  <c:v>0.7724738942826321</c:v>
                </c:pt>
                <c:pt idx="2">
                  <c:v>1.0925695585996957</c:v>
                </c:pt>
                <c:pt idx="3">
                  <c:v>0.503762167982771</c:v>
                </c:pt>
                <c:pt idx="4">
                  <c:v>0.4236083078802688</c:v>
                </c:pt>
                <c:pt idx="5">
                  <c:v>0.598974728940784</c:v>
                </c:pt>
                <c:pt idx="6">
                  <c:v>0.6497441689623508</c:v>
                </c:pt>
                <c:pt idx="7">
                  <c:v>0.5004601990049752</c:v>
                </c:pt>
                <c:pt idx="8">
                  <c:v>0.516372912504994</c:v>
                </c:pt>
                <c:pt idx="9">
                  <c:v>0.7618520675596971</c:v>
                </c:pt>
                <c:pt idx="10">
                  <c:v>1.2050507092198581</c:v>
                </c:pt>
                <c:pt idx="11">
                  <c:v>0.34304960513326754</c:v>
                </c:pt>
                <c:pt idx="12">
                  <c:v>0.563877751004016</c:v>
                </c:pt>
                <c:pt idx="13">
                  <c:v>0.5799299275945293</c:v>
                </c:pt>
                <c:pt idx="14">
                  <c:v>0.54044794315632</c:v>
                </c:pt>
                <c:pt idx="15">
                  <c:v>0.6827024436990896</c:v>
                </c:pt>
                <c:pt idx="16">
                  <c:v>0.6065425692695214</c:v>
                </c:pt>
                <c:pt idx="17">
                  <c:v>0.5824419008264462</c:v>
                </c:pt>
                <c:pt idx="18">
                  <c:v>0.8663927597337803</c:v>
                </c:pt>
                <c:pt idx="19">
                  <c:v>0.5353715484363082</c:v>
                </c:pt>
                <c:pt idx="20">
                  <c:v>-3.9059206812263545</c:v>
                </c:pt>
                <c:pt idx="21">
                  <c:v>-4.1443618821734045</c:v>
                </c:pt>
                <c:pt idx="22">
                  <c:v>5.225825387059511</c:v>
                </c:pt>
              </c:numCache>
            </c:numRef>
          </c:xVal>
          <c:yVal>
            <c:numRef>
              <c:f>Sheet1!$B$187:$B$209</c:f>
              <c:numCache>
                <c:formatCode>General</c:formatCode>
                <c:ptCount val="23"/>
                <c:pt idx="0">
                  <c:v>0.3299885904233156</c:v>
                </c:pt>
                <c:pt idx="1">
                  <c:v>0.32790531631467773</c:v>
                </c:pt>
                <c:pt idx="2">
                  <c:v>0.32515890745539344</c:v>
                </c:pt>
                <c:pt idx="3">
                  <c:v>0.3302108529025539</c:v>
                </c:pt>
                <c:pt idx="4">
                  <c:v>0.33089857003224704</c:v>
                </c:pt>
                <c:pt idx="5">
                  <c:v>0.3293939326812565</c:v>
                </c:pt>
                <c:pt idx="6">
                  <c:v>0.32895833277972825</c:v>
                </c:pt>
                <c:pt idx="7">
                  <c:v>0.33023918367320976</c:v>
                </c:pt>
                <c:pt idx="8">
                  <c:v>0.33010265318497295</c:v>
                </c:pt>
                <c:pt idx="9">
                  <c:v>0.3279964511917336</c:v>
                </c:pt>
                <c:pt idx="10">
                  <c:v>0.32419382337896646</c:v>
                </c:pt>
                <c:pt idx="11">
                  <c:v>0.33158976069672813</c:v>
                </c:pt>
                <c:pt idx="12">
                  <c:v>0.3296950634427284</c:v>
                </c:pt>
                <c:pt idx="13">
                  <c:v>0.3295573363663775</c:v>
                </c:pt>
                <c:pt idx="14">
                  <c:v>0.3298960903200575</c:v>
                </c:pt>
                <c:pt idx="15">
                  <c:v>0.3286755520119324</c:v>
                </c:pt>
                <c:pt idx="16">
                  <c:v>0.3293290008935397</c:v>
                </c:pt>
                <c:pt idx="17">
                  <c:v>0.329535783729752</c:v>
                </c:pt>
                <c:pt idx="18">
                  <c:v>0.32709949595257043</c:v>
                </c:pt>
                <c:pt idx="19">
                  <c:v>0.32993964559739003</c:v>
                </c:pt>
                <c:pt idx="20">
                  <c:v>0.36804576725398974</c:v>
                </c:pt>
                <c:pt idx="21">
                  <c:v>0.3700915838635228</c:v>
                </c:pt>
                <c:pt idx="22">
                  <c:v>0.289695726630405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55371900826447"/>
          <c:min val="0.171428571428571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5.4646</c:v>
                </c:pt>
                <c:pt idx="1">
                  <c:v>679.0707</c:v>
                </c:pt>
                <c:pt idx="2">
                  <c:v>681.5636</c:v>
                </c:pt>
                <c:pt idx="3">
                  <c:v>689.9432</c:v>
                </c:pt>
                <c:pt idx="4">
                  <c:v>694.8</c:v>
                </c:pt>
                <c:pt idx="5">
                  <c:v>674.5972</c:v>
                </c:pt>
                <c:pt idx="6">
                  <c:v>659.2222</c:v>
                </c:pt>
                <c:pt idx="7">
                  <c:v>668.2267</c:v>
                </c:pt>
                <c:pt idx="8">
                  <c:v>676.3056</c:v>
                </c:pt>
                <c:pt idx="9">
                  <c:v>637.1461</c:v>
                </c:pt>
                <c:pt idx="10">
                  <c:v>608.5165</c:v>
                </c:pt>
                <c:pt idx="11">
                  <c:v>637.697</c:v>
                </c:pt>
                <c:pt idx="12">
                  <c:v>610.8475</c:v>
                </c:pt>
                <c:pt idx="13">
                  <c:v>598.8393</c:v>
                </c:pt>
                <c:pt idx="14">
                  <c:v>505.5185</c:v>
                </c:pt>
                <c:pt idx="15">
                  <c:v>492.9922</c:v>
                </c:pt>
                <c:pt idx="16">
                  <c:v>519.3418</c:v>
                </c:pt>
                <c:pt idx="17">
                  <c:v>537.8714</c:v>
                </c:pt>
                <c:pt idx="18">
                  <c:v>471.4384</c:v>
                </c:pt>
                <c:pt idx="19">
                  <c:v>504.125</c:v>
                </c:pt>
                <c:pt idx="20">
                  <c:v>644.3818</c:v>
                </c:pt>
                <c:pt idx="21">
                  <c:v>581.2381</c:v>
                </c:pt>
                <c:pt idx="22">
                  <c:v>660.5556</c:v>
                </c:pt>
                <c:pt idx="23">
                  <c:v>636.2308</c:v>
                </c:pt>
                <c:pt idx="24">
                  <c:v>655.3333</c:v>
                </c:pt>
                <c:pt idx="25">
                  <c:v>635.5135</c:v>
                </c:pt>
                <c:pt idx="26">
                  <c:v>649.25</c:v>
                </c:pt>
                <c:pt idx="27">
                  <c:v>635.6207</c:v>
                </c:pt>
                <c:pt idx="28">
                  <c:v>667.4545</c:v>
                </c:pt>
                <c:pt idx="29">
                  <c:v>648.1471</c:v>
                </c:pt>
                <c:pt idx="30">
                  <c:v>595.3571</c:v>
                </c:pt>
                <c:pt idx="31">
                  <c:v>524.0938</c:v>
                </c:pt>
                <c:pt idx="32">
                  <c:v>632.1379</c:v>
                </c:pt>
                <c:pt idx="33">
                  <c:v>573.1628</c:v>
                </c:pt>
                <c:pt idx="34">
                  <c:v>639.1538</c:v>
                </c:pt>
                <c:pt idx="35">
                  <c:v>654.8776</c:v>
                </c:pt>
                <c:pt idx="36">
                  <c:v>629.1458</c:v>
                </c:pt>
                <c:pt idx="37">
                  <c:v>615.8966</c:v>
                </c:pt>
                <c:pt idx="38">
                  <c:v>582.5745</c:v>
                </c:pt>
                <c:pt idx="39">
                  <c:v>627.1538</c:v>
                </c:pt>
                <c:pt idx="40">
                  <c:v>611.1667</c:v>
                </c:pt>
                <c:pt idx="41">
                  <c:v>596.0976</c:v>
                </c:pt>
                <c:pt idx="42">
                  <c:v>584.2041</c:v>
                </c:pt>
                <c:pt idx="43">
                  <c:v>601.3651</c:v>
                </c:pt>
                <c:pt idx="44">
                  <c:v>650.2239</c:v>
                </c:pt>
                <c:pt idx="45">
                  <c:v>629.3</c:v>
                </c:pt>
                <c:pt idx="46">
                  <c:v>634.0168</c:v>
                </c:pt>
                <c:pt idx="47">
                  <c:v>615.3529</c:v>
                </c:pt>
                <c:pt idx="48">
                  <c:v>629.5097</c:v>
                </c:pt>
                <c:pt idx="49">
                  <c:v>595.9313</c:v>
                </c:pt>
                <c:pt idx="50">
                  <c:v>607.306</c:v>
                </c:pt>
                <c:pt idx="51">
                  <c:v>636.5556</c:v>
                </c:pt>
                <c:pt idx="52">
                  <c:v>605.2778</c:v>
                </c:pt>
                <c:pt idx="53">
                  <c:v>647.9589</c:v>
                </c:pt>
                <c:pt idx="54">
                  <c:v>650.5211</c:v>
                </c:pt>
                <c:pt idx="55">
                  <c:v>652.7733</c:v>
                </c:pt>
                <c:pt idx="56">
                  <c:v>662.7353</c:v>
                </c:pt>
                <c:pt idx="57">
                  <c:v>634.0139</c:v>
                </c:pt>
                <c:pt idx="58">
                  <c:v>608.9551</c:v>
                </c:pt>
                <c:pt idx="59">
                  <c:v>610.573</c:v>
                </c:pt>
                <c:pt idx="60">
                  <c:v>605.0</c:v>
                </c:pt>
                <c:pt idx="61">
                  <c:v>617.5303</c:v>
                </c:pt>
                <c:pt idx="62">
                  <c:v>575.2717</c:v>
                </c:pt>
                <c:pt idx="63">
                  <c:v>615.0874</c:v>
                </c:pt>
                <c:pt idx="64">
                  <c:v>597.494</c:v>
                </c:pt>
                <c:pt idx="65">
                  <c:v>636.747</c:v>
                </c:pt>
                <c:pt idx="66">
                  <c:v>619.1268</c:v>
                </c:pt>
                <c:pt idx="67">
                  <c:v>589.2319</c:v>
                </c:pt>
                <c:pt idx="68">
                  <c:v>550.0833</c:v>
                </c:pt>
                <c:pt idx="69">
                  <c:v>495.7273</c:v>
                </c:pt>
                <c:pt idx="70">
                  <c:v>529.475</c:v>
                </c:pt>
                <c:pt idx="71">
                  <c:v>524.9706</c:v>
                </c:pt>
                <c:pt idx="72">
                  <c:v>716.0</c:v>
                </c:pt>
                <c:pt idx="73">
                  <c:v>726.9655</c:v>
                </c:pt>
                <c:pt idx="74">
                  <c:v>695.8235</c:v>
                </c:pt>
                <c:pt idx="75">
                  <c:v>671.7857</c:v>
                </c:pt>
                <c:pt idx="76">
                  <c:v>666.7917</c:v>
                </c:pt>
                <c:pt idx="77">
                  <c:v>648.32</c:v>
                </c:pt>
                <c:pt idx="78">
                  <c:v>665.1111</c:v>
                </c:pt>
                <c:pt idx="79">
                  <c:v>711.1613</c:v>
                </c:pt>
                <c:pt idx="80">
                  <c:v>705.4091</c:v>
                </c:pt>
                <c:pt idx="81">
                  <c:v>712.8621</c:v>
                </c:pt>
                <c:pt idx="82">
                  <c:v>726.2</c:v>
                </c:pt>
                <c:pt idx="83">
                  <c:v>739.0</c:v>
                </c:pt>
                <c:pt idx="84">
                  <c:v>766.6667</c:v>
                </c:pt>
                <c:pt idx="85">
                  <c:v>704.2174</c:v>
                </c:pt>
                <c:pt idx="86">
                  <c:v>658.2059</c:v>
                </c:pt>
                <c:pt idx="87">
                  <c:v>660.7353</c:v>
                </c:pt>
                <c:pt idx="88">
                  <c:v>737.3182</c:v>
                </c:pt>
                <c:pt idx="89">
                  <c:v>723.1875</c:v>
                </c:pt>
                <c:pt idx="90">
                  <c:v>704.2941</c:v>
                </c:pt>
                <c:pt idx="91">
                  <c:v>728.0</c:v>
                </c:pt>
                <c:pt idx="92">
                  <c:v>658.6</c:v>
                </c:pt>
                <c:pt idx="93">
                  <c:v>698.04</c:v>
                </c:pt>
                <c:pt idx="94">
                  <c:v>691.96</c:v>
                </c:pt>
                <c:pt idx="95">
                  <c:v>597.8205</c:v>
                </c:pt>
                <c:pt idx="96">
                  <c:v>516.65</c:v>
                </c:pt>
                <c:pt idx="97">
                  <c:v>673.4394</c:v>
                </c:pt>
                <c:pt idx="98">
                  <c:v>656.5294</c:v>
                </c:pt>
                <c:pt idx="99">
                  <c:v>654.4458</c:v>
                </c:pt>
                <c:pt idx="100">
                  <c:v>673.5659</c:v>
                </c:pt>
                <c:pt idx="101">
                  <c:v>676.3778</c:v>
                </c:pt>
                <c:pt idx="102">
                  <c:v>691.5652</c:v>
                </c:pt>
                <c:pt idx="103">
                  <c:v>674.8525</c:v>
                </c:pt>
                <c:pt idx="104">
                  <c:v>699.9524</c:v>
                </c:pt>
              </c:numCache>
            </c:numRef>
          </c:xVal>
          <c:yVal>
            <c:numRef>
              <c:f>Sheet1!$B$2:$B$106</c:f>
              <c:numCache>
                <c:formatCode>General</c:formatCode>
                <c:ptCount val="105"/>
                <c:pt idx="0">
                  <c:v>0.3535714285714286</c:v>
                </c:pt>
                <c:pt idx="1">
                  <c:v>0.37218045112781956</c:v>
                </c:pt>
                <c:pt idx="2">
                  <c:v>0.41044776119402987</c:v>
                </c:pt>
                <c:pt idx="3">
                  <c:v>0.3793103448275862</c:v>
                </c:pt>
                <c:pt idx="4">
                  <c:v>0.3712871287128713</c:v>
                </c:pt>
                <c:pt idx="5">
                  <c:v>0.35294117647058826</c:v>
                </c:pt>
                <c:pt idx="6">
                  <c:v>0.3287671232876712</c:v>
                </c:pt>
                <c:pt idx="7">
                  <c:v>0.36231884057971014</c:v>
                </c:pt>
                <c:pt idx="8">
                  <c:v>0.4</c:v>
                </c:pt>
                <c:pt idx="9">
                  <c:v>0.3755274261603376</c:v>
                </c:pt>
                <c:pt idx="10">
                  <c:v>0.3433962264150943</c:v>
                </c:pt>
                <c:pt idx="11">
                  <c:v>0.38823529411764707</c:v>
                </c:pt>
                <c:pt idx="12">
                  <c:v>0.38943894389438943</c:v>
                </c:pt>
                <c:pt idx="13">
                  <c:v>0.3745819397993311</c:v>
                </c:pt>
                <c:pt idx="14">
                  <c:v>0.4192546583850932</c:v>
                </c:pt>
                <c:pt idx="15">
                  <c:v>0.43434343434343436</c:v>
                </c:pt>
                <c:pt idx="16">
                  <c:v>0.35909090909090907</c:v>
                </c:pt>
                <c:pt idx="17">
                  <c:v>0.35353535353535354</c:v>
                </c:pt>
                <c:pt idx="18">
                  <c:v>0.27137546468401486</c:v>
                </c:pt>
                <c:pt idx="19">
                  <c:v>0.24870466321243523</c:v>
                </c:pt>
                <c:pt idx="20">
                  <c:v>0.24774774774774774</c:v>
                </c:pt>
                <c:pt idx="21">
                  <c:v>0.3157894736842105</c:v>
                </c:pt>
                <c:pt idx="22">
                  <c:v>0.23076923076923078</c:v>
                </c:pt>
                <c:pt idx="23">
                  <c:v>0.2549019607843137</c:v>
                </c:pt>
                <c:pt idx="24">
                  <c:v>0.23809523809523808</c:v>
                </c:pt>
                <c:pt idx="25">
                  <c:v>0.2781954887218045</c:v>
                </c:pt>
                <c:pt idx="26">
                  <c:v>0.2807017543859649</c:v>
                </c:pt>
                <c:pt idx="27">
                  <c:v>0.21481481481481482</c:v>
                </c:pt>
                <c:pt idx="28">
                  <c:v>0.3113207547169811</c:v>
                </c:pt>
                <c:pt idx="29">
                  <c:v>0.29310344827586204</c:v>
                </c:pt>
                <c:pt idx="30">
                  <c:v>0.2545454545454545</c:v>
                </c:pt>
                <c:pt idx="31">
                  <c:v>0.3368421052631579</c:v>
                </c:pt>
                <c:pt idx="32">
                  <c:v>0.25892857142857145</c:v>
                </c:pt>
                <c:pt idx="33">
                  <c:v>0.31386861313868614</c:v>
                </c:pt>
                <c:pt idx="34">
                  <c:v>0.2805755395683453</c:v>
                </c:pt>
                <c:pt idx="35">
                  <c:v>0.310126582278481</c:v>
                </c:pt>
                <c:pt idx="36">
                  <c:v>0.35036496350364965</c:v>
                </c:pt>
                <c:pt idx="37">
                  <c:v>0.24786324786324787</c:v>
                </c:pt>
                <c:pt idx="38">
                  <c:v>0.373015873015873</c:v>
                </c:pt>
                <c:pt idx="39">
                  <c:v>0.24074074074074073</c:v>
                </c:pt>
                <c:pt idx="40">
                  <c:v>0.28187919463087246</c:v>
                </c:pt>
                <c:pt idx="41">
                  <c:v>0.2867132867132867</c:v>
                </c:pt>
                <c:pt idx="42">
                  <c:v>0.30434782608695654</c:v>
                </c:pt>
                <c:pt idx="43">
                  <c:v>0.3423913043478261</c:v>
                </c:pt>
                <c:pt idx="44">
                  <c:v>0.29130434782608694</c:v>
                </c:pt>
                <c:pt idx="45">
                  <c:v>0.35587188612099646</c:v>
                </c:pt>
                <c:pt idx="46">
                  <c:v>0.3342696629213483</c:v>
                </c:pt>
                <c:pt idx="47">
                  <c:v>0.35311572700296734</c:v>
                </c:pt>
                <c:pt idx="48">
                  <c:v>0.33405172413793105</c:v>
                </c:pt>
                <c:pt idx="49">
                  <c:v>0.36797752808988765</c:v>
                </c:pt>
                <c:pt idx="50">
                  <c:v>0.3641304347826087</c:v>
                </c:pt>
                <c:pt idx="51">
                  <c:v>0.37894736842105264</c:v>
                </c:pt>
                <c:pt idx="52">
                  <c:v>0.3724137931034483</c:v>
                </c:pt>
                <c:pt idx="53">
                  <c:v>0.3067226890756303</c:v>
                </c:pt>
                <c:pt idx="54">
                  <c:v>0.3271889400921659</c:v>
                </c:pt>
                <c:pt idx="55">
                  <c:v>0.3488372093023256</c:v>
                </c:pt>
                <c:pt idx="56">
                  <c:v>0.3238095238095238</c:v>
                </c:pt>
                <c:pt idx="57">
                  <c:v>0.3050847457627119</c:v>
                </c:pt>
                <c:pt idx="58">
                  <c:v>0.332089552238806</c:v>
                </c:pt>
                <c:pt idx="59">
                  <c:v>0.326007326007326</c:v>
                </c:pt>
                <c:pt idx="60">
                  <c:v>0.359375</c:v>
                </c:pt>
                <c:pt idx="61">
                  <c:v>0.34375</c:v>
                </c:pt>
                <c:pt idx="62">
                  <c:v>0.3552123552123552</c:v>
                </c:pt>
                <c:pt idx="63">
                  <c:v>0.3814814814814815</c:v>
                </c:pt>
                <c:pt idx="64">
                  <c:v>0.3204633204633205</c:v>
                </c:pt>
                <c:pt idx="65">
                  <c:v>0.34439834024896265</c:v>
                </c:pt>
                <c:pt idx="66">
                  <c:v>0.3021276595744681</c:v>
                </c:pt>
                <c:pt idx="67">
                  <c:v>0.3317307692307692</c:v>
                </c:pt>
                <c:pt idx="68">
                  <c:v>0.35294117647058826</c:v>
                </c:pt>
                <c:pt idx="69">
                  <c:v>0.33587786259541985</c:v>
                </c:pt>
                <c:pt idx="70">
                  <c:v>0.3508771929824561</c:v>
                </c:pt>
                <c:pt idx="71">
                  <c:v>0.3008849557522124</c:v>
                </c:pt>
                <c:pt idx="72">
                  <c:v>0.2831858407079646</c:v>
                </c:pt>
                <c:pt idx="73">
                  <c:v>0.30526315789473685</c:v>
                </c:pt>
                <c:pt idx="74">
                  <c:v>0.2982456140350877</c:v>
                </c:pt>
                <c:pt idx="75">
                  <c:v>0.2916666666666667</c:v>
                </c:pt>
                <c:pt idx="76">
                  <c:v>0.2823529411764706</c:v>
                </c:pt>
                <c:pt idx="77">
                  <c:v>0.28735632183908044</c:v>
                </c:pt>
                <c:pt idx="78">
                  <c:v>0.32142857142857145</c:v>
                </c:pt>
                <c:pt idx="79">
                  <c:v>0.27927927927927926</c:v>
                </c:pt>
                <c:pt idx="80">
                  <c:v>0.2682926829268293</c:v>
                </c:pt>
                <c:pt idx="81">
                  <c:v>0.27884615384615385</c:v>
                </c:pt>
                <c:pt idx="82">
                  <c:v>0.2597402597402597</c:v>
                </c:pt>
                <c:pt idx="83">
                  <c:v>0.2708333333333333</c:v>
                </c:pt>
                <c:pt idx="84">
                  <c:v>0.21428571428571427</c:v>
                </c:pt>
                <c:pt idx="85">
                  <c:v>0.3026315789473684</c:v>
                </c:pt>
                <c:pt idx="86">
                  <c:v>0.2956521739130435</c:v>
                </c:pt>
                <c:pt idx="87">
                  <c:v>0.2833333333333333</c:v>
                </c:pt>
                <c:pt idx="88">
                  <c:v>0.275</c:v>
                </c:pt>
                <c:pt idx="89">
                  <c:v>0.23529411764705882</c:v>
                </c:pt>
                <c:pt idx="90">
                  <c:v>0.26153846153846155</c:v>
                </c:pt>
                <c:pt idx="91">
                  <c:v>0.2804878048780488</c:v>
                </c:pt>
                <c:pt idx="92">
                  <c:v>0.2840909090909091</c:v>
                </c:pt>
                <c:pt idx="93">
                  <c:v>0.2840909090909091</c:v>
                </c:pt>
                <c:pt idx="94">
                  <c:v>0.373134328358209</c:v>
                </c:pt>
                <c:pt idx="95">
                  <c:v>0.30952380952380953</c:v>
                </c:pt>
                <c:pt idx="96">
                  <c:v>0.4</c:v>
                </c:pt>
                <c:pt idx="97">
                  <c:v>0.3567567567567568</c:v>
                </c:pt>
                <c:pt idx="98">
                  <c:v>0.30493273542600896</c:v>
                </c:pt>
                <c:pt idx="99">
                  <c:v>0.2785234899328859</c:v>
                </c:pt>
                <c:pt idx="100">
                  <c:v>0.3049645390070922</c:v>
                </c:pt>
                <c:pt idx="101">
                  <c:v>0.3191489361702128</c:v>
                </c:pt>
                <c:pt idx="102">
                  <c:v>0.3026315789473684</c:v>
                </c:pt>
                <c:pt idx="103">
                  <c:v>0.2946859903381642</c:v>
                </c:pt>
                <c:pt idx="104">
                  <c:v>0.26415094339622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numCache>
            </c:numRef>
          </c:xVal>
          <c:yVal>
            <c:numRef>
              <c:f>Sheet1!$B$109:$B$160</c:f>
              <c:numCache>
                <c:formatCode>General</c:formatCode>
                <c:ptCount val="52"/>
                <c:pt idx="0">
                  <c:v>0.30177514792899407</c:v>
                </c:pt>
                <c:pt idx="1">
                  <c:v>0.31901840490797545</c:v>
                </c:pt>
                <c:pt idx="2">
                  <c:v>0.2696629213483146</c:v>
                </c:pt>
                <c:pt idx="3">
                  <c:v>0.2864583333333333</c:v>
                </c:pt>
                <c:pt idx="4">
                  <c:v>0.2756756756756757</c:v>
                </c:pt>
                <c:pt idx="5">
                  <c:v>0.32727272727272727</c:v>
                </c:pt>
                <c:pt idx="6">
                  <c:v>0.3370165745856354</c:v>
                </c:pt>
                <c:pt idx="7">
                  <c:v>0.3051948051948052</c:v>
                </c:pt>
                <c:pt idx="8">
                  <c:v>0.31297709923664124</c:v>
                </c:pt>
                <c:pt idx="9">
                  <c:v>0.3006134969325153</c:v>
                </c:pt>
                <c:pt idx="10">
                  <c:v>0.3485714285714286</c:v>
                </c:pt>
                <c:pt idx="11">
                  <c:v>0.4462809917355372</c:v>
                </c:pt>
                <c:pt idx="12">
                  <c:v>0.42105263157894735</c:v>
                </c:pt>
                <c:pt idx="13">
                  <c:v>0.4111111111111111</c:v>
                </c:pt>
                <c:pt idx="14">
                  <c:v>0.43870967741935485</c:v>
                </c:pt>
                <c:pt idx="15">
                  <c:v>0.4090909090909091</c:v>
                </c:pt>
                <c:pt idx="16">
                  <c:v>0.38823529411764707</c:v>
                </c:pt>
                <c:pt idx="17">
                  <c:v>0.3157894736842105</c:v>
                </c:pt>
                <c:pt idx="18">
                  <c:v>0.37</c:v>
                </c:pt>
                <c:pt idx="19">
                  <c:v>0.3302752293577982</c:v>
                </c:pt>
                <c:pt idx="20">
                  <c:v>0.3137254901960784</c:v>
                </c:pt>
                <c:pt idx="21">
                  <c:v>0.2911392405063291</c:v>
                </c:pt>
                <c:pt idx="22">
                  <c:v>0.29213483146067415</c:v>
                </c:pt>
                <c:pt idx="23">
                  <c:v>0.2926829268292683</c:v>
                </c:pt>
                <c:pt idx="24">
                  <c:v>0.3163265306122449</c:v>
                </c:pt>
                <c:pt idx="25">
                  <c:v>0.4</c:v>
                </c:pt>
                <c:pt idx="26">
                  <c:v>0.3194444444444444</c:v>
                </c:pt>
                <c:pt idx="27">
                  <c:v>0.2828282828282828</c:v>
                </c:pt>
                <c:pt idx="28">
                  <c:v>0.26136363636363635</c:v>
                </c:pt>
                <c:pt idx="29">
                  <c:v>0.23170731707317074</c:v>
                </c:pt>
                <c:pt idx="30">
                  <c:v>0.3333333333333333</c:v>
                </c:pt>
                <c:pt idx="31">
                  <c:v>0.2641509433962264</c:v>
                </c:pt>
                <c:pt idx="32">
                  <c:v>0.24285714285714285</c:v>
                </c:pt>
                <c:pt idx="33">
                  <c:v>0.2830188679245283</c:v>
                </c:pt>
                <c:pt idx="34">
                  <c:v>0.34375</c:v>
                </c:pt>
                <c:pt idx="35">
                  <c:v>0.2840909090909091</c:v>
                </c:pt>
                <c:pt idx="36">
                  <c:v>0.32558139534883723</c:v>
                </c:pt>
                <c:pt idx="37">
                  <c:v>0.3064516129032258</c:v>
                </c:pt>
                <c:pt idx="38">
                  <c:v>0.2236842105263158</c:v>
                </c:pt>
                <c:pt idx="39">
                  <c:v>0.29473684210526313</c:v>
                </c:pt>
                <c:pt idx="40">
                  <c:v>0.2823529411764706</c:v>
                </c:pt>
                <c:pt idx="41">
                  <c:v>0.24731182795698925</c:v>
                </c:pt>
                <c:pt idx="42">
                  <c:v>0.2558139534883721</c:v>
                </c:pt>
                <c:pt idx="43">
                  <c:v>0.3148148148148148</c:v>
                </c:pt>
                <c:pt idx="44">
                  <c:v>0.2773722627737226</c:v>
                </c:pt>
                <c:pt idx="45">
                  <c:v>0.30726256983240224</c:v>
                </c:pt>
                <c:pt idx="46">
                  <c:v>0.27419354838709675</c:v>
                </c:pt>
                <c:pt idx="47">
                  <c:v>0.3063583815028902</c:v>
                </c:pt>
                <c:pt idx="48">
                  <c:v>0.2761904761904762</c:v>
                </c:pt>
                <c:pt idx="49">
                  <c:v>0.29961089494163423</c:v>
                </c:pt>
                <c:pt idx="50">
                  <c:v>0.27900552486187846</c:v>
                </c:pt>
                <c:pt idx="51">
                  <c:v>0.351020408163265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1.8354872312722</c:v>
                </c:pt>
              </c:numCache>
            </c:numRef>
          </c:xVal>
          <c:yVal>
            <c:numRef>
              <c:f>Sheet1!$B$163:$B$164</c:f>
              <c:numCache>
                <c:formatCode>General</c:formatCode>
                <c:ptCount val="2"/>
                <c:pt idx="0">
                  <c:v>0.3700915838635228</c:v>
                </c:pt>
                <c:pt idx="1">
                  <c:v>0.37009158386352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1.8354872312722</c:v>
                </c:pt>
                <c:pt idx="1">
                  <c:v>631.8354872312722</c:v>
                </c:pt>
              </c:numCache>
            </c:numRef>
          </c:xVal>
          <c:yVal>
            <c:numRef>
              <c:f>Sheet1!$B$167:$B$168</c:f>
              <c:numCache>
                <c:formatCode>General</c:formatCode>
                <c:ptCount val="2"/>
                <c:pt idx="0">
                  <c:v>0.37009158386352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34.6409125254518</c:v>
                </c:pt>
              </c:numCache>
            </c:numRef>
          </c:xVal>
          <c:yVal>
            <c:numRef>
              <c:f>Sheet1!$B$171:$B$172</c:f>
              <c:numCache>
                <c:formatCode>General</c:formatCode>
                <c:ptCount val="2"/>
                <c:pt idx="0">
                  <c:v>0.36804576725398974</c:v>
                </c:pt>
                <c:pt idx="1">
                  <c:v>0.3680457672539897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34.6409125254518</c:v>
                </c:pt>
                <c:pt idx="1">
                  <c:v>634.6409125254518</c:v>
                </c:pt>
              </c:numCache>
            </c:numRef>
          </c:xVal>
          <c:yVal>
            <c:numRef>
              <c:f>Sheet1!$B$175:$B$176</c:f>
              <c:numCache>
                <c:formatCode>General</c:formatCode>
                <c:ptCount val="2"/>
                <c:pt idx="0">
                  <c:v>0.368045767253989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42.0822074788508</c:v>
                </c:pt>
              </c:numCache>
            </c:numRef>
          </c:xVal>
          <c:yVal>
            <c:numRef>
              <c:f>Sheet1!$B$179:$B$180</c:f>
              <c:numCache>
                <c:formatCode>General</c:formatCode>
                <c:ptCount val="2"/>
                <c:pt idx="0">
                  <c:v>0.28969572663040577</c:v>
                </c:pt>
                <c:pt idx="1">
                  <c:v>0.2896957266304057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42.0822074788508</c:v>
                </c:pt>
                <c:pt idx="1">
                  <c:v>742.0822074788508</c:v>
                </c:pt>
              </c:numCache>
            </c:numRef>
          </c:xVal>
          <c:yVal>
            <c:numRef>
              <c:f>Sheet1!$B$183:$B$184</c:f>
              <c:numCache>
                <c:formatCode>General</c:formatCode>
                <c:ptCount val="2"/>
                <c:pt idx="0">
                  <c:v>0.2896957266304057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1.7451</c:v>
                </c:pt>
                <c:pt idx="1">
                  <c:v>683.3654</c:v>
                </c:pt>
                <c:pt idx="2">
                  <c:v>716.0833</c:v>
                </c:pt>
                <c:pt idx="3">
                  <c:v>717.8182</c:v>
                </c:pt>
                <c:pt idx="4">
                  <c:v>729.4902</c:v>
                </c:pt>
                <c:pt idx="5">
                  <c:v>701.7407</c:v>
                </c:pt>
                <c:pt idx="6">
                  <c:v>673.7705</c:v>
                </c:pt>
                <c:pt idx="7">
                  <c:v>693.4468</c:v>
                </c:pt>
                <c:pt idx="8">
                  <c:v>718.1707</c:v>
                </c:pt>
                <c:pt idx="9">
                  <c:v>707.5714</c:v>
                </c:pt>
                <c:pt idx="10">
                  <c:v>704.1475</c:v>
                </c:pt>
                <c:pt idx="11">
                  <c:v>646.2407</c:v>
                </c:pt>
                <c:pt idx="12">
                  <c:v>654.05</c:v>
                </c:pt>
                <c:pt idx="13">
                  <c:v>679.6486</c:v>
                </c:pt>
                <c:pt idx="14">
                  <c:v>664.8382</c:v>
                </c:pt>
                <c:pt idx="15">
                  <c:v>695.0185</c:v>
                </c:pt>
                <c:pt idx="16">
                  <c:v>731.1212</c:v>
                </c:pt>
                <c:pt idx="17">
                  <c:v>705.1</c:v>
                </c:pt>
                <c:pt idx="18">
                  <c:v>606.8108</c:v>
                </c:pt>
                <c:pt idx="19">
                  <c:v>702.0278</c:v>
                </c:pt>
                <c:pt idx="20">
                  <c:v>716.4063</c:v>
                </c:pt>
                <c:pt idx="21">
                  <c:v>662.5217</c:v>
                </c:pt>
                <c:pt idx="22">
                  <c:v>715.9615</c:v>
                </c:pt>
                <c:pt idx="23">
                  <c:v>699.875</c:v>
                </c:pt>
                <c:pt idx="24">
                  <c:v>679.8065</c:v>
                </c:pt>
                <c:pt idx="25">
                  <c:v>540.6111</c:v>
                </c:pt>
                <c:pt idx="26">
                  <c:v>716.3043</c:v>
                </c:pt>
                <c:pt idx="27">
                  <c:v>688.6429</c:v>
                </c:pt>
                <c:pt idx="28">
                  <c:v>759.0435</c:v>
                </c:pt>
                <c:pt idx="29">
                  <c:v>774.3684</c:v>
                </c:pt>
                <c:pt idx="30">
                  <c:v>755.8095</c:v>
                </c:pt>
                <c:pt idx="31">
                  <c:v>769.7143</c:v>
                </c:pt>
                <c:pt idx="32">
                  <c:v>756.0588</c:v>
                </c:pt>
                <c:pt idx="33">
                  <c:v>772.0</c:v>
                </c:pt>
                <c:pt idx="34">
                  <c:v>756.6818</c:v>
                </c:pt>
                <c:pt idx="35">
                  <c:v>763.52</c:v>
                </c:pt>
                <c:pt idx="36">
                  <c:v>749.6429</c:v>
                </c:pt>
                <c:pt idx="37">
                  <c:v>682.6842</c:v>
                </c:pt>
                <c:pt idx="38">
                  <c:v>728.8235</c:v>
                </c:pt>
                <c:pt idx="39">
                  <c:v>677.7857</c:v>
                </c:pt>
                <c:pt idx="40">
                  <c:v>745.0833</c:v>
                </c:pt>
                <c:pt idx="41">
                  <c:v>748.6087</c:v>
                </c:pt>
                <c:pt idx="42">
                  <c:v>785.7727</c:v>
                </c:pt>
                <c:pt idx="43">
                  <c:v>720.8529</c:v>
                </c:pt>
                <c:pt idx="44">
                  <c:v>722.5789</c:v>
                </c:pt>
                <c:pt idx="45">
                  <c:v>712.4</c:v>
                </c:pt>
                <c:pt idx="46">
                  <c:v>722.3922</c:v>
                </c:pt>
                <c:pt idx="47">
                  <c:v>704.7547</c:v>
                </c:pt>
                <c:pt idx="48">
                  <c:v>688.3448</c:v>
                </c:pt>
                <c:pt idx="49">
                  <c:v>728.961</c:v>
                </c:pt>
                <c:pt idx="50">
                  <c:v>738.4554</c:v>
                </c:pt>
                <c:pt idx="51">
                  <c:v>701.8721</c:v>
                </c:pt>
                <c:pt idx="52">
                  <c:v>634.6409125254518</c:v>
                </c:pt>
                <c:pt idx="53">
                  <c:v>631.8354872312722</c:v>
                </c:pt>
                <c:pt idx="54">
                  <c:v>742.0822074788508</c:v>
                </c:pt>
              </c:numCache>
            </c:numRef>
          </c:xVal>
          <c:yVal>
            <c:numRef>
              <c:f>Sheet1!$B$187:$B$241</c:f>
              <c:numCache>
                <c:formatCode>General</c:formatCode>
                <c:ptCount val="55"/>
                <c:pt idx="0">
                  <c:v>0.32640334838377616</c:v>
                </c:pt>
                <c:pt idx="1">
                  <c:v>0.33251412576874917</c:v>
                </c:pt>
                <c:pt idx="2">
                  <c:v>0.3086550611955772</c:v>
                </c:pt>
                <c:pt idx="3">
                  <c:v>0.30738990997474713</c:v>
                </c:pt>
                <c:pt idx="4">
                  <c:v>0.29887826950582763</c:v>
                </c:pt>
                <c:pt idx="5">
                  <c:v>0.31911419884032755</c:v>
                </c:pt>
                <c:pt idx="6">
                  <c:v>0.3395110705198832</c:v>
                </c:pt>
                <c:pt idx="7">
                  <c:v>0.32516240779210714</c:v>
                </c:pt>
                <c:pt idx="8">
                  <c:v>0.30713285434886517</c:v>
                </c:pt>
                <c:pt idx="9">
                  <c:v>0.3148622435557037</c:v>
                </c:pt>
                <c:pt idx="10">
                  <c:v>0.31735907407331276</c:v>
                </c:pt>
                <c:pt idx="11">
                  <c:v>0.3595867867451455</c:v>
                </c:pt>
                <c:pt idx="12">
                  <c:v>0.35389196547081947</c:v>
                </c:pt>
                <c:pt idx="13">
                  <c:v>0.3352245494574812</c:v>
                </c:pt>
                <c:pt idx="14">
                  <c:v>0.3460248236179409</c:v>
                </c:pt>
                <c:pt idx="15">
                  <c:v>0.32401626785679183</c:v>
                </c:pt>
                <c:pt idx="16">
                  <c:v>0.29768888588649867</c:v>
                </c:pt>
                <c:pt idx="17">
                  <c:v>0.31666447695656796</c:v>
                </c:pt>
                <c:pt idx="18">
                  <c:v>0.388340482129437</c:v>
                </c:pt>
                <c:pt idx="19">
                  <c:v>0.3189048352369497</c:v>
                </c:pt>
                <c:pt idx="20">
                  <c:v>0.3084195180263294</c:v>
                </c:pt>
                <c:pt idx="21">
                  <c:v>0.34771409839058076</c:v>
                </c:pt>
                <c:pt idx="22">
                  <c:v>0.30874388211822246</c:v>
                </c:pt>
                <c:pt idx="23">
                  <c:v>0.32047473410616567</c:v>
                </c:pt>
                <c:pt idx="24">
                  <c:v>0.33510940312180243</c:v>
                </c:pt>
                <c:pt idx="25">
                  <c:v>0.43661567451723116</c:v>
                </c:pt>
                <c:pt idx="26">
                  <c:v>0.30849390007977606</c:v>
                </c:pt>
                <c:pt idx="27">
                  <c:v>0.3286655837387009</c:v>
                </c:pt>
                <c:pt idx="28">
                  <c:v>0.2773269446026302</c:v>
                </c:pt>
                <c:pt idx="29">
                  <c:v>0.26615147861375554</c:v>
                </c:pt>
                <c:pt idx="30">
                  <c:v>0.2796852932383813</c:v>
                </c:pt>
                <c:pt idx="31">
                  <c:v>0.26954541503479723</c:v>
                </c:pt>
                <c:pt idx="32">
                  <c:v>0.27950349474892766</c:v>
                </c:pt>
                <c:pt idx="33">
                  <c:v>0.2678786007253551</c:v>
                </c:pt>
                <c:pt idx="34">
                  <c:v>0.27904918083424846</c:v>
                </c:pt>
                <c:pt idx="35">
                  <c:v>0.27406252046288393</c:v>
                </c:pt>
                <c:pt idx="36">
                  <c:v>0.2841821988343064</c:v>
                </c:pt>
                <c:pt idx="37">
                  <c:v>0.3330108812080422</c:v>
                </c:pt>
                <c:pt idx="38">
                  <c:v>0.29936445102575815</c:v>
                </c:pt>
                <c:pt idx="39">
                  <c:v>0.33658304286302865</c:v>
                </c:pt>
                <c:pt idx="40">
                  <c:v>0.2875072224705373</c:v>
                </c:pt>
                <c:pt idx="41">
                  <c:v>0.2849363745173905</c:v>
                </c:pt>
                <c:pt idx="42">
                  <c:v>0.25783505457334266</c:v>
                </c:pt>
                <c:pt idx="43">
                  <c:v>0.30517689803754444</c:v>
                </c:pt>
                <c:pt idx="44">
                  <c:v>0.3039182370154956</c:v>
                </c:pt>
                <c:pt idx="45">
                  <c:v>0.3113410554844027</c:v>
                </c:pt>
                <c:pt idx="46">
                  <c:v>0.30405438534273566</c:v>
                </c:pt>
                <c:pt idx="47">
                  <c:v>0.3169162820845596</c:v>
                </c:pt>
                <c:pt idx="48">
                  <c:v>0.32888296893607805</c:v>
                </c:pt>
                <c:pt idx="49">
                  <c:v>0.2992641811007687</c:v>
                </c:pt>
                <c:pt idx="50">
                  <c:v>0.2923405245493542</c:v>
                </c:pt>
                <c:pt idx="51">
                  <c:v>0.31901837725382853</c:v>
                </c:pt>
                <c:pt idx="52">
                  <c:v>0.3680457672539898</c:v>
                </c:pt>
                <c:pt idx="53">
                  <c:v>0.3700915838635228</c:v>
                </c:pt>
                <c:pt idx="54">
                  <c:v>0.289695726630405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43.0"/>
          <c:min val="37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55371900826447"/>
          <c:min val="0.171428571428571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9</c:f>
              <c:numCache>
                <c:formatCode>General</c:formatCode>
                <c:ptCount val="108"/>
                <c:pt idx="0">
                  <c:v>1.5660863874542768</c:v>
                </c:pt>
                <c:pt idx="1">
                  <c:v>1.6154098270409798</c:v>
                </c:pt>
                <c:pt idx="2">
                  <c:v>1.6588702638920783</c:v>
                </c:pt>
                <c:pt idx="3">
                  <c:v>1.6708963628318028</c:v>
                </c:pt>
                <c:pt idx="4">
                  <c:v>1.6691626872597416</c:v>
                </c:pt>
                <c:pt idx="5">
                  <c:v>1.607923785488959</c:v>
                </c:pt>
                <c:pt idx="6">
                  <c:v>1.519306056173439</c:v>
                </c:pt>
                <c:pt idx="7">
                  <c:v>1.5766704364619695</c:v>
                </c:pt>
                <c:pt idx="8">
                  <c:v>1.633860441251924</c:v>
                </c:pt>
                <c:pt idx="9">
                  <c:v>1.5828460431466371</c:v>
                </c:pt>
                <c:pt idx="10">
                  <c:v>1.669313585314791</c:v>
                </c:pt>
                <c:pt idx="11">
                  <c:v>1.6625059801253057</c:v>
                </c:pt>
                <c:pt idx="12">
                  <c:v>1.6156052638324472</c:v>
                </c:pt>
                <c:pt idx="13">
                  <c:v>1.506865277765988</c:v>
                </c:pt>
                <c:pt idx="14">
                  <c:v>2.7046712293975324</c:v>
                </c:pt>
                <c:pt idx="15">
                  <c:v>3.631621798080724</c:v>
                </c:pt>
                <c:pt idx="16">
                  <c:v>3.5905892700087954</c:v>
                </c:pt>
                <c:pt idx="17">
                  <c:v>3.318105978602895</c:v>
                </c:pt>
                <c:pt idx="18">
                  <c:v>6.82172140913772</c:v>
                </c:pt>
                <c:pt idx="19">
                  <c:v>7.484767261882291</c:v>
                </c:pt>
                <c:pt idx="20">
                  <c:v>7.2718899524133835</c:v>
                </c:pt>
                <c:pt idx="21">
                  <c:v>5.578205</c:v>
                </c:pt>
                <c:pt idx="22">
                  <c:v>7.299169587742874</c:v>
                </c:pt>
                <c:pt idx="23">
                  <c:v>10.035224148200738</c:v>
                </c:pt>
                <c:pt idx="24">
                  <c:v>10.660076520937062</c:v>
                </c:pt>
                <c:pt idx="25">
                  <c:v>7.077818</c:v>
                </c:pt>
                <c:pt idx="26">
                  <c:v>2.278971884984026</c:v>
                </c:pt>
                <c:pt idx="27">
                  <c:v>4.18090843373494</c:v>
                </c:pt>
                <c:pt idx="28">
                  <c:v>2.108593313069909</c:v>
                </c:pt>
                <c:pt idx="29">
                  <c:v>2.113995857988166</c:v>
                </c:pt>
                <c:pt idx="30">
                  <c:v>3.3099549019607846</c:v>
                </c:pt>
                <c:pt idx="31">
                  <c:v>1.6462964444444443</c:v>
                </c:pt>
                <c:pt idx="32">
                  <c:v>0.9577081364829396</c:v>
                </c:pt>
                <c:pt idx="33">
                  <c:v>1.100804452624394</c:v>
                </c:pt>
                <c:pt idx="34">
                  <c:v>1.412765838011227</c:v>
                </c:pt>
                <c:pt idx="35">
                  <c:v>1.5356099137931034</c:v>
                </c:pt>
                <c:pt idx="36">
                  <c:v>1.2359468531468532</c:v>
                </c:pt>
                <c:pt idx="37">
                  <c:v>1.4388241062308478</c:v>
                </c:pt>
                <c:pt idx="38">
                  <c:v>1.2536627724498692</c:v>
                </c:pt>
                <c:pt idx="39">
                  <c:v>1.3010154623730672</c:v>
                </c:pt>
                <c:pt idx="40">
                  <c:v>1.119923492063492</c:v>
                </c:pt>
                <c:pt idx="41">
                  <c:v>0.8857692307692308</c:v>
                </c:pt>
                <c:pt idx="42">
                  <c:v>1.0268089788732395</c:v>
                </c:pt>
                <c:pt idx="43">
                  <c:v>1.1940879100183672</c:v>
                </c:pt>
                <c:pt idx="44">
                  <c:v>1.1125077419354839</c:v>
                </c:pt>
                <c:pt idx="45">
                  <c:v>1.0193683198243972</c:v>
                </c:pt>
                <c:pt idx="46">
                  <c:v>1.1197598496551018</c:v>
                </c:pt>
                <c:pt idx="47">
                  <c:v>1.043323976261181</c:v>
                </c:pt>
                <c:pt idx="48">
                  <c:v>1.1674287216566075</c:v>
                </c:pt>
                <c:pt idx="49">
                  <c:v>1.0973992138983855</c:v>
                </c:pt>
                <c:pt idx="50">
                  <c:v>1.1325251764705881</c:v>
                </c:pt>
                <c:pt idx="51">
                  <c:v>1.2339432076347951</c:v>
                </c:pt>
                <c:pt idx="52">
                  <c:v>1.1627444769850321</c:v>
                </c:pt>
                <c:pt idx="53">
                  <c:v>1.1614154566931099</c:v>
                </c:pt>
                <c:pt idx="54">
                  <c:v>1.235875</c:v>
                </c:pt>
                <c:pt idx="55">
                  <c:v>1.1274793600000002</c:v>
                </c:pt>
                <c:pt idx="56">
                  <c:v>1.3381816888888889</c:v>
                </c:pt>
                <c:pt idx="57">
                  <c:v>1.1147880000000001</c:v>
                </c:pt>
                <c:pt idx="58">
                  <c:v>1.0726737890188462</c:v>
                </c:pt>
                <c:pt idx="59">
                  <c:v>1.1396187221453977</c:v>
                </c:pt>
                <c:pt idx="60">
                  <c:v>1.1876698210735586</c:v>
                </c:pt>
                <c:pt idx="61">
                  <c:v>1.173420549019608</c:v>
                </c:pt>
                <c:pt idx="62">
                  <c:v>1.1891436666666668</c:v>
                </c:pt>
                <c:pt idx="63">
                  <c:v>1.3383006666666668</c:v>
                </c:pt>
                <c:pt idx="64">
                  <c:v>1.2723139393939396</c:v>
                </c:pt>
                <c:pt idx="65">
                  <c:v>1.1985239852398524</c:v>
                </c:pt>
                <c:pt idx="66">
                  <c:v>1.166521001627685</c:v>
                </c:pt>
                <c:pt idx="67">
                  <c:v>1.3795373913043478</c:v>
                </c:pt>
                <c:pt idx="68">
                  <c:v>1.2877047843137255</c:v>
                </c:pt>
                <c:pt idx="69">
                  <c:v>1.3671516666666668</c:v>
                </c:pt>
                <c:pt idx="70">
                  <c:v>1.9365361803084222</c:v>
                </c:pt>
                <c:pt idx="71">
                  <c:v>1.833591726990693</c:v>
                </c:pt>
                <c:pt idx="72">
                  <c:v>1.3280571428571428</c:v>
                </c:pt>
                <c:pt idx="73">
                  <c:v>1.589051305130513</c:v>
                </c:pt>
                <c:pt idx="74">
                  <c:v>2.4215007832898174</c:v>
                </c:pt>
                <c:pt idx="75">
                  <c:v>1.6980011527377523</c:v>
                </c:pt>
                <c:pt idx="76">
                  <c:v>1.9617434458099934</c:v>
                </c:pt>
                <c:pt idx="77">
                  <c:v>2.7325798122065725</c:v>
                </c:pt>
                <c:pt idx="78">
                  <c:v>3.4674066019417475</c:v>
                </c:pt>
                <c:pt idx="79">
                  <c:v>3.723186225639816</c:v>
                </c:pt>
                <c:pt idx="80">
                  <c:v>1.778385314085132</c:v>
                </c:pt>
                <c:pt idx="81">
                  <c:v>1.539936</c:v>
                </c:pt>
                <c:pt idx="82">
                  <c:v>1.4307108148148147</c:v>
                </c:pt>
                <c:pt idx="83">
                  <c:v>1.0382011111111111</c:v>
                </c:pt>
                <c:pt idx="84">
                  <c:v>1.4664366666666666</c:v>
                </c:pt>
                <c:pt idx="85">
                  <c:v>1.5058096666666667</c:v>
                </c:pt>
                <c:pt idx="86">
                  <c:v>1.4785533333333332</c:v>
                </c:pt>
                <c:pt idx="87">
                  <c:v>1.4519873333333333</c:v>
                </c:pt>
                <c:pt idx="88">
                  <c:v>1.5285086666666665</c:v>
                </c:pt>
                <c:pt idx="89">
                  <c:v>1.2477242666666666</c:v>
                </c:pt>
                <c:pt idx="90">
                  <c:v>2.792519975786925</c:v>
                </c:pt>
                <c:pt idx="91">
                  <c:v>2.3385796045785643</c:v>
                </c:pt>
                <c:pt idx="92">
                  <c:v>1.540648</c:v>
                </c:pt>
                <c:pt idx="93">
                  <c:v>1.4682410914927768</c:v>
                </c:pt>
                <c:pt idx="94">
                  <c:v>1.4930863333333333</c:v>
                </c:pt>
                <c:pt idx="95">
                  <c:v>1.4977777777777779</c:v>
                </c:pt>
                <c:pt idx="96">
                  <c:v>1.260238</c:v>
                </c:pt>
                <c:pt idx="97">
                  <c:v>1.3519776268477826</c:v>
                </c:pt>
                <c:pt idx="98">
                  <c:v>1.3557574399999999</c:v>
                </c:pt>
                <c:pt idx="99">
                  <c:v>1.3944842832851936</c:v>
                </c:pt>
                <c:pt idx="100">
                  <c:v>1.41347</c:v>
                </c:pt>
                <c:pt idx="101">
                  <c:v>1.4704413333333335</c:v>
                </c:pt>
                <c:pt idx="102">
                  <c:v>1.2076345904761905</c:v>
                </c:pt>
                <c:pt idx="103">
                  <c:v>1.2776576666666666</c:v>
                </c:pt>
                <c:pt idx="104">
                  <c:v>0.0</c:v>
                </c:pt>
                <c:pt idx="105">
                  <c:v>0.0</c:v>
                </c:pt>
                <c:pt idx="106">
                  <c:v>0.0</c:v>
                </c:pt>
                <c:pt idx="107">
                  <c:v>0.0</c:v>
                </c:pt>
              </c:numCache>
            </c:numRef>
          </c:xVal>
          <c:yVal>
            <c:numRef>
              <c:f>Sheet1!$B$2:$B$109</c:f>
              <c:numCache>
                <c:formatCode>General</c:formatCode>
                <c:ptCount val="108"/>
                <c:pt idx="0">
                  <c:v>0.3107142857142857</c:v>
                </c:pt>
                <c:pt idx="1">
                  <c:v>0.32706766917293234</c:v>
                </c:pt>
                <c:pt idx="2">
                  <c:v>0.30597014925373134</c:v>
                </c:pt>
                <c:pt idx="3">
                  <c:v>0.34913793103448276</c:v>
                </c:pt>
                <c:pt idx="4">
                  <c:v>0.35148514851485146</c:v>
                </c:pt>
                <c:pt idx="5">
                  <c:v>0.45588235294117646</c:v>
                </c:pt>
                <c:pt idx="6">
                  <c:v>0.4977168949771689</c:v>
                </c:pt>
                <c:pt idx="7">
                  <c:v>0.40096618357487923</c:v>
                </c:pt>
                <c:pt idx="8">
                  <c:v>0.36666666666666664</c:v>
                </c:pt>
                <c:pt idx="9">
                  <c:v>0.35864978902953587</c:v>
                </c:pt>
                <c:pt idx="10">
                  <c:v>0.4226415094339623</c:v>
                </c:pt>
                <c:pt idx="11">
                  <c:v>0.34509803921568627</c:v>
                </c:pt>
                <c:pt idx="12">
                  <c:v>0.32673267326732675</c:v>
                </c:pt>
                <c:pt idx="13">
                  <c:v>0.3377926421404682</c:v>
                </c:pt>
                <c:pt idx="14">
                  <c:v>0.2919254658385093</c:v>
                </c:pt>
                <c:pt idx="15">
                  <c:v>0.28619528619528617</c:v>
                </c:pt>
                <c:pt idx="16">
                  <c:v>0.3409090909090909</c:v>
                </c:pt>
                <c:pt idx="17">
                  <c:v>0.25757575757575757</c:v>
                </c:pt>
                <c:pt idx="18">
                  <c:v>0.19330855018587362</c:v>
                </c:pt>
                <c:pt idx="19">
                  <c:v>0.21243523316062177</c:v>
                </c:pt>
                <c:pt idx="20">
                  <c:v>0.24324324324324326</c:v>
                </c:pt>
                <c:pt idx="21">
                  <c:v>0.2932330827067669</c:v>
                </c:pt>
                <c:pt idx="22">
                  <c:v>0.2948717948717949</c:v>
                </c:pt>
                <c:pt idx="23">
                  <c:v>0.3464052287581699</c:v>
                </c:pt>
                <c:pt idx="24">
                  <c:v>0.37566137566137564</c:v>
                </c:pt>
                <c:pt idx="25">
                  <c:v>0.41353383458646614</c:v>
                </c:pt>
                <c:pt idx="26">
                  <c:v>0.38596491228070173</c:v>
                </c:pt>
                <c:pt idx="27">
                  <c:v>0.48148148148148145</c:v>
                </c:pt>
                <c:pt idx="28">
                  <c:v>0.41509433962264153</c:v>
                </c:pt>
                <c:pt idx="29">
                  <c:v>0.4224137931034483</c:v>
                </c:pt>
                <c:pt idx="30">
                  <c:v>0.4727272727272727</c:v>
                </c:pt>
                <c:pt idx="31">
                  <c:v>0.37894736842105264</c:v>
                </c:pt>
                <c:pt idx="32">
                  <c:v>0.4732142857142857</c:v>
                </c:pt>
                <c:pt idx="33">
                  <c:v>0.40875912408759124</c:v>
                </c:pt>
                <c:pt idx="34">
                  <c:v>0.460431654676259</c:v>
                </c:pt>
                <c:pt idx="35">
                  <c:v>0.41139240506329117</c:v>
                </c:pt>
                <c:pt idx="36">
                  <c:v>0.3795620437956204</c:v>
                </c:pt>
                <c:pt idx="37">
                  <c:v>0.39316239316239315</c:v>
                </c:pt>
                <c:pt idx="38">
                  <c:v>0.3253968253968254</c:v>
                </c:pt>
                <c:pt idx="39">
                  <c:v>0.4444444444444444</c:v>
                </c:pt>
                <c:pt idx="40">
                  <c:v>0.38926174496644295</c:v>
                </c:pt>
                <c:pt idx="41">
                  <c:v>0.4195804195804196</c:v>
                </c:pt>
                <c:pt idx="42">
                  <c:v>0.391304347826087</c:v>
                </c:pt>
                <c:pt idx="43">
                  <c:v>0.375</c:v>
                </c:pt>
                <c:pt idx="44">
                  <c:v>0.4608695652173913</c:v>
                </c:pt>
                <c:pt idx="45">
                  <c:v>0.44483985765124556</c:v>
                </c:pt>
                <c:pt idx="46">
                  <c:v>0.4101123595505618</c:v>
                </c:pt>
                <c:pt idx="47">
                  <c:v>0.39762611275964393</c:v>
                </c:pt>
                <c:pt idx="48">
                  <c:v>0.41594827586206895</c:v>
                </c:pt>
                <c:pt idx="49">
                  <c:v>0.38764044943820225</c:v>
                </c:pt>
                <c:pt idx="50">
                  <c:v>0.35597826086956524</c:v>
                </c:pt>
                <c:pt idx="51">
                  <c:v>0.3649122807017544</c:v>
                </c:pt>
                <c:pt idx="52">
                  <c:v>0.30689655172413793</c:v>
                </c:pt>
                <c:pt idx="53">
                  <c:v>0.36554621848739494</c:v>
                </c:pt>
                <c:pt idx="54">
                  <c:v>0.3686635944700461</c:v>
                </c:pt>
                <c:pt idx="55">
                  <c:v>0.386046511627907</c:v>
                </c:pt>
                <c:pt idx="56">
                  <c:v>0.36666666666666664</c:v>
                </c:pt>
                <c:pt idx="57">
                  <c:v>0.4152542372881356</c:v>
                </c:pt>
                <c:pt idx="58">
                  <c:v>0.44776119402985076</c:v>
                </c:pt>
                <c:pt idx="59">
                  <c:v>0.4249084249084249</c:v>
                </c:pt>
                <c:pt idx="60">
                  <c:v>0.38671875</c:v>
                </c:pt>
                <c:pt idx="61">
                  <c:v>0.375</c:v>
                </c:pt>
                <c:pt idx="62">
                  <c:v>0.42084942084942084</c:v>
                </c:pt>
                <c:pt idx="63">
                  <c:v>0.37777777777777777</c:v>
                </c:pt>
                <c:pt idx="64">
                  <c:v>0.4247104247104247</c:v>
                </c:pt>
                <c:pt idx="65">
                  <c:v>0.36929460580912865</c:v>
                </c:pt>
                <c:pt idx="66">
                  <c:v>0.4553191489361702</c:v>
                </c:pt>
                <c:pt idx="67">
                  <c:v>0.4519230769230769</c:v>
                </c:pt>
                <c:pt idx="68">
                  <c:v>0.4</c:v>
                </c:pt>
                <c:pt idx="69">
                  <c:v>0.4198473282442748</c:v>
                </c:pt>
                <c:pt idx="70">
                  <c:v>0.42105263157894735</c:v>
                </c:pt>
                <c:pt idx="71">
                  <c:v>0.4247787610619469</c:v>
                </c:pt>
                <c:pt idx="72">
                  <c:v>0.4424778761061947</c:v>
                </c:pt>
                <c:pt idx="73">
                  <c:v>0.4105263157894737</c:v>
                </c:pt>
                <c:pt idx="74">
                  <c:v>0.40350877192982454</c:v>
                </c:pt>
                <c:pt idx="75">
                  <c:v>0.4375</c:v>
                </c:pt>
                <c:pt idx="76">
                  <c:v>0.4823529411764706</c:v>
                </c:pt>
                <c:pt idx="77">
                  <c:v>0.4367816091954023</c:v>
                </c:pt>
                <c:pt idx="78">
                  <c:v>0.4166666666666667</c:v>
                </c:pt>
                <c:pt idx="79">
                  <c:v>0.4144144144144144</c:v>
                </c:pt>
                <c:pt idx="80">
                  <c:v>0.4268292682926829</c:v>
                </c:pt>
                <c:pt idx="81">
                  <c:v>0.5</c:v>
                </c:pt>
                <c:pt idx="82">
                  <c:v>0.4805194805194805</c:v>
                </c:pt>
                <c:pt idx="83">
                  <c:v>0.4375</c:v>
                </c:pt>
                <c:pt idx="84">
                  <c:v>0.5178571428571429</c:v>
                </c:pt>
                <c:pt idx="85">
                  <c:v>0.4605263157894737</c:v>
                </c:pt>
                <c:pt idx="86">
                  <c:v>0.4608695652173913</c:v>
                </c:pt>
                <c:pt idx="87">
                  <c:v>0.43333333333333335</c:v>
                </c:pt>
                <c:pt idx="88">
                  <c:v>0.475</c:v>
                </c:pt>
                <c:pt idx="89">
                  <c:v>0.4461538461538462</c:v>
                </c:pt>
                <c:pt idx="90">
                  <c:v>0.45121951219512196</c:v>
                </c:pt>
                <c:pt idx="91">
                  <c:v>0.45454545454545453</c:v>
                </c:pt>
                <c:pt idx="92">
                  <c:v>0.4090909090909091</c:v>
                </c:pt>
                <c:pt idx="93">
                  <c:v>0.417910447761194</c:v>
                </c:pt>
                <c:pt idx="94">
                  <c:v>0.42857142857142855</c:v>
                </c:pt>
                <c:pt idx="95">
                  <c:v>0.3333333333333333</c:v>
                </c:pt>
                <c:pt idx="96">
                  <c:v>0.3891891891891892</c:v>
                </c:pt>
                <c:pt idx="97">
                  <c:v>0.40358744394618834</c:v>
                </c:pt>
                <c:pt idx="98">
                  <c:v>0.4429530201342282</c:v>
                </c:pt>
                <c:pt idx="99">
                  <c:v>0.4515366430260047</c:v>
                </c:pt>
                <c:pt idx="100">
                  <c:v>0.4326241134751773</c:v>
                </c:pt>
                <c:pt idx="101">
                  <c:v>0.4473684210526316</c:v>
                </c:pt>
                <c:pt idx="102">
                  <c:v>0.47342995169082125</c:v>
                </c:pt>
                <c:pt idx="103">
                  <c:v>0.46540880503144655</c:v>
                </c:pt>
                <c:pt idx="104">
                  <c:v>0.46788990825688076</c:v>
                </c:pt>
                <c:pt idx="105">
                  <c:v>0.5196078431372549</c:v>
                </c:pt>
                <c:pt idx="106">
                  <c:v>0.4943820224719101</c:v>
                </c:pt>
                <c:pt idx="107">
                  <c:v>0.5645161290322581</c:v>
                </c:pt>
              </c:numCache>
            </c:numRef>
          </c:yVal>
          <c:smooth val="0"/>
          <c:extLst>
            <c:ext xmlns:c16="http://schemas.microsoft.com/office/drawing/2014/chart" uri="{C3380CC4-5D6E-409C-BE32-E72D297353CC}">
              <c16:uniqueId val="{00000000-096C-4121-9522-6AB7243CCAAE}"/>
            </c:ext>
          </c:extLst>
        </c:ser>
        <c:ser>
          <c:idx val="1"/>
          <c:order val="1"/>
          <c:tx>
            <c:strRef>
              <c:f>Sheet1!$B$1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2:$A$136</c:f>
              <c:numCache>
                <c:formatCode>General</c:formatCode>
                <c:ptCount val="25"/>
                <c:pt idx="0">
                  <c:v>1.4099409278212762</c:v>
                </c:pt>
                <c:pt idx="1">
                  <c:v>1.450723763984871</c:v>
                </c:pt>
                <c:pt idx="2">
                  <c:v>1.4268552156862744</c:v>
                </c:pt>
                <c:pt idx="3">
                  <c:v>1.4996773333333335</c:v>
                </c:pt>
                <c:pt idx="4">
                  <c:v>1.612631263760458</c:v>
                </c:pt>
                <c:pt idx="5">
                  <c:v>1.5192106666666667</c:v>
                </c:pt>
                <c:pt idx="6">
                  <c:v>1.55822866798955</c:v>
                </c:pt>
                <c:pt idx="7">
                  <c:v>1.257915882352941</c:v>
                </c:pt>
                <c:pt idx="8">
                  <c:v>1.8287588000000001</c:v>
                </c:pt>
                <c:pt idx="9">
                  <c:v>1.6584471362878983</c:v>
                </c:pt>
                <c:pt idx="10">
                  <c:v>0.9980186666666667</c:v>
                </c:pt>
                <c:pt idx="11">
                  <c:v>1.4095797856049004</c:v>
                </c:pt>
                <c:pt idx="12">
                  <c:v>2.6945228169014084</c:v>
                </c:pt>
                <c:pt idx="13">
                  <c:v>3.2405973333333336</c:v>
                </c:pt>
                <c:pt idx="14">
                  <c:v>4.114379166666667</c:v>
                </c:pt>
                <c:pt idx="15">
                  <c:v>3.460407796472352</c:v>
                </c:pt>
                <c:pt idx="16">
                  <c:v>4.2671174999999995</c:v>
                </c:pt>
                <c:pt idx="17">
                  <c:v>7.206885294117647</c:v>
                </c:pt>
                <c:pt idx="18">
                  <c:v>3.7524590163934426</c:v>
                </c:pt>
                <c:pt idx="19">
                  <c:v>161.11966666666666</c:v>
                </c:pt>
                <c:pt idx="20">
                  <c:v>1.6002782266009852</c:v>
                </c:pt>
                <c:pt idx="21">
                  <c:v>1.494189855072464</c:v>
                </c:pt>
                <c:pt idx="22">
                  <c:v>1.4332918260869565</c:v>
                </c:pt>
                <c:pt idx="23">
                  <c:v>1.514732782006039</c:v>
                </c:pt>
                <c:pt idx="24">
                  <c:v>1.4380309178743962</c:v>
                </c:pt>
              </c:numCache>
            </c:numRef>
          </c:xVal>
          <c:yVal>
            <c:numRef>
              <c:f>Sheet1!$B$112:$B$136</c:f>
              <c:numCache>
                <c:formatCode>General</c:formatCode>
                <c:ptCount val="25"/>
                <c:pt idx="0">
                  <c:v>0.4556213017751479</c:v>
                </c:pt>
                <c:pt idx="1">
                  <c:v>0.43558282208588955</c:v>
                </c:pt>
                <c:pt idx="2">
                  <c:v>0.4438202247191011</c:v>
                </c:pt>
                <c:pt idx="3">
                  <c:v>0.484375</c:v>
                </c:pt>
                <c:pt idx="4">
                  <c:v>0.4540540540540541</c:v>
                </c:pt>
                <c:pt idx="5">
                  <c:v>0.46060606060606063</c:v>
                </c:pt>
                <c:pt idx="6">
                  <c:v>0.4585635359116022</c:v>
                </c:pt>
                <c:pt idx="7">
                  <c:v>0.525974025974026</c:v>
                </c:pt>
                <c:pt idx="8">
                  <c:v>0.44274809160305345</c:v>
                </c:pt>
                <c:pt idx="9">
                  <c:v>0.4601226993865031</c:v>
                </c:pt>
                <c:pt idx="10">
                  <c:v>0.4742857142857143</c:v>
                </c:pt>
                <c:pt idx="11">
                  <c:v>0.32644628099173556</c:v>
                </c:pt>
                <c:pt idx="12">
                  <c:v>0.37894736842105264</c:v>
                </c:pt>
                <c:pt idx="13">
                  <c:v>0.37222222222222223</c:v>
                </c:pt>
                <c:pt idx="14">
                  <c:v>0.32903225806451614</c:v>
                </c:pt>
                <c:pt idx="15">
                  <c:v>0.36363636363636365</c:v>
                </c:pt>
                <c:pt idx="16">
                  <c:v>0.43529411764705883</c:v>
                </c:pt>
                <c:pt idx="17">
                  <c:v>0.4631578947368421</c:v>
                </c:pt>
                <c:pt idx="18">
                  <c:v>0.4</c:v>
                </c:pt>
                <c:pt idx="19">
                  <c:v>0.4936708860759494</c:v>
                </c:pt>
                <c:pt idx="20">
                  <c:v>0.4913294797687861</c:v>
                </c:pt>
                <c:pt idx="21">
                  <c:v>0.5285714285714286</c:v>
                </c:pt>
                <c:pt idx="22">
                  <c:v>0.490272373540856</c:v>
                </c:pt>
                <c:pt idx="23">
                  <c:v>0.49171270718232046</c:v>
                </c:pt>
                <c:pt idx="24">
                  <c:v>0.47346938775510206</c:v>
                </c:pt>
              </c:numCache>
            </c:numRef>
          </c:yVal>
          <c:smooth val="0"/>
          <c:extLst>
            <c:ext xmlns:c16="http://schemas.microsoft.com/office/drawing/2014/chart" uri="{C3380CC4-5D6E-409C-BE32-E72D297353CC}">
              <c16:uniqueId val="{00000002-096C-4121-9522-6AB7243CCAAE}"/>
            </c:ext>
          </c:extLst>
        </c:ser>
        <c:ser>
          <c:idx val="2"/>
          <c:order val="2"/>
          <c:tx>
            <c:strRef>
              <c:f>Sheet1!$B$1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9:$A$140</c:f>
              <c:numCache>
                <c:formatCode>General</c:formatCode>
                <c:ptCount val="2"/>
                <c:pt idx="0">
                  <c:v>0</c:v>
                </c:pt>
                <c:pt idx="1">
                  <c:v>295.22675029808715</c:v>
                </c:pt>
              </c:numCache>
            </c:numRef>
          </c:xVal>
          <c:yVal>
            <c:numRef>
              <c:f>Sheet1!$B$139:$B$140</c:f>
              <c:numCache>
                <c:formatCode>General</c:formatCode>
                <c:ptCount val="2"/>
                <c:pt idx="0">
                  <c:v>0.5279228044005221</c:v>
                </c:pt>
                <c:pt idx="1">
                  <c:v>0.5279228044005221</c:v>
                </c:pt>
              </c:numCache>
            </c:numRef>
          </c:yVal>
          <c:smooth val="0"/>
          <c:extLst>
            <c:ext xmlns:c16="http://schemas.microsoft.com/office/drawing/2014/chart" uri="{C3380CC4-5D6E-409C-BE32-E72D297353CC}">
              <c16:uniqueId val="{00000005-096C-4121-9522-6AB7243CCAAE}"/>
            </c:ext>
          </c:extLst>
        </c:ser>
        <c:ser>
          <c:idx val="3"/>
          <c:order val="3"/>
          <c:tx>
            <c:strRef>
              <c:f>Sheet1!$B$1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95.22675029808715</c:v>
                </c:pt>
                <c:pt idx="1">
                  <c:v>295.22675029808715</c:v>
                </c:pt>
              </c:numCache>
            </c:numRef>
          </c:xVal>
          <c:yVal>
            <c:numRef>
              <c:f>Sheet1!$B$143:$B$144</c:f>
              <c:numCache>
                <c:formatCode>General</c:formatCode>
                <c:ptCount val="2"/>
                <c:pt idx="0">
                  <c:v>0.527922804400522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7:$A$148</c:f>
              <c:numCache>
                <c:formatCode>General</c:formatCode>
                <c:ptCount val="2"/>
                <c:pt idx="0">
                  <c:v>0</c:v>
                </c:pt>
                <c:pt idx="1">
                  <c:v>295.22675029808715</c:v>
                </c:pt>
              </c:numCache>
            </c:numRef>
          </c:xVal>
          <c:yVal>
            <c:numRef>
              <c:f>Sheet1!$B$147:$B$148</c:f>
              <c:numCache>
                <c:formatCode>General</c:formatCode>
                <c:ptCount val="2"/>
                <c:pt idx="0">
                  <c:v>0.5279228044005221</c:v>
                </c:pt>
                <c:pt idx="1">
                  <c:v>0.5279228044005221</c:v>
                </c:pt>
              </c:numCache>
            </c:numRef>
          </c:yVal>
          <c:smooth val="0"/>
          <c:extLst>
            <c:ext xmlns:c16="http://schemas.microsoft.com/office/drawing/2014/chart" uri="{C3380CC4-5D6E-409C-BE32-E72D297353CC}">
              <c16:uniqueId val="{0000000D-096C-4121-9522-6AB7243CCAAE}"/>
            </c:ext>
          </c:extLst>
        </c:ser>
        <c:ser>
          <c:idx val="5"/>
          <c:order val="5"/>
          <c:tx>
            <c:strRef>
              <c:f>Sheet1!$B$1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1:$A$152</c:f>
              <c:numCache>
                <c:formatCode>General</c:formatCode>
                <c:ptCount val="2"/>
                <c:pt idx="0">
                  <c:v>295.22675029808715</c:v>
                </c:pt>
                <c:pt idx="1">
                  <c:v>295.22675029808715</c:v>
                </c:pt>
              </c:numCache>
            </c:numRef>
          </c:xVal>
          <c:yVal>
            <c:numRef>
              <c:f>Sheet1!$B$151:$B$152</c:f>
              <c:numCache>
                <c:formatCode>General</c:formatCode>
                <c:ptCount val="2"/>
                <c:pt idx="0">
                  <c:v>0.527922804400522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5:$A$156</c:f>
              <c:numCache>
                <c:formatCode>General</c:formatCode>
                <c:ptCount val="2"/>
                <c:pt idx="0">
                  <c:v>0</c:v>
                </c:pt>
                <c:pt idx="1">
                  <c:v>221.37611448775613</c:v>
                </c:pt>
              </c:numCache>
            </c:numRef>
          </c:xVal>
          <c:yVal>
            <c:numRef>
              <c:f>Sheet1!$B$155:$B$156</c:f>
              <c:numCache>
                <c:formatCode>General</c:formatCode>
                <c:ptCount val="2"/>
                <c:pt idx="0">
                  <c:v>0.5066452509751252</c:v>
                </c:pt>
                <c:pt idx="1">
                  <c:v>0.5066452509751252</c:v>
                </c:pt>
              </c:numCache>
            </c:numRef>
          </c:yVal>
          <c:smooth val="0"/>
          <c:extLst>
            <c:ext xmlns:c16="http://schemas.microsoft.com/office/drawing/2014/chart" uri="{C3380CC4-5D6E-409C-BE32-E72D297353CC}">
              <c16:uniqueId val="{00000015-096C-4121-9522-6AB7243CCAAE}"/>
            </c:ext>
          </c:extLst>
        </c:ser>
        <c:ser>
          <c:idx val="7"/>
          <c:order val="7"/>
          <c:tx>
            <c:strRef>
              <c:f>Sheet1!$B$1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9:$A$160</c:f>
              <c:numCache>
                <c:formatCode>General</c:formatCode>
                <c:ptCount val="2"/>
                <c:pt idx="0">
                  <c:v>221.37611448775613</c:v>
                </c:pt>
                <c:pt idx="1">
                  <c:v>221.37611448775613</c:v>
                </c:pt>
              </c:numCache>
            </c:numRef>
          </c:xVal>
          <c:yVal>
            <c:numRef>
              <c:f>Sheet1!$B$159:$B$160</c:f>
              <c:numCache>
                <c:formatCode>General</c:formatCode>
                <c:ptCount val="2"/>
                <c:pt idx="0">
                  <c:v>0.50664525097512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3:$A$190</c:f>
              <c:numCache>
                <c:formatCode>General</c:formatCode>
                <c:ptCount val="28"/>
                <c:pt idx="0">
                  <c:v>1.4099409278212762</c:v>
                </c:pt>
                <c:pt idx="1">
                  <c:v>1.450723763984871</c:v>
                </c:pt>
                <c:pt idx="2">
                  <c:v>1.4268552156862744</c:v>
                </c:pt>
                <c:pt idx="3">
                  <c:v>1.4996773333333335</c:v>
                </c:pt>
                <c:pt idx="4">
                  <c:v>1.612631263760458</c:v>
                </c:pt>
                <c:pt idx="5">
                  <c:v>1.5192106666666667</c:v>
                </c:pt>
                <c:pt idx="6">
                  <c:v>1.55822866798955</c:v>
                </c:pt>
                <c:pt idx="7">
                  <c:v>1.257915882352941</c:v>
                </c:pt>
                <c:pt idx="8">
                  <c:v>1.8287588000000001</c:v>
                </c:pt>
                <c:pt idx="9">
                  <c:v>1.6584471362878983</c:v>
                </c:pt>
                <c:pt idx="10">
                  <c:v>0.9980186666666667</c:v>
                </c:pt>
                <c:pt idx="11">
                  <c:v>1.4095797856049004</c:v>
                </c:pt>
                <c:pt idx="12">
                  <c:v>2.6945228169014084</c:v>
                </c:pt>
                <c:pt idx="13">
                  <c:v>3.2405973333333336</c:v>
                </c:pt>
                <c:pt idx="14">
                  <c:v>4.114379166666667</c:v>
                </c:pt>
                <c:pt idx="15">
                  <c:v>3.460407796472352</c:v>
                </c:pt>
                <c:pt idx="16">
                  <c:v>4.2671174999999995</c:v>
                </c:pt>
                <c:pt idx="17">
                  <c:v>7.206885294117647</c:v>
                </c:pt>
                <c:pt idx="18">
                  <c:v>3.7524590163934426</c:v>
                </c:pt>
                <c:pt idx="19">
                  <c:v>161.11966666666666</c:v>
                </c:pt>
                <c:pt idx="20">
                  <c:v>1.6002782266009852</c:v>
                </c:pt>
                <c:pt idx="21">
                  <c:v>1.494189855072464</c:v>
                </c:pt>
                <c:pt idx="22">
                  <c:v>1.4332918260869565</c:v>
                </c:pt>
                <c:pt idx="23">
                  <c:v>1.514732782006039</c:v>
                </c:pt>
                <c:pt idx="24">
                  <c:v>1.4380309178743962</c:v>
                </c:pt>
                <c:pt idx="25">
                  <c:v>295.22675029808715</c:v>
                </c:pt>
                <c:pt idx="26">
                  <c:v>295.22675029808715</c:v>
                </c:pt>
                <c:pt idx="27">
                  <c:v>221.37611448775613</c:v>
                </c:pt>
              </c:numCache>
            </c:numRef>
          </c:xVal>
          <c:yVal>
            <c:numRef>
              <c:f>Sheet1!$B$163:$B$190</c:f>
              <c:numCache>
                <c:formatCode>General</c:formatCode>
                <c:ptCount val="28"/>
                <c:pt idx="0">
                  <c:v>0.4432694660770501</c:v>
                </c:pt>
                <c:pt idx="1">
                  <c:v>0.4432812162666834</c:v>
                </c:pt>
                <c:pt idx="2">
                  <c:v>0.4432743393548459</c:v>
                </c:pt>
                <c:pt idx="3">
                  <c:v>0.4432953205756815</c:v>
                </c:pt>
                <c:pt idx="4">
                  <c:v>0.44332786441586514</c:v>
                </c:pt>
                <c:pt idx="5">
                  <c:v>0.44330094844251045</c:v>
                </c:pt>
                <c:pt idx="6">
                  <c:v>0.4433121901549018</c:v>
                </c:pt>
                <c:pt idx="7">
                  <c:v>0.44322566522156037</c:v>
                </c:pt>
                <c:pt idx="8">
                  <c:v>0.44339013422774387</c:v>
                </c:pt>
                <c:pt idx="9">
                  <c:v>0.4433410647040514</c:v>
                </c:pt>
                <c:pt idx="10">
                  <c:v>0.4431507846625618</c:v>
                </c:pt>
                <c:pt idx="11">
                  <c:v>0.4432693620261815</c:v>
                </c:pt>
                <c:pt idx="12">
                  <c:v>0.4436395747358895</c:v>
                </c:pt>
                <c:pt idx="13">
                  <c:v>0.44379690756816825</c:v>
                </c:pt>
                <c:pt idx="14">
                  <c:v>0.444048658137908</c:v>
                </c:pt>
                <c:pt idx="15">
                  <c:v>0.4438602384903951</c:v>
                </c:pt>
                <c:pt idx="16">
                  <c:v>0.4440926645030793</c:v>
                </c:pt>
                <c:pt idx="17">
                  <c:v>0.44493965878567765</c:v>
                </c:pt>
                <c:pt idx="18">
                  <c:v>0.4439443831340618</c:v>
                </c:pt>
                <c:pt idx="19">
                  <c:v>0.48928440128615736</c:v>
                </c:pt>
                <c:pt idx="20">
                  <c:v>0.4433243053076023</c:v>
                </c:pt>
                <c:pt idx="21">
                  <c:v>0.4432937395451245</c:v>
                </c:pt>
                <c:pt idx="22">
                  <c:v>0.4432761938456052</c:v>
                </c:pt>
                <c:pt idx="23">
                  <c:v>0.44329965829207296</c:v>
                </c:pt>
                <c:pt idx="24">
                  <c:v>0.4432775592540081</c:v>
                </c:pt>
                <c:pt idx="25">
                  <c:v>0.5279228044005221</c:v>
                </c:pt>
                <c:pt idx="26">
                  <c:v>0.5279228044005221</c:v>
                </c:pt>
                <c:pt idx="27">
                  <c:v>0.50664525097512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74193548387097"/>
          <c:min val="0.15464684014869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311.8161</c:v>
                </c:pt>
                <c:pt idx="1">
                  <c:v>316.9195</c:v>
                </c:pt>
                <c:pt idx="2">
                  <c:v>322.9268</c:v>
                </c:pt>
                <c:pt idx="3">
                  <c:v>318.6914</c:v>
                </c:pt>
                <c:pt idx="4">
                  <c:v>322.662</c:v>
                </c:pt>
                <c:pt idx="5">
                  <c:v>318.5699</c:v>
                </c:pt>
                <c:pt idx="6">
                  <c:v>317.1009</c:v>
                </c:pt>
                <c:pt idx="7">
                  <c:v>321.9036</c:v>
                </c:pt>
                <c:pt idx="8">
                  <c:v>318.4394</c:v>
                </c:pt>
                <c:pt idx="9">
                  <c:v>314.4588</c:v>
                </c:pt>
                <c:pt idx="10">
                  <c:v>316.8661</c:v>
                </c:pt>
                <c:pt idx="11">
                  <c:v>325.6136</c:v>
                </c:pt>
                <c:pt idx="12">
                  <c:v>327.7475</c:v>
                </c:pt>
                <c:pt idx="13">
                  <c:v>319.5347</c:v>
                </c:pt>
                <c:pt idx="14">
                  <c:v>323.734</c:v>
                </c:pt>
                <c:pt idx="15">
                  <c:v>324.2824</c:v>
                </c:pt>
                <c:pt idx="16">
                  <c:v>326.6</c:v>
                </c:pt>
                <c:pt idx="17">
                  <c:v>329.5294</c:v>
                </c:pt>
                <c:pt idx="18">
                  <c:v>329.2115</c:v>
                </c:pt>
                <c:pt idx="19">
                  <c:v>337.0488</c:v>
                </c:pt>
                <c:pt idx="20">
                  <c:v>334.2037</c:v>
                </c:pt>
                <c:pt idx="21">
                  <c:v>334.6923</c:v>
                </c:pt>
                <c:pt idx="22">
                  <c:v>326.7174</c:v>
                </c:pt>
                <c:pt idx="23">
                  <c:v>333.5849</c:v>
                </c:pt>
                <c:pt idx="24">
                  <c:v>351.338</c:v>
                </c:pt>
                <c:pt idx="25">
                  <c:v>353.8909</c:v>
                </c:pt>
                <c:pt idx="26">
                  <c:v>356.6591</c:v>
                </c:pt>
                <c:pt idx="27">
                  <c:v>347.0154</c:v>
                </c:pt>
                <c:pt idx="28">
                  <c:v>346.8636</c:v>
                </c:pt>
                <c:pt idx="29">
                  <c:v>357.2653</c:v>
                </c:pt>
                <c:pt idx="30">
                  <c:v>337.6154</c:v>
                </c:pt>
                <c:pt idx="31">
                  <c:v>370.4167</c:v>
                </c:pt>
                <c:pt idx="32">
                  <c:v>364.8868</c:v>
                </c:pt>
                <c:pt idx="33">
                  <c:v>345.2857</c:v>
                </c:pt>
                <c:pt idx="34">
                  <c:v>352.3438</c:v>
                </c:pt>
                <c:pt idx="35">
                  <c:v>356.2615</c:v>
                </c:pt>
                <c:pt idx="36">
                  <c:v>353.4808</c:v>
                </c:pt>
                <c:pt idx="37">
                  <c:v>352.1522</c:v>
                </c:pt>
                <c:pt idx="38">
                  <c:v>359.4878</c:v>
                </c:pt>
                <c:pt idx="39">
                  <c:v>346.9375</c:v>
                </c:pt>
                <c:pt idx="40">
                  <c:v>352.7759</c:v>
                </c:pt>
                <c:pt idx="41">
                  <c:v>345.45</c:v>
                </c:pt>
                <c:pt idx="42">
                  <c:v>349.9365</c:v>
                </c:pt>
                <c:pt idx="43">
                  <c:v>351.2609</c:v>
                </c:pt>
                <c:pt idx="44">
                  <c:v>344.8774</c:v>
                </c:pt>
                <c:pt idx="45">
                  <c:v>342.168</c:v>
                </c:pt>
                <c:pt idx="46">
                  <c:v>354.7603</c:v>
                </c:pt>
                <c:pt idx="47">
                  <c:v>346.7313</c:v>
                </c:pt>
                <c:pt idx="48">
                  <c:v>353.4715</c:v>
                </c:pt>
                <c:pt idx="49">
                  <c:v>355.087</c:v>
                </c:pt>
                <c:pt idx="50">
                  <c:v>360.9924</c:v>
                </c:pt>
                <c:pt idx="51">
                  <c:v>383.4038</c:v>
                </c:pt>
                <c:pt idx="52">
                  <c:v>372.6067</c:v>
                </c:pt>
                <c:pt idx="53">
                  <c:v>367.7816</c:v>
                </c:pt>
                <c:pt idx="54">
                  <c:v>370.7625</c:v>
                </c:pt>
                <c:pt idx="55">
                  <c:v>352.3373</c:v>
                </c:pt>
                <c:pt idx="56">
                  <c:v>376.3636</c:v>
                </c:pt>
                <c:pt idx="57">
                  <c:v>362.3061</c:v>
                </c:pt>
                <c:pt idx="58">
                  <c:v>334.3167</c:v>
                </c:pt>
                <c:pt idx="59">
                  <c:v>360.8793</c:v>
                </c:pt>
                <c:pt idx="60">
                  <c:v>373.3737</c:v>
                </c:pt>
                <c:pt idx="61">
                  <c:v>374.0278</c:v>
                </c:pt>
                <c:pt idx="62">
                  <c:v>356.7431</c:v>
                </c:pt>
                <c:pt idx="63">
                  <c:v>401.4902</c:v>
                </c:pt>
                <c:pt idx="64">
                  <c:v>419.8636</c:v>
                </c:pt>
                <c:pt idx="65">
                  <c:v>406.0</c:v>
                </c:pt>
                <c:pt idx="66">
                  <c:v>394.6729</c:v>
                </c:pt>
                <c:pt idx="67">
                  <c:v>396.617</c:v>
                </c:pt>
                <c:pt idx="68">
                  <c:v>410.4559</c:v>
                </c:pt>
                <c:pt idx="69">
                  <c:v>410.1455</c:v>
                </c:pt>
                <c:pt idx="70">
                  <c:v>408.125</c:v>
                </c:pt>
                <c:pt idx="71">
                  <c:v>443.2708</c:v>
                </c:pt>
                <c:pt idx="72">
                  <c:v>464.82</c:v>
                </c:pt>
                <c:pt idx="73">
                  <c:v>441.359</c:v>
                </c:pt>
                <c:pt idx="74">
                  <c:v>463.7174</c:v>
                </c:pt>
                <c:pt idx="75">
                  <c:v>441.9048</c:v>
                </c:pt>
                <c:pt idx="76">
                  <c:v>448.5854</c:v>
                </c:pt>
                <c:pt idx="77">
                  <c:v>465.6316</c:v>
                </c:pt>
                <c:pt idx="78">
                  <c:v>446.4286</c:v>
                </c:pt>
                <c:pt idx="79">
                  <c:v>460.8478</c:v>
                </c:pt>
                <c:pt idx="80">
                  <c:v>477.2</c:v>
                </c:pt>
                <c:pt idx="81">
                  <c:v>461.9808</c:v>
                </c:pt>
                <c:pt idx="82">
                  <c:v>482.8649</c:v>
                </c:pt>
                <c:pt idx="83">
                  <c:v>467.1905</c:v>
                </c:pt>
                <c:pt idx="84">
                  <c:v>439.931</c:v>
                </c:pt>
                <c:pt idx="85">
                  <c:v>451.7429</c:v>
                </c:pt>
                <c:pt idx="86">
                  <c:v>443.566</c:v>
                </c:pt>
                <c:pt idx="87">
                  <c:v>435.5962</c:v>
                </c:pt>
                <c:pt idx="88">
                  <c:v>458.5526</c:v>
                </c:pt>
                <c:pt idx="89">
                  <c:v>467.8966</c:v>
                </c:pt>
                <c:pt idx="90">
                  <c:v>461.3243</c:v>
                </c:pt>
                <c:pt idx="91">
                  <c:v>449.475</c:v>
                </c:pt>
                <c:pt idx="92">
                  <c:v>462.1944</c:v>
                </c:pt>
                <c:pt idx="93">
                  <c:v>457.3571</c:v>
                </c:pt>
                <c:pt idx="94">
                  <c:v>447.9259</c:v>
                </c:pt>
                <c:pt idx="95">
                  <c:v>471.8</c:v>
                </c:pt>
                <c:pt idx="96">
                  <c:v>441.0833</c:v>
                </c:pt>
                <c:pt idx="97">
                  <c:v>423.0</c:v>
                </c:pt>
                <c:pt idx="98">
                  <c:v>423.6742</c:v>
                </c:pt>
                <c:pt idx="99">
                  <c:v>433.5916</c:v>
                </c:pt>
                <c:pt idx="100">
                  <c:v>424.041</c:v>
                </c:pt>
                <c:pt idx="101">
                  <c:v>441.1324</c:v>
                </c:pt>
                <c:pt idx="102">
                  <c:v>396.2551</c:v>
                </c:pt>
                <c:pt idx="103">
                  <c:v>383.2973</c:v>
                </c:pt>
              </c:numCache>
            </c:numRef>
          </c:xVal>
          <c:yVal>
            <c:numRef>
              <c:f>Sheet1!$B$2:$B$105</c:f>
              <c:numCache>
                <c:formatCode>General</c:formatCode>
                <c:ptCount val="104"/>
                <c:pt idx="0">
                  <c:v>0.3107142857142857</c:v>
                </c:pt>
                <c:pt idx="1">
                  <c:v>0.32706766917293234</c:v>
                </c:pt>
                <c:pt idx="2">
                  <c:v>0.30597014925373134</c:v>
                </c:pt>
                <c:pt idx="3">
                  <c:v>0.34913793103448276</c:v>
                </c:pt>
                <c:pt idx="4">
                  <c:v>0.35148514851485146</c:v>
                </c:pt>
                <c:pt idx="5">
                  <c:v>0.45588235294117646</c:v>
                </c:pt>
                <c:pt idx="6">
                  <c:v>0.4977168949771689</c:v>
                </c:pt>
                <c:pt idx="7">
                  <c:v>0.40096618357487923</c:v>
                </c:pt>
                <c:pt idx="8">
                  <c:v>0.36666666666666664</c:v>
                </c:pt>
                <c:pt idx="9">
                  <c:v>0.35864978902953587</c:v>
                </c:pt>
                <c:pt idx="10">
                  <c:v>0.4226415094339623</c:v>
                </c:pt>
                <c:pt idx="11">
                  <c:v>0.34509803921568627</c:v>
                </c:pt>
                <c:pt idx="12">
                  <c:v>0.32673267326732675</c:v>
                </c:pt>
                <c:pt idx="13">
                  <c:v>0.3377926421404682</c:v>
                </c:pt>
                <c:pt idx="14">
                  <c:v>0.2919254658385093</c:v>
                </c:pt>
                <c:pt idx="15">
                  <c:v>0.28619528619528617</c:v>
                </c:pt>
                <c:pt idx="16">
                  <c:v>0.3409090909090909</c:v>
                </c:pt>
                <c:pt idx="17">
                  <c:v>0.25757575757575757</c:v>
                </c:pt>
                <c:pt idx="18">
                  <c:v>0.19330855018587362</c:v>
                </c:pt>
                <c:pt idx="19">
                  <c:v>0.21243523316062177</c:v>
                </c:pt>
                <c:pt idx="20">
                  <c:v>0.24324324324324326</c:v>
                </c:pt>
                <c:pt idx="21">
                  <c:v>0.2932330827067669</c:v>
                </c:pt>
                <c:pt idx="22">
                  <c:v>0.2948717948717949</c:v>
                </c:pt>
                <c:pt idx="23">
                  <c:v>0.3464052287581699</c:v>
                </c:pt>
                <c:pt idx="24">
                  <c:v>0.37566137566137564</c:v>
                </c:pt>
                <c:pt idx="25">
                  <c:v>0.41353383458646614</c:v>
                </c:pt>
                <c:pt idx="26">
                  <c:v>0.38596491228070173</c:v>
                </c:pt>
                <c:pt idx="27">
                  <c:v>0.48148148148148145</c:v>
                </c:pt>
                <c:pt idx="28">
                  <c:v>0.41509433962264153</c:v>
                </c:pt>
                <c:pt idx="29">
                  <c:v>0.4224137931034483</c:v>
                </c:pt>
                <c:pt idx="30">
                  <c:v>0.4727272727272727</c:v>
                </c:pt>
                <c:pt idx="31">
                  <c:v>0.37894736842105264</c:v>
                </c:pt>
                <c:pt idx="32">
                  <c:v>0.4732142857142857</c:v>
                </c:pt>
                <c:pt idx="33">
                  <c:v>0.40875912408759124</c:v>
                </c:pt>
                <c:pt idx="34">
                  <c:v>0.460431654676259</c:v>
                </c:pt>
                <c:pt idx="35">
                  <c:v>0.41139240506329117</c:v>
                </c:pt>
                <c:pt idx="36">
                  <c:v>0.3795620437956204</c:v>
                </c:pt>
                <c:pt idx="37">
                  <c:v>0.39316239316239315</c:v>
                </c:pt>
                <c:pt idx="38">
                  <c:v>0.3253968253968254</c:v>
                </c:pt>
                <c:pt idx="39">
                  <c:v>0.4444444444444444</c:v>
                </c:pt>
                <c:pt idx="40">
                  <c:v>0.38926174496644295</c:v>
                </c:pt>
                <c:pt idx="41">
                  <c:v>0.4195804195804196</c:v>
                </c:pt>
                <c:pt idx="42">
                  <c:v>0.391304347826087</c:v>
                </c:pt>
                <c:pt idx="43">
                  <c:v>0.375</c:v>
                </c:pt>
                <c:pt idx="44">
                  <c:v>0.4608695652173913</c:v>
                </c:pt>
                <c:pt idx="45">
                  <c:v>0.44483985765124556</c:v>
                </c:pt>
                <c:pt idx="46">
                  <c:v>0.4101123595505618</c:v>
                </c:pt>
                <c:pt idx="47">
                  <c:v>0.39762611275964393</c:v>
                </c:pt>
                <c:pt idx="48">
                  <c:v>0.41594827586206895</c:v>
                </c:pt>
                <c:pt idx="49">
                  <c:v>0.38764044943820225</c:v>
                </c:pt>
                <c:pt idx="50">
                  <c:v>0.35597826086956524</c:v>
                </c:pt>
                <c:pt idx="51">
                  <c:v>0.3649122807017544</c:v>
                </c:pt>
                <c:pt idx="52">
                  <c:v>0.30689655172413793</c:v>
                </c:pt>
                <c:pt idx="53">
                  <c:v>0.36554621848739494</c:v>
                </c:pt>
                <c:pt idx="54">
                  <c:v>0.3686635944700461</c:v>
                </c:pt>
                <c:pt idx="55">
                  <c:v>0.386046511627907</c:v>
                </c:pt>
                <c:pt idx="56">
                  <c:v>0.36666666666666664</c:v>
                </c:pt>
                <c:pt idx="57">
                  <c:v>0.4152542372881356</c:v>
                </c:pt>
                <c:pt idx="58">
                  <c:v>0.44776119402985076</c:v>
                </c:pt>
                <c:pt idx="59">
                  <c:v>0.4249084249084249</c:v>
                </c:pt>
                <c:pt idx="60">
                  <c:v>0.38671875</c:v>
                </c:pt>
                <c:pt idx="61">
                  <c:v>0.375</c:v>
                </c:pt>
                <c:pt idx="62">
                  <c:v>0.42084942084942084</c:v>
                </c:pt>
                <c:pt idx="63">
                  <c:v>0.37777777777777777</c:v>
                </c:pt>
                <c:pt idx="64">
                  <c:v>0.4247104247104247</c:v>
                </c:pt>
                <c:pt idx="65">
                  <c:v>0.36929460580912865</c:v>
                </c:pt>
                <c:pt idx="66">
                  <c:v>0.4553191489361702</c:v>
                </c:pt>
                <c:pt idx="67">
                  <c:v>0.4519230769230769</c:v>
                </c:pt>
                <c:pt idx="68">
                  <c:v>0.4</c:v>
                </c:pt>
                <c:pt idx="69">
                  <c:v>0.4198473282442748</c:v>
                </c:pt>
                <c:pt idx="70">
                  <c:v>0.42105263157894735</c:v>
                </c:pt>
                <c:pt idx="71">
                  <c:v>0.4247787610619469</c:v>
                </c:pt>
                <c:pt idx="72">
                  <c:v>0.4424778761061947</c:v>
                </c:pt>
                <c:pt idx="73">
                  <c:v>0.4105263157894737</c:v>
                </c:pt>
                <c:pt idx="74">
                  <c:v>0.40350877192982454</c:v>
                </c:pt>
                <c:pt idx="75">
                  <c:v>0.4375</c:v>
                </c:pt>
                <c:pt idx="76">
                  <c:v>0.4823529411764706</c:v>
                </c:pt>
                <c:pt idx="77">
                  <c:v>0.4367816091954023</c:v>
                </c:pt>
                <c:pt idx="78">
                  <c:v>0.4166666666666667</c:v>
                </c:pt>
                <c:pt idx="79">
                  <c:v>0.4144144144144144</c:v>
                </c:pt>
                <c:pt idx="80">
                  <c:v>0.4268292682926829</c:v>
                </c:pt>
                <c:pt idx="81">
                  <c:v>0.5</c:v>
                </c:pt>
                <c:pt idx="82">
                  <c:v>0.4805194805194805</c:v>
                </c:pt>
                <c:pt idx="83">
                  <c:v>0.4375</c:v>
                </c:pt>
                <c:pt idx="84">
                  <c:v>0.5178571428571429</c:v>
                </c:pt>
                <c:pt idx="85">
                  <c:v>0.4605263157894737</c:v>
                </c:pt>
                <c:pt idx="86">
                  <c:v>0.4608695652173913</c:v>
                </c:pt>
                <c:pt idx="87">
                  <c:v>0.43333333333333335</c:v>
                </c:pt>
                <c:pt idx="88">
                  <c:v>0.475</c:v>
                </c:pt>
                <c:pt idx="89">
                  <c:v>0.4461538461538462</c:v>
                </c:pt>
                <c:pt idx="90">
                  <c:v>0.45121951219512196</c:v>
                </c:pt>
                <c:pt idx="91">
                  <c:v>0.45454545454545453</c:v>
                </c:pt>
                <c:pt idx="92">
                  <c:v>0.4090909090909091</c:v>
                </c:pt>
                <c:pt idx="93">
                  <c:v>0.417910447761194</c:v>
                </c:pt>
                <c:pt idx="94">
                  <c:v>0.42857142857142855</c:v>
                </c:pt>
                <c:pt idx="95">
                  <c:v>0.3333333333333333</c:v>
                </c:pt>
                <c:pt idx="96">
                  <c:v>0.3891891891891892</c:v>
                </c:pt>
                <c:pt idx="97">
                  <c:v>0.40358744394618834</c:v>
                </c:pt>
                <c:pt idx="98">
                  <c:v>0.4429530201342282</c:v>
                </c:pt>
                <c:pt idx="99">
                  <c:v>0.4515366430260047</c:v>
                </c:pt>
                <c:pt idx="100">
                  <c:v>0.4326241134751773</c:v>
                </c:pt>
                <c:pt idx="101">
                  <c:v>0.4473684210526316</c:v>
                </c:pt>
                <c:pt idx="102">
                  <c:v>0.47342995169082125</c:v>
                </c:pt>
                <c:pt idx="103">
                  <c:v>0.46540880503144655</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36</c:f>
              <c:numCache>
                <c:formatCode>General</c:formatCode>
                <c:ptCount val="29"/>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390.3143</c:v>
                </c:pt>
                <c:pt idx="24">
                  <c:v>406.0706</c:v>
                </c:pt>
                <c:pt idx="25">
                  <c:v>412.3964</c:v>
                </c:pt>
                <c:pt idx="26">
                  <c:v>412.0714</c:v>
                </c:pt>
                <c:pt idx="27">
                  <c:v>441.2921</c:v>
                </c:pt>
                <c:pt idx="28">
                  <c:v>446.5086</c:v>
                </c:pt>
              </c:numCache>
            </c:numRef>
          </c:xVal>
          <c:yVal>
            <c:numRef>
              <c:f>Sheet1!$B$108:$B$136</c:f>
              <c:numCache>
                <c:formatCode>General</c:formatCode>
                <c:ptCount val="29"/>
                <c:pt idx="0">
                  <c:v>0.4556213017751479</c:v>
                </c:pt>
                <c:pt idx="1">
                  <c:v>0.43558282208588955</c:v>
                </c:pt>
                <c:pt idx="2">
                  <c:v>0.4438202247191011</c:v>
                </c:pt>
                <c:pt idx="3">
                  <c:v>0.484375</c:v>
                </c:pt>
                <c:pt idx="4">
                  <c:v>0.4540540540540541</c:v>
                </c:pt>
                <c:pt idx="5">
                  <c:v>0.46060606060606063</c:v>
                </c:pt>
                <c:pt idx="6">
                  <c:v>0.4585635359116022</c:v>
                </c:pt>
                <c:pt idx="7">
                  <c:v>0.525974025974026</c:v>
                </c:pt>
                <c:pt idx="8">
                  <c:v>0.44274809160305345</c:v>
                </c:pt>
                <c:pt idx="9">
                  <c:v>0.4601226993865031</c:v>
                </c:pt>
                <c:pt idx="10">
                  <c:v>0.4742857142857143</c:v>
                </c:pt>
                <c:pt idx="11">
                  <c:v>0.32644628099173556</c:v>
                </c:pt>
                <c:pt idx="12">
                  <c:v>0.37894736842105264</c:v>
                </c:pt>
                <c:pt idx="13">
                  <c:v>0.37222222222222223</c:v>
                </c:pt>
                <c:pt idx="14">
                  <c:v>0.32903225806451614</c:v>
                </c:pt>
                <c:pt idx="15">
                  <c:v>0.36363636363636365</c:v>
                </c:pt>
                <c:pt idx="16">
                  <c:v>0.43529411764705883</c:v>
                </c:pt>
                <c:pt idx="17">
                  <c:v>0.4631578947368421</c:v>
                </c:pt>
                <c:pt idx="18">
                  <c:v>0.4</c:v>
                </c:pt>
                <c:pt idx="19">
                  <c:v>0.46788990825688076</c:v>
                </c:pt>
                <c:pt idx="20">
                  <c:v>0.5196078431372549</c:v>
                </c:pt>
                <c:pt idx="21">
                  <c:v>0.4936708860759494</c:v>
                </c:pt>
                <c:pt idx="22">
                  <c:v>0.4943820224719101</c:v>
                </c:pt>
                <c:pt idx="23">
                  <c:v>0.5645161290322581</c:v>
                </c:pt>
                <c:pt idx="24">
                  <c:v>0.4913294797687861</c:v>
                </c:pt>
                <c:pt idx="25">
                  <c:v>0.5285714285714286</c:v>
                </c:pt>
                <c:pt idx="26">
                  <c:v>0.490272373540856</c:v>
                </c:pt>
                <c:pt idx="27">
                  <c:v>0.49171270718232046</c:v>
                </c:pt>
                <c:pt idx="28">
                  <c:v>0.47346938775510206</c:v>
                </c:pt>
              </c:numCache>
            </c:numRef>
          </c:yVal>
          <c:smooth val="0"/>
          <c:extLst>
            <c:ext xmlns:c16="http://schemas.microsoft.com/office/drawing/2014/chart" uri="{C3380CC4-5D6E-409C-BE32-E72D297353CC}">
              <c16:uniqueId val="{00000002-F32D-48B7-BC20-E66FC6253BAD}"/>
            </c:ext>
          </c:extLst>
        </c:ser>
        <c:ser>
          <c:idx val="2"/>
          <c:order val="2"/>
          <c:tx>
            <c:strRef>
              <c:f>Sheet1!$B$138</c:f>
              <c:strCache>
                <c:ptCount val="1"/>
                <c:pt idx="0">
                  <c:v>Custom Linep3yQ</c:v>
                </c:pt>
              </c:strCache>
            </c:strRef>
          </c:tx>
          <c:spPr>
            <a:ln w="19050" cap="rnd">
              <a:solidFill>
                <a:srgbClr val="C00000"/>
              </a:solidFill>
              <a:prstDash val="sysDot"/>
              <a:round/>
            </a:ln>
            <a:effectLst/>
          </c:spPr>
          <c:marker>
            <c:symbol val="none"/>
          </c:marker>
          <c:xVal>
            <c:numRef>
              <c:f>Sheet1!$A$139:$A$140</c:f>
              <c:numCache>
                <c:formatCode>General</c:formatCode>
                <c:ptCount val="2"/>
                <c:pt idx="0">
                  <c:v>0</c:v>
                </c:pt>
                <c:pt idx="1">
                  <c:v>397.2252894498653</c:v>
                </c:pt>
              </c:numCache>
            </c:numRef>
          </c:xVal>
          <c:yVal>
            <c:numRef>
              <c:f>Sheet1!$B$139:$B$140</c:f>
              <c:numCache>
                <c:formatCode>General</c:formatCode>
                <c:ptCount val="2"/>
                <c:pt idx="0">
                  <c:v>0.5279228044005221</c:v>
                </c:pt>
                <c:pt idx="1">
                  <c:v>0.5279228044005221</c:v>
                </c:pt>
              </c:numCache>
            </c:numRef>
          </c:yVal>
          <c:smooth val="0"/>
          <c:extLst>
            <c:ext xmlns:c16="http://schemas.microsoft.com/office/drawing/2014/chart" uri="{C3380CC4-5D6E-409C-BE32-E72D297353CC}">
              <c16:uniqueId val="{00000003-F32D-48B7-BC20-E66FC6253BAD}"/>
            </c:ext>
          </c:extLst>
        </c:ser>
        <c:ser>
          <c:idx val="3"/>
          <c:order val="3"/>
          <c:tx>
            <c:strRef>
              <c:f>Sheet1!$B$1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97.2252894498653</c:v>
                </c:pt>
                <c:pt idx="1">
                  <c:v>397.2252894498653</c:v>
                </c:pt>
              </c:numCache>
            </c:numRef>
          </c:xVal>
          <c:yVal>
            <c:numRef>
              <c:f>Sheet1!$B$143:$B$144</c:f>
              <c:numCache>
                <c:formatCode>General</c:formatCode>
                <c:ptCount val="2"/>
                <c:pt idx="0">
                  <c:v>0.527922804400522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7:$A$148</c:f>
              <c:numCache>
                <c:formatCode>General</c:formatCode>
                <c:ptCount val="2"/>
                <c:pt idx="0">
                  <c:v>0</c:v>
                </c:pt>
                <c:pt idx="1">
                  <c:v>397.2252894498653</c:v>
                </c:pt>
              </c:numCache>
            </c:numRef>
          </c:xVal>
          <c:yVal>
            <c:numRef>
              <c:f>Sheet1!$B$147:$B$148</c:f>
              <c:numCache>
                <c:formatCode>General</c:formatCode>
                <c:ptCount val="2"/>
                <c:pt idx="0">
                  <c:v>0.5279228044005221</c:v>
                </c:pt>
                <c:pt idx="1">
                  <c:v>0.5279228044005221</c:v>
                </c:pt>
              </c:numCache>
            </c:numRef>
          </c:yVal>
          <c:smooth val="0"/>
          <c:extLst>
            <c:ext xmlns:c16="http://schemas.microsoft.com/office/drawing/2014/chart" uri="{C3380CC4-5D6E-409C-BE32-E72D297353CC}">
              <c16:uniqueId val="{0000000A-F32D-48B7-BC20-E66FC6253BAD}"/>
            </c:ext>
          </c:extLst>
        </c:ser>
        <c:ser>
          <c:idx val="5"/>
          <c:order val="5"/>
          <c:tx>
            <c:strRef>
              <c:f>Sheet1!$B$1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1:$A$152</c:f>
              <c:numCache>
                <c:formatCode>General</c:formatCode>
                <c:ptCount val="2"/>
                <c:pt idx="0">
                  <c:v>397.2252894498653</c:v>
                </c:pt>
                <c:pt idx="1">
                  <c:v>397.2252894498653</c:v>
                </c:pt>
              </c:numCache>
            </c:numRef>
          </c:xVal>
          <c:yVal>
            <c:numRef>
              <c:f>Sheet1!$B$151:$B$152</c:f>
              <c:numCache>
                <c:formatCode>General</c:formatCode>
                <c:ptCount val="2"/>
                <c:pt idx="0">
                  <c:v>0.527922804400522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5:$A$156</c:f>
              <c:numCache>
                <c:formatCode>General</c:formatCode>
                <c:ptCount val="2"/>
                <c:pt idx="0">
                  <c:v>0</c:v>
                </c:pt>
                <c:pt idx="1">
                  <c:v>413.404331784997</c:v>
                </c:pt>
              </c:numCache>
            </c:numRef>
          </c:xVal>
          <c:yVal>
            <c:numRef>
              <c:f>Sheet1!$B$155:$B$156</c:f>
              <c:numCache>
                <c:formatCode>General</c:formatCode>
                <c:ptCount val="2"/>
                <c:pt idx="0">
                  <c:v>0.5066452509751252</c:v>
                </c:pt>
                <c:pt idx="1">
                  <c:v>0.5066452509751252</c:v>
                </c:pt>
              </c:numCache>
            </c:numRef>
          </c:yVal>
          <c:smooth val="0"/>
          <c:extLst>
            <c:ext xmlns:c16="http://schemas.microsoft.com/office/drawing/2014/chart" uri="{C3380CC4-5D6E-409C-BE32-E72D297353CC}">
              <c16:uniqueId val="{00000011-F32D-48B7-BC20-E66FC6253BAD}"/>
            </c:ext>
          </c:extLst>
        </c:ser>
        <c:ser>
          <c:idx val="7"/>
          <c:order val="7"/>
          <c:tx>
            <c:strRef>
              <c:f>Sheet1!$B$1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9:$A$160</c:f>
              <c:numCache>
                <c:formatCode>General</c:formatCode>
                <c:ptCount val="2"/>
                <c:pt idx="0">
                  <c:v>413.404331784997</c:v>
                </c:pt>
                <c:pt idx="1">
                  <c:v>413.404331784997</c:v>
                </c:pt>
              </c:numCache>
            </c:numRef>
          </c:xVal>
          <c:yVal>
            <c:numRef>
              <c:f>Sheet1!$B$159:$B$160</c:f>
              <c:numCache>
                <c:formatCode>General</c:formatCode>
                <c:ptCount val="2"/>
                <c:pt idx="0">
                  <c:v>0.50664525097512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3:$A$194</c:f>
              <c:numCache>
                <c:formatCode>General</c:formatCode>
                <c:ptCount val="32"/>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390.3143</c:v>
                </c:pt>
                <c:pt idx="24">
                  <c:v>406.0706</c:v>
                </c:pt>
                <c:pt idx="25">
                  <c:v>412.3964</c:v>
                </c:pt>
                <c:pt idx="26">
                  <c:v>412.0714</c:v>
                </c:pt>
                <c:pt idx="27">
                  <c:v>441.2921</c:v>
                </c:pt>
                <c:pt idx="28">
                  <c:v>446.5086</c:v>
                </c:pt>
                <c:pt idx="29">
                  <c:v>397.2252894498653</c:v>
                </c:pt>
                <c:pt idx="30">
                  <c:v>397.2252894498653</c:v>
                </c:pt>
                <c:pt idx="31">
                  <c:v>413.404331784997</c:v>
                </c:pt>
              </c:numCache>
            </c:numRef>
          </c:xVal>
          <c:yVal>
            <c:numRef>
              <c:f>Sheet1!$B$163:$B$194</c:f>
              <c:numCache>
                <c:formatCode>General</c:formatCode>
                <c:ptCount val="32"/>
                <c:pt idx="0">
                  <c:v>0.49940576192732067</c:v>
                </c:pt>
                <c:pt idx="1">
                  <c:v>0.46705631128857195</c:v>
                </c:pt>
                <c:pt idx="2">
                  <c:v>0.4521912587631597</c:v>
                </c:pt>
                <c:pt idx="3">
                  <c:v>0.45864447303508027</c:v>
                </c:pt>
                <c:pt idx="4">
                  <c:v>0.448277956191775</c:v>
                </c:pt>
                <c:pt idx="5">
                  <c:v>0.45093780780174464</c:v>
                </c:pt>
                <c:pt idx="6">
                  <c:v>0.45330412226494265</c:v>
                </c:pt>
                <c:pt idx="7">
                  <c:v>0.4878558905828285</c:v>
                </c:pt>
                <c:pt idx="8">
                  <c:v>0.4490617740209676</c:v>
                </c:pt>
                <c:pt idx="9">
                  <c:v>0.4323548811100114</c:v>
                </c:pt>
                <c:pt idx="10">
                  <c:v>0.4596897388247484</c:v>
                </c:pt>
                <c:pt idx="11">
                  <c:v>0.44506627578796465</c:v>
                </c:pt>
                <c:pt idx="12">
                  <c:v>0.4213281687125877</c:v>
                </c:pt>
                <c:pt idx="13">
                  <c:v>0.4110546316017052</c:v>
                </c:pt>
                <c:pt idx="14">
                  <c:v>0.4010124259608814</c:v>
                </c:pt>
                <c:pt idx="15">
                  <c:v>0.3798285655094268</c:v>
                </c:pt>
                <c:pt idx="16">
                  <c:v>0.3769079235042746</c:v>
                </c:pt>
                <c:pt idx="17">
                  <c:v>0.4058222530526695</c:v>
                </c:pt>
                <c:pt idx="18">
                  <c:v>0.44825914982439674</c:v>
                </c:pt>
                <c:pt idx="19">
                  <c:v>0.4442570759384644</c:v>
                </c:pt>
                <c:pt idx="20">
                  <c:v>0.4890877734026349</c:v>
                </c:pt>
                <c:pt idx="21">
                  <c:v>0.41464572717954595</c:v>
                </c:pt>
                <c:pt idx="22">
                  <c:v>0.48111347909506996</c:v>
                </c:pt>
                <c:pt idx="23">
                  <c:v>0.5370116580048269</c:v>
                </c:pt>
                <c:pt idx="24">
                  <c:v>0.5162900659543138</c:v>
                </c:pt>
                <c:pt idx="25">
                  <c:v>0.507970812894069</c:v>
                </c:pt>
                <c:pt idx="26">
                  <c:v>0.5083982303344844</c:v>
                </c:pt>
                <c:pt idx="27">
                  <c:v>0.4699691940232674</c:v>
                </c:pt>
                <c:pt idx="28">
                  <c:v>0.46310881532195414</c:v>
                </c:pt>
                <c:pt idx="29">
                  <c:v>0.5279228044005221</c:v>
                </c:pt>
                <c:pt idx="30">
                  <c:v>0.5279228044005221</c:v>
                </c:pt>
                <c:pt idx="31">
                  <c:v>0.50664525097512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4.0"/>
          <c:min val="2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74193548387097"/>
          <c:min val="0.15464684014869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8</c:f>
              <c:numCache>
                <c:formatCode>General</c:formatCode>
                <c:ptCount val="137"/>
                <c:pt idx="0">
                  <c:v>0.0</c:v>
                </c:pt>
                <c:pt idx="1">
                  <c:v>0.32978095733610824</c:v>
                </c:pt>
                <c:pt idx="2">
                  <c:v>0.0</c:v>
                </c:pt>
                <c:pt idx="3">
                  <c:v>0.0</c:v>
                </c:pt>
                <c:pt idx="4">
                  <c:v>0.0</c:v>
                </c:pt>
                <c:pt idx="5">
                  <c:v>0.0</c:v>
                </c:pt>
                <c:pt idx="6">
                  <c:v>0.0</c:v>
                </c:pt>
                <c:pt idx="7">
                  <c:v>0.0</c:v>
                </c:pt>
                <c:pt idx="8">
                  <c:v>0.0</c:v>
                </c:pt>
                <c:pt idx="9">
                  <c:v>0.0</c:v>
                </c:pt>
                <c:pt idx="10">
                  <c:v>0.0</c:v>
                </c:pt>
                <c:pt idx="11">
                  <c:v>0.0</c:v>
                </c:pt>
                <c:pt idx="12">
                  <c:v>0.2995863802559415</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4135490610328638</c:v>
                </c:pt>
                <c:pt idx="35">
                  <c:v>0.0</c:v>
                </c:pt>
                <c:pt idx="36">
                  <c:v>0.0</c:v>
                </c:pt>
                <c:pt idx="37">
                  <c:v>0.0</c:v>
                </c:pt>
                <c:pt idx="38">
                  <c:v>0.0</c:v>
                </c:pt>
                <c:pt idx="39">
                  <c:v>0.0</c:v>
                </c:pt>
                <c:pt idx="40">
                  <c:v>0.0</c:v>
                </c:pt>
                <c:pt idx="41">
                  <c:v>0.0</c:v>
                </c:pt>
                <c:pt idx="42">
                  <c:v>0.0</c:v>
                </c:pt>
                <c:pt idx="43">
                  <c:v>0.0</c:v>
                </c:pt>
                <c:pt idx="44">
                  <c:v>0.0</c:v>
                </c:pt>
                <c:pt idx="45">
                  <c:v>0.0</c:v>
                </c:pt>
                <c:pt idx="46">
                  <c:v>0.31703333333333333</c:v>
                </c:pt>
                <c:pt idx="47">
                  <c:v>0.21603196261682242</c:v>
                </c:pt>
                <c:pt idx="48">
                  <c:v>0.0</c:v>
                </c:pt>
                <c:pt idx="49">
                  <c:v>0.38617400761283305</c:v>
                </c:pt>
                <c:pt idx="50">
                  <c:v>0.26879553239017123</c:v>
                </c:pt>
                <c:pt idx="51">
                  <c:v>0.0</c:v>
                </c:pt>
                <c:pt idx="52">
                  <c:v>0.0</c:v>
                </c:pt>
                <c:pt idx="53">
                  <c:v>0.3703742195367573</c:v>
                </c:pt>
                <c:pt idx="54">
                  <c:v>0.0</c:v>
                </c:pt>
                <c:pt idx="55">
                  <c:v>0.5055054519368724</c:v>
                </c:pt>
                <c:pt idx="56">
                  <c:v>0.4113263387978142</c:v>
                </c:pt>
                <c:pt idx="57">
                  <c:v>0.4359880866425993</c:v>
                </c:pt>
                <c:pt idx="58">
                  <c:v>0.0</c:v>
                </c:pt>
                <c:pt idx="59">
                  <c:v>0.5115227498228206</c:v>
                </c:pt>
                <c:pt idx="60">
                  <c:v>0.5121724279835391</c:v>
                </c:pt>
                <c:pt idx="61">
                  <c:v>0.0</c:v>
                </c:pt>
                <c:pt idx="62">
                  <c:v>0.0</c:v>
                </c:pt>
                <c:pt idx="63">
                  <c:v>0.4495970884658455</c:v>
                </c:pt>
                <c:pt idx="64">
                  <c:v>0.43918786610878663</c:v>
                </c:pt>
                <c:pt idx="65">
                  <c:v>0.9175141242937853</c:v>
                </c:pt>
                <c:pt idx="66">
                  <c:v>0.0</c:v>
                </c:pt>
                <c:pt idx="67">
                  <c:v>0.0</c:v>
                </c:pt>
                <c:pt idx="68">
                  <c:v>0.0</c:v>
                </c:pt>
                <c:pt idx="69">
                  <c:v>0.43865828877005353</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3209408194233687</c:v>
                </c:pt>
                <c:pt idx="99">
                  <c:v>0.5776062713019768</c:v>
                </c:pt>
                <c:pt idx="100">
                  <c:v>0.26633390663390666</c:v>
                </c:pt>
                <c:pt idx="101">
                  <c:v>0.31906772009029344</c:v>
                </c:pt>
                <c:pt idx="102">
                  <c:v>0.4573689994815967</c:v>
                </c:pt>
                <c:pt idx="103">
                  <c:v>0.0</c:v>
                </c:pt>
                <c:pt idx="104">
                  <c:v>0.29416523407521106</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numCache>
            </c:numRef>
          </c:xVal>
          <c:yVal>
            <c:numRef>
              <c:f>Sheet1!$B$2:$B$138</c:f>
              <c:numCache>
                <c:formatCode>General</c:formatCode>
                <c:ptCount val="137"/>
                <c:pt idx="0">
                  <c:v>0.3107142857142857</c:v>
                </c:pt>
                <c:pt idx="1">
                  <c:v>0.32706766917293234</c:v>
                </c:pt>
                <c:pt idx="2">
                  <c:v>0.30597014925373134</c:v>
                </c:pt>
                <c:pt idx="3">
                  <c:v>0.34913793103448276</c:v>
                </c:pt>
                <c:pt idx="4">
                  <c:v>0.35148514851485146</c:v>
                </c:pt>
                <c:pt idx="5">
                  <c:v>0.45588235294117646</c:v>
                </c:pt>
                <c:pt idx="6">
                  <c:v>0.4977168949771689</c:v>
                </c:pt>
                <c:pt idx="7">
                  <c:v>0.40096618357487923</c:v>
                </c:pt>
                <c:pt idx="8">
                  <c:v>0.36666666666666664</c:v>
                </c:pt>
                <c:pt idx="9">
                  <c:v>0.35864978902953587</c:v>
                </c:pt>
                <c:pt idx="10">
                  <c:v>0.4226415094339623</c:v>
                </c:pt>
                <c:pt idx="11">
                  <c:v>0.34509803921568627</c:v>
                </c:pt>
                <c:pt idx="12">
                  <c:v>0.32673267326732675</c:v>
                </c:pt>
                <c:pt idx="13">
                  <c:v>0.3377926421404682</c:v>
                </c:pt>
                <c:pt idx="14">
                  <c:v>0.2919254658385093</c:v>
                </c:pt>
                <c:pt idx="15">
                  <c:v>0.28619528619528617</c:v>
                </c:pt>
                <c:pt idx="16">
                  <c:v>0.3409090909090909</c:v>
                </c:pt>
                <c:pt idx="17">
                  <c:v>0.25757575757575757</c:v>
                </c:pt>
                <c:pt idx="18">
                  <c:v>0.19330855018587362</c:v>
                </c:pt>
                <c:pt idx="19">
                  <c:v>0.21243523316062177</c:v>
                </c:pt>
                <c:pt idx="20">
                  <c:v>0.24324324324324326</c:v>
                </c:pt>
                <c:pt idx="21">
                  <c:v>0.2932330827067669</c:v>
                </c:pt>
                <c:pt idx="22">
                  <c:v>0.2948717948717949</c:v>
                </c:pt>
                <c:pt idx="23">
                  <c:v>0.3464052287581699</c:v>
                </c:pt>
                <c:pt idx="24">
                  <c:v>0.37566137566137564</c:v>
                </c:pt>
                <c:pt idx="25">
                  <c:v>0.41353383458646614</c:v>
                </c:pt>
                <c:pt idx="26">
                  <c:v>0.38596491228070173</c:v>
                </c:pt>
                <c:pt idx="27">
                  <c:v>0.48148148148148145</c:v>
                </c:pt>
                <c:pt idx="28">
                  <c:v>0.41509433962264153</c:v>
                </c:pt>
                <c:pt idx="29">
                  <c:v>0.4224137931034483</c:v>
                </c:pt>
                <c:pt idx="30">
                  <c:v>0.4727272727272727</c:v>
                </c:pt>
                <c:pt idx="31">
                  <c:v>0.37894736842105264</c:v>
                </c:pt>
                <c:pt idx="32">
                  <c:v>0.4732142857142857</c:v>
                </c:pt>
                <c:pt idx="33">
                  <c:v>0.40875912408759124</c:v>
                </c:pt>
                <c:pt idx="34">
                  <c:v>0.460431654676259</c:v>
                </c:pt>
                <c:pt idx="35">
                  <c:v>0.41139240506329117</c:v>
                </c:pt>
                <c:pt idx="36">
                  <c:v>0.3795620437956204</c:v>
                </c:pt>
                <c:pt idx="37">
                  <c:v>0.39316239316239315</c:v>
                </c:pt>
                <c:pt idx="38">
                  <c:v>0.3253968253968254</c:v>
                </c:pt>
                <c:pt idx="39">
                  <c:v>0.4444444444444444</c:v>
                </c:pt>
                <c:pt idx="40">
                  <c:v>0.38926174496644295</c:v>
                </c:pt>
                <c:pt idx="41">
                  <c:v>0.4195804195804196</c:v>
                </c:pt>
                <c:pt idx="42">
                  <c:v>0.391304347826087</c:v>
                </c:pt>
                <c:pt idx="43">
                  <c:v>0.375</c:v>
                </c:pt>
                <c:pt idx="44">
                  <c:v>0.4608695652173913</c:v>
                </c:pt>
                <c:pt idx="45">
                  <c:v>0.44483985765124556</c:v>
                </c:pt>
                <c:pt idx="46">
                  <c:v>0.4101123595505618</c:v>
                </c:pt>
                <c:pt idx="47">
                  <c:v>0.39762611275964393</c:v>
                </c:pt>
                <c:pt idx="48">
                  <c:v>0.41594827586206895</c:v>
                </c:pt>
                <c:pt idx="49">
                  <c:v>0.38764044943820225</c:v>
                </c:pt>
                <c:pt idx="50">
                  <c:v>0.35597826086956524</c:v>
                </c:pt>
                <c:pt idx="51">
                  <c:v>0.3649122807017544</c:v>
                </c:pt>
                <c:pt idx="52">
                  <c:v>0.30689655172413793</c:v>
                </c:pt>
                <c:pt idx="53">
                  <c:v>0.36554621848739494</c:v>
                </c:pt>
                <c:pt idx="54">
                  <c:v>0.3686635944700461</c:v>
                </c:pt>
                <c:pt idx="55">
                  <c:v>0.386046511627907</c:v>
                </c:pt>
                <c:pt idx="56">
                  <c:v>0.36666666666666664</c:v>
                </c:pt>
                <c:pt idx="57">
                  <c:v>0.4152542372881356</c:v>
                </c:pt>
                <c:pt idx="58">
                  <c:v>0.44776119402985076</c:v>
                </c:pt>
                <c:pt idx="59">
                  <c:v>0.4249084249084249</c:v>
                </c:pt>
                <c:pt idx="60">
                  <c:v>0.38671875</c:v>
                </c:pt>
                <c:pt idx="61">
                  <c:v>0.375</c:v>
                </c:pt>
                <c:pt idx="62">
                  <c:v>0.42084942084942084</c:v>
                </c:pt>
                <c:pt idx="63">
                  <c:v>0.37777777777777777</c:v>
                </c:pt>
                <c:pt idx="64">
                  <c:v>0.4247104247104247</c:v>
                </c:pt>
                <c:pt idx="65">
                  <c:v>0.36929460580912865</c:v>
                </c:pt>
                <c:pt idx="66">
                  <c:v>0.4553191489361702</c:v>
                </c:pt>
                <c:pt idx="67">
                  <c:v>0.4519230769230769</c:v>
                </c:pt>
                <c:pt idx="68">
                  <c:v>0.4</c:v>
                </c:pt>
                <c:pt idx="69">
                  <c:v>0.4198473282442748</c:v>
                </c:pt>
                <c:pt idx="70">
                  <c:v>0.42105263157894735</c:v>
                </c:pt>
                <c:pt idx="71">
                  <c:v>0.4247787610619469</c:v>
                </c:pt>
                <c:pt idx="72">
                  <c:v>0.4424778761061947</c:v>
                </c:pt>
                <c:pt idx="73">
                  <c:v>0.4105263157894737</c:v>
                </c:pt>
                <c:pt idx="74">
                  <c:v>0.40350877192982454</c:v>
                </c:pt>
                <c:pt idx="75">
                  <c:v>0.4375</c:v>
                </c:pt>
                <c:pt idx="76">
                  <c:v>0.4823529411764706</c:v>
                </c:pt>
                <c:pt idx="77">
                  <c:v>0.4367816091954023</c:v>
                </c:pt>
                <c:pt idx="78">
                  <c:v>0.4166666666666667</c:v>
                </c:pt>
                <c:pt idx="79">
                  <c:v>0.4144144144144144</c:v>
                </c:pt>
                <c:pt idx="80">
                  <c:v>0.4268292682926829</c:v>
                </c:pt>
                <c:pt idx="81">
                  <c:v>0.5</c:v>
                </c:pt>
                <c:pt idx="82">
                  <c:v>0.4805194805194805</c:v>
                </c:pt>
                <c:pt idx="83">
                  <c:v>0.4375</c:v>
                </c:pt>
                <c:pt idx="84">
                  <c:v>0.5178571428571429</c:v>
                </c:pt>
                <c:pt idx="85">
                  <c:v>0.4605263157894737</c:v>
                </c:pt>
                <c:pt idx="86">
                  <c:v>0.4608695652173913</c:v>
                </c:pt>
                <c:pt idx="87">
                  <c:v>0.43333333333333335</c:v>
                </c:pt>
                <c:pt idx="88">
                  <c:v>0.475</c:v>
                </c:pt>
                <c:pt idx="89">
                  <c:v>0.5</c:v>
                </c:pt>
                <c:pt idx="90">
                  <c:v>0.4461538461538462</c:v>
                </c:pt>
                <c:pt idx="91">
                  <c:v>0.45121951219512196</c:v>
                </c:pt>
                <c:pt idx="92">
                  <c:v>0.45454545454545453</c:v>
                </c:pt>
                <c:pt idx="93">
                  <c:v>0.4090909090909091</c:v>
                </c:pt>
                <c:pt idx="94">
                  <c:v>0.417910447761194</c:v>
                </c:pt>
                <c:pt idx="95">
                  <c:v>0.42857142857142855</c:v>
                </c:pt>
                <c:pt idx="96">
                  <c:v>0.3333333333333333</c:v>
                </c:pt>
                <c:pt idx="97">
                  <c:v>0.3891891891891892</c:v>
                </c:pt>
                <c:pt idx="98">
                  <c:v>0.40358744394618834</c:v>
                </c:pt>
                <c:pt idx="99">
                  <c:v>0.4429530201342282</c:v>
                </c:pt>
                <c:pt idx="100">
                  <c:v>0.4515366430260047</c:v>
                </c:pt>
                <c:pt idx="101">
                  <c:v>0.4326241134751773</c:v>
                </c:pt>
                <c:pt idx="102">
                  <c:v>0.4473684210526316</c:v>
                </c:pt>
                <c:pt idx="103">
                  <c:v>0.47342995169082125</c:v>
                </c:pt>
                <c:pt idx="104">
                  <c:v>0.46540880503144655</c:v>
                </c:pt>
                <c:pt idx="105">
                  <c:v>0.43558282208588955</c:v>
                </c:pt>
                <c:pt idx="106">
                  <c:v>0.4540540540540541</c:v>
                </c:pt>
                <c:pt idx="107">
                  <c:v>0.4585635359116022</c:v>
                </c:pt>
                <c:pt idx="108">
                  <c:v>0.32903225806451614</c:v>
                </c:pt>
                <c:pt idx="109">
                  <c:v>0.43529411764705883</c:v>
                </c:pt>
                <c:pt idx="110">
                  <c:v>0.4631578947368421</c:v>
                </c:pt>
                <c:pt idx="111">
                  <c:v>0.4</c:v>
                </c:pt>
                <c:pt idx="112">
                  <c:v>0.5196078431372549</c:v>
                </c:pt>
                <c:pt idx="113">
                  <c:v>0.4936708860759494</c:v>
                </c:pt>
                <c:pt idx="114">
                  <c:v>0.4943820224719101</c:v>
                </c:pt>
                <c:pt idx="115">
                  <c:v>0.4878048780487805</c:v>
                </c:pt>
                <c:pt idx="116">
                  <c:v>0.47959183673469385</c:v>
                </c:pt>
                <c:pt idx="117">
                  <c:v>0.43333333333333335</c:v>
                </c:pt>
                <c:pt idx="118">
                  <c:v>0.4861111111111111</c:v>
                </c:pt>
                <c:pt idx="119">
                  <c:v>0.48484848484848486</c:v>
                </c:pt>
                <c:pt idx="120">
                  <c:v>0.5340909090909091</c:v>
                </c:pt>
                <c:pt idx="121">
                  <c:v>0.573170731707317</c:v>
                </c:pt>
                <c:pt idx="122">
                  <c:v>0.47619047619047616</c:v>
                </c:pt>
                <c:pt idx="123">
                  <c:v>0.5660377358490566</c:v>
                </c:pt>
                <c:pt idx="124">
                  <c:v>0.5428571428571428</c:v>
                </c:pt>
                <c:pt idx="125">
                  <c:v>0.5566037735849056</c:v>
                </c:pt>
                <c:pt idx="126">
                  <c:v>0.484375</c:v>
                </c:pt>
                <c:pt idx="127">
                  <c:v>0.5</c:v>
                </c:pt>
                <c:pt idx="128">
                  <c:v>0.4883720930232558</c:v>
                </c:pt>
                <c:pt idx="129">
                  <c:v>0.43548387096774194</c:v>
                </c:pt>
                <c:pt idx="130">
                  <c:v>0.5</c:v>
                </c:pt>
                <c:pt idx="131">
                  <c:v>0.4421052631578947</c:v>
                </c:pt>
                <c:pt idx="132">
                  <c:v>0.47058823529411764</c:v>
                </c:pt>
                <c:pt idx="133">
                  <c:v>0.5053763440860215</c:v>
                </c:pt>
                <c:pt idx="134">
                  <c:v>0.47674418604651164</c:v>
                </c:pt>
                <c:pt idx="135">
                  <c:v>0.5285714285714286</c:v>
                </c:pt>
                <c:pt idx="136">
                  <c:v>0.490272373540856</c:v>
                </c:pt>
              </c:numCache>
            </c:numRef>
          </c:yVal>
          <c:smooth val="0"/>
          <c:extLst>
            <c:ext xmlns:c16="http://schemas.microsoft.com/office/drawing/2014/chart" uri="{C3380CC4-5D6E-409C-BE32-E72D297353CC}">
              <c16:uniqueId val="{00000000-096C-4121-9522-6AB7243CCAAE}"/>
            </c:ext>
          </c:extLst>
        </c:ser>
        <c:ser>
          <c:idx val="1"/>
          <c:order val="1"/>
          <c:tx>
            <c:strRef>
              <c:f>Sheet1!$B$14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1:$A$160</c:f>
              <c:numCache>
                <c:formatCode>General</c:formatCode>
                <c:ptCount val="20"/>
                <c:pt idx="0">
                  <c:v>0.32075735068912714</c:v>
                </c:pt>
                <c:pt idx="1">
                  <c:v>0.49062578209277236</c:v>
                </c:pt>
                <c:pt idx="2">
                  <c:v>0.6847841704718417</c:v>
                </c:pt>
                <c:pt idx="3">
                  <c:v>0.327181048097631</c:v>
                </c:pt>
                <c:pt idx="4">
                  <c:v>0.26126536346976176</c:v>
                </c:pt>
                <c:pt idx="5">
                  <c:v>0.3813091743119266</c:v>
                </c:pt>
                <c:pt idx="6">
                  <c:v>0.43149063360881545</c:v>
                </c:pt>
                <c:pt idx="7">
                  <c:v>0.31919573560767595</c:v>
                </c:pt>
                <c:pt idx="8">
                  <c:v>0.36774095085896924</c:v>
                </c:pt>
                <c:pt idx="9">
                  <c:v>0.5571086779266162</c:v>
                </c:pt>
                <c:pt idx="10">
                  <c:v>0.8618609929078015</c:v>
                </c:pt>
                <c:pt idx="11">
                  <c:v>0.25164526159921025</c:v>
                </c:pt>
                <c:pt idx="12">
                  <c:v>0.37015510040160643</c:v>
                </c:pt>
                <c:pt idx="13">
                  <c:v>0.35763757039420757</c:v>
                </c:pt>
                <c:pt idx="14">
                  <c:v>0.3217674644727001</c:v>
                </c:pt>
                <c:pt idx="15">
                  <c:v>0.3974026832774317</c:v>
                </c:pt>
                <c:pt idx="16">
                  <c:v>0.32771981528127625</c:v>
                </c:pt>
                <c:pt idx="17">
                  <c:v>0.33559553719008267</c:v>
                </c:pt>
                <c:pt idx="18">
                  <c:v>0.517745933427686</c:v>
                </c:pt>
                <c:pt idx="19">
                  <c:v>0.3405862700228833</c:v>
                </c:pt>
              </c:numCache>
            </c:numRef>
          </c:xVal>
          <c:yVal>
            <c:numRef>
              <c:f>Sheet1!$B$141:$B$160</c:f>
              <c:numCache>
                <c:formatCode>General</c:formatCode>
                <c:ptCount val="20"/>
                <c:pt idx="0">
                  <c:v>0.4556213017751479</c:v>
                </c:pt>
                <c:pt idx="1">
                  <c:v>0.4438202247191011</c:v>
                </c:pt>
                <c:pt idx="2">
                  <c:v>0.484375</c:v>
                </c:pt>
                <c:pt idx="3">
                  <c:v>0.46060606060606063</c:v>
                </c:pt>
                <c:pt idx="4">
                  <c:v>0.525974025974026</c:v>
                </c:pt>
                <c:pt idx="5">
                  <c:v>0.44274809160305345</c:v>
                </c:pt>
                <c:pt idx="6">
                  <c:v>0.4601226993865031</c:v>
                </c:pt>
                <c:pt idx="7">
                  <c:v>0.4742857142857143</c:v>
                </c:pt>
                <c:pt idx="8">
                  <c:v>0.32644628099173556</c:v>
                </c:pt>
                <c:pt idx="9">
                  <c:v>0.37894736842105264</c:v>
                </c:pt>
                <c:pt idx="10">
                  <c:v>0.37222222222222223</c:v>
                </c:pt>
                <c:pt idx="11">
                  <c:v>0.36363636363636365</c:v>
                </c:pt>
                <c:pt idx="12">
                  <c:v>0.46788990825688076</c:v>
                </c:pt>
                <c:pt idx="13">
                  <c:v>0.42592592592592593</c:v>
                </c:pt>
                <c:pt idx="14">
                  <c:v>0.46715328467153283</c:v>
                </c:pt>
                <c:pt idx="15">
                  <c:v>0.4860335195530726</c:v>
                </c:pt>
                <c:pt idx="16">
                  <c:v>0.5645161290322581</c:v>
                </c:pt>
                <c:pt idx="17">
                  <c:v>0.4913294797687861</c:v>
                </c:pt>
                <c:pt idx="18">
                  <c:v>0.49171270718232046</c:v>
                </c:pt>
                <c:pt idx="19">
                  <c:v>0.473469387755102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2273978278487832</c:v>
                </c:pt>
              </c:numCache>
            </c:numRef>
          </c:xVal>
          <c:yVal>
            <c:numRef>
              <c:f>Sheet1!$B$163:$B$164</c:f>
              <c:numCache>
                <c:formatCode>General</c:formatCode>
                <c:ptCount val="2"/>
                <c:pt idx="0">
                  <c:v>0.5076459566021632</c:v>
                </c:pt>
                <c:pt idx="1">
                  <c:v>0.507645956602163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2273978278487832</c:v>
                </c:pt>
                <c:pt idx="1">
                  <c:v>-0.12273978278487832</c:v>
                </c:pt>
              </c:numCache>
            </c:numRef>
          </c:xVal>
          <c:yVal>
            <c:numRef>
              <c:f>Sheet1!$B$167:$B$168</c:f>
              <c:numCache>
                <c:formatCode>General</c:formatCode>
                <c:ptCount val="2"/>
                <c:pt idx="0">
                  <c:v>0.50764595660216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2273978278487832</c:v>
                </c:pt>
              </c:numCache>
            </c:numRef>
          </c:xVal>
          <c:yVal>
            <c:numRef>
              <c:f>Sheet1!$B$171:$B$172</c:f>
              <c:numCache>
                <c:formatCode>General</c:formatCode>
                <c:ptCount val="2"/>
                <c:pt idx="0">
                  <c:v>0.5076459566021632</c:v>
                </c:pt>
                <c:pt idx="1">
                  <c:v>0.50764595660216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2273978278487832</c:v>
                </c:pt>
                <c:pt idx="1">
                  <c:v>-0.12273978278487832</c:v>
                </c:pt>
              </c:numCache>
            </c:numRef>
          </c:xVal>
          <c:yVal>
            <c:numRef>
              <c:f>Sheet1!$B$175:$B$176</c:f>
              <c:numCache>
                <c:formatCode>General</c:formatCode>
                <c:ptCount val="2"/>
                <c:pt idx="0">
                  <c:v>0.5076459566021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129038316435881</c:v>
                </c:pt>
              </c:numCache>
            </c:numRef>
          </c:xVal>
          <c:yVal>
            <c:numRef>
              <c:f>Sheet1!$B$179:$B$180</c:f>
              <c:numCache>
                <c:formatCode>General</c:formatCode>
                <c:ptCount val="2"/>
                <c:pt idx="0">
                  <c:v>0.4856767895835252</c:v>
                </c:pt>
                <c:pt idx="1">
                  <c:v>0.48567678958352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129038316435881</c:v>
                </c:pt>
                <c:pt idx="1">
                  <c:v>0.09129038316435881</c:v>
                </c:pt>
              </c:numCache>
            </c:numRef>
          </c:xVal>
          <c:yVal>
            <c:numRef>
              <c:f>Sheet1!$B$183:$B$184</c:f>
              <c:numCache>
                <c:formatCode>General</c:formatCode>
                <c:ptCount val="2"/>
                <c:pt idx="0">
                  <c:v>0.48567678958352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09</c:f>
              <c:numCache>
                <c:formatCode>General</c:formatCode>
                <c:ptCount val="23"/>
                <c:pt idx="0">
                  <c:v>0.32075735068912714</c:v>
                </c:pt>
                <c:pt idx="1">
                  <c:v>0.49062578209277236</c:v>
                </c:pt>
                <c:pt idx="2">
                  <c:v>0.6847841704718417</c:v>
                </c:pt>
                <c:pt idx="3">
                  <c:v>0.327181048097631</c:v>
                </c:pt>
                <c:pt idx="4">
                  <c:v>0.26126536346976176</c:v>
                </c:pt>
                <c:pt idx="5">
                  <c:v>0.3813091743119266</c:v>
                </c:pt>
                <c:pt idx="6">
                  <c:v>0.43149063360881545</c:v>
                </c:pt>
                <c:pt idx="7">
                  <c:v>0.31919573560767595</c:v>
                </c:pt>
                <c:pt idx="8">
                  <c:v>0.36774095085896924</c:v>
                </c:pt>
                <c:pt idx="9">
                  <c:v>0.5571086779266162</c:v>
                </c:pt>
                <c:pt idx="10">
                  <c:v>0.8618609929078015</c:v>
                </c:pt>
                <c:pt idx="11">
                  <c:v>0.25164526159921025</c:v>
                </c:pt>
                <c:pt idx="12">
                  <c:v>0.37015510040160643</c:v>
                </c:pt>
                <c:pt idx="13">
                  <c:v>0.35763757039420757</c:v>
                </c:pt>
                <c:pt idx="14">
                  <c:v>0.3217674644727001</c:v>
                </c:pt>
                <c:pt idx="15">
                  <c:v>0.3974026832774317</c:v>
                </c:pt>
                <c:pt idx="16">
                  <c:v>0.32771981528127625</c:v>
                </c:pt>
                <c:pt idx="17">
                  <c:v>0.33559553719008267</c:v>
                </c:pt>
                <c:pt idx="18">
                  <c:v>0.517745933427686</c:v>
                </c:pt>
                <c:pt idx="19">
                  <c:v>0.3405862700228833</c:v>
                </c:pt>
                <c:pt idx="20">
                  <c:v>-0.12273978278487832</c:v>
                </c:pt>
                <c:pt idx="21">
                  <c:v>-0.12273978278487832</c:v>
                </c:pt>
                <c:pt idx="22">
                  <c:v>0.09129038316435881</c:v>
                </c:pt>
              </c:numCache>
            </c:numRef>
          </c:xVal>
          <c:yVal>
            <c:numRef>
              <c:f>Sheet1!$B$187:$B$209</c:f>
              <c:numCache>
                <c:formatCode>General</c:formatCode>
                <c:ptCount val="23"/>
                <c:pt idx="0">
                  <c:v>0.4621231091364071</c:v>
                </c:pt>
                <c:pt idx="1">
                  <c:v>0.4446869317445443</c:v>
                </c:pt>
                <c:pt idx="2">
                  <c:v>0.4247575071073601</c:v>
                </c:pt>
                <c:pt idx="3">
                  <c:v>0.4614637474963377</c:v>
                </c:pt>
                <c:pt idx="4">
                  <c:v>0.4682296754594127</c:v>
                </c:pt>
                <c:pt idx="5">
                  <c:v>0.45590775570455533</c:v>
                </c:pt>
                <c:pt idx="6">
                  <c:v>0.45075687028780614</c:v>
                </c:pt>
                <c:pt idx="7">
                  <c:v>0.4622834014129236</c:v>
                </c:pt>
                <c:pt idx="8">
                  <c:v>0.45730046857688433</c:v>
                </c:pt>
                <c:pt idx="9">
                  <c:v>0.43786278227954395</c:v>
                </c:pt>
                <c:pt idx="10">
                  <c:v>0.4065814230494336</c:v>
                </c:pt>
                <c:pt idx="11">
                  <c:v>0.4692171326423435</c:v>
                </c:pt>
                <c:pt idx="12">
                  <c:v>0.4570526677387411</c:v>
                </c:pt>
                <c:pt idx="13">
                  <c:v>0.45833753198287097</c:v>
                </c:pt>
                <c:pt idx="14">
                  <c:v>0.4620194258153167</c:v>
                </c:pt>
                <c:pt idx="15">
                  <c:v>0.4542558344213518</c:v>
                </c:pt>
                <c:pt idx="16">
                  <c:v>0.46140844563648453</c:v>
                </c:pt>
                <c:pt idx="17">
                  <c:v>0.46060004066590693</c:v>
                </c:pt>
                <c:pt idx="18">
                  <c:v>0.44190317866186546</c:v>
                </c:pt>
                <c:pt idx="19">
                  <c:v>0.46008776594676665</c:v>
                </c:pt>
                <c:pt idx="20">
                  <c:v>0.5076459566021632</c:v>
                </c:pt>
                <c:pt idx="21">
                  <c:v>0.5076459566021632</c:v>
                </c:pt>
                <c:pt idx="22">
                  <c:v>0.48567678958352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78048780487804"/>
          <c:min val="0.15464684014869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1.8161</c:v>
                </c:pt>
                <c:pt idx="1">
                  <c:v>316.9195</c:v>
                </c:pt>
                <c:pt idx="2">
                  <c:v>322.9268</c:v>
                </c:pt>
                <c:pt idx="3">
                  <c:v>318.6914</c:v>
                </c:pt>
                <c:pt idx="4">
                  <c:v>322.662</c:v>
                </c:pt>
                <c:pt idx="5">
                  <c:v>318.5699</c:v>
                </c:pt>
                <c:pt idx="6">
                  <c:v>317.1009</c:v>
                </c:pt>
                <c:pt idx="7">
                  <c:v>321.9036</c:v>
                </c:pt>
                <c:pt idx="8">
                  <c:v>318.4394</c:v>
                </c:pt>
                <c:pt idx="9">
                  <c:v>314.4588</c:v>
                </c:pt>
                <c:pt idx="10">
                  <c:v>316.8661</c:v>
                </c:pt>
                <c:pt idx="11">
                  <c:v>325.6136</c:v>
                </c:pt>
                <c:pt idx="12">
                  <c:v>327.7475</c:v>
                </c:pt>
                <c:pt idx="13">
                  <c:v>319.5347</c:v>
                </c:pt>
                <c:pt idx="14">
                  <c:v>323.734</c:v>
                </c:pt>
                <c:pt idx="15">
                  <c:v>324.2824</c:v>
                </c:pt>
                <c:pt idx="16">
                  <c:v>326.6</c:v>
                </c:pt>
                <c:pt idx="17">
                  <c:v>329.5294</c:v>
                </c:pt>
                <c:pt idx="18">
                  <c:v>329.2115</c:v>
                </c:pt>
                <c:pt idx="19">
                  <c:v>337.0488</c:v>
                </c:pt>
                <c:pt idx="20">
                  <c:v>334.2037</c:v>
                </c:pt>
                <c:pt idx="21">
                  <c:v>334.6923</c:v>
                </c:pt>
                <c:pt idx="22">
                  <c:v>326.7174</c:v>
                </c:pt>
                <c:pt idx="23">
                  <c:v>333.5849</c:v>
                </c:pt>
                <c:pt idx="24">
                  <c:v>351.338</c:v>
                </c:pt>
                <c:pt idx="25">
                  <c:v>353.8909</c:v>
                </c:pt>
                <c:pt idx="26">
                  <c:v>356.6591</c:v>
                </c:pt>
                <c:pt idx="27">
                  <c:v>347.0154</c:v>
                </c:pt>
                <c:pt idx="28">
                  <c:v>346.8636</c:v>
                </c:pt>
                <c:pt idx="29">
                  <c:v>357.2653</c:v>
                </c:pt>
                <c:pt idx="30">
                  <c:v>337.6154</c:v>
                </c:pt>
                <c:pt idx="31">
                  <c:v>370.4167</c:v>
                </c:pt>
                <c:pt idx="32">
                  <c:v>364.8868</c:v>
                </c:pt>
                <c:pt idx="33">
                  <c:v>345.2857</c:v>
                </c:pt>
                <c:pt idx="34">
                  <c:v>352.3438</c:v>
                </c:pt>
                <c:pt idx="35">
                  <c:v>356.2615</c:v>
                </c:pt>
                <c:pt idx="36">
                  <c:v>353.4808</c:v>
                </c:pt>
                <c:pt idx="37">
                  <c:v>352.1522</c:v>
                </c:pt>
                <c:pt idx="38">
                  <c:v>359.4878</c:v>
                </c:pt>
                <c:pt idx="39">
                  <c:v>346.9375</c:v>
                </c:pt>
                <c:pt idx="40">
                  <c:v>352.7759</c:v>
                </c:pt>
                <c:pt idx="41">
                  <c:v>345.45</c:v>
                </c:pt>
                <c:pt idx="42">
                  <c:v>349.9365</c:v>
                </c:pt>
                <c:pt idx="43">
                  <c:v>351.2609</c:v>
                </c:pt>
                <c:pt idx="44">
                  <c:v>344.8774</c:v>
                </c:pt>
                <c:pt idx="45">
                  <c:v>342.168</c:v>
                </c:pt>
                <c:pt idx="46">
                  <c:v>354.7603</c:v>
                </c:pt>
                <c:pt idx="47">
                  <c:v>346.7313</c:v>
                </c:pt>
                <c:pt idx="48">
                  <c:v>353.4715</c:v>
                </c:pt>
                <c:pt idx="49">
                  <c:v>355.087</c:v>
                </c:pt>
                <c:pt idx="50">
                  <c:v>360.9924</c:v>
                </c:pt>
                <c:pt idx="51">
                  <c:v>383.4038</c:v>
                </c:pt>
                <c:pt idx="52">
                  <c:v>372.6067</c:v>
                </c:pt>
                <c:pt idx="53">
                  <c:v>367.7816</c:v>
                </c:pt>
                <c:pt idx="54">
                  <c:v>370.7625</c:v>
                </c:pt>
                <c:pt idx="55">
                  <c:v>352.3373</c:v>
                </c:pt>
                <c:pt idx="56">
                  <c:v>376.3636</c:v>
                </c:pt>
                <c:pt idx="57">
                  <c:v>362.3061</c:v>
                </c:pt>
                <c:pt idx="58">
                  <c:v>334.3167</c:v>
                </c:pt>
                <c:pt idx="59">
                  <c:v>360.8793</c:v>
                </c:pt>
                <c:pt idx="60">
                  <c:v>373.3737</c:v>
                </c:pt>
                <c:pt idx="61">
                  <c:v>374.0278</c:v>
                </c:pt>
                <c:pt idx="62">
                  <c:v>356.7431</c:v>
                </c:pt>
                <c:pt idx="63">
                  <c:v>401.4902</c:v>
                </c:pt>
                <c:pt idx="64">
                  <c:v>419.8636</c:v>
                </c:pt>
                <c:pt idx="65">
                  <c:v>406.0</c:v>
                </c:pt>
                <c:pt idx="66">
                  <c:v>394.6729</c:v>
                </c:pt>
                <c:pt idx="67">
                  <c:v>396.617</c:v>
                </c:pt>
                <c:pt idx="68">
                  <c:v>410.4559</c:v>
                </c:pt>
                <c:pt idx="69">
                  <c:v>410.1455</c:v>
                </c:pt>
                <c:pt idx="70">
                  <c:v>408.125</c:v>
                </c:pt>
                <c:pt idx="71">
                  <c:v>443.2708</c:v>
                </c:pt>
                <c:pt idx="72">
                  <c:v>464.82</c:v>
                </c:pt>
                <c:pt idx="73">
                  <c:v>441.359</c:v>
                </c:pt>
                <c:pt idx="74">
                  <c:v>463.7174</c:v>
                </c:pt>
                <c:pt idx="75">
                  <c:v>441.9048</c:v>
                </c:pt>
                <c:pt idx="76">
                  <c:v>448.5854</c:v>
                </c:pt>
                <c:pt idx="77">
                  <c:v>465.6316</c:v>
                </c:pt>
                <c:pt idx="78">
                  <c:v>446.4286</c:v>
                </c:pt>
                <c:pt idx="79">
                  <c:v>460.8478</c:v>
                </c:pt>
                <c:pt idx="80">
                  <c:v>477.2</c:v>
                </c:pt>
                <c:pt idx="81">
                  <c:v>461.9808</c:v>
                </c:pt>
                <c:pt idx="82">
                  <c:v>482.8649</c:v>
                </c:pt>
                <c:pt idx="83">
                  <c:v>467.1905</c:v>
                </c:pt>
                <c:pt idx="84">
                  <c:v>439.931</c:v>
                </c:pt>
                <c:pt idx="85">
                  <c:v>451.7429</c:v>
                </c:pt>
                <c:pt idx="86">
                  <c:v>443.566</c:v>
                </c:pt>
                <c:pt idx="87">
                  <c:v>435.5962</c:v>
                </c:pt>
                <c:pt idx="88">
                  <c:v>458.5526</c:v>
                </c:pt>
                <c:pt idx="89">
                  <c:v>423.0294</c:v>
                </c:pt>
                <c:pt idx="90">
                  <c:v>467.8966</c:v>
                </c:pt>
                <c:pt idx="91">
                  <c:v>461.3243</c:v>
                </c:pt>
                <c:pt idx="92">
                  <c:v>449.475</c:v>
                </c:pt>
                <c:pt idx="93">
                  <c:v>462.1944</c:v>
                </c:pt>
                <c:pt idx="94">
                  <c:v>457.3571</c:v>
                </c:pt>
                <c:pt idx="95">
                  <c:v>447.9259</c:v>
                </c:pt>
                <c:pt idx="96">
                  <c:v>471.8</c:v>
                </c:pt>
                <c:pt idx="97">
                  <c:v>441.0833</c:v>
                </c:pt>
                <c:pt idx="98">
                  <c:v>423.0</c:v>
                </c:pt>
                <c:pt idx="99">
                  <c:v>423.6742</c:v>
                </c:pt>
                <c:pt idx="100">
                  <c:v>433.5916</c:v>
                </c:pt>
                <c:pt idx="101">
                  <c:v>424.041</c:v>
                </c:pt>
                <c:pt idx="102">
                  <c:v>441.1324</c:v>
                </c:pt>
                <c:pt idx="103">
                  <c:v>396.2551</c:v>
                </c:pt>
                <c:pt idx="104">
                  <c:v>383.2973</c:v>
                </c:pt>
              </c:numCache>
            </c:numRef>
          </c:xVal>
          <c:yVal>
            <c:numRef>
              <c:f>Sheet1!$B$2:$B$106</c:f>
              <c:numCache>
                <c:formatCode>General</c:formatCode>
                <c:ptCount val="105"/>
                <c:pt idx="0">
                  <c:v>0.3107142857142857</c:v>
                </c:pt>
                <c:pt idx="1">
                  <c:v>0.32706766917293234</c:v>
                </c:pt>
                <c:pt idx="2">
                  <c:v>0.30597014925373134</c:v>
                </c:pt>
                <c:pt idx="3">
                  <c:v>0.34913793103448276</c:v>
                </c:pt>
                <c:pt idx="4">
                  <c:v>0.35148514851485146</c:v>
                </c:pt>
                <c:pt idx="5">
                  <c:v>0.45588235294117646</c:v>
                </c:pt>
                <c:pt idx="6">
                  <c:v>0.4977168949771689</c:v>
                </c:pt>
                <c:pt idx="7">
                  <c:v>0.40096618357487923</c:v>
                </c:pt>
                <c:pt idx="8">
                  <c:v>0.36666666666666664</c:v>
                </c:pt>
                <c:pt idx="9">
                  <c:v>0.35864978902953587</c:v>
                </c:pt>
                <c:pt idx="10">
                  <c:v>0.4226415094339623</c:v>
                </c:pt>
                <c:pt idx="11">
                  <c:v>0.34509803921568627</c:v>
                </c:pt>
                <c:pt idx="12">
                  <c:v>0.32673267326732675</c:v>
                </c:pt>
                <c:pt idx="13">
                  <c:v>0.3377926421404682</c:v>
                </c:pt>
                <c:pt idx="14">
                  <c:v>0.2919254658385093</c:v>
                </c:pt>
                <c:pt idx="15">
                  <c:v>0.28619528619528617</c:v>
                </c:pt>
                <c:pt idx="16">
                  <c:v>0.3409090909090909</c:v>
                </c:pt>
                <c:pt idx="17">
                  <c:v>0.25757575757575757</c:v>
                </c:pt>
                <c:pt idx="18">
                  <c:v>0.19330855018587362</c:v>
                </c:pt>
                <c:pt idx="19">
                  <c:v>0.21243523316062177</c:v>
                </c:pt>
                <c:pt idx="20">
                  <c:v>0.24324324324324326</c:v>
                </c:pt>
                <c:pt idx="21">
                  <c:v>0.2932330827067669</c:v>
                </c:pt>
                <c:pt idx="22">
                  <c:v>0.2948717948717949</c:v>
                </c:pt>
                <c:pt idx="23">
                  <c:v>0.3464052287581699</c:v>
                </c:pt>
                <c:pt idx="24">
                  <c:v>0.37566137566137564</c:v>
                </c:pt>
                <c:pt idx="25">
                  <c:v>0.41353383458646614</c:v>
                </c:pt>
                <c:pt idx="26">
                  <c:v>0.38596491228070173</c:v>
                </c:pt>
                <c:pt idx="27">
                  <c:v>0.48148148148148145</c:v>
                </c:pt>
                <c:pt idx="28">
                  <c:v>0.41509433962264153</c:v>
                </c:pt>
                <c:pt idx="29">
                  <c:v>0.4224137931034483</c:v>
                </c:pt>
                <c:pt idx="30">
                  <c:v>0.4727272727272727</c:v>
                </c:pt>
                <c:pt idx="31">
                  <c:v>0.37894736842105264</c:v>
                </c:pt>
                <c:pt idx="32">
                  <c:v>0.4732142857142857</c:v>
                </c:pt>
                <c:pt idx="33">
                  <c:v>0.40875912408759124</c:v>
                </c:pt>
                <c:pt idx="34">
                  <c:v>0.460431654676259</c:v>
                </c:pt>
                <c:pt idx="35">
                  <c:v>0.41139240506329117</c:v>
                </c:pt>
                <c:pt idx="36">
                  <c:v>0.3795620437956204</c:v>
                </c:pt>
                <c:pt idx="37">
                  <c:v>0.39316239316239315</c:v>
                </c:pt>
                <c:pt idx="38">
                  <c:v>0.3253968253968254</c:v>
                </c:pt>
                <c:pt idx="39">
                  <c:v>0.4444444444444444</c:v>
                </c:pt>
                <c:pt idx="40">
                  <c:v>0.38926174496644295</c:v>
                </c:pt>
                <c:pt idx="41">
                  <c:v>0.4195804195804196</c:v>
                </c:pt>
                <c:pt idx="42">
                  <c:v>0.391304347826087</c:v>
                </c:pt>
                <c:pt idx="43">
                  <c:v>0.375</c:v>
                </c:pt>
                <c:pt idx="44">
                  <c:v>0.4608695652173913</c:v>
                </c:pt>
                <c:pt idx="45">
                  <c:v>0.44483985765124556</c:v>
                </c:pt>
                <c:pt idx="46">
                  <c:v>0.4101123595505618</c:v>
                </c:pt>
                <c:pt idx="47">
                  <c:v>0.39762611275964393</c:v>
                </c:pt>
                <c:pt idx="48">
                  <c:v>0.41594827586206895</c:v>
                </c:pt>
                <c:pt idx="49">
                  <c:v>0.38764044943820225</c:v>
                </c:pt>
                <c:pt idx="50">
                  <c:v>0.35597826086956524</c:v>
                </c:pt>
                <c:pt idx="51">
                  <c:v>0.3649122807017544</c:v>
                </c:pt>
                <c:pt idx="52">
                  <c:v>0.30689655172413793</c:v>
                </c:pt>
                <c:pt idx="53">
                  <c:v>0.36554621848739494</c:v>
                </c:pt>
                <c:pt idx="54">
                  <c:v>0.3686635944700461</c:v>
                </c:pt>
                <c:pt idx="55">
                  <c:v>0.386046511627907</c:v>
                </c:pt>
                <c:pt idx="56">
                  <c:v>0.36666666666666664</c:v>
                </c:pt>
                <c:pt idx="57">
                  <c:v>0.4152542372881356</c:v>
                </c:pt>
                <c:pt idx="58">
                  <c:v>0.44776119402985076</c:v>
                </c:pt>
                <c:pt idx="59">
                  <c:v>0.4249084249084249</c:v>
                </c:pt>
                <c:pt idx="60">
                  <c:v>0.38671875</c:v>
                </c:pt>
                <c:pt idx="61">
                  <c:v>0.375</c:v>
                </c:pt>
                <c:pt idx="62">
                  <c:v>0.42084942084942084</c:v>
                </c:pt>
                <c:pt idx="63">
                  <c:v>0.37777777777777777</c:v>
                </c:pt>
                <c:pt idx="64">
                  <c:v>0.4247104247104247</c:v>
                </c:pt>
                <c:pt idx="65">
                  <c:v>0.36929460580912865</c:v>
                </c:pt>
                <c:pt idx="66">
                  <c:v>0.4553191489361702</c:v>
                </c:pt>
                <c:pt idx="67">
                  <c:v>0.4519230769230769</c:v>
                </c:pt>
                <c:pt idx="68">
                  <c:v>0.4</c:v>
                </c:pt>
                <c:pt idx="69">
                  <c:v>0.4198473282442748</c:v>
                </c:pt>
                <c:pt idx="70">
                  <c:v>0.42105263157894735</c:v>
                </c:pt>
                <c:pt idx="71">
                  <c:v>0.4247787610619469</c:v>
                </c:pt>
                <c:pt idx="72">
                  <c:v>0.4424778761061947</c:v>
                </c:pt>
                <c:pt idx="73">
                  <c:v>0.4105263157894737</c:v>
                </c:pt>
                <c:pt idx="74">
                  <c:v>0.40350877192982454</c:v>
                </c:pt>
                <c:pt idx="75">
                  <c:v>0.4375</c:v>
                </c:pt>
                <c:pt idx="76">
                  <c:v>0.4823529411764706</c:v>
                </c:pt>
                <c:pt idx="77">
                  <c:v>0.4367816091954023</c:v>
                </c:pt>
                <c:pt idx="78">
                  <c:v>0.4166666666666667</c:v>
                </c:pt>
                <c:pt idx="79">
                  <c:v>0.4144144144144144</c:v>
                </c:pt>
                <c:pt idx="80">
                  <c:v>0.4268292682926829</c:v>
                </c:pt>
                <c:pt idx="81">
                  <c:v>0.5</c:v>
                </c:pt>
                <c:pt idx="82">
                  <c:v>0.4805194805194805</c:v>
                </c:pt>
                <c:pt idx="83">
                  <c:v>0.4375</c:v>
                </c:pt>
                <c:pt idx="84">
                  <c:v>0.5178571428571429</c:v>
                </c:pt>
                <c:pt idx="85">
                  <c:v>0.4605263157894737</c:v>
                </c:pt>
                <c:pt idx="86">
                  <c:v>0.4608695652173913</c:v>
                </c:pt>
                <c:pt idx="87">
                  <c:v>0.43333333333333335</c:v>
                </c:pt>
                <c:pt idx="88">
                  <c:v>0.475</c:v>
                </c:pt>
                <c:pt idx="89">
                  <c:v>0.5</c:v>
                </c:pt>
                <c:pt idx="90">
                  <c:v>0.4461538461538462</c:v>
                </c:pt>
                <c:pt idx="91">
                  <c:v>0.45121951219512196</c:v>
                </c:pt>
                <c:pt idx="92">
                  <c:v>0.45454545454545453</c:v>
                </c:pt>
                <c:pt idx="93">
                  <c:v>0.4090909090909091</c:v>
                </c:pt>
                <c:pt idx="94">
                  <c:v>0.417910447761194</c:v>
                </c:pt>
                <c:pt idx="95">
                  <c:v>0.42857142857142855</c:v>
                </c:pt>
                <c:pt idx="96">
                  <c:v>0.3333333333333333</c:v>
                </c:pt>
                <c:pt idx="97">
                  <c:v>0.3891891891891892</c:v>
                </c:pt>
                <c:pt idx="98">
                  <c:v>0.40358744394618834</c:v>
                </c:pt>
                <c:pt idx="99">
                  <c:v>0.4429530201342282</c:v>
                </c:pt>
                <c:pt idx="100">
                  <c:v>0.4515366430260047</c:v>
                </c:pt>
                <c:pt idx="101">
                  <c:v>0.4326241134751773</c:v>
                </c:pt>
                <c:pt idx="102">
                  <c:v>0.4473684210526316</c:v>
                </c:pt>
                <c:pt idx="103">
                  <c:v>0.47342995169082125</c:v>
                </c:pt>
                <c:pt idx="104">
                  <c:v>0.465408805031446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numCache>
            </c:numRef>
          </c:xVal>
          <c:yVal>
            <c:numRef>
              <c:f>Sheet1!$B$109:$B$160</c:f>
              <c:numCache>
                <c:formatCode>General</c:formatCode>
                <c:ptCount val="52"/>
                <c:pt idx="0">
                  <c:v>0.4556213017751479</c:v>
                </c:pt>
                <c:pt idx="1">
                  <c:v>0.43558282208588955</c:v>
                </c:pt>
                <c:pt idx="2">
                  <c:v>0.4438202247191011</c:v>
                </c:pt>
                <c:pt idx="3">
                  <c:v>0.484375</c:v>
                </c:pt>
                <c:pt idx="4">
                  <c:v>0.4540540540540541</c:v>
                </c:pt>
                <c:pt idx="5">
                  <c:v>0.46060606060606063</c:v>
                </c:pt>
                <c:pt idx="6">
                  <c:v>0.4585635359116022</c:v>
                </c:pt>
                <c:pt idx="7">
                  <c:v>0.525974025974026</c:v>
                </c:pt>
                <c:pt idx="8">
                  <c:v>0.44274809160305345</c:v>
                </c:pt>
                <c:pt idx="9">
                  <c:v>0.4601226993865031</c:v>
                </c:pt>
                <c:pt idx="10">
                  <c:v>0.4742857142857143</c:v>
                </c:pt>
                <c:pt idx="11">
                  <c:v>0.32644628099173556</c:v>
                </c:pt>
                <c:pt idx="12">
                  <c:v>0.37894736842105264</c:v>
                </c:pt>
                <c:pt idx="13">
                  <c:v>0.37222222222222223</c:v>
                </c:pt>
                <c:pt idx="14">
                  <c:v>0.32903225806451614</c:v>
                </c:pt>
                <c:pt idx="15">
                  <c:v>0.36363636363636365</c:v>
                </c:pt>
                <c:pt idx="16">
                  <c:v>0.43529411764705883</c:v>
                </c:pt>
                <c:pt idx="17">
                  <c:v>0.4631578947368421</c:v>
                </c:pt>
                <c:pt idx="18">
                  <c:v>0.4</c:v>
                </c:pt>
                <c:pt idx="19">
                  <c:v>0.46788990825688076</c:v>
                </c:pt>
                <c:pt idx="20">
                  <c:v>0.5196078431372549</c:v>
                </c:pt>
                <c:pt idx="21">
                  <c:v>0.4936708860759494</c:v>
                </c:pt>
                <c:pt idx="22">
                  <c:v>0.4943820224719101</c:v>
                </c:pt>
                <c:pt idx="23">
                  <c:v>0.4878048780487805</c:v>
                </c:pt>
                <c:pt idx="24">
                  <c:v>0.47959183673469385</c:v>
                </c:pt>
                <c:pt idx="25">
                  <c:v>0.43333333333333335</c:v>
                </c:pt>
                <c:pt idx="26">
                  <c:v>0.4861111111111111</c:v>
                </c:pt>
                <c:pt idx="27">
                  <c:v>0.48484848484848486</c:v>
                </c:pt>
                <c:pt idx="28">
                  <c:v>0.5340909090909091</c:v>
                </c:pt>
                <c:pt idx="29">
                  <c:v>0.573170731707317</c:v>
                </c:pt>
                <c:pt idx="30">
                  <c:v>0.47619047619047616</c:v>
                </c:pt>
                <c:pt idx="31">
                  <c:v>0.5660377358490566</c:v>
                </c:pt>
                <c:pt idx="32">
                  <c:v>0.5428571428571428</c:v>
                </c:pt>
                <c:pt idx="33">
                  <c:v>0.5566037735849056</c:v>
                </c:pt>
                <c:pt idx="34">
                  <c:v>0.484375</c:v>
                </c:pt>
                <c:pt idx="35">
                  <c:v>0.5</c:v>
                </c:pt>
                <c:pt idx="36">
                  <c:v>0.4883720930232558</c:v>
                </c:pt>
                <c:pt idx="37">
                  <c:v>0.43548387096774194</c:v>
                </c:pt>
                <c:pt idx="38">
                  <c:v>0.5</c:v>
                </c:pt>
                <c:pt idx="39">
                  <c:v>0.4421052631578947</c:v>
                </c:pt>
                <c:pt idx="40">
                  <c:v>0.47058823529411764</c:v>
                </c:pt>
                <c:pt idx="41">
                  <c:v>0.5053763440860215</c:v>
                </c:pt>
                <c:pt idx="42">
                  <c:v>0.47674418604651164</c:v>
                </c:pt>
                <c:pt idx="43">
                  <c:v>0.42592592592592593</c:v>
                </c:pt>
                <c:pt idx="44">
                  <c:v>0.46715328467153283</c:v>
                </c:pt>
                <c:pt idx="45">
                  <c:v>0.4860335195530726</c:v>
                </c:pt>
                <c:pt idx="46">
                  <c:v>0.5645161290322581</c:v>
                </c:pt>
                <c:pt idx="47">
                  <c:v>0.4913294797687861</c:v>
                </c:pt>
                <c:pt idx="48">
                  <c:v>0.5285714285714286</c:v>
                </c:pt>
                <c:pt idx="49">
                  <c:v>0.490272373540856</c:v>
                </c:pt>
                <c:pt idx="50">
                  <c:v>0.49171270718232046</c:v>
                </c:pt>
                <c:pt idx="51">
                  <c:v>0.473469387755102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12.9504885626914</c:v>
                </c:pt>
              </c:numCache>
            </c:numRef>
          </c:xVal>
          <c:yVal>
            <c:numRef>
              <c:f>Sheet1!$B$163:$B$164</c:f>
              <c:numCache>
                <c:formatCode>General</c:formatCode>
                <c:ptCount val="2"/>
                <c:pt idx="0">
                  <c:v>0.5076459566021632</c:v>
                </c:pt>
                <c:pt idx="1">
                  <c:v>0.507645956602163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12.9504885626914</c:v>
                </c:pt>
                <c:pt idx="1">
                  <c:v>412.9504885626914</c:v>
                </c:pt>
              </c:numCache>
            </c:numRef>
          </c:xVal>
          <c:yVal>
            <c:numRef>
              <c:f>Sheet1!$B$167:$B$168</c:f>
              <c:numCache>
                <c:formatCode>General</c:formatCode>
                <c:ptCount val="2"/>
                <c:pt idx="0">
                  <c:v>0.50764595660216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12.9504885626914</c:v>
                </c:pt>
              </c:numCache>
            </c:numRef>
          </c:xVal>
          <c:yVal>
            <c:numRef>
              <c:f>Sheet1!$B$171:$B$172</c:f>
              <c:numCache>
                <c:formatCode>General</c:formatCode>
                <c:ptCount val="2"/>
                <c:pt idx="0">
                  <c:v>0.5076459566021632</c:v>
                </c:pt>
                <c:pt idx="1">
                  <c:v>0.50764595660216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12.9504885626914</c:v>
                </c:pt>
                <c:pt idx="1">
                  <c:v>412.9504885626914</c:v>
                </c:pt>
              </c:numCache>
            </c:numRef>
          </c:xVal>
          <c:yVal>
            <c:numRef>
              <c:f>Sheet1!$B$175:$B$176</c:f>
              <c:numCache>
                <c:formatCode>General</c:formatCode>
                <c:ptCount val="2"/>
                <c:pt idx="0">
                  <c:v>0.5076459566021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5.7479681628258</c:v>
                </c:pt>
              </c:numCache>
            </c:numRef>
          </c:xVal>
          <c:yVal>
            <c:numRef>
              <c:f>Sheet1!$B$179:$B$180</c:f>
              <c:numCache>
                <c:formatCode>General</c:formatCode>
                <c:ptCount val="2"/>
                <c:pt idx="0">
                  <c:v>0.4856767895835252</c:v>
                </c:pt>
                <c:pt idx="1">
                  <c:v>0.48567678958352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5.7479681628258</c:v>
                </c:pt>
                <c:pt idx="1">
                  <c:v>435.7479681628258</c:v>
                </c:pt>
              </c:numCache>
            </c:numRef>
          </c:xVal>
          <c:yVal>
            <c:numRef>
              <c:f>Sheet1!$B$183:$B$184</c:f>
              <c:numCache>
                <c:formatCode>General</c:formatCode>
                <c:ptCount val="2"/>
                <c:pt idx="0">
                  <c:v>0.48567678958352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8.9091</c:v>
                </c:pt>
                <c:pt idx="1">
                  <c:v>443.507</c:v>
                </c:pt>
                <c:pt idx="2">
                  <c:v>454.8101</c:v>
                </c:pt>
                <c:pt idx="3">
                  <c:v>449.9032</c:v>
                </c:pt>
                <c:pt idx="4">
                  <c:v>457.7857</c:v>
                </c:pt>
                <c:pt idx="5">
                  <c:v>455.7632</c:v>
                </c:pt>
                <c:pt idx="6">
                  <c:v>453.9639</c:v>
                </c:pt>
                <c:pt idx="7">
                  <c:v>427.6914</c:v>
                </c:pt>
                <c:pt idx="8">
                  <c:v>457.1897</c:v>
                </c:pt>
                <c:pt idx="9">
                  <c:v>469.8933</c:v>
                </c:pt>
                <c:pt idx="10">
                  <c:v>449.1084</c:v>
                </c:pt>
                <c:pt idx="11">
                  <c:v>460.2278</c:v>
                </c:pt>
                <c:pt idx="12">
                  <c:v>478.2778</c:v>
                </c:pt>
                <c:pt idx="13">
                  <c:v>486.0896</c:v>
                </c:pt>
                <c:pt idx="14">
                  <c:v>493.7255</c:v>
                </c:pt>
                <c:pt idx="15">
                  <c:v>509.8333</c:v>
                </c:pt>
                <c:pt idx="16">
                  <c:v>512.0541</c:v>
                </c:pt>
                <c:pt idx="17">
                  <c:v>490.0682</c:v>
                </c:pt>
                <c:pt idx="18">
                  <c:v>457.8</c:v>
                </c:pt>
                <c:pt idx="19">
                  <c:v>460.8431</c:v>
                </c:pt>
                <c:pt idx="20">
                  <c:v>426.7547</c:v>
                </c:pt>
                <c:pt idx="21">
                  <c:v>483.359</c:v>
                </c:pt>
                <c:pt idx="22">
                  <c:v>432.8182</c:v>
                </c:pt>
                <c:pt idx="23">
                  <c:v>436.725</c:v>
                </c:pt>
                <c:pt idx="24">
                  <c:v>449.8936</c:v>
                </c:pt>
                <c:pt idx="25">
                  <c:v>437.3077</c:v>
                </c:pt>
                <c:pt idx="26">
                  <c:v>491.2571</c:v>
                </c:pt>
                <c:pt idx="27">
                  <c:v>475.0</c:v>
                </c:pt>
                <c:pt idx="28">
                  <c:v>463.2553</c:v>
                </c:pt>
                <c:pt idx="29">
                  <c:v>434.7021</c:v>
                </c:pt>
                <c:pt idx="30">
                  <c:v>484.7</c:v>
                </c:pt>
                <c:pt idx="31">
                  <c:v>455.6333</c:v>
                </c:pt>
                <c:pt idx="32">
                  <c:v>441.0526</c:v>
                </c:pt>
                <c:pt idx="33">
                  <c:v>443.7797</c:v>
                </c:pt>
                <c:pt idx="34">
                  <c:v>464.4194</c:v>
                </c:pt>
                <c:pt idx="35">
                  <c:v>464.3182</c:v>
                </c:pt>
                <c:pt idx="36">
                  <c:v>459.1905</c:v>
                </c:pt>
                <c:pt idx="37">
                  <c:v>463.4444</c:v>
                </c:pt>
                <c:pt idx="38">
                  <c:v>399.2632</c:v>
                </c:pt>
                <c:pt idx="39">
                  <c:v>435.6905</c:v>
                </c:pt>
                <c:pt idx="40">
                  <c:v>447.7</c:v>
                </c:pt>
                <c:pt idx="41">
                  <c:v>469.1915</c:v>
                </c:pt>
                <c:pt idx="42">
                  <c:v>415.5122</c:v>
                </c:pt>
                <c:pt idx="43">
                  <c:v>444.5435</c:v>
                </c:pt>
                <c:pt idx="44">
                  <c:v>430.2031</c:v>
                </c:pt>
                <c:pt idx="45">
                  <c:v>414.6897</c:v>
                </c:pt>
                <c:pt idx="46">
                  <c:v>390.3143</c:v>
                </c:pt>
                <c:pt idx="47">
                  <c:v>406.0706</c:v>
                </c:pt>
                <c:pt idx="48">
                  <c:v>412.3964</c:v>
                </c:pt>
                <c:pt idx="49">
                  <c:v>412.0714</c:v>
                </c:pt>
                <c:pt idx="50">
                  <c:v>441.2921</c:v>
                </c:pt>
                <c:pt idx="51">
                  <c:v>446.5086</c:v>
                </c:pt>
                <c:pt idx="52">
                  <c:v>412.9504885626914</c:v>
                </c:pt>
                <c:pt idx="53">
                  <c:v>412.9504885626914</c:v>
                </c:pt>
                <c:pt idx="54">
                  <c:v>435.7479681628258</c:v>
                </c:pt>
              </c:numCache>
            </c:numRef>
          </c:xVal>
          <c:yVal>
            <c:numRef>
              <c:f>Sheet1!$B$187:$B$241</c:f>
              <c:numCache>
                <c:formatCode>General</c:formatCode>
                <c:ptCount val="55"/>
                <c:pt idx="0">
                  <c:v>0.5019038424666766</c:v>
                </c:pt>
                <c:pt idx="1">
                  <c:v>0.47819967065092167</c:v>
                </c:pt>
                <c:pt idx="2">
                  <c:v>0.46730725201149886</c:v>
                </c:pt>
                <c:pt idx="3">
                  <c:v>0.47203586708362805</c:v>
                </c:pt>
                <c:pt idx="4">
                  <c:v>0.46443976602062315</c:v>
                </c:pt>
                <c:pt idx="5">
                  <c:v>0.46638878148525087</c:v>
                </c:pt>
                <c:pt idx="6">
                  <c:v>0.46812270659056826</c:v>
                </c:pt>
                <c:pt idx="7">
                  <c:v>0.49344063430104035</c:v>
                </c:pt>
                <c:pt idx="8">
                  <c:v>0.46501411124530456</c:v>
                </c:pt>
                <c:pt idx="9">
                  <c:v>0.45277207769452893</c:v>
                </c:pt>
                <c:pt idx="10">
                  <c:v>0.4728017892054011</c:v>
                </c:pt>
                <c:pt idx="11">
                  <c:v>0.4620863960991561</c:v>
                </c:pt>
                <c:pt idx="12">
                  <c:v>0.44469221605637294</c:v>
                </c:pt>
                <c:pt idx="13">
                  <c:v>0.4371642462138126</c:v>
                </c:pt>
                <c:pt idx="14">
                  <c:v>0.42980578530585206</c:v>
                </c:pt>
                <c:pt idx="15">
                  <c:v>0.41428323830900204</c:v>
                </c:pt>
                <c:pt idx="16">
                  <c:v>0.412143127780525</c:v>
                </c:pt>
                <c:pt idx="17">
                  <c:v>0.43333020273911915</c:v>
                </c:pt>
                <c:pt idx="18">
                  <c:v>0.4644259855898968</c:v>
                </c:pt>
                <c:pt idx="19">
                  <c:v>0.46149345211132653</c:v>
                </c:pt>
                <c:pt idx="20">
                  <c:v>0.49434330069694477</c:v>
                </c:pt>
                <c:pt idx="21">
                  <c:v>0.43979563391601895</c:v>
                </c:pt>
                <c:pt idx="22">
                  <c:v>0.4885001089689993</c:v>
                </c:pt>
                <c:pt idx="23">
                  <c:v>0.4847352567478832</c:v>
                </c:pt>
                <c:pt idx="24">
                  <c:v>0.472045118281878</c:v>
                </c:pt>
                <c:pt idx="25">
                  <c:v>0.48417372828744387</c:v>
                </c:pt>
                <c:pt idx="26">
                  <c:v>0.432184499655858</c:v>
                </c:pt>
                <c:pt idx="27">
                  <c:v>0.4478509220588236</c:v>
                </c:pt>
                <c:pt idx="28">
                  <c:v>0.45916889581774195</c:v>
                </c:pt>
                <c:pt idx="29">
                  <c:v>0.4866846576791046</c:v>
                </c:pt>
                <c:pt idx="30">
                  <c:v>0.4385033571604859</c:v>
                </c:pt>
                <c:pt idx="31">
                  <c:v>0.4665139617615698</c:v>
                </c:pt>
                <c:pt idx="32">
                  <c:v>0.4805648936701465</c:v>
                </c:pt>
                <c:pt idx="33">
                  <c:v>0.47793687880063546</c:v>
                </c:pt>
                <c:pt idx="34">
                  <c:v>0.45804709166329294</c:v>
                </c:pt>
                <c:pt idx="35">
                  <c:v>0.4581446147115107</c:v>
                </c:pt>
                <c:pt idx="36">
                  <c:v>0.4630860073433876</c:v>
                </c:pt>
                <c:pt idx="37">
                  <c:v>0.4589866664855486</c:v>
                </c:pt>
                <c:pt idx="38">
                  <c:v>0.5208359378518574</c:v>
                </c:pt>
                <c:pt idx="39">
                  <c:v>0.4857321697259585</c:v>
                </c:pt>
                <c:pt idx="40">
                  <c:v>0.47415901708198044</c:v>
                </c:pt>
                <c:pt idx="41">
                  <c:v>0.45344837883325606</c:v>
                </c:pt>
                <c:pt idx="42">
                  <c:v>0.5051773211474151</c:v>
                </c:pt>
                <c:pt idx="43">
                  <c:v>0.47720083033987765</c:v>
                </c:pt>
                <c:pt idx="44">
                  <c:v>0.4910201931922615</c:v>
                </c:pt>
                <c:pt idx="45">
                  <c:v>0.505969936830805</c:v>
                </c:pt>
                <c:pt idx="46">
                  <c:v>0.5294596928537889</c:v>
                </c:pt>
                <c:pt idx="47">
                  <c:v>0.5142758746261931</c:v>
                </c:pt>
                <c:pt idx="48">
                  <c:v>0.5081799131793987</c:v>
                </c:pt>
                <c:pt idx="49">
                  <c:v>0.5084931047868173</c:v>
                </c:pt>
                <c:pt idx="50">
                  <c:v>0.48033409554714107</c:v>
                </c:pt>
                <c:pt idx="51">
                  <c:v>0.4753071293314525</c:v>
                </c:pt>
                <c:pt idx="52">
                  <c:v>0.5076459566021632</c:v>
                </c:pt>
                <c:pt idx="53">
                  <c:v>0.5076459566021632</c:v>
                </c:pt>
                <c:pt idx="54">
                  <c:v>0.48567678958352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4.0"/>
          <c:min val="2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878048780487804"/>
          <c:min val="0.15464684014869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90710915735008</c:v>
                </c:pt>
                <c:pt idx="1">
                  <c:v>0.6935854406480654</c:v>
                </c:pt>
                <c:pt idx="2">
                  <c:v>0.655277984015074</c:v>
                </c:pt>
                <c:pt idx="3">
                  <c:v>0.6044898690180001</c:v>
                </c:pt>
                <c:pt idx="4">
                  <c:v>0.628473765331479</c:v>
                </c:pt>
                <c:pt idx="5">
                  <c:v>0.6263464996991365</c:v>
                </c:pt>
                <c:pt idx="6">
                  <c:v>0.6024433519349891</c:v>
                </c:pt>
                <c:pt idx="7">
                  <c:v>0.5887774140096272</c:v>
                </c:pt>
                <c:pt idx="8">
                  <c:v>0.5985438080679071</c:v>
                </c:pt>
                <c:pt idx="9">
                  <c:v>0.652086116085559</c:v>
                </c:pt>
                <c:pt idx="10">
                  <c:v>0.6445391689544684</c:v>
                </c:pt>
                <c:pt idx="11">
                  <c:v>0.6970291787718071</c:v>
                </c:pt>
                <c:pt idx="12">
                  <c:v>0.7186193376925809</c:v>
                </c:pt>
                <c:pt idx="13">
                  <c:v>0.7079629214403427</c:v>
                </c:pt>
                <c:pt idx="14">
                  <c:v>0.7030873916950469</c:v>
                </c:pt>
                <c:pt idx="15">
                  <c:v>0.674433482317254</c:v>
                </c:pt>
                <c:pt idx="16">
                  <c:v>0.6772057936913685</c:v>
                </c:pt>
                <c:pt idx="17">
                  <c:v>0.7053289999832599</c:v>
                </c:pt>
                <c:pt idx="18">
                  <c:v>0.7379457626581613</c:v>
                </c:pt>
                <c:pt idx="19">
                  <c:v>0.7251920837876061</c:v>
                </c:pt>
                <c:pt idx="20">
                  <c:v>0.7422054722770548</c:v>
                </c:pt>
                <c:pt idx="21">
                  <c:v>0.6985378163471815</c:v>
                </c:pt>
                <c:pt idx="22">
                  <c:v>0.6414908156377499</c:v>
                </c:pt>
                <c:pt idx="23">
                  <c:v>0.589004470320685</c:v>
                </c:pt>
                <c:pt idx="24">
                  <c:v>0.5636276536340519</c:v>
                </c:pt>
                <c:pt idx="25">
                  <c:v>0.5725932992764998</c:v>
                </c:pt>
                <c:pt idx="26">
                  <c:v>0.5648612294280322</c:v>
                </c:pt>
                <c:pt idx="27">
                  <c:v>0.570686694010004</c:v>
                </c:pt>
                <c:pt idx="28">
                  <c:v>0.5564847732735114</c:v>
                </c:pt>
                <c:pt idx="29">
                  <c:v>0.5277957655741667</c:v>
                </c:pt>
                <c:pt idx="30">
                  <c:v>0.543163272331849</c:v>
                </c:pt>
                <c:pt idx="31">
                  <c:v>0.5200900039032458</c:v>
                </c:pt>
                <c:pt idx="32">
                  <c:v>0.5156294084451095</c:v>
                </c:pt>
                <c:pt idx="33">
                  <c:v>0.4608558831692211</c:v>
                </c:pt>
                <c:pt idx="34">
                  <c:v>0.5093082493274124</c:v>
                </c:pt>
                <c:pt idx="35">
                  <c:v>0.5870444645377975</c:v>
                </c:pt>
                <c:pt idx="36">
                  <c:v>0.6328581462391304</c:v>
                </c:pt>
                <c:pt idx="37">
                  <c:v>0.6064361565065556</c:v>
                </c:pt>
                <c:pt idx="38">
                  <c:v>0.6256753636744481</c:v>
                </c:pt>
                <c:pt idx="39">
                  <c:v>0.6318781004976414</c:v>
                </c:pt>
                <c:pt idx="40">
                  <c:v>0.6482732289890014</c:v>
                </c:pt>
                <c:pt idx="41">
                  <c:v>0.6197402336972987</c:v>
                </c:pt>
                <c:pt idx="42">
                  <c:v>0.6646923956709929</c:v>
                </c:pt>
                <c:pt idx="43">
                  <c:v>0.6895628747617093</c:v>
                </c:pt>
                <c:pt idx="44">
                  <c:v>0.6434930878193713</c:v>
                </c:pt>
                <c:pt idx="45">
                  <c:v>0.6874155767463735</c:v>
                </c:pt>
                <c:pt idx="46">
                  <c:v>0.6796515784982401</c:v>
                </c:pt>
                <c:pt idx="47">
                  <c:v>0.7182780148211843</c:v>
                </c:pt>
                <c:pt idx="48">
                  <c:v>0.7151150813346189</c:v>
                </c:pt>
                <c:pt idx="49">
                  <c:v>0.7425469482017577</c:v>
                </c:pt>
                <c:pt idx="50">
                  <c:v>0.6568511554470898</c:v>
                </c:pt>
                <c:pt idx="51">
                  <c:v>0.6671085452793488</c:v>
                </c:pt>
                <c:pt idx="52">
                  <c:v>0.6689480401017658</c:v>
                </c:pt>
                <c:pt idx="53">
                  <c:v>0.6546012483948239</c:v>
                </c:pt>
                <c:pt idx="54">
                  <c:v>0.619280208202179</c:v>
                </c:pt>
                <c:pt idx="55">
                  <c:v>0.6325792867590282</c:v>
                </c:pt>
                <c:pt idx="56">
                  <c:v>0.6433948456176445</c:v>
                </c:pt>
                <c:pt idx="57">
                  <c:v>0.6546760498533948</c:v>
                </c:pt>
                <c:pt idx="58">
                  <c:v>0.6266360804893991</c:v>
                </c:pt>
                <c:pt idx="59">
                  <c:v>0.6433540363598379</c:v>
                </c:pt>
                <c:pt idx="60">
                  <c:v>0.6514656772331308</c:v>
                </c:pt>
                <c:pt idx="61">
                  <c:v>0.679144438347232</c:v>
                </c:pt>
                <c:pt idx="62">
                  <c:v>0.6714602742759991</c:v>
                </c:pt>
                <c:pt idx="63">
                  <c:v>0.6919454786662667</c:v>
                </c:pt>
                <c:pt idx="64">
                  <c:v>0.7502563693084655</c:v>
                </c:pt>
                <c:pt idx="65">
                  <c:v>0.7859902043203725</c:v>
                </c:pt>
                <c:pt idx="66">
                  <c:v>0.7655872887576894</c:v>
                </c:pt>
                <c:pt idx="67">
                  <c:v>0.7822908743233717</c:v>
                </c:pt>
                <c:pt idx="68">
                  <c:v>0.778983061521166</c:v>
                </c:pt>
                <c:pt idx="69">
                  <c:v>0.8101589062626403</c:v>
                </c:pt>
                <c:pt idx="70">
                  <c:v>0.77306234298707</c:v>
                </c:pt>
                <c:pt idx="71">
                  <c:v>0.7361468095582868</c:v>
                </c:pt>
                <c:pt idx="72">
                  <c:v>0.8372130822000641</c:v>
                </c:pt>
                <c:pt idx="73">
                  <c:v>0.793780429410243</c:v>
                </c:pt>
                <c:pt idx="74">
                  <c:v>0.7372661454939275</c:v>
                </c:pt>
                <c:pt idx="75">
                  <c:v>0.6774317105283563</c:v>
                </c:pt>
                <c:pt idx="76">
                  <c:v>0.6997226838036135</c:v>
                </c:pt>
                <c:pt idx="77">
                  <c:v>0.7201323563554539</c:v>
                </c:pt>
                <c:pt idx="78">
                  <c:v>0.7334547126924491</c:v>
                </c:pt>
                <c:pt idx="79">
                  <c:v>0.7270352067909777</c:v>
                </c:pt>
                <c:pt idx="80">
                  <c:v>0.7607702123425142</c:v>
                </c:pt>
                <c:pt idx="81">
                  <c:v>0.7632326473943379</c:v>
                </c:pt>
                <c:pt idx="82">
                  <c:v>0.723764354681052</c:v>
                </c:pt>
                <c:pt idx="83">
                  <c:v>0.675188034041987</c:v>
                </c:pt>
                <c:pt idx="84">
                  <c:v>0.694751349288557</c:v>
                </c:pt>
                <c:pt idx="85">
                  <c:v>0.7041405328850475</c:v>
                </c:pt>
                <c:pt idx="86">
                  <c:v>0.6983670850777702</c:v>
                </c:pt>
                <c:pt idx="87">
                  <c:v>0.7209366469971756</c:v>
                </c:pt>
                <c:pt idx="88">
                  <c:v>0.7032601173317579</c:v>
                </c:pt>
                <c:pt idx="89">
                  <c:v>0.6427947205916438</c:v>
                </c:pt>
                <c:pt idx="90">
                  <c:v>0.6607872896391536</c:v>
                </c:pt>
                <c:pt idx="91">
                  <c:v>0.6791964656078933</c:v>
                </c:pt>
                <c:pt idx="92">
                  <c:v>0.7047211570173113</c:v>
                </c:pt>
                <c:pt idx="93">
                  <c:v>0.7417725007782539</c:v>
                </c:pt>
                <c:pt idx="94">
                  <c:v>0.7109143766443657</c:v>
                </c:pt>
                <c:pt idx="95">
                  <c:v>0.6930517971026996</c:v>
                </c:pt>
                <c:pt idx="96">
                  <c:v>0.7690096178993215</c:v>
                </c:pt>
                <c:pt idx="97">
                  <c:v>0.7774734090816127</c:v>
                </c:pt>
                <c:pt idx="98">
                  <c:v>0.7742646541451884</c:v>
                </c:pt>
                <c:pt idx="99">
                  <c:v>0.7872755267722825</c:v>
                </c:pt>
                <c:pt idx="100">
                  <c:v>0.786768214246313</c:v>
                </c:pt>
                <c:pt idx="101">
                  <c:v>0.7408088967214853</c:v>
                </c:pt>
                <c:pt idx="102">
                  <c:v>0.7426424974076231</c:v>
                </c:pt>
                <c:pt idx="103">
                  <c:v>0.7386269963028513</c:v>
                </c:pt>
                <c:pt idx="104">
                  <c:v>0.7515239130165131</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85294622475985</c:v>
                </c:pt>
                <c:pt idx="1">
                  <c:v>0.7245710702609853</c:v>
                </c:pt>
                <c:pt idx="2">
                  <c:v>0.7368932065059812</c:v>
                </c:pt>
                <c:pt idx="3">
                  <c:v>0.6622265049375284</c:v>
                </c:pt>
                <c:pt idx="4">
                  <c:v>0.6975026444452623</c:v>
                </c:pt>
                <c:pt idx="5">
                  <c:v>0.7542934480734467</c:v>
                </c:pt>
                <c:pt idx="6">
                  <c:v>0.7399277756658479</c:v>
                </c:pt>
                <c:pt idx="7">
                  <c:v>0.7235854816873529</c:v>
                </c:pt>
                <c:pt idx="8">
                  <c:v>0.7268741251990503</c:v>
                </c:pt>
                <c:pt idx="9">
                  <c:v>0.7364060180610803</c:v>
                </c:pt>
                <c:pt idx="10">
                  <c:v>0.7640065987873265</c:v>
                </c:pt>
                <c:pt idx="11">
                  <c:v>0.7313295719844358</c:v>
                </c:pt>
                <c:pt idx="12">
                  <c:v>0.7344198124078695</c:v>
                </c:pt>
                <c:pt idx="13">
                  <c:v>0.7323882302075139</c:v>
                </c:pt>
                <c:pt idx="14">
                  <c:v>0.7336235867441381</c:v>
                </c:pt>
                <c:pt idx="15">
                  <c:v>0.7089204666249214</c:v>
                </c:pt>
                <c:pt idx="16">
                  <c:v>0.7168323635178636</c:v>
                </c:pt>
                <c:pt idx="17">
                  <c:v>0.6526954234775925</c:v>
                </c:pt>
                <c:pt idx="18">
                  <c:v>0.7003779626639156</c:v>
                </c:pt>
                <c:pt idx="19">
                  <c:v>0.6939261037159073</c:v>
                </c:pt>
                <c:pt idx="20">
                  <c:v>0.6809656772402668</c:v>
                </c:pt>
                <c:pt idx="21">
                  <c:v>0.6643161673246714</c:v>
                </c:pt>
                <c:pt idx="22">
                  <c:v>0.6848283922600608</c:v>
                </c:pt>
                <c:pt idx="23">
                  <c:v>0.6936888391333663</c:v>
                </c:pt>
                <c:pt idx="24">
                  <c:v>0.6833646178127528</c:v>
                </c:pt>
                <c:pt idx="25">
                  <c:v>0.7206146739753833</c:v>
                </c:pt>
                <c:pt idx="26">
                  <c:v>0.6620903637690193</c:v>
                </c:pt>
                <c:pt idx="27">
                  <c:v>0.6789736518949611</c:v>
                </c:pt>
                <c:pt idx="28">
                  <c:v>0.7119588471582806</c:v>
                </c:pt>
                <c:pt idx="29">
                  <c:v>0.6918204351140659</c:v>
                </c:pt>
                <c:pt idx="30">
                  <c:v>0.6765481635690069</c:v>
                </c:pt>
                <c:pt idx="31">
                  <c:v>0.6491053836095078</c:v>
                </c:pt>
                <c:pt idx="32">
                  <c:v>0.6438880266799263</c:v>
                </c:pt>
                <c:pt idx="33">
                  <c:v>0.67050642235578</c:v>
                </c:pt>
                <c:pt idx="34">
                  <c:v>0.7054764030982862</c:v>
                </c:pt>
                <c:pt idx="35">
                  <c:v>0.7088969839273562</c:v>
                </c:pt>
                <c:pt idx="36">
                  <c:v>0.6377492607758715</c:v>
                </c:pt>
                <c:pt idx="37">
                  <c:v>0.6154225782576195</c:v>
                </c:pt>
                <c:pt idx="38">
                  <c:v>0.6432262518255887</c:v>
                </c:pt>
                <c:pt idx="39">
                  <c:v>0.6720860526695189</c:v>
                </c:pt>
                <c:pt idx="40">
                  <c:v>0.7107688305480877</c:v>
                </c:pt>
                <c:pt idx="41">
                  <c:v>0.7319045730573926</c:v>
                </c:pt>
                <c:pt idx="42">
                  <c:v>0.7043291630890547</c:v>
                </c:pt>
                <c:pt idx="43">
                  <c:v>0.7346009065608649</c:v>
                </c:pt>
                <c:pt idx="44">
                  <c:v>0.7676474799418507</c:v>
                </c:pt>
                <c:pt idx="45">
                  <c:v>0.7792339725678017</c:v>
                </c:pt>
                <c:pt idx="46">
                  <c:v>0.7510485347626705</c:v>
                </c:pt>
                <c:pt idx="47">
                  <c:v>0.7656640093934424</c:v>
                </c:pt>
                <c:pt idx="48">
                  <c:v>0.7911038863650658</c:v>
                </c:pt>
                <c:pt idx="49">
                  <c:v>0.8545911808590803</c:v>
                </c:pt>
                <c:pt idx="50">
                  <c:v>0.8700068701753404</c:v>
                </c:pt>
                <c:pt idx="51">
                  <c:v>0.7986471497157237</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19374423019003</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19374423019003</c:v>
                </c:pt>
                <c:pt idx="1">
                  <c:v>0.3219374423019003</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142272110653534</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142272110653534</c:v>
                </c:pt>
                <c:pt idx="1">
                  <c:v>0.6142272110653534</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918156956440893</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918156956440893</c:v>
                </c:pt>
                <c:pt idx="1">
                  <c:v>0.6918156956440893</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85294622475985</c:v>
                </c:pt>
                <c:pt idx="1">
                  <c:v>0.7245710702609853</c:v>
                </c:pt>
                <c:pt idx="2">
                  <c:v>0.7368932065059812</c:v>
                </c:pt>
                <c:pt idx="3">
                  <c:v>0.6622265049375284</c:v>
                </c:pt>
                <c:pt idx="4">
                  <c:v>0.6975026444452623</c:v>
                </c:pt>
                <c:pt idx="5">
                  <c:v>0.7542934480734467</c:v>
                </c:pt>
                <c:pt idx="6">
                  <c:v>0.7399277756658479</c:v>
                </c:pt>
                <c:pt idx="7">
                  <c:v>0.7235854816873529</c:v>
                </c:pt>
                <c:pt idx="8">
                  <c:v>0.7268741251990503</c:v>
                </c:pt>
                <c:pt idx="9">
                  <c:v>0.7364060180610803</c:v>
                </c:pt>
                <c:pt idx="10">
                  <c:v>0.7640065987873265</c:v>
                </c:pt>
                <c:pt idx="11">
                  <c:v>0.7313295719844358</c:v>
                </c:pt>
                <c:pt idx="12">
                  <c:v>0.7344198124078695</c:v>
                </c:pt>
                <c:pt idx="13">
                  <c:v>0.7323882302075139</c:v>
                </c:pt>
                <c:pt idx="14">
                  <c:v>0.7336235867441381</c:v>
                </c:pt>
                <c:pt idx="15">
                  <c:v>0.7089204666249214</c:v>
                </c:pt>
                <c:pt idx="16">
                  <c:v>0.7168323635178636</c:v>
                </c:pt>
                <c:pt idx="17">
                  <c:v>0.6526954234775925</c:v>
                </c:pt>
                <c:pt idx="18">
                  <c:v>0.7003779626639156</c:v>
                </c:pt>
                <c:pt idx="19">
                  <c:v>0.6939261037159073</c:v>
                </c:pt>
                <c:pt idx="20">
                  <c:v>0.6809656772402668</c:v>
                </c:pt>
                <c:pt idx="21">
                  <c:v>0.6643161673246714</c:v>
                </c:pt>
                <c:pt idx="22">
                  <c:v>0.6848283922600608</c:v>
                </c:pt>
                <c:pt idx="23">
                  <c:v>0.6936888391333663</c:v>
                </c:pt>
                <c:pt idx="24">
                  <c:v>0.6833646178127528</c:v>
                </c:pt>
                <c:pt idx="25">
                  <c:v>0.7206146739753833</c:v>
                </c:pt>
                <c:pt idx="26">
                  <c:v>0.6620903637690193</c:v>
                </c:pt>
                <c:pt idx="27">
                  <c:v>0.6789736518949611</c:v>
                </c:pt>
                <c:pt idx="28">
                  <c:v>0.7119588471582806</c:v>
                </c:pt>
                <c:pt idx="29">
                  <c:v>0.6918204351140659</c:v>
                </c:pt>
                <c:pt idx="30">
                  <c:v>0.6765481635690069</c:v>
                </c:pt>
                <c:pt idx="31">
                  <c:v>0.6491053836095078</c:v>
                </c:pt>
                <c:pt idx="32">
                  <c:v>0.6438880266799263</c:v>
                </c:pt>
                <c:pt idx="33">
                  <c:v>0.67050642235578</c:v>
                </c:pt>
                <c:pt idx="34">
                  <c:v>0.7054764030982862</c:v>
                </c:pt>
                <c:pt idx="35">
                  <c:v>0.7088969839273562</c:v>
                </c:pt>
                <c:pt idx="36">
                  <c:v>0.6377492607758715</c:v>
                </c:pt>
                <c:pt idx="37">
                  <c:v>0.6154225782576195</c:v>
                </c:pt>
                <c:pt idx="38">
                  <c:v>0.6432262518255887</c:v>
                </c:pt>
                <c:pt idx="39">
                  <c:v>0.6720860526695189</c:v>
                </c:pt>
                <c:pt idx="40">
                  <c:v>0.7107688305480877</c:v>
                </c:pt>
                <c:pt idx="41">
                  <c:v>0.7319045730573926</c:v>
                </c:pt>
                <c:pt idx="42">
                  <c:v>0.7043291630890547</c:v>
                </c:pt>
                <c:pt idx="43">
                  <c:v>0.7346009065608649</c:v>
                </c:pt>
                <c:pt idx="44">
                  <c:v>0.7676474799418507</c:v>
                </c:pt>
                <c:pt idx="45">
                  <c:v>0.7792339725678017</c:v>
                </c:pt>
                <c:pt idx="46">
                  <c:v>0.7510485347626705</c:v>
                </c:pt>
                <c:pt idx="47">
                  <c:v>0.7656640093934424</c:v>
                </c:pt>
                <c:pt idx="48">
                  <c:v>0.7911038863650658</c:v>
                </c:pt>
                <c:pt idx="49">
                  <c:v>0.8545911808590803</c:v>
                </c:pt>
                <c:pt idx="50">
                  <c:v>0.8700068701753404</c:v>
                </c:pt>
                <c:pt idx="51">
                  <c:v>0.7986471497157237</c:v>
                </c:pt>
                <c:pt idx="52">
                  <c:v>0.6142272110653534</c:v>
                </c:pt>
                <c:pt idx="53">
                  <c:v>0.3219374423019003</c:v>
                </c:pt>
                <c:pt idx="54">
                  <c:v>0.6918156956440893</c:v>
                </c:pt>
              </c:numCache>
            </c:numRef>
          </c:xVal>
          <c:yVal>
            <c:numRef>
              <c:f>Sheet1!$B$187:$B$241</c:f>
              <c:numCache>
                <c:formatCode>General</c:formatCode>
                <c:ptCount val="55"/>
                <c:pt idx="0">
                  <c:v>0.21832330267129973</c:v>
                </c:pt>
                <c:pt idx="1">
                  <c:v>0.22065468908633865</c:v>
                </c:pt>
                <c:pt idx="2">
                  <c:v>0.21980872261486478</c:v>
                </c:pt>
                <c:pt idx="3">
                  <c:v>0.22493490567326982</c:v>
                </c:pt>
                <c:pt idx="4">
                  <c:v>0.22251305034938496</c:v>
                </c:pt>
                <c:pt idx="5">
                  <c:v>0.2186141228580572</c:v>
                </c:pt>
                <c:pt idx="6">
                  <c:v>0.2196003866807723</c:v>
                </c:pt>
                <c:pt idx="7">
                  <c:v>0.22072235388661215</c:v>
                </c:pt>
                <c:pt idx="8">
                  <c:v>0.22049657467980815</c:v>
                </c:pt>
                <c:pt idx="9">
                  <c:v>0.21984217015037982</c:v>
                </c:pt>
                <c:pt idx="10">
                  <c:v>0.2179472742148561</c:v>
                </c:pt>
                <c:pt idx="11">
                  <c:v>0.22019068952151</c:v>
                </c:pt>
                <c:pt idx="12">
                  <c:v>0.2199785315210594</c:v>
                </c:pt>
                <c:pt idx="13">
                  <c:v>0.22011800818252236</c:v>
                </c:pt>
                <c:pt idx="14">
                  <c:v>0.22003319576124075</c:v>
                </c:pt>
                <c:pt idx="15">
                  <c:v>0.2217291688414066</c:v>
                </c:pt>
                <c:pt idx="16">
                  <c:v>0.22118598384782195</c:v>
                </c:pt>
                <c:pt idx="17">
                  <c:v>0.22558925449653222</c:v>
                </c:pt>
                <c:pt idx="18">
                  <c:v>0.2223156476621045</c:v>
                </c:pt>
                <c:pt idx="19">
                  <c:v>0.22275859491087477</c:v>
                </c:pt>
                <c:pt idx="20">
                  <c:v>0.22364838269088302</c:v>
                </c:pt>
                <c:pt idx="21">
                  <c:v>0.2247914415627394</c:v>
                </c:pt>
                <c:pt idx="22">
                  <c:v>0.22338319106090643</c:v>
                </c:pt>
                <c:pt idx="23">
                  <c:v>0.22277488412223448</c:v>
                </c:pt>
                <c:pt idx="24">
                  <c:v>0.22348368533232188</c:v>
                </c:pt>
                <c:pt idx="25">
                  <c:v>0.22092631232917062</c:v>
                </c:pt>
                <c:pt idx="26">
                  <c:v>0.22494425233700216</c:v>
                </c:pt>
                <c:pt idx="27">
                  <c:v>0.22378514360789847</c:v>
                </c:pt>
                <c:pt idx="28">
                  <c:v>0.2215205712404959</c:v>
                </c:pt>
                <c:pt idx="29">
                  <c:v>0.22290315791535514</c:v>
                </c:pt>
                <c:pt idx="30">
                  <c:v>0.22395166358137641</c:v>
                </c:pt>
                <c:pt idx="31">
                  <c:v>0.22583572583066372</c:v>
                </c:pt>
                <c:pt idx="32">
                  <c:v>0.22619391932442015</c:v>
                </c:pt>
                <c:pt idx="33">
                  <c:v>0.2243664545229867</c:v>
                </c:pt>
                <c:pt idx="34">
                  <c:v>0.22196561828582356</c:v>
                </c:pt>
                <c:pt idx="35">
                  <c:v>0.2217307810273462</c:v>
                </c:pt>
                <c:pt idx="36">
                  <c:v>0.2266153714190735</c:v>
                </c:pt>
                <c:pt idx="37">
                  <c:v>0.22814819206430484</c:v>
                </c:pt>
                <c:pt idx="38">
                  <c:v>0.2262393529511309</c:v>
                </c:pt>
                <c:pt idx="39">
                  <c:v>0.2242580062591323</c:v>
                </c:pt>
                <c:pt idx="40">
                  <c:v>0.22160227088516013</c:v>
                </c:pt>
                <c:pt idx="41">
                  <c:v>0.22015121327980064</c:v>
                </c:pt>
                <c:pt idx="42">
                  <c:v>0.22204438113694341</c:v>
                </c:pt>
                <c:pt idx="43">
                  <c:v>0.2199660986459014</c:v>
                </c:pt>
                <c:pt idx="44">
                  <c:v>0.21769731241260776</c:v>
                </c:pt>
                <c:pt idx="45">
                  <c:v>0.21690185096918196</c:v>
                </c:pt>
                <c:pt idx="46">
                  <c:v>0.21883689980266943</c:v>
                </c:pt>
                <c:pt idx="47">
                  <c:v>0.21783348600684072</c:v>
                </c:pt>
                <c:pt idx="48">
                  <c:v>0.21608693147047503</c:v>
                </c:pt>
                <c:pt idx="49">
                  <c:v>0.21172826172046838</c:v>
                </c:pt>
                <c:pt idx="50">
                  <c:v>0.21066990982133965</c:v>
                </c:pt>
                <c:pt idx="51">
                  <c:v>0.21556905471978208</c:v>
                </c:pt>
                <c:pt idx="52">
                  <c:v>0.22823025904892916</c:v>
                </c:pt>
                <c:pt idx="53">
                  <c:v>0.2482971808401202</c:v>
                </c:pt>
                <c:pt idx="54">
                  <c:v>0.22290348329989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2.79</c:v>
                </c:pt>
                <c:pt idx="1">
                  <c:v>884.3265</c:v>
                </c:pt>
                <c:pt idx="2">
                  <c:v>956.6324</c:v>
                </c:pt>
                <c:pt idx="3">
                  <c:v>963.9754</c:v>
                </c:pt>
                <c:pt idx="4">
                  <c:v>974.4964</c:v>
                </c:pt>
                <c:pt idx="5">
                  <c:v>965.6565</c:v>
                </c:pt>
                <c:pt idx="6">
                  <c:v>938.2166</c:v>
                </c:pt>
                <c:pt idx="7">
                  <c:v>927.5378</c:v>
                </c:pt>
                <c:pt idx="8">
                  <c:v>931.509</c:v>
                </c:pt>
                <c:pt idx="9">
                  <c:v>923.3632</c:v>
                </c:pt>
                <c:pt idx="10">
                  <c:v>906.8844</c:v>
                </c:pt>
                <c:pt idx="11">
                  <c:v>958.7039</c:v>
                </c:pt>
                <c:pt idx="12">
                  <c:v>983.1618</c:v>
                </c:pt>
                <c:pt idx="13">
                  <c:v>975.0105</c:v>
                </c:pt>
                <c:pt idx="14">
                  <c:v>984.2043</c:v>
                </c:pt>
                <c:pt idx="15">
                  <c:v>989.0797</c:v>
                </c:pt>
                <c:pt idx="16">
                  <c:v>1025.527</c:v>
                </c:pt>
                <c:pt idx="17">
                  <c:v>1044.9246</c:v>
                </c:pt>
                <c:pt idx="18">
                  <c:v>1080.6646</c:v>
                </c:pt>
                <c:pt idx="19">
                  <c:v>1096.8465</c:v>
                </c:pt>
                <c:pt idx="20">
                  <c:v>1124.4142</c:v>
                </c:pt>
                <c:pt idx="21">
                  <c:v>1143.122</c:v>
                </c:pt>
                <c:pt idx="22">
                  <c:v>1095.4679</c:v>
                </c:pt>
                <c:pt idx="23">
                  <c:v>1068.0507</c:v>
                </c:pt>
                <c:pt idx="24">
                  <c:v>1086.7816</c:v>
                </c:pt>
                <c:pt idx="25">
                  <c:v>1085.2599</c:v>
                </c:pt>
                <c:pt idx="26">
                  <c:v>1102.6268</c:v>
                </c:pt>
                <c:pt idx="27">
                  <c:v>1100.1875</c:v>
                </c:pt>
                <c:pt idx="28">
                  <c:v>1084.2822</c:v>
                </c:pt>
                <c:pt idx="29">
                  <c:v>1047.1791</c:v>
                </c:pt>
                <c:pt idx="30">
                  <c:v>1065.7821</c:v>
                </c:pt>
                <c:pt idx="31">
                  <c:v>1043.5789</c:v>
                </c:pt>
                <c:pt idx="32">
                  <c:v>1022.8868</c:v>
                </c:pt>
                <c:pt idx="33">
                  <c:v>939.0305</c:v>
                </c:pt>
                <c:pt idx="34">
                  <c:v>982.0418</c:v>
                </c:pt>
                <c:pt idx="35">
                  <c:v>1047.6156</c:v>
                </c:pt>
                <c:pt idx="36">
                  <c:v>1125.8442</c:v>
                </c:pt>
                <c:pt idx="37">
                  <c:v>1115.5478</c:v>
                </c:pt>
                <c:pt idx="38">
                  <c:v>1183.1635</c:v>
                </c:pt>
                <c:pt idx="39">
                  <c:v>1213.75</c:v>
                </c:pt>
                <c:pt idx="40">
                  <c:v>1192.9828</c:v>
                </c:pt>
                <c:pt idx="41">
                  <c:v>1225.0738</c:v>
                </c:pt>
                <c:pt idx="42">
                  <c:v>1256.48</c:v>
                </c:pt>
                <c:pt idx="43">
                  <c:v>1296.4895</c:v>
                </c:pt>
                <c:pt idx="44">
                  <c:v>1232.5289</c:v>
                </c:pt>
                <c:pt idx="45">
                  <c:v>1189.2108</c:v>
                </c:pt>
                <c:pt idx="46">
                  <c:v>1139.4112</c:v>
                </c:pt>
                <c:pt idx="47">
                  <c:v>1134.3718</c:v>
                </c:pt>
                <c:pt idx="48">
                  <c:v>1122.2572</c:v>
                </c:pt>
                <c:pt idx="49">
                  <c:v>1067.9879</c:v>
                </c:pt>
                <c:pt idx="50">
                  <c:v>1052.6671</c:v>
                </c:pt>
                <c:pt idx="51">
                  <c:v>1091.7216</c:v>
                </c:pt>
                <c:pt idx="52">
                  <c:v>1087.8718</c:v>
                </c:pt>
                <c:pt idx="53">
                  <c:v>1199.104</c:v>
                </c:pt>
                <c:pt idx="54">
                  <c:v>1162.7355</c:v>
                </c:pt>
                <c:pt idx="55">
                  <c:v>1182.3888</c:v>
                </c:pt>
                <c:pt idx="56">
                  <c:v>1201.9981</c:v>
                </c:pt>
                <c:pt idx="57">
                  <c:v>1193.5803</c:v>
                </c:pt>
                <c:pt idx="58">
                  <c:v>1154.0778</c:v>
                </c:pt>
                <c:pt idx="59">
                  <c:v>1162.7986</c:v>
                </c:pt>
                <c:pt idx="60">
                  <c:v>1182.1061</c:v>
                </c:pt>
                <c:pt idx="61">
                  <c:v>1171.5338</c:v>
                </c:pt>
                <c:pt idx="62">
                  <c:v>1142.9533</c:v>
                </c:pt>
                <c:pt idx="63">
                  <c:v>1164.3132</c:v>
                </c:pt>
                <c:pt idx="64">
                  <c:v>1159.4663</c:v>
                </c:pt>
                <c:pt idx="65">
                  <c:v>1173.9207</c:v>
                </c:pt>
                <c:pt idx="66">
                  <c:v>1160.8855</c:v>
                </c:pt>
                <c:pt idx="67">
                  <c:v>1167.0863</c:v>
                </c:pt>
                <c:pt idx="68">
                  <c:v>1192.4432</c:v>
                </c:pt>
                <c:pt idx="69">
                  <c:v>1226.7892</c:v>
                </c:pt>
                <c:pt idx="70">
                  <c:v>1244.7679</c:v>
                </c:pt>
                <c:pt idx="71">
                  <c:v>1285.8785</c:v>
                </c:pt>
                <c:pt idx="72">
                  <c:v>1386.6448</c:v>
                </c:pt>
                <c:pt idx="73">
                  <c:v>1348.5627</c:v>
                </c:pt>
                <c:pt idx="74">
                  <c:v>1336.5982</c:v>
                </c:pt>
                <c:pt idx="75">
                  <c:v>1249.3598</c:v>
                </c:pt>
                <c:pt idx="76">
                  <c:v>1282.5145</c:v>
                </c:pt>
                <c:pt idx="77">
                  <c:v>1329.0932</c:v>
                </c:pt>
                <c:pt idx="78">
                  <c:v>1333.0923</c:v>
                </c:pt>
                <c:pt idx="79">
                  <c:v>1345.0035</c:v>
                </c:pt>
                <c:pt idx="80">
                  <c:v>1333.3277</c:v>
                </c:pt>
                <c:pt idx="81">
                  <c:v>1323.7404</c:v>
                </c:pt>
                <c:pt idx="82">
                  <c:v>1309.6178</c:v>
                </c:pt>
                <c:pt idx="83">
                  <c:v>1252.5792</c:v>
                </c:pt>
                <c:pt idx="84">
                  <c:v>1274.3824</c:v>
                </c:pt>
                <c:pt idx="85">
                  <c:v>1264.9277</c:v>
                </c:pt>
                <c:pt idx="86">
                  <c:v>1247.6916</c:v>
                </c:pt>
                <c:pt idx="87">
                  <c:v>1232.6613</c:v>
                </c:pt>
                <c:pt idx="88">
                  <c:v>1306.6189</c:v>
                </c:pt>
                <c:pt idx="89">
                  <c:v>1283.5127</c:v>
                </c:pt>
                <c:pt idx="90">
                  <c:v>1356.1736</c:v>
                </c:pt>
                <c:pt idx="91">
                  <c:v>1331.185</c:v>
                </c:pt>
                <c:pt idx="92">
                  <c:v>1307.7285</c:v>
                </c:pt>
                <c:pt idx="93">
                  <c:v>1336.5182</c:v>
                </c:pt>
                <c:pt idx="94">
                  <c:v>1291.218</c:v>
                </c:pt>
                <c:pt idx="95">
                  <c:v>1211.4447</c:v>
                </c:pt>
                <c:pt idx="96">
                  <c:v>1284.0868</c:v>
                </c:pt>
                <c:pt idx="97">
                  <c:v>1241.1734</c:v>
                </c:pt>
                <c:pt idx="98">
                  <c:v>1182.9227</c:v>
                </c:pt>
                <c:pt idx="99">
                  <c:v>1153.3603</c:v>
                </c:pt>
                <c:pt idx="100">
                  <c:v>1128.2006</c:v>
                </c:pt>
                <c:pt idx="101">
                  <c:v>1181.4544</c:v>
                </c:pt>
                <c:pt idx="102">
                  <c:v>1176.5391</c:v>
                </c:pt>
                <c:pt idx="103">
                  <c:v>1142.5383</c:v>
                </c:pt>
                <c:pt idx="104">
                  <c:v>1217.807</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19.174165711375</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19.174165711375</c:v>
                </c:pt>
                <c:pt idx="1">
                  <c:v>2419.174165711375</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571.8375151317457</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571.8375151317457</c:v>
                </c:pt>
                <c:pt idx="1">
                  <c:v>1571.8375151317457</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6.911521571907</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6.911521571907</c:v>
                </c:pt>
                <c:pt idx="1">
                  <c:v>1346.911521571907</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pt idx="52">
                  <c:v>1571.8375151317457</c:v>
                </c:pt>
                <c:pt idx="53">
                  <c:v>2419.174165711375</c:v>
                </c:pt>
                <c:pt idx="54">
                  <c:v>1346.911521571907</c:v>
                </c:pt>
              </c:numCache>
            </c:numRef>
          </c:xVal>
          <c:yVal>
            <c:numRef>
              <c:f>Sheet1!$B$187:$B$241</c:f>
              <c:numCache>
                <c:formatCode>General</c:formatCode>
                <c:ptCount val="55"/>
                <c:pt idx="0">
                  <c:v>0.22039353277368992</c:v>
                </c:pt>
                <c:pt idx="1">
                  <c:v>0.22111878811652158</c:v>
                </c:pt>
                <c:pt idx="2">
                  <c:v>0.2213706972567044</c:v>
                </c:pt>
                <c:pt idx="3">
                  <c:v>0.22008131890148103</c:v>
                </c:pt>
                <c:pt idx="4">
                  <c:v>0.22138994390126834</c:v>
                </c:pt>
                <c:pt idx="5">
                  <c:v>0.22157390127911905</c:v>
                </c:pt>
                <c:pt idx="6">
                  <c:v>0.2196678724627002</c:v>
                </c:pt>
                <c:pt idx="7">
                  <c:v>0.21973284735383544</c:v>
                </c:pt>
                <c:pt idx="8">
                  <c:v>0.22041011515405617</c:v>
                </c:pt>
                <c:pt idx="9">
                  <c:v>0.2193256104268113</c:v>
                </c:pt>
                <c:pt idx="10">
                  <c:v>0.22016213491547687</c:v>
                </c:pt>
                <c:pt idx="11">
                  <c:v>0.21771228122750025</c:v>
                </c:pt>
                <c:pt idx="12">
                  <c:v>0.2185962438282933</c:v>
                </c:pt>
                <c:pt idx="13">
                  <c:v>0.2194397853967968</c:v>
                </c:pt>
                <c:pt idx="14">
                  <c:v>0.21870604703675972</c:v>
                </c:pt>
                <c:pt idx="15">
                  <c:v>0.21904768385865023</c:v>
                </c:pt>
                <c:pt idx="16">
                  <c:v>0.22006374659895064</c:v>
                </c:pt>
                <c:pt idx="17">
                  <c:v>0.21781537522665825</c:v>
                </c:pt>
                <c:pt idx="18">
                  <c:v>0.2200998124473651</c:v>
                </c:pt>
                <c:pt idx="19">
                  <c:v>0.2222631357699983</c:v>
                </c:pt>
                <c:pt idx="20">
                  <c:v>0.22216389015245913</c:v>
                </c:pt>
                <c:pt idx="21">
                  <c:v>0.22097442525700045</c:v>
                </c:pt>
                <c:pt idx="22">
                  <c:v>0.22163330608190504</c:v>
                </c:pt>
                <c:pt idx="23">
                  <c:v>0.2214346632797968</c:v>
                </c:pt>
                <c:pt idx="24">
                  <c:v>0.22212922866730622</c:v>
                </c:pt>
                <c:pt idx="25">
                  <c:v>0.2216689764351008</c:v>
                </c:pt>
                <c:pt idx="26">
                  <c:v>0.22059191270173067</c:v>
                </c:pt>
                <c:pt idx="27">
                  <c:v>0.2216160037581467</c:v>
                </c:pt>
                <c:pt idx="28">
                  <c:v>0.22303846270210217</c:v>
                </c:pt>
                <c:pt idx="29">
                  <c:v>0.22350461420729992</c:v>
                </c:pt>
                <c:pt idx="30">
                  <c:v>0.22280804529311388</c:v>
                </c:pt>
                <c:pt idx="31">
                  <c:v>0.22201840238138787</c:v>
                </c:pt>
                <c:pt idx="32">
                  <c:v>0.22258034898595944</c:v>
                </c:pt>
                <c:pt idx="33">
                  <c:v>0.2224356616782649</c:v>
                </c:pt>
                <c:pt idx="34">
                  <c:v>0.22297532082473492</c:v>
                </c:pt>
                <c:pt idx="35">
                  <c:v>0.22422158783288784</c:v>
                </c:pt>
                <c:pt idx="36">
                  <c:v>0.22390770672334992</c:v>
                </c:pt>
                <c:pt idx="37">
                  <c:v>0.22266987773594035</c:v>
                </c:pt>
                <c:pt idx="38">
                  <c:v>0.2232422966749849</c:v>
                </c:pt>
                <c:pt idx="39">
                  <c:v>0.22277857971520512</c:v>
                </c:pt>
                <c:pt idx="40">
                  <c:v>0.22330633374512257</c:v>
                </c:pt>
                <c:pt idx="41">
                  <c:v>0.22521476631990642</c:v>
                </c:pt>
                <c:pt idx="42">
                  <c:v>0.22463089222892935</c:v>
                </c:pt>
                <c:pt idx="43">
                  <c:v>0.22392929555217295</c:v>
                </c:pt>
                <c:pt idx="44">
                  <c:v>0.22267194994142744</c:v>
                </c:pt>
                <c:pt idx="45">
                  <c:v>0.2218577105426286</c:v>
                </c:pt>
                <c:pt idx="46">
                  <c:v>0.22052581053081044</c:v>
                </c:pt>
                <c:pt idx="47">
                  <c:v>0.22003188673561624</c:v>
                </c:pt>
                <c:pt idx="48">
                  <c:v>0.22004927431582894</c:v>
                </c:pt>
                <c:pt idx="49">
                  <c:v>0.22016270802830873</c:v>
                </c:pt>
                <c:pt idx="50">
                  <c:v>0.21955014514045118</c:v>
                </c:pt>
                <c:pt idx="51">
                  <c:v>0.21861544784463005</c:v>
                </c:pt>
                <c:pt idx="52">
                  <c:v>0.22823025904892916</c:v>
                </c:pt>
                <c:pt idx="53">
                  <c:v>0.2482971808401202</c:v>
                </c:pt>
                <c:pt idx="54">
                  <c:v>0.22290348329989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03.0"/>
          <c:min val="6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01723518444037</c:v>
                </c:pt>
                <c:pt idx="1">
                  <c:v>0.39179731354630853</c:v>
                </c:pt>
                <c:pt idx="2">
                  <c:v>0.4188687729806828</c:v>
                </c:pt>
                <c:pt idx="3">
                  <c:v>0.34163758302111447</c:v>
                </c:pt>
                <c:pt idx="4">
                  <c:v>0.4174855146557236</c:v>
                </c:pt>
                <c:pt idx="5">
                  <c:v>0.44273281656684826</c:v>
                </c:pt>
                <c:pt idx="6">
                  <c:v>0.41245520585797363</c:v>
                </c:pt>
                <c:pt idx="7">
                  <c:v>0.34917875186878305</c:v>
                </c:pt>
                <c:pt idx="8">
                  <c:v>0.36901188919862526</c:v>
                </c:pt>
                <c:pt idx="9">
                  <c:v>0.4051023165414203</c:v>
                </c:pt>
                <c:pt idx="10">
                  <c:v>0.3595685151174617</c:v>
                </c:pt>
                <c:pt idx="11">
                  <c:v>0.32960252888376657</c:v>
                </c:pt>
                <c:pt idx="12">
                  <c:v>0.31244135339777124</c:v>
                </c:pt>
                <c:pt idx="13">
                  <c:v>0.27054466297434987</c:v>
                </c:pt>
                <c:pt idx="14">
                  <c:v>0.21836429968299154</c:v>
                </c:pt>
                <c:pt idx="15">
                  <c:v>0.26729475963692245</c:v>
                </c:pt>
                <c:pt idx="16">
                  <c:v>0.3220074170595258</c:v>
                </c:pt>
                <c:pt idx="17">
                  <c:v>0.3161687698147357</c:v>
                </c:pt>
                <c:pt idx="18">
                  <c:v>0.3405495414972753</c:v>
                </c:pt>
                <c:pt idx="19">
                  <c:v>0.33706341950601165</c:v>
                </c:pt>
                <c:pt idx="20">
                  <c:v>0.4630417538633889</c:v>
                </c:pt>
                <c:pt idx="21">
                  <c:v>0.4927073092591116</c:v>
                </c:pt>
                <c:pt idx="22">
                  <c:v>0.39929866446994333</c:v>
                </c:pt>
                <c:pt idx="23">
                  <c:v>0.3907026046737885</c:v>
                </c:pt>
                <c:pt idx="24">
                  <c:v>0.3730610102043937</c:v>
                </c:pt>
                <c:pt idx="25">
                  <c:v>0.354210435993575</c:v>
                </c:pt>
                <c:pt idx="26">
                  <c:v>0.3753362873185611</c:v>
                </c:pt>
                <c:pt idx="27">
                  <c:v>0.362265392873248</c:v>
                </c:pt>
                <c:pt idx="28">
                  <c:v>0.35575592715083054</c:v>
                </c:pt>
                <c:pt idx="29">
                  <c:v>0.2937388779803647</c:v>
                </c:pt>
                <c:pt idx="30">
                  <c:v>0.3123582890051435</c:v>
                </c:pt>
                <c:pt idx="31">
                  <c:v>0.3148270172173676</c:v>
                </c:pt>
                <c:pt idx="32">
                  <c:v>0.23025890470667745</c:v>
                </c:pt>
                <c:pt idx="33">
                  <c:v>0.24974953382266163</c:v>
                </c:pt>
                <c:pt idx="34">
                  <c:v>0.33919184592641716</c:v>
                </c:pt>
                <c:pt idx="35">
                  <c:v>0.42069666667911554</c:v>
                </c:pt>
                <c:pt idx="36">
                  <c:v>0.4349743847312908</c:v>
                </c:pt>
                <c:pt idx="37">
                  <c:v>0.4061823585611107</c:v>
                </c:pt>
                <c:pt idx="38">
                  <c:v>0.4030397533723941</c:v>
                </c:pt>
                <c:pt idx="39">
                  <c:v>0.34155838761590757</c:v>
                </c:pt>
                <c:pt idx="40">
                  <c:v>0.32511735665803754</c:v>
                </c:pt>
                <c:pt idx="41">
                  <c:v>0.377690404152482</c:v>
                </c:pt>
                <c:pt idx="42">
                  <c:v>0.3928099473004164</c:v>
                </c:pt>
                <c:pt idx="43">
                  <c:v>0.4620936336525506</c:v>
                </c:pt>
                <c:pt idx="44">
                  <c:v>0.4353687389614977</c:v>
                </c:pt>
                <c:pt idx="45">
                  <c:v>0.4661841581618493</c:v>
                </c:pt>
                <c:pt idx="46">
                  <c:v>0.4727220799036012</c:v>
                </c:pt>
                <c:pt idx="47">
                  <c:v>0.4707294957330157</c:v>
                </c:pt>
                <c:pt idx="48">
                  <c:v>0.4622479029999439</c:v>
                </c:pt>
                <c:pt idx="49">
                  <c:v>0.39687662731015566</c:v>
                </c:pt>
                <c:pt idx="50">
                  <c:v>0.31365197778844334</c:v>
                </c:pt>
                <c:pt idx="51">
                  <c:v>0.30197619970098394</c:v>
                </c:pt>
                <c:pt idx="52">
                  <c:v>0.27833363506753916</c:v>
                </c:pt>
                <c:pt idx="53">
                  <c:v>0.2534411480061566</c:v>
                </c:pt>
                <c:pt idx="54">
                  <c:v>0.24205239088708377</c:v>
                </c:pt>
                <c:pt idx="55">
                  <c:v>0.2632478732191221</c:v>
                </c:pt>
                <c:pt idx="56">
                  <c:v>0.30215001948141723</c:v>
                </c:pt>
                <c:pt idx="57">
                  <c:v>0.3891442672179374</c:v>
                </c:pt>
                <c:pt idx="58">
                  <c:v>0.41571455000816965</c:v>
                </c:pt>
                <c:pt idx="59">
                  <c:v>0.30327810959547225</c:v>
                </c:pt>
                <c:pt idx="60">
                  <c:v>0.33776390079433105</c:v>
                </c:pt>
                <c:pt idx="61">
                  <c:v>0.3160328567574858</c:v>
                </c:pt>
                <c:pt idx="62">
                  <c:v>0.4120174800601346</c:v>
                </c:pt>
                <c:pt idx="63">
                  <c:v>0.4108120932281307</c:v>
                </c:pt>
                <c:pt idx="64">
                  <c:v>0.3544154773075954</c:v>
                </c:pt>
                <c:pt idx="65">
                  <c:v>0.4119973520889255</c:v>
                </c:pt>
                <c:pt idx="66">
                  <c:v>0.32108431214011196</c:v>
                </c:pt>
                <c:pt idx="67">
                  <c:v>0.3832625685474513</c:v>
                </c:pt>
                <c:pt idx="68">
                  <c:v>0.39685962418116133</c:v>
                </c:pt>
                <c:pt idx="69">
                  <c:v>0.4071083036422842</c:v>
                </c:pt>
                <c:pt idx="70">
                  <c:v>0.43064261020988354</c:v>
                </c:pt>
                <c:pt idx="71">
                  <c:v>0.3785968182378663</c:v>
                </c:pt>
                <c:pt idx="72">
                  <c:v>0.3957289141893028</c:v>
                </c:pt>
                <c:pt idx="73">
                  <c:v>0.3852057973047931</c:v>
                </c:pt>
                <c:pt idx="74">
                  <c:v>0.3934535204070068</c:v>
                </c:pt>
                <c:pt idx="75">
                  <c:v>0.3855021235697793</c:v>
                </c:pt>
                <c:pt idx="76">
                  <c:v>0.4089772113777609</c:v>
                </c:pt>
                <c:pt idx="77">
                  <c:v>0.46530685693080054</c:v>
                </c:pt>
                <c:pt idx="78">
                  <c:v>0.4381537525270568</c:v>
                </c:pt>
                <c:pt idx="79">
                  <c:v>0.4221059876818182</c:v>
                </c:pt>
                <c:pt idx="80">
                  <c:v>0.4484234759694842</c:v>
                </c:pt>
                <c:pt idx="81">
                  <c:v>0.44400530133596333</c:v>
                </c:pt>
                <c:pt idx="82">
                  <c:v>0.44175620125054166</c:v>
                </c:pt>
                <c:pt idx="83">
                  <c:v>0.45216458891073014</c:v>
                </c:pt>
                <c:pt idx="84">
                  <c:v>0.4033393184136025</c:v>
                </c:pt>
                <c:pt idx="85">
                  <c:v>0.3488918575046418</c:v>
                </c:pt>
                <c:pt idx="86">
                  <c:v>0.3145267331498864</c:v>
                </c:pt>
                <c:pt idx="87">
                  <c:v>0.34043266491970003</c:v>
                </c:pt>
                <c:pt idx="88">
                  <c:v>0.36012682035603805</c:v>
                </c:pt>
                <c:pt idx="89">
                  <c:v>0.31710687055452563</c:v>
                </c:pt>
                <c:pt idx="90">
                  <c:v>0.3008728432968399</c:v>
                </c:pt>
                <c:pt idx="91">
                  <c:v>0.3260476265623159</c:v>
                </c:pt>
                <c:pt idx="92">
                  <c:v>0.3609748310767354</c:v>
                </c:pt>
                <c:pt idx="93">
                  <c:v>0.35103172768818613</c:v>
                </c:pt>
                <c:pt idx="94">
                  <c:v>0.321443236111553</c:v>
                </c:pt>
                <c:pt idx="95">
                  <c:v>0.42972001230584167</c:v>
                </c:pt>
                <c:pt idx="96">
                  <c:v>0.41921151774346255</c:v>
                </c:pt>
                <c:pt idx="97">
                  <c:v>0.35585233233776453</c:v>
                </c:pt>
                <c:pt idx="98">
                  <c:v>0.395274381452073</c:v>
                </c:pt>
                <c:pt idx="99">
                  <c:v>0.4659894194054386</c:v>
                </c:pt>
                <c:pt idx="100">
                  <c:v>0.4441920366906679</c:v>
                </c:pt>
                <c:pt idx="101">
                  <c:v>0.3943420167025226</c:v>
                </c:pt>
                <c:pt idx="102">
                  <c:v>0.4231603253172922</c:v>
                </c:pt>
                <c:pt idx="103">
                  <c:v>0.391732583536016</c:v>
                </c:pt>
                <c:pt idx="104">
                  <c:v>0.3452581176583458</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7109452156228495</c:v>
                </c:pt>
                <c:pt idx="1">
                  <c:v>0.3642767760455163</c:v>
                </c:pt>
                <c:pt idx="2">
                  <c:v>0.3954877726678671</c:v>
                </c:pt>
                <c:pt idx="3">
                  <c:v>0.4089792249214333</c:v>
                </c:pt>
                <c:pt idx="4">
                  <c:v>0.39827564541377597</c:v>
                </c:pt>
                <c:pt idx="5">
                  <c:v>0.3442437028342137</c:v>
                </c:pt>
                <c:pt idx="6">
                  <c:v>0.4258555147796573</c:v>
                </c:pt>
                <c:pt idx="7">
                  <c:v>0.44483972153495216</c:v>
                </c:pt>
                <c:pt idx="8">
                  <c:v>0.38988282298006516</c:v>
                </c:pt>
                <c:pt idx="9">
                  <c:v>0.33337194405866244</c:v>
                </c:pt>
                <c:pt idx="10">
                  <c:v>0.37970454540127413</c:v>
                </c:pt>
                <c:pt idx="11">
                  <c:v>0.41571896723027285</c:v>
                </c:pt>
                <c:pt idx="12">
                  <c:v>0.4409442167165152</c:v>
                </c:pt>
                <c:pt idx="13">
                  <c:v>0.46175539776409247</c:v>
                </c:pt>
                <c:pt idx="14">
                  <c:v>0.468814899694219</c:v>
                </c:pt>
                <c:pt idx="15">
                  <c:v>0.3799438333047544</c:v>
                </c:pt>
                <c:pt idx="16">
                  <c:v>0.42984149315539016</c:v>
                </c:pt>
                <c:pt idx="17">
                  <c:v>0.3560329470539782</c:v>
                </c:pt>
                <c:pt idx="18">
                  <c:v>0.35524837197047043</c:v>
                </c:pt>
                <c:pt idx="19">
                  <c:v>0.34855883276229743</c:v>
                </c:pt>
                <c:pt idx="20">
                  <c:v>0.35374223296252666</c:v>
                </c:pt>
                <c:pt idx="21">
                  <c:v>0.32690674244381296</c:v>
                </c:pt>
                <c:pt idx="22">
                  <c:v>0.3800605380243445</c:v>
                </c:pt>
                <c:pt idx="23">
                  <c:v>0.3577291676648909</c:v>
                </c:pt>
                <c:pt idx="24">
                  <c:v>0.35825797875566695</c:v>
                </c:pt>
                <c:pt idx="25">
                  <c:v>0.36064856051570826</c:v>
                </c:pt>
                <c:pt idx="26">
                  <c:v>0.32468856719598727</c:v>
                </c:pt>
                <c:pt idx="27">
                  <c:v>0.3324965272418583</c:v>
                </c:pt>
                <c:pt idx="28">
                  <c:v>0.40817162791094885</c:v>
                </c:pt>
                <c:pt idx="29">
                  <c:v>0.41260199634847444</c:v>
                </c:pt>
                <c:pt idx="30">
                  <c:v>0.3883623764158401</c:v>
                </c:pt>
                <c:pt idx="31">
                  <c:v>0.30727266861223956</c:v>
                </c:pt>
                <c:pt idx="32">
                  <c:v>0.3089211681230321</c:v>
                </c:pt>
                <c:pt idx="33">
                  <c:v>0.2746274268508432</c:v>
                </c:pt>
                <c:pt idx="34">
                  <c:v>0.32141885023736916</c:v>
                </c:pt>
                <c:pt idx="35">
                  <c:v>0.33937231390387795</c:v>
                </c:pt>
                <c:pt idx="36">
                  <c:v>0.31602841599205705</c:v>
                </c:pt>
                <c:pt idx="37">
                  <c:v>0.30285978064351543</c:v>
                </c:pt>
                <c:pt idx="38">
                  <c:v>0.3192697788363775</c:v>
                </c:pt>
                <c:pt idx="39">
                  <c:v>0.32417662977818584</c:v>
                </c:pt>
                <c:pt idx="40">
                  <c:v>0.3307469497763596</c:v>
                </c:pt>
                <c:pt idx="41">
                  <c:v>0.3508148411014073</c:v>
                </c:pt>
                <c:pt idx="42">
                  <c:v>0.3510860840368932</c:v>
                </c:pt>
                <c:pt idx="43">
                  <c:v>0.34704730191315664</c:v>
                </c:pt>
                <c:pt idx="44">
                  <c:v>0.37474532430459173</c:v>
                </c:pt>
                <c:pt idx="45">
                  <c:v>0.42344441239207725</c:v>
                </c:pt>
                <c:pt idx="46">
                  <c:v>0.3879592281356987</c:v>
                </c:pt>
                <c:pt idx="47">
                  <c:v>0.41818332128416585</c:v>
                </c:pt>
                <c:pt idx="48">
                  <c:v>0.41239018315853926</c:v>
                </c:pt>
                <c:pt idx="49">
                  <c:v>0.43930422573938305</c:v>
                </c:pt>
                <c:pt idx="50">
                  <c:v>0.47202387714796484</c:v>
                </c:pt>
                <c:pt idx="51">
                  <c:v>0.4001915473526187</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19897970989982</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19897970989982</c:v>
                </c:pt>
                <c:pt idx="1">
                  <c:v>-0.0419897970989982</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714558479242534</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714558479242534</c:v>
                </c:pt>
                <c:pt idx="1">
                  <c:v>0.26714558479242534</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492057469120081</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492057469120081</c:v>
                </c:pt>
                <c:pt idx="1">
                  <c:v>0.3492057469120081</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7109452156228495</c:v>
                </c:pt>
                <c:pt idx="1">
                  <c:v>0.3642767760455163</c:v>
                </c:pt>
                <c:pt idx="2">
                  <c:v>0.3954877726678671</c:v>
                </c:pt>
                <c:pt idx="3">
                  <c:v>0.4089792249214333</c:v>
                </c:pt>
                <c:pt idx="4">
                  <c:v>0.39827564541377597</c:v>
                </c:pt>
                <c:pt idx="5">
                  <c:v>0.3442437028342137</c:v>
                </c:pt>
                <c:pt idx="6">
                  <c:v>0.4258555147796573</c:v>
                </c:pt>
                <c:pt idx="7">
                  <c:v>0.44483972153495216</c:v>
                </c:pt>
                <c:pt idx="8">
                  <c:v>0.38988282298006516</c:v>
                </c:pt>
                <c:pt idx="9">
                  <c:v>0.33337194405866244</c:v>
                </c:pt>
                <c:pt idx="10">
                  <c:v>0.37970454540127413</c:v>
                </c:pt>
                <c:pt idx="11">
                  <c:v>0.41571896723027285</c:v>
                </c:pt>
                <c:pt idx="12">
                  <c:v>0.4409442167165152</c:v>
                </c:pt>
                <c:pt idx="13">
                  <c:v>0.46175539776409247</c:v>
                </c:pt>
                <c:pt idx="14">
                  <c:v>0.468814899694219</c:v>
                </c:pt>
                <c:pt idx="15">
                  <c:v>0.3799438333047544</c:v>
                </c:pt>
                <c:pt idx="16">
                  <c:v>0.42984149315539016</c:v>
                </c:pt>
                <c:pt idx="17">
                  <c:v>0.3560329470539782</c:v>
                </c:pt>
                <c:pt idx="18">
                  <c:v>0.35524837197047043</c:v>
                </c:pt>
                <c:pt idx="19">
                  <c:v>0.34855883276229743</c:v>
                </c:pt>
                <c:pt idx="20">
                  <c:v>0.35374223296252666</c:v>
                </c:pt>
                <c:pt idx="21">
                  <c:v>0.32690674244381296</c:v>
                </c:pt>
                <c:pt idx="22">
                  <c:v>0.3800605380243445</c:v>
                </c:pt>
                <c:pt idx="23">
                  <c:v>0.3577291676648909</c:v>
                </c:pt>
                <c:pt idx="24">
                  <c:v>0.35825797875566695</c:v>
                </c:pt>
                <c:pt idx="25">
                  <c:v>0.36064856051570826</c:v>
                </c:pt>
                <c:pt idx="26">
                  <c:v>0.32468856719598727</c:v>
                </c:pt>
                <c:pt idx="27">
                  <c:v>0.3324965272418583</c:v>
                </c:pt>
                <c:pt idx="28">
                  <c:v>0.40817162791094885</c:v>
                </c:pt>
                <c:pt idx="29">
                  <c:v>0.41260199634847444</c:v>
                </c:pt>
                <c:pt idx="30">
                  <c:v>0.3883623764158401</c:v>
                </c:pt>
                <c:pt idx="31">
                  <c:v>0.30727266861223956</c:v>
                </c:pt>
                <c:pt idx="32">
                  <c:v>0.3089211681230321</c:v>
                </c:pt>
                <c:pt idx="33">
                  <c:v>0.2746274268508432</c:v>
                </c:pt>
                <c:pt idx="34">
                  <c:v>0.32141885023736916</c:v>
                </c:pt>
                <c:pt idx="35">
                  <c:v>0.33937231390387795</c:v>
                </c:pt>
                <c:pt idx="36">
                  <c:v>0.31602841599205705</c:v>
                </c:pt>
                <c:pt idx="37">
                  <c:v>0.30285978064351543</c:v>
                </c:pt>
                <c:pt idx="38">
                  <c:v>0.3192697788363775</c:v>
                </c:pt>
                <c:pt idx="39">
                  <c:v>0.32417662977818584</c:v>
                </c:pt>
                <c:pt idx="40">
                  <c:v>0.3307469497763596</c:v>
                </c:pt>
                <c:pt idx="41">
                  <c:v>0.3508148411014073</c:v>
                </c:pt>
                <c:pt idx="42">
                  <c:v>0.3510860840368932</c:v>
                </c:pt>
                <c:pt idx="43">
                  <c:v>0.34704730191315664</c:v>
                </c:pt>
                <c:pt idx="44">
                  <c:v>0.37474532430459173</c:v>
                </c:pt>
                <c:pt idx="45">
                  <c:v>0.42344441239207725</c:v>
                </c:pt>
                <c:pt idx="46">
                  <c:v>0.3879592281356987</c:v>
                </c:pt>
                <c:pt idx="47">
                  <c:v>0.41818332128416585</c:v>
                </c:pt>
                <c:pt idx="48">
                  <c:v>0.41239018315853926</c:v>
                </c:pt>
                <c:pt idx="49">
                  <c:v>0.43930422573938305</c:v>
                </c:pt>
                <c:pt idx="50">
                  <c:v>0.47202387714796484</c:v>
                </c:pt>
                <c:pt idx="51">
                  <c:v>0.4001915473526187</c:v>
                </c:pt>
                <c:pt idx="52">
                  <c:v>0.26714558479242534</c:v>
                </c:pt>
                <c:pt idx="53">
                  <c:v>-0.0419897970989982</c:v>
                </c:pt>
                <c:pt idx="54">
                  <c:v>0.3492057469120081</c:v>
                </c:pt>
              </c:numCache>
            </c:numRef>
          </c:xVal>
          <c:yVal>
            <c:numRef>
              <c:f>Sheet1!$B$187:$B$241</c:f>
              <c:numCache>
                <c:formatCode>General</c:formatCode>
                <c:ptCount val="55"/>
                <c:pt idx="0">
                  <c:v>0.22148261608526842</c:v>
                </c:pt>
                <c:pt idx="1">
                  <c:v>0.22192517676932916</c:v>
                </c:pt>
                <c:pt idx="2">
                  <c:v>0.21989917565482128</c:v>
                </c:pt>
                <c:pt idx="3">
                  <c:v>0.21902340428382697</c:v>
                </c:pt>
                <c:pt idx="4">
                  <c:v>0.21971820632024153</c:v>
                </c:pt>
                <c:pt idx="5">
                  <c:v>0.22322558473592552</c:v>
                </c:pt>
                <c:pt idx="6">
                  <c:v>0.21792791276603818</c:v>
                </c:pt>
                <c:pt idx="7">
                  <c:v>0.21669558992451982</c:v>
                </c:pt>
                <c:pt idx="8">
                  <c:v>0.22026301005753673</c:v>
                </c:pt>
                <c:pt idx="9">
                  <c:v>0.22393130380226747</c:v>
                </c:pt>
                <c:pt idx="10">
                  <c:v>0.22092371314138615</c:v>
                </c:pt>
                <c:pt idx="11">
                  <c:v>0.21858590702622813</c:v>
                </c:pt>
                <c:pt idx="12">
                  <c:v>0.21694845903982618</c:v>
                </c:pt>
                <c:pt idx="13">
                  <c:v>0.2155975417171021</c:v>
                </c:pt>
                <c:pt idx="14">
                  <c:v>0.21513928788588466</c:v>
                </c:pt>
                <c:pt idx="15">
                  <c:v>0.22090818023274483</c:v>
                </c:pt>
                <c:pt idx="16">
                  <c:v>0.21766917073580594</c:v>
                </c:pt>
                <c:pt idx="17">
                  <c:v>0.22246030888724133</c:v>
                </c:pt>
                <c:pt idx="18">
                  <c:v>0.22251123805213904</c:v>
                </c:pt>
                <c:pt idx="19">
                  <c:v>0.22294547647314472</c:v>
                </c:pt>
                <c:pt idx="20">
                  <c:v>0.22260900613515222</c:v>
                </c:pt>
                <c:pt idx="21">
                  <c:v>0.2243509797849249</c:v>
                </c:pt>
                <c:pt idx="22">
                  <c:v>0.22090060457295996</c:v>
                </c:pt>
                <c:pt idx="23">
                  <c:v>0.22235020202683753</c:v>
                </c:pt>
                <c:pt idx="24">
                  <c:v>0.22231587528385527</c:v>
                </c:pt>
                <c:pt idx="25">
                  <c:v>0.22216069532056315</c:v>
                </c:pt>
                <c:pt idx="26">
                  <c:v>0.22449496831494994</c:v>
                </c:pt>
                <c:pt idx="27">
                  <c:v>0.22398812978151972</c:v>
                </c:pt>
                <c:pt idx="28">
                  <c:v>0.21907582787231766</c:v>
                </c:pt>
                <c:pt idx="29">
                  <c:v>0.21878823912593076</c:v>
                </c:pt>
                <c:pt idx="30">
                  <c:v>0.22036170688772586</c:v>
                </c:pt>
                <c:pt idx="31">
                  <c:v>0.22562548748317032</c:v>
                </c:pt>
                <c:pt idx="32">
                  <c:v>0.22551847834512379</c:v>
                </c:pt>
                <c:pt idx="33">
                  <c:v>0.22774458983008494</c:v>
                </c:pt>
                <c:pt idx="34">
                  <c:v>0.22470721562901175</c:v>
                </c:pt>
                <c:pt idx="35">
                  <c:v>0.22354180146945313</c:v>
                </c:pt>
                <c:pt idx="36">
                  <c:v>0.22505712517918813</c:v>
                </c:pt>
                <c:pt idx="37">
                  <c:v>0.22591194151893895</c:v>
                </c:pt>
                <c:pt idx="38">
                  <c:v>0.22484671841728374</c:v>
                </c:pt>
                <c:pt idx="39">
                  <c:v>0.22452819973628435</c:v>
                </c:pt>
                <c:pt idx="40">
                  <c:v>0.2241017001983157</c:v>
                </c:pt>
                <c:pt idx="41">
                  <c:v>0.22279903208161564</c:v>
                </c:pt>
                <c:pt idx="42">
                  <c:v>0.22278142487425068</c:v>
                </c:pt>
                <c:pt idx="43">
                  <c:v>0.2230435945570376</c:v>
                </c:pt>
                <c:pt idx="44">
                  <c:v>0.2212456313290859</c:v>
                </c:pt>
                <c:pt idx="45">
                  <c:v>0.21808442478593734</c:v>
                </c:pt>
                <c:pt idx="46">
                  <c:v>0.22038787647387403</c:v>
                </c:pt>
                <c:pt idx="47">
                  <c:v>0.21842593827802886</c:v>
                </c:pt>
                <c:pt idx="48">
                  <c:v>0.21880198856700336</c:v>
                </c:pt>
                <c:pt idx="49">
                  <c:v>0.21705491586296632</c:v>
                </c:pt>
                <c:pt idx="50">
                  <c:v>0.21493098335859304</c:v>
                </c:pt>
                <c:pt idx="51">
                  <c:v>0.21959383927389725</c:v>
                </c:pt>
                <c:pt idx="52">
                  <c:v>0.22823025904892916</c:v>
                </c:pt>
                <c:pt idx="53">
                  <c:v>0.2482971808401202</c:v>
                </c:pt>
                <c:pt idx="54">
                  <c:v>0.22290348329989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2.79</c:v>
                </c:pt>
                <c:pt idx="1">
                  <c:v>884.3265</c:v>
                </c:pt>
                <c:pt idx="2">
                  <c:v>956.6324</c:v>
                </c:pt>
                <c:pt idx="3">
                  <c:v>963.9754</c:v>
                </c:pt>
                <c:pt idx="4">
                  <c:v>974.4964</c:v>
                </c:pt>
                <c:pt idx="5">
                  <c:v>965.6565</c:v>
                </c:pt>
                <c:pt idx="6">
                  <c:v>938.2166</c:v>
                </c:pt>
                <c:pt idx="7">
                  <c:v>927.5378</c:v>
                </c:pt>
                <c:pt idx="8">
                  <c:v>931.509</c:v>
                </c:pt>
                <c:pt idx="9">
                  <c:v>923.3632</c:v>
                </c:pt>
                <c:pt idx="10">
                  <c:v>906.8844</c:v>
                </c:pt>
                <c:pt idx="11">
                  <c:v>958.7039</c:v>
                </c:pt>
                <c:pt idx="12">
                  <c:v>983.1618</c:v>
                </c:pt>
                <c:pt idx="13">
                  <c:v>975.0105</c:v>
                </c:pt>
                <c:pt idx="14">
                  <c:v>984.2043</c:v>
                </c:pt>
                <c:pt idx="15">
                  <c:v>989.0797</c:v>
                </c:pt>
                <c:pt idx="16">
                  <c:v>1025.527</c:v>
                </c:pt>
                <c:pt idx="17">
                  <c:v>1044.9246</c:v>
                </c:pt>
                <c:pt idx="18">
                  <c:v>1080.6646</c:v>
                </c:pt>
                <c:pt idx="19">
                  <c:v>1096.8465</c:v>
                </c:pt>
                <c:pt idx="20">
                  <c:v>1124.4142</c:v>
                </c:pt>
                <c:pt idx="21">
                  <c:v>1143.122</c:v>
                </c:pt>
                <c:pt idx="22">
                  <c:v>1095.4679</c:v>
                </c:pt>
                <c:pt idx="23">
                  <c:v>1068.0507</c:v>
                </c:pt>
                <c:pt idx="24">
                  <c:v>1086.7816</c:v>
                </c:pt>
                <c:pt idx="25">
                  <c:v>1085.2599</c:v>
                </c:pt>
                <c:pt idx="26">
                  <c:v>1102.6268</c:v>
                </c:pt>
                <c:pt idx="27">
                  <c:v>1100.1875</c:v>
                </c:pt>
                <c:pt idx="28">
                  <c:v>1084.2822</c:v>
                </c:pt>
                <c:pt idx="29">
                  <c:v>1047.1791</c:v>
                </c:pt>
                <c:pt idx="30">
                  <c:v>1065.7821</c:v>
                </c:pt>
                <c:pt idx="31">
                  <c:v>1043.5789</c:v>
                </c:pt>
                <c:pt idx="32">
                  <c:v>1022.8868</c:v>
                </c:pt>
                <c:pt idx="33">
                  <c:v>939.0305</c:v>
                </c:pt>
                <c:pt idx="34">
                  <c:v>982.0418</c:v>
                </c:pt>
                <c:pt idx="35">
                  <c:v>1047.6156</c:v>
                </c:pt>
                <c:pt idx="36">
                  <c:v>1125.8442</c:v>
                </c:pt>
                <c:pt idx="37">
                  <c:v>1115.5478</c:v>
                </c:pt>
                <c:pt idx="38">
                  <c:v>1183.1635</c:v>
                </c:pt>
                <c:pt idx="39">
                  <c:v>1213.75</c:v>
                </c:pt>
                <c:pt idx="40">
                  <c:v>1192.9828</c:v>
                </c:pt>
                <c:pt idx="41">
                  <c:v>1225.0738</c:v>
                </c:pt>
                <c:pt idx="42">
                  <c:v>1256.48</c:v>
                </c:pt>
                <c:pt idx="43">
                  <c:v>1296.4895</c:v>
                </c:pt>
                <c:pt idx="44">
                  <c:v>1232.5289</c:v>
                </c:pt>
                <c:pt idx="45">
                  <c:v>1189.2108</c:v>
                </c:pt>
                <c:pt idx="46">
                  <c:v>1139.4112</c:v>
                </c:pt>
                <c:pt idx="47">
                  <c:v>1134.3718</c:v>
                </c:pt>
                <c:pt idx="48">
                  <c:v>1122.2572</c:v>
                </c:pt>
                <c:pt idx="49">
                  <c:v>1067.9879</c:v>
                </c:pt>
                <c:pt idx="50">
                  <c:v>1052.6671</c:v>
                </c:pt>
                <c:pt idx="51">
                  <c:v>1091.7216</c:v>
                </c:pt>
                <c:pt idx="52">
                  <c:v>1087.8718</c:v>
                </c:pt>
                <c:pt idx="53">
                  <c:v>1199.104</c:v>
                </c:pt>
                <c:pt idx="54">
                  <c:v>1162.7355</c:v>
                </c:pt>
                <c:pt idx="55">
                  <c:v>1182.3888</c:v>
                </c:pt>
                <c:pt idx="56">
                  <c:v>1201.9981</c:v>
                </c:pt>
                <c:pt idx="57">
                  <c:v>1193.5803</c:v>
                </c:pt>
                <c:pt idx="58">
                  <c:v>1154.0778</c:v>
                </c:pt>
                <c:pt idx="59">
                  <c:v>1162.7986</c:v>
                </c:pt>
                <c:pt idx="60">
                  <c:v>1182.1061</c:v>
                </c:pt>
                <c:pt idx="61">
                  <c:v>1171.5338</c:v>
                </c:pt>
                <c:pt idx="62">
                  <c:v>1142.9533</c:v>
                </c:pt>
                <c:pt idx="63">
                  <c:v>1164.3132</c:v>
                </c:pt>
                <c:pt idx="64">
                  <c:v>1159.4663</c:v>
                </c:pt>
                <c:pt idx="65">
                  <c:v>1173.9207</c:v>
                </c:pt>
                <c:pt idx="66">
                  <c:v>1160.8855</c:v>
                </c:pt>
                <c:pt idx="67">
                  <c:v>1167.0863</c:v>
                </c:pt>
                <c:pt idx="68">
                  <c:v>1192.4432</c:v>
                </c:pt>
                <c:pt idx="69">
                  <c:v>1226.7892</c:v>
                </c:pt>
                <c:pt idx="70">
                  <c:v>1244.7679</c:v>
                </c:pt>
                <c:pt idx="71">
                  <c:v>1285.8785</c:v>
                </c:pt>
                <c:pt idx="72">
                  <c:v>1386.6448</c:v>
                </c:pt>
                <c:pt idx="73">
                  <c:v>1348.5627</c:v>
                </c:pt>
                <c:pt idx="74">
                  <c:v>1336.5982</c:v>
                </c:pt>
                <c:pt idx="75">
                  <c:v>1249.3598</c:v>
                </c:pt>
                <c:pt idx="76">
                  <c:v>1282.5145</c:v>
                </c:pt>
                <c:pt idx="77">
                  <c:v>1329.0932</c:v>
                </c:pt>
                <c:pt idx="78">
                  <c:v>1333.0923</c:v>
                </c:pt>
                <c:pt idx="79">
                  <c:v>1345.0035</c:v>
                </c:pt>
                <c:pt idx="80">
                  <c:v>1333.3277</c:v>
                </c:pt>
                <c:pt idx="81">
                  <c:v>1323.7404</c:v>
                </c:pt>
                <c:pt idx="82">
                  <c:v>1309.6178</c:v>
                </c:pt>
                <c:pt idx="83">
                  <c:v>1252.5792</c:v>
                </c:pt>
                <c:pt idx="84">
                  <c:v>1274.3824</c:v>
                </c:pt>
                <c:pt idx="85">
                  <c:v>1264.9277</c:v>
                </c:pt>
                <c:pt idx="86">
                  <c:v>1247.6916</c:v>
                </c:pt>
                <c:pt idx="87">
                  <c:v>1232.6613</c:v>
                </c:pt>
                <c:pt idx="88">
                  <c:v>1306.6189</c:v>
                </c:pt>
                <c:pt idx="89">
                  <c:v>1283.5127</c:v>
                </c:pt>
                <c:pt idx="90">
                  <c:v>1356.1736</c:v>
                </c:pt>
                <c:pt idx="91">
                  <c:v>1331.185</c:v>
                </c:pt>
                <c:pt idx="92">
                  <c:v>1307.7285</c:v>
                </c:pt>
                <c:pt idx="93">
                  <c:v>1336.5182</c:v>
                </c:pt>
                <c:pt idx="94">
                  <c:v>1291.218</c:v>
                </c:pt>
                <c:pt idx="95">
                  <c:v>1211.4447</c:v>
                </c:pt>
                <c:pt idx="96">
                  <c:v>1284.0868</c:v>
                </c:pt>
                <c:pt idx="97">
                  <c:v>1241.1734</c:v>
                </c:pt>
                <c:pt idx="98">
                  <c:v>1182.9227</c:v>
                </c:pt>
                <c:pt idx="99">
                  <c:v>1153.3603</c:v>
                </c:pt>
                <c:pt idx="100">
                  <c:v>1128.2006</c:v>
                </c:pt>
                <c:pt idx="101">
                  <c:v>1181.4544</c:v>
                </c:pt>
                <c:pt idx="102">
                  <c:v>1176.5391</c:v>
                </c:pt>
                <c:pt idx="103">
                  <c:v>1142.5383</c:v>
                </c:pt>
                <c:pt idx="104">
                  <c:v>1217.807</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19.174165711375</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19.174165711375</c:v>
                </c:pt>
                <c:pt idx="1">
                  <c:v>2419.174165711375</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571.8375151317457</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571.8375151317457</c:v>
                </c:pt>
                <c:pt idx="1">
                  <c:v>1571.8375151317457</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6.911521571907</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6.911521571907</c:v>
                </c:pt>
                <c:pt idx="1">
                  <c:v>1346.911521571907</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pt idx="52">
                  <c:v>1571.8375151317457</c:v>
                </c:pt>
                <c:pt idx="53">
                  <c:v>2419.174165711375</c:v>
                </c:pt>
                <c:pt idx="54">
                  <c:v>1346.911521571907</c:v>
                </c:pt>
              </c:numCache>
            </c:numRef>
          </c:xVal>
          <c:yVal>
            <c:numRef>
              <c:f>Sheet1!$B$187:$B$241</c:f>
              <c:numCache>
                <c:formatCode>General</c:formatCode>
                <c:ptCount val="55"/>
                <c:pt idx="0">
                  <c:v>0.22039353277368992</c:v>
                </c:pt>
                <c:pt idx="1">
                  <c:v>0.22111878811652158</c:v>
                </c:pt>
                <c:pt idx="2">
                  <c:v>0.2213706972567044</c:v>
                </c:pt>
                <c:pt idx="3">
                  <c:v>0.22008131890148103</c:v>
                </c:pt>
                <c:pt idx="4">
                  <c:v>0.22138994390126834</c:v>
                </c:pt>
                <c:pt idx="5">
                  <c:v>0.22157390127911905</c:v>
                </c:pt>
                <c:pt idx="6">
                  <c:v>0.2196678724627002</c:v>
                </c:pt>
                <c:pt idx="7">
                  <c:v>0.21973284735383544</c:v>
                </c:pt>
                <c:pt idx="8">
                  <c:v>0.22041011515405617</c:v>
                </c:pt>
                <c:pt idx="9">
                  <c:v>0.2193256104268113</c:v>
                </c:pt>
                <c:pt idx="10">
                  <c:v>0.22016213491547687</c:v>
                </c:pt>
                <c:pt idx="11">
                  <c:v>0.21771228122750025</c:v>
                </c:pt>
                <c:pt idx="12">
                  <c:v>0.2185962438282933</c:v>
                </c:pt>
                <c:pt idx="13">
                  <c:v>0.2194397853967968</c:v>
                </c:pt>
                <c:pt idx="14">
                  <c:v>0.21870604703675972</c:v>
                </c:pt>
                <c:pt idx="15">
                  <c:v>0.21904768385865023</c:v>
                </c:pt>
                <c:pt idx="16">
                  <c:v>0.22006374659895064</c:v>
                </c:pt>
                <c:pt idx="17">
                  <c:v>0.21781537522665825</c:v>
                </c:pt>
                <c:pt idx="18">
                  <c:v>0.2200998124473651</c:v>
                </c:pt>
                <c:pt idx="19">
                  <c:v>0.2222631357699983</c:v>
                </c:pt>
                <c:pt idx="20">
                  <c:v>0.22216389015245913</c:v>
                </c:pt>
                <c:pt idx="21">
                  <c:v>0.22097442525700045</c:v>
                </c:pt>
                <c:pt idx="22">
                  <c:v>0.22163330608190504</c:v>
                </c:pt>
                <c:pt idx="23">
                  <c:v>0.2214346632797968</c:v>
                </c:pt>
                <c:pt idx="24">
                  <c:v>0.22212922866730622</c:v>
                </c:pt>
                <c:pt idx="25">
                  <c:v>0.2216689764351008</c:v>
                </c:pt>
                <c:pt idx="26">
                  <c:v>0.22059191270173067</c:v>
                </c:pt>
                <c:pt idx="27">
                  <c:v>0.2216160037581467</c:v>
                </c:pt>
                <c:pt idx="28">
                  <c:v>0.22303846270210217</c:v>
                </c:pt>
                <c:pt idx="29">
                  <c:v>0.22350461420729992</c:v>
                </c:pt>
                <c:pt idx="30">
                  <c:v>0.22280804529311388</c:v>
                </c:pt>
                <c:pt idx="31">
                  <c:v>0.22201840238138787</c:v>
                </c:pt>
                <c:pt idx="32">
                  <c:v>0.22258034898595944</c:v>
                </c:pt>
                <c:pt idx="33">
                  <c:v>0.2224356616782649</c:v>
                </c:pt>
                <c:pt idx="34">
                  <c:v>0.22297532082473492</c:v>
                </c:pt>
                <c:pt idx="35">
                  <c:v>0.22422158783288784</c:v>
                </c:pt>
                <c:pt idx="36">
                  <c:v>0.22390770672334992</c:v>
                </c:pt>
                <c:pt idx="37">
                  <c:v>0.22266987773594035</c:v>
                </c:pt>
                <c:pt idx="38">
                  <c:v>0.2232422966749849</c:v>
                </c:pt>
                <c:pt idx="39">
                  <c:v>0.22277857971520512</c:v>
                </c:pt>
                <c:pt idx="40">
                  <c:v>0.22330633374512257</c:v>
                </c:pt>
                <c:pt idx="41">
                  <c:v>0.22521476631990642</c:v>
                </c:pt>
                <c:pt idx="42">
                  <c:v>0.22463089222892935</c:v>
                </c:pt>
                <c:pt idx="43">
                  <c:v>0.22392929555217295</c:v>
                </c:pt>
                <c:pt idx="44">
                  <c:v>0.22267194994142744</c:v>
                </c:pt>
                <c:pt idx="45">
                  <c:v>0.2218577105426286</c:v>
                </c:pt>
                <c:pt idx="46">
                  <c:v>0.22052581053081044</c:v>
                </c:pt>
                <c:pt idx="47">
                  <c:v>0.22003188673561624</c:v>
                </c:pt>
                <c:pt idx="48">
                  <c:v>0.22004927431582894</c:v>
                </c:pt>
                <c:pt idx="49">
                  <c:v>0.22016270802830873</c:v>
                </c:pt>
                <c:pt idx="50">
                  <c:v>0.21955014514045118</c:v>
                </c:pt>
                <c:pt idx="51">
                  <c:v>0.21861544784463005</c:v>
                </c:pt>
                <c:pt idx="52">
                  <c:v>0.22823025904892916</c:v>
                </c:pt>
                <c:pt idx="53">
                  <c:v>0.2482971808401202</c:v>
                </c:pt>
                <c:pt idx="54">
                  <c:v>0.22290348329989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03.0"/>
          <c:min val="6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01081929837644</c:v>
                </c:pt>
                <c:pt idx="1">
                  <c:v>0.8177128324453697</c:v>
                </c:pt>
                <c:pt idx="2">
                  <c:v>0.951196975125043</c:v>
                </c:pt>
                <c:pt idx="3">
                  <c:v>0.9147339019568119</c:v>
                </c:pt>
                <c:pt idx="4">
                  <c:v>0.9535299918335652</c:v>
                </c:pt>
                <c:pt idx="5">
                  <c:v>0.9144474431818183</c:v>
                </c:pt>
                <c:pt idx="6">
                  <c:v>0.8718072089430857</c:v>
                </c:pt>
                <c:pt idx="7">
                  <c:v>0.8440474150588484</c:v>
                </c:pt>
                <c:pt idx="8">
                  <c:v>0.9057184849960407</c:v>
                </c:pt>
                <c:pt idx="9">
                  <c:v>0.8640110819405036</c:v>
                </c:pt>
                <c:pt idx="10">
                  <c:v>0.917120380567514</c:v>
                </c:pt>
                <c:pt idx="11">
                  <c:v>0.9180244905760435</c:v>
                </c:pt>
                <c:pt idx="12">
                  <c:v>0.9175528273661617</c:v>
                </c:pt>
                <c:pt idx="13">
                  <c:v>0.8903572878566253</c:v>
                </c:pt>
                <c:pt idx="14">
                  <c:v>0.941838699965875</c:v>
                </c:pt>
                <c:pt idx="15">
                  <c:v>0.9489176159315514</c:v>
                </c:pt>
                <c:pt idx="16">
                  <c:v>0.9655155726830026</c:v>
                </c:pt>
                <c:pt idx="17">
                  <c:v>0.9732051242528017</c:v>
                </c:pt>
                <c:pt idx="18">
                  <c:v>1.059437290669235</c:v>
                </c:pt>
                <c:pt idx="19">
                  <c:v>0.986727689816481</c:v>
                </c:pt>
                <c:pt idx="20">
                  <c:v>0.9932756862627661</c:v>
                </c:pt>
                <c:pt idx="21">
                  <c:v>1.1026154372064347</c:v>
                </c:pt>
                <c:pt idx="22">
                  <c:v>1.070369135258074</c:v>
                </c:pt>
                <c:pt idx="23">
                  <c:v>0.9074471621914285</c:v>
                </c:pt>
                <c:pt idx="24">
                  <c:v>0.939158635117039</c:v>
                </c:pt>
                <c:pt idx="25">
                  <c:v>1.0793867408656022</c:v>
                </c:pt>
                <c:pt idx="26">
                  <c:v>1.0430359649470486</c:v>
                </c:pt>
                <c:pt idx="27">
                  <c:v>0.9867922429821878</c:v>
                </c:pt>
                <c:pt idx="28">
                  <c:v>0.9450205671506401</c:v>
                </c:pt>
                <c:pt idx="29">
                  <c:v>0.92943551375458</c:v>
                </c:pt>
                <c:pt idx="30">
                  <c:v>0.871229781354274</c:v>
                </c:pt>
                <c:pt idx="31">
                  <c:v>0.8394874871924488</c:v>
                </c:pt>
                <c:pt idx="32">
                  <c:v>0.6792077025232404</c:v>
                </c:pt>
                <c:pt idx="33">
                  <c:v>0.6110885078614405</c:v>
                </c:pt>
                <c:pt idx="34">
                  <c:v>0.7560335763161853</c:v>
                </c:pt>
                <c:pt idx="35">
                  <c:v>0.7867780005547018</c:v>
                </c:pt>
                <c:pt idx="36">
                  <c:v>0.7387105826798788</c:v>
                </c:pt>
                <c:pt idx="37">
                  <c:v>0.7915429231679972</c:v>
                </c:pt>
                <c:pt idx="38">
                  <c:v>0.8326273750879662</c:v>
                </c:pt>
                <c:pt idx="39">
                  <c:v>0.7947156109776891</c:v>
                </c:pt>
                <c:pt idx="40">
                  <c:v>0.8191151972709133</c:v>
                </c:pt>
                <c:pt idx="41">
                  <c:v>0.7924151358344114</c:v>
                </c:pt>
                <c:pt idx="42">
                  <c:v>0.8454963263558757</c:v>
                </c:pt>
                <c:pt idx="43">
                  <c:v>0.9202861747620917</c:v>
                </c:pt>
                <c:pt idx="44">
                  <c:v>0.9013410470229385</c:v>
                </c:pt>
                <c:pt idx="45">
                  <c:v>0.914445735343568</c:v>
                </c:pt>
                <c:pt idx="46">
                  <c:v>0.9148774113254512</c:v>
                </c:pt>
                <c:pt idx="47">
                  <c:v>0.9576940949059267</c:v>
                </c:pt>
                <c:pt idx="48">
                  <c:v>1.0456470335680128</c:v>
                </c:pt>
                <c:pt idx="49">
                  <c:v>1.1531555898770796</c:v>
                </c:pt>
                <c:pt idx="50">
                  <c:v>0.9849711184941287</c:v>
                </c:pt>
                <c:pt idx="51">
                  <c:v>0.9305151535788412</c:v>
                </c:pt>
                <c:pt idx="52">
                  <c:v>0.9278517104590933</c:v>
                </c:pt>
                <c:pt idx="53">
                  <c:v>1.0090757608793801</c:v>
                </c:pt>
                <c:pt idx="54">
                  <c:v>0.9832927368538823</c:v>
                </c:pt>
                <c:pt idx="55">
                  <c:v>0.9955902780496787</c:v>
                </c:pt>
                <c:pt idx="56">
                  <c:v>1.0257152860747496</c:v>
                </c:pt>
                <c:pt idx="57">
                  <c:v>0.98687229822093</c:v>
                </c:pt>
                <c:pt idx="58">
                  <c:v>0.9861315164672008</c:v>
                </c:pt>
                <c:pt idx="59">
                  <c:v>0.9967071252987854</c:v>
                </c:pt>
                <c:pt idx="60">
                  <c:v>1.0320649154219266</c:v>
                </c:pt>
                <c:pt idx="61">
                  <c:v>0.9953200492454688</c:v>
                </c:pt>
                <c:pt idx="62">
                  <c:v>0.9713113221625416</c:v>
                </c:pt>
                <c:pt idx="63">
                  <c:v>0.9849834657810743</c:v>
                </c:pt>
                <c:pt idx="64">
                  <c:v>1.0137401409922264</c:v>
                </c:pt>
                <c:pt idx="65">
                  <c:v>0.9779500681945488</c:v>
                </c:pt>
                <c:pt idx="66">
                  <c:v>0.9469773352349797</c:v>
                </c:pt>
                <c:pt idx="67">
                  <c:v>0.9479163747795567</c:v>
                </c:pt>
                <c:pt idx="68">
                  <c:v>0.9938749383226426</c:v>
                </c:pt>
                <c:pt idx="69">
                  <c:v>0.9137144472723729</c:v>
                </c:pt>
                <c:pt idx="70">
                  <c:v>0.9568767101595053</c:v>
                </c:pt>
                <c:pt idx="71">
                  <c:v>0.9877666674681186</c:v>
                </c:pt>
                <c:pt idx="72">
                  <c:v>1.0537994909156239</c:v>
                </c:pt>
                <c:pt idx="73">
                  <c:v>0.9520558225408097</c:v>
                </c:pt>
                <c:pt idx="74">
                  <c:v>0.973388713977432</c:v>
                </c:pt>
                <c:pt idx="75">
                  <c:v>0.8312841437793905</c:v>
                </c:pt>
                <c:pt idx="76">
                  <c:v>0.883617307156234</c:v>
                </c:pt>
                <c:pt idx="77">
                  <c:v>0.91226193108945</c:v>
                </c:pt>
                <c:pt idx="78">
                  <c:v>0.8892469273743017</c:v>
                </c:pt>
                <c:pt idx="79">
                  <c:v>0.9380491627148397</c:v>
                </c:pt>
                <c:pt idx="80">
                  <c:v>0.8486154991789611</c:v>
                </c:pt>
                <c:pt idx="81">
                  <c:v>0.8636218504730431</c:v>
                </c:pt>
                <c:pt idx="82">
                  <c:v>0.8063031907525128</c:v>
                </c:pt>
                <c:pt idx="83">
                  <c:v>0.7746833291699957</c:v>
                </c:pt>
                <c:pt idx="84">
                  <c:v>0.7091615206671908</c:v>
                </c:pt>
                <c:pt idx="85">
                  <c:v>0.8077572758185795</c:v>
                </c:pt>
                <c:pt idx="86">
                  <c:v>0.6998333951167489</c:v>
                </c:pt>
                <c:pt idx="87">
                  <c:v>0.7105056928123525</c:v>
                </c:pt>
                <c:pt idx="88">
                  <c:v>0.7523510919441383</c:v>
                </c:pt>
                <c:pt idx="89">
                  <c:v>0.6417374829180023</c:v>
                </c:pt>
                <c:pt idx="90">
                  <c:v>0.703026671159379</c:v>
                </c:pt>
                <c:pt idx="91">
                  <c:v>0.6570822337414739</c:v>
                </c:pt>
                <c:pt idx="92">
                  <c:v>0.7360909866759009</c:v>
                </c:pt>
                <c:pt idx="93">
                  <c:v>0.831685252022402</c:v>
                </c:pt>
                <c:pt idx="94">
                  <c:v>0.770746380342039</c:v>
                </c:pt>
                <c:pt idx="95">
                  <c:v>0.7431488091071814</c:v>
                </c:pt>
                <c:pt idx="96">
                  <c:v>0.9657501510010746</c:v>
                </c:pt>
                <c:pt idx="97">
                  <c:v>0.9167562736589419</c:v>
                </c:pt>
                <c:pt idx="98">
                  <c:v>0.9428916270933184</c:v>
                </c:pt>
                <c:pt idx="99">
                  <c:v>1.024361803471724</c:v>
                </c:pt>
                <c:pt idx="100">
                  <c:v>1.0070079935791445</c:v>
                </c:pt>
                <c:pt idx="101">
                  <c:v>0.9812488278960166</c:v>
                </c:pt>
                <c:pt idx="102">
                  <c:v>0.9168723294009792</c:v>
                </c:pt>
                <c:pt idx="103">
                  <c:v>0.9218082682098632</c:v>
                </c:pt>
                <c:pt idx="104">
                  <c:v>0.9673722268537587</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067911666559843</c:v>
                </c:pt>
                <c:pt idx="1">
                  <c:v>1.0368905152642576</c:v>
                </c:pt>
                <c:pt idx="2">
                  <c:v>1.0487918216753676</c:v>
                </c:pt>
                <c:pt idx="3">
                  <c:v>1.053941911919477</c:v>
                </c:pt>
                <c:pt idx="4">
                  <c:v>1.0697604748230125</c:v>
                </c:pt>
                <c:pt idx="5">
                  <c:v>1.1815334762838658</c:v>
                </c:pt>
                <c:pt idx="6">
                  <c:v>1.181001975027225</c:v>
                </c:pt>
                <c:pt idx="7">
                  <c:v>1.2726421681178943</c:v>
                </c:pt>
                <c:pt idx="8">
                  <c:v>1.3142622428163875</c:v>
                </c:pt>
                <c:pt idx="9">
                  <c:v>1.1761100637862787</c:v>
                </c:pt>
                <c:pt idx="10">
                  <c:v>1.2346080703213906</c:v>
                </c:pt>
                <c:pt idx="11">
                  <c:v>1.2102206215350142</c:v>
                </c:pt>
                <c:pt idx="12">
                  <c:v>1.1948409490210454</c:v>
                </c:pt>
                <c:pt idx="13">
                  <c:v>1.2605243608323489</c:v>
                </c:pt>
                <c:pt idx="14">
                  <c:v>1.1639006005319021</c:v>
                </c:pt>
                <c:pt idx="15">
                  <c:v>1.1480799326955233</c:v>
                </c:pt>
                <c:pt idx="16">
                  <c:v>1.1473199278844737</c:v>
                </c:pt>
                <c:pt idx="17">
                  <c:v>0.9712935343786909</c:v>
                </c:pt>
                <c:pt idx="18">
                  <c:v>1.3583370621884583</c:v>
                </c:pt>
                <c:pt idx="19">
                  <c:v>1.4303655186188182</c:v>
                </c:pt>
                <c:pt idx="20">
                  <c:v>1.3105746217564773</c:v>
                </c:pt>
                <c:pt idx="21">
                  <c:v>1.5556902378426354</c:v>
                </c:pt>
                <c:pt idx="22">
                  <c:v>1.388193825827765</c:v>
                </c:pt>
                <c:pt idx="23">
                  <c:v>1.4020802981874947</c:v>
                </c:pt>
                <c:pt idx="24">
                  <c:v>1.5529249755726702</c:v>
                </c:pt>
                <c:pt idx="25">
                  <c:v>1.4556310286677907</c:v>
                </c:pt>
                <c:pt idx="26">
                  <c:v>1.236703796033355</c:v>
                </c:pt>
                <c:pt idx="27">
                  <c:v>1.297912570566723</c:v>
                </c:pt>
                <c:pt idx="28">
                  <c:v>1.2133637745261003</c:v>
                </c:pt>
                <c:pt idx="29">
                  <c:v>1.4002155991549492</c:v>
                </c:pt>
                <c:pt idx="30">
                  <c:v>1.2774102376097403</c:v>
                </c:pt>
                <c:pt idx="31">
                  <c:v>1.3540424915924136</c:v>
                </c:pt>
                <c:pt idx="32">
                  <c:v>1.4397433644956092</c:v>
                </c:pt>
                <c:pt idx="33">
                  <c:v>1.3756887734106253</c:v>
                </c:pt>
                <c:pt idx="34">
                  <c:v>1.3271967477436735</c:v>
                </c:pt>
                <c:pt idx="35">
                  <c:v>1.4981571706702963</c:v>
                </c:pt>
                <c:pt idx="36">
                  <c:v>1.4319539776144363</c:v>
                </c:pt>
                <c:pt idx="37">
                  <c:v>1.4650828991658746</c:v>
                </c:pt>
                <c:pt idx="38">
                  <c:v>1.6689953656935772</c:v>
                </c:pt>
                <c:pt idx="39">
                  <c:v>1.6851184674591293</c:v>
                </c:pt>
                <c:pt idx="40">
                  <c:v>1.461584754843196</c:v>
                </c:pt>
                <c:pt idx="41">
                  <c:v>1.4713140418423678</c:v>
                </c:pt>
                <c:pt idx="42">
                  <c:v>1.550156603939205</c:v>
                </c:pt>
                <c:pt idx="43">
                  <c:v>1.6314449449072377</c:v>
                </c:pt>
                <c:pt idx="44">
                  <c:v>1.4974271376975479</c:v>
                </c:pt>
                <c:pt idx="45">
                  <c:v>1.3756973509165908</c:v>
                </c:pt>
                <c:pt idx="46">
                  <c:v>1.5497923250210708</c:v>
                </c:pt>
                <c:pt idx="47">
                  <c:v>1.1923835748213258</c:v>
                </c:pt>
                <c:pt idx="48">
                  <c:v>1.3420292300576047</c:v>
                </c:pt>
                <c:pt idx="49">
                  <c:v>1.304932726870735</c:v>
                </c:pt>
                <c:pt idx="50">
                  <c:v>1.397750754443193</c:v>
                </c:pt>
                <c:pt idx="51">
                  <c:v>1.2096692240799782</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3128900710525695</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3128900710525695</c:v>
                </c:pt>
                <c:pt idx="1">
                  <c:v>4.3128900710525695</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89823415937158</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89823415937158</c:v>
                </c:pt>
                <c:pt idx="1">
                  <c:v>2.089823415937158</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997091138949485</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997091138949485</c:v>
                </c:pt>
                <c:pt idx="1">
                  <c:v>1.4997091138949485</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067911666559843</c:v>
                </c:pt>
                <c:pt idx="1">
                  <c:v>1.0368905152642576</c:v>
                </c:pt>
                <c:pt idx="2">
                  <c:v>1.0487918216753676</c:v>
                </c:pt>
                <c:pt idx="3">
                  <c:v>1.053941911919477</c:v>
                </c:pt>
                <c:pt idx="4">
                  <c:v>1.0697604748230125</c:v>
                </c:pt>
                <c:pt idx="5">
                  <c:v>1.1815334762838658</c:v>
                </c:pt>
                <c:pt idx="6">
                  <c:v>1.181001975027225</c:v>
                </c:pt>
                <c:pt idx="7">
                  <c:v>1.2726421681178943</c:v>
                </c:pt>
                <c:pt idx="8">
                  <c:v>1.3142622428163875</c:v>
                </c:pt>
                <c:pt idx="9">
                  <c:v>1.1761100637862787</c:v>
                </c:pt>
                <c:pt idx="10">
                  <c:v>1.2346080703213906</c:v>
                </c:pt>
                <c:pt idx="11">
                  <c:v>1.2102206215350142</c:v>
                </c:pt>
                <c:pt idx="12">
                  <c:v>1.1948409490210454</c:v>
                </c:pt>
                <c:pt idx="13">
                  <c:v>1.2605243608323489</c:v>
                </c:pt>
                <c:pt idx="14">
                  <c:v>1.1639006005319021</c:v>
                </c:pt>
                <c:pt idx="15">
                  <c:v>1.1480799326955233</c:v>
                </c:pt>
                <c:pt idx="16">
                  <c:v>1.1473199278844737</c:v>
                </c:pt>
                <c:pt idx="17">
                  <c:v>0.9712935343786909</c:v>
                </c:pt>
                <c:pt idx="18">
                  <c:v>1.3583370621884583</c:v>
                </c:pt>
                <c:pt idx="19">
                  <c:v>1.4303655186188182</c:v>
                </c:pt>
                <c:pt idx="20">
                  <c:v>1.3105746217564773</c:v>
                </c:pt>
                <c:pt idx="21">
                  <c:v>1.5556902378426354</c:v>
                </c:pt>
                <c:pt idx="22">
                  <c:v>1.388193825827765</c:v>
                </c:pt>
                <c:pt idx="23">
                  <c:v>1.4020802981874947</c:v>
                </c:pt>
                <c:pt idx="24">
                  <c:v>1.5529249755726702</c:v>
                </c:pt>
                <c:pt idx="25">
                  <c:v>1.4556310286677907</c:v>
                </c:pt>
                <c:pt idx="26">
                  <c:v>1.236703796033355</c:v>
                </c:pt>
                <c:pt idx="27">
                  <c:v>1.297912570566723</c:v>
                </c:pt>
                <c:pt idx="28">
                  <c:v>1.2133637745261003</c:v>
                </c:pt>
                <c:pt idx="29">
                  <c:v>1.4002155991549492</c:v>
                </c:pt>
                <c:pt idx="30">
                  <c:v>1.2774102376097403</c:v>
                </c:pt>
                <c:pt idx="31">
                  <c:v>1.3540424915924136</c:v>
                </c:pt>
                <c:pt idx="32">
                  <c:v>1.4397433644956092</c:v>
                </c:pt>
                <c:pt idx="33">
                  <c:v>1.3756887734106253</c:v>
                </c:pt>
                <c:pt idx="34">
                  <c:v>1.3271967477436735</c:v>
                </c:pt>
                <c:pt idx="35">
                  <c:v>1.4981571706702963</c:v>
                </c:pt>
                <c:pt idx="36">
                  <c:v>1.4319539776144363</c:v>
                </c:pt>
                <c:pt idx="37">
                  <c:v>1.4650828991658746</c:v>
                </c:pt>
                <c:pt idx="38">
                  <c:v>1.6689953656935772</c:v>
                </c:pt>
                <c:pt idx="39">
                  <c:v>1.6851184674591293</c:v>
                </c:pt>
                <c:pt idx="40">
                  <c:v>1.461584754843196</c:v>
                </c:pt>
                <c:pt idx="41">
                  <c:v>1.4713140418423678</c:v>
                </c:pt>
                <c:pt idx="42">
                  <c:v>1.550156603939205</c:v>
                </c:pt>
                <c:pt idx="43">
                  <c:v>1.6314449449072377</c:v>
                </c:pt>
                <c:pt idx="44">
                  <c:v>1.4974271376975479</c:v>
                </c:pt>
                <c:pt idx="45">
                  <c:v>1.3756973509165908</c:v>
                </c:pt>
                <c:pt idx="46">
                  <c:v>1.5497923250210708</c:v>
                </c:pt>
                <c:pt idx="47">
                  <c:v>1.1923835748213258</c:v>
                </c:pt>
                <c:pt idx="48">
                  <c:v>1.3420292300576047</c:v>
                </c:pt>
                <c:pt idx="49">
                  <c:v>1.304932726870735</c:v>
                </c:pt>
                <c:pt idx="50">
                  <c:v>1.397750754443193</c:v>
                </c:pt>
                <c:pt idx="51">
                  <c:v>1.2096692240799782</c:v>
                </c:pt>
                <c:pt idx="52">
                  <c:v>2.089823415937158</c:v>
                </c:pt>
                <c:pt idx="53">
                  <c:v>4.3128900710525695</c:v>
                </c:pt>
                <c:pt idx="54">
                  <c:v>1.4997091138949485</c:v>
                </c:pt>
              </c:numCache>
            </c:numRef>
          </c:xVal>
          <c:yVal>
            <c:numRef>
              <c:f>Sheet1!$B$187:$B$241</c:f>
              <c:numCache>
                <c:formatCode>General</c:formatCode>
                <c:ptCount val="55"/>
                <c:pt idx="0">
                  <c:v>0.21845406840090975</c:v>
                </c:pt>
                <c:pt idx="1">
                  <c:v>0.21872576573085628</c:v>
                </c:pt>
                <c:pt idx="2">
                  <c:v>0.2188331950714994</c:v>
                </c:pt>
                <c:pt idx="3">
                  <c:v>0.21887968331237528</c:v>
                </c:pt>
                <c:pt idx="4">
                  <c:v>0.21902247249231455</c:v>
                </c:pt>
                <c:pt idx="5">
                  <c:v>0.22003141213590127</c:v>
                </c:pt>
                <c:pt idx="6">
                  <c:v>0.22002661444163313</c:v>
                </c:pt>
                <c:pt idx="7">
                  <c:v>0.22085382157167963</c:v>
                </c:pt>
                <c:pt idx="8">
                  <c:v>0.2212295128637047</c:v>
                </c:pt>
                <c:pt idx="9">
                  <c:v>0.21998245670121827</c:v>
                </c:pt>
                <c:pt idx="10">
                  <c:v>0.22051049976253606</c:v>
                </c:pt>
                <c:pt idx="11">
                  <c:v>0.2202903619513927</c:v>
                </c:pt>
                <c:pt idx="12">
                  <c:v>0.2201515344966235</c:v>
                </c:pt>
                <c:pt idx="13">
                  <c:v>0.22074443794590295</c:v>
                </c:pt>
                <c:pt idx="14">
                  <c:v>0.2198722457259089</c:v>
                </c:pt>
                <c:pt idx="15">
                  <c:v>0.2197294375454045</c:v>
                </c:pt>
                <c:pt idx="16">
                  <c:v>0.21972257722159497</c:v>
                </c:pt>
                <c:pt idx="17">
                  <c:v>0.2181336424662929</c:v>
                </c:pt>
                <c:pt idx="18">
                  <c:v>0.22162736236194852</c:v>
                </c:pt>
                <c:pt idx="19">
                  <c:v>0.2222775405284926</c:v>
                </c:pt>
                <c:pt idx="20">
                  <c:v>0.22119622587105675</c:v>
                </c:pt>
                <c:pt idx="21">
                  <c:v>0.223408807255642</c:v>
                </c:pt>
                <c:pt idx="22">
                  <c:v>0.22189686995386412</c:v>
                </c:pt>
                <c:pt idx="23">
                  <c:v>0.22202221876162795</c:v>
                </c:pt>
                <c:pt idx="24">
                  <c:v>0.2233838461049829</c:v>
                </c:pt>
                <c:pt idx="25">
                  <c:v>0.22250560432181193</c:v>
                </c:pt>
                <c:pt idx="26">
                  <c:v>0.2205294172177824</c:v>
                </c:pt>
                <c:pt idx="27">
                  <c:v>0.22108192952714992</c:v>
                </c:pt>
                <c:pt idx="28">
                  <c:v>0.22031873420244724</c:v>
                </c:pt>
                <c:pt idx="29">
                  <c:v>0.22200538671137698</c:v>
                </c:pt>
                <c:pt idx="30">
                  <c:v>0.2208968614316711</c:v>
                </c:pt>
                <c:pt idx="31">
                  <c:v>0.22158859662720132</c:v>
                </c:pt>
                <c:pt idx="32">
                  <c:v>0.2223621913865073</c:v>
                </c:pt>
                <c:pt idx="33">
                  <c:v>0.221783990788378</c:v>
                </c:pt>
                <c:pt idx="34">
                  <c:v>0.22134626856159906</c:v>
                </c:pt>
                <c:pt idx="35">
                  <c:v>0.22288947439771886</c:v>
                </c:pt>
                <c:pt idx="36">
                  <c:v>0.22229187904702521</c:v>
                </c:pt>
                <c:pt idx="37">
                  <c:v>0.22259092337674402</c:v>
                </c:pt>
                <c:pt idx="38">
                  <c:v>0.22443157692109214</c:v>
                </c:pt>
                <c:pt idx="39">
                  <c:v>0.22457711507732162</c:v>
                </c:pt>
                <c:pt idx="40">
                  <c:v>0.22255934673086344</c:v>
                </c:pt>
                <c:pt idx="41">
                  <c:v>0.222647169937085</c:v>
                </c:pt>
                <c:pt idx="42">
                  <c:v>0.22335885688707985</c:v>
                </c:pt>
                <c:pt idx="43">
                  <c:v>0.22409262111182213</c:v>
                </c:pt>
                <c:pt idx="44">
                  <c:v>0.22288288462024394</c:v>
                </c:pt>
                <c:pt idx="45">
                  <c:v>0.22178406821481997</c:v>
                </c:pt>
                <c:pt idx="46">
                  <c:v>0.22335556865613834</c:v>
                </c:pt>
                <c:pt idx="47">
                  <c:v>0.22012935255450136</c:v>
                </c:pt>
                <c:pt idx="48">
                  <c:v>0.2214801567029546</c:v>
                </c:pt>
                <c:pt idx="49">
                  <c:v>0.22114529826474058</c:v>
                </c:pt>
                <c:pt idx="50">
                  <c:v>0.221983137335298</c:v>
                </c:pt>
                <c:pt idx="51">
                  <c:v>0.22028538466041467</c:v>
                </c:pt>
                <c:pt idx="52">
                  <c:v>0.22823025904892916</c:v>
                </c:pt>
                <c:pt idx="53">
                  <c:v>0.2482971808401202</c:v>
                </c:pt>
                <c:pt idx="54">
                  <c:v>0.22290348329989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2.79</c:v>
                </c:pt>
                <c:pt idx="1">
                  <c:v>884.3265</c:v>
                </c:pt>
                <c:pt idx="2">
                  <c:v>956.6324</c:v>
                </c:pt>
                <c:pt idx="3">
                  <c:v>963.9754</c:v>
                </c:pt>
                <c:pt idx="4">
                  <c:v>974.4964</c:v>
                </c:pt>
                <c:pt idx="5">
                  <c:v>965.6565</c:v>
                </c:pt>
                <c:pt idx="6">
                  <c:v>938.2166</c:v>
                </c:pt>
                <c:pt idx="7">
                  <c:v>927.5378</c:v>
                </c:pt>
                <c:pt idx="8">
                  <c:v>931.509</c:v>
                </c:pt>
                <c:pt idx="9">
                  <c:v>923.3632</c:v>
                </c:pt>
                <c:pt idx="10">
                  <c:v>906.8844</c:v>
                </c:pt>
                <c:pt idx="11">
                  <c:v>958.7039</c:v>
                </c:pt>
                <c:pt idx="12">
                  <c:v>983.1618</c:v>
                </c:pt>
                <c:pt idx="13">
                  <c:v>975.0105</c:v>
                </c:pt>
                <c:pt idx="14">
                  <c:v>984.2043</c:v>
                </c:pt>
                <c:pt idx="15">
                  <c:v>989.0797</c:v>
                </c:pt>
                <c:pt idx="16">
                  <c:v>1025.527</c:v>
                </c:pt>
                <c:pt idx="17">
                  <c:v>1044.9246</c:v>
                </c:pt>
                <c:pt idx="18">
                  <c:v>1080.6646</c:v>
                </c:pt>
                <c:pt idx="19">
                  <c:v>1096.8465</c:v>
                </c:pt>
                <c:pt idx="20">
                  <c:v>1124.4142</c:v>
                </c:pt>
                <c:pt idx="21">
                  <c:v>1143.122</c:v>
                </c:pt>
                <c:pt idx="22">
                  <c:v>1095.4679</c:v>
                </c:pt>
                <c:pt idx="23">
                  <c:v>1068.0507</c:v>
                </c:pt>
                <c:pt idx="24">
                  <c:v>1086.7816</c:v>
                </c:pt>
                <c:pt idx="25">
                  <c:v>1085.2599</c:v>
                </c:pt>
                <c:pt idx="26">
                  <c:v>1102.6268</c:v>
                </c:pt>
                <c:pt idx="27">
                  <c:v>1100.1875</c:v>
                </c:pt>
                <c:pt idx="28">
                  <c:v>1084.2822</c:v>
                </c:pt>
                <c:pt idx="29">
                  <c:v>1047.1791</c:v>
                </c:pt>
                <c:pt idx="30">
                  <c:v>1065.7821</c:v>
                </c:pt>
                <c:pt idx="31">
                  <c:v>1043.5789</c:v>
                </c:pt>
                <c:pt idx="32">
                  <c:v>1022.8868</c:v>
                </c:pt>
                <c:pt idx="33">
                  <c:v>939.0305</c:v>
                </c:pt>
                <c:pt idx="34">
                  <c:v>982.0418</c:v>
                </c:pt>
                <c:pt idx="35">
                  <c:v>1047.6156</c:v>
                </c:pt>
                <c:pt idx="36">
                  <c:v>1125.8442</c:v>
                </c:pt>
                <c:pt idx="37">
                  <c:v>1115.5478</c:v>
                </c:pt>
                <c:pt idx="38">
                  <c:v>1183.1635</c:v>
                </c:pt>
                <c:pt idx="39">
                  <c:v>1213.75</c:v>
                </c:pt>
                <c:pt idx="40">
                  <c:v>1192.9828</c:v>
                </c:pt>
                <c:pt idx="41">
                  <c:v>1225.0738</c:v>
                </c:pt>
                <c:pt idx="42">
                  <c:v>1256.48</c:v>
                </c:pt>
                <c:pt idx="43">
                  <c:v>1296.4895</c:v>
                </c:pt>
                <c:pt idx="44">
                  <c:v>1232.5289</c:v>
                </c:pt>
                <c:pt idx="45">
                  <c:v>1189.2108</c:v>
                </c:pt>
                <c:pt idx="46">
                  <c:v>1139.4112</c:v>
                </c:pt>
                <c:pt idx="47">
                  <c:v>1134.3718</c:v>
                </c:pt>
                <c:pt idx="48">
                  <c:v>1122.2572</c:v>
                </c:pt>
                <c:pt idx="49">
                  <c:v>1067.9879</c:v>
                </c:pt>
                <c:pt idx="50">
                  <c:v>1052.6671</c:v>
                </c:pt>
                <c:pt idx="51">
                  <c:v>1091.7216</c:v>
                </c:pt>
                <c:pt idx="52">
                  <c:v>1087.8718</c:v>
                </c:pt>
                <c:pt idx="53">
                  <c:v>1199.104</c:v>
                </c:pt>
                <c:pt idx="54">
                  <c:v>1162.7355</c:v>
                </c:pt>
                <c:pt idx="55">
                  <c:v>1182.3888</c:v>
                </c:pt>
                <c:pt idx="56">
                  <c:v>1201.9981</c:v>
                </c:pt>
                <c:pt idx="57">
                  <c:v>1193.5803</c:v>
                </c:pt>
                <c:pt idx="58">
                  <c:v>1154.0778</c:v>
                </c:pt>
                <c:pt idx="59">
                  <c:v>1162.7986</c:v>
                </c:pt>
                <c:pt idx="60">
                  <c:v>1182.1061</c:v>
                </c:pt>
                <c:pt idx="61">
                  <c:v>1171.5338</c:v>
                </c:pt>
                <c:pt idx="62">
                  <c:v>1142.9533</c:v>
                </c:pt>
                <c:pt idx="63">
                  <c:v>1164.3132</c:v>
                </c:pt>
                <c:pt idx="64">
                  <c:v>1159.4663</c:v>
                </c:pt>
                <c:pt idx="65">
                  <c:v>1173.9207</c:v>
                </c:pt>
                <c:pt idx="66">
                  <c:v>1160.8855</c:v>
                </c:pt>
                <c:pt idx="67">
                  <c:v>1167.0863</c:v>
                </c:pt>
                <c:pt idx="68">
                  <c:v>1192.4432</c:v>
                </c:pt>
                <c:pt idx="69">
                  <c:v>1226.7892</c:v>
                </c:pt>
                <c:pt idx="70">
                  <c:v>1244.7679</c:v>
                </c:pt>
                <c:pt idx="71">
                  <c:v>1285.8785</c:v>
                </c:pt>
                <c:pt idx="72">
                  <c:v>1386.6448</c:v>
                </c:pt>
                <c:pt idx="73">
                  <c:v>1348.5627</c:v>
                </c:pt>
                <c:pt idx="74">
                  <c:v>1336.5982</c:v>
                </c:pt>
                <c:pt idx="75">
                  <c:v>1249.3598</c:v>
                </c:pt>
                <c:pt idx="76">
                  <c:v>1282.5145</c:v>
                </c:pt>
                <c:pt idx="77">
                  <c:v>1329.0932</c:v>
                </c:pt>
                <c:pt idx="78">
                  <c:v>1333.0923</c:v>
                </c:pt>
                <c:pt idx="79">
                  <c:v>1345.0035</c:v>
                </c:pt>
                <c:pt idx="80">
                  <c:v>1333.3277</c:v>
                </c:pt>
                <c:pt idx="81">
                  <c:v>1323.7404</c:v>
                </c:pt>
                <c:pt idx="82">
                  <c:v>1309.6178</c:v>
                </c:pt>
                <c:pt idx="83">
                  <c:v>1252.5792</c:v>
                </c:pt>
                <c:pt idx="84">
                  <c:v>1274.3824</c:v>
                </c:pt>
                <c:pt idx="85">
                  <c:v>1264.9277</c:v>
                </c:pt>
                <c:pt idx="86">
                  <c:v>1247.6916</c:v>
                </c:pt>
                <c:pt idx="87">
                  <c:v>1232.6613</c:v>
                </c:pt>
                <c:pt idx="88">
                  <c:v>1306.6189</c:v>
                </c:pt>
                <c:pt idx="89">
                  <c:v>1283.5127</c:v>
                </c:pt>
                <c:pt idx="90">
                  <c:v>1356.1736</c:v>
                </c:pt>
                <c:pt idx="91">
                  <c:v>1331.185</c:v>
                </c:pt>
                <c:pt idx="92">
                  <c:v>1307.7285</c:v>
                </c:pt>
                <c:pt idx="93">
                  <c:v>1336.5182</c:v>
                </c:pt>
                <c:pt idx="94">
                  <c:v>1291.218</c:v>
                </c:pt>
                <c:pt idx="95">
                  <c:v>1211.4447</c:v>
                </c:pt>
                <c:pt idx="96">
                  <c:v>1284.0868</c:v>
                </c:pt>
                <c:pt idx="97">
                  <c:v>1241.1734</c:v>
                </c:pt>
                <c:pt idx="98">
                  <c:v>1182.9227</c:v>
                </c:pt>
                <c:pt idx="99">
                  <c:v>1153.3603</c:v>
                </c:pt>
                <c:pt idx="100">
                  <c:v>1128.2006</c:v>
                </c:pt>
                <c:pt idx="101">
                  <c:v>1181.4544</c:v>
                </c:pt>
                <c:pt idx="102">
                  <c:v>1176.5391</c:v>
                </c:pt>
                <c:pt idx="103">
                  <c:v>1142.5383</c:v>
                </c:pt>
                <c:pt idx="104">
                  <c:v>1217.807</c:v>
                </c:pt>
              </c:numCache>
            </c:numRef>
          </c:xVal>
          <c:yVal>
            <c:numRef>
              <c:f>Sheet1!$B$2:$B$106</c:f>
              <c:numCache>
                <c:formatCode>General</c:formatCode>
                <c:ptCount val="105"/>
                <c:pt idx="0">
                  <c:v>0.2473856209150327</c:v>
                </c:pt>
                <c:pt idx="1">
                  <c:v>0.23307969563476172</c:v>
                </c:pt>
                <c:pt idx="2">
                  <c:v>0.2322027581065971</c:v>
                </c:pt>
                <c:pt idx="3">
                  <c:v>0.23785594639865998</c:v>
                </c:pt>
                <c:pt idx="4">
                  <c:v>0.24035087719298245</c:v>
                </c:pt>
                <c:pt idx="5">
                  <c:v>0.2527250706499798</c:v>
                </c:pt>
                <c:pt idx="6">
                  <c:v>0.25370226032735776</c:v>
                </c:pt>
                <c:pt idx="7">
                  <c:v>0.28126187761307486</c:v>
                </c:pt>
                <c:pt idx="8">
                  <c:v>0.2561105207226355</c:v>
                </c:pt>
                <c:pt idx="9">
                  <c:v>0.24733295901179111</c:v>
                </c:pt>
                <c:pt idx="10">
                  <c:v>0.2604166666666667</c:v>
                </c:pt>
                <c:pt idx="11">
                  <c:v>0.23558586484810912</c:v>
                </c:pt>
                <c:pt idx="12">
                  <c:v>0.2311495673671199</c:v>
                </c:pt>
                <c:pt idx="13">
                  <c:v>0.21992110453648916</c:v>
                </c:pt>
                <c:pt idx="14">
                  <c:v>0.2065888812628689</c:v>
                </c:pt>
                <c:pt idx="15">
                  <c:v>0.19241629689390882</c:v>
                </c:pt>
                <c:pt idx="16">
                  <c:v>0.17635843660629172</c:v>
                </c:pt>
                <c:pt idx="17">
                  <c:v>0.176832393644285</c:v>
                </c:pt>
                <c:pt idx="18">
                  <c:v>0.16356316054353295</c:v>
                </c:pt>
                <c:pt idx="19">
                  <c:v>0.17963224893917965</c:v>
                </c:pt>
                <c:pt idx="20">
                  <c:v>0.16357861302276336</c:v>
                </c:pt>
                <c:pt idx="21">
                  <c:v>0.16429495472186287</c:v>
                </c:pt>
                <c:pt idx="22">
                  <c:v>0.19975565058032987</c:v>
                </c:pt>
                <c:pt idx="23">
                  <c:v>0.2292950034223135</c:v>
                </c:pt>
                <c:pt idx="24">
                  <c:v>0.22931785195936139</c:v>
                </c:pt>
                <c:pt idx="25">
                  <c:v>0.21590023382696805</c:v>
                </c:pt>
                <c:pt idx="26">
                  <c:v>0.23370025402201525</c:v>
                </c:pt>
                <c:pt idx="27">
                  <c:v>0.22377622377622378</c:v>
                </c:pt>
                <c:pt idx="28">
                  <c:v>0.28</c:v>
                </c:pt>
                <c:pt idx="29">
                  <c:v>0.264049955396967</c:v>
                </c:pt>
                <c:pt idx="30">
                  <c:v>0.2590725806451613</c:v>
                </c:pt>
                <c:pt idx="31">
                  <c:v>0.2779519331243469</c:v>
                </c:pt>
                <c:pt idx="32">
                  <c:v>0.2729145211122554</c:v>
                </c:pt>
                <c:pt idx="33">
                  <c:v>0.27365491651205937</c:v>
                </c:pt>
                <c:pt idx="34">
                  <c:v>0.2653362897265336</c:v>
                </c:pt>
                <c:pt idx="35">
                  <c:v>0.2554557124518614</c:v>
                </c:pt>
                <c:pt idx="36">
                  <c:v>0.25395569620253167</c:v>
                </c:pt>
                <c:pt idx="37">
                  <c:v>0.24861441013460014</c:v>
                </c:pt>
                <c:pt idx="38">
                  <c:v>0.2536162005785921</c:v>
                </c:pt>
                <c:pt idx="39">
                  <c:v>0.23603793466807166</c:v>
                </c:pt>
                <c:pt idx="40">
                  <c:v>0.23405972558514931</c:v>
                </c:pt>
                <c:pt idx="41">
                  <c:v>0.23897353648757017</c:v>
                </c:pt>
                <c:pt idx="42">
                  <c:v>0.23771790808240886</c:v>
                </c:pt>
                <c:pt idx="43">
                  <c:v>0.2293504410585405</c:v>
                </c:pt>
                <c:pt idx="44">
                  <c:v>0.2189873417721519</c:v>
                </c:pt>
                <c:pt idx="45">
                  <c:v>0.22896198205894916</c:v>
                </c:pt>
                <c:pt idx="46">
                  <c:v>0.23003003003003003</c:v>
                </c:pt>
                <c:pt idx="47">
                  <c:v>0.22844272844272845</c:v>
                </c:pt>
                <c:pt idx="48">
                  <c:v>0.2247581245348549</c:v>
                </c:pt>
                <c:pt idx="49">
                  <c:v>0.20827805784027595</c:v>
                </c:pt>
                <c:pt idx="50">
                  <c:v>0.22921412300683372</c:v>
                </c:pt>
                <c:pt idx="51">
                  <c:v>0.21043771043771045</c:v>
                </c:pt>
                <c:pt idx="52">
                  <c:v>0.21176470588235294</c:v>
                </c:pt>
                <c:pt idx="53">
                  <c:v>0.205761316872428</c:v>
                </c:pt>
                <c:pt idx="54">
                  <c:v>0.2008298755186722</c:v>
                </c:pt>
                <c:pt idx="55">
                  <c:v>0.19332797427652734</c:v>
                </c:pt>
                <c:pt idx="56">
                  <c:v>0.20196850393700788</c:v>
                </c:pt>
                <c:pt idx="57">
                  <c:v>0.19598180439727067</c:v>
                </c:pt>
                <c:pt idx="58">
                  <c:v>0.22403335860500379</c:v>
                </c:pt>
                <c:pt idx="59">
                  <c:v>0.21152667075413856</c:v>
                </c:pt>
                <c:pt idx="60">
                  <c:v>0.20634475014037057</c:v>
                </c:pt>
                <c:pt idx="61">
                  <c:v>0.21229666390956714</c:v>
                </c:pt>
                <c:pt idx="62">
                  <c:v>0.22422815279958136</c:v>
                </c:pt>
                <c:pt idx="63">
                  <c:v>0.21336459554513482</c:v>
                </c:pt>
                <c:pt idx="64">
                  <c:v>0.21227503461006</c:v>
                </c:pt>
                <c:pt idx="65">
                  <c:v>0.19384925636501135</c:v>
                </c:pt>
                <c:pt idx="66">
                  <c:v>0.2036797097693703</c:v>
                </c:pt>
                <c:pt idx="67">
                  <c:v>0.2037747920665387</c:v>
                </c:pt>
                <c:pt idx="68">
                  <c:v>0.1831905344757242</c:v>
                </c:pt>
                <c:pt idx="69">
                  <c:v>0.18778947368421053</c:v>
                </c:pt>
                <c:pt idx="70">
                  <c:v>0.18594306049822065</c:v>
                </c:pt>
                <c:pt idx="71">
                  <c:v>0.18670886075949367</c:v>
                </c:pt>
                <c:pt idx="72">
                  <c:v>0.1661706349206349</c:v>
                </c:pt>
                <c:pt idx="73">
                  <c:v>0.18187134502923977</c:v>
                </c:pt>
                <c:pt idx="74">
                  <c:v>0.18400876232201532</c:v>
                </c:pt>
                <c:pt idx="75">
                  <c:v>0.21284879948085658</c:v>
                </c:pt>
                <c:pt idx="76">
                  <c:v>0.2199618563254927</c:v>
                </c:pt>
                <c:pt idx="77">
                  <c:v>0.1838006230529595</c:v>
                </c:pt>
                <c:pt idx="78">
                  <c:v>0.21138211382113822</c:v>
                </c:pt>
                <c:pt idx="79">
                  <c:v>0.19598337950138503</c:v>
                </c:pt>
                <c:pt idx="80">
                  <c:v>0.17908201655379985</c:v>
                </c:pt>
                <c:pt idx="81">
                  <c:v>0.19573400250941028</c:v>
                </c:pt>
                <c:pt idx="82">
                  <c:v>0.2098865478119935</c:v>
                </c:pt>
                <c:pt idx="83">
                  <c:v>0.20331186752529898</c:v>
                </c:pt>
                <c:pt idx="84">
                  <c:v>0.21715328467153286</c:v>
                </c:pt>
                <c:pt idx="85">
                  <c:v>0.20819397993311037</c:v>
                </c:pt>
                <c:pt idx="86">
                  <c:v>0.21598877980364656</c:v>
                </c:pt>
                <c:pt idx="87">
                  <c:v>0.23425692695214106</c:v>
                </c:pt>
                <c:pt idx="88">
                  <c:v>0.21422300263388938</c:v>
                </c:pt>
                <c:pt idx="89">
                  <c:v>0.2631578947368421</c:v>
                </c:pt>
                <c:pt idx="90">
                  <c:v>0.2523809523809524</c:v>
                </c:pt>
                <c:pt idx="91">
                  <c:v>0.22677322677322678</c:v>
                </c:pt>
                <c:pt idx="92">
                  <c:v>0.2280564263322884</c:v>
                </c:pt>
                <c:pt idx="93">
                  <c:v>0.2118353344768439</c:v>
                </c:pt>
                <c:pt idx="94">
                  <c:v>0.22561492790500423</c:v>
                </c:pt>
                <c:pt idx="95">
                  <c:v>0.24703087885985747</c:v>
                </c:pt>
                <c:pt idx="96">
                  <c:v>0.21232876712328766</c:v>
                </c:pt>
                <c:pt idx="97">
                  <c:v>0.22566793893129772</c:v>
                </c:pt>
                <c:pt idx="98">
                  <c:v>0.22744648318042812</c:v>
                </c:pt>
                <c:pt idx="99">
                  <c:v>0.22631862217438106</c:v>
                </c:pt>
                <c:pt idx="100">
                  <c:v>0.2227001985440106</c:v>
                </c:pt>
                <c:pt idx="101">
                  <c:v>0.23152877085461354</c:v>
                </c:pt>
                <c:pt idx="102">
                  <c:v>0.21361301369863014</c:v>
                </c:pt>
                <c:pt idx="103">
                  <c:v>0.21536252692031588</c:v>
                </c:pt>
                <c:pt idx="104">
                  <c:v>0.204790419161676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numCache>
            </c:numRef>
          </c:xVal>
          <c:yVal>
            <c:numRef>
              <c:f>Sheet1!$B$109:$B$160</c:f>
              <c:numCache>
                <c:formatCode>General</c:formatCode>
                <c:ptCount val="52"/>
                <c:pt idx="0">
                  <c:v>0.208688906128782</c:v>
                </c:pt>
                <c:pt idx="1">
                  <c:v>0.2039503904455673</c:v>
                </c:pt>
                <c:pt idx="2">
                  <c:v>0.21981308411214953</c:v>
                </c:pt>
                <c:pt idx="3">
                  <c:v>0.23725637181409295</c:v>
                </c:pt>
                <c:pt idx="4">
                  <c:v>0.22305338320299217</c:v>
                </c:pt>
                <c:pt idx="5">
                  <c:v>0.21171171171171171</c:v>
                </c:pt>
                <c:pt idx="6">
                  <c:v>0.21181818181818182</c:v>
                </c:pt>
                <c:pt idx="7">
                  <c:v>0.2182247124741964</c:v>
                </c:pt>
                <c:pt idx="8">
                  <c:v>0.21088825214899715</c:v>
                </c:pt>
                <c:pt idx="9">
                  <c:v>0.21877365632096896</c:v>
                </c:pt>
                <c:pt idx="10">
                  <c:v>0.21498371335504887</c:v>
                </c:pt>
                <c:pt idx="11">
                  <c:v>0.21297127468581686</c:v>
                </c:pt>
                <c:pt idx="12">
                  <c:v>0.20942662779397472</c:v>
                </c:pt>
                <c:pt idx="13">
                  <c:v>0.21785815202034473</c:v>
                </c:pt>
                <c:pt idx="14">
                  <c:v>0.219117180057161</c:v>
                </c:pt>
                <c:pt idx="15">
                  <c:v>0.20848310567936737</c:v>
                </c:pt>
                <c:pt idx="16">
                  <c:v>0.2050191407911527</c:v>
                </c:pt>
                <c:pt idx="17">
                  <c:v>0.2351024208566108</c:v>
                </c:pt>
                <c:pt idx="18">
                  <c:v>0.21143680922633348</c:v>
                </c:pt>
                <c:pt idx="19">
                  <c:v>0.21137724550898204</c:v>
                </c:pt>
                <c:pt idx="20">
                  <c:v>0.21699544764795145</c:v>
                </c:pt>
                <c:pt idx="21">
                  <c:v>0.21803977272727273</c:v>
                </c:pt>
                <c:pt idx="22">
                  <c:v>0.20624593363695512</c:v>
                </c:pt>
                <c:pt idx="23">
                  <c:v>0.22868217054263565</c:v>
                </c:pt>
                <c:pt idx="24">
                  <c:v>0.21696252465483234</c:v>
                </c:pt>
                <c:pt idx="25">
                  <c:v>0.22699386503067484</c:v>
                </c:pt>
                <c:pt idx="26">
                  <c:v>0.2473919523099851</c:v>
                </c:pt>
                <c:pt idx="27">
                  <c:v>0.2516891891891892</c:v>
                </c:pt>
                <c:pt idx="28">
                  <c:v>0.2108786610878661</c:v>
                </c:pt>
                <c:pt idx="29">
                  <c:v>0.22110091743119267</c:v>
                </c:pt>
                <c:pt idx="30">
                  <c:v>0.2296157450796626</c:v>
                </c:pt>
                <c:pt idx="31">
                  <c:v>0.21666666666666667</c:v>
                </c:pt>
                <c:pt idx="32">
                  <c:v>0.2057942057942058</c:v>
                </c:pt>
                <c:pt idx="33">
                  <c:v>0.21037463976945245</c:v>
                </c:pt>
                <c:pt idx="34">
                  <c:v>0.24584103512014788</c:v>
                </c:pt>
                <c:pt idx="35">
                  <c:v>0.22812051649928264</c:v>
                </c:pt>
                <c:pt idx="36">
                  <c:v>0.23443579766536965</c:v>
                </c:pt>
                <c:pt idx="37">
                  <c:v>0.239422084623323</c:v>
                </c:pt>
                <c:pt idx="38">
                  <c:v>0.24495967741935484</c:v>
                </c:pt>
                <c:pt idx="39">
                  <c:v>0.22469982847341338</c:v>
                </c:pt>
                <c:pt idx="40">
                  <c:v>0.2274741506646972</c:v>
                </c:pt>
                <c:pt idx="41">
                  <c:v>0.2308288148721921</c:v>
                </c:pt>
                <c:pt idx="42">
                  <c:v>0.2056590752242926</c:v>
                </c:pt>
                <c:pt idx="43">
                  <c:v>0.20714285714285716</c:v>
                </c:pt>
                <c:pt idx="44">
                  <c:v>0.21140731556106634</c:v>
                </c:pt>
                <c:pt idx="45">
                  <c:v>0.23323323323323322</c:v>
                </c:pt>
                <c:pt idx="46">
                  <c:v>0.24233515329693406</c:v>
                </c:pt>
                <c:pt idx="47">
                  <c:v>0.23727486296006264</c:v>
                </c:pt>
                <c:pt idx="48">
                  <c:v>0.2347364429275692</c:v>
                </c:pt>
                <c:pt idx="49">
                  <c:v>0.22144584789035204</c:v>
                </c:pt>
                <c:pt idx="50">
                  <c:v>0.2013571090421335</c:v>
                </c:pt>
                <c:pt idx="51">
                  <c:v>0.22015059160989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419.174165711375</c:v>
                </c:pt>
              </c:numCache>
            </c:numRef>
          </c:xVal>
          <c:yVal>
            <c:numRef>
              <c:f>Sheet1!$B$163:$B$164</c:f>
              <c:numCache>
                <c:formatCode>General</c:formatCode>
                <c:ptCount val="2"/>
                <c:pt idx="0">
                  <c:v>0.2482971808401202</c:v>
                </c:pt>
                <c:pt idx="1">
                  <c:v>0.24829718084012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419.174165711375</c:v>
                </c:pt>
                <c:pt idx="1">
                  <c:v>2419.174165711375</c:v>
                </c:pt>
              </c:numCache>
            </c:numRef>
          </c:xVal>
          <c:yVal>
            <c:numRef>
              <c:f>Sheet1!$B$167:$B$168</c:f>
              <c:numCache>
                <c:formatCode>General</c:formatCode>
                <c:ptCount val="2"/>
                <c:pt idx="0">
                  <c:v>0.24829718084012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571.8375151317457</c:v>
                </c:pt>
              </c:numCache>
            </c:numRef>
          </c:xVal>
          <c:yVal>
            <c:numRef>
              <c:f>Sheet1!$B$171:$B$172</c:f>
              <c:numCache>
                <c:formatCode>General</c:formatCode>
                <c:ptCount val="2"/>
                <c:pt idx="0">
                  <c:v>0.22823025904892916</c:v>
                </c:pt>
                <c:pt idx="1">
                  <c:v>0.228230259048929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571.8375151317457</c:v>
                </c:pt>
                <c:pt idx="1">
                  <c:v>1571.8375151317457</c:v>
                </c:pt>
              </c:numCache>
            </c:numRef>
          </c:xVal>
          <c:yVal>
            <c:numRef>
              <c:f>Sheet1!$B$175:$B$176</c:f>
              <c:numCache>
                <c:formatCode>General</c:formatCode>
                <c:ptCount val="2"/>
                <c:pt idx="0">
                  <c:v>0.22823025904892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6.911521571907</c:v>
                </c:pt>
              </c:numCache>
            </c:numRef>
          </c:xVal>
          <c:yVal>
            <c:numRef>
              <c:f>Sheet1!$B$179:$B$180</c:f>
              <c:numCache>
                <c:formatCode>General</c:formatCode>
                <c:ptCount val="2"/>
                <c:pt idx="0">
                  <c:v>0.22290348329989992</c:v>
                </c:pt>
                <c:pt idx="1">
                  <c:v>0.222903483299899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6.911521571907</c:v>
                </c:pt>
                <c:pt idx="1">
                  <c:v>1346.911521571907</c:v>
                </c:pt>
              </c:numCache>
            </c:numRef>
          </c:xVal>
          <c:yVal>
            <c:numRef>
              <c:f>Sheet1!$B$183:$B$184</c:f>
              <c:numCache>
                <c:formatCode>General</c:formatCode>
                <c:ptCount val="2"/>
                <c:pt idx="0">
                  <c:v>0.22290348329989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0.9275</c:v>
                </c:pt>
                <c:pt idx="1">
                  <c:v>1271.5518</c:v>
                </c:pt>
                <c:pt idx="2">
                  <c:v>1282.1888</c:v>
                </c:pt>
                <c:pt idx="3">
                  <c:v>1227.7441</c:v>
                </c:pt>
                <c:pt idx="4">
                  <c:v>1283.0015</c:v>
                </c:pt>
                <c:pt idx="5">
                  <c:v>1290.7692</c:v>
                </c:pt>
                <c:pt idx="6">
                  <c:v>1210.2861</c:v>
                </c:pt>
                <c:pt idx="7">
                  <c:v>1213.0297</c:v>
                </c:pt>
                <c:pt idx="8">
                  <c:v>1241.6277</c:v>
                </c:pt>
                <c:pt idx="9">
                  <c:v>1195.8339</c:v>
                </c:pt>
                <c:pt idx="10">
                  <c:v>1231.1566</c:v>
                </c:pt>
                <c:pt idx="11">
                  <c:v>1127.7102</c:v>
                </c:pt>
                <c:pt idx="12">
                  <c:v>1165.036</c:v>
                </c:pt>
                <c:pt idx="13">
                  <c:v>1200.655</c:v>
                </c:pt>
                <c:pt idx="14">
                  <c:v>1169.6725</c:v>
                </c:pt>
                <c:pt idx="15">
                  <c:v>1184.0983</c:v>
                </c:pt>
                <c:pt idx="16">
                  <c:v>1227.0021</c:v>
                </c:pt>
                <c:pt idx="17">
                  <c:v>1132.0634</c:v>
                </c:pt>
                <c:pt idx="18">
                  <c:v>1228.525</c:v>
                </c:pt>
                <c:pt idx="19">
                  <c:v>1319.8725</c:v>
                </c:pt>
                <c:pt idx="20">
                  <c:v>1315.6818</c:v>
                </c:pt>
                <c:pt idx="21">
                  <c:v>1265.456</c:v>
                </c:pt>
                <c:pt idx="22">
                  <c:v>1293.2776</c:v>
                </c:pt>
                <c:pt idx="23">
                  <c:v>1284.8898</c:v>
                </c:pt>
                <c:pt idx="24">
                  <c:v>1314.2182</c:v>
                </c:pt>
                <c:pt idx="25">
                  <c:v>1294.7838</c:v>
                </c:pt>
                <c:pt idx="26">
                  <c:v>1249.3042</c:v>
                </c:pt>
                <c:pt idx="27">
                  <c:v>1292.547</c:v>
                </c:pt>
                <c:pt idx="28">
                  <c:v>1352.6111</c:v>
                </c:pt>
                <c:pt idx="29">
                  <c:v>1372.2946</c:v>
                </c:pt>
                <c:pt idx="30">
                  <c:v>1342.8816</c:v>
                </c:pt>
                <c:pt idx="31">
                  <c:v>1309.5385</c:v>
                </c:pt>
                <c:pt idx="32">
                  <c:v>1333.267</c:v>
                </c:pt>
                <c:pt idx="33">
                  <c:v>1327.1575</c:v>
                </c:pt>
                <c:pt idx="34">
                  <c:v>1349.9449</c:v>
                </c:pt>
                <c:pt idx="35">
                  <c:v>1402.5692</c:v>
                </c:pt>
                <c:pt idx="36">
                  <c:v>1389.3154</c:v>
                </c:pt>
                <c:pt idx="37">
                  <c:v>1337.0474</c:v>
                </c:pt>
                <c:pt idx="38">
                  <c:v>1361.2181</c:v>
                </c:pt>
                <c:pt idx="39">
                  <c:v>1341.6374</c:v>
                </c:pt>
                <c:pt idx="40">
                  <c:v>1363.9221</c:v>
                </c:pt>
                <c:pt idx="41">
                  <c:v>1444.5067</c:v>
                </c:pt>
                <c:pt idx="42">
                  <c:v>1419.8523</c:v>
                </c:pt>
                <c:pt idx="43">
                  <c:v>1390.227</c:v>
                </c:pt>
                <c:pt idx="44">
                  <c:v>1337.1349</c:v>
                </c:pt>
                <c:pt idx="45">
                  <c:v>1302.7532</c:v>
                </c:pt>
                <c:pt idx="46">
                  <c:v>1246.513</c:v>
                </c:pt>
                <c:pt idx="47">
                  <c:v>1225.6568</c:v>
                </c:pt>
                <c:pt idx="48">
                  <c:v>1226.391</c:v>
                </c:pt>
                <c:pt idx="49">
                  <c:v>1231.1808</c:v>
                </c:pt>
                <c:pt idx="50">
                  <c:v>1205.315</c:v>
                </c:pt>
                <c:pt idx="51">
                  <c:v>1165.8469</c:v>
                </c:pt>
                <c:pt idx="52">
                  <c:v>1571.8375151317457</c:v>
                </c:pt>
                <c:pt idx="53">
                  <c:v>2419.174165711375</c:v>
                </c:pt>
                <c:pt idx="54">
                  <c:v>1346.911521571907</c:v>
                </c:pt>
              </c:numCache>
            </c:numRef>
          </c:xVal>
          <c:yVal>
            <c:numRef>
              <c:f>Sheet1!$B$187:$B$241</c:f>
              <c:numCache>
                <c:formatCode>General</c:formatCode>
                <c:ptCount val="55"/>
                <c:pt idx="0">
                  <c:v>0.22039353277368992</c:v>
                </c:pt>
                <c:pt idx="1">
                  <c:v>0.22111878811652158</c:v>
                </c:pt>
                <c:pt idx="2">
                  <c:v>0.2213706972567044</c:v>
                </c:pt>
                <c:pt idx="3">
                  <c:v>0.22008131890148103</c:v>
                </c:pt>
                <c:pt idx="4">
                  <c:v>0.22138994390126834</c:v>
                </c:pt>
                <c:pt idx="5">
                  <c:v>0.22157390127911905</c:v>
                </c:pt>
                <c:pt idx="6">
                  <c:v>0.2196678724627002</c:v>
                </c:pt>
                <c:pt idx="7">
                  <c:v>0.21973284735383544</c:v>
                </c:pt>
                <c:pt idx="8">
                  <c:v>0.22041011515405617</c:v>
                </c:pt>
                <c:pt idx="9">
                  <c:v>0.2193256104268113</c:v>
                </c:pt>
                <c:pt idx="10">
                  <c:v>0.22016213491547687</c:v>
                </c:pt>
                <c:pt idx="11">
                  <c:v>0.21771228122750025</c:v>
                </c:pt>
                <c:pt idx="12">
                  <c:v>0.2185962438282933</c:v>
                </c:pt>
                <c:pt idx="13">
                  <c:v>0.2194397853967968</c:v>
                </c:pt>
                <c:pt idx="14">
                  <c:v>0.21870604703675972</c:v>
                </c:pt>
                <c:pt idx="15">
                  <c:v>0.21904768385865023</c:v>
                </c:pt>
                <c:pt idx="16">
                  <c:v>0.22006374659895064</c:v>
                </c:pt>
                <c:pt idx="17">
                  <c:v>0.21781537522665825</c:v>
                </c:pt>
                <c:pt idx="18">
                  <c:v>0.2200998124473651</c:v>
                </c:pt>
                <c:pt idx="19">
                  <c:v>0.2222631357699983</c:v>
                </c:pt>
                <c:pt idx="20">
                  <c:v>0.22216389015245913</c:v>
                </c:pt>
                <c:pt idx="21">
                  <c:v>0.22097442525700045</c:v>
                </c:pt>
                <c:pt idx="22">
                  <c:v>0.22163330608190504</c:v>
                </c:pt>
                <c:pt idx="23">
                  <c:v>0.2214346632797968</c:v>
                </c:pt>
                <c:pt idx="24">
                  <c:v>0.22212922866730622</c:v>
                </c:pt>
                <c:pt idx="25">
                  <c:v>0.2216689764351008</c:v>
                </c:pt>
                <c:pt idx="26">
                  <c:v>0.22059191270173067</c:v>
                </c:pt>
                <c:pt idx="27">
                  <c:v>0.2216160037581467</c:v>
                </c:pt>
                <c:pt idx="28">
                  <c:v>0.22303846270210217</c:v>
                </c:pt>
                <c:pt idx="29">
                  <c:v>0.22350461420729992</c:v>
                </c:pt>
                <c:pt idx="30">
                  <c:v>0.22280804529311388</c:v>
                </c:pt>
                <c:pt idx="31">
                  <c:v>0.22201840238138787</c:v>
                </c:pt>
                <c:pt idx="32">
                  <c:v>0.22258034898595944</c:v>
                </c:pt>
                <c:pt idx="33">
                  <c:v>0.2224356616782649</c:v>
                </c:pt>
                <c:pt idx="34">
                  <c:v>0.22297532082473492</c:v>
                </c:pt>
                <c:pt idx="35">
                  <c:v>0.22422158783288784</c:v>
                </c:pt>
                <c:pt idx="36">
                  <c:v>0.22390770672334992</c:v>
                </c:pt>
                <c:pt idx="37">
                  <c:v>0.22266987773594035</c:v>
                </c:pt>
                <c:pt idx="38">
                  <c:v>0.2232422966749849</c:v>
                </c:pt>
                <c:pt idx="39">
                  <c:v>0.22277857971520512</c:v>
                </c:pt>
                <c:pt idx="40">
                  <c:v>0.22330633374512257</c:v>
                </c:pt>
                <c:pt idx="41">
                  <c:v>0.22521476631990642</c:v>
                </c:pt>
                <c:pt idx="42">
                  <c:v>0.22463089222892935</c:v>
                </c:pt>
                <c:pt idx="43">
                  <c:v>0.22392929555217295</c:v>
                </c:pt>
                <c:pt idx="44">
                  <c:v>0.22267194994142744</c:v>
                </c:pt>
                <c:pt idx="45">
                  <c:v>0.2218577105426286</c:v>
                </c:pt>
                <c:pt idx="46">
                  <c:v>0.22052581053081044</c:v>
                </c:pt>
                <c:pt idx="47">
                  <c:v>0.22003188673561624</c:v>
                </c:pt>
                <c:pt idx="48">
                  <c:v>0.22004927431582894</c:v>
                </c:pt>
                <c:pt idx="49">
                  <c:v>0.22016270802830873</c:v>
                </c:pt>
                <c:pt idx="50">
                  <c:v>0.21955014514045118</c:v>
                </c:pt>
                <c:pt idx="51">
                  <c:v>0.21861544784463005</c:v>
                </c:pt>
                <c:pt idx="52">
                  <c:v>0.22823025904892916</c:v>
                </c:pt>
                <c:pt idx="53">
                  <c:v>0.2482971808401202</c:v>
                </c:pt>
                <c:pt idx="54">
                  <c:v>0.22290348329989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03.0"/>
          <c:min val="6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751425313568983"/>
          <c:min val="0.130850528434826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58030869119707</c:v>
                </c:pt>
                <c:pt idx="1">
                  <c:v>0.851394970925507</c:v>
                </c:pt>
                <c:pt idx="2">
                  <c:v>0.9856105257725778</c:v>
                </c:pt>
                <c:pt idx="3">
                  <c:v>0.9485599927502641</c:v>
                </c:pt>
                <c:pt idx="4">
                  <c:v>0.978621866671259</c:v>
                </c:pt>
                <c:pt idx="5">
                  <c:v>0.9616790719696969</c:v>
                </c:pt>
                <c:pt idx="6">
                  <c:v>0.9182734694302335</c:v>
                </c:pt>
                <c:pt idx="7">
                  <c:v>0.9092045830225348</c:v>
                </c:pt>
                <c:pt idx="8">
                  <c:v>0.9579013669945565</c:v>
                </c:pt>
                <c:pt idx="9">
                  <c:v>0.9092006437391743</c:v>
                </c:pt>
                <c:pt idx="10">
                  <c:v>1.0248098022023806</c:v>
                </c:pt>
                <c:pt idx="11">
                  <c:v>1.0088389302084944</c:v>
                </c:pt>
                <c:pt idx="12">
                  <c:v>0.9815713292051185</c:v>
                </c:pt>
                <c:pt idx="13">
                  <c:v>0.9549370830090793</c:v>
                </c:pt>
                <c:pt idx="14">
                  <c:v>0.9993639123667034</c:v>
                </c:pt>
                <c:pt idx="15">
                  <c:v>0.9910280305329217</c:v>
                </c:pt>
                <c:pt idx="16">
                  <c:v>0.9610070019925533</c:v>
                </c:pt>
                <c:pt idx="17">
                  <c:v>0.9678420511018923</c:v>
                </c:pt>
                <c:pt idx="18">
                  <c:v>1.0430401307247468</c:v>
                </c:pt>
                <c:pt idx="19">
                  <c:v>1.0097018711766825</c:v>
                </c:pt>
                <c:pt idx="20">
                  <c:v>0.9721934022204255</c:v>
                </c:pt>
                <c:pt idx="21">
                  <c:v>1.0920570196794404</c:v>
                </c:pt>
                <c:pt idx="22">
                  <c:v>1.1229106060714134</c:v>
                </c:pt>
                <c:pt idx="23">
                  <c:v>0.9627691593742277</c:v>
                </c:pt>
                <c:pt idx="24">
                  <c:v>0.9701779246627855</c:v>
                </c:pt>
                <c:pt idx="25">
                  <c:v>1.0940256874295582</c:v>
                </c:pt>
                <c:pt idx="26">
                  <c:v>1.084478940711383</c:v>
                </c:pt>
                <c:pt idx="27">
                  <c:v>1.0457745133476781</c:v>
                </c:pt>
                <c:pt idx="28">
                  <c:v>0.9876465490102702</c:v>
                </c:pt>
                <c:pt idx="29">
                  <c:v>0.9592559716669171</c:v>
                </c:pt>
                <c:pt idx="30">
                  <c:v>0.9050911720738779</c:v>
                </c:pt>
                <c:pt idx="31">
                  <c:v>0.9144549298483655</c:v>
                </c:pt>
                <c:pt idx="32">
                  <c:v>0.6935982735723771</c:v>
                </c:pt>
                <c:pt idx="33">
                  <c:v>0.5634315949959269</c:v>
                </c:pt>
                <c:pt idx="34">
                  <c:v>0.8554525330434969</c:v>
                </c:pt>
                <c:pt idx="35">
                  <c:v>0.8862283080702199</c:v>
                </c:pt>
                <c:pt idx="36">
                  <c:v>0.8189539211111955</c:v>
                </c:pt>
                <c:pt idx="37">
                  <c:v>0.8831656784097842</c:v>
                </c:pt>
                <c:pt idx="38">
                  <c:v>0.9383932441942293</c:v>
                </c:pt>
                <c:pt idx="39">
                  <c:v>0.8630413142772697</c:v>
                </c:pt>
                <c:pt idx="40">
                  <c:v>0.9198743419347848</c:v>
                </c:pt>
                <c:pt idx="41">
                  <c:v>0.8539904269081501</c:v>
                </c:pt>
                <c:pt idx="42">
                  <c:v>0.9379671037814306</c:v>
                </c:pt>
                <c:pt idx="43">
                  <c:v>1.021817524903472</c:v>
                </c:pt>
                <c:pt idx="44">
                  <c:v>0.9475356487565442</c:v>
                </c:pt>
                <c:pt idx="45">
                  <c:v>0.9216230541579643</c:v>
                </c:pt>
                <c:pt idx="46">
                  <c:v>0.9342980107192324</c:v>
                </c:pt>
                <c:pt idx="47">
                  <c:v>0.9540796047286139</c:v>
                </c:pt>
                <c:pt idx="48">
                  <c:v>1.0370806560686088</c:v>
                </c:pt>
                <c:pt idx="49">
                  <c:v>1.159704464900591</c:v>
                </c:pt>
                <c:pt idx="50">
                  <c:v>1.0269489297051853</c:v>
                </c:pt>
                <c:pt idx="51">
                  <c:v>0.9548852698453338</c:v>
                </c:pt>
                <c:pt idx="52">
                  <c:v>0.9680882040627296</c:v>
                </c:pt>
                <c:pt idx="53">
                  <c:v>1.0366700324853821</c:v>
                </c:pt>
                <c:pt idx="54">
                  <c:v>1.0315096503425776</c:v>
                </c:pt>
                <c:pt idx="55">
                  <c:v>1.0290059352865242</c:v>
                </c:pt>
                <c:pt idx="56">
                  <c:v>1.0717259427784795</c:v>
                </c:pt>
                <c:pt idx="57">
                  <c:v>1.0472035524681846</c:v>
                </c:pt>
                <c:pt idx="58">
                  <c:v>1.0209633667439055</c:v>
                </c:pt>
                <c:pt idx="59">
                  <c:v>1.030265458022105</c:v>
                </c:pt>
                <c:pt idx="60">
                  <c:v>1.0508585974466458</c:v>
                </c:pt>
                <c:pt idx="61">
                  <c:v>0.9620924413676553</c:v>
                </c:pt>
                <c:pt idx="62">
                  <c:v>0.9633216839198321</c:v>
                </c:pt>
                <c:pt idx="63">
                  <c:v>1.0021783090031442</c:v>
                </c:pt>
                <c:pt idx="64">
                  <c:v>1.0256735950394797</c:v>
                </c:pt>
                <c:pt idx="65">
                  <c:v>0.9702349038128633</c:v>
                </c:pt>
                <c:pt idx="66">
                  <c:v>0.9340787375522602</c:v>
                </c:pt>
                <c:pt idx="67">
                  <c:v>0.9392959280864885</c:v>
                </c:pt>
                <c:pt idx="68">
                  <c:v>0.9656105391601212</c:v>
                </c:pt>
                <c:pt idx="69">
                  <c:v>0.8936182874391608</c:v>
                </c:pt>
                <c:pt idx="70">
                  <c:v>0.9043158574041665</c:v>
                </c:pt>
                <c:pt idx="71">
                  <c:v>0.9414476327809435</c:v>
                </c:pt>
                <c:pt idx="72">
                  <c:v>0.9538302390404517</c:v>
                </c:pt>
                <c:pt idx="73">
                  <c:v>0.8540298363316696</c:v>
                </c:pt>
                <c:pt idx="74">
                  <c:v>0.7217657903874566</c:v>
                </c:pt>
                <c:pt idx="75">
                  <c:v>0.8082395192050182</c:v>
                </c:pt>
                <c:pt idx="76">
                  <c:v>0.8064962672155297</c:v>
                </c:pt>
                <c:pt idx="77">
                  <c:v>0.8544644093851099</c:v>
                </c:pt>
                <c:pt idx="78">
                  <c:v>0.9038021512548986</c:v>
                </c:pt>
                <c:pt idx="79">
                  <c:v>0.8371077334454805</c:v>
                </c:pt>
                <c:pt idx="80">
                  <c:v>0.6858578266016624</c:v>
                </c:pt>
                <c:pt idx="81">
                  <c:v>0.8087435112904167</c:v>
                </c:pt>
                <c:pt idx="82">
                  <c:v>0.7635308531761302</c:v>
                </c:pt>
                <c:pt idx="83">
                  <c:v>0.741591753907605</c:v>
                </c:pt>
                <c:pt idx="84">
                  <c:v>0.7316647996941615</c:v>
                </c:pt>
                <c:pt idx="85">
                  <c:v>0.8377759542776866</c:v>
                </c:pt>
                <c:pt idx="86">
                  <c:v>0.7155050122531965</c:v>
                </c:pt>
                <c:pt idx="87">
                  <c:v>0.7719119238091725</c:v>
                </c:pt>
                <c:pt idx="88">
                  <c:v>0.7809766407750544</c:v>
                </c:pt>
                <c:pt idx="89">
                  <c:v>0.6659983696479324</c:v>
                </c:pt>
                <c:pt idx="90">
                  <c:v>0.7054161893159846</c:v>
                </c:pt>
                <c:pt idx="91">
                  <c:v>0.668101812564391</c:v>
                </c:pt>
                <c:pt idx="92">
                  <c:v>0.7298556545607097</c:v>
                </c:pt>
                <c:pt idx="93">
                  <c:v>0.8863131922837586</c:v>
                </c:pt>
                <c:pt idx="94">
                  <c:v>0.8412694670141025</c:v>
                </c:pt>
                <c:pt idx="95">
                  <c:v>0.8094113863937381</c:v>
                </c:pt>
                <c:pt idx="96">
                  <c:v>0.9751486564307581</c:v>
                </c:pt>
                <c:pt idx="97">
                  <c:v>0.9070299695318992</c:v>
                </c:pt>
                <c:pt idx="98">
                  <c:v>0.9952287203630314</c:v>
                </c:pt>
                <c:pt idx="99">
                  <c:v>1.0650749699848285</c:v>
                </c:pt>
                <c:pt idx="100">
                  <c:v>1.0580239625288257</c:v>
                </c:pt>
                <c:pt idx="101">
                  <c:v>1.0577727457938388</c:v>
                </c:pt>
                <c:pt idx="102">
                  <c:v>1.0037456087639016</c:v>
                </c:pt>
                <c:pt idx="103">
                  <c:v>0.8490398952505915</c:v>
                </c:pt>
                <c:pt idx="104">
                  <c:v>0.9007043156961161</c:v>
                </c:pt>
              </c:numCache>
            </c:numRef>
          </c:xVal>
          <c:yVal>
            <c:numRef>
              <c:f>Sheet1!$B$2:$B$106</c:f>
              <c:numCache>
                <c:formatCode>General</c:formatCode>
                <c:ptCount val="105"/>
                <c:pt idx="0">
                  <c:v>0.2369281045751634</c:v>
                </c:pt>
                <c:pt idx="1">
                  <c:v>0.2394873848618342</c:v>
                </c:pt>
                <c:pt idx="2">
                  <c:v>0.23965710026090198</c:v>
                </c:pt>
                <c:pt idx="3">
                  <c:v>0.22403685092127304</c:v>
                </c:pt>
                <c:pt idx="4">
                  <c:v>0.2381578947368421</c:v>
                </c:pt>
                <c:pt idx="5">
                  <c:v>0.22567622123536535</c:v>
                </c:pt>
                <c:pt idx="6">
                  <c:v>0.26110678098207324</c:v>
                </c:pt>
                <c:pt idx="7">
                  <c:v>0.26035727860129226</c:v>
                </c:pt>
                <c:pt idx="8">
                  <c:v>0.2748848742472547</c:v>
                </c:pt>
                <c:pt idx="9">
                  <c:v>0.27007299270072993</c:v>
                </c:pt>
                <c:pt idx="10">
                  <c:v>0.2699652777777778</c:v>
                </c:pt>
                <c:pt idx="11">
                  <c:v>0.2628642281463112</c:v>
                </c:pt>
                <c:pt idx="12">
                  <c:v>0.2552533992583436</c:v>
                </c:pt>
                <c:pt idx="13">
                  <c:v>0.2596975673898751</c:v>
                </c:pt>
                <c:pt idx="14">
                  <c:v>0.2467398764584763</c:v>
                </c:pt>
                <c:pt idx="15">
                  <c:v>0.2488906817265026</c:v>
                </c:pt>
                <c:pt idx="16">
                  <c:v>0.2330791229742612</c:v>
                </c:pt>
                <c:pt idx="17">
                  <c:v>0.22193746796514607</c:v>
                </c:pt>
                <c:pt idx="18">
                  <c:v>0.23905385002516355</c:v>
                </c:pt>
                <c:pt idx="19">
                  <c:v>0.19306930693069307</c:v>
                </c:pt>
                <c:pt idx="20">
                  <c:v>0.1911064055055585</c:v>
                </c:pt>
                <c:pt idx="21">
                  <c:v>0.20245795601552394</c:v>
                </c:pt>
                <c:pt idx="22">
                  <c:v>0.2125839951130116</c:v>
                </c:pt>
                <c:pt idx="23">
                  <c:v>0.19644079397672826</c:v>
                </c:pt>
                <c:pt idx="24">
                  <c:v>0.21770682148040638</c:v>
                </c:pt>
                <c:pt idx="25">
                  <c:v>0.21745908028059235</c:v>
                </c:pt>
                <c:pt idx="26">
                  <c:v>0.21676545300592717</c:v>
                </c:pt>
                <c:pt idx="27">
                  <c:v>0.20017482517482518</c:v>
                </c:pt>
                <c:pt idx="28">
                  <c:v>0.1902439024390244</c:v>
                </c:pt>
                <c:pt idx="29">
                  <c:v>0.19625334522747548</c:v>
                </c:pt>
                <c:pt idx="30">
                  <c:v>0.20161290322580644</c:v>
                </c:pt>
                <c:pt idx="31">
                  <c:v>0.20167189132706373</c:v>
                </c:pt>
                <c:pt idx="32">
                  <c:v>0.23583934088568487</c:v>
                </c:pt>
                <c:pt idx="33">
                  <c:v>0.23933209647495363</c:v>
                </c:pt>
                <c:pt idx="34">
                  <c:v>0.2328159645232816</c:v>
                </c:pt>
                <c:pt idx="35">
                  <c:v>0.24775353016688062</c:v>
                </c:pt>
                <c:pt idx="36">
                  <c:v>0.18037974683544303</c:v>
                </c:pt>
                <c:pt idx="37">
                  <c:v>0.19477434679334918</c:v>
                </c:pt>
                <c:pt idx="38">
                  <c:v>0.1562198649951784</c:v>
                </c:pt>
                <c:pt idx="39">
                  <c:v>0.14436248682824027</c:v>
                </c:pt>
                <c:pt idx="40">
                  <c:v>0.162227602905569</c:v>
                </c:pt>
                <c:pt idx="41">
                  <c:v>0.14595028067361668</c:v>
                </c:pt>
                <c:pt idx="42">
                  <c:v>0.16561014263074486</c:v>
                </c:pt>
                <c:pt idx="43">
                  <c:v>0.15557337610264635</c:v>
                </c:pt>
                <c:pt idx="44">
                  <c:v>0.20063291139240505</c:v>
                </c:pt>
                <c:pt idx="45">
                  <c:v>0.21016659547202052</c:v>
                </c:pt>
                <c:pt idx="46">
                  <c:v>0.22642642642642644</c:v>
                </c:pt>
                <c:pt idx="47">
                  <c:v>0.21685971685971686</c:v>
                </c:pt>
                <c:pt idx="48">
                  <c:v>0.23567353014140413</c:v>
                </c:pt>
                <c:pt idx="49">
                  <c:v>0.25736269567524545</c:v>
                </c:pt>
                <c:pt idx="50">
                  <c:v>0.2138382687927107</c:v>
                </c:pt>
                <c:pt idx="51">
                  <c:v>0.20606060606060606</c:v>
                </c:pt>
                <c:pt idx="52">
                  <c:v>0.21568627450980393</c:v>
                </c:pt>
                <c:pt idx="53">
                  <c:v>0.19176954732510287</c:v>
                </c:pt>
                <c:pt idx="54">
                  <c:v>0.1970954356846473</c:v>
                </c:pt>
                <c:pt idx="55">
                  <c:v>0.19533762057877813</c:v>
                </c:pt>
                <c:pt idx="56">
                  <c:v>0.20708661417322835</c:v>
                </c:pt>
                <c:pt idx="57">
                  <c:v>0.18802122820318423</c:v>
                </c:pt>
                <c:pt idx="58">
                  <c:v>0.2156937073540561</c:v>
                </c:pt>
                <c:pt idx="59">
                  <c:v>0.2167381974248927</c:v>
                </c:pt>
                <c:pt idx="60">
                  <c:v>0.23498034811903426</c:v>
                </c:pt>
                <c:pt idx="61">
                  <c:v>0.25778880617590294</c:v>
                </c:pt>
                <c:pt idx="62">
                  <c:v>0.26268969126111985</c:v>
                </c:pt>
                <c:pt idx="63">
                  <c:v>0.28675263774912074</c:v>
                </c:pt>
                <c:pt idx="64">
                  <c:v>0.27434240886017536</c:v>
                </c:pt>
                <c:pt idx="65">
                  <c:v>0.2583816486009579</c:v>
                </c:pt>
                <c:pt idx="66">
                  <c:v>0.2544700699663125</c:v>
                </c:pt>
                <c:pt idx="67">
                  <c:v>0.24632117722328856</c:v>
                </c:pt>
                <c:pt idx="68">
                  <c:v>0.19869441044471645</c:v>
                </c:pt>
                <c:pt idx="69">
                  <c:v>0.18357894736842106</c:v>
                </c:pt>
                <c:pt idx="70">
                  <c:v>0.17304270462633453</c:v>
                </c:pt>
                <c:pt idx="71">
                  <c:v>0.19725738396624473</c:v>
                </c:pt>
                <c:pt idx="72">
                  <c:v>0.19345238095238096</c:v>
                </c:pt>
                <c:pt idx="73">
                  <c:v>0.20058479532163742</c:v>
                </c:pt>
                <c:pt idx="74">
                  <c:v>0.2322015334063527</c:v>
                </c:pt>
                <c:pt idx="75">
                  <c:v>0.19143413367942894</c:v>
                </c:pt>
                <c:pt idx="76">
                  <c:v>0.18690400508582328</c:v>
                </c:pt>
                <c:pt idx="77">
                  <c:v>0.16510903426791276</c:v>
                </c:pt>
                <c:pt idx="78">
                  <c:v>0.15772357723577235</c:v>
                </c:pt>
                <c:pt idx="79">
                  <c:v>0.17659279778393353</c:v>
                </c:pt>
                <c:pt idx="80">
                  <c:v>0.17381489841986456</c:v>
                </c:pt>
                <c:pt idx="81">
                  <c:v>0.18193224592220827</c:v>
                </c:pt>
                <c:pt idx="82">
                  <c:v>0.18881685575364668</c:v>
                </c:pt>
                <c:pt idx="83">
                  <c:v>0.17479300827966882</c:v>
                </c:pt>
                <c:pt idx="84">
                  <c:v>0.15328467153284672</c:v>
                </c:pt>
                <c:pt idx="85">
                  <c:v>0.15719063545150502</c:v>
                </c:pt>
                <c:pt idx="86">
                  <c:v>0.18653576437587657</c:v>
                </c:pt>
                <c:pt idx="87">
                  <c:v>0.190176322418136</c:v>
                </c:pt>
                <c:pt idx="88">
                  <c:v>0.16856892010535557</c:v>
                </c:pt>
                <c:pt idx="89">
                  <c:v>0.1598086124401914</c:v>
                </c:pt>
                <c:pt idx="90">
                  <c:v>0.1580952380952381</c:v>
                </c:pt>
                <c:pt idx="91">
                  <c:v>0.15684315684315683</c:v>
                </c:pt>
                <c:pt idx="92">
                  <c:v>0.16614420062695925</c:v>
                </c:pt>
                <c:pt idx="93">
                  <c:v>0.16295025728987994</c:v>
                </c:pt>
                <c:pt idx="94">
                  <c:v>0.16539440203562342</c:v>
                </c:pt>
                <c:pt idx="95">
                  <c:v>0.19121140142517815</c:v>
                </c:pt>
                <c:pt idx="96">
                  <c:v>0.17070600632244468</c:v>
                </c:pt>
                <c:pt idx="97">
                  <c:v>0.1851145038167939</c:v>
                </c:pt>
                <c:pt idx="98">
                  <c:v>0.19074923547400613</c:v>
                </c:pt>
                <c:pt idx="99">
                  <c:v>0.19725511302475782</c:v>
                </c:pt>
                <c:pt idx="100">
                  <c:v>0.22104566512243548</c:v>
                </c:pt>
                <c:pt idx="101">
                  <c:v>0.2100783112019067</c:v>
                </c:pt>
                <c:pt idx="102">
                  <c:v>0.1639554794520548</c:v>
                </c:pt>
                <c:pt idx="103">
                  <c:v>0.19956927494615936</c:v>
                </c:pt>
                <c:pt idx="104">
                  <c:v>0.19960079840319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660415704912634</c:v>
                </c:pt>
                <c:pt idx="1">
                  <c:v>1.0600543499311963</c:v>
                </c:pt>
                <c:pt idx="2">
                  <c:v>1.0042771645139472</c:v>
                </c:pt>
                <c:pt idx="3">
                  <c:v>1.1334049213207442</c:v>
                </c:pt>
                <c:pt idx="4">
                  <c:v>1.069519841532222</c:v>
                </c:pt>
                <c:pt idx="5">
                  <c:v>1.2318867868397023</c:v>
                </c:pt>
                <c:pt idx="6">
                  <c:v>1.2357375516688198</c:v>
                </c:pt>
                <c:pt idx="7">
                  <c:v>1.3261319077572091</c:v>
                </c:pt>
                <c:pt idx="8">
                  <c:v>1.3698820492888155</c:v>
                </c:pt>
                <c:pt idx="9">
                  <c:v>1.258455792969583</c:v>
                </c:pt>
                <c:pt idx="10">
                  <c:v>1.2784424136114925</c:v>
                </c:pt>
                <c:pt idx="11">
                  <c:v>1.2643195803490366</c:v>
                </c:pt>
                <c:pt idx="12">
                  <c:v>1.203770083604489</c:v>
                </c:pt>
                <c:pt idx="13">
                  <c:v>1.293663945279413</c:v>
                </c:pt>
                <c:pt idx="14">
                  <c:v>1.217029827383025</c:v>
                </c:pt>
                <c:pt idx="15">
                  <c:v>1.2050385859544277</c:v>
                </c:pt>
                <c:pt idx="16">
                  <c:v>1.1831859102995583</c:v>
                </c:pt>
                <c:pt idx="17">
                  <c:v>1.1109605537916336</c:v>
                </c:pt>
                <c:pt idx="18">
                  <c:v>1.475435385989301</c:v>
                </c:pt>
                <c:pt idx="19">
                  <c:v>1.5997084373383572</c:v>
                </c:pt>
                <c:pt idx="20">
                  <c:v>1.4659481466672526</c:v>
                </c:pt>
                <c:pt idx="21">
                  <c:v>1.7906870476754808</c:v>
                </c:pt>
                <c:pt idx="22">
                  <c:v>1.4263058967540734</c:v>
                </c:pt>
                <c:pt idx="23">
                  <c:v>1.4147673214597682</c:v>
                </c:pt>
                <c:pt idx="24">
                  <c:v>1.589718460326105</c:v>
                </c:pt>
                <c:pt idx="25">
                  <c:v>1.4277141090500283</c:v>
                </c:pt>
                <c:pt idx="26">
                  <c:v>1.4172530340123581</c:v>
                </c:pt>
                <c:pt idx="27">
                  <c:v>1.484505947587326</c:v>
                </c:pt>
                <c:pt idx="28">
                  <c:v>1.3000450141169222</c:v>
                </c:pt>
                <c:pt idx="29">
                  <c:v>1.54137345742784</c:v>
                </c:pt>
                <c:pt idx="30">
                  <c:v>1.4749880428425806</c:v>
                </c:pt>
                <c:pt idx="31">
                  <c:v>1.4192034700519318</c:v>
                </c:pt>
                <c:pt idx="32">
                  <c:v>1.4288153846535951</c:v>
                </c:pt>
                <c:pt idx="33">
                  <c:v>1.4519714587266677</c:v>
                </c:pt>
                <c:pt idx="34">
                  <c:v>1.4424649507442435</c:v>
                </c:pt>
                <c:pt idx="35">
                  <c:v>1.4756553727033528</c:v>
                </c:pt>
                <c:pt idx="36">
                  <c:v>1.459951444177553</c:v>
                </c:pt>
                <c:pt idx="37">
                  <c:v>1.6395591012884274</c:v>
                </c:pt>
                <c:pt idx="38">
                  <c:v>1.8145035387209254</c:v>
                </c:pt>
                <c:pt idx="39">
                  <c:v>1.6789222877583625</c:v>
                </c:pt>
                <c:pt idx="40">
                  <c:v>1.4935008808051349</c:v>
                </c:pt>
                <c:pt idx="41">
                  <c:v>1.5454284055491048</c:v>
                </c:pt>
                <c:pt idx="42">
                  <c:v>1.6281758042983545</c:v>
                </c:pt>
                <c:pt idx="43">
                  <c:v>1.6833838998686375</c:v>
                </c:pt>
                <c:pt idx="44">
                  <c:v>1.5602062321400556</c:v>
                </c:pt>
                <c:pt idx="45">
                  <c:v>1.4289361532270175</c:v>
                </c:pt>
                <c:pt idx="46">
                  <c:v>1.6246866101453208</c:v>
                </c:pt>
                <c:pt idx="47">
                  <c:v>1.2708345169708324</c:v>
                </c:pt>
                <c:pt idx="48">
                  <c:v>1.427511888656279</c:v>
                </c:pt>
                <c:pt idx="49">
                  <c:v>1.3658393343297837</c:v>
                </c:pt>
                <c:pt idx="50">
                  <c:v>1.329967586455543</c:v>
                </c:pt>
                <c:pt idx="51">
                  <c:v>1.17839568703553</c:v>
                </c:pt>
              </c:numCache>
            </c:numRef>
          </c:xVal>
          <c:yVal>
            <c:numRef>
              <c:f>Sheet1!$B$109:$B$160</c:f>
              <c:numCache>
                <c:formatCode>General</c:formatCode>
                <c:ptCount val="52"/>
                <c:pt idx="0">
                  <c:v>0.1803723816912335</c:v>
                </c:pt>
                <c:pt idx="1">
                  <c:v>0.18557648139641708</c:v>
                </c:pt>
                <c:pt idx="2">
                  <c:v>0.1932710280373832</c:v>
                </c:pt>
                <c:pt idx="3">
                  <c:v>0.2252623688155922</c:v>
                </c:pt>
                <c:pt idx="4">
                  <c:v>0.21319279156749404</c:v>
                </c:pt>
                <c:pt idx="5">
                  <c:v>0.20270270270270271</c:v>
                </c:pt>
                <c:pt idx="6">
                  <c:v>0.2015151515151515</c:v>
                </c:pt>
                <c:pt idx="7">
                  <c:v>0.21232674727219109</c:v>
                </c:pt>
                <c:pt idx="8">
                  <c:v>0.22779369627507162</c:v>
                </c:pt>
                <c:pt idx="9">
                  <c:v>0.23719404491546808</c:v>
                </c:pt>
                <c:pt idx="10">
                  <c:v>0.24131378935939196</c:v>
                </c:pt>
                <c:pt idx="11">
                  <c:v>0.24326750448833034</c:v>
                </c:pt>
                <c:pt idx="12">
                  <c:v>0.2555879494655005</c:v>
                </c:pt>
                <c:pt idx="13">
                  <c:v>0.23820288217010455</c:v>
                </c:pt>
                <c:pt idx="14">
                  <c:v>0.23880597014925373</c:v>
                </c:pt>
                <c:pt idx="15">
                  <c:v>0.22106398274622574</c:v>
                </c:pt>
                <c:pt idx="16">
                  <c:v>0.19906422798809018</c:v>
                </c:pt>
                <c:pt idx="17">
                  <c:v>0.1871508379888268</c:v>
                </c:pt>
                <c:pt idx="18">
                  <c:v>0.18548774627582892</c:v>
                </c:pt>
                <c:pt idx="19">
                  <c:v>0.17425149700598802</c:v>
                </c:pt>
                <c:pt idx="20">
                  <c:v>0.17223065250379363</c:v>
                </c:pt>
                <c:pt idx="21">
                  <c:v>0.16619318181818182</c:v>
                </c:pt>
                <c:pt idx="22">
                  <c:v>0.19258295380611581</c:v>
                </c:pt>
                <c:pt idx="23">
                  <c:v>0.21640826873385013</c:v>
                </c:pt>
                <c:pt idx="24">
                  <c:v>0.20315581854043394</c:v>
                </c:pt>
                <c:pt idx="25">
                  <c:v>0.19768234492160872</c:v>
                </c:pt>
                <c:pt idx="26">
                  <c:v>0.1602086438152012</c:v>
                </c:pt>
                <c:pt idx="27">
                  <c:v>0.1579391891891892</c:v>
                </c:pt>
                <c:pt idx="28">
                  <c:v>0.16736401673640167</c:v>
                </c:pt>
                <c:pt idx="29">
                  <c:v>0.18990825688073396</c:v>
                </c:pt>
                <c:pt idx="30">
                  <c:v>0.18556701030927836</c:v>
                </c:pt>
                <c:pt idx="31">
                  <c:v>0.16333333333333333</c:v>
                </c:pt>
                <c:pt idx="32">
                  <c:v>0.16283716283716285</c:v>
                </c:pt>
                <c:pt idx="33">
                  <c:v>0.19236311239193082</c:v>
                </c:pt>
                <c:pt idx="34">
                  <c:v>0.23166974738139248</c:v>
                </c:pt>
                <c:pt idx="35">
                  <c:v>0.22812051649928264</c:v>
                </c:pt>
                <c:pt idx="36">
                  <c:v>0.1867704280155642</c:v>
                </c:pt>
                <c:pt idx="37">
                  <c:v>0.14963880288957687</c:v>
                </c:pt>
                <c:pt idx="38">
                  <c:v>0.15120967741935484</c:v>
                </c:pt>
                <c:pt idx="39">
                  <c:v>0.18267581475128644</c:v>
                </c:pt>
                <c:pt idx="40">
                  <c:v>0.1831610044313146</c:v>
                </c:pt>
                <c:pt idx="41">
                  <c:v>0.17738187451587917</c:v>
                </c:pt>
                <c:pt idx="42">
                  <c:v>0.17184265010351968</c:v>
                </c:pt>
                <c:pt idx="43">
                  <c:v>0.15416666666666667</c:v>
                </c:pt>
                <c:pt idx="44">
                  <c:v>0.15995040297582144</c:v>
                </c:pt>
                <c:pt idx="45">
                  <c:v>0.17167167167167166</c:v>
                </c:pt>
                <c:pt idx="46">
                  <c:v>0.17891642167156657</c:v>
                </c:pt>
                <c:pt idx="47">
                  <c:v>0.1754111198120595</c:v>
                </c:pt>
                <c:pt idx="48">
                  <c:v>0.16799393249905195</c:v>
                </c:pt>
                <c:pt idx="49">
                  <c:v>0.17038430529427573</c:v>
                </c:pt>
                <c:pt idx="50">
                  <c:v>0.21098311503866182</c:v>
                </c:pt>
                <c:pt idx="51">
                  <c:v>0.192900681247759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846443777792834</c:v>
                </c:pt>
              </c:numCache>
            </c:numRef>
          </c:xVal>
          <c:yVal>
            <c:numRef>
              <c:f>Sheet1!$B$163:$B$164</c:f>
              <c:numCache>
                <c:formatCode>General</c:formatCode>
                <c:ptCount val="2"/>
                <c:pt idx="0">
                  <c:v>0.24447694338022227</c:v>
                </c:pt>
                <c:pt idx="1">
                  <c:v>0.2444769433802222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846443777792834</c:v>
                </c:pt>
                <c:pt idx="1">
                  <c:v>0.6846443777792834</c:v>
                </c:pt>
              </c:numCache>
            </c:numRef>
          </c:xVal>
          <c:yVal>
            <c:numRef>
              <c:f>Sheet1!$B$167:$B$168</c:f>
              <c:numCache>
                <c:formatCode>General</c:formatCode>
                <c:ptCount val="2"/>
                <c:pt idx="0">
                  <c:v>0.244476943380222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254969188332298</c:v>
                </c:pt>
              </c:numCache>
            </c:numRef>
          </c:xVal>
          <c:yVal>
            <c:numRef>
              <c:f>Sheet1!$B$171:$B$172</c:f>
              <c:numCache>
                <c:formatCode>General</c:formatCode>
                <c:ptCount val="2"/>
                <c:pt idx="0">
                  <c:v>0.21229340514422956</c:v>
                </c:pt>
                <c:pt idx="1">
                  <c:v>0.2122934051442295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254969188332298</c:v>
                </c:pt>
                <c:pt idx="1">
                  <c:v>1.1254969188332298</c:v>
                </c:pt>
              </c:numCache>
            </c:numRef>
          </c:xVal>
          <c:yVal>
            <c:numRef>
              <c:f>Sheet1!$B$175:$B$176</c:f>
              <c:numCache>
                <c:formatCode>General</c:formatCode>
                <c:ptCount val="2"/>
                <c:pt idx="0">
                  <c:v>0.212293405144229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127001748900955</c:v>
                </c:pt>
              </c:numCache>
            </c:numRef>
          </c:xVal>
          <c:yVal>
            <c:numRef>
              <c:f>Sheet1!$B$179:$B$180</c:f>
              <c:numCache>
                <c:formatCode>General</c:formatCode>
                <c:ptCount val="2"/>
                <c:pt idx="0">
                  <c:v>0.17672612774457958</c:v>
                </c:pt>
                <c:pt idx="1">
                  <c:v>0.176726127744579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127001748900955</c:v>
                </c:pt>
                <c:pt idx="1">
                  <c:v>1.6127001748900955</c:v>
                </c:pt>
              </c:numCache>
            </c:numRef>
          </c:xVal>
          <c:yVal>
            <c:numRef>
              <c:f>Sheet1!$B$183:$B$184</c:f>
              <c:numCache>
                <c:formatCode>General</c:formatCode>
                <c:ptCount val="2"/>
                <c:pt idx="0">
                  <c:v>0.176726127744579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660415704912634</c:v>
                </c:pt>
                <c:pt idx="1">
                  <c:v>1.0600543499311963</c:v>
                </c:pt>
                <c:pt idx="2">
                  <c:v>1.0042771645139472</c:v>
                </c:pt>
                <c:pt idx="3">
                  <c:v>1.1334049213207442</c:v>
                </c:pt>
                <c:pt idx="4">
                  <c:v>1.069519841532222</c:v>
                </c:pt>
                <c:pt idx="5">
                  <c:v>1.2318867868397023</c:v>
                </c:pt>
                <c:pt idx="6">
                  <c:v>1.2357375516688198</c:v>
                </c:pt>
                <c:pt idx="7">
                  <c:v>1.3261319077572091</c:v>
                </c:pt>
                <c:pt idx="8">
                  <c:v>1.3698820492888155</c:v>
                </c:pt>
                <c:pt idx="9">
                  <c:v>1.258455792969583</c:v>
                </c:pt>
                <c:pt idx="10">
                  <c:v>1.2784424136114925</c:v>
                </c:pt>
                <c:pt idx="11">
                  <c:v>1.2643195803490366</c:v>
                </c:pt>
                <c:pt idx="12">
                  <c:v>1.203770083604489</c:v>
                </c:pt>
                <c:pt idx="13">
                  <c:v>1.293663945279413</c:v>
                </c:pt>
                <c:pt idx="14">
                  <c:v>1.217029827383025</c:v>
                </c:pt>
                <c:pt idx="15">
                  <c:v>1.2050385859544277</c:v>
                </c:pt>
                <c:pt idx="16">
                  <c:v>1.1831859102995583</c:v>
                </c:pt>
                <c:pt idx="17">
                  <c:v>1.1109605537916336</c:v>
                </c:pt>
                <c:pt idx="18">
                  <c:v>1.475435385989301</c:v>
                </c:pt>
                <c:pt idx="19">
                  <c:v>1.5997084373383572</c:v>
                </c:pt>
                <c:pt idx="20">
                  <c:v>1.4659481466672526</c:v>
                </c:pt>
                <c:pt idx="21">
                  <c:v>1.7906870476754808</c:v>
                </c:pt>
                <c:pt idx="22">
                  <c:v>1.4263058967540734</c:v>
                </c:pt>
                <c:pt idx="23">
                  <c:v>1.4147673214597682</c:v>
                </c:pt>
                <c:pt idx="24">
                  <c:v>1.589718460326105</c:v>
                </c:pt>
                <c:pt idx="25">
                  <c:v>1.4277141090500283</c:v>
                </c:pt>
                <c:pt idx="26">
                  <c:v>1.4172530340123581</c:v>
                </c:pt>
                <c:pt idx="27">
                  <c:v>1.484505947587326</c:v>
                </c:pt>
                <c:pt idx="28">
                  <c:v>1.3000450141169222</c:v>
                </c:pt>
                <c:pt idx="29">
                  <c:v>1.54137345742784</c:v>
                </c:pt>
                <c:pt idx="30">
                  <c:v>1.4749880428425806</c:v>
                </c:pt>
                <c:pt idx="31">
                  <c:v>1.4192034700519318</c:v>
                </c:pt>
                <c:pt idx="32">
                  <c:v>1.4288153846535951</c:v>
                </c:pt>
                <c:pt idx="33">
                  <c:v>1.4519714587266677</c:v>
                </c:pt>
                <c:pt idx="34">
                  <c:v>1.4424649507442435</c:v>
                </c:pt>
                <c:pt idx="35">
                  <c:v>1.4756553727033528</c:v>
                </c:pt>
                <c:pt idx="36">
                  <c:v>1.459951444177553</c:v>
                </c:pt>
                <c:pt idx="37">
                  <c:v>1.6395591012884274</c:v>
                </c:pt>
                <c:pt idx="38">
                  <c:v>1.8145035387209254</c:v>
                </c:pt>
                <c:pt idx="39">
                  <c:v>1.6789222877583625</c:v>
                </c:pt>
                <c:pt idx="40">
                  <c:v>1.4935008808051349</c:v>
                </c:pt>
                <c:pt idx="41">
                  <c:v>1.5454284055491048</c:v>
                </c:pt>
                <c:pt idx="42">
                  <c:v>1.6281758042983545</c:v>
                </c:pt>
                <c:pt idx="43">
                  <c:v>1.6833838998686375</c:v>
                </c:pt>
                <c:pt idx="44">
                  <c:v>1.5602062321400556</c:v>
                </c:pt>
                <c:pt idx="45">
                  <c:v>1.4289361532270175</c:v>
                </c:pt>
                <c:pt idx="46">
                  <c:v>1.6246866101453208</c:v>
                </c:pt>
                <c:pt idx="47">
                  <c:v>1.2708345169708324</c:v>
                </c:pt>
                <c:pt idx="48">
                  <c:v>1.427511888656279</c:v>
                </c:pt>
                <c:pt idx="49">
                  <c:v>1.3658393343297837</c:v>
                </c:pt>
                <c:pt idx="50">
                  <c:v>1.329967586455543</c:v>
                </c:pt>
                <c:pt idx="51">
                  <c:v>1.17839568703553</c:v>
                </c:pt>
                <c:pt idx="52">
                  <c:v>1.1254969188332298</c:v>
                </c:pt>
                <c:pt idx="53">
                  <c:v>0.6846443777792834</c:v>
                </c:pt>
                <c:pt idx="54">
                  <c:v>1.6127001748900955</c:v>
                </c:pt>
              </c:numCache>
            </c:numRef>
          </c:xVal>
          <c:yVal>
            <c:numRef>
              <c:f>Sheet1!$B$187:$B$241</c:f>
              <c:numCache>
                <c:formatCode>General</c:formatCode>
                <c:ptCount val="55"/>
                <c:pt idx="0">
                  <c:v>0.21663382126641723</c:v>
                </c:pt>
                <c:pt idx="1">
                  <c:v>0.21707090605980772</c:v>
                </c:pt>
                <c:pt idx="2">
                  <c:v>0.22114280541935438</c:v>
                </c:pt>
                <c:pt idx="3">
                  <c:v>0.21171609759413856</c:v>
                </c:pt>
                <c:pt idx="4">
                  <c:v>0.21637989720198011</c:v>
                </c:pt>
                <c:pt idx="5">
                  <c:v>0.20452663039291982</c:v>
                </c:pt>
                <c:pt idx="6">
                  <c:v>0.20424551318121126</c:v>
                </c:pt>
                <c:pt idx="7">
                  <c:v>0.19764645806737757</c:v>
                </c:pt>
                <c:pt idx="8">
                  <c:v>0.19445256845193754</c:v>
                </c:pt>
                <c:pt idx="9">
                  <c:v>0.2025870144328324</c:v>
                </c:pt>
                <c:pt idx="10">
                  <c:v>0.20112793206461152</c:v>
                </c:pt>
                <c:pt idx="11">
                  <c:v>0.20215894062637726</c:v>
                </c:pt>
                <c:pt idx="12">
                  <c:v>0.206579232815211</c:v>
                </c:pt>
                <c:pt idx="13">
                  <c:v>0.20001671527254375</c:v>
                </c:pt>
                <c:pt idx="14">
                  <c:v>0.2056112323362396</c:v>
                </c:pt>
                <c:pt idx="15">
                  <c:v>0.20648662839518406</c:v>
                </c:pt>
                <c:pt idx="16">
                  <c:v>0.20808193829362737</c:v>
                </c:pt>
                <c:pt idx="17">
                  <c:v>0.21335460274787751</c:v>
                </c:pt>
                <c:pt idx="18">
                  <c:v>0.18674686295795245</c:v>
                </c:pt>
                <c:pt idx="19">
                  <c:v>0.17767456297702433</c:v>
                </c:pt>
                <c:pt idx="20">
                  <c:v>0.18743945946368018</c:v>
                </c:pt>
                <c:pt idx="21">
                  <c:v>0.16373256007204515</c:v>
                </c:pt>
                <c:pt idx="22">
                  <c:v>0.19033346085197084</c:v>
                </c:pt>
                <c:pt idx="23">
                  <c:v>0.19117581094546324</c:v>
                </c:pt>
                <c:pt idx="24">
                  <c:v>0.1784038608197494</c:v>
                </c:pt>
                <c:pt idx="25">
                  <c:v>0.19023065719303556</c:v>
                </c:pt>
                <c:pt idx="26">
                  <c:v>0.19099434658373196</c:v>
                </c:pt>
                <c:pt idx="27">
                  <c:v>0.1860846851573798</c:v>
                </c:pt>
                <c:pt idx="28">
                  <c:v>0.19955087839106062</c:v>
                </c:pt>
                <c:pt idx="29">
                  <c:v>0.18193318889297716</c:v>
                </c:pt>
                <c:pt idx="30">
                  <c:v>0.18677952032958212</c:v>
                </c:pt>
                <c:pt idx="31">
                  <c:v>0.190851958989217</c:v>
                </c:pt>
                <c:pt idx="32">
                  <c:v>0.19015026081965633</c:v>
                </c:pt>
                <c:pt idx="33">
                  <c:v>0.18845979898508336</c:v>
                </c:pt>
                <c:pt idx="34">
                  <c:v>0.18915380215995828</c:v>
                </c:pt>
                <c:pt idx="35">
                  <c:v>0.18673080327775604</c:v>
                </c:pt>
                <c:pt idx="36">
                  <c:v>0.1878772364659534</c:v>
                </c:pt>
                <c:pt idx="37">
                  <c:v>0.1747653467481678</c:v>
                </c:pt>
                <c:pt idx="38">
                  <c:v>0.1619938858469272</c:v>
                </c:pt>
                <c:pt idx="39">
                  <c:v>0.17189171781587897</c:v>
                </c:pt>
                <c:pt idx="40">
                  <c:v>0.1854280284520482</c:v>
                </c:pt>
                <c:pt idx="41">
                  <c:v>0.18163716569757105</c:v>
                </c:pt>
                <c:pt idx="42">
                  <c:v>0.17559636106659687</c:v>
                </c:pt>
                <c:pt idx="43">
                  <c:v>0.17156600694756474</c:v>
                </c:pt>
                <c:pt idx="44">
                  <c:v>0.1805583406872905</c:v>
                </c:pt>
                <c:pt idx="45">
                  <c:v>0.19014144435691993</c:v>
                </c:pt>
                <c:pt idx="46">
                  <c:v>0.17585108255049373</c:v>
                </c:pt>
                <c:pt idx="47">
                  <c:v>0.2016833310010559</c:v>
                </c:pt>
                <c:pt idx="48">
                  <c:v>0.19024541987934962</c:v>
                </c:pt>
                <c:pt idx="49">
                  <c:v>0.19474769859035113</c:v>
                </c:pt>
                <c:pt idx="50">
                  <c:v>0.19736644218779642</c:v>
                </c:pt>
                <c:pt idx="51">
                  <c:v>0.20843163874722626</c:v>
                </c:pt>
                <c:pt idx="52">
                  <c:v>0.21229340514422956</c:v>
                </c:pt>
                <c:pt idx="53">
                  <c:v>0.24447694338022227</c:v>
                </c:pt>
                <c:pt idx="54">
                  <c:v>0.176726127744579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10316529894486"/>
          <c:min val="0.115489989462592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0.0262</c:v>
                </c:pt>
                <c:pt idx="1">
                  <c:v>920.7525</c:v>
                </c:pt>
                <c:pt idx="2">
                  <c:v>991.2426</c:v>
                </c:pt>
                <c:pt idx="3">
                  <c:v>999.6224</c:v>
                </c:pt>
                <c:pt idx="4">
                  <c:v>1000.14</c:v>
                </c:pt>
                <c:pt idx="5">
                  <c:v>1015.5331</c:v>
                </c:pt>
                <c:pt idx="6">
                  <c:v>988.2224</c:v>
                </c:pt>
                <c:pt idx="7">
                  <c:v>999.1401</c:v>
                </c:pt>
                <c:pt idx="8">
                  <c:v>985.1778</c:v>
                </c:pt>
                <c:pt idx="9">
                  <c:v>971.657</c:v>
                </c:pt>
                <c:pt idx="10">
                  <c:v>1013.3719</c:v>
                </c:pt>
                <c:pt idx="11">
                  <c:v>1053.5425</c:v>
                </c:pt>
                <c:pt idx="12">
                  <c:v>1051.7579</c:v>
                </c:pt>
                <c:pt idx="13">
                  <c:v>1045.7304</c:v>
                </c:pt>
                <c:pt idx="14">
                  <c:v>1044.3171</c:v>
                </c:pt>
                <c:pt idx="15">
                  <c:v>1032.9724</c:v>
                </c:pt>
                <c:pt idx="16">
                  <c:v>1020.7382</c:v>
                </c:pt>
                <c:pt idx="17">
                  <c:v>1039.1663</c:v>
                </c:pt>
                <c:pt idx="18">
                  <c:v>1063.9389</c:v>
                </c:pt>
                <c:pt idx="19">
                  <c:v>1122.3846</c:v>
                </c:pt>
                <c:pt idx="20">
                  <c:v>1100.5485</c:v>
                </c:pt>
                <c:pt idx="21">
                  <c:v>1132.1757</c:v>
                </c:pt>
                <c:pt idx="22">
                  <c:v>1149.2414</c:v>
                </c:pt>
                <c:pt idx="23">
                  <c:v>1133.1638</c:v>
                </c:pt>
                <c:pt idx="24">
                  <c:v>1122.6767</c:v>
                </c:pt>
                <c:pt idx="25">
                  <c:v>1099.9785</c:v>
                </c:pt>
                <c:pt idx="26">
                  <c:v>1146.4375</c:v>
                </c:pt>
                <c:pt idx="27">
                  <c:v>1165.9476</c:v>
                </c:pt>
                <c:pt idx="28">
                  <c:v>1133.1897</c:v>
                </c:pt>
                <c:pt idx="29">
                  <c:v>1080.7773</c:v>
                </c:pt>
                <c:pt idx="30">
                  <c:v>1107.205</c:v>
                </c:pt>
                <c:pt idx="31">
                  <c:v>1136.772</c:v>
                </c:pt>
                <c:pt idx="32">
                  <c:v>1044.559</c:v>
                </c:pt>
                <c:pt idx="33">
                  <c:v>865.7984</c:v>
                </c:pt>
                <c:pt idx="34">
                  <c:v>1111.181</c:v>
                </c:pt>
                <c:pt idx="35">
                  <c:v>1180.0363</c:v>
                </c:pt>
                <c:pt idx="36">
                  <c:v>1248.1404</c:v>
                </c:pt>
                <c:pt idx="37">
                  <c:v>1244.6748</c:v>
                </c:pt>
                <c:pt idx="38">
                  <c:v>1333.4568</c:v>
                </c:pt>
                <c:pt idx="39">
                  <c:v>1318.1022</c:v>
                </c:pt>
                <c:pt idx="40">
                  <c:v>1339.7313</c:v>
                </c:pt>
                <c:pt idx="41">
                  <c:v>1320.2692</c:v>
                </c:pt>
                <c:pt idx="42">
                  <c:v>1393.8995</c:v>
                </c:pt>
                <c:pt idx="43">
                  <c:v>1439.5258</c:v>
                </c:pt>
                <c:pt idx="44">
                  <c:v>1295.6972</c:v>
                </c:pt>
                <c:pt idx="45">
                  <c:v>1198.5447</c:v>
                </c:pt>
                <c:pt idx="46">
                  <c:v>1163.5981</c:v>
                </c:pt>
                <c:pt idx="47">
                  <c:v>1130.0905</c:v>
                </c:pt>
                <c:pt idx="48">
                  <c:v>1113.0632</c:v>
                </c:pt>
                <c:pt idx="49">
                  <c:v>1074.0531</c:v>
                </c:pt>
                <c:pt idx="50">
                  <c:v>1097.53</c:v>
                </c:pt>
                <c:pt idx="51">
                  <c:v>1120.3137</c:v>
                </c:pt>
                <c:pt idx="52">
                  <c:v>1135.0476</c:v>
                </c:pt>
                <c:pt idx="53">
                  <c:v>1231.8948</c:v>
                </c:pt>
                <c:pt idx="54">
                  <c:v>1219.7516</c:v>
                </c:pt>
                <c:pt idx="55">
                  <c:v>1222.0741</c:v>
                </c:pt>
                <c:pt idx="56">
                  <c:v>1255.9163</c:v>
                </c:pt>
                <c:pt idx="57">
                  <c:v>1266.5484</c:v>
                </c:pt>
                <c:pt idx="58">
                  <c:v>1194.8418</c:v>
                </c:pt>
                <c:pt idx="59">
                  <c:v>1201.9491</c:v>
                </c:pt>
                <c:pt idx="60">
                  <c:v>1203.632</c:v>
                </c:pt>
                <c:pt idx="61">
                  <c:v>1132.4235</c:v>
                </c:pt>
                <c:pt idx="62">
                  <c:v>1133.5518</c:v>
                </c:pt>
                <c:pt idx="63">
                  <c:v>1184.6386</c:v>
                </c:pt>
                <c:pt idx="64">
                  <c:v>1173.1152</c:v>
                </c:pt>
                <c:pt idx="65">
                  <c:v>1164.6595</c:v>
                </c:pt>
                <c:pt idx="66">
                  <c:v>1145.0733</c:v>
                </c:pt>
                <c:pt idx="67">
                  <c:v>1156.4727</c:v>
                </c:pt>
                <c:pt idx="68">
                  <c:v>1158.5318</c:v>
                </c:pt>
                <c:pt idx="69">
                  <c:v>1199.8073</c:v>
                </c:pt>
                <c:pt idx="70">
                  <c:v>1176.3933</c:v>
                </c:pt>
                <c:pt idx="71">
                  <c:v>1225.5802</c:v>
                </c:pt>
                <c:pt idx="72">
                  <c:v>1255.1</c:v>
                </c:pt>
                <c:pt idx="73">
                  <c:v>1209.7114</c:v>
                </c:pt>
                <c:pt idx="74">
                  <c:v>991.0849</c:v>
                </c:pt>
                <c:pt idx="75">
                  <c:v>1214.7254</c:v>
                </c:pt>
                <c:pt idx="76">
                  <c:v>1170.5782</c:v>
                </c:pt>
                <c:pt idx="77">
                  <c:v>1244.8868</c:v>
                </c:pt>
                <c:pt idx="78">
                  <c:v>1354.9124</c:v>
                </c:pt>
                <c:pt idx="79">
                  <c:v>1200.2706</c:v>
                </c:pt>
                <c:pt idx="80">
                  <c:v>1077.6061</c:v>
                </c:pt>
                <c:pt idx="81">
                  <c:v>1239.6241</c:v>
                </c:pt>
                <c:pt idx="82">
                  <c:v>1240.1459</c:v>
                </c:pt>
                <c:pt idx="83">
                  <c:v>1199.0737</c:v>
                </c:pt>
                <c:pt idx="84">
                  <c:v>1314.8214</c:v>
                </c:pt>
                <c:pt idx="85">
                  <c:v>1311.9362</c:v>
                </c:pt>
                <c:pt idx="86">
                  <c:v>1275.6316</c:v>
                </c:pt>
                <c:pt idx="87">
                  <c:v>1339.1954</c:v>
                </c:pt>
                <c:pt idx="88">
                  <c:v>1356.3333</c:v>
                </c:pt>
                <c:pt idx="89">
                  <c:v>1332.0359</c:v>
                </c:pt>
                <c:pt idx="90">
                  <c:v>1360.7831</c:v>
                </c:pt>
                <c:pt idx="91">
                  <c:v>1353.5096</c:v>
                </c:pt>
                <c:pt idx="92">
                  <c:v>1296.6509</c:v>
                </c:pt>
                <c:pt idx="93">
                  <c:v>1424.3053</c:v>
                </c:pt>
                <c:pt idx="94">
                  <c:v>1409.3641</c:v>
                </c:pt>
                <c:pt idx="95">
                  <c:v>1319.4627</c:v>
                </c:pt>
                <c:pt idx="96">
                  <c:v>1296.5833</c:v>
                </c:pt>
                <c:pt idx="97">
                  <c:v>1228.0052</c:v>
                </c:pt>
                <c:pt idx="98">
                  <c:v>1248.5832</c:v>
                </c:pt>
                <c:pt idx="99">
                  <c:v>1199.2005</c:v>
                </c:pt>
                <c:pt idx="100">
                  <c:v>1185.3563</c:v>
                </c:pt>
                <c:pt idx="101">
                  <c:v>1273.5916</c:v>
                </c:pt>
                <c:pt idx="102">
                  <c:v>1288.0157</c:v>
                </c:pt>
                <c:pt idx="103">
                  <c:v>1052.3453</c:v>
                </c:pt>
                <c:pt idx="104">
                  <c:v>1133.88</c:v>
                </c:pt>
              </c:numCache>
            </c:numRef>
          </c:xVal>
          <c:yVal>
            <c:numRef>
              <c:f>Sheet1!$B$2:$B$106</c:f>
              <c:numCache>
                <c:formatCode>General</c:formatCode>
                <c:ptCount val="105"/>
                <c:pt idx="0">
                  <c:v>0.2369281045751634</c:v>
                </c:pt>
                <c:pt idx="1">
                  <c:v>0.2394873848618342</c:v>
                </c:pt>
                <c:pt idx="2">
                  <c:v>0.23965710026090198</c:v>
                </c:pt>
                <c:pt idx="3">
                  <c:v>0.22403685092127304</c:v>
                </c:pt>
                <c:pt idx="4">
                  <c:v>0.2381578947368421</c:v>
                </c:pt>
                <c:pt idx="5">
                  <c:v>0.22567622123536535</c:v>
                </c:pt>
                <c:pt idx="6">
                  <c:v>0.26110678098207324</c:v>
                </c:pt>
                <c:pt idx="7">
                  <c:v>0.26035727860129226</c:v>
                </c:pt>
                <c:pt idx="8">
                  <c:v>0.2748848742472547</c:v>
                </c:pt>
                <c:pt idx="9">
                  <c:v>0.27007299270072993</c:v>
                </c:pt>
                <c:pt idx="10">
                  <c:v>0.2699652777777778</c:v>
                </c:pt>
                <c:pt idx="11">
                  <c:v>0.2628642281463112</c:v>
                </c:pt>
                <c:pt idx="12">
                  <c:v>0.2552533992583436</c:v>
                </c:pt>
                <c:pt idx="13">
                  <c:v>0.2596975673898751</c:v>
                </c:pt>
                <c:pt idx="14">
                  <c:v>0.2467398764584763</c:v>
                </c:pt>
                <c:pt idx="15">
                  <c:v>0.2488906817265026</c:v>
                </c:pt>
                <c:pt idx="16">
                  <c:v>0.2330791229742612</c:v>
                </c:pt>
                <c:pt idx="17">
                  <c:v>0.22193746796514607</c:v>
                </c:pt>
                <c:pt idx="18">
                  <c:v>0.23905385002516355</c:v>
                </c:pt>
                <c:pt idx="19">
                  <c:v>0.19306930693069307</c:v>
                </c:pt>
                <c:pt idx="20">
                  <c:v>0.1911064055055585</c:v>
                </c:pt>
                <c:pt idx="21">
                  <c:v>0.20245795601552394</c:v>
                </c:pt>
                <c:pt idx="22">
                  <c:v>0.2125839951130116</c:v>
                </c:pt>
                <c:pt idx="23">
                  <c:v>0.19644079397672826</c:v>
                </c:pt>
                <c:pt idx="24">
                  <c:v>0.21770682148040638</c:v>
                </c:pt>
                <c:pt idx="25">
                  <c:v>0.21745908028059235</c:v>
                </c:pt>
                <c:pt idx="26">
                  <c:v>0.21676545300592717</c:v>
                </c:pt>
                <c:pt idx="27">
                  <c:v>0.20017482517482518</c:v>
                </c:pt>
                <c:pt idx="28">
                  <c:v>0.1902439024390244</c:v>
                </c:pt>
                <c:pt idx="29">
                  <c:v>0.19625334522747548</c:v>
                </c:pt>
                <c:pt idx="30">
                  <c:v>0.20161290322580644</c:v>
                </c:pt>
                <c:pt idx="31">
                  <c:v>0.20167189132706373</c:v>
                </c:pt>
                <c:pt idx="32">
                  <c:v>0.23583934088568487</c:v>
                </c:pt>
                <c:pt idx="33">
                  <c:v>0.23933209647495363</c:v>
                </c:pt>
                <c:pt idx="34">
                  <c:v>0.2328159645232816</c:v>
                </c:pt>
                <c:pt idx="35">
                  <c:v>0.24775353016688062</c:v>
                </c:pt>
                <c:pt idx="36">
                  <c:v>0.18037974683544303</c:v>
                </c:pt>
                <c:pt idx="37">
                  <c:v>0.19477434679334918</c:v>
                </c:pt>
                <c:pt idx="38">
                  <c:v>0.1562198649951784</c:v>
                </c:pt>
                <c:pt idx="39">
                  <c:v>0.14436248682824027</c:v>
                </c:pt>
                <c:pt idx="40">
                  <c:v>0.162227602905569</c:v>
                </c:pt>
                <c:pt idx="41">
                  <c:v>0.14595028067361668</c:v>
                </c:pt>
                <c:pt idx="42">
                  <c:v>0.16561014263074486</c:v>
                </c:pt>
                <c:pt idx="43">
                  <c:v>0.15557337610264635</c:v>
                </c:pt>
                <c:pt idx="44">
                  <c:v>0.20063291139240505</c:v>
                </c:pt>
                <c:pt idx="45">
                  <c:v>0.21016659547202052</c:v>
                </c:pt>
                <c:pt idx="46">
                  <c:v>0.22642642642642644</c:v>
                </c:pt>
                <c:pt idx="47">
                  <c:v>0.21685971685971686</c:v>
                </c:pt>
                <c:pt idx="48">
                  <c:v>0.23567353014140413</c:v>
                </c:pt>
                <c:pt idx="49">
                  <c:v>0.25736269567524545</c:v>
                </c:pt>
                <c:pt idx="50">
                  <c:v>0.2138382687927107</c:v>
                </c:pt>
                <c:pt idx="51">
                  <c:v>0.20606060606060606</c:v>
                </c:pt>
                <c:pt idx="52">
                  <c:v>0.21568627450980393</c:v>
                </c:pt>
                <c:pt idx="53">
                  <c:v>0.19176954732510287</c:v>
                </c:pt>
                <c:pt idx="54">
                  <c:v>0.1970954356846473</c:v>
                </c:pt>
                <c:pt idx="55">
                  <c:v>0.19533762057877813</c:v>
                </c:pt>
                <c:pt idx="56">
                  <c:v>0.20708661417322835</c:v>
                </c:pt>
                <c:pt idx="57">
                  <c:v>0.18802122820318423</c:v>
                </c:pt>
                <c:pt idx="58">
                  <c:v>0.2156937073540561</c:v>
                </c:pt>
                <c:pt idx="59">
                  <c:v>0.2167381974248927</c:v>
                </c:pt>
                <c:pt idx="60">
                  <c:v>0.23498034811903426</c:v>
                </c:pt>
                <c:pt idx="61">
                  <c:v>0.25778880617590294</c:v>
                </c:pt>
                <c:pt idx="62">
                  <c:v>0.26268969126111985</c:v>
                </c:pt>
                <c:pt idx="63">
                  <c:v>0.28675263774912074</c:v>
                </c:pt>
                <c:pt idx="64">
                  <c:v>0.27434240886017536</c:v>
                </c:pt>
                <c:pt idx="65">
                  <c:v>0.2583816486009579</c:v>
                </c:pt>
                <c:pt idx="66">
                  <c:v>0.2544700699663125</c:v>
                </c:pt>
                <c:pt idx="67">
                  <c:v>0.24632117722328856</c:v>
                </c:pt>
                <c:pt idx="68">
                  <c:v>0.19869441044471645</c:v>
                </c:pt>
                <c:pt idx="69">
                  <c:v>0.18357894736842106</c:v>
                </c:pt>
                <c:pt idx="70">
                  <c:v>0.17304270462633453</c:v>
                </c:pt>
                <c:pt idx="71">
                  <c:v>0.19725738396624473</c:v>
                </c:pt>
                <c:pt idx="72">
                  <c:v>0.19345238095238096</c:v>
                </c:pt>
                <c:pt idx="73">
                  <c:v>0.20058479532163742</c:v>
                </c:pt>
                <c:pt idx="74">
                  <c:v>0.2322015334063527</c:v>
                </c:pt>
                <c:pt idx="75">
                  <c:v>0.19143413367942894</c:v>
                </c:pt>
                <c:pt idx="76">
                  <c:v>0.18690400508582328</c:v>
                </c:pt>
                <c:pt idx="77">
                  <c:v>0.16510903426791276</c:v>
                </c:pt>
                <c:pt idx="78">
                  <c:v>0.15772357723577235</c:v>
                </c:pt>
                <c:pt idx="79">
                  <c:v>0.17659279778393353</c:v>
                </c:pt>
                <c:pt idx="80">
                  <c:v>0.17381489841986456</c:v>
                </c:pt>
                <c:pt idx="81">
                  <c:v>0.18193224592220827</c:v>
                </c:pt>
                <c:pt idx="82">
                  <c:v>0.18881685575364668</c:v>
                </c:pt>
                <c:pt idx="83">
                  <c:v>0.17479300827966882</c:v>
                </c:pt>
                <c:pt idx="84">
                  <c:v>0.15328467153284672</c:v>
                </c:pt>
                <c:pt idx="85">
                  <c:v>0.15719063545150502</c:v>
                </c:pt>
                <c:pt idx="86">
                  <c:v>0.18653576437587657</c:v>
                </c:pt>
                <c:pt idx="87">
                  <c:v>0.190176322418136</c:v>
                </c:pt>
                <c:pt idx="88">
                  <c:v>0.16856892010535557</c:v>
                </c:pt>
                <c:pt idx="89">
                  <c:v>0.1598086124401914</c:v>
                </c:pt>
                <c:pt idx="90">
                  <c:v>0.1580952380952381</c:v>
                </c:pt>
                <c:pt idx="91">
                  <c:v>0.15684315684315683</c:v>
                </c:pt>
                <c:pt idx="92">
                  <c:v>0.16614420062695925</c:v>
                </c:pt>
                <c:pt idx="93">
                  <c:v>0.16295025728987994</c:v>
                </c:pt>
                <c:pt idx="94">
                  <c:v>0.16539440203562342</c:v>
                </c:pt>
                <c:pt idx="95">
                  <c:v>0.19121140142517815</c:v>
                </c:pt>
                <c:pt idx="96">
                  <c:v>0.17070600632244468</c:v>
                </c:pt>
                <c:pt idx="97">
                  <c:v>0.1851145038167939</c:v>
                </c:pt>
                <c:pt idx="98">
                  <c:v>0.19074923547400613</c:v>
                </c:pt>
                <c:pt idx="99">
                  <c:v>0.19725511302475782</c:v>
                </c:pt>
                <c:pt idx="100">
                  <c:v>0.22104566512243548</c:v>
                </c:pt>
                <c:pt idx="101">
                  <c:v>0.2100783112019067</c:v>
                </c:pt>
                <c:pt idx="102">
                  <c:v>0.1639554794520548</c:v>
                </c:pt>
                <c:pt idx="103">
                  <c:v>0.19956927494615936</c:v>
                </c:pt>
                <c:pt idx="104">
                  <c:v>0.19960079840319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3.957</c:v>
                </c:pt>
                <c:pt idx="1">
                  <c:v>1299.9579</c:v>
                </c:pt>
                <c:pt idx="2">
                  <c:v>1227.7679</c:v>
                </c:pt>
                <c:pt idx="3">
                  <c:v>1320.3111</c:v>
                </c:pt>
                <c:pt idx="4">
                  <c:v>1282.7129</c:v>
                </c:pt>
                <c:pt idx="5">
                  <c:v>1345.7778</c:v>
                </c:pt>
                <c:pt idx="6">
                  <c:v>1266.3789</c:v>
                </c:pt>
                <c:pt idx="7">
                  <c:v>1264.0139</c:v>
                </c:pt>
                <c:pt idx="8">
                  <c:v>1294.1736</c:v>
                </c:pt>
                <c:pt idx="9">
                  <c:v>1279.5606</c:v>
                </c:pt>
                <c:pt idx="10">
                  <c:v>1274.8684</c:v>
                </c:pt>
                <c:pt idx="11">
                  <c:v>1178.1208</c:v>
                </c:pt>
                <c:pt idx="12">
                  <c:v>1173.7424</c:v>
                </c:pt>
                <c:pt idx="13">
                  <c:v>1232.2206</c:v>
                </c:pt>
                <c:pt idx="14">
                  <c:v>1223.0652</c:v>
                </c:pt>
                <c:pt idx="15">
                  <c:v>1242.8439</c:v>
                </c:pt>
                <c:pt idx="16">
                  <c:v>1265.359</c:v>
                </c:pt>
                <c:pt idx="17">
                  <c:v>1294.8483</c:v>
                </c:pt>
                <c:pt idx="18">
                  <c:v>1334.4326</c:v>
                </c:pt>
                <c:pt idx="19">
                  <c:v>1476.134</c:v>
                </c:pt>
                <c:pt idx="20">
                  <c:v>1471.6608</c:v>
                </c:pt>
                <c:pt idx="21">
                  <c:v>1456.6111</c:v>
                </c:pt>
                <c:pt idx="22">
                  <c:v>1328.7838</c:v>
                </c:pt>
                <c:pt idx="23">
                  <c:v>1296.5164</c:v>
                </c:pt>
                <c:pt idx="24">
                  <c:v>1345.356</c:v>
                </c:pt>
                <c:pt idx="25">
                  <c:v>1269.9517</c:v>
                </c:pt>
                <c:pt idx="26">
                  <c:v>1431.693</c:v>
                </c:pt>
                <c:pt idx="27">
                  <c:v>1478.369</c:v>
                </c:pt>
                <c:pt idx="28">
                  <c:v>1449.24</c:v>
                </c:pt>
                <c:pt idx="29">
                  <c:v>1510.6377</c:v>
                </c:pt>
                <c:pt idx="30">
                  <c:v>1550.5859</c:v>
                </c:pt>
                <c:pt idx="31">
                  <c:v>1372.5578</c:v>
                </c:pt>
                <c:pt idx="32">
                  <c:v>1323.1472</c:v>
                </c:pt>
                <c:pt idx="33">
                  <c:v>1400.7491</c:v>
                </c:pt>
                <c:pt idx="34">
                  <c:v>1467.1888</c:v>
                </c:pt>
                <c:pt idx="35">
                  <c:v>1381.5031</c:v>
                </c:pt>
                <c:pt idx="36">
                  <c:v>1416.4792</c:v>
                </c:pt>
                <c:pt idx="37">
                  <c:v>1496.2759</c:v>
                </c:pt>
                <c:pt idx="38">
                  <c:v>1479.8933</c:v>
                </c:pt>
                <c:pt idx="39">
                  <c:v>1336.7042</c:v>
                </c:pt>
                <c:pt idx="40">
                  <c:v>1393.7056</c:v>
                </c:pt>
                <c:pt idx="41">
                  <c:v>1517.2707</c:v>
                </c:pt>
                <c:pt idx="42">
                  <c:v>1491.3133</c:v>
                </c:pt>
                <c:pt idx="43">
                  <c:v>1434.4865</c:v>
                </c:pt>
                <c:pt idx="44">
                  <c:v>1393.1938</c:v>
                </c:pt>
                <c:pt idx="45">
                  <c:v>1353.1691</c:v>
                </c:pt>
                <c:pt idx="46">
                  <c:v>1306.7512</c:v>
                </c:pt>
                <c:pt idx="47">
                  <c:v>1306.2969</c:v>
                </c:pt>
                <c:pt idx="48">
                  <c:v>1304.5079</c:v>
                </c:pt>
                <c:pt idx="49">
                  <c:v>1288.6451</c:v>
                </c:pt>
                <c:pt idx="50">
                  <c:v>1146.8639</c:v>
                </c:pt>
                <c:pt idx="51">
                  <c:v>1135.7063</c:v>
                </c:pt>
              </c:numCache>
            </c:numRef>
          </c:xVal>
          <c:yVal>
            <c:numRef>
              <c:f>Sheet1!$B$109:$B$160</c:f>
              <c:numCache>
                <c:formatCode>General</c:formatCode>
                <c:ptCount val="52"/>
                <c:pt idx="0">
                  <c:v>0.1803723816912335</c:v>
                </c:pt>
                <c:pt idx="1">
                  <c:v>0.18557648139641708</c:v>
                </c:pt>
                <c:pt idx="2">
                  <c:v>0.1932710280373832</c:v>
                </c:pt>
                <c:pt idx="3">
                  <c:v>0.2252623688155922</c:v>
                </c:pt>
                <c:pt idx="4">
                  <c:v>0.21319279156749404</c:v>
                </c:pt>
                <c:pt idx="5">
                  <c:v>0.20270270270270271</c:v>
                </c:pt>
                <c:pt idx="6">
                  <c:v>0.2015151515151515</c:v>
                </c:pt>
                <c:pt idx="7">
                  <c:v>0.21232674727219109</c:v>
                </c:pt>
                <c:pt idx="8">
                  <c:v>0.22779369627507162</c:v>
                </c:pt>
                <c:pt idx="9">
                  <c:v>0.23719404491546808</c:v>
                </c:pt>
                <c:pt idx="10">
                  <c:v>0.24131378935939196</c:v>
                </c:pt>
                <c:pt idx="11">
                  <c:v>0.24326750448833034</c:v>
                </c:pt>
                <c:pt idx="12">
                  <c:v>0.2555879494655005</c:v>
                </c:pt>
                <c:pt idx="13">
                  <c:v>0.23820288217010455</c:v>
                </c:pt>
                <c:pt idx="14">
                  <c:v>0.23880597014925373</c:v>
                </c:pt>
                <c:pt idx="15">
                  <c:v>0.22106398274622574</c:v>
                </c:pt>
                <c:pt idx="16">
                  <c:v>0.19906422798809018</c:v>
                </c:pt>
                <c:pt idx="17">
                  <c:v>0.1871508379888268</c:v>
                </c:pt>
                <c:pt idx="18">
                  <c:v>0.18548774627582892</c:v>
                </c:pt>
                <c:pt idx="19">
                  <c:v>0.17425149700598802</c:v>
                </c:pt>
                <c:pt idx="20">
                  <c:v>0.17223065250379363</c:v>
                </c:pt>
                <c:pt idx="21">
                  <c:v>0.16619318181818182</c:v>
                </c:pt>
                <c:pt idx="22">
                  <c:v>0.19258295380611581</c:v>
                </c:pt>
                <c:pt idx="23">
                  <c:v>0.21640826873385013</c:v>
                </c:pt>
                <c:pt idx="24">
                  <c:v>0.20315581854043394</c:v>
                </c:pt>
                <c:pt idx="25">
                  <c:v>0.19768234492160872</c:v>
                </c:pt>
                <c:pt idx="26">
                  <c:v>0.1602086438152012</c:v>
                </c:pt>
                <c:pt idx="27">
                  <c:v>0.1579391891891892</c:v>
                </c:pt>
                <c:pt idx="28">
                  <c:v>0.16736401673640167</c:v>
                </c:pt>
                <c:pt idx="29">
                  <c:v>0.18990825688073396</c:v>
                </c:pt>
                <c:pt idx="30">
                  <c:v>0.18556701030927836</c:v>
                </c:pt>
                <c:pt idx="31">
                  <c:v>0.16333333333333333</c:v>
                </c:pt>
                <c:pt idx="32">
                  <c:v>0.16283716283716285</c:v>
                </c:pt>
                <c:pt idx="33">
                  <c:v>0.19236311239193082</c:v>
                </c:pt>
                <c:pt idx="34">
                  <c:v>0.23166974738139248</c:v>
                </c:pt>
                <c:pt idx="35">
                  <c:v>0.22812051649928264</c:v>
                </c:pt>
                <c:pt idx="36">
                  <c:v>0.1867704280155642</c:v>
                </c:pt>
                <c:pt idx="37">
                  <c:v>0.14963880288957687</c:v>
                </c:pt>
                <c:pt idx="38">
                  <c:v>0.15120967741935484</c:v>
                </c:pt>
                <c:pt idx="39">
                  <c:v>0.18267581475128644</c:v>
                </c:pt>
                <c:pt idx="40">
                  <c:v>0.1831610044313146</c:v>
                </c:pt>
                <c:pt idx="41">
                  <c:v>0.17738187451587917</c:v>
                </c:pt>
                <c:pt idx="42">
                  <c:v>0.17184265010351968</c:v>
                </c:pt>
                <c:pt idx="43">
                  <c:v>0.15416666666666667</c:v>
                </c:pt>
                <c:pt idx="44">
                  <c:v>0.15995040297582144</c:v>
                </c:pt>
                <c:pt idx="45">
                  <c:v>0.17167167167167166</c:v>
                </c:pt>
                <c:pt idx="46">
                  <c:v>0.17891642167156657</c:v>
                </c:pt>
                <c:pt idx="47">
                  <c:v>0.1754111198120595</c:v>
                </c:pt>
                <c:pt idx="48">
                  <c:v>0.16799393249905195</c:v>
                </c:pt>
                <c:pt idx="49">
                  <c:v>0.17038430529427573</c:v>
                </c:pt>
                <c:pt idx="50">
                  <c:v>0.21098311503866182</c:v>
                </c:pt>
                <c:pt idx="51">
                  <c:v>0.192900681247759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20.9943342293277</c:v>
                </c:pt>
              </c:numCache>
            </c:numRef>
          </c:xVal>
          <c:yVal>
            <c:numRef>
              <c:f>Sheet1!$B$163:$B$164</c:f>
              <c:numCache>
                <c:formatCode>General</c:formatCode>
                <c:ptCount val="2"/>
                <c:pt idx="0">
                  <c:v>0.24447694338022227</c:v>
                </c:pt>
                <c:pt idx="1">
                  <c:v>0.2444769433802222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20.9943342293277</c:v>
                </c:pt>
                <c:pt idx="1">
                  <c:v>1020.9943342293277</c:v>
                </c:pt>
              </c:numCache>
            </c:numRef>
          </c:xVal>
          <c:yVal>
            <c:numRef>
              <c:f>Sheet1!$B$167:$B$168</c:f>
              <c:numCache>
                <c:formatCode>General</c:formatCode>
                <c:ptCount val="2"/>
                <c:pt idx="0">
                  <c:v>0.244476943380222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23.3980600411548</c:v>
                </c:pt>
              </c:numCache>
            </c:numRef>
          </c:xVal>
          <c:yVal>
            <c:numRef>
              <c:f>Sheet1!$B$171:$B$172</c:f>
              <c:numCache>
                <c:formatCode>General</c:formatCode>
                <c:ptCount val="2"/>
                <c:pt idx="0">
                  <c:v>0.21229340514422956</c:v>
                </c:pt>
                <c:pt idx="1">
                  <c:v>0.2122934051442295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23.3980600411548</c:v>
                </c:pt>
                <c:pt idx="1">
                  <c:v>1223.3980600411548</c:v>
                </c:pt>
              </c:numCache>
            </c:numRef>
          </c:xVal>
          <c:yVal>
            <c:numRef>
              <c:f>Sheet1!$B$175:$B$176</c:f>
              <c:numCache>
                <c:formatCode>General</c:formatCode>
                <c:ptCount val="2"/>
                <c:pt idx="0">
                  <c:v>0.212293405144229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7.0822743088377</c:v>
                </c:pt>
              </c:numCache>
            </c:numRef>
          </c:xVal>
          <c:yVal>
            <c:numRef>
              <c:f>Sheet1!$B$179:$B$180</c:f>
              <c:numCache>
                <c:formatCode>General</c:formatCode>
                <c:ptCount val="2"/>
                <c:pt idx="0">
                  <c:v>0.17672612774457958</c:v>
                </c:pt>
                <c:pt idx="1">
                  <c:v>0.176726127744579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7.0822743088377</c:v>
                </c:pt>
                <c:pt idx="1">
                  <c:v>1447.0822743088377</c:v>
                </c:pt>
              </c:numCache>
            </c:numRef>
          </c:xVal>
          <c:yVal>
            <c:numRef>
              <c:f>Sheet1!$B$183:$B$184</c:f>
              <c:numCache>
                <c:formatCode>General</c:formatCode>
                <c:ptCount val="2"/>
                <c:pt idx="0">
                  <c:v>0.176726127744579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3.957</c:v>
                </c:pt>
                <c:pt idx="1">
                  <c:v>1299.9579</c:v>
                </c:pt>
                <c:pt idx="2">
                  <c:v>1227.7679</c:v>
                </c:pt>
                <c:pt idx="3">
                  <c:v>1320.3111</c:v>
                </c:pt>
                <c:pt idx="4">
                  <c:v>1282.7129</c:v>
                </c:pt>
                <c:pt idx="5">
                  <c:v>1345.7778</c:v>
                </c:pt>
                <c:pt idx="6">
                  <c:v>1266.3789</c:v>
                </c:pt>
                <c:pt idx="7">
                  <c:v>1264.0139</c:v>
                </c:pt>
                <c:pt idx="8">
                  <c:v>1294.1736</c:v>
                </c:pt>
                <c:pt idx="9">
                  <c:v>1279.5606</c:v>
                </c:pt>
                <c:pt idx="10">
                  <c:v>1274.8684</c:v>
                </c:pt>
                <c:pt idx="11">
                  <c:v>1178.1208</c:v>
                </c:pt>
                <c:pt idx="12">
                  <c:v>1173.7424</c:v>
                </c:pt>
                <c:pt idx="13">
                  <c:v>1232.2206</c:v>
                </c:pt>
                <c:pt idx="14">
                  <c:v>1223.0652</c:v>
                </c:pt>
                <c:pt idx="15">
                  <c:v>1242.8439</c:v>
                </c:pt>
                <c:pt idx="16">
                  <c:v>1265.359</c:v>
                </c:pt>
                <c:pt idx="17">
                  <c:v>1294.8483</c:v>
                </c:pt>
                <c:pt idx="18">
                  <c:v>1334.4326</c:v>
                </c:pt>
                <c:pt idx="19">
                  <c:v>1476.134</c:v>
                </c:pt>
                <c:pt idx="20">
                  <c:v>1471.6608</c:v>
                </c:pt>
                <c:pt idx="21">
                  <c:v>1456.6111</c:v>
                </c:pt>
                <c:pt idx="22">
                  <c:v>1328.7838</c:v>
                </c:pt>
                <c:pt idx="23">
                  <c:v>1296.5164</c:v>
                </c:pt>
                <c:pt idx="24">
                  <c:v>1345.356</c:v>
                </c:pt>
                <c:pt idx="25">
                  <c:v>1269.9517</c:v>
                </c:pt>
                <c:pt idx="26">
                  <c:v>1431.693</c:v>
                </c:pt>
                <c:pt idx="27">
                  <c:v>1478.369</c:v>
                </c:pt>
                <c:pt idx="28">
                  <c:v>1449.24</c:v>
                </c:pt>
                <c:pt idx="29">
                  <c:v>1510.6377</c:v>
                </c:pt>
                <c:pt idx="30">
                  <c:v>1550.5859</c:v>
                </c:pt>
                <c:pt idx="31">
                  <c:v>1372.5578</c:v>
                </c:pt>
                <c:pt idx="32">
                  <c:v>1323.1472</c:v>
                </c:pt>
                <c:pt idx="33">
                  <c:v>1400.7491</c:v>
                </c:pt>
                <c:pt idx="34">
                  <c:v>1467.1888</c:v>
                </c:pt>
                <c:pt idx="35">
                  <c:v>1381.5031</c:v>
                </c:pt>
                <c:pt idx="36">
                  <c:v>1416.4792</c:v>
                </c:pt>
                <c:pt idx="37">
                  <c:v>1496.2759</c:v>
                </c:pt>
                <c:pt idx="38">
                  <c:v>1479.8933</c:v>
                </c:pt>
                <c:pt idx="39">
                  <c:v>1336.7042</c:v>
                </c:pt>
                <c:pt idx="40">
                  <c:v>1393.7056</c:v>
                </c:pt>
                <c:pt idx="41">
                  <c:v>1517.2707</c:v>
                </c:pt>
                <c:pt idx="42">
                  <c:v>1491.3133</c:v>
                </c:pt>
                <c:pt idx="43">
                  <c:v>1434.4865</c:v>
                </c:pt>
                <c:pt idx="44">
                  <c:v>1393.1938</c:v>
                </c:pt>
                <c:pt idx="45">
                  <c:v>1353.1691</c:v>
                </c:pt>
                <c:pt idx="46">
                  <c:v>1306.7512</c:v>
                </c:pt>
                <c:pt idx="47">
                  <c:v>1306.2969</c:v>
                </c:pt>
                <c:pt idx="48">
                  <c:v>1304.5079</c:v>
                </c:pt>
                <c:pt idx="49">
                  <c:v>1288.6451</c:v>
                </c:pt>
                <c:pt idx="50">
                  <c:v>1146.8639</c:v>
                </c:pt>
                <c:pt idx="51">
                  <c:v>1135.7063</c:v>
                </c:pt>
                <c:pt idx="52">
                  <c:v>1223.3980600411548</c:v>
                </c:pt>
                <c:pt idx="53">
                  <c:v>1020.9943342293277</c:v>
                </c:pt>
                <c:pt idx="54">
                  <c:v>1447.0822743088377</c:v>
                </c:pt>
              </c:numCache>
            </c:numRef>
          </c:xVal>
          <c:yVal>
            <c:numRef>
              <c:f>Sheet1!$B$187:$B$241</c:f>
              <c:numCache>
                <c:formatCode>General</c:formatCode>
                <c:ptCount val="55"/>
                <c:pt idx="0">
                  <c:v>0.19789393154221668</c:v>
                </c:pt>
                <c:pt idx="1">
                  <c:v>0.2001198815256589</c:v>
                </c:pt>
                <c:pt idx="2">
                  <c:v>0.21159857153463776</c:v>
                </c:pt>
                <c:pt idx="3">
                  <c:v>0.19688358739225062</c:v>
                </c:pt>
                <c:pt idx="4">
                  <c:v>0.20286195119188472</c:v>
                </c:pt>
                <c:pt idx="5">
                  <c:v>0.1928342127579292</c:v>
                </c:pt>
                <c:pt idx="6">
                  <c:v>0.20545916580064855</c:v>
                </c:pt>
                <c:pt idx="7">
                  <c:v>0.20583521652611242</c:v>
                </c:pt>
                <c:pt idx="8">
                  <c:v>0.20103962368688535</c:v>
                </c:pt>
                <c:pt idx="9">
                  <c:v>0.20336318785229895</c:v>
                </c:pt>
                <c:pt idx="10">
                  <c:v>0.2041092788518852</c:v>
                </c:pt>
                <c:pt idx="11">
                  <c:v>0.21949279055035703</c:v>
                </c:pt>
                <c:pt idx="12">
                  <c:v>0.22018898526341024</c:v>
                </c:pt>
                <c:pt idx="13">
                  <c:v>0.21089056262754563</c:v>
                </c:pt>
                <c:pt idx="14">
                  <c:v>0.21234633210404108</c:v>
                </c:pt>
                <c:pt idx="15">
                  <c:v>0.20920138729062385</c:v>
                </c:pt>
                <c:pt idx="16">
                  <c:v>0.20562133668221327</c:v>
                </c:pt>
                <c:pt idx="17">
                  <c:v>0.2009323419006399</c:v>
                </c:pt>
                <c:pt idx="18">
                  <c:v>0.19463817499494077</c:v>
                </c:pt>
                <c:pt idx="19">
                  <c:v>0.1721067101876501</c:v>
                </c:pt>
                <c:pt idx="20">
                  <c:v>0.17281797873105173</c:v>
                </c:pt>
                <c:pt idx="21">
                  <c:v>0.1752109811001905</c:v>
                </c:pt>
                <c:pt idx="22">
                  <c:v>0.19553637175519456</c:v>
                </c:pt>
                <c:pt idx="23">
                  <c:v>0.20066710290903475</c:v>
                </c:pt>
                <c:pt idx="24">
                  <c:v>0.19290128176258065</c:v>
                </c:pt>
                <c:pt idx="25">
                  <c:v>0.20489106684422687</c:v>
                </c:pt>
                <c:pt idx="26">
                  <c:v>0.17917312468673627</c:v>
                </c:pt>
                <c:pt idx="27">
                  <c:v>0.1717513303265881</c:v>
                </c:pt>
                <c:pt idx="28">
                  <c:v>0.17638303501243854</c:v>
                </c:pt>
                <c:pt idx="29">
                  <c:v>0.16662039246410387</c:v>
                </c:pt>
                <c:pt idx="30">
                  <c:v>0.16026836303874456</c:v>
                </c:pt>
                <c:pt idx="31">
                  <c:v>0.18857601469115468</c:v>
                </c:pt>
                <c:pt idx="32">
                  <c:v>0.19643262863432753</c:v>
                </c:pt>
                <c:pt idx="33">
                  <c:v>0.184093410540301</c:v>
                </c:pt>
                <c:pt idx="34">
                  <c:v>0.17352905646647432</c:v>
                </c:pt>
                <c:pt idx="35">
                  <c:v>0.18715365251166557</c:v>
                </c:pt>
                <c:pt idx="36">
                  <c:v>0.1815922200470161</c:v>
                </c:pt>
                <c:pt idx="37">
                  <c:v>0.16890401415922718</c:v>
                </c:pt>
                <c:pt idx="38">
                  <c:v>0.1715089564911443</c:v>
                </c:pt>
                <c:pt idx="39">
                  <c:v>0.19427697549051642</c:v>
                </c:pt>
                <c:pt idx="40">
                  <c:v>0.18521337387425646</c:v>
                </c:pt>
                <c:pt idx="41">
                  <c:v>0.16556570135966342</c:v>
                </c:pt>
                <c:pt idx="42">
                  <c:v>0.1696931005567692</c:v>
                </c:pt>
                <c:pt idx="43">
                  <c:v>0.17872893961207104</c:v>
                </c:pt>
                <c:pt idx="44">
                  <c:v>0.18529475347733992</c:v>
                </c:pt>
                <c:pt idx="45">
                  <c:v>0.19165894691136642</c:v>
                </c:pt>
                <c:pt idx="46">
                  <c:v>0.19903970165534454</c:v>
                </c:pt>
                <c:pt idx="47">
                  <c:v>0.19911193837609642</c:v>
                </c:pt>
                <c:pt idx="48">
                  <c:v>0.1993964012715953</c:v>
                </c:pt>
                <c:pt idx="49">
                  <c:v>0.201918691947235</c:v>
                </c:pt>
                <c:pt idx="50">
                  <c:v>0.2244628454851354</c:v>
                </c:pt>
                <c:pt idx="51">
                  <c:v>0.22623697807474866</c:v>
                </c:pt>
                <c:pt idx="52">
                  <c:v>0.21229340514422956</c:v>
                </c:pt>
                <c:pt idx="53">
                  <c:v>0.24447694338022227</c:v>
                </c:pt>
                <c:pt idx="54">
                  <c:v>0.17672612774457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1.0"/>
          <c:min val="66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4410316529894486"/>
          <c:min val="0.115489989462592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0.502498009459498</c:v>
                </c:pt>
                <c:pt idx="5">
                  <c:v>0.6069220938421012</c:v>
                </c:pt>
                <c:pt idx="6">
                  <c:v>0.0</c:v>
                </c:pt>
                <c:pt idx="7">
                  <c:v>0.5700026975991368</c:v>
                </c:pt>
                <c:pt idx="8">
                  <c:v>1.0226958449926187</c:v>
                </c:pt>
                <c:pt idx="9">
                  <c:v>0.5059674164040564</c:v>
                </c:pt>
                <c:pt idx="10">
                  <c:v>0.7177160222062805</c:v>
                </c:pt>
                <c:pt idx="11">
                  <c:v>0.7910602748622102</c:v>
                </c:pt>
                <c:pt idx="12">
                  <c:v>0.613467051080204</c:v>
                </c:pt>
                <c:pt idx="13">
                  <c:v>0.4824088100393313</c:v>
                </c:pt>
                <c:pt idx="14">
                  <c:v>0.6073822334939052</c:v>
                </c:pt>
                <c:pt idx="15">
                  <c:v>0.2799143113766136</c:v>
                </c:pt>
                <c:pt idx="16">
                  <c:v>0.6441815700829071</c:v>
                </c:pt>
                <c:pt idx="17">
                  <c:v>0.3968870394711816</c:v>
                </c:pt>
                <c:pt idx="18">
                  <c:v>0.35587625323663313</c:v>
                </c:pt>
                <c:pt idx="19">
                  <c:v>0.15100927652974078</c:v>
                </c:pt>
                <c:pt idx="20">
                  <c:v>0.021488961297203228</c:v>
                </c:pt>
                <c:pt idx="21">
                  <c:v>1.3342122760118629</c:v>
                </c:pt>
                <c:pt idx="22">
                  <c:v>0.5776957033483454</c:v>
                </c:pt>
                <c:pt idx="23">
                  <c:v>2.1411716928419886</c:v>
                </c:pt>
                <c:pt idx="24">
                  <c:v>0.579508340071987</c:v>
                </c:pt>
                <c:pt idx="25">
                  <c:v>2.779929449169125</c:v>
                </c:pt>
                <c:pt idx="26">
                  <c:v>0.8531292787137332</c:v>
                </c:pt>
                <c:pt idx="27">
                  <c:v>0.6826858009211026</c:v>
                </c:pt>
                <c:pt idx="28">
                  <c:v>1.6312644721594496</c:v>
                </c:pt>
                <c:pt idx="29">
                  <c:v>1.1434859458082247</c:v>
                </c:pt>
                <c:pt idx="30">
                  <c:v>0.6507829255347919</c:v>
                </c:pt>
                <c:pt idx="31">
                  <c:v>0.5230091334076262</c:v>
                </c:pt>
                <c:pt idx="32">
                  <c:v>0.8981856976620224</c:v>
                </c:pt>
                <c:pt idx="33">
                  <c:v>1.147423267473503</c:v>
                </c:pt>
                <c:pt idx="34">
                  <c:v>0.5729624960876119</c:v>
                </c:pt>
                <c:pt idx="35">
                  <c:v>0.7565030230226452</c:v>
                </c:pt>
                <c:pt idx="36">
                  <c:v>0.9467998892414966</c:v>
                </c:pt>
                <c:pt idx="37">
                  <c:v>0.40578838050843186</c:v>
                </c:pt>
                <c:pt idx="38">
                  <c:v>0.7445133407891399</c:v>
                </c:pt>
                <c:pt idx="39">
                  <c:v>0.6824867363555182</c:v>
                </c:pt>
                <c:pt idx="40">
                  <c:v>0.52049577845262</c:v>
                </c:pt>
                <c:pt idx="41">
                  <c:v>1.305074733725487</c:v>
                </c:pt>
                <c:pt idx="42">
                  <c:v>1.6532924161796871</c:v>
                </c:pt>
                <c:pt idx="43">
                  <c:v>1.1453633170483155</c:v>
                </c:pt>
                <c:pt idx="44">
                  <c:v>1.1860915675681671</c:v>
                </c:pt>
                <c:pt idx="45">
                  <c:v>1.5626922590691372</c:v>
                </c:pt>
                <c:pt idx="46">
                  <c:v>1.5559242673847231</c:v>
                </c:pt>
                <c:pt idx="47">
                  <c:v>1.0877546153398123</c:v>
                </c:pt>
                <c:pt idx="48">
                  <c:v>1.278295545994452</c:v>
                </c:pt>
                <c:pt idx="49">
                  <c:v>1.2480545514851704</c:v>
                </c:pt>
                <c:pt idx="50">
                  <c:v>1.1354903515965078</c:v>
                </c:pt>
              </c:numCache>
            </c:numRef>
          </c:xVal>
          <c:yVal>
            <c:numRef>
              <c:f>Sheet1!$B$2:$B$52</c:f>
              <c:numCache>
                <c:formatCode>General</c:formatCode>
                <c:ptCount val="51"/>
                <c:pt idx="0">
                  <c:v>0.0</c:v>
                </c:pt>
                <c:pt idx="1">
                  <c:v>0.0</c:v>
                </c:pt>
                <c:pt idx="2">
                  <c:v>0.0</c:v>
                </c:pt>
                <c:pt idx="3">
                  <c:v>0.0</c:v>
                </c:pt>
                <c:pt idx="4">
                  <c:v>0.0003790750568612585</c:v>
                </c:pt>
                <c:pt idx="5">
                  <c:v>0.00030656039239730225</c:v>
                </c:pt>
                <c:pt idx="6">
                  <c:v>0.0</c:v>
                </c:pt>
                <c:pt idx="7">
                  <c:v>0.00027570995312930797</c:v>
                </c:pt>
                <c:pt idx="8">
                  <c:v>0.00026164311878597594</c:v>
                </c:pt>
                <c:pt idx="9">
                  <c:v>0.00023446658851113716</c:v>
                </c:pt>
                <c:pt idx="10">
                  <c:v>0.00023073373327180433</c:v>
                </c:pt>
                <c:pt idx="11">
                  <c:v>0.00025207965717166626</c:v>
                </c:pt>
                <c:pt idx="12">
                  <c:v>0.0002591344908007256</c:v>
                </c:pt>
                <c:pt idx="13">
                  <c:v>0.0006397952655150352</c:v>
                </c:pt>
                <c:pt idx="14">
                  <c:v>0.0004079967360261118</c:v>
                </c:pt>
                <c:pt idx="15">
                  <c:v>0.0008421052631578948</c:v>
                </c:pt>
                <c:pt idx="16">
                  <c:v>0.00044483985765124553</c:v>
                </c:pt>
                <c:pt idx="17">
                  <c:v>0.0005274261603375527</c:v>
                </c:pt>
                <c:pt idx="18">
                  <c:v>0.000496031746031746</c:v>
                </c:pt>
                <c:pt idx="19">
                  <c:v>0.0017543859649122807</c:v>
                </c:pt>
                <c:pt idx="20">
                  <c:v>0.001095290251916758</c:v>
                </c:pt>
                <c:pt idx="21">
                  <c:v>0.0006489292667099286</c:v>
                </c:pt>
                <c:pt idx="22">
                  <c:v>0.003178639542275906</c:v>
                </c:pt>
                <c:pt idx="23">
                  <c:v>0.000778816199376947</c:v>
                </c:pt>
                <c:pt idx="24">
                  <c:v>0.004878048780487805</c:v>
                </c:pt>
                <c:pt idx="25">
                  <c:v>0.0006925207756232687</c:v>
                </c:pt>
                <c:pt idx="26">
                  <c:v>0.002257336343115124</c:v>
                </c:pt>
                <c:pt idx="27">
                  <c:v>0.0037641154328732747</c:v>
                </c:pt>
                <c:pt idx="28">
                  <c:v>0.0016207455429497568</c:v>
                </c:pt>
                <c:pt idx="29">
                  <c:v>0.0027598896044158236</c:v>
                </c:pt>
                <c:pt idx="30">
                  <c:v>0.004562043795620438</c:v>
                </c:pt>
                <c:pt idx="31">
                  <c:v>0.004180602006688963</c:v>
                </c:pt>
                <c:pt idx="32">
                  <c:v>0.0021037868162692847</c:v>
                </c:pt>
                <c:pt idx="33">
                  <c:v>0.001889168765743073</c:v>
                </c:pt>
                <c:pt idx="34">
                  <c:v>0.0052677787532923615</c:v>
                </c:pt>
                <c:pt idx="35">
                  <c:v>0.003827751196172249</c:v>
                </c:pt>
                <c:pt idx="36">
                  <c:v>0.002857142857142857</c:v>
                </c:pt>
                <c:pt idx="37">
                  <c:v>0.007992007992007992</c:v>
                </c:pt>
                <c:pt idx="38">
                  <c:v>0.003918495297805642</c:v>
                </c:pt>
                <c:pt idx="39">
                  <c:v>0.003430531732418525</c:v>
                </c:pt>
                <c:pt idx="40">
                  <c:v>0.004240882103477523</c:v>
                </c:pt>
                <c:pt idx="41">
                  <c:v>0.0029691211401425177</c:v>
                </c:pt>
                <c:pt idx="42">
                  <c:v>0.0026343519494204425</c:v>
                </c:pt>
                <c:pt idx="43">
                  <c:v>0.004770992366412214</c:v>
                </c:pt>
                <c:pt idx="44">
                  <c:v>0.005351681957186544</c:v>
                </c:pt>
                <c:pt idx="45">
                  <c:v>0.003767491926803014</c:v>
                </c:pt>
                <c:pt idx="46">
                  <c:v>0.0028127068166776967</c:v>
                </c:pt>
                <c:pt idx="47">
                  <c:v>0.004766768811712632</c:v>
                </c:pt>
                <c:pt idx="48">
                  <c:v>0.003424657534246575</c:v>
                </c:pt>
                <c:pt idx="49">
                  <c:v>0.003230437903804738</c:v>
                </c:pt>
                <c:pt idx="50">
                  <c:v>0.0027944111776447107</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1.7173020982479459</c:v>
                </c:pt>
                <c:pt idx="1">
                  <c:v>0.7695266170479743</c:v>
                </c:pt>
                <c:pt idx="2">
                  <c:v>1.1315777598460182</c:v>
                </c:pt>
                <c:pt idx="3">
                  <c:v>1.1299240052821282</c:v>
                </c:pt>
                <c:pt idx="4">
                  <c:v>1.6023617190438366</c:v>
                </c:pt>
                <c:pt idx="5">
                  <c:v>1.2893000514164297</c:v>
                </c:pt>
                <c:pt idx="6">
                  <c:v>1.465423551653264</c:v>
                </c:pt>
                <c:pt idx="7">
                  <c:v>1.4928271442839898</c:v>
                </c:pt>
                <c:pt idx="8">
                  <c:v>1.2843247804697178</c:v>
                </c:pt>
                <c:pt idx="9">
                  <c:v>1.0961543104261058</c:v>
                </c:pt>
                <c:pt idx="10">
                  <c:v>1.3774952606193644</c:v>
                </c:pt>
                <c:pt idx="11">
                  <c:v>1.4766296316284773</c:v>
                </c:pt>
                <c:pt idx="12">
                  <c:v>1.414352695724737</c:v>
                </c:pt>
                <c:pt idx="13">
                  <c:v>1.4050473867941544</c:v>
                </c:pt>
                <c:pt idx="14">
                  <c:v>1.3319674307670126</c:v>
                </c:pt>
                <c:pt idx="15">
                  <c:v>1.0838593171949331</c:v>
                </c:pt>
                <c:pt idx="16">
                  <c:v>1.8445768687169288</c:v>
                </c:pt>
                <c:pt idx="17">
                  <c:v>1.4135949353815949</c:v>
                </c:pt>
                <c:pt idx="18">
                  <c:v>1.4258804030739216</c:v>
                </c:pt>
                <c:pt idx="19">
                  <c:v>1.1903905828474584</c:v>
                </c:pt>
                <c:pt idx="20">
                  <c:v>1.1541346161472645</c:v>
                </c:pt>
                <c:pt idx="21">
                  <c:v>0.9482045982950142</c:v>
                </c:pt>
                <c:pt idx="22">
                  <c:v>1.4939373813484111</c:v>
                </c:pt>
                <c:pt idx="23">
                  <c:v>1.05200884382346</c:v>
                </c:pt>
                <c:pt idx="24">
                  <c:v>1.1804194308127745</c:v>
                </c:pt>
                <c:pt idx="25">
                  <c:v>1.0713747138075256</c:v>
                </c:pt>
                <c:pt idx="26">
                  <c:v>1.1678665176599008</c:v>
                </c:pt>
                <c:pt idx="27">
                  <c:v>1.08982867726501</c:v>
                </c:pt>
                <c:pt idx="28">
                  <c:v>1.127034515628189</c:v>
                </c:pt>
                <c:pt idx="29">
                  <c:v>1.0689168912940545</c:v>
                </c:pt>
                <c:pt idx="30">
                  <c:v>1.044737737714347</c:v>
                </c:pt>
                <c:pt idx="31">
                  <c:v>0.9558726480810688</c:v>
                </c:pt>
                <c:pt idx="32">
                  <c:v>0.8144339475532342</c:v>
                </c:pt>
                <c:pt idx="33">
                  <c:v>0.871102287197021</c:v>
                </c:pt>
                <c:pt idx="34">
                  <c:v>1.110130783287328</c:v>
                </c:pt>
                <c:pt idx="35">
                  <c:v>0.9923942492430071</c:v>
                </c:pt>
                <c:pt idx="36">
                  <c:v>0.8761409584392095</c:v>
                </c:pt>
                <c:pt idx="37">
                  <c:v>0.8689827015208389</c:v>
                </c:pt>
                <c:pt idx="38">
                  <c:v>0.9668813843871413</c:v>
                </c:pt>
                <c:pt idx="39">
                  <c:v>0.9972776542792249</c:v>
                </c:pt>
                <c:pt idx="40">
                  <c:v>1.0614091517185078</c:v>
                </c:pt>
                <c:pt idx="41">
                  <c:v>0.6865690244245171</c:v>
                </c:pt>
                <c:pt idx="42">
                  <c:v>0.9448989476558782</c:v>
                </c:pt>
                <c:pt idx="43">
                  <c:v>0.9491780790388749</c:v>
                </c:pt>
                <c:pt idx="44">
                  <c:v>1.601475265814626</c:v>
                </c:pt>
                <c:pt idx="45">
                  <c:v>1.5124022346368715</c:v>
                </c:pt>
                <c:pt idx="46">
                  <c:v>1.2435937441643325</c:v>
                </c:pt>
                <c:pt idx="47">
                  <c:v>1.6289036922654578</c:v>
                </c:pt>
                <c:pt idx="48">
                  <c:v>1.4138186965576869</c:v>
                </c:pt>
                <c:pt idx="49">
                  <c:v>1.3962695096382787</c:v>
                </c:pt>
                <c:pt idx="50">
                  <c:v>1.6171502041331982</c:v>
                </c:pt>
                <c:pt idx="51">
                  <c:v>1.5391891493892913</c:v>
                </c:pt>
              </c:numCache>
            </c:numRef>
          </c:xVal>
          <c:yVal>
            <c:numRef>
              <c:f>Sheet1!$B$55:$B$106</c:f>
              <c:numCache>
                <c:formatCode>General</c:formatCode>
                <c:ptCount val="52"/>
                <c:pt idx="0">
                  <c:v>0.001939487975174554</c:v>
                </c:pt>
                <c:pt idx="1">
                  <c:v>0.0036747818098300414</c:v>
                </c:pt>
                <c:pt idx="2">
                  <c:v>0.0029906542056074765</c:v>
                </c:pt>
                <c:pt idx="3">
                  <c:v>0.0029985007496251873</c:v>
                </c:pt>
                <c:pt idx="4">
                  <c:v>0.002040122407344441</c:v>
                </c:pt>
                <c:pt idx="5">
                  <c:v>0.002079002079002079</c:v>
                </c:pt>
                <c:pt idx="6">
                  <c:v>0.0024242424242424242</c:v>
                </c:pt>
                <c:pt idx="7">
                  <c:v>0.0026540843409023885</c:v>
                </c:pt>
                <c:pt idx="8">
                  <c:v>0.0034383954154727794</c:v>
                </c:pt>
                <c:pt idx="9">
                  <c:v>0.003028009084027252</c:v>
                </c:pt>
                <c:pt idx="10">
                  <c:v>0.0027144408251900108</c:v>
                </c:pt>
                <c:pt idx="11">
                  <c:v>0.0029174147217235187</c:v>
                </c:pt>
                <c:pt idx="12">
                  <c:v>0.0029154518950437317</c:v>
                </c:pt>
                <c:pt idx="13">
                  <c:v>0.004238485447866629</c:v>
                </c:pt>
                <c:pt idx="14">
                  <c:v>0.00476341695776437</c:v>
                </c:pt>
                <c:pt idx="15">
                  <c:v>0.0050323508267433505</c:v>
                </c:pt>
                <c:pt idx="16">
                  <c:v>0.0029774564015312634</c:v>
                </c:pt>
                <c:pt idx="17">
                  <c:v>0.0037243947858473</c:v>
                </c:pt>
                <c:pt idx="18">
                  <c:v>0.0028832292167227293</c:v>
                </c:pt>
                <c:pt idx="19">
                  <c:v>0.0029940119760479044</c:v>
                </c:pt>
                <c:pt idx="20">
                  <c:v>0.0037936267071320183</c:v>
                </c:pt>
                <c:pt idx="21">
                  <c:v>0.004261363636363636</c:v>
                </c:pt>
                <c:pt idx="22">
                  <c:v>0.0032530904359141183</c:v>
                </c:pt>
                <c:pt idx="23">
                  <c:v>0.003229974160206718</c:v>
                </c:pt>
                <c:pt idx="24">
                  <c:v>0.003287310979618672</c:v>
                </c:pt>
                <c:pt idx="25">
                  <c:v>0.0034083162917518746</c:v>
                </c:pt>
                <c:pt idx="26">
                  <c:v>0.0037257824143070045</c:v>
                </c:pt>
                <c:pt idx="27">
                  <c:v>0.004222972972972973</c:v>
                </c:pt>
                <c:pt idx="28">
                  <c:v>0.0041841004184100415</c:v>
                </c:pt>
                <c:pt idx="29">
                  <c:v>0.005504587155963303</c:v>
                </c:pt>
                <c:pt idx="30">
                  <c:v>0.0037488284910965324</c:v>
                </c:pt>
                <c:pt idx="31">
                  <c:v>0.0044444444444444444</c:v>
                </c:pt>
                <c:pt idx="32">
                  <c:v>0.004995004995004995</c:v>
                </c:pt>
                <c:pt idx="33">
                  <c:v>0.004322766570605188</c:v>
                </c:pt>
                <c:pt idx="34">
                  <c:v>0.0036968576709796672</c:v>
                </c:pt>
                <c:pt idx="35">
                  <c:v>0.003586800573888092</c:v>
                </c:pt>
                <c:pt idx="36">
                  <c:v>0.005836575875486381</c:v>
                </c:pt>
                <c:pt idx="37">
                  <c:v>0.006191950464396285</c:v>
                </c:pt>
                <c:pt idx="38">
                  <c:v>0.006048387096774193</c:v>
                </c:pt>
                <c:pt idx="39">
                  <c:v>0.005145797598627788</c:v>
                </c:pt>
                <c:pt idx="40">
                  <c:v>0.003692762186115214</c:v>
                </c:pt>
                <c:pt idx="41">
                  <c:v>0.004647560030983733</c:v>
                </c:pt>
                <c:pt idx="42">
                  <c:v>0.004140786749482402</c:v>
                </c:pt>
                <c:pt idx="43">
                  <c:v>0.004166666666666667</c:v>
                </c:pt>
                <c:pt idx="44">
                  <c:v>0.0024798512089274642</c:v>
                </c:pt>
                <c:pt idx="45">
                  <c:v>0.0025025025025025025</c:v>
                </c:pt>
                <c:pt idx="46">
                  <c:v>0.00251994960100798</c:v>
                </c:pt>
                <c:pt idx="47">
                  <c:v>0.0023492560689115116</c:v>
                </c:pt>
                <c:pt idx="48">
                  <c:v>0.0022753128555176336</c:v>
                </c:pt>
                <c:pt idx="49">
                  <c:v>0.0018812147272238647</c:v>
                </c:pt>
                <c:pt idx="50">
                  <c:v>0.0015780337699226763</c:v>
                </c:pt>
                <c:pt idx="51">
                  <c:v>0.002151308712800287</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1.0178545286321392</c:v>
                </c:pt>
              </c:numCache>
            </c:numRef>
          </c:xVal>
          <c:yVal>
            <c:numRef>
              <c:f>Sheet1!$B$109:$B$110</c:f>
              <c:numCache>
                <c:formatCode>General</c:formatCode>
                <c:ptCount val="2"/>
                <c:pt idx="0">
                  <c:v>0.004141610468381506</c:v>
                </c:pt>
                <c:pt idx="1">
                  <c:v>0.004141610468381506</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1.0178545286321392</c:v>
                </c:pt>
                <c:pt idx="1">
                  <c:v>1.0178545286321392</c:v>
                </c:pt>
              </c:numCache>
            </c:numRef>
          </c:xVal>
          <c:yVal>
            <c:numRef>
              <c:f>Sheet1!$B$113:$B$114</c:f>
              <c:numCache>
                <c:formatCode>General</c:formatCode>
                <c:ptCount val="2"/>
                <c:pt idx="0">
                  <c:v>0.004141610468381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1.0313771050509688</c:v>
                </c:pt>
              </c:numCache>
            </c:numRef>
          </c:xVal>
          <c:yVal>
            <c:numRef>
              <c:f>Sheet1!$B$117:$B$118</c:f>
              <c:numCache>
                <c:formatCode>General</c:formatCode>
                <c:ptCount val="2"/>
                <c:pt idx="0">
                  <c:v>0.004100680509520786</c:v>
                </c:pt>
                <c:pt idx="1">
                  <c:v>0.004100680509520786</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1.0313771050509688</c:v>
                </c:pt>
                <c:pt idx="1">
                  <c:v>1.0313771050509688</c:v>
                </c:pt>
              </c:numCache>
            </c:numRef>
          </c:xVal>
          <c:yVal>
            <c:numRef>
              <c:f>Sheet1!$B$121:$B$122</c:f>
              <c:numCache>
                <c:formatCode>General</c:formatCode>
                <c:ptCount val="2"/>
                <c:pt idx="0">
                  <c:v>0.0041006805095207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1.3815286487725758</c:v>
                </c:pt>
              </c:numCache>
            </c:numRef>
          </c:xVal>
          <c:yVal>
            <c:numRef>
              <c:f>Sheet1!$B$125:$B$126</c:f>
              <c:numCache>
                <c:formatCode>General</c:formatCode>
                <c:ptCount val="2"/>
                <c:pt idx="0">
                  <c:v>0.0030408463598992092</c:v>
                </c:pt>
                <c:pt idx="1">
                  <c:v>0.0030408463598992092</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1.3815286487725758</c:v>
                </c:pt>
                <c:pt idx="1">
                  <c:v>1.3815286487725758</c:v>
                </c:pt>
              </c:numCache>
            </c:numRef>
          </c:xVal>
          <c:yVal>
            <c:numRef>
              <c:f>Sheet1!$B$129:$B$130</c:f>
              <c:numCache>
                <c:formatCode>General</c:formatCode>
                <c:ptCount val="2"/>
                <c:pt idx="0">
                  <c:v>0.00304084635989920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1.7173020982479459</c:v>
                </c:pt>
                <c:pt idx="1">
                  <c:v>0.7695266170479743</c:v>
                </c:pt>
                <c:pt idx="2">
                  <c:v>1.1315777598460182</c:v>
                </c:pt>
                <c:pt idx="3">
                  <c:v>1.1299240052821282</c:v>
                </c:pt>
                <c:pt idx="4">
                  <c:v>1.6023617190438366</c:v>
                </c:pt>
                <c:pt idx="5">
                  <c:v>1.2893000514164297</c:v>
                </c:pt>
                <c:pt idx="6">
                  <c:v>1.465423551653264</c:v>
                </c:pt>
                <c:pt idx="7">
                  <c:v>1.4928271442839898</c:v>
                </c:pt>
                <c:pt idx="8">
                  <c:v>1.2843247804697178</c:v>
                </c:pt>
                <c:pt idx="9">
                  <c:v>1.0961543104261058</c:v>
                </c:pt>
                <c:pt idx="10">
                  <c:v>1.3774952606193644</c:v>
                </c:pt>
                <c:pt idx="11">
                  <c:v>1.4766296316284773</c:v>
                </c:pt>
                <c:pt idx="12">
                  <c:v>1.414352695724737</c:v>
                </c:pt>
                <c:pt idx="13">
                  <c:v>1.4050473867941544</c:v>
                </c:pt>
                <c:pt idx="14">
                  <c:v>1.3319674307670126</c:v>
                </c:pt>
                <c:pt idx="15">
                  <c:v>1.0838593171949331</c:v>
                </c:pt>
                <c:pt idx="16">
                  <c:v>1.8445768687169288</c:v>
                </c:pt>
                <c:pt idx="17">
                  <c:v>1.4135949353815949</c:v>
                </c:pt>
                <c:pt idx="18">
                  <c:v>1.4258804030739216</c:v>
                </c:pt>
                <c:pt idx="19">
                  <c:v>1.1903905828474584</c:v>
                </c:pt>
                <c:pt idx="20">
                  <c:v>1.1541346161472645</c:v>
                </c:pt>
                <c:pt idx="21">
                  <c:v>0.9482045982950142</c:v>
                </c:pt>
                <c:pt idx="22">
                  <c:v>1.4939373813484111</c:v>
                </c:pt>
                <c:pt idx="23">
                  <c:v>1.05200884382346</c:v>
                </c:pt>
                <c:pt idx="24">
                  <c:v>1.1804194308127745</c:v>
                </c:pt>
                <c:pt idx="25">
                  <c:v>1.0713747138075256</c:v>
                </c:pt>
                <c:pt idx="26">
                  <c:v>1.1678665176599008</c:v>
                </c:pt>
                <c:pt idx="27">
                  <c:v>1.08982867726501</c:v>
                </c:pt>
                <c:pt idx="28">
                  <c:v>1.127034515628189</c:v>
                </c:pt>
                <c:pt idx="29">
                  <c:v>1.0689168912940545</c:v>
                </c:pt>
                <c:pt idx="30">
                  <c:v>1.044737737714347</c:v>
                </c:pt>
                <c:pt idx="31">
                  <c:v>0.9558726480810688</c:v>
                </c:pt>
                <c:pt idx="32">
                  <c:v>0.8144339475532342</c:v>
                </c:pt>
                <c:pt idx="33">
                  <c:v>0.871102287197021</c:v>
                </c:pt>
                <c:pt idx="34">
                  <c:v>1.110130783287328</c:v>
                </c:pt>
                <c:pt idx="35">
                  <c:v>0.9923942492430071</c:v>
                </c:pt>
                <c:pt idx="36">
                  <c:v>0.8761409584392095</c:v>
                </c:pt>
                <c:pt idx="37">
                  <c:v>0.8689827015208389</c:v>
                </c:pt>
                <c:pt idx="38">
                  <c:v>0.9668813843871413</c:v>
                </c:pt>
                <c:pt idx="39">
                  <c:v>0.9972776542792249</c:v>
                </c:pt>
                <c:pt idx="40">
                  <c:v>1.0614091517185078</c:v>
                </c:pt>
                <c:pt idx="41">
                  <c:v>0.6865690244245171</c:v>
                </c:pt>
                <c:pt idx="42">
                  <c:v>0.9448989476558782</c:v>
                </c:pt>
                <c:pt idx="43">
                  <c:v>0.9491780790388749</c:v>
                </c:pt>
                <c:pt idx="44">
                  <c:v>1.601475265814626</c:v>
                </c:pt>
                <c:pt idx="45">
                  <c:v>1.5124022346368715</c:v>
                </c:pt>
                <c:pt idx="46">
                  <c:v>1.2435937441643325</c:v>
                </c:pt>
                <c:pt idx="47">
                  <c:v>1.6289036922654578</c:v>
                </c:pt>
                <c:pt idx="48">
                  <c:v>1.4138186965576869</c:v>
                </c:pt>
                <c:pt idx="49">
                  <c:v>1.3962695096382787</c:v>
                </c:pt>
                <c:pt idx="50">
                  <c:v>1.6171502041331982</c:v>
                </c:pt>
                <c:pt idx="51">
                  <c:v>1.5391891493892913</c:v>
                </c:pt>
                <c:pt idx="52">
                  <c:v>1.0313771050509688</c:v>
                </c:pt>
                <c:pt idx="53">
                  <c:v>1.0178545286321392</c:v>
                </c:pt>
                <c:pt idx="54">
                  <c:v>1.3815286487725758</c:v>
                </c:pt>
              </c:numCache>
            </c:numRef>
          </c:xVal>
          <c:yVal>
            <c:numRef>
              <c:f>Sheet1!$B$133:$B$187</c:f>
              <c:numCache>
                <c:formatCode>General</c:formatCode>
                <c:ptCount val="55"/>
                <c:pt idx="0">
                  <c:v>0.002024531639398742</c:v>
                </c:pt>
                <c:pt idx="1">
                  <c:v>0.004893246169323483</c:v>
                </c:pt>
                <c:pt idx="2">
                  <c:v>0.003797394467604406</c:v>
                </c:pt>
                <c:pt idx="3">
                  <c:v>0.003802400030462346</c:v>
                </c:pt>
                <c:pt idx="4">
                  <c:v>0.002372431687921223</c:v>
                </c:pt>
                <c:pt idx="5">
                  <c:v>0.0033200026817901017</c:v>
                </c:pt>
                <c:pt idx="6">
                  <c:v>0.0027869143563241175</c:v>
                </c:pt>
                <c:pt idx="7">
                  <c:v>0.0027039695176874715</c:v>
                </c:pt>
                <c:pt idx="8">
                  <c:v>0.00333506176734175</c:v>
                </c:pt>
                <c:pt idx="9">
                  <c:v>0.0039046137047198215</c:v>
                </c:pt>
                <c:pt idx="10">
                  <c:v>0.003053054566831609</c:v>
                </c:pt>
                <c:pt idx="11">
                  <c:v>0.002752995938844387</c:v>
                </c:pt>
                <c:pt idx="12">
                  <c:v>0.0029414949604481726</c:v>
                </c:pt>
                <c:pt idx="13">
                  <c:v>0.002969660148790883</c:v>
                </c:pt>
                <c:pt idx="14">
                  <c:v>0.00319085761154429</c:v>
                </c:pt>
                <c:pt idx="15">
                  <c:v>0.003941828030714977</c:v>
                </c:pt>
                <c:pt idx="16">
                  <c:v>0.001639298015423854</c:v>
                </c:pt>
                <c:pt idx="17">
                  <c:v>0.0029437885396235066</c:v>
                </c:pt>
                <c:pt idx="18">
                  <c:v>0.002906603045405744</c:v>
                </c:pt>
                <c:pt idx="19">
                  <c:v>0.003619380577989418</c:v>
                </c:pt>
                <c:pt idx="20">
                  <c:v>0.0037291196676075946</c:v>
                </c:pt>
                <c:pt idx="21">
                  <c:v>0.004352425973878001</c:v>
                </c:pt>
                <c:pt idx="22">
                  <c:v>0.0027006090665452507</c:v>
                </c:pt>
                <c:pt idx="23">
                  <c:v>0.004038232630283266</c:v>
                </c:pt>
                <c:pt idx="24">
                  <c:v>0.003649561131600882</c:v>
                </c:pt>
                <c:pt idx="25">
                  <c:v>0.003979616266270997</c:v>
                </c:pt>
                <c:pt idx="26">
                  <c:v>0.003687556126268753</c:v>
                </c:pt>
                <c:pt idx="27">
                  <c:v>0.003923760049102179</c:v>
                </c:pt>
                <c:pt idx="28">
                  <c:v>0.003811145900258247</c:v>
                </c:pt>
                <c:pt idx="29">
                  <c:v>0.0039870555715666375</c:v>
                </c:pt>
                <c:pt idx="30">
                  <c:v>0.004060240719917984</c:v>
                </c:pt>
                <c:pt idx="31">
                  <c:v>0.004329216420271919</c:v>
                </c:pt>
                <c:pt idx="32">
                  <c:v>0.004757321243984133</c:v>
                </c:pt>
                <c:pt idx="33">
                  <c:v>0.004585798248773265</c:v>
                </c:pt>
                <c:pt idx="34">
                  <c:v>0.003862309897996183</c:v>
                </c:pt>
                <c:pt idx="35">
                  <c:v>0.004218673311711314</c:v>
                </c:pt>
                <c:pt idx="36">
                  <c:v>0.004570547264029833</c:v>
                </c:pt>
                <c:pt idx="37">
                  <c:v>0.004592213783198133</c:v>
                </c:pt>
                <c:pt idx="38">
                  <c:v>0.00429589532004958</c:v>
                </c:pt>
                <c:pt idx="39">
                  <c:v>0.004203892284705668</c:v>
                </c:pt>
                <c:pt idx="40">
                  <c:v>0.004009779900307442</c:v>
                </c:pt>
                <c:pt idx="41">
                  <c:v>0.005144341134372782</c:v>
                </c:pt>
                <c:pt idx="42">
                  <c:v>0.004362431474344565</c:v>
                </c:pt>
                <c:pt idx="43">
                  <c:v>0.004349479454992559</c:v>
                </c:pt>
                <c:pt idx="44">
                  <c:v>0.0023751147930544288</c:v>
                </c:pt>
                <c:pt idx="45">
                  <c:v>0.002644719888177322</c:v>
                </c:pt>
                <c:pt idx="46">
                  <c:v>0.0034583459395807416</c:v>
                </c:pt>
                <c:pt idx="47">
                  <c:v>0.0022920947877332837</c:v>
                </c:pt>
                <c:pt idx="48">
                  <c:v>0.00294311126219882</c:v>
                </c:pt>
                <c:pt idx="49">
                  <c:v>0.0029962289134808856</c:v>
                </c:pt>
                <c:pt idx="50">
                  <c:v>0.0023276700931206115</c:v>
                </c:pt>
                <c:pt idx="51">
                  <c:v>0.002563641602141868</c:v>
                </c:pt>
                <c:pt idx="52">
                  <c:v>0.004100680509520786</c:v>
                </c:pt>
                <c:pt idx="53">
                  <c:v>0.004141610468381506</c:v>
                </c:pt>
                <c:pt idx="54">
                  <c:v>0.00304084635989920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5904095904095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3790750568612585</c:v>
                </c:pt>
                <c:pt idx="5">
                  <c:v>0.00030656039239730225</c:v>
                </c:pt>
                <c:pt idx="6">
                  <c:v>0.0</c:v>
                </c:pt>
                <c:pt idx="7">
                  <c:v>0.00027570995312930797</c:v>
                </c:pt>
                <c:pt idx="8">
                  <c:v>0.00026164311878597594</c:v>
                </c:pt>
                <c:pt idx="9">
                  <c:v>0.00023446658851113716</c:v>
                </c:pt>
                <c:pt idx="10">
                  <c:v>0.00023073373327180433</c:v>
                </c:pt>
                <c:pt idx="11">
                  <c:v>0.00025207965717166626</c:v>
                </c:pt>
                <c:pt idx="12">
                  <c:v>0.0002591344908007256</c:v>
                </c:pt>
                <c:pt idx="13">
                  <c:v>0.0006397952655150352</c:v>
                </c:pt>
                <c:pt idx="14">
                  <c:v>0.0004079967360261118</c:v>
                </c:pt>
                <c:pt idx="15">
                  <c:v>0.0008421052631578948</c:v>
                </c:pt>
                <c:pt idx="16">
                  <c:v>0.00044483985765124553</c:v>
                </c:pt>
                <c:pt idx="17">
                  <c:v>0.0005274261603375527</c:v>
                </c:pt>
                <c:pt idx="18">
                  <c:v>0.000496031746031746</c:v>
                </c:pt>
                <c:pt idx="19">
                  <c:v>0.0017543859649122807</c:v>
                </c:pt>
                <c:pt idx="20">
                  <c:v>0.001095290251916758</c:v>
                </c:pt>
                <c:pt idx="21">
                  <c:v>0.0006489292667099286</c:v>
                </c:pt>
                <c:pt idx="22">
                  <c:v>0.003178639542275906</c:v>
                </c:pt>
                <c:pt idx="23">
                  <c:v>0.000778816199376947</c:v>
                </c:pt>
                <c:pt idx="24">
                  <c:v>0.004878048780487805</c:v>
                </c:pt>
                <c:pt idx="25">
                  <c:v>0.0006925207756232687</c:v>
                </c:pt>
                <c:pt idx="26">
                  <c:v>0.002257336343115124</c:v>
                </c:pt>
                <c:pt idx="27">
                  <c:v>0.0037641154328732747</c:v>
                </c:pt>
                <c:pt idx="28">
                  <c:v>0.0016207455429497568</c:v>
                </c:pt>
                <c:pt idx="29">
                  <c:v>0.0027598896044158236</c:v>
                </c:pt>
                <c:pt idx="30">
                  <c:v>0.004562043795620438</c:v>
                </c:pt>
                <c:pt idx="31">
                  <c:v>0.004180602006688963</c:v>
                </c:pt>
                <c:pt idx="32">
                  <c:v>0.0021037868162692847</c:v>
                </c:pt>
                <c:pt idx="33">
                  <c:v>0.001889168765743073</c:v>
                </c:pt>
                <c:pt idx="34">
                  <c:v>0.0052677787532923615</c:v>
                </c:pt>
                <c:pt idx="35">
                  <c:v>0.003827751196172249</c:v>
                </c:pt>
                <c:pt idx="36">
                  <c:v>0.002857142857142857</c:v>
                </c:pt>
                <c:pt idx="37">
                  <c:v>0.007992007992007992</c:v>
                </c:pt>
                <c:pt idx="38">
                  <c:v>0.003918495297805642</c:v>
                </c:pt>
                <c:pt idx="39">
                  <c:v>0.003430531732418525</c:v>
                </c:pt>
                <c:pt idx="40">
                  <c:v>0.004240882103477523</c:v>
                </c:pt>
                <c:pt idx="41">
                  <c:v>0.0029691211401425177</c:v>
                </c:pt>
                <c:pt idx="42">
                  <c:v>0.0026343519494204425</c:v>
                </c:pt>
                <c:pt idx="43">
                  <c:v>0.004770992366412214</c:v>
                </c:pt>
                <c:pt idx="44">
                  <c:v>0.005351681957186544</c:v>
                </c:pt>
                <c:pt idx="45">
                  <c:v>0.003767491926803014</c:v>
                </c:pt>
                <c:pt idx="46">
                  <c:v>0.0028127068166776967</c:v>
                </c:pt>
                <c:pt idx="47">
                  <c:v>0.004766768811712632</c:v>
                </c:pt>
                <c:pt idx="48">
                  <c:v>0.003424657534246575</c:v>
                </c:pt>
                <c:pt idx="49">
                  <c:v>0.003230437903804738</c:v>
                </c:pt>
                <c:pt idx="50">
                  <c:v>0.0027944111776447107</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1939487975174554</c:v>
                </c:pt>
                <c:pt idx="1">
                  <c:v>0.0036747818098300414</c:v>
                </c:pt>
                <c:pt idx="2">
                  <c:v>0.0029906542056074765</c:v>
                </c:pt>
                <c:pt idx="3">
                  <c:v>0.0029985007496251873</c:v>
                </c:pt>
                <c:pt idx="4">
                  <c:v>0.002040122407344441</c:v>
                </c:pt>
                <c:pt idx="5">
                  <c:v>0.002079002079002079</c:v>
                </c:pt>
                <c:pt idx="6">
                  <c:v>0.0024242424242424242</c:v>
                </c:pt>
                <c:pt idx="7">
                  <c:v>0.0026540843409023885</c:v>
                </c:pt>
                <c:pt idx="8">
                  <c:v>0.0034383954154727794</c:v>
                </c:pt>
                <c:pt idx="9">
                  <c:v>0.003028009084027252</c:v>
                </c:pt>
                <c:pt idx="10">
                  <c:v>0.0027144408251900108</c:v>
                </c:pt>
                <c:pt idx="11">
                  <c:v>0.0029174147217235187</c:v>
                </c:pt>
                <c:pt idx="12">
                  <c:v>0.0029154518950437317</c:v>
                </c:pt>
                <c:pt idx="13">
                  <c:v>0.004238485447866629</c:v>
                </c:pt>
                <c:pt idx="14">
                  <c:v>0.00476341695776437</c:v>
                </c:pt>
                <c:pt idx="15">
                  <c:v>0.0050323508267433505</c:v>
                </c:pt>
                <c:pt idx="16">
                  <c:v>0.0029774564015312634</c:v>
                </c:pt>
                <c:pt idx="17">
                  <c:v>0.0037243947858473</c:v>
                </c:pt>
                <c:pt idx="18">
                  <c:v>0.0028832292167227293</c:v>
                </c:pt>
                <c:pt idx="19">
                  <c:v>0.0029940119760479044</c:v>
                </c:pt>
                <c:pt idx="20">
                  <c:v>0.0037936267071320183</c:v>
                </c:pt>
                <c:pt idx="21">
                  <c:v>0.004261363636363636</c:v>
                </c:pt>
                <c:pt idx="22">
                  <c:v>0.0032530904359141183</c:v>
                </c:pt>
                <c:pt idx="23">
                  <c:v>0.003229974160206718</c:v>
                </c:pt>
                <c:pt idx="24">
                  <c:v>0.003287310979618672</c:v>
                </c:pt>
                <c:pt idx="25">
                  <c:v>0.0034083162917518746</c:v>
                </c:pt>
                <c:pt idx="26">
                  <c:v>0.0037257824143070045</c:v>
                </c:pt>
                <c:pt idx="27">
                  <c:v>0.004222972972972973</c:v>
                </c:pt>
                <c:pt idx="28">
                  <c:v>0.0041841004184100415</c:v>
                </c:pt>
                <c:pt idx="29">
                  <c:v>0.005504587155963303</c:v>
                </c:pt>
                <c:pt idx="30">
                  <c:v>0.0037488284910965324</c:v>
                </c:pt>
                <c:pt idx="31">
                  <c:v>0.0044444444444444444</c:v>
                </c:pt>
                <c:pt idx="32">
                  <c:v>0.004995004995004995</c:v>
                </c:pt>
                <c:pt idx="33">
                  <c:v>0.004322766570605188</c:v>
                </c:pt>
                <c:pt idx="34">
                  <c:v>0.0036968576709796672</c:v>
                </c:pt>
                <c:pt idx="35">
                  <c:v>0.003586800573888092</c:v>
                </c:pt>
                <c:pt idx="36">
                  <c:v>0.005836575875486381</c:v>
                </c:pt>
                <c:pt idx="37">
                  <c:v>0.006191950464396285</c:v>
                </c:pt>
                <c:pt idx="38">
                  <c:v>0.006048387096774193</c:v>
                </c:pt>
                <c:pt idx="39">
                  <c:v>0.005145797598627788</c:v>
                </c:pt>
                <c:pt idx="40">
                  <c:v>0.003692762186115214</c:v>
                </c:pt>
                <c:pt idx="41">
                  <c:v>0.004647560030983733</c:v>
                </c:pt>
                <c:pt idx="42">
                  <c:v>0.004140786749482402</c:v>
                </c:pt>
                <c:pt idx="43">
                  <c:v>0.004166666666666667</c:v>
                </c:pt>
                <c:pt idx="44">
                  <c:v>0.0024798512089274642</c:v>
                </c:pt>
                <c:pt idx="45">
                  <c:v>0.0025025025025025025</c:v>
                </c:pt>
                <c:pt idx="46">
                  <c:v>0.00251994960100798</c:v>
                </c:pt>
                <c:pt idx="47">
                  <c:v>0.0023492560689115116</c:v>
                </c:pt>
                <c:pt idx="48">
                  <c:v>0.0022753128555176336</c:v>
                </c:pt>
                <c:pt idx="49">
                  <c:v>0.0018812147272238647</c:v>
                </c:pt>
                <c:pt idx="50">
                  <c:v>0.0015780337699226763</c:v>
                </c:pt>
                <c:pt idx="51">
                  <c:v>0.002151308712800287</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452.796411399947</c:v>
                </c:pt>
              </c:numCache>
            </c:numRef>
          </c:xVal>
          <c:yVal>
            <c:numRef>
              <c:f>Sheet1!$B$109:$B$110</c:f>
              <c:numCache>
                <c:formatCode>General</c:formatCode>
                <c:ptCount val="2"/>
                <c:pt idx="0">
                  <c:v>0.004141610468381506</c:v>
                </c:pt>
                <c:pt idx="1">
                  <c:v>0.004141610468381506</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452.796411399947</c:v>
                </c:pt>
                <c:pt idx="1">
                  <c:v>3452.796411399947</c:v>
                </c:pt>
              </c:numCache>
            </c:numRef>
          </c:xVal>
          <c:yVal>
            <c:numRef>
              <c:f>Sheet1!$B$113:$B$114</c:f>
              <c:numCache>
                <c:formatCode>General</c:formatCode>
                <c:ptCount val="2"/>
                <c:pt idx="0">
                  <c:v>0.004141610468381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499.062831695649</c:v>
                </c:pt>
              </c:numCache>
            </c:numRef>
          </c:xVal>
          <c:yVal>
            <c:numRef>
              <c:f>Sheet1!$B$117:$B$118</c:f>
              <c:numCache>
                <c:formatCode>General</c:formatCode>
                <c:ptCount val="2"/>
                <c:pt idx="0">
                  <c:v>0.004100680509520786</c:v>
                </c:pt>
                <c:pt idx="1">
                  <c:v>0.004100680509520786</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499.062831695649</c:v>
                </c:pt>
                <c:pt idx="1">
                  <c:v>3499.062831695649</c:v>
                </c:pt>
              </c:numCache>
            </c:numRef>
          </c:xVal>
          <c:yVal>
            <c:numRef>
              <c:f>Sheet1!$B$121:$B$122</c:f>
              <c:numCache>
                <c:formatCode>General</c:formatCode>
                <c:ptCount val="2"/>
                <c:pt idx="0">
                  <c:v>0.0041006805095207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697.078504689338</c:v>
                </c:pt>
              </c:numCache>
            </c:numRef>
          </c:xVal>
          <c:yVal>
            <c:numRef>
              <c:f>Sheet1!$B$125:$B$126</c:f>
              <c:numCache>
                <c:formatCode>General</c:formatCode>
                <c:ptCount val="2"/>
                <c:pt idx="0">
                  <c:v>0.0030408463598992092</c:v>
                </c:pt>
                <c:pt idx="1">
                  <c:v>0.0030408463598992092</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697.078504689338</c:v>
                </c:pt>
                <c:pt idx="1">
                  <c:v>4697.078504689338</c:v>
                </c:pt>
              </c:numCache>
            </c:numRef>
          </c:xVal>
          <c:yVal>
            <c:numRef>
              <c:f>Sheet1!$B$129:$B$130</c:f>
              <c:numCache>
                <c:formatCode>General</c:formatCode>
                <c:ptCount val="2"/>
                <c:pt idx="0">
                  <c:v>0.00304084635989920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499.062831695649</c:v>
                </c:pt>
                <c:pt idx="53">
                  <c:v>3452.796411399947</c:v>
                </c:pt>
                <c:pt idx="54">
                  <c:v>4697.078504689338</c:v>
                </c:pt>
              </c:numCache>
            </c:numRef>
          </c:xVal>
          <c:yVal>
            <c:numRef>
              <c:f>Sheet1!$B$133:$B$187</c:f>
              <c:numCache>
                <c:formatCode>General</c:formatCode>
                <c:ptCount val="55"/>
                <c:pt idx="0">
                  <c:v>0.0021159174045670085</c:v>
                </c:pt>
                <c:pt idx="1">
                  <c:v>0.00481985246609243</c:v>
                </c:pt>
                <c:pt idx="2">
                  <c:v>0.0039506759807788824</c:v>
                </c:pt>
                <c:pt idx="3">
                  <c:v>0.004195394500117163</c:v>
                </c:pt>
                <c:pt idx="4">
                  <c:v>0.0026296973120409507</c:v>
                </c:pt>
                <c:pt idx="5">
                  <c:v>0.0029194228071454664</c:v>
                </c:pt>
                <c:pt idx="6">
                  <c:v>0.0035117750303705524</c:v>
                </c:pt>
                <c:pt idx="7">
                  <c:v>0.003594908288908142</c:v>
                </c:pt>
                <c:pt idx="8">
                  <c:v>0.0035778295238829815</c:v>
                </c:pt>
                <c:pt idx="9">
                  <c:v>0.0037176791799448305</c:v>
                </c:pt>
                <c:pt idx="10">
                  <c:v>0.003244917944574287</c:v>
                </c:pt>
                <c:pt idx="11">
                  <c:v>0.0036525547273881377</c:v>
                </c:pt>
                <c:pt idx="12">
                  <c:v>0.003890261182018488</c:v>
                </c:pt>
                <c:pt idx="13">
                  <c:v>0.003964144898833741</c:v>
                </c:pt>
                <c:pt idx="14">
                  <c:v>0.004256258970539118</c:v>
                </c:pt>
                <c:pt idx="15">
                  <c:v>0.004207906129749876</c:v>
                </c:pt>
                <c:pt idx="16">
                  <c:v>0.0025380509011004903</c:v>
                </c:pt>
                <c:pt idx="17">
                  <c:v>0.003219837890265239</c:v>
                </c:pt>
                <c:pt idx="18">
                  <c:v>0.0028339058376260174</c:v>
                </c:pt>
                <c:pt idx="19">
                  <c:v>0.003208470034961138</c:v>
                </c:pt>
                <c:pt idx="20">
                  <c:v>0.0033986715050297513</c:v>
                </c:pt>
                <c:pt idx="21">
                  <c:v>0.003949017247028284</c:v>
                </c:pt>
                <c:pt idx="22">
                  <c:v>0.002698907026777317</c:v>
                </c:pt>
                <c:pt idx="23">
                  <c:v>0.0038533857171937857</c:v>
                </c:pt>
                <c:pt idx="24">
                  <c:v>0.003365408364217752</c:v>
                </c:pt>
                <c:pt idx="25">
                  <c:v>0.0037934059047721484</c:v>
                </c:pt>
                <c:pt idx="26">
                  <c:v>0.003220855246965606</c:v>
                </c:pt>
                <c:pt idx="27">
                  <c:v>0.0034482123530476224</c:v>
                </c:pt>
                <c:pt idx="28">
                  <c:v>0.0038921337376077634</c:v>
                </c:pt>
                <c:pt idx="29">
                  <c:v>0.00405104777357649</c:v>
                </c:pt>
                <c:pt idx="30">
                  <c:v>0.0040003274110467935</c:v>
                </c:pt>
                <c:pt idx="31">
                  <c:v>0.003592278908399594</c:v>
                </c:pt>
                <c:pt idx="32">
                  <c:v>0.004086581566077909</c:v>
                </c:pt>
                <c:pt idx="33">
                  <c:v>0.0034720391123676184</c:v>
                </c:pt>
                <c:pt idx="34">
                  <c:v>0.003071436510711704</c:v>
                </c:pt>
                <c:pt idx="35">
                  <c:v>0.00356781811469077</c:v>
                </c:pt>
                <c:pt idx="36">
                  <c:v>0.0037887466764818674</c:v>
                </c:pt>
                <c:pt idx="37">
                  <c:v>0.003802311491463961</c:v>
                </c:pt>
                <c:pt idx="38">
                  <c:v>0.003549299303372689</c:v>
                </c:pt>
                <c:pt idx="39">
                  <c:v>0.003544876013371093</c:v>
                </c:pt>
                <c:pt idx="40">
                  <c:v>0.003324006369802817</c:v>
                </c:pt>
                <c:pt idx="41">
                  <c:v>0.004695226270297472</c:v>
                </c:pt>
                <c:pt idx="42">
                  <c:v>0.0038155813614687483</c:v>
                </c:pt>
                <c:pt idx="43">
                  <c:v>0.003832431973195627</c:v>
                </c:pt>
                <c:pt idx="44">
                  <c:v>0.0021409974588760565</c:v>
                </c:pt>
                <c:pt idx="45">
                  <c:v>0.003079840761714736</c:v>
                </c:pt>
                <c:pt idx="46">
                  <c:v>0.003661355924435912</c:v>
                </c:pt>
                <c:pt idx="47">
                  <c:v>0.0029726496711874684</c:v>
                </c:pt>
                <c:pt idx="48">
                  <c:v>0.003476609874857867</c:v>
                </c:pt>
                <c:pt idx="49">
                  <c:v>0.0037343612643226487</c:v>
                </c:pt>
                <c:pt idx="50">
                  <c:v>0.0035430476906818343</c:v>
                </c:pt>
                <c:pt idx="51">
                  <c:v>0.0032293479637686695</c:v>
                </c:pt>
                <c:pt idx="52">
                  <c:v>0.004100680509520786</c:v>
                </c:pt>
                <c:pt idx="53">
                  <c:v>0.004141610468381506</c:v>
                </c:pt>
                <c:pt idx="54">
                  <c:v>0.00304084635989920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5904095904095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1</c:f>
              <c:numCache>
                <c:formatCode>General</c:formatCode>
                <c:ptCount val="20"/>
                <c:pt idx="0">
                  <c:v>0.02663622526636225</c:v>
                </c:pt>
                <c:pt idx="1">
                  <c:v>0.0</c:v>
                </c:pt>
                <c:pt idx="2">
                  <c:v>2.028673835125448</c:v>
                </c:pt>
                <c:pt idx="3">
                  <c:v>3.269592964293827</c:v>
                </c:pt>
                <c:pt idx="4">
                  <c:v>2.726714320298288</c:v>
                </c:pt>
                <c:pt idx="5">
                  <c:v>3.123603871928518</c:v>
                </c:pt>
                <c:pt idx="6">
                  <c:v>3.43689776733255</c:v>
                </c:pt>
                <c:pt idx="7">
                  <c:v>2.9915161196695523</c:v>
                </c:pt>
                <c:pt idx="8">
                  <c:v>1.6056638304894748</c:v>
                </c:pt>
                <c:pt idx="9">
                  <c:v>0.31593887628303774</c:v>
                </c:pt>
                <c:pt idx="10">
                  <c:v>0.2544623100752323</c:v>
                </c:pt>
                <c:pt idx="11">
                  <c:v>0.2743319132989072</c:v>
                </c:pt>
                <c:pt idx="12">
                  <c:v>0.0</c:v>
                </c:pt>
                <c:pt idx="13">
                  <c:v>0.0</c:v>
                </c:pt>
                <c:pt idx="14">
                  <c:v>0.0</c:v>
                </c:pt>
                <c:pt idx="15">
                  <c:v>0.0</c:v>
                </c:pt>
                <c:pt idx="16">
                  <c:v>0.0</c:v>
                </c:pt>
                <c:pt idx="17">
                  <c:v>0.0</c:v>
                </c:pt>
                <c:pt idx="18">
                  <c:v>0.0</c:v>
                </c:pt>
                <c:pt idx="19">
                  <c:v>0.0</c:v>
                </c:pt>
              </c:numCache>
            </c:numRef>
          </c:xVal>
          <c:yVal>
            <c:numRef>
              <c:f>Sheet1!$B$2:$B$21</c:f>
              <c:numCache>
                <c:formatCode>General</c:formatCode>
                <c:ptCount val="20"/>
                <c:pt idx="0">
                  <c:v>0.0625</c:v>
                </c:pt>
                <c:pt idx="1">
                  <c:v>0.0</c:v>
                </c:pt>
                <c:pt idx="2">
                  <c:v>0.09090909090909091</c:v>
                </c:pt>
                <c:pt idx="3">
                  <c:v>0.07692307692307693</c:v>
                </c:pt>
                <c:pt idx="4">
                  <c:v>0.05</c:v>
                </c:pt>
                <c:pt idx="5">
                  <c:v>0.0625</c:v>
                </c:pt>
                <c:pt idx="6">
                  <c:v>0.058823529411764705</c:v>
                </c:pt>
                <c:pt idx="7">
                  <c:v>0.06666666666666667</c:v>
                </c:pt>
                <c:pt idx="8">
                  <c:v>0.125</c:v>
                </c:pt>
                <c:pt idx="9">
                  <c:v>0.56</c:v>
                </c:pt>
                <c:pt idx="10">
                  <c:v>0.038461538461538464</c:v>
                </c:pt>
                <c:pt idx="11">
                  <c:v>0.15</c:v>
                </c:pt>
                <c:pt idx="12">
                  <c:v>0.0</c:v>
                </c:pt>
                <c:pt idx="13">
                  <c:v>0.0</c:v>
                </c:pt>
                <c:pt idx="14">
                  <c:v>0.0</c:v>
                </c:pt>
                <c:pt idx="15">
                  <c:v>0.0</c:v>
                </c:pt>
                <c:pt idx="16">
                  <c:v>0.0</c:v>
                </c:pt>
                <c:pt idx="17">
                  <c:v>0.0</c:v>
                </c:pt>
                <c:pt idx="18">
                  <c:v>0.0</c:v>
                </c:pt>
                <c:pt idx="19">
                  <c:v>0.0</c:v>
                </c:pt>
              </c:numCache>
            </c:numRef>
          </c:yVal>
          <c:smooth val="0"/>
          <c:extLst>
            <c:ext xmlns:c16="http://schemas.microsoft.com/office/drawing/2014/chart" uri="{C3380CC4-5D6E-409C-BE32-E72D297353CC}">
              <c16:uniqueId val="{00000000-096C-4121-9522-6AB7243CCAAE}"/>
            </c:ext>
          </c:extLst>
        </c:ser>
        <c:ser>
          <c:idx val="1"/>
          <c:order val="1"/>
          <c:tx>
            <c:strRef>
              <c:f>Sheet1!$B$2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4:$A$23</c:f>
              <c:numCache>
                <c:formatCode>General</c:formatCode>
                <c:ptCount val="0"/>
              </c:numCache>
            </c:numRef>
          </c:xVal>
          <c:yVal>
            <c:numRef>
              <c:f>Sheet1!$B$24:$B$23</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6:$A$27</c:f>
              <c:numCache>
                <c:formatCode>General</c:formatCode>
                <c:ptCount val="2"/>
                <c:pt idx="0">
                  <c:v>0</c:v>
                </c:pt>
                <c:pt idx="1">
                  <c:v>0.098406454028626</c:v>
                </c:pt>
              </c:numCache>
            </c:numRef>
          </c:xVal>
          <c:yVal>
            <c:numRef>
              <c:f>Sheet1!$B$26:$B$27</c:f>
              <c:numCache>
                <c:formatCode>General</c:formatCode>
                <c:ptCount val="2"/>
                <c:pt idx="0">
                  <c:v>0.098406454028626</c:v>
                </c:pt>
                <c:pt idx="1">
                  <c:v>0.098406454028626</c:v>
                </c:pt>
              </c:numCache>
            </c:numRef>
          </c:yVal>
          <c:smooth val="0"/>
          <c:extLst>
            <c:ext xmlns:c16="http://schemas.microsoft.com/office/drawing/2014/chart" uri="{C3380CC4-5D6E-409C-BE32-E72D297353CC}">
              <c16:uniqueId val="{00000005-096C-4121-9522-6AB7243CCAAE}"/>
            </c:ext>
          </c:extLst>
        </c:ser>
        <c:ser>
          <c:idx val="3"/>
          <c:order val="3"/>
          <c:tx>
            <c:strRef>
              <c:f>Sheet1!$B$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0.098406454028626</c:v>
                </c:pt>
                <c:pt idx="1">
                  <c:v>0.098406454028626</c:v>
                </c:pt>
              </c:numCache>
            </c:numRef>
          </c:xVal>
          <c:yVal>
            <c:numRef>
              <c:f>Sheet1!$B$30:$B$31</c:f>
              <c:numCache>
                <c:formatCode>General</c:formatCode>
                <c:ptCount val="2"/>
                <c:pt idx="0">
                  <c:v>0.0984064540286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3</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4:$A$36</c:f>
              <c:numCache>
                <c:formatCode>General</c:formatCode>
                <c:ptCount val="3"/>
                <c:pt idx="0">
                  <c:v>0</c:v>
                </c:pt>
                <c:pt idx="1">
                  <c:v>0.098406454028626</c:v>
                </c:pt>
                <c:pt idx="2">
                  <c:v>0</c:v>
                </c:pt>
              </c:numCache>
            </c:numRef>
          </c:xVal>
          <c:yVal>
            <c:numRef>
              <c:f>Sheet1!$B$34:$B$36</c:f>
              <c:numCache>
                <c:formatCode>General</c:formatCode>
                <c:ptCount val="3"/>
                <c:pt idx="0">
                  <c:v>0</c:v>
                </c:pt>
                <c:pt idx="1">
                  <c:v>0.0984064540286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1</c:f>
              <c:numCache>
                <c:formatCode>General</c:formatCode>
                <c:ptCount val="20"/>
                <c:pt idx="0">
                  <c:v>7.0</c:v>
                </c:pt>
                <c:pt idx="1">
                  <c:v>0.0</c:v>
                </c:pt>
                <c:pt idx="2">
                  <c:v>566.0</c:v>
                </c:pt>
                <c:pt idx="3">
                  <c:v>914.0</c:v>
                </c:pt>
                <c:pt idx="4">
                  <c:v>740.0</c:v>
                </c:pt>
                <c:pt idx="5">
                  <c:v>839.0</c:v>
                </c:pt>
                <c:pt idx="6">
                  <c:v>914.0</c:v>
                </c:pt>
                <c:pt idx="7">
                  <c:v>806.0</c:v>
                </c:pt>
                <c:pt idx="8">
                  <c:v>432.0</c:v>
                </c:pt>
                <c:pt idx="9">
                  <c:v>84.6429</c:v>
                </c:pt>
                <c:pt idx="10">
                  <c:v>69.0</c:v>
                </c:pt>
                <c:pt idx="11">
                  <c:v>74.6667</c:v>
                </c:pt>
                <c:pt idx="12">
                  <c:v>0.0</c:v>
                </c:pt>
                <c:pt idx="13">
                  <c:v>0.0</c:v>
                </c:pt>
                <c:pt idx="14">
                  <c:v>0.0</c:v>
                </c:pt>
                <c:pt idx="15">
                  <c:v>0.0</c:v>
                </c:pt>
                <c:pt idx="16">
                  <c:v>0.0</c:v>
                </c:pt>
                <c:pt idx="17">
                  <c:v>0.0</c:v>
                </c:pt>
                <c:pt idx="18">
                  <c:v>0.0</c:v>
                </c:pt>
                <c:pt idx="19">
                  <c:v>0.0</c:v>
                </c:pt>
              </c:numCache>
            </c:numRef>
          </c:xVal>
          <c:yVal>
            <c:numRef>
              <c:f>Sheet1!$B$2:$B$21</c:f>
              <c:numCache>
                <c:formatCode>General</c:formatCode>
                <c:ptCount val="20"/>
                <c:pt idx="0">
                  <c:v>0.0625</c:v>
                </c:pt>
                <c:pt idx="1">
                  <c:v>0.0</c:v>
                </c:pt>
                <c:pt idx="2">
                  <c:v>0.09090909090909091</c:v>
                </c:pt>
                <c:pt idx="3">
                  <c:v>0.07692307692307693</c:v>
                </c:pt>
                <c:pt idx="4">
                  <c:v>0.05</c:v>
                </c:pt>
                <c:pt idx="5">
                  <c:v>0.0625</c:v>
                </c:pt>
                <c:pt idx="6">
                  <c:v>0.058823529411764705</c:v>
                </c:pt>
                <c:pt idx="7">
                  <c:v>0.06666666666666667</c:v>
                </c:pt>
                <c:pt idx="8">
                  <c:v>0.125</c:v>
                </c:pt>
                <c:pt idx="9">
                  <c:v>0.56</c:v>
                </c:pt>
                <c:pt idx="10">
                  <c:v>0.038461538461538464</c:v>
                </c:pt>
                <c:pt idx="11">
                  <c:v>0.15</c:v>
                </c:pt>
                <c:pt idx="12">
                  <c:v>0.0</c:v>
                </c:pt>
                <c:pt idx="13">
                  <c:v>0.0</c:v>
                </c:pt>
                <c:pt idx="14">
                  <c:v>0.0</c:v>
                </c:pt>
                <c:pt idx="15">
                  <c:v>0.0</c:v>
                </c:pt>
                <c:pt idx="16">
                  <c:v>0.0</c:v>
                </c:pt>
                <c:pt idx="17">
                  <c:v>0.0</c:v>
                </c:pt>
                <c:pt idx="18">
                  <c:v>0.0</c:v>
                </c:pt>
                <c:pt idx="19">
                  <c:v>0.0</c:v>
                </c:pt>
              </c:numCache>
            </c:numRef>
          </c:yVal>
          <c:smooth val="0"/>
          <c:extLst>
            <c:ext xmlns:c16="http://schemas.microsoft.com/office/drawing/2014/chart" uri="{C3380CC4-5D6E-409C-BE32-E72D297353CC}">
              <c16:uniqueId val="{00000000-F32D-48B7-BC20-E66FC6253BAD}"/>
            </c:ext>
          </c:extLst>
        </c:ser>
        <c:ser>
          <c:idx val="1"/>
          <c:order val="1"/>
          <c:tx>
            <c:strRef>
              <c:f>Sheet1!$B$2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4:$A$23</c:f>
              <c:numCache>
                <c:formatCode>General</c:formatCode>
                <c:ptCount val="0"/>
              </c:numCache>
            </c:numRef>
          </c:xVal>
          <c:yVal>
            <c:numRef>
              <c:f>Sheet1!$B$24:$B$23</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5</c:f>
              <c:strCache>
                <c:ptCount val="1"/>
                <c:pt idx="0">
                  <c:v>Custom Linep3yQ</c:v>
                </c:pt>
              </c:strCache>
            </c:strRef>
          </c:tx>
          <c:spPr>
            <a:ln w="19050" cap="rnd">
              <a:solidFill>
                <a:srgbClr val="C00000"/>
              </a:solidFill>
              <a:prstDash val="sysDot"/>
              <a:round/>
            </a:ln>
            <a:effectLst/>
          </c:spPr>
          <c:marker>
            <c:symbol val="none"/>
          </c:marker>
          <c:xVal>
            <c:numRef>
              <c:f>Sheet1!$A$26:$A$27</c:f>
              <c:numCache>
                <c:formatCode>General</c:formatCode>
                <c:ptCount val="2"/>
                <c:pt idx="0">
                  <c:v>0</c:v>
                </c:pt>
                <c:pt idx="1">
                  <c:v>0.098406454028626</c:v>
                </c:pt>
              </c:numCache>
            </c:numRef>
          </c:xVal>
          <c:yVal>
            <c:numRef>
              <c:f>Sheet1!$B$26:$B$27</c:f>
              <c:numCache>
                <c:formatCode>General</c:formatCode>
                <c:ptCount val="2"/>
                <c:pt idx="0">
                  <c:v>0.098406454028626</c:v>
                </c:pt>
                <c:pt idx="1">
                  <c:v>0.098406454028626</c:v>
                </c:pt>
              </c:numCache>
            </c:numRef>
          </c:yVal>
          <c:smooth val="0"/>
          <c:extLst>
            <c:ext xmlns:c16="http://schemas.microsoft.com/office/drawing/2014/chart" uri="{C3380CC4-5D6E-409C-BE32-E72D297353CC}">
              <c16:uniqueId val="{00000003-F32D-48B7-BC20-E66FC6253BAD}"/>
            </c:ext>
          </c:extLst>
        </c:ser>
        <c:ser>
          <c:idx val="3"/>
          <c:order val="3"/>
          <c:tx>
            <c:strRef>
              <c:f>Sheet1!$B$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0.098406454028626</c:v>
                </c:pt>
                <c:pt idx="1">
                  <c:v>0.098406454028626</c:v>
                </c:pt>
              </c:numCache>
            </c:numRef>
          </c:xVal>
          <c:yVal>
            <c:numRef>
              <c:f>Sheet1!$B$30:$B$31</c:f>
              <c:numCache>
                <c:formatCode>General</c:formatCode>
                <c:ptCount val="2"/>
                <c:pt idx="0">
                  <c:v>0.0984064540286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3</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4:$A$36</c:f>
              <c:numCache>
                <c:formatCode>General</c:formatCode>
                <c:ptCount val="3"/>
                <c:pt idx="0">
                  <c:v>0</c:v>
                </c:pt>
                <c:pt idx="1">
                  <c:v>0.098406454028626</c:v>
                </c:pt>
                <c:pt idx="2">
                  <c:v>0</c:v>
                </c:pt>
              </c:numCache>
            </c:numRef>
          </c:xVal>
          <c:yVal>
            <c:numRef>
              <c:f>Sheet1!$B$34:$B$36</c:f>
              <c:numCache>
                <c:formatCode>General</c:formatCode>
                <c:ptCount val="3"/>
                <c:pt idx="0">
                  <c:v>0</c:v>
                </c:pt>
                <c:pt idx="1">
                  <c:v>0.0984064540286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9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1</c:f>
              <c:numCache>
                <c:formatCode>General</c:formatCode>
                <c:ptCount val="2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numCache>
            </c:numRef>
          </c:xVal>
          <c:yVal>
            <c:numRef>
              <c:f>Sheet1!$B$2:$B$21</c:f>
              <c:numCache>
                <c:formatCode>General</c:formatCode>
                <c:ptCount val="20"/>
                <c:pt idx="0">
                  <c:v>0.0625</c:v>
                </c:pt>
                <c:pt idx="1">
                  <c:v>0.0</c:v>
                </c:pt>
                <c:pt idx="2">
                  <c:v>0.09090909090909091</c:v>
                </c:pt>
                <c:pt idx="3">
                  <c:v>0.07692307692307693</c:v>
                </c:pt>
                <c:pt idx="4">
                  <c:v>0.05</c:v>
                </c:pt>
                <c:pt idx="5">
                  <c:v>0.0625</c:v>
                </c:pt>
                <c:pt idx="6">
                  <c:v>0.058823529411764705</c:v>
                </c:pt>
                <c:pt idx="7">
                  <c:v>0.06666666666666667</c:v>
                </c:pt>
                <c:pt idx="8">
                  <c:v>0.125</c:v>
                </c:pt>
                <c:pt idx="9">
                  <c:v>0.56</c:v>
                </c:pt>
                <c:pt idx="10">
                  <c:v>0.038461538461538464</c:v>
                </c:pt>
                <c:pt idx="11">
                  <c:v>0.15</c:v>
                </c:pt>
                <c:pt idx="12">
                  <c:v>0.0</c:v>
                </c:pt>
                <c:pt idx="13">
                  <c:v>0.0</c:v>
                </c:pt>
                <c:pt idx="14">
                  <c:v>0.0</c:v>
                </c:pt>
                <c:pt idx="15">
                  <c:v>0.0</c:v>
                </c:pt>
                <c:pt idx="16">
                  <c:v>0.0</c:v>
                </c:pt>
                <c:pt idx="17">
                  <c:v>0.0</c:v>
                </c:pt>
                <c:pt idx="18">
                  <c:v>0.0</c:v>
                </c:pt>
                <c:pt idx="19">
                  <c:v>0.0</c:v>
                </c:pt>
              </c:numCache>
            </c:numRef>
          </c:yVal>
          <c:smooth val="0"/>
          <c:extLst>
            <c:ext xmlns:c16="http://schemas.microsoft.com/office/drawing/2014/chart" uri="{C3380CC4-5D6E-409C-BE32-E72D297353CC}">
              <c16:uniqueId val="{00000000-096C-4121-9522-6AB7243CCAAE}"/>
            </c:ext>
          </c:extLst>
        </c:ser>
        <c:ser>
          <c:idx val="1"/>
          <c:order val="1"/>
          <c:tx>
            <c:strRef>
              <c:f>Sheet1!$B$2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4:$A$23</c:f>
              <c:numCache>
                <c:formatCode>General</c:formatCode>
                <c:ptCount val="0"/>
              </c:numCache>
            </c:numRef>
          </c:xVal>
          <c:yVal>
            <c:numRef>
              <c:f>Sheet1!$B$24:$B$23</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6:$A$27</c:f>
              <c:numCache>
                <c:formatCode>General</c:formatCode>
                <c:ptCount val="2"/>
                <c:pt idx="0">
                  <c:v>0</c:v>
                </c:pt>
                <c:pt idx="1">
                  <c:v>0.098406454028626</c:v>
                </c:pt>
              </c:numCache>
            </c:numRef>
          </c:xVal>
          <c:yVal>
            <c:numRef>
              <c:f>Sheet1!$B$26:$B$27</c:f>
              <c:numCache>
                <c:formatCode>General</c:formatCode>
                <c:ptCount val="2"/>
                <c:pt idx="0">
                  <c:v>0.098406454028626</c:v>
                </c:pt>
                <c:pt idx="1">
                  <c:v>0.098406454028626</c:v>
                </c:pt>
              </c:numCache>
            </c:numRef>
          </c:yVal>
          <c:smooth val="0"/>
          <c:extLst>
            <c:ext xmlns:c16="http://schemas.microsoft.com/office/drawing/2014/chart" uri="{C3380CC4-5D6E-409C-BE32-E72D297353CC}">
              <c16:uniqueId val="{00000005-096C-4121-9522-6AB7243CCAAE}"/>
            </c:ext>
          </c:extLst>
        </c:ser>
        <c:ser>
          <c:idx val="3"/>
          <c:order val="3"/>
          <c:tx>
            <c:strRef>
              <c:f>Sheet1!$B$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0.098406454028626</c:v>
                </c:pt>
                <c:pt idx="1">
                  <c:v>0.098406454028626</c:v>
                </c:pt>
              </c:numCache>
            </c:numRef>
          </c:xVal>
          <c:yVal>
            <c:numRef>
              <c:f>Sheet1!$B$30:$B$31</c:f>
              <c:numCache>
                <c:formatCode>General</c:formatCode>
                <c:ptCount val="2"/>
                <c:pt idx="0">
                  <c:v>0.0984064540286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3</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4:$A$36</c:f>
              <c:numCache>
                <c:formatCode>General</c:formatCode>
                <c:ptCount val="3"/>
                <c:pt idx="0">
                  <c:v>0</c:v>
                </c:pt>
                <c:pt idx="1">
                  <c:v>0.098406454028626</c:v>
                </c:pt>
                <c:pt idx="2">
                  <c:v>0</c:v>
                </c:pt>
              </c:numCache>
            </c:numRef>
          </c:xVal>
          <c:yVal>
            <c:numRef>
              <c:f>Sheet1!$B$34:$B$36</c:f>
              <c:numCache>
                <c:formatCode>General</c:formatCode>
                <c:ptCount val="3"/>
                <c:pt idx="0">
                  <c:v>0</c:v>
                </c:pt>
                <c:pt idx="1">
                  <c:v>0.0984064540286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1</c:f>
              <c:numCache>
                <c:formatCode>General</c:formatCode>
                <c:ptCount val="20"/>
                <c:pt idx="0">
                  <c:v>7.0</c:v>
                </c:pt>
                <c:pt idx="1">
                  <c:v>0.0</c:v>
                </c:pt>
                <c:pt idx="2">
                  <c:v>566.0</c:v>
                </c:pt>
                <c:pt idx="3">
                  <c:v>914.0</c:v>
                </c:pt>
                <c:pt idx="4">
                  <c:v>740.0</c:v>
                </c:pt>
                <c:pt idx="5">
                  <c:v>839.0</c:v>
                </c:pt>
                <c:pt idx="6">
                  <c:v>914.0</c:v>
                </c:pt>
                <c:pt idx="7">
                  <c:v>806.0</c:v>
                </c:pt>
                <c:pt idx="8">
                  <c:v>432.0</c:v>
                </c:pt>
                <c:pt idx="9">
                  <c:v>84.6429</c:v>
                </c:pt>
                <c:pt idx="10">
                  <c:v>69.0</c:v>
                </c:pt>
                <c:pt idx="11">
                  <c:v>74.6667</c:v>
                </c:pt>
                <c:pt idx="12">
                  <c:v>0.0</c:v>
                </c:pt>
                <c:pt idx="13">
                  <c:v>0.0</c:v>
                </c:pt>
                <c:pt idx="14">
                  <c:v>0.0</c:v>
                </c:pt>
                <c:pt idx="15">
                  <c:v>0.0</c:v>
                </c:pt>
                <c:pt idx="16">
                  <c:v>0.0</c:v>
                </c:pt>
                <c:pt idx="17">
                  <c:v>0.0</c:v>
                </c:pt>
                <c:pt idx="18">
                  <c:v>0.0</c:v>
                </c:pt>
                <c:pt idx="19">
                  <c:v>0.0</c:v>
                </c:pt>
              </c:numCache>
            </c:numRef>
          </c:xVal>
          <c:yVal>
            <c:numRef>
              <c:f>Sheet1!$B$2:$B$21</c:f>
              <c:numCache>
                <c:formatCode>General</c:formatCode>
                <c:ptCount val="20"/>
                <c:pt idx="0">
                  <c:v>0.0625</c:v>
                </c:pt>
                <c:pt idx="1">
                  <c:v>0.0</c:v>
                </c:pt>
                <c:pt idx="2">
                  <c:v>0.09090909090909091</c:v>
                </c:pt>
                <c:pt idx="3">
                  <c:v>0.07692307692307693</c:v>
                </c:pt>
                <c:pt idx="4">
                  <c:v>0.05</c:v>
                </c:pt>
                <c:pt idx="5">
                  <c:v>0.0625</c:v>
                </c:pt>
                <c:pt idx="6">
                  <c:v>0.058823529411764705</c:v>
                </c:pt>
                <c:pt idx="7">
                  <c:v>0.06666666666666667</c:v>
                </c:pt>
                <c:pt idx="8">
                  <c:v>0.125</c:v>
                </c:pt>
                <c:pt idx="9">
                  <c:v>0.56</c:v>
                </c:pt>
                <c:pt idx="10">
                  <c:v>0.038461538461538464</c:v>
                </c:pt>
                <c:pt idx="11">
                  <c:v>0.15</c:v>
                </c:pt>
                <c:pt idx="12">
                  <c:v>0.0</c:v>
                </c:pt>
                <c:pt idx="13">
                  <c:v>0.0</c:v>
                </c:pt>
                <c:pt idx="14">
                  <c:v>0.0</c:v>
                </c:pt>
                <c:pt idx="15">
                  <c:v>0.0</c:v>
                </c:pt>
                <c:pt idx="16">
                  <c:v>0.0</c:v>
                </c:pt>
                <c:pt idx="17">
                  <c:v>0.0</c:v>
                </c:pt>
                <c:pt idx="18">
                  <c:v>0.0</c:v>
                </c:pt>
                <c:pt idx="19">
                  <c:v>0.0</c:v>
                </c:pt>
              </c:numCache>
            </c:numRef>
          </c:yVal>
          <c:smooth val="0"/>
          <c:extLst>
            <c:ext xmlns:c16="http://schemas.microsoft.com/office/drawing/2014/chart" uri="{C3380CC4-5D6E-409C-BE32-E72D297353CC}">
              <c16:uniqueId val="{00000000-F32D-48B7-BC20-E66FC6253BAD}"/>
            </c:ext>
          </c:extLst>
        </c:ser>
        <c:ser>
          <c:idx val="1"/>
          <c:order val="1"/>
          <c:tx>
            <c:strRef>
              <c:f>Sheet1!$B$2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4:$A$23</c:f>
              <c:numCache>
                <c:formatCode>General</c:formatCode>
                <c:ptCount val="0"/>
              </c:numCache>
            </c:numRef>
          </c:xVal>
          <c:yVal>
            <c:numRef>
              <c:f>Sheet1!$B$24:$B$23</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5</c:f>
              <c:strCache>
                <c:ptCount val="1"/>
                <c:pt idx="0">
                  <c:v>Custom Linep3yQ</c:v>
                </c:pt>
              </c:strCache>
            </c:strRef>
          </c:tx>
          <c:spPr>
            <a:ln w="19050" cap="rnd">
              <a:solidFill>
                <a:srgbClr val="C00000"/>
              </a:solidFill>
              <a:prstDash val="sysDot"/>
              <a:round/>
            </a:ln>
            <a:effectLst/>
          </c:spPr>
          <c:marker>
            <c:symbol val="none"/>
          </c:marker>
          <c:xVal>
            <c:numRef>
              <c:f>Sheet1!$A$26:$A$27</c:f>
              <c:numCache>
                <c:formatCode>General</c:formatCode>
                <c:ptCount val="2"/>
                <c:pt idx="0">
                  <c:v>0</c:v>
                </c:pt>
                <c:pt idx="1">
                  <c:v>0.098406454028626</c:v>
                </c:pt>
              </c:numCache>
            </c:numRef>
          </c:xVal>
          <c:yVal>
            <c:numRef>
              <c:f>Sheet1!$B$26:$B$27</c:f>
              <c:numCache>
                <c:formatCode>General</c:formatCode>
                <c:ptCount val="2"/>
                <c:pt idx="0">
                  <c:v>0.098406454028626</c:v>
                </c:pt>
                <c:pt idx="1">
                  <c:v>0.098406454028626</c:v>
                </c:pt>
              </c:numCache>
            </c:numRef>
          </c:yVal>
          <c:smooth val="0"/>
          <c:extLst>
            <c:ext xmlns:c16="http://schemas.microsoft.com/office/drawing/2014/chart" uri="{C3380CC4-5D6E-409C-BE32-E72D297353CC}">
              <c16:uniqueId val="{00000003-F32D-48B7-BC20-E66FC6253BAD}"/>
            </c:ext>
          </c:extLst>
        </c:ser>
        <c:ser>
          <c:idx val="3"/>
          <c:order val="3"/>
          <c:tx>
            <c:strRef>
              <c:f>Sheet1!$B$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0.098406454028626</c:v>
                </c:pt>
                <c:pt idx="1">
                  <c:v>0.098406454028626</c:v>
                </c:pt>
              </c:numCache>
            </c:numRef>
          </c:xVal>
          <c:yVal>
            <c:numRef>
              <c:f>Sheet1!$B$30:$B$31</c:f>
              <c:numCache>
                <c:formatCode>General</c:formatCode>
                <c:ptCount val="2"/>
                <c:pt idx="0">
                  <c:v>0.0984064540286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3</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4:$A$36</c:f>
              <c:numCache>
                <c:formatCode>General</c:formatCode>
                <c:ptCount val="3"/>
                <c:pt idx="0">
                  <c:v>0</c:v>
                </c:pt>
                <c:pt idx="1">
                  <c:v>0.098406454028626</c:v>
                </c:pt>
                <c:pt idx="2">
                  <c:v>0</c:v>
                </c:pt>
              </c:numCache>
            </c:numRef>
          </c:xVal>
          <c:yVal>
            <c:numRef>
              <c:f>Sheet1!$B$34:$B$36</c:f>
              <c:numCache>
                <c:formatCode>General</c:formatCode>
                <c:ptCount val="3"/>
                <c:pt idx="0">
                  <c:v>0</c:v>
                </c:pt>
                <c:pt idx="1">
                  <c:v>0.0984064540286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9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7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8</c:f>
              <c:numCache>
                <c:formatCode>General</c:formatCode>
                <c:ptCount val="37"/>
                <c:pt idx="0">
                  <c:v>2.4485295065220396</c:v>
                </c:pt>
                <c:pt idx="1">
                  <c:v>3.357573727021381</c:v>
                </c:pt>
                <c:pt idx="2">
                  <c:v>3.1146859790776706</c:v>
                </c:pt>
                <c:pt idx="3">
                  <c:v>3.807840721398945</c:v>
                </c:pt>
                <c:pt idx="4">
                  <c:v>3.7393589468513495</c:v>
                </c:pt>
                <c:pt idx="5">
                  <c:v>3.6156503357742054</c:v>
                </c:pt>
                <c:pt idx="6">
                  <c:v>3.6241727810069384</c:v>
                </c:pt>
                <c:pt idx="7">
                  <c:v>4.360830180203956</c:v>
                </c:pt>
                <c:pt idx="8">
                  <c:v>3.095290857110367</c:v>
                </c:pt>
                <c:pt idx="9">
                  <c:v>5.072897196261683</c:v>
                </c:pt>
                <c:pt idx="10">
                  <c:v>3.396955105742962</c:v>
                </c:pt>
                <c:pt idx="11">
                  <c:v>3.7699308336366943</c:v>
                </c:pt>
                <c:pt idx="12">
                  <c:v>3.588841114549425</c:v>
                </c:pt>
                <c:pt idx="13">
                  <c:v>2.8333333333333335</c:v>
                </c:pt>
                <c:pt idx="14">
                  <c:v>3.6061321888720816</c:v>
                </c:pt>
                <c:pt idx="15">
                  <c:v>3.8151717251577164</c:v>
                </c:pt>
                <c:pt idx="16">
                  <c:v>3.2705968509703403</c:v>
                </c:pt>
                <c:pt idx="17">
                  <c:v>3.1274745605920447</c:v>
                </c:pt>
                <c:pt idx="18">
                  <c:v>2.4763682835820897</c:v>
                </c:pt>
                <c:pt idx="19">
                  <c:v>3.8685791521868413</c:v>
                </c:pt>
                <c:pt idx="20">
                  <c:v>3.3348832809115008</c:v>
                </c:pt>
                <c:pt idx="21">
                  <c:v>2.373704190263051</c:v>
                </c:pt>
                <c:pt idx="22">
                  <c:v>2.1535714285714285</c:v>
                </c:pt>
                <c:pt idx="23">
                  <c:v>2.330181818181818</c:v>
                </c:pt>
                <c:pt idx="24">
                  <c:v>2.4587257208284883</c:v>
                </c:pt>
                <c:pt idx="25">
                  <c:v>2.0651038081417</c:v>
                </c:pt>
                <c:pt idx="26">
                  <c:v>2.6366017964071857</c:v>
                </c:pt>
                <c:pt idx="27">
                  <c:v>2.0621920068155624</c:v>
                </c:pt>
                <c:pt idx="28">
                  <c:v>2.7131574505208214</c:v>
                </c:pt>
                <c:pt idx="29">
                  <c:v>2.0143025920838955</c:v>
                </c:pt>
                <c:pt idx="30">
                  <c:v>2.019047619047619</c:v>
                </c:pt>
                <c:pt idx="31">
                  <c:v>2.661849326322352</c:v>
                </c:pt>
                <c:pt idx="32">
                  <c:v>0.9200968523002422</c:v>
                </c:pt>
                <c:pt idx="33">
                  <c:v>0.9120370370370371</c:v>
                </c:pt>
                <c:pt idx="34">
                  <c:v>0.0</c:v>
                </c:pt>
                <c:pt idx="35">
                  <c:v>0.0</c:v>
                </c:pt>
                <c:pt idx="36">
                  <c:v>0.0</c:v>
                </c:pt>
              </c:numCache>
            </c:numRef>
          </c:xVal>
          <c:yVal>
            <c:numRef>
              <c:f>Sheet1!$B$2:$B$38</c:f>
              <c:numCache>
                <c:formatCode>General</c:formatCode>
                <c:ptCount val="37"/>
                <c:pt idx="0">
                  <c:v>0.1</c:v>
                </c:pt>
                <c:pt idx="1">
                  <c:v>0.13043478260869565</c:v>
                </c:pt>
                <c:pt idx="2">
                  <c:v>0.14285714285714285</c:v>
                </c:pt>
                <c:pt idx="3">
                  <c:v>0.06666666666666667</c:v>
                </c:pt>
                <c:pt idx="4">
                  <c:v>0.2702702702702703</c:v>
                </c:pt>
                <c:pt idx="5">
                  <c:v>0.2631578947368421</c:v>
                </c:pt>
                <c:pt idx="6">
                  <c:v>0.2608695652173913</c:v>
                </c:pt>
                <c:pt idx="7">
                  <c:v>0.125</c:v>
                </c:pt>
                <c:pt idx="8">
                  <c:v>0.17391304347826086</c:v>
                </c:pt>
                <c:pt idx="9">
                  <c:v>0.1111111111111111</c:v>
                </c:pt>
                <c:pt idx="10">
                  <c:v>0.25</c:v>
                </c:pt>
                <c:pt idx="11">
                  <c:v>0.3333333333333333</c:v>
                </c:pt>
                <c:pt idx="12">
                  <c:v>0.29411764705882354</c:v>
                </c:pt>
                <c:pt idx="13">
                  <c:v>0.2222222222222222</c:v>
                </c:pt>
                <c:pt idx="14">
                  <c:v>0.125</c:v>
                </c:pt>
                <c:pt idx="15">
                  <c:v>0.10526315789473684</c:v>
                </c:pt>
                <c:pt idx="16">
                  <c:v>0.2702702702702703</c:v>
                </c:pt>
                <c:pt idx="17">
                  <c:v>0.13513513513513514</c:v>
                </c:pt>
                <c:pt idx="18">
                  <c:v>0.0967741935483871</c:v>
                </c:pt>
                <c:pt idx="19">
                  <c:v>0.06896551724137931</c:v>
                </c:pt>
                <c:pt idx="20">
                  <c:v>0.11538461538461539</c:v>
                </c:pt>
                <c:pt idx="21">
                  <c:v>0.07692307692307693</c:v>
                </c:pt>
                <c:pt idx="22">
                  <c:v>0.15789473684210525</c:v>
                </c:pt>
                <c:pt idx="23">
                  <c:v>0.4166666666666667</c:v>
                </c:pt>
                <c:pt idx="24">
                  <c:v>0.2</c:v>
                </c:pt>
                <c:pt idx="25">
                  <c:v>0.2222222222222222</c:v>
                </c:pt>
                <c:pt idx="26">
                  <c:v>0.16666666666666666</c:v>
                </c:pt>
                <c:pt idx="27">
                  <c:v>0.1875</c:v>
                </c:pt>
                <c:pt idx="28">
                  <c:v>0.10526315789473684</c:v>
                </c:pt>
                <c:pt idx="29">
                  <c:v>0.1</c:v>
                </c:pt>
                <c:pt idx="30">
                  <c:v>0.1</c:v>
                </c:pt>
                <c:pt idx="31">
                  <c:v>0.1</c:v>
                </c:pt>
                <c:pt idx="32">
                  <c:v>0.1</c:v>
                </c:pt>
                <c:pt idx="33">
                  <c:v>0.16666666666666666</c:v>
                </c:pt>
                <c:pt idx="34">
                  <c:v>0.0</c:v>
                </c:pt>
                <c:pt idx="35">
                  <c:v>0.0</c:v>
                </c:pt>
                <c:pt idx="36">
                  <c:v>0.0</c:v>
                </c:pt>
              </c:numCache>
            </c:numRef>
          </c:yVal>
          <c:smooth val="0"/>
          <c:extLst>
            <c:ext xmlns:c16="http://schemas.microsoft.com/office/drawing/2014/chart" uri="{C3380CC4-5D6E-409C-BE32-E72D297353CC}">
              <c16:uniqueId val="{00000000-096C-4121-9522-6AB7243CCAAE}"/>
            </c:ext>
          </c:extLst>
        </c:ser>
        <c:ser>
          <c:idx val="1"/>
          <c:order val="1"/>
          <c:tx>
            <c:strRef>
              <c:f>Sheet1!$B$4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1:$A$40</c:f>
              <c:numCache>
                <c:formatCode>General</c:formatCode>
                <c:ptCount val="0"/>
              </c:numCache>
            </c:numRef>
          </c:xVal>
          <c:yVal>
            <c:numRef>
              <c:f>Sheet1!$B$41:$B$4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4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3:$A$44</c:f>
              <c:numCache>
                <c:formatCode>General</c:formatCode>
                <c:ptCount val="2"/>
                <c:pt idx="0">
                  <c:v>0</c:v>
                </c:pt>
                <c:pt idx="1">
                  <c:v>0.2157329627379432</c:v>
                </c:pt>
              </c:numCache>
            </c:numRef>
          </c:xVal>
          <c:yVal>
            <c:numRef>
              <c:f>Sheet1!$B$43:$B$44</c:f>
              <c:numCache>
                <c:formatCode>General</c:formatCode>
                <c:ptCount val="2"/>
                <c:pt idx="0">
                  <c:v>0.2157329627379432</c:v>
                </c:pt>
                <c:pt idx="1">
                  <c:v>0.2157329627379432</c:v>
                </c:pt>
              </c:numCache>
            </c:numRef>
          </c:yVal>
          <c:smooth val="0"/>
          <c:extLst>
            <c:ext xmlns:c16="http://schemas.microsoft.com/office/drawing/2014/chart" uri="{C3380CC4-5D6E-409C-BE32-E72D297353CC}">
              <c16:uniqueId val="{00000005-096C-4121-9522-6AB7243CCAAE}"/>
            </c:ext>
          </c:extLst>
        </c:ser>
        <c:ser>
          <c:idx val="3"/>
          <c:order val="3"/>
          <c:tx>
            <c:strRef>
              <c:f>Sheet1!$B$4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7:$A$48</c:f>
              <c:numCache>
                <c:formatCode>General</c:formatCode>
                <c:ptCount val="2"/>
                <c:pt idx="0">
                  <c:v>0.2157329627379432</c:v>
                </c:pt>
                <c:pt idx="1">
                  <c:v>0.2157329627379432</c:v>
                </c:pt>
              </c:numCache>
            </c:numRef>
          </c:xVal>
          <c:yVal>
            <c:numRef>
              <c:f>Sheet1!$B$47:$B$48</c:f>
              <c:numCache>
                <c:formatCode>General</c:formatCode>
                <c:ptCount val="2"/>
                <c:pt idx="0">
                  <c:v>0.21573296273794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1:$A$52</c:f>
              <c:numCache>
                <c:formatCode>General</c:formatCode>
                <c:ptCount val="2"/>
                <c:pt idx="0">
                  <c:v>0</c:v>
                </c:pt>
                <c:pt idx="1">
                  <c:v>0.0</c:v>
                </c:pt>
              </c:numCache>
            </c:numRef>
          </c:xVal>
          <c:yVal>
            <c:numRef>
              <c:f>Sheet1!$B$51:$B$52</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5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5:$A$56</c:f>
              <c:numCache>
                <c:formatCode>General</c:formatCode>
                <c:ptCount val="2"/>
                <c:pt idx="0">
                  <c:v>0.0</c:v>
                </c:pt>
                <c:pt idx="1">
                  <c:v>0.0</c:v>
                </c:pt>
              </c:numCache>
            </c:numRef>
          </c:xVal>
          <c:yVal>
            <c:numRef>
              <c:f>Sheet1!$B$55:$B$56</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9:$A$60</c:f>
              <c:numCache>
                <c:formatCode>General</c:formatCode>
                <c:ptCount val="2"/>
                <c:pt idx="0">
                  <c:v>0</c:v>
                </c:pt>
                <c:pt idx="1">
                  <c:v>0.0</c:v>
                </c:pt>
              </c:numCache>
            </c:numRef>
          </c:xVal>
          <c:yVal>
            <c:numRef>
              <c:f>Sheet1!$B$59:$B$6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6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3:$A$64</c:f>
              <c:numCache>
                <c:formatCode>General</c:formatCode>
                <c:ptCount val="2"/>
                <c:pt idx="0">
                  <c:v>0.0</c:v>
                </c:pt>
                <c:pt idx="1">
                  <c:v>0.0</c:v>
                </c:pt>
              </c:numCache>
            </c:numRef>
          </c:xVal>
          <c:yVal>
            <c:numRef>
              <c:f>Sheet1!$B$63:$B$6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7:$A$69</c:f>
              <c:numCache>
                <c:formatCode>General</c:formatCode>
                <c:ptCount val="3"/>
                <c:pt idx="0">
                  <c:v>0.0</c:v>
                </c:pt>
                <c:pt idx="1">
                  <c:v>0.2157329627379432</c:v>
                </c:pt>
                <c:pt idx="2">
                  <c:v>0.0</c:v>
                </c:pt>
              </c:numCache>
            </c:numRef>
          </c:xVal>
          <c:yVal>
            <c:numRef>
              <c:f>Sheet1!$B$67:$B$69</c:f>
              <c:numCache>
                <c:formatCode>General</c:formatCode>
                <c:ptCount val="3"/>
                <c:pt idx="0">
                  <c:v>0.0</c:v>
                </c:pt>
                <c:pt idx="1">
                  <c:v>0.2157329627379432</c:v>
                </c:pt>
                <c:pt idx="2">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5</c:f>
              <c:numCache>
                <c:formatCode>General</c:formatCode>
                <c:ptCount val="34"/>
                <c:pt idx="0">
                  <c:v>703.0</c:v>
                </c:pt>
                <c:pt idx="1">
                  <c:v>938.0</c:v>
                </c:pt>
                <c:pt idx="2">
                  <c:v>879.25</c:v>
                </c:pt>
                <c:pt idx="3">
                  <c:v>1054.5</c:v>
                </c:pt>
                <c:pt idx="4">
                  <c:v>1005.6</c:v>
                </c:pt>
                <c:pt idx="5">
                  <c:v>976.6667</c:v>
                </c:pt>
                <c:pt idx="6">
                  <c:v>988.3333</c:v>
                </c:pt>
                <c:pt idx="7">
                  <c:v>1231.0</c:v>
                </c:pt>
                <c:pt idx="8">
                  <c:v>849.25</c:v>
                </c:pt>
                <c:pt idx="9">
                  <c:v>1357.0</c:v>
                </c:pt>
                <c:pt idx="10">
                  <c:v>967.0</c:v>
                </c:pt>
                <c:pt idx="11">
                  <c:v>1035.6</c:v>
                </c:pt>
                <c:pt idx="12">
                  <c:v>964.8</c:v>
                </c:pt>
                <c:pt idx="13">
                  <c:v>765.0</c:v>
                </c:pt>
                <c:pt idx="14">
                  <c:v>1042.5</c:v>
                </c:pt>
                <c:pt idx="15">
                  <c:v>1079.0</c:v>
                </c:pt>
                <c:pt idx="16">
                  <c:v>893.2</c:v>
                </c:pt>
                <c:pt idx="17">
                  <c:v>845.2</c:v>
                </c:pt>
                <c:pt idx="18">
                  <c:v>663.6667</c:v>
                </c:pt>
                <c:pt idx="19">
                  <c:v>1061.0</c:v>
                </c:pt>
                <c:pt idx="20">
                  <c:v>913.0</c:v>
                </c:pt>
                <c:pt idx="21">
                  <c:v>668.0</c:v>
                </c:pt>
                <c:pt idx="22">
                  <c:v>603.0</c:v>
                </c:pt>
                <c:pt idx="23">
                  <c:v>640.8</c:v>
                </c:pt>
                <c:pt idx="24">
                  <c:v>688.6667</c:v>
                </c:pt>
                <c:pt idx="25">
                  <c:v>549.0</c:v>
                </c:pt>
                <c:pt idx="26">
                  <c:v>704.5</c:v>
                </c:pt>
                <c:pt idx="27">
                  <c:v>579.0</c:v>
                </c:pt>
                <c:pt idx="28">
                  <c:v>726.5</c:v>
                </c:pt>
                <c:pt idx="29">
                  <c:v>579.0</c:v>
                </c:pt>
                <c:pt idx="30">
                  <c:v>530.0</c:v>
                </c:pt>
                <c:pt idx="31">
                  <c:v>614.0</c:v>
                </c:pt>
                <c:pt idx="32">
                  <c:v>190.0</c:v>
                </c:pt>
                <c:pt idx="33">
                  <c:v>197.0</c:v>
                </c:pt>
              </c:numCache>
            </c:numRef>
          </c:xVal>
          <c:yVal>
            <c:numRef>
              <c:f>Sheet1!$B$2:$B$35</c:f>
              <c:numCache>
                <c:formatCode>General</c:formatCode>
                <c:ptCount val="34"/>
                <c:pt idx="0">
                  <c:v>0.1</c:v>
                </c:pt>
                <c:pt idx="1">
                  <c:v>0.13043478260869565</c:v>
                </c:pt>
                <c:pt idx="2">
                  <c:v>0.14285714285714285</c:v>
                </c:pt>
                <c:pt idx="3">
                  <c:v>0.06666666666666667</c:v>
                </c:pt>
                <c:pt idx="4">
                  <c:v>0.2702702702702703</c:v>
                </c:pt>
                <c:pt idx="5">
                  <c:v>0.2631578947368421</c:v>
                </c:pt>
                <c:pt idx="6">
                  <c:v>0.2608695652173913</c:v>
                </c:pt>
                <c:pt idx="7">
                  <c:v>0.125</c:v>
                </c:pt>
                <c:pt idx="8">
                  <c:v>0.17391304347826086</c:v>
                </c:pt>
                <c:pt idx="9">
                  <c:v>0.1111111111111111</c:v>
                </c:pt>
                <c:pt idx="10">
                  <c:v>0.25</c:v>
                </c:pt>
                <c:pt idx="11">
                  <c:v>0.3333333333333333</c:v>
                </c:pt>
                <c:pt idx="12">
                  <c:v>0.29411764705882354</c:v>
                </c:pt>
                <c:pt idx="13">
                  <c:v>0.2222222222222222</c:v>
                </c:pt>
                <c:pt idx="14">
                  <c:v>0.125</c:v>
                </c:pt>
                <c:pt idx="15">
                  <c:v>0.10526315789473684</c:v>
                </c:pt>
                <c:pt idx="16">
                  <c:v>0.2702702702702703</c:v>
                </c:pt>
                <c:pt idx="17">
                  <c:v>0.13513513513513514</c:v>
                </c:pt>
                <c:pt idx="18">
                  <c:v>0.0967741935483871</c:v>
                </c:pt>
                <c:pt idx="19">
                  <c:v>0.06896551724137931</c:v>
                </c:pt>
                <c:pt idx="20">
                  <c:v>0.11538461538461539</c:v>
                </c:pt>
                <c:pt idx="21">
                  <c:v>0.07692307692307693</c:v>
                </c:pt>
                <c:pt idx="22">
                  <c:v>0.15789473684210525</c:v>
                </c:pt>
                <c:pt idx="23">
                  <c:v>0.4166666666666667</c:v>
                </c:pt>
                <c:pt idx="24">
                  <c:v>0.2</c:v>
                </c:pt>
                <c:pt idx="25">
                  <c:v>0.2222222222222222</c:v>
                </c:pt>
                <c:pt idx="26">
                  <c:v>0.16666666666666666</c:v>
                </c:pt>
                <c:pt idx="27">
                  <c:v>0.1875</c:v>
                </c:pt>
                <c:pt idx="28">
                  <c:v>0.10526315789473684</c:v>
                </c:pt>
                <c:pt idx="29">
                  <c:v>0.1</c:v>
                </c:pt>
                <c:pt idx="30">
                  <c:v>0.1</c:v>
                </c:pt>
                <c:pt idx="31">
                  <c:v>0.1</c:v>
                </c:pt>
                <c:pt idx="32">
                  <c:v>0.1</c:v>
                </c:pt>
                <c:pt idx="33">
                  <c:v>0.16666666666666666</c:v>
                </c:pt>
              </c:numCache>
            </c:numRef>
          </c:yVal>
          <c:smooth val="0"/>
          <c:extLst>
            <c:ext xmlns:c16="http://schemas.microsoft.com/office/drawing/2014/chart" uri="{C3380CC4-5D6E-409C-BE32-E72D297353CC}">
              <c16:uniqueId val="{00000000-F32D-48B7-BC20-E66FC6253BAD}"/>
            </c:ext>
          </c:extLst>
        </c:ser>
        <c:ser>
          <c:idx val="1"/>
          <c:order val="1"/>
          <c:tx>
            <c:strRef>
              <c:f>Sheet1!$B$3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8:$A$40</c:f>
              <c:numCache>
                <c:formatCode>General</c:formatCode>
                <c:ptCount val="3"/>
                <c:pt idx="0">
                  <c:v>0.0</c:v>
                </c:pt>
                <c:pt idx="1">
                  <c:v>0.0</c:v>
                </c:pt>
                <c:pt idx="2">
                  <c:v>0.0</c:v>
                </c:pt>
              </c:numCache>
            </c:numRef>
          </c:xVal>
          <c:yVal>
            <c:numRef>
              <c:f>Sheet1!$B$38:$B$40</c:f>
              <c:numCache>
                <c:formatCode>General</c:formatCode>
                <c:ptCount val="3"/>
                <c:pt idx="0">
                  <c:v>0.0</c:v>
                </c:pt>
                <c:pt idx="1">
                  <c:v>0.0</c:v>
                </c:pt>
                <c:pt idx="2">
                  <c:v>0.0</c:v>
                </c:pt>
              </c:numCache>
            </c:numRef>
          </c:yVal>
          <c:smooth val="0"/>
          <c:extLst>
            <c:ext xmlns:c16="http://schemas.microsoft.com/office/drawing/2014/chart" uri="{C3380CC4-5D6E-409C-BE32-E72D297353CC}">
              <c16:uniqueId val="{00000002-F32D-48B7-BC20-E66FC6253BAD}"/>
            </c:ext>
          </c:extLst>
        </c:ser>
        <c:ser>
          <c:idx val="2"/>
          <c:order val="2"/>
          <c:tx>
            <c:strRef>
              <c:f>Sheet1!$B$42</c:f>
              <c:strCache>
                <c:ptCount val="1"/>
                <c:pt idx="0">
                  <c:v>Custom Linep3yQ</c:v>
                </c:pt>
              </c:strCache>
            </c:strRef>
          </c:tx>
          <c:spPr>
            <a:ln w="19050" cap="rnd">
              <a:solidFill>
                <a:srgbClr val="C00000"/>
              </a:solidFill>
              <a:prstDash val="sysDot"/>
              <a:round/>
            </a:ln>
            <a:effectLst/>
          </c:spPr>
          <c:marker>
            <c:symbol val="none"/>
          </c:marker>
          <c:xVal>
            <c:numRef>
              <c:f>Sheet1!$A$43:$A$44</c:f>
              <c:numCache>
                <c:formatCode>General</c:formatCode>
                <c:ptCount val="2"/>
                <c:pt idx="0">
                  <c:v>0</c:v>
                </c:pt>
                <c:pt idx="1">
                  <c:v>0.2157329627379432</c:v>
                </c:pt>
              </c:numCache>
            </c:numRef>
          </c:xVal>
          <c:yVal>
            <c:numRef>
              <c:f>Sheet1!$B$43:$B$44</c:f>
              <c:numCache>
                <c:formatCode>General</c:formatCode>
                <c:ptCount val="2"/>
                <c:pt idx="0">
                  <c:v>0.2157329627379432</c:v>
                </c:pt>
                <c:pt idx="1">
                  <c:v>0.2157329627379432</c:v>
                </c:pt>
              </c:numCache>
            </c:numRef>
          </c:yVal>
          <c:smooth val="0"/>
          <c:extLst>
            <c:ext xmlns:c16="http://schemas.microsoft.com/office/drawing/2014/chart" uri="{C3380CC4-5D6E-409C-BE32-E72D297353CC}">
              <c16:uniqueId val="{00000003-F32D-48B7-BC20-E66FC6253BAD}"/>
            </c:ext>
          </c:extLst>
        </c:ser>
        <c:ser>
          <c:idx val="3"/>
          <c:order val="3"/>
          <c:tx>
            <c:strRef>
              <c:f>Sheet1!$B$4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7:$A$48</c:f>
              <c:numCache>
                <c:formatCode>General</c:formatCode>
                <c:ptCount val="2"/>
                <c:pt idx="0">
                  <c:v>0.2157329627379432</c:v>
                </c:pt>
                <c:pt idx="1">
                  <c:v>0.2157329627379432</c:v>
                </c:pt>
              </c:numCache>
            </c:numRef>
          </c:xVal>
          <c:yVal>
            <c:numRef>
              <c:f>Sheet1!$B$47:$B$48</c:f>
              <c:numCache>
                <c:formatCode>General</c:formatCode>
                <c:ptCount val="2"/>
                <c:pt idx="0">
                  <c:v>0.21573296273794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1:$A$52</c:f>
              <c:numCache>
                <c:formatCode>General</c:formatCode>
                <c:ptCount val="2"/>
                <c:pt idx="0">
                  <c:v>0</c:v>
                </c:pt>
                <c:pt idx="1">
                  <c:v>0.0</c:v>
                </c:pt>
              </c:numCache>
            </c:numRef>
          </c:xVal>
          <c:yVal>
            <c:numRef>
              <c:f>Sheet1!$B$51:$B$52</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5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5:$A$56</c:f>
              <c:numCache>
                <c:formatCode>General</c:formatCode>
                <c:ptCount val="2"/>
                <c:pt idx="0">
                  <c:v>0.0</c:v>
                </c:pt>
                <c:pt idx="1">
                  <c:v>0.0</c:v>
                </c:pt>
              </c:numCache>
            </c:numRef>
          </c:xVal>
          <c:yVal>
            <c:numRef>
              <c:f>Sheet1!$B$55:$B$56</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9:$A$60</c:f>
              <c:numCache>
                <c:formatCode>General</c:formatCode>
                <c:ptCount val="2"/>
                <c:pt idx="0">
                  <c:v>0</c:v>
                </c:pt>
                <c:pt idx="1">
                  <c:v>0.0</c:v>
                </c:pt>
              </c:numCache>
            </c:numRef>
          </c:xVal>
          <c:yVal>
            <c:numRef>
              <c:f>Sheet1!$B$59:$B$6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6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3:$A$64</c:f>
              <c:numCache>
                <c:formatCode>General</c:formatCode>
                <c:ptCount val="2"/>
                <c:pt idx="0">
                  <c:v>0.0</c:v>
                </c:pt>
                <c:pt idx="1">
                  <c:v>0.0</c:v>
                </c:pt>
              </c:numCache>
            </c:numRef>
          </c:xVal>
          <c:yVal>
            <c:numRef>
              <c:f>Sheet1!$B$63:$B$6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7:$A$72</c:f>
              <c:numCache>
                <c:formatCode>General</c:formatCode>
                <c:ptCount val="6"/>
                <c:pt idx="0">
                  <c:v>0.0</c:v>
                </c:pt>
                <c:pt idx="1">
                  <c:v>0.0</c:v>
                </c:pt>
                <c:pt idx="2">
                  <c:v>0.0</c:v>
                </c:pt>
                <c:pt idx="3">
                  <c:v>0.0</c:v>
                </c:pt>
                <c:pt idx="4">
                  <c:v>0.2157329627379432</c:v>
                </c:pt>
                <c:pt idx="5">
                  <c:v>0.0</c:v>
                </c:pt>
              </c:numCache>
            </c:numRef>
          </c:xVal>
          <c:yVal>
            <c:numRef>
              <c:f>Sheet1!$B$67:$B$72</c:f>
              <c:numCache>
                <c:formatCode>General</c:formatCode>
                <c:ptCount val="6"/>
                <c:pt idx="0">
                  <c:v>0.0</c:v>
                </c:pt>
                <c:pt idx="1">
                  <c:v>0.0</c:v>
                </c:pt>
                <c:pt idx="2">
                  <c:v>0.0</c:v>
                </c:pt>
                <c:pt idx="3">
                  <c:v>0.0</c:v>
                </c:pt>
                <c:pt idx="4">
                  <c:v>0.2157329627379432</c:v>
                </c:pt>
                <c:pt idx="5">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4</c:f>
              <c:numCache>
                <c:formatCode>General</c:formatCode>
                <c:ptCount val="3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numCache>
            </c:numRef>
          </c:xVal>
          <c:yVal>
            <c:numRef>
              <c:f>Sheet1!$B$2:$B$34</c:f>
              <c:numCache>
                <c:formatCode>General</c:formatCode>
                <c:ptCount val="33"/>
                <c:pt idx="0">
                  <c:v>0.1</c:v>
                </c:pt>
                <c:pt idx="1">
                  <c:v>0.13043478260869565</c:v>
                </c:pt>
                <c:pt idx="2">
                  <c:v>0.14285714285714285</c:v>
                </c:pt>
                <c:pt idx="3">
                  <c:v>0.06666666666666667</c:v>
                </c:pt>
                <c:pt idx="4">
                  <c:v>0.2702702702702703</c:v>
                </c:pt>
                <c:pt idx="5">
                  <c:v>0.2631578947368421</c:v>
                </c:pt>
                <c:pt idx="6">
                  <c:v>0.2608695652173913</c:v>
                </c:pt>
                <c:pt idx="7">
                  <c:v>0.125</c:v>
                </c:pt>
                <c:pt idx="8">
                  <c:v>0.17391304347826086</c:v>
                </c:pt>
                <c:pt idx="9">
                  <c:v>0.1111111111111111</c:v>
                </c:pt>
                <c:pt idx="10">
                  <c:v>0.25</c:v>
                </c:pt>
                <c:pt idx="11">
                  <c:v>0.3333333333333333</c:v>
                </c:pt>
                <c:pt idx="12">
                  <c:v>0.29411764705882354</c:v>
                </c:pt>
                <c:pt idx="13">
                  <c:v>0.125</c:v>
                </c:pt>
                <c:pt idx="14">
                  <c:v>0.10526315789473684</c:v>
                </c:pt>
                <c:pt idx="15">
                  <c:v>0.2702702702702703</c:v>
                </c:pt>
                <c:pt idx="16">
                  <c:v>0.13513513513513514</c:v>
                </c:pt>
                <c:pt idx="17">
                  <c:v>0.0967741935483871</c:v>
                </c:pt>
                <c:pt idx="18">
                  <c:v>0.06896551724137931</c:v>
                </c:pt>
                <c:pt idx="19">
                  <c:v>0.11538461538461539</c:v>
                </c:pt>
                <c:pt idx="20">
                  <c:v>0.07692307692307693</c:v>
                </c:pt>
                <c:pt idx="21">
                  <c:v>0.16666666666666666</c:v>
                </c:pt>
                <c:pt idx="22">
                  <c:v>0.1875</c:v>
                </c:pt>
                <c:pt idx="23">
                  <c:v>0.10526315789473684</c:v>
                </c:pt>
                <c:pt idx="24">
                  <c:v>0.1</c:v>
                </c:pt>
                <c:pt idx="25">
                  <c:v>0.1</c:v>
                </c:pt>
                <c:pt idx="26">
                  <c:v>0.1</c:v>
                </c:pt>
                <c:pt idx="27">
                  <c:v>0.1</c:v>
                </c:pt>
                <c:pt idx="28">
                  <c:v>0.0</c:v>
                </c:pt>
                <c:pt idx="29">
                  <c:v>1.0</c:v>
                </c:pt>
                <c:pt idx="30">
                  <c:v>0.0</c:v>
                </c:pt>
                <c:pt idx="31">
                  <c:v>0.7142857142857143</c:v>
                </c:pt>
                <c:pt idx="32">
                  <c:v>0.5</c:v>
                </c:pt>
              </c:numCache>
            </c:numRef>
          </c:yVal>
          <c:smooth val="0"/>
          <c:extLst>
            <c:ext xmlns:c16="http://schemas.microsoft.com/office/drawing/2014/chart" uri="{C3380CC4-5D6E-409C-BE32-E72D297353CC}">
              <c16:uniqueId val="{00000000-096C-4121-9522-6AB7243CCAAE}"/>
            </c:ext>
          </c:extLst>
        </c:ser>
        <c:ser>
          <c:idx val="1"/>
          <c:order val="1"/>
          <c:tx>
            <c:strRef>
              <c:f>Sheet1!$B$3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7:$A$36</c:f>
              <c:numCache>
                <c:formatCode>General</c:formatCode>
                <c:ptCount val="0"/>
              </c:numCache>
            </c:numRef>
          </c:xVal>
          <c:yVal>
            <c:numRef>
              <c:f>Sheet1!$B$37:$B$36</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9:$A$40</c:f>
              <c:numCache>
                <c:formatCode>General</c:formatCode>
                <c:ptCount val="2"/>
                <c:pt idx="0">
                  <c:v>0</c:v>
                </c:pt>
                <c:pt idx="1">
                  <c:v>0.5535714285714286</c:v>
                </c:pt>
              </c:numCache>
            </c:numRef>
          </c:xVal>
          <c:yVal>
            <c:numRef>
              <c:f>Sheet1!$B$39:$B$40</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5-096C-4121-9522-6AB7243CCAAE}"/>
            </c:ext>
          </c:extLst>
        </c:ser>
        <c:ser>
          <c:idx val="3"/>
          <c:order val="3"/>
          <c:tx>
            <c:strRef>
              <c:f>Sheet1!$B$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5535714285714286</c:v>
                </c:pt>
                <c:pt idx="1">
                  <c:v>0.5535714285714286</c:v>
                </c:pt>
              </c:numCache>
            </c:numRef>
          </c:xVal>
          <c:yVal>
            <c:numRef>
              <c:f>Sheet1!$B$43:$B$44</c:f>
              <c:numCache>
                <c:formatCode>General</c:formatCode>
                <c:ptCount val="2"/>
                <c:pt idx="0">
                  <c:v>0.55357142857142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7:$A$48</c:f>
              <c:numCache>
                <c:formatCode>General</c:formatCode>
                <c:ptCount val="2"/>
                <c:pt idx="0">
                  <c:v>0</c:v>
                </c:pt>
                <c:pt idx="1">
                  <c:v>0.5535714285714286</c:v>
                </c:pt>
              </c:numCache>
            </c:numRef>
          </c:xVal>
          <c:yVal>
            <c:numRef>
              <c:f>Sheet1!$B$47:$B$48</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D-096C-4121-9522-6AB7243CCAAE}"/>
            </c:ext>
          </c:extLst>
        </c:ser>
        <c:ser>
          <c:idx val="5"/>
          <c:order val="5"/>
          <c:tx>
            <c:strRef>
              <c:f>Sheet1!$B$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1:$A$52</c:f>
              <c:numCache>
                <c:formatCode>General</c:formatCode>
                <c:ptCount val="2"/>
                <c:pt idx="0">
                  <c:v>0.5535714285714286</c:v>
                </c:pt>
                <c:pt idx="1">
                  <c:v>0.5535714285714286</c:v>
                </c:pt>
              </c:numCache>
            </c:numRef>
          </c:xVal>
          <c:yVal>
            <c:numRef>
              <c:f>Sheet1!$B$51:$B$52</c:f>
              <c:numCache>
                <c:formatCode>General</c:formatCode>
                <c:ptCount val="2"/>
                <c:pt idx="0">
                  <c:v>0.55357142857142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5:$A$56</c:f>
              <c:numCache>
                <c:formatCode>General</c:formatCode>
                <c:ptCount val="2"/>
                <c:pt idx="0">
                  <c:v>0</c:v>
                </c:pt>
                <c:pt idx="1">
                  <c:v>0.5535714285714286</c:v>
                </c:pt>
              </c:numCache>
            </c:numRef>
          </c:xVal>
          <c:yVal>
            <c:numRef>
              <c:f>Sheet1!$B$55:$B$56</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15-096C-4121-9522-6AB7243CCAAE}"/>
            </c:ext>
          </c:extLst>
        </c:ser>
        <c:ser>
          <c:idx val="7"/>
          <c:order val="7"/>
          <c:tx>
            <c:strRef>
              <c:f>Sheet1!$B$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5535714285714286</c:v>
                </c:pt>
                <c:pt idx="1">
                  <c:v>0.5535714285714286</c:v>
                </c:pt>
              </c:numCache>
            </c:numRef>
          </c:xVal>
          <c:yVal>
            <c:numRef>
              <c:f>Sheet1!$B$59:$B$60</c:f>
              <c:numCache>
                <c:formatCode>General</c:formatCode>
                <c:ptCount val="2"/>
                <c:pt idx="0">
                  <c:v>0.55357142857142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3:$A$65</c:f>
              <c:numCache>
                <c:formatCode>General</c:formatCode>
                <c:ptCount val="3"/>
                <c:pt idx="0">
                  <c:v>0.5535714285714286</c:v>
                </c:pt>
                <c:pt idx="1">
                  <c:v>0.5535714285714286</c:v>
                </c:pt>
                <c:pt idx="2">
                  <c:v>0.5535714285714286</c:v>
                </c:pt>
              </c:numCache>
            </c:numRef>
          </c:xVal>
          <c:yVal>
            <c:numRef>
              <c:f>Sheet1!$B$63:$B$65</c:f>
              <c:numCache>
                <c:formatCode>General</c:formatCode>
                <c:ptCount val="3"/>
                <c:pt idx="0">
                  <c:v>0.5535714285714286</c:v>
                </c:pt>
                <c:pt idx="1">
                  <c:v>0.5535714285714286</c:v>
                </c:pt>
                <c:pt idx="2">
                  <c:v>0.553571428571428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703.0</c:v>
                </c:pt>
                <c:pt idx="1">
                  <c:v>938.0</c:v>
                </c:pt>
                <c:pt idx="2">
                  <c:v>879.25</c:v>
                </c:pt>
                <c:pt idx="3">
                  <c:v>1054.5</c:v>
                </c:pt>
                <c:pt idx="4">
                  <c:v>1005.6</c:v>
                </c:pt>
                <c:pt idx="5">
                  <c:v>976.6667</c:v>
                </c:pt>
                <c:pt idx="6">
                  <c:v>988.3333</c:v>
                </c:pt>
                <c:pt idx="7">
                  <c:v>1231.0</c:v>
                </c:pt>
                <c:pt idx="8">
                  <c:v>849.25</c:v>
                </c:pt>
                <c:pt idx="9">
                  <c:v>1357.0</c:v>
                </c:pt>
                <c:pt idx="10">
                  <c:v>967.0</c:v>
                </c:pt>
                <c:pt idx="11">
                  <c:v>1035.6</c:v>
                </c:pt>
                <c:pt idx="12">
                  <c:v>964.8</c:v>
                </c:pt>
                <c:pt idx="13">
                  <c:v>1042.5</c:v>
                </c:pt>
                <c:pt idx="14">
                  <c:v>1079.0</c:v>
                </c:pt>
                <c:pt idx="15">
                  <c:v>893.2</c:v>
                </c:pt>
                <c:pt idx="16">
                  <c:v>845.2</c:v>
                </c:pt>
                <c:pt idx="17">
                  <c:v>663.6667</c:v>
                </c:pt>
                <c:pt idx="18">
                  <c:v>1061.0</c:v>
                </c:pt>
                <c:pt idx="19">
                  <c:v>913.0</c:v>
                </c:pt>
                <c:pt idx="20">
                  <c:v>668.0</c:v>
                </c:pt>
                <c:pt idx="21">
                  <c:v>704.5</c:v>
                </c:pt>
                <c:pt idx="22">
                  <c:v>579.0</c:v>
                </c:pt>
                <c:pt idx="23">
                  <c:v>726.5</c:v>
                </c:pt>
                <c:pt idx="24">
                  <c:v>579.0</c:v>
                </c:pt>
                <c:pt idx="25">
                  <c:v>530.0</c:v>
                </c:pt>
                <c:pt idx="26">
                  <c:v>614.0</c:v>
                </c:pt>
                <c:pt idx="27">
                  <c:v>190.0</c:v>
                </c:pt>
              </c:numCache>
            </c:numRef>
          </c:xVal>
          <c:yVal>
            <c:numRef>
              <c:f>Sheet1!$B$2:$B$29</c:f>
              <c:numCache>
                <c:formatCode>General</c:formatCode>
                <c:ptCount val="28"/>
                <c:pt idx="0">
                  <c:v>0.1</c:v>
                </c:pt>
                <c:pt idx="1">
                  <c:v>0.13043478260869565</c:v>
                </c:pt>
                <c:pt idx="2">
                  <c:v>0.14285714285714285</c:v>
                </c:pt>
                <c:pt idx="3">
                  <c:v>0.06666666666666667</c:v>
                </c:pt>
                <c:pt idx="4">
                  <c:v>0.2702702702702703</c:v>
                </c:pt>
                <c:pt idx="5">
                  <c:v>0.2631578947368421</c:v>
                </c:pt>
                <c:pt idx="6">
                  <c:v>0.2608695652173913</c:v>
                </c:pt>
                <c:pt idx="7">
                  <c:v>0.125</c:v>
                </c:pt>
                <c:pt idx="8">
                  <c:v>0.17391304347826086</c:v>
                </c:pt>
                <c:pt idx="9">
                  <c:v>0.1111111111111111</c:v>
                </c:pt>
                <c:pt idx="10">
                  <c:v>0.25</c:v>
                </c:pt>
                <c:pt idx="11">
                  <c:v>0.3333333333333333</c:v>
                </c:pt>
                <c:pt idx="12">
                  <c:v>0.29411764705882354</c:v>
                </c:pt>
                <c:pt idx="13">
                  <c:v>0.125</c:v>
                </c:pt>
                <c:pt idx="14">
                  <c:v>0.10526315789473684</c:v>
                </c:pt>
                <c:pt idx="15">
                  <c:v>0.2702702702702703</c:v>
                </c:pt>
                <c:pt idx="16">
                  <c:v>0.13513513513513514</c:v>
                </c:pt>
                <c:pt idx="17">
                  <c:v>0.0967741935483871</c:v>
                </c:pt>
                <c:pt idx="18">
                  <c:v>0.06896551724137931</c:v>
                </c:pt>
                <c:pt idx="19">
                  <c:v>0.11538461538461539</c:v>
                </c:pt>
                <c:pt idx="20">
                  <c:v>0.07692307692307693</c:v>
                </c:pt>
                <c:pt idx="21">
                  <c:v>0.16666666666666666</c:v>
                </c:pt>
                <c:pt idx="22">
                  <c:v>0.1875</c:v>
                </c:pt>
                <c:pt idx="23">
                  <c:v>0.10526315789473684</c:v>
                </c:pt>
                <c:pt idx="24">
                  <c:v>0.1</c:v>
                </c:pt>
                <c:pt idx="25">
                  <c:v>0.1</c:v>
                </c:pt>
                <c:pt idx="26">
                  <c:v>0.1</c:v>
                </c:pt>
                <c:pt idx="27">
                  <c:v>0.1</c:v>
                </c:pt>
              </c:numCache>
            </c:numRef>
          </c:yVal>
          <c:smooth val="0"/>
          <c:extLst>
            <c:ext xmlns:c16="http://schemas.microsoft.com/office/drawing/2014/chart" uri="{C3380CC4-5D6E-409C-BE32-E72D297353CC}">
              <c16:uniqueId val="{00000000-F32D-48B7-BC20-E66FC6253BAD}"/>
            </c:ext>
          </c:extLst>
        </c:ser>
        <c:ser>
          <c:idx val="1"/>
          <c:order val="1"/>
          <c:tx>
            <c:strRef>
              <c:f>Sheet1!$B$3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2:$A$36</c:f>
              <c:numCache>
                <c:formatCode>General</c:formatCode>
                <c:ptCount val="5"/>
                <c:pt idx="0">
                  <c:v>0.0</c:v>
                </c:pt>
                <c:pt idx="1">
                  <c:v>975.0</c:v>
                </c:pt>
                <c:pt idx="2">
                  <c:v>0.0</c:v>
                </c:pt>
                <c:pt idx="3">
                  <c:v>1267.4</c:v>
                </c:pt>
                <c:pt idx="4">
                  <c:v>975.0</c:v>
                </c:pt>
              </c:numCache>
            </c:numRef>
          </c:xVal>
          <c:yVal>
            <c:numRef>
              <c:f>Sheet1!$B$32:$B$36</c:f>
              <c:numCache>
                <c:formatCode>General</c:formatCode>
                <c:ptCount val="5"/>
                <c:pt idx="0">
                  <c:v>0.0</c:v>
                </c:pt>
                <c:pt idx="1">
                  <c:v>1.0</c:v>
                </c:pt>
                <c:pt idx="2">
                  <c:v>0.0</c:v>
                </c:pt>
                <c:pt idx="3">
                  <c:v>0.7142857142857143</c:v>
                </c:pt>
                <c:pt idx="4">
                  <c:v>0.5</c:v>
                </c:pt>
              </c:numCache>
            </c:numRef>
          </c:yVal>
          <c:smooth val="0"/>
          <c:extLst>
            <c:ext xmlns:c16="http://schemas.microsoft.com/office/drawing/2014/chart" uri="{C3380CC4-5D6E-409C-BE32-E72D297353CC}">
              <c16:uniqueId val="{00000002-F32D-48B7-BC20-E66FC6253BAD}"/>
            </c:ext>
          </c:extLst>
        </c:ser>
        <c:ser>
          <c:idx val="2"/>
          <c:order val="2"/>
          <c:tx>
            <c:strRef>
              <c:f>Sheet1!$B$38</c:f>
              <c:strCache>
                <c:ptCount val="1"/>
                <c:pt idx="0">
                  <c:v>Custom Linep3yQ</c:v>
                </c:pt>
              </c:strCache>
            </c:strRef>
          </c:tx>
          <c:spPr>
            <a:ln w="19050" cap="rnd">
              <a:solidFill>
                <a:srgbClr val="C00000"/>
              </a:solidFill>
              <a:prstDash val="sysDot"/>
              <a:round/>
            </a:ln>
            <a:effectLst/>
          </c:spPr>
          <c:marker>
            <c:symbol val="none"/>
          </c:marker>
          <c:xVal>
            <c:numRef>
              <c:f>Sheet1!$A$39:$A$40</c:f>
              <c:numCache>
                <c:formatCode>General</c:formatCode>
                <c:ptCount val="2"/>
                <c:pt idx="0">
                  <c:v>0</c:v>
                </c:pt>
                <c:pt idx="1">
                  <c:v>812.2301759244671</c:v>
                </c:pt>
              </c:numCache>
            </c:numRef>
          </c:xVal>
          <c:yVal>
            <c:numRef>
              <c:f>Sheet1!$B$39:$B$40</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3-F32D-48B7-BC20-E66FC6253BAD}"/>
            </c:ext>
          </c:extLst>
        </c:ser>
        <c:ser>
          <c:idx val="3"/>
          <c:order val="3"/>
          <c:tx>
            <c:strRef>
              <c:f>Sheet1!$B$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812.2301759244671</c:v>
                </c:pt>
                <c:pt idx="1">
                  <c:v>812.2301759244671</c:v>
                </c:pt>
              </c:numCache>
            </c:numRef>
          </c:xVal>
          <c:yVal>
            <c:numRef>
              <c:f>Sheet1!$B$43:$B$44</c:f>
              <c:numCache>
                <c:formatCode>General</c:formatCode>
                <c:ptCount val="2"/>
                <c:pt idx="0">
                  <c:v>0.55357142857142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7:$A$48</c:f>
              <c:numCache>
                <c:formatCode>General</c:formatCode>
                <c:ptCount val="2"/>
                <c:pt idx="0">
                  <c:v>0</c:v>
                </c:pt>
                <c:pt idx="1">
                  <c:v>812.2301759244671</c:v>
                </c:pt>
              </c:numCache>
            </c:numRef>
          </c:xVal>
          <c:yVal>
            <c:numRef>
              <c:f>Sheet1!$B$47:$B$48</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A-F32D-48B7-BC20-E66FC6253BAD}"/>
            </c:ext>
          </c:extLst>
        </c:ser>
        <c:ser>
          <c:idx val="5"/>
          <c:order val="5"/>
          <c:tx>
            <c:strRef>
              <c:f>Sheet1!$B$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1:$A$52</c:f>
              <c:numCache>
                <c:formatCode>General</c:formatCode>
                <c:ptCount val="2"/>
                <c:pt idx="0">
                  <c:v>812.2301759244671</c:v>
                </c:pt>
                <c:pt idx="1">
                  <c:v>812.2301759244671</c:v>
                </c:pt>
              </c:numCache>
            </c:numRef>
          </c:xVal>
          <c:yVal>
            <c:numRef>
              <c:f>Sheet1!$B$51:$B$52</c:f>
              <c:numCache>
                <c:formatCode>General</c:formatCode>
                <c:ptCount val="2"/>
                <c:pt idx="0">
                  <c:v>0.55357142857142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5:$A$56</c:f>
              <c:numCache>
                <c:formatCode>General</c:formatCode>
                <c:ptCount val="2"/>
                <c:pt idx="0">
                  <c:v>0</c:v>
                </c:pt>
                <c:pt idx="1">
                  <c:v>812.2301759244671</c:v>
                </c:pt>
              </c:numCache>
            </c:numRef>
          </c:xVal>
          <c:yVal>
            <c:numRef>
              <c:f>Sheet1!$B$55:$B$56</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11-F32D-48B7-BC20-E66FC6253BAD}"/>
            </c:ext>
          </c:extLst>
        </c:ser>
        <c:ser>
          <c:idx val="7"/>
          <c:order val="7"/>
          <c:tx>
            <c:strRef>
              <c:f>Sheet1!$B$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812.2301759244671</c:v>
                </c:pt>
                <c:pt idx="1">
                  <c:v>812.2301759244671</c:v>
                </c:pt>
              </c:numCache>
            </c:numRef>
          </c:xVal>
          <c:yVal>
            <c:numRef>
              <c:f>Sheet1!$B$59:$B$60</c:f>
              <c:numCache>
                <c:formatCode>General</c:formatCode>
                <c:ptCount val="2"/>
                <c:pt idx="0">
                  <c:v>0.55357142857142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3:$A$70</c:f>
              <c:numCache>
                <c:formatCode>General</c:formatCode>
                <c:ptCount val="8"/>
                <c:pt idx="0">
                  <c:v>0.0</c:v>
                </c:pt>
                <c:pt idx="1">
                  <c:v>975.0</c:v>
                </c:pt>
                <c:pt idx="2">
                  <c:v>0.0</c:v>
                </c:pt>
                <c:pt idx="3">
                  <c:v>1267.4</c:v>
                </c:pt>
                <c:pt idx="4">
                  <c:v>975.0</c:v>
                </c:pt>
                <c:pt idx="5">
                  <c:v>812.2301759244671</c:v>
                </c:pt>
                <c:pt idx="6">
                  <c:v>812.2301759244671</c:v>
                </c:pt>
                <c:pt idx="7">
                  <c:v>812.2301759244671</c:v>
                </c:pt>
              </c:numCache>
            </c:numRef>
          </c:xVal>
          <c:yVal>
            <c:numRef>
              <c:f>Sheet1!$B$63:$B$70</c:f>
              <c:numCache>
                <c:formatCode>General</c:formatCode>
                <c:ptCount val="8"/>
                <c:pt idx="0">
                  <c:v>0.020680228485706276</c:v>
                </c:pt>
                <c:pt idx="1">
                  <c:v>0.660362101290068</c:v>
                </c:pt>
                <c:pt idx="2">
                  <c:v>0.020680228485706276</c:v>
                </c:pt>
                <c:pt idx="3">
                  <c:v>0.8522010547341659</c:v>
                </c:pt>
                <c:pt idx="4">
                  <c:v>0.660362101290068</c:v>
                </c:pt>
                <c:pt idx="5">
                  <c:v>0.5535714285714286</c:v>
                </c:pt>
                <c:pt idx="6">
                  <c:v>0.5535714285714286</c:v>
                </c:pt>
                <c:pt idx="7">
                  <c:v>0.55357142857142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1.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8</c:f>
              <c:numCache>
                <c:formatCode>General</c:formatCode>
                <c:ptCount val="4"/>
                <c:pt idx="0">
                  <c:v>0.0</c:v>
                </c:pt>
                <c:pt idx="1">
                  <c:v>0.0</c:v>
                </c:pt>
                <c:pt idx="2">
                  <c:v>0.5272046589018303</c:v>
                </c:pt>
                <c:pt idx="3">
                  <c:v>0.5745433117265764</c:v>
                </c:pt>
              </c:numCache>
            </c:numRef>
          </c:xVal>
          <c:yVal>
            <c:numRef>
              <c:f>Sheet1!$B$5:$B$8</c:f>
              <c:numCache>
                <c:formatCode>General</c:formatCode>
                <c:ptCount val="4"/>
                <c:pt idx="0">
                  <c:v>0.0</c:v>
                </c:pt>
                <c:pt idx="1">
                  <c:v>0.0</c:v>
                </c:pt>
                <c:pt idx="2">
                  <c:v>0.7142857142857143</c:v>
                </c:pt>
                <c:pt idx="3">
                  <c:v>0.5</c:v>
                </c:pt>
              </c:numCache>
            </c:numRef>
          </c:yVal>
          <c:smooth val="0"/>
          <c:extLst>
            <c:ext xmlns:c16="http://schemas.microsoft.com/office/drawing/2014/chart" uri="{C3380CC4-5D6E-409C-BE32-E72D297353CC}">
              <c16:uniqueId val="{00000002-096C-4121-9522-6AB7243CCAAE}"/>
            </c:ext>
          </c:extLst>
        </c:ser>
        <c:ser>
          <c:idx val="2"/>
          <c:order val="2"/>
          <c:tx>
            <c:strRef>
              <c:f>Sheet1!$B$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A$12</c:f>
              <c:numCache>
                <c:formatCode>General</c:formatCode>
                <c:ptCount val="2"/>
                <c:pt idx="0">
                  <c:v>0</c:v>
                </c:pt>
                <c:pt idx="1">
                  <c:v>0.5066106807855455</c:v>
                </c:pt>
              </c:numCache>
            </c:numRef>
          </c:xVal>
          <c:yVal>
            <c:numRef>
              <c:f>Sheet1!$B$11:$B$12</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5-096C-4121-9522-6AB7243CCAAE}"/>
            </c:ext>
          </c:extLst>
        </c:ser>
        <c:ser>
          <c:idx val="3"/>
          <c:order val="3"/>
          <c:tx>
            <c:strRef>
              <c:f>Sheet1!$B$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A$16</c:f>
              <c:numCache>
                <c:formatCode>General</c:formatCode>
                <c:ptCount val="2"/>
                <c:pt idx="0">
                  <c:v>0.5066106807855455</c:v>
                </c:pt>
                <c:pt idx="1">
                  <c:v>0.5066106807855455</c:v>
                </c:pt>
              </c:numCache>
            </c:numRef>
          </c:xVal>
          <c:yVal>
            <c:numRef>
              <c:f>Sheet1!$B$15:$B$16</c:f>
              <c:numCache>
                <c:formatCode>General</c:formatCode>
                <c:ptCount val="2"/>
                <c:pt idx="0">
                  <c:v>0.55357142857142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9:$A$20</c:f>
              <c:numCache>
                <c:formatCode>General</c:formatCode>
                <c:ptCount val="2"/>
                <c:pt idx="0">
                  <c:v>0</c:v>
                </c:pt>
                <c:pt idx="1">
                  <c:v>0.5066106807855455</c:v>
                </c:pt>
              </c:numCache>
            </c:numRef>
          </c:xVal>
          <c:yVal>
            <c:numRef>
              <c:f>Sheet1!$B$19:$B$20</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D-096C-4121-9522-6AB7243CCAAE}"/>
            </c:ext>
          </c:extLst>
        </c:ser>
        <c:ser>
          <c:idx val="5"/>
          <c:order val="5"/>
          <c:tx>
            <c:strRef>
              <c:f>Sheet1!$B$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3:$A$24</c:f>
              <c:numCache>
                <c:formatCode>General</c:formatCode>
                <c:ptCount val="2"/>
                <c:pt idx="0">
                  <c:v>0.5066106807855455</c:v>
                </c:pt>
                <c:pt idx="1">
                  <c:v>0.5066106807855455</c:v>
                </c:pt>
              </c:numCache>
            </c:numRef>
          </c:xVal>
          <c:yVal>
            <c:numRef>
              <c:f>Sheet1!$B$23:$B$24</c:f>
              <c:numCache>
                <c:formatCode>General</c:formatCode>
                <c:ptCount val="2"/>
                <c:pt idx="0">
                  <c:v>0.553571428571428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7:$A$28</c:f>
              <c:numCache>
                <c:formatCode>General</c:formatCode>
                <c:ptCount val="2"/>
                <c:pt idx="0">
                  <c:v>0</c:v>
                </c:pt>
                <c:pt idx="1">
                  <c:v>0.40423376175723474</c:v>
                </c:pt>
              </c:numCache>
            </c:numRef>
          </c:xVal>
          <c:yVal>
            <c:numRef>
              <c:f>Sheet1!$B$27:$B$28</c:f>
              <c:numCache>
                <c:formatCode>General</c:formatCode>
                <c:ptCount val="2"/>
                <c:pt idx="0">
                  <c:v>0.4428571428571429</c:v>
                </c:pt>
                <c:pt idx="1">
                  <c:v>0.4428571428571429</c:v>
                </c:pt>
              </c:numCache>
            </c:numRef>
          </c:yVal>
          <c:smooth val="0"/>
          <c:extLst>
            <c:ext xmlns:c16="http://schemas.microsoft.com/office/drawing/2014/chart" uri="{C3380CC4-5D6E-409C-BE32-E72D297353CC}">
              <c16:uniqueId val="{00000015-096C-4121-9522-6AB7243CCAAE}"/>
            </c:ext>
          </c:extLst>
        </c:ser>
        <c:ser>
          <c:idx val="7"/>
          <c:order val="7"/>
          <c:tx>
            <c:strRef>
              <c:f>Sheet1!$B$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1:$A$32</c:f>
              <c:numCache>
                <c:formatCode>General</c:formatCode>
                <c:ptCount val="2"/>
                <c:pt idx="0">
                  <c:v>0.40423376175723474</c:v>
                </c:pt>
                <c:pt idx="1">
                  <c:v>0.40423376175723474</c:v>
                </c:pt>
              </c:numCache>
            </c:numRef>
          </c:xVal>
          <c:yVal>
            <c:numRef>
              <c:f>Sheet1!$B$31:$B$32</c:f>
              <c:numCache>
                <c:formatCode>General</c:formatCode>
                <c:ptCount val="2"/>
                <c:pt idx="0">
                  <c:v>0.442857142857142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5:$A$41</c:f>
              <c:numCache>
                <c:formatCode>General</c:formatCode>
                <c:ptCount val="7"/>
                <c:pt idx="0">
                  <c:v>0.0</c:v>
                </c:pt>
                <c:pt idx="1">
                  <c:v>0.0</c:v>
                </c:pt>
                <c:pt idx="2">
                  <c:v>0.5272046589018303</c:v>
                </c:pt>
                <c:pt idx="3">
                  <c:v>0.5745433117265764</c:v>
                </c:pt>
                <c:pt idx="4">
                  <c:v>0.5066106807855455</c:v>
                </c:pt>
                <c:pt idx="5">
                  <c:v>0.5066106807855455</c:v>
                </c:pt>
                <c:pt idx="6">
                  <c:v>0.40423376175723474</c:v>
                </c:pt>
              </c:numCache>
            </c:numRef>
          </c:xVal>
          <c:yVal>
            <c:numRef>
              <c:f>Sheet1!$B$35:$B$41</c:f>
              <c:numCache>
                <c:formatCode>General</c:formatCode>
                <c:ptCount val="7"/>
                <c:pt idx="0">
                  <c:v>0.0057034111437003696</c:v>
                </c:pt>
                <c:pt idx="1">
                  <c:v>0.0057034111437003696</c:v>
                </c:pt>
                <c:pt idx="2">
                  <c:v>0.5758425381027634</c:v>
                </c:pt>
                <c:pt idx="3">
                  <c:v>0.6270363538955495</c:v>
                </c:pt>
                <c:pt idx="4">
                  <c:v>0.5535714285714286</c:v>
                </c:pt>
                <c:pt idx="5">
                  <c:v>0.5535714285714286</c:v>
                </c:pt>
                <c:pt idx="6">
                  <c:v>0.4428571428571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clipso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8</c:f>
              <c:numCache>
                <c:formatCode>General</c:formatCode>
                <c:ptCount val="5"/>
                <c:pt idx="0">
                  <c:v>0.0</c:v>
                </c:pt>
                <c:pt idx="1">
                  <c:v>975.0</c:v>
                </c:pt>
                <c:pt idx="2">
                  <c:v>0.0</c:v>
                </c:pt>
                <c:pt idx="3">
                  <c:v>1267.4</c:v>
                </c:pt>
                <c:pt idx="4">
                  <c:v>975.0</c:v>
                </c:pt>
              </c:numCache>
            </c:numRef>
          </c:xVal>
          <c:yVal>
            <c:numRef>
              <c:f>Sheet1!$B$4:$B$8</c:f>
              <c:numCache>
                <c:formatCode>General</c:formatCode>
                <c:ptCount val="5"/>
                <c:pt idx="0">
                  <c:v>0.0</c:v>
                </c:pt>
                <c:pt idx="1">
                  <c:v>1.0</c:v>
                </c:pt>
                <c:pt idx="2">
                  <c:v>0.0</c:v>
                </c:pt>
                <c:pt idx="3">
                  <c:v>0.7142857142857143</c:v>
                </c:pt>
                <c:pt idx="4">
                  <c:v>0.5</c:v>
                </c:pt>
              </c:numCache>
            </c:numRef>
          </c:yVal>
          <c:smooth val="0"/>
          <c:extLst>
            <c:ext xmlns:c16="http://schemas.microsoft.com/office/drawing/2014/chart" uri="{C3380CC4-5D6E-409C-BE32-E72D297353CC}">
              <c16:uniqueId val="{00000002-F32D-48B7-BC20-E66FC6253BAD}"/>
            </c:ext>
          </c:extLst>
        </c:ser>
        <c:ser>
          <c:idx val="2"/>
          <c:order val="2"/>
          <c:tx>
            <c:strRef>
              <c:f>Sheet1!$B$10</c:f>
              <c:strCache>
                <c:ptCount val="1"/>
                <c:pt idx="0">
                  <c:v>Custom Linep3yQ</c:v>
                </c:pt>
              </c:strCache>
            </c:strRef>
          </c:tx>
          <c:spPr>
            <a:ln w="19050" cap="rnd">
              <a:solidFill>
                <a:srgbClr val="C00000"/>
              </a:solidFill>
              <a:prstDash val="sysDot"/>
              <a:round/>
            </a:ln>
            <a:effectLst/>
          </c:spPr>
          <c:marker>
            <c:symbol val="none"/>
          </c:marker>
          <c:xVal>
            <c:numRef>
              <c:f>Sheet1!$A$11:$A$12</c:f>
              <c:numCache>
                <c:formatCode>General</c:formatCode>
                <c:ptCount val="2"/>
                <c:pt idx="0">
                  <c:v>0</c:v>
                </c:pt>
                <c:pt idx="1">
                  <c:v>812.2301759244671</c:v>
                </c:pt>
              </c:numCache>
            </c:numRef>
          </c:xVal>
          <c:yVal>
            <c:numRef>
              <c:f>Sheet1!$B$11:$B$12</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3-F32D-48B7-BC20-E66FC6253BAD}"/>
            </c:ext>
          </c:extLst>
        </c:ser>
        <c:ser>
          <c:idx val="3"/>
          <c:order val="3"/>
          <c:tx>
            <c:strRef>
              <c:f>Sheet1!$B$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A$16</c:f>
              <c:numCache>
                <c:formatCode>General</c:formatCode>
                <c:ptCount val="2"/>
                <c:pt idx="0">
                  <c:v>812.2301759244671</c:v>
                </c:pt>
                <c:pt idx="1">
                  <c:v>812.2301759244671</c:v>
                </c:pt>
              </c:numCache>
            </c:numRef>
          </c:xVal>
          <c:yVal>
            <c:numRef>
              <c:f>Sheet1!$B$15:$B$16</c:f>
              <c:numCache>
                <c:formatCode>General</c:formatCode>
                <c:ptCount val="2"/>
                <c:pt idx="0">
                  <c:v>0.55357142857142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9:$A$20</c:f>
              <c:numCache>
                <c:formatCode>General</c:formatCode>
                <c:ptCount val="2"/>
                <c:pt idx="0">
                  <c:v>0</c:v>
                </c:pt>
                <c:pt idx="1">
                  <c:v>812.2301759244671</c:v>
                </c:pt>
              </c:numCache>
            </c:numRef>
          </c:xVal>
          <c:yVal>
            <c:numRef>
              <c:f>Sheet1!$B$19:$B$20</c:f>
              <c:numCache>
                <c:formatCode>General</c:formatCode>
                <c:ptCount val="2"/>
                <c:pt idx="0">
                  <c:v>0.5535714285714286</c:v>
                </c:pt>
                <c:pt idx="1">
                  <c:v>0.5535714285714286</c:v>
                </c:pt>
              </c:numCache>
            </c:numRef>
          </c:yVal>
          <c:smooth val="0"/>
          <c:extLst>
            <c:ext xmlns:c16="http://schemas.microsoft.com/office/drawing/2014/chart" uri="{C3380CC4-5D6E-409C-BE32-E72D297353CC}">
              <c16:uniqueId val="{0000000A-F32D-48B7-BC20-E66FC6253BAD}"/>
            </c:ext>
          </c:extLst>
        </c:ser>
        <c:ser>
          <c:idx val="5"/>
          <c:order val="5"/>
          <c:tx>
            <c:strRef>
              <c:f>Sheet1!$B$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3:$A$24</c:f>
              <c:numCache>
                <c:formatCode>General</c:formatCode>
                <c:ptCount val="2"/>
                <c:pt idx="0">
                  <c:v>812.2301759244671</c:v>
                </c:pt>
                <c:pt idx="1">
                  <c:v>812.2301759244671</c:v>
                </c:pt>
              </c:numCache>
            </c:numRef>
          </c:xVal>
          <c:yVal>
            <c:numRef>
              <c:f>Sheet1!$B$23:$B$24</c:f>
              <c:numCache>
                <c:formatCode>General</c:formatCode>
                <c:ptCount val="2"/>
                <c:pt idx="0">
                  <c:v>0.553571428571428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7:$A$28</c:f>
              <c:numCache>
                <c:formatCode>General</c:formatCode>
                <c:ptCount val="2"/>
                <c:pt idx="0">
                  <c:v>0</c:v>
                </c:pt>
                <c:pt idx="1">
                  <c:v>643.48</c:v>
                </c:pt>
              </c:numCache>
            </c:numRef>
          </c:xVal>
          <c:yVal>
            <c:numRef>
              <c:f>Sheet1!$B$27:$B$28</c:f>
              <c:numCache>
                <c:formatCode>General</c:formatCode>
                <c:ptCount val="2"/>
                <c:pt idx="0">
                  <c:v>0.4428571428571429</c:v>
                </c:pt>
                <c:pt idx="1">
                  <c:v>0.4428571428571429</c:v>
                </c:pt>
              </c:numCache>
            </c:numRef>
          </c:yVal>
          <c:smooth val="0"/>
          <c:extLst>
            <c:ext xmlns:c16="http://schemas.microsoft.com/office/drawing/2014/chart" uri="{C3380CC4-5D6E-409C-BE32-E72D297353CC}">
              <c16:uniqueId val="{00000011-F32D-48B7-BC20-E66FC6253BAD}"/>
            </c:ext>
          </c:extLst>
        </c:ser>
        <c:ser>
          <c:idx val="7"/>
          <c:order val="7"/>
          <c:tx>
            <c:strRef>
              <c:f>Sheet1!$B$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1:$A$32</c:f>
              <c:numCache>
                <c:formatCode>General</c:formatCode>
                <c:ptCount val="2"/>
                <c:pt idx="0">
                  <c:v>643.48</c:v>
                </c:pt>
                <c:pt idx="1">
                  <c:v>643.48</c:v>
                </c:pt>
              </c:numCache>
            </c:numRef>
          </c:xVal>
          <c:yVal>
            <c:numRef>
              <c:f>Sheet1!$B$31:$B$32</c:f>
              <c:numCache>
                <c:formatCode>General</c:formatCode>
                <c:ptCount val="2"/>
                <c:pt idx="0">
                  <c:v>0.442857142857142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5:$A$42</c:f>
              <c:numCache>
                <c:formatCode>General</c:formatCode>
                <c:ptCount val="8"/>
                <c:pt idx="0">
                  <c:v>0.0</c:v>
                </c:pt>
                <c:pt idx="1">
                  <c:v>975.0</c:v>
                </c:pt>
                <c:pt idx="2">
                  <c:v>0.0</c:v>
                </c:pt>
                <c:pt idx="3">
                  <c:v>1267.4</c:v>
                </c:pt>
                <c:pt idx="4">
                  <c:v>975.0</c:v>
                </c:pt>
                <c:pt idx="5">
                  <c:v>812.2301759244671</c:v>
                </c:pt>
                <c:pt idx="6">
                  <c:v>812.2301759244671</c:v>
                </c:pt>
                <c:pt idx="7">
                  <c:v>643.48</c:v>
                </c:pt>
              </c:numCache>
            </c:numRef>
          </c:xVal>
          <c:yVal>
            <c:numRef>
              <c:f>Sheet1!$B$35:$B$42</c:f>
              <c:numCache>
                <c:formatCode>General</c:formatCode>
                <c:ptCount val="8"/>
                <c:pt idx="0">
                  <c:v>0.020680228485706276</c:v>
                </c:pt>
                <c:pt idx="1">
                  <c:v>0.660362101290068</c:v>
                </c:pt>
                <c:pt idx="2">
                  <c:v>0.020680228485706276</c:v>
                </c:pt>
                <c:pt idx="3">
                  <c:v>0.8522010547341659</c:v>
                </c:pt>
                <c:pt idx="4">
                  <c:v>0.660362101290068</c:v>
                </c:pt>
                <c:pt idx="5">
                  <c:v>0.5535714285714286</c:v>
                </c:pt>
                <c:pt idx="6">
                  <c:v>0.5535714285714286</c:v>
                </c:pt>
                <c:pt idx="7">
                  <c:v>0.4428571428571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1</c:f>
              <c:numCache>
                <c:formatCode>General</c:formatCode>
                <c:ptCount val="40"/>
                <c:pt idx="0">
                  <c:v>0.0</c:v>
                </c:pt>
                <c:pt idx="1">
                  <c:v>0.0</c:v>
                </c:pt>
                <c:pt idx="2">
                  <c:v>0.0</c:v>
                </c:pt>
                <c:pt idx="3">
                  <c:v>0.0</c:v>
                </c:pt>
                <c:pt idx="4">
                  <c:v>0.0</c:v>
                </c:pt>
                <c:pt idx="5">
                  <c:v>0.0</c:v>
                </c:pt>
                <c:pt idx="6">
                  <c:v>0.0</c:v>
                </c:pt>
                <c:pt idx="7">
                  <c:v>0.0</c:v>
                </c:pt>
                <c:pt idx="8">
                  <c:v>0.0</c:v>
                </c:pt>
                <c:pt idx="9">
                  <c:v>0.0</c:v>
                </c:pt>
                <c:pt idx="10">
                  <c:v>0.0</c:v>
                </c:pt>
                <c:pt idx="11">
                  <c:v>0.0</c:v>
                </c:pt>
                <c:pt idx="12">
                  <c:v>0.0</c:v>
                </c:pt>
                <c:pt idx="13">
                  <c:v>32.63243333333333</c:v>
                </c:pt>
                <c:pt idx="14">
                  <c:v>0.0</c:v>
                </c:pt>
                <c:pt idx="15">
                  <c:v>0.0</c:v>
                </c:pt>
                <c:pt idx="16">
                  <c:v>0.915405785123967</c:v>
                </c:pt>
                <c:pt idx="17">
                  <c:v>0.0</c:v>
                </c:pt>
                <c:pt idx="18">
                  <c:v>1.1507368421052633</c:v>
                </c:pt>
                <c:pt idx="19">
                  <c:v>0.0</c:v>
                </c:pt>
                <c:pt idx="20">
                  <c:v>1.2702758695652174</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numCache>
            </c:numRef>
          </c:xVal>
          <c:yVal>
            <c:numRef>
              <c:f>Sheet1!$B$2:$B$41</c:f>
              <c:numCache>
                <c:formatCode>General</c:formatCode>
                <c:ptCount val="40"/>
                <c:pt idx="0">
                  <c:v>0.6396396396396397</c:v>
                </c:pt>
                <c:pt idx="1">
                  <c:v>0.6068376068376068</c:v>
                </c:pt>
                <c:pt idx="2">
                  <c:v>0.5447761194029851</c:v>
                </c:pt>
                <c:pt idx="3">
                  <c:v>0.5471698113207547</c:v>
                </c:pt>
                <c:pt idx="4">
                  <c:v>0.5686274509803921</c:v>
                </c:pt>
                <c:pt idx="5">
                  <c:v>0.4</c:v>
                </c:pt>
                <c:pt idx="6">
                  <c:v>0.5428571428571428</c:v>
                </c:pt>
                <c:pt idx="7">
                  <c:v>0.5084745762711864</c:v>
                </c:pt>
                <c:pt idx="8">
                  <c:v>0.44680851063829785</c:v>
                </c:pt>
                <c:pt idx="9">
                  <c:v>0.46788990825688076</c:v>
                </c:pt>
                <c:pt idx="10">
                  <c:v>0.5230769230769231</c:v>
                </c:pt>
                <c:pt idx="11">
                  <c:v>0.4642857142857143</c:v>
                </c:pt>
                <c:pt idx="12">
                  <c:v>0.4588235294117647</c:v>
                </c:pt>
                <c:pt idx="13">
                  <c:v>0.4567901234567901</c:v>
                </c:pt>
                <c:pt idx="14">
                  <c:v>0.5681818181818182</c:v>
                </c:pt>
                <c:pt idx="15">
                  <c:v>0.5168539325842697</c:v>
                </c:pt>
                <c:pt idx="16">
                  <c:v>0.47560975609756095</c:v>
                </c:pt>
                <c:pt idx="17">
                  <c:v>0.43373493975903615</c:v>
                </c:pt>
                <c:pt idx="18">
                  <c:v>0.3968253968253968</c:v>
                </c:pt>
                <c:pt idx="19">
                  <c:v>0.375</c:v>
                </c:pt>
                <c:pt idx="20">
                  <c:v>0.41935483870967744</c:v>
                </c:pt>
                <c:pt idx="21">
                  <c:v>0.4107142857142857</c:v>
                </c:pt>
                <c:pt idx="22">
                  <c:v>0.4307692307692308</c:v>
                </c:pt>
                <c:pt idx="23">
                  <c:v>0.3835616438356164</c:v>
                </c:pt>
                <c:pt idx="24">
                  <c:v>0.49206349206349204</c:v>
                </c:pt>
                <c:pt idx="25">
                  <c:v>0.45454545454545453</c:v>
                </c:pt>
                <c:pt idx="26">
                  <c:v>0.475</c:v>
                </c:pt>
                <c:pt idx="27">
                  <c:v>0.4852941176470588</c:v>
                </c:pt>
                <c:pt idx="28">
                  <c:v>0.43103448275862066</c:v>
                </c:pt>
                <c:pt idx="29">
                  <c:v>0.36585365853658536</c:v>
                </c:pt>
                <c:pt idx="30">
                  <c:v>0.4772727272727273</c:v>
                </c:pt>
                <c:pt idx="31">
                  <c:v>0.5</c:v>
                </c:pt>
                <c:pt idx="32">
                  <c:v>0.4166666666666667</c:v>
                </c:pt>
                <c:pt idx="33">
                  <c:v>0.358974358974359</c:v>
                </c:pt>
                <c:pt idx="34">
                  <c:v>0.3541666666666667</c:v>
                </c:pt>
                <c:pt idx="35">
                  <c:v>0.3684210526315789</c:v>
                </c:pt>
                <c:pt idx="36">
                  <c:v>0.3137254901960784</c:v>
                </c:pt>
                <c:pt idx="37">
                  <c:v>0.37209302325581395</c:v>
                </c:pt>
                <c:pt idx="38">
                  <c:v>0.41025641025641024</c:v>
                </c:pt>
                <c:pt idx="39">
                  <c:v>0.38235294117647056</c:v>
                </c:pt>
              </c:numCache>
            </c:numRef>
          </c:yVal>
          <c:smooth val="0"/>
          <c:extLst>
            <c:ext xmlns:c16="http://schemas.microsoft.com/office/drawing/2014/chart" uri="{C3380CC4-5D6E-409C-BE32-E72D297353CC}">
              <c16:uniqueId val="{00000000-096C-4121-9522-6AB7243CCAAE}"/>
            </c:ext>
          </c:extLst>
        </c:ser>
        <c:ser>
          <c:idx val="1"/>
          <c:order val="1"/>
          <c:tx>
            <c:strRef>
              <c:f>Sheet1!$B$4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4:$A$75</c:f>
              <c:numCache>
                <c:formatCode>General</c:formatCode>
                <c:ptCount val="32"/>
                <c:pt idx="0">
                  <c:v>0.9663076222038111</c:v>
                </c:pt>
                <c:pt idx="1">
                  <c:v>0.7532232240437159</c:v>
                </c:pt>
                <c:pt idx="2">
                  <c:v>0.6742811032863849</c:v>
                </c:pt>
                <c:pt idx="3">
                  <c:v>0.7356756756756756</c:v>
                </c:pt>
                <c:pt idx="4">
                  <c:v>0.5523143356643357</c:v>
                </c:pt>
                <c:pt idx="5">
                  <c:v>0.6517356894553882</c:v>
                </c:pt>
                <c:pt idx="6">
                  <c:v>1.1274696842105263</c:v>
                </c:pt>
                <c:pt idx="7">
                  <c:v>0.8580935562805873</c:v>
                </c:pt>
                <c:pt idx="8">
                  <c:v>0.612711800486618</c:v>
                </c:pt>
                <c:pt idx="9">
                  <c:v>0.9471007121057986</c:v>
                </c:pt>
                <c:pt idx="10">
                  <c:v>0.7183672572178478</c:v>
                </c:pt>
                <c:pt idx="11">
                  <c:v>0.6448408018867925</c:v>
                </c:pt>
                <c:pt idx="12">
                  <c:v>1.0632919130434781</c:v>
                </c:pt>
                <c:pt idx="13">
                  <c:v>1.0900984317343174</c:v>
                </c:pt>
                <c:pt idx="14">
                  <c:v>0.92074</c:v>
                </c:pt>
                <c:pt idx="15">
                  <c:v>1.3879191588785047</c:v>
                </c:pt>
                <c:pt idx="16">
                  <c:v>1.286854391307944</c:v>
                </c:pt>
                <c:pt idx="17">
                  <c:v>0.9690923317683882</c:v>
                </c:pt>
                <c:pt idx="18">
                  <c:v>0.7713698140200286</c:v>
                </c:pt>
                <c:pt idx="19">
                  <c:v>1.0489910760126564</c:v>
                </c:pt>
                <c:pt idx="20">
                  <c:v>0.9373222748815166</c:v>
                </c:pt>
                <c:pt idx="21">
                  <c:v>0.9575072199301808</c:v>
                </c:pt>
                <c:pt idx="22">
                  <c:v>1.0176511823698944</c:v>
                </c:pt>
                <c:pt idx="23">
                  <c:v>1.1226802708803612</c:v>
                </c:pt>
                <c:pt idx="24">
                  <c:v>0.8492703949477932</c:v>
                </c:pt>
                <c:pt idx="25">
                  <c:v>0.7727506663113007</c:v>
                </c:pt>
                <c:pt idx="26">
                  <c:v>0.8745032453976086</c:v>
                </c:pt>
                <c:pt idx="27">
                  <c:v>0.8806211746522411</c:v>
                </c:pt>
                <c:pt idx="28">
                  <c:v>0.8703559625876851</c:v>
                </c:pt>
                <c:pt idx="29">
                  <c:v>0.9402127634018376</c:v>
                </c:pt>
                <c:pt idx="30">
                  <c:v>0.8073800039716207</c:v>
                </c:pt>
                <c:pt idx="31">
                  <c:v>0.8160511513157895</c:v>
                </c:pt>
              </c:numCache>
            </c:numRef>
          </c:xVal>
          <c:yVal>
            <c:numRef>
              <c:f>Sheet1!$B$44:$B$75</c:f>
              <c:numCache>
                <c:formatCode>General</c:formatCode>
                <c:ptCount val="32"/>
                <c:pt idx="0">
                  <c:v>0.421875</c:v>
                </c:pt>
                <c:pt idx="1">
                  <c:v>0.49230769230769234</c:v>
                </c:pt>
                <c:pt idx="2">
                  <c:v>0.49382716049382713</c:v>
                </c:pt>
                <c:pt idx="3">
                  <c:v>0.4945054945054945</c:v>
                </c:pt>
                <c:pt idx="4">
                  <c:v>0.4838709677419355</c:v>
                </c:pt>
                <c:pt idx="5">
                  <c:v>0.46153846153846156</c:v>
                </c:pt>
                <c:pt idx="6">
                  <c:v>0.4727272727272727</c:v>
                </c:pt>
                <c:pt idx="7">
                  <c:v>0.43564356435643564</c:v>
                </c:pt>
                <c:pt idx="8">
                  <c:v>0.4789915966386555</c:v>
                </c:pt>
                <c:pt idx="9">
                  <c:v>0.42857142857142855</c:v>
                </c:pt>
                <c:pt idx="10">
                  <c:v>0.4897959183673469</c:v>
                </c:pt>
                <c:pt idx="11">
                  <c:v>0.425531914893617</c:v>
                </c:pt>
                <c:pt idx="12">
                  <c:v>0.358974358974359</c:v>
                </c:pt>
                <c:pt idx="13">
                  <c:v>0.34285714285714286</c:v>
                </c:pt>
                <c:pt idx="14">
                  <c:v>0.3170731707317073</c:v>
                </c:pt>
                <c:pt idx="15">
                  <c:v>0.3333333333333333</c:v>
                </c:pt>
                <c:pt idx="16">
                  <c:v>0.42857142857142855</c:v>
                </c:pt>
                <c:pt idx="17">
                  <c:v>0.40625</c:v>
                </c:pt>
                <c:pt idx="18">
                  <c:v>0.43243243243243246</c:v>
                </c:pt>
                <c:pt idx="19">
                  <c:v>0.3728813559322034</c:v>
                </c:pt>
                <c:pt idx="20">
                  <c:v>0.36363636363636365</c:v>
                </c:pt>
                <c:pt idx="21">
                  <c:v>0.3584905660377358</c:v>
                </c:pt>
                <c:pt idx="22">
                  <c:v>0.37142857142857144</c:v>
                </c:pt>
                <c:pt idx="23">
                  <c:v>0.3064516129032258</c:v>
                </c:pt>
                <c:pt idx="24">
                  <c:v>0.4025974025974026</c:v>
                </c:pt>
                <c:pt idx="25">
                  <c:v>0.4574468085106383</c:v>
                </c:pt>
                <c:pt idx="26">
                  <c:v>0.375</c:v>
                </c:pt>
                <c:pt idx="27">
                  <c:v>0.4375</c:v>
                </c:pt>
                <c:pt idx="28">
                  <c:v>0.4090909090909091</c:v>
                </c:pt>
                <c:pt idx="29">
                  <c:v>0.44715447154471544</c:v>
                </c:pt>
                <c:pt idx="30">
                  <c:v>0.47540983606557374</c:v>
                </c:pt>
                <c:pt idx="31">
                  <c:v>0.4489795918367347</c:v>
                </c:pt>
              </c:numCache>
            </c:numRef>
          </c:yVal>
          <c:smooth val="0"/>
          <c:extLst>
            <c:ext xmlns:c16="http://schemas.microsoft.com/office/drawing/2014/chart" uri="{C3380CC4-5D6E-409C-BE32-E72D297353CC}">
              <c16:uniqueId val="{00000002-096C-4121-9522-6AB7243CCAAE}"/>
            </c:ext>
          </c:extLst>
        </c:ser>
        <c:ser>
          <c:idx val="2"/>
          <c:order val="2"/>
          <c:tx>
            <c:strRef>
              <c:f>Sheet1!$B$7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8:$A$79</c:f>
              <c:numCache>
                <c:formatCode>General</c:formatCode>
                <c:ptCount val="2"/>
                <c:pt idx="0">
                  <c:v>0</c:v>
                </c:pt>
                <c:pt idx="1">
                  <c:v>-0.26818995109664745</c:v>
                </c:pt>
              </c:numCache>
            </c:numRef>
          </c:xVal>
          <c:yVal>
            <c:numRef>
              <c:f>Sheet1!$B$78:$B$79</c:f>
              <c:numCache>
                <c:formatCode>General</c:formatCode>
                <c:ptCount val="2"/>
                <c:pt idx="0">
                  <c:v>0.6396396396396397</c:v>
                </c:pt>
                <c:pt idx="1">
                  <c:v>0.6396396396396397</c:v>
                </c:pt>
              </c:numCache>
            </c:numRef>
          </c:yVal>
          <c:smooth val="0"/>
          <c:extLst>
            <c:ext xmlns:c16="http://schemas.microsoft.com/office/drawing/2014/chart" uri="{C3380CC4-5D6E-409C-BE32-E72D297353CC}">
              <c16:uniqueId val="{00000005-096C-4121-9522-6AB7243CCAAE}"/>
            </c:ext>
          </c:extLst>
        </c:ser>
        <c:ser>
          <c:idx val="3"/>
          <c:order val="3"/>
          <c:tx>
            <c:strRef>
              <c:f>Sheet1!$B$8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0.26818995109664745</c:v>
                </c:pt>
                <c:pt idx="1">
                  <c:v>-0.26818995109664745</c:v>
                </c:pt>
              </c:numCache>
            </c:numRef>
          </c:xVal>
          <c:yVal>
            <c:numRef>
              <c:f>Sheet1!$B$82:$B$83</c:f>
              <c:numCache>
                <c:formatCode>General</c:formatCode>
                <c:ptCount val="2"/>
                <c:pt idx="0">
                  <c:v>0.63963963963963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6:$A$87</c:f>
              <c:numCache>
                <c:formatCode>General</c:formatCode>
                <c:ptCount val="2"/>
                <c:pt idx="0">
                  <c:v>0</c:v>
                </c:pt>
                <c:pt idx="1">
                  <c:v>0.7021932634635968</c:v>
                </c:pt>
              </c:numCache>
            </c:numRef>
          </c:xVal>
          <c:yVal>
            <c:numRef>
              <c:f>Sheet1!$B$86:$B$87</c:f>
              <c:numCache>
                <c:formatCode>General</c:formatCode>
                <c:ptCount val="2"/>
                <c:pt idx="0">
                  <c:v>0.45594388527017493</c:v>
                </c:pt>
                <c:pt idx="1">
                  <c:v>0.45594388527017493</c:v>
                </c:pt>
              </c:numCache>
            </c:numRef>
          </c:yVal>
          <c:smooth val="0"/>
          <c:extLst>
            <c:ext xmlns:c16="http://schemas.microsoft.com/office/drawing/2014/chart" uri="{C3380CC4-5D6E-409C-BE32-E72D297353CC}">
              <c16:uniqueId val="{0000000D-096C-4121-9522-6AB7243CCAAE}"/>
            </c:ext>
          </c:extLst>
        </c:ser>
        <c:ser>
          <c:idx val="5"/>
          <c:order val="5"/>
          <c:tx>
            <c:strRef>
              <c:f>Sheet1!$B$8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0:$A$91</c:f>
              <c:numCache>
                <c:formatCode>General</c:formatCode>
                <c:ptCount val="2"/>
                <c:pt idx="0">
                  <c:v>0.7021932634635968</c:v>
                </c:pt>
                <c:pt idx="1">
                  <c:v>0.7021932634635968</c:v>
                </c:pt>
              </c:numCache>
            </c:numRef>
          </c:xVal>
          <c:yVal>
            <c:numRef>
              <c:f>Sheet1!$B$90:$B$91</c:f>
              <c:numCache>
                <c:formatCode>General</c:formatCode>
                <c:ptCount val="2"/>
                <c:pt idx="0">
                  <c:v>0.455943885270174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4:$A$95</c:f>
              <c:numCache>
                <c:formatCode>General</c:formatCode>
                <c:ptCount val="2"/>
                <c:pt idx="0">
                  <c:v>0</c:v>
                </c:pt>
                <c:pt idx="1">
                  <c:v>0.9871274647099366</c:v>
                </c:pt>
              </c:numCache>
            </c:numRef>
          </c:xVal>
          <c:yVal>
            <c:numRef>
              <c:f>Sheet1!$B$94:$B$95</c:f>
              <c:numCache>
                <c:formatCode>General</c:formatCode>
                <c:ptCount val="2"/>
                <c:pt idx="0">
                  <c:v>0.40200519150646724</c:v>
                </c:pt>
                <c:pt idx="1">
                  <c:v>0.40200519150646724</c:v>
                </c:pt>
              </c:numCache>
            </c:numRef>
          </c:yVal>
          <c:smooth val="0"/>
          <c:extLst>
            <c:ext xmlns:c16="http://schemas.microsoft.com/office/drawing/2014/chart" uri="{C3380CC4-5D6E-409C-BE32-E72D297353CC}">
              <c16:uniqueId val="{00000015-096C-4121-9522-6AB7243CCAAE}"/>
            </c:ext>
          </c:extLst>
        </c:ser>
        <c:ser>
          <c:idx val="7"/>
          <c:order val="7"/>
          <c:tx>
            <c:strRef>
              <c:f>Sheet1!$B$9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8:$A$99</c:f>
              <c:numCache>
                <c:formatCode>General</c:formatCode>
                <c:ptCount val="2"/>
                <c:pt idx="0">
                  <c:v>0.9871274647099366</c:v>
                </c:pt>
                <c:pt idx="1">
                  <c:v>0.9871274647099366</c:v>
                </c:pt>
              </c:numCache>
            </c:numRef>
          </c:xVal>
          <c:yVal>
            <c:numRef>
              <c:f>Sheet1!$B$98:$B$99</c:f>
              <c:numCache>
                <c:formatCode>General</c:formatCode>
                <c:ptCount val="2"/>
                <c:pt idx="0">
                  <c:v>0.402005191506467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2:$A$136</c:f>
              <c:numCache>
                <c:formatCode>General</c:formatCode>
                <c:ptCount val="35"/>
                <c:pt idx="0">
                  <c:v>0.9663076222038111</c:v>
                </c:pt>
                <c:pt idx="1">
                  <c:v>0.7532232240437159</c:v>
                </c:pt>
                <c:pt idx="2">
                  <c:v>0.6742811032863849</c:v>
                </c:pt>
                <c:pt idx="3">
                  <c:v>0.7356756756756756</c:v>
                </c:pt>
                <c:pt idx="4">
                  <c:v>0.5523143356643357</c:v>
                </c:pt>
                <c:pt idx="5">
                  <c:v>0.6517356894553882</c:v>
                </c:pt>
                <c:pt idx="6">
                  <c:v>1.1274696842105263</c:v>
                </c:pt>
                <c:pt idx="7">
                  <c:v>0.8580935562805873</c:v>
                </c:pt>
                <c:pt idx="8">
                  <c:v>0.612711800486618</c:v>
                </c:pt>
                <c:pt idx="9">
                  <c:v>0.9471007121057986</c:v>
                </c:pt>
                <c:pt idx="10">
                  <c:v>0.7183672572178478</c:v>
                </c:pt>
                <c:pt idx="11">
                  <c:v>0.6448408018867925</c:v>
                </c:pt>
                <c:pt idx="12">
                  <c:v>1.0632919130434781</c:v>
                </c:pt>
                <c:pt idx="13">
                  <c:v>1.0900984317343174</c:v>
                </c:pt>
                <c:pt idx="14">
                  <c:v>0.92074</c:v>
                </c:pt>
                <c:pt idx="15">
                  <c:v>1.3879191588785047</c:v>
                </c:pt>
                <c:pt idx="16">
                  <c:v>1.286854391307944</c:v>
                </c:pt>
                <c:pt idx="17">
                  <c:v>0.9690923317683882</c:v>
                </c:pt>
                <c:pt idx="18">
                  <c:v>0.7713698140200286</c:v>
                </c:pt>
                <c:pt idx="19">
                  <c:v>1.0489910760126564</c:v>
                </c:pt>
                <c:pt idx="20">
                  <c:v>0.9373222748815166</c:v>
                </c:pt>
                <c:pt idx="21">
                  <c:v>0.9575072199301808</c:v>
                </c:pt>
                <c:pt idx="22">
                  <c:v>1.0176511823698944</c:v>
                </c:pt>
                <c:pt idx="23">
                  <c:v>1.1226802708803612</c:v>
                </c:pt>
                <c:pt idx="24">
                  <c:v>0.8492703949477932</c:v>
                </c:pt>
                <c:pt idx="25">
                  <c:v>0.7727506663113007</c:v>
                </c:pt>
                <c:pt idx="26">
                  <c:v>0.8745032453976086</c:v>
                </c:pt>
                <c:pt idx="27">
                  <c:v>0.8806211746522411</c:v>
                </c:pt>
                <c:pt idx="28">
                  <c:v>0.8703559625876851</c:v>
                </c:pt>
                <c:pt idx="29">
                  <c:v>0.9402127634018376</c:v>
                </c:pt>
                <c:pt idx="30">
                  <c:v>0.8073800039716207</c:v>
                </c:pt>
                <c:pt idx="31">
                  <c:v>0.8160511513157895</c:v>
                </c:pt>
                <c:pt idx="32">
                  <c:v>0.7021932634635968</c:v>
                </c:pt>
                <c:pt idx="33">
                  <c:v>-0.26818995109664745</c:v>
                </c:pt>
                <c:pt idx="34">
                  <c:v>0.9871274647099366</c:v>
                </c:pt>
              </c:numCache>
            </c:numRef>
          </c:xVal>
          <c:yVal>
            <c:numRef>
              <c:f>Sheet1!$B$102:$B$136</c:f>
              <c:numCache>
                <c:formatCode>General</c:formatCode>
                <c:ptCount val="35"/>
                <c:pt idx="0">
                  <c:v>0.40594643514880435</c:v>
                </c:pt>
                <c:pt idx="1">
                  <c:v>0.4462837974166798</c:v>
                </c:pt>
                <c:pt idx="2">
                  <c:v>0.46122772081359775</c:v>
                </c:pt>
                <c:pt idx="3">
                  <c:v>0.44960558831993913</c:v>
                </c:pt>
                <c:pt idx="4">
                  <c:v>0.48431630793068925</c:v>
                </c:pt>
                <c:pt idx="5">
                  <c:v>0.4654956190409321</c:v>
                </c:pt>
                <c:pt idx="6">
                  <c:v>0.37543808946448803</c:v>
                </c:pt>
                <c:pt idx="7">
                  <c:v>0.4264316044869426</c:v>
                </c:pt>
                <c:pt idx="8">
                  <c:v>0.47288293017223304</c:v>
                </c:pt>
                <c:pt idx="9">
                  <c:v>0.4095823470098311</c:v>
                </c:pt>
                <c:pt idx="10">
                  <c:v>0.45288211138613205</c:v>
                </c:pt>
                <c:pt idx="11">
                  <c:v>0.4668008369736019</c:v>
                </c:pt>
                <c:pt idx="12">
                  <c:v>0.38758708783068957</c:v>
                </c:pt>
                <c:pt idx="13">
                  <c:v>0.38251255274079266</c:v>
                </c:pt>
                <c:pt idx="14">
                  <c:v>0.41457248989702583</c:v>
                </c:pt>
                <c:pt idx="15">
                  <c:v>0.3261344102515838</c:v>
                </c:pt>
                <c:pt idx="16">
                  <c:v>0.3452662011157344</c:v>
                </c:pt>
                <c:pt idx="17">
                  <c:v>0.4054192832808728</c:v>
                </c:pt>
                <c:pt idx="18">
                  <c:v>0.44284860657154257</c:v>
                </c:pt>
                <c:pt idx="19">
                  <c:v>0.3902942688773878</c:v>
                </c:pt>
                <c:pt idx="20">
                  <c:v>0.4114334274649717</c:v>
                </c:pt>
                <c:pt idx="21">
                  <c:v>0.40761237135849226</c:v>
                </c:pt>
                <c:pt idx="22">
                  <c:v>0.3962269821788796</c:v>
                </c:pt>
                <c:pt idx="23">
                  <c:v>0.37634473632468807</c:v>
                </c:pt>
                <c:pt idx="24">
                  <c:v>0.4281018490384063</c:v>
                </c:pt>
                <c:pt idx="25">
                  <c:v>0.4425872080853446</c:v>
                </c:pt>
                <c:pt idx="26">
                  <c:v>0.42332521293349257</c:v>
                </c:pt>
                <c:pt idx="27">
                  <c:v>0.4221670749806241</c:v>
                </c:pt>
                <c:pt idx="28">
                  <c:v>0.4241103030225639</c:v>
                </c:pt>
                <c:pt idx="29">
                  <c:v>0.41088625139960944</c:v>
                </c:pt>
                <c:pt idx="30">
                  <c:v>0.43603179553350013</c:v>
                </c:pt>
                <c:pt idx="31">
                  <c:v>0.4343903275765778</c:v>
                </c:pt>
                <c:pt idx="32">
                  <c:v>0.45594388527017493</c:v>
                </c:pt>
                <c:pt idx="33">
                  <c:v>0.6396396396396397</c:v>
                </c:pt>
                <c:pt idx="34">
                  <c:v>0.402005191506467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75675675675676"/>
          <c:min val="0.245161290322580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2</c:f>
              <c:numCache>
                <c:formatCode>General</c:formatCode>
                <c:ptCount val="21"/>
                <c:pt idx="0">
                  <c:v>772.3521</c:v>
                </c:pt>
                <c:pt idx="1">
                  <c:v>749.7606</c:v>
                </c:pt>
                <c:pt idx="2">
                  <c:v>816.8219</c:v>
                </c:pt>
                <c:pt idx="3">
                  <c:v>863.2414</c:v>
                </c:pt>
                <c:pt idx="4">
                  <c:v>889.6897</c:v>
                </c:pt>
                <c:pt idx="5">
                  <c:v>882.1111</c:v>
                </c:pt>
                <c:pt idx="6">
                  <c:v>776.3684</c:v>
                </c:pt>
                <c:pt idx="7">
                  <c:v>783.3333</c:v>
                </c:pt>
                <c:pt idx="8">
                  <c:v>966.3333</c:v>
                </c:pt>
                <c:pt idx="9">
                  <c:v>971.0784</c:v>
                </c:pt>
                <c:pt idx="10">
                  <c:v>939.2794</c:v>
                </c:pt>
                <c:pt idx="11">
                  <c:v>985.2051</c:v>
                </c:pt>
                <c:pt idx="12">
                  <c:v>995.1795</c:v>
                </c:pt>
                <c:pt idx="13">
                  <c:v>978.973</c:v>
                </c:pt>
                <c:pt idx="14">
                  <c:v>911.86</c:v>
                </c:pt>
                <c:pt idx="15">
                  <c:v>888.3043</c:v>
                </c:pt>
                <c:pt idx="16">
                  <c:v>1107.641</c:v>
                </c:pt>
                <c:pt idx="17">
                  <c:v>1076.7778</c:v>
                </c:pt>
                <c:pt idx="18">
                  <c:v>1093.2</c:v>
                </c:pt>
                <c:pt idx="19">
                  <c:v>1173.5417</c:v>
                </c:pt>
                <c:pt idx="20">
                  <c:v>1168.6538</c:v>
                </c:pt>
              </c:numCache>
            </c:numRef>
          </c:xVal>
          <c:yVal>
            <c:numRef>
              <c:f>Sheet1!$B$2:$B$22</c:f>
              <c:numCache>
                <c:formatCode>General</c:formatCode>
                <c:ptCount val="21"/>
                <c:pt idx="0">
                  <c:v>0.6396396396396397</c:v>
                </c:pt>
                <c:pt idx="1">
                  <c:v>0.6068376068376068</c:v>
                </c:pt>
                <c:pt idx="2">
                  <c:v>0.5447761194029851</c:v>
                </c:pt>
                <c:pt idx="3">
                  <c:v>0.5471698113207547</c:v>
                </c:pt>
                <c:pt idx="4">
                  <c:v>0.5686274509803921</c:v>
                </c:pt>
                <c:pt idx="5">
                  <c:v>0.4</c:v>
                </c:pt>
                <c:pt idx="6">
                  <c:v>0.5428571428571428</c:v>
                </c:pt>
                <c:pt idx="7">
                  <c:v>0.5084745762711864</c:v>
                </c:pt>
                <c:pt idx="8">
                  <c:v>0.44680851063829785</c:v>
                </c:pt>
                <c:pt idx="9">
                  <c:v>0.46788990825688076</c:v>
                </c:pt>
                <c:pt idx="10">
                  <c:v>0.5230769230769231</c:v>
                </c:pt>
                <c:pt idx="11">
                  <c:v>0.4642857142857143</c:v>
                </c:pt>
                <c:pt idx="12">
                  <c:v>0.4588235294117647</c:v>
                </c:pt>
                <c:pt idx="13">
                  <c:v>0.4567901234567901</c:v>
                </c:pt>
                <c:pt idx="14">
                  <c:v>0.5681818181818182</c:v>
                </c:pt>
                <c:pt idx="15">
                  <c:v>0.5168539325842697</c:v>
                </c:pt>
                <c:pt idx="16">
                  <c:v>0.47560975609756095</c:v>
                </c:pt>
                <c:pt idx="17">
                  <c:v>0.43373493975903615</c:v>
                </c:pt>
                <c:pt idx="18">
                  <c:v>0.3968253968253968</c:v>
                </c:pt>
                <c:pt idx="19">
                  <c:v>0.375</c:v>
                </c:pt>
                <c:pt idx="20">
                  <c:v>0.41935483870967744</c:v>
                </c:pt>
              </c:numCache>
            </c:numRef>
          </c:yVal>
          <c:smooth val="0"/>
          <c:extLst>
            <c:ext xmlns:c16="http://schemas.microsoft.com/office/drawing/2014/chart" uri="{C3380CC4-5D6E-409C-BE32-E72D297353CC}">
              <c16:uniqueId val="{00000000-F32D-48B7-BC20-E66FC6253BAD}"/>
            </c:ext>
          </c:extLst>
        </c:ser>
        <c:ser>
          <c:idx val="1"/>
          <c:order val="1"/>
          <c:tx>
            <c:strRef>
              <c:f>Sheet1!$B$2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5:$A$75</c:f>
              <c:numCache>
                <c:formatCode>General</c:formatCode>
                <c:ptCount val="51"/>
                <c:pt idx="0">
                  <c:v>1166.3333</c:v>
                </c:pt>
                <c:pt idx="1">
                  <c:v>1143.2174</c:v>
                </c:pt>
                <c:pt idx="2">
                  <c:v>1127.9643</c:v>
                </c:pt>
                <c:pt idx="3">
                  <c:v>1157.3214</c:v>
                </c:pt>
                <c:pt idx="4">
                  <c:v>1186.6129</c:v>
                </c:pt>
                <c:pt idx="5">
                  <c:v>1102.7188</c:v>
                </c:pt>
                <c:pt idx="6">
                  <c:v>1148.975</c:v>
                </c:pt>
                <c:pt idx="7">
                  <c:v>1088.8</c:v>
                </c:pt>
                <c:pt idx="8">
                  <c:v>1105.7333</c:v>
                </c:pt>
                <c:pt idx="9">
                  <c:v>1124.8958</c:v>
                </c:pt>
                <c:pt idx="10">
                  <c:v>1071.0962</c:v>
                </c:pt>
                <c:pt idx="11">
                  <c:v>1052.0227</c:v>
                </c:pt>
                <c:pt idx="12">
                  <c:v>1007.2982</c:v>
                </c:pt>
                <c:pt idx="13">
                  <c:v>1044.35</c:v>
                </c:pt>
                <c:pt idx="14">
                  <c:v>980.2368</c:v>
                </c:pt>
                <c:pt idx="15">
                  <c:v>1063.7879</c:v>
                </c:pt>
                <c:pt idx="16">
                  <c:v>1105.16</c:v>
                </c:pt>
                <c:pt idx="17">
                  <c:v>1152.4667</c:v>
                </c:pt>
                <c:pt idx="18">
                  <c:v>1004.2381</c:v>
                </c:pt>
                <c:pt idx="19">
                  <c:v>931.0</c:v>
                </c:pt>
                <c:pt idx="20">
                  <c:v>955.2174</c:v>
                </c:pt>
                <c:pt idx="21">
                  <c:v>1094.7917</c:v>
                </c:pt>
                <c:pt idx="22">
                  <c:v>1232.0667</c:v>
                </c:pt>
                <c:pt idx="23">
                  <c:v>1237.2143</c:v>
                </c:pt>
                <c:pt idx="24">
                  <c:v>1195.3529</c:v>
                </c:pt>
                <c:pt idx="25">
                  <c:v>1093.65</c:v>
                </c:pt>
                <c:pt idx="26">
                  <c:v>1110.2143</c:v>
                </c:pt>
                <c:pt idx="27">
                  <c:v>1248.625</c:v>
                </c:pt>
                <c:pt idx="28">
                  <c:v>1290.375</c:v>
                </c:pt>
                <c:pt idx="29">
                  <c:v>1222.7857</c:v>
                </c:pt>
                <c:pt idx="30">
                  <c:v>1181.6667</c:v>
                </c:pt>
                <c:pt idx="31">
                  <c:v>1091.0769</c:v>
                </c:pt>
                <c:pt idx="32">
                  <c:v>1188.0588</c:v>
                </c:pt>
                <c:pt idx="33">
                  <c:v>1218.2222</c:v>
                </c:pt>
                <c:pt idx="34">
                  <c:v>1238.5</c:v>
                </c:pt>
                <c:pt idx="35">
                  <c:v>1169.3125</c:v>
                </c:pt>
                <c:pt idx="36">
                  <c:v>1121.8462</c:v>
                </c:pt>
                <c:pt idx="37">
                  <c:v>1078.375</c:v>
                </c:pt>
                <c:pt idx="38">
                  <c:v>1190.9545</c:v>
                </c:pt>
                <c:pt idx="39">
                  <c:v>1186.65</c:v>
                </c:pt>
                <c:pt idx="40">
                  <c:v>1206.8421</c:v>
                </c:pt>
                <c:pt idx="41">
                  <c:v>1217.6923</c:v>
                </c:pt>
                <c:pt idx="42">
                  <c:v>1243.3684</c:v>
                </c:pt>
                <c:pt idx="43">
                  <c:v>1168.8387</c:v>
                </c:pt>
                <c:pt idx="44">
                  <c:v>1159.7442</c:v>
                </c:pt>
                <c:pt idx="45">
                  <c:v>1151.9394</c:v>
                </c:pt>
                <c:pt idx="46">
                  <c:v>1139.5238</c:v>
                </c:pt>
                <c:pt idx="47">
                  <c:v>1116.6667</c:v>
                </c:pt>
                <c:pt idx="48">
                  <c:v>1181.9818</c:v>
                </c:pt>
                <c:pt idx="49">
                  <c:v>1097.3448</c:v>
                </c:pt>
                <c:pt idx="50">
                  <c:v>992.3182</c:v>
                </c:pt>
              </c:numCache>
            </c:numRef>
          </c:xVal>
          <c:yVal>
            <c:numRef>
              <c:f>Sheet1!$B$25:$B$75</c:f>
              <c:numCache>
                <c:formatCode>General</c:formatCode>
                <c:ptCount val="51"/>
                <c:pt idx="0">
                  <c:v>0.421875</c:v>
                </c:pt>
                <c:pt idx="1">
                  <c:v>0.4107142857142857</c:v>
                </c:pt>
                <c:pt idx="2">
                  <c:v>0.4307692307692308</c:v>
                </c:pt>
                <c:pt idx="3">
                  <c:v>0.3835616438356164</c:v>
                </c:pt>
                <c:pt idx="4">
                  <c:v>0.49206349206349204</c:v>
                </c:pt>
                <c:pt idx="5">
                  <c:v>0.49230769230769234</c:v>
                </c:pt>
                <c:pt idx="6">
                  <c:v>0.49382716049382713</c:v>
                </c:pt>
                <c:pt idx="7">
                  <c:v>0.4945054945054945</c:v>
                </c:pt>
                <c:pt idx="8">
                  <c:v>0.4838709677419355</c:v>
                </c:pt>
                <c:pt idx="9">
                  <c:v>0.46153846153846156</c:v>
                </c:pt>
                <c:pt idx="10">
                  <c:v>0.4727272727272727</c:v>
                </c:pt>
                <c:pt idx="11">
                  <c:v>0.43564356435643564</c:v>
                </c:pt>
                <c:pt idx="12">
                  <c:v>0.4789915966386555</c:v>
                </c:pt>
                <c:pt idx="13">
                  <c:v>0.45454545454545453</c:v>
                </c:pt>
                <c:pt idx="14">
                  <c:v>0.475</c:v>
                </c:pt>
                <c:pt idx="15">
                  <c:v>0.4852941176470588</c:v>
                </c:pt>
                <c:pt idx="16">
                  <c:v>0.43103448275862066</c:v>
                </c:pt>
                <c:pt idx="17">
                  <c:v>0.36585365853658536</c:v>
                </c:pt>
                <c:pt idx="18">
                  <c:v>0.4772727272727273</c:v>
                </c:pt>
                <c:pt idx="19">
                  <c:v>0.42857142857142855</c:v>
                </c:pt>
                <c:pt idx="20">
                  <c:v>0.5</c:v>
                </c:pt>
                <c:pt idx="21">
                  <c:v>0.4897959183673469</c:v>
                </c:pt>
                <c:pt idx="22">
                  <c:v>0.4166666666666667</c:v>
                </c:pt>
                <c:pt idx="23">
                  <c:v>0.358974358974359</c:v>
                </c:pt>
                <c:pt idx="24">
                  <c:v>0.3541666666666667</c:v>
                </c:pt>
                <c:pt idx="25">
                  <c:v>0.425531914893617</c:v>
                </c:pt>
                <c:pt idx="26">
                  <c:v>0.3684210526315789</c:v>
                </c:pt>
                <c:pt idx="27">
                  <c:v>0.3137254901960784</c:v>
                </c:pt>
                <c:pt idx="28">
                  <c:v>0.37209302325581395</c:v>
                </c:pt>
                <c:pt idx="29">
                  <c:v>0.358974358974359</c:v>
                </c:pt>
                <c:pt idx="30">
                  <c:v>0.34285714285714286</c:v>
                </c:pt>
                <c:pt idx="31">
                  <c:v>0.3170731707317073</c:v>
                </c:pt>
                <c:pt idx="32">
                  <c:v>0.3333333333333333</c:v>
                </c:pt>
                <c:pt idx="33">
                  <c:v>0.42857142857142855</c:v>
                </c:pt>
                <c:pt idx="34">
                  <c:v>0.40625</c:v>
                </c:pt>
                <c:pt idx="35">
                  <c:v>0.41025641025641024</c:v>
                </c:pt>
                <c:pt idx="36">
                  <c:v>0.38235294117647056</c:v>
                </c:pt>
                <c:pt idx="37">
                  <c:v>0.43243243243243246</c:v>
                </c:pt>
                <c:pt idx="38">
                  <c:v>0.3728813559322034</c:v>
                </c:pt>
                <c:pt idx="39">
                  <c:v>0.36363636363636365</c:v>
                </c:pt>
                <c:pt idx="40">
                  <c:v>0.3584905660377358</c:v>
                </c:pt>
                <c:pt idx="41">
                  <c:v>0.37142857142857144</c:v>
                </c:pt>
                <c:pt idx="42">
                  <c:v>0.3064516129032258</c:v>
                </c:pt>
                <c:pt idx="43">
                  <c:v>0.4025974025974026</c:v>
                </c:pt>
                <c:pt idx="44">
                  <c:v>0.4574468085106383</c:v>
                </c:pt>
                <c:pt idx="45">
                  <c:v>0.375</c:v>
                </c:pt>
                <c:pt idx="46">
                  <c:v>0.4375</c:v>
                </c:pt>
                <c:pt idx="47">
                  <c:v>0.4090909090909091</c:v>
                </c:pt>
                <c:pt idx="48">
                  <c:v>0.44715447154471544</c:v>
                </c:pt>
                <c:pt idx="49">
                  <c:v>0.47540983606557374</c:v>
                </c:pt>
                <c:pt idx="50">
                  <c:v>0.4489795918367347</c:v>
                </c:pt>
              </c:numCache>
            </c:numRef>
          </c:yVal>
          <c:smooth val="0"/>
          <c:extLst>
            <c:ext xmlns:c16="http://schemas.microsoft.com/office/drawing/2014/chart" uri="{C3380CC4-5D6E-409C-BE32-E72D297353CC}">
              <c16:uniqueId val="{00000002-F32D-48B7-BC20-E66FC6253BAD}"/>
            </c:ext>
          </c:extLst>
        </c:ser>
        <c:ser>
          <c:idx val="2"/>
          <c:order val="2"/>
          <c:tx>
            <c:strRef>
              <c:f>Sheet1!$B$77</c:f>
              <c:strCache>
                <c:ptCount val="1"/>
                <c:pt idx="0">
                  <c:v>Custom Linep3yQ</c:v>
                </c:pt>
              </c:strCache>
            </c:strRef>
          </c:tx>
          <c:spPr>
            <a:ln w="19050" cap="rnd">
              <a:solidFill>
                <a:srgbClr val="C00000"/>
              </a:solidFill>
              <a:prstDash val="sysDot"/>
              <a:round/>
            </a:ln>
            <a:effectLst/>
          </c:spPr>
          <c:marker>
            <c:symbol val="none"/>
          </c:marker>
          <c:xVal>
            <c:numRef>
              <c:f>Sheet1!$A$78:$A$79</c:f>
              <c:numCache>
                <c:formatCode>General</c:formatCode>
                <c:ptCount val="2"/>
                <c:pt idx="0">
                  <c:v>0</c:v>
                </c:pt>
                <c:pt idx="1">
                  <c:v>588.3467318348427</c:v>
                </c:pt>
              </c:numCache>
            </c:numRef>
          </c:xVal>
          <c:yVal>
            <c:numRef>
              <c:f>Sheet1!$B$78:$B$79</c:f>
              <c:numCache>
                <c:formatCode>General</c:formatCode>
                <c:ptCount val="2"/>
                <c:pt idx="0">
                  <c:v>0.6396396396396397</c:v>
                </c:pt>
                <c:pt idx="1">
                  <c:v>0.6396396396396397</c:v>
                </c:pt>
              </c:numCache>
            </c:numRef>
          </c:yVal>
          <c:smooth val="0"/>
          <c:extLst>
            <c:ext xmlns:c16="http://schemas.microsoft.com/office/drawing/2014/chart" uri="{C3380CC4-5D6E-409C-BE32-E72D297353CC}">
              <c16:uniqueId val="{00000003-F32D-48B7-BC20-E66FC6253BAD}"/>
            </c:ext>
          </c:extLst>
        </c:ser>
        <c:ser>
          <c:idx val="3"/>
          <c:order val="3"/>
          <c:tx>
            <c:strRef>
              <c:f>Sheet1!$B$8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588.3467318348427</c:v>
                </c:pt>
                <c:pt idx="1">
                  <c:v>588.3467318348427</c:v>
                </c:pt>
              </c:numCache>
            </c:numRef>
          </c:xVal>
          <c:yVal>
            <c:numRef>
              <c:f>Sheet1!$B$82:$B$83</c:f>
              <c:numCache>
                <c:formatCode>General</c:formatCode>
                <c:ptCount val="2"/>
                <c:pt idx="0">
                  <c:v>0.63963963963963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6:$A$87</c:f>
              <c:numCache>
                <c:formatCode>General</c:formatCode>
                <c:ptCount val="2"/>
                <c:pt idx="0">
                  <c:v>0</c:v>
                </c:pt>
                <c:pt idx="1">
                  <c:v>1039.3786059061608</c:v>
                </c:pt>
              </c:numCache>
            </c:numRef>
          </c:xVal>
          <c:yVal>
            <c:numRef>
              <c:f>Sheet1!$B$86:$B$87</c:f>
              <c:numCache>
                <c:formatCode>General</c:formatCode>
                <c:ptCount val="2"/>
                <c:pt idx="0">
                  <c:v>0.45594388527017493</c:v>
                </c:pt>
                <c:pt idx="1">
                  <c:v>0.45594388527017493</c:v>
                </c:pt>
              </c:numCache>
            </c:numRef>
          </c:yVal>
          <c:smooth val="0"/>
          <c:extLst>
            <c:ext xmlns:c16="http://schemas.microsoft.com/office/drawing/2014/chart" uri="{C3380CC4-5D6E-409C-BE32-E72D297353CC}">
              <c16:uniqueId val="{0000000A-F32D-48B7-BC20-E66FC6253BAD}"/>
            </c:ext>
          </c:extLst>
        </c:ser>
        <c:ser>
          <c:idx val="5"/>
          <c:order val="5"/>
          <c:tx>
            <c:strRef>
              <c:f>Sheet1!$B$8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0:$A$91</c:f>
              <c:numCache>
                <c:formatCode>General</c:formatCode>
                <c:ptCount val="2"/>
                <c:pt idx="0">
                  <c:v>1039.3786059061608</c:v>
                </c:pt>
                <c:pt idx="1">
                  <c:v>1039.3786059061608</c:v>
                </c:pt>
              </c:numCache>
            </c:numRef>
          </c:xVal>
          <c:yVal>
            <c:numRef>
              <c:f>Sheet1!$B$90:$B$91</c:f>
              <c:numCache>
                <c:formatCode>General</c:formatCode>
                <c:ptCount val="2"/>
                <c:pt idx="0">
                  <c:v>0.455943885270174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4:$A$95</c:f>
              <c:numCache>
                <c:formatCode>General</c:formatCode>
                <c:ptCount val="2"/>
                <c:pt idx="0">
                  <c:v>0</c:v>
                </c:pt>
                <c:pt idx="1">
                  <c:v>1171.8153637218766</c:v>
                </c:pt>
              </c:numCache>
            </c:numRef>
          </c:xVal>
          <c:yVal>
            <c:numRef>
              <c:f>Sheet1!$B$94:$B$95</c:f>
              <c:numCache>
                <c:formatCode>General</c:formatCode>
                <c:ptCount val="2"/>
                <c:pt idx="0">
                  <c:v>0.40200519150646724</c:v>
                </c:pt>
                <c:pt idx="1">
                  <c:v>0.40200519150646724</c:v>
                </c:pt>
              </c:numCache>
            </c:numRef>
          </c:yVal>
          <c:smooth val="0"/>
          <c:extLst>
            <c:ext xmlns:c16="http://schemas.microsoft.com/office/drawing/2014/chart" uri="{C3380CC4-5D6E-409C-BE32-E72D297353CC}">
              <c16:uniqueId val="{00000011-F32D-48B7-BC20-E66FC6253BAD}"/>
            </c:ext>
          </c:extLst>
        </c:ser>
        <c:ser>
          <c:idx val="7"/>
          <c:order val="7"/>
          <c:tx>
            <c:strRef>
              <c:f>Sheet1!$B$9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8:$A$99</c:f>
              <c:numCache>
                <c:formatCode>General</c:formatCode>
                <c:ptCount val="2"/>
                <c:pt idx="0">
                  <c:v>1171.8153637218766</c:v>
                </c:pt>
                <c:pt idx="1">
                  <c:v>1171.8153637218766</c:v>
                </c:pt>
              </c:numCache>
            </c:numRef>
          </c:xVal>
          <c:yVal>
            <c:numRef>
              <c:f>Sheet1!$B$98:$B$99</c:f>
              <c:numCache>
                <c:formatCode>General</c:formatCode>
                <c:ptCount val="2"/>
                <c:pt idx="0">
                  <c:v>0.402005191506467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2:$A$155</c:f>
              <c:numCache>
                <c:formatCode>General</c:formatCode>
                <c:ptCount val="54"/>
                <c:pt idx="0">
                  <c:v>1166.3333</c:v>
                </c:pt>
                <c:pt idx="1">
                  <c:v>1143.2174</c:v>
                </c:pt>
                <c:pt idx="2">
                  <c:v>1127.9643</c:v>
                </c:pt>
                <c:pt idx="3">
                  <c:v>1157.3214</c:v>
                </c:pt>
                <c:pt idx="4">
                  <c:v>1186.6129</c:v>
                </c:pt>
                <c:pt idx="5">
                  <c:v>1102.7188</c:v>
                </c:pt>
                <c:pt idx="6">
                  <c:v>1148.975</c:v>
                </c:pt>
                <c:pt idx="7">
                  <c:v>1088.8</c:v>
                </c:pt>
                <c:pt idx="8">
                  <c:v>1105.7333</c:v>
                </c:pt>
                <c:pt idx="9">
                  <c:v>1124.8958</c:v>
                </c:pt>
                <c:pt idx="10">
                  <c:v>1071.0962</c:v>
                </c:pt>
                <c:pt idx="11">
                  <c:v>1052.0227</c:v>
                </c:pt>
                <c:pt idx="12">
                  <c:v>1007.2982</c:v>
                </c:pt>
                <c:pt idx="13">
                  <c:v>1044.35</c:v>
                </c:pt>
                <c:pt idx="14">
                  <c:v>980.2368</c:v>
                </c:pt>
                <c:pt idx="15">
                  <c:v>1063.7879</c:v>
                </c:pt>
                <c:pt idx="16">
                  <c:v>1105.16</c:v>
                </c:pt>
                <c:pt idx="17">
                  <c:v>1152.4667</c:v>
                </c:pt>
                <c:pt idx="18">
                  <c:v>1004.2381</c:v>
                </c:pt>
                <c:pt idx="19">
                  <c:v>931.0</c:v>
                </c:pt>
                <c:pt idx="20">
                  <c:v>955.2174</c:v>
                </c:pt>
                <c:pt idx="21">
                  <c:v>1094.7917</c:v>
                </c:pt>
                <c:pt idx="22">
                  <c:v>1232.0667</c:v>
                </c:pt>
                <c:pt idx="23">
                  <c:v>1237.2143</c:v>
                </c:pt>
                <c:pt idx="24">
                  <c:v>1195.3529</c:v>
                </c:pt>
                <c:pt idx="25">
                  <c:v>1093.65</c:v>
                </c:pt>
                <c:pt idx="26">
                  <c:v>1110.2143</c:v>
                </c:pt>
                <c:pt idx="27">
                  <c:v>1248.625</c:v>
                </c:pt>
                <c:pt idx="28">
                  <c:v>1290.375</c:v>
                </c:pt>
                <c:pt idx="29">
                  <c:v>1222.7857</c:v>
                </c:pt>
                <c:pt idx="30">
                  <c:v>1181.6667</c:v>
                </c:pt>
                <c:pt idx="31">
                  <c:v>1091.0769</c:v>
                </c:pt>
                <c:pt idx="32">
                  <c:v>1188.0588</c:v>
                </c:pt>
                <c:pt idx="33">
                  <c:v>1218.2222</c:v>
                </c:pt>
                <c:pt idx="34">
                  <c:v>1238.5</c:v>
                </c:pt>
                <c:pt idx="35">
                  <c:v>1169.3125</c:v>
                </c:pt>
                <c:pt idx="36">
                  <c:v>1121.8462</c:v>
                </c:pt>
                <c:pt idx="37">
                  <c:v>1078.375</c:v>
                </c:pt>
                <c:pt idx="38">
                  <c:v>1190.9545</c:v>
                </c:pt>
                <c:pt idx="39">
                  <c:v>1186.65</c:v>
                </c:pt>
                <c:pt idx="40">
                  <c:v>1206.8421</c:v>
                </c:pt>
                <c:pt idx="41">
                  <c:v>1217.6923</c:v>
                </c:pt>
                <c:pt idx="42">
                  <c:v>1243.3684</c:v>
                </c:pt>
                <c:pt idx="43">
                  <c:v>1168.8387</c:v>
                </c:pt>
                <c:pt idx="44">
                  <c:v>1159.7442</c:v>
                </c:pt>
                <c:pt idx="45">
                  <c:v>1151.9394</c:v>
                </c:pt>
                <c:pt idx="46">
                  <c:v>1139.5238</c:v>
                </c:pt>
                <c:pt idx="47">
                  <c:v>1116.6667</c:v>
                </c:pt>
                <c:pt idx="48">
                  <c:v>1181.9818</c:v>
                </c:pt>
                <c:pt idx="49">
                  <c:v>1097.3448</c:v>
                </c:pt>
                <c:pt idx="50">
                  <c:v>992.3182</c:v>
                </c:pt>
                <c:pt idx="51">
                  <c:v>1039.3786059061608</c:v>
                </c:pt>
                <c:pt idx="52">
                  <c:v>588.3467318348427</c:v>
                </c:pt>
                <c:pt idx="53">
                  <c:v>1171.8153637218766</c:v>
                </c:pt>
              </c:numCache>
            </c:numRef>
          </c:xVal>
          <c:yVal>
            <c:numRef>
              <c:f>Sheet1!$B$102:$B$155</c:f>
              <c:numCache>
                <c:formatCode>General</c:formatCode>
                <c:ptCount val="54"/>
                <c:pt idx="0">
                  <c:v>0.4042379202531109</c:v>
                </c:pt>
                <c:pt idx="1">
                  <c:v>0.413652538005287</c:v>
                </c:pt>
                <c:pt idx="2">
                  <c:v>0.4198648034172207</c:v>
                </c:pt>
                <c:pt idx="3">
                  <c:v>0.4079082767488924</c:v>
                </c:pt>
                <c:pt idx="4">
                  <c:v>0.39597846757477984</c:v>
                </c:pt>
                <c:pt idx="5">
                  <c:v>0.4301467622621094</c:v>
                </c:pt>
                <c:pt idx="6">
                  <c:v>0.4113075891532013</c:v>
                </c:pt>
                <c:pt idx="7">
                  <c:v>0.4358155954708095</c:v>
                </c:pt>
                <c:pt idx="8">
                  <c:v>0.42891902009269633</c:v>
                </c:pt>
                <c:pt idx="9">
                  <c:v>0.42111453864589676</c:v>
                </c:pt>
                <c:pt idx="10">
                  <c:v>0.44302597922229553</c:v>
                </c:pt>
                <c:pt idx="11">
                  <c:v>0.45079421284919874</c:v>
                </c:pt>
                <c:pt idx="12">
                  <c:v>0.46900955690490076</c:v>
                </c:pt>
                <c:pt idx="13">
                  <c:v>0.45391914147525797</c:v>
                </c:pt>
                <c:pt idx="14">
                  <c:v>0.48003109345933903</c:v>
                </c:pt>
                <c:pt idx="15">
                  <c:v>0.446002495426217</c:v>
                </c:pt>
                <c:pt idx="16">
                  <c:v>0.42915251307187186</c:v>
                </c:pt>
                <c:pt idx="17">
                  <c:v>0.4098854935045234</c:v>
                </c:pt>
                <c:pt idx="18">
                  <c:v>0.4702558709910247</c:v>
                </c:pt>
                <c:pt idx="19">
                  <c:v>0.5000842019837896</c:v>
                </c:pt>
                <c:pt idx="20">
                  <c:v>0.4902209665505358</c:v>
                </c:pt>
                <c:pt idx="21">
                  <c:v>0.4333753026340299</c:v>
                </c:pt>
                <c:pt idx="22">
                  <c:v>0.37746609503536477</c:v>
                </c:pt>
                <c:pt idx="23">
                  <c:v>0.3753695862971759</c:v>
                </c:pt>
                <c:pt idx="24">
                  <c:v>0.39241885020517625</c:v>
                </c:pt>
                <c:pt idx="25">
                  <c:v>0.4338402929258921</c:v>
                </c:pt>
                <c:pt idx="26">
                  <c:v>0.42709400345274284</c:v>
                </c:pt>
                <c:pt idx="27">
                  <c:v>0.37072224923546704</c:v>
                </c:pt>
                <c:pt idx="28">
                  <c:v>0.35371835619416836</c:v>
                </c:pt>
                <c:pt idx="29">
                  <c:v>0.3812460502764737</c:v>
                </c:pt>
                <c:pt idx="30">
                  <c:v>0.3979929503474954</c:v>
                </c:pt>
                <c:pt idx="31">
                  <c:v>0.43488826219977395</c:v>
                </c:pt>
                <c:pt idx="32">
                  <c:v>0.39538958304906935</c:v>
                </c:pt>
                <c:pt idx="33">
                  <c:v>0.3831046674236345</c:v>
                </c:pt>
                <c:pt idx="34">
                  <c:v>0.374845947847279</c:v>
                </c:pt>
                <c:pt idx="35">
                  <c:v>0.40302455502799384</c:v>
                </c:pt>
                <c:pt idx="36">
                  <c:v>0.4223565763038308</c:v>
                </c:pt>
                <c:pt idx="37">
                  <c:v>0.4400614777451936</c:v>
                </c:pt>
                <c:pt idx="38">
                  <c:v>0.3942102256100349</c:v>
                </c:pt>
                <c:pt idx="39">
                  <c:v>0.3959633575285084</c:v>
                </c:pt>
                <c:pt idx="40">
                  <c:v>0.387739541751761</c:v>
                </c:pt>
                <c:pt idx="41">
                  <c:v>0.3833204844996246</c:v>
                </c:pt>
                <c:pt idx="42">
                  <c:v>0.3728631513710572</c:v>
                </c:pt>
                <c:pt idx="43">
                  <c:v>0.4032175237590829</c:v>
                </c:pt>
                <c:pt idx="44">
                  <c:v>0.40692152148995925</c:v>
                </c:pt>
                <c:pt idx="45">
                  <c:v>0.4101002516554378</c:v>
                </c:pt>
                <c:pt idx="46">
                  <c:v>0.4151568632588761</c:v>
                </c:pt>
                <c:pt idx="47">
                  <c:v>0.4244660772381399</c:v>
                </c:pt>
                <c:pt idx="48">
                  <c:v>0.397864616773907</c:v>
                </c:pt>
                <c:pt idx="49">
                  <c:v>0.43233547893765284</c:v>
                </c:pt>
                <c:pt idx="50">
                  <c:v>0.4751105944560062</c:v>
                </c:pt>
                <c:pt idx="51">
                  <c:v>0.45594388527017493</c:v>
                </c:pt>
                <c:pt idx="52">
                  <c:v>0.6396396396396397</c:v>
                </c:pt>
                <c:pt idx="53">
                  <c:v>0.402005191506467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4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75675675675676"/>
          <c:min val="0.245161290322580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41496878901373</c:v>
                </c:pt>
                <c:pt idx="1">
                  <c:v>1.2183518644067797</c:v>
                </c:pt>
                <c:pt idx="2">
                  <c:v>0.889208</c:v>
                </c:pt>
                <c:pt idx="3">
                  <c:v>0.7037565714285714</c:v>
                </c:pt>
                <c:pt idx="4">
                  <c:v>0.9937388961892247</c:v>
                </c:pt>
                <c:pt idx="5">
                  <c:v>0.8664054022988505</c:v>
                </c:pt>
                <c:pt idx="6">
                  <c:v>0.8831325301204819</c:v>
                </c:pt>
                <c:pt idx="7">
                  <c:v>0.9304920614596671</c:v>
                </c:pt>
                <c:pt idx="8">
                  <c:v>0.8669277108433734</c:v>
                </c:pt>
                <c:pt idx="9">
                  <c:v>0.758965734706748</c:v>
                </c:pt>
                <c:pt idx="10">
                  <c:v>0.6940350378494801</c:v>
                </c:pt>
                <c:pt idx="11">
                  <c:v>0.7657495838535164</c:v>
                </c:pt>
                <c:pt idx="12">
                  <c:v>0.928030336912389</c:v>
                </c:pt>
                <c:pt idx="13">
                  <c:v>0.7810603470853924</c:v>
                </c:pt>
                <c:pt idx="14">
                  <c:v>0.7135190777531089</c:v>
                </c:pt>
                <c:pt idx="15">
                  <c:v>0.7721637562648378</c:v>
                </c:pt>
                <c:pt idx="16">
                  <c:v>0.7545143972669595</c:v>
                </c:pt>
                <c:pt idx="17">
                  <c:v>0.8035528567768383</c:v>
                </c:pt>
                <c:pt idx="18">
                  <c:v>0.9879705809334657</c:v>
                </c:pt>
                <c:pt idx="19">
                  <c:v>0.6702270880419432</c:v>
                </c:pt>
                <c:pt idx="20">
                  <c:v>1.0620849488422186</c:v>
                </c:pt>
                <c:pt idx="21">
                  <c:v>0.9316731034482759</c:v>
                </c:pt>
                <c:pt idx="22">
                  <c:v>0.8572655395831514</c:v>
                </c:pt>
                <c:pt idx="23">
                  <c:v>0.9731313333333333</c:v>
                </c:pt>
                <c:pt idx="24">
                  <c:v>1.0671813506021846</c:v>
                </c:pt>
                <c:pt idx="25">
                  <c:v>0.763419235701462</c:v>
                </c:pt>
                <c:pt idx="26">
                  <c:v>0.8635924314430611</c:v>
                </c:pt>
                <c:pt idx="27">
                  <c:v>0.6945465696465697</c:v>
                </c:pt>
                <c:pt idx="28">
                  <c:v>0.7143232833464878</c:v>
                </c:pt>
                <c:pt idx="29">
                  <c:v>0.7721823479550752</c:v>
                </c:pt>
                <c:pt idx="30">
                  <c:v>0.6467772131508751</c:v>
                </c:pt>
                <c:pt idx="31">
                  <c:v>0.7575142160844842</c:v>
                </c:pt>
                <c:pt idx="32">
                  <c:v>0.8572408000926933</c:v>
                </c:pt>
                <c:pt idx="33">
                  <c:v>0.6882384532760472</c:v>
                </c:pt>
                <c:pt idx="34">
                  <c:v>0.7718208347966468</c:v>
                </c:pt>
                <c:pt idx="35">
                  <c:v>0.8243831640058055</c:v>
                </c:pt>
                <c:pt idx="36">
                  <c:v>0.8613559255631733</c:v>
                </c:pt>
                <c:pt idx="37">
                  <c:v>0.8812019916142557</c:v>
                </c:pt>
                <c:pt idx="38">
                  <c:v>0.920504438174488</c:v>
                </c:pt>
                <c:pt idx="39">
                  <c:v>0.8661994200096665</c:v>
                </c:pt>
                <c:pt idx="40">
                  <c:v>0.9094278483427118</c:v>
                </c:pt>
                <c:pt idx="41">
                  <c:v>0.9595422089398695</c:v>
                </c:pt>
                <c:pt idx="42">
                  <c:v>0.9300396682293545</c:v>
                </c:pt>
                <c:pt idx="43">
                  <c:v>0.9182167854909319</c:v>
                </c:pt>
                <c:pt idx="44">
                  <c:v>0.9099697269018163</c:v>
                </c:pt>
                <c:pt idx="45">
                  <c:v>1.0236538242826208</c:v>
                </c:pt>
                <c:pt idx="46">
                  <c:v>1.0113385322217263</c:v>
                </c:pt>
                <c:pt idx="47">
                  <c:v>0.9569207908271996</c:v>
                </c:pt>
                <c:pt idx="48">
                  <c:v>0.8904757932484638</c:v>
                </c:pt>
                <c:pt idx="49">
                  <c:v>0.8527291258662202</c:v>
                </c:pt>
                <c:pt idx="50">
                  <c:v>0.9211507312813796</c:v>
                </c:pt>
                <c:pt idx="51">
                  <c:v>0.9733112394275882</c:v>
                </c:pt>
                <c:pt idx="52">
                  <c:v>0.8554996405463695</c:v>
                </c:pt>
                <c:pt idx="53">
                  <c:v>1.0281747104161245</c:v>
                </c:pt>
                <c:pt idx="54">
                  <c:v>0.9719808861859254</c:v>
                </c:pt>
                <c:pt idx="55">
                  <c:v>0.9553952428794766</c:v>
                </c:pt>
                <c:pt idx="56">
                  <c:v>0.963601051257221</c:v>
                </c:pt>
                <c:pt idx="57">
                  <c:v>0.9161999805318877</c:v>
                </c:pt>
                <c:pt idx="58">
                  <c:v>0.8630867228166952</c:v>
                </c:pt>
                <c:pt idx="59">
                  <c:v>0.8441771455635755</c:v>
                </c:pt>
                <c:pt idx="60">
                  <c:v>0.811186723973257</c:v>
                </c:pt>
                <c:pt idx="61">
                  <c:v>0.884831600604837</c:v>
                </c:pt>
                <c:pt idx="62">
                  <c:v>0.9606534090909091</c:v>
                </c:pt>
                <c:pt idx="63">
                  <c:v>0.8331331943720688</c:v>
                </c:pt>
                <c:pt idx="64">
                  <c:v>0.8727533047496623</c:v>
                </c:pt>
                <c:pt idx="65">
                  <c:v>0.7363687431494338</c:v>
                </c:pt>
                <c:pt idx="66">
                  <c:v>0.6661422493467508</c:v>
                </c:pt>
                <c:pt idx="67">
                  <c:v>0.8163928180158248</c:v>
                </c:pt>
                <c:pt idx="68">
                  <c:v>0.6624255944660614</c:v>
                </c:pt>
                <c:pt idx="69">
                  <c:v>0.7315384899331091</c:v>
                </c:pt>
                <c:pt idx="70">
                  <c:v>0.7713586721826876</c:v>
                </c:pt>
                <c:pt idx="71">
                  <c:v>1.0443134815996706</c:v>
                </c:pt>
                <c:pt idx="72">
                  <c:v>0.45068131254800475</c:v>
                </c:pt>
                <c:pt idx="73">
                  <c:v>0.5036473200126863</c:v>
                </c:pt>
                <c:pt idx="74">
                  <c:v>1.370530877573131</c:v>
                </c:pt>
                <c:pt idx="75">
                  <c:v>1.824236608568042</c:v>
                </c:pt>
                <c:pt idx="76">
                  <c:v>1.373012789270152</c:v>
                </c:pt>
                <c:pt idx="77">
                  <c:v>1.1703363914373088</c:v>
                </c:pt>
                <c:pt idx="78">
                  <c:v>0.8668280871670703</c:v>
                </c:pt>
                <c:pt idx="79">
                  <c:v>1.3110559006211182</c:v>
                </c:pt>
                <c:pt idx="80">
                  <c:v>0.8236118409528814</c:v>
                </c:pt>
                <c:pt idx="81">
                  <c:v>0.7703091301222142</c:v>
                </c:pt>
                <c:pt idx="82">
                  <c:v>0.9603309291472211</c:v>
                </c:pt>
                <c:pt idx="83">
                  <c:v>1.2830381471389645</c:v>
                </c:pt>
                <c:pt idx="84">
                  <c:v>0.7949643492903536</c:v>
                </c:pt>
                <c:pt idx="85">
                  <c:v>0.9934077761334589</c:v>
                </c:pt>
                <c:pt idx="86">
                  <c:v>0.7176804011336385</c:v>
                </c:pt>
                <c:pt idx="87">
                  <c:v>1.0250813449023861</c:v>
                </c:pt>
                <c:pt idx="88">
                  <c:v>1.1689982312268854</c:v>
                </c:pt>
                <c:pt idx="89">
                  <c:v>0.7261955964087217</c:v>
                </c:pt>
                <c:pt idx="90">
                  <c:v>0.7700137478849408</c:v>
                </c:pt>
                <c:pt idx="91">
                  <c:v>0.5362743036340158</c:v>
                </c:pt>
                <c:pt idx="92">
                  <c:v>0.4826762774598048</c:v>
                </c:pt>
                <c:pt idx="93">
                  <c:v>0.6059884592504462</c:v>
                </c:pt>
                <c:pt idx="94">
                  <c:v>0.5344124223602484</c:v>
                </c:pt>
                <c:pt idx="95">
                  <c:v>0.9357328855592869</c:v>
                </c:pt>
                <c:pt idx="96">
                  <c:v>1.0101079217216355</c:v>
                </c:pt>
                <c:pt idx="97">
                  <c:v>0.9639681403960445</c:v>
                </c:pt>
                <c:pt idx="98">
                  <c:v>1.0888668241730912</c:v>
                </c:pt>
                <c:pt idx="99">
                  <c:v>0.8376330611512439</c:v>
                </c:pt>
                <c:pt idx="100">
                  <c:v>0.7132620575450217</c:v>
                </c:pt>
                <c:pt idx="101">
                  <c:v>0.9290086165177267</c:v>
                </c:pt>
                <c:pt idx="102">
                  <c:v>0.6058617288161574</c:v>
                </c:pt>
                <c:pt idx="103">
                  <c:v>0.5965341035325483</c:v>
                </c:pt>
                <c:pt idx="104">
                  <c:v>1.0484788900690387</c:v>
                </c:pt>
              </c:numCache>
            </c:numRef>
          </c:xVal>
          <c:yVal>
            <c:numRef>
              <c:f>Sheet1!$B$2:$B$106</c:f>
              <c:numCache>
                <c:formatCode>General</c:formatCode>
                <c:ptCount val="105"/>
                <c:pt idx="0">
                  <c:v>0.21296296296296297</c:v>
                </c:pt>
                <c:pt idx="1">
                  <c:v>0.25892857142857145</c:v>
                </c:pt>
                <c:pt idx="2">
                  <c:v>0.28421052631578947</c:v>
                </c:pt>
                <c:pt idx="3">
                  <c:v>0.20454545454545456</c:v>
                </c:pt>
                <c:pt idx="4">
                  <c:v>0.19767441860465115</c:v>
                </c:pt>
                <c:pt idx="5">
                  <c:v>0.21359223300970873</c:v>
                </c:pt>
                <c:pt idx="6">
                  <c:v>0.23958333333333334</c:v>
                </c:pt>
                <c:pt idx="7">
                  <c:v>0.2616822429906542</c:v>
                </c:pt>
                <c:pt idx="8">
                  <c:v>0.18018018018018017</c:v>
                </c:pt>
                <c:pt idx="9">
                  <c:v>0.21367521367521367</c:v>
                </c:pt>
                <c:pt idx="10">
                  <c:v>0.19148936170212766</c:v>
                </c:pt>
                <c:pt idx="11">
                  <c:v>0.1984732824427481</c:v>
                </c:pt>
                <c:pt idx="12">
                  <c:v>0.23880597014925373</c:v>
                </c:pt>
                <c:pt idx="13">
                  <c:v>0.2619047619047619</c:v>
                </c:pt>
                <c:pt idx="14">
                  <c:v>0.21621621621621623</c:v>
                </c:pt>
                <c:pt idx="15">
                  <c:v>0.22</c:v>
                </c:pt>
                <c:pt idx="16">
                  <c:v>0.1927710843373494</c:v>
                </c:pt>
                <c:pt idx="17">
                  <c:v>0.19736842105263158</c:v>
                </c:pt>
                <c:pt idx="18">
                  <c:v>0.18333333333333332</c:v>
                </c:pt>
                <c:pt idx="19">
                  <c:v>0.1875</c:v>
                </c:pt>
                <c:pt idx="20">
                  <c:v>0.1791044776119403</c:v>
                </c:pt>
                <c:pt idx="21">
                  <c:v>0.16981132075471697</c:v>
                </c:pt>
                <c:pt idx="22">
                  <c:v>0.23529411764705882</c:v>
                </c:pt>
                <c:pt idx="23">
                  <c:v>0.18032786885245902</c:v>
                </c:pt>
                <c:pt idx="24">
                  <c:v>0.1694915254237288</c:v>
                </c:pt>
                <c:pt idx="25">
                  <c:v>0.24561403508771928</c:v>
                </c:pt>
                <c:pt idx="26">
                  <c:v>0.288135593220339</c:v>
                </c:pt>
                <c:pt idx="27">
                  <c:v>0.28888888888888886</c:v>
                </c:pt>
                <c:pt idx="28">
                  <c:v>0.27450980392156865</c:v>
                </c:pt>
                <c:pt idx="29">
                  <c:v>0.2413793103448276</c:v>
                </c:pt>
                <c:pt idx="30">
                  <c:v>0.18333333333333332</c:v>
                </c:pt>
                <c:pt idx="31">
                  <c:v>0.23529411764705882</c:v>
                </c:pt>
                <c:pt idx="32">
                  <c:v>0.14634146341463414</c:v>
                </c:pt>
                <c:pt idx="33">
                  <c:v>0.14492753623188406</c:v>
                </c:pt>
                <c:pt idx="34">
                  <c:v>0.18181818181818182</c:v>
                </c:pt>
                <c:pt idx="35">
                  <c:v>0.1523809523809524</c:v>
                </c:pt>
                <c:pt idx="36">
                  <c:v>0.13846153846153847</c:v>
                </c:pt>
                <c:pt idx="37">
                  <c:v>0.1016949152542373</c:v>
                </c:pt>
                <c:pt idx="38">
                  <c:v>0.15789473684210525</c:v>
                </c:pt>
                <c:pt idx="39">
                  <c:v>0.2553191489361702</c:v>
                </c:pt>
                <c:pt idx="40">
                  <c:v>0.2</c:v>
                </c:pt>
                <c:pt idx="41">
                  <c:v>0.125</c:v>
                </c:pt>
                <c:pt idx="42">
                  <c:v>0.14035087719298245</c:v>
                </c:pt>
                <c:pt idx="43">
                  <c:v>0.22580645161290322</c:v>
                </c:pt>
                <c:pt idx="44">
                  <c:v>0.21794871794871795</c:v>
                </c:pt>
                <c:pt idx="45">
                  <c:v>0.23853211009174313</c:v>
                </c:pt>
                <c:pt idx="46">
                  <c:v>0.2482758620689655</c:v>
                </c:pt>
                <c:pt idx="47">
                  <c:v>0.20161290322580644</c:v>
                </c:pt>
                <c:pt idx="48">
                  <c:v>0.1875</c:v>
                </c:pt>
                <c:pt idx="49">
                  <c:v>0.2109704641350211</c:v>
                </c:pt>
                <c:pt idx="50">
                  <c:v>0.18461538461538463</c:v>
                </c:pt>
                <c:pt idx="51">
                  <c:v>0.21428571428571427</c:v>
                </c:pt>
                <c:pt idx="52">
                  <c:v>0.21176470588235294</c:v>
                </c:pt>
                <c:pt idx="53">
                  <c:v>0.12345679012345678</c:v>
                </c:pt>
                <c:pt idx="54">
                  <c:v>0.16666666666666666</c:v>
                </c:pt>
                <c:pt idx="55">
                  <c:v>0.1267605633802817</c:v>
                </c:pt>
                <c:pt idx="56">
                  <c:v>0.22972972972972974</c:v>
                </c:pt>
                <c:pt idx="57">
                  <c:v>0.14285714285714285</c:v>
                </c:pt>
                <c:pt idx="58">
                  <c:v>0.15151515151515152</c:v>
                </c:pt>
                <c:pt idx="59">
                  <c:v>0.11363636363636363</c:v>
                </c:pt>
                <c:pt idx="60">
                  <c:v>0.1797752808988764</c:v>
                </c:pt>
                <c:pt idx="61">
                  <c:v>0.13131313131313133</c:v>
                </c:pt>
                <c:pt idx="62">
                  <c:v>0.13559322033898305</c:v>
                </c:pt>
                <c:pt idx="63">
                  <c:v>0.19658119658119658</c:v>
                </c:pt>
                <c:pt idx="64">
                  <c:v>0.13846153846153847</c:v>
                </c:pt>
                <c:pt idx="65">
                  <c:v>0.1619047619047619</c:v>
                </c:pt>
                <c:pt idx="66">
                  <c:v>0.18085106382978725</c:v>
                </c:pt>
                <c:pt idx="67">
                  <c:v>0.1935483870967742</c:v>
                </c:pt>
                <c:pt idx="68">
                  <c:v>0.2222222222222222</c:v>
                </c:pt>
                <c:pt idx="69">
                  <c:v>0.20634920634920634</c:v>
                </c:pt>
                <c:pt idx="70">
                  <c:v>0.125</c:v>
                </c:pt>
                <c:pt idx="71">
                  <c:v>0.14285714285714285</c:v>
                </c:pt>
                <c:pt idx="72">
                  <c:v>0.30666666666666664</c:v>
                </c:pt>
                <c:pt idx="73">
                  <c:v>0.2916666666666667</c:v>
                </c:pt>
                <c:pt idx="74">
                  <c:v>0.10869565217391304</c:v>
                </c:pt>
                <c:pt idx="75">
                  <c:v>0.14583333333333334</c:v>
                </c:pt>
                <c:pt idx="76">
                  <c:v>0.15625</c:v>
                </c:pt>
                <c:pt idx="77">
                  <c:v>0.13157894736842105</c:v>
                </c:pt>
                <c:pt idx="78">
                  <c:v>0.1568627450980392</c:v>
                </c:pt>
                <c:pt idx="79">
                  <c:v>0.11627906976744186</c:v>
                </c:pt>
                <c:pt idx="80">
                  <c:v>0.13513513513513514</c:v>
                </c:pt>
                <c:pt idx="81">
                  <c:v>0.09523809523809523</c:v>
                </c:pt>
                <c:pt idx="82">
                  <c:v>0.12195121951219512</c:v>
                </c:pt>
                <c:pt idx="83">
                  <c:v>0.10256410256410256</c:v>
                </c:pt>
                <c:pt idx="84">
                  <c:v>0.14285714285714285</c:v>
                </c:pt>
                <c:pt idx="85">
                  <c:v>0.14545454545454545</c:v>
                </c:pt>
                <c:pt idx="86">
                  <c:v>0.07692307692307693</c:v>
                </c:pt>
                <c:pt idx="87">
                  <c:v>0.10256410256410256</c:v>
                </c:pt>
                <c:pt idx="88">
                  <c:v>0.0851063829787234</c:v>
                </c:pt>
                <c:pt idx="89">
                  <c:v>0.15217391304347827</c:v>
                </c:pt>
                <c:pt idx="90">
                  <c:v>0.19047619047619047</c:v>
                </c:pt>
                <c:pt idx="91">
                  <c:v>0.18421052631578946</c:v>
                </c:pt>
                <c:pt idx="92">
                  <c:v>0.14285714285714285</c:v>
                </c:pt>
                <c:pt idx="93">
                  <c:v>0.2</c:v>
                </c:pt>
                <c:pt idx="94">
                  <c:v>0.2558139534883721</c:v>
                </c:pt>
                <c:pt idx="95">
                  <c:v>0.13846153846153847</c:v>
                </c:pt>
                <c:pt idx="96">
                  <c:v>0.2</c:v>
                </c:pt>
                <c:pt idx="97">
                  <c:v>0.14285714285714285</c:v>
                </c:pt>
                <c:pt idx="98">
                  <c:v>0.10112359550561797</c:v>
                </c:pt>
                <c:pt idx="99">
                  <c:v>0.14655172413793102</c:v>
                </c:pt>
                <c:pt idx="100">
                  <c:v>0.15853658536585366</c:v>
                </c:pt>
                <c:pt idx="101">
                  <c:v>0.14457831325301204</c:v>
                </c:pt>
                <c:pt idx="102">
                  <c:v>0.15873015873015872</c:v>
                </c:pt>
                <c:pt idx="103">
                  <c:v>0.1875</c:v>
                </c:pt>
                <c:pt idx="104">
                  <c:v>0.1129032258064516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894349840158399</c:v>
                </c:pt>
                <c:pt idx="1">
                  <c:v>0.5585412667946257</c:v>
                </c:pt>
                <c:pt idx="2">
                  <c:v>0.9660221337975627</c:v>
                </c:pt>
                <c:pt idx="3">
                  <c:v>0.9417314306016923</c:v>
                </c:pt>
                <c:pt idx="4">
                  <c:v>1.035550295159386</c:v>
                </c:pt>
                <c:pt idx="5">
                  <c:v>0.8221319983462337</c:v>
                </c:pt>
                <c:pt idx="6">
                  <c:v>0.9541469752761704</c:v>
                </c:pt>
                <c:pt idx="7">
                  <c:v>0.6919758942191824</c:v>
                </c:pt>
                <c:pt idx="8">
                  <c:v>0.7076649129495489</c:v>
                </c:pt>
                <c:pt idx="9">
                  <c:v>0.693007835412563</c:v>
                </c:pt>
                <c:pt idx="10">
                  <c:v>0.929972602739726</c:v>
                </c:pt>
                <c:pt idx="11">
                  <c:v>0.8130351767334026</c:v>
                </c:pt>
                <c:pt idx="12">
                  <c:v>0.7089763139903007</c:v>
                </c:pt>
                <c:pt idx="13">
                  <c:v>0.7683625363549296</c:v>
                </c:pt>
                <c:pt idx="14">
                  <c:v>0.9288491003422011</c:v>
                </c:pt>
                <c:pt idx="15">
                  <c:v>0.8414253072196621</c:v>
                </c:pt>
                <c:pt idx="16">
                  <c:v>0.9395041302315414</c:v>
                </c:pt>
                <c:pt idx="17">
                  <c:v>0.7105416423995341</c:v>
                </c:pt>
                <c:pt idx="18">
                  <c:v>0.6328703335699077</c:v>
                </c:pt>
                <c:pt idx="19">
                  <c:v>0.9536483571399487</c:v>
                </c:pt>
                <c:pt idx="20">
                  <c:v>0.7041315841002546</c:v>
                </c:pt>
                <c:pt idx="21">
                  <c:v>0.8937600175361684</c:v>
                </c:pt>
                <c:pt idx="22">
                  <c:v>1.0019221967963385</c:v>
                </c:pt>
                <c:pt idx="23">
                  <c:v>0.9745166959578208</c:v>
                </c:pt>
                <c:pt idx="24">
                  <c:v>1.0668682459677419</c:v>
                </c:pt>
                <c:pt idx="25">
                  <c:v>0.8518938430983117</c:v>
                </c:pt>
                <c:pt idx="26">
                  <c:v>0.7703963873557451</c:v>
                </c:pt>
                <c:pt idx="27">
                  <c:v>1.075718493893939</c:v>
                </c:pt>
                <c:pt idx="28">
                  <c:v>1.0424060884585806</c:v>
                </c:pt>
                <c:pt idx="29">
                  <c:v>1.2740615976900866</c:v>
                </c:pt>
                <c:pt idx="30">
                  <c:v>0.9857823226208291</c:v>
                </c:pt>
                <c:pt idx="31">
                  <c:v>1.3258007758130517</c:v>
                </c:pt>
                <c:pt idx="32">
                  <c:v>1.1909077628492217</c:v>
                </c:pt>
                <c:pt idx="33">
                  <c:v>1.180308084163898</c:v>
                </c:pt>
                <c:pt idx="34">
                  <c:v>1.0327288027540482</c:v>
                </c:pt>
                <c:pt idx="35">
                  <c:v>1.1838480342116156</c:v>
                </c:pt>
                <c:pt idx="36">
                  <c:v>1.0198339483394834</c:v>
                </c:pt>
                <c:pt idx="37">
                  <c:v>0.7948612066987841</c:v>
                </c:pt>
                <c:pt idx="38">
                  <c:v>1.0170228178196306</c:v>
                </c:pt>
                <c:pt idx="39">
                  <c:v>0.7902953586497891</c:v>
                </c:pt>
                <c:pt idx="40">
                  <c:v>0.9316582997926577</c:v>
                </c:pt>
                <c:pt idx="41">
                  <c:v>0.9506263420130353</c:v>
                </c:pt>
                <c:pt idx="42">
                  <c:v>0.9426530107892551</c:v>
                </c:pt>
                <c:pt idx="43">
                  <c:v>0.9157210629880261</c:v>
                </c:pt>
                <c:pt idx="44">
                  <c:v>0.8043736208280766</c:v>
                </c:pt>
                <c:pt idx="45">
                  <c:v>1.0475599441080576</c:v>
                </c:pt>
                <c:pt idx="46">
                  <c:v>0.7309882141846805</c:v>
                </c:pt>
                <c:pt idx="47">
                  <c:v>0.8199738334060184</c:v>
                </c:pt>
                <c:pt idx="48">
                  <c:v>0.645111721930495</c:v>
                </c:pt>
                <c:pt idx="49">
                  <c:v>0.8297093649085038</c:v>
                </c:pt>
                <c:pt idx="50">
                  <c:v>0.8224527150701648</c:v>
                </c:pt>
                <c:pt idx="51">
                  <c:v>0.8337683554817276</c:v>
                </c:pt>
              </c:numCache>
            </c:numRef>
          </c:xVal>
          <c:yVal>
            <c:numRef>
              <c:f>Sheet1!$B$109:$B$160</c:f>
              <c:numCache>
                <c:formatCode>General</c:formatCode>
                <c:ptCount val="52"/>
                <c:pt idx="0">
                  <c:v>0.125</c:v>
                </c:pt>
                <c:pt idx="1">
                  <c:v>0.17857142857142858</c:v>
                </c:pt>
                <c:pt idx="2">
                  <c:v>0.12307692307692308</c:v>
                </c:pt>
                <c:pt idx="3">
                  <c:v>0.1780821917808219</c:v>
                </c:pt>
                <c:pt idx="4">
                  <c:v>0.14285714285714285</c:v>
                </c:pt>
                <c:pt idx="5">
                  <c:v>0.09230769230769231</c:v>
                </c:pt>
                <c:pt idx="6">
                  <c:v>0.14814814814814814</c:v>
                </c:pt>
                <c:pt idx="7">
                  <c:v>0.15384615384615385</c:v>
                </c:pt>
                <c:pt idx="8">
                  <c:v>0.13978494623655913</c:v>
                </c:pt>
                <c:pt idx="9">
                  <c:v>0.16346153846153846</c:v>
                </c:pt>
                <c:pt idx="10">
                  <c:v>0.13636363636363635</c:v>
                </c:pt>
                <c:pt idx="11">
                  <c:v>0.12871287128712872</c:v>
                </c:pt>
                <c:pt idx="12">
                  <c:v>0.16806722689075632</c:v>
                </c:pt>
                <c:pt idx="13">
                  <c:v>0.1590909090909091</c:v>
                </c:pt>
                <c:pt idx="14">
                  <c:v>0.1125</c:v>
                </c:pt>
                <c:pt idx="15">
                  <c:v>0.10294117647058823</c:v>
                </c:pt>
                <c:pt idx="16">
                  <c:v>0.10909090909090909</c:v>
                </c:pt>
                <c:pt idx="17">
                  <c:v>0.10344827586206896</c:v>
                </c:pt>
                <c:pt idx="18">
                  <c:v>0.17073170731707318</c:v>
                </c:pt>
                <c:pt idx="19">
                  <c:v>0.11363636363636363</c:v>
                </c:pt>
                <c:pt idx="20">
                  <c:v>0.14285714285714285</c:v>
                </c:pt>
                <c:pt idx="21">
                  <c:v>0.13043478260869565</c:v>
                </c:pt>
                <c:pt idx="22">
                  <c:v>0.10204081632653061</c:v>
                </c:pt>
                <c:pt idx="23">
                  <c:v>0.1111111111111111</c:v>
                </c:pt>
                <c:pt idx="24">
                  <c:v>0.15384615384615385</c:v>
                </c:pt>
                <c:pt idx="25">
                  <c:v>0.14583333333333334</c:v>
                </c:pt>
                <c:pt idx="26">
                  <c:v>0.2127659574468085</c:v>
                </c:pt>
                <c:pt idx="27">
                  <c:v>0.15789473684210525</c:v>
                </c:pt>
                <c:pt idx="28">
                  <c:v>0.1568627450980392</c:v>
                </c:pt>
                <c:pt idx="29">
                  <c:v>0.16279069767441862</c:v>
                </c:pt>
                <c:pt idx="30">
                  <c:v>0.1282051282051282</c:v>
                </c:pt>
                <c:pt idx="31">
                  <c:v>0.11428571428571428</c:v>
                </c:pt>
                <c:pt idx="32">
                  <c:v>0.14634146341463414</c:v>
                </c:pt>
                <c:pt idx="33">
                  <c:v>0.21568627450980393</c:v>
                </c:pt>
                <c:pt idx="34">
                  <c:v>0.15476190476190477</c:v>
                </c:pt>
                <c:pt idx="35">
                  <c:v>0.109375</c:v>
                </c:pt>
                <c:pt idx="36">
                  <c:v>0.10256410256410256</c:v>
                </c:pt>
                <c:pt idx="37">
                  <c:v>0.14705882352941177</c:v>
                </c:pt>
                <c:pt idx="38">
                  <c:v>0.13513513513513514</c:v>
                </c:pt>
                <c:pt idx="39">
                  <c:v>0.2033898305084746</c:v>
                </c:pt>
                <c:pt idx="40">
                  <c:v>0.10909090909090909</c:v>
                </c:pt>
                <c:pt idx="41">
                  <c:v>0.09433962264150944</c:v>
                </c:pt>
                <c:pt idx="42">
                  <c:v>0.12857142857142856</c:v>
                </c:pt>
                <c:pt idx="43">
                  <c:v>0.12903225806451613</c:v>
                </c:pt>
                <c:pt idx="44">
                  <c:v>0.11688311688311688</c:v>
                </c:pt>
                <c:pt idx="45">
                  <c:v>0.09574468085106383</c:v>
                </c:pt>
                <c:pt idx="46">
                  <c:v>0.125</c:v>
                </c:pt>
                <c:pt idx="47">
                  <c:v>0.10416666666666667</c:v>
                </c:pt>
                <c:pt idx="48">
                  <c:v>0.06818181818181818</c:v>
                </c:pt>
                <c:pt idx="49">
                  <c:v>0.13008130081300814</c:v>
                </c:pt>
                <c:pt idx="50">
                  <c:v>0.08196721311475409</c:v>
                </c:pt>
                <c:pt idx="51">
                  <c:v>0.0714285714285714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509997983283935</c:v>
                </c:pt>
              </c:numCache>
            </c:numRef>
          </c:xVal>
          <c:yVal>
            <c:numRef>
              <c:f>Sheet1!$B$163:$B$164</c:f>
              <c:numCache>
                <c:formatCode>General</c:formatCode>
                <c:ptCount val="2"/>
                <c:pt idx="0">
                  <c:v>0.2281511025968118</c:v>
                </c:pt>
                <c:pt idx="1">
                  <c:v>0.22815110259681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509997983283935</c:v>
                </c:pt>
                <c:pt idx="1">
                  <c:v>-19.509997983283935</c:v>
                </c:pt>
              </c:numCache>
            </c:numRef>
          </c:xVal>
          <c:yVal>
            <c:numRef>
              <c:f>Sheet1!$B$167:$B$168</c:f>
              <c:numCache>
                <c:formatCode>General</c:formatCode>
                <c:ptCount val="2"/>
                <c:pt idx="0">
                  <c:v>0.22815110259681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878844869705662</c:v>
                </c:pt>
              </c:numCache>
            </c:numRef>
          </c:xVal>
          <c:yVal>
            <c:numRef>
              <c:f>Sheet1!$B$171:$B$172</c:f>
              <c:numCache>
                <c:formatCode>General</c:formatCode>
                <c:ptCount val="2"/>
                <c:pt idx="0">
                  <c:v>0.1509558489888989</c:v>
                </c:pt>
                <c:pt idx="1">
                  <c:v>0.150955848988898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878844869705662</c:v>
                </c:pt>
                <c:pt idx="1">
                  <c:v>-2.878844869705662</c:v>
                </c:pt>
              </c:numCache>
            </c:numRef>
          </c:xVal>
          <c:yVal>
            <c:numRef>
              <c:f>Sheet1!$B$175:$B$176</c:f>
              <c:numCache>
                <c:formatCode>General</c:formatCode>
                <c:ptCount val="2"/>
                <c:pt idx="0">
                  <c:v>0.150955848988898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5.48279452066385</c:v>
                </c:pt>
              </c:numCache>
            </c:numRef>
          </c:xVal>
          <c:yVal>
            <c:numRef>
              <c:f>Sheet1!$B$179:$B$180</c:f>
              <c:numCache>
                <c:formatCode>General</c:formatCode>
                <c:ptCount val="2"/>
                <c:pt idx="0">
                  <c:v>0.11214441667814132</c:v>
                </c:pt>
                <c:pt idx="1">
                  <c:v>0.1121444166781413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5.48279452066385</c:v>
                </c:pt>
                <c:pt idx="1">
                  <c:v>5.48279452066385</c:v>
                </c:pt>
              </c:numCache>
            </c:numRef>
          </c:xVal>
          <c:yVal>
            <c:numRef>
              <c:f>Sheet1!$B$183:$B$184</c:f>
              <c:numCache>
                <c:formatCode>General</c:formatCode>
                <c:ptCount val="2"/>
                <c:pt idx="0">
                  <c:v>0.112144416678141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894349840158399</c:v>
                </c:pt>
                <c:pt idx="1">
                  <c:v>0.5585412667946257</c:v>
                </c:pt>
                <c:pt idx="2">
                  <c:v>0.9660221337975627</c:v>
                </c:pt>
                <c:pt idx="3">
                  <c:v>0.9417314306016923</c:v>
                </c:pt>
                <c:pt idx="4">
                  <c:v>1.035550295159386</c:v>
                </c:pt>
                <c:pt idx="5">
                  <c:v>0.8221319983462337</c:v>
                </c:pt>
                <c:pt idx="6">
                  <c:v>0.9541469752761704</c:v>
                </c:pt>
                <c:pt idx="7">
                  <c:v>0.6919758942191824</c:v>
                </c:pt>
                <c:pt idx="8">
                  <c:v>0.7076649129495489</c:v>
                </c:pt>
                <c:pt idx="9">
                  <c:v>0.693007835412563</c:v>
                </c:pt>
                <c:pt idx="10">
                  <c:v>0.929972602739726</c:v>
                </c:pt>
                <c:pt idx="11">
                  <c:v>0.8130351767334026</c:v>
                </c:pt>
                <c:pt idx="12">
                  <c:v>0.7089763139903007</c:v>
                </c:pt>
                <c:pt idx="13">
                  <c:v>0.7683625363549296</c:v>
                </c:pt>
                <c:pt idx="14">
                  <c:v>0.9288491003422011</c:v>
                </c:pt>
                <c:pt idx="15">
                  <c:v>0.8414253072196621</c:v>
                </c:pt>
                <c:pt idx="16">
                  <c:v>0.9395041302315414</c:v>
                </c:pt>
                <c:pt idx="17">
                  <c:v>0.7105416423995341</c:v>
                </c:pt>
                <c:pt idx="18">
                  <c:v>0.6328703335699077</c:v>
                </c:pt>
                <c:pt idx="19">
                  <c:v>0.9536483571399487</c:v>
                </c:pt>
                <c:pt idx="20">
                  <c:v>0.7041315841002546</c:v>
                </c:pt>
                <c:pt idx="21">
                  <c:v>0.8937600175361684</c:v>
                </c:pt>
                <c:pt idx="22">
                  <c:v>1.0019221967963385</c:v>
                </c:pt>
                <c:pt idx="23">
                  <c:v>0.9745166959578208</c:v>
                </c:pt>
                <c:pt idx="24">
                  <c:v>1.0668682459677419</c:v>
                </c:pt>
                <c:pt idx="25">
                  <c:v>0.8518938430983117</c:v>
                </c:pt>
                <c:pt idx="26">
                  <c:v>0.7703963873557451</c:v>
                </c:pt>
                <c:pt idx="27">
                  <c:v>1.075718493893939</c:v>
                </c:pt>
                <c:pt idx="28">
                  <c:v>1.0424060884585806</c:v>
                </c:pt>
                <c:pt idx="29">
                  <c:v>1.2740615976900866</c:v>
                </c:pt>
                <c:pt idx="30">
                  <c:v>0.9857823226208291</c:v>
                </c:pt>
                <c:pt idx="31">
                  <c:v>1.3258007758130517</c:v>
                </c:pt>
                <c:pt idx="32">
                  <c:v>1.1909077628492217</c:v>
                </c:pt>
                <c:pt idx="33">
                  <c:v>1.180308084163898</c:v>
                </c:pt>
                <c:pt idx="34">
                  <c:v>1.0327288027540482</c:v>
                </c:pt>
                <c:pt idx="35">
                  <c:v>1.1838480342116156</c:v>
                </c:pt>
                <c:pt idx="36">
                  <c:v>1.0198339483394834</c:v>
                </c:pt>
                <c:pt idx="37">
                  <c:v>0.7948612066987841</c:v>
                </c:pt>
                <c:pt idx="38">
                  <c:v>1.0170228178196306</c:v>
                </c:pt>
                <c:pt idx="39">
                  <c:v>0.7902953586497891</c:v>
                </c:pt>
                <c:pt idx="40">
                  <c:v>0.9316582997926577</c:v>
                </c:pt>
                <c:pt idx="41">
                  <c:v>0.9506263420130353</c:v>
                </c:pt>
                <c:pt idx="42">
                  <c:v>0.9426530107892551</c:v>
                </c:pt>
                <c:pt idx="43">
                  <c:v>0.9157210629880261</c:v>
                </c:pt>
                <c:pt idx="44">
                  <c:v>0.8043736208280766</c:v>
                </c:pt>
                <c:pt idx="45">
                  <c:v>1.0475599441080576</c:v>
                </c:pt>
                <c:pt idx="46">
                  <c:v>0.7309882141846805</c:v>
                </c:pt>
                <c:pt idx="47">
                  <c:v>0.8199738334060184</c:v>
                </c:pt>
                <c:pt idx="48">
                  <c:v>0.645111721930495</c:v>
                </c:pt>
                <c:pt idx="49">
                  <c:v>0.8297093649085038</c:v>
                </c:pt>
                <c:pt idx="50">
                  <c:v>0.8224527150701648</c:v>
                </c:pt>
                <c:pt idx="51">
                  <c:v>0.8337683554817276</c:v>
                </c:pt>
                <c:pt idx="52">
                  <c:v>-2.878844869705662</c:v>
                </c:pt>
                <c:pt idx="53">
                  <c:v>-19.509997983283935</c:v>
                </c:pt>
                <c:pt idx="54">
                  <c:v>5.48279452066385</c:v>
                </c:pt>
              </c:numCache>
            </c:numRef>
          </c:xVal>
          <c:yVal>
            <c:numRef>
              <c:f>Sheet1!$B$187:$B$241</c:f>
              <c:numCache>
                <c:formatCode>General</c:formatCode>
                <c:ptCount val="55"/>
                <c:pt idx="0">
                  <c:v>0.13392914063747163</c:v>
                </c:pt>
                <c:pt idx="1">
                  <c:v>0.13500085821084984</c:v>
                </c:pt>
                <c:pt idx="2">
                  <c:v>0.1331094927322299</c:v>
                </c:pt>
                <c:pt idx="3">
                  <c:v>0.13322224059647686</c:v>
                </c:pt>
                <c:pt idx="4">
                  <c:v>0.13278677042833653</c:v>
                </c:pt>
                <c:pt idx="5">
                  <c:v>0.13377737399229564</c:v>
                </c:pt>
                <c:pt idx="6">
                  <c:v>0.13316461253465328</c:v>
                </c:pt>
                <c:pt idx="7">
                  <c:v>0.13438150729550613</c:v>
                </c:pt>
                <c:pt idx="8">
                  <c:v>0.13430868505813756</c:v>
                </c:pt>
                <c:pt idx="9">
                  <c:v>0.1343767174314728</c:v>
                </c:pt>
                <c:pt idx="10">
                  <c:v>0.1332768204378587</c:v>
                </c:pt>
                <c:pt idx="11">
                  <c:v>0.1338195978505352</c:v>
                </c:pt>
                <c:pt idx="12">
                  <c:v>0.13430259805170866</c:v>
                </c:pt>
                <c:pt idx="13">
                  <c:v>0.13402695062877015</c:v>
                </c:pt>
                <c:pt idx="14">
                  <c:v>0.13328203529289093</c:v>
                </c:pt>
                <c:pt idx="15">
                  <c:v>0.13368782206157567</c:v>
                </c:pt>
                <c:pt idx="16">
                  <c:v>0.13323257884637213</c:v>
                </c:pt>
                <c:pt idx="17">
                  <c:v>0.13429533241458144</c:v>
                </c:pt>
                <c:pt idx="18">
                  <c:v>0.13465585199745186</c:v>
                </c:pt>
                <c:pt idx="19">
                  <c:v>0.13316692692339208</c:v>
                </c:pt>
                <c:pt idx="20">
                  <c:v>0.13432508537714966</c:v>
                </c:pt>
                <c:pt idx="21">
                  <c:v>0.13344490497652514</c:v>
                </c:pt>
                <c:pt idx="22">
                  <c:v>0.13294285879838272</c:v>
                </c:pt>
                <c:pt idx="23">
                  <c:v>0.13307006432484464</c:v>
                </c:pt>
                <c:pt idx="24">
                  <c:v>0.1326414048521422</c:v>
                </c:pt>
                <c:pt idx="25">
                  <c:v>0.1336392312467033</c:v>
                </c:pt>
                <c:pt idx="26">
                  <c:v>0.134017510294553</c:v>
                </c:pt>
                <c:pt idx="27">
                  <c:v>0.13260032549171002</c:v>
                </c:pt>
                <c:pt idx="28">
                  <c:v>0.13275494853969175</c:v>
                </c:pt>
                <c:pt idx="29">
                  <c:v>0.13167969502824423</c:v>
                </c:pt>
                <c:pt idx="30">
                  <c:v>0.13301777372891518</c:v>
                </c:pt>
                <c:pt idx="31">
                  <c:v>0.13143954216876472</c:v>
                </c:pt>
                <c:pt idx="32">
                  <c:v>0.1320656623346104</c:v>
                </c:pt>
                <c:pt idx="33">
                  <c:v>0.13211486186267005</c:v>
                </c:pt>
                <c:pt idx="34">
                  <c:v>0.13279986668331628</c:v>
                </c:pt>
                <c:pt idx="35">
                  <c:v>0.13209843081066622</c:v>
                </c:pt>
                <c:pt idx="36">
                  <c:v>0.13285971951191883</c:v>
                </c:pt>
                <c:pt idx="37">
                  <c:v>0.13390395425182042</c:v>
                </c:pt>
                <c:pt idx="38">
                  <c:v>0.13287276767111278</c:v>
                </c:pt>
                <c:pt idx="39">
                  <c:v>0.1339251471177432</c:v>
                </c:pt>
                <c:pt idx="40">
                  <c:v>0.13326899609695952</c:v>
                </c:pt>
                <c:pt idx="41">
                  <c:v>0.1331809539257614</c:v>
                </c:pt>
                <c:pt idx="42">
                  <c:v>0.13321796298470737</c:v>
                </c:pt>
                <c:pt idx="43">
                  <c:v>0.1333429704647343</c:v>
                </c:pt>
                <c:pt idx="44">
                  <c:v>0.13385980137702458</c:v>
                </c:pt>
                <c:pt idx="45">
                  <c:v>0.1327310263743913</c:v>
                </c:pt>
                <c:pt idx="46">
                  <c:v>0.1342004274922596</c:v>
                </c:pt>
                <c:pt idx="47">
                  <c:v>0.1337873913427914</c:v>
                </c:pt>
                <c:pt idx="48">
                  <c:v>0.134599032300552</c:v>
                </c:pt>
                <c:pt idx="49">
                  <c:v>0.13374220284514426</c:v>
                </c:pt>
                <c:pt idx="50">
                  <c:v>0.1337758853517503</c:v>
                </c:pt>
                <c:pt idx="51">
                  <c:v>0.13372336261172496</c:v>
                </c:pt>
                <c:pt idx="52">
                  <c:v>0.1509558489888989</c:v>
                </c:pt>
                <c:pt idx="53">
                  <c:v>0.2281511025968118</c:v>
                </c:pt>
                <c:pt idx="54">
                  <c:v>0.112144416678141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799999999999994"/>
          <c:min val="0.054545454545454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4.1739</c:v>
                </c:pt>
                <c:pt idx="1">
                  <c:v>718.8276</c:v>
                </c:pt>
                <c:pt idx="2">
                  <c:v>722.4815</c:v>
                </c:pt>
                <c:pt idx="3">
                  <c:v>738.9444</c:v>
                </c:pt>
                <c:pt idx="4">
                  <c:v>756.2353</c:v>
                </c:pt>
                <c:pt idx="5">
                  <c:v>753.7727</c:v>
                </c:pt>
                <c:pt idx="6">
                  <c:v>733.0</c:v>
                </c:pt>
                <c:pt idx="7">
                  <c:v>726.7143</c:v>
                </c:pt>
                <c:pt idx="8">
                  <c:v>719.55</c:v>
                </c:pt>
                <c:pt idx="9">
                  <c:v>722.08</c:v>
                </c:pt>
                <c:pt idx="10">
                  <c:v>704.1481</c:v>
                </c:pt>
                <c:pt idx="11">
                  <c:v>736.0385</c:v>
                </c:pt>
                <c:pt idx="12">
                  <c:v>726.25</c:v>
                </c:pt>
                <c:pt idx="13">
                  <c:v>689.7879</c:v>
                </c:pt>
                <c:pt idx="14">
                  <c:v>714.7083</c:v>
                </c:pt>
                <c:pt idx="15">
                  <c:v>731.8182</c:v>
                </c:pt>
                <c:pt idx="16">
                  <c:v>773.0</c:v>
                </c:pt>
                <c:pt idx="17">
                  <c:v>784.0667</c:v>
                </c:pt>
                <c:pt idx="18">
                  <c:v>795.9091</c:v>
                </c:pt>
                <c:pt idx="19">
                  <c:v>773.8889</c:v>
                </c:pt>
                <c:pt idx="20">
                  <c:v>788.9167</c:v>
                </c:pt>
                <c:pt idx="21">
                  <c:v>810.5556</c:v>
                </c:pt>
                <c:pt idx="22">
                  <c:v>831.8333</c:v>
                </c:pt>
                <c:pt idx="23">
                  <c:v>875.8182</c:v>
                </c:pt>
                <c:pt idx="24">
                  <c:v>852.5</c:v>
                </c:pt>
                <c:pt idx="25">
                  <c:v>744.1429</c:v>
                </c:pt>
                <c:pt idx="26">
                  <c:v>666.1176</c:v>
                </c:pt>
                <c:pt idx="27">
                  <c:v>668.1538</c:v>
                </c:pt>
                <c:pt idx="28">
                  <c:v>678.7857</c:v>
                </c:pt>
                <c:pt idx="29">
                  <c:v>728.7857</c:v>
                </c:pt>
                <c:pt idx="30">
                  <c:v>671.9091</c:v>
                </c:pt>
                <c:pt idx="31">
                  <c:v>746.0</c:v>
                </c:pt>
                <c:pt idx="32">
                  <c:v>893.0</c:v>
                </c:pt>
                <c:pt idx="33">
                  <c:v>768.9</c:v>
                </c:pt>
                <c:pt idx="34">
                  <c:v>807.2143</c:v>
                </c:pt>
                <c:pt idx="35">
                  <c:v>852.0</c:v>
                </c:pt>
                <c:pt idx="36">
                  <c:v>879.4444</c:v>
                </c:pt>
                <c:pt idx="37">
                  <c:v>840.6667</c:v>
                </c:pt>
                <c:pt idx="38">
                  <c:v>932.7778</c:v>
                </c:pt>
                <c:pt idx="39">
                  <c:v>896.0833</c:v>
                </c:pt>
                <c:pt idx="40">
                  <c:v>892.5385</c:v>
                </c:pt>
                <c:pt idx="41">
                  <c:v>953.625</c:v>
                </c:pt>
                <c:pt idx="42">
                  <c:v>967.125</c:v>
                </c:pt>
                <c:pt idx="43">
                  <c:v>917.6429</c:v>
                </c:pt>
                <c:pt idx="44">
                  <c:v>889.6471</c:v>
                </c:pt>
                <c:pt idx="45">
                  <c:v>880.2692</c:v>
                </c:pt>
                <c:pt idx="46">
                  <c:v>840.2778</c:v>
                </c:pt>
                <c:pt idx="47">
                  <c:v>845.28</c:v>
                </c:pt>
                <c:pt idx="48">
                  <c:v>865.7333</c:v>
                </c:pt>
                <c:pt idx="49">
                  <c:v>853.46</c:v>
                </c:pt>
                <c:pt idx="50">
                  <c:v>843.9583</c:v>
                </c:pt>
                <c:pt idx="51">
                  <c:v>898.2778</c:v>
                </c:pt>
                <c:pt idx="52">
                  <c:v>892.5</c:v>
                </c:pt>
                <c:pt idx="53">
                  <c:v>936.3</c:v>
                </c:pt>
                <c:pt idx="54">
                  <c:v>895.0</c:v>
                </c:pt>
                <c:pt idx="55">
                  <c:v>971.0</c:v>
                </c:pt>
                <c:pt idx="56">
                  <c:v>908.5882</c:v>
                </c:pt>
                <c:pt idx="57">
                  <c:v>915.8182</c:v>
                </c:pt>
                <c:pt idx="58">
                  <c:v>867.9333</c:v>
                </c:pt>
                <c:pt idx="59">
                  <c:v>883.7</c:v>
                </c:pt>
                <c:pt idx="60">
                  <c:v>849.3125</c:v>
                </c:pt>
                <c:pt idx="61">
                  <c:v>918.3077</c:v>
                </c:pt>
                <c:pt idx="62">
                  <c:v>845.375</c:v>
                </c:pt>
                <c:pt idx="63">
                  <c:v>799.3913</c:v>
                </c:pt>
                <c:pt idx="64">
                  <c:v>835.1667</c:v>
                </c:pt>
                <c:pt idx="65">
                  <c:v>806.1765</c:v>
                </c:pt>
                <c:pt idx="66">
                  <c:v>666.8824</c:v>
                </c:pt>
                <c:pt idx="67">
                  <c:v>670.6667</c:v>
                </c:pt>
                <c:pt idx="68">
                  <c:v>574.5714</c:v>
                </c:pt>
                <c:pt idx="69">
                  <c:v>560.8462</c:v>
                </c:pt>
                <c:pt idx="70">
                  <c:v>630.7143</c:v>
                </c:pt>
                <c:pt idx="71">
                  <c:v>885.4286</c:v>
                </c:pt>
                <c:pt idx="72">
                  <c:v>349.4783</c:v>
                </c:pt>
                <c:pt idx="73">
                  <c:v>397.0</c:v>
                </c:pt>
                <c:pt idx="74">
                  <c:v>1012.0</c:v>
                </c:pt>
                <c:pt idx="75">
                  <c:v>881.7143</c:v>
                </c:pt>
                <c:pt idx="76">
                  <c:v>850.2</c:v>
                </c:pt>
                <c:pt idx="77">
                  <c:v>765.4</c:v>
                </c:pt>
                <c:pt idx="78">
                  <c:v>850.25</c:v>
                </c:pt>
                <c:pt idx="79">
                  <c:v>1055.4</c:v>
                </c:pt>
                <c:pt idx="80">
                  <c:v>940.4</c:v>
                </c:pt>
                <c:pt idx="81">
                  <c:v>1071.5</c:v>
                </c:pt>
                <c:pt idx="82">
                  <c:v>905.4</c:v>
                </c:pt>
                <c:pt idx="83">
                  <c:v>941.75</c:v>
                </c:pt>
                <c:pt idx="84">
                  <c:v>826.1667</c:v>
                </c:pt>
                <c:pt idx="85">
                  <c:v>923.0</c:v>
                </c:pt>
                <c:pt idx="86">
                  <c:v>823.0</c:v>
                </c:pt>
                <c:pt idx="87">
                  <c:v>945.125</c:v>
                </c:pt>
                <c:pt idx="88">
                  <c:v>908.75</c:v>
                </c:pt>
                <c:pt idx="89">
                  <c:v>679.4286</c:v>
                </c:pt>
                <c:pt idx="90">
                  <c:v>728.125</c:v>
                </c:pt>
                <c:pt idx="91">
                  <c:v>581.4286</c:v>
                </c:pt>
                <c:pt idx="92">
                  <c:v>500.8571</c:v>
                </c:pt>
                <c:pt idx="93">
                  <c:v>509.3333</c:v>
                </c:pt>
                <c:pt idx="94">
                  <c:v>774.3636</c:v>
                </c:pt>
                <c:pt idx="95">
                  <c:v>724.4444</c:v>
                </c:pt>
                <c:pt idx="96">
                  <c:v>709.7692</c:v>
                </c:pt>
                <c:pt idx="97">
                  <c:v>780.6</c:v>
                </c:pt>
                <c:pt idx="98">
                  <c:v>875.6667</c:v>
                </c:pt>
                <c:pt idx="99">
                  <c:v>661.8824</c:v>
                </c:pt>
                <c:pt idx="100">
                  <c:v>689.1538</c:v>
                </c:pt>
                <c:pt idx="101">
                  <c:v>720.8333</c:v>
                </c:pt>
                <c:pt idx="102">
                  <c:v>547.8</c:v>
                </c:pt>
                <c:pt idx="103">
                  <c:v>537.0</c:v>
                </c:pt>
                <c:pt idx="104">
                  <c:v>789.7143</c:v>
                </c:pt>
              </c:numCache>
            </c:numRef>
          </c:xVal>
          <c:yVal>
            <c:numRef>
              <c:f>Sheet1!$B$2:$B$106</c:f>
              <c:numCache>
                <c:formatCode>General</c:formatCode>
                <c:ptCount val="105"/>
                <c:pt idx="0">
                  <c:v>0.21296296296296297</c:v>
                </c:pt>
                <c:pt idx="1">
                  <c:v>0.25892857142857145</c:v>
                </c:pt>
                <c:pt idx="2">
                  <c:v>0.28421052631578947</c:v>
                </c:pt>
                <c:pt idx="3">
                  <c:v>0.20454545454545456</c:v>
                </c:pt>
                <c:pt idx="4">
                  <c:v>0.19767441860465115</c:v>
                </c:pt>
                <c:pt idx="5">
                  <c:v>0.21359223300970873</c:v>
                </c:pt>
                <c:pt idx="6">
                  <c:v>0.23958333333333334</c:v>
                </c:pt>
                <c:pt idx="7">
                  <c:v>0.2616822429906542</c:v>
                </c:pt>
                <c:pt idx="8">
                  <c:v>0.18018018018018017</c:v>
                </c:pt>
                <c:pt idx="9">
                  <c:v>0.21367521367521367</c:v>
                </c:pt>
                <c:pt idx="10">
                  <c:v>0.19148936170212766</c:v>
                </c:pt>
                <c:pt idx="11">
                  <c:v>0.1984732824427481</c:v>
                </c:pt>
                <c:pt idx="12">
                  <c:v>0.23880597014925373</c:v>
                </c:pt>
                <c:pt idx="13">
                  <c:v>0.2619047619047619</c:v>
                </c:pt>
                <c:pt idx="14">
                  <c:v>0.21621621621621623</c:v>
                </c:pt>
                <c:pt idx="15">
                  <c:v>0.22</c:v>
                </c:pt>
                <c:pt idx="16">
                  <c:v>0.1927710843373494</c:v>
                </c:pt>
                <c:pt idx="17">
                  <c:v>0.19736842105263158</c:v>
                </c:pt>
                <c:pt idx="18">
                  <c:v>0.18333333333333332</c:v>
                </c:pt>
                <c:pt idx="19">
                  <c:v>0.1875</c:v>
                </c:pt>
                <c:pt idx="20">
                  <c:v>0.1791044776119403</c:v>
                </c:pt>
                <c:pt idx="21">
                  <c:v>0.16981132075471697</c:v>
                </c:pt>
                <c:pt idx="22">
                  <c:v>0.23529411764705882</c:v>
                </c:pt>
                <c:pt idx="23">
                  <c:v>0.18032786885245902</c:v>
                </c:pt>
                <c:pt idx="24">
                  <c:v>0.1694915254237288</c:v>
                </c:pt>
                <c:pt idx="25">
                  <c:v>0.24561403508771928</c:v>
                </c:pt>
                <c:pt idx="26">
                  <c:v>0.288135593220339</c:v>
                </c:pt>
                <c:pt idx="27">
                  <c:v>0.28888888888888886</c:v>
                </c:pt>
                <c:pt idx="28">
                  <c:v>0.27450980392156865</c:v>
                </c:pt>
                <c:pt idx="29">
                  <c:v>0.2413793103448276</c:v>
                </c:pt>
                <c:pt idx="30">
                  <c:v>0.18333333333333332</c:v>
                </c:pt>
                <c:pt idx="31">
                  <c:v>0.23529411764705882</c:v>
                </c:pt>
                <c:pt idx="32">
                  <c:v>0.14634146341463414</c:v>
                </c:pt>
                <c:pt idx="33">
                  <c:v>0.14492753623188406</c:v>
                </c:pt>
                <c:pt idx="34">
                  <c:v>0.18181818181818182</c:v>
                </c:pt>
                <c:pt idx="35">
                  <c:v>0.1523809523809524</c:v>
                </c:pt>
                <c:pt idx="36">
                  <c:v>0.13846153846153847</c:v>
                </c:pt>
                <c:pt idx="37">
                  <c:v>0.1016949152542373</c:v>
                </c:pt>
                <c:pt idx="38">
                  <c:v>0.15789473684210525</c:v>
                </c:pt>
                <c:pt idx="39">
                  <c:v>0.2553191489361702</c:v>
                </c:pt>
                <c:pt idx="40">
                  <c:v>0.2</c:v>
                </c:pt>
                <c:pt idx="41">
                  <c:v>0.125</c:v>
                </c:pt>
                <c:pt idx="42">
                  <c:v>0.14035087719298245</c:v>
                </c:pt>
                <c:pt idx="43">
                  <c:v>0.22580645161290322</c:v>
                </c:pt>
                <c:pt idx="44">
                  <c:v>0.21794871794871795</c:v>
                </c:pt>
                <c:pt idx="45">
                  <c:v>0.23853211009174313</c:v>
                </c:pt>
                <c:pt idx="46">
                  <c:v>0.2482758620689655</c:v>
                </c:pt>
                <c:pt idx="47">
                  <c:v>0.20161290322580644</c:v>
                </c:pt>
                <c:pt idx="48">
                  <c:v>0.1875</c:v>
                </c:pt>
                <c:pt idx="49">
                  <c:v>0.2109704641350211</c:v>
                </c:pt>
                <c:pt idx="50">
                  <c:v>0.18461538461538463</c:v>
                </c:pt>
                <c:pt idx="51">
                  <c:v>0.21428571428571427</c:v>
                </c:pt>
                <c:pt idx="52">
                  <c:v>0.21176470588235294</c:v>
                </c:pt>
                <c:pt idx="53">
                  <c:v>0.12345679012345678</c:v>
                </c:pt>
                <c:pt idx="54">
                  <c:v>0.16666666666666666</c:v>
                </c:pt>
                <c:pt idx="55">
                  <c:v>0.1267605633802817</c:v>
                </c:pt>
                <c:pt idx="56">
                  <c:v>0.22972972972972974</c:v>
                </c:pt>
                <c:pt idx="57">
                  <c:v>0.14285714285714285</c:v>
                </c:pt>
                <c:pt idx="58">
                  <c:v>0.15151515151515152</c:v>
                </c:pt>
                <c:pt idx="59">
                  <c:v>0.11363636363636363</c:v>
                </c:pt>
                <c:pt idx="60">
                  <c:v>0.1797752808988764</c:v>
                </c:pt>
                <c:pt idx="61">
                  <c:v>0.13131313131313133</c:v>
                </c:pt>
                <c:pt idx="62">
                  <c:v>0.13559322033898305</c:v>
                </c:pt>
                <c:pt idx="63">
                  <c:v>0.19658119658119658</c:v>
                </c:pt>
                <c:pt idx="64">
                  <c:v>0.13846153846153847</c:v>
                </c:pt>
                <c:pt idx="65">
                  <c:v>0.1619047619047619</c:v>
                </c:pt>
                <c:pt idx="66">
                  <c:v>0.18085106382978725</c:v>
                </c:pt>
                <c:pt idx="67">
                  <c:v>0.1935483870967742</c:v>
                </c:pt>
                <c:pt idx="68">
                  <c:v>0.2222222222222222</c:v>
                </c:pt>
                <c:pt idx="69">
                  <c:v>0.20634920634920634</c:v>
                </c:pt>
                <c:pt idx="70">
                  <c:v>0.125</c:v>
                </c:pt>
                <c:pt idx="71">
                  <c:v>0.14285714285714285</c:v>
                </c:pt>
                <c:pt idx="72">
                  <c:v>0.30666666666666664</c:v>
                </c:pt>
                <c:pt idx="73">
                  <c:v>0.2916666666666667</c:v>
                </c:pt>
                <c:pt idx="74">
                  <c:v>0.10869565217391304</c:v>
                </c:pt>
                <c:pt idx="75">
                  <c:v>0.14583333333333334</c:v>
                </c:pt>
                <c:pt idx="76">
                  <c:v>0.15625</c:v>
                </c:pt>
                <c:pt idx="77">
                  <c:v>0.13157894736842105</c:v>
                </c:pt>
                <c:pt idx="78">
                  <c:v>0.1568627450980392</c:v>
                </c:pt>
                <c:pt idx="79">
                  <c:v>0.11627906976744186</c:v>
                </c:pt>
                <c:pt idx="80">
                  <c:v>0.13513513513513514</c:v>
                </c:pt>
                <c:pt idx="81">
                  <c:v>0.09523809523809523</c:v>
                </c:pt>
                <c:pt idx="82">
                  <c:v>0.12195121951219512</c:v>
                </c:pt>
                <c:pt idx="83">
                  <c:v>0.10256410256410256</c:v>
                </c:pt>
                <c:pt idx="84">
                  <c:v>0.14285714285714285</c:v>
                </c:pt>
                <c:pt idx="85">
                  <c:v>0.14545454545454545</c:v>
                </c:pt>
                <c:pt idx="86">
                  <c:v>0.07692307692307693</c:v>
                </c:pt>
                <c:pt idx="87">
                  <c:v>0.10256410256410256</c:v>
                </c:pt>
                <c:pt idx="88">
                  <c:v>0.0851063829787234</c:v>
                </c:pt>
                <c:pt idx="89">
                  <c:v>0.15217391304347827</c:v>
                </c:pt>
                <c:pt idx="90">
                  <c:v>0.19047619047619047</c:v>
                </c:pt>
                <c:pt idx="91">
                  <c:v>0.18421052631578946</c:v>
                </c:pt>
                <c:pt idx="92">
                  <c:v>0.14285714285714285</c:v>
                </c:pt>
                <c:pt idx="93">
                  <c:v>0.2</c:v>
                </c:pt>
                <c:pt idx="94">
                  <c:v>0.2558139534883721</c:v>
                </c:pt>
                <c:pt idx="95">
                  <c:v>0.13846153846153847</c:v>
                </c:pt>
                <c:pt idx="96">
                  <c:v>0.2</c:v>
                </c:pt>
                <c:pt idx="97">
                  <c:v>0.14285714285714285</c:v>
                </c:pt>
                <c:pt idx="98">
                  <c:v>0.10112359550561797</c:v>
                </c:pt>
                <c:pt idx="99">
                  <c:v>0.14655172413793102</c:v>
                </c:pt>
                <c:pt idx="100">
                  <c:v>0.15853658536585366</c:v>
                </c:pt>
                <c:pt idx="101">
                  <c:v>0.14457831325301204</c:v>
                </c:pt>
                <c:pt idx="102">
                  <c:v>0.15873015873015872</c:v>
                </c:pt>
                <c:pt idx="103">
                  <c:v>0.1875</c:v>
                </c:pt>
                <c:pt idx="104">
                  <c:v>0.1129032258064516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805.75</c:v>
                </c:pt>
                <c:pt idx="1">
                  <c:v>582.0</c:v>
                </c:pt>
                <c:pt idx="2">
                  <c:v>776.875</c:v>
                </c:pt>
                <c:pt idx="3">
                  <c:v>900.9231</c:v>
                </c:pt>
                <c:pt idx="4">
                  <c:v>877.1111</c:v>
                </c:pt>
                <c:pt idx="5">
                  <c:v>882.5</c:v>
                </c:pt>
                <c:pt idx="6">
                  <c:v>906.9167</c:v>
                </c:pt>
                <c:pt idx="7">
                  <c:v>756.2143</c:v>
                </c:pt>
                <c:pt idx="8">
                  <c:v>696.0769</c:v>
                </c:pt>
                <c:pt idx="9">
                  <c:v>791.5882</c:v>
                </c:pt>
                <c:pt idx="10">
                  <c:v>848.6</c:v>
                </c:pt>
                <c:pt idx="11">
                  <c:v>700.3846</c:v>
                </c:pt>
                <c:pt idx="12">
                  <c:v>843.8</c:v>
                </c:pt>
                <c:pt idx="13">
                  <c:v>690.4286</c:v>
                </c:pt>
                <c:pt idx="14">
                  <c:v>841.4444</c:v>
                </c:pt>
                <c:pt idx="15">
                  <c:v>876.4286</c:v>
                </c:pt>
                <c:pt idx="16">
                  <c:v>947.3333</c:v>
                </c:pt>
                <c:pt idx="17">
                  <c:v>915.0</c:v>
                </c:pt>
                <c:pt idx="18">
                  <c:v>891.7143</c:v>
                </c:pt>
                <c:pt idx="19">
                  <c:v>840.8</c:v>
                </c:pt>
                <c:pt idx="20">
                  <c:v>899.0</c:v>
                </c:pt>
                <c:pt idx="21">
                  <c:v>1019.3333</c:v>
                </c:pt>
                <c:pt idx="22">
                  <c:v>1094.6</c:v>
                </c:pt>
                <c:pt idx="23">
                  <c:v>1109.0</c:v>
                </c:pt>
                <c:pt idx="24">
                  <c:v>1058.3333</c:v>
                </c:pt>
                <c:pt idx="25">
                  <c:v>857.8571</c:v>
                </c:pt>
                <c:pt idx="26">
                  <c:v>767.7</c:v>
                </c:pt>
                <c:pt idx="27">
                  <c:v>973.1667</c:v>
                </c:pt>
                <c:pt idx="28">
                  <c:v>930.0</c:v>
                </c:pt>
                <c:pt idx="29">
                  <c:v>1059.0</c:v>
                </c:pt>
                <c:pt idx="30">
                  <c:v>1035.4</c:v>
                </c:pt>
                <c:pt idx="31">
                  <c:v>928.25</c:v>
                </c:pt>
                <c:pt idx="32">
                  <c:v>1116.8333</c:v>
                </c:pt>
                <c:pt idx="33">
                  <c:v>1065.8182</c:v>
                </c:pt>
                <c:pt idx="34">
                  <c:v>1012.4615</c:v>
                </c:pt>
                <c:pt idx="35">
                  <c:v>1072.7143</c:v>
                </c:pt>
                <c:pt idx="36">
                  <c:v>1105.5</c:v>
                </c:pt>
                <c:pt idx="37">
                  <c:v>866.2</c:v>
                </c:pt>
                <c:pt idx="38">
                  <c:v>1123.2</c:v>
                </c:pt>
                <c:pt idx="39">
                  <c:v>936.5</c:v>
                </c:pt>
                <c:pt idx="40">
                  <c:v>954.8333</c:v>
                </c:pt>
                <c:pt idx="41">
                  <c:v>1040.8</c:v>
                </c:pt>
                <c:pt idx="42">
                  <c:v>1026.4444</c:v>
                </c:pt>
                <c:pt idx="43">
                  <c:v>910.125</c:v>
                </c:pt>
                <c:pt idx="44">
                  <c:v>876.6667</c:v>
                </c:pt>
                <c:pt idx="45">
                  <c:v>1124.5556</c:v>
                </c:pt>
                <c:pt idx="46">
                  <c:v>868.7273</c:v>
                </c:pt>
                <c:pt idx="47">
                  <c:v>940.1</c:v>
                </c:pt>
                <c:pt idx="48">
                  <c:v>769.8333</c:v>
                </c:pt>
                <c:pt idx="49">
                  <c:v>963.5</c:v>
                </c:pt>
                <c:pt idx="50">
                  <c:v>943.6</c:v>
                </c:pt>
                <c:pt idx="51">
                  <c:v>1003.8571</c:v>
                </c:pt>
              </c:numCache>
            </c:numRef>
          </c:xVal>
          <c:yVal>
            <c:numRef>
              <c:f>Sheet1!$B$109:$B$160</c:f>
              <c:numCache>
                <c:formatCode>General</c:formatCode>
                <c:ptCount val="52"/>
                <c:pt idx="0">
                  <c:v>0.125</c:v>
                </c:pt>
                <c:pt idx="1">
                  <c:v>0.17857142857142858</c:v>
                </c:pt>
                <c:pt idx="2">
                  <c:v>0.12307692307692308</c:v>
                </c:pt>
                <c:pt idx="3">
                  <c:v>0.1780821917808219</c:v>
                </c:pt>
                <c:pt idx="4">
                  <c:v>0.14285714285714285</c:v>
                </c:pt>
                <c:pt idx="5">
                  <c:v>0.09230769230769231</c:v>
                </c:pt>
                <c:pt idx="6">
                  <c:v>0.14814814814814814</c:v>
                </c:pt>
                <c:pt idx="7">
                  <c:v>0.15384615384615385</c:v>
                </c:pt>
                <c:pt idx="8">
                  <c:v>0.13978494623655913</c:v>
                </c:pt>
                <c:pt idx="9">
                  <c:v>0.16346153846153846</c:v>
                </c:pt>
                <c:pt idx="10">
                  <c:v>0.13636363636363635</c:v>
                </c:pt>
                <c:pt idx="11">
                  <c:v>0.12871287128712872</c:v>
                </c:pt>
                <c:pt idx="12">
                  <c:v>0.16806722689075632</c:v>
                </c:pt>
                <c:pt idx="13">
                  <c:v>0.1590909090909091</c:v>
                </c:pt>
                <c:pt idx="14">
                  <c:v>0.1125</c:v>
                </c:pt>
                <c:pt idx="15">
                  <c:v>0.10294117647058823</c:v>
                </c:pt>
                <c:pt idx="16">
                  <c:v>0.10909090909090909</c:v>
                </c:pt>
                <c:pt idx="17">
                  <c:v>0.10344827586206896</c:v>
                </c:pt>
                <c:pt idx="18">
                  <c:v>0.17073170731707318</c:v>
                </c:pt>
                <c:pt idx="19">
                  <c:v>0.11363636363636363</c:v>
                </c:pt>
                <c:pt idx="20">
                  <c:v>0.14285714285714285</c:v>
                </c:pt>
                <c:pt idx="21">
                  <c:v>0.13043478260869565</c:v>
                </c:pt>
                <c:pt idx="22">
                  <c:v>0.10204081632653061</c:v>
                </c:pt>
                <c:pt idx="23">
                  <c:v>0.1111111111111111</c:v>
                </c:pt>
                <c:pt idx="24">
                  <c:v>0.15384615384615385</c:v>
                </c:pt>
                <c:pt idx="25">
                  <c:v>0.14583333333333334</c:v>
                </c:pt>
                <c:pt idx="26">
                  <c:v>0.2127659574468085</c:v>
                </c:pt>
                <c:pt idx="27">
                  <c:v>0.15789473684210525</c:v>
                </c:pt>
                <c:pt idx="28">
                  <c:v>0.1568627450980392</c:v>
                </c:pt>
                <c:pt idx="29">
                  <c:v>0.16279069767441862</c:v>
                </c:pt>
                <c:pt idx="30">
                  <c:v>0.1282051282051282</c:v>
                </c:pt>
                <c:pt idx="31">
                  <c:v>0.11428571428571428</c:v>
                </c:pt>
                <c:pt idx="32">
                  <c:v>0.14634146341463414</c:v>
                </c:pt>
                <c:pt idx="33">
                  <c:v>0.21568627450980393</c:v>
                </c:pt>
                <c:pt idx="34">
                  <c:v>0.15476190476190477</c:v>
                </c:pt>
                <c:pt idx="35">
                  <c:v>0.109375</c:v>
                </c:pt>
                <c:pt idx="36">
                  <c:v>0.10256410256410256</c:v>
                </c:pt>
                <c:pt idx="37">
                  <c:v>0.14705882352941177</c:v>
                </c:pt>
                <c:pt idx="38">
                  <c:v>0.13513513513513514</c:v>
                </c:pt>
                <c:pt idx="39">
                  <c:v>0.2033898305084746</c:v>
                </c:pt>
                <c:pt idx="40">
                  <c:v>0.10909090909090909</c:v>
                </c:pt>
                <c:pt idx="41">
                  <c:v>0.09433962264150944</c:v>
                </c:pt>
                <c:pt idx="42">
                  <c:v>0.12857142857142856</c:v>
                </c:pt>
                <c:pt idx="43">
                  <c:v>0.12903225806451613</c:v>
                </c:pt>
                <c:pt idx="44">
                  <c:v>0.11688311688311688</c:v>
                </c:pt>
                <c:pt idx="45">
                  <c:v>0.09574468085106383</c:v>
                </c:pt>
                <c:pt idx="46">
                  <c:v>0.125</c:v>
                </c:pt>
                <c:pt idx="47">
                  <c:v>0.10416666666666667</c:v>
                </c:pt>
                <c:pt idx="48">
                  <c:v>0.06818181818181818</c:v>
                </c:pt>
                <c:pt idx="49">
                  <c:v>0.13008130081300814</c:v>
                </c:pt>
                <c:pt idx="50">
                  <c:v>0.08196721311475409</c:v>
                </c:pt>
                <c:pt idx="51">
                  <c:v>0.0714285714285714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8.863800243182</c:v>
                </c:pt>
              </c:numCache>
            </c:numRef>
          </c:xVal>
          <c:yVal>
            <c:numRef>
              <c:f>Sheet1!$B$163:$B$164</c:f>
              <c:numCache>
                <c:formatCode>General</c:formatCode>
                <c:ptCount val="2"/>
                <c:pt idx="0">
                  <c:v>0.2281511025968118</c:v>
                </c:pt>
                <c:pt idx="1">
                  <c:v>0.22815110259681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8.863800243182</c:v>
                </c:pt>
                <c:pt idx="1">
                  <c:v>-838.863800243182</c:v>
                </c:pt>
              </c:numCache>
            </c:numRef>
          </c:xVal>
          <c:yVal>
            <c:numRef>
              <c:f>Sheet1!$B$167:$B$168</c:f>
              <c:numCache>
                <c:formatCode>General</c:formatCode>
                <c:ptCount val="2"/>
                <c:pt idx="0">
                  <c:v>0.22815110259681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94.0768230136237</c:v>
                </c:pt>
              </c:numCache>
            </c:numRef>
          </c:xVal>
          <c:yVal>
            <c:numRef>
              <c:f>Sheet1!$B$171:$B$172</c:f>
              <c:numCache>
                <c:formatCode>General</c:formatCode>
                <c:ptCount val="2"/>
                <c:pt idx="0">
                  <c:v>0.1509558489888989</c:v>
                </c:pt>
                <c:pt idx="1">
                  <c:v>0.150955848988898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94.0768230136237</c:v>
                </c:pt>
                <c:pt idx="1">
                  <c:v>594.0768230136237</c:v>
                </c:pt>
              </c:numCache>
            </c:numRef>
          </c:xVal>
          <c:yVal>
            <c:numRef>
              <c:f>Sheet1!$B$175:$B$176</c:f>
              <c:numCache>
                <c:formatCode>General</c:formatCode>
                <c:ptCount val="2"/>
                <c:pt idx="0">
                  <c:v>0.150955848988898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4.5159096878017</c:v>
                </c:pt>
              </c:numCache>
            </c:numRef>
          </c:xVal>
          <c:yVal>
            <c:numRef>
              <c:f>Sheet1!$B$179:$B$180</c:f>
              <c:numCache>
                <c:formatCode>General</c:formatCode>
                <c:ptCount val="2"/>
                <c:pt idx="0">
                  <c:v>0.11214441667814132</c:v>
                </c:pt>
                <c:pt idx="1">
                  <c:v>0.1121444166781413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4.5159096878017</c:v>
                </c:pt>
                <c:pt idx="1">
                  <c:v>1314.5159096878017</c:v>
                </c:pt>
              </c:numCache>
            </c:numRef>
          </c:xVal>
          <c:yVal>
            <c:numRef>
              <c:f>Sheet1!$B$183:$B$184</c:f>
              <c:numCache>
                <c:formatCode>General</c:formatCode>
                <c:ptCount val="2"/>
                <c:pt idx="0">
                  <c:v>0.112144416678141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805.75</c:v>
                </c:pt>
                <c:pt idx="1">
                  <c:v>582.0</c:v>
                </c:pt>
                <c:pt idx="2">
                  <c:v>776.875</c:v>
                </c:pt>
                <c:pt idx="3">
                  <c:v>900.9231</c:v>
                </c:pt>
                <c:pt idx="4">
                  <c:v>877.1111</c:v>
                </c:pt>
                <c:pt idx="5">
                  <c:v>882.5</c:v>
                </c:pt>
                <c:pt idx="6">
                  <c:v>906.9167</c:v>
                </c:pt>
                <c:pt idx="7">
                  <c:v>756.2143</c:v>
                </c:pt>
                <c:pt idx="8">
                  <c:v>696.0769</c:v>
                </c:pt>
                <c:pt idx="9">
                  <c:v>791.5882</c:v>
                </c:pt>
                <c:pt idx="10">
                  <c:v>848.6</c:v>
                </c:pt>
                <c:pt idx="11">
                  <c:v>700.3846</c:v>
                </c:pt>
                <c:pt idx="12">
                  <c:v>843.8</c:v>
                </c:pt>
                <c:pt idx="13">
                  <c:v>690.4286</c:v>
                </c:pt>
                <c:pt idx="14">
                  <c:v>841.4444</c:v>
                </c:pt>
                <c:pt idx="15">
                  <c:v>876.4286</c:v>
                </c:pt>
                <c:pt idx="16">
                  <c:v>947.3333</c:v>
                </c:pt>
                <c:pt idx="17">
                  <c:v>915.0</c:v>
                </c:pt>
                <c:pt idx="18">
                  <c:v>891.7143</c:v>
                </c:pt>
                <c:pt idx="19">
                  <c:v>840.8</c:v>
                </c:pt>
                <c:pt idx="20">
                  <c:v>899.0</c:v>
                </c:pt>
                <c:pt idx="21">
                  <c:v>1019.3333</c:v>
                </c:pt>
                <c:pt idx="22">
                  <c:v>1094.6</c:v>
                </c:pt>
                <c:pt idx="23">
                  <c:v>1109.0</c:v>
                </c:pt>
                <c:pt idx="24">
                  <c:v>1058.3333</c:v>
                </c:pt>
                <c:pt idx="25">
                  <c:v>857.8571</c:v>
                </c:pt>
                <c:pt idx="26">
                  <c:v>767.7</c:v>
                </c:pt>
                <c:pt idx="27">
                  <c:v>973.1667</c:v>
                </c:pt>
                <c:pt idx="28">
                  <c:v>930.0</c:v>
                </c:pt>
                <c:pt idx="29">
                  <c:v>1059.0</c:v>
                </c:pt>
                <c:pt idx="30">
                  <c:v>1035.4</c:v>
                </c:pt>
                <c:pt idx="31">
                  <c:v>928.25</c:v>
                </c:pt>
                <c:pt idx="32">
                  <c:v>1116.8333</c:v>
                </c:pt>
                <c:pt idx="33">
                  <c:v>1065.8182</c:v>
                </c:pt>
                <c:pt idx="34">
                  <c:v>1012.4615</c:v>
                </c:pt>
                <c:pt idx="35">
                  <c:v>1072.7143</c:v>
                </c:pt>
                <c:pt idx="36">
                  <c:v>1105.5</c:v>
                </c:pt>
                <c:pt idx="37">
                  <c:v>866.2</c:v>
                </c:pt>
                <c:pt idx="38">
                  <c:v>1123.2</c:v>
                </c:pt>
                <c:pt idx="39">
                  <c:v>936.5</c:v>
                </c:pt>
                <c:pt idx="40">
                  <c:v>954.8333</c:v>
                </c:pt>
                <c:pt idx="41">
                  <c:v>1040.8</c:v>
                </c:pt>
                <c:pt idx="42">
                  <c:v>1026.4444</c:v>
                </c:pt>
                <c:pt idx="43">
                  <c:v>910.125</c:v>
                </c:pt>
                <c:pt idx="44">
                  <c:v>876.6667</c:v>
                </c:pt>
                <c:pt idx="45">
                  <c:v>1124.5556</c:v>
                </c:pt>
                <c:pt idx="46">
                  <c:v>868.7273</c:v>
                </c:pt>
                <c:pt idx="47">
                  <c:v>940.1</c:v>
                </c:pt>
                <c:pt idx="48">
                  <c:v>769.8333</c:v>
                </c:pt>
                <c:pt idx="49">
                  <c:v>963.5</c:v>
                </c:pt>
                <c:pt idx="50">
                  <c:v>943.6</c:v>
                </c:pt>
                <c:pt idx="51">
                  <c:v>1003.8571</c:v>
                </c:pt>
                <c:pt idx="52">
                  <c:v>594.0768230136237</c:v>
                </c:pt>
                <c:pt idx="53">
                  <c:v>-838.863800243182</c:v>
                </c:pt>
                <c:pt idx="54">
                  <c:v>1314.5159096878017</c:v>
                </c:pt>
              </c:numCache>
            </c:numRef>
          </c:xVal>
          <c:yVal>
            <c:numRef>
              <c:f>Sheet1!$B$187:$B$241</c:f>
              <c:numCache>
                <c:formatCode>General</c:formatCode>
                <c:ptCount val="55"/>
                <c:pt idx="0">
                  <c:v>0.1395526098635276</c:v>
                </c:pt>
                <c:pt idx="1">
                  <c:v>0.15160645055618205</c:v>
                </c:pt>
                <c:pt idx="2">
                  <c:v>0.14110816137190926</c:v>
                </c:pt>
                <c:pt idx="3">
                  <c:v>0.13442545283279655</c:v>
                </c:pt>
                <c:pt idx="4">
                  <c:v>0.13570825084206356</c:v>
                </c:pt>
                <c:pt idx="5">
                  <c:v>0.1354179404862707</c:v>
                </c:pt>
                <c:pt idx="6">
                  <c:v>0.1341025661307832</c:v>
                </c:pt>
                <c:pt idx="7">
                  <c:v>0.14222119281950135</c:v>
                </c:pt>
                <c:pt idx="8">
                  <c:v>0.14546090964305636</c:v>
                </c:pt>
                <c:pt idx="9">
                  <c:v>0.14031553313110853</c:v>
                </c:pt>
                <c:pt idx="10">
                  <c:v>0.13724419836104607</c:v>
                </c:pt>
                <c:pt idx="11">
                  <c:v>0.14522884560036697</c:v>
                </c:pt>
                <c:pt idx="12">
                  <c:v>0.13750278354685497</c:v>
                </c:pt>
                <c:pt idx="13">
                  <c:v>0.14576519437326563</c:v>
                </c:pt>
                <c:pt idx="14">
                  <c:v>0.13762968422679067</c:v>
                </c:pt>
                <c:pt idx="15">
                  <c:v>0.13574501842317074</c:v>
                </c:pt>
                <c:pt idx="16">
                  <c:v>0.13192524654312401</c:v>
                </c:pt>
                <c:pt idx="17">
                  <c:v>0.13366710329068962</c:v>
                </c:pt>
                <c:pt idx="18">
                  <c:v>0.13492154851177093</c:v>
                </c:pt>
                <c:pt idx="19">
                  <c:v>0.13766439928798552</c:v>
                </c:pt>
                <c:pt idx="20">
                  <c:v>0.13452905391005263</c:v>
                </c:pt>
                <c:pt idx="21">
                  <c:v>0.12804646875599052</c:v>
                </c:pt>
                <c:pt idx="22">
                  <c:v>0.12399170758833997</c:v>
                </c:pt>
                <c:pt idx="23">
                  <c:v>0.12321595203091326</c:v>
                </c:pt>
                <c:pt idx="24">
                  <c:v>0.1259454641212932</c:v>
                </c:pt>
                <c:pt idx="25">
                  <c:v>0.1367455006686395</c:v>
                </c:pt>
                <c:pt idx="26">
                  <c:v>0.14160243618020024</c:v>
                </c:pt>
                <c:pt idx="27">
                  <c:v>0.13053355184748328</c:v>
                </c:pt>
                <c:pt idx="28">
                  <c:v>0.13285902458503682</c:v>
                </c:pt>
                <c:pt idx="29">
                  <c:v>0.12590954771642263</c:v>
                </c:pt>
                <c:pt idx="30">
                  <c:v>0.12718092487998306</c:v>
                </c:pt>
                <c:pt idx="31">
                  <c:v>0.13295330043402964</c:v>
                </c:pt>
                <c:pt idx="32">
                  <c:v>0.12279395716924724</c:v>
                </c:pt>
                <c:pt idx="33">
                  <c:v>0.12554223823436383</c:v>
                </c:pt>
                <c:pt idx="34">
                  <c:v>0.12841666577262417</c:v>
                </c:pt>
                <c:pt idx="35">
                  <c:v>0.125170732130227</c:v>
                </c:pt>
                <c:pt idx="36">
                  <c:v>0.12340450372889891</c:v>
                </c:pt>
                <c:pt idx="37">
                  <c:v>0.13629605267974676</c:v>
                </c:pt>
                <c:pt idx="38">
                  <c:v>0.12245097085622858</c:v>
                </c:pt>
                <c:pt idx="39">
                  <c:v>0.1325088571459206</c:v>
                </c:pt>
                <c:pt idx="40">
                  <c:v>0.1315212071902976</c:v>
                </c:pt>
                <c:pt idx="41">
                  <c:v>0.12689001654594803</c:v>
                </c:pt>
                <c:pt idx="42">
                  <c:v>0.12766338019040602</c:v>
                </c:pt>
                <c:pt idx="43">
                  <c:v>0.1339297288700268</c:v>
                </c:pt>
                <c:pt idx="44">
                  <c:v>0.13573219152051635</c:v>
                </c:pt>
                <c:pt idx="45">
                  <c:v>0.12237794209000306</c:v>
                </c:pt>
                <c:pt idx="46">
                  <c:v>0.136159902192227</c:v>
                </c:pt>
                <c:pt idx="47">
                  <c:v>0.1323149182565639</c:v>
                </c:pt>
                <c:pt idx="48">
                  <c:v>0.1414875112266823</c:v>
                </c:pt>
                <c:pt idx="49">
                  <c:v>0.13105431547574553</c:v>
                </c:pt>
                <c:pt idx="50">
                  <c:v>0.13212636655857826</c:v>
                </c:pt>
                <c:pt idx="51">
                  <c:v>0.12888020126695213</c:v>
                </c:pt>
                <c:pt idx="52">
                  <c:v>0.1509558489888989</c:v>
                </c:pt>
                <c:pt idx="53">
                  <c:v>0.2281511025968118</c:v>
                </c:pt>
                <c:pt idx="54">
                  <c:v>0.112144416678141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799999999999994"/>
          <c:min val="0.054545454545454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072145920805375</c:v>
                </c:pt>
                <c:pt idx="1">
                  <c:v>1.7421196043441263</c:v>
                </c:pt>
                <c:pt idx="2">
                  <c:v>1.7899325835046105</c:v>
                </c:pt>
                <c:pt idx="3">
                  <c:v>1.8490746928536181</c:v>
                </c:pt>
                <c:pt idx="4">
                  <c:v>1.7258418856055344</c:v>
                </c:pt>
                <c:pt idx="5">
                  <c:v>1.534437714934516</c:v>
                </c:pt>
                <c:pt idx="6">
                  <c:v>1.44548523806184</c:v>
                </c:pt>
                <c:pt idx="7">
                  <c:v>1.6755958853954187</c:v>
                </c:pt>
                <c:pt idx="8">
                  <c:v>1.5322801118237073</c:v>
                </c:pt>
                <c:pt idx="9">
                  <c:v>1.4230661654988435</c:v>
                </c:pt>
                <c:pt idx="10">
                  <c:v>1.4762134174210213</c:v>
                </c:pt>
                <c:pt idx="11">
                  <c:v>1.4218559944099696</c:v>
                </c:pt>
                <c:pt idx="12">
                  <c:v>1.3769380523692463</c:v>
                </c:pt>
                <c:pt idx="13">
                  <c:v>1.4399822063524885</c:v>
                </c:pt>
                <c:pt idx="14">
                  <c:v>1.3688362046295843</c:v>
                </c:pt>
                <c:pt idx="15">
                  <c:v>1.323947333510215</c:v>
                </c:pt>
                <c:pt idx="16">
                  <c:v>1.3129268081903962</c:v>
                </c:pt>
                <c:pt idx="17">
                  <c:v>1.3508544714501896</c:v>
                </c:pt>
                <c:pt idx="18">
                  <c:v>1.2353513797204125</c:v>
                </c:pt>
                <c:pt idx="19">
                  <c:v>1.145369556497777</c:v>
                </c:pt>
                <c:pt idx="20">
                  <c:v>1.2622579391991993</c:v>
                </c:pt>
                <c:pt idx="21">
                  <c:v>1.2269570485436894</c:v>
                </c:pt>
                <c:pt idx="22">
                  <c:v>1.1873782677165352</c:v>
                </c:pt>
                <c:pt idx="23">
                  <c:v>1.1706164762808136</c:v>
                </c:pt>
                <c:pt idx="24">
                  <c:v>1.195695123555495</c:v>
                </c:pt>
                <c:pt idx="25">
                  <c:v>1.14789488342827</c:v>
                </c:pt>
                <c:pt idx="26">
                  <c:v>1.1966433270967873</c:v>
                </c:pt>
                <c:pt idx="27">
                  <c:v>1.352997832187303</c:v>
                </c:pt>
                <c:pt idx="28">
                  <c:v>1.2786811505507956</c:v>
                </c:pt>
                <c:pt idx="29">
                  <c:v>1.340285915358408</c:v>
                </c:pt>
                <c:pt idx="30">
                  <c:v>1.29304456606724</c:v>
                </c:pt>
                <c:pt idx="31">
                  <c:v>1.4045097014191674</c:v>
                </c:pt>
                <c:pt idx="32">
                  <c:v>1.3452704003500326</c:v>
                </c:pt>
                <c:pt idx="33">
                  <c:v>1.1570399566865186</c:v>
                </c:pt>
                <c:pt idx="34">
                  <c:v>1.3874805661174483</c:v>
                </c:pt>
                <c:pt idx="35">
                  <c:v>1.3079312159531222</c:v>
                </c:pt>
                <c:pt idx="36">
                  <c:v>1.179607645723478</c:v>
                </c:pt>
                <c:pt idx="37">
                  <c:v>1.291656464911598</c:v>
                </c:pt>
                <c:pt idx="38">
                  <c:v>1.2553109892082808</c:v>
                </c:pt>
                <c:pt idx="39">
                  <c:v>1.3619263943603566</c:v>
                </c:pt>
                <c:pt idx="40">
                  <c:v>1.3815517596568643</c:v>
                </c:pt>
                <c:pt idx="41">
                  <c:v>1.2009403107113654</c:v>
                </c:pt>
                <c:pt idx="42">
                  <c:v>1.3409407886395335</c:v>
                </c:pt>
                <c:pt idx="43">
                  <c:v>1.3633604139715394</c:v>
                </c:pt>
                <c:pt idx="44">
                  <c:v>1.343846545750968</c:v>
                </c:pt>
                <c:pt idx="45">
                  <c:v>1.3515912997654314</c:v>
                </c:pt>
                <c:pt idx="46">
                  <c:v>1.3051840146666465</c:v>
                </c:pt>
                <c:pt idx="47">
                  <c:v>1.3020837977296182</c:v>
                </c:pt>
                <c:pt idx="48">
                  <c:v>1.400765189340164</c:v>
                </c:pt>
                <c:pt idx="49">
                  <c:v>1.3131285690814207</c:v>
                </c:pt>
                <c:pt idx="50">
                  <c:v>1.3969899503036998</c:v>
                </c:pt>
                <c:pt idx="51">
                  <c:v>1.3492423286930035</c:v>
                </c:pt>
                <c:pt idx="52">
                  <c:v>1.436565501941209</c:v>
                </c:pt>
                <c:pt idx="53">
                  <c:v>1.3711511133171395</c:v>
                </c:pt>
                <c:pt idx="54">
                  <c:v>1.4091498790370995</c:v>
                </c:pt>
                <c:pt idx="55">
                  <c:v>1.4292077219321562</c:v>
                </c:pt>
                <c:pt idx="56">
                  <c:v>1.3060984499828219</c:v>
                </c:pt>
                <c:pt idx="57">
                  <c:v>1.33280118029664</c:v>
                </c:pt>
                <c:pt idx="58">
                  <c:v>1.2150115248514755</c:v>
                </c:pt>
                <c:pt idx="59">
                  <c:v>1.3003039467375634</c:v>
                </c:pt>
                <c:pt idx="60">
                  <c:v>1.2053463623549396</c:v>
                </c:pt>
                <c:pt idx="61">
                  <c:v>1.2741417123880046</c:v>
                </c:pt>
                <c:pt idx="62">
                  <c:v>1.2522407398496134</c:v>
                </c:pt>
                <c:pt idx="63">
                  <c:v>1.2532979053937925</c:v>
                </c:pt>
                <c:pt idx="64">
                  <c:v>1.2531308461625756</c:v>
                </c:pt>
                <c:pt idx="65">
                  <c:v>1.196197875014281</c:v>
                </c:pt>
                <c:pt idx="66">
                  <c:v>1.187035088444784</c:v>
                </c:pt>
                <c:pt idx="67">
                  <c:v>1.2603965919464448</c:v>
                </c:pt>
                <c:pt idx="68">
                  <c:v>1.0965668931071755</c:v>
                </c:pt>
                <c:pt idx="69">
                  <c:v>1.2523444048316617</c:v>
                </c:pt>
                <c:pt idx="70">
                  <c:v>1.1656960276854749</c:v>
                </c:pt>
                <c:pt idx="71">
                  <c:v>1.2152784527164933</c:v>
                </c:pt>
                <c:pt idx="72">
                  <c:v>1.3995303887720798</c:v>
                </c:pt>
                <c:pt idx="73">
                  <c:v>1.3469877638640972</c:v>
                </c:pt>
                <c:pt idx="74">
                  <c:v>1.2340577893418871</c:v>
                </c:pt>
                <c:pt idx="75">
                  <c:v>1.2211239382955865</c:v>
                </c:pt>
                <c:pt idx="76">
                  <c:v>1.2298685024980602</c:v>
                </c:pt>
                <c:pt idx="77">
                  <c:v>1.2608353781706276</c:v>
                </c:pt>
                <c:pt idx="78">
                  <c:v>1.2832318850904065</c:v>
                </c:pt>
                <c:pt idx="79">
                  <c:v>1.195617194643562</c:v>
                </c:pt>
                <c:pt idx="80">
                  <c:v>1.3080403692243008</c:v>
                </c:pt>
                <c:pt idx="81">
                  <c:v>1.361707682515038</c:v>
                </c:pt>
                <c:pt idx="82">
                  <c:v>1.3920605893186004</c:v>
                </c:pt>
                <c:pt idx="83">
                  <c:v>1.2207746553552492</c:v>
                </c:pt>
                <c:pt idx="84">
                  <c:v>1.2847759549086013</c:v>
                </c:pt>
                <c:pt idx="85">
                  <c:v>1.379349308181774</c:v>
                </c:pt>
                <c:pt idx="86">
                  <c:v>1.250792205323194</c:v>
                </c:pt>
                <c:pt idx="87">
                  <c:v>1.3668802450670998</c:v>
                </c:pt>
                <c:pt idx="88">
                  <c:v>1.425536221276371</c:v>
                </c:pt>
                <c:pt idx="89">
                  <c:v>1.4598285079356714</c:v>
                </c:pt>
                <c:pt idx="90">
                  <c:v>1.4904734270910436</c:v>
                </c:pt>
                <c:pt idx="91">
                  <c:v>1.3323802121433796</c:v>
                </c:pt>
                <c:pt idx="92">
                  <c:v>1.3774045041873302</c:v>
                </c:pt>
                <c:pt idx="93">
                  <c:v>1.3677696387010165</c:v>
                </c:pt>
                <c:pt idx="94">
                  <c:v>1.4027638190954774</c:v>
                </c:pt>
                <c:pt idx="95">
                  <c:v>1.3899759248985255</c:v>
                </c:pt>
                <c:pt idx="96">
                  <c:v>1.4674712576592894</c:v>
                </c:pt>
                <c:pt idx="97">
                  <c:v>1.4066840540673318</c:v>
                </c:pt>
                <c:pt idx="98">
                  <c:v>1.4127067066184538</c:v>
                </c:pt>
                <c:pt idx="99">
                  <c:v>1.4537378584294227</c:v>
                </c:pt>
                <c:pt idx="100">
                  <c:v>1.443533762404547</c:v>
                </c:pt>
                <c:pt idx="101">
                  <c:v>1.3436438931744346</c:v>
                </c:pt>
                <c:pt idx="102">
                  <c:v>1.3015960743771926</c:v>
                </c:pt>
                <c:pt idx="103">
                  <c:v>1.2813012240117982</c:v>
                </c:pt>
                <c:pt idx="104">
                  <c:v>1.2259091123707655</c:v>
                </c:pt>
              </c:numCache>
            </c:numRef>
          </c:xVal>
          <c:yVal>
            <c:numRef>
              <c:f>Sheet1!$B$2:$B$106</c:f>
              <c:numCache>
                <c:formatCode>General</c:formatCode>
                <c:ptCount val="105"/>
                <c:pt idx="0">
                  <c:v>0.38686131386861317</c:v>
                </c:pt>
                <c:pt idx="1">
                  <c:v>0.2972972972972973</c:v>
                </c:pt>
                <c:pt idx="2">
                  <c:v>0.38311688311688313</c:v>
                </c:pt>
                <c:pt idx="3">
                  <c:v>0.2919254658385093</c:v>
                </c:pt>
                <c:pt idx="4">
                  <c:v>0.4142857142857143</c:v>
                </c:pt>
                <c:pt idx="5">
                  <c:v>0.32919254658385094</c:v>
                </c:pt>
                <c:pt idx="6">
                  <c:v>0.39490445859872614</c:v>
                </c:pt>
                <c:pt idx="7">
                  <c:v>0.34394904458598724</c:v>
                </c:pt>
                <c:pt idx="8">
                  <c:v>0.3804347826086957</c:v>
                </c:pt>
                <c:pt idx="9">
                  <c:v>0.42410714285714285</c:v>
                </c:pt>
                <c:pt idx="10">
                  <c:v>0.4122137404580153</c:v>
                </c:pt>
                <c:pt idx="11">
                  <c:v>0.3628691983122363</c:v>
                </c:pt>
                <c:pt idx="12">
                  <c:v>0.37280701754385964</c:v>
                </c:pt>
                <c:pt idx="13">
                  <c:v>0.34177215189873417</c:v>
                </c:pt>
                <c:pt idx="14">
                  <c:v>0.34024896265560167</c:v>
                </c:pt>
                <c:pt idx="15">
                  <c:v>0.4126984126984127</c:v>
                </c:pt>
                <c:pt idx="16">
                  <c:v>0.3695652173913043</c:v>
                </c:pt>
                <c:pt idx="17">
                  <c:v>0.4</c:v>
                </c:pt>
                <c:pt idx="18">
                  <c:v>0.30666666666666664</c:v>
                </c:pt>
                <c:pt idx="19">
                  <c:v>0.32653061224489793</c:v>
                </c:pt>
                <c:pt idx="20">
                  <c:v>0.34328358208955223</c:v>
                </c:pt>
                <c:pt idx="21">
                  <c:v>0.3416666666666667</c:v>
                </c:pt>
                <c:pt idx="22">
                  <c:v>0.371900826446281</c:v>
                </c:pt>
                <c:pt idx="23">
                  <c:v>0.2746478873239437</c:v>
                </c:pt>
                <c:pt idx="24">
                  <c:v>0.30097087378640774</c:v>
                </c:pt>
                <c:pt idx="25">
                  <c:v>0.32608695652173914</c:v>
                </c:pt>
                <c:pt idx="26">
                  <c:v>0.358974358974359</c:v>
                </c:pt>
                <c:pt idx="27">
                  <c:v>0.4</c:v>
                </c:pt>
                <c:pt idx="28">
                  <c:v>0.3888888888888889</c:v>
                </c:pt>
                <c:pt idx="29">
                  <c:v>0.3684210526315789</c:v>
                </c:pt>
                <c:pt idx="30">
                  <c:v>0.37777777777777777</c:v>
                </c:pt>
                <c:pt idx="31">
                  <c:v>0.35</c:v>
                </c:pt>
                <c:pt idx="32">
                  <c:v>0.30952380952380953</c:v>
                </c:pt>
                <c:pt idx="33">
                  <c:v>0.4523809523809524</c:v>
                </c:pt>
                <c:pt idx="34">
                  <c:v>0.32142857142857145</c:v>
                </c:pt>
                <c:pt idx="35">
                  <c:v>0.3888888888888889</c:v>
                </c:pt>
                <c:pt idx="36">
                  <c:v>0.3287671232876712</c:v>
                </c:pt>
                <c:pt idx="37">
                  <c:v>0.32142857142857145</c:v>
                </c:pt>
                <c:pt idx="38">
                  <c:v>0.32075471698113206</c:v>
                </c:pt>
                <c:pt idx="39">
                  <c:v>0.4375</c:v>
                </c:pt>
                <c:pt idx="40">
                  <c:v>0.4264705882352941</c:v>
                </c:pt>
                <c:pt idx="41">
                  <c:v>0.4411764705882353</c:v>
                </c:pt>
                <c:pt idx="42">
                  <c:v>0.36363636363636365</c:v>
                </c:pt>
                <c:pt idx="43">
                  <c:v>0.45794392523364486</c:v>
                </c:pt>
                <c:pt idx="44">
                  <c:v>0.3983050847457627</c:v>
                </c:pt>
                <c:pt idx="45">
                  <c:v>0.366120218579235</c:v>
                </c:pt>
                <c:pt idx="46">
                  <c:v>0.4507042253521127</c:v>
                </c:pt>
                <c:pt idx="47">
                  <c:v>0.5560975609756098</c:v>
                </c:pt>
                <c:pt idx="48">
                  <c:v>0.5042016806722689</c:v>
                </c:pt>
                <c:pt idx="49">
                  <c:v>0.4289340101522843</c:v>
                </c:pt>
                <c:pt idx="50">
                  <c:v>0.42162162162162165</c:v>
                </c:pt>
                <c:pt idx="51">
                  <c:v>0.40350877192982454</c:v>
                </c:pt>
                <c:pt idx="52">
                  <c:v>0.35877862595419846</c:v>
                </c:pt>
                <c:pt idx="53">
                  <c:v>0.359375</c:v>
                </c:pt>
                <c:pt idx="54">
                  <c:v>0.3333333333333333</c:v>
                </c:pt>
                <c:pt idx="55">
                  <c:v>0.35537190082644626</c:v>
                </c:pt>
                <c:pt idx="56">
                  <c:v>0.3561643835616438</c:v>
                </c:pt>
                <c:pt idx="57">
                  <c:v>0.3618421052631579</c:v>
                </c:pt>
                <c:pt idx="58">
                  <c:v>0.40236686390532544</c:v>
                </c:pt>
                <c:pt idx="59">
                  <c:v>0.41333333333333333</c:v>
                </c:pt>
                <c:pt idx="60">
                  <c:v>0.3641304347826087</c:v>
                </c:pt>
                <c:pt idx="61">
                  <c:v>0.25654450261780104</c:v>
                </c:pt>
                <c:pt idx="62">
                  <c:v>0.31225296442687744</c:v>
                </c:pt>
                <c:pt idx="63">
                  <c:v>0.32706766917293234</c:v>
                </c:pt>
                <c:pt idx="64">
                  <c:v>0.3125</c:v>
                </c:pt>
                <c:pt idx="65">
                  <c:v>0.29554655870445345</c:v>
                </c:pt>
                <c:pt idx="66">
                  <c:v>0.31343283582089554</c:v>
                </c:pt>
                <c:pt idx="67">
                  <c:v>0.26229508196721313</c:v>
                </c:pt>
                <c:pt idx="68">
                  <c:v>0.29838709677419356</c:v>
                </c:pt>
                <c:pt idx="69">
                  <c:v>0.29838709677419356</c:v>
                </c:pt>
                <c:pt idx="70">
                  <c:v>0.3173076923076923</c:v>
                </c:pt>
                <c:pt idx="71">
                  <c:v>0.3157894736842105</c:v>
                </c:pt>
                <c:pt idx="72">
                  <c:v>0.25301204819277107</c:v>
                </c:pt>
                <c:pt idx="73">
                  <c:v>0.27906976744186046</c:v>
                </c:pt>
                <c:pt idx="74">
                  <c:v>0.3048780487804878</c:v>
                </c:pt>
                <c:pt idx="75">
                  <c:v>0.23636363636363636</c:v>
                </c:pt>
                <c:pt idx="76">
                  <c:v>0.3114754098360656</c:v>
                </c:pt>
                <c:pt idx="77">
                  <c:v>0.18</c:v>
                </c:pt>
                <c:pt idx="78">
                  <c:v>0.2777777777777778</c:v>
                </c:pt>
                <c:pt idx="79">
                  <c:v>0.2857142857142857</c:v>
                </c:pt>
                <c:pt idx="80">
                  <c:v>0.275</c:v>
                </c:pt>
                <c:pt idx="81">
                  <c:v>0.35714285714285715</c:v>
                </c:pt>
                <c:pt idx="82">
                  <c:v>0.23076923076923078</c:v>
                </c:pt>
                <c:pt idx="83">
                  <c:v>0.2</c:v>
                </c:pt>
                <c:pt idx="84">
                  <c:v>0.23076923076923078</c:v>
                </c:pt>
                <c:pt idx="85">
                  <c:v>0.225</c:v>
                </c:pt>
                <c:pt idx="86">
                  <c:v>0.3</c:v>
                </c:pt>
                <c:pt idx="87">
                  <c:v>0.25862068965517243</c:v>
                </c:pt>
                <c:pt idx="88">
                  <c:v>0.3076923076923077</c:v>
                </c:pt>
                <c:pt idx="89">
                  <c:v>0.25</c:v>
                </c:pt>
                <c:pt idx="90">
                  <c:v>0.24324324324324326</c:v>
                </c:pt>
                <c:pt idx="91">
                  <c:v>0.2391304347826087</c:v>
                </c:pt>
                <c:pt idx="92">
                  <c:v>0.3148148148148148</c:v>
                </c:pt>
                <c:pt idx="93">
                  <c:v>0.24074074074074073</c:v>
                </c:pt>
                <c:pt idx="94">
                  <c:v>0.3018867924528302</c:v>
                </c:pt>
                <c:pt idx="95">
                  <c:v>0.33613445378151263</c:v>
                </c:pt>
                <c:pt idx="96">
                  <c:v>0.34146341463414637</c:v>
                </c:pt>
                <c:pt idx="97">
                  <c:v>0.3157894736842105</c:v>
                </c:pt>
                <c:pt idx="98">
                  <c:v>0.4</c:v>
                </c:pt>
                <c:pt idx="99">
                  <c:v>0.4245810055865922</c:v>
                </c:pt>
                <c:pt idx="100">
                  <c:v>0.34782608695652173</c:v>
                </c:pt>
                <c:pt idx="101">
                  <c:v>0.37012987012987014</c:v>
                </c:pt>
                <c:pt idx="102">
                  <c:v>0.3557692307692308</c:v>
                </c:pt>
                <c:pt idx="103">
                  <c:v>0.3287671232876712</c:v>
                </c:pt>
                <c:pt idx="104">
                  <c:v>0.342105263157894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495710868423318</c:v>
                </c:pt>
                <c:pt idx="1">
                  <c:v>1.2024655827687456</c:v>
                </c:pt>
                <c:pt idx="2">
                  <c:v>1.3346701812800592</c:v>
                </c:pt>
                <c:pt idx="3">
                  <c:v>1.1766059535603761</c:v>
                </c:pt>
                <c:pt idx="4">
                  <c:v>1.2163382352941177</c:v>
                </c:pt>
                <c:pt idx="5">
                  <c:v>1.2838534886062067</c:v>
                </c:pt>
                <c:pt idx="6">
                  <c:v>1.2744005744763562</c:v>
                </c:pt>
                <c:pt idx="7">
                  <c:v>1.1828551917424746</c:v>
                </c:pt>
                <c:pt idx="8">
                  <c:v>1.1872352947322464</c:v>
                </c:pt>
                <c:pt idx="9">
                  <c:v>1.2214752348865414</c:v>
                </c:pt>
                <c:pt idx="10">
                  <c:v>1.2044723483874002</c:v>
                </c:pt>
                <c:pt idx="11">
                  <c:v>1.3217116333545473</c:v>
                </c:pt>
                <c:pt idx="12">
                  <c:v>1.2615685767541989</c:v>
                </c:pt>
                <c:pt idx="13">
                  <c:v>1.2111917599666162</c:v>
                </c:pt>
                <c:pt idx="14">
                  <c:v>1.2091009251163891</c:v>
                </c:pt>
                <c:pt idx="15">
                  <c:v>1.1874706945520268</c:v>
                </c:pt>
                <c:pt idx="16">
                  <c:v>1.2481042105263158</c:v>
                </c:pt>
                <c:pt idx="17">
                  <c:v>1.252891023586321</c:v>
                </c:pt>
                <c:pt idx="18">
                  <c:v>1.3149546244943144</c:v>
                </c:pt>
                <c:pt idx="19">
                  <c:v>1.257949712475156</c:v>
                </c:pt>
                <c:pt idx="20">
                  <c:v>1.2307692438217899</c:v>
                </c:pt>
                <c:pt idx="21">
                  <c:v>1.149881757257106</c:v>
                </c:pt>
                <c:pt idx="22">
                  <c:v>1.2015100421940927</c:v>
                </c:pt>
                <c:pt idx="23">
                  <c:v>1.2186875732735243</c:v>
                </c:pt>
                <c:pt idx="24">
                  <c:v>1.1197078746824725</c:v>
                </c:pt>
                <c:pt idx="25">
                  <c:v>1.287066845069899</c:v>
                </c:pt>
                <c:pt idx="26">
                  <c:v>1.4625839000598104</c:v>
                </c:pt>
                <c:pt idx="27">
                  <c:v>1.3081625641629415</c:v>
                </c:pt>
                <c:pt idx="28">
                  <c:v>1.3299900615454754</c:v>
                </c:pt>
                <c:pt idx="29">
                  <c:v>1.3635270757464384</c:v>
                </c:pt>
                <c:pt idx="30">
                  <c:v>1.2963965888050148</c:v>
                </c:pt>
                <c:pt idx="31">
                  <c:v>1.4125851573102817</c:v>
                </c:pt>
                <c:pt idx="32">
                  <c:v>1.3355972060021286</c:v>
                </c:pt>
                <c:pt idx="33">
                  <c:v>1.221246112855372</c:v>
                </c:pt>
                <c:pt idx="34">
                  <c:v>1.2856794828396723</c:v>
                </c:pt>
                <c:pt idx="35">
                  <c:v>1.2036526214642493</c:v>
                </c:pt>
                <c:pt idx="36">
                  <c:v>1.2472122869766464</c:v>
                </c:pt>
                <c:pt idx="37">
                  <c:v>1.3295401487274716</c:v>
                </c:pt>
                <c:pt idx="38">
                  <c:v>1.0760476486135055</c:v>
                </c:pt>
                <c:pt idx="39">
                  <c:v>1.1274088501361184</c:v>
                </c:pt>
                <c:pt idx="40">
                  <c:v>1.3390999057716593</c:v>
                </c:pt>
                <c:pt idx="41">
                  <c:v>1.4084877940948475</c:v>
                </c:pt>
                <c:pt idx="42">
                  <c:v>1.2383526638112379</c:v>
                </c:pt>
                <c:pt idx="43">
                  <c:v>1.271088756045218</c:v>
                </c:pt>
                <c:pt idx="44">
                  <c:v>1.2409981174361273</c:v>
                </c:pt>
                <c:pt idx="45">
                  <c:v>1.3076793730089775</c:v>
                </c:pt>
                <c:pt idx="46">
                  <c:v>1.3357991666835187</c:v>
                </c:pt>
                <c:pt idx="47">
                  <c:v>1.324761601455869</c:v>
                </c:pt>
                <c:pt idx="48">
                  <c:v>1.3140201998960803</c:v>
                </c:pt>
                <c:pt idx="49">
                  <c:v>1.3253380198478024</c:v>
                </c:pt>
                <c:pt idx="50">
                  <c:v>1.328375295043273</c:v>
                </c:pt>
                <c:pt idx="51">
                  <c:v>1.1718453409970158</c:v>
                </c:pt>
              </c:numCache>
            </c:numRef>
          </c:xVal>
          <c:yVal>
            <c:numRef>
              <c:f>Sheet1!$B$109:$B$160</c:f>
              <c:numCache>
                <c:formatCode>General</c:formatCode>
                <c:ptCount val="52"/>
                <c:pt idx="0">
                  <c:v>0.3229166666666667</c:v>
                </c:pt>
                <c:pt idx="1">
                  <c:v>0.42168674698795183</c:v>
                </c:pt>
                <c:pt idx="2">
                  <c:v>0.3963963963963964</c:v>
                </c:pt>
                <c:pt idx="3">
                  <c:v>0.390625</c:v>
                </c:pt>
                <c:pt idx="4">
                  <c:v>0.3108108108108108</c:v>
                </c:pt>
                <c:pt idx="5">
                  <c:v>0.3709677419354839</c:v>
                </c:pt>
                <c:pt idx="6">
                  <c:v>0.38848920863309355</c:v>
                </c:pt>
                <c:pt idx="7">
                  <c:v>0.37857142857142856</c:v>
                </c:pt>
                <c:pt idx="8">
                  <c:v>0.3652694610778443</c:v>
                </c:pt>
                <c:pt idx="9">
                  <c:v>0.3581395348837209</c:v>
                </c:pt>
                <c:pt idx="10">
                  <c:v>0.39344262295081966</c:v>
                </c:pt>
                <c:pt idx="11">
                  <c:v>0.36363636363636365</c:v>
                </c:pt>
                <c:pt idx="12">
                  <c:v>0.35</c:v>
                </c:pt>
                <c:pt idx="13">
                  <c:v>0.292817679558011</c:v>
                </c:pt>
                <c:pt idx="14">
                  <c:v>0.33884297520661155</c:v>
                </c:pt>
                <c:pt idx="15">
                  <c:v>0.3364485981308411</c:v>
                </c:pt>
                <c:pt idx="16">
                  <c:v>0.3924050632911392</c:v>
                </c:pt>
                <c:pt idx="17">
                  <c:v>0.375</c:v>
                </c:pt>
                <c:pt idx="18">
                  <c:v>0.29069767441860467</c:v>
                </c:pt>
                <c:pt idx="19">
                  <c:v>0.27941176470588236</c:v>
                </c:pt>
                <c:pt idx="20">
                  <c:v>0.30612244897959184</c:v>
                </c:pt>
                <c:pt idx="21">
                  <c:v>0.3090909090909091</c:v>
                </c:pt>
                <c:pt idx="22">
                  <c:v>0.2923076923076923</c:v>
                </c:pt>
                <c:pt idx="23">
                  <c:v>0.3333333333333333</c:v>
                </c:pt>
                <c:pt idx="24">
                  <c:v>0.32</c:v>
                </c:pt>
                <c:pt idx="25">
                  <c:v>0.3617021276595745</c:v>
                </c:pt>
                <c:pt idx="26">
                  <c:v>0.32075471698113206</c:v>
                </c:pt>
                <c:pt idx="27">
                  <c:v>0.32558139534883723</c:v>
                </c:pt>
                <c:pt idx="28">
                  <c:v>0.24489795918367346</c:v>
                </c:pt>
                <c:pt idx="29">
                  <c:v>0.26666666666666666</c:v>
                </c:pt>
                <c:pt idx="30">
                  <c:v>0.2857142857142857</c:v>
                </c:pt>
                <c:pt idx="31">
                  <c:v>0.17391304347826086</c:v>
                </c:pt>
                <c:pt idx="32">
                  <c:v>0.29411764705882354</c:v>
                </c:pt>
                <c:pt idx="33">
                  <c:v>0.16326530612244897</c:v>
                </c:pt>
                <c:pt idx="34">
                  <c:v>0.25</c:v>
                </c:pt>
                <c:pt idx="35">
                  <c:v>0.2711864406779661</c:v>
                </c:pt>
                <c:pt idx="36">
                  <c:v>0.2972972972972973</c:v>
                </c:pt>
                <c:pt idx="37">
                  <c:v>0.29411764705882354</c:v>
                </c:pt>
                <c:pt idx="38">
                  <c:v>0.6086956521739131</c:v>
                </c:pt>
                <c:pt idx="39">
                  <c:v>0.2391304347826087</c:v>
                </c:pt>
                <c:pt idx="40">
                  <c:v>0.2222222222222222</c:v>
                </c:pt>
                <c:pt idx="41">
                  <c:v>0.24242424242424243</c:v>
                </c:pt>
                <c:pt idx="42">
                  <c:v>0.25</c:v>
                </c:pt>
                <c:pt idx="43">
                  <c:v>0.19117647058823528</c:v>
                </c:pt>
                <c:pt idx="44">
                  <c:v>0.24242424242424243</c:v>
                </c:pt>
                <c:pt idx="45">
                  <c:v>0.27607361963190186</c:v>
                </c:pt>
                <c:pt idx="46">
                  <c:v>0.3282442748091603</c:v>
                </c:pt>
                <c:pt idx="47">
                  <c:v>0.31724137931034485</c:v>
                </c:pt>
                <c:pt idx="48">
                  <c:v>0.3237410071942446</c:v>
                </c:pt>
                <c:pt idx="49">
                  <c:v>0.2717391304347826</c:v>
                </c:pt>
                <c:pt idx="50">
                  <c:v>0.23183391003460208</c:v>
                </c:pt>
                <c:pt idx="51">
                  <c:v>0.242038216560509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0080741515516</c:v>
                </c:pt>
              </c:numCache>
            </c:numRef>
          </c:xVal>
          <c:yVal>
            <c:numRef>
              <c:f>Sheet1!$B$163:$B$164</c:f>
              <c:numCache>
                <c:formatCode>General</c:formatCode>
                <c:ptCount val="2"/>
                <c:pt idx="0">
                  <c:v>0.4044456721486555</c:v>
                </c:pt>
                <c:pt idx="1">
                  <c:v>0.40444567214865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0080741515516</c:v>
                </c:pt>
                <c:pt idx="1">
                  <c:v>1.00080741515516</c:v>
                </c:pt>
              </c:numCache>
            </c:numRef>
          </c:xVal>
          <c:yVal>
            <c:numRef>
              <c:f>Sheet1!$B$167:$B$168</c:f>
              <c:numCache>
                <c:formatCode>General</c:formatCode>
                <c:ptCount val="2"/>
                <c:pt idx="0">
                  <c:v>0.40444567214865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929093391085032</c:v>
                </c:pt>
              </c:numCache>
            </c:numRef>
          </c:xVal>
          <c:yVal>
            <c:numRef>
              <c:f>Sheet1!$B$171:$B$172</c:f>
              <c:numCache>
                <c:formatCode>General</c:formatCode>
                <c:ptCount val="2"/>
                <c:pt idx="0">
                  <c:v>0.3717481623421862</c:v>
                </c:pt>
                <c:pt idx="1">
                  <c:v>0.371748162342186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929093391085032</c:v>
                </c:pt>
                <c:pt idx="1">
                  <c:v>1.0929093391085032</c:v>
                </c:pt>
              </c:numCache>
            </c:numRef>
          </c:xVal>
          <c:yVal>
            <c:numRef>
              <c:f>Sheet1!$B$175:$B$176</c:f>
              <c:numCache>
                <c:formatCode>General</c:formatCode>
                <c:ptCount val="2"/>
                <c:pt idx="0">
                  <c:v>0.37174816234218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080508216076555</c:v>
                </c:pt>
              </c:numCache>
            </c:numRef>
          </c:xVal>
          <c:yVal>
            <c:numRef>
              <c:f>Sheet1!$B$179:$B$180</c:f>
              <c:numCache>
                <c:formatCode>General</c:formatCode>
                <c:ptCount val="2"/>
                <c:pt idx="0">
                  <c:v>0.2598683961859305</c:v>
                </c:pt>
                <c:pt idx="1">
                  <c:v>0.25986839618593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080508216076555</c:v>
                </c:pt>
                <c:pt idx="1">
                  <c:v>1.4080508216076555</c:v>
                </c:pt>
              </c:numCache>
            </c:numRef>
          </c:xVal>
          <c:yVal>
            <c:numRef>
              <c:f>Sheet1!$B$183:$B$184</c:f>
              <c:numCache>
                <c:formatCode>General</c:formatCode>
                <c:ptCount val="2"/>
                <c:pt idx="0">
                  <c:v>0.25986839618593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495710868423318</c:v>
                </c:pt>
                <c:pt idx="1">
                  <c:v>1.2024655827687456</c:v>
                </c:pt>
                <c:pt idx="2">
                  <c:v>1.3346701812800592</c:v>
                </c:pt>
                <c:pt idx="3">
                  <c:v>1.1766059535603761</c:v>
                </c:pt>
                <c:pt idx="4">
                  <c:v>1.2163382352941177</c:v>
                </c:pt>
                <c:pt idx="5">
                  <c:v>1.2838534886062067</c:v>
                </c:pt>
                <c:pt idx="6">
                  <c:v>1.2744005744763562</c:v>
                </c:pt>
                <c:pt idx="7">
                  <c:v>1.1828551917424746</c:v>
                </c:pt>
                <c:pt idx="8">
                  <c:v>1.1872352947322464</c:v>
                </c:pt>
                <c:pt idx="9">
                  <c:v>1.2214752348865414</c:v>
                </c:pt>
                <c:pt idx="10">
                  <c:v>1.2044723483874002</c:v>
                </c:pt>
                <c:pt idx="11">
                  <c:v>1.3217116333545473</c:v>
                </c:pt>
                <c:pt idx="12">
                  <c:v>1.2615685767541989</c:v>
                </c:pt>
                <c:pt idx="13">
                  <c:v>1.2111917599666162</c:v>
                </c:pt>
                <c:pt idx="14">
                  <c:v>1.2091009251163891</c:v>
                </c:pt>
                <c:pt idx="15">
                  <c:v>1.1874706945520268</c:v>
                </c:pt>
                <c:pt idx="16">
                  <c:v>1.2481042105263158</c:v>
                </c:pt>
                <c:pt idx="17">
                  <c:v>1.252891023586321</c:v>
                </c:pt>
                <c:pt idx="18">
                  <c:v>1.3149546244943144</c:v>
                </c:pt>
                <c:pt idx="19">
                  <c:v>1.257949712475156</c:v>
                </c:pt>
                <c:pt idx="20">
                  <c:v>1.2307692438217899</c:v>
                </c:pt>
                <c:pt idx="21">
                  <c:v>1.149881757257106</c:v>
                </c:pt>
                <c:pt idx="22">
                  <c:v>1.2015100421940927</c:v>
                </c:pt>
                <c:pt idx="23">
                  <c:v>1.2186875732735243</c:v>
                </c:pt>
                <c:pt idx="24">
                  <c:v>1.1197078746824725</c:v>
                </c:pt>
                <c:pt idx="25">
                  <c:v>1.287066845069899</c:v>
                </c:pt>
                <c:pt idx="26">
                  <c:v>1.4625839000598104</c:v>
                </c:pt>
                <c:pt idx="27">
                  <c:v>1.3081625641629415</c:v>
                </c:pt>
                <c:pt idx="28">
                  <c:v>1.3299900615454754</c:v>
                </c:pt>
                <c:pt idx="29">
                  <c:v>1.3635270757464384</c:v>
                </c:pt>
                <c:pt idx="30">
                  <c:v>1.2963965888050148</c:v>
                </c:pt>
                <c:pt idx="31">
                  <c:v>1.4125851573102817</c:v>
                </c:pt>
                <c:pt idx="32">
                  <c:v>1.3355972060021286</c:v>
                </c:pt>
                <c:pt idx="33">
                  <c:v>1.221246112855372</c:v>
                </c:pt>
                <c:pt idx="34">
                  <c:v>1.2856794828396723</c:v>
                </c:pt>
                <c:pt idx="35">
                  <c:v>1.2036526214642493</c:v>
                </c:pt>
                <c:pt idx="36">
                  <c:v>1.2472122869766464</c:v>
                </c:pt>
                <c:pt idx="37">
                  <c:v>1.3295401487274716</c:v>
                </c:pt>
                <c:pt idx="38">
                  <c:v>1.0760476486135055</c:v>
                </c:pt>
                <c:pt idx="39">
                  <c:v>1.1274088501361184</c:v>
                </c:pt>
                <c:pt idx="40">
                  <c:v>1.3390999057716593</c:v>
                </c:pt>
                <c:pt idx="41">
                  <c:v>1.4084877940948475</c:v>
                </c:pt>
                <c:pt idx="42">
                  <c:v>1.2383526638112379</c:v>
                </c:pt>
                <c:pt idx="43">
                  <c:v>1.271088756045218</c:v>
                </c:pt>
                <c:pt idx="44">
                  <c:v>1.2409981174361273</c:v>
                </c:pt>
                <c:pt idx="45">
                  <c:v>1.3076793730089775</c:v>
                </c:pt>
                <c:pt idx="46">
                  <c:v>1.3357991666835187</c:v>
                </c:pt>
                <c:pt idx="47">
                  <c:v>1.324761601455869</c:v>
                </c:pt>
                <c:pt idx="48">
                  <c:v>1.3140201998960803</c:v>
                </c:pt>
                <c:pt idx="49">
                  <c:v>1.3253380198478024</c:v>
                </c:pt>
                <c:pt idx="50">
                  <c:v>1.328375295043273</c:v>
                </c:pt>
                <c:pt idx="51">
                  <c:v>1.1718453409970158</c:v>
                </c:pt>
                <c:pt idx="52">
                  <c:v>1.0929093391085032</c:v>
                </c:pt>
                <c:pt idx="53">
                  <c:v>1.00080741515516</c:v>
                </c:pt>
                <c:pt idx="54">
                  <c:v>1.4080508216076555</c:v>
                </c:pt>
              </c:numCache>
            </c:numRef>
          </c:xVal>
          <c:yVal>
            <c:numRef>
              <c:f>Sheet1!$B$187:$B$241</c:f>
              <c:numCache>
                <c:formatCode>General</c:formatCode>
                <c:ptCount val="55"/>
                <c:pt idx="0">
                  <c:v>0.31613098505693876</c:v>
                </c:pt>
                <c:pt idx="1">
                  <c:v>0.3328541175961136</c:v>
                </c:pt>
                <c:pt idx="2">
                  <c:v>0.285919580609961</c:v>
                </c:pt>
                <c:pt idx="3">
                  <c:v>0.3420346584940503</c:v>
                </c:pt>
                <c:pt idx="4">
                  <c:v>0.32792912610277763</c:v>
                </c:pt>
                <c:pt idx="5">
                  <c:v>0.3039602385649169</c:v>
                </c:pt>
                <c:pt idx="6">
                  <c:v>0.3073161592579208</c:v>
                </c:pt>
                <c:pt idx="7">
                  <c:v>0.33981608891405285</c:v>
                </c:pt>
                <c:pt idx="8">
                  <c:v>0.3382610892537421</c:v>
                </c:pt>
                <c:pt idx="9">
                  <c:v>0.32610541724481507</c:v>
                </c:pt>
                <c:pt idx="10">
                  <c:v>0.3321416868924023</c:v>
                </c:pt>
                <c:pt idx="11">
                  <c:v>0.29052005180192725</c:v>
                </c:pt>
                <c:pt idx="12">
                  <c:v>0.31187170330463776</c:v>
                </c:pt>
                <c:pt idx="13">
                  <c:v>0.3297561989831984</c:v>
                </c:pt>
                <c:pt idx="14">
                  <c:v>0.3304984754752035</c:v>
                </c:pt>
                <c:pt idx="15">
                  <c:v>0.3381775189265945</c:v>
                </c:pt>
                <c:pt idx="16">
                  <c:v>0.31665174728066936</c:v>
                </c:pt>
                <c:pt idx="17">
                  <c:v>0.31495235968643687</c:v>
                </c:pt>
                <c:pt idx="18">
                  <c:v>0.29291888728751153</c:v>
                </c:pt>
                <c:pt idx="19">
                  <c:v>0.31315645225637767</c:v>
                </c:pt>
                <c:pt idx="20">
                  <c:v>0.3228059101850533</c:v>
                </c:pt>
                <c:pt idx="21">
                  <c:v>0.351522133165468</c:v>
                </c:pt>
                <c:pt idx="22">
                  <c:v>0.3331933482654536</c:v>
                </c:pt>
                <c:pt idx="23">
                  <c:v>0.3270950772759662</c:v>
                </c:pt>
                <c:pt idx="24">
                  <c:v>0.36223429615875274</c:v>
                </c:pt>
                <c:pt idx="25">
                  <c:v>0.30281945072929595</c:v>
                </c:pt>
                <c:pt idx="26">
                  <c:v>0.24050836774212114</c:v>
                </c:pt>
                <c:pt idx="27">
                  <c:v>0.2953301665502954</c:v>
                </c:pt>
                <c:pt idx="28">
                  <c:v>0.2875810905366648</c:v>
                </c:pt>
                <c:pt idx="29">
                  <c:v>0.27567496736739</c:v>
                </c:pt>
                <c:pt idx="30">
                  <c:v>0.29950725730079236</c:v>
                </c:pt>
                <c:pt idx="31">
                  <c:v>0.258258641690709</c:v>
                </c:pt>
                <c:pt idx="32">
                  <c:v>0.2855904734790821</c:v>
                </c:pt>
                <c:pt idx="33">
                  <c:v>0.3261867588665692</c:v>
                </c:pt>
                <c:pt idx="34">
                  <c:v>0.3033119843071063</c:v>
                </c:pt>
                <c:pt idx="35">
                  <c:v>0.3324327017589531</c:v>
                </c:pt>
                <c:pt idx="36">
                  <c:v>0.31696839298968527</c:v>
                </c:pt>
                <c:pt idx="37">
                  <c:v>0.2877408160684158</c:v>
                </c:pt>
                <c:pt idx="38">
                  <c:v>0.3777343053742594</c:v>
                </c:pt>
                <c:pt idx="39">
                  <c:v>0.35950033893390126</c:v>
                </c:pt>
                <c:pt idx="40">
                  <c:v>0.2843469646016632</c:v>
                </c:pt>
                <c:pt idx="41">
                  <c:v>0.2597132646580337</c:v>
                </c:pt>
                <c:pt idx="42">
                  <c:v>0.320113686843474</c:v>
                </c:pt>
                <c:pt idx="43">
                  <c:v>0.3084919025104097</c:v>
                </c:pt>
                <c:pt idx="44">
                  <c:v>0.3191745126967298</c:v>
                </c:pt>
                <c:pt idx="45">
                  <c:v>0.29550170637071377</c:v>
                </c:pt>
                <c:pt idx="46">
                  <c:v>0.28551877452778096</c:v>
                </c:pt>
                <c:pt idx="47">
                  <c:v>0.28943726918868995</c:v>
                </c:pt>
                <c:pt idx="48">
                  <c:v>0.29325062148103004</c:v>
                </c:pt>
                <c:pt idx="49">
                  <c:v>0.2892326323557784</c:v>
                </c:pt>
                <c:pt idx="50">
                  <c:v>0.28815435590696986</c:v>
                </c:pt>
                <c:pt idx="51">
                  <c:v>0.3437247445345344</c:v>
                </c:pt>
                <c:pt idx="52">
                  <c:v>0.3717481623421863</c:v>
                </c:pt>
                <c:pt idx="53">
                  <c:v>0.40444567214865546</c:v>
                </c:pt>
                <c:pt idx="54">
                  <c:v>0.25986839618593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04347826086957"/>
          <c:min val="0.1306122448979591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1.1790860038282251</c:v>
                </c:pt>
                <c:pt idx="3">
                  <c:v>1.1021067206862445</c:v>
                </c:pt>
                <c:pt idx="4">
                  <c:v>1.4790676708675319</c:v>
                </c:pt>
                <c:pt idx="5">
                  <c:v>0.8977194725604785</c:v>
                </c:pt>
                <c:pt idx="6">
                  <c:v>1.1934721069651726</c:v>
                </c:pt>
                <c:pt idx="7">
                  <c:v>1.9807905937018633</c:v>
                </c:pt>
                <c:pt idx="8">
                  <c:v>1.2672854069456232</c:v>
                </c:pt>
                <c:pt idx="9">
                  <c:v>1.3208022624902294</c:v>
                </c:pt>
                <c:pt idx="10">
                  <c:v>1.4364879855198238</c:v>
                </c:pt>
                <c:pt idx="11">
                  <c:v>1.3577279713363792</c:v>
                </c:pt>
                <c:pt idx="12">
                  <c:v>1.2174207718762173</c:v>
                </c:pt>
                <c:pt idx="13">
                  <c:v>1.164762243762006</c:v>
                </c:pt>
                <c:pt idx="14">
                  <c:v>1.0868725813509827</c:v>
                </c:pt>
                <c:pt idx="15">
                  <c:v>1.5063560831160838</c:v>
                </c:pt>
                <c:pt idx="16">
                  <c:v>1.097847427111399</c:v>
                </c:pt>
                <c:pt idx="17">
                  <c:v>0.807687676133163</c:v>
                </c:pt>
                <c:pt idx="18">
                  <c:v>1.2610630190036987</c:v>
                </c:pt>
                <c:pt idx="19">
                  <c:v>0.9431742012363149</c:v>
                </c:pt>
                <c:pt idx="20">
                  <c:v>1.0822182756521246</c:v>
                </c:pt>
                <c:pt idx="21">
                  <c:v>0.3286680071487162</c:v>
                </c:pt>
                <c:pt idx="22">
                  <c:v>0.6039602444239959</c:v>
                </c:pt>
                <c:pt idx="23">
                  <c:v>2.19495793785056</c:v>
                </c:pt>
                <c:pt idx="24">
                  <c:v>2.5326502201943994</c:v>
                </c:pt>
                <c:pt idx="25">
                  <c:v>3.1010828455527712</c:v>
                </c:pt>
                <c:pt idx="26">
                  <c:v>1.8146286918527914</c:v>
                </c:pt>
                <c:pt idx="27">
                  <c:v>2.7576448962002647</c:v>
                </c:pt>
                <c:pt idx="28">
                  <c:v>2.482063480291941</c:v>
                </c:pt>
                <c:pt idx="29">
                  <c:v>1.6770172079128145</c:v>
                </c:pt>
                <c:pt idx="30">
                  <c:v>1.2641264212228591</c:v>
                </c:pt>
                <c:pt idx="31">
                  <c:v>2.6331578985675628</c:v>
                </c:pt>
                <c:pt idx="32">
                  <c:v>0.0</c:v>
                </c:pt>
                <c:pt idx="33">
                  <c:v>2.314012274374326</c:v>
                </c:pt>
                <c:pt idx="34">
                  <c:v>2.41921450921217</c:v>
                </c:pt>
                <c:pt idx="35">
                  <c:v>2.4381419327635796</c:v>
                </c:pt>
                <c:pt idx="36">
                  <c:v>1.9271667448671244</c:v>
                </c:pt>
                <c:pt idx="37">
                  <c:v>1.5881316077864702</c:v>
                </c:pt>
                <c:pt idx="38">
                  <c:v>2.4177793110968224</c:v>
                </c:pt>
                <c:pt idx="39">
                  <c:v>1.8197785926166288</c:v>
                </c:pt>
                <c:pt idx="40">
                  <c:v>2.4003053104358503</c:v>
                </c:pt>
                <c:pt idx="41">
                  <c:v>3.794214255075985</c:v>
                </c:pt>
                <c:pt idx="42">
                  <c:v>1.9856080476492886</c:v>
                </c:pt>
                <c:pt idx="43">
                  <c:v>2.0149702558328513</c:v>
                </c:pt>
                <c:pt idx="44">
                  <c:v>1.1644454653892486</c:v>
                </c:pt>
                <c:pt idx="45">
                  <c:v>1.0089520702526233</c:v>
                </c:pt>
                <c:pt idx="46">
                  <c:v>1.0334454828802722</c:v>
                </c:pt>
                <c:pt idx="47">
                  <c:v>1.560424842391738</c:v>
                </c:pt>
                <c:pt idx="48">
                  <c:v>2.2715056005853076</c:v>
                </c:pt>
                <c:pt idx="49">
                  <c:v>2.229257020582218</c:v>
                </c:pt>
                <c:pt idx="50">
                  <c:v>2.1080907162492224</c:v>
                </c:pt>
                <c:pt idx="51">
                  <c:v>2.7481776931767303</c:v>
                </c:pt>
                <c:pt idx="52">
                  <c:v>2.547623392262748</c:v>
                </c:pt>
              </c:numCache>
            </c:numRef>
          </c:xVal>
          <c:yVal>
            <c:numRef>
              <c:f>Sheet1!$B$2:$B$54</c:f>
              <c:numCache>
                <c:formatCode>General</c:formatCode>
                <c:ptCount val="53"/>
                <c:pt idx="0">
                  <c:v>0.0</c:v>
                </c:pt>
                <c:pt idx="1">
                  <c:v>0.0</c:v>
                </c:pt>
                <c:pt idx="2">
                  <c:v>0.00025660764690787786</c:v>
                </c:pt>
                <c:pt idx="3">
                  <c:v>0.00027329871549603714</c:v>
                </c:pt>
                <c:pt idx="4">
                  <c:v>0.00025484199796126404</c:v>
                </c:pt>
                <c:pt idx="5">
                  <c:v>0.00019496977968414895</c:v>
                </c:pt>
                <c:pt idx="6">
                  <c:v>0.00017421602787456446</c:v>
                </c:pt>
                <c:pt idx="7">
                  <c:v>9.868745682423764e-05</c:v>
                </c:pt>
                <c:pt idx="8">
                  <c:v>0.0003387916431394692</c:v>
                </c:pt>
                <c:pt idx="9">
                  <c:v>0.00047266425082716245</c:v>
                </c:pt>
                <c:pt idx="10">
                  <c:v>0.0003390405153415833</c:v>
                </c:pt>
                <c:pt idx="11">
                  <c:v>0.0004418912947414936</c:v>
                </c:pt>
                <c:pt idx="12">
                  <c:v>0.0006092916984006092</c:v>
                </c:pt>
                <c:pt idx="13">
                  <c:v>0.0004977600796416127</c:v>
                </c:pt>
                <c:pt idx="14">
                  <c:v>0.0005326704545454545</c:v>
                </c:pt>
                <c:pt idx="15">
                  <c:v>0.0003884249368809478</c:v>
                </c:pt>
                <c:pt idx="16">
                  <c:v>0.000664599025254763</c:v>
                </c:pt>
                <c:pt idx="17">
                  <c:v>0.0012987012987012987</c:v>
                </c:pt>
                <c:pt idx="18">
                  <c:v>0.00030525030525030525</c:v>
                </c:pt>
                <c:pt idx="19">
                  <c:v>0.000984251968503937</c:v>
                </c:pt>
                <c:pt idx="20">
                  <c:v>0.0007017543859649122</c:v>
                </c:pt>
                <c:pt idx="21">
                  <c:v>0.001162340178225494</c:v>
                </c:pt>
                <c:pt idx="22">
                  <c:v>0.0007410151908114116</c:v>
                </c:pt>
                <c:pt idx="23">
                  <c:v>0.0005136106831022085</c:v>
                </c:pt>
                <c:pt idx="24">
                  <c:v>0.0012135922330097086</c:v>
                </c:pt>
                <c:pt idx="25">
                  <c:v>0.0011198208286674132</c:v>
                </c:pt>
                <c:pt idx="26">
                  <c:v>0.001352265043948614</c:v>
                </c:pt>
                <c:pt idx="27">
                  <c:v>0.001375515818431912</c:v>
                </c:pt>
                <c:pt idx="28">
                  <c:v>0.0007407407407407407</c:v>
                </c:pt>
                <c:pt idx="29">
                  <c:v>0.0017605633802816902</c:v>
                </c:pt>
                <c:pt idx="30">
                  <c:v>0.0029218407596785976</c:v>
                </c:pt>
                <c:pt idx="31">
                  <c:v>0.0017467248908296944</c:v>
                </c:pt>
                <c:pt idx="32">
                  <c:v>0.0</c:v>
                </c:pt>
                <c:pt idx="33">
                  <c:v>0.001463057790782736</c:v>
                </c:pt>
                <c:pt idx="34">
                  <c:v>0.0024509803921568627</c:v>
                </c:pt>
                <c:pt idx="35">
                  <c:v>0.0025823111684958036</c:v>
                </c:pt>
                <c:pt idx="36">
                  <c:v>0.0031720856463124504</c:v>
                </c:pt>
                <c:pt idx="37">
                  <c:v>0.005649717514124294</c:v>
                </c:pt>
                <c:pt idx="38">
                  <c:v>0.00267379679144385</c:v>
                </c:pt>
                <c:pt idx="39">
                  <c:v>0.003117692907248636</c:v>
                </c:pt>
                <c:pt idx="40">
                  <c:v>0.002168021680216802</c:v>
                </c:pt>
                <c:pt idx="41">
                  <c:v>0.0011280315848843769</c:v>
                </c:pt>
                <c:pt idx="42">
                  <c:v>0.0031847133757961785</c:v>
                </c:pt>
                <c:pt idx="43">
                  <c:v>0.0031717263253285004</c:v>
                </c:pt>
                <c:pt idx="44">
                  <c:v>0.005729017473503294</c:v>
                </c:pt>
                <c:pt idx="45">
                  <c:v>0.008791832104367556</c:v>
                </c:pt>
                <c:pt idx="46">
                  <c:v>0.007398273736128237</c:v>
                </c:pt>
                <c:pt idx="47">
                  <c:v>0.0051313628899835794</c:v>
                </c:pt>
                <c:pt idx="48">
                  <c:v>0.002486016159105034</c:v>
                </c:pt>
                <c:pt idx="49">
                  <c:v>0.0034393809114359416</c:v>
                </c:pt>
                <c:pt idx="50">
                  <c:v>0.0038642009384487995</c:v>
                </c:pt>
                <c:pt idx="51">
                  <c:v>0.002376990729736154</c:v>
                </c:pt>
                <c:pt idx="52">
                  <c:v>0.00220696419813634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707076425670076</c:v>
                </c:pt>
                <c:pt idx="1">
                  <c:v>1.6940864466256482</c:v>
                </c:pt>
                <c:pt idx="2">
                  <c:v>2.878241120074641</c:v>
                </c:pt>
                <c:pt idx="3">
                  <c:v>1.933701597009761</c:v>
                </c:pt>
                <c:pt idx="4">
                  <c:v>2.437743849558094</c:v>
                </c:pt>
                <c:pt idx="5">
                  <c:v>2.6509353534105022</c:v>
                </c:pt>
                <c:pt idx="6">
                  <c:v>3.01957764343433</c:v>
                </c:pt>
                <c:pt idx="7">
                  <c:v>2.5971543318364083</c:v>
                </c:pt>
                <c:pt idx="8">
                  <c:v>2.6199424178568336</c:v>
                </c:pt>
                <c:pt idx="9">
                  <c:v>2.4068627962702074</c:v>
                </c:pt>
                <c:pt idx="10">
                  <c:v>2.4721753953069845</c:v>
                </c:pt>
                <c:pt idx="11">
                  <c:v>2.697966675282357</c:v>
                </c:pt>
                <c:pt idx="12">
                  <c:v>2.4322577235943563</c:v>
                </c:pt>
                <c:pt idx="13">
                  <c:v>2.142633458354936</c:v>
                </c:pt>
                <c:pt idx="14">
                  <c:v>1.952890085792994</c:v>
                </c:pt>
                <c:pt idx="15">
                  <c:v>2.0716432545290626</c:v>
                </c:pt>
                <c:pt idx="16">
                  <c:v>2.222887611945118</c:v>
                </c:pt>
                <c:pt idx="17">
                  <c:v>1.9555052014674303</c:v>
                </c:pt>
                <c:pt idx="18">
                  <c:v>2.0156737471439157</c:v>
                </c:pt>
                <c:pt idx="19">
                  <c:v>3.046271644908638</c:v>
                </c:pt>
                <c:pt idx="20">
                  <c:v>1.9875561916267646</c:v>
                </c:pt>
                <c:pt idx="21">
                  <c:v>2.103707034185522</c:v>
                </c:pt>
                <c:pt idx="22">
                  <c:v>2.067241071710722</c:v>
                </c:pt>
                <c:pt idx="23">
                  <c:v>2.4709990640418162</c:v>
                </c:pt>
                <c:pt idx="24">
                  <c:v>1.8391844502520556</c:v>
                </c:pt>
                <c:pt idx="25">
                  <c:v>1.908792517546924</c:v>
                </c:pt>
                <c:pt idx="26">
                  <c:v>2.1354946827494907</c:v>
                </c:pt>
                <c:pt idx="27">
                  <c:v>2.3120933840021975</c:v>
                </c:pt>
                <c:pt idx="28">
                  <c:v>1.9642934729960977</c:v>
                </c:pt>
                <c:pt idx="29">
                  <c:v>2.2280125815343252</c:v>
                </c:pt>
                <c:pt idx="30">
                  <c:v>1.2758064496983852</c:v>
                </c:pt>
                <c:pt idx="31">
                  <c:v>1.8704382658348626</c:v>
                </c:pt>
                <c:pt idx="32">
                  <c:v>2.2713234311964112</c:v>
                </c:pt>
                <c:pt idx="33">
                  <c:v>2.1251733752264492</c:v>
                </c:pt>
                <c:pt idx="34">
                  <c:v>2.4186692696273258</c:v>
                </c:pt>
                <c:pt idx="35">
                  <c:v>2.058475492582212</c:v>
                </c:pt>
                <c:pt idx="36">
                  <c:v>1.9928779089869353</c:v>
                </c:pt>
                <c:pt idx="37">
                  <c:v>1.7393731667059826</c:v>
                </c:pt>
                <c:pt idx="38">
                  <c:v>1.8383997880551313</c:v>
                </c:pt>
                <c:pt idx="39">
                  <c:v>2.056330956020114</c:v>
                </c:pt>
                <c:pt idx="40">
                  <c:v>2.6726193649081678</c:v>
                </c:pt>
                <c:pt idx="41">
                  <c:v>2.645875857024278</c:v>
                </c:pt>
                <c:pt idx="42">
                  <c:v>2.0426489917306836</c:v>
                </c:pt>
                <c:pt idx="43">
                  <c:v>2.2422254621689457</c:v>
                </c:pt>
                <c:pt idx="44">
                  <c:v>2.403104984970574</c:v>
                </c:pt>
                <c:pt idx="45">
                  <c:v>2.297294991304941</c:v>
                </c:pt>
                <c:pt idx="46">
                  <c:v>2.4583581642153867</c:v>
                </c:pt>
                <c:pt idx="47">
                  <c:v>2.6008816326389566</c:v>
                </c:pt>
                <c:pt idx="48">
                  <c:v>2.913283676708203</c:v>
                </c:pt>
                <c:pt idx="49">
                  <c:v>2.7359596902468417</c:v>
                </c:pt>
                <c:pt idx="50">
                  <c:v>2.677169106538028</c:v>
                </c:pt>
                <c:pt idx="51">
                  <c:v>2.6189252805760215</c:v>
                </c:pt>
              </c:numCache>
            </c:numRef>
          </c:xVal>
          <c:yVal>
            <c:numRef>
              <c:f>Sheet1!$B$57:$B$108</c:f>
              <c:numCache>
                <c:formatCode>General</c:formatCode>
                <c:ptCount val="52"/>
                <c:pt idx="0">
                  <c:v>0.0018244475978106628</c:v>
                </c:pt>
                <c:pt idx="1">
                  <c:v>0.0027088976870181286</c:v>
                </c:pt>
                <c:pt idx="2">
                  <c:v>0.0020700037636432068</c:v>
                </c:pt>
                <c:pt idx="3">
                  <c:v>0.002414209346439041</c:v>
                </c:pt>
                <c:pt idx="4">
                  <c:v>0.0024752475247524753</c:v>
                </c:pt>
                <c:pt idx="5">
                  <c:v>0.0021916716477385933</c:v>
                </c:pt>
                <c:pt idx="6">
                  <c:v>0.001764234161988773</c:v>
                </c:pt>
                <c:pt idx="7">
                  <c:v>0.0024489795918367346</c:v>
                </c:pt>
                <c:pt idx="8">
                  <c:v>0.002201565557729941</c:v>
                </c:pt>
                <c:pt idx="9">
                  <c:v>0.0027913468248429866</c:v>
                </c:pt>
                <c:pt idx="10">
                  <c:v>0.002651880424300868</c:v>
                </c:pt>
                <c:pt idx="11">
                  <c:v>0.002297225658243506</c:v>
                </c:pt>
                <c:pt idx="12">
                  <c:v>0.003094606542882405</c:v>
                </c:pt>
                <c:pt idx="13">
                  <c:v>0.0038918918918918917</c:v>
                </c:pt>
                <c:pt idx="14">
                  <c:v>0.005332040717401842</c:v>
                </c:pt>
                <c:pt idx="15">
                  <c:v>0.0042294475284166</c:v>
                </c:pt>
                <c:pt idx="16">
                  <c:v>0.0044444444444444444</c:v>
                </c:pt>
                <c:pt idx="17">
                  <c:v>0.0051660516605166054</c:v>
                </c:pt>
                <c:pt idx="18">
                  <c:v>0.004235044997353097</c:v>
                </c:pt>
                <c:pt idx="19">
                  <c:v>0.0024342745861733205</c:v>
                </c:pt>
                <c:pt idx="20">
                  <c:v>0.0039273441335297005</c:v>
                </c:pt>
                <c:pt idx="21">
                  <c:v>0.004310344827586207</c:v>
                </c:pt>
                <c:pt idx="22">
                  <c:v>0.002798507462686567</c:v>
                </c:pt>
                <c:pt idx="23">
                  <c:v>0.002206287920573635</c:v>
                </c:pt>
                <c:pt idx="24">
                  <c:v>0.0035460992907801418</c:v>
                </c:pt>
                <c:pt idx="25">
                  <c:v>0.003963011889035667</c:v>
                </c:pt>
                <c:pt idx="26">
                  <c:v>0.0029940119760479044</c:v>
                </c:pt>
                <c:pt idx="27">
                  <c:v>0.0031665611146295125</c:v>
                </c:pt>
                <c:pt idx="28">
                  <c:v>0.0028636884306987398</c:v>
                </c:pt>
                <c:pt idx="29">
                  <c:v>0.0026954177897574125</c:v>
                </c:pt>
                <c:pt idx="30">
                  <c:v>0.004922067268252666</c:v>
                </c:pt>
                <c:pt idx="31">
                  <c:v>0.0041279669762641896</c:v>
                </c:pt>
                <c:pt idx="32">
                  <c:v>0.0032733224222585926</c:v>
                </c:pt>
                <c:pt idx="33">
                  <c:v>0.0036023054755043226</c:v>
                </c:pt>
                <c:pt idx="34">
                  <c:v>0.0036652412950519244</c:v>
                </c:pt>
                <c:pt idx="35">
                  <c:v>0.004559270516717325</c:v>
                </c:pt>
                <c:pt idx="36">
                  <c:v>0.006002400960384154</c:v>
                </c:pt>
                <c:pt idx="37">
                  <c:v>0.007231404958677686</c:v>
                </c:pt>
                <c:pt idx="38">
                  <c:v>0.005649717514124294</c:v>
                </c:pt>
                <c:pt idx="39">
                  <c:v>0.003912363067292645</c:v>
                </c:pt>
                <c:pt idx="40">
                  <c:v>0.0027593818984547464</c:v>
                </c:pt>
                <c:pt idx="41">
                  <c:v>0.003132832080200501</c:v>
                </c:pt>
                <c:pt idx="42">
                  <c:v>0.003671071953010279</c:v>
                </c:pt>
                <c:pt idx="43">
                  <c:v>0.0026929982046678637</c:v>
                </c:pt>
                <c:pt idx="44">
                  <c:v>0.002976190476190476</c:v>
                </c:pt>
                <c:pt idx="45">
                  <c:v>0.002688172043010753</c:v>
                </c:pt>
                <c:pt idx="46">
                  <c:v>0.0027063599458728013</c:v>
                </c:pt>
                <c:pt idx="47">
                  <c:v>0.0026455026455026454</c:v>
                </c:pt>
                <c:pt idx="48">
                  <c:v>0.002089427496865859</c:v>
                </c:pt>
                <c:pt idx="49">
                  <c:v>0.002346958732642284</c:v>
                </c:pt>
                <c:pt idx="50">
                  <c:v>0.002246925260170293</c:v>
                </c:pt>
                <c:pt idx="51">
                  <c:v>0.00270880361173814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9202484511144486</c:v>
                </c:pt>
              </c:numCache>
            </c:numRef>
          </c:xVal>
          <c:yVal>
            <c:numRef>
              <c:f>Sheet1!$B$111:$B$112</c:f>
              <c:numCache>
                <c:formatCode>General</c:formatCode>
                <c:ptCount val="2"/>
                <c:pt idx="0">
                  <c:v>0.004138637552957137</c:v>
                </c:pt>
                <c:pt idx="1">
                  <c:v>0.00413863755295713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9202484511144486</c:v>
                </c:pt>
                <c:pt idx="1">
                  <c:v>1.9202484511144486</c:v>
                </c:pt>
              </c:numCache>
            </c:numRef>
          </c:xVal>
          <c:yVal>
            <c:numRef>
              <c:f>Sheet1!$B$115:$B$116</c:f>
              <c:numCache>
                <c:formatCode>General</c:formatCode>
                <c:ptCount val="2"/>
                <c:pt idx="0">
                  <c:v>0.0041386375529571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0299553997091575</c:v>
                </c:pt>
              </c:numCache>
            </c:numRef>
          </c:xVal>
          <c:yVal>
            <c:numRef>
              <c:f>Sheet1!$B$119:$B$120</c:f>
              <c:numCache>
                <c:formatCode>General</c:formatCode>
                <c:ptCount val="2"/>
                <c:pt idx="0">
                  <c:v>0.0038944358664697054</c:v>
                </c:pt>
                <c:pt idx="1">
                  <c:v>0.0038944358664697054</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299553997091575</c:v>
                </c:pt>
                <c:pt idx="1">
                  <c:v>2.0299553997091575</c:v>
                </c:pt>
              </c:numCache>
            </c:numRef>
          </c:xVal>
          <c:yVal>
            <c:numRef>
              <c:f>Sheet1!$B$123:$B$124</c:f>
              <c:numCache>
                <c:formatCode>General</c:formatCode>
                <c:ptCount val="2"/>
                <c:pt idx="0">
                  <c:v>0.00389443586646970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5155115191118855</c:v>
                </c:pt>
              </c:numCache>
            </c:numRef>
          </c:xVal>
          <c:yVal>
            <c:numRef>
              <c:f>Sheet1!$B$127:$B$128</c:f>
              <c:numCache>
                <c:formatCode>General</c:formatCode>
                <c:ptCount val="2"/>
                <c:pt idx="0">
                  <c:v>0.0028136144165860997</c:v>
                </c:pt>
                <c:pt idx="1">
                  <c:v>0.0028136144165860997</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5155115191118855</c:v>
                </c:pt>
                <c:pt idx="1">
                  <c:v>2.5155115191118855</c:v>
                </c:pt>
              </c:numCache>
            </c:numRef>
          </c:xVal>
          <c:yVal>
            <c:numRef>
              <c:f>Sheet1!$B$131:$B$132</c:f>
              <c:numCache>
                <c:formatCode>General</c:formatCode>
                <c:ptCount val="2"/>
                <c:pt idx="0">
                  <c:v>0.00281361441658609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707076425670076</c:v>
                </c:pt>
                <c:pt idx="1">
                  <c:v>1.6940864466256482</c:v>
                </c:pt>
                <c:pt idx="2">
                  <c:v>2.878241120074641</c:v>
                </c:pt>
                <c:pt idx="3">
                  <c:v>1.933701597009761</c:v>
                </c:pt>
                <c:pt idx="4">
                  <c:v>2.437743849558094</c:v>
                </c:pt>
                <c:pt idx="5">
                  <c:v>2.6509353534105022</c:v>
                </c:pt>
                <c:pt idx="6">
                  <c:v>3.01957764343433</c:v>
                </c:pt>
                <c:pt idx="7">
                  <c:v>2.5971543318364083</c:v>
                </c:pt>
                <c:pt idx="8">
                  <c:v>2.6199424178568336</c:v>
                </c:pt>
                <c:pt idx="9">
                  <c:v>2.4068627962702074</c:v>
                </c:pt>
                <c:pt idx="10">
                  <c:v>2.4721753953069845</c:v>
                </c:pt>
                <c:pt idx="11">
                  <c:v>2.697966675282357</c:v>
                </c:pt>
                <c:pt idx="12">
                  <c:v>2.4322577235943563</c:v>
                </c:pt>
                <c:pt idx="13">
                  <c:v>2.142633458354936</c:v>
                </c:pt>
                <c:pt idx="14">
                  <c:v>1.952890085792994</c:v>
                </c:pt>
                <c:pt idx="15">
                  <c:v>2.0716432545290626</c:v>
                </c:pt>
                <c:pt idx="16">
                  <c:v>2.222887611945118</c:v>
                </c:pt>
                <c:pt idx="17">
                  <c:v>1.9555052014674303</c:v>
                </c:pt>
                <c:pt idx="18">
                  <c:v>2.0156737471439157</c:v>
                </c:pt>
                <c:pt idx="19">
                  <c:v>3.046271644908638</c:v>
                </c:pt>
                <c:pt idx="20">
                  <c:v>1.9875561916267646</c:v>
                </c:pt>
                <c:pt idx="21">
                  <c:v>2.103707034185522</c:v>
                </c:pt>
                <c:pt idx="22">
                  <c:v>2.067241071710722</c:v>
                </c:pt>
                <c:pt idx="23">
                  <c:v>2.4709990640418162</c:v>
                </c:pt>
                <c:pt idx="24">
                  <c:v>1.8391844502520556</c:v>
                </c:pt>
                <c:pt idx="25">
                  <c:v>1.908792517546924</c:v>
                </c:pt>
                <c:pt idx="26">
                  <c:v>2.1354946827494907</c:v>
                </c:pt>
                <c:pt idx="27">
                  <c:v>2.3120933840021975</c:v>
                </c:pt>
                <c:pt idx="28">
                  <c:v>1.9642934729960977</c:v>
                </c:pt>
                <c:pt idx="29">
                  <c:v>2.2280125815343252</c:v>
                </c:pt>
                <c:pt idx="30">
                  <c:v>1.2758064496983852</c:v>
                </c:pt>
                <c:pt idx="31">
                  <c:v>1.8704382658348626</c:v>
                </c:pt>
                <c:pt idx="32">
                  <c:v>2.2713234311964112</c:v>
                </c:pt>
                <c:pt idx="33">
                  <c:v>2.1251733752264492</c:v>
                </c:pt>
                <c:pt idx="34">
                  <c:v>2.4186692696273258</c:v>
                </c:pt>
                <c:pt idx="35">
                  <c:v>2.058475492582212</c:v>
                </c:pt>
                <c:pt idx="36">
                  <c:v>1.9928779089869353</c:v>
                </c:pt>
                <c:pt idx="37">
                  <c:v>1.7393731667059826</c:v>
                </c:pt>
                <c:pt idx="38">
                  <c:v>1.8383997880551313</c:v>
                </c:pt>
                <c:pt idx="39">
                  <c:v>2.056330956020114</c:v>
                </c:pt>
                <c:pt idx="40">
                  <c:v>2.6726193649081678</c:v>
                </c:pt>
                <c:pt idx="41">
                  <c:v>2.645875857024278</c:v>
                </c:pt>
                <c:pt idx="42">
                  <c:v>2.0426489917306836</c:v>
                </c:pt>
                <c:pt idx="43">
                  <c:v>2.2422254621689457</c:v>
                </c:pt>
                <c:pt idx="44">
                  <c:v>2.403104984970574</c:v>
                </c:pt>
                <c:pt idx="45">
                  <c:v>2.297294991304941</c:v>
                </c:pt>
                <c:pt idx="46">
                  <c:v>2.4583581642153867</c:v>
                </c:pt>
                <c:pt idx="47">
                  <c:v>2.6008816326389566</c:v>
                </c:pt>
                <c:pt idx="48">
                  <c:v>2.913283676708203</c:v>
                </c:pt>
                <c:pt idx="49">
                  <c:v>2.7359596902468417</c:v>
                </c:pt>
                <c:pt idx="50">
                  <c:v>2.677169106538028</c:v>
                </c:pt>
                <c:pt idx="51">
                  <c:v>2.6189252805760215</c:v>
                </c:pt>
                <c:pt idx="52">
                  <c:v>2.0299553997091575</c:v>
                </c:pt>
                <c:pt idx="53">
                  <c:v>1.9202484511144486</c:v>
                </c:pt>
                <c:pt idx="54">
                  <c:v>2.5155115191118855</c:v>
                </c:pt>
              </c:numCache>
            </c:numRef>
          </c:xVal>
          <c:yVal>
            <c:numRef>
              <c:f>Sheet1!$B$135:$B$189</c:f>
              <c:numCache>
                <c:formatCode>General</c:formatCode>
                <c:ptCount val="55"/>
                <c:pt idx="0">
                  <c:v>0.002387201378464522</c:v>
                </c:pt>
                <c:pt idx="1">
                  <c:v>0.004642061844882134</c:v>
                </c:pt>
                <c:pt idx="2">
                  <c:v>0.002006198100403093</c:v>
                </c:pt>
                <c:pt idx="3">
                  <c:v>0.004108691583642708</c:v>
                </c:pt>
                <c:pt idx="4">
                  <c:v>0.0029867210092176365</c:v>
                </c:pt>
                <c:pt idx="5">
                  <c:v>0.0025121683445739227</c:v>
                </c:pt>
                <c:pt idx="6">
                  <c:v>0.0016915907048933145</c:v>
                </c:pt>
                <c:pt idx="7">
                  <c:v>0.00263188196652443</c:v>
                </c:pt>
                <c:pt idx="8">
                  <c:v>0.0025811569294206553</c:v>
                </c:pt>
                <c:pt idx="9">
                  <c:v>0.0030554605502404186</c:v>
                </c:pt>
                <c:pt idx="10">
                  <c:v>0.0029100782655450286</c:v>
                </c:pt>
                <c:pt idx="11">
                  <c:v>0.0024074791861754905</c:v>
                </c:pt>
                <c:pt idx="12">
                  <c:v>0.0029989328265162523</c:v>
                </c:pt>
                <c:pt idx="13">
                  <c:v>0.0036436206509897623</c:v>
                </c:pt>
                <c:pt idx="14">
                  <c:v>0.004065979053743425</c:v>
                </c:pt>
                <c:pt idx="15">
                  <c:v>0.0038016409744098317</c:v>
                </c:pt>
                <c:pt idx="16">
                  <c:v>0.00346497928045319</c:v>
                </c:pt>
                <c:pt idx="17">
                  <c:v>0.004060157948824936</c:v>
                </c:pt>
                <c:pt idx="18">
                  <c:v>0.003926226046462258</c:v>
                </c:pt>
                <c:pt idx="19">
                  <c:v>0.0016321713129347779</c:v>
                </c:pt>
                <c:pt idx="20">
                  <c:v>0.003988814192109794</c:v>
                </c:pt>
                <c:pt idx="21">
                  <c:v>0.0037302687489713555</c:v>
                </c:pt>
                <c:pt idx="22">
                  <c:v>0.003811439993362006</c:v>
                </c:pt>
                <c:pt idx="23">
                  <c:v>0.0029126967148091973</c:v>
                </c:pt>
                <c:pt idx="24">
                  <c:v>0.004319081599369798</c:v>
                </c:pt>
                <c:pt idx="25">
                  <c:v>0.004164137836515406</c:v>
                </c:pt>
                <c:pt idx="26">
                  <c:v>0.0036595111762904456</c:v>
                </c:pt>
                <c:pt idx="27">
                  <c:v>0.0032664120952402486</c:v>
                </c:pt>
                <c:pt idx="28">
                  <c:v>0.0040405957355275956</c:v>
                </c:pt>
                <c:pt idx="29">
                  <c:v>0.00345357137755449</c:v>
                </c:pt>
                <c:pt idx="30">
                  <c:v>0.005573130313944651</c:v>
                </c:pt>
                <c:pt idx="31">
                  <c:v>0.004249512309801053</c:v>
                </c:pt>
                <c:pt idx="32">
                  <c:v>0.003357163787459553</c:v>
                </c:pt>
                <c:pt idx="33">
                  <c:v>0.003682485844132075</c:v>
                </c:pt>
                <c:pt idx="34">
                  <c:v>0.003029179984221501</c:v>
                </c:pt>
                <c:pt idx="35">
                  <c:v>0.003830951694613757</c:v>
                </c:pt>
                <c:pt idx="36">
                  <c:v>0.003976968339399368</c:v>
                </c:pt>
                <c:pt idx="37">
                  <c:v>0.004541256074958137</c:v>
                </c:pt>
                <c:pt idx="38">
                  <c:v>0.004320828214641359</c:v>
                </c:pt>
                <c:pt idx="39">
                  <c:v>0.0038357253160835594</c:v>
                </c:pt>
                <c:pt idx="40">
                  <c:v>0.0024639009171650607</c:v>
                </c:pt>
                <c:pt idx="41">
                  <c:v>0.0025234305076922998</c:v>
                </c:pt>
                <c:pt idx="42">
                  <c:v>0.003866180622668405</c:v>
                </c:pt>
                <c:pt idx="43">
                  <c:v>0.003421934280130141</c:v>
                </c:pt>
                <c:pt idx="44">
                  <c:v>0.003063825233322273</c:v>
                </c:pt>
                <c:pt idx="45">
                  <c:v>0.0032993525105946466</c:v>
                </c:pt>
                <c:pt idx="46">
                  <c:v>0.002940834668656923</c:v>
                </c:pt>
                <c:pt idx="47">
                  <c:v>0.0026235851981456938</c:v>
                </c:pt>
                <c:pt idx="48">
                  <c:v>0.0019281952798127482</c:v>
                </c:pt>
                <c:pt idx="49">
                  <c:v>0.002322908806195776</c:v>
                </c:pt>
                <c:pt idx="50">
                  <c:v>0.002453773440343164</c:v>
                </c:pt>
                <c:pt idx="51">
                  <c:v>0.0025834210215547014</c:v>
                </c:pt>
                <c:pt idx="52">
                  <c:v>0.003894435866469705</c:v>
                </c:pt>
                <c:pt idx="53">
                  <c:v>0.004138637552957137</c:v>
                </c:pt>
                <c:pt idx="54">
                  <c:v>0.00281361441658609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5501985252410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8.0189</c:v>
                </c:pt>
                <c:pt idx="1">
                  <c:v>670.2955</c:v>
                </c:pt>
                <c:pt idx="2">
                  <c:v>694.0</c:v>
                </c:pt>
                <c:pt idx="3">
                  <c:v>681.2128</c:v>
                </c:pt>
                <c:pt idx="4">
                  <c:v>658.0</c:v>
                </c:pt>
                <c:pt idx="5">
                  <c:v>665.4528</c:v>
                </c:pt>
                <c:pt idx="6">
                  <c:v>645.0806</c:v>
                </c:pt>
                <c:pt idx="7">
                  <c:v>651.0</c:v>
                </c:pt>
                <c:pt idx="8">
                  <c:v>667.7571</c:v>
                </c:pt>
                <c:pt idx="9">
                  <c:v>647.1789</c:v>
                </c:pt>
                <c:pt idx="10">
                  <c:v>609.1574</c:v>
                </c:pt>
                <c:pt idx="11">
                  <c:v>616.1512</c:v>
                </c:pt>
                <c:pt idx="12">
                  <c:v>619.2235</c:v>
                </c:pt>
                <c:pt idx="13">
                  <c:v>626.0494</c:v>
                </c:pt>
                <c:pt idx="14">
                  <c:v>590.8049</c:v>
                </c:pt>
                <c:pt idx="15">
                  <c:v>598.7949</c:v>
                </c:pt>
                <c:pt idx="16">
                  <c:v>583.3922</c:v>
                </c:pt>
                <c:pt idx="17">
                  <c:v>600.68</c:v>
                </c:pt>
                <c:pt idx="18">
                  <c:v>518.7826</c:v>
                </c:pt>
                <c:pt idx="19">
                  <c:v>505.7188</c:v>
                </c:pt>
                <c:pt idx="20">
                  <c:v>575.1087</c:v>
                </c:pt>
                <c:pt idx="21">
                  <c:v>592.3902</c:v>
                </c:pt>
                <c:pt idx="22">
                  <c:v>565.4889</c:v>
                </c:pt>
                <c:pt idx="23">
                  <c:v>558.5641</c:v>
                </c:pt>
                <c:pt idx="24">
                  <c:v>591.7097</c:v>
                </c:pt>
                <c:pt idx="25">
                  <c:v>559.7</c:v>
                </c:pt>
                <c:pt idx="26">
                  <c:v>575.5</c:v>
                </c:pt>
                <c:pt idx="27">
                  <c:v>601.1</c:v>
                </c:pt>
                <c:pt idx="28">
                  <c:v>626.8095</c:v>
                </c:pt>
                <c:pt idx="29">
                  <c:v>642.5714</c:v>
                </c:pt>
                <c:pt idx="30">
                  <c:v>620.1765</c:v>
                </c:pt>
                <c:pt idx="31">
                  <c:v>648.5714</c:v>
                </c:pt>
                <c:pt idx="32">
                  <c:v>614.9231</c:v>
                </c:pt>
                <c:pt idx="33">
                  <c:v>534.2632</c:v>
                </c:pt>
                <c:pt idx="34">
                  <c:v>656.8333</c:v>
                </c:pt>
                <c:pt idx="35">
                  <c:v>646.6786</c:v>
                </c:pt>
                <c:pt idx="36">
                  <c:v>594.25</c:v>
                </c:pt>
                <c:pt idx="37">
                  <c:v>634.1111</c:v>
                </c:pt>
                <c:pt idx="38">
                  <c:v>621.5882</c:v>
                </c:pt>
                <c:pt idx="39">
                  <c:v>656.8571</c:v>
                </c:pt>
                <c:pt idx="40">
                  <c:v>671.9655</c:v>
                </c:pt>
                <c:pt idx="41">
                  <c:v>587.5</c:v>
                </c:pt>
                <c:pt idx="42">
                  <c:v>661.0</c:v>
                </c:pt>
                <c:pt idx="43">
                  <c:v>658.6735</c:v>
                </c:pt>
                <c:pt idx="44">
                  <c:v>659.4255</c:v>
                </c:pt>
                <c:pt idx="45">
                  <c:v>659.9254</c:v>
                </c:pt>
                <c:pt idx="46">
                  <c:v>629.0521</c:v>
                </c:pt>
                <c:pt idx="47">
                  <c:v>630.8596</c:v>
                </c:pt>
                <c:pt idx="48">
                  <c:v>629.1083</c:v>
                </c:pt>
                <c:pt idx="49">
                  <c:v>604.213</c:v>
                </c:pt>
                <c:pt idx="50">
                  <c:v>632.4872</c:v>
                </c:pt>
                <c:pt idx="51">
                  <c:v>608.6957</c:v>
                </c:pt>
                <c:pt idx="52">
                  <c:v>647.5319</c:v>
                </c:pt>
                <c:pt idx="53">
                  <c:v>645.3043</c:v>
                </c:pt>
                <c:pt idx="54">
                  <c:v>661.9211</c:v>
                </c:pt>
                <c:pt idx="55">
                  <c:v>654.3023</c:v>
                </c:pt>
                <c:pt idx="56">
                  <c:v>630.3077</c:v>
                </c:pt>
                <c:pt idx="57">
                  <c:v>657.1091</c:v>
                </c:pt>
                <c:pt idx="58">
                  <c:v>587.5882</c:v>
                </c:pt>
                <c:pt idx="59">
                  <c:v>648.7258</c:v>
                </c:pt>
                <c:pt idx="60">
                  <c:v>615.3433</c:v>
                </c:pt>
                <c:pt idx="61">
                  <c:v>655.1429</c:v>
                </c:pt>
                <c:pt idx="62">
                  <c:v>632.3544</c:v>
                </c:pt>
                <c:pt idx="63">
                  <c:v>640.9655</c:v>
                </c:pt>
                <c:pt idx="64">
                  <c:v>626.1059</c:v>
                </c:pt>
                <c:pt idx="65">
                  <c:v>628.2192</c:v>
                </c:pt>
                <c:pt idx="66">
                  <c:v>605.6786</c:v>
                </c:pt>
                <c:pt idx="67">
                  <c:v>621.3125</c:v>
                </c:pt>
                <c:pt idx="68">
                  <c:v>574.4324</c:v>
                </c:pt>
                <c:pt idx="69">
                  <c:v>600.7838</c:v>
                </c:pt>
                <c:pt idx="70">
                  <c:v>569.3939</c:v>
                </c:pt>
                <c:pt idx="71">
                  <c:v>625.2</c:v>
                </c:pt>
                <c:pt idx="72">
                  <c:v>709.7619</c:v>
                </c:pt>
                <c:pt idx="73">
                  <c:v>709.7917</c:v>
                </c:pt>
                <c:pt idx="74">
                  <c:v>671.4</c:v>
                </c:pt>
                <c:pt idx="75">
                  <c:v>645.5385</c:v>
                </c:pt>
                <c:pt idx="76">
                  <c:v>683.8947</c:v>
                </c:pt>
                <c:pt idx="77">
                  <c:v>688.2222</c:v>
                </c:pt>
                <c:pt idx="78">
                  <c:v>632.2667</c:v>
                </c:pt>
                <c:pt idx="79">
                  <c:v>655.75</c:v>
                </c:pt>
                <c:pt idx="80">
                  <c:v>667.0</c:v>
                </c:pt>
                <c:pt idx="81">
                  <c:v>707.25</c:v>
                </c:pt>
                <c:pt idx="82">
                  <c:v>755.8889</c:v>
                </c:pt>
                <c:pt idx="83">
                  <c:v>690.7143</c:v>
                </c:pt>
                <c:pt idx="84">
                  <c:v>712.5</c:v>
                </c:pt>
                <c:pt idx="85">
                  <c:v>700.3333</c:v>
                </c:pt>
                <c:pt idx="86">
                  <c:v>657.9167</c:v>
                </c:pt>
                <c:pt idx="87">
                  <c:v>675.4667</c:v>
                </c:pt>
                <c:pt idx="88">
                  <c:v>745.1667</c:v>
                </c:pt>
                <c:pt idx="89">
                  <c:v>742.4444</c:v>
                </c:pt>
                <c:pt idx="90">
                  <c:v>755.1111</c:v>
                </c:pt>
                <c:pt idx="91">
                  <c:v>728.5455</c:v>
                </c:pt>
                <c:pt idx="92">
                  <c:v>717.5294</c:v>
                </c:pt>
                <c:pt idx="93">
                  <c:v>714.8462</c:v>
                </c:pt>
                <c:pt idx="94">
                  <c:v>697.875</c:v>
                </c:pt>
                <c:pt idx="95">
                  <c:v>710.025</c:v>
                </c:pt>
                <c:pt idx="96">
                  <c:v>726.6429</c:v>
                </c:pt>
                <c:pt idx="97">
                  <c:v>712.9667</c:v>
                </c:pt>
                <c:pt idx="98">
                  <c:v>698.625</c:v>
                </c:pt>
                <c:pt idx="99">
                  <c:v>697.1711</c:v>
                </c:pt>
                <c:pt idx="100">
                  <c:v>700.25</c:v>
                </c:pt>
                <c:pt idx="101">
                  <c:v>713.0526</c:v>
                </c:pt>
                <c:pt idx="102">
                  <c:v>678.4865</c:v>
                </c:pt>
                <c:pt idx="103">
                  <c:v>704.6042</c:v>
                </c:pt>
                <c:pt idx="104">
                  <c:v>669.8718</c:v>
                </c:pt>
              </c:numCache>
            </c:numRef>
          </c:xVal>
          <c:yVal>
            <c:numRef>
              <c:f>Sheet1!$B$2:$B$106</c:f>
              <c:numCache>
                <c:formatCode>General</c:formatCode>
                <c:ptCount val="105"/>
                <c:pt idx="0">
                  <c:v>0.38686131386861317</c:v>
                </c:pt>
                <c:pt idx="1">
                  <c:v>0.2972972972972973</c:v>
                </c:pt>
                <c:pt idx="2">
                  <c:v>0.38311688311688313</c:v>
                </c:pt>
                <c:pt idx="3">
                  <c:v>0.2919254658385093</c:v>
                </c:pt>
                <c:pt idx="4">
                  <c:v>0.4142857142857143</c:v>
                </c:pt>
                <c:pt idx="5">
                  <c:v>0.32919254658385094</c:v>
                </c:pt>
                <c:pt idx="6">
                  <c:v>0.39490445859872614</c:v>
                </c:pt>
                <c:pt idx="7">
                  <c:v>0.34394904458598724</c:v>
                </c:pt>
                <c:pt idx="8">
                  <c:v>0.3804347826086957</c:v>
                </c:pt>
                <c:pt idx="9">
                  <c:v>0.42410714285714285</c:v>
                </c:pt>
                <c:pt idx="10">
                  <c:v>0.4122137404580153</c:v>
                </c:pt>
                <c:pt idx="11">
                  <c:v>0.3628691983122363</c:v>
                </c:pt>
                <c:pt idx="12">
                  <c:v>0.37280701754385964</c:v>
                </c:pt>
                <c:pt idx="13">
                  <c:v>0.34177215189873417</c:v>
                </c:pt>
                <c:pt idx="14">
                  <c:v>0.34024896265560167</c:v>
                </c:pt>
                <c:pt idx="15">
                  <c:v>0.4126984126984127</c:v>
                </c:pt>
                <c:pt idx="16">
                  <c:v>0.3695652173913043</c:v>
                </c:pt>
                <c:pt idx="17">
                  <c:v>0.4</c:v>
                </c:pt>
                <c:pt idx="18">
                  <c:v>0.30666666666666664</c:v>
                </c:pt>
                <c:pt idx="19">
                  <c:v>0.32653061224489793</c:v>
                </c:pt>
                <c:pt idx="20">
                  <c:v>0.34328358208955223</c:v>
                </c:pt>
                <c:pt idx="21">
                  <c:v>0.3416666666666667</c:v>
                </c:pt>
                <c:pt idx="22">
                  <c:v>0.371900826446281</c:v>
                </c:pt>
                <c:pt idx="23">
                  <c:v>0.2746478873239437</c:v>
                </c:pt>
                <c:pt idx="24">
                  <c:v>0.30097087378640774</c:v>
                </c:pt>
                <c:pt idx="25">
                  <c:v>0.32608695652173914</c:v>
                </c:pt>
                <c:pt idx="26">
                  <c:v>0.358974358974359</c:v>
                </c:pt>
                <c:pt idx="27">
                  <c:v>0.4</c:v>
                </c:pt>
                <c:pt idx="28">
                  <c:v>0.3888888888888889</c:v>
                </c:pt>
                <c:pt idx="29">
                  <c:v>0.3684210526315789</c:v>
                </c:pt>
                <c:pt idx="30">
                  <c:v>0.37777777777777777</c:v>
                </c:pt>
                <c:pt idx="31">
                  <c:v>0.35</c:v>
                </c:pt>
                <c:pt idx="32">
                  <c:v>0.30952380952380953</c:v>
                </c:pt>
                <c:pt idx="33">
                  <c:v>0.4523809523809524</c:v>
                </c:pt>
                <c:pt idx="34">
                  <c:v>0.32142857142857145</c:v>
                </c:pt>
                <c:pt idx="35">
                  <c:v>0.3888888888888889</c:v>
                </c:pt>
                <c:pt idx="36">
                  <c:v>0.3287671232876712</c:v>
                </c:pt>
                <c:pt idx="37">
                  <c:v>0.32142857142857145</c:v>
                </c:pt>
                <c:pt idx="38">
                  <c:v>0.32075471698113206</c:v>
                </c:pt>
                <c:pt idx="39">
                  <c:v>0.4375</c:v>
                </c:pt>
                <c:pt idx="40">
                  <c:v>0.4264705882352941</c:v>
                </c:pt>
                <c:pt idx="41">
                  <c:v>0.4411764705882353</c:v>
                </c:pt>
                <c:pt idx="42">
                  <c:v>0.36363636363636365</c:v>
                </c:pt>
                <c:pt idx="43">
                  <c:v>0.45794392523364486</c:v>
                </c:pt>
                <c:pt idx="44">
                  <c:v>0.3983050847457627</c:v>
                </c:pt>
                <c:pt idx="45">
                  <c:v>0.366120218579235</c:v>
                </c:pt>
                <c:pt idx="46">
                  <c:v>0.4507042253521127</c:v>
                </c:pt>
                <c:pt idx="47">
                  <c:v>0.5560975609756098</c:v>
                </c:pt>
                <c:pt idx="48">
                  <c:v>0.5042016806722689</c:v>
                </c:pt>
                <c:pt idx="49">
                  <c:v>0.4289340101522843</c:v>
                </c:pt>
                <c:pt idx="50">
                  <c:v>0.42162162162162165</c:v>
                </c:pt>
                <c:pt idx="51">
                  <c:v>0.40350877192982454</c:v>
                </c:pt>
                <c:pt idx="52">
                  <c:v>0.35877862595419846</c:v>
                </c:pt>
                <c:pt idx="53">
                  <c:v>0.359375</c:v>
                </c:pt>
                <c:pt idx="54">
                  <c:v>0.3333333333333333</c:v>
                </c:pt>
                <c:pt idx="55">
                  <c:v>0.35537190082644626</c:v>
                </c:pt>
                <c:pt idx="56">
                  <c:v>0.3561643835616438</c:v>
                </c:pt>
                <c:pt idx="57">
                  <c:v>0.3618421052631579</c:v>
                </c:pt>
                <c:pt idx="58">
                  <c:v>0.40236686390532544</c:v>
                </c:pt>
                <c:pt idx="59">
                  <c:v>0.41333333333333333</c:v>
                </c:pt>
                <c:pt idx="60">
                  <c:v>0.3641304347826087</c:v>
                </c:pt>
                <c:pt idx="61">
                  <c:v>0.25654450261780104</c:v>
                </c:pt>
                <c:pt idx="62">
                  <c:v>0.31225296442687744</c:v>
                </c:pt>
                <c:pt idx="63">
                  <c:v>0.32706766917293234</c:v>
                </c:pt>
                <c:pt idx="64">
                  <c:v>0.3125</c:v>
                </c:pt>
                <c:pt idx="65">
                  <c:v>0.29554655870445345</c:v>
                </c:pt>
                <c:pt idx="66">
                  <c:v>0.31343283582089554</c:v>
                </c:pt>
                <c:pt idx="67">
                  <c:v>0.26229508196721313</c:v>
                </c:pt>
                <c:pt idx="68">
                  <c:v>0.29838709677419356</c:v>
                </c:pt>
                <c:pt idx="69">
                  <c:v>0.29838709677419356</c:v>
                </c:pt>
                <c:pt idx="70">
                  <c:v>0.3173076923076923</c:v>
                </c:pt>
                <c:pt idx="71">
                  <c:v>0.3157894736842105</c:v>
                </c:pt>
                <c:pt idx="72">
                  <c:v>0.25301204819277107</c:v>
                </c:pt>
                <c:pt idx="73">
                  <c:v>0.27906976744186046</c:v>
                </c:pt>
                <c:pt idx="74">
                  <c:v>0.3048780487804878</c:v>
                </c:pt>
                <c:pt idx="75">
                  <c:v>0.23636363636363636</c:v>
                </c:pt>
                <c:pt idx="76">
                  <c:v>0.3114754098360656</c:v>
                </c:pt>
                <c:pt idx="77">
                  <c:v>0.18</c:v>
                </c:pt>
                <c:pt idx="78">
                  <c:v>0.2777777777777778</c:v>
                </c:pt>
                <c:pt idx="79">
                  <c:v>0.2857142857142857</c:v>
                </c:pt>
                <c:pt idx="80">
                  <c:v>0.275</c:v>
                </c:pt>
                <c:pt idx="81">
                  <c:v>0.35714285714285715</c:v>
                </c:pt>
                <c:pt idx="82">
                  <c:v>0.23076923076923078</c:v>
                </c:pt>
                <c:pt idx="83">
                  <c:v>0.2</c:v>
                </c:pt>
                <c:pt idx="84">
                  <c:v>0.23076923076923078</c:v>
                </c:pt>
                <c:pt idx="85">
                  <c:v>0.225</c:v>
                </c:pt>
                <c:pt idx="86">
                  <c:v>0.3</c:v>
                </c:pt>
                <c:pt idx="87">
                  <c:v>0.25862068965517243</c:v>
                </c:pt>
                <c:pt idx="88">
                  <c:v>0.3076923076923077</c:v>
                </c:pt>
                <c:pt idx="89">
                  <c:v>0.25</c:v>
                </c:pt>
                <c:pt idx="90">
                  <c:v>0.24324324324324326</c:v>
                </c:pt>
                <c:pt idx="91">
                  <c:v>0.2391304347826087</c:v>
                </c:pt>
                <c:pt idx="92">
                  <c:v>0.3148148148148148</c:v>
                </c:pt>
                <c:pt idx="93">
                  <c:v>0.24074074074074073</c:v>
                </c:pt>
                <c:pt idx="94">
                  <c:v>0.3018867924528302</c:v>
                </c:pt>
                <c:pt idx="95">
                  <c:v>0.33613445378151263</c:v>
                </c:pt>
                <c:pt idx="96">
                  <c:v>0.34146341463414637</c:v>
                </c:pt>
                <c:pt idx="97">
                  <c:v>0.3157894736842105</c:v>
                </c:pt>
                <c:pt idx="98">
                  <c:v>0.4</c:v>
                </c:pt>
                <c:pt idx="99">
                  <c:v>0.4245810055865922</c:v>
                </c:pt>
                <c:pt idx="100">
                  <c:v>0.34782608695652173</c:v>
                </c:pt>
                <c:pt idx="101">
                  <c:v>0.37012987012987014</c:v>
                </c:pt>
                <c:pt idx="102">
                  <c:v>0.3557692307692308</c:v>
                </c:pt>
                <c:pt idx="103">
                  <c:v>0.3287671232876712</c:v>
                </c:pt>
                <c:pt idx="104">
                  <c:v>0.342105263157894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25.3333</c:v>
                </c:pt>
                <c:pt idx="21">
                  <c:v>694.8824</c:v>
                </c:pt>
                <c:pt idx="22">
                  <c:v>711.8947</c:v>
                </c:pt>
                <c:pt idx="23">
                  <c:v>710.2917</c:v>
                </c:pt>
                <c:pt idx="24">
                  <c:v>661.1875</c:v>
                </c:pt>
                <c:pt idx="25">
                  <c:v>671.7059</c:v>
                </c:pt>
                <c:pt idx="26">
                  <c:v>722.1176</c:v>
                </c:pt>
                <c:pt idx="27">
                  <c:v>732.2143</c:v>
                </c:pt>
                <c:pt idx="28">
                  <c:v>729.3333</c:v>
                </c:pt>
                <c:pt idx="29">
                  <c:v>755.1667</c:v>
                </c:pt>
                <c:pt idx="30">
                  <c:v>771.5</c:v>
                </c:pt>
                <c:pt idx="31">
                  <c:v>759.5</c:v>
                </c:pt>
                <c:pt idx="32">
                  <c:v>792.2</c:v>
                </c:pt>
                <c:pt idx="33">
                  <c:v>733.875</c:v>
                </c:pt>
                <c:pt idx="34">
                  <c:v>742.5294</c:v>
                </c:pt>
                <c:pt idx="35">
                  <c:v>713.0</c:v>
                </c:pt>
                <c:pt idx="36">
                  <c:v>741.0</c:v>
                </c:pt>
                <c:pt idx="37">
                  <c:v>722.7</c:v>
                </c:pt>
                <c:pt idx="38">
                  <c:v>639.8571</c:v>
                </c:pt>
                <c:pt idx="39">
                  <c:v>688.3636</c:v>
                </c:pt>
                <c:pt idx="40">
                  <c:v>733.5833</c:v>
                </c:pt>
                <c:pt idx="41">
                  <c:v>759.5</c:v>
                </c:pt>
                <c:pt idx="42">
                  <c:v>689.875</c:v>
                </c:pt>
                <c:pt idx="43">
                  <c:v>719.1538</c:v>
                </c:pt>
                <c:pt idx="44">
                  <c:v>692.1667</c:v>
                </c:pt>
                <c:pt idx="45">
                  <c:v>722.4667</c:v>
                </c:pt>
                <c:pt idx="46">
                  <c:v>713.3953</c:v>
                </c:pt>
                <c:pt idx="47">
                  <c:v>727.9565</c:v>
                </c:pt>
                <c:pt idx="48">
                  <c:v>729.8444</c:v>
                </c:pt>
                <c:pt idx="49">
                  <c:v>743.42</c:v>
                </c:pt>
                <c:pt idx="50">
                  <c:v>742.8806</c:v>
                </c:pt>
                <c:pt idx="51">
                  <c:v>662.6053</c:v>
                </c:pt>
              </c:numCache>
            </c:numRef>
          </c:xVal>
          <c:yVal>
            <c:numRef>
              <c:f>Sheet1!$B$109:$B$160</c:f>
              <c:numCache>
                <c:formatCode>General</c:formatCode>
                <c:ptCount val="52"/>
                <c:pt idx="0">
                  <c:v>0.3229166666666667</c:v>
                </c:pt>
                <c:pt idx="1">
                  <c:v>0.42168674698795183</c:v>
                </c:pt>
                <c:pt idx="2">
                  <c:v>0.3963963963963964</c:v>
                </c:pt>
                <c:pt idx="3">
                  <c:v>0.390625</c:v>
                </c:pt>
                <c:pt idx="4">
                  <c:v>0.3108108108108108</c:v>
                </c:pt>
                <c:pt idx="5">
                  <c:v>0.3709677419354839</c:v>
                </c:pt>
                <c:pt idx="6">
                  <c:v>0.38848920863309355</c:v>
                </c:pt>
                <c:pt idx="7">
                  <c:v>0.37857142857142856</c:v>
                </c:pt>
                <c:pt idx="8">
                  <c:v>0.3652694610778443</c:v>
                </c:pt>
                <c:pt idx="9">
                  <c:v>0.3581395348837209</c:v>
                </c:pt>
                <c:pt idx="10">
                  <c:v>0.39344262295081966</c:v>
                </c:pt>
                <c:pt idx="11">
                  <c:v>0.36363636363636365</c:v>
                </c:pt>
                <c:pt idx="12">
                  <c:v>0.35</c:v>
                </c:pt>
                <c:pt idx="13">
                  <c:v>0.292817679558011</c:v>
                </c:pt>
                <c:pt idx="14">
                  <c:v>0.33884297520661155</c:v>
                </c:pt>
                <c:pt idx="15">
                  <c:v>0.3364485981308411</c:v>
                </c:pt>
                <c:pt idx="16">
                  <c:v>0.3924050632911392</c:v>
                </c:pt>
                <c:pt idx="17">
                  <c:v>0.375</c:v>
                </c:pt>
                <c:pt idx="18">
                  <c:v>0.29069767441860467</c:v>
                </c:pt>
                <c:pt idx="19">
                  <c:v>0.27941176470588236</c:v>
                </c:pt>
                <c:pt idx="20">
                  <c:v>0.30612244897959184</c:v>
                </c:pt>
                <c:pt idx="21">
                  <c:v>0.3090909090909091</c:v>
                </c:pt>
                <c:pt idx="22">
                  <c:v>0.2923076923076923</c:v>
                </c:pt>
                <c:pt idx="23">
                  <c:v>0.3333333333333333</c:v>
                </c:pt>
                <c:pt idx="24">
                  <c:v>0.32</c:v>
                </c:pt>
                <c:pt idx="25">
                  <c:v>0.3617021276595745</c:v>
                </c:pt>
                <c:pt idx="26">
                  <c:v>0.32075471698113206</c:v>
                </c:pt>
                <c:pt idx="27">
                  <c:v>0.32558139534883723</c:v>
                </c:pt>
                <c:pt idx="28">
                  <c:v>0.24489795918367346</c:v>
                </c:pt>
                <c:pt idx="29">
                  <c:v>0.26666666666666666</c:v>
                </c:pt>
                <c:pt idx="30">
                  <c:v>0.2857142857142857</c:v>
                </c:pt>
                <c:pt idx="31">
                  <c:v>0.17391304347826086</c:v>
                </c:pt>
                <c:pt idx="32">
                  <c:v>0.29411764705882354</c:v>
                </c:pt>
                <c:pt idx="33">
                  <c:v>0.16326530612244897</c:v>
                </c:pt>
                <c:pt idx="34">
                  <c:v>0.25</c:v>
                </c:pt>
                <c:pt idx="35">
                  <c:v>0.2711864406779661</c:v>
                </c:pt>
                <c:pt idx="36">
                  <c:v>0.2972972972972973</c:v>
                </c:pt>
                <c:pt idx="37">
                  <c:v>0.29411764705882354</c:v>
                </c:pt>
                <c:pt idx="38">
                  <c:v>0.6086956521739131</c:v>
                </c:pt>
                <c:pt idx="39">
                  <c:v>0.2391304347826087</c:v>
                </c:pt>
                <c:pt idx="40">
                  <c:v>0.2222222222222222</c:v>
                </c:pt>
                <c:pt idx="41">
                  <c:v>0.24242424242424243</c:v>
                </c:pt>
                <c:pt idx="42">
                  <c:v>0.25</c:v>
                </c:pt>
                <c:pt idx="43">
                  <c:v>0.19117647058823528</c:v>
                </c:pt>
                <c:pt idx="44">
                  <c:v>0.24242424242424243</c:v>
                </c:pt>
                <c:pt idx="45">
                  <c:v>0.27607361963190186</c:v>
                </c:pt>
                <c:pt idx="46">
                  <c:v>0.3282442748091603</c:v>
                </c:pt>
                <c:pt idx="47">
                  <c:v>0.31724137931034485</c:v>
                </c:pt>
                <c:pt idx="48">
                  <c:v>0.3237410071942446</c:v>
                </c:pt>
                <c:pt idx="49">
                  <c:v>0.2717391304347826</c:v>
                </c:pt>
                <c:pt idx="50">
                  <c:v>0.23183391003460208</c:v>
                </c:pt>
                <c:pt idx="51">
                  <c:v>0.242038216560509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37.3876589195095</c:v>
                </c:pt>
              </c:numCache>
            </c:numRef>
          </c:xVal>
          <c:yVal>
            <c:numRef>
              <c:f>Sheet1!$B$163:$B$164</c:f>
              <c:numCache>
                <c:formatCode>General</c:formatCode>
                <c:ptCount val="2"/>
                <c:pt idx="0">
                  <c:v>0.4044456721486555</c:v>
                </c:pt>
                <c:pt idx="1">
                  <c:v>0.40444567214865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37.3876589195095</c:v>
                </c:pt>
                <c:pt idx="1">
                  <c:v>637.3876589195095</c:v>
                </c:pt>
              </c:numCache>
            </c:numRef>
          </c:xVal>
          <c:yVal>
            <c:numRef>
              <c:f>Sheet1!$B$167:$B$168</c:f>
              <c:numCache>
                <c:formatCode>General</c:formatCode>
                <c:ptCount val="2"/>
                <c:pt idx="0">
                  <c:v>0.40444567214865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63.8162444394126</c:v>
                </c:pt>
              </c:numCache>
            </c:numRef>
          </c:xVal>
          <c:yVal>
            <c:numRef>
              <c:f>Sheet1!$B$171:$B$172</c:f>
              <c:numCache>
                <c:formatCode>General</c:formatCode>
                <c:ptCount val="2"/>
                <c:pt idx="0">
                  <c:v>0.3717481623421862</c:v>
                </c:pt>
                <c:pt idx="1">
                  <c:v>0.371748162342186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63.8162444394126</c:v>
                </c:pt>
                <c:pt idx="1">
                  <c:v>663.8162444394126</c:v>
                </c:pt>
              </c:numCache>
            </c:numRef>
          </c:xVal>
          <c:yVal>
            <c:numRef>
              <c:f>Sheet1!$B$175:$B$176</c:f>
              <c:numCache>
                <c:formatCode>General</c:formatCode>
                <c:ptCount val="2"/>
                <c:pt idx="0">
                  <c:v>0.37174816234218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54.2458822102483</c:v>
                </c:pt>
              </c:numCache>
            </c:numRef>
          </c:xVal>
          <c:yVal>
            <c:numRef>
              <c:f>Sheet1!$B$179:$B$180</c:f>
              <c:numCache>
                <c:formatCode>General</c:formatCode>
                <c:ptCount val="2"/>
                <c:pt idx="0">
                  <c:v>0.2598683961859305</c:v>
                </c:pt>
                <c:pt idx="1">
                  <c:v>0.25986839618593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54.2458822102483</c:v>
                </c:pt>
                <c:pt idx="1">
                  <c:v>754.2458822102483</c:v>
                </c:pt>
              </c:numCache>
            </c:numRef>
          </c:xVal>
          <c:yVal>
            <c:numRef>
              <c:f>Sheet1!$B$183:$B$184</c:f>
              <c:numCache>
                <c:formatCode>General</c:formatCode>
                <c:ptCount val="2"/>
                <c:pt idx="0">
                  <c:v>0.25986839618593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25.3333</c:v>
                </c:pt>
                <c:pt idx="21">
                  <c:v>694.8824</c:v>
                </c:pt>
                <c:pt idx="22">
                  <c:v>711.8947</c:v>
                </c:pt>
                <c:pt idx="23">
                  <c:v>710.2917</c:v>
                </c:pt>
                <c:pt idx="24">
                  <c:v>661.1875</c:v>
                </c:pt>
                <c:pt idx="25">
                  <c:v>671.7059</c:v>
                </c:pt>
                <c:pt idx="26">
                  <c:v>722.1176</c:v>
                </c:pt>
                <c:pt idx="27">
                  <c:v>732.2143</c:v>
                </c:pt>
                <c:pt idx="28">
                  <c:v>729.3333</c:v>
                </c:pt>
                <c:pt idx="29">
                  <c:v>755.1667</c:v>
                </c:pt>
                <c:pt idx="30">
                  <c:v>771.5</c:v>
                </c:pt>
                <c:pt idx="31">
                  <c:v>759.5</c:v>
                </c:pt>
                <c:pt idx="32">
                  <c:v>792.2</c:v>
                </c:pt>
                <c:pt idx="33">
                  <c:v>733.875</c:v>
                </c:pt>
                <c:pt idx="34">
                  <c:v>742.5294</c:v>
                </c:pt>
                <c:pt idx="35">
                  <c:v>713.0</c:v>
                </c:pt>
                <c:pt idx="36">
                  <c:v>741.0</c:v>
                </c:pt>
                <c:pt idx="37">
                  <c:v>722.7</c:v>
                </c:pt>
                <c:pt idx="38">
                  <c:v>639.8571</c:v>
                </c:pt>
                <c:pt idx="39">
                  <c:v>688.3636</c:v>
                </c:pt>
                <c:pt idx="40">
                  <c:v>733.5833</c:v>
                </c:pt>
                <c:pt idx="41">
                  <c:v>759.5</c:v>
                </c:pt>
                <c:pt idx="42">
                  <c:v>689.875</c:v>
                </c:pt>
                <c:pt idx="43">
                  <c:v>719.1538</c:v>
                </c:pt>
                <c:pt idx="44">
                  <c:v>692.1667</c:v>
                </c:pt>
                <c:pt idx="45">
                  <c:v>722.4667</c:v>
                </c:pt>
                <c:pt idx="46">
                  <c:v>713.3953</c:v>
                </c:pt>
                <c:pt idx="47">
                  <c:v>727.9565</c:v>
                </c:pt>
                <c:pt idx="48">
                  <c:v>729.8444</c:v>
                </c:pt>
                <c:pt idx="49">
                  <c:v>743.42</c:v>
                </c:pt>
                <c:pt idx="50">
                  <c:v>742.8806</c:v>
                </c:pt>
                <c:pt idx="51">
                  <c:v>662.6053</c:v>
                </c:pt>
                <c:pt idx="52">
                  <c:v>663.8162444394126</c:v>
                </c:pt>
                <c:pt idx="53">
                  <c:v>637.3876589195095</c:v>
                </c:pt>
                <c:pt idx="54">
                  <c:v>754.2458822102483</c:v>
                </c:pt>
              </c:numCache>
            </c:numRef>
          </c:xVal>
          <c:yVal>
            <c:numRef>
              <c:f>Sheet1!$B$187:$B$241</c:f>
              <c:numCache>
                <c:formatCode>General</c:formatCode>
                <c:ptCount val="55"/>
                <c:pt idx="0">
                  <c:v>0.3483332955942047</c:v>
                </c:pt>
                <c:pt idx="1">
                  <c:v>0.3482614141339455</c:v>
                </c:pt>
                <c:pt idx="2">
                  <c:v>0.30035359621348</c:v>
                </c:pt>
                <c:pt idx="3">
                  <c:v>0.3162673597053225</c:v>
                </c:pt>
                <c:pt idx="4">
                  <c:v>0.3232161070641145</c:v>
                </c:pt>
                <c:pt idx="5">
                  <c:v>0.3078587134978926</c:v>
                </c:pt>
                <c:pt idx="6">
                  <c:v>0.31981033625858035</c:v>
                </c:pt>
                <c:pt idx="7">
                  <c:v>0.3491111247519493</c:v>
                </c:pt>
                <c:pt idx="8">
                  <c:v>0.3354594621540469</c:v>
                </c:pt>
                <c:pt idx="9">
                  <c:v>0.33800389263888475</c:v>
                </c:pt>
                <c:pt idx="10">
                  <c:v>0.3438556126170944</c:v>
                </c:pt>
                <c:pt idx="11">
                  <c:v>0.32405134241387334</c:v>
                </c:pt>
                <c:pt idx="12">
                  <c:v>0.34184565357514773</c:v>
                </c:pt>
                <c:pt idx="13">
                  <c:v>0.3577715416506484</c:v>
                </c:pt>
                <c:pt idx="14">
                  <c:v>0.3472897153579113</c:v>
                </c:pt>
                <c:pt idx="15">
                  <c:v>0.3395254041677448</c:v>
                </c:pt>
                <c:pt idx="16">
                  <c:v>0.31285342336385524</c:v>
                </c:pt>
                <c:pt idx="17">
                  <c:v>0.31433460209401565</c:v>
                </c:pt>
                <c:pt idx="18">
                  <c:v>0.2717528168460087</c:v>
                </c:pt>
                <c:pt idx="19">
                  <c:v>0.3212513059102824</c:v>
                </c:pt>
                <c:pt idx="20">
                  <c:v>0.295639112694311</c:v>
                </c:pt>
                <c:pt idx="21">
                  <c:v>0.33331303968582504</c:v>
                </c:pt>
                <c:pt idx="22">
                  <c:v>0.31226538105643364</c:v>
                </c:pt>
                <c:pt idx="23">
                  <c:v>0.3142486165262357</c:v>
                </c:pt>
                <c:pt idx="24">
                  <c:v>0.3750004513086791</c:v>
                </c:pt>
                <c:pt idx="25">
                  <c:v>0.36198706143621084</c:v>
                </c:pt>
                <c:pt idx="26">
                  <c:v>0.2996175844973319</c:v>
                </c:pt>
                <c:pt idx="27">
                  <c:v>0.28712592288288963</c:v>
                </c:pt>
                <c:pt idx="28">
                  <c:v>0.29069030303791143</c:v>
                </c:pt>
                <c:pt idx="29">
                  <c:v>0.2587291581935035</c:v>
                </c:pt>
                <c:pt idx="30">
                  <c:v>0.23852156000328595</c:v>
                </c:pt>
                <c:pt idx="31">
                  <c:v>0.25336798897248447</c:v>
                </c:pt>
                <c:pt idx="32">
                  <c:v>0.2129114700314183</c:v>
                </c:pt>
                <c:pt idx="33">
                  <c:v>0.28507130083379395</c:v>
                </c:pt>
                <c:pt idx="34">
                  <c:v>0.27436405626120797</c:v>
                </c:pt>
                <c:pt idx="35">
                  <c:v>0.310897901228129</c:v>
                </c:pt>
                <c:pt idx="36">
                  <c:v>0.2762562336333323</c:v>
                </c:pt>
                <c:pt idx="37">
                  <c:v>0.2988970378113601</c:v>
                </c:pt>
                <c:pt idx="38">
                  <c:v>0.40139047368239533</c:v>
                </c:pt>
                <c:pt idx="39">
                  <c:v>0.3413781147828593</c:v>
                </c:pt>
                <c:pt idx="40">
                  <c:v>0.2854321927779869</c:v>
                </c:pt>
                <c:pt idx="41">
                  <c:v>0.25336798897248447</c:v>
                </c:pt>
                <c:pt idx="42">
                  <c:v>0.3395082070541888</c:v>
                </c:pt>
                <c:pt idx="43">
                  <c:v>0.3032844050122411</c:v>
                </c:pt>
                <c:pt idx="44">
                  <c:v>0.33667291028179613</c:v>
                </c:pt>
                <c:pt idx="45">
                  <c:v>0.2991856771345698</c:v>
                </c:pt>
                <c:pt idx="46">
                  <c:v>0.3104088351138353</c:v>
                </c:pt>
                <c:pt idx="47">
                  <c:v>0.29239368332164417</c:v>
                </c:pt>
                <c:pt idx="48">
                  <c:v>0.290057968884065</c:v>
                </c:pt>
                <c:pt idx="49">
                  <c:v>0.2732622037912107</c:v>
                </c:pt>
                <c:pt idx="50">
                  <c:v>0.2739295507733761</c:v>
                </c:pt>
                <c:pt idx="51">
                  <c:v>0.37324634572596826</c:v>
                </c:pt>
                <c:pt idx="52">
                  <c:v>0.37174816234218633</c:v>
                </c:pt>
                <c:pt idx="53">
                  <c:v>0.40444567214865557</c:v>
                </c:pt>
                <c:pt idx="54">
                  <c:v>0.25986839618593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51.0"/>
          <c:min val="40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04347826086957"/>
          <c:min val="0.1306122448979591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9</c:f>
              <c:numCache>
                <c:formatCode>General</c:formatCode>
                <c:ptCount val="108"/>
                <c:pt idx="0">
                  <c:v>3.2838003112640015</c:v>
                </c:pt>
                <c:pt idx="1">
                  <c:v>3.677890260631001</c:v>
                </c:pt>
                <c:pt idx="2">
                  <c:v>3.950087738620304</c:v>
                </c:pt>
                <c:pt idx="3">
                  <c:v>3.9534669663630817</c:v>
                </c:pt>
                <c:pt idx="4">
                  <c:v>3.664037803069662</c:v>
                </c:pt>
                <c:pt idx="5">
                  <c:v>3.8092852403912483</c:v>
                </c:pt>
                <c:pt idx="6">
                  <c:v>3.537332011432106</c:v>
                </c:pt>
                <c:pt idx="7">
                  <c:v>3.858921161825726</c:v>
                </c:pt>
                <c:pt idx="8">
                  <c:v>3.627472454046619</c:v>
                </c:pt>
                <c:pt idx="9">
                  <c:v>3.510916909749893</c:v>
                </c:pt>
                <c:pt idx="10">
                  <c:v>3.3885526552935654</c:v>
                </c:pt>
                <c:pt idx="11">
                  <c:v>3.4481127614340408</c:v>
                </c:pt>
                <c:pt idx="12">
                  <c:v>3.530660616724615</c:v>
                </c:pt>
                <c:pt idx="13">
                  <c:v>3.9177058823529407</c:v>
                </c:pt>
                <c:pt idx="14">
                  <c:v>6.742423965763195</c:v>
                </c:pt>
                <c:pt idx="15">
                  <c:v>6.731322612737686</c:v>
                </c:pt>
                <c:pt idx="16">
                  <c:v>6.255096406327231</c:v>
                </c:pt>
                <c:pt idx="17">
                  <c:v>5.426196928635952</c:v>
                </c:pt>
                <c:pt idx="18">
                  <c:v>8.436888719755146</c:v>
                </c:pt>
                <c:pt idx="19">
                  <c:v>8.356433156803291</c:v>
                </c:pt>
                <c:pt idx="20">
                  <c:v>13.400580659743177</c:v>
                </c:pt>
                <c:pt idx="21">
                  <c:v>13.938592941176472</c:v>
                </c:pt>
                <c:pt idx="22">
                  <c:v>15.640120808821697</c:v>
                </c:pt>
                <c:pt idx="23">
                  <c:v>27.974783013717843</c:v>
                </c:pt>
                <c:pt idx="24">
                  <c:v>30.226590995004035</c:v>
                </c:pt>
                <c:pt idx="25">
                  <c:v>28.61451942740287</c:v>
                </c:pt>
                <c:pt idx="26">
                  <c:v>4.376425855513308</c:v>
                </c:pt>
                <c:pt idx="27">
                  <c:v>4.588549618320611</c:v>
                </c:pt>
                <c:pt idx="28">
                  <c:v>5.522550660792951</c:v>
                </c:pt>
                <c:pt idx="29">
                  <c:v>3.8021976331360947</c:v>
                </c:pt>
                <c:pt idx="30">
                  <c:v>5.878450236966825</c:v>
                </c:pt>
                <c:pt idx="31">
                  <c:v>6.358543137254903</c:v>
                </c:pt>
                <c:pt idx="32">
                  <c:v>8.540598611111111</c:v>
                </c:pt>
                <c:pt idx="33">
                  <c:v>2.254275105485232</c:v>
                </c:pt>
                <c:pt idx="34">
                  <c:v>2.771448523206751</c:v>
                </c:pt>
                <c:pt idx="35">
                  <c:v>2.67775817805383</c:v>
                </c:pt>
                <c:pt idx="36">
                  <c:v>1.9547697368421053</c:v>
                </c:pt>
                <c:pt idx="37">
                  <c:v>3.337426842105263</c:v>
                </c:pt>
                <c:pt idx="38">
                  <c:v>4.48260613398891</c:v>
                </c:pt>
                <c:pt idx="39">
                  <c:v>0.0</c:v>
                </c:pt>
                <c:pt idx="40">
                  <c:v>2.7427163265306125</c:v>
                </c:pt>
                <c:pt idx="41">
                  <c:v>0.0</c:v>
                </c:pt>
                <c:pt idx="42">
                  <c:v>2.562015503875969</c:v>
                </c:pt>
                <c:pt idx="43">
                  <c:v>2.0583546875</c:v>
                </c:pt>
                <c:pt idx="44">
                  <c:v>2.8649908957290524</c:v>
                </c:pt>
                <c:pt idx="45">
                  <c:v>2.4863748211774164</c:v>
                </c:pt>
                <c:pt idx="46">
                  <c:v>2.049029641693811</c:v>
                </c:pt>
                <c:pt idx="47">
                  <c:v>2.0854862809917356</c:v>
                </c:pt>
                <c:pt idx="48">
                  <c:v>2.16312334247832</c:v>
                </c:pt>
                <c:pt idx="49">
                  <c:v>2.017630006942341</c:v>
                </c:pt>
                <c:pt idx="50">
                  <c:v>2.2575388152839007</c:v>
                </c:pt>
                <c:pt idx="51">
                  <c:v>2.028985666666667</c:v>
                </c:pt>
                <c:pt idx="52">
                  <c:v>2.2720417543859646</c:v>
                </c:pt>
                <c:pt idx="53">
                  <c:v>2.5675240805734854</c:v>
                </c:pt>
                <c:pt idx="54">
                  <c:v>2.63451184079602</c:v>
                </c:pt>
                <c:pt idx="55">
                  <c:v>2.996804885008379</c:v>
                </c:pt>
                <c:pt idx="56">
                  <c:v>2.2311776991150443</c:v>
                </c:pt>
                <c:pt idx="57">
                  <c:v>1.9862241799722096</c:v>
                </c:pt>
                <c:pt idx="58">
                  <c:v>1.7690825244194592</c:v>
                </c:pt>
                <c:pt idx="59">
                  <c:v>1.6719737113402062</c:v>
                </c:pt>
                <c:pt idx="60">
                  <c:v>2.8097867579908677</c:v>
                </c:pt>
                <c:pt idx="61">
                  <c:v>1.8718368571428572</c:v>
                </c:pt>
                <c:pt idx="62">
                  <c:v>1.6318823225806454</c:v>
                </c:pt>
                <c:pt idx="63">
                  <c:v>1.9076354166666667</c:v>
                </c:pt>
                <c:pt idx="64">
                  <c:v>2.2261543111111113</c:v>
                </c:pt>
                <c:pt idx="65">
                  <c:v>2.0597350819672133</c:v>
                </c:pt>
                <c:pt idx="66">
                  <c:v>1.7946032592592591</c:v>
                </c:pt>
                <c:pt idx="67">
                  <c:v>1.8721280602636534</c:v>
                </c:pt>
                <c:pt idx="68">
                  <c:v>1.7674843076923077</c:v>
                </c:pt>
                <c:pt idx="69">
                  <c:v>2.002612666666667</c:v>
                </c:pt>
                <c:pt idx="70">
                  <c:v>1.6845973372781067</c:v>
                </c:pt>
                <c:pt idx="71">
                  <c:v>0.0</c:v>
                </c:pt>
                <c:pt idx="72">
                  <c:v>1.5772486666666665</c:v>
                </c:pt>
                <c:pt idx="73">
                  <c:v>1.8927778666666666</c:v>
                </c:pt>
                <c:pt idx="74">
                  <c:v>2.1450479233226836</c:v>
                </c:pt>
                <c:pt idx="75">
                  <c:v>2.417747191011236</c:v>
                </c:pt>
                <c:pt idx="76">
                  <c:v>2.5856132325141776</c:v>
                </c:pt>
                <c:pt idx="77">
                  <c:v>3.0587653333333336</c:v>
                </c:pt>
                <c:pt idx="78">
                  <c:v>2.3949496212121213</c:v>
                </c:pt>
                <c:pt idx="79">
                  <c:v>1.4572222222222222</c:v>
                </c:pt>
                <c:pt idx="80">
                  <c:v>2.9644444444444447</c:v>
                </c:pt>
                <c:pt idx="81">
                  <c:v>2.3575</c:v>
                </c:pt>
                <c:pt idx="82">
                  <c:v>2.239670814814815</c:v>
                </c:pt>
                <c:pt idx="83">
                  <c:v>2.302381</c:v>
                </c:pt>
                <c:pt idx="84">
                  <c:v>0.0</c:v>
                </c:pt>
                <c:pt idx="85">
                  <c:v>1.5562962222222223</c:v>
                </c:pt>
                <c:pt idx="86">
                  <c:v>4.342684488448845</c:v>
                </c:pt>
                <c:pt idx="87">
                  <c:v>2.573206476190476</c:v>
                </c:pt>
                <c:pt idx="88">
                  <c:v>1.9871112</c:v>
                </c:pt>
                <c:pt idx="89">
                  <c:v>0.0</c:v>
                </c:pt>
                <c:pt idx="90">
                  <c:v>3.356049333333333</c:v>
                </c:pt>
                <c:pt idx="91">
                  <c:v>2.158653333333333</c:v>
                </c:pt>
                <c:pt idx="92">
                  <c:v>2.207782769230769</c:v>
                </c:pt>
                <c:pt idx="93">
                  <c:v>2.118062814814815</c:v>
                </c:pt>
                <c:pt idx="94">
                  <c:v>1.861</c:v>
                </c:pt>
                <c:pt idx="95">
                  <c:v>2.7048571428571426</c:v>
                </c:pt>
                <c:pt idx="96">
                  <c:v>2.0761225714285714</c:v>
                </c:pt>
                <c:pt idx="97">
                  <c:v>1.9012445333333332</c:v>
                </c:pt>
                <c:pt idx="98">
                  <c:v>2.07</c:v>
                </c:pt>
                <c:pt idx="99">
                  <c:v>2.478830577777778</c:v>
                </c:pt>
                <c:pt idx="100">
                  <c:v>2.2772357723577237</c:v>
                </c:pt>
                <c:pt idx="101">
                  <c:v>1.9014735999999999</c:v>
                </c:pt>
                <c:pt idx="102">
                  <c:v>2.467223636363636</c:v>
                </c:pt>
                <c:pt idx="103">
                  <c:v>2.5052593777777776</c:v>
                </c:pt>
                <c:pt idx="104">
                  <c:v>2.3817664</c:v>
                </c:pt>
                <c:pt idx="105">
                  <c:v>0.0</c:v>
                </c:pt>
                <c:pt idx="106">
                  <c:v>0.0</c:v>
                </c:pt>
                <c:pt idx="107">
                  <c:v>0.0</c:v>
                </c:pt>
              </c:numCache>
            </c:numRef>
          </c:xVal>
          <c:yVal>
            <c:numRef>
              <c:f>Sheet1!$B$2:$B$109</c:f>
              <c:numCache>
                <c:formatCode>General</c:formatCode>
                <c:ptCount val="108"/>
                <c:pt idx="0">
                  <c:v>0.38686131386861317</c:v>
                </c:pt>
                <c:pt idx="1">
                  <c:v>0.2972972972972973</c:v>
                </c:pt>
                <c:pt idx="2">
                  <c:v>0.38311688311688313</c:v>
                </c:pt>
                <c:pt idx="3">
                  <c:v>0.2919254658385093</c:v>
                </c:pt>
                <c:pt idx="4">
                  <c:v>0.4142857142857143</c:v>
                </c:pt>
                <c:pt idx="5">
                  <c:v>0.32919254658385094</c:v>
                </c:pt>
                <c:pt idx="6">
                  <c:v>0.39490445859872614</c:v>
                </c:pt>
                <c:pt idx="7">
                  <c:v>0.34394904458598724</c:v>
                </c:pt>
                <c:pt idx="8">
                  <c:v>0.3804347826086957</c:v>
                </c:pt>
                <c:pt idx="9">
                  <c:v>0.42410714285714285</c:v>
                </c:pt>
                <c:pt idx="10">
                  <c:v>0.4122137404580153</c:v>
                </c:pt>
                <c:pt idx="11">
                  <c:v>0.3628691983122363</c:v>
                </c:pt>
                <c:pt idx="12">
                  <c:v>0.37280701754385964</c:v>
                </c:pt>
                <c:pt idx="13">
                  <c:v>0.34177215189873417</c:v>
                </c:pt>
                <c:pt idx="14">
                  <c:v>0.34024896265560167</c:v>
                </c:pt>
                <c:pt idx="15">
                  <c:v>0.4126984126984127</c:v>
                </c:pt>
                <c:pt idx="16">
                  <c:v>0.3695652173913043</c:v>
                </c:pt>
                <c:pt idx="17">
                  <c:v>0.4</c:v>
                </c:pt>
                <c:pt idx="18">
                  <c:v>0.30666666666666664</c:v>
                </c:pt>
                <c:pt idx="19">
                  <c:v>0.32653061224489793</c:v>
                </c:pt>
                <c:pt idx="20">
                  <c:v>0.34328358208955223</c:v>
                </c:pt>
                <c:pt idx="21">
                  <c:v>0.3416666666666667</c:v>
                </c:pt>
                <c:pt idx="22">
                  <c:v>0.371900826446281</c:v>
                </c:pt>
                <c:pt idx="23">
                  <c:v>0.2746478873239437</c:v>
                </c:pt>
                <c:pt idx="24">
                  <c:v>0.30097087378640774</c:v>
                </c:pt>
                <c:pt idx="25">
                  <c:v>0.32608695652173914</c:v>
                </c:pt>
                <c:pt idx="26">
                  <c:v>0.358974358974359</c:v>
                </c:pt>
                <c:pt idx="27">
                  <c:v>0.4</c:v>
                </c:pt>
                <c:pt idx="28">
                  <c:v>0.3888888888888889</c:v>
                </c:pt>
                <c:pt idx="29">
                  <c:v>0.3684210526315789</c:v>
                </c:pt>
                <c:pt idx="30">
                  <c:v>0.37777777777777777</c:v>
                </c:pt>
                <c:pt idx="31">
                  <c:v>0.35</c:v>
                </c:pt>
                <c:pt idx="32">
                  <c:v>0.30952380952380953</c:v>
                </c:pt>
                <c:pt idx="33">
                  <c:v>0.4523809523809524</c:v>
                </c:pt>
                <c:pt idx="34">
                  <c:v>0.32142857142857145</c:v>
                </c:pt>
                <c:pt idx="35">
                  <c:v>0.3888888888888889</c:v>
                </c:pt>
                <c:pt idx="36">
                  <c:v>0.3287671232876712</c:v>
                </c:pt>
                <c:pt idx="37">
                  <c:v>0.32142857142857145</c:v>
                </c:pt>
                <c:pt idx="38">
                  <c:v>0.32075471698113206</c:v>
                </c:pt>
                <c:pt idx="39">
                  <c:v>0.4375</c:v>
                </c:pt>
                <c:pt idx="40">
                  <c:v>0.4264705882352941</c:v>
                </c:pt>
                <c:pt idx="41">
                  <c:v>0.4411764705882353</c:v>
                </c:pt>
                <c:pt idx="42">
                  <c:v>0.36363636363636365</c:v>
                </c:pt>
                <c:pt idx="43">
                  <c:v>0.45794392523364486</c:v>
                </c:pt>
                <c:pt idx="44">
                  <c:v>0.3983050847457627</c:v>
                </c:pt>
                <c:pt idx="45">
                  <c:v>0.366120218579235</c:v>
                </c:pt>
                <c:pt idx="46">
                  <c:v>0.4507042253521127</c:v>
                </c:pt>
                <c:pt idx="47">
                  <c:v>0.5560975609756098</c:v>
                </c:pt>
                <c:pt idx="48">
                  <c:v>0.5042016806722689</c:v>
                </c:pt>
                <c:pt idx="49">
                  <c:v>0.4289340101522843</c:v>
                </c:pt>
                <c:pt idx="50">
                  <c:v>0.42162162162162165</c:v>
                </c:pt>
                <c:pt idx="51">
                  <c:v>0.40350877192982454</c:v>
                </c:pt>
                <c:pt idx="52">
                  <c:v>0.35877862595419846</c:v>
                </c:pt>
                <c:pt idx="53">
                  <c:v>0.359375</c:v>
                </c:pt>
                <c:pt idx="54">
                  <c:v>0.3333333333333333</c:v>
                </c:pt>
                <c:pt idx="55">
                  <c:v>0.35537190082644626</c:v>
                </c:pt>
                <c:pt idx="56">
                  <c:v>0.3561643835616438</c:v>
                </c:pt>
                <c:pt idx="57">
                  <c:v>0.3618421052631579</c:v>
                </c:pt>
                <c:pt idx="58">
                  <c:v>0.40236686390532544</c:v>
                </c:pt>
                <c:pt idx="59">
                  <c:v>0.41333333333333333</c:v>
                </c:pt>
                <c:pt idx="60">
                  <c:v>0.3641304347826087</c:v>
                </c:pt>
                <c:pt idx="61">
                  <c:v>0.25654450261780104</c:v>
                </c:pt>
                <c:pt idx="62">
                  <c:v>0.31225296442687744</c:v>
                </c:pt>
                <c:pt idx="63">
                  <c:v>0.32706766917293234</c:v>
                </c:pt>
                <c:pt idx="64">
                  <c:v>0.3125</c:v>
                </c:pt>
                <c:pt idx="65">
                  <c:v>0.29554655870445345</c:v>
                </c:pt>
                <c:pt idx="66">
                  <c:v>0.31343283582089554</c:v>
                </c:pt>
                <c:pt idx="67">
                  <c:v>0.26229508196721313</c:v>
                </c:pt>
                <c:pt idx="68">
                  <c:v>0.29838709677419356</c:v>
                </c:pt>
                <c:pt idx="69">
                  <c:v>0.29838709677419356</c:v>
                </c:pt>
                <c:pt idx="70">
                  <c:v>0.3173076923076923</c:v>
                </c:pt>
                <c:pt idx="71">
                  <c:v>0.3157894736842105</c:v>
                </c:pt>
                <c:pt idx="72">
                  <c:v>0.25301204819277107</c:v>
                </c:pt>
                <c:pt idx="73">
                  <c:v>0.27906976744186046</c:v>
                </c:pt>
                <c:pt idx="74">
                  <c:v>0.3048780487804878</c:v>
                </c:pt>
                <c:pt idx="75">
                  <c:v>0.23636363636363636</c:v>
                </c:pt>
                <c:pt idx="76">
                  <c:v>0.3114754098360656</c:v>
                </c:pt>
                <c:pt idx="77">
                  <c:v>0.18</c:v>
                </c:pt>
                <c:pt idx="78">
                  <c:v>0.2777777777777778</c:v>
                </c:pt>
                <c:pt idx="79">
                  <c:v>0.2857142857142857</c:v>
                </c:pt>
                <c:pt idx="80">
                  <c:v>0.275</c:v>
                </c:pt>
                <c:pt idx="81">
                  <c:v>0.35714285714285715</c:v>
                </c:pt>
                <c:pt idx="82">
                  <c:v>0.23076923076923078</c:v>
                </c:pt>
                <c:pt idx="83">
                  <c:v>0.2</c:v>
                </c:pt>
                <c:pt idx="84">
                  <c:v>0.23076923076923078</c:v>
                </c:pt>
                <c:pt idx="85">
                  <c:v>0.225</c:v>
                </c:pt>
                <c:pt idx="86">
                  <c:v>0.3</c:v>
                </c:pt>
                <c:pt idx="87">
                  <c:v>0.25862068965517243</c:v>
                </c:pt>
                <c:pt idx="88">
                  <c:v>0.3076923076923077</c:v>
                </c:pt>
                <c:pt idx="89">
                  <c:v>0.25</c:v>
                </c:pt>
                <c:pt idx="90">
                  <c:v>0.24324324324324326</c:v>
                </c:pt>
                <c:pt idx="91">
                  <c:v>0.2391304347826087</c:v>
                </c:pt>
                <c:pt idx="92">
                  <c:v>0.3148148148148148</c:v>
                </c:pt>
                <c:pt idx="93">
                  <c:v>0.24074074074074073</c:v>
                </c:pt>
                <c:pt idx="94">
                  <c:v>0.3018867924528302</c:v>
                </c:pt>
                <c:pt idx="95">
                  <c:v>0.33613445378151263</c:v>
                </c:pt>
                <c:pt idx="96">
                  <c:v>0.34146341463414637</c:v>
                </c:pt>
                <c:pt idx="97">
                  <c:v>0.3157894736842105</c:v>
                </c:pt>
                <c:pt idx="98">
                  <c:v>0.4</c:v>
                </c:pt>
                <c:pt idx="99">
                  <c:v>0.4245810055865922</c:v>
                </c:pt>
                <c:pt idx="100">
                  <c:v>0.34782608695652173</c:v>
                </c:pt>
                <c:pt idx="101">
                  <c:v>0.37012987012987014</c:v>
                </c:pt>
                <c:pt idx="102">
                  <c:v>0.3557692307692308</c:v>
                </c:pt>
                <c:pt idx="103">
                  <c:v>0.3287671232876712</c:v>
                </c:pt>
                <c:pt idx="104">
                  <c:v>0.34210526315789475</c:v>
                </c:pt>
                <c:pt idx="105">
                  <c:v>0.27941176470588236</c:v>
                </c:pt>
                <c:pt idx="106">
                  <c:v>0.2923076923076923</c:v>
                </c:pt>
                <c:pt idx="107">
                  <c:v>0.32075471698113206</c:v>
                </c:pt>
              </c:numCache>
            </c:numRef>
          </c:yVal>
          <c:smooth val="0"/>
          <c:extLst>
            <c:ext xmlns:c16="http://schemas.microsoft.com/office/drawing/2014/chart" uri="{C3380CC4-5D6E-409C-BE32-E72D297353CC}">
              <c16:uniqueId val="{00000000-096C-4121-9522-6AB7243CCAAE}"/>
            </c:ext>
          </c:extLst>
        </c:ser>
        <c:ser>
          <c:idx val="1"/>
          <c:order val="1"/>
          <c:tx>
            <c:strRef>
              <c:f>Sheet1!$B$11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2:$A$130</c:f>
              <c:numCache>
                <c:formatCode>General</c:formatCode>
                <c:ptCount val="19"/>
                <c:pt idx="0">
                  <c:v>2.058518084571047</c:v>
                </c:pt>
                <c:pt idx="1">
                  <c:v>2.491970802919708</c:v>
                </c:pt>
                <c:pt idx="2">
                  <c:v>2.0944055152394774</c:v>
                </c:pt>
                <c:pt idx="3">
                  <c:v>2.7845186640471513</c:v>
                </c:pt>
                <c:pt idx="4">
                  <c:v>2.320275577557756</c:v>
                </c:pt>
                <c:pt idx="5">
                  <c:v>2.374302806891903</c:v>
                </c:pt>
                <c:pt idx="6">
                  <c:v>1.8622593667546175</c:v>
                </c:pt>
                <c:pt idx="7">
                  <c:v>1.8189685333333334</c:v>
                </c:pt>
                <c:pt idx="8">
                  <c:v>4.125877976190476</c:v>
                </c:pt>
                <c:pt idx="9">
                  <c:v>2.1264335384615385</c:v>
                </c:pt>
                <c:pt idx="10">
                  <c:v>3.0504937777777776</c:v>
                </c:pt>
                <c:pt idx="11">
                  <c:v>2.9470006918882086</c:v>
                </c:pt>
                <c:pt idx="12">
                  <c:v>4.481991530944625</c:v>
                </c:pt>
                <c:pt idx="13">
                  <c:v>3.3967959748427674</c:v>
                </c:pt>
                <c:pt idx="14">
                  <c:v>6.049428318584071</c:v>
                </c:pt>
                <c:pt idx="15">
                  <c:v>4.844530196629213</c:v>
                </c:pt>
                <c:pt idx="16">
                  <c:v>4.695837623762376</c:v>
                </c:pt>
                <c:pt idx="17">
                  <c:v>3.9677217877094972</c:v>
                </c:pt>
                <c:pt idx="18">
                  <c:v>2.507205387205387</c:v>
                </c:pt>
              </c:numCache>
            </c:numRef>
          </c:xVal>
          <c:yVal>
            <c:numRef>
              <c:f>Sheet1!$B$112:$B$130</c:f>
              <c:numCache>
                <c:formatCode>General</c:formatCode>
                <c:ptCount val="19"/>
                <c:pt idx="0">
                  <c:v>0.3229166666666667</c:v>
                </c:pt>
                <c:pt idx="1">
                  <c:v>0.42168674698795183</c:v>
                </c:pt>
                <c:pt idx="2">
                  <c:v>0.3963963963963964</c:v>
                </c:pt>
                <c:pt idx="3">
                  <c:v>0.390625</c:v>
                </c:pt>
                <c:pt idx="4">
                  <c:v>0.3108108108108108</c:v>
                </c:pt>
                <c:pt idx="5">
                  <c:v>0.3709677419354839</c:v>
                </c:pt>
                <c:pt idx="6">
                  <c:v>0.38848920863309355</c:v>
                </c:pt>
                <c:pt idx="7">
                  <c:v>0.37857142857142856</c:v>
                </c:pt>
                <c:pt idx="8">
                  <c:v>0.3652694610778443</c:v>
                </c:pt>
                <c:pt idx="9">
                  <c:v>0.3581395348837209</c:v>
                </c:pt>
                <c:pt idx="10">
                  <c:v>0.39344262295081966</c:v>
                </c:pt>
                <c:pt idx="11">
                  <c:v>0.36363636363636365</c:v>
                </c:pt>
                <c:pt idx="12">
                  <c:v>0.35</c:v>
                </c:pt>
                <c:pt idx="13">
                  <c:v>0.292817679558011</c:v>
                </c:pt>
                <c:pt idx="14">
                  <c:v>0.33884297520661155</c:v>
                </c:pt>
                <c:pt idx="15">
                  <c:v>0.3364485981308411</c:v>
                </c:pt>
                <c:pt idx="16">
                  <c:v>0.3924050632911392</c:v>
                </c:pt>
                <c:pt idx="17">
                  <c:v>0.375</c:v>
                </c:pt>
                <c:pt idx="18">
                  <c:v>0.29069767441860467</c:v>
                </c:pt>
              </c:numCache>
            </c:numRef>
          </c:yVal>
          <c:smooth val="0"/>
          <c:extLst>
            <c:ext xmlns:c16="http://schemas.microsoft.com/office/drawing/2014/chart" uri="{C3380CC4-5D6E-409C-BE32-E72D297353CC}">
              <c16:uniqueId val="{00000002-096C-4121-9522-6AB7243CCAAE}"/>
            </c:ext>
          </c:extLst>
        </c:ser>
        <c:ser>
          <c:idx val="2"/>
          <c:order val="2"/>
          <c:tx>
            <c:strRef>
              <c:f>Sheet1!$B$13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3:$A$134</c:f>
              <c:numCache>
                <c:formatCode>General</c:formatCode>
                <c:ptCount val="2"/>
                <c:pt idx="0">
                  <c:v>0</c:v>
                </c:pt>
                <c:pt idx="1">
                  <c:v>-8.529667008418114</c:v>
                </c:pt>
              </c:numCache>
            </c:numRef>
          </c:xVal>
          <c:yVal>
            <c:numRef>
              <c:f>Sheet1!$B$133:$B$134</c:f>
              <c:numCache>
                <c:formatCode>General</c:formatCode>
                <c:ptCount val="2"/>
                <c:pt idx="0">
                  <c:v>0.4044456721486555</c:v>
                </c:pt>
                <c:pt idx="1">
                  <c:v>0.4044456721486555</c:v>
                </c:pt>
              </c:numCache>
            </c:numRef>
          </c:yVal>
          <c:smooth val="0"/>
          <c:extLst>
            <c:ext xmlns:c16="http://schemas.microsoft.com/office/drawing/2014/chart" uri="{C3380CC4-5D6E-409C-BE32-E72D297353CC}">
              <c16:uniqueId val="{00000005-096C-4121-9522-6AB7243CCAAE}"/>
            </c:ext>
          </c:extLst>
        </c:ser>
        <c:ser>
          <c:idx val="3"/>
          <c:order val="3"/>
          <c:tx>
            <c:strRef>
              <c:f>Sheet1!$B$13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7:$A$138</c:f>
              <c:numCache>
                <c:formatCode>General</c:formatCode>
                <c:ptCount val="2"/>
                <c:pt idx="0">
                  <c:v>-8.529667008418114</c:v>
                </c:pt>
                <c:pt idx="1">
                  <c:v>-8.529667008418114</c:v>
                </c:pt>
              </c:numCache>
            </c:numRef>
          </c:xVal>
          <c:yVal>
            <c:numRef>
              <c:f>Sheet1!$B$137:$B$138</c:f>
              <c:numCache>
                <c:formatCode>General</c:formatCode>
                <c:ptCount val="2"/>
                <c:pt idx="0">
                  <c:v>0.40444567214865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1:$A$142</c:f>
              <c:numCache>
                <c:formatCode>General</c:formatCode>
                <c:ptCount val="2"/>
                <c:pt idx="0">
                  <c:v>0</c:v>
                </c:pt>
                <c:pt idx="1">
                  <c:v>0.039728392275130114</c:v>
                </c:pt>
              </c:numCache>
            </c:numRef>
          </c:xVal>
          <c:yVal>
            <c:numRef>
              <c:f>Sheet1!$B$141:$B$142</c:f>
              <c:numCache>
                <c:formatCode>General</c:formatCode>
                <c:ptCount val="2"/>
                <c:pt idx="0">
                  <c:v>0.3717481623421862</c:v>
                </c:pt>
                <c:pt idx="1">
                  <c:v>0.3717481623421862</c:v>
                </c:pt>
              </c:numCache>
            </c:numRef>
          </c:yVal>
          <c:smooth val="0"/>
          <c:extLst>
            <c:ext xmlns:c16="http://schemas.microsoft.com/office/drawing/2014/chart" uri="{C3380CC4-5D6E-409C-BE32-E72D297353CC}">
              <c16:uniqueId val="{0000000D-096C-4121-9522-6AB7243CCAAE}"/>
            </c:ext>
          </c:extLst>
        </c:ser>
        <c:ser>
          <c:idx val="5"/>
          <c:order val="5"/>
          <c:tx>
            <c:strRef>
              <c:f>Sheet1!$B$14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5:$A$146</c:f>
              <c:numCache>
                <c:formatCode>General</c:formatCode>
                <c:ptCount val="2"/>
                <c:pt idx="0">
                  <c:v>0.039728392275130114</c:v>
                </c:pt>
                <c:pt idx="1">
                  <c:v>0.039728392275130114</c:v>
                </c:pt>
              </c:numCache>
            </c:numRef>
          </c:xVal>
          <c:yVal>
            <c:numRef>
              <c:f>Sheet1!$B$145:$B$146</c:f>
              <c:numCache>
                <c:formatCode>General</c:formatCode>
                <c:ptCount val="2"/>
                <c:pt idx="0">
                  <c:v>0.37174816234218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8</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9:$A$170</c:f>
              <c:numCache>
                <c:formatCode>General</c:formatCode>
                <c:ptCount val="22"/>
                <c:pt idx="0">
                  <c:v>2.058518084571047</c:v>
                </c:pt>
                <c:pt idx="1">
                  <c:v>2.491970802919708</c:v>
                </c:pt>
                <c:pt idx="2">
                  <c:v>2.0944055152394774</c:v>
                </c:pt>
                <c:pt idx="3">
                  <c:v>2.7845186640471513</c:v>
                </c:pt>
                <c:pt idx="4">
                  <c:v>2.320275577557756</c:v>
                </c:pt>
                <c:pt idx="5">
                  <c:v>2.374302806891903</c:v>
                </c:pt>
                <c:pt idx="6">
                  <c:v>1.8622593667546175</c:v>
                </c:pt>
                <c:pt idx="7">
                  <c:v>1.8189685333333334</c:v>
                </c:pt>
                <c:pt idx="8">
                  <c:v>4.125877976190476</c:v>
                </c:pt>
                <c:pt idx="9">
                  <c:v>2.1264335384615385</c:v>
                </c:pt>
                <c:pt idx="10">
                  <c:v>3.0504937777777776</c:v>
                </c:pt>
                <c:pt idx="11">
                  <c:v>2.9470006918882086</c:v>
                </c:pt>
                <c:pt idx="12">
                  <c:v>4.481991530944625</c:v>
                </c:pt>
                <c:pt idx="13">
                  <c:v>3.3967959748427674</c:v>
                </c:pt>
                <c:pt idx="14">
                  <c:v>6.049428318584071</c:v>
                </c:pt>
                <c:pt idx="15">
                  <c:v>4.844530196629213</c:v>
                </c:pt>
                <c:pt idx="16">
                  <c:v>4.695837623762376</c:v>
                </c:pt>
                <c:pt idx="17">
                  <c:v>3.9677217877094972</c:v>
                </c:pt>
                <c:pt idx="18">
                  <c:v>2.507205387205387</c:v>
                </c:pt>
                <c:pt idx="19">
                  <c:v>0.039728392275130114</c:v>
                </c:pt>
                <c:pt idx="20">
                  <c:v>-8.529667008418114</c:v>
                </c:pt>
                <c:pt idx="21">
                  <c:v>0</c:v>
                </c:pt>
              </c:numCache>
            </c:numRef>
          </c:xVal>
          <c:yVal>
            <c:numRef>
              <c:f>Sheet1!$B$149:$B$170</c:f>
              <c:numCache>
                <c:formatCode>General</c:formatCode>
                <c:ptCount val="22"/>
                <c:pt idx="0">
                  <c:v>0.3640452390115969</c:v>
                </c:pt>
                <c:pt idx="1">
                  <c:v>0.36239135051116667</c:v>
                </c:pt>
                <c:pt idx="2">
                  <c:v>0.36390830640884697</c:v>
                </c:pt>
                <c:pt idx="3">
                  <c:v>0.3612751006346232</c:v>
                </c:pt>
                <c:pt idx="4">
                  <c:v>0.363046473311842</c:v>
                </c:pt>
                <c:pt idx="5">
                  <c:v>0.36284032622930373</c:v>
                </c:pt>
                <c:pt idx="6">
                  <c:v>0.36479408663156887</c:v>
                </c:pt>
                <c:pt idx="7">
                  <c:v>0.3649592677656087</c:v>
                </c:pt>
                <c:pt idx="8">
                  <c:v>0.3561569905215973</c:v>
                </c:pt>
                <c:pt idx="9">
                  <c:v>0.36378609981731774</c:v>
                </c:pt>
                <c:pt idx="10">
                  <c:v>0.3602602421197762</c:v>
                </c:pt>
                <c:pt idx="11">
                  <c:v>0.3606551318444938</c:v>
                </c:pt>
                <c:pt idx="12">
                  <c:v>0.3547981984593419</c:v>
                </c:pt>
                <c:pt idx="13">
                  <c:v>0.3589388864167101</c:v>
                </c:pt>
                <c:pt idx="14">
                  <c:v>0.34881746384057105</c:v>
                </c:pt>
                <c:pt idx="15">
                  <c:v>0.35341489065031173</c:v>
                </c:pt>
                <c:pt idx="16">
                  <c:v>0.3539822441953552</c:v>
                </c:pt>
                <c:pt idx="17">
                  <c:v>0.35676045357610786</c:v>
                </c:pt>
                <c:pt idx="18">
                  <c:v>0.3623332212096481</c:v>
                </c:pt>
                <c:pt idx="19">
                  <c:v>0.3717481623421862</c:v>
                </c:pt>
                <c:pt idx="20">
                  <c:v>0.4044456721486555</c:v>
                </c:pt>
                <c:pt idx="21">
                  <c:v>0.3718997505739425</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73170731707317"/>
          <c:min val="0.1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8.0189</c:v>
                </c:pt>
                <c:pt idx="1">
                  <c:v>670.2955</c:v>
                </c:pt>
                <c:pt idx="2">
                  <c:v>694.0</c:v>
                </c:pt>
                <c:pt idx="3">
                  <c:v>681.2128</c:v>
                </c:pt>
                <c:pt idx="4">
                  <c:v>658.0</c:v>
                </c:pt>
                <c:pt idx="5">
                  <c:v>665.4528</c:v>
                </c:pt>
                <c:pt idx="6">
                  <c:v>645.0806</c:v>
                </c:pt>
                <c:pt idx="7">
                  <c:v>651.0</c:v>
                </c:pt>
                <c:pt idx="8">
                  <c:v>667.7571</c:v>
                </c:pt>
                <c:pt idx="9">
                  <c:v>647.1789</c:v>
                </c:pt>
                <c:pt idx="10">
                  <c:v>609.1574</c:v>
                </c:pt>
                <c:pt idx="11">
                  <c:v>616.1512</c:v>
                </c:pt>
                <c:pt idx="12">
                  <c:v>619.2235</c:v>
                </c:pt>
                <c:pt idx="13">
                  <c:v>626.0494</c:v>
                </c:pt>
                <c:pt idx="14">
                  <c:v>590.8049</c:v>
                </c:pt>
                <c:pt idx="15">
                  <c:v>598.7949</c:v>
                </c:pt>
                <c:pt idx="16">
                  <c:v>583.3922</c:v>
                </c:pt>
                <c:pt idx="17">
                  <c:v>600.68</c:v>
                </c:pt>
                <c:pt idx="18">
                  <c:v>518.7826</c:v>
                </c:pt>
                <c:pt idx="19">
                  <c:v>505.7188</c:v>
                </c:pt>
                <c:pt idx="20">
                  <c:v>575.1087</c:v>
                </c:pt>
                <c:pt idx="21">
                  <c:v>592.3902</c:v>
                </c:pt>
                <c:pt idx="22">
                  <c:v>565.4889</c:v>
                </c:pt>
                <c:pt idx="23">
                  <c:v>558.5641</c:v>
                </c:pt>
                <c:pt idx="24">
                  <c:v>591.7097</c:v>
                </c:pt>
                <c:pt idx="25">
                  <c:v>559.7</c:v>
                </c:pt>
                <c:pt idx="26">
                  <c:v>575.5</c:v>
                </c:pt>
                <c:pt idx="27">
                  <c:v>601.1</c:v>
                </c:pt>
                <c:pt idx="28">
                  <c:v>626.8095</c:v>
                </c:pt>
                <c:pt idx="29">
                  <c:v>642.5714</c:v>
                </c:pt>
                <c:pt idx="30">
                  <c:v>620.1765</c:v>
                </c:pt>
                <c:pt idx="31">
                  <c:v>648.5714</c:v>
                </c:pt>
                <c:pt idx="32">
                  <c:v>614.9231</c:v>
                </c:pt>
                <c:pt idx="33">
                  <c:v>534.2632</c:v>
                </c:pt>
                <c:pt idx="34">
                  <c:v>656.8333</c:v>
                </c:pt>
                <c:pt idx="35">
                  <c:v>646.6786</c:v>
                </c:pt>
                <c:pt idx="36">
                  <c:v>594.25</c:v>
                </c:pt>
                <c:pt idx="37">
                  <c:v>634.1111</c:v>
                </c:pt>
                <c:pt idx="38">
                  <c:v>621.5882</c:v>
                </c:pt>
                <c:pt idx="39">
                  <c:v>656.8571</c:v>
                </c:pt>
                <c:pt idx="40">
                  <c:v>671.9655</c:v>
                </c:pt>
                <c:pt idx="41">
                  <c:v>587.5</c:v>
                </c:pt>
                <c:pt idx="42">
                  <c:v>661.0</c:v>
                </c:pt>
                <c:pt idx="43">
                  <c:v>658.6735</c:v>
                </c:pt>
                <c:pt idx="44">
                  <c:v>659.4255</c:v>
                </c:pt>
                <c:pt idx="45">
                  <c:v>659.9254</c:v>
                </c:pt>
                <c:pt idx="46">
                  <c:v>629.0521</c:v>
                </c:pt>
                <c:pt idx="47">
                  <c:v>630.8596</c:v>
                </c:pt>
                <c:pt idx="48">
                  <c:v>629.1083</c:v>
                </c:pt>
                <c:pt idx="49">
                  <c:v>604.213</c:v>
                </c:pt>
                <c:pt idx="50">
                  <c:v>632.4872</c:v>
                </c:pt>
                <c:pt idx="51">
                  <c:v>608.6957</c:v>
                </c:pt>
                <c:pt idx="52">
                  <c:v>647.5319</c:v>
                </c:pt>
                <c:pt idx="53">
                  <c:v>645.3043</c:v>
                </c:pt>
                <c:pt idx="54">
                  <c:v>661.9211</c:v>
                </c:pt>
                <c:pt idx="55">
                  <c:v>654.3023</c:v>
                </c:pt>
                <c:pt idx="56">
                  <c:v>630.3077</c:v>
                </c:pt>
                <c:pt idx="57">
                  <c:v>657.1091</c:v>
                </c:pt>
                <c:pt idx="58">
                  <c:v>587.5882</c:v>
                </c:pt>
                <c:pt idx="59">
                  <c:v>648.7258</c:v>
                </c:pt>
                <c:pt idx="60">
                  <c:v>615.3433</c:v>
                </c:pt>
                <c:pt idx="61">
                  <c:v>655.1429</c:v>
                </c:pt>
                <c:pt idx="62">
                  <c:v>632.3544</c:v>
                </c:pt>
                <c:pt idx="63">
                  <c:v>640.9655</c:v>
                </c:pt>
                <c:pt idx="64">
                  <c:v>626.1059</c:v>
                </c:pt>
                <c:pt idx="65">
                  <c:v>628.2192</c:v>
                </c:pt>
                <c:pt idx="66">
                  <c:v>605.6786</c:v>
                </c:pt>
                <c:pt idx="67">
                  <c:v>621.3125</c:v>
                </c:pt>
                <c:pt idx="68">
                  <c:v>574.4324</c:v>
                </c:pt>
                <c:pt idx="69">
                  <c:v>600.7838</c:v>
                </c:pt>
                <c:pt idx="70">
                  <c:v>569.3939</c:v>
                </c:pt>
                <c:pt idx="71">
                  <c:v>625.2</c:v>
                </c:pt>
                <c:pt idx="72">
                  <c:v>709.7619</c:v>
                </c:pt>
                <c:pt idx="73">
                  <c:v>709.7917</c:v>
                </c:pt>
                <c:pt idx="74">
                  <c:v>671.4</c:v>
                </c:pt>
                <c:pt idx="75">
                  <c:v>645.5385</c:v>
                </c:pt>
                <c:pt idx="76">
                  <c:v>683.8947</c:v>
                </c:pt>
                <c:pt idx="77">
                  <c:v>688.2222</c:v>
                </c:pt>
                <c:pt idx="78">
                  <c:v>632.2667</c:v>
                </c:pt>
                <c:pt idx="79">
                  <c:v>655.75</c:v>
                </c:pt>
                <c:pt idx="80">
                  <c:v>667.0</c:v>
                </c:pt>
                <c:pt idx="81">
                  <c:v>707.25</c:v>
                </c:pt>
                <c:pt idx="82">
                  <c:v>755.8889</c:v>
                </c:pt>
                <c:pt idx="83">
                  <c:v>690.7143</c:v>
                </c:pt>
                <c:pt idx="84">
                  <c:v>712.5</c:v>
                </c:pt>
                <c:pt idx="85">
                  <c:v>700.3333</c:v>
                </c:pt>
                <c:pt idx="86">
                  <c:v>657.9167</c:v>
                </c:pt>
                <c:pt idx="87">
                  <c:v>675.4667</c:v>
                </c:pt>
                <c:pt idx="88">
                  <c:v>745.1667</c:v>
                </c:pt>
                <c:pt idx="89">
                  <c:v>742.4444</c:v>
                </c:pt>
                <c:pt idx="90">
                  <c:v>755.1111</c:v>
                </c:pt>
                <c:pt idx="91">
                  <c:v>728.5455</c:v>
                </c:pt>
                <c:pt idx="92">
                  <c:v>717.5294</c:v>
                </c:pt>
                <c:pt idx="93">
                  <c:v>714.8462</c:v>
                </c:pt>
                <c:pt idx="94">
                  <c:v>697.875</c:v>
                </c:pt>
                <c:pt idx="95">
                  <c:v>710.025</c:v>
                </c:pt>
                <c:pt idx="96">
                  <c:v>726.6429</c:v>
                </c:pt>
                <c:pt idx="97">
                  <c:v>712.9667</c:v>
                </c:pt>
                <c:pt idx="98">
                  <c:v>698.625</c:v>
                </c:pt>
                <c:pt idx="99">
                  <c:v>697.1711</c:v>
                </c:pt>
                <c:pt idx="100">
                  <c:v>700.25</c:v>
                </c:pt>
                <c:pt idx="101">
                  <c:v>713.0526</c:v>
                </c:pt>
                <c:pt idx="102">
                  <c:v>678.4865</c:v>
                </c:pt>
                <c:pt idx="103">
                  <c:v>704.6042</c:v>
                </c:pt>
                <c:pt idx="104">
                  <c:v>669.8718</c:v>
                </c:pt>
              </c:numCache>
            </c:numRef>
          </c:xVal>
          <c:yVal>
            <c:numRef>
              <c:f>Sheet1!$B$2:$B$106</c:f>
              <c:numCache>
                <c:formatCode>General</c:formatCode>
                <c:ptCount val="105"/>
                <c:pt idx="0">
                  <c:v>0.38686131386861317</c:v>
                </c:pt>
                <c:pt idx="1">
                  <c:v>0.2972972972972973</c:v>
                </c:pt>
                <c:pt idx="2">
                  <c:v>0.38311688311688313</c:v>
                </c:pt>
                <c:pt idx="3">
                  <c:v>0.2919254658385093</c:v>
                </c:pt>
                <c:pt idx="4">
                  <c:v>0.4142857142857143</c:v>
                </c:pt>
                <c:pt idx="5">
                  <c:v>0.32919254658385094</c:v>
                </c:pt>
                <c:pt idx="6">
                  <c:v>0.39490445859872614</c:v>
                </c:pt>
                <c:pt idx="7">
                  <c:v>0.34394904458598724</c:v>
                </c:pt>
                <c:pt idx="8">
                  <c:v>0.3804347826086957</c:v>
                </c:pt>
                <c:pt idx="9">
                  <c:v>0.42410714285714285</c:v>
                </c:pt>
                <c:pt idx="10">
                  <c:v>0.4122137404580153</c:v>
                </c:pt>
                <c:pt idx="11">
                  <c:v>0.3628691983122363</c:v>
                </c:pt>
                <c:pt idx="12">
                  <c:v>0.37280701754385964</c:v>
                </c:pt>
                <c:pt idx="13">
                  <c:v>0.34177215189873417</c:v>
                </c:pt>
                <c:pt idx="14">
                  <c:v>0.34024896265560167</c:v>
                </c:pt>
                <c:pt idx="15">
                  <c:v>0.4126984126984127</c:v>
                </c:pt>
                <c:pt idx="16">
                  <c:v>0.3695652173913043</c:v>
                </c:pt>
                <c:pt idx="17">
                  <c:v>0.4</c:v>
                </c:pt>
                <c:pt idx="18">
                  <c:v>0.30666666666666664</c:v>
                </c:pt>
                <c:pt idx="19">
                  <c:v>0.32653061224489793</c:v>
                </c:pt>
                <c:pt idx="20">
                  <c:v>0.34328358208955223</c:v>
                </c:pt>
                <c:pt idx="21">
                  <c:v>0.3416666666666667</c:v>
                </c:pt>
                <c:pt idx="22">
                  <c:v>0.371900826446281</c:v>
                </c:pt>
                <c:pt idx="23">
                  <c:v>0.2746478873239437</c:v>
                </c:pt>
                <c:pt idx="24">
                  <c:v>0.30097087378640774</c:v>
                </c:pt>
                <c:pt idx="25">
                  <c:v>0.32608695652173914</c:v>
                </c:pt>
                <c:pt idx="26">
                  <c:v>0.358974358974359</c:v>
                </c:pt>
                <c:pt idx="27">
                  <c:v>0.4</c:v>
                </c:pt>
                <c:pt idx="28">
                  <c:v>0.3888888888888889</c:v>
                </c:pt>
                <c:pt idx="29">
                  <c:v>0.3684210526315789</c:v>
                </c:pt>
                <c:pt idx="30">
                  <c:v>0.37777777777777777</c:v>
                </c:pt>
                <c:pt idx="31">
                  <c:v>0.35</c:v>
                </c:pt>
                <c:pt idx="32">
                  <c:v>0.30952380952380953</c:v>
                </c:pt>
                <c:pt idx="33">
                  <c:v>0.4523809523809524</c:v>
                </c:pt>
                <c:pt idx="34">
                  <c:v>0.32142857142857145</c:v>
                </c:pt>
                <c:pt idx="35">
                  <c:v>0.3888888888888889</c:v>
                </c:pt>
                <c:pt idx="36">
                  <c:v>0.3287671232876712</c:v>
                </c:pt>
                <c:pt idx="37">
                  <c:v>0.32142857142857145</c:v>
                </c:pt>
                <c:pt idx="38">
                  <c:v>0.32075471698113206</c:v>
                </c:pt>
                <c:pt idx="39">
                  <c:v>0.4375</c:v>
                </c:pt>
                <c:pt idx="40">
                  <c:v>0.4264705882352941</c:v>
                </c:pt>
                <c:pt idx="41">
                  <c:v>0.4411764705882353</c:v>
                </c:pt>
                <c:pt idx="42">
                  <c:v>0.36363636363636365</c:v>
                </c:pt>
                <c:pt idx="43">
                  <c:v>0.45794392523364486</c:v>
                </c:pt>
                <c:pt idx="44">
                  <c:v>0.3983050847457627</c:v>
                </c:pt>
                <c:pt idx="45">
                  <c:v>0.366120218579235</c:v>
                </c:pt>
                <c:pt idx="46">
                  <c:v>0.4507042253521127</c:v>
                </c:pt>
                <c:pt idx="47">
                  <c:v>0.5560975609756098</c:v>
                </c:pt>
                <c:pt idx="48">
                  <c:v>0.5042016806722689</c:v>
                </c:pt>
                <c:pt idx="49">
                  <c:v>0.4289340101522843</c:v>
                </c:pt>
                <c:pt idx="50">
                  <c:v>0.42162162162162165</c:v>
                </c:pt>
                <c:pt idx="51">
                  <c:v>0.40350877192982454</c:v>
                </c:pt>
                <c:pt idx="52">
                  <c:v>0.35877862595419846</c:v>
                </c:pt>
                <c:pt idx="53">
                  <c:v>0.359375</c:v>
                </c:pt>
                <c:pt idx="54">
                  <c:v>0.3333333333333333</c:v>
                </c:pt>
                <c:pt idx="55">
                  <c:v>0.35537190082644626</c:v>
                </c:pt>
                <c:pt idx="56">
                  <c:v>0.3561643835616438</c:v>
                </c:pt>
                <c:pt idx="57">
                  <c:v>0.3618421052631579</c:v>
                </c:pt>
                <c:pt idx="58">
                  <c:v>0.40236686390532544</c:v>
                </c:pt>
                <c:pt idx="59">
                  <c:v>0.41333333333333333</c:v>
                </c:pt>
                <c:pt idx="60">
                  <c:v>0.3641304347826087</c:v>
                </c:pt>
                <c:pt idx="61">
                  <c:v>0.25654450261780104</c:v>
                </c:pt>
                <c:pt idx="62">
                  <c:v>0.31225296442687744</c:v>
                </c:pt>
                <c:pt idx="63">
                  <c:v>0.32706766917293234</c:v>
                </c:pt>
                <c:pt idx="64">
                  <c:v>0.3125</c:v>
                </c:pt>
                <c:pt idx="65">
                  <c:v>0.29554655870445345</c:v>
                </c:pt>
                <c:pt idx="66">
                  <c:v>0.31343283582089554</c:v>
                </c:pt>
                <c:pt idx="67">
                  <c:v>0.26229508196721313</c:v>
                </c:pt>
                <c:pt idx="68">
                  <c:v>0.29838709677419356</c:v>
                </c:pt>
                <c:pt idx="69">
                  <c:v>0.29838709677419356</c:v>
                </c:pt>
                <c:pt idx="70">
                  <c:v>0.3173076923076923</c:v>
                </c:pt>
                <c:pt idx="71">
                  <c:v>0.3157894736842105</c:v>
                </c:pt>
                <c:pt idx="72">
                  <c:v>0.25301204819277107</c:v>
                </c:pt>
                <c:pt idx="73">
                  <c:v>0.27906976744186046</c:v>
                </c:pt>
                <c:pt idx="74">
                  <c:v>0.3048780487804878</c:v>
                </c:pt>
                <c:pt idx="75">
                  <c:v>0.23636363636363636</c:v>
                </c:pt>
                <c:pt idx="76">
                  <c:v>0.3114754098360656</c:v>
                </c:pt>
                <c:pt idx="77">
                  <c:v>0.18</c:v>
                </c:pt>
                <c:pt idx="78">
                  <c:v>0.2777777777777778</c:v>
                </c:pt>
                <c:pt idx="79">
                  <c:v>0.2857142857142857</c:v>
                </c:pt>
                <c:pt idx="80">
                  <c:v>0.275</c:v>
                </c:pt>
                <c:pt idx="81">
                  <c:v>0.35714285714285715</c:v>
                </c:pt>
                <c:pt idx="82">
                  <c:v>0.23076923076923078</c:v>
                </c:pt>
                <c:pt idx="83">
                  <c:v>0.2</c:v>
                </c:pt>
                <c:pt idx="84">
                  <c:v>0.23076923076923078</c:v>
                </c:pt>
                <c:pt idx="85">
                  <c:v>0.225</c:v>
                </c:pt>
                <c:pt idx="86">
                  <c:v>0.3</c:v>
                </c:pt>
                <c:pt idx="87">
                  <c:v>0.25862068965517243</c:v>
                </c:pt>
                <c:pt idx="88">
                  <c:v>0.3076923076923077</c:v>
                </c:pt>
                <c:pt idx="89">
                  <c:v>0.25</c:v>
                </c:pt>
                <c:pt idx="90">
                  <c:v>0.24324324324324326</c:v>
                </c:pt>
                <c:pt idx="91">
                  <c:v>0.2391304347826087</c:v>
                </c:pt>
                <c:pt idx="92">
                  <c:v>0.3148148148148148</c:v>
                </c:pt>
                <c:pt idx="93">
                  <c:v>0.24074074074074073</c:v>
                </c:pt>
                <c:pt idx="94">
                  <c:v>0.3018867924528302</c:v>
                </c:pt>
                <c:pt idx="95">
                  <c:v>0.33613445378151263</c:v>
                </c:pt>
                <c:pt idx="96">
                  <c:v>0.34146341463414637</c:v>
                </c:pt>
                <c:pt idx="97">
                  <c:v>0.3157894736842105</c:v>
                </c:pt>
                <c:pt idx="98">
                  <c:v>0.4</c:v>
                </c:pt>
                <c:pt idx="99">
                  <c:v>0.4245810055865922</c:v>
                </c:pt>
                <c:pt idx="100">
                  <c:v>0.34782608695652173</c:v>
                </c:pt>
                <c:pt idx="101">
                  <c:v>0.37012987012987014</c:v>
                </c:pt>
                <c:pt idx="102">
                  <c:v>0.3557692307692308</c:v>
                </c:pt>
                <c:pt idx="103">
                  <c:v>0.3287671232876712</c:v>
                </c:pt>
                <c:pt idx="104">
                  <c:v>0.342105263157894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30</c:f>
              <c:numCache>
                <c:formatCode>General</c:formatCode>
                <c:ptCount val="22"/>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11.8947</c:v>
                </c:pt>
                <c:pt idx="21">
                  <c:v>722.1176</c:v>
                </c:pt>
              </c:numCache>
            </c:numRef>
          </c:xVal>
          <c:yVal>
            <c:numRef>
              <c:f>Sheet1!$B$109:$B$130</c:f>
              <c:numCache>
                <c:formatCode>General</c:formatCode>
                <c:ptCount val="22"/>
                <c:pt idx="0">
                  <c:v>0.3229166666666667</c:v>
                </c:pt>
                <c:pt idx="1">
                  <c:v>0.42168674698795183</c:v>
                </c:pt>
                <c:pt idx="2">
                  <c:v>0.3963963963963964</c:v>
                </c:pt>
                <c:pt idx="3">
                  <c:v>0.390625</c:v>
                </c:pt>
                <c:pt idx="4">
                  <c:v>0.3108108108108108</c:v>
                </c:pt>
                <c:pt idx="5">
                  <c:v>0.3709677419354839</c:v>
                </c:pt>
                <c:pt idx="6">
                  <c:v>0.38848920863309355</c:v>
                </c:pt>
                <c:pt idx="7">
                  <c:v>0.37857142857142856</c:v>
                </c:pt>
                <c:pt idx="8">
                  <c:v>0.3652694610778443</c:v>
                </c:pt>
                <c:pt idx="9">
                  <c:v>0.3581395348837209</c:v>
                </c:pt>
                <c:pt idx="10">
                  <c:v>0.39344262295081966</c:v>
                </c:pt>
                <c:pt idx="11">
                  <c:v>0.36363636363636365</c:v>
                </c:pt>
                <c:pt idx="12">
                  <c:v>0.35</c:v>
                </c:pt>
                <c:pt idx="13">
                  <c:v>0.292817679558011</c:v>
                </c:pt>
                <c:pt idx="14">
                  <c:v>0.33884297520661155</c:v>
                </c:pt>
                <c:pt idx="15">
                  <c:v>0.3364485981308411</c:v>
                </c:pt>
                <c:pt idx="16">
                  <c:v>0.3924050632911392</c:v>
                </c:pt>
                <c:pt idx="17">
                  <c:v>0.375</c:v>
                </c:pt>
                <c:pt idx="18">
                  <c:v>0.29069767441860467</c:v>
                </c:pt>
                <c:pt idx="19">
                  <c:v>0.27941176470588236</c:v>
                </c:pt>
                <c:pt idx="20">
                  <c:v>0.2923076923076923</c:v>
                </c:pt>
                <c:pt idx="21">
                  <c:v>0.32075471698113206</c:v>
                </c:pt>
              </c:numCache>
            </c:numRef>
          </c:yVal>
          <c:smooth val="0"/>
          <c:extLst>
            <c:ext xmlns:c16="http://schemas.microsoft.com/office/drawing/2014/chart" uri="{C3380CC4-5D6E-409C-BE32-E72D297353CC}">
              <c16:uniqueId val="{00000002-F32D-48B7-BC20-E66FC6253BAD}"/>
            </c:ext>
          </c:extLst>
        </c:ser>
        <c:ser>
          <c:idx val="2"/>
          <c:order val="2"/>
          <c:tx>
            <c:strRef>
              <c:f>Sheet1!$B$132</c:f>
              <c:strCache>
                <c:ptCount val="1"/>
                <c:pt idx="0">
                  <c:v>Custom Linep3yQ</c:v>
                </c:pt>
              </c:strCache>
            </c:strRef>
          </c:tx>
          <c:spPr>
            <a:ln w="19050" cap="rnd">
              <a:solidFill>
                <a:srgbClr val="C00000"/>
              </a:solidFill>
              <a:prstDash val="sysDot"/>
              <a:round/>
            </a:ln>
            <a:effectLst/>
          </c:spPr>
          <c:marker>
            <c:symbol val="none"/>
          </c:marker>
          <c:xVal>
            <c:numRef>
              <c:f>Sheet1!$A$133:$A$134</c:f>
              <c:numCache>
                <c:formatCode>General</c:formatCode>
                <c:ptCount val="2"/>
                <c:pt idx="0">
                  <c:v>0</c:v>
                </c:pt>
                <c:pt idx="1">
                  <c:v>546.3272530268237</c:v>
                </c:pt>
              </c:numCache>
            </c:numRef>
          </c:xVal>
          <c:yVal>
            <c:numRef>
              <c:f>Sheet1!$B$133:$B$134</c:f>
              <c:numCache>
                <c:formatCode>General</c:formatCode>
                <c:ptCount val="2"/>
                <c:pt idx="0">
                  <c:v>0.4044456721486555</c:v>
                </c:pt>
                <c:pt idx="1">
                  <c:v>0.4044456721486555</c:v>
                </c:pt>
              </c:numCache>
            </c:numRef>
          </c:yVal>
          <c:smooth val="0"/>
          <c:extLst>
            <c:ext xmlns:c16="http://schemas.microsoft.com/office/drawing/2014/chart" uri="{C3380CC4-5D6E-409C-BE32-E72D297353CC}">
              <c16:uniqueId val="{00000003-F32D-48B7-BC20-E66FC6253BAD}"/>
            </c:ext>
          </c:extLst>
        </c:ser>
        <c:ser>
          <c:idx val="3"/>
          <c:order val="3"/>
          <c:tx>
            <c:strRef>
              <c:f>Sheet1!$B$13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7:$A$138</c:f>
              <c:numCache>
                <c:formatCode>General</c:formatCode>
                <c:ptCount val="2"/>
                <c:pt idx="0">
                  <c:v>546.3272530268237</c:v>
                </c:pt>
                <c:pt idx="1">
                  <c:v>546.3272530268237</c:v>
                </c:pt>
              </c:numCache>
            </c:numRef>
          </c:xVal>
          <c:yVal>
            <c:numRef>
              <c:f>Sheet1!$B$137:$B$138</c:f>
              <c:numCache>
                <c:formatCode>General</c:formatCode>
                <c:ptCount val="2"/>
                <c:pt idx="0">
                  <c:v>0.40444567214865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1:$A$142</c:f>
              <c:numCache>
                <c:formatCode>General</c:formatCode>
                <c:ptCount val="2"/>
                <c:pt idx="0">
                  <c:v>0</c:v>
                </c:pt>
                <c:pt idx="1">
                  <c:v>641.4212610820465</c:v>
                </c:pt>
              </c:numCache>
            </c:numRef>
          </c:xVal>
          <c:yVal>
            <c:numRef>
              <c:f>Sheet1!$B$141:$B$142</c:f>
              <c:numCache>
                <c:formatCode>General</c:formatCode>
                <c:ptCount val="2"/>
                <c:pt idx="0">
                  <c:v>0.3717481623421862</c:v>
                </c:pt>
                <c:pt idx="1">
                  <c:v>0.3717481623421862</c:v>
                </c:pt>
              </c:numCache>
            </c:numRef>
          </c:yVal>
          <c:smooth val="0"/>
          <c:extLst>
            <c:ext xmlns:c16="http://schemas.microsoft.com/office/drawing/2014/chart" uri="{C3380CC4-5D6E-409C-BE32-E72D297353CC}">
              <c16:uniqueId val="{0000000A-F32D-48B7-BC20-E66FC6253BAD}"/>
            </c:ext>
          </c:extLst>
        </c:ser>
        <c:ser>
          <c:idx val="5"/>
          <c:order val="5"/>
          <c:tx>
            <c:strRef>
              <c:f>Sheet1!$B$14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5:$A$146</c:f>
              <c:numCache>
                <c:formatCode>General</c:formatCode>
                <c:ptCount val="2"/>
                <c:pt idx="0">
                  <c:v>641.4212610820465</c:v>
                </c:pt>
                <c:pt idx="1">
                  <c:v>641.4212610820465</c:v>
                </c:pt>
              </c:numCache>
            </c:numRef>
          </c:xVal>
          <c:yVal>
            <c:numRef>
              <c:f>Sheet1!$B$145:$B$146</c:f>
              <c:numCache>
                <c:formatCode>General</c:formatCode>
                <c:ptCount val="2"/>
                <c:pt idx="0">
                  <c:v>0.37174816234218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8</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9:$A$173</c:f>
              <c:numCache>
                <c:formatCode>General</c:formatCode>
                <c:ptCount val="25"/>
                <c:pt idx="0">
                  <c:v>682.7419</c:v>
                </c:pt>
                <c:pt idx="1">
                  <c:v>682.8</c:v>
                </c:pt>
                <c:pt idx="2">
                  <c:v>721.5227</c:v>
                </c:pt>
                <c:pt idx="3">
                  <c:v>708.66</c:v>
                </c:pt>
                <c:pt idx="4">
                  <c:v>703.0435</c:v>
                </c:pt>
                <c:pt idx="5">
                  <c:v>715.4565</c:v>
                </c:pt>
                <c:pt idx="6">
                  <c:v>705.7963</c:v>
                </c:pt>
                <c:pt idx="7">
                  <c:v>682.1132</c:v>
                </c:pt>
                <c:pt idx="8">
                  <c:v>693.1475</c:v>
                </c:pt>
                <c:pt idx="9">
                  <c:v>691.0909</c:v>
                </c:pt>
                <c:pt idx="10">
                  <c:v>686.3611</c:v>
                </c:pt>
                <c:pt idx="11">
                  <c:v>702.3684</c:v>
                </c:pt>
                <c:pt idx="12">
                  <c:v>687.9857</c:v>
                </c:pt>
                <c:pt idx="13">
                  <c:v>675.1132</c:v>
                </c:pt>
                <c:pt idx="14">
                  <c:v>683.5854</c:v>
                </c:pt>
                <c:pt idx="15">
                  <c:v>689.8611</c:v>
                </c:pt>
                <c:pt idx="16">
                  <c:v>711.4194</c:v>
                </c:pt>
                <c:pt idx="17">
                  <c:v>710.2222</c:v>
                </c:pt>
                <c:pt idx="18">
                  <c:v>744.64</c:v>
                </c:pt>
                <c:pt idx="19">
                  <c:v>704.6316</c:v>
                </c:pt>
                <c:pt idx="20">
                  <c:v>711.8947</c:v>
                </c:pt>
                <c:pt idx="21">
                  <c:v>722.1176</c:v>
                </c:pt>
                <c:pt idx="22">
                  <c:v>641.4212610820465</c:v>
                </c:pt>
                <c:pt idx="23">
                  <c:v>546.3272530268237</c:v>
                </c:pt>
                <c:pt idx="24">
                  <c:v>0</c:v>
                </c:pt>
              </c:numCache>
            </c:numRef>
          </c:xVal>
          <c:yVal>
            <c:numRef>
              <c:f>Sheet1!$B$149:$B$173</c:f>
              <c:numCache>
                <c:formatCode>General</c:formatCode>
                <c:ptCount val="25"/>
                <c:pt idx="0">
                  <c:v>0.3575403060969772</c:v>
                </c:pt>
                <c:pt idx="1">
                  <c:v>0.35752032875709416</c:v>
                </c:pt>
                <c:pt idx="2">
                  <c:v>0.344205758376932</c:v>
                </c:pt>
                <c:pt idx="3">
                  <c:v>0.34862852136682976</c:v>
                </c:pt>
                <c:pt idx="4">
                  <c:v>0.35055972152952963</c:v>
                </c:pt>
                <c:pt idx="5">
                  <c:v>0.34629158521339076</c:v>
                </c:pt>
                <c:pt idx="6">
                  <c:v>0.34961318760130383</c:v>
                </c:pt>
                <c:pt idx="7">
                  <c:v>0.3577564808574667</c:v>
                </c:pt>
                <c:pt idx="8">
                  <c:v>0.35396240234677856</c:v>
                </c:pt>
                <c:pt idx="9">
                  <c:v>0.35466955204046835</c:v>
                </c:pt>
                <c:pt idx="10">
                  <c:v>0.3562958656752121</c:v>
                </c:pt>
                <c:pt idx="11">
                  <c:v>0.35079185065440077</c:v>
                </c:pt>
                <c:pt idx="12">
                  <c:v>0.35573725661542</c:v>
                </c:pt>
                <c:pt idx="13">
                  <c:v>0.3601633892771051</c:v>
                </c:pt>
                <c:pt idx="14">
                  <c:v>0.3572502736324107</c:v>
                </c:pt>
                <c:pt idx="15">
                  <c:v>0.35509241146539283</c:v>
                </c:pt>
                <c:pt idx="16">
                  <c:v>0.34767971806780823</c:v>
                </c:pt>
                <c:pt idx="17">
                  <c:v>0.3480913681763784</c:v>
                </c:pt>
                <c:pt idx="18">
                  <c:v>0.33625701208988795</c:v>
                </c:pt>
                <c:pt idx="19">
                  <c:v>0.35001366277792567</c:v>
                </c:pt>
                <c:pt idx="20">
                  <c:v>0.3475162889861148</c:v>
                </c:pt>
                <c:pt idx="21">
                  <c:v>0.3440012055456687</c:v>
                </c:pt>
                <c:pt idx="22">
                  <c:v>0.3717481623421862</c:v>
                </c:pt>
                <c:pt idx="23">
                  <c:v>0.40444567214865546</c:v>
                </c:pt>
                <c:pt idx="24">
                  <c:v>0.592297052889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73170731707317"/>
          <c:min val="0.1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888194408417045</c:v>
                </c:pt>
                <c:pt idx="1">
                  <c:v>0.7804846987175855</c:v>
                </c:pt>
                <c:pt idx="2">
                  <c:v>0.7760959403864758</c:v>
                </c:pt>
                <c:pt idx="3">
                  <c:v>0.780203654975443</c:v>
                </c:pt>
                <c:pt idx="4">
                  <c:v>0.810930087141901</c:v>
                </c:pt>
                <c:pt idx="5">
                  <c:v>0.7216948219257303</c:v>
                </c:pt>
                <c:pt idx="6">
                  <c:v>0.6652365246630592</c:v>
                </c:pt>
                <c:pt idx="7">
                  <c:v>0.795285423988819</c:v>
                </c:pt>
                <c:pt idx="8">
                  <c:v>0.7138206180868858</c:v>
                </c:pt>
                <c:pt idx="9">
                  <c:v>0.6698829626248246</c:v>
                </c:pt>
                <c:pt idx="10">
                  <c:v>0.7511662465351875</c:v>
                </c:pt>
                <c:pt idx="11">
                  <c:v>0.7325042131762168</c:v>
                </c:pt>
                <c:pt idx="12">
                  <c:v>0.7016829716006185</c:v>
                </c:pt>
                <c:pt idx="13">
                  <c:v>0.7121553199578895</c:v>
                </c:pt>
                <c:pt idx="14">
                  <c:v>0.6473311274895386</c:v>
                </c:pt>
                <c:pt idx="15">
                  <c:v>0.6353522154417618</c:v>
                </c:pt>
                <c:pt idx="16">
                  <c:v>0.68184031859943</c:v>
                </c:pt>
                <c:pt idx="17">
                  <c:v>0.719569961051727</c:v>
                </c:pt>
                <c:pt idx="18">
                  <c:v>0.7663785988435695</c:v>
                </c:pt>
                <c:pt idx="19">
                  <c:v>0.7054364868969113</c:v>
                </c:pt>
                <c:pt idx="20">
                  <c:v>0.7486318612700523</c:v>
                </c:pt>
                <c:pt idx="21">
                  <c:v>0.6533385113268608</c:v>
                </c:pt>
                <c:pt idx="22">
                  <c:v>0.726509186351706</c:v>
                </c:pt>
                <c:pt idx="23">
                  <c:v>0.6803931981679702</c:v>
                </c:pt>
                <c:pt idx="24">
                  <c:v>0.6686833040089383</c:v>
                </c:pt>
                <c:pt idx="25">
                  <c:v>0.7099390428234318</c:v>
                </c:pt>
                <c:pt idx="26">
                  <c:v>0.7110593963428251</c:v>
                </c:pt>
                <c:pt idx="27">
                  <c:v>0.8017598200384584</c:v>
                </c:pt>
                <c:pt idx="28">
                  <c:v>0.6808176254589964</c:v>
                </c:pt>
                <c:pt idx="29">
                  <c:v>0.698351120479671</c:v>
                </c:pt>
                <c:pt idx="30">
                  <c:v>0.7119532968464947</c:v>
                </c:pt>
                <c:pt idx="31">
                  <c:v>0.7532031639459498</c:v>
                </c:pt>
                <c:pt idx="32">
                  <c:v>0.7754771384817326</c:v>
                </c:pt>
                <c:pt idx="33">
                  <c:v>0.7005121819166216</c:v>
                </c:pt>
                <c:pt idx="34">
                  <c:v>0.6988844528939586</c:v>
                </c:pt>
                <c:pt idx="35">
                  <c:v>0.715249886434563</c:v>
                </c:pt>
                <c:pt idx="36">
                  <c:v>0.6785621272598643</c:v>
                </c:pt>
                <c:pt idx="37">
                  <c:v>0.6727047476965082</c:v>
                </c:pt>
                <c:pt idx="38">
                  <c:v>0.6727134518536889</c:v>
                </c:pt>
                <c:pt idx="39">
                  <c:v>0.6493624300228074</c:v>
                </c:pt>
                <c:pt idx="40">
                  <c:v>0.7138009714945746</c:v>
                </c:pt>
                <c:pt idx="41">
                  <c:v>0.677943581357318</c:v>
                </c:pt>
                <c:pt idx="42">
                  <c:v>0.6828451882845189</c:v>
                </c:pt>
                <c:pt idx="43">
                  <c:v>0.7285899094437257</c:v>
                </c:pt>
                <c:pt idx="44">
                  <c:v>0.6878165885469737</c:v>
                </c:pt>
                <c:pt idx="45">
                  <c:v>0.681929700705426</c:v>
                </c:pt>
                <c:pt idx="46">
                  <c:v>0.6950722283787409</c:v>
                </c:pt>
                <c:pt idx="47">
                  <c:v>0.6950998968008255</c:v>
                </c:pt>
                <c:pt idx="48">
                  <c:v>0.7610356396631974</c:v>
                </c:pt>
                <c:pt idx="49">
                  <c:v>0.7258271749609461</c:v>
                </c:pt>
                <c:pt idx="50">
                  <c:v>0.7753347321921591</c:v>
                </c:pt>
                <c:pt idx="51">
                  <c:v>0.7971808682425745</c:v>
                </c:pt>
                <c:pt idx="52">
                  <c:v>0.7781936772046589</c:v>
                </c:pt>
                <c:pt idx="53">
                  <c:v>0.7440749583111644</c:v>
                </c:pt>
                <c:pt idx="54">
                  <c:v>0.7532918854799387</c:v>
                </c:pt>
                <c:pt idx="55">
                  <c:v>0.7753814538287582</c:v>
                </c:pt>
                <c:pt idx="56">
                  <c:v>0.7655435835356107</c:v>
                </c:pt>
                <c:pt idx="57">
                  <c:v>0.7045185613978581</c:v>
                </c:pt>
                <c:pt idx="58">
                  <c:v>0.696813384253457</c:v>
                </c:pt>
                <c:pt idx="59">
                  <c:v>0.7354132024007862</c:v>
                </c:pt>
                <c:pt idx="60">
                  <c:v>0.7043977061441895</c:v>
                </c:pt>
                <c:pt idx="61">
                  <c:v>0.6945152092530354</c:v>
                </c:pt>
                <c:pt idx="62">
                  <c:v>0.7488466336078203</c:v>
                </c:pt>
                <c:pt idx="63">
                  <c:v>0.7224849640151179</c:v>
                </c:pt>
                <c:pt idx="64">
                  <c:v>0.7777055692644986</c:v>
                </c:pt>
                <c:pt idx="65">
                  <c:v>0.725168513652462</c:v>
                </c:pt>
                <c:pt idx="66">
                  <c:v>0.7176348063449532</c:v>
                </c:pt>
                <c:pt idx="67">
                  <c:v>0.7626787706663961</c:v>
                </c:pt>
                <c:pt idx="68">
                  <c:v>0.7491347651276272</c:v>
                </c:pt>
                <c:pt idx="69">
                  <c:v>0.8037520482991065</c:v>
                </c:pt>
                <c:pt idx="70">
                  <c:v>0.8054820646921139</c:v>
                </c:pt>
                <c:pt idx="71">
                  <c:v>0.7932697055107396</c:v>
                </c:pt>
                <c:pt idx="72">
                  <c:v>0.8418680415322782</c:v>
                </c:pt>
                <c:pt idx="73">
                  <c:v>0.7559578052762003</c:v>
                </c:pt>
                <c:pt idx="74">
                  <c:v>0.7947273346189787</c:v>
                </c:pt>
                <c:pt idx="75">
                  <c:v>0.7594190709834558</c:v>
                </c:pt>
                <c:pt idx="76">
                  <c:v>0.7531545409456412</c:v>
                </c:pt>
                <c:pt idx="77">
                  <c:v>0.7319930046229141</c:v>
                </c:pt>
                <c:pt idx="78">
                  <c:v>0.7908278692134569</c:v>
                </c:pt>
                <c:pt idx="79">
                  <c:v>0.7840112751761062</c:v>
                </c:pt>
                <c:pt idx="80">
                  <c:v>0.8371197539393685</c:v>
                </c:pt>
                <c:pt idx="81">
                  <c:v>0.8455062009924823</c:v>
                </c:pt>
                <c:pt idx="82">
                  <c:v>0.7658233885819522</c:v>
                </c:pt>
                <c:pt idx="83">
                  <c:v>0.7116420996818665</c:v>
                </c:pt>
                <c:pt idx="84">
                  <c:v>0.7985377536598534</c:v>
                </c:pt>
                <c:pt idx="85">
                  <c:v>0.584337694664045</c:v>
                </c:pt>
                <c:pt idx="86">
                  <c:v>0.7122148288973384</c:v>
                </c:pt>
                <c:pt idx="87">
                  <c:v>0.7829969117708659</c:v>
                </c:pt>
                <c:pt idx="88">
                  <c:v>0.7485101696429477</c:v>
                </c:pt>
                <c:pt idx="89">
                  <c:v>0.7356570693532406</c:v>
                </c:pt>
                <c:pt idx="90">
                  <c:v>0.7417508018751542</c:v>
                </c:pt>
                <c:pt idx="91">
                  <c:v>0.715152706656913</c:v>
                </c:pt>
                <c:pt idx="92">
                  <c:v>0.6996160318323855</c:v>
                </c:pt>
                <c:pt idx="93">
                  <c:v>0.7589725859125006</c:v>
                </c:pt>
                <c:pt idx="94">
                  <c:v>0.8248196984924623</c:v>
                </c:pt>
                <c:pt idx="95">
                  <c:v>0.7989360989878591</c:v>
                </c:pt>
                <c:pt idx="96">
                  <c:v>0.8545025341970693</c:v>
                </c:pt>
                <c:pt idx="97">
                  <c:v>0.7914364256639297</c:v>
                </c:pt>
                <c:pt idx="98">
                  <c:v>0.7570277924831162</c:v>
                </c:pt>
                <c:pt idx="99">
                  <c:v>0.8544856928499073</c:v>
                </c:pt>
                <c:pt idx="100">
                  <c:v>0.830892467711948</c:v>
                </c:pt>
                <c:pt idx="101">
                  <c:v>0.7508975651689879</c:v>
                </c:pt>
                <c:pt idx="102">
                  <c:v>0.7599189445370916</c:v>
                </c:pt>
                <c:pt idx="103">
                  <c:v>0.47054934144128246</c:v>
                </c:pt>
                <c:pt idx="104">
                  <c:v>0.5893953940185416</c:v>
                </c:pt>
              </c:numCache>
            </c:numRef>
          </c:xVal>
          <c:yVal>
            <c:numRef>
              <c:f>Sheet1!$B$2:$B$106</c:f>
              <c:numCache>
                <c:formatCode>General</c:formatCode>
                <c:ptCount val="105"/>
                <c:pt idx="0">
                  <c:v>0.29927007299270075</c:v>
                </c:pt>
                <c:pt idx="1">
                  <c:v>0.38513513513513514</c:v>
                </c:pt>
                <c:pt idx="2">
                  <c:v>0.2922077922077922</c:v>
                </c:pt>
                <c:pt idx="3">
                  <c:v>0.4161490683229814</c:v>
                </c:pt>
                <c:pt idx="4">
                  <c:v>0.32142857142857145</c:v>
                </c:pt>
                <c:pt idx="5">
                  <c:v>0.37888198757763975</c:v>
                </c:pt>
                <c:pt idx="6">
                  <c:v>0.4140127388535032</c:v>
                </c:pt>
                <c:pt idx="7">
                  <c:v>0.37579617834394907</c:v>
                </c:pt>
                <c:pt idx="8">
                  <c:v>0.34782608695652173</c:v>
                </c:pt>
                <c:pt idx="9">
                  <c:v>0.3169642857142857</c:v>
                </c:pt>
                <c:pt idx="10">
                  <c:v>0.3549618320610687</c:v>
                </c:pt>
                <c:pt idx="11">
                  <c:v>0.39662447257383965</c:v>
                </c:pt>
                <c:pt idx="12">
                  <c:v>0.36403508771929827</c:v>
                </c:pt>
                <c:pt idx="13">
                  <c:v>0.3755274261603376</c:v>
                </c:pt>
                <c:pt idx="14">
                  <c:v>0.35684647302904565</c:v>
                </c:pt>
                <c:pt idx="15">
                  <c:v>0.2962962962962963</c:v>
                </c:pt>
                <c:pt idx="16">
                  <c:v>0.2608695652173913</c:v>
                </c:pt>
                <c:pt idx="17">
                  <c:v>0.256</c:v>
                </c:pt>
                <c:pt idx="18">
                  <c:v>0.20666666666666667</c:v>
                </c:pt>
                <c:pt idx="19">
                  <c:v>0.19387755102040816</c:v>
                </c:pt>
                <c:pt idx="20">
                  <c:v>0.16417910447761194</c:v>
                </c:pt>
                <c:pt idx="21">
                  <c:v>0.20833333333333334</c:v>
                </c:pt>
                <c:pt idx="22">
                  <c:v>0.21487603305785125</c:v>
                </c:pt>
                <c:pt idx="23">
                  <c:v>0.1619718309859155</c:v>
                </c:pt>
                <c:pt idx="24">
                  <c:v>0.21359223300970873</c:v>
                </c:pt>
                <c:pt idx="25">
                  <c:v>0.20652173913043478</c:v>
                </c:pt>
                <c:pt idx="26">
                  <c:v>0.41025641025641024</c:v>
                </c:pt>
                <c:pt idx="27">
                  <c:v>0.3</c:v>
                </c:pt>
                <c:pt idx="28">
                  <c:v>0.35185185185185186</c:v>
                </c:pt>
                <c:pt idx="29">
                  <c:v>0.3684210526315789</c:v>
                </c:pt>
                <c:pt idx="30">
                  <c:v>0.37777777777777777</c:v>
                </c:pt>
                <c:pt idx="31">
                  <c:v>0.4</c:v>
                </c:pt>
                <c:pt idx="32">
                  <c:v>0.40476190476190477</c:v>
                </c:pt>
                <c:pt idx="33">
                  <c:v>0.30952380952380953</c:v>
                </c:pt>
                <c:pt idx="34">
                  <c:v>0.48214285714285715</c:v>
                </c:pt>
                <c:pt idx="35">
                  <c:v>0.3472222222222222</c:v>
                </c:pt>
                <c:pt idx="36">
                  <c:v>0.4246575342465753</c:v>
                </c:pt>
                <c:pt idx="37">
                  <c:v>0.35714285714285715</c:v>
                </c:pt>
                <c:pt idx="38">
                  <c:v>0.3584905660377358</c:v>
                </c:pt>
                <c:pt idx="39">
                  <c:v>0.3333333333333333</c:v>
                </c:pt>
                <c:pt idx="40">
                  <c:v>0.3235294117647059</c:v>
                </c:pt>
                <c:pt idx="41">
                  <c:v>0.29411764705882354</c:v>
                </c:pt>
                <c:pt idx="42">
                  <c:v>0.38961038961038963</c:v>
                </c:pt>
                <c:pt idx="43">
                  <c:v>0.2897196261682243</c:v>
                </c:pt>
                <c:pt idx="44">
                  <c:v>0.3644067796610169</c:v>
                </c:pt>
                <c:pt idx="45">
                  <c:v>0.3879781420765027</c:v>
                </c:pt>
                <c:pt idx="46">
                  <c:v>0.38497652582159625</c:v>
                </c:pt>
                <c:pt idx="47">
                  <c:v>0.28292682926829266</c:v>
                </c:pt>
                <c:pt idx="48">
                  <c:v>0.3067226890756303</c:v>
                </c:pt>
                <c:pt idx="49">
                  <c:v>0.3248730964467005</c:v>
                </c:pt>
                <c:pt idx="50">
                  <c:v>0.32972972972972975</c:v>
                </c:pt>
                <c:pt idx="51">
                  <c:v>0.3567251461988304</c:v>
                </c:pt>
                <c:pt idx="52">
                  <c:v>0.366412213740458</c:v>
                </c:pt>
                <c:pt idx="53">
                  <c:v>0.3828125</c:v>
                </c:pt>
                <c:pt idx="54">
                  <c:v>0.39473684210526316</c:v>
                </c:pt>
                <c:pt idx="55">
                  <c:v>0.33884297520661155</c:v>
                </c:pt>
                <c:pt idx="56">
                  <c:v>0.3561643835616438</c:v>
                </c:pt>
                <c:pt idx="57">
                  <c:v>0.3026315789473684</c:v>
                </c:pt>
                <c:pt idx="58">
                  <c:v>0.3668639053254438</c:v>
                </c:pt>
                <c:pt idx="59">
                  <c:v>0.3333333333333333</c:v>
                </c:pt>
                <c:pt idx="60">
                  <c:v>0.3423913043478261</c:v>
                </c:pt>
                <c:pt idx="61">
                  <c:v>0.43455497382198954</c:v>
                </c:pt>
                <c:pt idx="62">
                  <c:v>0.47035573122529645</c:v>
                </c:pt>
                <c:pt idx="63">
                  <c:v>0.41729323308270677</c:v>
                </c:pt>
                <c:pt idx="64">
                  <c:v>0.40808823529411764</c:v>
                </c:pt>
                <c:pt idx="65">
                  <c:v>0.44129554655870445</c:v>
                </c:pt>
                <c:pt idx="66">
                  <c:v>0.44029850746268656</c:v>
                </c:pt>
                <c:pt idx="67">
                  <c:v>0.4371584699453552</c:v>
                </c:pt>
                <c:pt idx="68">
                  <c:v>0.4112903225806452</c:v>
                </c:pt>
                <c:pt idx="69">
                  <c:v>0.4435483870967742</c:v>
                </c:pt>
                <c:pt idx="70">
                  <c:v>0.4326923076923077</c:v>
                </c:pt>
                <c:pt idx="71">
                  <c:v>0.43157894736842106</c:v>
                </c:pt>
                <c:pt idx="72">
                  <c:v>0.4578313253012048</c:v>
                </c:pt>
                <c:pt idx="73">
                  <c:v>0.46511627906976744</c:v>
                </c:pt>
                <c:pt idx="74">
                  <c:v>0.45121951219512196</c:v>
                </c:pt>
                <c:pt idx="75">
                  <c:v>0.4727272727272727</c:v>
                </c:pt>
                <c:pt idx="76">
                  <c:v>0.4262295081967213</c:v>
                </c:pt>
                <c:pt idx="77">
                  <c:v>0.54</c:v>
                </c:pt>
                <c:pt idx="78">
                  <c:v>0.42592592592592593</c:v>
                </c:pt>
                <c:pt idx="79">
                  <c:v>0.38095238095238093</c:v>
                </c:pt>
                <c:pt idx="80">
                  <c:v>0.375</c:v>
                </c:pt>
                <c:pt idx="81">
                  <c:v>0.375</c:v>
                </c:pt>
                <c:pt idx="82">
                  <c:v>0.48717948717948717</c:v>
                </c:pt>
                <c:pt idx="83">
                  <c:v>0.4857142857142857</c:v>
                </c:pt>
                <c:pt idx="84">
                  <c:v>0.5</c:v>
                </c:pt>
                <c:pt idx="85">
                  <c:v>0.475</c:v>
                </c:pt>
                <c:pt idx="86">
                  <c:v>0.4</c:v>
                </c:pt>
                <c:pt idx="87">
                  <c:v>0.5</c:v>
                </c:pt>
                <c:pt idx="88">
                  <c:v>0.38461538461538464</c:v>
                </c:pt>
                <c:pt idx="89">
                  <c:v>0.3888888888888889</c:v>
                </c:pt>
                <c:pt idx="90">
                  <c:v>0.5135135135135135</c:v>
                </c:pt>
                <c:pt idx="91">
                  <c:v>0.4782608695652174</c:v>
                </c:pt>
                <c:pt idx="92">
                  <c:v>0.37037037037037035</c:v>
                </c:pt>
                <c:pt idx="93">
                  <c:v>0.5</c:v>
                </c:pt>
                <c:pt idx="94">
                  <c:v>0.4339622641509434</c:v>
                </c:pt>
                <c:pt idx="95">
                  <c:v>0.453781512605042</c:v>
                </c:pt>
                <c:pt idx="96">
                  <c:v>0.4024390243902439</c:v>
                </c:pt>
                <c:pt idx="97">
                  <c:v>0.47368421052631576</c:v>
                </c:pt>
                <c:pt idx="98">
                  <c:v>0.425</c:v>
                </c:pt>
                <c:pt idx="99">
                  <c:v>0.3407821229050279</c:v>
                </c:pt>
                <c:pt idx="100">
                  <c:v>0.38735177865612647</c:v>
                </c:pt>
                <c:pt idx="101">
                  <c:v>0.34415584415584416</c:v>
                </c:pt>
                <c:pt idx="102">
                  <c:v>0.38461538461538464</c:v>
                </c:pt>
                <c:pt idx="103">
                  <c:v>0.4589041095890411</c:v>
                </c:pt>
                <c:pt idx="104">
                  <c:v>0.4210526315789473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624123093592201</c:v>
                </c:pt>
                <c:pt idx="1">
                  <c:v>0.7427163922933016</c:v>
                </c:pt>
                <c:pt idx="2">
                  <c:v>0.8610090640029596</c:v>
                </c:pt>
                <c:pt idx="3">
                  <c:v>0.7114316866727534</c:v>
                </c:pt>
                <c:pt idx="4">
                  <c:v>0.7197733564013841</c:v>
                </c:pt>
                <c:pt idx="5">
                  <c:v>0.8001312463359501</c:v>
                </c:pt>
                <c:pt idx="6">
                  <c:v>0.7696136025369696</c:v>
                </c:pt>
                <c:pt idx="7">
                  <c:v>0.7501027890113995</c:v>
                </c:pt>
                <c:pt idx="8">
                  <c:v>0.772506809734902</c:v>
                </c:pt>
                <c:pt idx="9">
                  <c:v>0.7705476897712518</c:v>
                </c:pt>
                <c:pt idx="10">
                  <c:v>0.8126363750908583</c:v>
                </c:pt>
                <c:pt idx="11">
                  <c:v>0.8455708812923851</c:v>
                </c:pt>
                <c:pt idx="12">
                  <c:v>0.7916617385619836</c:v>
                </c:pt>
                <c:pt idx="13">
                  <c:v>0.8501956778289324</c:v>
                </c:pt>
                <c:pt idx="14">
                  <c:v>0.8690524220828711</c:v>
                </c:pt>
                <c:pt idx="15">
                  <c:v>0.8308374214648421</c:v>
                </c:pt>
                <c:pt idx="16">
                  <c:v>0.8964912280701754</c:v>
                </c:pt>
                <c:pt idx="17">
                  <c:v>0.8015722214764069</c:v>
                </c:pt>
                <c:pt idx="18">
                  <c:v>0.7102607394112195</c:v>
                </c:pt>
                <c:pt idx="19">
                  <c:v>0.782973237722017</c:v>
                </c:pt>
                <c:pt idx="20">
                  <c:v>0.8293269699845571</c:v>
                </c:pt>
                <c:pt idx="21">
                  <c:v>0.7343803496132848</c:v>
                </c:pt>
                <c:pt idx="22">
                  <c:v>0.7684562025316456</c:v>
                </c:pt>
                <c:pt idx="23">
                  <c:v>0.7096166262291465</c:v>
                </c:pt>
                <c:pt idx="24">
                  <c:v>0.7694044030482642</c:v>
                </c:pt>
                <c:pt idx="25">
                  <c:v>0.8241430312083664</c:v>
                </c:pt>
                <c:pt idx="26">
                  <c:v>0.875555595163565</c:v>
                </c:pt>
                <c:pt idx="27">
                  <c:v>0.795426987391896</c:v>
                </c:pt>
                <c:pt idx="28">
                  <c:v>0.7465154319580579</c:v>
                </c:pt>
                <c:pt idx="29">
                  <c:v>0.7977730844281122</c:v>
                </c:pt>
                <c:pt idx="30">
                  <c:v>0.7497549617205931</c:v>
                </c:pt>
                <c:pt idx="31">
                  <c:v>0.7441102452504498</c:v>
                </c:pt>
                <c:pt idx="32">
                  <c:v>0.742485495485152</c:v>
                </c:pt>
                <c:pt idx="33">
                  <c:v>0.6938044152404859</c:v>
                </c:pt>
                <c:pt idx="34">
                  <c:v>0.7014003395444632</c:v>
                </c:pt>
                <c:pt idx="35">
                  <c:v>0.6923232622666213</c:v>
                </c:pt>
                <c:pt idx="36">
                  <c:v>0.7506837786661056</c:v>
                </c:pt>
                <c:pt idx="37">
                  <c:v>0.7401193293098202</c:v>
                </c:pt>
                <c:pt idx="38">
                  <c:v>0.7910104393205664</c:v>
                </c:pt>
                <c:pt idx="39">
                  <c:v>0.6883388249105673</c:v>
                </c:pt>
                <c:pt idx="40">
                  <c:v>0.7302395210673905</c:v>
                </c:pt>
                <c:pt idx="41">
                  <c:v>0.8140030205989717</c:v>
                </c:pt>
                <c:pt idx="42">
                  <c:v>0.683710503976999</c:v>
                </c:pt>
                <c:pt idx="43">
                  <c:v>0.682187777604565</c:v>
                </c:pt>
                <c:pt idx="44">
                  <c:v>0.7614445540116539</c:v>
                </c:pt>
                <c:pt idx="45">
                  <c:v>0.7367235013032145</c:v>
                </c:pt>
                <c:pt idx="46">
                  <c:v>0.771143739228714</c:v>
                </c:pt>
                <c:pt idx="47">
                  <c:v>0.7329694267515924</c:v>
                </c:pt>
                <c:pt idx="48">
                  <c:v>0.7273357907749078</c:v>
                </c:pt>
                <c:pt idx="49">
                  <c:v>0.71030965438382</c:v>
                </c:pt>
                <c:pt idx="50">
                  <c:v>0.7349599456405121</c:v>
                </c:pt>
                <c:pt idx="51">
                  <c:v>0.7220306399911572</c:v>
                </c:pt>
              </c:numCache>
            </c:numRef>
          </c:xVal>
          <c:yVal>
            <c:numRef>
              <c:f>Sheet1!$B$109:$B$160</c:f>
              <c:numCache>
                <c:formatCode>General</c:formatCode>
                <c:ptCount val="52"/>
                <c:pt idx="0">
                  <c:v>0.3854166666666667</c:v>
                </c:pt>
                <c:pt idx="1">
                  <c:v>0.27710843373493976</c:v>
                </c:pt>
                <c:pt idx="2">
                  <c:v>0.35135135135135137</c:v>
                </c:pt>
                <c:pt idx="3">
                  <c:v>0.3671875</c:v>
                </c:pt>
                <c:pt idx="4">
                  <c:v>0.46621621621621623</c:v>
                </c:pt>
                <c:pt idx="5">
                  <c:v>0.3709677419354839</c:v>
                </c:pt>
                <c:pt idx="6">
                  <c:v>0.4028776978417266</c:v>
                </c:pt>
                <c:pt idx="7">
                  <c:v>0.42142857142857143</c:v>
                </c:pt>
                <c:pt idx="8">
                  <c:v>0.39520958083832336</c:v>
                </c:pt>
                <c:pt idx="9">
                  <c:v>0.3813953488372093</c:v>
                </c:pt>
                <c:pt idx="10">
                  <c:v>0.36065573770491804</c:v>
                </c:pt>
                <c:pt idx="11">
                  <c:v>0.32057416267942584</c:v>
                </c:pt>
                <c:pt idx="12">
                  <c:v>0.365</c:v>
                </c:pt>
                <c:pt idx="13">
                  <c:v>0.3701657458563536</c:v>
                </c:pt>
                <c:pt idx="14">
                  <c:v>0.34710743801652894</c:v>
                </c:pt>
                <c:pt idx="15">
                  <c:v>0.37383177570093457</c:v>
                </c:pt>
                <c:pt idx="16">
                  <c:v>0.2911392405063291</c:v>
                </c:pt>
                <c:pt idx="17">
                  <c:v>0.3611111111111111</c:v>
                </c:pt>
                <c:pt idx="18">
                  <c:v>0.4418604651162791</c:v>
                </c:pt>
                <c:pt idx="19">
                  <c:v>0.38235294117647056</c:v>
                </c:pt>
                <c:pt idx="20">
                  <c:v>0.40816326530612246</c:v>
                </c:pt>
                <c:pt idx="21">
                  <c:v>0.43636363636363634</c:v>
                </c:pt>
                <c:pt idx="22">
                  <c:v>0.4461538461538462</c:v>
                </c:pt>
                <c:pt idx="23">
                  <c:v>0.4722222222222222</c:v>
                </c:pt>
                <c:pt idx="24">
                  <c:v>0.42</c:v>
                </c:pt>
                <c:pt idx="25">
                  <c:v>0.3829787234042553</c:v>
                </c:pt>
                <c:pt idx="26">
                  <c:v>0.39622641509433965</c:v>
                </c:pt>
                <c:pt idx="27">
                  <c:v>0.4186046511627907</c:v>
                </c:pt>
                <c:pt idx="28">
                  <c:v>0.5510204081632653</c:v>
                </c:pt>
                <c:pt idx="29">
                  <c:v>0.4</c:v>
                </c:pt>
                <c:pt idx="30">
                  <c:v>0.45714285714285713</c:v>
                </c:pt>
                <c:pt idx="31">
                  <c:v>0.5217391304347826</c:v>
                </c:pt>
                <c:pt idx="32">
                  <c:v>0.4411764705882353</c:v>
                </c:pt>
                <c:pt idx="33">
                  <c:v>0.5306122448979592</c:v>
                </c:pt>
                <c:pt idx="34">
                  <c:v>0.5147058823529411</c:v>
                </c:pt>
                <c:pt idx="35">
                  <c:v>0.4745762711864407</c:v>
                </c:pt>
                <c:pt idx="36">
                  <c:v>0.43243243243243246</c:v>
                </c:pt>
                <c:pt idx="37">
                  <c:v>0.38235294117647056</c:v>
                </c:pt>
                <c:pt idx="38">
                  <c:v>0.15942028985507245</c:v>
                </c:pt>
                <c:pt idx="39">
                  <c:v>0.5434782608695652</c:v>
                </c:pt>
                <c:pt idx="40">
                  <c:v>0.48148148148148145</c:v>
                </c:pt>
                <c:pt idx="41">
                  <c:v>0.4696969696969697</c:v>
                </c:pt>
                <c:pt idx="42">
                  <c:v>0.421875</c:v>
                </c:pt>
                <c:pt idx="43">
                  <c:v>0.4411764705882353</c:v>
                </c:pt>
                <c:pt idx="44">
                  <c:v>0.46464646464646464</c:v>
                </c:pt>
                <c:pt idx="45">
                  <c:v>0.49079754601226994</c:v>
                </c:pt>
                <c:pt idx="46">
                  <c:v>0.46564885496183206</c:v>
                </c:pt>
                <c:pt idx="47">
                  <c:v>0.41379310344827586</c:v>
                </c:pt>
                <c:pt idx="48">
                  <c:v>0.4244604316546763</c:v>
                </c:pt>
                <c:pt idx="49">
                  <c:v>0.5271739130434783</c:v>
                </c:pt>
                <c:pt idx="50">
                  <c:v>0.5467128027681661</c:v>
                </c:pt>
                <c:pt idx="51">
                  <c:v>0.484076433121019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721487179491767</c:v>
                </c:pt>
              </c:numCache>
            </c:numRef>
          </c:xVal>
          <c:yVal>
            <c:numRef>
              <c:f>Sheet1!$B$163:$B$164</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721487179491767</c:v>
                </c:pt>
                <c:pt idx="1">
                  <c:v>0.6721487179491767</c:v>
                </c:pt>
              </c:numCache>
            </c:numRef>
          </c:xVal>
          <c:yVal>
            <c:numRef>
              <c:f>Sheet1!$B$167:$B$168</c:f>
              <c:numCache>
                <c:formatCode>General</c:formatCode>
                <c:ptCount val="2"/>
                <c:pt idx="0">
                  <c:v>0.495605895146834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721487179491767</c:v>
                </c:pt>
              </c:numCache>
            </c:numRef>
          </c:xVal>
          <c:yVal>
            <c:numRef>
              <c:f>Sheet1!$B$171:$B$172</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721487179491767</c:v>
                </c:pt>
                <c:pt idx="1">
                  <c:v>0.6721487179491767</c:v>
                </c:pt>
              </c:numCache>
            </c:numRef>
          </c:xVal>
          <c:yVal>
            <c:numRef>
              <c:f>Sheet1!$B$175:$B$176</c:f>
              <c:numCache>
                <c:formatCode>General</c:formatCode>
                <c:ptCount val="2"/>
                <c:pt idx="0">
                  <c:v>0.495605895146834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9766456339479</c:v>
                </c:pt>
              </c:numCache>
            </c:numRef>
          </c:xVal>
          <c:yVal>
            <c:numRef>
              <c:f>Sheet1!$B$179:$B$180</c:f>
              <c:numCache>
                <c:formatCode>General</c:formatCode>
                <c:ptCount val="2"/>
                <c:pt idx="0">
                  <c:v>0.47500136402249493</c:v>
                </c:pt>
                <c:pt idx="1">
                  <c:v>0.475001364022494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9766456339479</c:v>
                </c:pt>
                <c:pt idx="1">
                  <c:v>0.69766456339479</c:v>
                </c:pt>
              </c:numCache>
            </c:numRef>
          </c:xVal>
          <c:yVal>
            <c:numRef>
              <c:f>Sheet1!$B$183:$B$184</c:f>
              <c:numCache>
                <c:formatCode>General</c:formatCode>
                <c:ptCount val="2"/>
                <c:pt idx="0">
                  <c:v>0.475001364022494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624123093592201</c:v>
                </c:pt>
                <c:pt idx="1">
                  <c:v>0.7427163922933016</c:v>
                </c:pt>
                <c:pt idx="2">
                  <c:v>0.8610090640029596</c:v>
                </c:pt>
                <c:pt idx="3">
                  <c:v>0.7114316866727534</c:v>
                </c:pt>
                <c:pt idx="4">
                  <c:v>0.7197733564013841</c:v>
                </c:pt>
                <c:pt idx="5">
                  <c:v>0.8001312463359501</c:v>
                </c:pt>
                <c:pt idx="6">
                  <c:v>0.7696136025369696</c:v>
                </c:pt>
                <c:pt idx="7">
                  <c:v>0.7501027890113995</c:v>
                </c:pt>
                <c:pt idx="8">
                  <c:v>0.772506809734902</c:v>
                </c:pt>
                <c:pt idx="9">
                  <c:v>0.7705476897712518</c:v>
                </c:pt>
                <c:pt idx="10">
                  <c:v>0.8126363750908583</c:v>
                </c:pt>
                <c:pt idx="11">
                  <c:v>0.8455708812923851</c:v>
                </c:pt>
                <c:pt idx="12">
                  <c:v>0.7916617385619836</c:v>
                </c:pt>
                <c:pt idx="13">
                  <c:v>0.8501956778289324</c:v>
                </c:pt>
                <c:pt idx="14">
                  <c:v>0.8690524220828711</c:v>
                </c:pt>
                <c:pt idx="15">
                  <c:v>0.8308374214648421</c:v>
                </c:pt>
                <c:pt idx="16">
                  <c:v>0.8964912280701754</c:v>
                </c:pt>
                <c:pt idx="17">
                  <c:v>0.8015722214764069</c:v>
                </c:pt>
                <c:pt idx="18">
                  <c:v>0.7102607394112195</c:v>
                </c:pt>
                <c:pt idx="19">
                  <c:v>0.782973237722017</c:v>
                </c:pt>
                <c:pt idx="20">
                  <c:v>0.8293269699845571</c:v>
                </c:pt>
                <c:pt idx="21">
                  <c:v>0.7343803496132848</c:v>
                </c:pt>
                <c:pt idx="22">
                  <c:v>0.7684562025316456</c:v>
                </c:pt>
                <c:pt idx="23">
                  <c:v>0.7096166262291465</c:v>
                </c:pt>
                <c:pt idx="24">
                  <c:v>0.7694044030482642</c:v>
                </c:pt>
                <c:pt idx="25">
                  <c:v>0.8241430312083664</c:v>
                </c:pt>
                <c:pt idx="26">
                  <c:v>0.875555595163565</c:v>
                </c:pt>
                <c:pt idx="27">
                  <c:v>0.795426987391896</c:v>
                </c:pt>
                <c:pt idx="28">
                  <c:v>0.7465154319580579</c:v>
                </c:pt>
                <c:pt idx="29">
                  <c:v>0.7977730844281122</c:v>
                </c:pt>
                <c:pt idx="30">
                  <c:v>0.7497549617205931</c:v>
                </c:pt>
                <c:pt idx="31">
                  <c:v>0.7441102452504498</c:v>
                </c:pt>
                <c:pt idx="32">
                  <c:v>0.742485495485152</c:v>
                </c:pt>
                <c:pt idx="33">
                  <c:v>0.6938044152404859</c:v>
                </c:pt>
                <c:pt idx="34">
                  <c:v>0.7014003395444632</c:v>
                </c:pt>
                <c:pt idx="35">
                  <c:v>0.6923232622666213</c:v>
                </c:pt>
                <c:pt idx="36">
                  <c:v>0.7506837786661056</c:v>
                </c:pt>
                <c:pt idx="37">
                  <c:v>0.7401193293098202</c:v>
                </c:pt>
                <c:pt idx="38">
                  <c:v>0.7910104393205664</c:v>
                </c:pt>
                <c:pt idx="39">
                  <c:v>0.6883388249105673</c:v>
                </c:pt>
                <c:pt idx="40">
                  <c:v>0.7302395210673905</c:v>
                </c:pt>
                <c:pt idx="41">
                  <c:v>0.8140030205989717</c:v>
                </c:pt>
                <c:pt idx="42">
                  <c:v>0.683710503976999</c:v>
                </c:pt>
                <c:pt idx="43">
                  <c:v>0.682187777604565</c:v>
                </c:pt>
                <c:pt idx="44">
                  <c:v>0.7614445540116539</c:v>
                </c:pt>
                <c:pt idx="45">
                  <c:v>0.7367235013032145</c:v>
                </c:pt>
                <c:pt idx="46">
                  <c:v>0.771143739228714</c:v>
                </c:pt>
                <c:pt idx="47">
                  <c:v>0.7329694267515924</c:v>
                </c:pt>
                <c:pt idx="48">
                  <c:v>0.7273357907749078</c:v>
                </c:pt>
                <c:pt idx="49">
                  <c:v>0.71030965438382</c:v>
                </c:pt>
                <c:pt idx="50">
                  <c:v>0.7349599456405121</c:v>
                </c:pt>
                <c:pt idx="51">
                  <c:v>0.7220306399911572</c:v>
                </c:pt>
                <c:pt idx="52">
                  <c:v>0.6721487179491767</c:v>
                </c:pt>
                <c:pt idx="53">
                  <c:v>0.6721487179491767</c:v>
                </c:pt>
                <c:pt idx="54">
                  <c:v>0.69766456339479</c:v>
                </c:pt>
              </c:numCache>
            </c:numRef>
          </c:xVal>
          <c:yVal>
            <c:numRef>
              <c:f>Sheet1!$B$187:$B$241</c:f>
              <c:numCache>
                <c:formatCode>General</c:formatCode>
                <c:ptCount val="55"/>
                <c:pt idx="0">
                  <c:v>0.4227163260919048</c:v>
                </c:pt>
                <c:pt idx="1">
                  <c:v>0.4386211542141848</c:v>
                </c:pt>
                <c:pt idx="2">
                  <c:v>0.34309756902794397</c:v>
                </c:pt>
                <c:pt idx="3">
                  <c:v>0.463884149792692</c:v>
                </c:pt>
                <c:pt idx="4">
                  <c:v>0.45714809262700296</c:v>
                </c:pt>
                <c:pt idx="5">
                  <c:v>0.39225756615896</c:v>
                </c:pt>
                <c:pt idx="6">
                  <c:v>0.41690114470852846</c:v>
                </c:pt>
                <c:pt idx="7">
                  <c:v>0.4326564981968417</c:v>
                </c:pt>
                <c:pt idx="8">
                  <c:v>0.41456482479759205</c:v>
                </c:pt>
                <c:pt idx="9">
                  <c:v>0.4161468514779695</c:v>
                </c:pt>
                <c:pt idx="10">
                  <c:v>0.38215943654010853</c:v>
                </c:pt>
                <c:pt idx="11">
                  <c:v>0.35556419557344887</c:v>
                </c:pt>
                <c:pt idx="12">
                  <c:v>0.3990968549808217</c:v>
                </c:pt>
                <c:pt idx="13">
                  <c:v>0.35182958429497324</c:v>
                </c:pt>
                <c:pt idx="14">
                  <c:v>0.3366024041996807</c:v>
                </c:pt>
                <c:pt idx="15">
                  <c:v>0.36746174497007356</c:v>
                </c:pt>
                <c:pt idx="16">
                  <c:v>0.31444504581681987</c:v>
                </c:pt>
                <c:pt idx="17">
                  <c:v>0.3910939512909273</c:v>
                </c:pt>
                <c:pt idx="18">
                  <c:v>0.4648297120060493</c:v>
                </c:pt>
                <c:pt idx="19">
                  <c:v>0.4061129848740104</c:v>
                </c:pt>
                <c:pt idx="20">
                  <c:v>0.3686814633056338</c:v>
                </c:pt>
                <c:pt idx="21">
                  <c:v>0.4453526674309558</c:v>
                </c:pt>
                <c:pt idx="22">
                  <c:v>0.41783576725450056</c:v>
                </c:pt>
                <c:pt idx="23">
                  <c:v>0.46534984566714666</c:v>
                </c:pt>
                <c:pt idx="24">
                  <c:v>0.4170700772796798</c:v>
                </c:pt>
                <c:pt idx="25">
                  <c:v>0.37286759259099744</c:v>
                </c:pt>
                <c:pt idx="26">
                  <c:v>0.33135096808976483</c:v>
                </c:pt>
                <c:pt idx="27">
                  <c:v>0.3960563448447897</c:v>
                </c:pt>
                <c:pt idx="28">
                  <c:v>0.43555335733549927</c:v>
                </c:pt>
                <c:pt idx="29">
                  <c:v>0.3941618268086746</c:v>
                </c:pt>
                <c:pt idx="30">
                  <c:v>0.43293737535823507</c:v>
                </c:pt>
                <c:pt idx="31">
                  <c:v>0.43749559140657446</c:v>
                </c:pt>
                <c:pt idx="32">
                  <c:v>0.43880760778399375</c:v>
                </c:pt>
                <c:pt idx="33">
                  <c:v>0.47811850717024806</c:v>
                </c:pt>
                <c:pt idx="34">
                  <c:v>0.47198465363703745</c:v>
                </c:pt>
                <c:pt idx="35">
                  <c:v>0.47931456640390946</c:v>
                </c:pt>
                <c:pt idx="36">
                  <c:v>0.43218733798622566</c:v>
                </c:pt>
                <c:pt idx="37">
                  <c:v>0.44071833203214394</c:v>
                </c:pt>
                <c:pt idx="38">
                  <c:v>0.3996227915216918</c:v>
                </c:pt>
                <c:pt idx="39">
                  <c:v>0.4825320754490551</c:v>
                </c:pt>
                <c:pt idx="40">
                  <c:v>0.4486964653402311</c:v>
                </c:pt>
                <c:pt idx="41">
                  <c:v>0.381055844265736</c:v>
                </c:pt>
                <c:pt idx="42">
                  <c:v>0.4862695327452443</c:v>
                </c:pt>
                <c:pt idx="43">
                  <c:v>0.48749916328997955</c:v>
                </c:pt>
                <c:pt idx="44">
                  <c:v>0.4234978069651205</c:v>
                </c:pt>
                <c:pt idx="45">
                  <c:v>0.44346052781805867</c:v>
                </c:pt>
                <c:pt idx="46">
                  <c:v>0.415665530189827</c:v>
                </c:pt>
                <c:pt idx="47">
                  <c:v>0.44649201451156695</c:v>
                </c:pt>
                <c:pt idx="48">
                  <c:v>0.4510412828504201</c:v>
                </c:pt>
                <c:pt idx="49">
                  <c:v>0.4647902122341314</c:v>
                </c:pt>
                <c:pt idx="50">
                  <c:v>0.44488463260106925</c:v>
                </c:pt>
                <c:pt idx="51">
                  <c:v>0.45532529314026526</c:v>
                </c:pt>
                <c:pt idx="52">
                  <c:v>0.49560589514683495</c:v>
                </c:pt>
                <c:pt idx="53">
                  <c:v>0.49560589514683495</c:v>
                </c:pt>
                <c:pt idx="54">
                  <c:v>0.475001364022494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12244897959183"/>
          <c:min val="0.127536231884057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08.6585</c:v>
                </c:pt>
                <c:pt idx="1">
                  <c:v>300.2982</c:v>
                </c:pt>
                <c:pt idx="2">
                  <c:v>300.9111</c:v>
                </c:pt>
                <c:pt idx="3">
                  <c:v>287.4328</c:v>
                </c:pt>
                <c:pt idx="4">
                  <c:v>309.1778</c:v>
                </c:pt>
                <c:pt idx="5">
                  <c:v>312.9836</c:v>
                </c:pt>
                <c:pt idx="6">
                  <c:v>296.8769</c:v>
                </c:pt>
                <c:pt idx="7">
                  <c:v>308.9831</c:v>
                </c:pt>
                <c:pt idx="8">
                  <c:v>311.0781</c:v>
                </c:pt>
                <c:pt idx="9">
                  <c:v>304.6479</c:v>
                </c:pt>
                <c:pt idx="10">
                  <c:v>309.9677</c:v>
                </c:pt>
                <c:pt idx="11">
                  <c:v>317.4255</c:v>
                </c:pt>
                <c:pt idx="12">
                  <c:v>315.5542</c:v>
                </c:pt>
                <c:pt idx="13">
                  <c:v>309.618</c:v>
                </c:pt>
                <c:pt idx="14">
                  <c:v>279.3953</c:v>
                </c:pt>
                <c:pt idx="15">
                  <c:v>287.3571</c:v>
                </c:pt>
                <c:pt idx="16">
                  <c:v>302.9722</c:v>
                </c:pt>
                <c:pt idx="17">
                  <c:v>319.9688</c:v>
                </c:pt>
                <c:pt idx="18">
                  <c:v>321.8387</c:v>
                </c:pt>
                <c:pt idx="19">
                  <c:v>311.4737</c:v>
                </c:pt>
                <c:pt idx="20">
                  <c:v>341.0909</c:v>
                </c:pt>
                <c:pt idx="21">
                  <c:v>315.44</c:v>
                </c:pt>
                <c:pt idx="22">
                  <c:v>346.0</c:v>
                </c:pt>
                <c:pt idx="23">
                  <c:v>324.6522</c:v>
                </c:pt>
                <c:pt idx="24">
                  <c:v>330.9091</c:v>
                </c:pt>
                <c:pt idx="25">
                  <c:v>346.1579</c:v>
                </c:pt>
                <c:pt idx="26">
                  <c:v>341.9688</c:v>
                </c:pt>
                <c:pt idx="27">
                  <c:v>356.2</c:v>
                </c:pt>
                <c:pt idx="28">
                  <c:v>333.7368</c:v>
                </c:pt>
                <c:pt idx="29">
                  <c:v>334.8095</c:v>
                </c:pt>
                <c:pt idx="30">
                  <c:v>341.4706</c:v>
                </c:pt>
                <c:pt idx="31">
                  <c:v>347.8125</c:v>
                </c:pt>
                <c:pt idx="32">
                  <c:v>354.4706</c:v>
                </c:pt>
                <c:pt idx="33">
                  <c:v>323.4615</c:v>
                </c:pt>
                <c:pt idx="34">
                  <c:v>330.8519</c:v>
                </c:pt>
                <c:pt idx="35">
                  <c:v>353.64</c:v>
                </c:pt>
                <c:pt idx="36">
                  <c:v>341.8387</c:v>
                </c:pt>
                <c:pt idx="37">
                  <c:v>330.25</c:v>
                </c:pt>
                <c:pt idx="38">
                  <c:v>333.1053</c:v>
                </c:pt>
                <c:pt idx="39">
                  <c:v>313.1875</c:v>
                </c:pt>
                <c:pt idx="40">
                  <c:v>347.1818</c:v>
                </c:pt>
                <c:pt idx="41">
                  <c:v>331.65</c:v>
                </c:pt>
                <c:pt idx="42">
                  <c:v>336.6</c:v>
                </c:pt>
                <c:pt idx="43">
                  <c:v>352.0</c:v>
                </c:pt>
                <c:pt idx="44">
                  <c:v>337.5116</c:v>
                </c:pt>
                <c:pt idx="45">
                  <c:v>332.9577</c:v>
                </c:pt>
                <c:pt idx="46">
                  <c:v>335.0</c:v>
                </c:pt>
                <c:pt idx="47">
                  <c:v>336.7759</c:v>
                </c:pt>
                <c:pt idx="48">
                  <c:v>341.7945</c:v>
                </c:pt>
                <c:pt idx="49">
                  <c:v>333.9766</c:v>
                </c:pt>
                <c:pt idx="50">
                  <c:v>351.0328</c:v>
                </c:pt>
                <c:pt idx="51">
                  <c:v>359.6393</c:v>
                </c:pt>
                <c:pt idx="52">
                  <c:v>350.7708</c:v>
                </c:pt>
                <c:pt idx="53">
                  <c:v>350.1837</c:v>
                </c:pt>
                <c:pt idx="54">
                  <c:v>353.8444</c:v>
                </c:pt>
                <c:pt idx="55">
                  <c:v>354.9756</c:v>
                </c:pt>
                <c:pt idx="56">
                  <c:v>369.4423</c:v>
                </c:pt>
                <c:pt idx="57">
                  <c:v>347.3478</c:v>
                </c:pt>
                <c:pt idx="58">
                  <c:v>336.9839</c:v>
                </c:pt>
                <c:pt idx="59">
                  <c:v>366.9</c:v>
                </c:pt>
                <c:pt idx="60">
                  <c:v>359.6032</c:v>
                </c:pt>
                <c:pt idx="61">
                  <c:v>357.1084</c:v>
                </c:pt>
                <c:pt idx="62">
                  <c:v>378.1513</c:v>
                </c:pt>
                <c:pt idx="63">
                  <c:v>369.4955</c:v>
                </c:pt>
                <c:pt idx="64">
                  <c:v>388.5676</c:v>
                </c:pt>
                <c:pt idx="65">
                  <c:v>380.844</c:v>
                </c:pt>
                <c:pt idx="66">
                  <c:v>366.1695</c:v>
                </c:pt>
                <c:pt idx="67">
                  <c:v>375.9625</c:v>
                </c:pt>
                <c:pt idx="68">
                  <c:v>392.4314</c:v>
                </c:pt>
                <c:pt idx="69">
                  <c:v>385.5818</c:v>
                </c:pt>
                <c:pt idx="70">
                  <c:v>393.4444</c:v>
                </c:pt>
                <c:pt idx="71">
                  <c:v>408.0976</c:v>
                </c:pt>
                <c:pt idx="72">
                  <c:v>426.9474</c:v>
                </c:pt>
                <c:pt idx="73">
                  <c:v>398.35</c:v>
                </c:pt>
                <c:pt idx="74">
                  <c:v>432.3784</c:v>
                </c:pt>
                <c:pt idx="75">
                  <c:v>401.4615</c:v>
                </c:pt>
                <c:pt idx="76">
                  <c:v>418.8077</c:v>
                </c:pt>
                <c:pt idx="77">
                  <c:v>399.5556</c:v>
                </c:pt>
                <c:pt idx="78">
                  <c:v>389.6522</c:v>
                </c:pt>
                <c:pt idx="79">
                  <c:v>430.0</c:v>
                </c:pt>
                <c:pt idx="80">
                  <c:v>426.8667</c:v>
                </c:pt>
                <c:pt idx="81">
                  <c:v>439.1429</c:v>
                </c:pt>
                <c:pt idx="82">
                  <c:v>415.8421</c:v>
                </c:pt>
                <c:pt idx="83">
                  <c:v>402.6471</c:v>
                </c:pt>
                <c:pt idx="84">
                  <c:v>442.8462</c:v>
                </c:pt>
                <c:pt idx="85">
                  <c:v>296.6842</c:v>
                </c:pt>
                <c:pt idx="86">
                  <c:v>374.625</c:v>
                </c:pt>
                <c:pt idx="87">
                  <c:v>386.931</c:v>
                </c:pt>
                <c:pt idx="88">
                  <c:v>391.2667</c:v>
                </c:pt>
                <c:pt idx="89">
                  <c:v>374.1429</c:v>
                </c:pt>
                <c:pt idx="90">
                  <c:v>375.7895</c:v>
                </c:pt>
                <c:pt idx="91">
                  <c:v>391.0455</c:v>
                </c:pt>
                <c:pt idx="92">
                  <c:v>364.45</c:v>
                </c:pt>
                <c:pt idx="93">
                  <c:v>396.6667</c:v>
                </c:pt>
                <c:pt idx="94">
                  <c:v>410.3478</c:v>
                </c:pt>
                <c:pt idx="95">
                  <c:v>408.1111</c:v>
                </c:pt>
                <c:pt idx="96">
                  <c:v>423.1212</c:v>
                </c:pt>
                <c:pt idx="97">
                  <c:v>401.1333</c:v>
                </c:pt>
                <c:pt idx="98">
                  <c:v>374.3725</c:v>
                </c:pt>
                <c:pt idx="99">
                  <c:v>409.7869</c:v>
                </c:pt>
                <c:pt idx="100">
                  <c:v>403.0612</c:v>
                </c:pt>
                <c:pt idx="101">
                  <c:v>398.4906</c:v>
                </c:pt>
                <c:pt idx="102">
                  <c:v>396.125</c:v>
                </c:pt>
                <c:pt idx="103">
                  <c:v>258.7612</c:v>
                </c:pt>
                <c:pt idx="104">
                  <c:v>322.0625</c:v>
                </c:pt>
              </c:numCache>
            </c:numRef>
          </c:xVal>
          <c:yVal>
            <c:numRef>
              <c:f>Sheet1!$B$2:$B$106</c:f>
              <c:numCache>
                <c:formatCode>General</c:formatCode>
                <c:ptCount val="105"/>
                <c:pt idx="0">
                  <c:v>0.29927007299270075</c:v>
                </c:pt>
                <c:pt idx="1">
                  <c:v>0.38513513513513514</c:v>
                </c:pt>
                <c:pt idx="2">
                  <c:v>0.2922077922077922</c:v>
                </c:pt>
                <c:pt idx="3">
                  <c:v>0.4161490683229814</c:v>
                </c:pt>
                <c:pt idx="4">
                  <c:v>0.32142857142857145</c:v>
                </c:pt>
                <c:pt idx="5">
                  <c:v>0.37888198757763975</c:v>
                </c:pt>
                <c:pt idx="6">
                  <c:v>0.4140127388535032</c:v>
                </c:pt>
                <c:pt idx="7">
                  <c:v>0.37579617834394907</c:v>
                </c:pt>
                <c:pt idx="8">
                  <c:v>0.34782608695652173</c:v>
                </c:pt>
                <c:pt idx="9">
                  <c:v>0.3169642857142857</c:v>
                </c:pt>
                <c:pt idx="10">
                  <c:v>0.3549618320610687</c:v>
                </c:pt>
                <c:pt idx="11">
                  <c:v>0.39662447257383965</c:v>
                </c:pt>
                <c:pt idx="12">
                  <c:v>0.36403508771929827</c:v>
                </c:pt>
                <c:pt idx="13">
                  <c:v>0.3755274261603376</c:v>
                </c:pt>
                <c:pt idx="14">
                  <c:v>0.35684647302904565</c:v>
                </c:pt>
                <c:pt idx="15">
                  <c:v>0.2962962962962963</c:v>
                </c:pt>
                <c:pt idx="16">
                  <c:v>0.2608695652173913</c:v>
                </c:pt>
                <c:pt idx="17">
                  <c:v>0.256</c:v>
                </c:pt>
                <c:pt idx="18">
                  <c:v>0.20666666666666667</c:v>
                </c:pt>
                <c:pt idx="19">
                  <c:v>0.19387755102040816</c:v>
                </c:pt>
                <c:pt idx="20">
                  <c:v>0.16417910447761194</c:v>
                </c:pt>
                <c:pt idx="21">
                  <c:v>0.20833333333333334</c:v>
                </c:pt>
                <c:pt idx="22">
                  <c:v>0.21487603305785125</c:v>
                </c:pt>
                <c:pt idx="23">
                  <c:v>0.1619718309859155</c:v>
                </c:pt>
                <c:pt idx="24">
                  <c:v>0.21359223300970873</c:v>
                </c:pt>
                <c:pt idx="25">
                  <c:v>0.20652173913043478</c:v>
                </c:pt>
                <c:pt idx="26">
                  <c:v>0.41025641025641024</c:v>
                </c:pt>
                <c:pt idx="27">
                  <c:v>0.3</c:v>
                </c:pt>
                <c:pt idx="28">
                  <c:v>0.35185185185185186</c:v>
                </c:pt>
                <c:pt idx="29">
                  <c:v>0.3684210526315789</c:v>
                </c:pt>
                <c:pt idx="30">
                  <c:v>0.37777777777777777</c:v>
                </c:pt>
                <c:pt idx="31">
                  <c:v>0.4</c:v>
                </c:pt>
                <c:pt idx="32">
                  <c:v>0.40476190476190477</c:v>
                </c:pt>
                <c:pt idx="33">
                  <c:v>0.30952380952380953</c:v>
                </c:pt>
                <c:pt idx="34">
                  <c:v>0.48214285714285715</c:v>
                </c:pt>
                <c:pt idx="35">
                  <c:v>0.3472222222222222</c:v>
                </c:pt>
                <c:pt idx="36">
                  <c:v>0.4246575342465753</c:v>
                </c:pt>
                <c:pt idx="37">
                  <c:v>0.35714285714285715</c:v>
                </c:pt>
                <c:pt idx="38">
                  <c:v>0.3584905660377358</c:v>
                </c:pt>
                <c:pt idx="39">
                  <c:v>0.3333333333333333</c:v>
                </c:pt>
                <c:pt idx="40">
                  <c:v>0.3235294117647059</c:v>
                </c:pt>
                <c:pt idx="41">
                  <c:v>0.29411764705882354</c:v>
                </c:pt>
                <c:pt idx="42">
                  <c:v>0.38961038961038963</c:v>
                </c:pt>
                <c:pt idx="43">
                  <c:v>0.2897196261682243</c:v>
                </c:pt>
                <c:pt idx="44">
                  <c:v>0.3644067796610169</c:v>
                </c:pt>
                <c:pt idx="45">
                  <c:v>0.3879781420765027</c:v>
                </c:pt>
                <c:pt idx="46">
                  <c:v>0.38497652582159625</c:v>
                </c:pt>
                <c:pt idx="47">
                  <c:v>0.28292682926829266</c:v>
                </c:pt>
                <c:pt idx="48">
                  <c:v>0.3067226890756303</c:v>
                </c:pt>
                <c:pt idx="49">
                  <c:v>0.3248730964467005</c:v>
                </c:pt>
                <c:pt idx="50">
                  <c:v>0.32972972972972975</c:v>
                </c:pt>
                <c:pt idx="51">
                  <c:v>0.3567251461988304</c:v>
                </c:pt>
                <c:pt idx="52">
                  <c:v>0.366412213740458</c:v>
                </c:pt>
                <c:pt idx="53">
                  <c:v>0.3828125</c:v>
                </c:pt>
                <c:pt idx="54">
                  <c:v>0.39473684210526316</c:v>
                </c:pt>
                <c:pt idx="55">
                  <c:v>0.33884297520661155</c:v>
                </c:pt>
                <c:pt idx="56">
                  <c:v>0.3561643835616438</c:v>
                </c:pt>
                <c:pt idx="57">
                  <c:v>0.3026315789473684</c:v>
                </c:pt>
                <c:pt idx="58">
                  <c:v>0.3668639053254438</c:v>
                </c:pt>
                <c:pt idx="59">
                  <c:v>0.3333333333333333</c:v>
                </c:pt>
                <c:pt idx="60">
                  <c:v>0.3423913043478261</c:v>
                </c:pt>
                <c:pt idx="61">
                  <c:v>0.43455497382198954</c:v>
                </c:pt>
                <c:pt idx="62">
                  <c:v>0.47035573122529645</c:v>
                </c:pt>
                <c:pt idx="63">
                  <c:v>0.41729323308270677</c:v>
                </c:pt>
                <c:pt idx="64">
                  <c:v>0.40808823529411764</c:v>
                </c:pt>
                <c:pt idx="65">
                  <c:v>0.44129554655870445</c:v>
                </c:pt>
                <c:pt idx="66">
                  <c:v>0.44029850746268656</c:v>
                </c:pt>
                <c:pt idx="67">
                  <c:v>0.4371584699453552</c:v>
                </c:pt>
                <c:pt idx="68">
                  <c:v>0.4112903225806452</c:v>
                </c:pt>
                <c:pt idx="69">
                  <c:v>0.4435483870967742</c:v>
                </c:pt>
                <c:pt idx="70">
                  <c:v>0.4326923076923077</c:v>
                </c:pt>
                <c:pt idx="71">
                  <c:v>0.43157894736842106</c:v>
                </c:pt>
                <c:pt idx="72">
                  <c:v>0.4578313253012048</c:v>
                </c:pt>
                <c:pt idx="73">
                  <c:v>0.46511627906976744</c:v>
                </c:pt>
                <c:pt idx="74">
                  <c:v>0.45121951219512196</c:v>
                </c:pt>
                <c:pt idx="75">
                  <c:v>0.4727272727272727</c:v>
                </c:pt>
                <c:pt idx="76">
                  <c:v>0.4262295081967213</c:v>
                </c:pt>
                <c:pt idx="77">
                  <c:v>0.54</c:v>
                </c:pt>
                <c:pt idx="78">
                  <c:v>0.42592592592592593</c:v>
                </c:pt>
                <c:pt idx="79">
                  <c:v>0.38095238095238093</c:v>
                </c:pt>
                <c:pt idx="80">
                  <c:v>0.375</c:v>
                </c:pt>
                <c:pt idx="81">
                  <c:v>0.375</c:v>
                </c:pt>
                <c:pt idx="82">
                  <c:v>0.48717948717948717</c:v>
                </c:pt>
                <c:pt idx="83">
                  <c:v>0.4857142857142857</c:v>
                </c:pt>
                <c:pt idx="84">
                  <c:v>0.5</c:v>
                </c:pt>
                <c:pt idx="85">
                  <c:v>0.475</c:v>
                </c:pt>
                <c:pt idx="86">
                  <c:v>0.4</c:v>
                </c:pt>
                <c:pt idx="87">
                  <c:v>0.5</c:v>
                </c:pt>
                <c:pt idx="88">
                  <c:v>0.38461538461538464</c:v>
                </c:pt>
                <c:pt idx="89">
                  <c:v>0.3888888888888889</c:v>
                </c:pt>
                <c:pt idx="90">
                  <c:v>0.5135135135135135</c:v>
                </c:pt>
                <c:pt idx="91">
                  <c:v>0.4782608695652174</c:v>
                </c:pt>
                <c:pt idx="92">
                  <c:v>0.37037037037037035</c:v>
                </c:pt>
                <c:pt idx="93">
                  <c:v>0.5</c:v>
                </c:pt>
                <c:pt idx="94">
                  <c:v>0.4339622641509434</c:v>
                </c:pt>
                <c:pt idx="95">
                  <c:v>0.453781512605042</c:v>
                </c:pt>
                <c:pt idx="96">
                  <c:v>0.4024390243902439</c:v>
                </c:pt>
                <c:pt idx="97">
                  <c:v>0.47368421052631576</c:v>
                </c:pt>
                <c:pt idx="98">
                  <c:v>0.425</c:v>
                </c:pt>
                <c:pt idx="99">
                  <c:v>0.3407821229050279</c:v>
                </c:pt>
                <c:pt idx="100">
                  <c:v>0.38735177865612647</c:v>
                </c:pt>
                <c:pt idx="101">
                  <c:v>0.34415584415584416</c:v>
                </c:pt>
                <c:pt idx="102">
                  <c:v>0.38461538461538464</c:v>
                </c:pt>
                <c:pt idx="103">
                  <c:v>0.4589041095890411</c:v>
                </c:pt>
                <c:pt idx="104">
                  <c:v>0.421052631578947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numCache>
            </c:numRef>
          </c:xVal>
          <c:yVal>
            <c:numRef>
              <c:f>Sheet1!$B$109:$B$160</c:f>
              <c:numCache>
                <c:formatCode>General</c:formatCode>
                <c:ptCount val="52"/>
                <c:pt idx="0">
                  <c:v>0.3854166666666667</c:v>
                </c:pt>
                <c:pt idx="1">
                  <c:v>0.27710843373493976</c:v>
                </c:pt>
                <c:pt idx="2">
                  <c:v>0.35135135135135137</c:v>
                </c:pt>
                <c:pt idx="3">
                  <c:v>0.3671875</c:v>
                </c:pt>
                <c:pt idx="4">
                  <c:v>0.46621621621621623</c:v>
                </c:pt>
                <c:pt idx="5">
                  <c:v>0.3709677419354839</c:v>
                </c:pt>
                <c:pt idx="6">
                  <c:v>0.4028776978417266</c:v>
                </c:pt>
                <c:pt idx="7">
                  <c:v>0.42142857142857143</c:v>
                </c:pt>
                <c:pt idx="8">
                  <c:v>0.39520958083832336</c:v>
                </c:pt>
                <c:pt idx="9">
                  <c:v>0.3813953488372093</c:v>
                </c:pt>
                <c:pt idx="10">
                  <c:v>0.36065573770491804</c:v>
                </c:pt>
                <c:pt idx="11">
                  <c:v>0.32057416267942584</c:v>
                </c:pt>
                <c:pt idx="12">
                  <c:v>0.365</c:v>
                </c:pt>
                <c:pt idx="13">
                  <c:v>0.3701657458563536</c:v>
                </c:pt>
                <c:pt idx="14">
                  <c:v>0.34710743801652894</c:v>
                </c:pt>
                <c:pt idx="15">
                  <c:v>0.37383177570093457</c:v>
                </c:pt>
                <c:pt idx="16">
                  <c:v>0.2911392405063291</c:v>
                </c:pt>
                <c:pt idx="17">
                  <c:v>0.3611111111111111</c:v>
                </c:pt>
                <c:pt idx="18">
                  <c:v>0.4418604651162791</c:v>
                </c:pt>
                <c:pt idx="19">
                  <c:v>0.38235294117647056</c:v>
                </c:pt>
                <c:pt idx="20">
                  <c:v>0.40816326530612246</c:v>
                </c:pt>
                <c:pt idx="21">
                  <c:v>0.43636363636363634</c:v>
                </c:pt>
                <c:pt idx="22">
                  <c:v>0.4461538461538462</c:v>
                </c:pt>
                <c:pt idx="23">
                  <c:v>0.4722222222222222</c:v>
                </c:pt>
                <c:pt idx="24">
                  <c:v>0.42</c:v>
                </c:pt>
                <c:pt idx="25">
                  <c:v>0.3829787234042553</c:v>
                </c:pt>
                <c:pt idx="26">
                  <c:v>0.39622641509433965</c:v>
                </c:pt>
                <c:pt idx="27">
                  <c:v>0.4186046511627907</c:v>
                </c:pt>
                <c:pt idx="28">
                  <c:v>0.5510204081632653</c:v>
                </c:pt>
                <c:pt idx="29">
                  <c:v>0.4</c:v>
                </c:pt>
                <c:pt idx="30">
                  <c:v>0.45714285714285713</c:v>
                </c:pt>
                <c:pt idx="31">
                  <c:v>0.5217391304347826</c:v>
                </c:pt>
                <c:pt idx="32">
                  <c:v>0.4411764705882353</c:v>
                </c:pt>
                <c:pt idx="33">
                  <c:v>0.5306122448979592</c:v>
                </c:pt>
                <c:pt idx="34">
                  <c:v>0.5147058823529411</c:v>
                </c:pt>
                <c:pt idx="35">
                  <c:v>0.4745762711864407</c:v>
                </c:pt>
                <c:pt idx="36">
                  <c:v>0.43243243243243246</c:v>
                </c:pt>
                <c:pt idx="37">
                  <c:v>0.38235294117647056</c:v>
                </c:pt>
                <c:pt idx="38">
                  <c:v>0.15942028985507245</c:v>
                </c:pt>
                <c:pt idx="39">
                  <c:v>0.5434782608695652</c:v>
                </c:pt>
                <c:pt idx="40">
                  <c:v>0.48148148148148145</c:v>
                </c:pt>
                <c:pt idx="41">
                  <c:v>0.4696969696969697</c:v>
                </c:pt>
                <c:pt idx="42">
                  <c:v>0.421875</c:v>
                </c:pt>
                <c:pt idx="43">
                  <c:v>0.4411764705882353</c:v>
                </c:pt>
                <c:pt idx="44">
                  <c:v>0.46464646464646464</c:v>
                </c:pt>
                <c:pt idx="45">
                  <c:v>0.49079754601226994</c:v>
                </c:pt>
                <c:pt idx="46">
                  <c:v>0.46564885496183206</c:v>
                </c:pt>
                <c:pt idx="47">
                  <c:v>0.41379310344827586</c:v>
                </c:pt>
                <c:pt idx="48">
                  <c:v>0.4244604316546763</c:v>
                </c:pt>
                <c:pt idx="49">
                  <c:v>0.5271739130434783</c:v>
                </c:pt>
                <c:pt idx="50">
                  <c:v>0.5467128027681661</c:v>
                </c:pt>
                <c:pt idx="51">
                  <c:v>0.484076433121019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83.1283367629106</c:v>
                </c:pt>
              </c:numCache>
            </c:numRef>
          </c:xVal>
          <c:yVal>
            <c:numRef>
              <c:f>Sheet1!$B$163:$B$164</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83.1283367629106</c:v>
                </c:pt>
                <c:pt idx="1">
                  <c:v>383.1283367629106</c:v>
                </c:pt>
              </c:numCache>
            </c:numRef>
          </c:xVal>
          <c:yVal>
            <c:numRef>
              <c:f>Sheet1!$B$167:$B$168</c:f>
              <c:numCache>
                <c:formatCode>General</c:formatCode>
                <c:ptCount val="2"/>
                <c:pt idx="0">
                  <c:v>0.495605895146834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83.1283367629106</c:v>
                </c:pt>
              </c:numCache>
            </c:numRef>
          </c:xVal>
          <c:yVal>
            <c:numRef>
              <c:f>Sheet1!$B$171:$B$172</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83.1283367629106</c:v>
                </c:pt>
                <c:pt idx="1">
                  <c:v>383.1283367629106</c:v>
                </c:pt>
              </c:numCache>
            </c:numRef>
          </c:xVal>
          <c:yVal>
            <c:numRef>
              <c:f>Sheet1!$B$175:$B$176</c:f>
              <c:numCache>
                <c:formatCode>General</c:formatCode>
                <c:ptCount val="2"/>
                <c:pt idx="0">
                  <c:v>0.495605895146834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396.6013056086257</c:v>
                </c:pt>
              </c:numCache>
            </c:numRef>
          </c:xVal>
          <c:yVal>
            <c:numRef>
              <c:f>Sheet1!$B$179:$B$180</c:f>
              <c:numCache>
                <c:formatCode>General</c:formatCode>
                <c:ptCount val="2"/>
                <c:pt idx="0">
                  <c:v>0.47500136402249493</c:v>
                </c:pt>
                <c:pt idx="1">
                  <c:v>0.475001364022494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396.6013056086257</c:v>
                </c:pt>
                <c:pt idx="1">
                  <c:v>396.6013056086257</c:v>
                </c:pt>
              </c:numCache>
            </c:numRef>
          </c:xVal>
          <c:yVal>
            <c:numRef>
              <c:f>Sheet1!$B$183:$B$184</c:f>
              <c:numCache>
                <c:formatCode>General</c:formatCode>
                <c:ptCount val="2"/>
                <c:pt idx="0">
                  <c:v>0.475001364022494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02.2105</c:v>
                </c:pt>
                <c:pt idx="19">
                  <c:v>438.5769</c:v>
                </c:pt>
                <c:pt idx="20">
                  <c:v>488.75</c:v>
                </c:pt>
                <c:pt idx="21">
                  <c:v>443.7917</c:v>
                </c:pt>
                <c:pt idx="22">
                  <c:v>455.3103</c:v>
                </c:pt>
                <c:pt idx="23">
                  <c:v>413.5882</c:v>
                </c:pt>
                <c:pt idx="24">
                  <c:v>454.3333</c:v>
                </c:pt>
                <c:pt idx="25">
                  <c:v>430.1111</c:v>
                </c:pt>
                <c:pt idx="26">
                  <c:v>432.2857</c:v>
                </c:pt>
                <c:pt idx="27">
                  <c:v>445.2222</c:v>
                </c:pt>
                <c:pt idx="28">
                  <c:v>409.3704</c:v>
                </c:pt>
                <c:pt idx="29">
                  <c:v>441.8333</c:v>
                </c:pt>
                <c:pt idx="30">
                  <c:v>446.1875</c:v>
                </c:pt>
                <c:pt idx="31">
                  <c:v>400.0833</c:v>
                </c:pt>
                <c:pt idx="32">
                  <c:v>440.4</c:v>
                </c:pt>
                <c:pt idx="33">
                  <c:v>416.9231</c:v>
                </c:pt>
                <c:pt idx="34">
                  <c:v>405.0857</c:v>
                </c:pt>
                <c:pt idx="35">
                  <c:v>410.1071</c:v>
                </c:pt>
                <c:pt idx="36">
                  <c:v>446.0</c:v>
                </c:pt>
                <c:pt idx="37">
                  <c:v>402.3077</c:v>
                </c:pt>
                <c:pt idx="38">
                  <c:v>470.3636</c:v>
                </c:pt>
                <c:pt idx="39">
                  <c:v>420.28</c:v>
                </c:pt>
                <c:pt idx="40">
                  <c:v>400.0385</c:v>
                </c:pt>
                <c:pt idx="41">
                  <c:v>438.9355</c:v>
                </c:pt>
                <c:pt idx="42">
                  <c:v>380.8889</c:v>
                </c:pt>
                <c:pt idx="43">
                  <c:v>385.9667</c:v>
                </c:pt>
                <c:pt idx="44">
                  <c:v>424.6957</c:v>
                </c:pt>
                <c:pt idx="45">
                  <c:v>407.025</c:v>
                </c:pt>
                <c:pt idx="46">
                  <c:v>411.8361</c:v>
                </c:pt>
                <c:pt idx="47">
                  <c:v>402.7667</c:v>
                </c:pt>
                <c:pt idx="48">
                  <c:v>403.9831</c:v>
                </c:pt>
                <c:pt idx="49">
                  <c:v>398.433</c:v>
                </c:pt>
                <c:pt idx="50">
                  <c:v>411.019</c:v>
                </c:pt>
                <c:pt idx="51">
                  <c:v>408.2632</c:v>
                </c:pt>
                <c:pt idx="52">
                  <c:v>383.1283367629106</c:v>
                </c:pt>
                <c:pt idx="53">
                  <c:v>383.1283367629106</c:v>
                </c:pt>
                <c:pt idx="54">
                  <c:v>396.6013056086257</c:v>
                </c:pt>
              </c:numCache>
            </c:numRef>
          </c:xVal>
          <c:yVal>
            <c:numRef>
              <c:f>Sheet1!$B$187:$B$241</c:f>
              <c:numCache>
                <c:formatCode>General</c:formatCode>
                <c:ptCount val="55"/>
                <c:pt idx="0">
                  <c:v>0.4444664359798426</c:v>
                </c:pt>
                <c:pt idx="1">
                  <c:v>0.4365575382506378</c:v>
                </c:pt>
                <c:pt idx="2">
                  <c:v>0.3696918338949601</c:v>
                </c:pt>
                <c:pt idx="3">
                  <c:v>0.42623414419834127</c:v>
                </c:pt>
                <c:pt idx="4">
                  <c:v>0.4452901297470184</c:v>
                </c:pt>
                <c:pt idx="5">
                  <c:v>0.39962100538100576</c:v>
                </c:pt>
                <c:pt idx="6">
                  <c:v>0.4296862866800456</c:v>
                </c:pt>
                <c:pt idx="7">
                  <c:v>0.4200099495027807</c:v>
                </c:pt>
                <c:pt idx="8">
                  <c:v>0.39178490346189665</c:v>
                </c:pt>
                <c:pt idx="9">
                  <c:v>0.41480397855431583</c:v>
                </c:pt>
                <c:pt idx="10">
                  <c:v>0.3733403415450739</c:v>
                </c:pt>
                <c:pt idx="11">
                  <c:v>0.3943417798253226</c:v>
                </c:pt>
                <c:pt idx="12">
                  <c:v>0.4212843349765788</c:v>
                </c:pt>
                <c:pt idx="13">
                  <c:v>0.3567935174590876</c:v>
                </c:pt>
                <c:pt idx="14">
                  <c:v>0.3301254759194321</c:v>
                </c:pt>
                <c:pt idx="15">
                  <c:v>0.3433668196705245</c:v>
                </c:pt>
                <c:pt idx="16">
                  <c:v>0.3000487246923309</c:v>
                </c:pt>
                <c:pt idx="17">
                  <c:v>0.38663200004726206</c:v>
                </c:pt>
                <c:pt idx="18">
                  <c:v>0.4664230898690367</c:v>
                </c:pt>
                <c:pt idx="19">
                  <c:v>0.4108070909558865</c:v>
                </c:pt>
                <c:pt idx="20">
                  <c:v>0.33407617794086786</c:v>
                </c:pt>
                <c:pt idx="21">
                  <c:v>0.4028319735086744</c:v>
                </c:pt>
                <c:pt idx="22">
                  <c:v>0.3852163050597487</c:v>
                </c:pt>
                <c:pt idx="23">
                  <c:v>0.4490229031352895</c:v>
                </c:pt>
                <c:pt idx="24">
                  <c:v>0.38671045435520124</c:v>
                </c:pt>
                <c:pt idx="25">
                  <c:v>0.42375403988673876</c:v>
                </c:pt>
                <c:pt idx="26">
                  <c:v>0.4204283724784571</c:v>
                </c:pt>
                <c:pt idx="27">
                  <c:v>0.40064427589644824</c:v>
                </c:pt>
                <c:pt idx="28">
                  <c:v>0.4554732848122188</c:v>
                </c:pt>
                <c:pt idx="29">
                  <c:v>0.40582700112404224</c:v>
                </c:pt>
                <c:pt idx="30">
                  <c:v>0.39916801968877125</c:v>
                </c:pt>
                <c:pt idx="31">
                  <c:v>0.469676267331971</c:v>
                </c:pt>
                <c:pt idx="32">
                  <c:v>0.4080189808427447</c:v>
                </c:pt>
                <c:pt idx="33">
                  <c:v>0.44392276138973685</c:v>
                </c:pt>
                <c:pt idx="34">
                  <c:v>0.46202597824745506</c:v>
                </c:pt>
                <c:pt idx="35">
                  <c:v>0.45434663201185044</c:v>
                </c:pt>
                <c:pt idx="36">
                  <c:v>0.3994547678903039</c:v>
                </c:pt>
                <c:pt idx="37">
                  <c:v>0.4662744396013623</c:v>
                </c:pt>
                <c:pt idx="38">
                  <c:v>0.36219493598171715</c:v>
                </c:pt>
                <c:pt idx="39">
                  <c:v>0.43878897452187104</c:v>
                </c:pt>
                <c:pt idx="40">
                  <c:v>0.4697447810355906</c:v>
                </c:pt>
                <c:pt idx="41">
                  <c:v>0.4102586754621821</c:v>
                </c:pt>
                <c:pt idx="42">
                  <c:v>0.4990307189559584</c:v>
                </c:pt>
                <c:pt idx="43">
                  <c:v>0.4912651188613326</c:v>
                </c:pt>
                <c:pt idx="44">
                  <c:v>0.43203593967649734</c:v>
                </c:pt>
                <c:pt idx="45">
                  <c:v>0.45906016071555</c:v>
                </c:pt>
                <c:pt idx="46">
                  <c:v>0.4517024312627843</c:v>
                </c:pt>
                <c:pt idx="47">
                  <c:v>0.4655724800040104</c:v>
                </c:pt>
                <c:pt idx="48">
                  <c:v>0.463712210604841</c:v>
                </c:pt>
                <c:pt idx="49">
                  <c:v>0.47220011030258047</c:v>
                </c:pt>
                <c:pt idx="50">
                  <c:v>0.4529520416919699</c:v>
                </c:pt>
                <c:pt idx="51">
                  <c:v>0.45716655205881573</c:v>
                </c:pt>
                <c:pt idx="52">
                  <c:v>0.49560589514683495</c:v>
                </c:pt>
                <c:pt idx="53">
                  <c:v>0.49560589514683495</c:v>
                </c:pt>
                <c:pt idx="54">
                  <c:v>0.475001364022494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0"/>
          <c:min val="2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12244897959183"/>
          <c:min val="0.127536231884057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43</c:f>
              <c:numCache>
                <c:formatCode>General</c:formatCode>
                <c:ptCount val="142"/>
                <c:pt idx="0">
                  <c:v>0.0</c:v>
                </c:pt>
                <c:pt idx="1">
                  <c:v>0.0</c:v>
                </c:pt>
                <c:pt idx="2">
                  <c:v>0.19008913455464307</c:v>
                </c:pt>
                <c:pt idx="3">
                  <c:v>0.0</c:v>
                </c:pt>
                <c:pt idx="4">
                  <c:v>0.0</c:v>
                </c:pt>
                <c:pt idx="5">
                  <c:v>0.2845305454545455</c:v>
                </c:pt>
                <c:pt idx="6">
                  <c:v>0.0</c:v>
                </c:pt>
                <c:pt idx="7">
                  <c:v>0.0</c:v>
                </c:pt>
                <c:pt idx="8">
                  <c:v>0.21738511530398325</c:v>
                </c:pt>
                <c:pt idx="9">
                  <c:v>0.2890397533206831</c:v>
                </c:pt>
                <c:pt idx="10">
                  <c:v>0.0</c:v>
                </c:pt>
                <c:pt idx="11">
                  <c:v>0.0</c:v>
                </c:pt>
                <c:pt idx="12">
                  <c:v>0.0</c:v>
                </c:pt>
                <c:pt idx="13">
                  <c:v>0.0</c:v>
                </c:pt>
                <c:pt idx="14">
                  <c:v>0.0</c:v>
                </c:pt>
                <c:pt idx="15">
                  <c:v>0.0</c:v>
                </c:pt>
                <c:pt idx="16">
                  <c:v>0.0</c:v>
                </c:pt>
                <c:pt idx="17">
                  <c:v>0.0</c:v>
                </c:pt>
                <c:pt idx="18">
                  <c:v>0.5426371080139373</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3899007717750827</c:v>
                </c:pt>
                <c:pt idx="33">
                  <c:v>0.0</c:v>
                </c:pt>
                <c:pt idx="34">
                  <c:v>0.0</c:v>
                </c:pt>
                <c:pt idx="35">
                  <c:v>0.345903738317757</c:v>
                </c:pt>
                <c:pt idx="36">
                  <c:v>0.0</c:v>
                </c:pt>
                <c:pt idx="37">
                  <c:v>0.0</c:v>
                </c:pt>
                <c:pt idx="38">
                  <c:v>0.0</c:v>
                </c:pt>
                <c:pt idx="39">
                  <c:v>0.0</c:v>
                </c:pt>
                <c:pt idx="40">
                  <c:v>0.0</c:v>
                </c:pt>
                <c:pt idx="41">
                  <c:v>0.0</c:v>
                </c:pt>
                <c:pt idx="42">
                  <c:v>0.0</c:v>
                </c:pt>
                <c:pt idx="43">
                  <c:v>0.15117328519855597</c:v>
                </c:pt>
                <c:pt idx="44">
                  <c:v>0.1582593515037594</c:v>
                </c:pt>
                <c:pt idx="45">
                  <c:v>0.0</c:v>
                </c:pt>
                <c:pt idx="46">
                  <c:v>0.16452049261083745</c:v>
                </c:pt>
                <c:pt idx="47">
                  <c:v>0.0</c:v>
                </c:pt>
                <c:pt idx="48">
                  <c:v>0.0</c:v>
                </c:pt>
                <c:pt idx="49">
                  <c:v>0.25492063953488375</c:v>
                </c:pt>
                <c:pt idx="50">
                  <c:v>0.0</c:v>
                </c:pt>
                <c:pt idx="51">
                  <c:v>0.0</c:v>
                </c:pt>
                <c:pt idx="52">
                  <c:v>0.16968240917782026</c:v>
                </c:pt>
                <c:pt idx="53">
                  <c:v>0.0</c:v>
                </c:pt>
                <c:pt idx="54">
                  <c:v>1.9050157047560703</c:v>
                </c:pt>
                <c:pt idx="55">
                  <c:v>0.0</c:v>
                </c:pt>
                <c:pt idx="56">
                  <c:v>0.36616766467065864</c:v>
                </c:pt>
                <c:pt idx="57">
                  <c:v>0.5008401114206128</c:v>
                </c:pt>
                <c:pt idx="58">
                  <c:v>0.22139392436453814</c:v>
                </c:pt>
                <c:pt idx="59">
                  <c:v>0.20664005464480875</c:v>
                </c:pt>
                <c:pt idx="60">
                  <c:v>0.23678019865427746</c:v>
                </c:pt>
                <c:pt idx="61">
                  <c:v>0.27860964917280956</c:v>
                </c:pt>
                <c:pt idx="62">
                  <c:v>0.21750085665334096</c:v>
                </c:pt>
                <c:pt idx="63">
                  <c:v>0.2224602065613609</c:v>
                </c:pt>
                <c:pt idx="64">
                  <c:v>0.16665004432624111</c:v>
                </c:pt>
                <c:pt idx="65">
                  <c:v>0.2764574850299401</c:v>
                </c:pt>
                <c:pt idx="66">
                  <c:v>0.3069918789808917</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18531549425287355</c:v>
                </c:pt>
                <c:pt idx="97">
                  <c:v>0.2554426923076923</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pt idx="137">
                  <c:v>0.0</c:v>
                </c:pt>
                <c:pt idx="138">
                  <c:v>0.0</c:v>
                </c:pt>
                <c:pt idx="139">
                  <c:v>0.0</c:v>
                </c:pt>
                <c:pt idx="140">
                  <c:v>0.0</c:v>
                </c:pt>
                <c:pt idx="141">
                  <c:v>0.0</c:v>
                </c:pt>
              </c:numCache>
            </c:numRef>
          </c:xVal>
          <c:yVal>
            <c:numRef>
              <c:f>Sheet1!$B$2:$B$143</c:f>
              <c:numCache>
                <c:formatCode>General</c:formatCode>
                <c:ptCount val="142"/>
                <c:pt idx="0">
                  <c:v>0.29927007299270075</c:v>
                </c:pt>
                <c:pt idx="1">
                  <c:v>0.38513513513513514</c:v>
                </c:pt>
                <c:pt idx="2">
                  <c:v>0.2922077922077922</c:v>
                </c:pt>
                <c:pt idx="3">
                  <c:v>0.4161490683229814</c:v>
                </c:pt>
                <c:pt idx="4">
                  <c:v>0.32142857142857145</c:v>
                </c:pt>
                <c:pt idx="5">
                  <c:v>0.37888198757763975</c:v>
                </c:pt>
                <c:pt idx="6">
                  <c:v>0.4140127388535032</c:v>
                </c:pt>
                <c:pt idx="7">
                  <c:v>0.37579617834394907</c:v>
                </c:pt>
                <c:pt idx="8">
                  <c:v>0.34782608695652173</c:v>
                </c:pt>
                <c:pt idx="9">
                  <c:v>0.3169642857142857</c:v>
                </c:pt>
                <c:pt idx="10">
                  <c:v>0.3549618320610687</c:v>
                </c:pt>
                <c:pt idx="11">
                  <c:v>0.39662447257383965</c:v>
                </c:pt>
                <c:pt idx="12">
                  <c:v>0.36403508771929827</c:v>
                </c:pt>
                <c:pt idx="13">
                  <c:v>0.3755274261603376</c:v>
                </c:pt>
                <c:pt idx="14">
                  <c:v>0.35684647302904565</c:v>
                </c:pt>
                <c:pt idx="15">
                  <c:v>0.2962962962962963</c:v>
                </c:pt>
                <c:pt idx="16">
                  <c:v>0.256</c:v>
                </c:pt>
                <c:pt idx="17">
                  <c:v>0.20666666666666667</c:v>
                </c:pt>
                <c:pt idx="18">
                  <c:v>0.19387755102040816</c:v>
                </c:pt>
                <c:pt idx="19">
                  <c:v>0.16417910447761194</c:v>
                </c:pt>
                <c:pt idx="20">
                  <c:v>0.20833333333333334</c:v>
                </c:pt>
                <c:pt idx="21">
                  <c:v>0.1619718309859155</c:v>
                </c:pt>
                <c:pt idx="22">
                  <c:v>0.21359223300970873</c:v>
                </c:pt>
                <c:pt idx="23">
                  <c:v>0.20652173913043478</c:v>
                </c:pt>
                <c:pt idx="24">
                  <c:v>0.3</c:v>
                </c:pt>
                <c:pt idx="25">
                  <c:v>0.35185185185185186</c:v>
                </c:pt>
                <c:pt idx="26">
                  <c:v>0.3684210526315789</c:v>
                </c:pt>
                <c:pt idx="27">
                  <c:v>0.37777777777777777</c:v>
                </c:pt>
                <c:pt idx="28">
                  <c:v>0.4</c:v>
                </c:pt>
                <c:pt idx="29">
                  <c:v>0.40476190476190477</c:v>
                </c:pt>
                <c:pt idx="30">
                  <c:v>0.30952380952380953</c:v>
                </c:pt>
                <c:pt idx="31">
                  <c:v>0.48214285714285715</c:v>
                </c:pt>
                <c:pt idx="32">
                  <c:v>0.3472222222222222</c:v>
                </c:pt>
                <c:pt idx="33">
                  <c:v>0.4246575342465753</c:v>
                </c:pt>
                <c:pt idx="34">
                  <c:v>0.35714285714285715</c:v>
                </c:pt>
                <c:pt idx="35">
                  <c:v>0.3584905660377358</c:v>
                </c:pt>
                <c:pt idx="36">
                  <c:v>0.3333333333333333</c:v>
                </c:pt>
                <c:pt idx="37">
                  <c:v>0.3235294117647059</c:v>
                </c:pt>
                <c:pt idx="38">
                  <c:v>0.29411764705882354</c:v>
                </c:pt>
                <c:pt idx="39">
                  <c:v>0.38961038961038963</c:v>
                </c:pt>
                <c:pt idx="40">
                  <c:v>0.2897196261682243</c:v>
                </c:pt>
                <c:pt idx="41">
                  <c:v>0.3644067796610169</c:v>
                </c:pt>
                <c:pt idx="42">
                  <c:v>0.3879781420765027</c:v>
                </c:pt>
                <c:pt idx="43">
                  <c:v>0.38497652582159625</c:v>
                </c:pt>
                <c:pt idx="44">
                  <c:v>0.28292682926829266</c:v>
                </c:pt>
                <c:pt idx="45">
                  <c:v>0.3067226890756303</c:v>
                </c:pt>
                <c:pt idx="46">
                  <c:v>0.3248730964467005</c:v>
                </c:pt>
                <c:pt idx="47">
                  <c:v>0.32972972972972975</c:v>
                </c:pt>
                <c:pt idx="48">
                  <c:v>0.3567251461988304</c:v>
                </c:pt>
                <c:pt idx="49">
                  <c:v>0.366412213740458</c:v>
                </c:pt>
                <c:pt idx="50">
                  <c:v>0.3828125</c:v>
                </c:pt>
                <c:pt idx="51">
                  <c:v>0.39473684210526316</c:v>
                </c:pt>
                <c:pt idx="52">
                  <c:v>0.33884297520661155</c:v>
                </c:pt>
                <c:pt idx="53">
                  <c:v>0.3561643835616438</c:v>
                </c:pt>
                <c:pt idx="54">
                  <c:v>0.3026315789473684</c:v>
                </c:pt>
                <c:pt idx="55">
                  <c:v>0.3668639053254438</c:v>
                </c:pt>
                <c:pt idx="56">
                  <c:v>0.3333333333333333</c:v>
                </c:pt>
                <c:pt idx="57">
                  <c:v>0.3423913043478261</c:v>
                </c:pt>
                <c:pt idx="58">
                  <c:v>0.43455497382198954</c:v>
                </c:pt>
                <c:pt idx="59">
                  <c:v>0.47035573122529645</c:v>
                </c:pt>
                <c:pt idx="60">
                  <c:v>0.41729323308270677</c:v>
                </c:pt>
                <c:pt idx="61">
                  <c:v>0.40808823529411764</c:v>
                </c:pt>
                <c:pt idx="62">
                  <c:v>0.44129554655870445</c:v>
                </c:pt>
                <c:pt idx="63">
                  <c:v>0.44029850746268656</c:v>
                </c:pt>
                <c:pt idx="64">
                  <c:v>0.4371584699453552</c:v>
                </c:pt>
                <c:pt idx="65">
                  <c:v>0.4112903225806452</c:v>
                </c:pt>
                <c:pt idx="66">
                  <c:v>0.4435483870967742</c:v>
                </c:pt>
                <c:pt idx="67">
                  <c:v>0.4326923076923077</c:v>
                </c:pt>
                <c:pt idx="68">
                  <c:v>0.43157894736842106</c:v>
                </c:pt>
                <c:pt idx="69">
                  <c:v>0.4578313253012048</c:v>
                </c:pt>
                <c:pt idx="70">
                  <c:v>0.46511627906976744</c:v>
                </c:pt>
                <c:pt idx="71">
                  <c:v>0.45121951219512196</c:v>
                </c:pt>
                <c:pt idx="72">
                  <c:v>0.4727272727272727</c:v>
                </c:pt>
                <c:pt idx="73">
                  <c:v>0.4262295081967213</c:v>
                </c:pt>
                <c:pt idx="74">
                  <c:v>0.54</c:v>
                </c:pt>
                <c:pt idx="75">
                  <c:v>0.42592592592592593</c:v>
                </c:pt>
                <c:pt idx="76">
                  <c:v>0.38095238095238093</c:v>
                </c:pt>
                <c:pt idx="77">
                  <c:v>0.375</c:v>
                </c:pt>
                <c:pt idx="78">
                  <c:v>0.48717948717948717</c:v>
                </c:pt>
                <c:pt idx="79">
                  <c:v>0.4857142857142857</c:v>
                </c:pt>
                <c:pt idx="80">
                  <c:v>0.5</c:v>
                </c:pt>
                <c:pt idx="81">
                  <c:v>0.475</c:v>
                </c:pt>
                <c:pt idx="82">
                  <c:v>0.4</c:v>
                </c:pt>
                <c:pt idx="83">
                  <c:v>0.5</c:v>
                </c:pt>
                <c:pt idx="84">
                  <c:v>0.38461538461538464</c:v>
                </c:pt>
                <c:pt idx="85">
                  <c:v>0.3888888888888889</c:v>
                </c:pt>
                <c:pt idx="86">
                  <c:v>0.5135135135135135</c:v>
                </c:pt>
                <c:pt idx="87">
                  <c:v>0.4782608695652174</c:v>
                </c:pt>
                <c:pt idx="88">
                  <c:v>0.37037037037037035</c:v>
                </c:pt>
                <c:pt idx="89">
                  <c:v>0.5</c:v>
                </c:pt>
                <c:pt idx="90">
                  <c:v>0.4339622641509434</c:v>
                </c:pt>
                <c:pt idx="91">
                  <c:v>0.453781512605042</c:v>
                </c:pt>
                <c:pt idx="92">
                  <c:v>0.4024390243902439</c:v>
                </c:pt>
                <c:pt idx="93">
                  <c:v>0.47368421052631576</c:v>
                </c:pt>
                <c:pt idx="94">
                  <c:v>0.425</c:v>
                </c:pt>
                <c:pt idx="95">
                  <c:v>0.3407821229050279</c:v>
                </c:pt>
                <c:pt idx="96">
                  <c:v>0.38735177865612647</c:v>
                </c:pt>
                <c:pt idx="97">
                  <c:v>0.34415584415584416</c:v>
                </c:pt>
                <c:pt idx="98">
                  <c:v>0.38461538461538464</c:v>
                </c:pt>
                <c:pt idx="99">
                  <c:v>0.4589041095890411</c:v>
                </c:pt>
                <c:pt idx="100">
                  <c:v>0.42105263157894735</c:v>
                </c:pt>
                <c:pt idx="101">
                  <c:v>0.3854166666666667</c:v>
                </c:pt>
                <c:pt idx="102">
                  <c:v>0.27710843373493976</c:v>
                </c:pt>
                <c:pt idx="103">
                  <c:v>0.35135135135135137</c:v>
                </c:pt>
                <c:pt idx="104">
                  <c:v>0.3671875</c:v>
                </c:pt>
                <c:pt idx="105">
                  <c:v>0.46621621621621623</c:v>
                </c:pt>
                <c:pt idx="106">
                  <c:v>0.3709677419354839</c:v>
                </c:pt>
                <c:pt idx="107">
                  <c:v>0.4028776978417266</c:v>
                </c:pt>
                <c:pt idx="108">
                  <c:v>0.42142857142857143</c:v>
                </c:pt>
                <c:pt idx="109">
                  <c:v>0.3813953488372093</c:v>
                </c:pt>
                <c:pt idx="110">
                  <c:v>0.36065573770491804</c:v>
                </c:pt>
                <c:pt idx="111">
                  <c:v>0.365</c:v>
                </c:pt>
                <c:pt idx="112">
                  <c:v>0.34710743801652894</c:v>
                </c:pt>
                <c:pt idx="113">
                  <c:v>0.37383177570093457</c:v>
                </c:pt>
                <c:pt idx="114">
                  <c:v>0.2911392405063291</c:v>
                </c:pt>
                <c:pt idx="115">
                  <c:v>0.3611111111111111</c:v>
                </c:pt>
                <c:pt idx="116">
                  <c:v>0.40816326530612246</c:v>
                </c:pt>
                <c:pt idx="117">
                  <c:v>0.43636363636363634</c:v>
                </c:pt>
                <c:pt idx="118">
                  <c:v>0.4461538461538462</c:v>
                </c:pt>
                <c:pt idx="119">
                  <c:v>0.4722222222222222</c:v>
                </c:pt>
                <c:pt idx="120">
                  <c:v>0.3829787234042553</c:v>
                </c:pt>
                <c:pt idx="121">
                  <c:v>0.39622641509433965</c:v>
                </c:pt>
                <c:pt idx="122">
                  <c:v>0.4186046511627907</c:v>
                </c:pt>
                <c:pt idx="123">
                  <c:v>0.5510204081632653</c:v>
                </c:pt>
                <c:pt idx="124">
                  <c:v>0.4</c:v>
                </c:pt>
                <c:pt idx="125">
                  <c:v>0.45714285714285713</c:v>
                </c:pt>
                <c:pt idx="126">
                  <c:v>0.5217391304347826</c:v>
                </c:pt>
                <c:pt idx="127">
                  <c:v>0.4411764705882353</c:v>
                </c:pt>
                <c:pt idx="128">
                  <c:v>0.5306122448979592</c:v>
                </c:pt>
                <c:pt idx="129">
                  <c:v>0.5147058823529411</c:v>
                </c:pt>
                <c:pt idx="130">
                  <c:v>0.4745762711864407</c:v>
                </c:pt>
                <c:pt idx="131">
                  <c:v>0.38235294117647056</c:v>
                </c:pt>
                <c:pt idx="132">
                  <c:v>0.15942028985507245</c:v>
                </c:pt>
                <c:pt idx="133">
                  <c:v>0.5434782608695652</c:v>
                </c:pt>
                <c:pt idx="134">
                  <c:v>0.48148148148148145</c:v>
                </c:pt>
                <c:pt idx="135">
                  <c:v>0.4696969696969697</c:v>
                </c:pt>
                <c:pt idx="136">
                  <c:v>0.421875</c:v>
                </c:pt>
                <c:pt idx="137">
                  <c:v>0.4411764705882353</c:v>
                </c:pt>
                <c:pt idx="138">
                  <c:v>0.46464646464646464</c:v>
                </c:pt>
                <c:pt idx="139">
                  <c:v>0.41379310344827586</c:v>
                </c:pt>
                <c:pt idx="140">
                  <c:v>0.4244604316546763</c:v>
                </c:pt>
                <c:pt idx="141">
                  <c:v>0.5271739130434783</c:v>
                </c:pt>
              </c:numCache>
            </c:numRef>
          </c:yVal>
          <c:smooth val="0"/>
          <c:extLst>
            <c:ext xmlns:c16="http://schemas.microsoft.com/office/drawing/2014/chart" uri="{C3380CC4-5D6E-409C-BE32-E72D297353CC}">
              <c16:uniqueId val="{00000000-096C-4121-9522-6AB7243CCAAE}"/>
            </c:ext>
          </c:extLst>
        </c:ser>
        <c:ser>
          <c:idx val="1"/>
          <c:order val="1"/>
          <c:tx>
            <c:strRef>
              <c:f>Sheet1!$B$14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6:$A$154</c:f>
              <c:numCache>
                <c:formatCode>General</c:formatCode>
                <c:ptCount val="9"/>
                <c:pt idx="0">
                  <c:v>0.3210072597864769</c:v>
                </c:pt>
                <c:pt idx="1">
                  <c:v>0.4680659375</c:v>
                </c:pt>
                <c:pt idx="2">
                  <c:v>0.36051388360593384</c:v>
                </c:pt>
                <c:pt idx="3">
                  <c:v>0.7131331707317073</c:v>
                </c:pt>
                <c:pt idx="4">
                  <c:v>0.43560239693192715</c:v>
                </c:pt>
                <c:pt idx="5">
                  <c:v>0.4170338114754098</c:v>
                </c:pt>
                <c:pt idx="6">
                  <c:v>0.5016274056029233</c:v>
                </c:pt>
                <c:pt idx="7">
                  <c:v>0.7486684881602914</c:v>
                </c:pt>
                <c:pt idx="8">
                  <c:v>0.320206431372549</c:v>
                </c:pt>
              </c:numCache>
            </c:numRef>
          </c:xVal>
          <c:yVal>
            <c:numRef>
              <c:f>Sheet1!$B$146:$B$154</c:f>
              <c:numCache>
                <c:formatCode>General</c:formatCode>
                <c:ptCount val="9"/>
                <c:pt idx="0">
                  <c:v>0.39520958083832336</c:v>
                </c:pt>
                <c:pt idx="1">
                  <c:v>0.32057416267942584</c:v>
                </c:pt>
                <c:pt idx="2">
                  <c:v>0.3701657458563536</c:v>
                </c:pt>
                <c:pt idx="3">
                  <c:v>0.38235294117647056</c:v>
                </c:pt>
                <c:pt idx="4">
                  <c:v>0.42</c:v>
                </c:pt>
                <c:pt idx="5">
                  <c:v>0.49079754601226994</c:v>
                </c:pt>
                <c:pt idx="6">
                  <c:v>0.46564885496183206</c:v>
                </c:pt>
                <c:pt idx="7">
                  <c:v>0.5467128027681661</c:v>
                </c:pt>
                <c:pt idx="8">
                  <c:v>0.4840764331210191</c:v>
                </c:pt>
              </c:numCache>
            </c:numRef>
          </c:yVal>
          <c:smooth val="0"/>
          <c:extLst>
            <c:ext xmlns:c16="http://schemas.microsoft.com/office/drawing/2014/chart" uri="{C3380CC4-5D6E-409C-BE32-E72D297353CC}">
              <c16:uniqueId val="{00000002-096C-4121-9522-6AB7243CCAAE}"/>
            </c:ext>
          </c:extLst>
        </c:ser>
        <c:ser>
          <c:idx val="2"/>
          <c:order val="2"/>
          <c:tx>
            <c:strRef>
              <c:f>Sheet1!$B$15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7:$A$158</c:f>
              <c:numCache>
                <c:formatCode>General</c:formatCode>
                <c:ptCount val="2"/>
                <c:pt idx="0">
                  <c:v>0</c:v>
                </c:pt>
                <c:pt idx="1">
                  <c:v>1.0357463662463693</c:v>
                </c:pt>
              </c:numCache>
            </c:numRef>
          </c:xVal>
          <c:yVal>
            <c:numRef>
              <c:f>Sheet1!$B$157:$B$158</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5-096C-4121-9522-6AB7243CCAAE}"/>
            </c:ext>
          </c:extLst>
        </c:ser>
        <c:ser>
          <c:idx val="3"/>
          <c:order val="3"/>
          <c:tx>
            <c:strRef>
              <c:f>Sheet1!$B$16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0357463662463693</c:v>
                </c:pt>
                <c:pt idx="1">
                  <c:v>1.0357463662463693</c:v>
                </c:pt>
              </c:numCache>
            </c:numRef>
          </c:xVal>
          <c:yVal>
            <c:numRef>
              <c:f>Sheet1!$B$161:$B$162</c:f>
              <c:numCache>
                <c:formatCode>General</c:formatCode>
                <c:ptCount val="2"/>
                <c:pt idx="0">
                  <c:v>0.495605895146834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5:$A$166</c:f>
              <c:numCache>
                <c:formatCode>General</c:formatCode>
                <c:ptCount val="2"/>
                <c:pt idx="0">
                  <c:v>0</c:v>
                </c:pt>
                <c:pt idx="1">
                  <c:v>1.0357463662463693</c:v>
                </c:pt>
              </c:numCache>
            </c:numRef>
          </c:xVal>
          <c:yVal>
            <c:numRef>
              <c:f>Sheet1!$B$165:$B$166</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D-096C-4121-9522-6AB7243CCAAE}"/>
            </c:ext>
          </c:extLst>
        </c:ser>
        <c:ser>
          <c:idx val="5"/>
          <c:order val="5"/>
          <c:tx>
            <c:strRef>
              <c:f>Sheet1!$B$16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1.0357463662463693</c:v>
                </c:pt>
                <c:pt idx="1">
                  <c:v>1.0357463662463693</c:v>
                </c:pt>
              </c:numCache>
            </c:numRef>
          </c:xVal>
          <c:yVal>
            <c:numRef>
              <c:f>Sheet1!$B$169:$B$170</c:f>
              <c:numCache>
                <c:formatCode>General</c:formatCode>
                <c:ptCount val="2"/>
                <c:pt idx="0">
                  <c:v>0.495605895146834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3:$A$174</c:f>
              <c:numCache>
                <c:formatCode>General</c:formatCode>
                <c:ptCount val="2"/>
                <c:pt idx="0">
                  <c:v>0</c:v>
                </c:pt>
                <c:pt idx="1">
                  <c:v>0.858350496083284</c:v>
                </c:pt>
              </c:numCache>
            </c:numRef>
          </c:xVal>
          <c:yVal>
            <c:numRef>
              <c:f>Sheet1!$B$173:$B$174</c:f>
              <c:numCache>
                <c:formatCode>General</c:formatCode>
                <c:ptCount val="2"/>
                <c:pt idx="0">
                  <c:v>0.47500136402249493</c:v>
                </c:pt>
                <c:pt idx="1">
                  <c:v>0.47500136402249493</c:v>
                </c:pt>
              </c:numCache>
            </c:numRef>
          </c:yVal>
          <c:smooth val="0"/>
          <c:extLst>
            <c:ext xmlns:c16="http://schemas.microsoft.com/office/drawing/2014/chart" uri="{C3380CC4-5D6E-409C-BE32-E72D297353CC}">
              <c16:uniqueId val="{00000015-096C-4121-9522-6AB7243CCAAE}"/>
            </c:ext>
          </c:extLst>
        </c:ser>
        <c:ser>
          <c:idx val="7"/>
          <c:order val="7"/>
          <c:tx>
            <c:strRef>
              <c:f>Sheet1!$B$17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7:$A$178</c:f>
              <c:numCache>
                <c:formatCode>General</c:formatCode>
                <c:ptCount val="2"/>
                <c:pt idx="0">
                  <c:v>0.858350496083284</c:v>
                </c:pt>
                <c:pt idx="1">
                  <c:v>0.858350496083284</c:v>
                </c:pt>
              </c:numCache>
            </c:numRef>
          </c:xVal>
          <c:yVal>
            <c:numRef>
              <c:f>Sheet1!$B$177:$B$178</c:f>
              <c:numCache>
                <c:formatCode>General</c:formatCode>
                <c:ptCount val="2"/>
                <c:pt idx="0">
                  <c:v>0.475001364022494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1:$A$192</c:f>
              <c:numCache>
                <c:formatCode>General</c:formatCode>
                <c:ptCount val="12"/>
                <c:pt idx="0">
                  <c:v>0.3210072597864769</c:v>
                </c:pt>
                <c:pt idx="1">
                  <c:v>0.4680659375</c:v>
                </c:pt>
                <c:pt idx="2">
                  <c:v>0.36051388360593384</c:v>
                </c:pt>
                <c:pt idx="3">
                  <c:v>0.7131331707317073</c:v>
                </c:pt>
                <c:pt idx="4">
                  <c:v>0.43560239693192715</c:v>
                </c:pt>
                <c:pt idx="5">
                  <c:v>0.4170338114754098</c:v>
                </c:pt>
                <c:pt idx="6">
                  <c:v>0.5016274056029233</c:v>
                </c:pt>
                <c:pt idx="7">
                  <c:v>0.7486684881602914</c:v>
                </c:pt>
                <c:pt idx="8">
                  <c:v>0.320206431372549</c:v>
                </c:pt>
                <c:pt idx="9">
                  <c:v>1.0357463662463693</c:v>
                </c:pt>
                <c:pt idx="10">
                  <c:v>1.0357463662463693</c:v>
                </c:pt>
                <c:pt idx="11">
                  <c:v>0.858350496083284</c:v>
                </c:pt>
              </c:numCache>
            </c:numRef>
          </c:xVal>
          <c:yVal>
            <c:numRef>
              <c:f>Sheet1!$B$181:$B$192</c:f>
              <c:numCache>
                <c:formatCode>General</c:formatCode>
                <c:ptCount val="12"/>
                <c:pt idx="0">
                  <c:v>0.41258894468853513</c:v>
                </c:pt>
                <c:pt idx="1">
                  <c:v>0.4296698107722097</c:v>
                </c:pt>
                <c:pt idx="2">
                  <c:v>0.41717763922441836</c:v>
                </c:pt>
                <c:pt idx="3">
                  <c:v>0.4581343710240152</c:v>
                </c:pt>
                <c:pt idx="4">
                  <c:v>0.42589917038793135</c:v>
                </c:pt>
                <c:pt idx="5">
                  <c:v>0.42374242910290566</c:v>
                </c:pt>
                <c:pt idx="6">
                  <c:v>0.4335679754446426</c:v>
                </c:pt>
                <c:pt idx="7">
                  <c:v>0.46226179830457953</c:v>
                </c:pt>
                <c:pt idx="8">
                  <c:v>0.41249592846462385</c:v>
                </c:pt>
                <c:pt idx="9">
                  <c:v>0.49560589514683495</c:v>
                </c:pt>
                <c:pt idx="10">
                  <c:v>0.49560589514683495</c:v>
                </c:pt>
                <c:pt idx="11">
                  <c:v>0.475001364022494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12244897959183"/>
          <c:min val="0.127536231884057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2</c:f>
              <c:numCache>
                <c:formatCode>General</c:formatCode>
                <c:ptCount val="101"/>
                <c:pt idx="0">
                  <c:v>308.6585</c:v>
                </c:pt>
                <c:pt idx="1">
                  <c:v>300.2982</c:v>
                </c:pt>
                <c:pt idx="2">
                  <c:v>300.9111</c:v>
                </c:pt>
                <c:pt idx="3">
                  <c:v>287.4328</c:v>
                </c:pt>
                <c:pt idx="4">
                  <c:v>309.1778</c:v>
                </c:pt>
                <c:pt idx="5">
                  <c:v>312.9836</c:v>
                </c:pt>
                <c:pt idx="6">
                  <c:v>296.8769</c:v>
                </c:pt>
                <c:pt idx="7">
                  <c:v>308.9831</c:v>
                </c:pt>
                <c:pt idx="8">
                  <c:v>311.0781</c:v>
                </c:pt>
                <c:pt idx="9">
                  <c:v>304.6479</c:v>
                </c:pt>
                <c:pt idx="10">
                  <c:v>309.9677</c:v>
                </c:pt>
                <c:pt idx="11">
                  <c:v>317.4255</c:v>
                </c:pt>
                <c:pt idx="12">
                  <c:v>315.5542</c:v>
                </c:pt>
                <c:pt idx="13">
                  <c:v>309.618</c:v>
                </c:pt>
                <c:pt idx="14">
                  <c:v>279.3953</c:v>
                </c:pt>
                <c:pt idx="15">
                  <c:v>287.3571</c:v>
                </c:pt>
                <c:pt idx="16">
                  <c:v>319.9688</c:v>
                </c:pt>
                <c:pt idx="17">
                  <c:v>321.8387</c:v>
                </c:pt>
                <c:pt idx="18">
                  <c:v>311.4737</c:v>
                </c:pt>
                <c:pt idx="19">
                  <c:v>341.0909</c:v>
                </c:pt>
                <c:pt idx="20">
                  <c:v>315.44</c:v>
                </c:pt>
                <c:pt idx="21">
                  <c:v>324.6522</c:v>
                </c:pt>
                <c:pt idx="22">
                  <c:v>330.9091</c:v>
                </c:pt>
                <c:pt idx="23">
                  <c:v>346.1579</c:v>
                </c:pt>
                <c:pt idx="24">
                  <c:v>356.2</c:v>
                </c:pt>
                <c:pt idx="25">
                  <c:v>333.7368</c:v>
                </c:pt>
                <c:pt idx="26">
                  <c:v>334.8095</c:v>
                </c:pt>
                <c:pt idx="27">
                  <c:v>341.4706</c:v>
                </c:pt>
                <c:pt idx="28">
                  <c:v>347.8125</c:v>
                </c:pt>
                <c:pt idx="29">
                  <c:v>354.4706</c:v>
                </c:pt>
                <c:pt idx="30">
                  <c:v>323.4615</c:v>
                </c:pt>
                <c:pt idx="31">
                  <c:v>330.8519</c:v>
                </c:pt>
                <c:pt idx="32">
                  <c:v>353.64</c:v>
                </c:pt>
                <c:pt idx="33">
                  <c:v>341.8387</c:v>
                </c:pt>
                <c:pt idx="34">
                  <c:v>330.25</c:v>
                </c:pt>
                <c:pt idx="35">
                  <c:v>333.1053</c:v>
                </c:pt>
                <c:pt idx="36">
                  <c:v>313.1875</c:v>
                </c:pt>
                <c:pt idx="37">
                  <c:v>347.1818</c:v>
                </c:pt>
                <c:pt idx="38">
                  <c:v>331.65</c:v>
                </c:pt>
                <c:pt idx="39">
                  <c:v>336.6</c:v>
                </c:pt>
                <c:pt idx="40">
                  <c:v>352.0</c:v>
                </c:pt>
                <c:pt idx="41">
                  <c:v>337.5116</c:v>
                </c:pt>
                <c:pt idx="42">
                  <c:v>332.9577</c:v>
                </c:pt>
                <c:pt idx="43">
                  <c:v>335.0</c:v>
                </c:pt>
                <c:pt idx="44">
                  <c:v>336.7759</c:v>
                </c:pt>
                <c:pt idx="45">
                  <c:v>341.7945</c:v>
                </c:pt>
                <c:pt idx="46">
                  <c:v>333.9766</c:v>
                </c:pt>
                <c:pt idx="47">
                  <c:v>351.0328</c:v>
                </c:pt>
                <c:pt idx="48">
                  <c:v>359.6393</c:v>
                </c:pt>
                <c:pt idx="49">
                  <c:v>350.7708</c:v>
                </c:pt>
                <c:pt idx="50">
                  <c:v>350.1837</c:v>
                </c:pt>
                <c:pt idx="51">
                  <c:v>353.8444</c:v>
                </c:pt>
                <c:pt idx="52">
                  <c:v>354.9756</c:v>
                </c:pt>
                <c:pt idx="53">
                  <c:v>369.4423</c:v>
                </c:pt>
                <c:pt idx="54">
                  <c:v>347.3478</c:v>
                </c:pt>
                <c:pt idx="55">
                  <c:v>336.9839</c:v>
                </c:pt>
                <c:pt idx="56">
                  <c:v>366.9</c:v>
                </c:pt>
                <c:pt idx="57">
                  <c:v>359.6032</c:v>
                </c:pt>
                <c:pt idx="58">
                  <c:v>357.1084</c:v>
                </c:pt>
                <c:pt idx="59">
                  <c:v>378.1513</c:v>
                </c:pt>
                <c:pt idx="60">
                  <c:v>369.4955</c:v>
                </c:pt>
                <c:pt idx="61">
                  <c:v>388.5676</c:v>
                </c:pt>
                <c:pt idx="62">
                  <c:v>380.844</c:v>
                </c:pt>
                <c:pt idx="63">
                  <c:v>366.1695</c:v>
                </c:pt>
                <c:pt idx="64">
                  <c:v>375.9625</c:v>
                </c:pt>
                <c:pt idx="65">
                  <c:v>392.4314</c:v>
                </c:pt>
                <c:pt idx="66">
                  <c:v>385.5818</c:v>
                </c:pt>
                <c:pt idx="67">
                  <c:v>393.4444</c:v>
                </c:pt>
                <c:pt idx="68">
                  <c:v>408.0976</c:v>
                </c:pt>
                <c:pt idx="69">
                  <c:v>426.9474</c:v>
                </c:pt>
                <c:pt idx="70">
                  <c:v>398.35</c:v>
                </c:pt>
                <c:pt idx="71">
                  <c:v>432.3784</c:v>
                </c:pt>
                <c:pt idx="72">
                  <c:v>401.4615</c:v>
                </c:pt>
                <c:pt idx="73">
                  <c:v>418.8077</c:v>
                </c:pt>
                <c:pt idx="74">
                  <c:v>399.5556</c:v>
                </c:pt>
                <c:pt idx="75">
                  <c:v>389.6522</c:v>
                </c:pt>
                <c:pt idx="76">
                  <c:v>430.0</c:v>
                </c:pt>
                <c:pt idx="77">
                  <c:v>426.8667</c:v>
                </c:pt>
                <c:pt idx="78">
                  <c:v>415.8421</c:v>
                </c:pt>
                <c:pt idx="79">
                  <c:v>402.6471</c:v>
                </c:pt>
                <c:pt idx="80">
                  <c:v>442.8462</c:v>
                </c:pt>
                <c:pt idx="81">
                  <c:v>296.6842</c:v>
                </c:pt>
                <c:pt idx="82">
                  <c:v>374.625</c:v>
                </c:pt>
                <c:pt idx="83">
                  <c:v>386.931</c:v>
                </c:pt>
                <c:pt idx="84">
                  <c:v>391.2667</c:v>
                </c:pt>
                <c:pt idx="85">
                  <c:v>374.1429</c:v>
                </c:pt>
                <c:pt idx="86">
                  <c:v>375.7895</c:v>
                </c:pt>
                <c:pt idx="87">
                  <c:v>391.0455</c:v>
                </c:pt>
                <c:pt idx="88">
                  <c:v>364.45</c:v>
                </c:pt>
                <c:pt idx="89">
                  <c:v>396.6667</c:v>
                </c:pt>
                <c:pt idx="90">
                  <c:v>410.3478</c:v>
                </c:pt>
                <c:pt idx="91">
                  <c:v>408.1111</c:v>
                </c:pt>
                <c:pt idx="92">
                  <c:v>423.1212</c:v>
                </c:pt>
                <c:pt idx="93">
                  <c:v>401.1333</c:v>
                </c:pt>
                <c:pt idx="94">
                  <c:v>374.3725</c:v>
                </c:pt>
                <c:pt idx="95">
                  <c:v>409.7869</c:v>
                </c:pt>
                <c:pt idx="96">
                  <c:v>403.0612</c:v>
                </c:pt>
                <c:pt idx="97">
                  <c:v>398.4906</c:v>
                </c:pt>
                <c:pt idx="98">
                  <c:v>396.125</c:v>
                </c:pt>
                <c:pt idx="99">
                  <c:v>258.7612</c:v>
                </c:pt>
                <c:pt idx="100">
                  <c:v>322.0625</c:v>
                </c:pt>
              </c:numCache>
            </c:numRef>
          </c:xVal>
          <c:yVal>
            <c:numRef>
              <c:f>Sheet1!$B$2:$B$102</c:f>
              <c:numCache>
                <c:formatCode>General</c:formatCode>
                <c:ptCount val="101"/>
                <c:pt idx="0">
                  <c:v>0.29927007299270075</c:v>
                </c:pt>
                <c:pt idx="1">
                  <c:v>0.38513513513513514</c:v>
                </c:pt>
                <c:pt idx="2">
                  <c:v>0.2922077922077922</c:v>
                </c:pt>
                <c:pt idx="3">
                  <c:v>0.4161490683229814</c:v>
                </c:pt>
                <c:pt idx="4">
                  <c:v>0.32142857142857145</c:v>
                </c:pt>
                <c:pt idx="5">
                  <c:v>0.37888198757763975</c:v>
                </c:pt>
                <c:pt idx="6">
                  <c:v>0.4140127388535032</c:v>
                </c:pt>
                <c:pt idx="7">
                  <c:v>0.37579617834394907</c:v>
                </c:pt>
                <c:pt idx="8">
                  <c:v>0.34782608695652173</c:v>
                </c:pt>
                <c:pt idx="9">
                  <c:v>0.3169642857142857</c:v>
                </c:pt>
                <c:pt idx="10">
                  <c:v>0.3549618320610687</c:v>
                </c:pt>
                <c:pt idx="11">
                  <c:v>0.39662447257383965</c:v>
                </c:pt>
                <c:pt idx="12">
                  <c:v>0.36403508771929827</c:v>
                </c:pt>
                <c:pt idx="13">
                  <c:v>0.3755274261603376</c:v>
                </c:pt>
                <c:pt idx="14">
                  <c:v>0.35684647302904565</c:v>
                </c:pt>
                <c:pt idx="15">
                  <c:v>0.2962962962962963</c:v>
                </c:pt>
                <c:pt idx="16">
                  <c:v>0.256</c:v>
                </c:pt>
                <c:pt idx="17">
                  <c:v>0.20666666666666667</c:v>
                </c:pt>
                <c:pt idx="18">
                  <c:v>0.19387755102040816</c:v>
                </c:pt>
                <c:pt idx="19">
                  <c:v>0.16417910447761194</c:v>
                </c:pt>
                <c:pt idx="20">
                  <c:v>0.20833333333333334</c:v>
                </c:pt>
                <c:pt idx="21">
                  <c:v>0.1619718309859155</c:v>
                </c:pt>
                <c:pt idx="22">
                  <c:v>0.21359223300970873</c:v>
                </c:pt>
                <c:pt idx="23">
                  <c:v>0.20652173913043478</c:v>
                </c:pt>
                <c:pt idx="24">
                  <c:v>0.3</c:v>
                </c:pt>
                <c:pt idx="25">
                  <c:v>0.35185185185185186</c:v>
                </c:pt>
                <c:pt idx="26">
                  <c:v>0.3684210526315789</c:v>
                </c:pt>
                <c:pt idx="27">
                  <c:v>0.37777777777777777</c:v>
                </c:pt>
                <c:pt idx="28">
                  <c:v>0.4</c:v>
                </c:pt>
                <c:pt idx="29">
                  <c:v>0.40476190476190477</c:v>
                </c:pt>
                <c:pt idx="30">
                  <c:v>0.30952380952380953</c:v>
                </c:pt>
                <c:pt idx="31">
                  <c:v>0.48214285714285715</c:v>
                </c:pt>
                <c:pt idx="32">
                  <c:v>0.3472222222222222</c:v>
                </c:pt>
                <c:pt idx="33">
                  <c:v>0.4246575342465753</c:v>
                </c:pt>
                <c:pt idx="34">
                  <c:v>0.35714285714285715</c:v>
                </c:pt>
                <c:pt idx="35">
                  <c:v>0.3584905660377358</c:v>
                </c:pt>
                <c:pt idx="36">
                  <c:v>0.3333333333333333</c:v>
                </c:pt>
                <c:pt idx="37">
                  <c:v>0.3235294117647059</c:v>
                </c:pt>
                <c:pt idx="38">
                  <c:v>0.29411764705882354</c:v>
                </c:pt>
                <c:pt idx="39">
                  <c:v>0.38961038961038963</c:v>
                </c:pt>
                <c:pt idx="40">
                  <c:v>0.2897196261682243</c:v>
                </c:pt>
                <c:pt idx="41">
                  <c:v>0.3644067796610169</c:v>
                </c:pt>
                <c:pt idx="42">
                  <c:v>0.3879781420765027</c:v>
                </c:pt>
                <c:pt idx="43">
                  <c:v>0.38497652582159625</c:v>
                </c:pt>
                <c:pt idx="44">
                  <c:v>0.28292682926829266</c:v>
                </c:pt>
                <c:pt idx="45">
                  <c:v>0.3067226890756303</c:v>
                </c:pt>
                <c:pt idx="46">
                  <c:v>0.3248730964467005</c:v>
                </c:pt>
                <c:pt idx="47">
                  <c:v>0.32972972972972975</c:v>
                </c:pt>
                <c:pt idx="48">
                  <c:v>0.3567251461988304</c:v>
                </c:pt>
                <c:pt idx="49">
                  <c:v>0.366412213740458</c:v>
                </c:pt>
                <c:pt idx="50">
                  <c:v>0.3828125</c:v>
                </c:pt>
                <c:pt idx="51">
                  <c:v>0.39473684210526316</c:v>
                </c:pt>
                <c:pt idx="52">
                  <c:v>0.33884297520661155</c:v>
                </c:pt>
                <c:pt idx="53">
                  <c:v>0.3561643835616438</c:v>
                </c:pt>
                <c:pt idx="54">
                  <c:v>0.3026315789473684</c:v>
                </c:pt>
                <c:pt idx="55">
                  <c:v>0.3668639053254438</c:v>
                </c:pt>
                <c:pt idx="56">
                  <c:v>0.3333333333333333</c:v>
                </c:pt>
                <c:pt idx="57">
                  <c:v>0.3423913043478261</c:v>
                </c:pt>
                <c:pt idx="58">
                  <c:v>0.43455497382198954</c:v>
                </c:pt>
                <c:pt idx="59">
                  <c:v>0.47035573122529645</c:v>
                </c:pt>
                <c:pt idx="60">
                  <c:v>0.41729323308270677</c:v>
                </c:pt>
                <c:pt idx="61">
                  <c:v>0.40808823529411764</c:v>
                </c:pt>
                <c:pt idx="62">
                  <c:v>0.44129554655870445</c:v>
                </c:pt>
                <c:pt idx="63">
                  <c:v>0.44029850746268656</c:v>
                </c:pt>
                <c:pt idx="64">
                  <c:v>0.4371584699453552</c:v>
                </c:pt>
                <c:pt idx="65">
                  <c:v>0.4112903225806452</c:v>
                </c:pt>
                <c:pt idx="66">
                  <c:v>0.4435483870967742</c:v>
                </c:pt>
                <c:pt idx="67">
                  <c:v>0.4326923076923077</c:v>
                </c:pt>
                <c:pt idx="68">
                  <c:v>0.43157894736842106</c:v>
                </c:pt>
                <c:pt idx="69">
                  <c:v>0.4578313253012048</c:v>
                </c:pt>
                <c:pt idx="70">
                  <c:v>0.46511627906976744</c:v>
                </c:pt>
                <c:pt idx="71">
                  <c:v>0.45121951219512196</c:v>
                </c:pt>
                <c:pt idx="72">
                  <c:v>0.4727272727272727</c:v>
                </c:pt>
                <c:pt idx="73">
                  <c:v>0.4262295081967213</c:v>
                </c:pt>
                <c:pt idx="74">
                  <c:v>0.54</c:v>
                </c:pt>
                <c:pt idx="75">
                  <c:v>0.42592592592592593</c:v>
                </c:pt>
                <c:pt idx="76">
                  <c:v>0.38095238095238093</c:v>
                </c:pt>
                <c:pt idx="77">
                  <c:v>0.375</c:v>
                </c:pt>
                <c:pt idx="78">
                  <c:v>0.48717948717948717</c:v>
                </c:pt>
                <c:pt idx="79">
                  <c:v>0.4857142857142857</c:v>
                </c:pt>
                <c:pt idx="80">
                  <c:v>0.5</c:v>
                </c:pt>
                <c:pt idx="81">
                  <c:v>0.475</c:v>
                </c:pt>
                <c:pt idx="82">
                  <c:v>0.4</c:v>
                </c:pt>
                <c:pt idx="83">
                  <c:v>0.5</c:v>
                </c:pt>
                <c:pt idx="84">
                  <c:v>0.38461538461538464</c:v>
                </c:pt>
                <c:pt idx="85">
                  <c:v>0.3888888888888889</c:v>
                </c:pt>
                <c:pt idx="86">
                  <c:v>0.5135135135135135</c:v>
                </c:pt>
                <c:pt idx="87">
                  <c:v>0.4782608695652174</c:v>
                </c:pt>
                <c:pt idx="88">
                  <c:v>0.37037037037037035</c:v>
                </c:pt>
                <c:pt idx="89">
                  <c:v>0.5</c:v>
                </c:pt>
                <c:pt idx="90">
                  <c:v>0.4339622641509434</c:v>
                </c:pt>
                <c:pt idx="91">
                  <c:v>0.453781512605042</c:v>
                </c:pt>
                <c:pt idx="92">
                  <c:v>0.4024390243902439</c:v>
                </c:pt>
                <c:pt idx="93">
                  <c:v>0.47368421052631576</c:v>
                </c:pt>
                <c:pt idx="94">
                  <c:v>0.425</c:v>
                </c:pt>
                <c:pt idx="95">
                  <c:v>0.3407821229050279</c:v>
                </c:pt>
                <c:pt idx="96">
                  <c:v>0.38735177865612647</c:v>
                </c:pt>
                <c:pt idx="97">
                  <c:v>0.34415584415584416</c:v>
                </c:pt>
                <c:pt idx="98">
                  <c:v>0.38461538461538464</c:v>
                </c:pt>
                <c:pt idx="99">
                  <c:v>0.4589041095890411</c:v>
                </c:pt>
                <c:pt idx="100">
                  <c:v>0.42105263157894735</c:v>
                </c:pt>
              </c:numCache>
            </c:numRef>
          </c:yVal>
          <c:smooth val="0"/>
          <c:extLst>
            <c:ext xmlns:c16="http://schemas.microsoft.com/office/drawing/2014/chart" uri="{C3380CC4-5D6E-409C-BE32-E72D297353CC}">
              <c16:uniqueId val="{00000000-F32D-48B7-BC20-E66FC6253BAD}"/>
            </c:ext>
          </c:extLst>
        </c:ser>
        <c:ser>
          <c:idx val="1"/>
          <c:order val="1"/>
          <c:tx>
            <c:strRef>
              <c:f>Sheet1!$B$10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5:$A$154</c:f>
              <c:numCache>
                <c:formatCode>General</c:formatCode>
                <c:ptCount val="50"/>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38.5769</c:v>
                </c:pt>
                <c:pt idx="19">
                  <c:v>488.75</c:v>
                </c:pt>
                <c:pt idx="20">
                  <c:v>443.7917</c:v>
                </c:pt>
                <c:pt idx="21">
                  <c:v>455.3103</c:v>
                </c:pt>
                <c:pt idx="22">
                  <c:v>413.5882</c:v>
                </c:pt>
                <c:pt idx="23">
                  <c:v>454.3333</c:v>
                </c:pt>
                <c:pt idx="24">
                  <c:v>430.1111</c:v>
                </c:pt>
                <c:pt idx="25">
                  <c:v>432.2857</c:v>
                </c:pt>
                <c:pt idx="26">
                  <c:v>445.2222</c:v>
                </c:pt>
                <c:pt idx="27">
                  <c:v>409.3704</c:v>
                </c:pt>
                <c:pt idx="28">
                  <c:v>441.8333</c:v>
                </c:pt>
                <c:pt idx="29">
                  <c:v>446.1875</c:v>
                </c:pt>
                <c:pt idx="30">
                  <c:v>400.0833</c:v>
                </c:pt>
                <c:pt idx="31">
                  <c:v>440.4</c:v>
                </c:pt>
                <c:pt idx="32">
                  <c:v>416.9231</c:v>
                </c:pt>
                <c:pt idx="33">
                  <c:v>405.0857</c:v>
                </c:pt>
                <c:pt idx="34">
                  <c:v>410.1071</c:v>
                </c:pt>
                <c:pt idx="35">
                  <c:v>402.3077</c:v>
                </c:pt>
                <c:pt idx="36">
                  <c:v>470.3636</c:v>
                </c:pt>
                <c:pt idx="37">
                  <c:v>420.28</c:v>
                </c:pt>
                <c:pt idx="38">
                  <c:v>400.0385</c:v>
                </c:pt>
                <c:pt idx="39">
                  <c:v>438.9355</c:v>
                </c:pt>
                <c:pt idx="40">
                  <c:v>380.8889</c:v>
                </c:pt>
                <c:pt idx="41">
                  <c:v>385.9667</c:v>
                </c:pt>
                <c:pt idx="42">
                  <c:v>424.6957</c:v>
                </c:pt>
                <c:pt idx="43">
                  <c:v>407.025</c:v>
                </c:pt>
                <c:pt idx="44">
                  <c:v>411.8361</c:v>
                </c:pt>
                <c:pt idx="45">
                  <c:v>402.7667</c:v>
                </c:pt>
                <c:pt idx="46">
                  <c:v>403.9831</c:v>
                </c:pt>
                <c:pt idx="47">
                  <c:v>398.433</c:v>
                </c:pt>
                <c:pt idx="48">
                  <c:v>411.019</c:v>
                </c:pt>
                <c:pt idx="49">
                  <c:v>408.2632</c:v>
                </c:pt>
              </c:numCache>
            </c:numRef>
          </c:xVal>
          <c:yVal>
            <c:numRef>
              <c:f>Sheet1!$B$105:$B$154</c:f>
              <c:numCache>
                <c:formatCode>General</c:formatCode>
                <c:ptCount val="50"/>
                <c:pt idx="0">
                  <c:v>0.3854166666666667</c:v>
                </c:pt>
                <c:pt idx="1">
                  <c:v>0.27710843373493976</c:v>
                </c:pt>
                <c:pt idx="2">
                  <c:v>0.35135135135135137</c:v>
                </c:pt>
                <c:pt idx="3">
                  <c:v>0.3671875</c:v>
                </c:pt>
                <c:pt idx="4">
                  <c:v>0.46621621621621623</c:v>
                </c:pt>
                <c:pt idx="5">
                  <c:v>0.3709677419354839</c:v>
                </c:pt>
                <c:pt idx="6">
                  <c:v>0.4028776978417266</c:v>
                </c:pt>
                <c:pt idx="7">
                  <c:v>0.42142857142857143</c:v>
                </c:pt>
                <c:pt idx="8">
                  <c:v>0.39520958083832336</c:v>
                </c:pt>
                <c:pt idx="9">
                  <c:v>0.3813953488372093</c:v>
                </c:pt>
                <c:pt idx="10">
                  <c:v>0.36065573770491804</c:v>
                </c:pt>
                <c:pt idx="11">
                  <c:v>0.32057416267942584</c:v>
                </c:pt>
                <c:pt idx="12">
                  <c:v>0.365</c:v>
                </c:pt>
                <c:pt idx="13">
                  <c:v>0.3701657458563536</c:v>
                </c:pt>
                <c:pt idx="14">
                  <c:v>0.34710743801652894</c:v>
                </c:pt>
                <c:pt idx="15">
                  <c:v>0.37383177570093457</c:v>
                </c:pt>
                <c:pt idx="16">
                  <c:v>0.2911392405063291</c:v>
                </c:pt>
                <c:pt idx="17">
                  <c:v>0.3611111111111111</c:v>
                </c:pt>
                <c:pt idx="18">
                  <c:v>0.38235294117647056</c:v>
                </c:pt>
                <c:pt idx="19">
                  <c:v>0.40816326530612246</c:v>
                </c:pt>
                <c:pt idx="20">
                  <c:v>0.43636363636363634</c:v>
                </c:pt>
                <c:pt idx="21">
                  <c:v>0.4461538461538462</c:v>
                </c:pt>
                <c:pt idx="22">
                  <c:v>0.4722222222222222</c:v>
                </c:pt>
                <c:pt idx="23">
                  <c:v>0.42</c:v>
                </c:pt>
                <c:pt idx="24">
                  <c:v>0.3829787234042553</c:v>
                </c:pt>
                <c:pt idx="25">
                  <c:v>0.39622641509433965</c:v>
                </c:pt>
                <c:pt idx="26">
                  <c:v>0.4186046511627907</c:v>
                </c:pt>
                <c:pt idx="27">
                  <c:v>0.5510204081632653</c:v>
                </c:pt>
                <c:pt idx="28">
                  <c:v>0.4</c:v>
                </c:pt>
                <c:pt idx="29">
                  <c:v>0.45714285714285713</c:v>
                </c:pt>
                <c:pt idx="30">
                  <c:v>0.5217391304347826</c:v>
                </c:pt>
                <c:pt idx="31">
                  <c:v>0.4411764705882353</c:v>
                </c:pt>
                <c:pt idx="32">
                  <c:v>0.5306122448979592</c:v>
                </c:pt>
                <c:pt idx="33">
                  <c:v>0.5147058823529411</c:v>
                </c:pt>
                <c:pt idx="34">
                  <c:v>0.4745762711864407</c:v>
                </c:pt>
                <c:pt idx="35">
                  <c:v>0.38235294117647056</c:v>
                </c:pt>
                <c:pt idx="36">
                  <c:v>0.15942028985507245</c:v>
                </c:pt>
                <c:pt idx="37">
                  <c:v>0.5434782608695652</c:v>
                </c:pt>
                <c:pt idx="38">
                  <c:v>0.48148148148148145</c:v>
                </c:pt>
                <c:pt idx="39">
                  <c:v>0.4696969696969697</c:v>
                </c:pt>
                <c:pt idx="40">
                  <c:v>0.421875</c:v>
                </c:pt>
                <c:pt idx="41">
                  <c:v>0.4411764705882353</c:v>
                </c:pt>
                <c:pt idx="42">
                  <c:v>0.46464646464646464</c:v>
                </c:pt>
                <c:pt idx="43">
                  <c:v>0.49079754601226994</c:v>
                </c:pt>
                <c:pt idx="44">
                  <c:v>0.46564885496183206</c:v>
                </c:pt>
                <c:pt idx="45">
                  <c:v>0.41379310344827586</c:v>
                </c:pt>
                <c:pt idx="46">
                  <c:v>0.4244604316546763</c:v>
                </c:pt>
                <c:pt idx="47">
                  <c:v>0.5271739130434783</c:v>
                </c:pt>
                <c:pt idx="48">
                  <c:v>0.5467128027681661</c:v>
                </c:pt>
                <c:pt idx="49">
                  <c:v>0.4840764331210191</c:v>
                </c:pt>
              </c:numCache>
            </c:numRef>
          </c:yVal>
          <c:smooth val="0"/>
          <c:extLst>
            <c:ext xmlns:c16="http://schemas.microsoft.com/office/drawing/2014/chart" uri="{C3380CC4-5D6E-409C-BE32-E72D297353CC}">
              <c16:uniqueId val="{00000002-F32D-48B7-BC20-E66FC6253BAD}"/>
            </c:ext>
          </c:extLst>
        </c:ser>
        <c:ser>
          <c:idx val="2"/>
          <c:order val="2"/>
          <c:tx>
            <c:strRef>
              <c:f>Sheet1!$B$156</c:f>
              <c:strCache>
                <c:ptCount val="1"/>
                <c:pt idx="0">
                  <c:v>Custom Linep3yQ</c:v>
                </c:pt>
              </c:strCache>
            </c:strRef>
          </c:tx>
          <c:spPr>
            <a:ln w="19050" cap="rnd">
              <a:solidFill>
                <a:srgbClr val="C00000"/>
              </a:solidFill>
              <a:prstDash val="sysDot"/>
              <a:round/>
            </a:ln>
            <a:effectLst/>
          </c:spPr>
          <c:marker>
            <c:symbol val="none"/>
          </c:marker>
          <c:xVal>
            <c:numRef>
              <c:f>Sheet1!$A$157:$A$158</c:f>
              <c:numCache>
                <c:formatCode>General</c:formatCode>
                <c:ptCount val="2"/>
                <c:pt idx="0">
                  <c:v>0</c:v>
                </c:pt>
                <c:pt idx="1">
                  <c:v>383.974048151587</c:v>
                </c:pt>
              </c:numCache>
            </c:numRef>
          </c:xVal>
          <c:yVal>
            <c:numRef>
              <c:f>Sheet1!$B$157:$B$158</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3-F32D-48B7-BC20-E66FC6253BAD}"/>
            </c:ext>
          </c:extLst>
        </c:ser>
        <c:ser>
          <c:idx val="3"/>
          <c:order val="3"/>
          <c:tx>
            <c:strRef>
              <c:f>Sheet1!$B$16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383.974048151587</c:v>
                </c:pt>
                <c:pt idx="1">
                  <c:v>383.974048151587</c:v>
                </c:pt>
              </c:numCache>
            </c:numRef>
          </c:xVal>
          <c:yVal>
            <c:numRef>
              <c:f>Sheet1!$B$161:$B$162</c:f>
              <c:numCache>
                <c:formatCode>General</c:formatCode>
                <c:ptCount val="2"/>
                <c:pt idx="0">
                  <c:v>0.495605895146834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5:$A$166</c:f>
              <c:numCache>
                <c:formatCode>General</c:formatCode>
                <c:ptCount val="2"/>
                <c:pt idx="0">
                  <c:v>0</c:v>
                </c:pt>
                <c:pt idx="1">
                  <c:v>383.974048151587</c:v>
                </c:pt>
              </c:numCache>
            </c:numRef>
          </c:xVal>
          <c:yVal>
            <c:numRef>
              <c:f>Sheet1!$B$165:$B$166</c:f>
              <c:numCache>
                <c:formatCode>General</c:formatCode>
                <c:ptCount val="2"/>
                <c:pt idx="0">
                  <c:v>0.49560589514683495</c:v>
                </c:pt>
                <c:pt idx="1">
                  <c:v>0.49560589514683495</c:v>
                </c:pt>
              </c:numCache>
            </c:numRef>
          </c:yVal>
          <c:smooth val="0"/>
          <c:extLst>
            <c:ext xmlns:c16="http://schemas.microsoft.com/office/drawing/2014/chart" uri="{C3380CC4-5D6E-409C-BE32-E72D297353CC}">
              <c16:uniqueId val="{0000000A-F32D-48B7-BC20-E66FC6253BAD}"/>
            </c:ext>
          </c:extLst>
        </c:ser>
        <c:ser>
          <c:idx val="5"/>
          <c:order val="5"/>
          <c:tx>
            <c:strRef>
              <c:f>Sheet1!$B$16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83.974048151587</c:v>
                </c:pt>
                <c:pt idx="1">
                  <c:v>383.974048151587</c:v>
                </c:pt>
              </c:numCache>
            </c:numRef>
          </c:xVal>
          <c:yVal>
            <c:numRef>
              <c:f>Sheet1!$B$169:$B$170</c:f>
              <c:numCache>
                <c:formatCode>General</c:formatCode>
                <c:ptCount val="2"/>
                <c:pt idx="0">
                  <c:v>0.495605895146834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3:$A$174</c:f>
              <c:numCache>
                <c:formatCode>General</c:formatCode>
                <c:ptCount val="2"/>
                <c:pt idx="0">
                  <c:v>0</c:v>
                </c:pt>
                <c:pt idx="1">
                  <c:v>397.1879477238919</c:v>
                </c:pt>
              </c:numCache>
            </c:numRef>
          </c:xVal>
          <c:yVal>
            <c:numRef>
              <c:f>Sheet1!$B$173:$B$174</c:f>
              <c:numCache>
                <c:formatCode>General</c:formatCode>
                <c:ptCount val="2"/>
                <c:pt idx="0">
                  <c:v>0.47500136402249493</c:v>
                </c:pt>
                <c:pt idx="1">
                  <c:v>0.47500136402249493</c:v>
                </c:pt>
              </c:numCache>
            </c:numRef>
          </c:yVal>
          <c:smooth val="0"/>
          <c:extLst>
            <c:ext xmlns:c16="http://schemas.microsoft.com/office/drawing/2014/chart" uri="{C3380CC4-5D6E-409C-BE32-E72D297353CC}">
              <c16:uniqueId val="{00000011-F32D-48B7-BC20-E66FC6253BAD}"/>
            </c:ext>
          </c:extLst>
        </c:ser>
        <c:ser>
          <c:idx val="7"/>
          <c:order val="7"/>
          <c:tx>
            <c:strRef>
              <c:f>Sheet1!$B$17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7:$A$178</c:f>
              <c:numCache>
                <c:formatCode>General</c:formatCode>
                <c:ptCount val="2"/>
                <c:pt idx="0">
                  <c:v>397.1879477238919</c:v>
                </c:pt>
                <c:pt idx="1">
                  <c:v>397.1879477238919</c:v>
                </c:pt>
              </c:numCache>
            </c:numRef>
          </c:xVal>
          <c:yVal>
            <c:numRef>
              <c:f>Sheet1!$B$177:$B$178</c:f>
              <c:numCache>
                <c:formatCode>General</c:formatCode>
                <c:ptCount val="2"/>
                <c:pt idx="0">
                  <c:v>0.475001364022494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1:$A$233</c:f>
              <c:numCache>
                <c:formatCode>General</c:formatCode>
                <c:ptCount val="53"/>
                <c:pt idx="0">
                  <c:v>416.5676</c:v>
                </c:pt>
                <c:pt idx="1">
                  <c:v>421.7391</c:v>
                </c:pt>
                <c:pt idx="2">
                  <c:v>465.4615</c:v>
                </c:pt>
                <c:pt idx="3">
                  <c:v>428.4894</c:v>
                </c:pt>
                <c:pt idx="4">
                  <c:v>416.029</c:v>
                </c:pt>
                <c:pt idx="5">
                  <c:v>445.8913</c:v>
                </c:pt>
                <c:pt idx="6">
                  <c:v>426.2321</c:v>
                </c:pt>
                <c:pt idx="7">
                  <c:v>432.5593</c:v>
                </c:pt>
                <c:pt idx="8">
                  <c:v>451.0152</c:v>
                </c:pt>
                <c:pt idx="9">
                  <c:v>435.9634</c:v>
                </c:pt>
                <c:pt idx="10">
                  <c:v>463.0758</c:v>
                </c:pt>
                <c:pt idx="11">
                  <c:v>449.3433</c:v>
                </c:pt>
                <c:pt idx="12">
                  <c:v>431.726</c:v>
                </c:pt>
                <c:pt idx="13">
                  <c:v>473.8955</c:v>
                </c:pt>
                <c:pt idx="14">
                  <c:v>491.3333</c:v>
                </c:pt>
                <c:pt idx="15">
                  <c:v>482.675</c:v>
                </c:pt>
                <c:pt idx="16">
                  <c:v>511.0</c:v>
                </c:pt>
                <c:pt idx="17">
                  <c:v>454.3846</c:v>
                </c:pt>
                <c:pt idx="18">
                  <c:v>438.5769</c:v>
                </c:pt>
                <c:pt idx="19">
                  <c:v>488.75</c:v>
                </c:pt>
                <c:pt idx="20">
                  <c:v>443.7917</c:v>
                </c:pt>
                <c:pt idx="21">
                  <c:v>455.3103</c:v>
                </c:pt>
                <c:pt idx="22">
                  <c:v>413.5882</c:v>
                </c:pt>
                <c:pt idx="23">
                  <c:v>454.3333</c:v>
                </c:pt>
                <c:pt idx="24">
                  <c:v>430.1111</c:v>
                </c:pt>
                <c:pt idx="25">
                  <c:v>432.2857</c:v>
                </c:pt>
                <c:pt idx="26">
                  <c:v>445.2222</c:v>
                </c:pt>
                <c:pt idx="27">
                  <c:v>409.3704</c:v>
                </c:pt>
                <c:pt idx="28">
                  <c:v>441.8333</c:v>
                </c:pt>
                <c:pt idx="29">
                  <c:v>446.1875</c:v>
                </c:pt>
                <c:pt idx="30">
                  <c:v>400.0833</c:v>
                </c:pt>
                <c:pt idx="31">
                  <c:v>440.4</c:v>
                </c:pt>
                <c:pt idx="32">
                  <c:v>416.9231</c:v>
                </c:pt>
                <c:pt idx="33">
                  <c:v>405.0857</c:v>
                </c:pt>
                <c:pt idx="34">
                  <c:v>410.1071</c:v>
                </c:pt>
                <c:pt idx="35">
                  <c:v>402.3077</c:v>
                </c:pt>
                <c:pt idx="36">
                  <c:v>470.3636</c:v>
                </c:pt>
                <c:pt idx="37">
                  <c:v>420.28</c:v>
                </c:pt>
                <c:pt idx="38">
                  <c:v>400.0385</c:v>
                </c:pt>
                <c:pt idx="39">
                  <c:v>438.9355</c:v>
                </c:pt>
                <c:pt idx="40">
                  <c:v>380.8889</c:v>
                </c:pt>
                <c:pt idx="41">
                  <c:v>385.9667</c:v>
                </c:pt>
                <c:pt idx="42">
                  <c:v>424.6957</c:v>
                </c:pt>
                <c:pt idx="43">
                  <c:v>407.025</c:v>
                </c:pt>
                <c:pt idx="44">
                  <c:v>411.8361</c:v>
                </c:pt>
                <c:pt idx="45">
                  <c:v>402.7667</c:v>
                </c:pt>
                <c:pt idx="46">
                  <c:v>403.9831</c:v>
                </c:pt>
                <c:pt idx="47">
                  <c:v>398.433</c:v>
                </c:pt>
                <c:pt idx="48">
                  <c:v>411.019</c:v>
                </c:pt>
                <c:pt idx="49">
                  <c:v>408.2632</c:v>
                </c:pt>
                <c:pt idx="50">
                  <c:v>383.974048151587</c:v>
                </c:pt>
                <c:pt idx="51">
                  <c:v>383.974048151587</c:v>
                </c:pt>
                <c:pt idx="52">
                  <c:v>397.1879477238919</c:v>
                </c:pt>
              </c:numCache>
            </c:numRef>
          </c:xVal>
          <c:yVal>
            <c:numRef>
              <c:f>Sheet1!$B$181:$B$233</c:f>
              <c:numCache>
                <c:formatCode>General</c:formatCode>
                <c:ptCount val="53"/>
                <c:pt idx="0">
                  <c:v>0.44478252920261563</c:v>
                </c:pt>
                <c:pt idx="1">
                  <c:v>0.4367185710859023</c:v>
                </c:pt>
                <c:pt idx="2">
                  <c:v>0.36854191008576864</c:v>
                </c:pt>
                <c:pt idx="3">
                  <c:v>0.4261927784773263</c:v>
                </c:pt>
                <c:pt idx="4">
                  <c:v>0.4456223721575924</c:v>
                </c:pt>
                <c:pt idx="5">
                  <c:v>0.39905786737779314</c:v>
                </c:pt>
                <c:pt idx="6">
                  <c:v>0.4297126030266557</c:v>
                </c:pt>
                <c:pt idx="7">
                  <c:v>0.41984655337064314</c:v>
                </c:pt>
                <c:pt idx="8">
                  <c:v>0.39106813229237736</c:v>
                </c:pt>
                <c:pt idx="9">
                  <c:v>0.41453851511769835</c:v>
                </c:pt>
                <c:pt idx="10">
                  <c:v>0.37226194970271587</c:v>
                </c:pt>
                <c:pt idx="11">
                  <c:v>0.3936751383013367</c:v>
                </c:pt>
                <c:pt idx="12">
                  <c:v>0.4211459242105652</c:v>
                </c:pt>
                <c:pt idx="13">
                  <c:v>0.3553907116411469</c:v>
                </c:pt>
                <c:pt idx="14">
                  <c:v>0.3281998214066646</c:v>
                </c:pt>
                <c:pt idx="15">
                  <c:v>0.34170077249666553</c:v>
                </c:pt>
                <c:pt idx="16">
                  <c:v>0.29753339095245046</c:v>
                </c:pt>
                <c:pt idx="17">
                  <c:v>0.3858142020055255</c:v>
                </c:pt>
                <c:pt idx="18">
                  <c:v>0.4104632652795409</c:v>
                </c:pt>
                <c:pt idx="19">
                  <c:v>0.3322279801619398</c:v>
                </c:pt>
                <c:pt idx="20">
                  <c:v>0.40233178915326484</c:v>
                </c:pt>
                <c:pt idx="21">
                  <c:v>0.3843707511636728</c:v>
                </c:pt>
                <c:pt idx="22">
                  <c:v>0.44942832961118884</c:v>
                </c:pt>
                <c:pt idx="23">
                  <c:v>0.38589419447412987</c:v>
                </c:pt>
                <c:pt idx="24">
                  <c:v>0.4236640496988531</c:v>
                </c:pt>
                <c:pt idx="25">
                  <c:v>0.42027317986986623</c:v>
                </c:pt>
                <c:pt idx="26">
                  <c:v>0.4001011999458862</c:v>
                </c:pt>
                <c:pt idx="27">
                  <c:v>0.45600517627940373</c:v>
                </c:pt>
                <c:pt idx="28">
                  <c:v>0.4053855367266519</c:v>
                </c:pt>
                <c:pt idx="29">
                  <c:v>0.39859600053177746</c:v>
                </c:pt>
                <c:pt idx="30">
                  <c:v>0.47048661985007556</c:v>
                </c:pt>
                <c:pt idx="31">
                  <c:v>0.4076204919946952</c:v>
                </c:pt>
                <c:pt idx="32">
                  <c:v>0.444228195428954</c:v>
                </c:pt>
                <c:pt idx="33">
                  <c:v>0.4626863406113544</c:v>
                </c:pt>
                <c:pt idx="34">
                  <c:v>0.4548564345324092</c:v>
                </c:pt>
                <c:pt idx="35">
                  <c:v>0.46701809651355475</c:v>
                </c:pt>
                <c:pt idx="36">
                  <c:v>0.36089802937728144</c:v>
                </c:pt>
                <c:pt idx="37">
                  <c:v>0.4389937564843547</c:v>
                </c:pt>
                <c:pt idx="38">
                  <c:v>0.47055647682070867</c:v>
                </c:pt>
                <c:pt idx="39">
                  <c:v>0.4099040976530006</c:v>
                </c:pt>
                <c:pt idx="40">
                  <c:v>0.5004165894286204</c:v>
                </c:pt>
                <c:pt idx="41">
                  <c:v>0.49249873841343184</c:v>
                </c:pt>
                <c:pt idx="42">
                  <c:v>0.43210832288559775</c:v>
                </c:pt>
                <c:pt idx="43">
                  <c:v>0.4596623758089291</c:v>
                </c:pt>
                <c:pt idx="44">
                  <c:v>0.4521603920720404</c:v>
                </c:pt>
                <c:pt idx="45">
                  <c:v>0.46630237442604217</c:v>
                </c:pt>
                <c:pt idx="46">
                  <c:v>0.4644056329287648</c:v>
                </c:pt>
                <c:pt idx="47">
                  <c:v>0.47305994481962266</c:v>
                </c:pt>
                <c:pt idx="48">
                  <c:v>0.4534345021324032</c:v>
                </c:pt>
                <c:pt idx="49">
                  <c:v>0.4577316414107633</c:v>
                </c:pt>
                <c:pt idx="50">
                  <c:v>0.49560589514683495</c:v>
                </c:pt>
                <c:pt idx="51">
                  <c:v>0.49560589514683495</c:v>
                </c:pt>
                <c:pt idx="52">
                  <c:v>0.475001364022494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0"/>
          <c:min val="20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12244897959183"/>
          <c:min val="0.127536231884057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133325999744317</c:v>
                </c:pt>
                <c:pt idx="1">
                  <c:v>2.319048788673866</c:v>
                </c:pt>
                <c:pt idx="2">
                  <c:v>2.3886812326693603</c:v>
                </c:pt>
                <c:pt idx="3">
                  <c:v>2.4085751473894477</c:v>
                </c:pt>
                <c:pt idx="4">
                  <c:v>2.4265418392941487</c:v>
                </c:pt>
                <c:pt idx="5">
                  <c:v>1.9871794700832817</c:v>
                </c:pt>
                <c:pt idx="6">
                  <c:v>1.7251138553821748</c:v>
                </c:pt>
                <c:pt idx="7">
                  <c:v>1.7472182732070458</c:v>
                </c:pt>
                <c:pt idx="8">
                  <c:v>1.7692312275662558</c:v>
                </c:pt>
                <c:pt idx="9">
                  <c:v>1.8429032989828604</c:v>
                </c:pt>
                <c:pt idx="10">
                  <c:v>1.7606833705763958</c:v>
                </c:pt>
                <c:pt idx="11">
                  <c:v>1.8359924276975812</c:v>
                </c:pt>
                <c:pt idx="12">
                  <c:v>1.840415261221699</c:v>
                </c:pt>
                <c:pt idx="13">
                  <c:v>1.834989348541392</c:v>
                </c:pt>
                <c:pt idx="14">
                  <c:v>1.8754696050833009</c:v>
                </c:pt>
                <c:pt idx="15">
                  <c:v>1.9202124345445364</c:v>
                </c:pt>
                <c:pt idx="16">
                  <c:v>1.9270392984774516</c:v>
                </c:pt>
                <c:pt idx="17">
                  <c:v>2.2222903426974483</c:v>
                </c:pt>
                <c:pt idx="18">
                  <c:v>2.7021838962560545</c:v>
                </c:pt>
                <c:pt idx="19">
                  <c:v>2.6389232734480563</c:v>
                </c:pt>
                <c:pt idx="20">
                  <c:v>2.652788010089406</c:v>
                </c:pt>
                <c:pt idx="21">
                  <c:v>2.7019723187544327</c:v>
                </c:pt>
                <c:pt idx="22">
                  <c:v>2.7157542626725317</c:v>
                </c:pt>
                <c:pt idx="23">
                  <c:v>2.9227630133990425</c:v>
                </c:pt>
                <c:pt idx="24">
                  <c:v>2.8187416554519857</c:v>
                </c:pt>
                <c:pt idx="25">
                  <c:v>2.774222743585859</c:v>
                </c:pt>
                <c:pt idx="26">
                  <c:v>2.1544261570001417</c:v>
                </c:pt>
                <c:pt idx="27">
                  <c:v>2.086062778414791</c:v>
                </c:pt>
                <c:pt idx="28">
                  <c:v>2.019463670562755</c:v>
                </c:pt>
                <c:pt idx="29">
                  <c:v>1.9885321351430387</c:v>
                </c:pt>
                <c:pt idx="30">
                  <c:v>1.9698894676920062</c:v>
                </c:pt>
                <c:pt idx="31">
                  <c:v>1.8888174543789895</c:v>
                </c:pt>
                <c:pt idx="32">
                  <c:v>1.8362355261892405</c:v>
                </c:pt>
                <c:pt idx="33">
                  <c:v>1.7440779062928455</c:v>
                </c:pt>
                <c:pt idx="34">
                  <c:v>1.8276266496829063</c:v>
                </c:pt>
                <c:pt idx="35">
                  <c:v>1.9162688394908163</c:v>
                </c:pt>
                <c:pt idx="36">
                  <c:v>2.062094327472559</c:v>
                </c:pt>
                <c:pt idx="37">
                  <c:v>2.104413529434142</c:v>
                </c:pt>
                <c:pt idx="38">
                  <c:v>2.2232027493771365</c:v>
                </c:pt>
                <c:pt idx="39">
                  <c:v>2.252303173942574</c:v>
                </c:pt>
                <c:pt idx="40">
                  <c:v>2.2203842448990034</c:v>
                </c:pt>
                <c:pt idx="41">
                  <c:v>2.2712589493700204</c:v>
                </c:pt>
                <c:pt idx="42">
                  <c:v>2.3131201440773643</c:v>
                </c:pt>
                <c:pt idx="43">
                  <c:v>2.3238045029404546</c:v>
                </c:pt>
                <c:pt idx="44">
                  <c:v>2.2067142167162657</c:v>
                </c:pt>
                <c:pt idx="45">
                  <c:v>2.1494296179839583</c:v>
                </c:pt>
                <c:pt idx="46">
                  <c:v>2.178485713010779</c:v>
                </c:pt>
                <c:pt idx="47">
                  <c:v>2.1531476651043446</c:v>
                </c:pt>
                <c:pt idx="48">
                  <c:v>2.1446887957688943</c:v>
                </c:pt>
                <c:pt idx="49">
                  <c:v>2.081932761747308</c:v>
                </c:pt>
                <c:pt idx="50">
                  <c:v>2.0564335911929748</c:v>
                </c:pt>
                <c:pt idx="51">
                  <c:v>2.1025778861350233</c:v>
                </c:pt>
                <c:pt idx="52">
                  <c:v>2.115275869925572</c:v>
                </c:pt>
                <c:pt idx="53">
                  <c:v>2.228353633122225</c:v>
                </c:pt>
                <c:pt idx="54">
                  <c:v>2.3055588113414074</c:v>
                </c:pt>
                <c:pt idx="55">
                  <c:v>2.3492564734246058</c:v>
                </c:pt>
                <c:pt idx="56">
                  <c:v>2.3826473528414773</c:v>
                </c:pt>
                <c:pt idx="57">
                  <c:v>2.3127674288354907</c:v>
                </c:pt>
                <c:pt idx="58">
                  <c:v>2.2551578704464244</c:v>
                </c:pt>
                <c:pt idx="59">
                  <c:v>2.326770220051313</c:v>
                </c:pt>
                <c:pt idx="60">
                  <c:v>2.3666843041886105</c:v>
                </c:pt>
                <c:pt idx="61">
                  <c:v>2.3177127128990476</c:v>
                </c:pt>
                <c:pt idx="62">
                  <c:v>2.250881343682002</c:v>
                </c:pt>
                <c:pt idx="63">
                  <c:v>2.3315273625201685</c:v>
                </c:pt>
                <c:pt idx="64">
                  <c:v>2.2963716366218736</c:v>
                </c:pt>
                <c:pt idx="65">
                  <c:v>2.2677292909962308</c:v>
                </c:pt>
                <c:pt idx="66">
                  <c:v>2.274809832628595</c:v>
                </c:pt>
                <c:pt idx="67">
                  <c:v>2.3323897540292498</c:v>
                </c:pt>
                <c:pt idx="68">
                  <c:v>2.343305909708339</c:v>
                </c:pt>
                <c:pt idx="69">
                  <c:v>2.3844875959287877</c:v>
                </c:pt>
                <c:pt idx="70">
                  <c:v>2.355129921103603</c:v>
                </c:pt>
                <c:pt idx="71">
                  <c:v>2.4875580059787277</c:v>
                </c:pt>
                <c:pt idx="72">
                  <c:v>2.682471982282032</c:v>
                </c:pt>
                <c:pt idx="73">
                  <c:v>2.6127184951587354</c:v>
                </c:pt>
                <c:pt idx="74">
                  <c:v>2.5970752984640675</c:v>
                </c:pt>
                <c:pt idx="75">
                  <c:v>2.550566593493286</c:v>
                </c:pt>
                <c:pt idx="76">
                  <c:v>2.626482284855263</c:v>
                </c:pt>
                <c:pt idx="77">
                  <c:v>2.7433669002523104</c:v>
                </c:pt>
                <c:pt idx="78">
                  <c:v>2.8013677417040737</c:v>
                </c:pt>
                <c:pt idx="79">
                  <c:v>2.8473038474992087</c:v>
                </c:pt>
                <c:pt idx="80">
                  <c:v>2.76720206888789</c:v>
                </c:pt>
                <c:pt idx="81">
                  <c:v>2.690480352217147</c:v>
                </c:pt>
                <c:pt idx="82">
                  <c:v>2.6794319613908457</c:v>
                </c:pt>
                <c:pt idx="83">
                  <c:v>2.5860269675865672</c:v>
                </c:pt>
                <c:pt idx="84">
                  <c:v>2.6542898164835678</c:v>
                </c:pt>
                <c:pt idx="85">
                  <c:v>2.5287735371394913</c:v>
                </c:pt>
                <c:pt idx="86">
                  <c:v>2.5121665357615472</c:v>
                </c:pt>
                <c:pt idx="87">
                  <c:v>2.519053011960706</c:v>
                </c:pt>
                <c:pt idx="88">
                  <c:v>2.5929980010307525</c:v>
                </c:pt>
                <c:pt idx="89">
                  <c:v>2.564787440456592</c:v>
                </c:pt>
                <c:pt idx="90">
                  <c:v>2.718896451126752</c:v>
                </c:pt>
                <c:pt idx="91">
                  <c:v>2.7352215018018224</c:v>
                </c:pt>
                <c:pt idx="92">
                  <c:v>2.539591987699396</c:v>
                </c:pt>
                <c:pt idx="93">
                  <c:v>2.320901285392118</c:v>
                </c:pt>
                <c:pt idx="94">
                  <c:v>2.1690795480924794</c:v>
                </c:pt>
                <c:pt idx="95">
                  <c:v>2.1020366179798393</c:v>
                </c:pt>
                <c:pt idx="96">
                  <c:v>2.0198408800359506</c:v>
                </c:pt>
                <c:pt idx="97">
                  <c:v>2.0085141379646654</c:v>
                </c:pt>
                <c:pt idx="98">
                  <c:v>2.0661961552321637</c:v>
                </c:pt>
                <c:pt idx="99">
                  <c:v>2.2574809588371045</c:v>
                </c:pt>
                <c:pt idx="100">
                  <c:v>1.9802767473998109</c:v>
                </c:pt>
                <c:pt idx="101">
                  <c:v>1.8182141201889863</c:v>
                </c:pt>
                <c:pt idx="102">
                  <c:v>1.8151604153594905</c:v>
                </c:pt>
                <c:pt idx="103">
                  <c:v>1.7985252393822844</c:v>
                </c:pt>
                <c:pt idx="104">
                  <c:v>1.8602345952746677</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507534795380688</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507534795380688</c:v>
                </c:pt>
                <c:pt idx="1">
                  <c:v>1.2507534795380688</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226554185259888</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226554185259888</c:v>
                </c:pt>
                <c:pt idx="1">
                  <c:v>1.7226554185259888</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298056918128764</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298056918128764</c:v>
                </c:pt>
                <c:pt idx="1">
                  <c:v>1.8298056918128764</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pt idx="52">
                  <c:v>1.7226554185259888</c:v>
                </c:pt>
                <c:pt idx="53">
                  <c:v>1.2507534795380688</c:v>
                </c:pt>
                <c:pt idx="54">
                  <c:v>1.8298056918128764</c:v>
                </c:pt>
              </c:numCache>
            </c:numRef>
          </c:xVal>
          <c:yVal>
            <c:numRef>
              <c:f>Sheet1!$B$187:$B$241</c:f>
              <c:numCache>
                <c:formatCode>General</c:formatCode>
                <c:ptCount val="55"/>
                <c:pt idx="0">
                  <c:v>0.21271250160092664</c:v>
                </c:pt>
                <c:pt idx="1">
                  <c:v>0.21357562688813775</c:v>
                </c:pt>
                <c:pt idx="2">
                  <c:v>0.21607683831277824</c:v>
                </c:pt>
                <c:pt idx="3">
                  <c:v>0.21800792018601498</c:v>
                </c:pt>
                <c:pt idx="4">
                  <c:v>0.21583945405012347</c:v>
                </c:pt>
                <c:pt idx="5">
                  <c:v>0.2202762871816849</c:v>
                </c:pt>
                <c:pt idx="6">
                  <c:v>0.221820575932237</c:v>
                </c:pt>
                <c:pt idx="7">
                  <c:v>0.22552555514495787</c:v>
                </c:pt>
                <c:pt idx="8">
                  <c:v>0.21865962011792162</c:v>
                </c:pt>
                <c:pt idx="9">
                  <c:v>0.2186465335031399</c:v>
                </c:pt>
                <c:pt idx="10">
                  <c:v>0.22072855099051564</c:v>
                </c:pt>
                <c:pt idx="11">
                  <c:v>0.21560090477305768</c:v>
                </c:pt>
                <c:pt idx="12">
                  <c:v>0.21546600526352075</c:v>
                </c:pt>
                <c:pt idx="13">
                  <c:v>0.21917724635146252</c:v>
                </c:pt>
                <c:pt idx="14">
                  <c:v>0.2227201579063499</c:v>
                </c:pt>
                <c:pt idx="15">
                  <c:v>0.21241486880268415</c:v>
                </c:pt>
                <c:pt idx="16">
                  <c:v>0.21649171661797048</c:v>
                </c:pt>
                <c:pt idx="17">
                  <c:v>0.2148106563463403</c:v>
                </c:pt>
                <c:pt idx="18">
                  <c:v>0.2199232662227523</c:v>
                </c:pt>
                <c:pt idx="19">
                  <c:v>0.20752211293483486</c:v>
                </c:pt>
                <c:pt idx="20">
                  <c:v>0.21210482829981386</c:v>
                </c:pt>
                <c:pt idx="21">
                  <c:v>0.22016718404678945</c:v>
                </c:pt>
                <c:pt idx="22">
                  <c:v>0.21817745043036013</c:v>
                </c:pt>
                <c:pt idx="23">
                  <c:v>0.21688914919879798</c:v>
                </c:pt>
                <c:pt idx="24">
                  <c:v>0.215806205977718</c:v>
                </c:pt>
                <c:pt idx="25">
                  <c:v>0.21540843986759756</c:v>
                </c:pt>
                <c:pt idx="26">
                  <c:v>0.21975989070127416</c:v>
                </c:pt>
                <c:pt idx="27">
                  <c:v>0.22265166343170104</c:v>
                </c:pt>
                <c:pt idx="28">
                  <c:v>0.21726805922626416</c:v>
                </c:pt>
                <c:pt idx="29">
                  <c:v>0.21379751071819958</c:v>
                </c:pt>
                <c:pt idx="30">
                  <c:v>0.21679257134073424</c:v>
                </c:pt>
                <c:pt idx="31">
                  <c:v>0.2219854576727142</c:v>
                </c:pt>
                <c:pt idx="32">
                  <c:v>0.22095780004463672</c:v>
                </c:pt>
                <c:pt idx="33">
                  <c:v>0.2229561712866655</c:v>
                </c:pt>
                <c:pt idx="34">
                  <c:v>0.21942383866672235</c:v>
                </c:pt>
                <c:pt idx="35">
                  <c:v>0.22222988140452465</c:v>
                </c:pt>
                <c:pt idx="36">
                  <c:v>0.21657675298761037</c:v>
                </c:pt>
                <c:pt idx="37">
                  <c:v>0.21566553938361724</c:v>
                </c:pt>
                <c:pt idx="38">
                  <c:v>0.21512365319776972</c:v>
                </c:pt>
                <c:pt idx="39">
                  <c:v>0.21414995968141703</c:v>
                </c:pt>
                <c:pt idx="40">
                  <c:v>0.21693956590057809</c:v>
                </c:pt>
                <c:pt idx="41">
                  <c:v>0.21390139683432519</c:v>
                </c:pt>
                <c:pt idx="42">
                  <c:v>0.21269245491836852</c:v>
                </c:pt>
                <c:pt idx="43">
                  <c:v>0.20845115271892353</c:v>
                </c:pt>
                <c:pt idx="44">
                  <c:v>0.21656410473522078</c:v>
                </c:pt>
                <c:pt idx="45">
                  <c:v>0.21692540570582133</c:v>
                </c:pt>
                <c:pt idx="46">
                  <c:v>0.21953535424457785</c:v>
                </c:pt>
                <c:pt idx="47">
                  <c:v>0.21768659830811818</c:v>
                </c:pt>
                <c:pt idx="48">
                  <c:v>0.21973889416947998</c:v>
                </c:pt>
                <c:pt idx="49">
                  <c:v>0.21409787406402636</c:v>
                </c:pt>
                <c:pt idx="50">
                  <c:v>0.2167145696386535</c:v>
                </c:pt>
                <c:pt idx="51">
                  <c:v>0.21750753840864961</c:v>
                </c:pt>
                <c:pt idx="52">
                  <c:v>0.2238631702834038</c:v>
                </c:pt>
                <c:pt idx="53">
                  <c:v>0.2650189013255837</c:v>
                </c:pt>
                <c:pt idx="54">
                  <c:v>0.2145183308916671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25660764690787786</c:v>
                </c:pt>
                <c:pt idx="3">
                  <c:v>0.00027329871549603714</c:v>
                </c:pt>
                <c:pt idx="4">
                  <c:v>0.00025484199796126404</c:v>
                </c:pt>
                <c:pt idx="5">
                  <c:v>0.00019496977968414895</c:v>
                </c:pt>
                <c:pt idx="6">
                  <c:v>0.00017421602787456446</c:v>
                </c:pt>
                <c:pt idx="7">
                  <c:v>9.868745682423764e-05</c:v>
                </c:pt>
                <c:pt idx="8">
                  <c:v>0.0003387916431394692</c:v>
                </c:pt>
                <c:pt idx="9">
                  <c:v>0.00047266425082716245</c:v>
                </c:pt>
                <c:pt idx="10">
                  <c:v>0.0003390405153415833</c:v>
                </c:pt>
                <c:pt idx="11">
                  <c:v>0.0004418912947414936</c:v>
                </c:pt>
                <c:pt idx="12">
                  <c:v>0.0006092916984006092</c:v>
                </c:pt>
                <c:pt idx="13">
                  <c:v>0.0004977600796416127</c:v>
                </c:pt>
                <c:pt idx="14">
                  <c:v>0.0005326704545454545</c:v>
                </c:pt>
                <c:pt idx="15">
                  <c:v>0.0003884249368809478</c:v>
                </c:pt>
                <c:pt idx="16">
                  <c:v>0.000664599025254763</c:v>
                </c:pt>
                <c:pt idx="17">
                  <c:v>0.0012987012987012987</c:v>
                </c:pt>
                <c:pt idx="18">
                  <c:v>0.00030525030525030525</c:v>
                </c:pt>
                <c:pt idx="19">
                  <c:v>0.000984251968503937</c:v>
                </c:pt>
                <c:pt idx="20">
                  <c:v>0.0007017543859649122</c:v>
                </c:pt>
                <c:pt idx="21">
                  <c:v>0.001162340178225494</c:v>
                </c:pt>
                <c:pt idx="22">
                  <c:v>0.0007410151908114116</c:v>
                </c:pt>
                <c:pt idx="23">
                  <c:v>0.0005136106831022085</c:v>
                </c:pt>
                <c:pt idx="24">
                  <c:v>0.0012135922330097086</c:v>
                </c:pt>
                <c:pt idx="25">
                  <c:v>0.0011198208286674132</c:v>
                </c:pt>
                <c:pt idx="26">
                  <c:v>0.001352265043948614</c:v>
                </c:pt>
                <c:pt idx="27">
                  <c:v>0.001375515818431912</c:v>
                </c:pt>
                <c:pt idx="28">
                  <c:v>0.0007407407407407407</c:v>
                </c:pt>
                <c:pt idx="29">
                  <c:v>0.0017605633802816902</c:v>
                </c:pt>
                <c:pt idx="30">
                  <c:v>0.0029218407596785976</c:v>
                </c:pt>
                <c:pt idx="31">
                  <c:v>0.0017467248908296944</c:v>
                </c:pt>
                <c:pt idx="32">
                  <c:v>0.0</c:v>
                </c:pt>
                <c:pt idx="33">
                  <c:v>0.001463057790782736</c:v>
                </c:pt>
                <c:pt idx="34">
                  <c:v>0.0024509803921568627</c:v>
                </c:pt>
                <c:pt idx="35">
                  <c:v>0.0025823111684958036</c:v>
                </c:pt>
                <c:pt idx="36">
                  <c:v>0.0031720856463124504</c:v>
                </c:pt>
                <c:pt idx="37">
                  <c:v>0.005649717514124294</c:v>
                </c:pt>
                <c:pt idx="38">
                  <c:v>0.00267379679144385</c:v>
                </c:pt>
                <c:pt idx="39">
                  <c:v>0.003117692907248636</c:v>
                </c:pt>
                <c:pt idx="40">
                  <c:v>0.002168021680216802</c:v>
                </c:pt>
                <c:pt idx="41">
                  <c:v>0.0011280315848843769</c:v>
                </c:pt>
                <c:pt idx="42">
                  <c:v>0.0031847133757961785</c:v>
                </c:pt>
                <c:pt idx="43">
                  <c:v>0.0031717263253285004</c:v>
                </c:pt>
                <c:pt idx="44">
                  <c:v>0.005729017473503294</c:v>
                </c:pt>
                <c:pt idx="45">
                  <c:v>0.008791832104367556</c:v>
                </c:pt>
                <c:pt idx="46">
                  <c:v>0.007398273736128237</c:v>
                </c:pt>
                <c:pt idx="47">
                  <c:v>0.0051313628899835794</c:v>
                </c:pt>
                <c:pt idx="48">
                  <c:v>0.002486016159105034</c:v>
                </c:pt>
                <c:pt idx="49">
                  <c:v>0.0034393809114359416</c:v>
                </c:pt>
                <c:pt idx="50">
                  <c:v>0.0038642009384487995</c:v>
                </c:pt>
                <c:pt idx="51">
                  <c:v>0.002376990729736154</c:v>
                </c:pt>
                <c:pt idx="52">
                  <c:v>0.00220696419813634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18244475978106628</c:v>
                </c:pt>
                <c:pt idx="1">
                  <c:v>0.0027088976870181286</c:v>
                </c:pt>
                <c:pt idx="2">
                  <c:v>0.0020700037636432068</c:v>
                </c:pt>
                <c:pt idx="3">
                  <c:v>0.002414209346439041</c:v>
                </c:pt>
                <c:pt idx="4">
                  <c:v>0.0024752475247524753</c:v>
                </c:pt>
                <c:pt idx="5">
                  <c:v>0.0021916716477385933</c:v>
                </c:pt>
                <c:pt idx="6">
                  <c:v>0.001764234161988773</c:v>
                </c:pt>
                <c:pt idx="7">
                  <c:v>0.0024489795918367346</c:v>
                </c:pt>
                <c:pt idx="8">
                  <c:v>0.002201565557729941</c:v>
                </c:pt>
                <c:pt idx="9">
                  <c:v>0.0027913468248429866</c:v>
                </c:pt>
                <c:pt idx="10">
                  <c:v>0.002651880424300868</c:v>
                </c:pt>
                <c:pt idx="11">
                  <c:v>0.002297225658243506</c:v>
                </c:pt>
                <c:pt idx="12">
                  <c:v>0.003094606542882405</c:v>
                </c:pt>
                <c:pt idx="13">
                  <c:v>0.0038918918918918917</c:v>
                </c:pt>
                <c:pt idx="14">
                  <c:v>0.005332040717401842</c:v>
                </c:pt>
                <c:pt idx="15">
                  <c:v>0.0042294475284166</c:v>
                </c:pt>
                <c:pt idx="16">
                  <c:v>0.0044444444444444444</c:v>
                </c:pt>
                <c:pt idx="17">
                  <c:v>0.0051660516605166054</c:v>
                </c:pt>
                <c:pt idx="18">
                  <c:v>0.004235044997353097</c:v>
                </c:pt>
                <c:pt idx="19">
                  <c:v>0.0024342745861733205</c:v>
                </c:pt>
                <c:pt idx="20">
                  <c:v>0.0039273441335297005</c:v>
                </c:pt>
                <c:pt idx="21">
                  <c:v>0.004310344827586207</c:v>
                </c:pt>
                <c:pt idx="22">
                  <c:v>0.002798507462686567</c:v>
                </c:pt>
                <c:pt idx="23">
                  <c:v>0.002206287920573635</c:v>
                </c:pt>
                <c:pt idx="24">
                  <c:v>0.0035460992907801418</c:v>
                </c:pt>
                <c:pt idx="25">
                  <c:v>0.003963011889035667</c:v>
                </c:pt>
                <c:pt idx="26">
                  <c:v>0.0029940119760479044</c:v>
                </c:pt>
                <c:pt idx="27">
                  <c:v>0.0031665611146295125</c:v>
                </c:pt>
                <c:pt idx="28">
                  <c:v>0.0028636884306987398</c:v>
                </c:pt>
                <c:pt idx="29">
                  <c:v>0.0026954177897574125</c:v>
                </c:pt>
                <c:pt idx="30">
                  <c:v>0.004922067268252666</c:v>
                </c:pt>
                <c:pt idx="31">
                  <c:v>0.0041279669762641896</c:v>
                </c:pt>
                <c:pt idx="32">
                  <c:v>0.0032733224222585926</c:v>
                </c:pt>
                <c:pt idx="33">
                  <c:v>0.0036023054755043226</c:v>
                </c:pt>
                <c:pt idx="34">
                  <c:v>0.0036652412950519244</c:v>
                </c:pt>
                <c:pt idx="35">
                  <c:v>0.004559270516717325</c:v>
                </c:pt>
                <c:pt idx="36">
                  <c:v>0.006002400960384154</c:v>
                </c:pt>
                <c:pt idx="37">
                  <c:v>0.007231404958677686</c:v>
                </c:pt>
                <c:pt idx="38">
                  <c:v>0.005649717514124294</c:v>
                </c:pt>
                <c:pt idx="39">
                  <c:v>0.003912363067292645</c:v>
                </c:pt>
                <c:pt idx="40">
                  <c:v>0.0027593818984547464</c:v>
                </c:pt>
                <c:pt idx="41">
                  <c:v>0.003132832080200501</c:v>
                </c:pt>
                <c:pt idx="42">
                  <c:v>0.003671071953010279</c:v>
                </c:pt>
                <c:pt idx="43">
                  <c:v>0.0026929982046678637</c:v>
                </c:pt>
                <c:pt idx="44">
                  <c:v>0.002976190476190476</c:v>
                </c:pt>
                <c:pt idx="45">
                  <c:v>0.002688172043010753</c:v>
                </c:pt>
                <c:pt idx="46">
                  <c:v>0.0027063599458728013</c:v>
                </c:pt>
                <c:pt idx="47">
                  <c:v>0.0026455026455026454</c:v>
                </c:pt>
                <c:pt idx="48">
                  <c:v>0.002089427496865859</c:v>
                </c:pt>
                <c:pt idx="49">
                  <c:v>0.002346958732642284</c:v>
                </c:pt>
                <c:pt idx="50">
                  <c:v>0.002246925260170293</c:v>
                </c:pt>
                <c:pt idx="51">
                  <c:v>0.00270880361173814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720.0243394684185</c:v>
                </c:pt>
              </c:numCache>
            </c:numRef>
          </c:xVal>
          <c:yVal>
            <c:numRef>
              <c:f>Sheet1!$B$111:$B$112</c:f>
              <c:numCache>
                <c:formatCode>General</c:formatCode>
                <c:ptCount val="2"/>
                <c:pt idx="0">
                  <c:v>0.004138637552957137</c:v>
                </c:pt>
                <c:pt idx="1">
                  <c:v>0.00413863755295713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720.0243394684185</c:v>
                </c:pt>
                <c:pt idx="1">
                  <c:v>2720.0243394684185</c:v>
                </c:pt>
              </c:numCache>
            </c:numRef>
          </c:xVal>
          <c:yVal>
            <c:numRef>
              <c:f>Sheet1!$B$115:$B$116</c:f>
              <c:numCache>
                <c:formatCode>General</c:formatCode>
                <c:ptCount val="2"/>
                <c:pt idx="0">
                  <c:v>0.0041386375529571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170.7785796390035</c:v>
                </c:pt>
              </c:numCache>
            </c:numRef>
          </c:xVal>
          <c:yVal>
            <c:numRef>
              <c:f>Sheet1!$B$119:$B$120</c:f>
              <c:numCache>
                <c:formatCode>General</c:formatCode>
                <c:ptCount val="2"/>
                <c:pt idx="0">
                  <c:v>0.0038944358664697054</c:v>
                </c:pt>
                <c:pt idx="1">
                  <c:v>0.0038944358664697054</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170.7785796390035</c:v>
                </c:pt>
                <c:pt idx="1">
                  <c:v>3170.7785796390035</c:v>
                </c:pt>
              </c:numCache>
            </c:numRef>
          </c:xVal>
          <c:yVal>
            <c:numRef>
              <c:f>Sheet1!$B$123:$B$124</c:f>
              <c:numCache>
                <c:formatCode>General</c:formatCode>
                <c:ptCount val="2"/>
                <c:pt idx="0">
                  <c:v>0.00389443586646970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165.788763270263</c:v>
                </c:pt>
              </c:numCache>
            </c:numRef>
          </c:xVal>
          <c:yVal>
            <c:numRef>
              <c:f>Sheet1!$B$127:$B$128</c:f>
              <c:numCache>
                <c:formatCode>General</c:formatCode>
                <c:ptCount val="2"/>
                <c:pt idx="0">
                  <c:v>0.0028136144165860997</c:v>
                </c:pt>
                <c:pt idx="1">
                  <c:v>0.0028136144165860997</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165.788763270263</c:v>
                </c:pt>
                <c:pt idx="1">
                  <c:v>5165.788763270263</c:v>
                </c:pt>
              </c:numCache>
            </c:numRef>
          </c:xVal>
          <c:yVal>
            <c:numRef>
              <c:f>Sheet1!$B$131:$B$132</c:f>
              <c:numCache>
                <c:formatCode>General</c:formatCode>
                <c:ptCount val="2"/>
                <c:pt idx="0">
                  <c:v>0.00281361441658609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170.7785796390035</c:v>
                </c:pt>
                <c:pt idx="53">
                  <c:v>2720.0243394684185</c:v>
                </c:pt>
                <c:pt idx="54">
                  <c:v>5165.788763270263</c:v>
                </c:pt>
              </c:numCache>
            </c:numRef>
          </c:xVal>
          <c:yVal>
            <c:numRef>
              <c:f>Sheet1!$B$135:$B$189</c:f>
              <c:numCache>
                <c:formatCode>General</c:formatCode>
                <c:ptCount val="55"/>
                <c:pt idx="0">
                  <c:v>0.0032041106469159037</c:v>
                </c:pt>
                <c:pt idx="1">
                  <c:v>0.003965328441549805</c:v>
                </c:pt>
                <c:pt idx="2">
                  <c:v>0.002929831147923819</c:v>
                </c:pt>
                <c:pt idx="3">
                  <c:v>0.0038504718389252386</c:v>
                </c:pt>
                <c:pt idx="4">
                  <c:v>0.0032810825653115596</c:v>
                </c:pt>
                <c:pt idx="5">
                  <c:v>0.003097826729542193</c:v>
                </c:pt>
                <c:pt idx="6">
                  <c:v>0.003065123948228272</c:v>
                </c:pt>
                <c:pt idx="7">
                  <c:v>0.003351530201986096</c:v>
                </c:pt>
                <c:pt idx="8">
                  <c:v>0.0032768271844057094</c:v>
                </c:pt>
                <c:pt idx="9">
                  <c:v>0.0033888516158765065</c:v>
                </c:pt>
                <c:pt idx="10">
                  <c:v>0.003350879003614569</c:v>
                </c:pt>
                <c:pt idx="11">
                  <c:v>0.003387559729323476</c:v>
                </c:pt>
                <c:pt idx="12">
                  <c:v>0.0035973914473857397</c:v>
                </c:pt>
                <c:pt idx="13">
                  <c:v>0.0036209064806275114</c:v>
                </c:pt>
                <c:pt idx="14">
                  <c:v>0.0037039356815793487</c:v>
                </c:pt>
                <c:pt idx="15">
                  <c:v>0.0035942811354300217</c:v>
                </c:pt>
                <c:pt idx="16">
                  <c:v>0.00346775545889185</c:v>
                </c:pt>
                <c:pt idx="17">
                  <c:v>0.003690226276395355</c:v>
                </c:pt>
                <c:pt idx="18">
                  <c:v>0.003592351106978637</c:v>
                </c:pt>
                <c:pt idx="19">
                  <c:v>0.002482808224411074</c:v>
                </c:pt>
                <c:pt idx="20">
                  <c:v>0.003454404862927043</c:v>
                </c:pt>
                <c:pt idx="21">
                  <c:v>0.0033526739165302974</c:v>
                </c:pt>
                <c:pt idx="22">
                  <c:v>0.0033617634972605824</c:v>
                </c:pt>
                <c:pt idx="23">
                  <c:v>0.002913996896539355</c:v>
                </c:pt>
                <c:pt idx="24">
                  <c:v>0.0035893036936343456</c:v>
                </c:pt>
                <c:pt idx="25">
                  <c:v>0.0035934572232141997</c:v>
                </c:pt>
                <c:pt idx="26">
                  <c:v>0.0032322822902764647</c:v>
                </c:pt>
                <c:pt idx="27">
                  <c:v>0.0030510086004987</c:v>
                </c:pt>
                <c:pt idx="28">
                  <c:v>0.0034250413423473815</c:v>
                </c:pt>
                <c:pt idx="29">
                  <c:v>0.0029851032079061565</c:v>
                </c:pt>
                <c:pt idx="30">
                  <c:v>0.0040400499874033245</c:v>
                </c:pt>
                <c:pt idx="31">
                  <c:v>0.00338763265053879</c:v>
                </c:pt>
                <c:pt idx="32">
                  <c:v>0.002875260886918584</c:v>
                </c:pt>
                <c:pt idx="33">
                  <c:v>0.003009076192881249</c:v>
                </c:pt>
                <c:pt idx="34">
                  <c:v>0.002802303536054282</c:v>
                </c:pt>
                <c:pt idx="35">
                  <c:v>0.0030909726228888056</c:v>
                </c:pt>
                <c:pt idx="36">
                  <c:v>0.00303605595902271</c:v>
                </c:pt>
                <c:pt idx="37">
                  <c:v>0.0034994485576724816</c:v>
                </c:pt>
                <c:pt idx="38">
                  <c:v>0.0033506031923908213</c:v>
                </c:pt>
                <c:pt idx="39">
                  <c:v>0.00343262601555984</c:v>
                </c:pt>
                <c:pt idx="40">
                  <c:v>0.0027519557709788965</c:v>
                </c:pt>
                <c:pt idx="41">
                  <c:v>0.0027519557709788965</c:v>
                </c:pt>
                <c:pt idx="42">
                  <c:v>0.0032638128603454004</c:v>
                </c:pt>
                <c:pt idx="43">
                  <c:v>0.0032224402557872664</c:v>
                </c:pt>
                <c:pt idx="44">
                  <c:v>0.0034114701949208032</c:v>
                </c:pt>
                <c:pt idx="45">
                  <c:v>0.0036065317370740737</c:v>
                </c:pt>
                <c:pt idx="46">
                  <c:v>0.0033009506709678325</c:v>
                </c:pt>
                <c:pt idx="47">
                  <c:v>0.0033287761823487193</c:v>
                </c:pt>
                <c:pt idx="48">
                  <c:v>0.0031977720271597772</c:v>
                </c:pt>
                <c:pt idx="49">
                  <c:v>0.0034485357886190056</c:v>
                </c:pt>
                <c:pt idx="50">
                  <c:v>0.003575132327675476</c:v>
                </c:pt>
                <c:pt idx="51">
                  <c:v>0.0035079942089809592</c:v>
                </c:pt>
                <c:pt idx="52">
                  <c:v>0.0038944358664697054</c:v>
                </c:pt>
                <c:pt idx="53">
                  <c:v>0.004138637552957137</c:v>
                </c:pt>
                <c:pt idx="54">
                  <c:v>0.00281361441658609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5501985252410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363610487930875</c:v>
                </c:pt>
                <c:pt idx="1">
                  <c:v>0.20839693754693006</c:v>
                </c:pt>
                <c:pt idx="2">
                  <c:v>0.19992221132349955</c:v>
                </c:pt>
                <c:pt idx="3">
                  <c:v>0.2031646951937049</c:v>
                </c:pt>
                <c:pt idx="4">
                  <c:v>0.18992949988576893</c:v>
                </c:pt>
                <c:pt idx="5">
                  <c:v>0.19066188387826524</c:v>
                </c:pt>
                <c:pt idx="6">
                  <c:v>0.19671892718073034</c:v>
                </c:pt>
                <c:pt idx="7">
                  <c:v>0.18291021091740609</c:v>
                </c:pt>
                <c:pt idx="8">
                  <c:v>0.16792181260028793</c:v>
                </c:pt>
                <c:pt idx="9">
                  <c:v>0.17676608100959632</c:v>
                </c:pt>
                <c:pt idx="10">
                  <c:v>0.1827326995845674</c:v>
                </c:pt>
                <c:pt idx="11">
                  <c:v>0.20026653363541622</c:v>
                </c:pt>
                <c:pt idx="12">
                  <c:v>0.20649487247890458</c:v>
                </c:pt>
                <c:pt idx="13">
                  <c:v>0.2014781997275793</c:v>
                </c:pt>
                <c:pt idx="14">
                  <c:v>0.19698739180448452</c:v>
                </c:pt>
                <c:pt idx="15">
                  <c:v>0.2149719150192066</c:v>
                </c:pt>
                <c:pt idx="16">
                  <c:v>0.20077271431648766</c:v>
                </c:pt>
                <c:pt idx="17">
                  <c:v>0.19827365488443394</c:v>
                </c:pt>
                <c:pt idx="18">
                  <c:v>0.19908695505155397</c:v>
                </c:pt>
                <c:pt idx="19">
                  <c:v>0.19917725018872343</c:v>
                </c:pt>
                <c:pt idx="20">
                  <c:v>0.2053322271304673</c:v>
                </c:pt>
                <c:pt idx="21">
                  <c:v>0.18422274364528837</c:v>
                </c:pt>
                <c:pt idx="22">
                  <c:v>0.17072379521808173</c:v>
                </c:pt>
                <c:pt idx="23">
                  <c:v>0.16130823582805448</c:v>
                </c:pt>
                <c:pt idx="24">
                  <c:v>0.18218260479432238</c:v>
                </c:pt>
                <c:pt idx="25">
                  <c:v>0.17460298260170184</c:v>
                </c:pt>
                <c:pt idx="26">
                  <c:v>0.16798621084734247</c:v>
                </c:pt>
                <c:pt idx="27">
                  <c:v>0.1715839306896733</c:v>
                </c:pt>
                <c:pt idx="28">
                  <c:v>0.160834920784566</c:v>
                </c:pt>
                <c:pt idx="29">
                  <c:v>0.1772793633328592</c:v>
                </c:pt>
                <c:pt idx="30">
                  <c:v>0.1715857217915546</c:v>
                </c:pt>
                <c:pt idx="31">
                  <c:v>0.16181563015400607</c:v>
                </c:pt>
                <c:pt idx="32">
                  <c:v>0.15649569653570464</c:v>
                </c:pt>
                <c:pt idx="33">
                  <c:v>0.16706363092283338</c:v>
                </c:pt>
                <c:pt idx="34">
                  <c:v>0.18367391622712356</c:v>
                </c:pt>
                <c:pt idx="35">
                  <c:v>0.17989824664358792</c:v>
                </c:pt>
                <c:pt idx="36">
                  <c:v>0.15730109283393562</c:v>
                </c:pt>
                <c:pt idx="37">
                  <c:v>0.16214518788409701</c:v>
                </c:pt>
                <c:pt idx="38">
                  <c:v>0.1775664444143456</c:v>
                </c:pt>
                <c:pt idx="39">
                  <c:v>0.19084496572317391</c:v>
                </c:pt>
                <c:pt idx="40">
                  <c:v>0.20973530846931157</c:v>
                </c:pt>
                <c:pt idx="41">
                  <c:v>0.20922028461356804</c:v>
                </c:pt>
                <c:pt idx="42">
                  <c:v>0.19230498435320853</c:v>
                </c:pt>
                <c:pt idx="43">
                  <c:v>0.20502496074531656</c:v>
                </c:pt>
                <c:pt idx="44">
                  <c:v>0.21725183925590663</c:v>
                </c:pt>
                <c:pt idx="45">
                  <c:v>0.22581084472586327</c:v>
                </c:pt>
                <c:pt idx="46">
                  <c:v>0.23248633407722533</c:v>
                </c:pt>
                <c:pt idx="47">
                  <c:v>0.20420890829694324</c:v>
                </c:pt>
                <c:pt idx="48">
                  <c:v>0.25598552842095335</c:v>
                </c:pt>
                <c:pt idx="49">
                  <c:v>0.2580337839802126</c:v>
                </c:pt>
                <c:pt idx="50">
                  <c:v>0.2098279136318557</c:v>
                </c:pt>
                <c:pt idx="51">
                  <c:v>0.1944934927168701</c:v>
                </c:pt>
                <c:pt idx="52">
                  <c:v>0.21827543525978013</c:v>
                </c:pt>
                <c:pt idx="53">
                  <c:v>0.2255756530310498</c:v>
                </c:pt>
                <c:pt idx="54">
                  <c:v>0.21944977564900917</c:v>
                </c:pt>
                <c:pt idx="55">
                  <c:v>0.19806419284499874</c:v>
                </c:pt>
                <c:pt idx="56">
                  <c:v>0.20835094955408962</c:v>
                </c:pt>
                <c:pt idx="57">
                  <c:v>0.20298460194365195</c:v>
                </c:pt>
                <c:pt idx="58">
                  <c:v>0.21120564450087673</c:v>
                </c:pt>
                <c:pt idx="59">
                  <c:v>0.2352265233406504</c:v>
                </c:pt>
                <c:pt idx="60">
                  <c:v>0.22480582951097597</c:v>
                </c:pt>
                <c:pt idx="61">
                  <c:v>0.22302762216209712</c:v>
                </c:pt>
                <c:pt idx="62">
                  <c:v>0.2490942599757429</c:v>
                </c:pt>
                <c:pt idx="63">
                  <c:v>0.24279053294581043</c:v>
                </c:pt>
                <c:pt idx="64">
                  <c:v>0.24617504832748574</c:v>
                </c:pt>
                <c:pt idx="65">
                  <c:v>0.2165799574358197</c:v>
                </c:pt>
                <c:pt idx="66">
                  <c:v>0.21536700038637477</c:v>
                </c:pt>
                <c:pt idx="67">
                  <c:v>0.24700935960546075</c:v>
                </c:pt>
                <c:pt idx="68">
                  <c:v>0.2193355877024607</c:v>
                </c:pt>
                <c:pt idx="69">
                  <c:v>0.19283855529869076</c:v>
                </c:pt>
                <c:pt idx="70">
                  <c:v>0.17984863638092827</c:v>
                </c:pt>
                <c:pt idx="71">
                  <c:v>0.20053895379738443</c:v>
                </c:pt>
                <c:pt idx="72">
                  <c:v>0.22833426946092722</c:v>
                </c:pt>
                <c:pt idx="73">
                  <c:v>0.2104408314331442</c:v>
                </c:pt>
                <c:pt idx="74">
                  <c:v>0.2159650694736842</c:v>
                </c:pt>
                <c:pt idx="75">
                  <c:v>0.19952890005464816</c:v>
                </c:pt>
                <c:pt idx="76">
                  <c:v>0.17554934167528174</c:v>
                </c:pt>
                <c:pt idx="77">
                  <c:v>0.18892230912401206</c:v>
                </c:pt>
                <c:pt idx="78">
                  <c:v>0.1907145494944905</c:v>
                </c:pt>
                <c:pt idx="79">
                  <c:v>0.183141111746736</c:v>
                </c:pt>
                <c:pt idx="80">
                  <c:v>0.17700180320376047</c:v>
                </c:pt>
                <c:pt idx="81">
                  <c:v>0.19771918303161168</c:v>
                </c:pt>
                <c:pt idx="82">
                  <c:v>0.20045746576826323</c:v>
                </c:pt>
                <c:pt idx="83">
                  <c:v>0.17634113889075095</c:v>
                </c:pt>
                <c:pt idx="84">
                  <c:v>0.1653176230066785</c:v>
                </c:pt>
                <c:pt idx="85">
                  <c:v>0.17933293139239323</c:v>
                </c:pt>
                <c:pt idx="86">
                  <c:v>0.19026316577850264</c:v>
                </c:pt>
                <c:pt idx="87">
                  <c:v>0.19815660074255148</c:v>
                </c:pt>
                <c:pt idx="88">
                  <c:v>0.16872618767412875</c:v>
                </c:pt>
                <c:pt idx="89">
                  <c:v>0.15954449623924338</c:v>
                </c:pt>
                <c:pt idx="90">
                  <c:v>0.1777533056292344</c:v>
                </c:pt>
                <c:pt idx="91">
                  <c:v>0.18925001271222072</c:v>
                </c:pt>
                <c:pt idx="92">
                  <c:v>0.1936292327184731</c:v>
                </c:pt>
                <c:pt idx="93">
                  <c:v>0.1795751902512754</c:v>
                </c:pt>
                <c:pt idx="94">
                  <c:v>0.1826336832115215</c:v>
                </c:pt>
                <c:pt idx="95">
                  <c:v>0.1738834906597303</c:v>
                </c:pt>
                <c:pt idx="96">
                  <c:v>0.18798301795587144</c:v>
                </c:pt>
                <c:pt idx="97">
                  <c:v>0.1962788435705662</c:v>
                </c:pt>
                <c:pt idx="98">
                  <c:v>0.1991128763569543</c:v>
                </c:pt>
                <c:pt idx="99">
                  <c:v>0.2148746714605662</c:v>
                </c:pt>
                <c:pt idx="100">
                  <c:v>0.22290336753274223</c:v>
                </c:pt>
                <c:pt idx="101">
                  <c:v>0.21500841089536726</c:v>
                </c:pt>
                <c:pt idx="102">
                  <c:v>0.20078430237600908</c:v>
                </c:pt>
                <c:pt idx="103">
                  <c:v>0.19578696995102426</c:v>
                </c:pt>
                <c:pt idx="104">
                  <c:v>0.20391624895301072</c:v>
                </c:pt>
              </c:numCache>
            </c:numRef>
          </c:xVal>
          <c:yVal>
            <c:numRef>
              <c:f>Sheet1!$B$2:$B$106</c:f>
              <c:numCache>
                <c:formatCode>General</c:formatCode>
                <c:ptCount val="105"/>
                <c:pt idx="0">
                  <c:v>0.29950189870296395</c:v>
                </c:pt>
                <c:pt idx="1">
                  <c:v>0.29146682127233436</c:v>
                </c:pt>
                <c:pt idx="2">
                  <c:v>0.2905837858805275</c:v>
                </c:pt>
                <c:pt idx="3">
                  <c:v>0.2875394403351782</c:v>
                </c:pt>
                <c:pt idx="4">
                  <c:v>0.2905176136714171</c:v>
                </c:pt>
                <c:pt idx="5">
                  <c:v>0.2954014508791344</c:v>
                </c:pt>
                <c:pt idx="6">
                  <c:v>0.3256988489546629</c:v>
                </c:pt>
                <c:pt idx="7">
                  <c:v>0.33232566128478186</c:v>
                </c:pt>
                <c:pt idx="8">
                  <c:v>0.3219816513761468</c:v>
                </c:pt>
                <c:pt idx="9">
                  <c:v>0.29745364392335105</c:v>
                </c:pt>
                <c:pt idx="10">
                  <c:v>0.2939038746992885</c:v>
                </c:pt>
                <c:pt idx="11">
                  <c:v>0.2652493867538839</c:v>
                </c:pt>
                <c:pt idx="12">
                  <c:v>0.25162080759609984</c:v>
                </c:pt>
                <c:pt idx="13">
                  <c:v>0.24052881851909913</c:v>
                </c:pt>
                <c:pt idx="14">
                  <c:v>0.2238191949174608</c:v>
                </c:pt>
                <c:pt idx="15">
                  <c:v>0.21398239891685641</c:v>
                </c:pt>
                <c:pt idx="16">
                  <c:v>0.20472001117162408</c:v>
                </c:pt>
                <c:pt idx="17">
                  <c:v>0.19357060849598162</c:v>
                </c:pt>
                <c:pt idx="18">
                  <c:v>0.18273191629593014</c:v>
                </c:pt>
                <c:pt idx="19">
                  <c:v>0.18153260352213232</c:v>
                </c:pt>
                <c:pt idx="20">
                  <c:v>0.17558022199798184</c:v>
                </c:pt>
                <c:pt idx="21">
                  <c:v>0.19196692262256349</c:v>
                </c:pt>
                <c:pt idx="22">
                  <c:v>0.22108524220803605</c:v>
                </c:pt>
                <c:pt idx="23">
                  <c:v>0.23626039342932467</c:v>
                </c:pt>
                <c:pt idx="24">
                  <c:v>0.24423440453686202</c:v>
                </c:pt>
                <c:pt idx="25">
                  <c:v>0.25475078727331957</c:v>
                </c:pt>
                <c:pt idx="26">
                  <c:v>0.27431964374072243</c:v>
                </c:pt>
                <c:pt idx="27">
                  <c:v>0.26705726705726707</c:v>
                </c:pt>
                <c:pt idx="28">
                  <c:v>0.2765792783205959</c:v>
                </c:pt>
                <c:pt idx="29">
                  <c:v>0.26812016310227177</c:v>
                </c:pt>
                <c:pt idx="30">
                  <c:v>0.2708109270810927</c:v>
                </c:pt>
                <c:pt idx="31">
                  <c:v>0.2782112845138055</c:v>
                </c:pt>
                <c:pt idx="32">
                  <c:v>0.27969018932874357</c:v>
                </c:pt>
                <c:pt idx="33">
                  <c:v>0.27464527152514673</c:v>
                </c:pt>
                <c:pt idx="34">
                  <c:v>0.2689353813559322</c:v>
                </c:pt>
                <c:pt idx="35">
                  <c:v>0.27752006018054165</c:v>
                </c:pt>
                <c:pt idx="36">
                  <c:v>0.25009490547414776</c:v>
                </c:pt>
                <c:pt idx="37">
                  <c:v>0.24908393694077546</c:v>
                </c:pt>
                <c:pt idx="38">
                  <c:v>0.235805535841022</c:v>
                </c:pt>
                <c:pt idx="39">
                  <c:v>0.2256928352952081</c:v>
                </c:pt>
                <c:pt idx="40">
                  <c:v>0.22769137852936736</c:v>
                </c:pt>
                <c:pt idx="41">
                  <c:v>0.22075220502579465</c:v>
                </c:pt>
                <c:pt idx="42">
                  <c:v>0.2174598623853211</c:v>
                </c:pt>
                <c:pt idx="43">
                  <c:v>0.2118523316062176</c:v>
                </c:pt>
                <c:pt idx="44">
                  <c:v>0.21949208443271767</c:v>
                </c:pt>
                <c:pt idx="45">
                  <c:v>0.237978122017473</c:v>
                </c:pt>
                <c:pt idx="46">
                  <c:v>0.24110361566191954</c:v>
                </c:pt>
                <c:pt idx="47">
                  <c:v>0.2352704971891655</c:v>
                </c:pt>
                <c:pt idx="48">
                  <c:v>0.23813950944737633</c:v>
                </c:pt>
                <c:pt idx="49">
                  <c:v>0.2531557074610634</c:v>
                </c:pt>
                <c:pt idx="50">
                  <c:v>0.24013864295671175</c:v>
                </c:pt>
                <c:pt idx="51">
                  <c:v>0.22606181266590822</c:v>
                </c:pt>
                <c:pt idx="52">
                  <c:v>0.236704180717507</c:v>
                </c:pt>
                <c:pt idx="53">
                  <c:v>0.2256815061776819</c:v>
                </c:pt>
                <c:pt idx="54">
                  <c:v>0.22873557104101283</c:v>
                </c:pt>
                <c:pt idx="55">
                  <c:v>0.22548170599696904</c:v>
                </c:pt>
                <c:pt idx="56">
                  <c:v>0.22749246431211967</c:v>
                </c:pt>
                <c:pt idx="57">
                  <c:v>0.22597822469452764</c:v>
                </c:pt>
                <c:pt idx="58">
                  <c:v>0.24304078014184397</c:v>
                </c:pt>
                <c:pt idx="59">
                  <c:v>0.2514728502191137</c:v>
                </c:pt>
                <c:pt idx="60">
                  <c:v>0.2595907928388747</c:v>
                </c:pt>
                <c:pt idx="61">
                  <c:v>0.2513264704548547</c:v>
                </c:pt>
                <c:pt idx="62">
                  <c:v>0.2586602139582272</c:v>
                </c:pt>
                <c:pt idx="63">
                  <c:v>0.2727272727272727</c:v>
                </c:pt>
                <c:pt idx="64">
                  <c:v>0.2521882482238882</c:v>
                </c:pt>
                <c:pt idx="65">
                  <c:v>0.23824027072758036</c:v>
                </c:pt>
                <c:pt idx="66">
                  <c:v>0.23803654908627284</c:v>
                </c:pt>
                <c:pt idx="67">
                  <c:v>0.2226300241697252</c:v>
                </c:pt>
                <c:pt idx="68">
                  <c:v>0.2079016587041709</c:v>
                </c:pt>
                <c:pt idx="69">
                  <c:v>0.20189645625692137</c:v>
                </c:pt>
                <c:pt idx="70">
                  <c:v>0.2017234625930278</c:v>
                </c:pt>
                <c:pt idx="71">
                  <c:v>0.20463658234307794</c:v>
                </c:pt>
                <c:pt idx="72">
                  <c:v>0.19596956611145383</c:v>
                </c:pt>
                <c:pt idx="73">
                  <c:v>0.20291370937616734</c:v>
                </c:pt>
                <c:pt idx="74">
                  <c:v>0.2060639700270589</c:v>
                </c:pt>
                <c:pt idx="75">
                  <c:v>0.22175529335703895</c:v>
                </c:pt>
                <c:pt idx="76">
                  <c:v>0.2259450925357425</c:v>
                </c:pt>
                <c:pt idx="77">
                  <c:v>0.21685107926718664</c:v>
                </c:pt>
                <c:pt idx="78">
                  <c:v>0.2158143273384909</c:v>
                </c:pt>
                <c:pt idx="79">
                  <c:v>0.1854937515314874</c:v>
                </c:pt>
                <c:pt idx="80">
                  <c:v>0.17803214807598636</c:v>
                </c:pt>
                <c:pt idx="81">
                  <c:v>0.1951445251317101</c:v>
                </c:pt>
                <c:pt idx="82">
                  <c:v>0.19520802377414562</c:v>
                </c:pt>
                <c:pt idx="83">
                  <c:v>0.1999160897839312</c:v>
                </c:pt>
                <c:pt idx="84">
                  <c:v>0.20203843295466611</c:v>
                </c:pt>
                <c:pt idx="85">
                  <c:v>0.21093605189990733</c:v>
                </c:pt>
                <c:pt idx="86">
                  <c:v>0.22308019268914706</c:v>
                </c:pt>
                <c:pt idx="87">
                  <c:v>0.23414166324153993</c:v>
                </c:pt>
                <c:pt idx="88">
                  <c:v>0.221602787456446</c:v>
                </c:pt>
                <c:pt idx="89">
                  <c:v>0.22841436830632167</c:v>
                </c:pt>
                <c:pt idx="90">
                  <c:v>0.21066978193146418</c:v>
                </c:pt>
                <c:pt idx="91">
                  <c:v>0.19653069004956156</c:v>
                </c:pt>
                <c:pt idx="92">
                  <c:v>0.20957032740593756</c:v>
                </c:pt>
                <c:pt idx="93">
                  <c:v>0.2077374680114406</c:v>
                </c:pt>
                <c:pt idx="94">
                  <c:v>0.2120375020927507</c:v>
                </c:pt>
                <c:pt idx="95">
                  <c:v>0.21487449643631856</c:v>
                </c:pt>
                <c:pt idx="96">
                  <c:v>0.21521546821685833</c:v>
                </c:pt>
                <c:pt idx="97">
                  <c:v>0.22289985497006434</c:v>
                </c:pt>
                <c:pt idx="98">
                  <c:v>0.22759295499021526</c:v>
                </c:pt>
                <c:pt idx="99">
                  <c:v>0.23383923552557617</c:v>
                </c:pt>
                <c:pt idx="100">
                  <c:v>0.2406105816911733</c:v>
                </c:pt>
                <c:pt idx="101">
                  <c:v>0.24128389596015495</c:v>
                </c:pt>
                <c:pt idx="102">
                  <c:v>0.23207161125319692</c:v>
                </c:pt>
                <c:pt idx="103">
                  <c:v>0.22563136410532453</c:v>
                </c:pt>
                <c:pt idx="104">
                  <c:v>0.2236827810972297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60896426916556</c:v>
                </c:pt>
                <c:pt idx="1">
                  <c:v>0.2366606317779863</c:v>
                </c:pt>
                <c:pt idx="2">
                  <c:v>0.2313532294948866</c:v>
                </c:pt>
                <c:pt idx="3">
                  <c:v>0.22364795186017977</c:v>
                </c:pt>
                <c:pt idx="4">
                  <c:v>0.2101222973712988</c:v>
                </c:pt>
                <c:pt idx="5">
                  <c:v>0.22720101536329979</c:v>
                </c:pt>
                <c:pt idx="6">
                  <c:v>0.21369518531446716</c:v>
                </c:pt>
                <c:pt idx="7">
                  <c:v>0.19558891202963175</c:v>
                </c:pt>
                <c:pt idx="8">
                  <c:v>0.2374377138451159</c:v>
                </c:pt>
                <c:pt idx="9">
                  <c:v>0.22098306819190425</c:v>
                </c:pt>
                <c:pt idx="10">
                  <c:v>0.21789986997453895</c:v>
                </c:pt>
                <c:pt idx="11">
                  <c:v>0.19863339335642224</c:v>
                </c:pt>
                <c:pt idx="12">
                  <c:v>0.1987461222923668</c:v>
                </c:pt>
                <c:pt idx="13">
                  <c:v>0.2085440509659765</c:v>
                </c:pt>
                <c:pt idx="14">
                  <c:v>0.20297894942171882</c:v>
                </c:pt>
                <c:pt idx="15">
                  <c:v>0.1979382172117791</c:v>
                </c:pt>
                <c:pt idx="16">
                  <c:v>0.18657793929582978</c:v>
                </c:pt>
                <c:pt idx="17">
                  <c:v>0.17116500643292917</c:v>
                </c:pt>
                <c:pt idx="18">
                  <c:v>0.1619565887237714</c:v>
                </c:pt>
                <c:pt idx="19">
                  <c:v>0.19106378595372847</c:v>
                </c:pt>
                <c:pt idx="20">
                  <c:v>0.1736717228479346</c:v>
                </c:pt>
                <c:pt idx="21">
                  <c:v>0.15694971008610847</c:v>
                </c:pt>
                <c:pt idx="22">
                  <c:v>0.15890959107952946</c:v>
                </c:pt>
                <c:pt idx="23">
                  <c:v>0.18022719097280343</c:v>
                </c:pt>
                <c:pt idx="24">
                  <c:v>0.16870989956621865</c:v>
                </c:pt>
                <c:pt idx="25">
                  <c:v>0.1654307095133982</c:v>
                </c:pt>
                <c:pt idx="26">
                  <c:v>0.16501281762190315</c:v>
                </c:pt>
                <c:pt idx="27">
                  <c:v>0.16654262689936733</c:v>
                </c:pt>
                <c:pt idx="28">
                  <c:v>0.18552722957620255</c:v>
                </c:pt>
                <c:pt idx="29">
                  <c:v>0.1671914035912742</c:v>
                </c:pt>
                <c:pt idx="30">
                  <c:v>0.16579583365708261</c:v>
                </c:pt>
                <c:pt idx="31">
                  <c:v>0.16180513605246183</c:v>
                </c:pt>
                <c:pt idx="32">
                  <c:v>0.1756755771303319</c:v>
                </c:pt>
                <c:pt idx="33">
                  <c:v>0.18303582487008893</c:v>
                </c:pt>
                <c:pt idx="34">
                  <c:v>0.2021923293403693</c:v>
                </c:pt>
                <c:pt idx="35">
                  <c:v>0.16745542075433895</c:v>
                </c:pt>
                <c:pt idx="36">
                  <c:v>0.14564032362253737</c:v>
                </c:pt>
                <c:pt idx="37">
                  <c:v>0.1496764817210056</c:v>
                </c:pt>
                <c:pt idx="38">
                  <c:v>0.1559337576062289</c:v>
                </c:pt>
                <c:pt idx="39">
                  <c:v>0.163097654811364</c:v>
                </c:pt>
                <c:pt idx="40">
                  <c:v>0.1746015313135759</c:v>
                </c:pt>
                <c:pt idx="41">
                  <c:v>0.179702368470436</c:v>
                </c:pt>
                <c:pt idx="42">
                  <c:v>0.17476572814218327</c:v>
                </c:pt>
                <c:pt idx="43">
                  <c:v>0.19442246156309612</c:v>
                </c:pt>
                <c:pt idx="44">
                  <c:v>0.1884319608162429</c:v>
                </c:pt>
                <c:pt idx="45">
                  <c:v>0.1914316125189701</c:v>
                </c:pt>
                <c:pt idx="46">
                  <c:v>0.17928524533378057</c:v>
                </c:pt>
                <c:pt idx="47">
                  <c:v>0.1686124325923696</c:v>
                </c:pt>
                <c:pt idx="48">
                  <c:v>0.17105866594979866</c:v>
                </c:pt>
                <c:pt idx="49">
                  <c:v>0.20520407157464526</c:v>
                </c:pt>
                <c:pt idx="50">
                  <c:v>0.21878776229705793</c:v>
                </c:pt>
                <c:pt idx="51">
                  <c:v>0.18210125878701974</c:v>
                </c:pt>
              </c:numCache>
            </c:numRef>
          </c:xVal>
          <c:yVal>
            <c:numRef>
              <c:f>Sheet1!$B$109:$B$160</c:f>
              <c:numCache>
                <c:formatCode>General</c:formatCode>
                <c:ptCount val="52"/>
                <c:pt idx="0">
                  <c:v>0.22302879793686423</c:v>
                </c:pt>
                <c:pt idx="1">
                  <c:v>0.22188860531451735</c:v>
                </c:pt>
                <c:pt idx="2">
                  <c:v>0.24024604569420036</c:v>
                </c:pt>
                <c:pt idx="3">
                  <c:v>0.25983216148786575</c:v>
                </c:pt>
                <c:pt idx="4">
                  <c:v>0.2377483749020331</c:v>
                </c:pt>
                <c:pt idx="5">
                  <c:v>0.24267253488154322</c:v>
                </c:pt>
                <c:pt idx="6">
                  <c:v>0.2548355899419729</c:v>
                </c:pt>
                <c:pt idx="7">
                  <c:v>0.25046801013104286</c:v>
                </c:pt>
                <c:pt idx="8">
                  <c:v>0.23297180043383947</c:v>
                </c:pt>
                <c:pt idx="9">
                  <c:v>0.24396245850978596</c:v>
                </c:pt>
                <c:pt idx="10">
                  <c:v>0.2445192038127278</c:v>
                </c:pt>
                <c:pt idx="11">
                  <c:v>0.2502186183321409</c:v>
                </c:pt>
                <c:pt idx="12">
                  <c:v>0.2483518553399887</c:v>
                </c:pt>
                <c:pt idx="13">
                  <c:v>0.24682802547770702</c:v>
                </c:pt>
                <c:pt idx="14">
                  <c:v>0.2513315579227696</c:v>
                </c:pt>
                <c:pt idx="15">
                  <c:v>0.24463028698634257</c:v>
                </c:pt>
                <c:pt idx="16">
                  <c:v>0.24115892628887942</c:v>
                </c:pt>
                <c:pt idx="17">
                  <c:v>0.2517492818737571</c:v>
                </c:pt>
                <c:pt idx="18">
                  <c:v>0.24642275726158855</c:v>
                </c:pt>
                <c:pt idx="19">
                  <c:v>0.23300807537012114</c:v>
                </c:pt>
                <c:pt idx="20">
                  <c:v>0.225107016564303</c:v>
                </c:pt>
                <c:pt idx="21">
                  <c:v>0.2440318302387268</c:v>
                </c:pt>
                <c:pt idx="22">
                  <c:v>0.23297221924273304</c:v>
                </c:pt>
                <c:pt idx="23">
                  <c:v>0.23269596332326958</c:v>
                </c:pt>
                <c:pt idx="24">
                  <c:v>0.2331611570247934</c:v>
                </c:pt>
                <c:pt idx="25">
                  <c:v>0.2380224817199607</c:v>
                </c:pt>
                <c:pt idx="26">
                  <c:v>0.22935962553530526</c:v>
                </c:pt>
                <c:pt idx="27">
                  <c:v>0.23360433604336042</c:v>
                </c:pt>
                <c:pt idx="28">
                  <c:v>0.22238538097568936</c:v>
                </c:pt>
                <c:pt idx="29">
                  <c:v>0.22770137524557957</c:v>
                </c:pt>
                <c:pt idx="30">
                  <c:v>0.22843563555465668</c:v>
                </c:pt>
                <c:pt idx="31">
                  <c:v>0.22335135135135134</c:v>
                </c:pt>
                <c:pt idx="32">
                  <c:v>0.21663406910682687</c:v>
                </c:pt>
                <c:pt idx="33">
                  <c:v>0.23088224491295087</c:v>
                </c:pt>
                <c:pt idx="34">
                  <c:v>0.2490985760557355</c:v>
                </c:pt>
                <c:pt idx="35">
                  <c:v>0.2384262796027502</c:v>
                </c:pt>
                <c:pt idx="36">
                  <c:v>0.23092369477911648</c:v>
                </c:pt>
                <c:pt idx="37">
                  <c:v>0.23338320153879033</c:v>
                </c:pt>
                <c:pt idx="38">
                  <c:v>0.23307462686567165</c:v>
                </c:pt>
                <c:pt idx="39">
                  <c:v>0.23196517412935325</c:v>
                </c:pt>
                <c:pt idx="40">
                  <c:v>0.22429417915650052</c:v>
                </c:pt>
                <c:pt idx="41">
                  <c:v>0.2233001793575738</c:v>
                </c:pt>
                <c:pt idx="42">
                  <c:v>0.2272811059907834</c:v>
                </c:pt>
                <c:pt idx="43">
                  <c:v>0.21284813986582637</c:v>
                </c:pt>
                <c:pt idx="44">
                  <c:v>0.21422575409927808</c:v>
                </c:pt>
                <c:pt idx="45">
                  <c:v>0.2342060914957458</c:v>
                </c:pt>
                <c:pt idx="46">
                  <c:v>0.2518030281320151</c:v>
                </c:pt>
                <c:pt idx="47">
                  <c:v>0.2538014806933546</c:v>
                </c:pt>
                <c:pt idx="48">
                  <c:v>0.24463487607579507</c:v>
                </c:pt>
                <c:pt idx="49">
                  <c:v>0.2500522757370879</c:v>
                </c:pt>
                <c:pt idx="50">
                  <c:v>0.25107861936721</c:v>
                </c:pt>
                <c:pt idx="51">
                  <c:v>0.245786814959460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556668735047819</c:v>
                </c:pt>
              </c:numCache>
            </c:numRef>
          </c:xVal>
          <c:yVal>
            <c:numRef>
              <c:f>Sheet1!$B$163:$B$164</c:f>
              <c:numCache>
                <c:formatCode>General</c:formatCode>
                <c:ptCount val="2"/>
                <c:pt idx="0">
                  <c:v>0.3038907969285719</c:v>
                </c:pt>
                <c:pt idx="1">
                  <c:v>0.303890796928571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556668735047819</c:v>
                </c:pt>
                <c:pt idx="1">
                  <c:v>0.7556668735047819</c:v>
                </c:pt>
              </c:numCache>
            </c:numRef>
          </c:xVal>
          <c:yVal>
            <c:numRef>
              <c:f>Sheet1!$B$167:$B$168</c:f>
              <c:numCache>
                <c:formatCode>General</c:formatCode>
                <c:ptCount val="2"/>
                <c:pt idx="0">
                  <c:v>0.303890796928571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84785625170935</c:v>
                </c:pt>
              </c:numCache>
            </c:numRef>
          </c:xVal>
          <c:yVal>
            <c:numRef>
              <c:f>Sheet1!$B$171:$B$172</c:f>
              <c:numCache>
                <c:formatCode>General</c:formatCode>
                <c:ptCount val="2"/>
                <c:pt idx="0">
                  <c:v>0.24788814653488822</c:v>
                </c:pt>
                <c:pt idx="1">
                  <c:v>0.247888146534888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84785625170935</c:v>
                </c:pt>
                <c:pt idx="1">
                  <c:v>0.2784785625170935</c:v>
                </c:pt>
              </c:numCache>
            </c:numRef>
          </c:xVal>
          <c:yVal>
            <c:numRef>
              <c:f>Sheet1!$B$175:$B$176</c:f>
              <c:numCache>
                <c:formatCode>General</c:formatCode>
                <c:ptCount val="2"/>
                <c:pt idx="0">
                  <c:v>0.247888146534888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539753459171184</c:v>
                </c:pt>
              </c:numCache>
            </c:numRef>
          </c:xVal>
          <c:yVal>
            <c:numRef>
              <c:f>Sheet1!$B$179:$B$180</c:f>
              <c:numCache>
                <c:formatCode>General</c:formatCode>
                <c:ptCount val="2"/>
                <c:pt idx="0">
                  <c:v>0.23579059377384493</c:v>
                </c:pt>
                <c:pt idx="1">
                  <c:v>0.235790593773844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539753459171184</c:v>
                </c:pt>
                <c:pt idx="1">
                  <c:v>0.17539753459171184</c:v>
                </c:pt>
              </c:numCache>
            </c:numRef>
          </c:xVal>
          <c:yVal>
            <c:numRef>
              <c:f>Sheet1!$B$183:$B$184</c:f>
              <c:numCache>
                <c:formatCode>General</c:formatCode>
                <c:ptCount val="2"/>
                <c:pt idx="0">
                  <c:v>0.235790593773844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60896426916556</c:v>
                </c:pt>
                <c:pt idx="1">
                  <c:v>0.2366606317779863</c:v>
                </c:pt>
                <c:pt idx="2">
                  <c:v>0.2313532294948866</c:v>
                </c:pt>
                <c:pt idx="3">
                  <c:v>0.22364795186017977</c:v>
                </c:pt>
                <c:pt idx="4">
                  <c:v>0.2101222973712988</c:v>
                </c:pt>
                <c:pt idx="5">
                  <c:v>0.22720101536329979</c:v>
                </c:pt>
                <c:pt idx="6">
                  <c:v>0.21369518531446716</c:v>
                </c:pt>
                <c:pt idx="7">
                  <c:v>0.19558891202963175</c:v>
                </c:pt>
                <c:pt idx="8">
                  <c:v>0.2374377138451159</c:v>
                </c:pt>
                <c:pt idx="9">
                  <c:v>0.22098306819190425</c:v>
                </c:pt>
                <c:pt idx="10">
                  <c:v>0.21789986997453895</c:v>
                </c:pt>
                <c:pt idx="11">
                  <c:v>0.19863339335642224</c:v>
                </c:pt>
                <c:pt idx="12">
                  <c:v>0.1987461222923668</c:v>
                </c:pt>
                <c:pt idx="13">
                  <c:v>0.2085440509659765</c:v>
                </c:pt>
                <c:pt idx="14">
                  <c:v>0.20297894942171882</c:v>
                </c:pt>
                <c:pt idx="15">
                  <c:v>0.1979382172117791</c:v>
                </c:pt>
                <c:pt idx="16">
                  <c:v>0.18657793929582978</c:v>
                </c:pt>
                <c:pt idx="17">
                  <c:v>0.17116500643292917</c:v>
                </c:pt>
                <c:pt idx="18">
                  <c:v>0.1619565887237714</c:v>
                </c:pt>
                <c:pt idx="19">
                  <c:v>0.19106378595372847</c:v>
                </c:pt>
                <c:pt idx="20">
                  <c:v>0.1736717228479346</c:v>
                </c:pt>
                <c:pt idx="21">
                  <c:v>0.15694971008610847</c:v>
                </c:pt>
                <c:pt idx="22">
                  <c:v>0.15890959107952946</c:v>
                </c:pt>
                <c:pt idx="23">
                  <c:v>0.18022719097280343</c:v>
                </c:pt>
                <c:pt idx="24">
                  <c:v>0.16870989956621865</c:v>
                </c:pt>
                <c:pt idx="25">
                  <c:v>0.1654307095133982</c:v>
                </c:pt>
                <c:pt idx="26">
                  <c:v>0.16501281762190315</c:v>
                </c:pt>
                <c:pt idx="27">
                  <c:v>0.16654262689936733</c:v>
                </c:pt>
                <c:pt idx="28">
                  <c:v>0.18552722957620255</c:v>
                </c:pt>
                <c:pt idx="29">
                  <c:v>0.1671914035912742</c:v>
                </c:pt>
                <c:pt idx="30">
                  <c:v>0.16579583365708261</c:v>
                </c:pt>
                <c:pt idx="31">
                  <c:v>0.16180513605246183</c:v>
                </c:pt>
                <c:pt idx="32">
                  <c:v>0.1756755771303319</c:v>
                </c:pt>
                <c:pt idx="33">
                  <c:v>0.18303582487008893</c:v>
                </c:pt>
                <c:pt idx="34">
                  <c:v>0.2021923293403693</c:v>
                </c:pt>
                <c:pt idx="35">
                  <c:v>0.16745542075433895</c:v>
                </c:pt>
                <c:pt idx="36">
                  <c:v>0.14564032362253737</c:v>
                </c:pt>
                <c:pt idx="37">
                  <c:v>0.1496764817210056</c:v>
                </c:pt>
                <c:pt idx="38">
                  <c:v>0.1559337576062289</c:v>
                </c:pt>
                <c:pt idx="39">
                  <c:v>0.163097654811364</c:v>
                </c:pt>
                <c:pt idx="40">
                  <c:v>0.1746015313135759</c:v>
                </c:pt>
                <c:pt idx="41">
                  <c:v>0.179702368470436</c:v>
                </c:pt>
                <c:pt idx="42">
                  <c:v>0.17476572814218327</c:v>
                </c:pt>
                <c:pt idx="43">
                  <c:v>0.19442246156309612</c:v>
                </c:pt>
                <c:pt idx="44">
                  <c:v>0.1884319608162429</c:v>
                </c:pt>
                <c:pt idx="45">
                  <c:v>0.1914316125189701</c:v>
                </c:pt>
                <c:pt idx="46">
                  <c:v>0.17928524533378057</c:v>
                </c:pt>
                <c:pt idx="47">
                  <c:v>0.1686124325923696</c:v>
                </c:pt>
                <c:pt idx="48">
                  <c:v>0.17105866594979866</c:v>
                </c:pt>
                <c:pt idx="49">
                  <c:v>0.20520407157464526</c:v>
                </c:pt>
                <c:pt idx="50">
                  <c:v>0.21878776229705793</c:v>
                </c:pt>
                <c:pt idx="51">
                  <c:v>0.18210125878701974</c:v>
                </c:pt>
                <c:pt idx="52">
                  <c:v>0.2784785625170935</c:v>
                </c:pt>
                <c:pt idx="53">
                  <c:v>0.7556668735047819</c:v>
                </c:pt>
                <c:pt idx="54">
                  <c:v>0.17539753459171184</c:v>
                </c:pt>
              </c:numCache>
            </c:numRef>
          </c:xVal>
          <c:yVal>
            <c:numRef>
              <c:f>Sheet1!$B$187:$B$241</c:f>
              <c:numCache>
                <c:formatCode>General</c:formatCode>
                <c:ptCount val="55"/>
                <c:pt idx="0">
                  <c:v>0.2417398015441778</c:v>
                </c:pt>
                <c:pt idx="1">
                  <c:v>0.24298040906218654</c:v>
                </c:pt>
                <c:pt idx="2">
                  <c:v>0.24235753421861825</c:v>
                </c:pt>
                <c:pt idx="3">
                  <c:v>0.24145324557695055</c:v>
                </c:pt>
                <c:pt idx="4">
                  <c:v>0.2398658795785699</c:v>
                </c:pt>
                <c:pt idx="5">
                  <c:v>0.24187023184549503</c:v>
                </c:pt>
                <c:pt idx="6">
                  <c:v>0.24028519243634489</c:v>
                </c:pt>
                <c:pt idx="7">
                  <c:v>0.23816024664585736</c:v>
                </c:pt>
                <c:pt idx="8">
                  <c:v>0.2430716071370987</c:v>
                </c:pt>
                <c:pt idx="9">
                  <c:v>0.24114049577780863</c:v>
                </c:pt>
                <c:pt idx="10">
                  <c:v>0.24077865273202206</c:v>
                </c:pt>
                <c:pt idx="11">
                  <c:v>0.23851754589114157</c:v>
                </c:pt>
                <c:pt idx="12">
                  <c:v>0.238530775718955</c:v>
                </c:pt>
                <c:pt idx="13">
                  <c:v>0.2396806571419821</c:v>
                </c:pt>
                <c:pt idx="14">
                  <c:v>0.23902753880481384</c:v>
                </c:pt>
                <c:pt idx="15">
                  <c:v>0.23843596026615027</c:v>
                </c:pt>
                <c:pt idx="16">
                  <c:v>0.23710272209192682</c:v>
                </c:pt>
                <c:pt idx="17">
                  <c:v>0.23529386577506575</c:v>
                </c:pt>
                <c:pt idx="18">
                  <c:v>0.23421316914907847</c:v>
                </c:pt>
                <c:pt idx="19">
                  <c:v>0.2376291794596314</c:v>
                </c:pt>
                <c:pt idx="20">
                  <c:v>0.23558805312163988</c:v>
                </c:pt>
                <c:pt idx="21">
                  <c:v>0.23362556365361217</c:v>
                </c:pt>
                <c:pt idx="22">
                  <c:v>0.23385557458967346</c:v>
                </c:pt>
                <c:pt idx="23">
                  <c:v>0.23635740052833576</c:v>
                </c:pt>
                <c:pt idx="24">
                  <c:v>0.2350057353067168</c:v>
                </c:pt>
                <c:pt idx="25">
                  <c:v>0.23462089072885522</c:v>
                </c:pt>
                <c:pt idx="26">
                  <c:v>0.2345718470851555</c:v>
                </c:pt>
                <c:pt idx="27">
                  <c:v>0.2347513849576518</c:v>
                </c:pt>
                <c:pt idx="28">
                  <c:v>0.2369794111730744</c:v>
                </c:pt>
                <c:pt idx="29">
                  <c:v>0.23482752515937894</c:v>
                </c:pt>
                <c:pt idx="30">
                  <c:v>0.23466374156844666</c:v>
                </c:pt>
                <c:pt idx="31">
                  <c:v>0.2341953947174605</c:v>
                </c:pt>
                <c:pt idx="32">
                  <c:v>0.2358232247472497</c:v>
                </c:pt>
                <c:pt idx="33">
                  <c:v>0.2366870208032079</c:v>
                </c:pt>
                <c:pt idx="34">
                  <c:v>0.23893522135194645</c:v>
                </c:pt>
                <c:pt idx="35">
                  <c:v>0.23485851011969877</c:v>
                </c:pt>
                <c:pt idx="36">
                  <c:v>0.23229829808213265</c:v>
                </c:pt>
                <c:pt idx="37">
                  <c:v>0.23277198016050188</c:v>
                </c:pt>
                <c:pt idx="38">
                  <c:v>0.23350633183204988</c:v>
                </c:pt>
                <c:pt idx="39">
                  <c:v>0.23434708425912648</c:v>
                </c:pt>
                <c:pt idx="40">
                  <c:v>0.23569717511234123</c:v>
                </c:pt>
                <c:pt idx="41">
                  <c:v>0.23629580754619</c:v>
                </c:pt>
                <c:pt idx="42">
                  <c:v>0.23571644519372528</c:v>
                </c:pt>
                <c:pt idx="43">
                  <c:v>0.2380233524341284</c:v>
                </c:pt>
                <c:pt idx="44">
                  <c:v>0.23732030939790075</c:v>
                </c:pt>
                <c:pt idx="45">
                  <c:v>0.23767234745445528</c:v>
                </c:pt>
                <c:pt idx="46">
                  <c:v>0.23624685412328475</c:v>
                </c:pt>
                <c:pt idx="47">
                  <c:v>0.2349942966173447</c:v>
                </c:pt>
                <c:pt idx="48">
                  <c:v>0.23528138569380155</c:v>
                </c:pt>
                <c:pt idx="49">
                  <c:v>0.23928867834898174</c:v>
                </c:pt>
                <c:pt idx="50">
                  <c:v>0.2408828554590804</c:v>
                </c:pt>
                <c:pt idx="51">
                  <c:v>0.23657734046021794</c:v>
                </c:pt>
                <c:pt idx="52">
                  <c:v>0.24788814653488822</c:v>
                </c:pt>
                <c:pt idx="53">
                  <c:v>0.3038907969285719</c:v>
                </c:pt>
                <c:pt idx="54">
                  <c:v>0.235790593773844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79079354173824"/>
          <c:min val="0.1404641775983854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0354</c:v>
                </c:pt>
                <c:pt idx="1">
                  <c:v>880.2631</c:v>
                </c:pt>
                <c:pt idx="2">
                  <c:v>914.4303</c:v>
                </c:pt>
                <c:pt idx="3">
                  <c:v>929.3783</c:v>
                </c:pt>
                <c:pt idx="4">
                  <c:v>934.5082</c:v>
                </c:pt>
                <c:pt idx="5">
                  <c:v>925.3324</c:v>
                </c:pt>
                <c:pt idx="6">
                  <c:v>873.8887</c:v>
                </c:pt>
                <c:pt idx="7">
                  <c:v>887.1792</c:v>
                </c:pt>
                <c:pt idx="8">
                  <c:v>890.3816</c:v>
                </c:pt>
                <c:pt idx="9">
                  <c:v>873.7599</c:v>
                </c:pt>
                <c:pt idx="10">
                  <c:v>868.1937</c:v>
                </c:pt>
                <c:pt idx="11">
                  <c:v>935.1605</c:v>
                </c:pt>
                <c:pt idx="12">
                  <c:v>941.7839</c:v>
                </c:pt>
                <c:pt idx="13">
                  <c:v>948.4879</c:v>
                </c:pt>
                <c:pt idx="14">
                  <c:v>956.6005</c:v>
                </c:pt>
                <c:pt idx="15">
                  <c:v>971.9554</c:v>
                </c:pt>
                <c:pt idx="16">
                  <c:v>994.2937</c:v>
                </c:pt>
                <c:pt idx="17">
                  <c:v>1021.7505</c:v>
                </c:pt>
                <c:pt idx="18">
                  <c:v>1062.1344</c:v>
                </c:pt>
                <c:pt idx="19">
                  <c:v>1067.7404</c:v>
                </c:pt>
                <c:pt idx="20">
                  <c:v>1097.3793</c:v>
                </c:pt>
                <c:pt idx="21">
                  <c:v>1110.7128</c:v>
                </c:pt>
                <c:pt idx="22">
                  <c:v>1064.8263</c:v>
                </c:pt>
                <c:pt idx="23">
                  <c:v>1055.4695</c:v>
                </c:pt>
                <c:pt idx="24">
                  <c:v>1056.0553</c:v>
                </c:pt>
                <c:pt idx="25">
                  <c:v>1030.6347</c:v>
                </c:pt>
                <c:pt idx="26">
                  <c:v>1014.548</c:v>
                </c:pt>
                <c:pt idx="27">
                  <c:v>1033.0616</c:v>
                </c:pt>
                <c:pt idx="28">
                  <c:v>1026.6649</c:v>
                </c:pt>
                <c:pt idx="29">
                  <c:v>1007.5757</c:v>
                </c:pt>
                <c:pt idx="30">
                  <c:v>1010.523</c:v>
                </c:pt>
                <c:pt idx="31">
                  <c:v>991.1647</c:v>
                </c:pt>
                <c:pt idx="32">
                  <c:v>979.7381</c:v>
                </c:pt>
                <c:pt idx="33">
                  <c:v>943.251</c:v>
                </c:pt>
                <c:pt idx="34">
                  <c:v>956.3235</c:v>
                </c:pt>
                <c:pt idx="35">
                  <c:v>990.5905</c:v>
                </c:pt>
                <c:pt idx="36">
                  <c:v>1078.4794</c:v>
                </c:pt>
                <c:pt idx="37">
                  <c:v>1082.365</c:v>
                </c:pt>
                <c:pt idx="38">
                  <c:v>1145.6731</c:v>
                </c:pt>
                <c:pt idx="39">
                  <c:v>1166.9708</c:v>
                </c:pt>
                <c:pt idx="40">
                  <c:v>1159.2775</c:v>
                </c:pt>
                <c:pt idx="41">
                  <c:v>1197.274</c:v>
                </c:pt>
                <c:pt idx="42">
                  <c:v>1219.5435</c:v>
                </c:pt>
                <c:pt idx="43">
                  <c:v>1225.8377</c:v>
                </c:pt>
                <c:pt idx="44">
                  <c:v>1138.2755</c:v>
                </c:pt>
                <c:pt idx="45">
                  <c:v>1100.481</c:v>
                </c:pt>
                <c:pt idx="46">
                  <c:v>1099.3658</c:v>
                </c:pt>
                <c:pt idx="47">
                  <c:v>1081.4138</c:v>
                </c:pt>
                <c:pt idx="48">
                  <c:v>1089.7178</c:v>
                </c:pt>
                <c:pt idx="49">
                  <c:v>1053.5627</c:v>
                </c:pt>
                <c:pt idx="50">
                  <c:v>1045.0709</c:v>
                </c:pt>
                <c:pt idx="51">
                  <c:v>1065.3129</c:v>
                </c:pt>
                <c:pt idx="52">
                  <c:v>1067.1586</c:v>
                </c:pt>
                <c:pt idx="53">
                  <c:v>1144.2325</c:v>
                </c:pt>
                <c:pt idx="54">
                  <c:v>1129.4742</c:v>
                </c:pt>
                <c:pt idx="55">
                  <c:v>1144.6918</c:v>
                </c:pt>
                <c:pt idx="56">
                  <c:v>1162.8623</c:v>
                </c:pt>
                <c:pt idx="57">
                  <c:v>1128.1845</c:v>
                </c:pt>
                <c:pt idx="58">
                  <c:v>1103.596</c:v>
                </c:pt>
                <c:pt idx="59">
                  <c:v>1084.1761</c:v>
                </c:pt>
                <c:pt idx="60">
                  <c:v>1101.7073</c:v>
                </c:pt>
                <c:pt idx="61">
                  <c:v>1133.4423</c:v>
                </c:pt>
                <c:pt idx="62">
                  <c:v>1079.182</c:v>
                </c:pt>
                <c:pt idx="63">
                  <c:v>1103.8348</c:v>
                </c:pt>
                <c:pt idx="64">
                  <c:v>1118.6062</c:v>
                </c:pt>
                <c:pt idx="65">
                  <c:v>1107.2377</c:v>
                </c:pt>
                <c:pt idx="66">
                  <c:v>1111.13</c:v>
                </c:pt>
                <c:pt idx="67">
                  <c:v>1134.2694</c:v>
                </c:pt>
                <c:pt idx="68">
                  <c:v>1160.8613</c:v>
                </c:pt>
                <c:pt idx="69">
                  <c:v>1190.9897</c:v>
                </c:pt>
                <c:pt idx="70">
                  <c:v>1167.2463</c:v>
                </c:pt>
                <c:pt idx="71">
                  <c:v>1235.1133</c:v>
                </c:pt>
                <c:pt idx="72">
                  <c:v>1324.4103</c:v>
                </c:pt>
                <c:pt idx="73">
                  <c:v>1296.5372</c:v>
                </c:pt>
                <c:pt idx="74">
                  <c:v>1282.2926</c:v>
                </c:pt>
                <c:pt idx="75">
                  <c:v>1233.7249</c:v>
                </c:pt>
                <c:pt idx="76">
                  <c:v>1207.2224</c:v>
                </c:pt>
                <c:pt idx="77">
                  <c:v>1207.5416</c:v>
                </c:pt>
                <c:pt idx="78">
                  <c:v>1273.2644</c:v>
                </c:pt>
                <c:pt idx="79">
                  <c:v>1248.9053</c:v>
                </c:pt>
                <c:pt idx="80">
                  <c:v>1255.3438</c:v>
                </c:pt>
                <c:pt idx="81">
                  <c:v>1229.6034</c:v>
                </c:pt>
                <c:pt idx="82">
                  <c:v>1234.9805</c:v>
                </c:pt>
                <c:pt idx="83">
                  <c:v>1191.1511</c:v>
                </c:pt>
                <c:pt idx="84">
                  <c:v>1212.9354</c:v>
                </c:pt>
                <c:pt idx="85">
                  <c:v>1194.3603</c:v>
                </c:pt>
                <c:pt idx="86">
                  <c:v>1190.7996</c:v>
                </c:pt>
                <c:pt idx="87">
                  <c:v>1194.1837</c:v>
                </c:pt>
                <c:pt idx="88">
                  <c:v>1245.0888</c:v>
                </c:pt>
                <c:pt idx="89">
                  <c:v>1229.8618</c:v>
                </c:pt>
                <c:pt idx="90">
                  <c:v>1310.2052</c:v>
                </c:pt>
                <c:pt idx="91">
                  <c:v>1312.6833</c:v>
                </c:pt>
                <c:pt idx="92">
                  <c:v>1247.4111</c:v>
                </c:pt>
                <c:pt idx="93">
                  <c:v>1290.5022</c:v>
                </c:pt>
                <c:pt idx="94">
                  <c:v>1271.9349</c:v>
                </c:pt>
                <c:pt idx="95">
                  <c:v>1230.2302</c:v>
                </c:pt>
                <c:pt idx="96">
                  <c:v>1199.7142</c:v>
                </c:pt>
                <c:pt idx="97">
                  <c:v>1177.6974</c:v>
                </c:pt>
                <c:pt idx="98">
                  <c:v>1165.1889</c:v>
                </c:pt>
                <c:pt idx="99">
                  <c:v>1122.0213</c:v>
                </c:pt>
                <c:pt idx="100">
                  <c:v>1122.453</c:v>
                </c:pt>
                <c:pt idx="101">
                  <c:v>1130.8852</c:v>
                </c:pt>
                <c:pt idx="102">
                  <c:v>1141.9403</c:v>
                </c:pt>
                <c:pt idx="103">
                  <c:v>1139.3698</c:v>
                </c:pt>
                <c:pt idx="104">
                  <c:v>1188.8176</c:v>
                </c:pt>
              </c:numCache>
            </c:numRef>
          </c:xVal>
          <c:yVal>
            <c:numRef>
              <c:f>Sheet1!$B$2:$B$106</c:f>
              <c:numCache>
                <c:formatCode>General</c:formatCode>
                <c:ptCount val="105"/>
                <c:pt idx="0">
                  <c:v>0.29950189870296395</c:v>
                </c:pt>
                <c:pt idx="1">
                  <c:v>0.29146682127233436</c:v>
                </c:pt>
                <c:pt idx="2">
                  <c:v>0.2905837858805275</c:v>
                </c:pt>
                <c:pt idx="3">
                  <c:v>0.2875394403351782</c:v>
                </c:pt>
                <c:pt idx="4">
                  <c:v>0.2905176136714171</c:v>
                </c:pt>
                <c:pt idx="5">
                  <c:v>0.2954014508791344</c:v>
                </c:pt>
                <c:pt idx="6">
                  <c:v>0.3256988489546629</c:v>
                </c:pt>
                <c:pt idx="7">
                  <c:v>0.33232566128478186</c:v>
                </c:pt>
                <c:pt idx="8">
                  <c:v>0.3219816513761468</c:v>
                </c:pt>
                <c:pt idx="9">
                  <c:v>0.29745364392335105</c:v>
                </c:pt>
                <c:pt idx="10">
                  <c:v>0.2939038746992885</c:v>
                </c:pt>
                <c:pt idx="11">
                  <c:v>0.2652493867538839</c:v>
                </c:pt>
                <c:pt idx="12">
                  <c:v>0.25162080759609984</c:v>
                </c:pt>
                <c:pt idx="13">
                  <c:v>0.24052881851909913</c:v>
                </c:pt>
                <c:pt idx="14">
                  <c:v>0.2238191949174608</c:v>
                </c:pt>
                <c:pt idx="15">
                  <c:v>0.21398239891685641</c:v>
                </c:pt>
                <c:pt idx="16">
                  <c:v>0.20472001117162408</c:v>
                </c:pt>
                <c:pt idx="17">
                  <c:v>0.19357060849598162</c:v>
                </c:pt>
                <c:pt idx="18">
                  <c:v>0.18273191629593014</c:v>
                </c:pt>
                <c:pt idx="19">
                  <c:v>0.18153260352213232</c:v>
                </c:pt>
                <c:pt idx="20">
                  <c:v>0.17558022199798184</c:v>
                </c:pt>
                <c:pt idx="21">
                  <c:v>0.19196692262256349</c:v>
                </c:pt>
                <c:pt idx="22">
                  <c:v>0.22108524220803605</c:v>
                </c:pt>
                <c:pt idx="23">
                  <c:v>0.23626039342932467</c:v>
                </c:pt>
                <c:pt idx="24">
                  <c:v>0.24423440453686202</c:v>
                </c:pt>
                <c:pt idx="25">
                  <c:v>0.25475078727331957</c:v>
                </c:pt>
                <c:pt idx="26">
                  <c:v>0.27431964374072243</c:v>
                </c:pt>
                <c:pt idx="27">
                  <c:v>0.26705726705726707</c:v>
                </c:pt>
                <c:pt idx="28">
                  <c:v>0.2765792783205959</c:v>
                </c:pt>
                <c:pt idx="29">
                  <c:v>0.26812016310227177</c:v>
                </c:pt>
                <c:pt idx="30">
                  <c:v>0.2708109270810927</c:v>
                </c:pt>
                <c:pt idx="31">
                  <c:v>0.2782112845138055</c:v>
                </c:pt>
                <c:pt idx="32">
                  <c:v>0.27969018932874357</c:v>
                </c:pt>
                <c:pt idx="33">
                  <c:v>0.27464527152514673</c:v>
                </c:pt>
                <c:pt idx="34">
                  <c:v>0.2689353813559322</c:v>
                </c:pt>
                <c:pt idx="35">
                  <c:v>0.27752006018054165</c:v>
                </c:pt>
                <c:pt idx="36">
                  <c:v>0.25009490547414776</c:v>
                </c:pt>
                <c:pt idx="37">
                  <c:v>0.24908393694077546</c:v>
                </c:pt>
                <c:pt idx="38">
                  <c:v>0.235805535841022</c:v>
                </c:pt>
                <c:pt idx="39">
                  <c:v>0.2256928352952081</c:v>
                </c:pt>
                <c:pt idx="40">
                  <c:v>0.22769137852936736</c:v>
                </c:pt>
                <c:pt idx="41">
                  <c:v>0.22075220502579465</c:v>
                </c:pt>
                <c:pt idx="42">
                  <c:v>0.2174598623853211</c:v>
                </c:pt>
                <c:pt idx="43">
                  <c:v>0.2118523316062176</c:v>
                </c:pt>
                <c:pt idx="44">
                  <c:v>0.21949208443271767</c:v>
                </c:pt>
                <c:pt idx="45">
                  <c:v>0.237978122017473</c:v>
                </c:pt>
                <c:pt idx="46">
                  <c:v>0.24110361566191954</c:v>
                </c:pt>
                <c:pt idx="47">
                  <c:v>0.2352704971891655</c:v>
                </c:pt>
                <c:pt idx="48">
                  <c:v>0.23813950944737633</c:v>
                </c:pt>
                <c:pt idx="49">
                  <c:v>0.2531557074610634</c:v>
                </c:pt>
                <c:pt idx="50">
                  <c:v>0.24013864295671175</c:v>
                </c:pt>
                <c:pt idx="51">
                  <c:v>0.22606181266590822</c:v>
                </c:pt>
                <c:pt idx="52">
                  <c:v>0.236704180717507</c:v>
                </c:pt>
                <c:pt idx="53">
                  <c:v>0.2256815061776819</c:v>
                </c:pt>
                <c:pt idx="54">
                  <c:v>0.22873557104101283</c:v>
                </c:pt>
                <c:pt idx="55">
                  <c:v>0.22548170599696904</c:v>
                </c:pt>
                <c:pt idx="56">
                  <c:v>0.22749246431211967</c:v>
                </c:pt>
                <c:pt idx="57">
                  <c:v>0.22597822469452764</c:v>
                </c:pt>
                <c:pt idx="58">
                  <c:v>0.24304078014184397</c:v>
                </c:pt>
                <c:pt idx="59">
                  <c:v>0.2514728502191137</c:v>
                </c:pt>
                <c:pt idx="60">
                  <c:v>0.2595907928388747</c:v>
                </c:pt>
                <c:pt idx="61">
                  <c:v>0.2513264704548547</c:v>
                </c:pt>
                <c:pt idx="62">
                  <c:v>0.2586602139582272</c:v>
                </c:pt>
                <c:pt idx="63">
                  <c:v>0.2727272727272727</c:v>
                </c:pt>
                <c:pt idx="64">
                  <c:v>0.2521882482238882</c:v>
                </c:pt>
                <c:pt idx="65">
                  <c:v>0.23824027072758036</c:v>
                </c:pt>
                <c:pt idx="66">
                  <c:v>0.23803654908627284</c:v>
                </c:pt>
                <c:pt idx="67">
                  <c:v>0.2226300241697252</c:v>
                </c:pt>
                <c:pt idx="68">
                  <c:v>0.2079016587041709</c:v>
                </c:pt>
                <c:pt idx="69">
                  <c:v>0.20189645625692137</c:v>
                </c:pt>
                <c:pt idx="70">
                  <c:v>0.2017234625930278</c:v>
                </c:pt>
                <c:pt idx="71">
                  <c:v>0.20463658234307794</c:v>
                </c:pt>
                <c:pt idx="72">
                  <c:v>0.19596956611145383</c:v>
                </c:pt>
                <c:pt idx="73">
                  <c:v>0.20291370937616734</c:v>
                </c:pt>
                <c:pt idx="74">
                  <c:v>0.2060639700270589</c:v>
                </c:pt>
                <c:pt idx="75">
                  <c:v>0.22175529335703895</c:v>
                </c:pt>
                <c:pt idx="76">
                  <c:v>0.2259450925357425</c:v>
                </c:pt>
                <c:pt idx="77">
                  <c:v>0.21685107926718664</c:v>
                </c:pt>
                <c:pt idx="78">
                  <c:v>0.2158143273384909</c:v>
                </c:pt>
                <c:pt idx="79">
                  <c:v>0.1854937515314874</c:v>
                </c:pt>
                <c:pt idx="80">
                  <c:v>0.17803214807598636</c:v>
                </c:pt>
                <c:pt idx="81">
                  <c:v>0.1951445251317101</c:v>
                </c:pt>
                <c:pt idx="82">
                  <c:v>0.19520802377414562</c:v>
                </c:pt>
                <c:pt idx="83">
                  <c:v>0.1999160897839312</c:v>
                </c:pt>
                <c:pt idx="84">
                  <c:v>0.20203843295466611</c:v>
                </c:pt>
                <c:pt idx="85">
                  <c:v>0.21093605189990733</c:v>
                </c:pt>
                <c:pt idx="86">
                  <c:v>0.22308019268914706</c:v>
                </c:pt>
                <c:pt idx="87">
                  <c:v>0.23414166324153993</c:v>
                </c:pt>
                <c:pt idx="88">
                  <c:v>0.221602787456446</c:v>
                </c:pt>
                <c:pt idx="89">
                  <c:v>0.22841436830632167</c:v>
                </c:pt>
                <c:pt idx="90">
                  <c:v>0.21066978193146418</c:v>
                </c:pt>
                <c:pt idx="91">
                  <c:v>0.19653069004956156</c:v>
                </c:pt>
                <c:pt idx="92">
                  <c:v>0.20957032740593756</c:v>
                </c:pt>
                <c:pt idx="93">
                  <c:v>0.2077374680114406</c:v>
                </c:pt>
                <c:pt idx="94">
                  <c:v>0.2120375020927507</c:v>
                </c:pt>
                <c:pt idx="95">
                  <c:v>0.21487449643631856</c:v>
                </c:pt>
                <c:pt idx="96">
                  <c:v>0.21521546821685833</c:v>
                </c:pt>
                <c:pt idx="97">
                  <c:v>0.22289985497006434</c:v>
                </c:pt>
                <c:pt idx="98">
                  <c:v>0.22759295499021526</c:v>
                </c:pt>
                <c:pt idx="99">
                  <c:v>0.23383923552557617</c:v>
                </c:pt>
                <c:pt idx="100">
                  <c:v>0.2406105816911733</c:v>
                </c:pt>
                <c:pt idx="101">
                  <c:v>0.24128389596015495</c:v>
                </c:pt>
                <c:pt idx="102">
                  <c:v>0.23207161125319692</c:v>
                </c:pt>
                <c:pt idx="103">
                  <c:v>0.22563136410532453</c:v>
                </c:pt>
                <c:pt idx="104">
                  <c:v>0.223682781097229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5.5328</c:v>
                </c:pt>
                <c:pt idx="1">
                  <c:v>1229.1678</c:v>
                </c:pt>
                <c:pt idx="2">
                  <c:v>1230.3405</c:v>
                </c:pt>
                <c:pt idx="3">
                  <c:v>1207.67</c:v>
                </c:pt>
                <c:pt idx="4">
                  <c:v>1244.5538</c:v>
                </c:pt>
                <c:pt idx="5">
                  <c:v>1230.6622</c:v>
                </c:pt>
                <c:pt idx="6">
                  <c:v>1133.0588</c:v>
                </c:pt>
                <c:pt idx="7">
                  <c:v>1172.0965</c:v>
                </c:pt>
                <c:pt idx="8">
                  <c:v>1231.7675</c:v>
                </c:pt>
                <c:pt idx="9">
                  <c:v>1185.1154</c:v>
                </c:pt>
                <c:pt idx="10">
                  <c:v>1212.8278</c:v>
                </c:pt>
                <c:pt idx="11">
                  <c:v>1064.464</c:v>
                </c:pt>
                <c:pt idx="12">
                  <c:v>1108.0432</c:v>
                </c:pt>
                <c:pt idx="13">
                  <c:v>1181.2095</c:v>
                </c:pt>
                <c:pt idx="14">
                  <c:v>1157.4371</c:v>
                </c:pt>
                <c:pt idx="15">
                  <c:v>1184.3463</c:v>
                </c:pt>
                <c:pt idx="16">
                  <c:v>1215.8157</c:v>
                </c:pt>
                <c:pt idx="17">
                  <c:v>1153.055</c:v>
                </c:pt>
                <c:pt idx="18">
                  <c:v>1171.0643</c:v>
                </c:pt>
                <c:pt idx="19">
                  <c:v>1298.3816</c:v>
                </c:pt>
                <c:pt idx="20">
                  <c:v>1294.227</c:v>
                </c:pt>
                <c:pt idx="21">
                  <c:v>1194.6852</c:v>
                </c:pt>
                <c:pt idx="22">
                  <c:v>1229.4949</c:v>
                </c:pt>
                <c:pt idx="23">
                  <c:v>1250.4488</c:v>
                </c:pt>
                <c:pt idx="24">
                  <c:v>1260.1515</c:v>
                </c:pt>
                <c:pt idx="25">
                  <c:v>1220.5154</c:v>
                </c:pt>
                <c:pt idx="26">
                  <c:v>1215.7985</c:v>
                </c:pt>
                <c:pt idx="27">
                  <c:v>1218.1686</c:v>
                </c:pt>
                <c:pt idx="28">
                  <c:v>1247.6001</c:v>
                </c:pt>
                <c:pt idx="29">
                  <c:v>1257.607</c:v>
                </c:pt>
                <c:pt idx="30">
                  <c:v>1249.3395</c:v>
                </c:pt>
                <c:pt idx="31">
                  <c:v>1233.0024</c:v>
                </c:pt>
                <c:pt idx="32">
                  <c:v>1252.6995</c:v>
                </c:pt>
                <c:pt idx="33">
                  <c:v>1250.2437</c:v>
                </c:pt>
                <c:pt idx="34">
                  <c:v>1264.381</c:v>
                </c:pt>
                <c:pt idx="35">
                  <c:v>1300.2647</c:v>
                </c:pt>
                <c:pt idx="36">
                  <c:v>1337.4215</c:v>
                </c:pt>
                <c:pt idx="37">
                  <c:v>1322.6397</c:v>
                </c:pt>
                <c:pt idx="38">
                  <c:v>1351.1153</c:v>
                </c:pt>
                <c:pt idx="39">
                  <c:v>1292.414</c:v>
                </c:pt>
                <c:pt idx="40">
                  <c:v>1318.8644</c:v>
                </c:pt>
                <c:pt idx="41">
                  <c:v>1356.7444</c:v>
                </c:pt>
                <c:pt idx="42">
                  <c:v>1340.9976</c:v>
                </c:pt>
                <c:pt idx="43">
                  <c:v>1357.2264</c:v>
                </c:pt>
                <c:pt idx="44">
                  <c:v>1270.8041</c:v>
                </c:pt>
                <c:pt idx="45">
                  <c:v>1220.4965</c:v>
                </c:pt>
                <c:pt idx="46">
                  <c:v>1205.1246</c:v>
                </c:pt>
                <c:pt idx="47">
                  <c:v>1174.197</c:v>
                </c:pt>
                <c:pt idx="48">
                  <c:v>1171.717</c:v>
                </c:pt>
                <c:pt idx="49">
                  <c:v>1193.1041</c:v>
                </c:pt>
                <c:pt idx="50">
                  <c:v>1150.7965</c:v>
                </c:pt>
                <c:pt idx="51">
                  <c:v>1112.6736</c:v>
                </c:pt>
              </c:numCache>
            </c:numRef>
          </c:xVal>
          <c:yVal>
            <c:numRef>
              <c:f>Sheet1!$B$109:$B$160</c:f>
              <c:numCache>
                <c:formatCode>General</c:formatCode>
                <c:ptCount val="52"/>
                <c:pt idx="0">
                  <c:v>0.22302879793686423</c:v>
                </c:pt>
                <c:pt idx="1">
                  <c:v>0.22188860531451735</c:v>
                </c:pt>
                <c:pt idx="2">
                  <c:v>0.24024604569420036</c:v>
                </c:pt>
                <c:pt idx="3">
                  <c:v>0.25983216148786575</c:v>
                </c:pt>
                <c:pt idx="4">
                  <c:v>0.2377483749020331</c:v>
                </c:pt>
                <c:pt idx="5">
                  <c:v>0.24267253488154322</c:v>
                </c:pt>
                <c:pt idx="6">
                  <c:v>0.2548355899419729</c:v>
                </c:pt>
                <c:pt idx="7">
                  <c:v>0.25046801013104286</c:v>
                </c:pt>
                <c:pt idx="8">
                  <c:v>0.23297180043383947</c:v>
                </c:pt>
                <c:pt idx="9">
                  <c:v>0.24396245850978596</c:v>
                </c:pt>
                <c:pt idx="10">
                  <c:v>0.2445192038127278</c:v>
                </c:pt>
                <c:pt idx="11">
                  <c:v>0.2502186183321409</c:v>
                </c:pt>
                <c:pt idx="12">
                  <c:v>0.2483518553399887</c:v>
                </c:pt>
                <c:pt idx="13">
                  <c:v>0.24682802547770702</c:v>
                </c:pt>
                <c:pt idx="14">
                  <c:v>0.2513315579227696</c:v>
                </c:pt>
                <c:pt idx="15">
                  <c:v>0.24463028698634257</c:v>
                </c:pt>
                <c:pt idx="16">
                  <c:v>0.24115892628887942</c:v>
                </c:pt>
                <c:pt idx="17">
                  <c:v>0.2517492818737571</c:v>
                </c:pt>
                <c:pt idx="18">
                  <c:v>0.24642275726158855</c:v>
                </c:pt>
                <c:pt idx="19">
                  <c:v>0.23300807537012114</c:v>
                </c:pt>
                <c:pt idx="20">
                  <c:v>0.225107016564303</c:v>
                </c:pt>
                <c:pt idx="21">
                  <c:v>0.2440318302387268</c:v>
                </c:pt>
                <c:pt idx="22">
                  <c:v>0.23297221924273304</c:v>
                </c:pt>
                <c:pt idx="23">
                  <c:v>0.23269596332326958</c:v>
                </c:pt>
                <c:pt idx="24">
                  <c:v>0.2331611570247934</c:v>
                </c:pt>
                <c:pt idx="25">
                  <c:v>0.2380224817199607</c:v>
                </c:pt>
                <c:pt idx="26">
                  <c:v>0.22935962553530526</c:v>
                </c:pt>
                <c:pt idx="27">
                  <c:v>0.23360433604336042</c:v>
                </c:pt>
                <c:pt idx="28">
                  <c:v>0.22238538097568936</c:v>
                </c:pt>
                <c:pt idx="29">
                  <c:v>0.22770137524557957</c:v>
                </c:pt>
                <c:pt idx="30">
                  <c:v>0.22843563555465668</c:v>
                </c:pt>
                <c:pt idx="31">
                  <c:v>0.22335135135135134</c:v>
                </c:pt>
                <c:pt idx="32">
                  <c:v>0.21663406910682687</c:v>
                </c:pt>
                <c:pt idx="33">
                  <c:v>0.23088224491295087</c:v>
                </c:pt>
                <c:pt idx="34">
                  <c:v>0.2490985760557355</c:v>
                </c:pt>
                <c:pt idx="35">
                  <c:v>0.2384262796027502</c:v>
                </c:pt>
                <c:pt idx="36">
                  <c:v>0.23092369477911648</c:v>
                </c:pt>
                <c:pt idx="37">
                  <c:v>0.23338320153879033</c:v>
                </c:pt>
                <c:pt idx="38">
                  <c:v>0.23307462686567165</c:v>
                </c:pt>
                <c:pt idx="39">
                  <c:v>0.23196517412935325</c:v>
                </c:pt>
                <c:pt idx="40">
                  <c:v>0.22429417915650052</c:v>
                </c:pt>
                <c:pt idx="41">
                  <c:v>0.2233001793575738</c:v>
                </c:pt>
                <c:pt idx="42">
                  <c:v>0.2272811059907834</c:v>
                </c:pt>
                <c:pt idx="43">
                  <c:v>0.21284813986582637</c:v>
                </c:pt>
                <c:pt idx="44">
                  <c:v>0.21422575409927808</c:v>
                </c:pt>
                <c:pt idx="45">
                  <c:v>0.2342060914957458</c:v>
                </c:pt>
                <c:pt idx="46">
                  <c:v>0.2518030281320151</c:v>
                </c:pt>
                <c:pt idx="47">
                  <c:v>0.2538014806933546</c:v>
                </c:pt>
                <c:pt idx="48">
                  <c:v>0.24463487607579507</c:v>
                </c:pt>
                <c:pt idx="49">
                  <c:v>0.2500522757370879</c:v>
                </c:pt>
                <c:pt idx="50">
                  <c:v>0.25107861936721</c:v>
                </c:pt>
                <c:pt idx="51">
                  <c:v>0.245786814959460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80.5235550628245</c:v>
                </c:pt>
              </c:numCache>
            </c:numRef>
          </c:xVal>
          <c:yVal>
            <c:numRef>
              <c:f>Sheet1!$B$163:$B$164</c:f>
              <c:numCache>
                <c:formatCode>General</c:formatCode>
                <c:ptCount val="2"/>
                <c:pt idx="0">
                  <c:v>0.3038907969285719</c:v>
                </c:pt>
                <c:pt idx="1">
                  <c:v>0.303890796928571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80.5235550628245</c:v>
                </c:pt>
                <c:pt idx="1">
                  <c:v>680.5235550628245</c:v>
                </c:pt>
              </c:numCache>
            </c:numRef>
          </c:xVal>
          <c:yVal>
            <c:numRef>
              <c:f>Sheet1!$B$167:$B$168</c:f>
              <c:numCache>
                <c:formatCode>General</c:formatCode>
                <c:ptCount val="2"/>
                <c:pt idx="0">
                  <c:v>0.303890796928571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41.6412834870976</c:v>
                </c:pt>
              </c:numCache>
            </c:numRef>
          </c:xVal>
          <c:yVal>
            <c:numRef>
              <c:f>Sheet1!$B$171:$B$172</c:f>
              <c:numCache>
                <c:formatCode>General</c:formatCode>
                <c:ptCount val="2"/>
                <c:pt idx="0">
                  <c:v>0.24788814653488822</c:v>
                </c:pt>
                <c:pt idx="1">
                  <c:v>0.247888146534888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41.6412834870976</c:v>
                </c:pt>
                <c:pt idx="1">
                  <c:v>1141.6412834870976</c:v>
                </c:pt>
              </c:numCache>
            </c:numRef>
          </c:xVal>
          <c:yVal>
            <c:numRef>
              <c:f>Sheet1!$B$175:$B$176</c:f>
              <c:numCache>
                <c:formatCode>General</c:formatCode>
                <c:ptCount val="2"/>
                <c:pt idx="0">
                  <c:v>0.247888146534888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1.2507842776931</c:v>
                </c:pt>
              </c:numCache>
            </c:numRef>
          </c:xVal>
          <c:yVal>
            <c:numRef>
              <c:f>Sheet1!$B$179:$B$180</c:f>
              <c:numCache>
                <c:formatCode>General</c:formatCode>
                <c:ptCount val="2"/>
                <c:pt idx="0">
                  <c:v>0.23579059377384493</c:v>
                </c:pt>
                <c:pt idx="1">
                  <c:v>0.235790593773844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1.2507842776931</c:v>
                </c:pt>
                <c:pt idx="1">
                  <c:v>1241.2507842776931</c:v>
                </c:pt>
              </c:numCache>
            </c:numRef>
          </c:xVal>
          <c:yVal>
            <c:numRef>
              <c:f>Sheet1!$B$183:$B$184</c:f>
              <c:numCache>
                <c:formatCode>General</c:formatCode>
                <c:ptCount val="2"/>
                <c:pt idx="0">
                  <c:v>0.235790593773844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5.5328</c:v>
                </c:pt>
                <c:pt idx="1">
                  <c:v>1229.1678</c:v>
                </c:pt>
                <c:pt idx="2">
                  <c:v>1230.3405</c:v>
                </c:pt>
                <c:pt idx="3">
                  <c:v>1207.67</c:v>
                </c:pt>
                <c:pt idx="4">
                  <c:v>1244.5538</c:v>
                </c:pt>
                <c:pt idx="5">
                  <c:v>1230.6622</c:v>
                </c:pt>
                <c:pt idx="6">
                  <c:v>1133.0588</c:v>
                </c:pt>
                <c:pt idx="7">
                  <c:v>1172.0965</c:v>
                </c:pt>
                <c:pt idx="8">
                  <c:v>1231.7675</c:v>
                </c:pt>
                <c:pt idx="9">
                  <c:v>1185.1154</c:v>
                </c:pt>
                <c:pt idx="10">
                  <c:v>1212.8278</c:v>
                </c:pt>
                <c:pt idx="11">
                  <c:v>1064.464</c:v>
                </c:pt>
                <c:pt idx="12">
                  <c:v>1108.0432</c:v>
                </c:pt>
                <c:pt idx="13">
                  <c:v>1181.2095</c:v>
                </c:pt>
                <c:pt idx="14">
                  <c:v>1157.4371</c:v>
                </c:pt>
                <c:pt idx="15">
                  <c:v>1184.3463</c:v>
                </c:pt>
                <c:pt idx="16">
                  <c:v>1215.8157</c:v>
                </c:pt>
                <c:pt idx="17">
                  <c:v>1153.055</c:v>
                </c:pt>
                <c:pt idx="18">
                  <c:v>1171.0643</c:v>
                </c:pt>
                <c:pt idx="19">
                  <c:v>1298.3816</c:v>
                </c:pt>
                <c:pt idx="20">
                  <c:v>1294.227</c:v>
                </c:pt>
                <c:pt idx="21">
                  <c:v>1194.6852</c:v>
                </c:pt>
                <c:pt idx="22">
                  <c:v>1229.4949</c:v>
                </c:pt>
                <c:pt idx="23">
                  <c:v>1250.4488</c:v>
                </c:pt>
                <c:pt idx="24">
                  <c:v>1260.1515</c:v>
                </c:pt>
                <c:pt idx="25">
                  <c:v>1220.5154</c:v>
                </c:pt>
                <c:pt idx="26">
                  <c:v>1215.7985</c:v>
                </c:pt>
                <c:pt idx="27">
                  <c:v>1218.1686</c:v>
                </c:pt>
                <c:pt idx="28">
                  <c:v>1247.6001</c:v>
                </c:pt>
                <c:pt idx="29">
                  <c:v>1257.607</c:v>
                </c:pt>
                <c:pt idx="30">
                  <c:v>1249.3395</c:v>
                </c:pt>
                <c:pt idx="31">
                  <c:v>1233.0024</c:v>
                </c:pt>
                <c:pt idx="32">
                  <c:v>1252.6995</c:v>
                </c:pt>
                <c:pt idx="33">
                  <c:v>1250.2437</c:v>
                </c:pt>
                <c:pt idx="34">
                  <c:v>1264.381</c:v>
                </c:pt>
                <c:pt idx="35">
                  <c:v>1300.2647</c:v>
                </c:pt>
                <c:pt idx="36">
                  <c:v>1337.4215</c:v>
                </c:pt>
                <c:pt idx="37">
                  <c:v>1322.6397</c:v>
                </c:pt>
                <c:pt idx="38">
                  <c:v>1351.1153</c:v>
                </c:pt>
                <c:pt idx="39">
                  <c:v>1292.414</c:v>
                </c:pt>
                <c:pt idx="40">
                  <c:v>1318.8644</c:v>
                </c:pt>
                <c:pt idx="41">
                  <c:v>1356.7444</c:v>
                </c:pt>
                <c:pt idx="42">
                  <c:v>1340.9976</c:v>
                </c:pt>
                <c:pt idx="43">
                  <c:v>1357.2264</c:v>
                </c:pt>
                <c:pt idx="44">
                  <c:v>1270.8041</c:v>
                </c:pt>
                <c:pt idx="45">
                  <c:v>1220.4965</c:v>
                </c:pt>
                <c:pt idx="46">
                  <c:v>1205.1246</c:v>
                </c:pt>
                <c:pt idx="47">
                  <c:v>1174.197</c:v>
                </c:pt>
                <c:pt idx="48">
                  <c:v>1171.717</c:v>
                </c:pt>
                <c:pt idx="49">
                  <c:v>1193.1041</c:v>
                </c:pt>
                <c:pt idx="50">
                  <c:v>1150.7965</c:v>
                </c:pt>
                <c:pt idx="51">
                  <c:v>1112.6736</c:v>
                </c:pt>
                <c:pt idx="52">
                  <c:v>1141.6412834870976</c:v>
                </c:pt>
                <c:pt idx="53">
                  <c:v>680.5235550628245</c:v>
                </c:pt>
                <c:pt idx="54">
                  <c:v>1241.2507842776931</c:v>
                </c:pt>
              </c:numCache>
            </c:numRef>
          </c:xVal>
          <c:yVal>
            <c:numRef>
              <c:f>Sheet1!$B$187:$B$241</c:f>
              <c:numCache>
                <c:formatCode>General</c:formatCode>
                <c:ptCount val="55"/>
                <c:pt idx="0">
                  <c:v>0.2389140375140273</c:v>
                </c:pt>
                <c:pt idx="1">
                  <c:v>0.23725806965365628</c:v>
                </c:pt>
                <c:pt idx="2">
                  <c:v>0.23711564548718345</c:v>
                </c:pt>
                <c:pt idx="3">
                  <c:v>0.23986897290768514</c:v>
                </c:pt>
                <c:pt idx="4">
                  <c:v>0.23538944321437003</c:v>
                </c:pt>
                <c:pt idx="5">
                  <c:v>0.23707657509036045</c:v>
                </c:pt>
                <c:pt idx="6">
                  <c:v>0.2489304873355335</c:v>
                </c:pt>
                <c:pt idx="7">
                  <c:v>0.24418936694368862</c:v>
                </c:pt>
                <c:pt idx="8">
                  <c:v>0.23694233663960373</c:v>
                </c:pt>
                <c:pt idx="9">
                  <c:v>0.24260822429774923</c:v>
                </c:pt>
                <c:pt idx="10">
                  <c:v>0.23924255919076387</c:v>
                </c:pt>
                <c:pt idx="11">
                  <c:v>0.2572613112584214</c:v>
                </c:pt>
                <c:pt idx="12">
                  <c:v>0.2519686266540444</c:v>
                </c:pt>
                <c:pt idx="13">
                  <c:v>0.2430825950249823</c:v>
                </c:pt>
                <c:pt idx="14">
                  <c:v>0.24596974796696128</c:v>
                </c:pt>
                <c:pt idx="15">
                  <c:v>0.24270163132975592</c:v>
                </c:pt>
                <c:pt idx="16">
                  <c:v>0.2388796793689815</c:v>
                </c:pt>
                <c:pt idx="17">
                  <c:v>0.24650195308327458</c:v>
                </c:pt>
                <c:pt idx="18">
                  <c:v>0.24431472741493726</c:v>
                </c:pt>
                <c:pt idx="19">
                  <c:v>0.2288520683119514</c:v>
                </c:pt>
                <c:pt idx="20">
                  <c:v>0.22935664360147814</c:v>
                </c:pt>
                <c:pt idx="21">
                  <c:v>0.24144597411585128</c:v>
                </c:pt>
                <c:pt idx="22">
                  <c:v>0.2372183434279777</c:v>
                </c:pt>
                <c:pt idx="23">
                  <c:v>0.23467349671368157</c:v>
                </c:pt>
                <c:pt idx="24">
                  <c:v>0.2334951058549488</c:v>
                </c:pt>
                <c:pt idx="25">
                  <c:v>0.23830890179997632</c:v>
                </c:pt>
                <c:pt idx="26">
                  <c:v>0.23888176830533633</c:v>
                </c:pt>
                <c:pt idx="27">
                  <c:v>0.23859392016262532</c:v>
                </c:pt>
                <c:pt idx="28">
                  <c:v>0.2350194707249642</c:v>
                </c:pt>
                <c:pt idx="29">
                  <c:v>0.2338041348406997</c:v>
                </c:pt>
                <c:pt idx="30">
                  <c:v>0.23480822096359058</c:v>
                </c:pt>
                <c:pt idx="31">
                  <c:v>0.23679235829631276</c:v>
                </c:pt>
                <c:pt idx="32">
                  <c:v>0.23440014967566639</c:v>
                </c:pt>
                <c:pt idx="33">
                  <c:v>0.23469840606521528</c:v>
                </c:pt>
                <c:pt idx="34">
                  <c:v>0.23298143397629537</c:v>
                </c:pt>
                <c:pt idx="35">
                  <c:v>0.22862336621603174</c:v>
                </c:pt>
                <c:pt idx="36">
                  <c:v>0.22411068073057278</c:v>
                </c:pt>
                <c:pt idx="37">
                  <c:v>0.22590592720790553</c:v>
                </c:pt>
                <c:pt idx="38">
                  <c:v>0.2224475716226631</c:v>
                </c:pt>
                <c:pt idx="39">
                  <c:v>0.22957683206725393</c:v>
                </c:pt>
                <c:pt idx="40">
                  <c:v>0.22636443659281633</c:v>
                </c:pt>
                <c:pt idx="41">
                  <c:v>0.22176391862062317</c:v>
                </c:pt>
                <c:pt idx="42">
                  <c:v>0.22367636414344608</c:v>
                </c:pt>
                <c:pt idx="43">
                  <c:v>0.22170537982277214</c:v>
                </c:pt>
                <c:pt idx="44">
                  <c:v>0.23220134984252574</c:v>
                </c:pt>
                <c:pt idx="45">
                  <c:v>0.2383111972009709</c:v>
                </c:pt>
                <c:pt idx="46">
                  <c:v>0.24017811119824534</c:v>
                </c:pt>
                <c:pt idx="47">
                  <c:v>0.24393426166384197</c:v>
                </c:pt>
                <c:pt idx="48">
                  <c:v>0.2442354571382622</c:v>
                </c:pt>
                <c:pt idx="49">
                  <c:v>0.241637998375773</c:v>
                </c:pt>
                <c:pt idx="50">
                  <c:v>0.24677624742963672</c:v>
                </c:pt>
                <c:pt idx="51">
                  <c:v>0.2514062655553527</c:v>
                </c:pt>
                <c:pt idx="52">
                  <c:v>0.24788814653488822</c:v>
                </c:pt>
                <c:pt idx="53">
                  <c:v>0.3038907969285719</c:v>
                </c:pt>
                <c:pt idx="54">
                  <c:v>0.235790593773844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9.0"/>
          <c:min val="54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79079354173824"/>
          <c:min val="0.1404641775983854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86427514957595</c:v>
                </c:pt>
                <c:pt idx="1">
                  <c:v>0.6680159960183437</c:v>
                </c:pt>
                <c:pt idx="2">
                  <c:v>0.6711333210268414</c:v>
                </c:pt>
                <c:pt idx="3">
                  <c:v>0.6793463573891058</c:v>
                </c:pt>
                <c:pt idx="4">
                  <c:v>0.6829476365698357</c:v>
                </c:pt>
                <c:pt idx="5">
                  <c:v>0.6982208694943602</c:v>
                </c:pt>
                <c:pt idx="6">
                  <c:v>0.6516920250230145</c:v>
                </c:pt>
                <c:pt idx="7">
                  <c:v>0.645831393696767</c:v>
                </c:pt>
                <c:pt idx="8">
                  <c:v>0.6540799379549391</c:v>
                </c:pt>
                <c:pt idx="9">
                  <c:v>0.6842485496730908</c:v>
                </c:pt>
                <c:pt idx="10">
                  <c:v>0.6943082166664148</c:v>
                </c:pt>
                <c:pt idx="11">
                  <c:v>0.7299813841951839</c:v>
                </c:pt>
                <c:pt idx="12">
                  <c:v>0.7469561027271449</c:v>
                </c:pt>
                <c:pt idx="13">
                  <c:v>0.7265675014945212</c:v>
                </c:pt>
                <c:pt idx="14">
                  <c:v>0.7224527949233268</c:v>
                </c:pt>
                <c:pt idx="15">
                  <c:v>0.731911258689754</c:v>
                </c:pt>
                <c:pt idx="16">
                  <c:v>0.7238963847876517</c:v>
                </c:pt>
                <c:pt idx="17">
                  <c:v>0.7187273744339072</c:v>
                </c:pt>
                <c:pt idx="18">
                  <c:v>0.7436816646109292</c:v>
                </c:pt>
                <c:pt idx="19">
                  <c:v>0.7529395662910899</c:v>
                </c:pt>
                <c:pt idx="20">
                  <c:v>0.7598888631515027</c:v>
                </c:pt>
                <c:pt idx="21">
                  <c:v>0.6898699079047793</c:v>
                </c:pt>
                <c:pt idx="22">
                  <c:v>0.6557641474969952</c:v>
                </c:pt>
                <c:pt idx="23">
                  <c:v>0.6290650159349707</c:v>
                </c:pt>
                <c:pt idx="24">
                  <c:v>0.6040214680894427</c:v>
                </c:pt>
                <c:pt idx="25">
                  <c:v>0.5901879918972118</c:v>
                </c:pt>
                <c:pt idx="26">
                  <c:v>0.6032478192410525</c:v>
                </c:pt>
                <c:pt idx="27">
                  <c:v>0.6236175099041623</c:v>
                </c:pt>
                <c:pt idx="28">
                  <c:v>0.6142871139417069</c:v>
                </c:pt>
                <c:pt idx="29">
                  <c:v>0.5427169869110664</c:v>
                </c:pt>
                <c:pt idx="30">
                  <c:v>0.5659302325783551</c:v>
                </c:pt>
                <c:pt idx="31">
                  <c:v>0.589664690180393</c:v>
                </c:pt>
                <c:pt idx="32">
                  <c:v>0.558298290504773</c:v>
                </c:pt>
                <c:pt idx="33">
                  <c:v>0.5421471833963655</c:v>
                </c:pt>
                <c:pt idx="34">
                  <c:v>0.6280902261242939</c:v>
                </c:pt>
                <c:pt idx="35">
                  <c:v>0.7080306693635885</c:v>
                </c:pt>
                <c:pt idx="36">
                  <c:v>0.7364159074681096</c:v>
                </c:pt>
                <c:pt idx="37">
                  <c:v>0.7015906733680093</c:v>
                </c:pt>
                <c:pt idx="38">
                  <c:v>0.7480841177796437</c:v>
                </c:pt>
                <c:pt idx="39">
                  <c:v>0.7525662530318261</c:v>
                </c:pt>
                <c:pt idx="40">
                  <c:v>0.7595906283984417</c:v>
                </c:pt>
                <c:pt idx="41">
                  <c:v>0.7469612049331517</c:v>
                </c:pt>
                <c:pt idx="42">
                  <c:v>0.7750507370422609</c:v>
                </c:pt>
                <c:pt idx="43">
                  <c:v>0.7778254903084691</c:v>
                </c:pt>
                <c:pt idx="44">
                  <c:v>0.7075759628606783</c:v>
                </c:pt>
                <c:pt idx="45">
                  <c:v>0.6906656288062669</c:v>
                </c:pt>
                <c:pt idx="46">
                  <c:v>0.6850278935793284</c:v>
                </c:pt>
                <c:pt idx="47">
                  <c:v>0.6796485879460304</c:v>
                </c:pt>
                <c:pt idx="48">
                  <c:v>0.6831616788002832</c:v>
                </c:pt>
                <c:pt idx="49">
                  <c:v>0.6932503610108177</c:v>
                </c:pt>
                <c:pt idx="50">
                  <c:v>0.6594849984220558</c:v>
                </c:pt>
                <c:pt idx="51">
                  <c:v>0.6668004112288317</c:v>
                </c:pt>
                <c:pt idx="52">
                  <c:v>0.6830188882053616</c:v>
                </c:pt>
                <c:pt idx="53">
                  <c:v>0.633427115337087</c:v>
                </c:pt>
                <c:pt idx="54">
                  <c:v>0.6158482979360279</c:v>
                </c:pt>
                <c:pt idx="55">
                  <c:v>0.6312833106581978</c:v>
                </c:pt>
                <c:pt idx="56">
                  <c:v>0.636031240538993</c:v>
                </c:pt>
                <c:pt idx="57">
                  <c:v>0.6390355311438402</c:v>
                </c:pt>
                <c:pt idx="58">
                  <c:v>0.6217797486517596</c:v>
                </c:pt>
                <c:pt idx="59">
                  <c:v>0.6259693885342068</c:v>
                </c:pt>
                <c:pt idx="60">
                  <c:v>0.6251908941525802</c:v>
                </c:pt>
                <c:pt idx="61">
                  <c:v>0.6482874135940033</c:v>
                </c:pt>
                <c:pt idx="62">
                  <c:v>0.6750601401918744</c:v>
                </c:pt>
                <c:pt idx="63">
                  <c:v>0.6880693067557059</c:v>
                </c:pt>
                <c:pt idx="64">
                  <c:v>0.7389904032838137</c:v>
                </c:pt>
                <c:pt idx="65">
                  <c:v>0.7412725825743469</c:v>
                </c:pt>
                <c:pt idx="66">
                  <c:v>0.6978474961783566</c:v>
                </c:pt>
                <c:pt idx="67">
                  <c:v>0.6844414396123216</c:v>
                </c:pt>
                <c:pt idx="68">
                  <c:v>0.6619252529650044</c:v>
                </c:pt>
                <c:pt idx="69">
                  <c:v>0.646663046447143</c:v>
                </c:pt>
                <c:pt idx="70">
                  <c:v>0.6174069368997238</c:v>
                </c:pt>
                <c:pt idx="71">
                  <c:v>0.6036840157075474</c:v>
                </c:pt>
                <c:pt idx="72">
                  <c:v>0.6430219285792582</c:v>
                </c:pt>
                <c:pt idx="73">
                  <c:v>0.6189079718773486</c:v>
                </c:pt>
                <c:pt idx="74">
                  <c:v>0.5812600606291718</c:v>
                </c:pt>
                <c:pt idx="75">
                  <c:v>0.5879907064173495</c:v>
                </c:pt>
                <c:pt idx="76">
                  <c:v>0.6057658319383235</c:v>
                </c:pt>
                <c:pt idx="77">
                  <c:v>0.6021211426383932</c:v>
                </c:pt>
                <c:pt idx="78">
                  <c:v>0.6302606007142504</c:v>
                </c:pt>
                <c:pt idx="79">
                  <c:v>0.3721101834965243</c:v>
                </c:pt>
                <c:pt idx="80">
                  <c:v>0.3907020741219542</c:v>
                </c:pt>
                <c:pt idx="81">
                  <c:v>0.5262652427574475</c:v>
                </c:pt>
                <c:pt idx="82">
                  <c:v>0.5123218332119956</c:v>
                </c:pt>
                <c:pt idx="83">
                  <c:v>0.5229652449391528</c:v>
                </c:pt>
                <c:pt idx="84">
                  <c:v>0.5271569650369741</c:v>
                </c:pt>
                <c:pt idx="85">
                  <c:v>0.5558622302836039</c:v>
                </c:pt>
                <c:pt idx="86">
                  <c:v>0.656467014094292</c:v>
                </c:pt>
                <c:pt idx="87">
                  <c:v>0.6905026773461241</c:v>
                </c:pt>
                <c:pt idx="88">
                  <c:v>0.6486594406613184</c:v>
                </c:pt>
                <c:pt idx="89">
                  <c:v>0.6048336030938024</c:v>
                </c:pt>
                <c:pt idx="90">
                  <c:v>0.625144434171763</c:v>
                </c:pt>
                <c:pt idx="91">
                  <c:v>0.6580750842415012</c:v>
                </c:pt>
                <c:pt idx="92">
                  <c:v>0.6881743661157109</c:v>
                </c:pt>
                <c:pt idx="93">
                  <c:v>0.7167922643589754</c:v>
                </c:pt>
                <c:pt idx="94">
                  <c:v>0.7099057452710016</c:v>
                </c:pt>
                <c:pt idx="95">
                  <c:v>0.7462327153939328</c:v>
                </c:pt>
                <c:pt idx="96">
                  <c:v>0.7392121836801483</c:v>
                </c:pt>
                <c:pt idx="97">
                  <c:v>0.8003215283273106</c:v>
                </c:pt>
                <c:pt idx="98">
                  <c:v>0.8142867470774089</c:v>
                </c:pt>
                <c:pt idx="99">
                  <c:v>0.8054117472117902</c:v>
                </c:pt>
                <c:pt idx="100">
                  <c:v>0.8051006278575294</c:v>
                </c:pt>
                <c:pt idx="101">
                  <c:v>0.7462332432909483</c:v>
                </c:pt>
                <c:pt idx="102">
                  <c:v>0.7526396459269009</c:v>
                </c:pt>
                <c:pt idx="103">
                  <c:v>0.6702911333349433</c:v>
                </c:pt>
                <c:pt idx="104">
                  <c:v>0.7013900676125256</c:v>
                </c:pt>
              </c:numCache>
            </c:numRef>
          </c:xVal>
          <c:yVal>
            <c:numRef>
              <c:f>Sheet1!$B$2:$B$106</c:f>
              <c:numCache>
                <c:formatCode>General</c:formatCode>
                <c:ptCount val="105"/>
                <c:pt idx="0">
                  <c:v>0.21068205355821867</c:v>
                </c:pt>
                <c:pt idx="1">
                  <c:v>0.21077320402677488</c:v>
                </c:pt>
                <c:pt idx="2">
                  <c:v>0.18580294802172226</c:v>
                </c:pt>
                <c:pt idx="3">
                  <c:v>0.18233072984016965</c:v>
                </c:pt>
                <c:pt idx="4">
                  <c:v>0.18033191436856066</c:v>
                </c:pt>
                <c:pt idx="5">
                  <c:v>0.1653756301487766</c:v>
                </c:pt>
                <c:pt idx="6">
                  <c:v>0.18422598073760865</c:v>
                </c:pt>
                <c:pt idx="7">
                  <c:v>0.17780831329440056</c:v>
                </c:pt>
                <c:pt idx="8">
                  <c:v>0.18928440366972477</c:v>
                </c:pt>
                <c:pt idx="9">
                  <c:v>0.1935850420949331</c:v>
                </c:pt>
                <c:pt idx="10">
                  <c:v>0.20601934790397708</c:v>
                </c:pt>
                <c:pt idx="11">
                  <c:v>0.1979285908967021</c:v>
                </c:pt>
                <c:pt idx="12">
                  <c:v>0.20292000612588698</c:v>
                </c:pt>
                <c:pt idx="13">
                  <c:v>0.21586455557297382</c:v>
                </c:pt>
                <c:pt idx="14">
                  <c:v>0.20762380877987816</c:v>
                </c:pt>
                <c:pt idx="15">
                  <c:v>0.20610499107637392</c:v>
                </c:pt>
                <c:pt idx="16">
                  <c:v>0.1953637760089373</c:v>
                </c:pt>
                <c:pt idx="17">
                  <c:v>0.18828932261768083</c:v>
                </c:pt>
                <c:pt idx="18">
                  <c:v>0.1723512934585599</c:v>
                </c:pt>
                <c:pt idx="19">
                  <c:v>0.1564017134697763</c:v>
                </c:pt>
                <c:pt idx="20">
                  <c:v>0.16742994644104633</c:v>
                </c:pt>
                <c:pt idx="21">
                  <c:v>0.16912778105926363</c:v>
                </c:pt>
                <c:pt idx="22">
                  <c:v>0.16682313180623357</c:v>
                </c:pt>
                <c:pt idx="23">
                  <c:v>0.18079497059419997</c:v>
                </c:pt>
                <c:pt idx="24">
                  <c:v>0.1834593572778828</c:v>
                </c:pt>
                <c:pt idx="25">
                  <c:v>0.18036703225105874</c:v>
                </c:pt>
                <c:pt idx="26">
                  <c:v>0.18198911429985157</c:v>
                </c:pt>
                <c:pt idx="27">
                  <c:v>0.1702891702891703</c:v>
                </c:pt>
                <c:pt idx="28">
                  <c:v>0.16861758730772952</c:v>
                </c:pt>
                <c:pt idx="29">
                  <c:v>0.1896479986685529</c:v>
                </c:pt>
                <c:pt idx="30">
                  <c:v>0.16508926650892666</c:v>
                </c:pt>
                <c:pt idx="31">
                  <c:v>0.16296518607442978</c:v>
                </c:pt>
                <c:pt idx="32">
                  <c:v>0.17077835150124307</c:v>
                </c:pt>
                <c:pt idx="33">
                  <c:v>0.18809895252952974</c:v>
                </c:pt>
                <c:pt idx="34">
                  <c:v>0.1789592161016949</c:v>
                </c:pt>
                <c:pt idx="35">
                  <c:v>0.17546389167502507</c:v>
                </c:pt>
                <c:pt idx="36">
                  <c:v>0.14068787487662288</c:v>
                </c:pt>
                <c:pt idx="37">
                  <c:v>0.13293566254793354</c:v>
                </c:pt>
                <c:pt idx="38">
                  <c:v>0.12916962384669978</c:v>
                </c:pt>
                <c:pt idx="39">
                  <c:v>0.13263509129669107</c:v>
                </c:pt>
                <c:pt idx="40">
                  <c:v>0.1310584327344104</c:v>
                </c:pt>
                <c:pt idx="41">
                  <c:v>0.1199866866367116</c:v>
                </c:pt>
                <c:pt idx="42">
                  <c:v>0.1265051605504587</c:v>
                </c:pt>
                <c:pt idx="43">
                  <c:v>0.127720207253886</c:v>
                </c:pt>
                <c:pt idx="44">
                  <c:v>0.15237467018469658</c:v>
                </c:pt>
                <c:pt idx="45">
                  <c:v>0.17770354599515453</c:v>
                </c:pt>
                <c:pt idx="46">
                  <c:v>0.18588713995074418</c:v>
                </c:pt>
                <c:pt idx="47">
                  <c:v>0.18817989340731547</c:v>
                </c:pt>
                <c:pt idx="48">
                  <c:v>0.20453364687867437</c:v>
                </c:pt>
                <c:pt idx="49">
                  <c:v>0.2393094341088282</c:v>
                </c:pt>
                <c:pt idx="50">
                  <c:v>0.2002034434690879</c:v>
                </c:pt>
                <c:pt idx="51">
                  <c:v>0.18278346605991658</c:v>
                </c:pt>
                <c:pt idx="52">
                  <c:v>0.1916060618372405</c:v>
                </c:pt>
                <c:pt idx="53">
                  <c:v>0.18145714846048244</c:v>
                </c:pt>
                <c:pt idx="54">
                  <c:v>0.17889249428161072</c:v>
                </c:pt>
                <c:pt idx="55">
                  <c:v>0.16838060186187487</c:v>
                </c:pt>
                <c:pt idx="56">
                  <c:v>0.17806972644031166</c:v>
                </c:pt>
                <c:pt idx="57">
                  <c:v>0.17253839205058719</c:v>
                </c:pt>
                <c:pt idx="58">
                  <c:v>0.18993794326241134</c:v>
                </c:pt>
                <c:pt idx="59">
                  <c:v>0.20242621238064834</c:v>
                </c:pt>
                <c:pt idx="60">
                  <c:v>0.21598137582792315</c:v>
                </c:pt>
                <c:pt idx="61">
                  <c:v>0.21327830937372455</c:v>
                </c:pt>
                <c:pt idx="62">
                  <c:v>0.2106469689251146</c:v>
                </c:pt>
                <c:pt idx="63">
                  <c:v>0.2280694765357342</c:v>
                </c:pt>
                <c:pt idx="64">
                  <c:v>0.21364367861208147</c:v>
                </c:pt>
                <c:pt idx="65">
                  <c:v>0.197419627749577</c:v>
                </c:pt>
                <c:pt idx="66">
                  <c:v>0.19830004249893754</c:v>
                </c:pt>
                <c:pt idx="67">
                  <c:v>0.19787843523408827</c:v>
                </c:pt>
                <c:pt idx="68">
                  <c:v>0.1793440334961619</c:v>
                </c:pt>
                <c:pt idx="69">
                  <c:v>0.1672203765227021</c:v>
                </c:pt>
                <c:pt idx="70">
                  <c:v>0.15778822300561432</c:v>
                </c:pt>
                <c:pt idx="71">
                  <c:v>0.16811256105562442</c:v>
                </c:pt>
                <c:pt idx="72">
                  <c:v>0.1679347453560902</c:v>
                </c:pt>
                <c:pt idx="73">
                  <c:v>0.16854688083675756</c:v>
                </c:pt>
                <c:pt idx="74">
                  <c:v>0.1720668840629987</c:v>
                </c:pt>
                <c:pt idx="75">
                  <c:v>0.1719734928074996</c:v>
                </c:pt>
                <c:pt idx="76">
                  <c:v>0.16542408560652574</c:v>
                </c:pt>
                <c:pt idx="77">
                  <c:v>0.162524941048431</c:v>
                </c:pt>
                <c:pt idx="78">
                  <c:v>0.1508088013664222</c:v>
                </c:pt>
                <c:pt idx="79">
                  <c:v>0.2317242505921751</c:v>
                </c:pt>
                <c:pt idx="80">
                  <c:v>0.2132651404448774</c:v>
                </c:pt>
                <c:pt idx="81">
                  <c:v>0.16552755232806493</c:v>
                </c:pt>
                <c:pt idx="82">
                  <c:v>0.1637258543833581</c:v>
                </c:pt>
                <c:pt idx="83">
                  <c:v>0.14526956156912105</c:v>
                </c:pt>
                <c:pt idx="84">
                  <c:v>0.14842339951162545</c:v>
                </c:pt>
                <c:pt idx="85">
                  <c:v>0.15041705282669138</c:v>
                </c:pt>
                <c:pt idx="86">
                  <c:v>0.13899121564182487</c:v>
                </c:pt>
                <c:pt idx="87">
                  <c:v>0.15536374845869297</c:v>
                </c:pt>
                <c:pt idx="88">
                  <c:v>0.13745644599303136</c:v>
                </c:pt>
                <c:pt idx="89">
                  <c:v>0.13562695479101508</c:v>
                </c:pt>
                <c:pt idx="90">
                  <c:v>0.13424844236760125</c:v>
                </c:pt>
                <c:pt idx="91">
                  <c:v>0.12619138391155166</c:v>
                </c:pt>
                <c:pt idx="92">
                  <c:v>0.13363351904144088</c:v>
                </c:pt>
                <c:pt idx="93">
                  <c:v>0.12787897034472376</c:v>
                </c:pt>
                <c:pt idx="94">
                  <c:v>0.13452201573748535</c:v>
                </c:pt>
                <c:pt idx="95">
                  <c:v>0.13523396343352959</c:v>
                </c:pt>
                <c:pt idx="96">
                  <c:v>0.13391465520872825</c:v>
                </c:pt>
                <c:pt idx="97">
                  <c:v>0.14201777546390987</c:v>
                </c:pt>
                <c:pt idx="98">
                  <c:v>0.1565883887801696</c:v>
                </c:pt>
                <c:pt idx="99">
                  <c:v>0.16453063518830804</c:v>
                </c:pt>
                <c:pt idx="100">
                  <c:v>0.18011297486093744</c:v>
                </c:pt>
                <c:pt idx="101">
                  <c:v>0.1679394945581996</c:v>
                </c:pt>
                <c:pt idx="102">
                  <c:v>0.1429156010230179</c:v>
                </c:pt>
                <c:pt idx="103">
                  <c:v>0.16579195263087068</c:v>
                </c:pt>
                <c:pt idx="104">
                  <c:v>0.16431287343834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326851070025627</c:v>
                </c:pt>
                <c:pt idx="1">
                  <c:v>0.6724901437939909</c:v>
                </c:pt>
                <c:pt idx="2">
                  <c:v>0.6652748835358051</c:v>
                </c:pt>
                <c:pt idx="3">
                  <c:v>0.6664374085121785</c:v>
                </c:pt>
                <c:pt idx="4">
                  <c:v>0.6587023446008117</c:v>
                </c:pt>
                <c:pt idx="5">
                  <c:v>0.6822355136450536</c:v>
                </c:pt>
                <c:pt idx="6">
                  <c:v>0.7007991165599179</c:v>
                </c:pt>
                <c:pt idx="7">
                  <c:v>0.7139210528552645</c:v>
                </c:pt>
                <c:pt idx="8">
                  <c:v>0.7520499901393138</c:v>
                </c:pt>
                <c:pt idx="9">
                  <c:v>0.7378382311450336</c:v>
                </c:pt>
                <c:pt idx="10">
                  <c:v>0.7505577209989682</c:v>
                </c:pt>
                <c:pt idx="11">
                  <c:v>0.7092001689985477</c:v>
                </c:pt>
                <c:pt idx="12">
                  <c:v>0.7085654510045474</c:v>
                </c:pt>
                <c:pt idx="13">
                  <c:v>0.6867804477214825</c:v>
                </c:pt>
                <c:pt idx="14">
                  <c:v>0.6890259759072648</c:v>
                </c:pt>
                <c:pt idx="15">
                  <c:v>0.6972580510940455</c:v>
                </c:pt>
                <c:pt idx="16">
                  <c:v>0.7132769175945037</c:v>
                </c:pt>
                <c:pt idx="17">
                  <c:v>0.7082073282147864</c:v>
                </c:pt>
                <c:pt idx="18">
                  <c:v>0.752754836473921</c:v>
                </c:pt>
                <c:pt idx="19">
                  <c:v>0.7451776690505469</c:v>
                </c:pt>
                <c:pt idx="20">
                  <c:v>0.7024508750450716</c:v>
                </c:pt>
                <c:pt idx="21">
                  <c:v>0.6745300183406086</c:v>
                </c:pt>
                <c:pt idx="22">
                  <c:v>0.6290268204752297</c:v>
                </c:pt>
                <c:pt idx="23">
                  <c:v>0.6264616692146503</c:v>
                </c:pt>
                <c:pt idx="24">
                  <c:v>0.6366590570807158</c:v>
                </c:pt>
                <c:pt idx="25">
                  <c:v>0.6617035985772557</c:v>
                </c:pt>
                <c:pt idx="26">
                  <c:v>0.6872583693351153</c:v>
                </c:pt>
                <c:pt idx="27">
                  <c:v>0.7157440499315493</c:v>
                </c:pt>
                <c:pt idx="28">
                  <c:v>0.6908383625850615</c:v>
                </c:pt>
                <c:pt idx="29">
                  <c:v>0.6465896750691076</c:v>
                </c:pt>
                <c:pt idx="30">
                  <c:v>0.6425857542943029</c:v>
                </c:pt>
                <c:pt idx="31">
                  <c:v>0.6248215655490394</c:v>
                </c:pt>
                <c:pt idx="32">
                  <c:v>0.620178136920188</c:v>
                </c:pt>
                <c:pt idx="33">
                  <c:v>0.663957159857545</c:v>
                </c:pt>
                <c:pt idx="34">
                  <c:v>0.7082055577419326</c:v>
                </c:pt>
                <c:pt idx="35">
                  <c:v>0.6576411902596133</c:v>
                </c:pt>
                <c:pt idx="36">
                  <c:v>0.6056569087382119</c:v>
                </c:pt>
                <c:pt idx="37">
                  <c:v>0.6329999653779785</c:v>
                </c:pt>
                <c:pt idx="38">
                  <c:v>0.6237925532795612</c:v>
                </c:pt>
                <c:pt idx="39">
                  <c:v>0.6665097023981952</c:v>
                </c:pt>
                <c:pt idx="40">
                  <c:v>0.6950236706057489</c:v>
                </c:pt>
                <c:pt idx="41">
                  <c:v>0.7280855969338687</c:v>
                </c:pt>
                <c:pt idx="42">
                  <c:v>0.7091039390323043</c:v>
                </c:pt>
                <c:pt idx="43">
                  <c:v>0.7499501645745383</c:v>
                </c:pt>
                <c:pt idx="44">
                  <c:v>0.802308002728743</c:v>
                </c:pt>
                <c:pt idx="45">
                  <c:v>0.8066699023525922</c:v>
                </c:pt>
                <c:pt idx="46">
                  <c:v>0.7678953548877702</c:v>
                </c:pt>
                <c:pt idx="47">
                  <c:v>0.7655409229356404</c:v>
                </c:pt>
                <c:pt idx="48">
                  <c:v>0.8168020735673177</c:v>
                </c:pt>
                <c:pt idx="49">
                  <c:v>0.8446499092083861</c:v>
                </c:pt>
                <c:pt idx="50">
                  <c:v>0.7687623924496555</c:v>
                </c:pt>
                <c:pt idx="51">
                  <c:v>0.7335782820172541</c:v>
                </c:pt>
              </c:numCache>
            </c:numRef>
          </c:xVal>
          <c:yVal>
            <c:numRef>
              <c:f>Sheet1!$B$109:$B$160</c:f>
              <c:numCache>
                <c:formatCode>General</c:formatCode>
                <c:ptCount val="52"/>
                <c:pt idx="0">
                  <c:v>0.15626343187353742</c:v>
                </c:pt>
                <c:pt idx="1">
                  <c:v>0.1694440274233098</c:v>
                </c:pt>
                <c:pt idx="2">
                  <c:v>0.17688927943760985</c:v>
                </c:pt>
                <c:pt idx="3">
                  <c:v>0.18834202767067362</c:v>
                </c:pt>
                <c:pt idx="4">
                  <c:v>0.1774929694343276</c:v>
                </c:pt>
                <c:pt idx="5">
                  <c:v>0.1755782376627025</c:v>
                </c:pt>
                <c:pt idx="6">
                  <c:v>0.17105899419729206</c:v>
                </c:pt>
                <c:pt idx="7">
                  <c:v>0.16523510626582977</c:v>
                </c:pt>
                <c:pt idx="8">
                  <c:v>0.16151224047102572</c:v>
                </c:pt>
                <c:pt idx="9">
                  <c:v>0.17053908664301248</c:v>
                </c:pt>
                <c:pt idx="10">
                  <c:v>0.175946173254836</c:v>
                </c:pt>
                <c:pt idx="11">
                  <c:v>0.18972096351061293</c:v>
                </c:pt>
                <c:pt idx="12">
                  <c:v>0.1918911282727444</c:v>
                </c:pt>
                <c:pt idx="13">
                  <c:v>0.17971974522292994</c:v>
                </c:pt>
                <c:pt idx="14">
                  <c:v>0.18025965379494008</c:v>
                </c:pt>
                <c:pt idx="15">
                  <c:v>0.1681607604837254</c:v>
                </c:pt>
                <c:pt idx="16">
                  <c:v>0.15210907541542396</c:v>
                </c:pt>
                <c:pt idx="17">
                  <c:v>0.14281505487221036</c:v>
                </c:pt>
                <c:pt idx="18">
                  <c:v>0.13417873361322938</c:v>
                </c:pt>
                <c:pt idx="19">
                  <c:v>0.14569313593539704</c:v>
                </c:pt>
                <c:pt idx="20">
                  <c:v>0.13632979713381724</c:v>
                </c:pt>
                <c:pt idx="21">
                  <c:v>0.14058355437665782</c:v>
                </c:pt>
                <c:pt idx="22">
                  <c:v>0.15188244127426795</c:v>
                </c:pt>
                <c:pt idx="23">
                  <c:v>0.1577770323157777</c:v>
                </c:pt>
                <c:pt idx="24">
                  <c:v>0.14989669421487603</c:v>
                </c:pt>
                <c:pt idx="25">
                  <c:v>0.15213358070500926</c:v>
                </c:pt>
                <c:pt idx="26">
                  <c:v>0.13166019320784783</c:v>
                </c:pt>
                <c:pt idx="27">
                  <c:v>0.13252032520325202</c:v>
                </c:pt>
                <c:pt idx="28">
                  <c:v>0.14178495676293032</c:v>
                </c:pt>
                <c:pt idx="29">
                  <c:v>0.1449901768172888</c:v>
                </c:pt>
                <c:pt idx="30">
                  <c:v>0.15117807665082414</c:v>
                </c:pt>
                <c:pt idx="31">
                  <c:v>0.14854054054054053</c:v>
                </c:pt>
                <c:pt idx="32">
                  <c:v>0.15479184129645152</c:v>
                </c:pt>
                <c:pt idx="33">
                  <c:v>0.16873576728127526</c:v>
                </c:pt>
                <c:pt idx="34">
                  <c:v>0.18939069852716495</c:v>
                </c:pt>
                <c:pt idx="35">
                  <c:v>0.18143621084797557</c:v>
                </c:pt>
                <c:pt idx="36">
                  <c:v>0.15709898417198204</c:v>
                </c:pt>
                <c:pt idx="37">
                  <c:v>0.14297926907458858</c:v>
                </c:pt>
                <c:pt idx="38">
                  <c:v>0.14674626865671642</c:v>
                </c:pt>
                <c:pt idx="39">
                  <c:v>0.1626687988628287</c:v>
                </c:pt>
                <c:pt idx="40">
                  <c:v>0.14360404322063436</c:v>
                </c:pt>
                <c:pt idx="41">
                  <c:v>0.14487200391325616</c:v>
                </c:pt>
                <c:pt idx="42">
                  <c:v>0.1423041474654378</c:v>
                </c:pt>
                <c:pt idx="43">
                  <c:v>0.1357321948905604</c:v>
                </c:pt>
                <c:pt idx="44">
                  <c:v>0.12983379036319884</c:v>
                </c:pt>
                <c:pt idx="45">
                  <c:v>0.14291586172880102</c:v>
                </c:pt>
                <c:pt idx="46">
                  <c:v>0.13999140277976788</c:v>
                </c:pt>
                <c:pt idx="47">
                  <c:v>0.14172983996098773</c:v>
                </c:pt>
                <c:pt idx="48">
                  <c:v>0.13164407343109372</c:v>
                </c:pt>
                <c:pt idx="49">
                  <c:v>0.14696452219976303</c:v>
                </c:pt>
                <c:pt idx="50">
                  <c:v>0.17643815915627997</c:v>
                </c:pt>
                <c:pt idx="51">
                  <c:v>0.164239928683618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8466522848653943</c:v>
                </c:pt>
              </c:numCache>
            </c:numRef>
          </c:xVal>
          <c:yVal>
            <c:numRef>
              <c:f>Sheet1!$B$163:$B$164</c:f>
              <c:numCache>
                <c:formatCode>General</c:formatCode>
                <c:ptCount val="2"/>
                <c:pt idx="0">
                  <c:v>0.19277845745535366</c:v>
                </c:pt>
                <c:pt idx="1">
                  <c:v>0.192778457455353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8466522848653943</c:v>
                </c:pt>
                <c:pt idx="1">
                  <c:v>0.18466522848653943</c:v>
                </c:pt>
              </c:numCache>
            </c:numRef>
          </c:xVal>
          <c:yVal>
            <c:numRef>
              <c:f>Sheet1!$B$167:$B$168</c:f>
              <c:numCache>
                <c:formatCode>General</c:formatCode>
                <c:ptCount val="2"/>
                <c:pt idx="0">
                  <c:v>0.192778457455353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312602443759207</c:v>
                </c:pt>
              </c:numCache>
            </c:numRef>
          </c:xVal>
          <c:yVal>
            <c:numRef>
              <c:f>Sheet1!$B$171:$B$172</c:f>
              <c:numCache>
                <c:formatCode>General</c:formatCode>
                <c:ptCount val="2"/>
                <c:pt idx="0">
                  <c:v>0.17131292382625649</c:v>
                </c:pt>
                <c:pt idx="1">
                  <c:v>0.1713129238262564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312602443759207</c:v>
                </c:pt>
                <c:pt idx="1">
                  <c:v>0.49312602443759207</c:v>
                </c:pt>
              </c:numCache>
            </c:numRef>
          </c:xVal>
          <c:yVal>
            <c:numRef>
              <c:f>Sheet1!$B$175:$B$176</c:f>
              <c:numCache>
                <c:formatCode>General</c:formatCode>
                <c:ptCount val="2"/>
                <c:pt idx="0">
                  <c:v>0.1713129238262564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14147549299893</c:v>
                </c:pt>
              </c:numCache>
            </c:numRef>
          </c:xVal>
          <c:yVal>
            <c:numRef>
              <c:f>Sheet1!$B$179:$B$180</c:f>
              <c:numCache>
                <c:formatCode>General</c:formatCode>
                <c:ptCount val="2"/>
                <c:pt idx="0">
                  <c:v>0.14637990512740215</c:v>
                </c:pt>
                <c:pt idx="1">
                  <c:v>0.14637990512740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14147549299893</c:v>
                </c:pt>
                <c:pt idx="1">
                  <c:v>0.8514147549299893</c:v>
                </c:pt>
              </c:numCache>
            </c:numRef>
          </c:xVal>
          <c:yVal>
            <c:numRef>
              <c:f>Sheet1!$B$183:$B$184</c:f>
              <c:numCache>
                <c:formatCode>General</c:formatCode>
                <c:ptCount val="2"/>
                <c:pt idx="0">
                  <c:v>0.14637990512740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326851070025627</c:v>
                </c:pt>
                <c:pt idx="1">
                  <c:v>0.6724901437939909</c:v>
                </c:pt>
                <c:pt idx="2">
                  <c:v>0.6652748835358051</c:v>
                </c:pt>
                <c:pt idx="3">
                  <c:v>0.6664374085121785</c:v>
                </c:pt>
                <c:pt idx="4">
                  <c:v>0.6587023446008117</c:v>
                </c:pt>
                <c:pt idx="5">
                  <c:v>0.6822355136450536</c:v>
                </c:pt>
                <c:pt idx="6">
                  <c:v>0.7007991165599179</c:v>
                </c:pt>
                <c:pt idx="7">
                  <c:v>0.7139210528552645</c:v>
                </c:pt>
                <c:pt idx="8">
                  <c:v>0.7520499901393138</c:v>
                </c:pt>
                <c:pt idx="9">
                  <c:v>0.7378382311450336</c:v>
                </c:pt>
                <c:pt idx="10">
                  <c:v>0.7505577209989682</c:v>
                </c:pt>
                <c:pt idx="11">
                  <c:v>0.7092001689985477</c:v>
                </c:pt>
                <c:pt idx="12">
                  <c:v>0.7085654510045474</c:v>
                </c:pt>
                <c:pt idx="13">
                  <c:v>0.6867804477214825</c:v>
                </c:pt>
                <c:pt idx="14">
                  <c:v>0.6890259759072648</c:v>
                </c:pt>
                <c:pt idx="15">
                  <c:v>0.6972580510940455</c:v>
                </c:pt>
                <c:pt idx="16">
                  <c:v>0.7132769175945037</c:v>
                </c:pt>
                <c:pt idx="17">
                  <c:v>0.7082073282147864</c:v>
                </c:pt>
                <c:pt idx="18">
                  <c:v>0.752754836473921</c:v>
                </c:pt>
                <c:pt idx="19">
                  <c:v>0.7451776690505469</c:v>
                </c:pt>
                <c:pt idx="20">
                  <c:v>0.7024508750450716</c:v>
                </c:pt>
                <c:pt idx="21">
                  <c:v>0.6745300183406086</c:v>
                </c:pt>
                <c:pt idx="22">
                  <c:v>0.6290268204752297</c:v>
                </c:pt>
                <c:pt idx="23">
                  <c:v>0.6264616692146503</c:v>
                </c:pt>
                <c:pt idx="24">
                  <c:v>0.6366590570807158</c:v>
                </c:pt>
                <c:pt idx="25">
                  <c:v>0.6617035985772557</c:v>
                </c:pt>
                <c:pt idx="26">
                  <c:v>0.6872583693351153</c:v>
                </c:pt>
                <c:pt idx="27">
                  <c:v>0.7157440499315493</c:v>
                </c:pt>
                <c:pt idx="28">
                  <c:v>0.6908383625850615</c:v>
                </c:pt>
                <c:pt idx="29">
                  <c:v>0.6465896750691076</c:v>
                </c:pt>
                <c:pt idx="30">
                  <c:v>0.6425857542943029</c:v>
                </c:pt>
                <c:pt idx="31">
                  <c:v>0.6248215655490394</c:v>
                </c:pt>
                <c:pt idx="32">
                  <c:v>0.620178136920188</c:v>
                </c:pt>
                <c:pt idx="33">
                  <c:v>0.663957159857545</c:v>
                </c:pt>
                <c:pt idx="34">
                  <c:v>0.7082055577419326</c:v>
                </c:pt>
                <c:pt idx="35">
                  <c:v>0.6576411902596133</c:v>
                </c:pt>
                <c:pt idx="36">
                  <c:v>0.6056569087382119</c:v>
                </c:pt>
                <c:pt idx="37">
                  <c:v>0.6329999653779785</c:v>
                </c:pt>
                <c:pt idx="38">
                  <c:v>0.6237925532795612</c:v>
                </c:pt>
                <c:pt idx="39">
                  <c:v>0.6665097023981952</c:v>
                </c:pt>
                <c:pt idx="40">
                  <c:v>0.6950236706057489</c:v>
                </c:pt>
                <c:pt idx="41">
                  <c:v>0.7280855969338687</c:v>
                </c:pt>
                <c:pt idx="42">
                  <c:v>0.7091039390323043</c:v>
                </c:pt>
                <c:pt idx="43">
                  <c:v>0.7499501645745383</c:v>
                </c:pt>
                <c:pt idx="44">
                  <c:v>0.802308002728743</c:v>
                </c:pt>
                <c:pt idx="45">
                  <c:v>0.8066699023525922</c:v>
                </c:pt>
                <c:pt idx="46">
                  <c:v>0.7678953548877702</c:v>
                </c:pt>
                <c:pt idx="47">
                  <c:v>0.7655409229356404</c:v>
                </c:pt>
                <c:pt idx="48">
                  <c:v>0.8168020735673177</c:v>
                </c:pt>
                <c:pt idx="49">
                  <c:v>0.8446499092083861</c:v>
                </c:pt>
                <c:pt idx="50">
                  <c:v>0.7687623924496555</c:v>
                </c:pt>
                <c:pt idx="51">
                  <c:v>0.7335782820172541</c:v>
                </c:pt>
                <c:pt idx="52">
                  <c:v>0.49312602443759207</c:v>
                </c:pt>
                <c:pt idx="53">
                  <c:v>0.18466522848653943</c:v>
                </c:pt>
                <c:pt idx="54">
                  <c:v>0.8514147549299893</c:v>
                </c:pt>
              </c:numCache>
            </c:numRef>
          </c:xVal>
          <c:yVal>
            <c:numRef>
              <c:f>Sheet1!$B$187:$B$241</c:f>
              <c:numCache>
                <c:formatCode>General</c:formatCode>
                <c:ptCount val="55"/>
                <c:pt idx="0">
                  <c:v>0.15464220388241626</c:v>
                </c:pt>
                <c:pt idx="1">
                  <c:v>0.15883112196865792</c:v>
                </c:pt>
                <c:pt idx="2">
                  <c:v>0.1593332260082888</c:v>
                </c:pt>
                <c:pt idx="3">
                  <c:v>0.15925232684929497</c:v>
                </c:pt>
                <c:pt idx="4">
                  <c:v>0.15979060359853542</c:v>
                </c:pt>
                <c:pt idx="5">
                  <c:v>0.15815294967898008</c:v>
                </c:pt>
                <c:pt idx="6">
                  <c:v>0.1568611237877266</c:v>
                </c:pt>
                <c:pt idx="7">
                  <c:v>0.1559479790104197</c:v>
                </c:pt>
                <c:pt idx="8">
                  <c:v>0.1532946175581515</c:v>
                </c:pt>
                <c:pt idx="9">
                  <c:v>0.15428360220263368</c:v>
                </c:pt>
                <c:pt idx="10">
                  <c:v>0.15339846334288723</c:v>
                </c:pt>
                <c:pt idx="11">
                  <c:v>0.15627650144346658</c:v>
                </c:pt>
                <c:pt idx="12">
                  <c:v>0.15632067094774085</c:v>
                </c:pt>
                <c:pt idx="13">
                  <c:v>0.15783667144673724</c:v>
                </c:pt>
                <c:pt idx="14">
                  <c:v>0.15768040698324723</c:v>
                </c:pt>
                <c:pt idx="15">
                  <c:v>0.15710754362725973</c:v>
                </c:pt>
                <c:pt idx="16">
                  <c:v>0.15599280385455885</c:v>
                </c:pt>
                <c:pt idx="17">
                  <c:v>0.1563455924187604</c:v>
                </c:pt>
                <c:pt idx="18">
                  <c:v>0.15324556788021038</c:v>
                </c:pt>
                <c:pt idx="19">
                  <c:v>0.15377285674244084</c:v>
                </c:pt>
                <c:pt idx="20">
                  <c:v>0.15674617927038237</c:v>
                </c:pt>
                <c:pt idx="21">
                  <c:v>0.15868916877313252</c:v>
                </c:pt>
                <c:pt idx="22">
                  <c:v>0.16185569896702384</c:v>
                </c:pt>
                <c:pt idx="23">
                  <c:v>0.1620342057379667</c:v>
                </c:pt>
                <c:pt idx="24">
                  <c:v>0.16132457788560678</c:v>
                </c:pt>
                <c:pt idx="25">
                  <c:v>0.15958174879751547</c:v>
                </c:pt>
                <c:pt idx="26">
                  <c:v>0.15780341327388622</c:v>
                </c:pt>
                <c:pt idx="27">
                  <c:v>0.15582111814005825</c:v>
                </c:pt>
                <c:pt idx="28">
                  <c:v>0.15755428448180836</c:v>
                </c:pt>
                <c:pt idx="29">
                  <c:v>0.16063351433008977</c:v>
                </c:pt>
                <c:pt idx="30">
                  <c:v>0.16091214389069508</c:v>
                </c:pt>
                <c:pt idx="31">
                  <c:v>0.16214833920598434</c:v>
                </c:pt>
                <c:pt idx="32">
                  <c:v>0.16247147159329342</c:v>
                </c:pt>
                <c:pt idx="33">
                  <c:v>0.15942492531757163</c:v>
                </c:pt>
                <c:pt idx="34">
                  <c:v>0.15634571562451322</c:v>
                </c:pt>
                <c:pt idx="35">
                  <c:v>0.15986444845822473</c:v>
                </c:pt>
                <c:pt idx="36">
                  <c:v>0.16348199194455862</c:v>
                </c:pt>
                <c:pt idx="37">
                  <c:v>0.16157921107409637</c:v>
                </c:pt>
                <c:pt idx="38">
                  <c:v>0.1622199473252824</c:v>
                </c:pt>
                <c:pt idx="39">
                  <c:v>0.15924729597710038</c:v>
                </c:pt>
                <c:pt idx="40">
                  <c:v>0.15726303233163091</c:v>
                </c:pt>
                <c:pt idx="41">
                  <c:v>0.154962280013169</c:v>
                </c:pt>
                <c:pt idx="42">
                  <c:v>0.15628319800783924</c:v>
                </c:pt>
                <c:pt idx="43">
                  <c:v>0.15344074269582725</c:v>
                </c:pt>
                <c:pt idx="44">
                  <c:v>0.14979720371000343</c:v>
                </c:pt>
                <c:pt idx="45">
                  <c:v>0.1494936626950949</c:v>
                </c:pt>
                <c:pt idx="46">
                  <c:v>0.1521919516299754</c:v>
                </c:pt>
                <c:pt idx="47">
                  <c:v>0.15235579461718562</c:v>
                </c:pt>
                <c:pt idx="48">
                  <c:v>0.14878857321597685</c:v>
                </c:pt>
                <c:pt idx="49">
                  <c:v>0.1468506651890982</c:v>
                </c:pt>
                <c:pt idx="50">
                  <c:v>0.1521316151976422</c:v>
                </c:pt>
                <c:pt idx="51">
                  <c:v>0.15458004856619395</c:v>
                </c:pt>
                <c:pt idx="52">
                  <c:v>0.17131292382625649</c:v>
                </c:pt>
                <c:pt idx="53">
                  <c:v>0.19277845745535366</c:v>
                </c:pt>
                <c:pt idx="54">
                  <c:v>0.14637990512740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7132093059383"/>
          <c:min val="0.095989349309369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8.0768</c:v>
                </c:pt>
                <c:pt idx="1">
                  <c:v>916.4454</c:v>
                </c:pt>
                <c:pt idx="2">
                  <c:v>973.2662</c:v>
                </c:pt>
                <c:pt idx="3">
                  <c:v>993.4772</c:v>
                </c:pt>
                <c:pt idx="4">
                  <c:v>999.8854</c:v>
                </c:pt>
                <c:pt idx="5">
                  <c:v>1005.9569</c:v>
                </c:pt>
                <c:pt idx="6">
                  <c:v>957.95</c:v>
                </c:pt>
                <c:pt idx="7">
                  <c:v>985.7156</c:v>
                </c:pt>
                <c:pt idx="8">
                  <c:v>978.6363</c:v>
                </c:pt>
                <c:pt idx="9">
                  <c:v>952.908</c:v>
                </c:pt>
                <c:pt idx="10">
                  <c:v>946.3103</c:v>
                </c:pt>
                <c:pt idx="11">
                  <c:v>991.5789</c:v>
                </c:pt>
                <c:pt idx="12">
                  <c:v>980.9283</c:v>
                </c:pt>
                <c:pt idx="13">
                  <c:v>963.4357</c:v>
                </c:pt>
                <c:pt idx="14">
                  <c:v>965.9433</c:v>
                </c:pt>
                <c:pt idx="15">
                  <c:v>975.7584</c:v>
                </c:pt>
                <c:pt idx="16">
                  <c:v>973.2881</c:v>
                </c:pt>
                <c:pt idx="17">
                  <c:v>995.3728</c:v>
                </c:pt>
                <c:pt idx="18">
                  <c:v>1040.0574</c:v>
                </c:pt>
                <c:pt idx="19">
                  <c:v>1066.1558</c:v>
                </c:pt>
                <c:pt idx="20">
                  <c:v>1061.9054</c:v>
                </c:pt>
                <c:pt idx="21">
                  <c:v>1083.0396</c:v>
                </c:pt>
                <c:pt idx="22">
                  <c:v>1075.7721</c:v>
                </c:pt>
                <c:pt idx="23">
                  <c:v>1052.7532</c:v>
                </c:pt>
                <c:pt idx="24">
                  <c:v>1051.8393</c:v>
                </c:pt>
                <c:pt idx="25">
                  <c:v>1037.7616</c:v>
                </c:pt>
                <c:pt idx="26">
                  <c:v>1050.4823</c:v>
                </c:pt>
                <c:pt idx="27">
                  <c:v>1066.6304</c:v>
                </c:pt>
                <c:pt idx="28">
                  <c:v>1060.2192</c:v>
                </c:pt>
                <c:pt idx="29">
                  <c:v>924.2365</c:v>
                </c:pt>
                <c:pt idx="30">
                  <c:v>976.5687</c:v>
                </c:pt>
                <c:pt idx="31">
                  <c:v>1007.6728</c:v>
                </c:pt>
                <c:pt idx="32">
                  <c:v>978.6691</c:v>
                </c:pt>
                <c:pt idx="33">
                  <c:v>918.0265</c:v>
                </c:pt>
                <c:pt idx="34">
                  <c:v>1004.5253</c:v>
                </c:pt>
                <c:pt idx="35">
                  <c:v>1075.1947</c:v>
                </c:pt>
                <c:pt idx="36">
                  <c:v>1136.959</c:v>
                </c:pt>
                <c:pt idx="37">
                  <c:v>1142.575</c:v>
                </c:pt>
                <c:pt idx="38">
                  <c:v>1200.8152</c:v>
                </c:pt>
                <c:pt idx="39">
                  <c:v>1202.543</c:v>
                </c:pt>
                <c:pt idx="40">
                  <c:v>1221.5599</c:v>
                </c:pt>
                <c:pt idx="41">
                  <c:v>1260.2164</c:v>
                </c:pt>
                <c:pt idx="42">
                  <c:v>1297.5677</c:v>
                </c:pt>
                <c:pt idx="43">
                  <c:v>1291.8692</c:v>
                </c:pt>
                <c:pt idx="44">
                  <c:v>1116.0319</c:v>
                </c:pt>
                <c:pt idx="45">
                  <c:v>1048.0719</c:v>
                </c:pt>
                <c:pt idx="46">
                  <c:v>1037.8474</c:v>
                </c:pt>
                <c:pt idx="47">
                  <c:v>1015.2681</c:v>
                </c:pt>
                <c:pt idx="48">
                  <c:v>1016.6297</c:v>
                </c:pt>
                <c:pt idx="49">
                  <c:v>991.8848</c:v>
                </c:pt>
                <c:pt idx="50">
                  <c:v>997.4123</c:v>
                </c:pt>
                <c:pt idx="51">
                  <c:v>1027.3714</c:v>
                </c:pt>
                <c:pt idx="52">
                  <c:v>1042.1132</c:v>
                </c:pt>
                <c:pt idx="53">
                  <c:v>1088.7401</c:v>
                </c:pt>
                <c:pt idx="54">
                  <c:v>1097.4243</c:v>
                </c:pt>
                <c:pt idx="55">
                  <c:v>1113.8917</c:v>
                </c:pt>
                <c:pt idx="56">
                  <c:v>1136.9697</c:v>
                </c:pt>
                <c:pt idx="57">
                  <c:v>1112.7727</c:v>
                </c:pt>
                <c:pt idx="58">
                  <c:v>1089.8229</c:v>
                </c:pt>
                <c:pt idx="59">
                  <c:v>1069.8963</c:v>
                </c:pt>
                <c:pt idx="60">
                  <c:v>1094.5679</c:v>
                </c:pt>
                <c:pt idx="61">
                  <c:v>1095.9536</c:v>
                </c:pt>
                <c:pt idx="62">
                  <c:v>1081.5071</c:v>
                </c:pt>
                <c:pt idx="63">
                  <c:v>1109.556</c:v>
                </c:pt>
                <c:pt idx="64">
                  <c:v>1098.4847</c:v>
                </c:pt>
                <c:pt idx="65">
                  <c:v>1080.0896</c:v>
                </c:pt>
                <c:pt idx="66">
                  <c:v>1026.189</c:v>
                </c:pt>
                <c:pt idx="67">
                  <c:v>996.159</c:v>
                </c:pt>
                <c:pt idx="68">
                  <c:v>976.7234</c:v>
                </c:pt>
                <c:pt idx="69">
                  <c:v>977.5571</c:v>
                </c:pt>
                <c:pt idx="70">
                  <c:v>950.6264</c:v>
                </c:pt>
                <c:pt idx="71">
                  <c:v>1014.5781</c:v>
                </c:pt>
                <c:pt idx="72">
                  <c:v>1059.4392</c:v>
                </c:pt>
                <c:pt idx="73">
                  <c:v>1063.3914</c:v>
                </c:pt>
                <c:pt idx="74">
                  <c:v>1013.4944</c:v>
                </c:pt>
                <c:pt idx="75">
                  <c:v>1033.0728</c:v>
                </c:pt>
                <c:pt idx="76">
                  <c:v>1063.8823</c:v>
                </c:pt>
                <c:pt idx="77">
                  <c:v>1039.3655</c:v>
                </c:pt>
                <c:pt idx="78">
                  <c:v>1108.1286</c:v>
                </c:pt>
                <c:pt idx="79">
                  <c:v>659.1565</c:v>
                </c:pt>
                <c:pt idx="80">
                  <c:v>662.834</c:v>
                </c:pt>
                <c:pt idx="81">
                  <c:v>881.4125</c:v>
                </c:pt>
                <c:pt idx="82">
                  <c:v>879.4305</c:v>
                </c:pt>
                <c:pt idx="83">
                  <c:v>919.1668</c:v>
                </c:pt>
                <c:pt idx="84">
                  <c:v>919.2861</c:v>
                </c:pt>
                <c:pt idx="85">
                  <c:v>973.841</c:v>
                </c:pt>
                <c:pt idx="86">
                  <c:v>1109.7202</c:v>
                </c:pt>
                <c:pt idx="87">
                  <c:v>1139.8011</c:v>
                </c:pt>
                <c:pt idx="88">
                  <c:v>1146.0659</c:v>
                </c:pt>
                <c:pt idx="89">
                  <c:v>1096.543</c:v>
                </c:pt>
                <c:pt idx="90">
                  <c:v>1153.203</c:v>
                </c:pt>
                <c:pt idx="91">
                  <c:v>1164.969</c:v>
                </c:pt>
                <c:pt idx="92">
                  <c:v>1165.173</c:v>
                </c:pt>
                <c:pt idx="93">
                  <c:v>1227.9288</c:v>
                </c:pt>
                <c:pt idx="94">
                  <c:v>1216.8718</c:v>
                </c:pt>
                <c:pt idx="95">
                  <c:v>1223.4707</c:v>
                </c:pt>
                <c:pt idx="96">
                  <c:v>1145.4061</c:v>
                </c:pt>
                <c:pt idx="97">
                  <c:v>1172.2744</c:v>
                </c:pt>
                <c:pt idx="98">
                  <c:v>1166.8804</c:v>
                </c:pt>
                <c:pt idx="99">
                  <c:v>1132.0195</c:v>
                </c:pt>
                <c:pt idx="100">
                  <c:v>1145.0026</c:v>
                </c:pt>
                <c:pt idx="101">
                  <c:v>1163.051</c:v>
                </c:pt>
                <c:pt idx="102">
                  <c:v>1193.6356</c:v>
                </c:pt>
                <c:pt idx="103">
                  <c:v>1024.2446</c:v>
                </c:pt>
                <c:pt idx="104">
                  <c:v>1121.9021</c:v>
                </c:pt>
              </c:numCache>
            </c:numRef>
          </c:xVal>
          <c:yVal>
            <c:numRef>
              <c:f>Sheet1!$B$2:$B$106</c:f>
              <c:numCache>
                <c:formatCode>General</c:formatCode>
                <c:ptCount val="105"/>
                <c:pt idx="0">
                  <c:v>0.21068205355821867</c:v>
                </c:pt>
                <c:pt idx="1">
                  <c:v>0.21077320402677488</c:v>
                </c:pt>
                <c:pt idx="2">
                  <c:v>0.18580294802172226</c:v>
                </c:pt>
                <c:pt idx="3">
                  <c:v>0.18233072984016965</c:v>
                </c:pt>
                <c:pt idx="4">
                  <c:v>0.18033191436856066</c:v>
                </c:pt>
                <c:pt idx="5">
                  <c:v>0.1653756301487766</c:v>
                </c:pt>
                <c:pt idx="6">
                  <c:v>0.18422598073760865</c:v>
                </c:pt>
                <c:pt idx="7">
                  <c:v>0.17780831329440056</c:v>
                </c:pt>
                <c:pt idx="8">
                  <c:v>0.18928440366972477</c:v>
                </c:pt>
                <c:pt idx="9">
                  <c:v>0.1935850420949331</c:v>
                </c:pt>
                <c:pt idx="10">
                  <c:v>0.20601934790397708</c:v>
                </c:pt>
                <c:pt idx="11">
                  <c:v>0.1979285908967021</c:v>
                </c:pt>
                <c:pt idx="12">
                  <c:v>0.20292000612588698</c:v>
                </c:pt>
                <c:pt idx="13">
                  <c:v>0.21586455557297382</c:v>
                </c:pt>
                <c:pt idx="14">
                  <c:v>0.20762380877987816</c:v>
                </c:pt>
                <c:pt idx="15">
                  <c:v>0.20610499107637392</c:v>
                </c:pt>
                <c:pt idx="16">
                  <c:v>0.1953637760089373</c:v>
                </c:pt>
                <c:pt idx="17">
                  <c:v>0.18828932261768083</c:v>
                </c:pt>
                <c:pt idx="18">
                  <c:v>0.1723512934585599</c:v>
                </c:pt>
                <c:pt idx="19">
                  <c:v>0.1564017134697763</c:v>
                </c:pt>
                <c:pt idx="20">
                  <c:v>0.16742994644104633</c:v>
                </c:pt>
                <c:pt idx="21">
                  <c:v>0.16912778105926363</c:v>
                </c:pt>
                <c:pt idx="22">
                  <c:v>0.16682313180623357</c:v>
                </c:pt>
                <c:pt idx="23">
                  <c:v>0.18079497059419997</c:v>
                </c:pt>
                <c:pt idx="24">
                  <c:v>0.1834593572778828</c:v>
                </c:pt>
                <c:pt idx="25">
                  <c:v>0.18036703225105874</c:v>
                </c:pt>
                <c:pt idx="26">
                  <c:v>0.18198911429985157</c:v>
                </c:pt>
                <c:pt idx="27">
                  <c:v>0.1702891702891703</c:v>
                </c:pt>
                <c:pt idx="28">
                  <c:v>0.16861758730772952</c:v>
                </c:pt>
                <c:pt idx="29">
                  <c:v>0.1896479986685529</c:v>
                </c:pt>
                <c:pt idx="30">
                  <c:v>0.16508926650892666</c:v>
                </c:pt>
                <c:pt idx="31">
                  <c:v>0.16296518607442978</c:v>
                </c:pt>
                <c:pt idx="32">
                  <c:v>0.17077835150124307</c:v>
                </c:pt>
                <c:pt idx="33">
                  <c:v>0.18809895252952974</c:v>
                </c:pt>
                <c:pt idx="34">
                  <c:v>0.1789592161016949</c:v>
                </c:pt>
                <c:pt idx="35">
                  <c:v>0.17546389167502507</c:v>
                </c:pt>
                <c:pt idx="36">
                  <c:v>0.14068787487662288</c:v>
                </c:pt>
                <c:pt idx="37">
                  <c:v>0.13293566254793354</c:v>
                </c:pt>
                <c:pt idx="38">
                  <c:v>0.12916962384669978</c:v>
                </c:pt>
                <c:pt idx="39">
                  <c:v>0.13263509129669107</c:v>
                </c:pt>
                <c:pt idx="40">
                  <c:v>0.1310584327344104</c:v>
                </c:pt>
                <c:pt idx="41">
                  <c:v>0.1199866866367116</c:v>
                </c:pt>
                <c:pt idx="42">
                  <c:v>0.1265051605504587</c:v>
                </c:pt>
                <c:pt idx="43">
                  <c:v>0.127720207253886</c:v>
                </c:pt>
                <c:pt idx="44">
                  <c:v>0.15237467018469658</c:v>
                </c:pt>
                <c:pt idx="45">
                  <c:v>0.17770354599515453</c:v>
                </c:pt>
                <c:pt idx="46">
                  <c:v>0.18588713995074418</c:v>
                </c:pt>
                <c:pt idx="47">
                  <c:v>0.18817989340731547</c:v>
                </c:pt>
                <c:pt idx="48">
                  <c:v>0.20453364687867437</c:v>
                </c:pt>
                <c:pt idx="49">
                  <c:v>0.2393094341088282</c:v>
                </c:pt>
                <c:pt idx="50">
                  <c:v>0.2002034434690879</c:v>
                </c:pt>
                <c:pt idx="51">
                  <c:v>0.18278346605991658</c:v>
                </c:pt>
                <c:pt idx="52">
                  <c:v>0.1916060618372405</c:v>
                </c:pt>
                <c:pt idx="53">
                  <c:v>0.18145714846048244</c:v>
                </c:pt>
                <c:pt idx="54">
                  <c:v>0.17889249428161072</c:v>
                </c:pt>
                <c:pt idx="55">
                  <c:v>0.16838060186187487</c:v>
                </c:pt>
                <c:pt idx="56">
                  <c:v>0.17806972644031166</c:v>
                </c:pt>
                <c:pt idx="57">
                  <c:v>0.17253839205058719</c:v>
                </c:pt>
                <c:pt idx="58">
                  <c:v>0.18993794326241134</c:v>
                </c:pt>
                <c:pt idx="59">
                  <c:v>0.20242621238064834</c:v>
                </c:pt>
                <c:pt idx="60">
                  <c:v>0.21598137582792315</c:v>
                </c:pt>
                <c:pt idx="61">
                  <c:v>0.21327830937372455</c:v>
                </c:pt>
                <c:pt idx="62">
                  <c:v>0.2106469689251146</c:v>
                </c:pt>
                <c:pt idx="63">
                  <c:v>0.2280694765357342</c:v>
                </c:pt>
                <c:pt idx="64">
                  <c:v>0.21364367861208147</c:v>
                </c:pt>
                <c:pt idx="65">
                  <c:v>0.197419627749577</c:v>
                </c:pt>
                <c:pt idx="66">
                  <c:v>0.19830004249893754</c:v>
                </c:pt>
                <c:pt idx="67">
                  <c:v>0.19787843523408827</c:v>
                </c:pt>
                <c:pt idx="68">
                  <c:v>0.1793440334961619</c:v>
                </c:pt>
                <c:pt idx="69">
                  <c:v>0.1672203765227021</c:v>
                </c:pt>
                <c:pt idx="70">
                  <c:v>0.15778822300561432</c:v>
                </c:pt>
                <c:pt idx="71">
                  <c:v>0.16811256105562442</c:v>
                </c:pt>
                <c:pt idx="72">
                  <c:v>0.1679347453560902</c:v>
                </c:pt>
                <c:pt idx="73">
                  <c:v>0.16854688083675756</c:v>
                </c:pt>
                <c:pt idx="74">
                  <c:v>0.1720668840629987</c:v>
                </c:pt>
                <c:pt idx="75">
                  <c:v>0.1719734928074996</c:v>
                </c:pt>
                <c:pt idx="76">
                  <c:v>0.16542408560652574</c:v>
                </c:pt>
                <c:pt idx="77">
                  <c:v>0.162524941048431</c:v>
                </c:pt>
                <c:pt idx="78">
                  <c:v>0.1508088013664222</c:v>
                </c:pt>
                <c:pt idx="79">
                  <c:v>0.2317242505921751</c:v>
                </c:pt>
                <c:pt idx="80">
                  <c:v>0.2132651404448774</c:v>
                </c:pt>
                <c:pt idx="81">
                  <c:v>0.16552755232806493</c:v>
                </c:pt>
                <c:pt idx="82">
                  <c:v>0.1637258543833581</c:v>
                </c:pt>
                <c:pt idx="83">
                  <c:v>0.14526956156912105</c:v>
                </c:pt>
                <c:pt idx="84">
                  <c:v>0.14842339951162545</c:v>
                </c:pt>
                <c:pt idx="85">
                  <c:v>0.15041705282669138</c:v>
                </c:pt>
                <c:pt idx="86">
                  <c:v>0.13899121564182487</c:v>
                </c:pt>
                <c:pt idx="87">
                  <c:v>0.15536374845869297</c:v>
                </c:pt>
                <c:pt idx="88">
                  <c:v>0.13745644599303136</c:v>
                </c:pt>
                <c:pt idx="89">
                  <c:v>0.13562695479101508</c:v>
                </c:pt>
                <c:pt idx="90">
                  <c:v>0.13424844236760125</c:v>
                </c:pt>
                <c:pt idx="91">
                  <c:v>0.12619138391155166</c:v>
                </c:pt>
                <c:pt idx="92">
                  <c:v>0.13363351904144088</c:v>
                </c:pt>
                <c:pt idx="93">
                  <c:v>0.12787897034472376</c:v>
                </c:pt>
                <c:pt idx="94">
                  <c:v>0.13452201573748535</c:v>
                </c:pt>
                <c:pt idx="95">
                  <c:v>0.13523396343352959</c:v>
                </c:pt>
                <c:pt idx="96">
                  <c:v>0.13391465520872825</c:v>
                </c:pt>
                <c:pt idx="97">
                  <c:v>0.14201777546390987</c:v>
                </c:pt>
                <c:pt idx="98">
                  <c:v>0.1565883887801696</c:v>
                </c:pt>
                <c:pt idx="99">
                  <c:v>0.16453063518830804</c:v>
                </c:pt>
                <c:pt idx="100">
                  <c:v>0.18011297486093744</c:v>
                </c:pt>
                <c:pt idx="101">
                  <c:v>0.1679394945581996</c:v>
                </c:pt>
                <c:pt idx="102">
                  <c:v>0.1429156010230179</c:v>
                </c:pt>
                <c:pt idx="103">
                  <c:v>0.16579195263087068</c:v>
                </c:pt>
                <c:pt idx="104">
                  <c:v>0.16431287343834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5.2524</c:v>
                </c:pt>
                <c:pt idx="1">
                  <c:v>1177.6178</c:v>
                </c:pt>
                <c:pt idx="2">
                  <c:v>1157.9913</c:v>
                </c:pt>
                <c:pt idx="3">
                  <c:v>1196.1048</c:v>
                </c:pt>
                <c:pt idx="4">
                  <c:v>1191.6704</c:v>
                </c:pt>
                <c:pt idx="5">
                  <c:v>1199.9923</c:v>
                </c:pt>
                <c:pt idx="6">
                  <c:v>1129.8584</c:v>
                </c:pt>
                <c:pt idx="7">
                  <c:v>1201.0603</c:v>
                </c:pt>
                <c:pt idx="8">
                  <c:v>1285.4889</c:v>
                </c:pt>
                <c:pt idx="9">
                  <c:v>1242.206</c:v>
                </c:pt>
                <c:pt idx="10">
                  <c:v>1264.1718</c:v>
                </c:pt>
                <c:pt idx="11">
                  <c:v>1084.7079</c:v>
                </c:pt>
                <c:pt idx="12">
                  <c:v>1109.5104</c:v>
                </c:pt>
                <c:pt idx="13">
                  <c:v>1180.3927</c:v>
                </c:pt>
                <c:pt idx="14">
                  <c:v>1184.3724</c:v>
                </c:pt>
                <c:pt idx="15">
                  <c:v>1220.7914</c:v>
                </c:pt>
                <c:pt idx="16">
                  <c:v>1253.1881</c:v>
                </c:pt>
                <c:pt idx="17">
                  <c:v>1242.9892</c:v>
                </c:pt>
                <c:pt idx="18">
                  <c:v>1294.6239</c:v>
                </c:pt>
                <c:pt idx="19">
                  <c:v>1373.5006</c:v>
                </c:pt>
                <c:pt idx="20">
                  <c:v>1369.5481</c:v>
                </c:pt>
                <c:pt idx="21">
                  <c:v>1301.0936</c:v>
                </c:pt>
                <c:pt idx="22">
                  <c:v>1219.3171</c:v>
                </c:pt>
                <c:pt idx="23">
                  <c:v>1202.365</c:v>
                </c:pt>
                <c:pt idx="24">
                  <c:v>1226.9531</c:v>
                </c:pt>
                <c:pt idx="25">
                  <c:v>1185.9971</c:v>
                </c:pt>
                <c:pt idx="26">
                  <c:v>1273.6558</c:v>
                </c:pt>
                <c:pt idx="27">
                  <c:v>1294.2338</c:v>
                </c:pt>
                <c:pt idx="28">
                  <c:v>1256.3659</c:v>
                </c:pt>
                <c:pt idx="29">
                  <c:v>1262.2304</c:v>
                </c:pt>
                <c:pt idx="30">
                  <c:v>1237.5151</c:v>
                </c:pt>
                <c:pt idx="31">
                  <c:v>1178.4927</c:v>
                </c:pt>
                <c:pt idx="32">
                  <c:v>1175.0584</c:v>
                </c:pt>
                <c:pt idx="33">
                  <c:v>1219.7553</c:v>
                </c:pt>
                <c:pt idx="34">
                  <c:v>1259.3188</c:v>
                </c:pt>
                <c:pt idx="35">
                  <c:v>1234.1288</c:v>
                </c:pt>
                <c:pt idx="36">
                  <c:v>1263.0586</c:v>
                </c:pt>
                <c:pt idx="37">
                  <c:v>1312.7309</c:v>
                </c:pt>
                <c:pt idx="38">
                  <c:v>1295.9959</c:v>
                </c:pt>
                <c:pt idx="39">
                  <c:v>1252.361</c:v>
                </c:pt>
                <c:pt idx="40">
                  <c:v>1302.9672</c:v>
                </c:pt>
                <c:pt idx="41">
                  <c:v>1363.6511</c:v>
                </c:pt>
                <c:pt idx="42">
                  <c:v>1373.2921</c:v>
                </c:pt>
                <c:pt idx="43">
                  <c:v>1354.7444</c:v>
                </c:pt>
                <c:pt idx="44">
                  <c:v>1291.6935</c:v>
                </c:pt>
                <c:pt idx="45">
                  <c:v>1246.0221</c:v>
                </c:pt>
                <c:pt idx="46">
                  <c:v>1232.9754</c:v>
                </c:pt>
                <c:pt idx="47">
                  <c:v>1193.7382</c:v>
                </c:pt>
                <c:pt idx="48">
                  <c:v>1195.6633</c:v>
                </c:pt>
                <c:pt idx="49">
                  <c:v>1213.1335</c:v>
                </c:pt>
                <c:pt idx="50">
                  <c:v>1082.6613</c:v>
                </c:pt>
                <c:pt idx="51">
                  <c:v>1054.7971</c:v>
                </c:pt>
              </c:numCache>
            </c:numRef>
          </c:xVal>
          <c:yVal>
            <c:numRef>
              <c:f>Sheet1!$B$109:$B$160</c:f>
              <c:numCache>
                <c:formatCode>General</c:formatCode>
                <c:ptCount val="52"/>
                <c:pt idx="0">
                  <c:v>0.15626343187353742</c:v>
                </c:pt>
                <c:pt idx="1">
                  <c:v>0.1694440274233098</c:v>
                </c:pt>
                <c:pt idx="2">
                  <c:v>0.17688927943760985</c:v>
                </c:pt>
                <c:pt idx="3">
                  <c:v>0.18834202767067362</c:v>
                </c:pt>
                <c:pt idx="4">
                  <c:v>0.1774929694343276</c:v>
                </c:pt>
                <c:pt idx="5">
                  <c:v>0.1755782376627025</c:v>
                </c:pt>
                <c:pt idx="6">
                  <c:v>0.17105899419729206</c:v>
                </c:pt>
                <c:pt idx="7">
                  <c:v>0.16523510626582977</c:v>
                </c:pt>
                <c:pt idx="8">
                  <c:v>0.16151224047102572</c:v>
                </c:pt>
                <c:pt idx="9">
                  <c:v>0.17053908664301248</c:v>
                </c:pt>
                <c:pt idx="10">
                  <c:v>0.175946173254836</c:v>
                </c:pt>
                <c:pt idx="11">
                  <c:v>0.18972096351061293</c:v>
                </c:pt>
                <c:pt idx="12">
                  <c:v>0.1918911282727444</c:v>
                </c:pt>
                <c:pt idx="13">
                  <c:v>0.17971974522292994</c:v>
                </c:pt>
                <c:pt idx="14">
                  <c:v>0.18025965379494008</c:v>
                </c:pt>
                <c:pt idx="15">
                  <c:v>0.1681607604837254</c:v>
                </c:pt>
                <c:pt idx="16">
                  <c:v>0.15210907541542396</c:v>
                </c:pt>
                <c:pt idx="17">
                  <c:v>0.14281505487221036</c:v>
                </c:pt>
                <c:pt idx="18">
                  <c:v>0.13417873361322938</c:v>
                </c:pt>
                <c:pt idx="19">
                  <c:v>0.14569313593539704</c:v>
                </c:pt>
                <c:pt idx="20">
                  <c:v>0.13632979713381724</c:v>
                </c:pt>
                <c:pt idx="21">
                  <c:v>0.14058355437665782</c:v>
                </c:pt>
                <c:pt idx="22">
                  <c:v>0.15188244127426795</c:v>
                </c:pt>
                <c:pt idx="23">
                  <c:v>0.1577770323157777</c:v>
                </c:pt>
                <c:pt idx="24">
                  <c:v>0.14989669421487603</c:v>
                </c:pt>
                <c:pt idx="25">
                  <c:v>0.15213358070500926</c:v>
                </c:pt>
                <c:pt idx="26">
                  <c:v>0.13166019320784783</c:v>
                </c:pt>
                <c:pt idx="27">
                  <c:v>0.13252032520325202</c:v>
                </c:pt>
                <c:pt idx="28">
                  <c:v>0.14178495676293032</c:v>
                </c:pt>
                <c:pt idx="29">
                  <c:v>0.1449901768172888</c:v>
                </c:pt>
                <c:pt idx="30">
                  <c:v>0.15117807665082414</c:v>
                </c:pt>
                <c:pt idx="31">
                  <c:v>0.14854054054054053</c:v>
                </c:pt>
                <c:pt idx="32">
                  <c:v>0.15479184129645152</c:v>
                </c:pt>
                <c:pt idx="33">
                  <c:v>0.16873576728127526</c:v>
                </c:pt>
                <c:pt idx="34">
                  <c:v>0.18939069852716495</c:v>
                </c:pt>
                <c:pt idx="35">
                  <c:v>0.18143621084797557</c:v>
                </c:pt>
                <c:pt idx="36">
                  <c:v>0.15709898417198204</c:v>
                </c:pt>
                <c:pt idx="37">
                  <c:v>0.14297926907458858</c:v>
                </c:pt>
                <c:pt idx="38">
                  <c:v>0.14674626865671642</c:v>
                </c:pt>
                <c:pt idx="39">
                  <c:v>0.1626687988628287</c:v>
                </c:pt>
                <c:pt idx="40">
                  <c:v>0.14360404322063436</c:v>
                </c:pt>
                <c:pt idx="41">
                  <c:v>0.14487200391325616</c:v>
                </c:pt>
                <c:pt idx="42">
                  <c:v>0.1423041474654378</c:v>
                </c:pt>
                <c:pt idx="43">
                  <c:v>0.1357321948905604</c:v>
                </c:pt>
                <c:pt idx="44">
                  <c:v>0.12983379036319884</c:v>
                </c:pt>
                <c:pt idx="45">
                  <c:v>0.14291586172880102</c:v>
                </c:pt>
                <c:pt idx="46">
                  <c:v>0.13999140277976788</c:v>
                </c:pt>
                <c:pt idx="47">
                  <c:v>0.14172983996098773</c:v>
                </c:pt>
                <c:pt idx="48">
                  <c:v>0.13164407343109372</c:v>
                </c:pt>
                <c:pt idx="49">
                  <c:v>0.14696452219976303</c:v>
                </c:pt>
                <c:pt idx="50">
                  <c:v>0.17643815915627997</c:v>
                </c:pt>
                <c:pt idx="51">
                  <c:v>0.164239928683618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9.193275238557</c:v>
                </c:pt>
              </c:numCache>
            </c:numRef>
          </c:xVal>
          <c:yVal>
            <c:numRef>
              <c:f>Sheet1!$B$163:$B$164</c:f>
              <c:numCache>
                <c:formatCode>General</c:formatCode>
                <c:ptCount val="2"/>
                <c:pt idx="0">
                  <c:v>0.19277845745535366</c:v>
                </c:pt>
                <c:pt idx="1">
                  <c:v>0.192778457455353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9.193275238557</c:v>
                </c:pt>
                <c:pt idx="1">
                  <c:v>989.193275238557</c:v>
                </c:pt>
              </c:numCache>
            </c:numRef>
          </c:xVal>
          <c:yVal>
            <c:numRef>
              <c:f>Sheet1!$B$167:$B$168</c:f>
              <c:numCache>
                <c:formatCode>General</c:formatCode>
                <c:ptCount val="2"/>
                <c:pt idx="0">
                  <c:v>0.192778457455353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5.0320426923163</c:v>
                </c:pt>
              </c:numCache>
            </c:numRef>
          </c:xVal>
          <c:yVal>
            <c:numRef>
              <c:f>Sheet1!$B$171:$B$172</c:f>
              <c:numCache>
                <c:formatCode>General</c:formatCode>
                <c:ptCount val="2"/>
                <c:pt idx="0">
                  <c:v>0.17131292382625649</c:v>
                </c:pt>
                <c:pt idx="1">
                  <c:v>0.1713129238262564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5.0320426923163</c:v>
                </c:pt>
                <c:pt idx="1">
                  <c:v>1135.0320426923163</c:v>
                </c:pt>
              </c:numCache>
            </c:numRef>
          </c:xVal>
          <c:yVal>
            <c:numRef>
              <c:f>Sheet1!$B$175:$B$176</c:f>
              <c:numCache>
                <c:formatCode>General</c:formatCode>
                <c:ptCount val="2"/>
                <c:pt idx="0">
                  <c:v>0.1713129238262564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4.429215796528</c:v>
                </c:pt>
              </c:numCache>
            </c:numRef>
          </c:xVal>
          <c:yVal>
            <c:numRef>
              <c:f>Sheet1!$B$179:$B$180</c:f>
              <c:numCache>
                <c:formatCode>General</c:formatCode>
                <c:ptCount val="2"/>
                <c:pt idx="0">
                  <c:v>0.14637990512740215</c:v>
                </c:pt>
                <c:pt idx="1">
                  <c:v>0.14637990512740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4.429215796528</c:v>
                </c:pt>
                <c:pt idx="1">
                  <c:v>1304.429215796528</c:v>
                </c:pt>
              </c:numCache>
            </c:numRef>
          </c:xVal>
          <c:yVal>
            <c:numRef>
              <c:f>Sheet1!$B$183:$B$184</c:f>
              <c:numCache>
                <c:formatCode>General</c:formatCode>
                <c:ptCount val="2"/>
                <c:pt idx="0">
                  <c:v>0.14637990512740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5.2524</c:v>
                </c:pt>
                <c:pt idx="1">
                  <c:v>1177.6178</c:v>
                </c:pt>
                <c:pt idx="2">
                  <c:v>1157.9913</c:v>
                </c:pt>
                <c:pt idx="3">
                  <c:v>1196.1048</c:v>
                </c:pt>
                <c:pt idx="4">
                  <c:v>1191.6704</c:v>
                </c:pt>
                <c:pt idx="5">
                  <c:v>1199.9923</c:v>
                </c:pt>
                <c:pt idx="6">
                  <c:v>1129.8584</c:v>
                </c:pt>
                <c:pt idx="7">
                  <c:v>1201.0603</c:v>
                </c:pt>
                <c:pt idx="8">
                  <c:v>1285.4889</c:v>
                </c:pt>
                <c:pt idx="9">
                  <c:v>1242.206</c:v>
                </c:pt>
                <c:pt idx="10">
                  <c:v>1264.1718</c:v>
                </c:pt>
                <c:pt idx="11">
                  <c:v>1084.7079</c:v>
                </c:pt>
                <c:pt idx="12">
                  <c:v>1109.5104</c:v>
                </c:pt>
                <c:pt idx="13">
                  <c:v>1180.3927</c:v>
                </c:pt>
                <c:pt idx="14">
                  <c:v>1184.3724</c:v>
                </c:pt>
                <c:pt idx="15">
                  <c:v>1220.7914</c:v>
                </c:pt>
                <c:pt idx="16">
                  <c:v>1253.1881</c:v>
                </c:pt>
                <c:pt idx="17">
                  <c:v>1242.9892</c:v>
                </c:pt>
                <c:pt idx="18">
                  <c:v>1294.6239</c:v>
                </c:pt>
                <c:pt idx="19">
                  <c:v>1373.5006</c:v>
                </c:pt>
                <c:pt idx="20">
                  <c:v>1369.5481</c:v>
                </c:pt>
                <c:pt idx="21">
                  <c:v>1301.0936</c:v>
                </c:pt>
                <c:pt idx="22">
                  <c:v>1219.3171</c:v>
                </c:pt>
                <c:pt idx="23">
                  <c:v>1202.365</c:v>
                </c:pt>
                <c:pt idx="24">
                  <c:v>1226.9531</c:v>
                </c:pt>
                <c:pt idx="25">
                  <c:v>1185.9971</c:v>
                </c:pt>
                <c:pt idx="26">
                  <c:v>1273.6558</c:v>
                </c:pt>
                <c:pt idx="27">
                  <c:v>1294.2338</c:v>
                </c:pt>
                <c:pt idx="28">
                  <c:v>1256.3659</c:v>
                </c:pt>
                <c:pt idx="29">
                  <c:v>1262.2304</c:v>
                </c:pt>
                <c:pt idx="30">
                  <c:v>1237.5151</c:v>
                </c:pt>
                <c:pt idx="31">
                  <c:v>1178.4927</c:v>
                </c:pt>
                <c:pt idx="32">
                  <c:v>1175.0584</c:v>
                </c:pt>
                <c:pt idx="33">
                  <c:v>1219.7553</c:v>
                </c:pt>
                <c:pt idx="34">
                  <c:v>1259.3188</c:v>
                </c:pt>
                <c:pt idx="35">
                  <c:v>1234.1288</c:v>
                </c:pt>
                <c:pt idx="36">
                  <c:v>1263.0586</c:v>
                </c:pt>
                <c:pt idx="37">
                  <c:v>1312.7309</c:v>
                </c:pt>
                <c:pt idx="38">
                  <c:v>1295.9959</c:v>
                </c:pt>
                <c:pt idx="39">
                  <c:v>1252.361</c:v>
                </c:pt>
                <c:pt idx="40">
                  <c:v>1302.9672</c:v>
                </c:pt>
                <c:pt idx="41">
                  <c:v>1363.6511</c:v>
                </c:pt>
                <c:pt idx="42">
                  <c:v>1373.2921</c:v>
                </c:pt>
                <c:pt idx="43">
                  <c:v>1354.7444</c:v>
                </c:pt>
                <c:pt idx="44">
                  <c:v>1291.6935</c:v>
                </c:pt>
                <c:pt idx="45">
                  <c:v>1246.0221</c:v>
                </c:pt>
                <c:pt idx="46">
                  <c:v>1232.9754</c:v>
                </c:pt>
                <c:pt idx="47">
                  <c:v>1193.7382</c:v>
                </c:pt>
                <c:pt idx="48">
                  <c:v>1195.6633</c:v>
                </c:pt>
                <c:pt idx="49">
                  <c:v>1213.1335</c:v>
                </c:pt>
                <c:pt idx="50">
                  <c:v>1082.6613</c:v>
                </c:pt>
                <c:pt idx="51">
                  <c:v>1054.7971</c:v>
                </c:pt>
                <c:pt idx="52">
                  <c:v>1135.0320426923163</c:v>
                </c:pt>
                <c:pt idx="53">
                  <c:v>989.193275238557</c:v>
                </c:pt>
                <c:pt idx="54">
                  <c:v>1304.429215796528</c:v>
                </c:pt>
              </c:numCache>
            </c:numRef>
          </c:xVal>
          <c:yVal>
            <c:numRef>
              <c:f>Sheet1!$B$187:$B$241</c:f>
              <c:numCache>
                <c:formatCode>General</c:formatCode>
                <c:ptCount val="55"/>
                <c:pt idx="0">
                  <c:v>0.15950555046737058</c:v>
                </c:pt>
                <c:pt idx="1">
                  <c:v>0.16504486478016991</c:v>
                </c:pt>
                <c:pt idx="2">
                  <c:v>0.16793362545147122</c:v>
                </c:pt>
                <c:pt idx="3">
                  <c:v>0.16232382340598972</c:v>
                </c:pt>
                <c:pt idx="4">
                  <c:v>0.16297650831266278</c:v>
                </c:pt>
                <c:pt idx="5">
                  <c:v>0.16175163493073008</c:v>
                </c:pt>
                <c:pt idx="6">
                  <c:v>0.17207441545935095</c:v>
                </c:pt>
                <c:pt idx="7">
                  <c:v>0.1615944394859513</c:v>
                </c:pt>
                <c:pt idx="8">
                  <c:v>0.14916766857860522</c:v>
                </c:pt>
                <c:pt idx="9">
                  <c:v>0.15553833778910464</c:v>
                </c:pt>
                <c:pt idx="10">
                  <c:v>0.1523052631627744</c:v>
                </c:pt>
                <c:pt idx="11">
                  <c:v>0.1787199706367687</c:v>
                </c:pt>
                <c:pt idx="12">
                  <c:v>0.17506937136792555</c:v>
                </c:pt>
                <c:pt idx="13">
                  <c:v>0.16463643627856267</c:v>
                </c:pt>
                <c:pt idx="14">
                  <c:v>0.16405067718531746</c:v>
                </c:pt>
                <c:pt idx="15">
                  <c:v>0.15869028308101346</c:v>
                </c:pt>
                <c:pt idx="16">
                  <c:v>0.15392191822533635</c:v>
                </c:pt>
                <c:pt idx="17">
                  <c:v>0.15542306112960025</c:v>
                </c:pt>
                <c:pt idx="18">
                  <c:v>0.1478231176534613</c:v>
                </c:pt>
                <c:pt idx="19">
                  <c:v>0.13621351284149627</c:v>
                </c:pt>
                <c:pt idx="20">
                  <c:v>0.13679526845524906</c:v>
                </c:pt>
                <c:pt idx="21">
                  <c:v>0.14687086356255777</c:v>
                </c:pt>
                <c:pt idx="22">
                  <c:v>0.15890728050071132</c:v>
                </c:pt>
                <c:pt idx="23">
                  <c:v>0.16140240493838318</c:v>
                </c:pt>
                <c:pt idx="24">
                  <c:v>0.1577833625078926</c:v>
                </c:pt>
                <c:pt idx="25">
                  <c:v>0.16381154287901406</c:v>
                </c:pt>
                <c:pt idx="26">
                  <c:v>0.15090934406325993</c:v>
                </c:pt>
                <c:pt idx="27">
                  <c:v>0.1478805352030944</c:v>
                </c:pt>
                <c:pt idx="28">
                  <c:v>0.15345418818374662</c:v>
                </c:pt>
                <c:pt idx="29">
                  <c:v>0.15259101151155105</c:v>
                </c:pt>
                <c:pt idx="30">
                  <c:v>0.15622877609613886</c:v>
                </c:pt>
                <c:pt idx="31">
                  <c:v>0.16491609109605293</c:v>
                </c:pt>
                <c:pt idx="32">
                  <c:v>0.1654215745380039</c:v>
                </c:pt>
                <c:pt idx="33">
                  <c:v>0.15884278326859327</c:v>
                </c:pt>
                <c:pt idx="34">
                  <c:v>0.15301956044134296</c:v>
                </c:pt>
                <c:pt idx="35">
                  <c:v>0.15672719457427953</c:v>
                </c:pt>
                <c:pt idx="36">
                  <c:v>0.1524691114484745</c:v>
                </c:pt>
                <c:pt idx="37">
                  <c:v>0.14515800724277916</c:v>
                </c:pt>
                <c:pt idx="38">
                  <c:v>0.14762117743788414</c:v>
                </c:pt>
                <c:pt idx="39">
                  <c:v>0.15404365638299225</c:v>
                </c:pt>
                <c:pt idx="40">
                  <c:v>0.14659509447516317</c:v>
                </c:pt>
                <c:pt idx="41">
                  <c:v>0.13766322869669115</c:v>
                </c:pt>
                <c:pt idx="42">
                  <c:v>0.1362442012780472</c:v>
                </c:pt>
                <c:pt idx="43">
                  <c:v>0.13897417688771244</c:v>
                </c:pt>
                <c:pt idx="44">
                  <c:v>0.14825443369407887</c:v>
                </c:pt>
                <c:pt idx="45">
                  <c:v>0.1549766584475128</c:v>
                </c:pt>
                <c:pt idx="46">
                  <c:v>0.15689695976717072</c:v>
                </c:pt>
                <c:pt idx="47">
                  <c:v>0.16267215555918577</c:v>
                </c:pt>
                <c:pt idx="48">
                  <c:v>0.16238880635436972</c:v>
                </c:pt>
                <c:pt idx="49">
                  <c:v>0.15981742446357064</c:v>
                </c:pt>
                <c:pt idx="50">
                  <c:v>0.17902120303122954</c:v>
                </c:pt>
                <c:pt idx="51">
                  <c:v>0.18312244396044633</c:v>
                </c:pt>
                <c:pt idx="52">
                  <c:v>0.17131292382625649</c:v>
                </c:pt>
                <c:pt idx="53">
                  <c:v>0.19277845745535366</c:v>
                </c:pt>
                <c:pt idx="54">
                  <c:v>0.14637990512740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5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7132093059383"/>
          <c:min val="0.095989349309369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32360261500059</c:v>
                </c:pt>
                <c:pt idx="1">
                  <c:v>0.42741237943944216</c:v>
                </c:pt>
                <c:pt idx="2">
                  <c:v>0.4586122795405123</c:v>
                </c:pt>
                <c:pt idx="3">
                  <c:v>0.4557375973797354</c:v>
                </c:pt>
                <c:pt idx="4">
                  <c:v>0.49593583600656854</c:v>
                </c:pt>
                <c:pt idx="5">
                  <c:v>0.493208434794316</c:v>
                </c:pt>
                <c:pt idx="6">
                  <c:v>0.4771196962053208</c:v>
                </c:pt>
                <c:pt idx="7">
                  <c:v>0.4495739240487046</c:v>
                </c:pt>
                <c:pt idx="8">
                  <c:v>0.44114546252336484</c:v>
                </c:pt>
                <c:pt idx="9">
                  <c:v>0.47453252290823994</c:v>
                </c:pt>
                <c:pt idx="10">
                  <c:v>0.4965755654841601</c:v>
                </c:pt>
                <c:pt idx="11">
                  <c:v>0.4797502246034562</c:v>
                </c:pt>
                <c:pt idx="12">
                  <c:v>0.44755293156506737</c:v>
                </c:pt>
                <c:pt idx="13">
                  <c:v>0.40186827201127495</c:v>
                </c:pt>
                <c:pt idx="14">
                  <c:v>0.33095980791692053</c:v>
                </c:pt>
                <c:pt idx="15">
                  <c:v>0.3392562107603112</c:v>
                </c:pt>
                <c:pt idx="16">
                  <c:v>0.36253225600625294</c:v>
                </c:pt>
                <c:pt idx="17">
                  <c:v>0.38135968365514544</c:v>
                </c:pt>
                <c:pt idx="18">
                  <c:v>0.36927162174612876</c:v>
                </c:pt>
                <c:pt idx="19">
                  <c:v>0.40885455694235595</c:v>
                </c:pt>
                <c:pt idx="20">
                  <c:v>0.44572438154534993</c:v>
                </c:pt>
                <c:pt idx="21">
                  <c:v>0.42992396380005865</c:v>
                </c:pt>
                <c:pt idx="22">
                  <c:v>0.38641565401144723</c:v>
                </c:pt>
                <c:pt idx="23">
                  <c:v>0.36225941136078543</c:v>
                </c:pt>
                <c:pt idx="24">
                  <c:v>0.3606966514246763</c:v>
                </c:pt>
                <c:pt idx="25">
                  <c:v>0.3483907164169203</c:v>
                </c:pt>
                <c:pt idx="26">
                  <c:v>0.3421461749953603</c:v>
                </c:pt>
                <c:pt idx="27">
                  <c:v>0.33671222916841076</c:v>
                </c:pt>
                <c:pt idx="28">
                  <c:v>0.3506726959315956</c:v>
                </c:pt>
                <c:pt idx="29">
                  <c:v>0.2937946640769339</c:v>
                </c:pt>
                <c:pt idx="30">
                  <c:v>0.29583046523179346</c:v>
                </c:pt>
                <c:pt idx="31">
                  <c:v>0.3222043683931653</c:v>
                </c:pt>
                <c:pt idx="32">
                  <c:v>0.3177215254802723</c:v>
                </c:pt>
                <c:pt idx="33">
                  <c:v>0.3119099088845041</c:v>
                </c:pt>
                <c:pt idx="34">
                  <c:v>0.3523992981659736</c:v>
                </c:pt>
                <c:pt idx="35">
                  <c:v>0.39774783794758733</c:v>
                </c:pt>
                <c:pt idx="36">
                  <c:v>0.37030182967292896</c:v>
                </c:pt>
                <c:pt idx="37">
                  <c:v>0.424198023207325</c:v>
                </c:pt>
                <c:pt idx="38">
                  <c:v>0.41208867838436924</c:v>
                </c:pt>
                <c:pt idx="39">
                  <c:v>0.4092781693963721</c:v>
                </c:pt>
                <c:pt idx="40">
                  <c:v>0.42071093320543523</c:v>
                </c:pt>
                <c:pt idx="41">
                  <c:v>0.4545332373735578</c:v>
                </c:pt>
                <c:pt idx="42">
                  <c:v>0.4624528050994817</c:v>
                </c:pt>
                <c:pt idx="43">
                  <c:v>0.4869380163521447</c:v>
                </c:pt>
                <c:pt idx="44">
                  <c:v>0.4376670175484555</c:v>
                </c:pt>
                <c:pt idx="45">
                  <c:v>0.4456289414780948</c:v>
                </c:pt>
                <c:pt idx="46">
                  <c:v>0.4573485544977656</c:v>
                </c:pt>
                <c:pt idx="47">
                  <c:v>0.46778886997032837</c:v>
                </c:pt>
                <c:pt idx="48">
                  <c:v>0.4576265540606328</c:v>
                </c:pt>
                <c:pt idx="49">
                  <c:v>0.39128226017627576</c:v>
                </c:pt>
                <c:pt idx="50">
                  <c:v>0.29916915146368817</c:v>
                </c:pt>
                <c:pt idx="51">
                  <c:v>0.2821361901667336</c:v>
                </c:pt>
                <c:pt idx="52">
                  <c:v>0.27019263809187766</c:v>
                </c:pt>
                <c:pt idx="53">
                  <c:v>0.24808517518834933</c:v>
                </c:pt>
                <c:pt idx="54">
                  <c:v>0.22899457415485155</c:v>
                </c:pt>
                <c:pt idx="55">
                  <c:v>0.2691035598131631</c:v>
                </c:pt>
                <c:pt idx="56">
                  <c:v>0.35562936564665154</c:v>
                </c:pt>
                <c:pt idx="57">
                  <c:v>0.48804060660620047</c:v>
                </c:pt>
                <c:pt idx="58">
                  <c:v>0.4430922783909233</c:v>
                </c:pt>
                <c:pt idx="59">
                  <c:v>0.387801405267535</c:v>
                </c:pt>
                <c:pt idx="60">
                  <c:v>0.34888211971004646</c:v>
                </c:pt>
                <c:pt idx="61">
                  <c:v>0.3242169872635904</c:v>
                </c:pt>
                <c:pt idx="62">
                  <c:v>0.4103849127179821</c:v>
                </c:pt>
                <c:pt idx="63">
                  <c:v>0.40447757222175845</c:v>
                </c:pt>
                <c:pt idx="64">
                  <c:v>0.3991483432860188</c:v>
                </c:pt>
                <c:pt idx="65">
                  <c:v>0.36938301396322964</c:v>
                </c:pt>
                <c:pt idx="66">
                  <c:v>0.358353661909426</c:v>
                </c:pt>
                <c:pt idx="67">
                  <c:v>0.3805784380871926</c:v>
                </c:pt>
                <c:pt idx="68">
                  <c:v>0.33906367416036015</c:v>
                </c:pt>
                <c:pt idx="69">
                  <c:v>0.3358104909657655</c:v>
                </c:pt>
                <c:pt idx="70">
                  <c:v>0.3234645032916176</c:v>
                </c:pt>
                <c:pt idx="71">
                  <c:v>0.3276744061742089</c:v>
                </c:pt>
                <c:pt idx="72">
                  <c:v>0.3487510211304882</c:v>
                </c:pt>
                <c:pt idx="73">
                  <c:v>0.3347235247572448</c:v>
                </c:pt>
                <c:pt idx="74">
                  <c:v>0.31404500694187387</c:v>
                </c:pt>
                <c:pt idx="75">
                  <c:v>0.3074795300924755</c:v>
                </c:pt>
                <c:pt idx="76">
                  <c:v>0.32683747759848025</c:v>
                </c:pt>
                <c:pt idx="77">
                  <c:v>0.32626637950672754</c:v>
                </c:pt>
                <c:pt idx="78">
                  <c:v>0.3610583660336161</c:v>
                </c:pt>
                <c:pt idx="79">
                  <c:v>0.21033093634267674</c:v>
                </c:pt>
                <c:pt idx="80">
                  <c:v>0.20955776569134246</c:v>
                </c:pt>
                <c:pt idx="81">
                  <c:v>0.29726542620087426</c:v>
                </c:pt>
                <c:pt idx="82">
                  <c:v>0.31455515399559003</c:v>
                </c:pt>
                <c:pt idx="83">
                  <c:v>0.2925683180610041</c:v>
                </c:pt>
                <c:pt idx="84">
                  <c:v>0.2740244093176385</c:v>
                </c:pt>
                <c:pt idx="85">
                  <c:v>0.27438105348140046</c:v>
                </c:pt>
                <c:pt idx="86">
                  <c:v>0.3046411120150771</c:v>
                </c:pt>
                <c:pt idx="87">
                  <c:v>0.3041903122497998</c:v>
                </c:pt>
                <c:pt idx="88">
                  <c:v>0.2775060142822147</c:v>
                </c:pt>
                <c:pt idx="89">
                  <c:v>0.2687638658272608</c:v>
                </c:pt>
                <c:pt idx="90">
                  <c:v>0.2698716343886335</c:v>
                </c:pt>
                <c:pt idx="91">
                  <c:v>0.28462873066574307</c:v>
                </c:pt>
                <c:pt idx="92">
                  <c:v>0.2941197481325475</c:v>
                </c:pt>
                <c:pt idx="93">
                  <c:v>0.31577700807955117</c:v>
                </c:pt>
                <c:pt idx="94">
                  <c:v>0.30401076666251947</c:v>
                </c:pt>
                <c:pt idx="95">
                  <c:v>0.4027046668351254</c:v>
                </c:pt>
                <c:pt idx="96">
                  <c:v>0.36825700073599565</c:v>
                </c:pt>
                <c:pt idx="97">
                  <c:v>0.3659758013626161</c:v>
                </c:pt>
                <c:pt idx="98">
                  <c:v>0.4027120796671677</c:v>
                </c:pt>
                <c:pt idx="99">
                  <c:v>0.44957621023473593</c:v>
                </c:pt>
                <c:pt idx="100">
                  <c:v>0.43484343545130344</c:v>
                </c:pt>
                <c:pt idx="101">
                  <c:v>0.40385256367942646</c:v>
                </c:pt>
                <c:pt idx="102">
                  <c:v>0.40177333745910654</c:v>
                </c:pt>
                <c:pt idx="103">
                  <c:v>0.3278677850861033</c:v>
                </c:pt>
                <c:pt idx="104">
                  <c:v>0.3350508027033493</c:v>
                </c:pt>
              </c:numCache>
            </c:numRef>
          </c:xVal>
          <c:yVal>
            <c:numRef>
              <c:f>Sheet1!$B$2:$B$106</c:f>
              <c:numCache>
                <c:formatCode>General</c:formatCode>
                <c:ptCount val="105"/>
                <c:pt idx="0">
                  <c:v>0.21068205355821867</c:v>
                </c:pt>
                <c:pt idx="1">
                  <c:v>0.21077320402677488</c:v>
                </c:pt>
                <c:pt idx="2">
                  <c:v>0.18580294802172226</c:v>
                </c:pt>
                <c:pt idx="3">
                  <c:v>0.18233072984016965</c:v>
                </c:pt>
                <c:pt idx="4">
                  <c:v>0.18033191436856066</c:v>
                </c:pt>
                <c:pt idx="5">
                  <c:v>0.1653756301487766</c:v>
                </c:pt>
                <c:pt idx="6">
                  <c:v>0.18422598073760865</c:v>
                </c:pt>
                <c:pt idx="7">
                  <c:v>0.17780831329440056</c:v>
                </c:pt>
                <c:pt idx="8">
                  <c:v>0.18928440366972477</c:v>
                </c:pt>
                <c:pt idx="9">
                  <c:v>0.1935850420949331</c:v>
                </c:pt>
                <c:pt idx="10">
                  <c:v>0.20601934790397708</c:v>
                </c:pt>
                <c:pt idx="11">
                  <c:v>0.1979285908967021</c:v>
                </c:pt>
                <c:pt idx="12">
                  <c:v>0.20292000612588698</c:v>
                </c:pt>
                <c:pt idx="13">
                  <c:v>0.21586455557297382</c:v>
                </c:pt>
                <c:pt idx="14">
                  <c:v>0.20762380877987816</c:v>
                </c:pt>
                <c:pt idx="15">
                  <c:v>0.20610499107637392</c:v>
                </c:pt>
                <c:pt idx="16">
                  <c:v>0.1953637760089373</c:v>
                </c:pt>
                <c:pt idx="17">
                  <c:v>0.18828932261768083</c:v>
                </c:pt>
                <c:pt idx="18">
                  <c:v>0.1723512934585599</c:v>
                </c:pt>
                <c:pt idx="19">
                  <c:v>0.1564017134697763</c:v>
                </c:pt>
                <c:pt idx="20">
                  <c:v>0.16742994644104633</c:v>
                </c:pt>
                <c:pt idx="21">
                  <c:v>0.16912778105926363</c:v>
                </c:pt>
                <c:pt idx="22">
                  <c:v>0.16682313180623357</c:v>
                </c:pt>
                <c:pt idx="23">
                  <c:v>0.18079497059419997</c:v>
                </c:pt>
                <c:pt idx="24">
                  <c:v>0.1834593572778828</c:v>
                </c:pt>
                <c:pt idx="25">
                  <c:v>0.18036703225105874</c:v>
                </c:pt>
                <c:pt idx="26">
                  <c:v>0.18198911429985157</c:v>
                </c:pt>
                <c:pt idx="27">
                  <c:v>0.1702891702891703</c:v>
                </c:pt>
                <c:pt idx="28">
                  <c:v>0.16861758730772952</c:v>
                </c:pt>
                <c:pt idx="29">
                  <c:v>0.1896479986685529</c:v>
                </c:pt>
                <c:pt idx="30">
                  <c:v>0.16508926650892666</c:v>
                </c:pt>
                <c:pt idx="31">
                  <c:v>0.16296518607442978</c:v>
                </c:pt>
                <c:pt idx="32">
                  <c:v>0.17077835150124307</c:v>
                </c:pt>
                <c:pt idx="33">
                  <c:v>0.18809895252952974</c:v>
                </c:pt>
                <c:pt idx="34">
                  <c:v>0.1789592161016949</c:v>
                </c:pt>
                <c:pt idx="35">
                  <c:v>0.17546389167502507</c:v>
                </c:pt>
                <c:pt idx="36">
                  <c:v>0.14068787487662288</c:v>
                </c:pt>
                <c:pt idx="37">
                  <c:v>0.13293566254793354</c:v>
                </c:pt>
                <c:pt idx="38">
                  <c:v>0.12916962384669978</c:v>
                </c:pt>
                <c:pt idx="39">
                  <c:v>0.13263509129669107</c:v>
                </c:pt>
                <c:pt idx="40">
                  <c:v>0.1310584327344104</c:v>
                </c:pt>
                <c:pt idx="41">
                  <c:v>0.1199866866367116</c:v>
                </c:pt>
                <c:pt idx="42">
                  <c:v>0.1265051605504587</c:v>
                </c:pt>
                <c:pt idx="43">
                  <c:v>0.127720207253886</c:v>
                </c:pt>
                <c:pt idx="44">
                  <c:v>0.15237467018469658</c:v>
                </c:pt>
                <c:pt idx="45">
                  <c:v>0.17770354599515453</c:v>
                </c:pt>
                <c:pt idx="46">
                  <c:v>0.18588713995074418</c:v>
                </c:pt>
                <c:pt idx="47">
                  <c:v>0.18817989340731547</c:v>
                </c:pt>
                <c:pt idx="48">
                  <c:v>0.20453364687867437</c:v>
                </c:pt>
                <c:pt idx="49">
                  <c:v>0.2393094341088282</c:v>
                </c:pt>
                <c:pt idx="50">
                  <c:v>0.2002034434690879</c:v>
                </c:pt>
                <c:pt idx="51">
                  <c:v>0.18278346605991658</c:v>
                </c:pt>
                <c:pt idx="52">
                  <c:v>0.1916060618372405</c:v>
                </c:pt>
                <c:pt idx="53">
                  <c:v>0.18145714846048244</c:v>
                </c:pt>
                <c:pt idx="54">
                  <c:v>0.17889249428161072</c:v>
                </c:pt>
                <c:pt idx="55">
                  <c:v>0.16838060186187487</c:v>
                </c:pt>
                <c:pt idx="56">
                  <c:v>0.17806972644031166</c:v>
                </c:pt>
                <c:pt idx="57">
                  <c:v>0.17253839205058719</c:v>
                </c:pt>
                <c:pt idx="58">
                  <c:v>0.18993794326241134</c:v>
                </c:pt>
                <c:pt idx="59">
                  <c:v>0.20242621238064834</c:v>
                </c:pt>
                <c:pt idx="60">
                  <c:v>0.21598137582792315</c:v>
                </c:pt>
                <c:pt idx="61">
                  <c:v>0.21327830937372455</c:v>
                </c:pt>
                <c:pt idx="62">
                  <c:v>0.2106469689251146</c:v>
                </c:pt>
                <c:pt idx="63">
                  <c:v>0.2280694765357342</c:v>
                </c:pt>
                <c:pt idx="64">
                  <c:v>0.21364367861208147</c:v>
                </c:pt>
                <c:pt idx="65">
                  <c:v>0.197419627749577</c:v>
                </c:pt>
                <c:pt idx="66">
                  <c:v>0.19830004249893754</c:v>
                </c:pt>
                <c:pt idx="67">
                  <c:v>0.19787843523408827</c:v>
                </c:pt>
                <c:pt idx="68">
                  <c:v>0.1793440334961619</c:v>
                </c:pt>
                <c:pt idx="69">
                  <c:v>0.1672203765227021</c:v>
                </c:pt>
                <c:pt idx="70">
                  <c:v>0.15778822300561432</c:v>
                </c:pt>
                <c:pt idx="71">
                  <c:v>0.16811256105562442</c:v>
                </c:pt>
                <c:pt idx="72">
                  <c:v>0.1679347453560902</c:v>
                </c:pt>
                <c:pt idx="73">
                  <c:v>0.16854688083675756</c:v>
                </c:pt>
                <c:pt idx="74">
                  <c:v>0.1720668840629987</c:v>
                </c:pt>
                <c:pt idx="75">
                  <c:v>0.1719734928074996</c:v>
                </c:pt>
                <c:pt idx="76">
                  <c:v>0.16542408560652574</c:v>
                </c:pt>
                <c:pt idx="77">
                  <c:v>0.162524941048431</c:v>
                </c:pt>
                <c:pt idx="78">
                  <c:v>0.1508088013664222</c:v>
                </c:pt>
                <c:pt idx="79">
                  <c:v>0.2317242505921751</c:v>
                </c:pt>
                <c:pt idx="80">
                  <c:v>0.2132651404448774</c:v>
                </c:pt>
                <c:pt idx="81">
                  <c:v>0.16552755232806493</c:v>
                </c:pt>
                <c:pt idx="82">
                  <c:v>0.1637258543833581</c:v>
                </c:pt>
                <c:pt idx="83">
                  <c:v>0.14526956156912105</c:v>
                </c:pt>
                <c:pt idx="84">
                  <c:v>0.14842339951162545</c:v>
                </c:pt>
                <c:pt idx="85">
                  <c:v>0.15041705282669138</c:v>
                </c:pt>
                <c:pt idx="86">
                  <c:v>0.13899121564182487</c:v>
                </c:pt>
                <c:pt idx="87">
                  <c:v>0.15536374845869297</c:v>
                </c:pt>
                <c:pt idx="88">
                  <c:v>0.13745644599303136</c:v>
                </c:pt>
                <c:pt idx="89">
                  <c:v>0.13562695479101508</c:v>
                </c:pt>
                <c:pt idx="90">
                  <c:v>0.13424844236760125</c:v>
                </c:pt>
                <c:pt idx="91">
                  <c:v>0.12619138391155166</c:v>
                </c:pt>
                <c:pt idx="92">
                  <c:v>0.13363351904144088</c:v>
                </c:pt>
                <c:pt idx="93">
                  <c:v>0.12787897034472376</c:v>
                </c:pt>
                <c:pt idx="94">
                  <c:v>0.13452201573748535</c:v>
                </c:pt>
                <c:pt idx="95">
                  <c:v>0.13523396343352959</c:v>
                </c:pt>
                <c:pt idx="96">
                  <c:v>0.13391465520872825</c:v>
                </c:pt>
                <c:pt idx="97">
                  <c:v>0.14201777546390987</c:v>
                </c:pt>
                <c:pt idx="98">
                  <c:v>0.1565883887801696</c:v>
                </c:pt>
                <c:pt idx="99">
                  <c:v>0.16453063518830804</c:v>
                </c:pt>
                <c:pt idx="100">
                  <c:v>0.18011297486093744</c:v>
                </c:pt>
                <c:pt idx="101">
                  <c:v>0.1679394945581996</c:v>
                </c:pt>
                <c:pt idx="102">
                  <c:v>0.1429156010230179</c:v>
                </c:pt>
                <c:pt idx="103">
                  <c:v>0.16579195263087068</c:v>
                </c:pt>
                <c:pt idx="104">
                  <c:v>0.164312873438348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7555281657491</c:v>
                </c:pt>
                <c:pt idx="1">
                  <c:v>0.37282007945164614</c:v>
                </c:pt>
                <c:pt idx="2">
                  <c:v>0.3614906375094494</c:v>
                </c:pt>
                <c:pt idx="3">
                  <c:v>0.3910358121458551</c:v>
                </c:pt>
                <c:pt idx="4">
                  <c:v>0.3648610794516446</c:v>
                </c:pt>
                <c:pt idx="5">
                  <c:v>0.33705458021633083</c:v>
                </c:pt>
                <c:pt idx="6">
                  <c:v>0.382389080577446</c:v>
                </c:pt>
                <c:pt idx="7">
                  <c:v>0.41693536993085334</c:v>
                </c:pt>
                <c:pt idx="8">
                  <c:v>0.4018676267556304</c:v>
                </c:pt>
                <c:pt idx="9">
                  <c:v>0.3925295496979129</c:v>
                </c:pt>
                <c:pt idx="10">
                  <c:v>0.42465562136561913</c:v>
                </c:pt>
                <c:pt idx="11">
                  <c:v>0.40189269443172787</c:v>
                </c:pt>
                <c:pt idx="12">
                  <c:v>0.431731731926486</c:v>
                </c:pt>
                <c:pt idx="13">
                  <c:v>0.4673894644203906</c:v>
                </c:pt>
                <c:pt idx="14">
                  <c:v>0.47476853492412024</c:v>
                </c:pt>
                <c:pt idx="15">
                  <c:v>0.431998795150836</c:v>
                </c:pt>
                <c:pt idx="16">
                  <c:v>0.42161986396137024</c:v>
                </c:pt>
                <c:pt idx="17">
                  <c:v>0.3902056709399948</c:v>
                </c:pt>
                <c:pt idx="18">
                  <c:v>0.38077344877463715</c:v>
                </c:pt>
                <c:pt idx="19">
                  <c:v>0.39627800625423654</c:v>
                </c:pt>
                <c:pt idx="20">
                  <c:v>0.38919816512937605</c:v>
                </c:pt>
                <c:pt idx="21">
                  <c:v>0.35860928919215573</c:v>
                </c:pt>
                <c:pt idx="22">
                  <c:v>0.3402065836653856</c:v>
                </c:pt>
                <c:pt idx="23">
                  <c:v>0.3344335601719646</c:v>
                </c:pt>
                <c:pt idx="24">
                  <c:v>0.34668351343575704</c:v>
                </c:pt>
                <c:pt idx="25">
                  <c:v>0.33267873629569233</c:v>
                </c:pt>
                <c:pt idx="26">
                  <c:v>0.3481623799092647</c:v>
                </c:pt>
                <c:pt idx="27">
                  <c:v>0.3639411098935378</c:v>
                </c:pt>
                <c:pt idx="28">
                  <c:v>0.4030601901909285</c:v>
                </c:pt>
                <c:pt idx="29">
                  <c:v>0.4039024833548634</c:v>
                </c:pt>
                <c:pt idx="30">
                  <c:v>0.38866804786874637</c:v>
                </c:pt>
                <c:pt idx="31">
                  <c:v>0.30027988500878106</c:v>
                </c:pt>
                <c:pt idx="32">
                  <c:v>0.28820356805264025</c:v>
                </c:pt>
                <c:pt idx="33">
                  <c:v>0.284866038692849</c:v>
                </c:pt>
                <c:pt idx="34">
                  <c:v>0.3093735798120944</c:v>
                </c:pt>
                <c:pt idx="35">
                  <c:v>0.30376812849872237</c:v>
                </c:pt>
                <c:pt idx="36">
                  <c:v>0.30848402595815383</c:v>
                </c:pt>
                <c:pt idx="37">
                  <c:v>0.31646852391171154</c:v>
                </c:pt>
                <c:pt idx="38">
                  <c:v>0.3230470200413421</c:v>
                </c:pt>
                <c:pt idx="39">
                  <c:v>0.3307519755149291</c:v>
                </c:pt>
                <c:pt idx="40">
                  <c:v>0.33769081209842644</c:v>
                </c:pt>
                <c:pt idx="41">
                  <c:v>0.35457810894532</c:v>
                </c:pt>
                <c:pt idx="42">
                  <c:v>0.3440941141026454</c:v>
                </c:pt>
                <c:pt idx="43">
                  <c:v>0.37555259615405945</c:v>
                </c:pt>
                <c:pt idx="44">
                  <c:v>0.40901941590137564</c:v>
                </c:pt>
                <c:pt idx="45">
                  <c:v>0.42338041176582514</c:v>
                </c:pt>
                <c:pt idx="46">
                  <c:v>0.3884412571533058</c:v>
                </c:pt>
                <c:pt idx="47">
                  <c:v>0.4144802120243053</c:v>
                </c:pt>
                <c:pt idx="48">
                  <c:v>0.4268283240360771</c:v>
                </c:pt>
                <c:pt idx="49">
                  <c:v>0.45817269940943006</c:v>
                </c:pt>
                <c:pt idx="50">
                  <c:v>0.4311808289362428</c:v>
                </c:pt>
                <c:pt idx="51">
                  <c:v>0.36625302438224755</c:v>
                </c:pt>
              </c:numCache>
            </c:numRef>
          </c:xVal>
          <c:yVal>
            <c:numRef>
              <c:f>Sheet1!$B$109:$B$160</c:f>
              <c:numCache>
                <c:formatCode>General</c:formatCode>
                <c:ptCount val="52"/>
                <c:pt idx="0">
                  <c:v>0.15626343187353742</c:v>
                </c:pt>
                <c:pt idx="1">
                  <c:v>0.1694440274233098</c:v>
                </c:pt>
                <c:pt idx="2">
                  <c:v>0.17688927943760985</c:v>
                </c:pt>
                <c:pt idx="3">
                  <c:v>0.18834202767067362</c:v>
                </c:pt>
                <c:pt idx="4">
                  <c:v>0.1774929694343276</c:v>
                </c:pt>
                <c:pt idx="5">
                  <c:v>0.1755782376627025</c:v>
                </c:pt>
                <c:pt idx="6">
                  <c:v>0.17105899419729206</c:v>
                </c:pt>
                <c:pt idx="7">
                  <c:v>0.16523510626582977</c:v>
                </c:pt>
                <c:pt idx="8">
                  <c:v>0.16151224047102572</c:v>
                </c:pt>
                <c:pt idx="9">
                  <c:v>0.17053908664301248</c:v>
                </c:pt>
                <c:pt idx="10">
                  <c:v>0.175946173254836</c:v>
                </c:pt>
                <c:pt idx="11">
                  <c:v>0.18972096351061293</c:v>
                </c:pt>
                <c:pt idx="12">
                  <c:v>0.1918911282727444</c:v>
                </c:pt>
                <c:pt idx="13">
                  <c:v>0.17971974522292994</c:v>
                </c:pt>
                <c:pt idx="14">
                  <c:v>0.18025965379494008</c:v>
                </c:pt>
                <c:pt idx="15">
                  <c:v>0.1681607604837254</c:v>
                </c:pt>
                <c:pt idx="16">
                  <c:v>0.15210907541542396</c:v>
                </c:pt>
                <c:pt idx="17">
                  <c:v>0.14281505487221036</c:v>
                </c:pt>
                <c:pt idx="18">
                  <c:v>0.13417873361322938</c:v>
                </c:pt>
                <c:pt idx="19">
                  <c:v>0.14569313593539704</c:v>
                </c:pt>
                <c:pt idx="20">
                  <c:v>0.13632979713381724</c:v>
                </c:pt>
                <c:pt idx="21">
                  <c:v>0.14058355437665782</c:v>
                </c:pt>
                <c:pt idx="22">
                  <c:v>0.15188244127426795</c:v>
                </c:pt>
                <c:pt idx="23">
                  <c:v>0.1577770323157777</c:v>
                </c:pt>
                <c:pt idx="24">
                  <c:v>0.14989669421487603</c:v>
                </c:pt>
                <c:pt idx="25">
                  <c:v>0.15213358070500926</c:v>
                </c:pt>
                <c:pt idx="26">
                  <c:v>0.13166019320784783</c:v>
                </c:pt>
                <c:pt idx="27">
                  <c:v>0.13252032520325202</c:v>
                </c:pt>
                <c:pt idx="28">
                  <c:v>0.14178495676293032</c:v>
                </c:pt>
                <c:pt idx="29">
                  <c:v>0.1449901768172888</c:v>
                </c:pt>
                <c:pt idx="30">
                  <c:v>0.15117807665082414</c:v>
                </c:pt>
                <c:pt idx="31">
                  <c:v>0.14854054054054053</c:v>
                </c:pt>
                <c:pt idx="32">
                  <c:v>0.15479184129645152</c:v>
                </c:pt>
                <c:pt idx="33">
                  <c:v>0.16873576728127526</c:v>
                </c:pt>
                <c:pt idx="34">
                  <c:v>0.18939069852716495</c:v>
                </c:pt>
                <c:pt idx="35">
                  <c:v>0.18143621084797557</c:v>
                </c:pt>
                <c:pt idx="36">
                  <c:v>0.15709898417198204</c:v>
                </c:pt>
                <c:pt idx="37">
                  <c:v>0.14297926907458858</c:v>
                </c:pt>
                <c:pt idx="38">
                  <c:v>0.14674626865671642</c:v>
                </c:pt>
                <c:pt idx="39">
                  <c:v>0.1626687988628287</c:v>
                </c:pt>
                <c:pt idx="40">
                  <c:v>0.14360404322063436</c:v>
                </c:pt>
                <c:pt idx="41">
                  <c:v>0.14487200391325616</c:v>
                </c:pt>
                <c:pt idx="42">
                  <c:v>0.1423041474654378</c:v>
                </c:pt>
                <c:pt idx="43">
                  <c:v>0.1357321948905604</c:v>
                </c:pt>
                <c:pt idx="44">
                  <c:v>0.12983379036319884</c:v>
                </c:pt>
                <c:pt idx="45">
                  <c:v>0.14291586172880102</c:v>
                </c:pt>
                <c:pt idx="46">
                  <c:v>0.13999140277976788</c:v>
                </c:pt>
                <c:pt idx="47">
                  <c:v>0.14172983996098773</c:v>
                </c:pt>
                <c:pt idx="48">
                  <c:v>0.13164407343109372</c:v>
                </c:pt>
                <c:pt idx="49">
                  <c:v>0.14696452219976303</c:v>
                </c:pt>
                <c:pt idx="50">
                  <c:v>0.17643815915627997</c:v>
                </c:pt>
                <c:pt idx="51">
                  <c:v>0.164239928683618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199915435804776</c:v>
                </c:pt>
              </c:numCache>
            </c:numRef>
          </c:xVal>
          <c:yVal>
            <c:numRef>
              <c:f>Sheet1!$B$163:$B$164</c:f>
              <c:numCache>
                <c:formatCode>General</c:formatCode>
                <c:ptCount val="2"/>
                <c:pt idx="0">
                  <c:v>0.19277845745535366</c:v>
                </c:pt>
                <c:pt idx="1">
                  <c:v>0.192778457455353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199915435804776</c:v>
                </c:pt>
                <c:pt idx="1">
                  <c:v>1.5199915435804776</c:v>
                </c:pt>
              </c:numCache>
            </c:numRef>
          </c:xVal>
          <c:yVal>
            <c:numRef>
              <c:f>Sheet1!$B$167:$B$168</c:f>
              <c:numCache>
                <c:formatCode>General</c:formatCode>
                <c:ptCount val="2"/>
                <c:pt idx="0">
                  <c:v>0.192778457455353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5995221295371</c:v>
                </c:pt>
              </c:numCache>
            </c:numRef>
          </c:xVal>
          <c:yVal>
            <c:numRef>
              <c:f>Sheet1!$B$171:$B$172</c:f>
              <c:numCache>
                <c:formatCode>General</c:formatCode>
                <c:ptCount val="2"/>
                <c:pt idx="0">
                  <c:v>0.17131292382625649</c:v>
                </c:pt>
                <c:pt idx="1">
                  <c:v>0.1713129238262564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5995221295371</c:v>
                </c:pt>
                <c:pt idx="1">
                  <c:v>0.835995221295371</c:v>
                </c:pt>
              </c:numCache>
            </c:numRef>
          </c:xVal>
          <c:yVal>
            <c:numRef>
              <c:f>Sheet1!$B$175:$B$176</c:f>
              <c:numCache>
                <c:formatCode>General</c:formatCode>
                <c:ptCount val="2"/>
                <c:pt idx="0">
                  <c:v>0.1713129238262564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4150795682015517</c:v>
                </c:pt>
              </c:numCache>
            </c:numRef>
          </c:xVal>
          <c:yVal>
            <c:numRef>
              <c:f>Sheet1!$B$179:$B$180</c:f>
              <c:numCache>
                <c:formatCode>General</c:formatCode>
                <c:ptCount val="2"/>
                <c:pt idx="0">
                  <c:v>0.14637990512740215</c:v>
                </c:pt>
                <c:pt idx="1">
                  <c:v>0.14637990512740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4150795682015517</c:v>
                </c:pt>
                <c:pt idx="1">
                  <c:v>0.04150795682015517</c:v>
                </c:pt>
              </c:numCache>
            </c:numRef>
          </c:xVal>
          <c:yVal>
            <c:numRef>
              <c:f>Sheet1!$B$183:$B$184</c:f>
              <c:numCache>
                <c:formatCode>General</c:formatCode>
                <c:ptCount val="2"/>
                <c:pt idx="0">
                  <c:v>0.14637990512740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7555281657491</c:v>
                </c:pt>
                <c:pt idx="1">
                  <c:v>0.37282007945164614</c:v>
                </c:pt>
                <c:pt idx="2">
                  <c:v>0.3614906375094494</c:v>
                </c:pt>
                <c:pt idx="3">
                  <c:v>0.3910358121458551</c:v>
                </c:pt>
                <c:pt idx="4">
                  <c:v>0.3648610794516446</c:v>
                </c:pt>
                <c:pt idx="5">
                  <c:v>0.33705458021633083</c:v>
                </c:pt>
                <c:pt idx="6">
                  <c:v>0.382389080577446</c:v>
                </c:pt>
                <c:pt idx="7">
                  <c:v>0.41693536993085334</c:v>
                </c:pt>
                <c:pt idx="8">
                  <c:v>0.4018676267556304</c:v>
                </c:pt>
                <c:pt idx="9">
                  <c:v>0.3925295496979129</c:v>
                </c:pt>
                <c:pt idx="10">
                  <c:v>0.42465562136561913</c:v>
                </c:pt>
                <c:pt idx="11">
                  <c:v>0.40189269443172787</c:v>
                </c:pt>
                <c:pt idx="12">
                  <c:v>0.431731731926486</c:v>
                </c:pt>
                <c:pt idx="13">
                  <c:v>0.4673894644203906</c:v>
                </c:pt>
                <c:pt idx="14">
                  <c:v>0.47476853492412024</c:v>
                </c:pt>
                <c:pt idx="15">
                  <c:v>0.431998795150836</c:v>
                </c:pt>
                <c:pt idx="16">
                  <c:v>0.42161986396137024</c:v>
                </c:pt>
                <c:pt idx="17">
                  <c:v>0.3902056709399948</c:v>
                </c:pt>
                <c:pt idx="18">
                  <c:v>0.38077344877463715</c:v>
                </c:pt>
                <c:pt idx="19">
                  <c:v>0.39627800625423654</c:v>
                </c:pt>
                <c:pt idx="20">
                  <c:v>0.38919816512937605</c:v>
                </c:pt>
                <c:pt idx="21">
                  <c:v>0.35860928919215573</c:v>
                </c:pt>
                <c:pt idx="22">
                  <c:v>0.3402065836653856</c:v>
                </c:pt>
                <c:pt idx="23">
                  <c:v>0.3344335601719646</c:v>
                </c:pt>
                <c:pt idx="24">
                  <c:v>0.34668351343575704</c:v>
                </c:pt>
                <c:pt idx="25">
                  <c:v>0.33267873629569233</c:v>
                </c:pt>
                <c:pt idx="26">
                  <c:v>0.3481623799092647</c:v>
                </c:pt>
                <c:pt idx="27">
                  <c:v>0.3639411098935378</c:v>
                </c:pt>
                <c:pt idx="28">
                  <c:v>0.4030601901909285</c:v>
                </c:pt>
                <c:pt idx="29">
                  <c:v>0.4039024833548634</c:v>
                </c:pt>
                <c:pt idx="30">
                  <c:v>0.38866804786874637</c:v>
                </c:pt>
                <c:pt idx="31">
                  <c:v>0.30027988500878106</c:v>
                </c:pt>
                <c:pt idx="32">
                  <c:v>0.28820356805264025</c:v>
                </c:pt>
                <c:pt idx="33">
                  <c:v>0.284866038692849</c:v>
                </c:pt>
                <c:pt idx="34">
                  <c:v>0.3093735798120944</c:v>
                </c:pt>
                <c:pt idx="35">
                  <c:v>0.30376812849872237</c:v>
                </c:pt>
                <c:pt idx="36">
                  <c:v>0.30848402595815383</c:v>
                </c:pt>
                <c:pt idx="37">
                  <c:v>0.31646852391171154</c:v>
                </c:pt>
                <c:pt idx="38">
                  <c:v>0.3230470200413421</c:v>
                </c:pt>
                <c:pt idx="39">
                  <c:v>0.3307519755149291</c:v>
                </c:pt>
                <c:pt idx="40">
                  <c:v>0.33769081209842644</c:v>
                </c:pt>
                <c:pt idx="41">
                  <c:v>0.35457810894532</c:v>
                </c:pt>
                <c:pt idx="42">
                  <c:v>0.3440941141026454</c:v>
                </c:pt>
                <c:pt idx="43">
                  <c:v>0.37555259615405945</c:v>
                </c:pt>
                <c:pt idx="44">
                  <c:v>0.40901941590137564</c:v>
                </c:pt>
                <c:pt idx="45">
                  <c:v>0.42338041176582514</c:v>
                </c:pt>
                <c:pt idx="46">
                  <c:v>0.3884412571533058</c:v>
                </c:pt>
                <c:pt idx="47">
                  <c:v>0.4144802120243053</c:v>
                </c:pt>
                <c:pt idx="48">
                  <c:v>0.4268283240360771</c:v>
                </c:pt>
                <c:pt idx="49">
                  <c:v>0.45817269940943006</c:v>
                </c:pt>
                <c:pt idx="50">
                  <c:v>0.4311808289362428</c:v>
                </c:pt>
                <c:pt idx="51">
                  <c:v>0.36625302438224755</c:v>
                </c:pt>
                <c:pt idx="52">
                  <c:v>0.835995221295371</c:v>
                </c:pt>
                <c:pt idx="53">
                  <c:v>1.5199915435804776</c:v>
                </c:pt>
                <c:pt idx="54">
                  <c:v>0.04150795682015517</c:v>
                </c:pt>
              </c:numCache>
            </c:numRef>
          </c:xVal>
          <c:yVal>
            <c:numRef>
              <c:f>Sheet1!$B$187:$B$241</c:f>
              <c:numCache>
                <c:formatCode>General</c:formatCode>
                <c:ptCount val="55"/>
                <c:pt idx="0">
                  <c:v>0.15643008345203088</c:v>
                </c:pt>
                <c:pt idx="1">
                  <c:v>0.15677731704083853</c:v>
                </c:pt>
                <c:pt idx="2">
                  <c:v>0.156421770513634</c:v>
                </c:pt>
                <c:pt idx="3">
                  <c:v>0.15734897277930784</c:v>
                </c:pt>
                <c:pt idx="4">
                  <c:v>0.1565275435017305</c:v>
                </c:pt>
                <c:pt idx="5">
                  <c:v>0.1556549052652426</c:v>
                </c:pt>
                <c:pt idx="6">
                  <c:v>0.1570776164851053</c:v>
                </c:pt>
                <c:pt idx="7">
                  <c:v>0.15816176637263493</c:v>
                </c:pt>
                <c:pt idx="8">
                  <c:v>0.15768890250289685</c:v>
                </c:pt>
                <c:pt idx="9">
                  <c:v>0.15739585003962647</c:v>
                </c:pt>
                <c:pt idx="10">
                  <c:v>0.1584040473782468</c:v>
                </c:pt>
                <c:pt idx="11">
                  <c:v>0.15768968918993995</c:v>
                </c:pt>
                <c:pt idx="12">
                  <c:v>0.15862611361494824</c:v>
                </c:pt>
                <c:pt idx="13">
                  <c:v>0.15974514339778123</c:v>
                </c:pt>
                <c:pt idx="14">
                  <c:v>0.15997671728332513</c:v>
                </c:pt>
                <c:pt idx="15">
                  <c:v>0.15863449473402244</c:v>
                </c:pt>
                <c:pt idx="16">
                  <c:v>0.15830877763698126</c:v>
                </c:pt>
                <c:pt idx="17">
                  <c:v>0.15732292084980073</c:v>
                </c:pt>
                <c:pt idx="18">
                  <c:v>0.15702691387506848</c:v>
                </c:pt>
                <c:pt idx="19">
                  <c:v>0.15751348608187618</c:v>
                </c:pt>
                <c:pt idx="20">
                  <c:v>0.1572913027706463</c:v>
                </c:pt>
                <c:pt idx="21">
                  <c:v>0.15633134651983915</c:v>
                </c:pt>
                <c:pt idx="22">
                  <c:v>0.15575382310124597</c:v>
                </c:pt>
                <c:pt idx="23">
                  <c:v>0.1555726510307214</c:v>
                </c:pt>
                <c:pt idx="24">
                  <c:v>0.15595708553010632</c:v>
                </c:pt>
                <c:pt idx="25">
                  <c:v>0.1555175802215635</c:v>
                </c:pt>
                <c:pt idx="26">
                  <c:v>0.1560034960983883</c:v>
                </c:pt>
                <c:pt idx="27">
                  <c:v>0.15649867253145788</c:v>
                </c:pt>
                <c:pt idx="28">
                  <c:v>0.15772632815811047</c:v>
                </c:pt>
                <c:pt idx="29">
                  <c:v>0.15775276144678022</c:v>
                </c:pt>
                <c:pt idx="30">
                  <c:v>0.15727466635095416</c:v>
                </c:pt>
                <c:pt idx="31">
                  <c:v>0.15450082236894827</c:v>
                </c:pt>
                <c:pt idx="32">
                  <c:v>0.1541218370158229</c:v>
                </c:pt>
                <c:pt idx="33">
                  <c:v>0.1540170969077601</c:v>
                </c:pt>
                <c:pt idx="34">
                  <c:v>0.15478620549931532</c:v>
                </c:pt>
                <c:pt idx="35">
                  <c:v>0.15461029226739695</c:v>
                </c:pt>
                <c:pt idx="36">
                  <c:v>0.15475828905072556</c:v>
                </c:pt>
                <c:pt idx="37">
                  <c:v>0.155008862780071</c:v>
                </c:pt>
                <c:pt idx="38">
                  <c:v>0.1552153126180288</c:v>
                </c:pt>
                <c:pt idx="39">
                  <c:v>0.15545711359771305</c:v>
                </c:pt>
                <c:pt idx="40">
                  <c:v>0.1556748718299975</c:v>
                </c:pt>
                <c:pt idx="41">
                  <c:v>0.1562048378934999</c:v>
                </c:pt>
                <c:pt idx="42">
                  <c:v>0.1558758236334365</c:v>
                </c:pt>
                <c:pt idx="43">
                  <c:v>0.15686307032233537</c:v>
                </c:pt>
                <c:pt idx="44">
                  <c:v>0.15791334372489543</c:v>
                </c:pt>
                <c:pt idx="45">
                  <c:v>0.1583640280774747</c:v>
                </c:pt>
                <c:pt idx="46">
                  <c:v>0.15726754908501217</c:v>
                </c:pt>
                <c:pt idx="47">
                  <c:v>0.15808471731127202</c:v>
                </c:pt>
                <c:pt idx="48">
                  <c:v>0.1584722322802985</c:v>
                </c:pt>
                <c:pt idx="49">
                  <c:v>0.15945589801319598</c:v>
                </c:pt>
                <c:pt idx="50">
                  <c:v>0.15860882488651779</c:v>
                </c:pt>
                <c:pt idx="51">
                  <c:v>0.15657122625227204</c:v>
                </c:pt>
                <c:pt idx="52">
                  <c:v>0.17131292382625649</c:v>
                </c:pt>
                <c:pt idx="53">
                  <c:v>0.19277845745535366</c:v>
                </c:pt>
                <c:pt idx="54">
                  <c:v>0.14637990512740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7132093059383"/>
          <c:min val="0.095989349309369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8.0768</c:v>
                </c:pt>
                <c:pt idx="1">
                  <c:v>916.4454</c:v>
                </c:pt>
                <c:pt idx="2">
                  <c:v>973.2662</c:v>
                </c:pt>
                <c:pt idx="3">
                  <c:v>993.4772</c:v>
                </c:pt>
                <c:pt idx="4">
                  <c:v>999.8854</c:v>
                </c:pt>
                <c:pt idx="5">
                  <c:v>1005.9569</c:v>
                </c:pt>
                <c:pt idx="6">
                  <c:v>957.95</c:v>
                </c:pt>
                <c:pt idx="7">
                  <c:v>985.7156</c:v>
                </c:pt>
                <c:pt idx="8">
                  <c:v>978.6363</c:v>
                </c:pt>
                <c:pt idx="9">
                  <c:v>952.908</c:v>
                </c:pt>
                <c:pt idx="10">
                  <c:v>946.3103</c:v>
                </c:pt>
                <c:pt idx="11">
                  <c:v>991.5789</c:v>
                </c:pt>
                <c:pt idx="12">
                  <c:v>980.9283</c:v>
                </c:pt>
                <c:pt idx="13">
                  <c:v>963.4357</c:v>
                </c:pt>
                <c:pt idx="14">
                  <c:v>965.9433</c:v>
                </c:pt>
                <c:pt idx="15">
                  <c:v>975.7584</c:v>
                </c:pt>
                <c:pt idx="16">
                  <c:v>973.2881</c:v>
                </c:pt>
                <c:pt idx="17">
                  <c:v>995.3728</c:v>
                </c:pt>
                <c:pt idx="18">
                  <c:v>1040.0574</c:v>
                </c:pt>
                <c:pt idx="19">
                  <c:v>1066.1558</c:v>
                </c:pt>
                <c:pt idx="20">
                  <c:v>1061.9054</c:v>
                </c:pt>
                <c:pt idx="21">
                  <c:v>1083.0396</c:v>
                </c:pt>
                <c:pt idx="22">
                  <c:v>1075.7721</c:v>
                </c:pt>
                <c:pt idx="23">
                  <c:v>1052.7532</c:v>
                </c:pt>
                <c:pt idx="24">
                  <c:v>1051.8393</c:v>
                </c:pt>
                <c:pt idx="25">
                  <c:v>1037.7616</c:v>
                </c:pt>
                <c:pt idx="26">
                  <c:v>1050.4823</c:v>
                </c:pt>
                <c:pt idx="27">
                  <c:v>1066.6304</c:v>
                </c:pt>
                <c:pt idx="28">
                  <c:v>1060.2192</c:v>
                </c:pt>
                <c:pt idx="29">
                  <c:v>924.2365</c:v>
                </c:pt>
                <c:pt idx="30">
                  <c:v>976.5687</c:v>
                </c:pt>
                <c:pt idx="31">
                  <c:v>1007.6728</c:v>
                </c:pt>
                <c:pt idx="32">
                  <c:v>978.6691</c:v>
                </c:pt>
                <c:pt idx="33">
                  <c:v>918.0265</c:v>
                </c:pt>
                <c:pt idx="34">
                  <c:v>1004.5253</c:v>
                </c:pt>
                <c:pt idx="35">
                  <c:v>1075.1947</c:v>
                </c:pt>
                <c:pt idx="36">
                  <c:v>1136.959</c:v>
                </c:pt>
                <c:pt idx="37">
                  <c:v>1142.575</c:v>
                </c:pt>
                <c:pt idx="38">
                  <c:v>1200.8152</c:v>
                </c:pt>
                <c:pt idx="39">
                  <c:v>1202.543</c:v>
                </c:pt>
                <c:pt idx="40">
                  <c:v>1221.5599</c:v>
                </c:pt>
                <c:pt idx="41">
                  <c:v>1260.2164</c:v>
                </c:pt>
                <c:pt idx="42">
                  <c:v>1297.5677</c:v>
                </c:pt>
                <c:pt idx="43">
                  <c:v>1291.8692</c:v>
                </c:pt>
                <c:pt idx="44">
                  <c:v>1116.0319</c:v>
                </c:pt>
                <c:pt idx="45">
                  <c:v>1048.0719</c:v>
                </c:pt>
                <c:pt idx="46">
                  <c:v>1037.8474</c:v>
                </c:pt>
                <c:pt idx="47">
                  <c:v>1015.2681</c:v>
                </c:pt>
                <c:pt idx="48">
                  <c:v>1016.6297</c:v>
                </c:pt>
                <c:pt idx="49">
                  <c:v>991.8848</c:v>
                </c:pt>
                <c:pt idx="50">
                  <c:v>997.4123</c:v>
                </c:pt>
                <c:pt idx="51">
                  <c:v>1027.3714</c:v>
                </c:pt>
                <c:pt idx="52">
                  <c:v>1042.1132</c:v>
                </c:pt>
                <c:pt idx="53">
                  <c:v>1088.7401</c:v>
                </c:pt>
                <c:pt idx="54">
                  <c:v>1097.4243</c:v>
                </c:pt>
                <c:pt idx="55">
                  <c:v>1113.8917</c:v>
                </c:pt>
                <c:pt idx="56">
                  <c:v>1136.9697</c:v>
                </c:pt>
                <c:pt idx="57">
                  <c:v>1112.7727</c:v>
                </c:pt>
                <c:pt idx="58">
                  <c:v>1089.8229</c:v>
                </c:pt>
                <c:pt idx="59">
                  <c:v>1069.8963</c:v>
                </c:pt>
                <c:pt idx="60">
                  <c:v>1094.5679</c:v>
                </c:pt>
                <c:pt idx="61">
                  <c:v>1095.9536</c:v>
                </c:pt>
                <c:pt idx="62">
                  <c:v>1081.5071</c:v>
                </c:pt>
                <c:pt idx="63">
                  <c:v>1109.556</c:v>
                </c:pt>
                <c:pt idx="64">
                  <c:v>1098.4847</c:v>
                </c:pt>
                <c:pt idx="65">
                  <c:v>1080.0896</c:v>
                </c:pt>
                <c:pt idx="66">
                  <c:v>1026.189</c:v>
                </c:pt>
                <c:pt idx="67">
                  <c:v>996.159</c:v>
                </c:pt>
                <c:pt idx="68">
                  <c:v>976.7234</c:v>
                </c:pt>
                <c:pt idx="69">
                  <c:v>977.5571</c:v>
                </c:pt>
                <c:pt idx="70">
                  <c:v>950.6264</c:v>
                </c:pt>
                <c:pt idx="71">
                  <c:v>1014.5781</c:v>
                </c:pt>
                <c:pt idx="72">
                  <c:v>1059.4392</c:v>
                </c:pt>
                <c:pt idx="73">
                  <c:v>1063.3914</c:v>
                </c:pt>
                <c:pt idx="74">
                  <c:v>1013.4944</c:v>
                </c:pt>
                <c:pt idx="75">
                  <c:v>1033.0728</c:v>
                </c:pt>
                <c:pt idx="76">
                  <c:v>1063.8823</c:v>
                </c:pt>
                <c:pt idx="77">
                  <c:v>1039.3655</c:v>
                </c:pt>
                <c:pt idx="78">
                  <c:v>1108.1286</c:v>
                </c:pt>
                <c:pt idx="79">
                  <c:v>659.1565</c:v>
                </c:pt>
                <c:pt idx="80">
                  <c:v>662.834</c:v>
                </c:pt>
                <c:pt idx="81">
                  <c:v>881.4125</c:v>
                </c:pt>
                <c:pt idx="82">
                  <c:v>879.4305</c:v>
                </c:pt>
                <c:pt idx="83">
                  <c:v>919.1668</c:v>
                </c:pt>
                <c:pt idx="84">
                  <c:v>919.2861</c:v>
                </c:pt>
                <c:pt idx="85">
                  <c:v>973.841</c:v>
                </c:pt>
                <c:pt idx="86">
                  <c:v>1109.7202</c:v>
                </c:pt>
                <c:pt idx="87">
                  <c:v>1139.8011</c:v>
                </c:pt>
                <c:pt idx="88">
                  <c:v>1146.0659</c:v>
                </c:pt>
                <c:pt idx="89">
                  <c:v>1096.543</c:v>
                </c:pt>
                <c:pt idx="90">
                  <c:v>1153.203</c:v>
                </c:pt>
                <c:pt idx="91">
                  <c:v>1164.969</c:v>
                </c:pt>
                <c:pt idx="92">
                  <c:v>1165.173</c:v>
                </c:pt>
                <c:pt idx="93">
                  <c:v>1227.9288</c:v>
                </c:pt>
                <c:pt idx="94">
                  <c:v>1216.8718</c:v>
                </c:pt>
                <c:pt idx="95">
                  <c:v>1223.4707</c:v>
                </c:pt>
                <c:pt idx="96">
                  <c:v>1145.4061</c:v>
                </c:pt>
                <c:pt idx="97">
                  <c:v>1172.2744</c:v>
                </c:pt>
                <c:pt idx="98">
                  <c:v>1166.8804</c:v>
                </c:pt>
                <c:pt idx="99">
                  <c:v>1132.0195</c:v>
                </c:pt>
                <c:pt idx="100">
                  <c:v>1145.0026</c:v>
                </c:pt>
                <c:pt idx="101">
                  <c:v>1163.051</c:v>
                </c:pt>
                <c:pt idx="102">
                  <c:v>1193.6356</c:v>
                </c:pt>
                <c:pt idx="103">
                  <c:v>1024.2446</c:v>
                </c:pt>
                <c:pt idx="104">
                  <c:v>1121.9021</c:v>
                </c:pt>
              </c:numCache>
            </c:numRef>
          </c:xVal>
          <c:yVal>
            <c:numRef>
              <c:f>Sheet1!$B$2:$B$106</c:f>
              <c:numCache>
                <c:formatCode>General</c:formatCode>
                <c:ptCount val="105"/>
                <c:pt idx="0">
                  <c:v>0.21068205355821867</c:v>
                </c:pt>
                <c:pt idx="1">
                  <c:v>0.21077320402677488</c:v>
                </c:pt>
                <c:pt idx="2">
                  <c:v>0.18580294802172226</c:v>
                </c:pt>
                <c:pt idx="3">
                  <c:v>0.18233072984016965</c:v>
                </c:pt>
                <c:pt idx="4">
                  <c:v>0.18033191436856066</c:v>
                </c:pt>
                <c:pt idx="5">
                  <c:v>0.1653756301487766</c:v>
                </c:pt>
                <c:pt idx="6">
                  <c:v>0.18422598073760865</c:v>
                </c:pt>
                <c:pt idx="7">
                  <c:v>0.17780831329440056</c:v>
                </c:pt>
                <c:pt idx="8">
                  <c:v>0.18928440366972477</c:v>
                </c:pt>
                <c:pt idx="9">
                  <c:v>0.1935850420949331</c:v>
                </c:pt>
                <c:pt idx="10">
                  <c:v>0.20601934790397708</c:v>
                </c:pt>
                <c:pt idx="11">
                  <c:v>0.1979285908967021</c:v>
                </c:pt>
                <c:pt idx="12">
                  <c:v>0.20292000612588698</c:v>
                </c:pt>
                <c:pt idx="13">
                  <c:v>0.21586455557297382</c:v>
                </c:pt>
                <c:pt idx="14">
                  <c:v>0.20762380877987816</c:v>
                </c:pt>
                <c:pt idx="15">
                  <c:v>0.20610499107637392</c:v>
                </c:pt>
                <c:pt idx="16">
                  <c:v>0.1953637760089373</c:v>
                </c:pt>
                <c:pt idx="17">
                  <c:v>0.18828932261768083</c:v>
                </c:pt>
                <c:pt idx="18">
                  <c:v>0.1723512934585599</c:v>
                </c:pt>
                <c:pt idx="19">
                  <c:v>0.1564017134697763</c:v>
                </c:pt>
                <c:pt idx="20">
                  <c:v>0.16742994644104633</c:v>
                </c:pt>
                <c:pt idx="21">
                  <c:v>0.16912778105926363</c:v>
                </c:pt>
                <c:pt idx="22">
                  <c:v>0.16682313180623357</c:v>
                </c:pt>
                <c:pt idx="23">
                  <c:v>0.18079497059419997</c:v>
                </c:pt>
                <c:pt idx="24">
                  <c:v>0.1834593572778828</c:v>
                </c:pt>
                <c:pt idx="25">
                  <c:v>0.18036703225105874</c:v>
                </c:pt>
                <c:pt idx="26">
                  <c:v>0.18198911429985157</c:v>
                </c:pt>
                <c:pt idx="27">
                  <c:v>0.1702891702891703</c:v>
                </c:pt>
                <c:pt idx="28">
                  <c:v>0.16861758730772952</c:v>
                </c:pt>
                <c:pt idx="29">
                  <c:v>0.1896479986685529</c:v>
                </c:pt>
                <c:pt idx="30">
                  <c:v>0.16508926650892666</c:v>
                </c:pt>
                <c:pt idx="31">
                  <c:v>0.16296518607442978</c:v>
                </c:pt>
                <c:pt idx="32">
                  <c:v>0.17077835150124307</c:v>
                </c:pt>
                <c:pt idx="33">
                  <c:v>0.18809895252952974</c:v>
                </c:pt>
                <c:pt idx="34">
                  <c:v>0.1789592161016949</c:v>
                </c:pt>
                <c:pt idx="35">
                  <c:v>0.17546389167502507</c:v>
                </c:pt>
                <c:pt idx="36">
                  <c:v>0.14068787487662288</c:v>
                </c:pt>
                <c:pt idx="37">
                  <c:v>0.13293566254793354</c:v>
                </c:pt>
                <c:pt idx="38">
                  <c:v>0.12916962384669978</c:v>
                </c:pt>
                <c:pt idx="39">
                  <c:v>0.13263509129669107</c:v>
                </c:pt>
                <c:pt idx="40">
                  <c:v>0.1310584327344104</c:v>
                </c:pt>
                <c:pt idx="41">
                  <c:v>0.1199866866367116</c:v>
                </c:pt>
                <c:pt idx="42">
                  <c:v>0.1265051605504587</c:v>
                </c:pt>
                <c:pt idx="43">
                  <c:v>0.127720207253886</c:v>
                </c:pt>
                <c:pt idx="44">
                  <c:v>0.15237467018469658</c:v>
                </c:pt>
                <c:pt idx="45">
                  <c:v>0.17770354599515453</c:v>
                </c:pt>
                <c:pt idx="46">
                  <c:v>0.18588713995074418</c:v>
                </c:pt>
                <c:pt idx="47">
                  <c:v>0.18817989340731547</c:v>
                </c:pt>
                <c:pt idx="48">
                  <c:v>0.20453364687867437</c:v>
                </c:pt>
                <c:pt idx="49">
                  <c:v>0.2393094341088282</c:v>
                </c:pt>
                <c:pt idx="50">
                  <c:v>0.2002034434690879</c:v>
                </c:pt>
                <c:pt idx="51">
                  <c:v>0.18278346605991658</c:v>
                </c:pt>
                <c:pt idx="52">
                  <c:v>0.1916060618372405</c:v>
                </c:pt>
                <c:pt idx="53">
                  <c:v>0.18145714846048244</c:v>
                </c:pt>
                <c:pt idx="54">
                  <c:v>0.17889249428161072</c:v>
                </c:pt>
                <c:pt idx="55">
                  <c:v>0.16838060186187487</c:v>
                </c:pt>
                <c:pt idx="56">
                  <c:v>0.17806972644031166</c:v>
                </c:pt>
                <c:pt idx="57">
                  <c:v>0.17253839205058719</c:v>
                </c:pt>
                <c:pt idx="58">
                  <c:v>0.18993794326241134</c:v>
                </c:pt>
                <c:pt idx="59">
                  <c:v>0.20242621238064834</c:v>
                </c:pt>
                <c:pt idx="60">
                  <c:v>0.21598137582792315</c:v>
                </c:pt>
                <c:pt idx="61">
                  <c:v>0.21327830937372455</c:v>
                </c:pt>
                <c:pt idx="62">
                  <c:v>0.2106469689251146</c:v>
                </c:pt>
                <c:pt idx="63">
                  <c:v>0.2280694765357342</c:v>
                </c:pt>
                <c:pt idx="64">
                  <c:v>0.21364367861208147</c:v>
                </c:pt>
                <c:pt idx="65">
                  <c:v>0.197419627749577</c:v>
                </c:pt>
                <c:pt idx="66">
                  <c:v>0.19830004249893754</c:v>
                </c:pt>
                <c:pt idx="67">
                  <c:v>0.19787843523408827</c:v>
                </c:pt>
                <c:pt idx="68">
                  <c:v>0.1793440334961619</c:v>
                </c:pt>
                <c:pt idx="69">
                  <c:v>0.1672203765227021</c:v>
                </c:pt>
                <c:pt idx="70">
                  <c:v>0.15778822300561432</c:v>
                </c:pt>
                <c:pt idx="71">
                  <c:v>0.16811256105562442</c:v>
                </c:pt>
                <c:pt idx="72">
                  <c:v>0.1679347453560902</c:v>
                </c:pt>
                <c:pt idx="73">
                  <c:v>0.16854688083675756</c:v>
                </c:pt>
                <c:pt idx="74">
                  <c:v>0.1720668840629987</c:v>
                </c:pt>
                <c:pt idx="75">
                  <c:v>0.1719734928074996</c:v>
                </c:pt>
                <c:pt idx="76">
                  <c:v>0.16542408560652574</c:v>
                </c:pt>
                <c:pt idx="77">
                  <c:v>0.162524941048431</c:v>
                </c:pt>
                <c:pt idx="78">
                  <c:v>0.1508088013664222</c:v>
                </c:pt>
                <c:pt idx="79">
                  <c:v>0.2317242505921751</c:v>
                </c:pt>
                <c:pt idx="80">
                  <c:v>0.2132651404448774</c:v>
                </c:pt>
                <c:pt idx="81">
                  <c:v>0.16552755232806493</c:v>
                </c:pt>
                <c:pt idx="82">
                  <c:v>0.1637258543833581</c:v>
                </c:pt>
                <c:pt idx="83">
                  <c:v>0.14526956156912105</c:v>
                </c:pt>
                <c:pt idx="84">
                  <c:v>0.14842339951162545</c:v>
                </c:pt>
                <c:pt idx="85">
                  <c:v>0.15041705282669138</c:v>
                </c:pt>
                <c:pt idx="86">
                  <c:v>0.13899121564182487</c:v>
                </c:pt>
                <c:pt idx="87">
                  <c:v>0.15536374845869297</c:v>
                </c:pt>
                <c:pt idx="88">
                  <c:v>0.13745644599303136</c:v>
                </c:pt>
                <c:pt idx="89">
                  <c:v>0.13562695479101508</c:v>
                </c:pt>
                <c:pt idx="90">
                  <c:v>0.13424844236760125</c:v>
                </c:pt>
                <c:pt idx="91">
                  <c:v>0.12619138391155166</c:v>
                </c:pt>
                <c:pt idx="92">
                  <c:v>0.13363351904144088</c:v>
                </c:pt>
                <c:pt idx="93">
                  <c:v>0.12787897034472376</c:v>
                </c:pt>
                <c:pt idx="94">
                  <c:v>0.13452201573748535</c:v>
                </c:pt>
                <c:pt idx="95">
                  <c:v>0.13523396343352959</c:v>
                </c:pt>
                <c:pt idx="96">
                  <c:v>0.13391465520872825</c:v>
                </c:pt>
                <c:pt idx="97">
                  <c:v>0.14201777546390987</c:v>
                </c:pt>
                <c:pt idx="98">
                  <c:v>0.1565883887801696</c:v>
                </c:pt>
                <c:pt idx="99">
                  <c:v>0.16453063518830804</c:v>
                </c:pt>
                <c:pt idx="100">
                  <c:v>0.18011297486093744</c:v>
                </c:pt>
                <c:pt idx="101">
                  <c:v>0.1679394945581996</c:v>
                </c:pt>
                <c:pt idx="102">
                  <c:v>0.1429156010230179</c:v>
                </c:pt>
                <c:pt idx="103">
                  <c:v>0.16579195263087068</c:v>
                </c:pt>
                <c:pt idx="104">
                  <c:v>0.164312873438348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5.2524</c:v>
                </c:pt>
                <c:pt idx="1">
                  <c:v>1177.6178</c:v>
                </c:pt>
                <c:pt idx="2">
                  <c:v>1157.9913</c:v>
                </c:pt>
                <c:pt idx="3">
                  <c:v>1196.1048</c:v>
                </c:pt>
                <c:pt idx="4">
                  <c:v>1191.6704</c:v>
                </c:pt>
                <c:pt idx="5">
                  <c:v>1199.9923</c:v>
                </c:pt>
                <c:pt idx="6">
                  <c:v>1129.8584</c:v>
                </c:pt>
                <c:pt idx="7">
                  <c:v>1201.0603</c:v>
                </c:pt>
                <c:pt idx="8">
                  <c:v>1285.4889</c:v>
                </c:pt>
                <c:pt idx="9">
                  <c:v>1242.206</c:v>
                </c:pt>
                <c:pt idx="10">
                  <c:v>1264.1718</c:v>
                </c:pt>
                <c:pt idx="11">
                  <c:v>1084.7079</c:v>
                </c:pt>
                <c:pt idx="12">
                  <c:v>1109.5104</c:v>
                </c:pt>
                <c:pt idx="13">
                  <c:v>1180.3927</c:v>
                </c:pt>
                <c:pt idx="14">
                  <c:v>1184.3724</c:v>
                </c:pt>
                <c:pt idx="15">
                  <c:v>1220.7914</c:v>
                </c:pt>
                <c:pt idx="16">
                  <c:v>1253.1881</c:v>
                </c:pt>
                <c:pt idx="17">
                  <c:v>1242.9892</c:v>
                </c:pt>
                <c:pt idx="18">
                  <c:v>1294.6239</c:v>
                </c:pt>
                <c:pt idx="19">
                  <c:v>1373.5006</c:v>
                </c:pt>
                <c:pt idx="20">
                  <c:v>1369.5481</c:v>
                </c:pt>
                <c:pt idx="21">
                  <c:v>1301.0936</c:v>
                </c:pt>
                <c:pt idx="22">
                  <c:v>1219.3171</c:v>
                </c:pt>
                <c:pt idx="23">
                  <c:v>1202.365</c:v>
                </c:pt>
                <c:pt idx="24">
                  <c:v>1226.9531</c:v>
                </c:pt>
                <c:pt idx="25">
                  <c:v>1185.9971</c:v>
                </c:pt>
                <c:pt idx="26">
                  <c:v>1273.6558</c:v>
                </c:pt>
                <c:pt idx="27">
                  <c:v>1294.2338</c:v>
                </c:pt>
                <c:pt idx="28">
                  <c:v>1256.3659</c:v>
                </c:pt>
                <c:pt idx="29">
                  <c:v>1262.2304</c:v>
                </c:pt>
                <c:pt idx="30">
                  <c:v>1237.5151</c:v>
                </c:pt>
                <c:pt idx="31">
                  <c:v>1178.4927</c:v>
                </c:pt>
                <c:pt idx="32">
                  <c:v>1175.0584</c:v>
                </c:pt>
                <c:pt idx="33">
                  <c:v>1219.7553</c:v>
                </c:pt>
                <c:pt idx="34">
                  <c:v>1259.3188</c:v>
                </c:pt>
                <c:pt idx="35">
                  <c:v>1234.1288</c:v>
                </c:pt>
                <c:pt idx="36">
                  <c:v>1263.0586</c:v>
                </c:pt>
                <c:pt idx="37">
                  <c:v>1312.7309</c:v>
                </c:pt>
                <c:pt idx="38">
                  <c:v>1295.9959</c:v>
                </c:pt>
                <c:pt idx="39">
                  <c:v>1252.361</c:v>
                </c:pt>
                <c:pt idx="40">
                  <c:v>1302.9672</c:v>
                </c:pt>
                <c:pt idx="41">
                  <c:v>1363.6511</c:v>
                </c:pt>
                <c:pt idx="42">
                  <c:v>1373.2921</c:v>
                </c:pt>
                <c:pt idx="43">
                  <c:v>1354.7444</c:v>
                </c:pt>
                <c:pt idx="44">
                  <c:v>1291.6935</c:v>
                </c:pt>
                <c:pt idx="45">
                  <c:v>1246.0221</c:v>
                </c:pt>
                <c:pt idx="46">
                  <c:v>1232.9754</c:v>
                </c:pt>
                <c:pt idx="47">
                  <c:v>1193.7382</c:v>
                </c:pt>
                <c:pt idx="48">
                  <c:v>1195.6633</c:v>
                </c:pt>
                <c:pt idx="49">
                  <c:v>1213.1335</c:v>
                </c:pt>
                <c:pt idx="50">
                  <c:v>1082.6613</c:v>
                </c:pt>
                <c:pt idx="51">
                  <c:v>1054.7971</c:v>
                </c:pt>
              </c:numCache>
            </c:numRef>
          </c:xVal>
          <c:yVal>
            <c:numRef>
              <c:f>Sheet1!$B$109:$B$160</c:f>
              <c:numCache>
                <c:formatCode>General</c:formatCode>
                <c:ptCount val="52"/>
                <c:pt idx="0">
                  <c:v>0.15626343187353742</c:v>
                </c:pt>
                <c:pt idx="1">
                  <c:v>0.1694440274233098</c:v>
                </c:pt>
                <c:pt idx="2">
                  <c:v>0.17688927943760985</c:v>
                </c:pt>
                <c:pt idx="3">
                  <c:v>0.18834202767067362</c:v>
                </c:pt>
                <c:pt idx="4">
                  <c:v>0.1774929694343276</c:v>
                </c:pt>
                <c:pt idx="5">
                  <c:v>0.1755782376627025</c:v>
                </c:pt>
                <c:pt idx="6">
                  <c:v>0.17105899419729206</c:v>
                </c:pt>
                <c:pt idx="7">
                  <c:v>0.16523510626582977</c:v>
                </c:pt>
                <c:pt idx="8">
                  <c:v>0.16151224047102572</c:v>
                </c:pt>
                <c:pt idx="9">
                  <c:v>0.17053908664301248</c:v>
                </c:pt>
                <c:pt idx="10">
                  <c:v>0.175946173254836</c:v>
                </c:pt>
                <c:pt idx="11">
                  <c:v>0.18972096351061293</c:v>
                </c:pt>
                <c:pt idx="12">
                  <c:v>0.1918911282727444</c:v>
                </c:pt>
                <c:pt idx="13">
                  <c:v>0.17971974522292994</c:v>
                </c:pt>
                <c:pt idx="14">
                  <c:v>0.18025965379494008</c:v>
                </c:pt>
                <c:pt idx="15">
                  <c:v>0.1681607604837254</c:v>
                </c:pt>
                <c:pt idx="16">
                  <c:v>0.15210907541542396</c:v>
                </c:pt>
                <c:pt idx="17">
                  <c:v>0.14281505487221036</c:v>
                </c:pt>
                <c:pt idx="18">
                  <c:v>0.13417873361322938</c:v>
                </c:pt>
                <c:pt idx="19">
                  <c:v>0.14569313593539704</c:v>
                </c:pt>
                <c:pt idx="20">
                  <c:v>0.13632979713381724</c:v>
                </c:pt>
                <c:pt idx="21">
                  <c:v>0.14058355437665782</c:v>
                </c:pt>
                <c:pt idx="22">
                  <c:v>0.15188244127426795</c:v>
                </c:pt>
                <c:pt idx="23">
                  <c:v>0.1577770323157777</c:v>
                </c:pt>
                <c:pt idx="24">
                  <c:v>0.14989669421487603</c:v>
                </c:pt>
                <c:pt idx="25">
                  <c:v>0.15213358070500926</c:v>
                </c:pt>
                <c:pt idx="26">
                  <c:v>0.13166019320784783</c:v>
                </c:pt>
                <c:pt idx="27">
                  <c:v>0.13252032520325202</c:v>
                </c:pt>
                <c:pt idx="28">
                  <c:v>0.14178495676293032</c:v>
                </c:pt>
                <c:pt idx="29">
                  <c:v>0.1449901768172888</c:v>
                </c:pt>
                <c:pt idx="30">
                  <c:v>0.15117807665082414</c:v>
                </c:pt>
                <c:pt idx="31">
                  <c:v>0.14854054054054053</c:v>
                </c:pt>
                <c:pt idx="32">
                  <c:v>0.15479184129645152</c:v>
                </c:pt>
                <c:pt idx="33">
                  <c:v>0.16873576728127526</c:v>
                </c:pt>
                <c:pt idx="34">
                  <c:v>0.18939069852716495</c:v>
                </c:pt>
                <c:pt idx="35">
                  <c:v>0.18143621084797557</c:v>
                </c:pt>
                <c:pt idx="36">
                  <c:v>0.15709898417198204</c:v>
                </c:pt>
                <c:pt idx="37">
                  <c:v>0.14297926907458858</c:v>
                </c:pt>
                <c:pt idx="38">
                  <c:v>0.14674626865671642</c:v>
                </c:pt>
                <c:pt idx="39">
                  <c:v>0.1626687988628287</c:v>
                </c:pt>
                <c:pt idx="40">
                  <c:v>0.14360404322063436</c:v>
                </c:pt>
                <c:pt idx="41">
                  <c:v>0.14487200391325616</c:v>
                </c:pt>
                <c:pt idx="42">
                  <c:v>0.1423041474654378</c:v>
                </c:pt>
                <c:pt idx="43">
                  <c:v>0.1357321948905604</c:v>
                </c:pt>
                <c:pt idx="44">
                  <c:v>0.12983379036319884</c:v>
                </c:pt>
                <c:pt idx="45">
                  <c:v>0.14291586172880102</c:v>
                </c:pt>
                <c:pt idx="46">
                  <c:v>0.13999140277976788</c:v>
                </c:pt>
                <c:pt idx="47">
                  <c:v>0.14172983996098773</c:v>
                </c:pt>
                <c:pt idx="48">
                  <c:v>0.13164407343109372</c:v>
                </c:pt>
                <c:pt idx="49">
                  <c:v>0.14696452219976303</c:v>
                </c:pt>
                <c:pt idx="50">
                  <c:v>0.17643815915627997</c:v>
                </c:pt>
                <c:pt idx="51">
                  <c:v>0.164239928683618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9.193275238557</c:v>
                </c:pt>
              </c:numCache>
            </c:numRef>
          </c:xVal>
          <c:yVal>
            <c:numRef>
              <c:f>Sheet1!$B$163:$B$164</c:f>
              <c:numCache>
                <c:formatCode>General</c:formatCode>
                <c:ptCount val="2"/>
                <c:pt idx="0">
                  <c:v>0.19277845745535366</c:v>
                </c:pt>
                <c:pt idx="1">
                  <c:v>0.192778457455353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9.193275238557</c:v>
                </c:pt>
                <c:pt idx="1">
                  <c:v>989.193275238557</c:v>
                </c:pt>
              </c:numCache>
            </c:numRef>
          </c:xVal>
          <c:yVal>
            <c:numRef>
              <c:f>Sheet1!$B$167:$B$168</c:f>
              <c:numCache>
                <c:formatCode>General</c:formatCode>
                <c:ptCount val="2"/>
                <c:pt idx="0">
                  <c:v>0.192778457455353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5.0320426923163</c:v>
                </c:pt>
              </c:numCache>
            </c:numRef>
          </c:xVal>
          <c:yVal>
            <c:numRef>
              <c:f>Sheet1!$B$171:$B$172</c:f>
              <c:numCache>
                <c:formatCode>General</c:formatCode>
                <c:ptCount val="2"/>
                <c:pt idx="0">
                  <c:v>0.17131292382625649</c:v>
                </c:pt>
                <c:pt idx="1">
                  <c:v>0.1713129238262564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5.0320426923163</c:v>
                </c:pt>
                <c:pt idx="1">
                  <c:v>1135.0320426923163</c:v>
                </c:pt>
              </c:numCache>
            </c:numRef>
          </c:xVal>
          <c:yVal>
            <c:numRef>
              <c:f>Sheet1!$B$175:$B$176</c:f>
              <c:numCache>
                <c:formatCode>General</c:formatCode>
                <c:ptCount val="2"/>
                <c:pt idx="0">
                  <c:v>0.1713129238262564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4.429215796528</c:v>
                </c:pt>
              </c:numCache>
            </c:numRef>
          </c:xVal>
          <c:yVal>
            <c:numRef>
              <c:f>Sheet1!$B$179:$B$180</c:f>
              <c:numCache>
                <c:formatCode>General</c:formatCode>
                <c:ptCount val="2"/>
                <c:pt idx="0">
                  <c:v>0.14637990512740215</c:v>
                </c:pt>
                <c:pt idx="1">
                  <c:v>0.14637990512740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4.429215796528</c:v>
                </c:pt>
                <c:pt idx="1">
                  <c:v>1304.429215796528</c:v>
                </c:pt>
              </c:numCache>
            </c:numRef>
          </c:xVal>
          <c:yVal>
            <c:numRef>
              <c:f>Sheet1!$B$183:$B$184</c:f>
              <c:numCache>
                <c:formatCode>General</c:formatCode>
                <c:ptCount val="2"/>
                <c:pt idx="0">
                  <c:v>0.14637990512740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5.2524</c:v>
                </c:pt>
                <c:pt idx="1">
                  <c:v>1177.6178</c:v>
                </c:pt>
                <c:pt idx="2">
                  <c:v>1157.9913</c:v>
                </c:pt>
                <c:pt idx="3">
                  <c:v>1196.1048</c:v>
                </c:pt>
                <c:pt idx="4">
                  <c:v>1191.6704</c:v>
                </c:pt>
                <c:pt idx="5">
                  <c:v>1199.9923</c:v>
                </c:pt>
                <c:pt idx="6">
                  <c:v>1129.8584</c:v>
                </c:pt>
                <c:pt idx="7">
                  <c:v>1201.0603</c:v>
                </c:pt>
                <c:pt idx="8">
                  <c:v>1285.4889</c:v>
                </c:pt>
                <c:pt idx="9">
                  <c:v>1242.206</c:v>
                </c:pt>
                <c:pt idx="10">
                  <c:v>1264.1718</c:v>
                </c:pt>
                <c:pt idx="11">
                  <c:v>1084.7079</c:v>
                </c:pt>
                <c:pt idx="12">
                  <c:v>1109.5104</c:v>
                </c:pt>
                <c:pt idx="13">
                  <c:v>1180.3927</c:v>
                </c:pt>
                <c:pt idx="14">
                  <c:v>1184.3724</c:v>
                </c:pt>
                <c:pt idx="15">
                  <c:v>1220.7914</c:v>
                </c:pt>
                <c:pt idx="16">
                  <c:v>1253.1881</c:v>
                </c:pt>
                <c:pt idx="17">
                  <c:v>1242.9892</c:v>
                </c:pt>
                <c:pt idx="18">
                  <c:v>1294.6239</c:v>
                </c:pt>
                <c:pt idx="19">
                  <c:v>1373.5006</c:v>
                </c:pt>
                <c:pt idx="20">
                  <c:v>1369.5481</c:v>
                </c:pt>
                <c:pt idx="21">
                  <c:v>1301.0936</c:v>
                </c:pt>
                <c:pt idx="22">
                  <c:v>1219.3171</c:v>
                </c:pt>
                <c:pt idx="23">
                  <c:v>1202.365</c:v>
                </c:pt>
                <c:pt idx="24">
                  <c:v>1226.9531</c:v>
                </c:pt>
                <c:pt idx="25">
                  <c:v>1185.9971</c:v>
                </c:pt>
                <c:pt idx="26">
                  <c:v>1273.6558</c:v>
                </c:pt>
                <c:pt idx="27">
                  <c:v>1294.2338</c:v>
                </c:pt>
                <c:pt idx="28">
                  <c:v>1256.3659</c:v>
                </c:pt>
                <c:pt idx="29">
                  <c:v>1262.2304</c:v>
                </c:pt>
                <c:pt idx="30">
                  <c:v>1237.5151</c:v>
                </c:pt>
                <c:pt idx="31">
                  <c:v>1178.4927</c:v>
                </c:pt>
                <c:pt idx="32">
                  <c:v>1175.0584</c:v>
                </c:pt>
                <c:pt idx="33">
                  <c:v>1219.7553</c:v>
                </c:pt>
                <c:pt idx="34">
                  <c:v>1259.3188</c:v>
                </c:pt>
                <c:pt idx="35">
                  <c:v>1234.1288</c:v>
                </c:pt>
                <c:pt idx="36">
                  <c:v>1263.0586</c:v>
                </c:pt>
                <c:pt idx="37">
                  <c:v>1312.7309</c:v>
                </c:pt>
                <c:pt idx="38">
                  <c:v>1295.9959</c:v>
                </c:pt>
                <c:pt idx="39">
                  <c:v>1252.361</c:v>
                </c:pt>
                <c:pt idx="40">
                  <c:v>1302.9672</c:v>
                </c:pt>
                <c:pt idx="41">
                  <c:v>1363.6511</c:v>
                </c:pt>
                <c:pt idx="42">
                  <c:v>1373.2921</c:v>
                </c:pt>
                <c:pt idx="43">
                  <c:v>1354.7444</c:v>
                </c:pt>
                <c:pt idx="44">
                  <c:v>1291.6935</c:v>
                </c:pt>
                <c:pt idx="45">
                  <c:v>1246.0221</c:v>
                </c:pt>
                <c:pt idx="46">
                  <c:v>1232.9754</c:v>
                </c:pt>
                <c:pt idx="47">
                  <c:v>1193.7382</c:v>
                </c:pt>
                <c:pt idx="48">
                  <c:v>1195.6633</c:v>
                </c:pt>
                <c:pt idx="49">
                  <c:v>1213.1335</c:v>
                </c:pt>
                <c:pt idx="50">
                  <c:v>1082.6613</c:v>
                </c:pt>
                <c:pt idx="51">
                  <c:v>1054.7971</c:v>
                </c:pt>
                <c:pt idx="52">
                  <c:v>1135.0320426923163</c:v>
                </c:pt>
                <c:pt idx="53">
                  <c:v>989.193275238557</c:v>
                </c:pt>
                <c:pt idx="54">
                  <c:v>1304.429215796528</c:v>
                </c:pt>
              </c:numCache>
            </c:numRef>
          </c:xVal>
          <c:yVal>
            <c:numRef>
              <c:f>Sheet1!$B$187:$B$241</c:f>
              <c:numCache>
                <c:formatCode>General</c:formatCode>
                <c:ptCount val="55"/>
                <c:pt idx="0">
                  <c:v>0.15950555046737058</c:v>
                </c:pt>
                <c:pt idx="1">
                  <c:v>0.16504486478016991</c:v>
                </c:pt>
                <c:pt idx="2">
                  <c:v>0.16793362545147122</c:v>
                </c:pt>
                <c:pt idx="3">
                  <c:v>0.16232382340598972</c:v>
                </c:pt>
                <c:pt idx="4">
                  <c:v>0.16297650831266278</c:v>
                </c:pt>
                <c:pt idx="5">
                  <c:v>0.16175163493073008</c:v>
                </c:pt>
                <c:pt idx="6">
                  <c:v>0.17207441545935095</c:v>
                </c:pt>
                <c:pt idx="7">
                  <c:v>0.1615944394859513</c:v>
                </c:pt>
                <c:pt idx="8">
                  <c:v>0.14916766857860522</c:v>
                </c:pt>
                <c:pt idx="9">
                  <c:v>0.15553833778910464</c:v>
                </c:pt>
                <c:pt idx="10">
                  <c:v>0.1523052631627744</c:v>
                </c:pt>
                <c:pt idx="11">
                  <c:v>0.1787199706367687</c:v>
                </c:pt>
                <c:pt idx="12">
                  <c:v>0.17506937136792555</c:v>
                </c:pt>
                <c:pt idx="13">
                  <c:v>0.16463643627856267</c:v>
                </c:pt>
                <c:pt idx="14">
                  <c:v>0.16405067718531746</c:v>
                </c:pt>
                <c:pt idx="15">
                  <c:v>0.15869028308101346</c:v>
                </c:pt>
                <c:pt idx="16">
                  <c:v>0.15392191822533635</c:v>
                </c:pt>
                <c:pt idx="17">
                  <c:v>0.15542306112960025</c:v>
                </c:pt>
                <c:pt idx="18">
                  <c:v>0.1478231176534613</c:v>
                </c:pt>
                <c:pt idx="19">
                  <c:v>0.13621351284149627</c:v>
                </c:pt>
                <c:pt idx="20">
                  <c:v>0.13679526845524906</c:v>
                </c:pt>
                <c:pt idx="21">
                  <c:v>0.14687086356255777</c:v>
                </c:pt>
                <c:pt idx="22">
                  <c:v>0.15890728050071132</c:v>
                </c:pt>
                <c:pt idx="23">
                  <c:v>0.16140240493838318</c:v>
                </c:pt>
                <c:pt idx="24">
                  <c:v>0.1577833625078926</c:v>
                </c:pt>
                <c:pt idx="25">
                  <c:v>0.16381154287901406</c:v>
                </c:pt>
                <c:pt idx="26">
                  <c:v>0.15090934406325993</c:v>
                </c:pt>
                <c:pt idx="27">
                  <c:v>0.1478805352030944</c:v>
                </c:pt>
                <c:pt idx="28">
                  <c:v>0.15345418818374662</c:v>
                </c:pt>
                <c:pt idx="29">
                  <c:v>0.15259101151155105</c:v>
                </c:pt>
                <c:pt idx="30">
                  <c:v>0.15622877609613886</c:v>
                </c:pt>
                <c:pt idx="31">
                  <c:v>0.16491609109605293</c:v>
                </c:pt>
                <c:pt idx="32">
                  <c:v>0.1654215745380039</c:v>
                </c:pt>
                <c:pt idx="33">
                  <c:v>0.15884278326859327</c:v>
                </c:pt>
                <c:pt idx="34">
                  <c:v>0.15301956044134296</c:v>
                </c:pt>
                <c:pt idx="35">
                  <c:v>0.15672719457427953</c:v>
                </c:pt>
                <c:pt idx="36">
                  <c:v>0.1524691114484745</c:v>
                </c:pt>
                <c:pt idx="37">
                  <c:v>0.14515800724277916</c:v>
                </c:pt>
                <c:pt idx="38">
                  <c:v>0.14762117743788414</c:v>
                </c:pt>
                <c:pt idx="39">
                  <c:v>0.15404365638299225</c:v>
                </c:pt>
                <c:pt idx="40">
                  <c:v>0.14659509447516317</c:v>
                </c:pt>
                <c:pt idx="41">
                  <c:v>0.13766322869669115</c:v>
                </c:pt>
                <c:pt idx="42">
                  <c:v>0.1362442012780472</c:v>
                </c:pt>
                <c:pt idx="43">
                  <c:v>0.13897417688771244</c:v>
                </c:pt>
                <c:pt idx="44">
                  <c:v>0.14825443369407887</c:v>
                </c:pt>
                <c:pt idx="45">
                  <c:v>0.1549766584475128</c:v>
                </c:pt>
                <c:pt idx="46">
                  <c:v>0.15689695976717072</c:v>
                </c:pt>
                <c:pt idx="47">
                  <c:v>0.16267215555918577</c:v>
                </c:pt>
                <c:pt idx="48">
                  <c:v>0.16238880635436972</c:v>
                </c:pt>
                <c:pt idx="49">
                  <c:v>0.15981742446357064</c:v>
                </c:pt>
                <c:pt idx="50">
                  <c:v>0.17902120303122954</c:v>
                </c:pt>
                <c:pt idx="51">
                  <c:v>0.18312244396044633</c:v>
                </c:pt>
                <c:pt idx="52">
                  <c:v>0.17131292382625649</c:v>
                </c:pt>
                <c:pt idx="53">
                  <c:v>0.19277845745535366</c:v>
                </c:pt>
                <c:pt idx="54">
                  <c:v>0.14637990512740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5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7132093059383"/>
          <c:min val="0.095989349309369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31880744500287</c:v>
                </c:pt>
                <c:pt idx="2">
                  <c:v>0.0</c:v>
                </c:pt>
                <c:pt idx="3">
                  <c:v>0.6953773242875346</c:v>
                </c:pt>
                <c:pt idx="4">
                  <c:v>0.6765410515074407</c:v>
                </c:pt>
                <c:pt idx="5">
                  <c:v>0.5006927548763972</c:v>
                </c:pt>
                <c:pt idx="6">
                  <c:v>0.3387921084360728</c:v>
                </c:pt>
                <c:pt idx="7">
                  <c:v>0.42588316182349595</c:v>
                </c:pt>
                <c:pt idx="8">
                  <c:v>0.5606695707216582</c:v>
                </c:pt>
                <c:pt idx="9">
                  <c:v>0.4489489177896222</c:v>
                </c:pt>
                <c:pt idx="10">
                  <c:v>0.4317334069725978</c:v>
                </c:pt>
                <c:pt idx="11">
                  <c:v>0.60318424036132</c:v>
                </c:pt>
                <c:pt idx="12">
                  <c:v>0.4666579023176571</c:v>
                </c:pt>
                <c:pt idx="13">
                  <c:v>0.4661346680087307</c:v>
                </c:pt>
                <c:pt idx="14">
                  <c:v>0.3905675480928253</c:v>
                </c:pt>
                <c:pt idx="15">
                  <c:v>0.3742411818113203</c:v>
                </c:pt>
                <c:pt idx="16">
                  <c:v>0.39806099716947474</c:v>
                </c:pt>
                <c:pt idx="17">
                  <c:v>0.28521539485982605</c:v>
                </c:pt>
                <c:pt idx="18">
                  <c:v>0.18736211964532815</c:v>
                </c:pt>
                <c:pt idx="19">
                  <c:v>0.2227410658471819</c:v>
                </c:pt>
                <c:pt idx="20">
                  <c:v>0.23568877878028133</c:v>
                </c:pt>
                <c:pt idx="21">
                  <c:v>0.2326990336884044</c:v>
                </c:pt>
                <c:pt idx="22">
                  <c:v>0.10808757151820825</c:v>
                </c:pt>
                <c:pt idx="23">
                  <c:v>0.15519439157894735</c:v>
                </c:pt>
                <c:pt idx="24">
                  <c:v>0.554716457801953</c:v>
                </c:pt>
                <c:pt idx="25">
                  <c:v>0.5413198067067766</c:v>
                </c:pt>
                <c:pt idx="26">
                  <c:v>0.5757512152722694</c:v>
                </c:pt>
                <c:pt idx="27">
                  <c:v>0.41427115849708906</c:v>
                </c:pt>
                <c:pt idx="28">
                  <c:v>0.5697968139447441</c:v>
                </c:pt>
                <c:pt idx="29">
                  <c:v>0.517398319092844</c:v>
                </c:pt>
                <c:pt idx="30">
                  <c:v>0.5079589710674569</c:v>
                </c:pt>
                <c:pt idx="31">
                  <c:v>0.5580637301516179</c:v>
                </c:pt>
                <c:pt idx="32">
                  <c:v>0.560598466467871</c:v>
                </c:pt>
                <c:pt idx="33">
                  <c:v>0.47415048384898456</c:v>
                </c:pt>
                <c:pt idx="34">
                  <c:v>0.4762000142762407</c:v>
                </c:pt>
                <c:pt idx="35">
                  <c:v>0.703603729050653</c:v>
                </c:pt>
                <c:pt idx="36">
                  <c:v>0.7409479262832781</c:v>
                </c:pt>
                <c:pt idx="37">
                  <c:v>0.5398852930760674</c:v>
                </c:pt>
                <c:pt idx="38">
                  <c:v>0.4785719598902097</c:v>
                </c:pt>
                <c:pt idx="39">
                  <c:v>0.561723640725446</c:v>
                </c:pt>
                <c:pt idx="40">
                  <c:v>0.5143256671854253</c:v>
                </c:pt>
                <c:pt idx="41">
                  <c:v>0.636373202449374</c:v>
                </c:pt>
                <c:pt idx="42">
                  <c:v>0.5786997609518066</c:v>
                </c:pt>
                <c:pt idx="43">
                  <c:v>0.6559391550588788</c:v>
                </c:pt>
                <c:pt idx="44">
                  <c:v>0.6343282644378729</c:v>
                </c:pt>
                <c:pt idx="45">
                  <c:v>0.5353253468525322</c:v>
                </c:pt>
                <c:pt idx="46">
                  <c:v>0.5776693448335402</c:v>
                </c:pt>
                <c:pt idx="47">
                  <c:v>0.5693766571216777</c:v>
                </c:pt>
                <c:pt idx="48">
                  <c:v>0.6628423595196367</c:v>
                </c:pt>
                <c:pt idx="49">
                  <c:v>0.7779830604617091</c:v>
                </c:pt>
                <c:pt idx="50">
                  <c:v>0.6939761341913401</c:v>
                </c:pt>
                <c:pt idx="51">
                  <c:v>0.6769327725825005</c:v>
                </c:pt>
                <c:pt idx="52">
                  <c:v>0.701545130754331</c:v>
                </c:pt>
                <c:pt idx="53">
                  <c:v>0.7326296348599822</c:v>
                </c:pt>
              </c:numCache>
            </c:numRef>
          </c:xVal>
          <c:yVal>
            <c:numRef>
              <c:f>Sheet1!$B$2:$B$55</c:f>
              <c:numCache>
                <c:formatCode>General</c:formatCode>
                <c:ptCount val="54"/>
                <c:pt idx="0">
                  <c:v>0.0</c:v>
                </c:pt>
                <c:pt idx="1">
                  <c:v>4.062893592816804e-05</c:v>
                </c:pt>
                <c:pt idx="2">
                  <c:v>0.0</c:v>
                </c:pt>
                <c:pt idx="3">
                  <c:v>5.319431884674717e-05</c:v>
                </c:pt>
                <c:pt idx="4">
                  <c:v>5.4124269322364146e-05</c:v>
                </c:pt>
                <c:pt idx="5">
                  <c:v>0.00011374623215605983</c:v>
                </c:pt>
                <c:pt idx="6">
                  <c:v>9.508867018494746e-05</c:v>
                </c:pt>
                <c:pt idx="7">
                  <c:v>0.00013297872340425532</c:v>
                </c:pt>
                <c:pt idx="8">
                  <c:v>0.00017413007516614912</c:v>
                </c:pt>
                <c:pt idx="9">
                  <c:v>0.0003934684241589612</c:v>
                </c:pt>
                <c:pt idx="10">
                  <c:v>0.00045349417259988206</c:v>
                </c:pt>
                <c:pt idx="11">
                  <c:v>0.00033961623365596876</c:v>
                </c:pt>
                <c:pt idx="12">
                  <c:v>0.00043821209465381246</c:v>
                </c:pt>
                <c:pt idx="13">
                  <c:v>0.0004317619813949837</c:v>
                </c:pt>
                <c:pt idx="14">
                  <c:v>0.0004653130287648054</c:v>
                </c:pt>
                <c:pt idx="15">
                  <c:v>0.00042498937526561835</c:v>
                </c:pt>
                <c:pt idx="16">
                  <c:v>0.0004475875033569063</c:v>
                </c:pt>
                <c:pt idx="17">
                  <c:v>0.0006978367062107466</c:v>
                </c:pt>
                <c:pt idx="18">
                  <c:v>0.0008305647840531562</c:v>
                </c:pt>
                <c:pt idx="19">
                  <c:v>0.0005222613918266092</c:v>
                </c:pt>
                <c:pt idx="20">
                  <c:v>0.0007290223809870963</c:v>
                </c:pt>
                <c:pt idx="21">
                  <c:v>0.0007539927342518336</c:v>
                </c:pt>
                <c:pt idx="22">
                  <c:v>0.0011206574523720584</c:v>
                </c:pt>
                <c:pt idx="23">
                  <c:v>0.0010407271213487823</c:v>
                </c:pt>
                <c:pt idx="24">
                  <c:v>0.0009697753353806369</c:v>
                </c:pt>
                <c:pt idx="25">
                  <c:v>0.0014033856679238662</c:v>
                </c:pt>
                <c:pt idx="26">
                  <c:v>0.0018138944313440958</c:v>
                </c:pt>
                <c:pt idx="27">
                  <c:v>0.0024113332663518536</c:v>
                </c:pt>
                <c:pt idx="28">
                  <c:v>0.0016335865392469167</c:v>
                </c:pt>
                <c:pt idx="29">
                  <c:v>0.0015424581912648156</c:v>
                </c:pt>
                <c:pt idx="30">
                  <c:v>0.0020646447387156486</c:v>
                </c:pt>
                <c:pt idx="31">
                  <c:v>0.002228826151560178</c:v>
                </c:pt>
                <c:pt idx="32">
                  <c:v>0.0019928676316341514</c:v>
                </c:pt>
                <c:pt idx="33">
                  <c:v>0.002017199278054995</c:v>
                </c:pt>
                <c:pt idx="34">
                  <c:v>0.0022242817423540314</c:v>
                </c:pt>
                <c:pt idx="35">
                  <c:v>0.0019835647492207425</c:v>
                </c:pt>
                <c:pt idx="36">
                  <c:v>0.0018495684340320592</c:v>
                </c:pt>
                <c:pt idx="37">
                  <c:v>0.0027003484320557492</c:v>
                </c:pt>
                <c:pt idx="38">
                  <c:v>0.0034119988626670457</c:v>
                </c:pt>
                <c:pt idx="39">
                  <c:v>0.0030179127725856697</c:v>
                </c:pt>
                <c:pt idx="40">
                  <c:v>0.0033358749523446436</c:v>
                </c:pt>
                <c:pt idx="41">
                  <c:v>0.002671144012821491</c:v>
                </c:pt>
                <c:pt idx="42">
                  <c:v>0.0027096191479753125</c:v>
                </c:pt>
                <c:pt idx="43">
                  <c:v>0.0025950108823037</c:v>
                </c:pt>
                <c:pt idx="44">
                  <c:v>0.0027889680818097306</c:v>
                </c:pt>
                <c:pt idx="45">
                  <c:v>0.003622730527823413</c:v>
                </c:pt>
                <c:pt idx="46">
                  <c:v>0.004239336581012235</c:v>
                </c:pt>
                <c:pt idx="47">
                  <c:v>0.004076973255055447</c:v>
                </c:pt>
                <c:pt idx="48">
                  <c:v>0.0037380550871276</c:v>
                </c:pt>
                <c:pt idx="49">
                  <c:v>0.003018412315122246</c:v>
                </c:pt>
                <c:pt idx="50">
                  <c:v>0.004168972514296256</c:v>
                </c:pt>
                <c:pt idx="51">
                  <c:v>0.0037340153452685423</c:v>
                </c:pt>
                <c:pt idx="52">
                  <c:v>0.003229713362939039</c:v>
                </c:pt>
                <c:pt idx="53">
                  <c:v>0.00271591526344378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40800529550709</c:v>
                </c:pt>
                <c:pt idx="1">
                  <c:v>0.7166356181039882</c:v>
                </c:pt>
                <c:pt idx="2">
                  <c:v>0.818919904248527</c:v>
                </c:pt>
                <c:pt idx="3">
                  <c:v>0.6742213970831078</c:v>
                </c:pt>
                <c:pt idx="4">
                  <c:v>0.7553736011326562</c:v>
                </c:pt>
                <c:pt idx="5">
                  <c:v>0.893691452910474</c:v>
                </c:pt>
                <c:pt idx="6">
                  <c:v>0.8505067387250427</c:v>
                </c:pt>
                <c:pt idx="7">
                  <c:v>0.7004020806744178</c:v>
                </c:pt>
                <c:pt idx="8">
                  <c:v>0.7849319647245916</c:v>
                </c:pt>
                <c:pt idx="9">
                  <c:v>0.7595761752357483</c:v>
                </c:pt>
                <c:pt idx="10">
                  <c:v>0.7685760411792569</c:v>
                </c:pt>
                <c:pt idx="11">
                  <c:v>0.744981458825665</c:v>
                </c:pt>
                <c:pt idx="12">
                  <c:v>0.6824986952413227</c:v>
                </c:pt>
                <c:pt idx="13">
                  <c:v>0.6012834183548398</c:v>
                </c:pt>
                <c:pt idx="14">
                  <c:v>0.595411998547451</c:v>
                </c:pt>
                <c:pt idx="15">
                  <c:v>0.6047626823081271</c:v>
                </c:pt>
                <c:pt idx="16">
                  <c:v>0.5746405704822288</c:v>
                </c:pt>
                <c:pt idx="17">
                  <c:v>0.43358273591851615</c:v>
                </c:pt>
                <c:pt idx="18">
                  <c:v>0.5660445247461612</c:v>
                </c:pt>
                <c:pt idx="19">
                  <c:v>0.638657516547618</c:v>
                </c:pt>
                <c:pt idx="20">
                  <c:v>0.5516477146756844</c:v>
                </c:pt>
                <c:pt idx="21">
                  <c:v>0.495456882167143</c:v>
                </c:pt>
                <c:pt idx="22">
                  <c:v>0.5160055709448834</c:v>
                </c:pt>
                <c:pt idx="23">
                  <c:v>0.4428538513396437</c:v>
                </c:pt>
                <c:pt idx="24">
                  <c:v>0.5334489955028687</c:v>
                </c:pt>
                <c:pt idx="25">
                  <c:v>0.5016239994330021</c:v>
                </c:pt>
                <c:pt idx="26">
                  <c:v>0.537140592804189</c:v>
                </c:pt>
                <c:pt idx="27">
                  <c:v>0.5029285092493491</c:v>
                </c:pt>
                <c:pt idx="28">
                  <c:v>0.569558407308642</c:v>
                </c:pt>
                <c:pt idx="29">
                  <c:v>0.4858370618497198</c:v>
                </c:pt>
                <c:pt idx="30">
                  <c:v>0.4750342765048137</c:v>
                </c:pt>
                <c:pt idx="31">
                  <c:v>0.4897945841209946</c:v>
                </c:pt>
                <c:pt idx="32">
                  <c:v>0.5915613564061589</c:v>
                </c:pt>
                <c:pt idx="33">
                  <c:v>0.6783382842925147</c:v>
                </c:pt>
                <c:pt idx="34">
                  <c:v>0.7493151479463538</c:v>
                </c:pt>
                <c:pt idx="35">
                  <c:v>0.5047841997638355</c:v>
                </c:pt>
                <c:pt idx="36">
                  <c:v>0.46000789062973024</c:v>
                </c:pt>
                <c:pt idx="37">
                  <c:v>0.4693132362003693</c:v>
                </c:pt>
                <c:pt idx="38">
                  <c:v>0.41444782209252673</c:v>
                </c:pt>
                <c:pt idx="39">
                  <c:v>0.401637770948155</c:v>
                </c:pt>
                <c:pt idx="40">
                  <c:v>0.4270577615302078</c:v>
                </c:pt>
                <c:pt idx="41">
                  <c:v>0.45428656189744654</c:v>
                </c:pt>
                <c:pt idx="42">
                  <c:v>0.4266022637949639</c:v>
                </c:pt>
                <c:pt idx="43">
                  <c:v>0.49388007327</c:v>
                </c:pt>
                <c:pt idx="44">
                  <c:v>0.6038782102390348</c:v>
                </c:pt>
                <c:pt idx="45">
                  <c:v>0.6543065013514671</c:v>
                </c:pt>
                <c:pt idx="46">
                  <c:v>0.6107053823646577</c:v>
                </c:pt>
                <c:pt idx="47">
                  <c:v>0.5840296392177264</c:v>
                </c:pt>
                <c:pt idx="48">
                  <c:v>0.527898917634951</c:v>
                </c:pt>
                <c:pt idx="49">
                  <c:v>0.653075132655953</c:v>
                </c:pt>
                <c:pt idx="50">
                  <c:v>0.7798342204264891</c:v>
                </c:pt>
                <c:pt idx="51">
                  <c:v>0.6895282843580831</c:v>
                </c:pt>
              </c:numCache>
            </c:numRef>
          </c:xVal>
          <c:yVal>
            <c:numRef>
              <c:f>Sheet1!$B$58:$B$109</c:f>
              <c:numCache>
                <c:formatCode>General</c:formatCode>
                <c:ptCount val="52"/>
                <c:pt idx="0">
                  <c:v>0.002626677491761784</c:v>
                </c:pt>
                <c:pt idx="1">
                  <c:v>0.0032527648501226043</c:v>
                </c:pt>
                <c:pt idx="2">
                  <c:v>0.002899824253075571</c:v>
                </c:pt>
                <c:pt idx="3">
                  <c:v>0.0032660467226128375</c:v>
                </c:pt>
                <c:pt idx="4">
                  <c:v>0.0030427366188741875</c:v>
                </c:pt>
                <c:pt idx="5">
                  <c:v>0.002668789212473078</c:v>
                </c:pt>
                <c:pt idx="6">
                  <c:v>0.002740167633784655</c:v>
                </c:pt>
                <c:pt idx="7">
                  <c:v>0.003303600925008259</c:v>
                </c:pt>
                <c:pt idx="8">
                  <c:v>0.004028509451502944</c:v>
                </c:pt>
                <c:pt idx="9">
                  <c:v>0.004063179581091908</c:v>
                </c:pt>
                <c:pt idx="10">
                  <c:v>0.003868797308662742</c:v>
                </c:pt>
                <c:pt idx="11">
                  <c:v>0.003855632403211702</c:v>
                </c:pt>
                <c:pt idx="12">
                  <c:v>0.004143906573742701</c:v>
                </c:pt>
                <c:pt idx="13">
                  <c:v>0.006267515923566879</c:v>
                </c:pt>
                <c:pt idx="14">
                  <c:v>0.006158455392809587</c:v>
                </c:pt>
                <c:pt idx="15">
                  <c:v>0.005956320317670417</c:v>
                </c:pt>
                <c:pt idx="16">
                  <c:v>0.005823036500497088</c:v>
                </c:pt>
                <c:pt idx="17">
                  <c:v>0.007586359284083377</c:v>
                </c:pt>
                <c:pt idx="18">
                  <c:v>0.004027075657612887</c:v>
                </c:pt>
                <c:pt idx="19">
                  <c:v>0.0037012113055181696</c:v>
                </c:pt>
                <c:pt idx="20">
                  <c:v>0.004559836218127675</c:v>
                </c:pt>
                <c:pt idx="21">
                  <c:v>0.005415561450044209</c:v>
                </c:pt>
                <c:pt idx="22">
                  <c:v>0.004612249275984125</c:v>
                </c:pt>
                <c:pt idx="23">
                  <c:v>0.005031868500503187</c:v>
                </c:pt>
                <c:pt idx="24">
                  <c:v>0.004442148760330579</c:v>
                </c:pt>
                <c:pt idx="25">
                  <c:v>0.004692786205391247</c:v>
                </c:pt>
                <c:pt idx="26">
                  <c:v>0.0044816253361219</c:v>
                </c:pt>
                <c:pt idx="27">
                  <c:v>0.004878048780487805</c:v>
                </c:pt>
                <c:pt idx="28">
                  <c:v>0.0038342307064774027</c:v>
                </c:pt>
                <c:pt idx="29">
                  <c:v>0.004616895874263261</c:v>
                </c:pt>
                <c:pt idx="30">
                  <c:v>0.004550510668419456</c:v>
                </c:pt>
                <c:pt idx="31">
                  <c:v>0.004864864864864865</c:v>
                </c:pt>
                <c:pt idx="32">
                  <c:v>0.004004843066033343</c:v>
                </c:pt>
                <c:pt idx="33">
                  <c:v>0.003232204510394476</c:v>
                </c:pt>
                <c:pt idx="34">
                  <c:v>0.0032390148505775226</c:v>
                </c:pt>
                <c:pt idx="35">
                  <c:v>0.004430863254392666</c:v>
                </c:pt>
                <c:pt idx="36">
                  <c:v>0.005197259626742263</c:v>
                </c:pt>
                <c:pt idx="37">
                  <c:v>0.005343022013250694</c:v>
                </c:pt>
                <c:pt idx="38">
                  <c:v>0.006447761194029851</c:v>
                </c:pt>
                <c:pt idx="39">
                  <c:v>0.006041222459132907</c:v>
                </c:pt>
                <c:pt idx="40">
                  <c:v>0.0054897176716626</c:v>
                </c:pt>
                <c:pt idx="41">
                  <c:v>0.00464699168433067</c:v>
                </c:pt>
                <c:pt idx="42">
                  <c:v>0.005253456221198157</c:v>
                </c:pt>
                <c:pt idx="43">
                  <c:v>0.004065867046147591</c:v>
                </c:pt>
                <c:pt idx="44">
                  <c:v>0.0029100677150372153</c:v>
                </c:pt>
                <c:pt idx="45">
                  <c:v>0.0023428829791606724</c:v>
                </c:pt>
                <c:pt idx="46">
                  <c:v>0.0025314037350145677</c:v>
                </c:pt>
                <c:pt idx="47">
                  <c:v>0.0023496032273795276</c:v>
                </c:pt>
                <c:pt idx="48">
                  <c:v>0.002659476230931186</c:v>
                </c:pt>
                <c:pt idx="49">
                  <c:v>0.002404683906043075</c:v>
                </c:pt>
                <c:pt idx="50">
                  <c:v>0.0019894534995206136</c:v>
                </c:pt>
                <c:pt idx="51">
                  <c:v>0.002547013626522902</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7030428886984454</c:v>
                </c:pt>
              </c:numCache>
            </c:numRef>
          </c:xVal>
          <c:yVal>
            <c:numRef>
              <c:f>Sheet1!$B$112:$B$113</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7030428886984454</c:v>
                </c:pt>
                <c:pt idx="1">
                  <c:v>0.47030428886984454</c:v>
                </c:pt>
              </c:numCache>
            </c:numRef>
          </c:xVal>
          <c:yVal>
            <c:numRef>
              <c:f>Sheet1!$B$116:$B$117</c:f>
              <c:numCache>
                <c:formatCode>General</c:formatCode>
                <c:ptCount val="2"/>
                <c:pt idx="0">
                  <c:v>0.005032837532049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7030428886984454</c:v>
                </c:pt>
              </c:numCache>
            </c:numRef>
          </c:xVal>
          <c:yVal>
            <c:numRef>
              <c:f>Sheet1!$B$120:$B$121</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7030428886984454</c:v>
                </c:pt>
                <c:pt idx="1">
                  <c:v>0.47030428886984454</c:v>
                </c:pt>
              </c:numCache>
            </c:numRef>
          </c:xVal>
          <c:yVal>
            <c:numRef>
              <c:f>Sheet1!$B$124:$B$125</c:f>
              <c:numCache>
                <c:formatCode>General</c:formatCode>
                <c:ptCount val="2"/>
                <c:pt idx="0">
                  <c:v>0.005032837532049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36959327948744</c:v>
                </c:pt>
              </c:numCache>
            </c:numRef>
          </c:xVal>
          <c:yVal>
            <c:numRef>
              <c:f>Sheet1!$B$128:$B$129</c:f>
              <c:numCache>
                <c:formatCode>General</c:formatCode>
                <c:ptCount val="2"/>
                <c:pt idx="0">
                  <c:v>0.0034793723078524372</c:v>
                </c:pt>
                <c:pt idx="1">
                  <c:v>0.0034793723078524372</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36959327948744</c:v>
                </c:pt>
                <c:pt idx="1">
                  <c:v>0.7036959327948744</c:v>
                </c:pt>
              </c:numCache>
            </c:numRef>
          </c:xVal>
          <c:yVal>
            <c:numRef>
              <c:f>Sheet1!$B$132:$B$133</c:f>
              <c:numCache>
                <c:formatCode>General</c:formatCode>
                <c:ptCount val="2"/>
                <c:pt idx="0">
                  <c:v>0.00347937230785243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40800529550709</c:v>
                </c:pt>
                <c:pt idx="1">
                  <c:v>0.7166356181039882</c:v>
                </c:pt>
                <c:pt idx="2">
                  <c:v>0.818919904248527</c:v>
                </c:pt>
                <c:pt idx="3">
                  <c:v>0.6742213970831078</c:v>
                </c:pt>
                <c:pt idx="4">
                  <c:v>0.7553736011326562</c:v>
                </c:pt>
                <c:pt idx="5">
                  <c:v>0.893691452910474</c:v>
                </c:pt>
                <c:pt idx="6">
                  <c:v>0.8505067387250427</c:v>
                </c:pt>
                <c:pt idx="7">
                  <c:v>0.7004020806744178</c:v>
                </c:pt>
                <c:pt idx="8">
                  <c:v>0.7849319647245916</c:v>
                </c:pt>
                <c:pt idx="9">
                  <c:v>0.7595761752357483</c:v>
                </c:pt>
                <c:pt idx="10">
                  <c:v>0.7685760411792569</c:v>
                </c:pt>
                <c:pt idx="11">
                  <c:v>0.744981458825665</c:v>
                </c:pt>
                <c:pt idx="12">
                  <c:v>0.6824986952413227</c:v>
                </c:pt>
                <c:pt idx="13">
                  <c:v>0.6012834183548398</c:v>
                </c:pt>
                <c:pt idx="14">
                  <c:v>0.595411998547451</c:v>
                </c:pt>
                <c:pt idx="15">
                  <c:v>0.6047626823081271</c:v>
                </c:pt>
                <c:pt idx="16">
                  <c:v>0.5746405704822288</c:v>
                </c:pt>
                <c:pt idx="17">
                  <c:v>0.43358273591851615</c:v>
                </c:pt>
                <c:pt idx="18">
                  <c:v>0.5660445247461612</c:v>
                </c:pt>
                <c:pt idx="19">
                  <c:v>0.638657516547618</c:v>
                </c:pt>
                <c:pt idx="20">
                  <c:v>0.5516477146756844</c:v>
                </c:pt>
                <c:pt idx="21">
                  <c:v>0.495456882167143</c:v>
                </c:pt>
                <c:pt idx="22">
                  <c:v>0.5160055709448834</c:v>
                </c:pt>
                <c:pt idx="23">
                  <c:v>0.4428538513396437</c:v>
                </c:pt>
                <c:pt idx="24">
                  <c:v>0.5334489955028687</c:v>
                </c:pt>
                <c:pt idx="25">
                  <c:v>0.5016239994330021</c:v>
                </c:pt>
                <c:pt idx="26">
                  <c:v>0.537140592804189</c:v>
                </c:pt>
                <c:pt idx="27">
                  <c:v>0.5029285092493491</c:v>
                </c:pt>
                <c:pt idx="28">
                  <c:v>0.569558407308642</c:v>
                </c:pt>
                <c:pt idx="29">
                  <c:v>0.4858370618497198</c:v>
                </c:pt>
                <c:pt idx="30">
                  <c:v>0.4750342765048137</c:v>
                </c:pt>
                <c:pt idx="31">
                  <c:v>0.4897945841209946</c:v>
                </c:pt>
                <c:pt idx="32">
                  <c:v>0.5915613564061589</c:v>
                </c:pt>
                <c:pt idx="33">
                  <c:v>0.6783382842925147</c:v>
                </c:pt>
                <c:pt idx="34">
                  <c:v>0.7493151479463538</c:v>
                </c:pt>
                <c:pt idx="35">
                  <c:v>0.5047841997638355</c:v>
                </c:pt>
                <c:pt idx="36">
                  <c:v>0.46000789062973024</c:v>
                </c:pt>
                <c:pt idx="37">
                  <c:v>0.4693132362003693</c:v>
                </c:pt>
                <c:pt idx="38">
                  <c:v>0.41444782209252673</c:v>
                </c:pt>
                <c:pt idx="39">
                  <c:v>0.401637770948155</c:v>
                </c:pt>
                <c:pt idx="40">
                  <c:v>0.4270577615302078</c:v>
                </c:pt>
                <c:pt idx="41">
                  <c:v>0.45428656189744654</c:v>
                </c:pt>
                <c:pt idx="42">
                  <c:v>0.4266022637949639</c:v>
                </c:pt>
                <c:pt idx="43">
                  <c:v>0.49388007327</c:v>
                </c:pt>
                <c:pt idx="44">
                  <c:v>0.6038782102390348</c:v>
                </c:pt>
                <c:pt idx="45">
                  <c:v>0.6543065013514671</c:v>
                </c:pt>
                <c:pt idx="46">
                  <c:v>0.6107053823646577</c:v>
                </c:pt>
                <c:pt idx="47">
                  <c:v>0.5840296392177264</c:v>
                </c:pt>
                <c:pt idx="48">
                  <c:v>0.527898917634951</c:v>
                </c:pt>
                <c:pt idx="49">
                  <c:v>0.653075132655953</c:v>
                </c:pt>
                <c:pt idx="50">
                  <c:v>0.7798342204264891</c:v>
                </c:pt>
                <c:pt idx="51">
                  <c:v>0.6895282843580831</c:v>
                </c:pt>
                <c:pt idx="52">
                  <c:v>0.47030428886984454</c:v>
                </c:pt>
                <c:pt idx="53">
                  <c:v>0.47030428886984454</c:v>
                </c:pt>
                <c:pt idx="54">
                  <c:v>0.7036959327948744</c:v>
                </c:pt>
              </c:numCache>
            </c:numRef>
          </c:xVal>
          <c:yVal>
            <c:numRef>
              <c:f>Sheet1!$B$136:$B$190</c:f>
              <c:numCache>
                <c:formatCode>General</c:formatCode>
                <c:ptCount val="55"/>
                <c:pt idx="0">
                  <c:v>0.00267809021793126</c:v>
                </c:pt>
                <c:pt idx="1">
                  <c:v>0.003393245183497399</c:v>
                </c:pt>
                <c:pt idx="2">
                  <c:v>0.002712436398593472</c:v>
                </c:pt>
                <c:pt idx="3">
                  <c:v>0.003675556136277256</c:v>
                </c:pt>
                <c:pt idx="4">
                  <c:v>0.003135403435273159</c:v>
                </c:pt>
                <c:pt idx="5">
                  <c:v>0.002214753625327688</c:v>
                </c:pt>
                <c:pt idx="6">
                  <c:v>0.0025021930150836156</c:v>
                </c:pt>
                <c:pt idx="7">
                  <c:v>0.0035012963349372274</c:v>
                </c:pt>
                <c:pt idx="8">
                  <c:v>0.0029386616447273726</c:v>
                </c:pt>
                <c:pt idx="9">
                  <c:v>0.003107430914014597</c:v>
                </c:pt>
                <c:pt idx="10">
                  <c:v>0.003047527403629434</c:v>
                </c:pt>
                <c:pt idx="11">
                  <c:v>0.0032045739994258334</c:v>
                </c:pt>
                <c:pt idx="12">
                  <c:v>0.0036204620693995873</c:v>
                </c:pt>
                <c:pt idx="13">
                  <c:v>0.004161034586028278</c:v>
                </c:pt>
                <c:pt idx="14">
                  <c:v>0.004200115018960866</c:v>
                </c:pt>
                <c:pt idx="15">
                  <c:v>0.004137876449488612</c:v>
                </c:pt>
                <c:pt idx="16">
                  <c:v>0.00433837057350245</c:v>
                </c:pt>
                <c:pt idx="17">
                  <c:v>0.005277257831461065</c:v>
                </c:pt>
                <c:pt idx="18">
                  <c:v>0.004395586238519468</c:v>
                </c:pt>
                <c:pt idx="19">
                  <c:v>0.003912270916293619</c:v>
                </c:pt>
                <c:pt idx="20">
                  <c:v>0.004491412050479707</c:v>
                </c:pt>
                <c:pt idx="21">
                  <c:v>0.004865420745704127</c:v>
                </c:pt>
                <c:pt idx="22">
                  <c:v>0.0047286477538256546</c:v>
                </c:pt>
                <c:pt idx="23">
                  <c:v>0.005215548872416833</c:v>
                </c:pt>
                <c:pt idx="24">
                  <c:v>0.004612543539527246</c:v>
                </c:pt>
                <c:pt idx="25">
                  <c:v>0.004824372137258091</c:v>
                </c:pt>
                <c:pt idx="26">
                  <c:v>0.004587972102723014</c:v>
                </c:pt>
                <c:pt idx="27">
                  <c:v>0.004815689261555098</c:v>
                </c:pt>
                <c:pt idx="28">
                  <c:v>0.0043721976789681295</c:v>
                </c:pt>
                <c:pt idx="29">
                  <c:v>0.004929450700139594</c:v>
                </c:pt>
                <c:pt idx="30">
                  <c:v>0.00500135452272531</c:v>
                </c:pt>
                <c:pt idx="31">
                  <c:v>0.004903109254837532</c:v>
                </c:pt>
                <c:pt idx="32">
                  <c:v>0.004225745065335813</c:v>
                </c:pt>
                <c:pt idx="33">
                  <c:v>0.0036481539508168015</c:v>
                </c:pt>
                <c:pt idx="34">
                  <c:v>0.0031757287707439</c:v>
                </c:pt>
                <c:pt idx="35">
                  <c:v>0.00480333770246478</c:v>
                </c:pt>
                <c:pt idx="36">
                  <c:v>0.005101370819409014</c:v>
                </c:pt>
                <c:pt idx="37">
                  <c:v>0.005039434022958133</c:v>
                </c:pt>
                <c:pt idx="38">
                  <c:v>0.005404620674006638</c:v>
                </c:pt>
                <c:pt idx="39">
                  <c:v>0.00548988494756116</c:v>
                </c:pt>
                <c:pt idx="40">
                  <c:v>0.005320688352925096</c:v>
                </c:pt>
                <c:pt idx="41">
                  <c:v>0.005139452239430441</c:v>
                </c:pt>
                <c:pt idx="42">
                  <c:v>0.005323720166230414</c:v>
                </c:pt>
                <c:pt idx="43">
                  <c:v>0.004875916056271898</c:v>
                </c:pt>
                <c:pt idx="44">
                  <c:v>0.004143763535152868</c:v>
                </c:pt>
                <c:pt idx="45">
                  <c:v>0.003808110573284202</c:v>
                </c:pt>
                <c:pt idx="46">
                  <c:v>0.00409832157202857</c:v>
                </c:pt>
                <c:pt idx="47">
                  <c:v>0.004275876511920392</c:v>
                </c:pt>
                <c:pt idx="48">
                  <c:v>0.004649485106133477</c:v>
                </c:pt>
                <c:pt idx="49">
                  <c:v>0.0038163066184145073</c:v>
                </c:pt>
                <c:pt idx="50">
                  <c:v>0.0029725924588549484</c:v>
                </c:pt>
                <c:pt idx="51">
                  <c:v>0.0035736728097258905</c:v>
                </c:pt>
                <c:pt idx="52">
                  <c:v>0.00503283753204918</c:v>
                </c:pt>
                <c:pt idx="53">
                  <c:v>0.00503283753204918</c:v>
                </c:pt>
                <c:pt idx="54">
                  <c:v>0.00347937230785243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0363114090005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4.062893592816804e-05</c:v>
                </c:pt>
                <c:pt idx="2">
                  <c:v>0.0</c:v>
                </c:pt>
                <c:pt idx="3">
                  <c:v>5.319431884674717e-05</c:v>
                </c:pt>
                <c:pt idx="4">
                  <c:v>5.4124269322364146e-05</c:v>
                </c:pt>
                <c:pt idx="5">
                  <c:v>0.00011374623215605983</c:v>
                </c:pt>
                <c:pt idx="6">
                  <c:v>9.508867018494746e-05</c:v>
                </c:pt>
                <c:pt idx="7">
                  <c:v>0.00013297872340425532</c:v>
                </c:pt>
                <c:pt idx="8">
                  <c:v>0.00017413007516614912</c:v>
                </c:pt>
                <c:pt idx="9">
                  <c:v>0.0003934684241589612</c:v>
                </c:pt>
                <c:pt idx="10">
                  <c:v>0.00045349417259988206</c:v>
                </c:pt>
                <c:pt idx="11">
                  <c:v>0.00033961623365596876</c:v>
                </c:pt>
                <c:pt idx="12">
                  <c:v>0.00043821209465381246</c:v>
                </c:pt>
                <c:pt idx="13">
                  <c:v>0.0004317619813949837</c:v>
                </c:pt>
                <c:pt idx="14">
                  <c:v>0.0004653130287648054</c:v>
                </c:pt>
                <c:pt idx="15">
                  <c:v>0.00042498937526561835</c:v>
                </c:pt>
                <c:pt idx="16">
                  <c:v>0.0004475875033569063</c:v>
                </c:pt>
                <c:pt idx="17">
                  <c:v>0.0006978367062107466</c:v>
                </c:pt>
                <c:pt idx="18">
                  <c:v>0.0008305647840531562</c:v>
                </c:pt>
                <c:pt idx="19">
                  <c:v>0.0005222613918266092</c:v>
                </c:pt>
                <c:pt idx="20">
                  <c:v>0.0007290223809870963</c:v>
                </c:pt>
                <c:pt idx="21">
                  <c:v>0.0007539927342518336</c:v>
                </c:pt>
                <c:pt idx="22">
                  <c:v>0.0011206574523720584</c:v>
                </c:pt>
                <c:pt idx="23">
                  <c:v>0.0010407271213487823</c:v>
                </c:pt>
                <c:pt idx="24">
                  <c:v>0.0009697753353806369</c:v>
                </c:pt>
                <c:pt idx="25">
                  <c:v>0.0014033856679238662</c:v>
                </c:pt>
                <c:pt idx="26">
                  <c:v>0.0018138944313440958</c:v>
                </c:pt>
                <c:pt idx="27">
                  <c:v>0.0024113332663518536</c:v>
                </c:pt>
                <c:pt idx="28">
                  <c:v>0.0016335865392469167</c:v>
                </c:pt>
                <c:pt idx="29">
                  <c:v>0.0015424581912648156</c:v>
                </c:pt>
                <c:pt idx="30">
                  <c:v>0.0020646447387156486</c:v>
                </c:pt>
                <c:pt idx="31">
                  <c:v>0.002228826151560178</c:v>
                </c:pt>
                <c:pt idx="32">
                  <c:v>0.0019928676316341514</c:v>
                </c:pt>
                <c:pt idx="33">
                  <c:v>0.002017199278054995</c:v>
                </c:pt>
                <c:pt idx="34">
                  <c:v>0.0022242817423540314</c:v>
                </c:pt>
                <c:pt idx="35">
                  <c:v>0.0019835647492207425</c:v>
                </c:pt>
                <c:pt idx="36">
                  <c:v>0.0018495684340320592</c:v>
                </c:pt>
                <c:pt idx="37">
                  <c:v>0.0027003484320557492</c:v>
                </c:pt>
                <c:pt idx="38">
                  <c:v>0.0034119988626670457</c:v>
                </c:pt>
                <c:pt idx="39">
                  <c:v>0.0030179127725856697</c:v>
                </c:pt>
                <c:pt idx="40">
                  <c:v>0.0033358749523446436</c:v>
                </c:pt>
                <c:pt idx="41">
                  <c:v>0.002671144012821491</c:v>
                </c:pt>
                <c:pt idx="42">
                  <c:v>0.0027096191479753125</c:v>
                </c:pt>
                <c:pt idx="43">
                  <c:v>0.0025950108823037</c:v>
                </c:pt>
                <c:pt idx="44">
                  <c:v>0.0027889680818097306</c:v>
                </c:pt>
                <c:pt idx="45">
                  <c:v>0.003622730527823413</c:v>
                </c:pt>
                <c:pt idx="46">
                  <c:v>0.004239336581012235</c:v>
                </c:pt>
                <c:pt idx="47">
                  <c:v>0.004076973255055447</c:v>
                </c:pt>
                <c:pt idx="48">
                  <c:v>0.0037380550871276</c:v>
                </c:pt>
                <c:pt idx="49">
                  <c:v>0.003018412315122246</c:v>
                </c:pt>
                <c:pt idx="50">
                  <c:v>0.004168972514296256</c:v>
                </c:pt>
                <c:pt idx="51">
                  <c:v>0.0037340153452685423</c:v>
                </c:pt>
                <c:pt idx="52">
                  <c:v>0.003229713362939039</c:v>
                </c:pt>
                <c:pt idx="53">
                  <c:v>0.00271591526344378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626677491761784</c:v>
                </c:pt>
                <c:pt idx="1">
                  <c:v>0.0032527648501226043</c:v>
                </c:pt>
                <c:pt idx="2">
                  <c:v>0.002899824253075571</c:v>
                </c:pt>
                <c:pt idx="3">
                  <c:v>0.0032660467226128375</c:v>
                </c:pt>
                <c:pt idx="4">
                  <c:v>0.0030427366188741875</c:v>
                </c:pt>
                <c:pt idx="5">
                  <c:v>0.002668789212473078</c:v>
                </c:pt>
                <c:pt idx="6">
                  <c:v>0.002740167633784655</c:v>
                </c:pt>
                <c:pt idx="7">
                  <c:v>0.003303600925008259</c:v>
                </c:pt>
                <c:pt idx="8">
                  <c:v>0.004028509451502944</c:v>
                </c:pt>
                <c:pt idx="9">
                  <c:v>0.004063179581091908</c:v>
                </c:pt>
                <c:pt idx="10">
                  <c:v>0.003868797308662742</c:v>
                </c:pt>
                <c:pt idx="11">
                  <c:v>0.003855632403211702</c:v>
                </c:pt>
                <c:pt idx="12">
                  <c:v>0.004143906573742701</c:v>
                </c:pt>
                <c:pt idx="13">
                  <c:v>0.006267515923566879</c:v>
                </c:pt>
                <c:pt idx="14">
                  <c:v>0.006158455392809587</c:v>
                </c:pt>
                <c:pt idx="15">
                  <c:v>0.005956320317670417</c:v>
                </c:pt>
                <c:pt idx="16">
                  <c:v>0.005823036500497088</c:v>
                </c:pt>
                <c:pt idx="17">
                  <c:v>0.007586359284083377</c:v>
                </c:pt>
                <c:pt idx="18">
                  <c:v>0.004027075657612887</c:v>
                </c:pt>
                <c:pt idx="19">
                  <c:v>0.0037012113055181696</c:v>
                </c:pt>
                <c:pt idx="20">
                  <c:v>0.004559836218127675</c:v>
                </c:pt>
                <c:pt idx="21">
                  <c:v>0.005415561450044209</c:v>
                </c:pt>
                <c:pt idx="22">
                  <c:v>0.004612249275984125</c:v>
                </c:pt>
                <c:pt idx="23">
                  <c:v>0.005031868500503187</c:v>
                </c:pt>
                <c:pt idx="24">
                  <c:v>0.004442148760330579</c:v>
                </c:pt>
                <c:pt idx="25">
                  <c:v>0.004692786205391247</c:v>
                </c:pt>
                <c:pt idx="26">
                  <c:v>0.0044816253361219</c:v>
                </c:pt>
                <c:pt idx="27">
                  <c:v>0.004878048780487805</c:v>
                </c:pt>
                <c:pt idx="28">
                  <c:v>0.0038342307064774027</c:v>
                </c:pt>
                <c:pt idx="29">
                  <c:v>0.004616895874263261</c:v>
                </c:pt>
                <c:pt idx="30">
                  <c:v>0.004550510668419456</c:v>
                </c:pt>
                <c:pt idx="31">
                  <c:v>0.004864864864864865</c:v>
                </c:pt>
                <c:pt idx="32">
                  <c:v>0.004004843066033343</c:v>
                </c:pt>
                <c:pt idx="33">
                  <c:v>0.003232204510394476</c:v>
                </c:pt>
                <c:pt idx="34">
                  <c:v>0.0032390148505775226</c:v>
                </c:pt>
                <c:pt idx="35">
                  <c:v>0.004430863254392666</c:v>
                </c:pt>
                <c:pt idx="36">
                  <c:v>0.005197259626742263</c:v>
                </c:pt>
                <c:pt idx="37">
                  <c:v>0.005343022013250694</c:v>
                </c:pt>
                <c:pt idx="38">
                  <c:v>0.006447761194029851</c:v>
                </c:pt>
                <c:pt idx="39">
                  <c:v>0.006041222459132907</c:v>
                </c:pt>
                <c:pt idx="40">
                  <c:v>0.0054897176716626</c:v>
                </c:pt>
                <c:pt idx="41">
                  <c:v>0.00464699168433067</c:v>
                </c:pt>
                <c:pt idx="42">
                  <c:v>0.005253456221198157</c:v>
                </c:pt>
                <c:pt idx="43">
                  <c:v>0.004065867046147591</c:v>
                </c:pt>
                <c:pt idx="44">
                  <c:v>0.0029100677150372153</c:v>
                </c:pt>
                <c:pt idx="45">
                  <c:v>0.0023428829791606724</c:v>
                </c:pt>
                <c:pt idx="46">
                  <c:v>0.0025314037350145677</c:v>
                </c:pt>
                <c:pt idx="47">
                  <c:v>0.0023496032273795276</c:v>
                </c:pt>
                <c:pt idx="48">
                  <c:v>0.002659476230931186</c:v>
                </c:pt>
                <c:pt idx="49">
                  <c:v>0.002404683906043075</c:v>
                </c:pt>
                <c:pt idx="50">
                  <c:v>0.0019894534995206136</c:v>
                </c:pt>
                <c:pt idx="51">
                  <c:v>0.002547013626522902</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77.236602701642</c:v>
                </c:pt>
              </c:numCache>
            </c:numRef>
          </c:xVal>
          <c:yVal>
            <c:numRef>
              <c:f>Sheet1!$B$112:$B$113</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77.236602701642</c:v>
                </c:pt>
                <c:pt idx="1">
                  <c:v>3477.236602701642</c:v>
                </c:pt>
              </c:numCache>
            </c:numRef>
          </c:xVal>
          <c:yVal>
            <c:numRef>
              <c:f>Sheet1!$B$116:$B$117</c:f>
              <c:numCache>
                <c:formatCode>General</c:formatCode>
                <c:ptCount val="2"/>
                <c:pt idx="0">
                  <c:v>0.005032837532049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77.236602701642</c:v>
                </c:pt>
              </c:numCache>
            </c:numRef>
          </c:xVal>
          <c:yVal>
            <c:numRef>
              <c:f>Sheet1!$B$120:$B$121</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77.236602701642</c:v>
                </c:pt>
                <c:pt idx="1">
                  <c:v>3477.236602701642</c:v>
                </c:pt>
              </c:numCache>
            </c:numRef>
          </c:xVal>
          <c:yVal>
            <c:numRef>
              <c:f>Sheet1!$B$124:$B$125</c:f>
              <c:numCache>
                <c:formatCode>General</c:formatCode>
                <c:ptCount val="2"/>
                <c:pt idx="0">
                  <c:v>0.005032837532049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0.991480222945</c:v>
                </c:pt>
              </c:numCache>
            </c:numRef>
          </c:xVal>
          <c:yVal>
            <c:numRef>
              <c:f>Sheet1!$B$128:$B$129</c:f>
              <c:numCache>
                <c:formatCode>General</c:formatCode>
                <c:ptCount val="2"/>
                <c:pt idx="0">
                  <c:v>0.0034793723078524372</c:v>
                </c:pt>
                <c:pt idx="1">
                  <c:v>0.0034793723078524372</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0.991480222945</c:v>
                </c:pt>
                <c:pt idx="1">
                  <c:v>4240.991480222945</c:v>
                </c:pt>
              </c:numCache>
            </c:numRef>
          </c:xVal>
          <c:yVal>
            <c:numRef>
              <c:f>Sheet1!$B$132:$B$133</c:f>
              <c:numCache>
                <c:formatCode>General</c:formatCode>
                <c:ptCount val="2"/>
                <c:pt idx="0">
                  <c:v>0.00347937230785243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77.236602701642</c:v>
                </c:pt>
                <c:pt idx="53">
                  <c:v>3477.236602701642</c:v>
                </c:pt>
                <c:pt idx="54">
                  <c:v>4240.991480222945</c:v>
                </c:pt>
              </c:numCache>
            </c:numRef>
          </c:xVal>
          <c:yVal>
            <c:numRef>
              <c:f>Sheet1!$B$136:$B$190</c:f>
              <c:numCache>
                <c:formatCode>General</c:formatCode>
                <c:ptCount val="55"/>
                <c:pt idx="0">
                  <c:v>0.0030938594771928885</c:v>
                </c:pt>
                <c:pt idx="1">
                  <c:v>0.004534867600642844</c:v>
                </c:pt>
                <c:pt idx="2">
                  <c:v>0.003247419169553621</c:v>
                </c:pt>
                <c:pt idx="3">
                  <c:v>0.004700338710283774</c:v>
                </c:pt>
                <c:pt idx="4">
                  <c:v>0.003005282523634847</c:v>
                </c:pt>
                <c:pt idx="5">
                  <c:v>0.00225939271402034</c:v>
                </c:pt>
                <c:pt idx="6">
                  <c:v>0.0029330807687106292</c:v>
                </c:pt>
                <c:pt idx="7">
                  <c:v>0.003568307812568866</c:v>
                </c:pt>
                <c:pt idx="8">
                  <c:v>0.0038230356332308747</c:v>
                </c:pt>
                <c:pt idx="9">
                  <c:v>0.0038199470284803576</c:v>
                </c:pt>
                <c:pt idx="10">
                  <c:v>0.0034043333083776765</c:v>
                </c:pt>
                <c:pt idx="11">
                  <c:v>0.003985187891129019</c:v>
                </c:pt>
                <c:pt idx="12">
                  <c:v>0.004366079469844756</c:v>
                </c:pt>
                <c:pt idx="13">
                  <c:v>0.0051783105161960176</c:v>
                </c:pt>
                <c:pt idx="14">
                  <c:v>0.005199720638899272</c:v>
                </c:pt>
                <c:pt idx="15">
                  <c:v>0.004745417491557896</c:v>
                </c:pt>
                <c:pt idx="16">
                  <c:v>0.004489054347735259</c:v>
                </c:pt>
                <c:pt idx="17">
                  <c:v>0.0061645495065631795</c:v>
                </c:pt>
                <c:pt idx="18">
                  <c:v>0.0037805577073367225</c:v>
                </c:pt>
                <c:pt idx="19">
                  <c:v>0.003277944388291756</c:v>
                </c:pt>
                <c:pt idx="20">
                  <c:v>0.0037438558892927635</c:v>
                </c:pt>
                <c:pt idx="21">
                  <c:v>0.004434580390825236</c:v>
                </c:pt>
                <c:pt idx="22">
                  <c:v>0.003985060156931895</c:v>
                </c:pt>
                <c:pt idx="23">
                  <c:v>0.005855861920154094</c:v>
                </c:pt>
                <c:pt idx="24">
                  <c:v>0.004001048288404691</c:v>
                </c:pt>
                <c:pt idx="25">
                  <c:v>0.004577942907646793</c:v>
                </c:pt>
                <c:pt idx="26">
                  <c:v>0.004055786053043485</c:v>
                </c:pt>
                <c:pt idx="27">
                  <c:v>0.0046231697629583466</c:v>
                </c:pt>
                <c:pt idx="28">
                  <c:v>0.00431519264717116</c:v>
                </c:pt>
                <c:pt idx="29">
                  <c:v>0.004672394820678915</c:v>
                </c:pt>
                <c:pt idx="30">
                  <c:v>0.0048246771710684115</c:v>
                </c:pt>
                <c:pt idx="31">
                  <c:v>0.004513884411187619</c:v>
                </c:pt>
                <c:pt idx="32">
                  <c:v>0.003525568926523585</c:v>
                </c:pt>
                <c:pt idx="33">
                  <c:v>0.0026811087930117272</c:v>
                </c:pt>
                <c:pt idx="34">
                  <c:v>0.0025747694637109683</c:v>
                </c:pt>
                <c:pt idx="35">
                  <c:v>0.004133140499712506</c:v>
                </c:pt>
                <c:pt idx="36">
                  <c:v>0.0035133780398375787</c:v>
                </c:pt>
                <c:pt idx="37">
                  <c:v>0.003670224040196608</c:v>
                </c:pt>
                <c:pt idx="38">
                  <c:v>0.004801331509161607</c:v>
                </c:pt>
                <c:pt idx="39">
                  <c:v>0.00563202787613657</c:v>
                </c:pt>
                <c:pt idx="40">
                  <c:v>0.0055442362438127574</c:v>
                </c:pt>
                <c:pt idx="41">
                  <c:v>0.005129237193684134</c:v>
                </c:pt>
                <c:pt idx="42">
                  <c:v>0.005447502200698264</c:v>
                </c:pt>
                <c:pt idx="43">
                  <c:v>0.005092948477796796</c:v>
                </c:pt>
                <c:pt idx="44">
                  <c:v>0.0038218465661665653</c:v>
                </c:pt>
                <c:pt idx="45">
                  <c:v>0.0036204849947114974</c:v>
                </c:pt>
                <c:pt idx="46">
                  <c:v>0.0037558616834319804</c:v>
                </c:pt>
                <c:pt idx="47">
                  <c:v>0.0038330379530999176</c:v>
                </c:pt>
                <c:pt idx="48">
                  <c:v>0.004750594997907874</c:v>
                </c:pt>
                <c:pt idx="49">
                  <c:v>0.0043821786568456235</c:v>
                </c:pt>
                <c:pt idx="50">
                  <c:v>0.0037624218921259826</c:v>
                </c:pt>
                <c:pt idx="51">
                  <c:v>0.0035360014340151073</c:v>
                </c:pt>
                <c:pt idx="52">
                  <c:v>0.00503283753204918</c:v>
                </c:pt>
                <c:pt idx="53">
                  <c:v>0.00503283753204918</c:v>
                </c:pt>
                <c:pt idx="54">
                  <c:v>0.00347937230785243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0363114090005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6505179369885354</c:v>
                </c:pt>
                <c:pt idx="2">
                  <c:v>0.0</c:v>
                </c:pt>
                <c:pt idx="3">
                  <c:v>0.7468137719387239</c:v>
                </c:pt>
                <c:pt idx="4">
                  <c:v>0.9446115083445435</c:v>
                </c:pt>
                <c:pt idx="5">
                  <c:v>0.8740833307163486</c:v>
                </c:pt>
                <c:pt idx="6">
                  <c:v>0.8258474190097183</c:v>
                </c:pt>
                <c:pt idx="7">
                  <c:v>0.9047598486654961</c:v>
                </c:pt>
                <c:pt idx="8">
                  <c:v>0.9366734679852323</c:v>
                </c:pt>
                <c:pt idx="9">
                  <c:v>0.7012802239234842</c:v>
                </c:pt>
                <c:pt idx="10">
                  <c:v>0.6490826726195741</c:v>
                </c:pt>
                <c:pt idx="11">
                  <c:v>0.9916147320348305</c:v>
                </c:pt>
                <c:pt idx="12">
                  <c:v>0.7734213867612915</c:v>
                </c:pt>
                <c:pt idx="13">
                  <c:v>0.7696351835070553</c:v>
                </c:pt>
                <c:pt idx="14">
                  <c:v>0.6828666326725689</c:v>
                </c:pt>
                <c:pt idx="15">
                  <c:v>0.6742512835498331</c:v>
                </c:pt>
                <c:pt idx="16">
                  <c:v>0.6983416572852118</c:v>
                </c:pt>
                <c:pt idx="17">
                  <c:v>0.524027242611899</c:v>
                </c:pt>
                <c:pt idx="18">
                  <c:v>0.3975099947166612</c:v>
                </c:pt>
                <c:pt idx="19">
                  <c:v>0.4918949995192061</c:v>
                </c:pt>
                <c:pt idx="20">
                  <c:v>0.4688176967376702</c:v>
                </c:pt>
                <c:pt idx="21">
                  <c:v>0.4443093800217104</c:v>
                </c:pt>
                <c:pt idx="22">
                  <c:v>0.20961570822297768</c:v>
                </c:pt>
                <c:pt idx="23">
                  <c:v>0.2855289740113074</c:v>
                </c:pt>
                <c:pt idx="24">
                  <c:v>1.0208662692235573</c:v>
                </c:pt>
                <c:pt idx="25">
                  <c:v>1.1436161102620965</c:v>
                </c:pt>
                <c:pt idx="26">
                  <c:v>1.1552015050564335</c:v>
                </c:pt>
                <c:pt idx="27">
                  <c:v>0.9011699833316614</c:v>
                </c:pt>
                <c:pt idx="28">
                  <c:v>1.2398761186454534</c:v>
                </c:pt>
                <c:pt idx="29">
                  <c:v>1.1601362220007105</c:v>
                </c:pt>
                <c:pt idx="30">
                  <c:v>1.0653935878052079</c:v>
                </c:pt>
                <c:pt idx="31">
                  <c:v>1.2297503200435826</c:v>
                </c:pt>
                <c:pt idx="32">
                  <c:v>1.2053081296188122</c:v>
                </c:pt>
                <c:pt idx="33">
                  <c:v>1.036986909256904</c:v>
                </c:pt>
                <c:pt idx="34">
                  <c:v>0.8935745271725687</c:v>
                </c:pt>
                <c:pt idx="35">
                  <c:v>1.2088909168034419</c:v>
                </c:pt>
                <c:pt idx="36">
                  <c:v>1.191699039231385</c:v>
                </c:pt>
                <c:pt idx="37">
                  <c:v>0.964677477011002</c:v>
                </c:pt>
                <c:pt idx="38">
                  <c:v>0.9042050888129866</c:v>
                </c:pt>
                <c:pt idx="39">
                  <c:v>0.9689376029479678</c:v>
                </c:pt>
                <c:pt idx="40">
                  <c:v>0.8716188383203244</c:v>
                </c:pt>
                <c:pt idx="41">
                  <c:v>1.0348665181107068</c:v>
                </c:pt>
                <c:pt idx="42">
                  <c:v>1.0694809104173288</c:v>
                </c:pt>
                <c:pt idx="43">
                  <c:v>1.1412786685873577</c:v>
                </c:pt>
                <c:pt idx="44">
                  <c:v>1.4771860121109213</c:v>
                </c:pt>
                <c:pt idx="45">
                  <c:v>1.0984201942395833</c:v>
                </c:pt>
                <c:pt idx="46">
                  <c:v>1.0820881387502848</c:v>
                </c:pt>
                <c:pt idx="47">
                  <c:v>1.149912943844034</c:v>
                </c:pt>
                <c:pt idx="48">
                  <c:v>1.374597483322082</c:v>
                </c:pt>
                <c:pt idx="49">
                  <c:v>1.4878122206754407</c:v>
                </c:pt>
                <c:pt idx="50">
                  <c:v>1.267452497579682</c:v>
                </c:pt>
                <c:pt idx="51">
                  <c:v>1.2958911789517982</c:v>
                </c:pt>
                <c:pt idx="52">
                  <c:v>1.3068676186945258</c:v>
                </c:pt>
                <c:pt idx="53">
                  <c:v>1.2755678837667668</c:v>
                </c:pt>
              </c:numCache>
            </c:numRef>
          </c:xVal>
          <c:yVal>
            <c:numRef>
              <c:f>Sheet1!$B$2:$B$55</c:f>
              <c:numCache>
                <c:formatCode>General</c:formatCode>
                <c:ptCount val="54"/>
                <c:pt idx="0">
                  <c:v>0.0</c:v>
                </c:pt>
                <c:pt idx="1">
                  <c:v>4.062893592816804e-05</c:v>
                </c:pt>
                <c:pt idx="2">
                  <c:v>0.0</c:v>
                </c:pt>
                <c:pt idx="3">
                  <c:v>5.319431884674717e-05</c:v>
                </c:pt>
                <c:pt idx="4">
                  <c:v>5.4124269322364146e-05</c:v>
                </c:pt>
                <c:pt idx="5">
                  <c:v>0.00011374623215605983</c:v>
                </c:pt>
                <c:pt idx="6">
                  <c:v>9.508867018494746e-05</c:v>
                </c:pt>
                <c:pt idx="7">
                  <c:v>0.00013297872340425532</c:v>
                </c:pt>
                <c:pt idx="8">
                  <c:v>0.00017413007516614912</c:v>
                </c:pt>
                <c:pt idx="9">
                  <c:v>0.0003934684241589612</c:v>
                </c:pt>
                <c:pt idx="10">
                  <c:v>0.00045349417259988206</c:v>
                </c:pt>
                <c:pt idx="11">
                  <c:v>0.00033961623365596876</c:v>
                </c:pt>
                <c:pt idx="12">
                  <c:v>0.00043821209465381246</c:v>
                </c:pt>
                <c:pt idx="13">
                  <c:v>0.0004317619813949837</c:v>
                </c:pt>
                <c:pt idx="14">
                  <c:v>0.0004653130287648054</c:v>
                </c:pt>
                <c:pt idx="15">
                  <c:v>0.00042498937526561835</c:v>
                </c:pt>
                <c:pt idx="16">
                  <c:v>0.0004475875033569063</c:v>
                </c:pt>
                <c:pt idx="17">
                  <c:v>0.0006978367062107466</c:v>
                </c:pt>
                <c:pt idx="18">
                  <c:v>0.0008305647840531562</c:v>
                </c:pt>
                <c:pt idx="19">
                  <c:v>0.0005222613918266092</c:v>
                </c:pt>
                <c:pt idx="20">
                  <c:v>0.0007290223809870963</c:v>
                </c:pt>
                <c:pt idx="21">
                  <c:v>0.0007539927342518336</c:v>
                </c:pt>
                <c:pt idx="22">
                  <c:v>0.0011206574523720584</c:v>
                </c:pt>
                <c:pt idx="23">
                  <c:v>0.0010407271213487823</c:v>
                </c:pt>
                <c:pt idx="24">
                  <c:v>0.0009697753353806369</c:v>
                </c:pt>
                <c:pt idx="25">
                  <c:v>0.0014033856679238662</c:v>
                </c:pt>
                <c:pt idx="26">
                  <c:v>0.0018138944313440958</c:v>
                </c:pt>
                <c:pt idx="27">
                  <c:v>0.0024113332663518536</c:v>
                </c:pt>
                <c:pt idx="28">
                  <c:v>0.0016335865392469167</c:v>
                </c:pt>
                <c:pt idx="29">
                  <c:v>0.0015424581912648156</c:v>
                </c:pt>
                <c:pt idx="30">
                  <c:v>0.0020646447387156486</c:v>
                </c:pt>
                <c:pt idx="31">
                  <c:v>0.002228826151560178</c:v>
                </c:pt>
                <c:pt idx="32">
                  <c:v>0.0019928676316341514</c:v>
                </c:pt>
                <c:pt idx="33">
                  <c:v>0.002017199278054995</c:v>
                </c:pt>
                <c:pt idx="34">
                  <c:v>0.0022242817423540314</c:v>
                </c:pt>
                <c:pt idx="35">
                  <c:v>0.0019835647492207425</c:v>
                </c:pt>
                <c:pt idx="36">
                  <c:v>0.0018495684340320592</c:v>
                </c:pt>
                <c:pt idx="37">
                  <c:v>0.0027003484320557492</c:v>
                </c:pt>
                <c:pt idx="38">
                  <c:v>0.0034119988626670457</c:v>
                </c:pt>
                <c:pt idx="39">
                  <c:v>0.0030179127725856697</c:v>
                </c:pt>
                <c:pt idx="40">
                  <c:v>0.0033358749523446436</c:v>
                </c:pt>
                <c:pt idx="41">
                  <c:v>0.002671144012821491</c:v>
                </c:pt>
                <c:pt idx="42">
                  <c:v>0.0027096191479753125</c:v>
                </c:pt>
                <c:pt idx="43">
                  <c:v>0.0025950108823037</c:v>
                </c:pt>
                <c:pt idx="44">
                  <c:v>0.0027889680818097306</c:v>
                </c:pt>
                <c:pt idx="45">
                  <c:v>0.003622730527823413</c:v>
                </c:pt>
                <c:pt idx="46">
                  <c:v>0.004239336581012235</c:v>
                </c:pt>
                <c:pt idx="47">
                  <c:v>0.004076973255055447</c:v>
                </c:pt>
                <c:pt idx="48">
                  <c:v>0.0037380550871276</c:v>
                </c:pt>
                <c:pt idx="49">
                  <c:v>0.003018412315122246</c:v>
                </c:pt>
                <c:pt idx="50">
                  <c:v>0.004168972514296256</c:v>
                </c:pt>
                <c:pt idx="51">
                  <c:v>0.0037340153452685423</c:v>
                </c:pt>
                <c:pt idx="52">
                  <c:v>0.003229713362939039</c:v>
                </c:pt>
                <c:pt idx="53">
                  <c:v>0.00271591526344378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numCache>
            </c:numRef>
          </c:xVal>
          <c:yVal>
            <c:numRef>
              <c:f>Sheet1!$B$58:$B$109</c:f>
              <c:numCache>
                <c:formatCode>General</c:formatCode>
                <c:ptCount val="52"/>
                <c:pt idx="0">
                  <c:v>0.002626677491761784</c:v>
                </c:pt>
                <c:pt idx="1">
                  <c:v>0.0032527648501226043</c:v>
                </c:pt>
                <c:pt idx="2">
                  <c:v>0.002899824253075571</c:v>
                </c:pt>
                <c:pt idx="3">
                  <c:v>0.0032660467226128375</c:v>
                </c:pt>
                <c:pt idx="4">
                  <c:v>0.0030427366188741875</c:v>
                </c:pt>
                <c:pt idx="5">
                  <c:v>0.002668789212473078</c:v>
                </c:pt>
                <c:pt idx="6">
                  <c:v>0.002740167633784655</c:v>
                </c:pt>
                <c:pt idx="7">
                  <c:v>0.003303600925008259</c:v>
                </c:pt>
                <c:pt idx="8">
                  <c:v>0.004028509451502944</c:v>
                </c:pt>
                <c:pt idx="9">
                  <c:v>0.004063179581091908</c:v>
                </c:pt>
                <c:pt idx="10">
                  <c:v>0.003868797308662742</c:v>
                </c:pt>
                <c:pt idx="11">
                  <c:v>0.003855632403211702</c:v>
                </c:pt>
                <c:pt idx="12">
                  <c:v>0.004143906573742701</c:v>
                </c:pt>
                <c:pt idx="13">
                  <c:v>0.006267515923566879</c:v>
                </c:pt>
                <c:pt idx="14">
                  <c:v>0.006158455392809587</c:v>
                </c:pt>
                <c:pt idx="15">
                  <c:v>0.005956320317670417</c:v>
                </c:pt>
                <c:pt idx="16">
                  <c:v>0.005823036500497088</c:v>
                </c:pt>
                <c:pt idx="17">
                  <c:v>0.007586359284083377</c:v>
                </c:pt>
                <c:pt idx="18">
                  <c:v>0.004027075657612887</c:v>
                </c:pt>
                <c:pt idx="19">
                  <c:v>0.0037012113055181696</c:v>
                </c:pt>
                <c:pt idx="20">
                  <c:v>0.004559836218127675</c:v>
                </c:pt>
                <c:pt idx="21">
                  <c:v>0.005415561450044209</c:v>
                </c:pt>
                <c:pt idx="22">
                  <c:v>0.004612249275984125</c:v>
                </c:pt>
                <c:pt idx="23">
                  <c:v>0.005031868500503187</c:v>
                </c:pt>
                <c:pt idx="24">
                  <c:v>0.004442148760330579</c:v>
                </c:pt>
                <c:pt idx="25">
                  <c:v>0.004692786205391247</c:v>
                </c:pt>
                <c:pt idx="26">
                  <c:v>0.0044816253361219</c:v>
                </c:pt>
                <c:pt idx="27">
                  <c:v>0.004878048780487805</c:v>
                </c:pt>
                <c:pt idx="28">
                  <c:v>0.0038342307064774027</c:v>
                </c:pt>
                <c:pt idx="29">
                  <c:v>0.004616895874263261</c:v>
                </c:pt>
                <c:pt idx="30">
                  <c:v>0.004550510668419456</c:v>
                </c:pt>
                <c:pt idx="31">
                  <c:v>0.004864864864864865</c:v>
                </c:pt>
                <c:pt idx="32">
                  <c:v>0.004004843066033343</c:v>
                </c:pt>
                <c:pt idx="33">
                  <c:v>0.003232204510394476</c:v>
                </c:pt>
                <c:pt idx="34">
                  <c:v>0.0032390148505775226</c:v>
                </c:pt>
                <c:pt idx="35">
                  <c:v>0.004430863254392666</c:v>
                </c:pt>
                <c:pt idx="36">
                  <c:v>0.005197259626742263</c:v>
                </c:pt>
                <c:pt idx="37">
                  <c:v>0.005343022013250694</c:v>
                </c:pt>
                <c:pt idx="38">
                  <c:v>0.006447761194029851</c:v>
                </c:pt>
                <c:pt idx="39">
                  <c:v>0.006041222459132907</c:v>
                </c:pt>
                <c:pt idx="40">
                  <c:v>0.0054897176716626</c:v>
                </c:pt>
                <c:pt idx="41">
                  <c:v>0.00464699168433067</c:v>
                </c:pt>
                <c:pt idx="42">
                  <c:v>0.005253456221198157</c:v>
                </c:pt>
                <c:pt idx="43">
                  <c:v>0.004065867046147591</c:v>
                </c:pt>
                <c:pt idx="44">
                  <c:v>0.0029100677150372153</c:v>
                </c:pt>
                <c:pt idx="45">
                  <c:v>0.0023428829791606724</c:v>
                </c:pt>
                <c:pt idx="46">
                  <c:v>0.0025314037350145677</c:v>
                </c:pt>
                <c:pt idx="47">
                  <c:v>0.0023496032273795276</c:v>
                </c:pt>
                <c:pt idx="48">
                  <c:v>0.002659476230931186</c:v>
                </c:pt>
                <c:pt idx="49">
                  <c:v>0.002404683906043075</c:v>
                </c:pt>
                <c:pt idx="50">
                  <c:v>0.0019894534995206136</c:v>
                </c:pt>
                <c:pt idx="51">
                  <c:v>0.002547013626522902</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9680589764122164</c:v>
                </c:pt>
              </c:numCache>
            </c:numRef>
          </c:xVal>
          <c:yVal>
            <c:numRef>
              <c:f>Sheet1!$B$112:$B$113</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9680589764122164</c:v>
                </c:pt>
                <c:pt idx="1">
                  <c:v>0.9680589764122164</c:v>
                </c:pt>
              </c:numCache>
            </c:numRef>
          </c:xVal>
          <c:yVal>
            <c:numRef>
              <c:f>Sheet1!$B$116:$B$117</c:f>
              <c:numCache>
                <c:formatCode>General</c:formatCode>
                <c:ptCount val="2"/>
                <c:pt idx="0">
                  <c:v>0.005032837532049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9680589764122164</c:v>
                </c:pt>
              </c:numCache>
            </c:numRef>
          </c:xVal>
          <c:yVal>
            <c:numRef>
              <c:f>Sheet1!$B$120:$B$121</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9680589764122164</c:v>
                </c:pt>
                <c:pt idx="1">
                  <c:v>0.9680589764122164</c:v>
                </c:pt>
              </c:numCache>
            </c:numRef>
          </c:xVal>
          <c:yVal>
            <c:numRef>
              <c:f>Sheet1!$B$124:$B$125</c:f>
              <c:numCache>
                <c:formatCode>General</c:formatCode>
                <c:ptCount val="2"/>
                <c:pt idx="0">
                  <c:v>0.005032837532049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1.3680113561195235</c:v>
                </c:pt>
              </c:numCache>
            </c:numRef>
          </c:xVal>
          <c:yVal>
            <c:numRef>
              <c:f>Sheet1!$B$128:$B$129</c:f>
              <c:numCache>
                <c:formatCode>General</c:formatCode>
                <c:ptCount val="2"/>
                <c:pt idx="0">
                  <c:v>0.0034793723078524372</c:v>
                </c:pt>
                <c:pt idx="1">
                  <c:v>0.0034793723078524372</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1.3680113561195235</c:v>
                </c:pt>
                <c:pt idx="1">
                  <c:v>1.3680113561195235</c:v>
                </c:pt>
              </c:numCache>
            </c:numRef>
          </c:xVal>
          <c:yVal>
            <c:numRef>
              <c:f>Sheet1!$B$132:$B$133</c:f>
              <c:numCache>
                <c:formatCode>General</c:formatCode>
                <c:ptCount val="2"/>
                <c:pt idx="0">
                  <c:v>0.00347937230785243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pt idx="52">
                  <c:v>0.9680589764122164</c:v>
                </c:pt>
                <c:pt idx="53">
                  <c:v>0.9680589764122164</c:v>
                </c:pt>
                <c:pt idx="54">
                  <c:v>1.3680113561195235</c:v>
                </c:pt>
              </c:numCache>
            </c:numRef>
          </c:xVal>
          <c:yVal>
            <c:numRef>
              <c:f>Sheet1!$B$136:$B$190</c:f>
              <c:numCache>
                <c:formatCode>General</c:formatCode>
                <c:ptCount val="55"/>
                <c:pt idx="0">
                  <c:v>0.0036702185366409524</c:v>
                </c:pt>
                <c:pt idx="1">
                  <c:v>0.004215996846900454</c:v>
                </c:pt>
                <c:pt idx="2">
                  <c:v>0.003512386177282392</c:v>
                </c:pt>
                <c:pt idx="3">
                  <c:v>0.004169873011153433</c:v>
                </c:pt>
                <c:pt idx="4">
                  <c:v>0.003472209831314555</c:v>
                </c:pt>
                <c:pt idx="5">
                  <c:v>0.003511716990264594</c:v>
                </c:pt>
                <c:pt idx="6">
                  <c:v>0.0028648729133256504</c:v>
                </c:pt>
                <c:pt idx="7">
                  <c:v>0.0031335866756672884</c:v>
                </c:pt>
                <c:pt idx="8">
                  <c:v>0.003848438599541093</c:v>
                </c:pt>
                <c:pt idx="9">
                  <c:v>0.0037931883754790726</c:v>
                </c:pt>
                <c:pt idx="10">
                  <c:v>0.003211372880082347</c:v>
                </c:pt>
                <c:pt idx="11">
                  <c:v>0.003047573223473209</c:v>
                </c:pt>
                <c:pt idx="12">
                  <c:v>0.003042001625876049</c:v>
                </c:pt>
                <c:pt idx="13">
                  <c:v>0.003555038598480331</c:v>
                </c:pt>
                <c:pt idx="14">
                  <c:v>0.00350661130970349</c:v>
                </c:pt>
                <c:pt idx="15">
                  <c:v>0.003819328592390173</c:v>
                </c:pt>
                <c:pt idx="16">
                  <c:v>0.003899600629845311</c:v>
                </c:pt>
                <c:pt idx="17">
                  <c:v>0.005231452972283361</c:v>
                </c:pt>
                <c:pt idx="18">
                  <c:v>0.004117174603792104</c:v>
                </c:pt>
                <c:pt idx="19">
                  <c:v>0.003929316659305915</c:v>
                </c:pt>
                <c:pt idx="20">
                  <c:v>0.004255261375755197</c:v>
                </c:pt>
                <c:pt idx="21">
                  <c:v>0.004755469403422726</c:v>
                </c:pt>
                <c:pt idx="22">
                  <c:v>0.004466264534038484</c:v>
                </c:pt>
                <c:pt idx="23">
                  <c:v>0.0054733990636150545</c:v>
                </c:pt>
                <c:pt idx="24">
                  <c:v>0.0044199595095707695</c:v>
                </c:pt>
                <c:pt idx="25">
                  <c:v>0.004760718265999065</c:v>
                </c:pt>
                <c:pt idx="26">
                  <c:v>0.0045909110443350405</c:v>
                </c:pt>
                <c:pt idx="27">
                  <c:v>0.0047749931221917575</c:v>
                </c:pt>
                <c:pt idx="28">
                  <c:v>0.004020322178607888</c:v>
                </c:pt>
                <c:pt idx="29">
                  <c:v>0.004250840943742804</c:v>
                </c:pt>
                <c:pt idx="30">
                  <c:v>0.0044261997307759185</c:v>
                </c:pt>
                <c:pt idx="31">
                  <c:v>0.0050990591019323</c:v>
                </c:pt>
                <c:pt idx="32">
                  <c:v>0.004774358504489133</c:v>
                </c:pt>
                <c:pt idx="33">
                  <c:v>0.004589834968001028</c:v>
                </c:pt>
                <c:pt idx="34">
                  <c:v>0.004321756811548155</c:v>
                </c:pt>
                <c:pt idx="35">
                  <c:v>0.005045644754459968</c:v>
                </c:pt>
                <c:pt idx="36">
                  <c:v>0.004785576800730253</c:v>
                </c:pt>
                <c:pt idx="37">
                  <c:v>0.004909618727510941</c:v>
                </c:pt>
                <c:pt idx="38">
                  <c:v>0.005316117810574677</c:v>
                </c:pt>
                <c:pt idx="39">
                  <c:v>0.00552811459318407</c:v>
                </c:pt>
                <c:pt idx="40">
                  <c:v>0.0055456350821348165</c:v>
                </c:pt>
                <c:pt idx="41">
                  <c:v>0.0053289148429882804</c:v>
                </c:pt>
                <c:pt idx="42">
                  <c:v>0.005607217789746349</c:v>
                </c:pt>
                <c:pt idx="43">
                  <c:v>0.005080677377543462</c:v>
                </c:pt>
                <c:pt idx="44">
                  <c:v>0.003783899273809176</c:v>
                </c:pt>
                <c:pt idx="45">
                  <c:v>0.0032873288701741107</c:v>
                </c:pt>
                <c:pt idx="46">
                  <c:v>0.003769666871918251</c:v>
                </c:pt>
                <c:pt idx="47">
                  <c:v>0.0033079305123970846</c:v>
                </c:pt>
                <c:pt idx="48">
                  <c:v>0.0037791116213747138</c:v>
                </c:pt>
                <c:pt idx="49">
                  <c:v>0.0032227182002381328</c:v>
                </c:pt>
                <c:pt idx="50">
                  <c:v>0.0024478087628694353</c:v>
                </c:pt>
                <c:pt idx="51">
                  <c:v>0.0031107530637206737</c:v>
                </c:pt>
                <c:pt idx="52">
                  <c:v>0.00503283753204918</c:v>
                </c:pt>
                <c:pt idx="53">
                  <c:v>0.00503283753204918</c:v>
                </c:pt>
                <c:pt idx="54">
                  <c:v>0.00347937230785243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0363114090005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4.062893592816804e-05</c:v>
                </c:pt>
                <c:pt idx="2">
                  <c:v>0.0</c:v>
                </c:pt>
                <c:pt idx="3">
                  <c:v>5.319431884674717e-05</c:v>
                </c:pt>
                <c:pt idx="4">
                  <c:v>5.4124269322364146e-05</c:v>
                </c:pt>
                <c:pt idx="5">
                  <c:v>0.00011374623215605983</c:v>
                </c:pt>
                <c:pt idx="6">
                  <c:v>9.508867018494746e-05</c:v>
                </c:pt>
                <c:pt idx="7">
                  <c:v>0.00013297872340425532</c:v>
                </c:pt>
                <c:pt idx="8">
                  <c:v>0.00017413007516614912</c:v>
                </c:pt>
                <c:pt idx="9">
                  <c:v>0.0003934684241589612</c:v>
                </c:pt>
                <c:pt idx="10">
                  <c:v>0.00045349417259988206</c:v>
                </c:pt>
                <c:pt idx="11">
                  <c:v>0.00033961623365596876</c:v>
                </c:pt>
                <c:pt idx="12">
                  <c:v>0.00043821209465381246</c:v>
                </c:pt>
                <c:pt idx="13">
                  <c:v>0.0004317619813949837</c:v>
                </c:pt>
                <c:pt idx="14">
                  <c:v>0.0004653130287648054</c:v>
                </c:pt>
                <c:pt idx="15">
                  <c:v>0.00042498937526561835</c:v>
                </c:pt>
                <c:pt idx="16">
                  <c:v>0.0004475875033569063</c:v>
                </c:pt>
                <c:pt idx="17">
                  <c:v>0.0006978367062107466</c:v>
                </c:pt>
                <c:pt idx="18">
                  <c:v>0.0008305647840531562</c:v>
                </c:pt>
                <c:pt idx="19">
                  <c:v>0.0005222613918266092</c:v>
                </c:pt>
                <c:pt idx="20">
                  <c:v>0.0007290223809870963</c:v>
                </c:pt>
                <c:pt idx="21">
                  <c:v>0.0007539927342518336</c:v>
                </c:pt>
                <c:pt idx="22">
                  <c:v>0.0011206574523720584</c:v>
                </c:pt>
                <c:pt idx="23">
                  <c:v>0.0010407271213487823</c:v>
                </c:pt>
                <c:pt idx="24">
                  <c:v>0.0009697753353806369</c:v>
                </c:pt>
                <c:pt idx="25">
                  <c:v>0.0014033856679238662</c:v>
                </c:pt>
                <c:pt idx="26">
                  <c:v>0.0018138944313440958</c:v>
                </c:pt>
                <c:pt idx="27">
                  <c:v>0.0024113332663518536</c:v>
                </c:pt>
                <c:pt idx="28">
                  <c:v>0.0016335865392469167</c:v>
                </c:pt>
                <c:pt idx="29">
                  <c:v>0.0015424581912648156</c:v>
                </c:pt>
                <c:pt idx="30">
                  <c:v>0.0020646447387156486</c:v>
                </c:pt>
                <c:pt idx="31">
                  <c:v>0.002228826151560178</c:v>
                </c:pt>
                <c:pt idx="32">
                  <c:v>0.0019928676316341514</c:v>
                </c:pt>
                <c:pt idx="33">
                  <c:v>0.002017199278054995</c:v>
                </c:pt>
                <c:pt idx="34">
                  <c:v>0.0022242817423540314</c:v>
                </c:pt>
                <c:pt idx="35">
                  <c:v>0.0019835647492207425</c:v>
                </c:pt>
                <c:pt idx="36">
                  <c:v>0.0018495684340320592</c:v>
                </c:pt>
                <c:pt idx="37">
                  <c:v>0.0027003484320557492</c:v>
                </c:pt>
                <c:pt idx="38">
                  <c:v>0.0034119988626670457</c:v>
                </c:pt>
                <c:pt idx="39">
                  <c:v>0.0030179127725856697</c:v>
                </c:pt>
                <c:pt idx="40">
                  <c:v>0.0033358749523446436</c:v>
                </c:pt>
                <c:pt idx="41">
                  <c:v>0.002671144012821491</c:v>
                </c:pt>
                <c:pt idx="42">
                  <c:v>0.0027096191479753125</c:v>
                </c:pt>
                <c:pt idx="43">
                  <c:v>0.0025950108823037</c:v>
                </c:pt>
                <c:pt idx="44">
                  <c:v>0.0027889680818097306</c:v>
                </c:pt>
                <c:pt idx="45">
                  <c:v>0.003622730527823413</c:v>
                </c:pt>
                <c:pt idx="46">
                  <c:v>0.004239336581012235</c:v>
                </c:pt>
                <c:pt idx="47">
                  <c:v>0.004076973255055447</c:v>
                </c:pt>
                <c:pt idx="48">
                  <c:v>0.0037380550871276</c:v>
                </c:pt>
                <c:pt idx="49">
                  <c:v>0.003018412315122246</c:v>
                </c:pt>
                <c:pt idx="50">
                  <c:v>0.004168972514296256</c:v>
                </c:pt>
                <c:pt idx="51">
                  <c:v>0.0037340153452685423</c:v>
                </c:pt>
                <c:pt idx="52">
                  <c:v>0.003229713362939039</c:v>
                </c:pt>
                <c:pt idx="53">
                  <c:v>0.00271591526344378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626677491761784</c:v>
                </c:pt>
                <c:pt idx="1">
                  <c:v>0.0032527648501226043</c:v>
                </c:pt>
                <c:pt idx="2">
                  <c:v>0.002899824253075571</c:v>
                </c:pt>
                <c:pt idx="3">
                  <c:v>0.0032660467226128375</c:v>
                </c:pt>
                <c:pt idx="4">
                  <c:v>0.0030427366188741875</c:v>
                </c:pt>
                <c:pt idx="5">
                  <c:v>0.002668789212473078</c:v>
                </c:pt>
                <c:pt idx="6">
                  <c:v>0.002740167633784655</c:v>
                </c:pt>
                <c:pt idx="7">
                  <c:v>0.003303600925008259</c:v>
                </c:pt>
                <c:pt idx="8">
                  <c:v>0.004028509451502944</c:v>
                </c:pt>
                <c:pt idx="9">
                  <c:v>0.004063179581091908</c:v>
                </c:pt>
                <c:pt idx="10">
                  <c:v>0.003868797308662742</c:v>
                </c:pt>
                <c:pt idx="11">
                  <c:v>0.003855632403211702</c:v>
                </c:pt>
                <c:pt idx="12">
                  <c:v>0.004143906573742701</c:v>
                </c:pt>
                <c:pt idx="13">
                  <c:v>0.006267515923566879</c:v>
                </c:pt>
                <c:pt idx="14">
                  <c:v>0.006158455392809587</c:v>
                </c:pt>
                <c:pt idx="15">
                  <c:v>0.005956320317670417</c:v>
                </c:pt>
                <c:pt idx="16">
                  <c:v>0.005823036500497088</c:v>
                </c:pt>
                <c:pt idx="17">
                  <c:v>0.007586359284083377</c:v>
                </c:pt>
                <c:pt idx="18">
                  <c:v>0.004027075657612887</c:v>
                </c:pt>
                <c:pt idx="19">
                  <c:v>0.0037012113055181696</c:v>
                </c:pt>
                <c:pt idx="20">
                  <c:v>0.004559836218127675</c:v>
                </c:pt>
                <c:pt idx="21">
                  <c:v>0.005415561450044209</c:v>
                </c:pt>
                <c:pt idx="22">
                  <c:v>0.004612249275984125</c:v>
                </c:pt>
                <c:pt idx="23">
                  <c:v>0.005031868500503187</c:v>
                </c:pt>
                <c:pt idx="24">
                  <c:v>0.004442148760330579</c:v>
                </c:pt>
                <c:pt idx="25">
                  <c:v>0.004692786205391247</c:v>
                </c:pt>
                <c:pt idx="26">
                  <c:v>0.0044816253361219</c:v>
                </c:pt>
                <c:pt idx="27">
                  <c:v>0.004878048780487805</c:v>
                </c:pt>
                <c:pt idx="28">
                  <c:v>0.0038342307064774027</c:v>
                </c:pt>
                <c:pt idx="29">
                  <c:v>0.004616895874263261</c:v>
                </c:pt>
                <c:pt idx="30">
                  <c:v>0.004550510668419456</c:v>
                </c:pt>
                <c:pt idx="31">
                  <c:v>0.004864864864864865</c:v>
                </c:pt>
                <c:pt idx="32">
                  <c:v>0.004004843066033343</c:v>
                </c:pt>
                <c:pt idx="33">
                  <c:v>0.003232204510394476</c:v>
                </c:pt>
                <c:pt idx="34">
                  <c:v>0.0032390148505775226</c:v>
                </c:pt>
                <c:pt idx="35">
                  <c:v>0.004430863254392666</c:v>
                </c:pt>
                <c:pt idx="36">
                  <c:v>0.005197259626742263</c:v>
                </c:pt>
                <c:pt idx="37">
                  <c:v>0.005343022013250694</c:v>
                </c:pt>
                <c:pt idx="38">
                  <c:v>0.006447761194029851</c:v>
                </c:pt>
                <c:pt idx="39">
                  <c:v>0.006041222459132907</c:v>
                </c:pt>
                <c:pt idx="40">
                  <c:v>0.0054897176716626</c:v>
                </c:pt>
                <c:pt idx="41">
                  <c:v>0.00464699168433067</c:v>
                </c:pt>
                <c:pt idx="42">
                  <c:v>0.005253456221198157</c:v>
                </c:pt>
                <c:pt idx="43">
                  <c:v>0.004065867046147591</c:v>
                </c:pt>
                <c:pt idx="44">
                  <c:v>0.0029100677150372153</c:v>
                </c:pt>
                <c:pt idx="45">
                  <c:v>0.0023428829791606724</c:v>
                </c:pt>
                <c:pt idx="46">
                  <c:v>0.0025314037350145677</c:v>
                </c:pt>
                <c:pt idx="47">
                  <c:v>0.0023496032273795276</c:v>
                </c:pt>
                <c:pt idx="48">
                  <c:v>0.002659476230931186</c:v>
                </c:pt>
                <c:pt idx="49">
                  <c:v>0.002404683906043075</c:v>
                </c:pt>
                <c:pt idx="50">
                  <c:v>0.0019894534995206136</c:v>
                </c:pt>
                <c:pt idx="51">
                  <c:v>0.002547013626522902</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77.236602701642</c:v>
                </c:pt>
              </c:numCache>
            </c:numRef>
          </c:xVal>
          <c:yVal>
            <c:numRef>
              <c:f>Sheet1!$B$112:$B$113</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77.236602701642</c:v>
                </c:pt>
                <c:pt idx="1">
                  <c:v>3477.236602701642</c:v>
                </c:pt>
              </c:numCache>
            </c:numRef>
          </c:xVal>
          <c:yVal>
            <c:numRef>
              <c:f>Sheet1!$B$116:$B$117</c:f>
              <c:numCache>
                <c:formatCode>General</c:formatCode>
                <c:ptCount val="2"/>
                <c:pt idx="0">
                  <c:v>0.005032837532049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77.236602701642</c:v>
                </c:pt>
              </c:numCache>
            </c:numRef>
          </c:xVal>
          <c:yVal>
            <c:numRef>
              <c:f>Sheet1!$B$120:$B$121</c:f>
              <c:numCache>
                <c:formatCode>General</c:formatCode>
                <c:ptCount val="2"/>
                <c:pt idx="0">
                  <c:v>0.00503283753204918</c:v>
                </c:pt>
                <c:pt idx="1">
                  <c:v>0.00503283753204918</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77.236602701642</c:v>
                </c:pt>
                <c:pt idx="1">
                  <c:v>3477.236602701642</c:v>
                </c:pt>
              </c:numCache>
            </c:numRef>
          </c:xVal>
          <c:yVal>
            <c:numRef>
              <c:f>Sheet1!$B$124:$B$125</c:f>
              <c:numCache>
                <c:formatCode>General</c:formatCode>
                <c:ptCount val="2"/>
                <c:pt idx="0">
                  <c:v>0.005032837532049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0.991480222945</c:v>
                </c:pt>
              </c:numCache>
            </c:numRef>
          </c:xVal>
          <c:yVal>
            <c:numRef>
              <c:f>Sheet1!$B$128:$B$129</c:f>
              <c:numCache>
                <c:formatCode>General</c:formatCode>
                <c:ptCount val="2"/>
                <c:pt idx="0">
                  <c:v>0.0034793723078524372</c:v>
                </c:pt>
                <c:pt idx="1">
                  <c:v>0.0034793723078524372</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0.991480222945</c:v>
                </c:pt>
                <c:pt idx="1">
                  <c:v>4240.991480222945</c:v>
                </c:pt>
              </c:numCache>
            </c:numRef>
          </c:xVal>
          <c:yVal>
            <c:numRef>
              <c:f>Sheet1!$B$132:$B$133</c:f>
              <c:numCache>
                <c:formatCode>General</c:formatCode>
                <c:ptCount val="2"/>
                <c:pt idx="0">
                  <c:v>0.00347937230785243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77.236602701642</c:v>
                </c:pt>
                <c:pt idx="53">
                  <c:v>3477.236602701642</c:v>
                </c:pt>
                <c:pt idx="54">
                  <c:v>4240.991480222945</c:v>
                </c:pt>
              </c:numCache>
            </c:numRef>
          </c:xVal>
          <c:yVal>
            <c:numRef>
              <c:f>Sheet1!$B$136:$B$190</c:f>
              <c:numCache>
                <c:formatCode>General</c:formatCode>
                <c:ptCount val="55"/>
                <c:pt idx="0">
                  <c:v>0.0030938594771928885</c:v>
                </c:pt>
                <c:pt idx="1">
                  <c:v>0.004534867600642844</c:v>
                </c:pt>
                <c:pt idx="2">
                  <c:v>0.003247419169553621</c:v>
                </c:pt>
                <c:pt idx="3">
                  <c:v>0.004700338710283774</c:v>
                </c:pt>
                <c:pt idx="4">
                  <c:v>0.003005282523634847</c:v>
                </c:pt>
                <c:pt idx="5">
                  <c:v>0.00225939271402034</c:v>
                </c:pt>
                <c:pt idx="6">
                  <c:v>0.0029330807687106292</c:v>
                </c:pt>
                <c:pt idx="7">
                  <c:v>0.003568307812568866</c:v>
                </c:pt>
                <c:pt idx="8">
                  <c:v>0.0038230356332308747</c:v>
                </c:pt>
                <c:pt idx="9">
                  <c:v>0.0038199470284803576</c:v>
                </c:pt>
                <c:pt idx="10">
                  <c:v>0.0034043333083776765</c:v>
                </c:pt>
                <c:pt idx="11">
                  <c:v>0.003985187891129019</c:v>
                </c:pt>
                <c:pt idx="12">
                  <c:v>0.004366079469844756</c:v>
                </c:pt>
                <c:pt idx="13">
                  <c:v>0.0051783105161960176</c:v>
                </c:pt>
                <c:pt idx="14">
                  <c:v>0.005199720638899272</c:v>
                </c:pt>
                <c:pt idx="15">
                  <c:v>0.004745417491557896</c:v>
                </c:pt>
                <c:pt idx="16">
                  <c:v>0.004489054347735259</c:v>
                </c:pt>
                <c:pt idx="17">
                  <c:v>0.0061645495065631795</c:v>
                </c:pt>
                <c:pt idx="18">
                  <c:v>0.0037805577073367225</c:v>
                </c:pt>
                <c:pt idx="19">
                  <c:v>0.003277944388291756</c:v>
                </c:pt>
                <c:pt idx="20">
                  <c:v>0.0037438558892927635</c:v>
                </c:pt>
                <c:pt idx="21">
                  <c:v>0.004434580390825236</c:v>
                </c:pt>
                <c:pt idx="22">
                  <c:v>0.003985060156931895</c:v>
                </c:pt>
                <c:pt idx="23">
                  <c:v>0.005855861920154094</c:v>
                </c:pt>
                <c:pt idx="24">
                  <c:v>0.004001048288404691</c:v>
                </c:pt>
                <c:pt idx="25">
                  <c:v>0.004577942907646793</c:v>
                </c:pt>
                <c:pt idx="26">
                  <c:v>0.004055786053043485</c:v>
                </c:pt>
                <c:pt idx="27">
                  <c:v>0.0046231697629583466</c:v>
                </c:pt>
                <c:pt idx="28">
                  <c:v>0.00431519264717116</c:v>
                </c:pt>
                <c:pt idx="29">
                  <c:v>0.004672394820678915</c:v>
                </c:pt>
                <c:pt idx="30">
                  <c:v>0.0048246771710684115</c:v>
                </c:pt>
                <c:pt idx="31">
                  <c:v>0.004513884411187619</c:v>
                </c:pt>
                <c:pt idx="32">
                  <c:v>0.003525568926523585</c:v>
                </c:pt>
                <c:pt idx="33">
                  <c:v>0.0026811087930117272</c:v>
                </c:pt>
                <c:pt idx="34">
                  <c:v>0.0025747694637109683</c:v>
                </c:pt>
                <c:pt idx="35">
                  <c:v>0.004133140499712506</c:v>
                </c:pt>
                <c:pt idx="36">
                  <c:v>0.0035133780398375787</c:v>
                </c:pt>
                <c:pt idx="37">
                  <c:v>0.003670224040196608</c:v>
                </c:pt>
                <c:pt idx="38">
                  <c:v>0.004801331509161607</c:v>
                </c:pt>
                <c:pt idx="39">
                  <c:v>0.00563202787613657</c:v>
                </c:pt>
                <c:pt idx="40">
                  <c:v>0.0055442362438127574</c:v>
                </c:pt>
                <c:pt idx="41">
                  <c:v>0.005129237193684134</c:v>
                </c:pt>
                <c:pt idx="42">
                  <c:v>0.005447502200698264</c:v>
                </c:pt>
                <c:pt idx="43">
                  <c:v>0.005092948477796796</c:v>
                </c:pt>
                <c:pt idx="44">
                  <c:v>0.0038218465661665653</c:v>
                </c:pt>
                <c:pt idx="45">
                  <c:v>0.0036204849947114974</c:v>
                </c:pt>
                <c:pt idx="46">
                  <c:v>0.0037558616834319804</c:v>
                </c:pt>
                <c:pt idx="47">
                  <c:v>0.0038330379530999176</c:v>
                </c:pt>
                <c:pt idx="48">
                  <c:v>0.004750594997907874</c:v>
                </c:pt>
                <c:pt idx="49">
                  <c:v>0.0043821786568456235</c:v>
                </c:pt>
                <c:pt idx="50">
                  <c:v>0.0037624218921259826</c:v>
                </c:pt>
                <c:pt idx="51">
                  <c:v>0.0035360014340151073</c:v>
                </c:pt>
                <c:pt idx="52">
                  <c:v>0.00503283753204918</c:v>
                </c:pt>
                <c:pt idx="53">
                  <c:v>0.00503283753204918</c:v>
                </c:pt>
                <c:pt idx="54">
                  <c:v>0.00347937230785243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0363114090005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042525252525252</c:v>
                </c:pt>
                <c:pt idx="1">
                  <c:v>0.17288558283661323</c:v>
                </c:pt>
                <c:pt idx="2">
                  <c:v>0.11405490655060166</c:v>
                </c:pt>
                <c:pt idx="3">
                  <c:v>0.09042219884271437</c:v>
                </c:pt>
                <c:pt idx="4">
                  <c:v>0.1503109024619727</c:v>
                </c:pt>
                <c:pt idx="5">
                  <c:v>0.19489522912247373</c:v>
                </c:pt>
                <c:pt idx="6">
                  <c:v>0.15466153846153846</c:v>
                </c:pt>
                <c:pt idx="7">
                  <c:v>0.20337849139971598</c:v>
                </c:pt>
                <c:pt idx="8">
                  <c:v>0.18763649710947297</c:v>
                </c:pt>
                <c:pt idx="9">
                  <c:v>0.215010801260263</c:v>
                </c:pt>
                <c:pt idx="10">
                  <c:v>0.19207387696709582</c:v>
                </c:pt>
                <c:pt idx="11">
                  <c:v>0.1847902536332522</c:v>
                </c:pt>
                <c:pt idx="12">
                  <c:v>0.22120561411594158</c:v>
                </c:pt>
                <c:pt idx="13">
                  <c:v>0.11873443334107986</c:v>
                </c:pt>
                <c:pt idx="14">
                  <c:v>0.1888310056799198</c:v>
                </c:pt>
                <c:pt idx="15">
                  <c:v>0.20907714486638537</c:v>
                </c:pt>
                <c:pt idx="16">
                  <c:v>0.18910171415532928</c:v>
                </c:pt>
                <c:pt idx="17">
                  <c:v>0.14039843094325855</c:v>
                </c:pt>
                <c:pt idx="18">
                  <c:v>0.09280779001739314</c:v>
                </c:pt>
                <c:pt idx="19">
                  <c:v>0.0725980328952806</c:v>
                </c:pt>
                <c:pt idx="20">
                  <c:v>0.046282301960577074</c:v>
                </c:pt>
                <c:pt idx="21">
                  <c:v>0.14715256551604142</c:v>
                </c:pt>
                <c:pt idx="22">
                  <c:v>0.0833969837587007</c:v>
                </c:pt>
                <c:pt idx="23">
                  <c:v>0.05848489403276717</c:v>
                </c:pt>
                <c:pt idx="24">
                  <c:v>0.06285935892128452</c:v>
                </c:pt>
                <c:pt idx="25">
                  <c:v>0.1802779888696987</c:v>
                </c:pt>
                <c:pt idx="26">
                  <c:v>0.0</c:v>
                </c:pt>
                <c:pt idx="27">
                  <c:v>0.06981993187177919</c:v>
                </c:pt>
                <c:pt idx="28">
                  <c:v>0.12240336736248666</c:v>
                </c:pt>
                <c:pt idx="29">
                  <c:v>0.06599657383289922</c:v>
                </c:pt>
                <c:pt idx="30">
                  <c:v>0.08291727405247813</c:v>
                </c:pt>
                <c:pt idx="31">
                  <c:v>0.08794145127321462</c:v>
                </c:pt>
                <c:pt idx="32">
                  <c:v>0.0</c:v>
                </c:pt>
                <c:pt idx="33">
                  <c:v>0.09612434725848563</c:v>
                </c:pt>
                <c:pt idx="34">
                  <c:v>0.05987482236350038</c:v>
                </c:pt>
                <c:pt idx="35">
                  <c:v>0.16641949553959107</c:v>
                </c:pt>
                <c:pt idx="36">
                  <c:v>0.0972991540955872</c:v>
                </c:pt>
                <c:pt idx="37">
                  <c:v>0.0</c:v>
                </c:pt>
                <c:pt idx="38">
                  <c:v>0.06953383054440827</c:v>
                </c:pt>
                <c:pt idx="39">
                  <c:v>0.0</c:v>
                </c:pt>
                <c:pt idx="40">
                  <c:v>0.051111580801409075</c:v>
                </c:pt>
                <c:pt idx="41">
                  <c:v>0.043428113972718174</c:v>
                </c:pt>
                <c:pt idx="42">
                  <c:v>0.04273729308149406</c:v>
                </c:pt>
                <c:pt idx="43">
                  <c:v>0.059866429096252755</c:v>
                </c:pt>
                <c:pt idx="44">
                  <c:v>0.13377887815569445</c:v>
                </c:pt>
                <c:pt idx="45">
                  <c:v>0.15560880374703356</c:v>
                </c:pt>
                <c:pt idx="46">
                  <c:v>0.1373761123162906</c:v>
                </c:pt>
                <c:pt idx="47">
                  <c:v>0.08755880670208419</c:v>
                </c:pt>
                <c:pt idx="48">
                  <c:v>0.20243272199533457</c:v>
                </c:pt>
                <c:pt idx="49">
                  <c:v>0.21614388284721447</c:v>
                </c:pt>
                <c:pt idx="50">
                  <c:v>0.14280510959348502</c:v>
                </c:pt>
                <c:pt idx="51">
                  <c:v>0.14865805910006716</c:v>
                </c:pt>
                <c:pt idx="52">
                  <c:v>0.1344356024793469</c:v>
                </c:pt>
                <c:pt idx="53">
                  <c:v>0.20888313666698904</c:v>
                </c:pt>
                <c:pt idx="54">
                  <c:v>0.22312728178008956</c:v>
                </c:pt>
                <c:pt idx="55">
                  <c:v>0.09851628562480426</c:v>
                </c:pt>
                <c:pt idx="56">
                  <c:v>0.09508730598669624</c:v>
                </c:pt>
                <c:pt idx="57">
                  <c:v>0.1939992946589527</c:v>
                </c:pt>
                <c:pt idx="58">
                  <c:v>0.18150251225861128</c:v>
                </c:pt>
                <c:pt idx="59">
                  <c:v>0.19980367667427668</c:v>
                </c:pt>
                <c:pt idx="60">
                  <c:v>0.2149099867565503</c:v>
                </c:pt>
                <c:pt idx="61">
                  <c:v>0.22749457886664734</c:v>
                </c:pt>
                <c:pt idx="62">
                  <c:v>0.2022767907530536</c:v>
                </c:pt>
                <c:pt idx="63">
                  <c:v>0.22541980319304497</c:v>
                </c:pt>
                <c:pt idx="64">
                  <c:v>0.27251970322781766</c:v>
                </c:pt>
                <c:pt idx="65">
                  <c:v>0.1565705379130095</c:v>
                </c:pt>
                <c:pt idx="66">
                  <c:v>0.17234215629232424</c:v>
                </c:pt>
                <c:pt idx="67">
                  <c:v>0.21045421614554963</c:v>
                </c:pt>
                <c:pt idx="68">
                  <c:v>0.17936629054527004</c:v>
                </c:pt>
                <c:pt idx="69">
                  <c:v>0.16380023387809817</c:v>
                </c:pt>
                <c:pt idx="70">
                  <c:v>0.14279563069392195</c:v>
                </c:pt>
                <c:pt idx="71">
                  <c:v>0.17234230560087005</c:v>
                </c:pt>
                <c:pt idx="72">
                  <c:v>0.20620181698334908</c:v>
                </c:pt>
                <c:pt idx="73">
                  <c:v>0.112805141966759</c:v>
                </c:pt>
                <c:pt idx="74">
                  <c:v>0.1159676838367725</c:v>
                </c:pt>
                <c:pt idx="75">
                  <c:v>0.22805794407002866</c:v>
                </c:pt>
                <c:pt idx="76">
                  <c:v>0.267111943767322</c:v>
                </c:pt>
                <c:pt idx="77">
                  <c:v>0.17924567901234567</c:v>
                </c:pt>
                <c:pt idx="78">
                  <c:v>0.09220767102375726</c:v>
                </c:pt>
                <c:pt idx="79">
                  <c:v>0.0</c:v>
                </c:pt>
                <c:pt idx="80">
                  <c:v>0.0625433921674082</c:v>
                </c:pt>
                <c:pt idx="81">
                  <c:v>0.2296027423022694</c:v>
                </c:pt>
                <c:pt idx="82">
                  <c:v>0.10817628298057408</c:v>
                </c:pt>
                <c:pt idx="83">
                  <c:v>0.07434033812608627</c:v>
                </c:pt>
                <c:pt idx="84">
                  <c:v>0.07959041455413063</c:v>
                </c:pt>
                <c:pt idx="85">
                  <c:v>0.07676511061712712</c:v>
                </c:pt>
                <c:pt idx="86">
                  <c:v>0.15827507835326157</c:v>
                </c:pt>
                <c:pt idx="87">
                  <c:v>0.15963149833318316</c:v>
                </c:pt>
                <c:pt idx="88">
                  <c:v>0.0</c:v>
                </c:pt>
                <c:pt idx="89">
                  <c:v>0.11450328022492971</c:v>
                </c:pt>
                <c:pt idx="90">
                  <c:v>0.08559766626650661</c:v>
                </c:pt>
                <c:pt idx="91">
                  <c:v>0.16778725162453517</c:v>
                </c:pt>
                <c:pt idx="92">
                  <c:v>0.13826504988997076</c:v>
                </c:pt>
                <c:pt idx="93">
                  <c:v>0.08543843993085566</c:v>
                </c:pt>
                <c:pt idx="94">
                  <c:v>0.03662447257383966</c:v>
                </c:pt>
                <c:pt idx="95">
                  <c:v>0.044230463415550925</c:v>
                </c:pt>
                <c:pt idx="96">
                  <c:v>0.1413274103047659</c:v>
                </c:pt>
                <c:pt idx="97">
                  <c:v>0.11035092285166104</c:v>
                </c:pt>
                <c:pt idx="98">
                  <c:v>0.18787752465236712</c:v>
                </c:pt>
                <c:pt idx="99">
                  <c:v>0.13675257478090824</c:v>
                </c:pt>
                <c:pt idx="100">
                  <c:v>0.18414838610143708</c:v>
                </c:pt>
                <c:pt idx="101">
                  <c:v>0.1395432928231795</c:v>
                </c:pt>
                <c:pt idx="102">
                  <c:v>0.08232652941864546</c:v>
                </c:pt>
                <c:pt idx="103">
                  <c:v>0.05606720843742159</c:v>
                </c:pt>
                <c:pt idx="104">
                  <c:v>0.05867807370281873</c:v>
                </c:pt>
              </c:numCache>
            </c:numRef>
          </c:xVal>
          <c:yVal>
            <c:numRef>
              <c:f>Sheet1!$B$2:$B$106</c:f>
              <c:numCache>
                <c:formatCode>General</c:formatCode>
                <c:ptCount val="105"/>
                <c:pt idx="0">
                  <c:v>0.41621621621621624</c:v>
                </c:pt>
                <c:pt idx="1">
                  <c:v>0.4011627906976744</c:v>
                </c:pt>
                <c:pt idx="2">
                  <c:v>0.3657142857142857</c:v>
                </c:pt>
                <c:pt idx="3">
                  <c:v>0.3821656050955414</c:v>
                </c:pt>
                <c:pt idx="4">
                  <c:v>0.3357664233576642</c:v>
                </c:pt>
                <c:pt idx="5">
                  <c:v>0.319672131147541</c:v>
                </c:pt>
                <c:pt idx="6">
                  <c:v>0.3706293706293706</c:v>
                </c:pt>
                <c:pt idx="7">
                  <c:v>0.2966101694915254</c:v>
                </c:pt>
                <c:pt idx="8">
                  <c:v>0.30612244897959184</c:v>
                </c:pt>
                <c:pt idx="9">
                  <c:v>0.26380368098159507</c:v>
                </c:pt>
                <c:pt idx="10">
                  <c:v>0.3496932515337423</c:v>
                </c:pt>
                <c:pt idx="11">
                  <c:v>0.27692307692307694</c:v>
                </c:pt>
                <c:pt idx="12">
                  <c:v>0.25</c:v>
                </c:pt>
                <c:pt idx="13">
                  <c:v>0.28688524590163933</c:v>
                </c:pt>
                <c:pt idx="14">
                  <c:v>0.296</c:v>
                </c:pt>
                <c:pt idx="15">
                  <c:v>0.24074074074074073</c:v>
                </c:pt>
                <c:pt idx="16">
                  <c:v>0.24705882352941178</c:v>
                </c:pt>
                <c:pt idx="17">
                  <c:v>0.2876712328767123</c:v>
                </c:pt>
                <c:pt idx="18">
                  <c:v>0.296875</c:v>
                </c:pt>
                <c:pt idx="19">
                  <c:v>0.22448979591836735</c:v>
                </c:pt>
                <c:pt idx="20">
                  <c:v>0.22058823529411764</c:v>
                </c:pt>
                <c:pt idx="21">
                  <c:v>0.2</c:v>
                </c:pt>
                <c:pt idx="22">
                  <c:v>0.25925925925925924</c:v>
                </c:pt>
                <c:pt idx="23">
                  <c:v>0.20408163265306123</c:v>
                </c:pt>
                <c:pt idx="24">
                  <c:v>0.1956521739130435</c:v>
                </c:pt>
                <c:pt idx="25">
                  <c:v>0.16279069767441862</c:v>
                </c:pt>
                <c:pt idx="26">
                  <c:v>0.3023255813953488</c:v>
                </c:pt>
                <c:pt idx="27">
                  <c:v>0.3220338983050847</c:v>
                </c:pt>
                <c:pt idx="28">
                  <c:v>0.2553191489361702</c:v>
                </c:pt>
                <c:pt idx="29">
                  <c:v>0.2608695652173913</c:v>
                </c:pt>
                <c:pt idx="30">
                  <c:v>0.22857142857142856</c:v>
                </c:pt>
                <c:pt idx="31">
                  <c:v>0.2558139534883721</c:v>
                </c:pt>
                <c:pt idx="32">
                  <c:v>0.2391304347826087</c:v>
                </c:pt>
                <c:pt idx="33">
                  <c:v>0.2807017543859649</c:v>
                </c:pt>
                <c:pt idx="34">
                  <c:v>0.25675675675675674</c:v>
                </c:pt>
                <c:pt idx="35">
                  <c:v>0.175</c:v>
                </c:pt>
                <c:pt idx="36">
                  <c:v>0.21875</c:v>
                </c:pt>
                <c:pt idx="37">
                  <c:v>0.2222222222222222</c:v>
                </c:pt>
                <c:pt idx="38">
                  <c:v>0.27906976744186046</c:v>
                </c:pt>
                <c:pt idx="39">
                  <c:v>0.6162790697674418</c:v>
                </c:pt>
                <c:pt idx="40">
                  <c:v>0.732824427480916</c:v>
                </c:pt>
                <c:pt idx="41">
                  <c:v>0.7247706422018348</c:v>
                </c:pt>
                <c:pt idx="42">
                  <c:v>0.6504065040650406</c:v>
                </c:pt>
                <c:pt idx="43">
                  <c:v>0.6046511627906976</c:v>
                </c:pt>
                <c:pt idx="44">
                  <c:v>0.5352941176470588</c:v>
                </c:pt>
                <c:pt idx="45">
                  <c:v>0.5125</c:v>
                </c:pt>
                <c:pt idx="46">
                  <c:v>0.4827586206896552</c:v>
                </c:pt>
                <c:pt idx="47">
                  <c:v>0.4126984126984127</c:v>
                </c:pt>
                <c:pt idx="48">
                  <c:v>0.32044198895027626</c:v>
                </c:pt>
                <c:pt idx="49">
                  <c:v>0.29818181818181816</c:v>
                </c:pt>
                <c:pt idx="50">
                  <c:v>0.3181818181818182</c:v>
                </c:pt>
                <c:pt idx="51">
                  <c:v>0.2967032967032967</c:v>
                </c:pt>
                <c:pt idx="52">
                  <c:v>0.25892857142857145</c:v>
                </c:pt>
                <c:pt idx="53">
                  <c:v>0.1891891891891892</c:v>
                </c:pt>
                <c:pt idx="54">
                  <c:v>0.2159090909090909</c:v>
                </c:pt>
                <c:pt idx="55">
                  <c:v>0.13793103448275862</c:v>
                </c:pt>
                <c:pt idx="56">
                  <c:v>0.11347517730496454</c:v>
                </c:pt>
                <c:pt idx="57">
                  <c:v>0.08387096774193549</c:v>
                </c:pt>
                <c:pt idx="58">
                  <c:v>0.2604166666666667</c:v>
                </c:pt>
                <c:pt idx="59">
                  <c:v>0.13897280966767372</c:v>
                </c:pt>
                <c:pt idx="60">
                  <c:v>0.10526315789473684</c:v>
                </c:pt>
                <c:pt idx="61">
                  <c:v>0.09090909090909091</c:v>
                </c:pt>
                <c:pt idx="62">
                  <c:v>0.22388059701492538</c:v>
                </c:pt>
                <c:pt idx="63">
                  <c:v>0.12631578947368421</c:v>
                </c:pt>
                <c:pt idx="64">
                  <c:v>0.12</c:v>
                </c:pt>
                <c:pt idx="65">
                  <c:v>0.11678832116788321</c:v>
                </c:pt>
                <c:pt idx="66">
                  <c:v>0.1366906474820144</c:v>
                </c:pt>
                <c:pt idx="67">
                  <c:v>0.19148936170212766</c:v>
                </c:pt>
                <c:pt idx="68">
                  <c:v>0.10416666666666667</c:v>
                </c:pt>
                <c:pt idx="69">
                  <c:v>0.06578947368421052</c:v>
                </c:pt>
                <c:pt idx="70">
                  <c:v>0.06172839506172839</c:v>
                </c:pt>
                <c:pt idx="71">
                  <c:v>0.05263157894736842</c:v>
                </c:pt>
                <c:pt idx="72">
                  <c:v>0.0379746835443038</c:v>
                </c:pt>
                <c:pt idx="73">
                  <c:v>0.08571428571428572</c:v>
                </c:pt>
                <c:pt idx="74">
                  <c:v>0.06944444444444445</c:v>
                </c:pt>
                <c:pt idx="75">
                  <c:v>0.046153846153846156</c:v>
                </c:pt>
                <c:pt idx="76">
                  <c:v>0.05660377358490566</c:v>
                </c:pt>
                <c:pt idx="77">
                  <c:v>0.07142857142857142</c:v>
                </c:pt>
                <c:pt idx="78">
                  <c:v>0.16666666666666666</c:v>
                </c:pt>
                <c:pt idx="79">
                  <c:v>0.16216216216216217</c:v>
                </c:pt>
                <c:pt idx="80">
                  <c:v>0.1388888888888889</c:v>
                </c:pt>
                <c:pt idx="81">
                  <c:v>0.10638297872340426</c:v>
                </c:pt>
                <c:pt idx="82">
                  <c:v>0.10256410256410256</c:v>
                </c:pt>
                <c:pt idx="83">
                  <c:v>0.06896551724137931</c:v>
                </c:pt>
                <c:pt idx="84">
                  <c:v>0.0967741935483871</c:v>
                </c:pt>
                <c:pt idx="85">
                  <c:v>0.1282051282051282</c:v>
                </c:pt>
                <c:pt idx="86">
                  <c:v>0.1276595744680851</c:v>
                </c:pt>
                <c:pt idx="87">
                  <c:v>0.14545454545454545</c:v>
                </c:pt>
                <c:pt idx="88">
                  <c:v>0.13513513513513514</c:v>
                </c:pt>
                <c:pt idx="89">
                  <c:v>0.10256410256410256</c:v>
                </c:pt>
                <c:pt idx="90">
                  <c:v>0.15555555555555556</c:v>
                </c:pt>
                <c:pt idx="91">
                  <c:v>0.1111111111111111</c:v>
                </c:pt>
                <c:pt idx="92">
                  <c:v>0.18</c:v>
                </c:pt>
                <c:pt idx="93">
                  <c:v>0.21153846153846154</c:v>
                </c:pt>
                <c:pt idx="94">
                  <c:v>0.18181818181818182</c:v>
                </c:pt>
                <c:pt idx="95">
                  <c:v>0.14925373134328357</c:v>
                </c:pt>
                <c:pt idx="96">
                  <c:v>0.1326530612244898</c:v>
                </c:pt>
                <c:pt idx="97">
                  <c:v>0.13414634146341464</c:v>
                </c:pt>
                <c:pt idx="98">
                  <c:v>0.11214953271028037</c:v>
                </c:pt>
                <c:pt idx="99">
                  <c:v>0.12612612612612611</c:v>
                </c:pt>
                <c:pt idx="100">
                  <c:v>0.10674157303370786</c:v>
                </c:pt>
                <c:pt idx="101">
                  <c:v>0.1568627450980392</c:v>
                </c:pt>
                <c:pt idx="102">
                  <c:v>0.09333333333333334</c:v>
                </c:pt>
                <c:pt idx="103">
                  <c:v>0.21505376344086022</c:v>
                </c:pt>
                <c:pt idx="104">
                  <c:v>0.2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833537128451306</c:v>
                </c:pt>
                <c:pt idx="1">
                  <c:v>0.1697154146118502</c:v>
                </c:pt>
                <c:pt idx="2">
                  <c:v>0.18062284527533243</c:v>
                </c:pt>
                <c:pt idx="3">
                  <c:v>0.1576149235183998</c:v>
                </c:pt>
                <c:pt idx="4">
                  <c:v>0.14852776109713545</c:v>
                </c:pt>
                <c:pt idx="5">
                  <c:v>0.16772923813662172</c:v>
                </c:pt>
                <c:pt idx="6">
                  <c:v>0.10812446336279449</c:v>
                </c:pt>
                <c:pt idx="7">
                  <c:v>0.07598311143175707</c:v>
                </c:pt>
                <c:pt idx="8">
                  <c:v>0.16258183699118933</c:v>
                </c:pt>
                <c:pt idx="9">
                  <c:v>0.20343058672651493</c:v>
                </c:pt>
                <c:pt idx="10">
                  <c:v>0.11610801431345419</c:v>
                </c:pt>
                <c:pt idx="11">
                  <c:v>0.11970762497120478</c:v>
                </c:pt>
                <c:pt idx="12">
                  <c:v>0.20489174132946014</c:v>
                </c:pt>
                <c:pt idx="13">
                  <c:v>0.14777224580180845</c:v>
                </c:pt>
                <c:pt idx="14">
                  <c:v>0.16406800403726757</c:v>
                </c:pt>
                <c:pt idx="15">
                  <c:v>0.20445311557182508</c:v>
                </c:pt>
                <c:pt idx="16">
                  <c:v>0.13240098812654394</c:v>
                </c:pt>
                <c:pt idx="17">
                  <c:v>0.1736913427960875</c:v>
                </c:pt>
                <c:pt idx="18">
                  <c:v>0.1983726990201427</c:v>
                </c:pt>
                <c:pt idx="19">
                  <c:v>0.10986617229592724</c:v>
                </c:pt>
                <c:pt idx="20">
                  <c:v>0.10399854692649005</c:v>
                </c:pt>
                <c:pt idx="21">
                  <c:v>0.10405311151868978</c:v>
                </c:pt>
                <c:pt idx="22">
                  <c:v>0.09817148906834745</c:v>
                </c:pt>
                <c:pt idx="23">
                  <c:v>0.0</c:v>
                </c:pt>
                <c:pt idx="24">
                  <c:v>0.16826038984920927</c:v>
                </c:pt>
                <c:pt idx="25">
                  <c:v>0.023962438457065322</c:v>
                </c:pt>
                <c:pt idx="26">
                  <c:v>0.08838217571297148</c:v>
                </c:pt>
                <c:pt idx="27">
                  <c:v>0.14500121773015098</c:v>
                </c:pt>
                <c:pt idx="28">
                  <c:v>0.04859713931120075</c:v>
                </c:pt>
                <c:pt idx="29">
                  <c:v>0.03702290553944758</c:v>
                </c:pt>
                <c:pt idx="30">
                  <c:v>0.0368977252373276</c:v>
                </c:pt>
                <c:pt idx="31">
                  <c:v>0.021719116170070305</c:v>
                </c:pt>
                <c:pt idx="32">
                  <c:v>0.0451279103190572</c:v>
                </c:pt>
                <c:pt idx="33">
                  <c:v>0.05379780914911672</c:v>
                </c:pt>
                <c:pt idx="34">
                  <c:v>0.09086681619560227</c:v>
                </c:pt>
                <c:pt idx="35">
                  <c:v>0.05866702157421051</c:v>
                </c:pt>
                <c:pt idx="36">
                  <c:v>0.0</c:v>
                </c:pt>
                <c:pt idx="37">
                  <c:v>0.03390291262135922</c:v>
                </c:pt>
                <c:pt idx="38">
                  <c:v>0.04159521550245798</c:v>
                </c:pt>
                <c:pt idx="39">
                  <c:v>0.025883840420332354</c:v>
                </c:pt>
                <c:pt idx="40">
                  <c:v>0.06876214265889537</c:v>
                </c:pt>
                <c:pt idx="41">
                  <c:v>0.0</c:v>
                </c:pt>
                <c:pt idx="42">
                  <c:v>0.04348354184379934</c:v>
                </c:pt>
                <c:pt idx="43">
                  <c:v>0.0</c:v>
                </c:pt>
                <c:pt idx="44">
                  <c:v>0.17435604309265476</c:v>
                </c:pt>
                <c:pt idx="45">
                  <c:v>0.1667967217772302</c:v>
                </c:pt>
                <c:pt idx="46">
                  <c:v>0.0853245491825943</c:v>
                </c:pt>
                <c:pt idx="47">
                  <c:v>0.096343048078708</c:v>
                </c:pt>
                <c:pt idx="48">
                  <c:v>0.15543808114452526</c:v>
                </c:pt>
                <c:pt idx="49">
                  <c:v>0.0</c:v>
                </c:pt>
                <c:pt idx="50">
                  <c:v>0.17480094657130923</c:v>
                </c:pt>
                <c:pt idx="51">
                  <c:v>0.19106276757271026</c:v>
                </c:pt>
              </c:numCache>
            </c:numRef>
          </c:xVal>
          <c:yVal>
            <c:numRef>
              <c:f>Sheet1!$B$109:$B$160</c:f>
              <c:numCache>
                <c:formatCode>General</c:formatCode>
                <c:ptCount val="52"/>
                <c:pt idx="0">
                  <c:v>0.0898876404494382</c:v>
                </c:pt>
                <c:pt idx="1">
                  <c:v>0.07692307692307693</c:v>
                </c:pt>
                <c:pt idx="2">
                  <c:v>0.10309278350515463</c:v>
                </c:pt>
                <c:pt idx="3">
                  <c:v>0.12264150943396226</c:v>
                </c:pt>
                <c:pt idx="4">
                  <c:v>0.10077519379844961</c:v>
                </c:pt>
                <c:pt idx="5">
                  <c:v>0.10204081632653061</c:v>
                </c:pt>
                <c:pt idx="6">
                  <c:v>0.24324324324324326</c:v>
                </c:pt>
                <c:pt idx="7">
                  <c:v>0.44660194174757284</c:v>
                </c:pt>
                <c:pt idx="8">
                  <c:v>0.14705882352941177</c:v>
                </c:pt>
                <c:pt idx="9">
                  <c:v>0.1282051282051282</c:v>
                </c:pt>
                <c:pt idx="10">
                  <c:v>0.2891566265060241</c:v>
                </c:pt>
                <c:pt idx="11">
                  <c:v>0.18421052631578946</c:v>
                </c:pt>
                <c:pt idx="12">
                  <c:v>0.1</c:v>
                </c:pt>
                <c:pt idx="13">
                  <c:v>0.18947368421052632</c:v>
                </c:pt>
                <c:pt idx="14">
                  <c:v>0.1518987341772152</c:v>
                </c:pt>
                <c:pt idx="15">
                  <c:v>0.1111111111111111</c:v>
                </c:pt>
                <c:pt idx="16">
                  <c:v>0.13333333333333333</c:v>
                </c:pt>
                <c:pt idx="17">
                  <c:v>0.07142857142857142</c:v>
                </c:pt>
                <c:pt idx="18">
                  <c:v>0.09523809523809523</c:v>
                </c:pt>
                <c:pt idx="19">
                  <c:v>0.125</c:v>
                </c:pt>
                <c:pt idx="20">
                  <c:v>0.14285714285714285</c:v>
                </c:pt>
                <c:pt idx="21">
                  <c:v>0.10256410256410256</c:v>
                </c:pt>
                <c:pt idx="22">
                  <c:v>0.17647058823529413</c:v>
                </c:pt>
                <c:pt idx="23">
                  <c:v>0.0</c:v>
                </c:pt>
                <c:pt idx="24">
                  <c:v>0.12903225806451613</c:v>
                </c:pt>
                <c:pt idx="25">
                  <c:v>0.3333333333333333</c:v>
                </c:pt>
                <c:pt idx="26">
                  <c:v>0.25</c:v>
                </c:pt>
                <c:pt idx="27">
                  <c:v>0.13513513513513514</c:v>
                </c:pt>
                <c:pt idx="28">
                  <c:v>0.19444444444444445</c:v>
                </c:pt>
                <c:pt idx="29">
                  <c:v>0.2903225806451613</c:v>
                </c:pt>
                <c:pt idx="30">
                  <c:v>0.42105263157894735</c:v>
                </c:pt>
                <c:pt idx="31">
                  <c:v>0.32</c:v>
                </c:pt>
                <c:pt idx="32">
                  <c:v>0.1935483870967742</c:v>
                </c:pt>
                <c:pt idx="33">
                  <c:v>0.175</c:v>
                </c:pt>
                <c:pt idx="34">
                  <c:v>0.07692307692307693</c:v>
                </c:pt>
                <c:pt idx="35">
                  <c:v>0.05405405405405406</c:v>
                </c:pt>
                <c:pt idx="36">
                  <c:v>0.0</c:v>
                </c:pt>
                <c:pt idx="37">
                  <c:v>0.034482758620689655</c:v>
                </c:pt>
                <c:pt idx="38">
                  <c:v>0.125</c:v>
                </c:pt>
                <c:pt idx="39">
                  <c:v>0.07894736842105263</c:v>
                </c:pt>
                <c:pt idx="40">
                  <c:v>0.00796812749003984</c:v>
                </c:pt>
                <c:pt idx="41">
                  <c:v>0.0</c:v>
                </c:pt>
                <c:pt idx="42">
                  <c:v>0.02</c:v>
                </c:pt>
                <c:pt idx="43">
                  <c:v>0.0</c:v>
                </c:pt>
                <c:pt idx="44">
                  <c:v>0.010526315789473684</c:v>
                </c:pt>
                <c:pt idx="45">
                  <c:v>0.011764705882352941</c:v>
                </c:pt>
                <c:pt idx="46">
                  <c:v>0.03333333333333333</c:v>
                </c:pt>
                <c:pt idx="47">
                  <c:v>0.01818181818181818</c:v>
                </c:pt>
                <c:pt idx="48">
                  <c:v>0.013888888888888888</c:v>
                </c:pt>
                <c:pt idx="49">
                  <c:v>0.0</c:v>
                </c:pt>
                <c:pt idx="50">
                  <c:v>0.034013605442176874</c:v>
                </c:pt>
                <c:pt idx="51">
                  <c:v>0.01515151515151515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083698384223597</c:v>
                </c:pt>
              </c:numCache>
            </c:numRef>
          </c:xVal>
          <c:yVal>
            <c:numRef>
              <c:f>Sheet1!$B$163:$B$164</c:f>
              <c:numCache>
                <c:formatCode>General</c:formatCode>
                <c:ptCount val="2"/>
                <c:pt idx="0">
                  <c:v>0.4744019190003954</c:v>
                </c:pt>
                <c:pt idx="1">
                  <c:v>0.47440191900039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083698384223597</c:v>
                </c:pt>
                <c:pt idx="1">
                  <c:v>-1.8083698384223597</c:v>
                </c:pt>
              </c:numCache>
            </c:numRef>
          </c:xVal>
          <c:yVal>
            <c:numRef>
              <c:f>Sheet1!$B$167:$B$168</c:f>
              <c:numCache>
                <c:formatCode>General</c:formatCode>
                <c:ptCount val="2"/>
                <c:pt idx="0">
                  <c:v>0.4744019190003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530097070941816</c:v>
                </c:pt>
              </c:numCache>
            </c:numRef>
          </c:xVal>
          <c:yVal>
            <c:numRef>
              <c:f>Sheet1!$B$171:$B$172</c:f>
              <c:numCache>
                <c:formatCode>General</c:formatCode>
                <c:ptCount val="2"/>
                <c:pt idx="0">
                  <c:v>0.20732787965051405</c:v>
                </c:pt>
                <c:pt idx="1">
                  <c:v>0.207327879650514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530097070941816</c:v>
                </c:pt>
                <c:pt idx="1">
                  <c:v>-0.3530097070941816</c:v>
                </c:pt>
              </c:numCache>
            </c:numRef>
          </c:xVal>
          <c:yVal>
            <c:numRef>
              <c:f>Sheet1!$B$175:$B$176</c:f>
              <c:numCache>
                <c:formatCode>General</c:formatCode>
                <c:ptCount val="2"/>
                <c:pt idx="0">
                  <c:v>0.207327879650514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745924275974144</c:v>
                </c:pt>
              </c:numCache>
            </c:numRef>
          </c:xVal>
          <c:yVal>
            <c:numRef>
              <c:f>Sheet1!$B$179:$B$180</c:f>
              <c:numCache>
                <c:formatCode>General</c:formatCode>
                <c:ptCount val="2"/>
                <c:pt idx="0">
                  <c:v>0.01875197527543473</c:v>
                </c:pt>
                <c:pt idx="1">
                  <c:v>0.0187519752754347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745924275974144</c:v>
                </c:pt>
                <c:pt idx="1">
                  <c:v>0.6745924275974144</c:v>
                </c:pt>
              </c:numCache>
            </c:numRef>
          </c:xVal>
          <c:yVal>
            <c:numRef>
              <c:f>Sheet1!$B$183:$B$184</c:f>
              <c:numCache>
                <c:formatCode>General</c:formatCode>
                <c:ptCount val="2"/>
                <c:pt idx="0">
                  <c:v>0.018751975275434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833537128451306</c:v>
                </c:pt>
                <c:pt idx="1">
                  <c:v>0.1697154146118502</c:v>
                </c:pt>
                <c:pt idx="2">
                  <c:v>0.18062284527533243</c:v>
                </c:pt>
                <c:pt idx="3">
                  <c:v>0.1576149235183998</c:v>
                </c:pt>
                <c:pt idx="4">
                  <c:v>0.14852776109713545</c:v>
                </c:pt>
                <c:pt idx="5">
                  <c:v>0.16772923813662172</c:v>
                </c:pt>
                <c:pt idx="6">
                  <c:v>0.10812446336279449</c:v>
                </c:pt>
                <c:pt idx="7">
                  <c:v>0.07598311143175707</c:v>
                </c:pt>
                <c:pt idx="8">
                  <c:v>0.16258183699118933</c:v>
                </c:pt>
                <c:pt idx="9">
                  <c:v>0.20343058672651493</c:v>
                </c:pt>
                <c:pt idx="10">
                  <c:v>0.11610801431345419</c:v>
                </c:pt>
                <c:pt idx="11">
                  <c:v>0.11970762497120478</c:v>
                </c:pt>
                <c:pt idx="12">
                  <c:v>0.20489174132946014</c:v>
                </c:pt>
                <c:pt idx="13">
                  <c:v>0.14777224580180845</c:v>
                </c:pt>
                <c:pt idx="14">
                  <c:v>0.16406800403726757</c:v>
                </c:pt>
                <c:pt idx="15">
                  <c:v>0.20445311557182508</c:v>
                </c:pt>
                <c:pt idx="16">
                  <c:v>0.13240098812654394</c:v>
                </c:pt>
                <c:pt idx="17">
                  <c:v>0.1736913427960875</c:v>
                </c:pt>
                <c:pt idx="18">
                  <c:v>0.1983726990201427</c:v>
                </c:pt>
                <c:pt idx="19">
                  <c:v>0.10986617229592724</c:v>
                </c:pt>
                <c:pt idx="20">
                  <c:v>0.10399854692649005</c:v>
                </c:pt>
                <c:pt idx="21">
                  <c:v>0.10405311151868978</c:v>
                </c:pt>
                <c:pt idx="22">
                  <c:v>0.09817148906834745</c:v>
                </c:pt>
                <c:pt idx="23">
                  <c:v>0.0</c:v>
                </c:pt>
                <c:pt idx="24">
                  <c:v>0.16826038984920927</c:v>
                </c:pt>
                <c:pt idx="25">
                  <c:v>0.023962438457065322</c:v>
                </c:pt>
                <c:pt idx="26">
                  <c:v>0.08838217571297148</c:v>
                </c:pt>
                <c:pt idx="27">
                  <c:v>0.14500121773015098</c:v>
                </c:pt>
                <c:pt idx="28">
                  <c:v>0.04859713931120075</c:v>
                </c:pt>
                <c:pt idx="29">
                  <c:v>0.03702290553944758</c:v>
                </c:pt>
                <c:pt idx="30">
                  <c:v>0.0368977252373276</c:v>
                </c:pt>
                <c:pt idx="31">
                  <c:v>0.021719116170070305</c:v>
                </c:pt>
                <c:pt idx="32">
                  <c:v>0.0451279103190572</c:v>
                </c:pt>
                <c:pt idx="33">
                  <c:v>0.05379780914911672</c:v>
                </c:pt>
                <c:pt idx="34">
                  <c:v>0.09086681619560227</c:v>
                </c:pt>
                <c:pt idx="35">
                  <c:v>0.05866702157421051</c:v>
                </c:pt>
                <c:pt idx="36">
                  <c:v>0.0</c:v>
                </c:pt>
                <c:pt idx="37">
                  <c:v>0.03390291262135922</c:v>
                </c:pt>
                <c:pt idx="38">
                  <c:v>0.04159521550245798</c:v>
                </c:pt>
                <c:pt idx="39">
                  <c:v>0.025883840420332354</c:v>
                </c:pt>
                <c:pt idx="40">
                  <c:v>0.06876214265889537</c:v>
                </c:pt>
                <c:pt idx="41">
                  <c:v>0.0</c:v>
                </c:pt>
                <c:pt idx="42">
                  <c:v>0.04348354184379934</c:v>
                </c:pt>
                <c:pt idx="43">
                  <c:v>0.0</c:v>
                </c:pt>
                <c:pt idx="44">
                  <c:v>0.17435604309265476</c:v>
                </c:pt>
                <c:pt idx="45">
                  <c:v>0.1667967217772302</c:v>
                </c:pt>
                <c:pt idx="46">
                  <c:v>0.0853245491825943</c:v>
                </c:pt>
                <c:pt idx="47">
                  <c:v>0.096343048078708</c:v>
                </c:pt>
                <c:pt idx="48">
                  <c:v>0.15543808114452526</c:v>
                </c:pt>
                <c:pt idx="49">
                  <c:v>0.0</c:v>
                </c:pt>
                <c:pt idx="50">
                  <c:v>0.17480094657130923</c:v>
                </c:pt>
                <c:pt idx="51">
                  <c:v>0.19106276757271026</c:v>
                </c:pt>
                <c:pt idx="52">
                  <c:v>-0.3530097070941816</c:v>
                </c:pt>
                <c:pt idx="53">
                  <c:v>-1.8083698384223597</c:v>
                </c:pt>
                <c:pt idx="54">
                  <c:v>0.6745924275974144</c:v>
                </c:pt>
              </c:numCache>
            </c:numRef>
          </c:xVal>
          <c:yVal>
            <c:numRef>
              <c:f>Sheet1!$B$187:$B$241</c:f>
              <c:numCache>
                <c:formatCode>General</c:formatCode>
                <c:ptCount val="55"/>
                <c:pt idx="0">
                  <c:v>0.1171608399106497</c:v>
                </c:pt>
                <c:pt idx="1">
                  <c:v>0.11140226871854358</c:v>
                </c:pt>
                <c:pt idx="2">
                  <c:v>0.10940063935992811</c:v>
                </c:pt>
                <c:pt idx="3">
                  <c:v>0.11362283733580793</c:v>
                </c:pt>
                <c:pt idx="4">
                  <c:v>0.11529042814156998</c:v>
                </c:pt>
                <c:pt idx="5">
                  <c:v>0.11176675319402313</c:v>
                </c:pt>
                <c:pt idx="6">
                  <c:v>0.1227048623401478</c:v>
                </c:pt>
                <c:pt idx="7">
                  <c:v>0.128603141745778</c:v>
                </c:pt>
                <c:pt idx="8">
                  <c:v>0.11271135596722828</c:v>
                </c:pt>
                <c:pt idx="9">
                  <c:v>0.10521517659597567</c:v>
                </c:pt>
                <c:pt idx="10">
                  <c:v>0.12123979595908485</c:v>
                </c:pt>
                <c:pt idx="11">
                  <c:v>0.12057922917718807</c:v>
                </c:pt>
                <c:pt idx="12">
                  <c:v>0.10494703920954945</c:v>
                </c:pt>
                <c:pt idx="13">
                  <c:v>0.11542907322148532</c:v>
                </c:pt>
                <c:pt idx="14">
                  <c:v>0.11243862853186659</c:v>
                </c:pt>
                <c:pt idx="15">
                  <c:v>0.10502753169407807</c:v>
                </c:pt>
                <c:pt idx="16">
                  <c:v>0.11824986224054018</c:v>
                </c:pt>
                <c:pt idx="17">
                  <c:v>0.1106726436742185</c:v>
                </c:pt>
                <c:pt idx="18">
                  <c:v>0.10614335270252198</c:v>
                </c:pt>
                <c:pt idx="19">
                  <c:v>0.122385240254775</c:v>
                </c:pt>
                <c:pt idx="20">
                  <c:v>0.12346201182153305</c:v>
                </c:pt>
                <c:pt idx="21">
                  <c:v>0.12345199863941367</c:v>
                </c:pt>
                <c:pt idx="22">
                  <c:v>0.12453133881916033</c:v>
                </c:pt>
                <c:pt idx="23">
                  <c:v>0.14254684959898942</c:v>
                </c:pt>
                <c:pt idx="24">
                  <c:v>0.11166928121417789</c:v>
                </c:pt>
                <c:pt idx="25">
                  <c:v>0.13814948767210958</c:v>
                </c:pt>
                <c:pt idx="26">
                  <c:v>0.12632778177784987</c:v>
                </c:pt>
                <c:pt idx="27">
                  <c:v>0.11593758629967035</c:v>
                </c:pt>
                <c:pt idx="28">
                  <c:v>0.1336287584562518</c:v>
                </c:pt>
                <c:pt idx="29">
                  <c:v>0.13575275326637545</c:v>
                </c:pt>
                <c:pt idx="30">
                  <c:v>0.13577572518117134</c:v>
                </c:pt>
                <c:pt idx="31">
                  <c:v>0.1385611611348178</c:v>
                </c:pt>
                <c:pt idx="32">
                  <c:v>0.13426539881791671</c:v>
                </c:pt>
                <c:pt idx="33">
                  <c:v>0.132674380312287</c:v>
                </c:pt>
                <c:pt idx="34">
                  <c:v>0.12587182386355492</c:v>
                </c:pt>
                <c:pt idx="35">
                  <c:v>0.13178082812349948</c:v>
                </c:pt>
                <c:pt idx="36">
                  <c:v>0.14254684959898942</c:v>
                </c:pt>
                <c:pt idx="37">
                  <c:v>0.13632530509972574</c:v>
                </c:pt>
                <c:pt idx="38">
                  <c:v>0.13491368583234695</c:v>
                </c:pt>
                <c:pt idx="39">
                  <c:v>0.13779689000745032</c:v>
                </c:pt>
                <c:pt idx="40">
                  <c:v>0.12992826619894515</c:v>
                </c:pt>
                <c:pt idx="41">
                  <c:v>0.14254684959898942</c:v>
                </c:pt>
                <c:pt idx="42">
                  <c:v>0.13456715789555884</c:v>
                </c:pt>
                <c:pt idx="43">
                  <c:v>0.14254684959898942</c:v>
                </c:pt>
                <c:pt idx="44">
                  <c:v>0.11055066411098882</c:v>
                </c:pt>
                <c:pt idx="45">
                  <c:v>0.1119378798488637</c:v>
                </c:pt>
                <c:pt idx="46">
                  <c:v>0.126888888716753</c:v>
                </c:pt>
                <c:pt idx="47">
                  <c:v>0.12486687715795641</c:v>
                </c:pt>
                <c:pt idx="48">
                  <c:v>0.11402231102847263</c:v>
                </c:pt>
                <c:pt idx="49">
                  <c:v>0.14254684959898942</c:v>
                </c:pt>
                <c:pt idx="50">
                  <c:v>0.11046901959798666</c:v>
                </c:pt>
                <c:pt idx="51">
                  <c:v>0.1074848027512153</c:v>
                </c:pt>
                <c:pt idx="52">
                  <c:v>0.20732787965051405</c:v>
                </c:pt>
                <c:pt idx="53">
                  <c:v>0.4744019190003954</c:v>
                </c:pt>
                <c:pt idx="54">
                  <c:v>0.0187519752754347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389312977099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89.3117</c:v>
                </c:pt>
                <c:pt idx="1">
                  <c:v>777.9275</c:v>
                </c:pt>
                <c:pt idx="2">
                  <c:v>779.5938</c:v>
                </c:pt>
                <c:pt idx="3">
                  <c:v>773.5167</c:v>
                </c:pt>
                <c:pt idx="4">
                  <c:v>766.8261</c:v>
                </c:pt>
                <c:pt idx="5">
                  <c:v>796.1795</c:v>
                </c:pt>
                <c:pt idx="6">
                  <c:v>715.7736</c:v>
                </c:pt>
                <c:pt idx="7">
                  <c:v>773.2857</c:v>
                </c:pt>
                <c:pt idx="8">
                  <c:v>766.8</c:v>
                </c:pt>
                <c:pt idx="9">
                  <c:v>784.8372</c:v>
                </c:pt>
                <c:pt idx="10">
                  <c:v>671.2982</c:v>
                </c:pt>
                <c:pt idx="11">
                  <c:v>784.9722</c:v>
                </c:pt>
                <c:pt idx="12">
                  <c:v>905.4286</c:v>
                </c:pt>
                <c:pt idx="13">
                  <c:v>766.3714</c:v>
                </c:pt>
                <c:pt idx="14">
                  <c:v>847.7568</c:v>
                </c:pt>
                <c:pt idx="15">
                  <c:v>891.9231</c:v>
                </c:pt>
                <c:pt idx="16">
                  <c:v>828.7619</c:v>
                </c:pt>
                <c:pt idx="17">
                  <c:v>769.5238</c:v>
                </c:pt>
                <c:pt idx="18">
                  <c:v>880.4211</c:v>
                </c:pt>
                <c:pt idx="19">
                  <c:v>878.3636</c:v>
                </c:pt>
                <c:pt idx="20">
                  <c:v>875.8</c:v>
                </c:pt>
                <c:pt idx="21">
                  <c:v>1046.5</c:v>
                </c:pt>
                <c:pt idx="22">
                  <c:v>826.7143</c:v>
                </c:pt>
                <c:pt idx="23">
                  <c:v>778.2</c:v>
                </c:pt>
                <c:pt idx="24">
                  <c:v>1062.8889</c:v>
                </c:pt>
                <c:pt idx="25">
                  <c:v>939.4286</c:v>
                </c:pt>
                <c:pt idx="26">
                  <c:v>820.5385</c:v>
                </c:pt>
                <c:pt idx="27">
                  <c:v>799.3684</c:v>
                </c:pt>
                <c:pt idx="28">
                  <c:v>803.3333</c:v>
                </c:pt>
                <c:pt idx="29">
                  <c:v>988.1667</c:v>
                </c:pt>
                <c:pt idx="30">
                  <c:v>1137.625</c:v>
                </c:pt>
                <c:pt idx="31">
                  <c:v>918.6364</c:v>
                </c:pt>
                <c:pt idx="32">
                  <c:v>794.7273</c:v>
                </c:pt>
                <c:pt idx="33">
                  <c:v>736.3125</c:v>
                </c:pt>
                <c:pt idx="34">
                  <c:v>640.4211</c:v>
                </c:pt>
                <c:pt idx="35">
                  <c:v>843.2143</c:v>
                </c:pt>
                <c:pt idx="36">
                  <c:v>690.1429</c:v>
                </c:pt>
                <c:pt idx="37">
                  <c:v>961.4</c:v>
                </c:pt>
                <c:pt idx="38">
                  <c:v>918.3333</c:v>
                </c:pt>
                <c:pt idx="39">
                  <c:v>779.0189</c:v>
                </c:pt>
                <c:pt idx="40">
                  <c:v>812.5208</c:v>
                </c:pt>
                <c:pt idx="41">
                  <c:v>824.5696</c:v>
                </c:pt>
                <c:pt idx="42">
                  <c:v>805.5125</c:v>
                </c:pt>
                <c:pt idx="43">
                  <c:v>814.7821</c:v>
                </c:pt>
                <c:pt idx="44">
                  <c:v>824.011</c:v>
                </c:pt>
                <c:pt idx="45">
                  <c:v>811.122</c:v>
                </c:pt>
                <c:pt idx="46">
                  <c:v>815.8571</c:v>
                </c:pt>
                <c:pt idx="47">
                  <c:v>803.4615</c:v>
                </c:pt>
                <c:pt idx="48">
                  <c:v>809.5172</c:v>
                </c:pt>
                <c:pt idx="49">
                  <c:v>837.6951</c:v>
                </c:pt>
                <c:pt idx="50">
                  <c:v>810.3714</c:v>
                </c:pt>
                <c:pt idx="51">
                  <c:v>885.4074</c:v>
                </c:pt>
                <c:pt idx="52">
                  <c:v>818.6552</c:v>
                </c:pt>
                <c:pt idx="53">
                  <c:v>863.8571</c:v>
                </c:pt>
                <c:pt idx="54">
                  <c:v>932.4737</c:v>
                </c:pt>
                <c:pt idx="55">
                  <c:v>943.6875</c:v>
                </c:pt>
                <c:pt idx="56">
                  <c:v>857.6875</c:v>
                </c:pt>
                <c:pt idx="57">
                  <c:v>1083.6154</c:v>
                </c:pt>
                <c:pt idx="58">
                  <c:v>749.56</c:v>
                </c:pt>
                <c:pt idx="59">
                  <c:v>836.6739</c:v>
                </c:pt>
                <c:pt idx="60">
                  <c:v>887.3438</c:v>
                </c:pt>
                <c:pt idx="61">
                  <c:v>1044.5882</c:v>
                </c:pt>
                <c:pt idx="62">
                  <c:v>751.0889</c:v>
                </c:pt>
                <c:pt idx="63">
                  <c:v>886.7917</c:v>
                </c:pt>
                <c:pt idx="64">
                  <c:v>960.5714</c:v>
                </c:pt>
                <c:pt idx="65">
                  <c:v>884.0625</c:v>
                </c:pt>
                <c:pt idx="66">
                  <c:v>837.0526</c:v>
                </c:pt>
                <c:pt idx="67">
                  <c:v>772.7037</c:v>
                </c:pt>
                <c:pt idx="68">
                  <c:v>876.4</c:v>
                </c:pt>
                <c:pt idx="69">
                  <c:v>1148.6</c:v>
                </c:pt>
                <c:pt idx="70">
                  <c:v>1260.2</c:v>
                </c:pt>
                <c:pt idx="71">
                  <c:v>1267.75</c:v>
                </c:pt>
                <c:pt idx="72">
                  <c:v>1439.0</c:v>
                </c:pt>
                <c:pt idx="73">
                  <c:v>1042.5</c:v>
                </c:pt>
                <c:pt idx="74">
                  <c:v>1126.8</c:v>
                </c:pt>
                <c:pt idx="75">
                  <c:v>1472.0</c:v>
                </c:pt>
                <c:pt idx="76">
                  <c:v>1613.0</c:v>
                </c:pt>
                <c:pt idx="77">
                  <c:v>1408.3333</c:v>
                </c:pt>
                <c:pt idx="78">
                  <c:v>966.4286</c:v>
                </c:pt>
                <c:pt idx="79">
                  <c:v>1033.1667</c:v>
                </c:pt>
                <c:pt idx="80">
                  <c:v>1279.2</c:v>
                </c:pt>
                <c:pt idx="81">
                  <c:v>1149.2</c:v>
                </c:pt>
                <c:pt idx="82">
                  <c:v>932.75</c:v>
                </c:pt>
                <c:pt idx="83">
                  <c:v>1411.5</c:v>
                </c:pt>
                <c:pt idx="84">
                  <c:v>1334.3333</c:v>
                </c:pt>
                <c:pt idx="85">
                  <c:v>1087.8</c:v>
                </c:pt>
                <c:pt idx="86">
                  <c:v>1003.8333</c:v>
                </c:pt>
                <c:pt idx="87">
                  <c:v>885.875</c:v>
                </c:pt>
                <c:pt idx="88">
                  <c:v>1212.8</c:v>
                </c:pt>
                <c:pt idx="89">
                  <c:v>1221.75</c:v>
                </c:pt>
                <c:pt idx="90">
                  <c:v>891.2857</c:v>
                </c:pt>
                <c:pt idx="91">
                  <c:v>893.4</c:v>
                </c:pt>
                <c:pt idx="92">
                  <c:v>917.3333</c:v>
                </c:pt>
                <c:pt idx="93">
                  <c:v>790.8182</c:v>
                </c:pt>
                <c:pt idx="94">
                  <c:v>868.0</c:v>
                </c:pt>
                <c:pt idx="95">
                  <c:v>649.2</c:v>
                </c:pt>
                <c:pt idx="96">
                  <c:v>758.7692</c:v>
                </c:pt>
                <c:pt idx="97">
                  <c:v>801.6364</c:v>
                </c:pt>
                <c:pt idx="98">
                  <c:v>929.4167</c:v>
                </c:pt>
                <c:pt idx="99">
                  <c:v>944.0714</c:v>
                </c:pt>
                <c:pt idx="100">
                  <c:v>933.0526</c:v>
                </c:pt>
                <c:pt idx="101">
                  <c:v>881.3125</c:v>
                </c:pt>
                <c:pt idx="102">
                  <c:v>844.5714</c:v>
                </c:pt>
                <c:pt idx="103">
                  <c:v>421.75</c:v>
                </c:pt>
                <c:pt idx="104">
                  <c:v>377.5714</c:v>
                </c:pt>
              </c:numCache>
            </c:numRef>
          </c:xVal>
          <c:yVal>
            <c:numRef>
              <c:f>Sheet1!$B$2:$B$106</c:f>
              <c:numCache>
                <c:formatCode>General</c:formatCode>
                <c:ptCount val="105"/>
                <c:pt idx="0">
                  <c:v>0.41621621621621624</c:v>
                </c:pt>
                <c:pt idx="1">
                  <c:v>0.4011627906976744</c:v>
                </c:pt>
                <c:pt idx="2">
                  <c:v>0.3657142857142857</c:v>
                </c:pt>
                <c:pt idx="3">
                  <c:v>0.3821656050955414</c:v>
                </c:pt>
                <c:pt idx="4">
                  <c:v>0.3357664233576642</c:v>
                </c:pt>
                <c:pt idx="5">
                  <c:v>0.319672131147541</c:v>
                </c:pt>
                <c:pt idx="6">
                  <c:v>0.3706293706293706</c:v>
                </c:pt>
                <c:pt idx="7">
                  <c:v>0.2966101694915254</c:v>
                </c:pt>
                <c:pt idx="8">
                  <c:v>0.30612244897959184</c:v>
                </c:pt>
                <c:pt idx="9">
                  <c:v>0.26380368098159507</c:v>
                </c:pt>
                <c:pt idx="10">
                  <c:v>0.3496932515337423</c:v>
                </c:pt>
                <c:pt idx="11">
                  <c:v>0.27692307692307694</c:v>
                </c:pt>
                <c:pt idx="12">
                  <c:v>0.25</c:v>
                </c:pt>
                <c:pt idx="13">
                  <c:v>0.28688524590163933</c:v>
                </c:pt>
                <c:pt idx="14">
                  <c:v>0.296</c:v>
                </c:pt>
                <c:pt idx="15">
                  <c:v>0.24074074074074073</c:v>
                </c:pt>
                <c:pt idx="16">
                  <c:v>0.24705882352941178</c:v>
                </c:pt>
                <c:pt idx="17">
                  <c:v>0.2876712328767123</c:v>
                </c:pt>
                <c:pt idx="18">
                  <c:v>0.296875</c:v>
                </c:pt>
                <c:pt idx="19">
                  <c:v>0.22448979591836735</c:v>
                </c:pt>
                <c:pt idx="20">
                  <c:v>0.22058823529411764</c:v>
                </c:pt>
                <c:pt idx="21">
                  <c:v>0.2</c:v>
                </c:pt>
                <c:pt idx="22">
                  <c:v>0.25925925925925924</c:v>
                </c:pt>
                <c:pt idx="23">
                  <c:v>0.20408163265306123</c:v>
                </c:pt>
                <c:pt idx="24">
                  <c:v>0.1956521739130435</c:v>
                </c:pt>
                <c:pt idx="25">
                  <c:v>0.16279069767441862</c:v>
                </c:pt>
                <c:pt idx="26">
                  <c:v>0.3023255813953488</c:v>
                </c:pt>
                <c:pt idx="27">
                  <c:v>0.3220338983050847</c:v>
                </c:pt>
                <c:pt idx="28">
                  <c:v>0.2553191489361702</c:v>
                </c:pt>
                <c:pt idx="29">
                  <c:v>0.2608695652173913</c:v>
                </c:pt>
                <c:pt idx="30">
                  <c:v>0.22857142857142856</c:v>
                </c:pt>
                <c:pt idx="31">
                  <c:v>0.2558139534883721</c:v>
                </c:pt>
                <c:pt idx="32">
                  <c:v>0.2391304347826087</c:v>
                </c:pt>
                <c:pt idx="33">
                  <c:v>0.2807017543859649</c:v>
                </c:pt>
                <c:pt idx="34">
                  <c:v>0.25675675675675674</c:v>
                </c:pt>
                <c:pt idx="35">
                  <c:v>0.175</c:v>
                </c:pt>
                <c:pt idx="36">
                  <c:v>0.21875</c:v>
                </c:pt>
                <c:pt idx="37">
                  <c:v>0.2222222222222222</c:v>
                </c:pt>
                <c:pt idx="38">
                  <c:v>0.27906976744186046</c:v>
                </c:pt>
                <c:pt idx="39">
                  <c:v>0.6162790697674418</c:v>
                </c:pt>
                <c:pt idx="40">
                  <c:v>0.732824427480916</c:v>
                </c:pt>
                <c:pt idx="41">
                  <c:v>0.7247706422018348</c:v>
                </c:pt>
                <c:pt idx="42">
                  <c:v>0.6504065040650406</c:v>
                </c:pt>
                <c:pt idx="43">
                  <c:v>0.6046511627906976</c:v>
                </c:pt>
                <c:pt idx="44">
                  <c:v>0.5352941176470588</c:v>
                </c:pt>
                <c:pt idx="45">
                  <c:v>0.5125</c:v>
                </c:pt>
                <c:pt idx="46">
                  <c:v>0.4827586206896552</c:v>
                </c:pt>
                <c:pt idx="47">
                  <c:v>0.4126984126984127</c:v>
                </c:pt>
                <c:pt idx="48">
                  <c:v>0.32044198895027626</c:v>
                </c:pt>
                <c:pt idx="49">
                  <c:v>0.29818181818181816</c:v>
                </c:pt>
                <c:pt idx="50">
                  <c:v>0.3181818181818182</c:v>
                </c:pt>
                <c:pt idx="51">
                  <c:v>0.2967032967032967</c:v>
                </c:pt>
                <c:pt idx="52">
                  <c:v>0.25892857142857145</c:v>
                </c:pt>
                <c:pt idx="53">
                  <c:v>0.1891891891891892</c:v>
                </c:pt>
                <c:pt idx="54">
                  <c:v>0.2159090909090909</c:v>
                </c:pt>
                <c:pt idx="55">
                  <c:v>0.13793103448275862</c:v>
                </c:pt>
                <c:pt idx="56">
                  <c:v>0.11347517730496454</c:v>
                </c:pt>
                <c:pt idx="57">
                  <c:v>0.08387096774193549</c:v>
                </c:pt>
                <c:pt idx="58">
                  <c:v>0.2604166666666667</c:v>
                </c:pt>
                <c:pt idx="59">
                  <c:v>0.13897280966767372</c:v>
                </c:pt>
                <c:pt idx="60">
                  <c:v>0.10526315789473684</c:v>
                </c:pt>
                <c:pt idx="61">
                  <c:v>0.09090909090909091</c:v>
                </c:pt>
                <c:pt idx="62">
                  <c:v>0.22388059701492538</c:v>
                </c:pt>
                <c:pt idx="63">
                  <c:v>0.12631578947368421</c:v>
                </c:pt>
                <c:pt idx="64">
                  <c:v>0.12</c:v>
                </c:pt>
                <c:pt idx="65">
                  <c:v>0.11678832116788321</c:v>
                </c:pt>
                <c:pt idx="66">
                  <c:v>0.1366906474820144</c:v>
                </c:pt>
                <c:pt idx="67">
                  <c:v>0.19148936170212766</c:v>
                </c:pt>
                <c:pt idx="68">
                  <c:v>0.10416666666666667</c:v>
                </c:pt>
                <c:pt idx="69">
                  <c:v>0.06578947368421052</c:v>
                </c:pt>
                <c:pt idx="70">
                  <c:v>0.06172839506172839</c:v>
                </c:pt>
                <c:pt idx="71">
                  <c:v>0.05263157894736842</c:v>
                </c:pt>
                <c:pt idx="72">
                  <c:v>0.0379746835443038</c:v>
                </c:pt>
                <c:pt idx="73">
                  <c:v>0.08571428571428572</c:v>
                </c:pt>
                <c:pt idx="74">
                  <c:v>0.06944444444444445</c:v>
                </c:pt>
                <c:pt idx="75">
                  <c:v>0.046153846153846156</c:v>
                </c:pt>
                <c:pt idx="76">
                  <c:v>0.05660377358490566</c:v>
                </c:pt>
                <c:pt idx="77">
                  <c:v>0.07142857142857142</c:v>
                </c:pt>
                <c:pt idx="78">
                  <c:v>0.16666666666666666</c:v>
                </c:pt>
                <c:pt idx="79">
                  <c:v>0.16216216216216217</c:v>
                </c:pt>
                <c:pt idx="80">
                  <c:v>0.1388888888888889</c:v>
                </c:pt>
                <c:pt idx="81">
                  <c:v>0.10638297872340426</c:v>
                </c:pt>
                <c:pt idx="82">
                  <c:v>0.10256410256410256</c:v>
                </c:pt>
                <c:pt idx="83">
                  <c:v>0.06896551724137931</c:v>
                </c:pt>
                <c:pt idx="84">
                  <c:v>0.0967741935483871</c:v>
                </c:pt>
                <c:pt idx="85">
                  <c:v>0.1282051282051282</c:v>
                </c:pt>
                <c:pt idx="86">
                  <c:v>0.1276595744680851</c:v>
                </c:pt>
                <c:pt idx="87">
                  <c:v>0.14545454545454545</c:v>
                </c:pt>
                <c:pt idx="88">
                  <c:v>0.13513513513513514</c:v>
                </c:pt>
                <c:pt idx="89">
                  <c:v>0.10256410256410256</c:v>
                </c:pt>
                <c:pt idx="90">
                  <c:v>0.15555555555555556</c:v>
                </c:pt>
                <c:pt idx="91">
                  <c:v>0.1111111111111111</c:v>
                </c:pt>
                <c:pt idx="92">
                  <c:v>0.18</c:v>
                </c:pt>
                <c:pt idx="93">
                  <c:v>0.21153846153846154</c:v>
                </c:pt>
                <c:pt idx="94">
                  <c:v>0.18181818181818182</c:v>
                </c:pt>
                <c:pt idx="95">
                  <c:v>0.14925373134328357</c:v>
                </c:pt>
                <c:pt idx="96">
                  <c:v>0.1326530612244898</c:v>
                </c:pt>
                <c:pt idx="97">
                  <c:v>0.13414634146341464</c:v>
                </c:pt>
                <c:pt idx="98">
                  <c:v>0.11214953271028037</c:v>
                </c:pt>
                <c:pt idx="99">
                  <c:v>0.12612612612612611</c:v>
                </c:pt>
                <c:pt idx="100">
                  <c:v>0.10674157303370786</c:v>
                </c:pt>
                <c:pt idx="101">
                  <c:v>0.1568627450980392</c:v>
                </c:pt>
                <c:pt idx="102">
                  <c:v>0.09333333333333334</c:v>
                </c:pt>
                <c:pt idx="103">
                  <c:v>0.21505376344086022</c:v>
                </c:pt>
                <c:pt idx="104">
                  <c:v>0.2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916.375</c:v>
                </c:pt>
                <c:pt idx="1">
                  <c:v>844.2857</c:v>
                </c:pt>
                <c:pt idx="2">
                  <c:v>1070.5</c:v>
                </c:pt>
                <c:pt idx="3">
                  <c:v>954.5385</c:v>
                </c:pt>
                <c:pt idx="4">
                  <c:v>915.1538</c:v>
                </c:pt>
                <c:pt idx="5">
                  <c:v>986.2</c:v>
                </c:pt>
                <c:pt idx="6">
                  <c:v>759.8889</c:v>
                </c:pt>
                <c:pt idx="7">
                  <c:v>695.1087</c:v>
                </c:pt>
                <c:pt idx="8">
                  <c:v>921.1</c:v>
                </c:pt>
                <c:pt idx="9">
                  <c:v>1015.2</c:v>
                </c:pt>
                <c:pt idx="10">
                  <c:v>706.7917</c:v>
                </c:pt>
                <c:pt idx="11">
                  <c:v>779.4762</c:v>
                </c:pt>
                <c:pt idx="12">
                  <c:v>1040.25</c:v>
                </c:pt>
                <c:pt idx="13">
                  <c:v>800.7778</c:v>
                </c:pt>
                <c:pt idx="14">
                  <c:v>824.0</c:v>
                </c:pt>
                <c:pt idx="15">
                  <c:v>1016.5</c:v>
                </c:pt>
                <c:pt idx="16">
                  <c:v>830.75</c:v>
                </c:pt>
                <c:pt idx="17">
                  <c:v>999.75</c:v>
                </c:pt>
                <c:pt idx="18">
                  <c:v>1089.0</c:v>
                </c:pt>
                <c:pt idx="19">
                  <c:v>948.2</c:v>
                </c:pt>
                <c:pt idx="20">
                  <c:v>1002.0</c:v>
                </c:pt>
                <c:pt idx="21">
                  <c:v>1007.0</c:v>
                </c:pt>
                <c:pt idx="22">
                  <c:v>996.8333</c:v>
                </c:pt>
                <c:pt idx="23">
                  <c:v>0.0</c:v>
                </c:pt>
                <c:pt idx="24">
                  <c:v>1372.5</c:v>
                </c:pt>
                <c:pt idx="25">
                  <c:v>618.1111</c:v>
                </c:pt>
                <c:pt idx="26">
                  <c:v>768.5714</c:v>
                </c:pt>
                <c:pt idx="27">
                  <c:v>952.6</c:v>
                </c:pt>
                <c:pt idx="28">
                  <c:v>783.1429</c:v>
                </c:pt>
                <c:pt idx="29">
                  <c:v>485.2222</c:v>
                </c:pt>
                <c:pt idx="30">
                  <c:v>412.0</c:v>
                </c:pt>
                <c:pt idx="31">
                  <c:v>454.125</c:v>
                </c:pt>
                <c:pt idx="32">
                  <c:v>471.0</c:v>
                </c:pt>
                <c:pt idx="33">
                  <c:v>418.4286</c:v>
                </c:pt>
                <c:pt idx="34">
                  <c:v>546.25</c:v>
                </c:pt>
                <c:pt idx="35">
                  <c:v>735.0</c:v>
                </c:pt>
                <c:pt idx="36">
                  <c:v>0.0</c:v>
                </c:pt>
                <c:pt idx="37">
                  <c:v>873.0</c:v>
                </c:pt>
                <c:pt idx="38">
                  <c:v>727.6667</c:v>
                </c:pt>
                <c:pt idx="39">
                  <c:v>423.6667</c:v>
                </c:pt>
                <c:pt idx="40">
                  <c:v>495.5</c:v>
                </c:pt>
                <c:pt idx="41">
                  <c:v>0.0</c:v>
                </c:pt>
                <c:pt idx="42">
                  <c:v>358.0</c:v>
                </c:pt>
                <c:pt idx="43">
                  <c:v>0.0</c:v>
                </c:pt>
                <c:pt idx="44">
                  <c:v>983.0</c:v>
                </c:pt>
                <c:pt idx="45">
                  <c:v>1140.0</c:v>
                </c:pt>
                <c:pt idx="46">
                  <c:v>613.0</c:v>
                </c:pt>
                <c:pt idx="47">
                  <c:v>1038.0</c:v>
                </c:pt>
                <c:pt idx="48">
                  <c:v>973.0</c:v>
                </c:pt>
                <c:pt idx="49">
                  <c:v>0.0</c:v>
                </c:pt>
                <c:pt idx="50">
                  <c:v>874.6</c:v>
                </c:pt>
                <c:pt idx="51">
                  <c:v>1112.0</c:v>
                </c:pt>
              </c:numCache>
            </c:numRef>
          </c:xVal>
          <c:yVal>
            <c:numRef>
              <c:f>Sheet1!$B$109:$B$160</c:f>
              <c:numCache>
                <c:formatCode>General</c:formatCode>
                <c:ptCount val="52"/>
                <c:pt idx="0">
                  <c:v>0.0898876404494382</c:v>
                </c:pt>
                <c:pt idx="1">
                  <c:v>0.07692307692307693</c:v>
                </c:pt>
                <c:pt idx="2">
                  <c:v>0.10309278350515463</c:v>
                </c:pt>
                <c:pt idx="3">
                  <c:v>0.12264150943396226</c:v>
                </c:pt>
                <c:pt idx="4">
                  <c:v>0.10077519379844961</c:v>
                </c:pt>
                <c:pt idx="5">
                  <c:v>0.10204081632653061</c:v>
                </c:pt>
                <c:pt idx="6">
                  <c:v>0.24324324324324326</c:v>
                </c:pt>
                <c:pt idx="7">
                  <c:v>0.44660194174757284</c:v>
                </c:pt>
                <c:pt idx="8">
                  <c:v>0.14705882352941177</c:v>
                </c:pt>
                <c:pt idx="9">
                  <c:v>0.1282051282051282</c:v>
                </c:pt>
                <c:pt idx="10">
                  <c:v>0.2891566265060241</c:v>
                </c:pt>
                <c:pt idx="11">
                  <c:v>0.18421052631578946</c:v>
                </c:pt>
                <c:pt idx="12">
                  <c:v>0.1</c:v>
                </c:pt>
                <c:pt idx="13">
                  <c:v>0.18947368421052632</c:v>
                </c:pt>
                <c:pt idx="14">
                  <c:v>0.1518987341772152</c:v>
                </c:pt>
                <c:pt idx="15">
                  <c:v>0.1111111111111111</c:v>
                </c:pt>
                <c:pt idx="16">
                  <c:v>0.13333333333333333</c:v>
                </c:pt>
                <c:pt idx="17">
                  <c:v>0.07142857142857142</c:v>
                </c:pt>
                <c:pt idx="18">
                  <c:v>0.09523809523809523</c:v>
                </c:pt>
                <c:pt idx="19">
                  <c:v>0.125</c:v>
                </c:pt>
                <c:pt idx="20">
                  <c:v>0.14285714285714285</c:v>
                </c:pt>
                <c:pt idx="21">
                  <c:v>0.10256410256410256</c:v>
                </c:pt>
                <c:pt idx="22">
                  <c:v>0.17647058823529413</c:v>
                </c:pt>
                <c:pt idx="23">
                  <c:v>0.0</c:v>
                </c:pt>
                <c:pt idx="24">
                  <c:v>0.12903225806451613</c:v>
                </c:pt>
                <c:pt idx="25">
                  <c:v>0.3333333333333333</c:v>
                </c:pt>
                <c:pt idx="26">
                  <c:v>0.25</c:v>
                </c:pt>
                <c:pt idx="27">
                  <c:v>0.13513513513513514</c:v>
                </c:pt>
                <c:pt idx="28">
                  <c:v>0.19444444444444445</c:v>
                </c:pt>
                <c:pt idx="29">
                  <c:v>0.2903225806451613</c:v>
                </c:pt>
                <c:pt idx="30">
                  <c:v>0.42105263157894735</c:v>
                </c:pt>
                <c:pt idx="31">
                  <c:v>0.32</c:v>
                </c:pt>
                <c:pt idx="32">
                  <c:v>0.1935483870967742</c:v>
                </c:pt>
                <c:pt idx="33">
                  <c:v>0.175</c:v>
                </c:pt>
                <c:pt idx="34">
                  <c:v>0.07692307692307693</c:v>
                </c:pt>
                <c:pt idx="35">
                  <c:v>0.05405405405405406</c:v>
                </c:pt>
                <c:pt idx="36">
                  <c:v>0.0</c:v>
                </c:pt>
                <c:pt idx="37">
                  <c:v>0.034482758620689655</c:v>
                </c:pt>
                <c:pt idx="38">
                  <c:v>0.125</c:v>
                </c:pt>
                <c:pt idx="39">
                  <c:v>0.07894736842105263</c:v>
                </c:pt>
                <c:pt idx="40">
                  <c:v>0.00796812749003984</c:v>
                </c:pt>
                <c:pt idx="41">
                  <c:v>0.0</c:v>
                </c:pt>
                <c:pt idx="42">
                  <c:v>0.02</c:v>
                </c:pt>
                <c:pt idx="43">
                  <c:v>0.0</c:v>
                </c:pt>
                <c:pt idx="44">
                  <c:v>0.010526315789473684</c:v>
                </c:pt>
                <c:pt idx="45">
                  <c:v>0.011764705882352941</c:v>
                </c:pt>
                <c:pt idx="46">
                  <c:v>0.03333333333333333</c:v>
                </c:pt>
                <c:pt idx="47">
                  <c:v>0.01818181818181818</c:v>
                </c:pt>
                <c:pt idx="48">
                  <c:v>0.013888888888888888</c:v>
                </c:pt>
                <c:pt idx="49">
                  <c:v>0.0</c:v>
                </c:pt>
                <c:pt idx="50">
                  <c:v>0.034013605442176874</c:v>
                </c:pt>
                <c:pt idx="51">
                  <c:v>0.01515151515151515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7819.7503313302</c:v>
                </c:pt>
              </c:numCache>
            </c:numRef>
          </c:xVal>
          <c:yVal>
            <c:numRef>
              <c:f>Sheet1!$B$163:$B$164</c:f>
              <c:numCache>
                <c:formatCode>General</c:formatCode>
                <c:ptCount val="2"/>
                <c:pt idx="0">
                  <c:v>0.4744019190003954</c:v>
                </c:pt>
                <c:pt idx="1">
                  <c:v>0.47440191900039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7819.7503313302</c:v>
                </c:pt>
                <c:pt idx="1">
                  <c:v>27819.7503313302</c:v>
                </c:pt>
              </c:numCache>
            </c:numRef>
          </c:xVal>
          <c:yVal>
            <c:numRef>
              <c:f>Sheet1!$B$167:$B$168</c:f>
              <c:numCache>
                <c:formatCode>General</c:formatCode>
                <c:ptCount val="2"/>
                <c:pt idx="0">
                  <c:v>0.4744019190003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227.389404712134</c:v>
                </c:pt>
              </c:numCache>
            </c:numRef>
          </c:xVal>
          <c:yVal>
            <c:numRef>
              <c:f>Sheet1!$B$171:$B$172</c:f>
              <c:numCache>
                <c:formatCode>General</c:formatCode>
                <c:ptCount val="2"/>
                <c:pt idx="0">
                  <c:v>0.20732787965051405</c:v>
                </c:pt>
                <c:pt idx="1">
                  <c:v>0.207327879650514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227.389404712134</c:v>
                </c:pt>
                <c:pt idx="1">
                  <c:v>7227.389404712134</c:v>
                </c:pt>
              </c:numCache>
            </c:numRef>
          </c:xVal>
          <c:yVal>
            <c:numRef>
              <c:f>Sheet1!$B$175:$B$176</c:f>
              <c:numCache>
                <c:formatCode>General</c:formatCode>
                <c:ptCount val="2"/>
                <c:pt idx="0">
                  <c:v>0.207327879650514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7312.485359632959</c:v>
                </c:pt>
              </c:numCache>
            </c:numRef>
          </c:xVal>
          <c:yVal>
            <c:numRef>
              <c:f>Sheet1!$B$179:$B$180</c:f>
              <c:numCache>
                <c:formatCode>General</c:formatCode>
                <c:ptCount val="2"/>
                <c:pt idx="0">
                  <c:v>0.01875197527543473</c:v>
                </c:pt>
                <c:pt idx="1">
                  <c:v>0.0187519752754347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7312.485359632959</c:v>
                </c:pt>
                <c:pt idx="1">
                  <c:v>-7312.485359632959</c:v>
                </c:pt>
              </c:numCache>
            </c:numRef>
          </c:xVal>
          <c:yVal>
            <c:numRef>
              <c:f>Sheet1!$B$183:$B$184</c:f>
              <c:numCache>
                <c:formatCode>General</c:formatCode>
                <c:ptCount val="2"/>
                <c:pt idx="0">
                  <c:v>0.018751975275434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916.375</c:v>
                </c:pt>
                <c:pt idx="1">
                  <c:v>844.2857</c:v>
                </c:pt>
                <c:pt idx="2">
                  <c:v>1070.5</c:v>
                </c:pt>
                <c:pt idx="3">
                  <c:v>954.5385</c:v>
                </c:pt>
                <c:pt idx="4">
                  <c:v>915.1538</c:v>
                </c:pt>
                <c:pt idx="5">
                  <c:v>986.2</c:v>
                </c:pt>
                <c:pt idx="6">
                  <c:v>759.8889</c:v>
                </c:pt>
                <c:pt idx="7">
                  <c:v>695.1087</c:v>
                </c:pt>
                <c:pt idx="8">
                  <c:v>921.1</c:v>
                </c:pt>
                <c:pt idx="9">
                  <c:v>1015.2</c:v>
                </c:pt>
                <c:pt idx="10">
                  <c:v>706.7917</c:v>
                </c:pt>
                <c:pt idx="11">
                  <c:v>779.4762</c:v>
                </c:pt>
                <c:pt idx="12">
                  <c:v>1040.25</c:v>
                </c:pt>
                <c:pt idx="13">
                  <c:v>800.7778</c:v>
                </c:pt>
                <c:pt idx="14">
                  <c:v>824.0</c:v>
                </c:pt>
                <c:pt idx="15">
                  <c:v>1016.5</c:v>
                </c:pt>
                <c:pt idx="16">
                  <c:v>830.75</c:v>
                </c:pt>
                <c:pt idx="17">
                  <c:v>999.75</c:v>
                </c:pt>
                <c:pt idx="18">
                  <c:v>1089.0</c:v>
                </c:pt>
                <c:pt idx="19">
                  <c:v>948.2</c:v>
                </c:pt>
                <c:pt idx="20">
                  <c:v>1002.0</c:v>
                </c:pt>
                <c:pt idx="21">
                  <c:v>1007.0</c:v>
                </c:pt>
                <c:pt idx="22">
                  <c:v>996.8333</c:v>
                </c:pt>
                <c:pt idx="23">
                  <c:v>0.0</c:v>
                </c:pt>
                <c:pt idx="24">
                  <c:v>1372.5</c:v>
                </c:pt>
                <c:pt idx="25">
                  <c:v>618.1111</c:v>
                </c:pt>
                <c:pt idx="26">
                  <c:v>768.5714</c:v>
                </c:pt>
                <c:pt idx="27">
                  <c:v>952.6</c:v>
                </c:pt>
                <c:pt idx="28">
                  <c:v>783.1429</c:v>
                </c:pt>
                <c:pt idx="29">
                  <c:v>485.2222</c:v>
                </c:pt>
                <c:pt idx="30">
                  <c:v>412.0</c:v>
                </c:pt>
                <c:pt idx="31">
                  <c:v>454.125</c:v>
                </c:pt>
                <c:pt idx="32">
                  <c:v>471.0</c:v>
                </c:pt>
                <c:pt idx="33">
                  <c:v>418.4286</c:v>
                </c:pt>
                <c:pt idx="34">
                  <c:v>546.25</c:v>
                </c:pt>
                <c:pt idx="35">
                  <c:v>735.0</c:v>
                </c:pt>
                <c:pt idx="36">
                  <c:v>0.0</c:v>
                </c:pt>
                <c:pt idx="37">
                  <c:v>873.0</c:v>
                </c:pt>
                <c:pt idx="38">
                  <c:v>727.6667</c:v>
                </c:pt>
                <c:pt idx="39">
                  <c:v>423.6667</c:v>
                </c:pt>
                <c:pt idx="40">
                  <c:v>495.5</c:v>
                </c:pt>
                <c:pt idx="41">
                  <c:v>0.0</c:v>
                </c:pt>
                <c:pt idx="42">
                  <c:v>358.0</c:v>
                </c:pt>
                <c:pt idx="43">
                  <c:v>0.0</c:v>
                </c:pt>
                <c:pt idx="44">
                  <c:v>983.0</c:v>
                </c:pt>
                <c:pt idx="45">
                  <c:v>1140.0</c:v>
                </c:pt>
                <c:pt idx="46">
                  <c:v>613.0</c:v>
                </c:pt>
                <c:pt idx="47">
                  <c:v>1038.0</c:v>
                </c:pt>
                <c:pt idx="48">
                  <c:v>973.0</c:v>
                </c:pt>
                <c:pt idx="49">
                  <c:v>0.0</c:v>
                </c:pt>
                <c:pt idx="50">
                  <c:v>874.6</c:v>
                </c:pt>
                <c:pt idx="51">
                  <c:v>1112.0</c:v>
                </c:pt>
                <c:pt idx="52">
                  <c:v>7227.389404712134</c:v>
                </c:pt>
                <c:pt idx="53">
                  <c:v>27819.7503313302</c:v>
                </c:pt>
                <c:pt idx="54">
                  <c:v>-7312.485359632959</c:v>
                </c:pt>
              </c:numCache>
            </c:numRef>
          </c:xVal>
          <c:yVal>
            <c:numRef>
              <c:f>Sheet1!$B$187:$B$241</c:f>
              <c:numCache>
                <c:formatCode>General</c:formatCode>
                <c:ptCount val="55"/>
                <c:pt idx="0">
                  <c:v>0.12547674487931657</c:v>
                </c:pt>
                <c:pt idx="1">
                  <c:v>0.12454177775177276</c:v>
                </c:pt>
                <c:pt idx="2">
                  <c:v>0.12747567965233683</c:v>
                </c:pt>
                <c:pt idx="3">
                  <c:v>0.12597170901368904</c:v>
                </c:pt>
                <c:pt idx="4">
                  <c:v>0.12546090644204286</c:v>
                </c:pt>
                <c:pt idx="5">
                  <c:v>0.1263823450124951</c:v>
                </c:pt>
                <c:pt idx="6">
                  <c:v>0.12344718765768267</c:v>
                </c:pt>
                <c:pt idx="7">
                  <c:v>0.12260701640458806</c:v>
                </c:pt>
                <c:pt idx="8">
                  <c:v>0.12553802609133616</c:v>
                </c:pt>
                <c:pt idx="9">
                  <c:v>0.1267584625042556</c:v>
                </c:pt>
                <c:pt idx="10">
                  <c:v>0.12275853987549282</c:v>
                </c:pt>
                <c:pt idx="11">
                  <c:v>0.12370122649031579</c:v>
                </c:pt>
                <c:pt idx="12">
                  <c:v>0.12708335019972458</c:v>
                </c:pt>
                <c:pt idx="13">
                  <c:v>0.12397749905453942</c:v>
                </c:pt>
                <c:pt idx="14">
                  <c:v>0.12427868097237256</c:v>
                </c:pt>
                <c:pt idx="15">
                  <c:v>0.1267753229435414</c:v>
                </c:pt>
                <c:pt idx="16">
                  <c:v>0.12436622556097199</c:v>
                </c:pt>
                <c:pt idx="17">
                  <c:v>0.126558082668128</c:v>
                </c:pt>
                <c:pt idx="18">
                  <c:v>0.12771561667294265</c:v>
                </c:pt>
                <c:pt idx="19">
                  <c:v>0.12588950140260202</c:v>
                </c:pt>
                <c:pt idx="20">
                  <c:v>0.12658726419766114</c:v>
                </c:pt>
                <c:pt idx="21">
                  <c:v>0.12665211204106813</c:v>
                </c:pt>
                <c:pt idx="22">
                  <c:v>0.12652025432715497</c:v>
                </c:pt>
                <c:pt idx="23">
                  <c:v>0.11359175637890173</c:v>
                </c:pt>
                <c:pt idx="24">
                  <c:v>0.1313924893941186</c:v>
                </c:pt>
                <c:pt idx="25">
                  <c:v>0.12160839074308535</c:v>
                </c:pt>
                <c:pt idx="26">
                  <c:v>0.1235597959377589</c:v>
                </c:pt>
                <c:pt idx="27">
                  <c:v>0.12594656750480016</c:v>
                </c:pt>
                <c:pt idx="28">
                  <c:v>0.12374878200779986</c:v>
                </c:pt>
                <c:pt idx="29">
                  <c:v>0.11988487902754011</c:v>
                </c:pt>
                <c:pt idx="30">
                  <c:v>0.11893521867563714</c:v>
                </c:pt>
                <c:pt idx="31">
                  <c:v>0.11948156175634098</c:v>
                </c:pt>
                <c:pt idx="32">
                  <c:v>0.11970042322783954</c:v>
                </c:pt>
                <c:pt idx="33">
                  <c:v>0.11901859484486237</c:v>
                </c:pt>
                <c:pt idx="34">
                  <c:v>0.12067638327111464</c:v>
                </c:pt>
                <c:pt idx="35">
                  <c:v>0.12312438935972825</c:v>
                </c:pt>
                <c:pt idx="36">
                  <c:v>0.11359175637890173</c:v>
                </c:pt>
                <c:pt idx="37">
                  <c:v>0.124914189837761</c:v>
                </c:pt>
                <c:pt idx="38">
                  <c:v>0.12302927962171697</c:v>
                </c:pt>
                <c:pt idx="39">
                  <c:v>0.11908653074257239</c:v>
                </c:pt>
                <c:pt idx="40">
                  <c:v>0.12001817766053376</c:v>
                </c:pt>
                <c:pt idx="41">
                  <c:v>0.11359175637890173</c:v>
                </c:pt>
                <c:pt idx="42">
                  <c:v>0.11823486196684173</c:v>
                </c:pt>
                <c:pt idx="43">
                  <c:v>0.11359175637890173</c:v>
                </c:pt>
                <c:pt idx="44">
                  <c:v>0.12634084239271462</c:v>
                </c:pt>
                <c:pt idx="45">
                  <c:v>0.12837706467569387</c:v>
                </c:pt>
                <c:pt idx="46">
                  <c:v>0.12154210198059787</c:v>
                </c:pt>
                <c:pt idx="47">
                  <c:v>0.12705416867019143</c:v>
                </c:pt>
                <c:pt idx="48">
                  <c:v>0.12621114670590064</c:v>
                </c:pt>
                <c:pt idx="49">
                  <c:v>0.11359175637890173</c:v>
                </c:pt>
                <c:pt idx="50">
                  <c:v>0.12493494114765122</c:v>
                </c:pt>
                <c:pt idx="51">
                  <c:v>0.12801391675261478</c:v>
                </c:pt>
                <c:pt idx="52">
                  <c:v>0.20732787965051405</c:v>
                </c:pt>
                <c:pt idx="53">
                  <c:v>0.4744019190003954</c:v>
                </c:pt>
                <c:pt idx="54">
                  <c:v>0.0187519752754347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338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389312977099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971942804670078</c:v>
                </c:pt>
                <c:pt idx="1">
                  <c:v>0.23549893150974938</c:v>
                </c:pt>
                <c:pt idx="2">
                  <c:v>0.17635432500640064</c:v>
                </c:pt>
                <c:pt idx="3">
                  <c:v>0.1404523934771173</c:v>
                </c:pt>
                <c:pt idx="4">
                  <c:v>0.2277934569546809</c:v>
                </c:pt>
                <c:pt idx="5">
                  <c:v>0.28944096699897215</c:v>
                </c:pt>
                <c:pt idx="6">
                  <c:v>0.2569407951598963</c:v>
                </c:pt>
                <c:pt idx="7">
                  <c:v>0.31216745568355164</c:v>
                </c:pt>
                <c:pt idx="8">
                  <c:v>0.2946906799620714</c:v>
                </c:pt>
                <c:pt idx="9">
                  <c:v>0.30293079144606594</c:v>
                </c:pt>
                <c:pt idx="10">
                  <c:v>0.3279699284692417</c:v>
                </c:pt>
                <c:pt idx="11">
                  <c:v>0.2822655739031704</c:v>
                </c:pt>
                <c:pt idx="12">
                  <c:v>0.29089224548562037</c:v>
                </c:pt>
                <c:pt idx="13">
                  <c:v>0.1792489425981873</c:v>
                </c:pt>
                <c:pt idx="14">
                  <c:v>0.2608051230649293</c:v>
                </c:pt>
                <c:pt idx="15">
                  <c:v>0.2678655180496953</c:v>
                </c:pt>
                <c:pt idx="16">
                  <c:v>0.269283066655258</c:v>
                </c:pt>
                <c:pt idx="17">
                  <c:v>0.2175596424010217</c:v>
                </c:pt>
                <c:pt idx="18">
                  <c:v>0.14371114742001792</c:v>
                </c:pt>
                <c:pt idx="19">
                  <c:v>0.10444848334573105</c:v>
                </c:pt>
                <c:pt idx="20">
                  <c:v>0.062453506315066326</c:v>
                </c:pt>
                <c:pt idx="21">
                  <c:v>0.17706428789751916</c:v>
                </c:pt>
                <c:pt idx="22">
                  <c:v>0.1183235347523454</c:v>
                </c:pt>
                <c:pt idx="23">
                  <c:v>0.0958689012475575</c:v>
                </c:pt>
                <c:pt idx="24">
                  <c:v>0.07670471346620143</c:v>
                </c:pt>
                <c:pt idx="25">
                  <c:v>0.21685810784878146</c:v>
                </c:pt>
                <c:pt idx="26">
                  <c:v>0.0</c:v>
                </c:pt>
                <c:pt idx="27">
                  <c:v>0.11740264651934668</c:v>
                </c:pt>
                <c:pt idx="28">
                  <c:v>0.1986605972878257</c:v>
                </c:pt>
                <c:pt idx="29">
                  <c:v>0.08401471982902557</c:v>
                </c:pt>
                <c:pt idx="30">
                  <c:v>0.09577779883381925</c:v>
                </c:pt>
                <c:pt idx="31">
                  <c:v>0.12161142063947923</c:v>
                </c:pt>
                <c:pt idx="32">
                  <c:v>0.0</c:v>
                </c:pt>
                <c:pt idx="33">
                  <c:v>0.16501926892950394</c:v>
                </c:pt>
                <c:pt idx="34">
                  <c:v>0.11163051608077786</c:v>
                </c:pt>
                <c:pt idx="35">
                  <c:v>0.2487171390226573</c:v>
                </c:pt>
                <c:pt idx="36">
                  <c:v>0.17524823064993655</c:v>
                </c:pt>
                <c:pt idx="37">
                  <c:v>0.0</c:v>
                </c:pt>
                <c:pt idx="38">
                  <c:v>0.11142900734458999</c:v>
                </c:pt>
                <c:pt idx="39">
                  <c:v>0.0</c:v>
                </c:pt>
                <c:pt idx="40">
                  <c:v>0.0886802541360005</c:v>
                </c:pt>
                <c:pt idx="41">
                  <c:v>0.077329225259388</c:v>
                </c:pt>
                <c:pt idx="42">
                  <c:v>0.08273456069609508</c:v>
                </c:pt>
                <c:pt idx="43">
                  <c:v>0.11467811903012491</c:v>
                </c:pt>
                <c:pt idx="44">
                  <c:v>0.2468985144898125</c:v>
                </c:pt>
                <c:pt idx="45">
                  <c:v>0.2962302252588809</c:v>
                </c:pt>
                <c:pt idx="46">
                  <c:v>0.25211822321840344</c:v>
                </c:pt>
                <c:pt idx="47">
                  <c:v>0.1629894128865277</c:v>
                </c:pt>
                <c:pt idx="48">
                  <c:v>0.3835749004162199</c:v>
                </c:pt>
                <c:pt idx="49">
                  <c:v>0.39217061228963584</c:v>
                </c:pt>
                <c:pt idx="50">
                  <c:v>0.2741759441131582</c:v>
                </c:pt>
                <c:pt idx="51">
                  <c:v>0.2452089153794493</c:v>
                </c:pt>
                <c:pt idx="52">
                  <c:v>0.2482974417542752</c:v>
                </c:pt>
                <c:pt idx="53">
                  <c:v>0.37832348389592796</c:v>
                </c:pt>
                <c:pt idx="54">
                  <c:v>0.3869073018901077</c:v>
                </c:pt>
                <c:pt idx="55">
                  <c:v>0.162272867731496</c:v>
                </c:pt>
                <c:pt idx="56">
                  <c:v>0.1717079379157428</c:v>
                </c:pt>
                <c:pt idx="57">
                  <c:v>0.27730609132120254</c:v>
                </c:pt>
                <c:pt idx="58">
                  <c:v>0.3746958048308009</c:v>
                </c:pt>
                <c:pt idx="59">
                  <c:v>0.3737580836206979</c:v>
                </c:pt>
                <c:pt idx="60">
                  <c:v>0.3577303506148876</c:v>
                </c:pt>
                <c:pt idx="61">
                  <c:v>0.3539184206026784</c:v>
                </c:pt>
                <c:pt idx="62">
                  <c:v>0.42579654025899516</c:v>
                </c:pt>
                <c:pt idx="63">
                  <c:v>0.40775511879706855</c:v>
                </c:pt>
                <c:pt idx="64">
                  <c:v>0.4522220095689436</c:v>
                </c:pt>
                <c:pt idx="65">
                  <c:v>0.27548248431611505</c:v>
                </c:pt>
                <c:pt idx="66">
                  <c:v>0.2972987980806202</c:v>
                </c:pt>
                <c:pt idx="67">
                  <c:v>0.3962590696154265</c:v>
                </c:pt>
                <c:pt idx="68">
                  <c:v>0.29574384299727213</c:v>
                </c:pt>
                <c:pt idx="69">
                  <c:v>0.19323464818459257</c:v>
                </c:pt>
                <c:pt idx="70">
                  <c:v>0.13584123872546797</c:v>
                </c:pt>
                <c:pt idx="71">
                  <c:v>0.15355265089722675</c:v>
                </c:pt>
                <c:pt idx="72">
                  <c:v>0.1751660504972344</c:v>
                </c:pt>
                <c:pt idx="73">
                  <c:v>0.14741000476108032</c:v>
                </c:pt>
                <c:pt idx="74">
                  <c:v>0.14167848505120156</c:v>
                </c:pt>
                <c:pt idx="75">
                  <c:v>0.14126308776822372</c:v>
                </c:pt>
                <c:pt idx="76">
                  <c:v>0.2223793871584269</c:v>
                </c:pt>
                <c:pt idx="77">
                  <c:v>0.18796401934580628</c:v>
                </c:pt>
                <c:pt idx="78">
                  <c:v>0.14305739910313903</c:v>
                </c:pt>
                <c:pt idx="79">
                  <c:v>0.0</c:v>
                </c:pt>
                <c:pt idx="80">
                  <c:v>0.08148763995501883</c:v>
                </c:pt>
                <c:pt idx="81">
                  <c:v>0.3114781371817246</c:v>
                </c:pt>
                <c:pt idx="82">
                  <c:v>0.11047066396056829</c:v>
                </c:pt>
                <c:pt idx="83">
                  <c:v>0.07300389740348659</c:v>
                </c:pt>
                <c:pt idx="84">
                  <c:v>0.07817212048911422</c:v>
                </c:pt>
                <c:pt idx="85">
                  <c:v>0.11638262587770368</c:v>
                </c:pt>
                <c:pt idx="86">
                  <c:v>0.22982472397027762</c:v>
                </c:pt>
                <c:pt idx="87">
                  <c:v>0.2760068474637355</c:v>
                </c:pt>
                <c:pt idx="88">
                  <c:v>0.0</c:v>
                </c:pt>
                <c:pt idx="89">
                  <c:v>0.13007582942830367</c:v>
                </c:pt>
                <c:pt idx="90">
                  <c:v>0.1146218487394958</c:v>
                </c:pt>
                <c:pt idx="91">
                  <c:v>0.28041109191300756</c:v>
                </c:pt>
                <c:pt idx="92">
                  <c:v>0.23269425436348837</c:v>
                </c:pt>
                <c:pt idx="93">
                  <c:v>0.1776595397579948</c:v>
                </c:pt>
                <c:pt idx="94">
                  <c:v>0.05836416877637131</c:v>
                </c:pt>
                <c:pt idx="95">
                  <c:v>0.07632548298702</c:v>
                </c:pt>
                <c:pt idx="96">
                  <c:v>0.23788348583269306</c:v>
                </c:pt>
                <c:pt idx="97">
                  <c:v>0.20718722460841585</c:v>
                </c:pt>
                <c:pt idx="98">
                  <c:v>0.2575065870164368</c:v>
                </c:pt>
                <c:pt idx="99">
                  <c:v>0.2024609111320345</c:v>
                </c:pt>
                <c:pt idx="100">
                  <c:v>0.2802890489062844</c:v>
                </c:pt>
                <c:pt idx="101">
                  <c:v>0.2190258698955299</c:v>
                </c:pt>
                <c:pt idx="102">
                  <c:v>0.11916946426482629</c:v>
                </c:pt>
                <c:pt idx="103">
                  <c:v>0.1765435751153429</c:v>
                </c:pt>
                <c:pt idx="104">
                  <c:v>0.239672086562931</c:v>
                </c:pt>
              </c:numCache>
            </c:numRef>
          </c:xVal>
          <c:yVal>
            <c:numRef>
              <c:f>Sheet1!$B$2:$B$106</c:f>
              <c:numCache>
                <c:formatCode>General</c:formatCode>
                <c:ptCount val="105"/>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10255574173875</c:v>
                </c:pt>
                <c:pt idx="1">
                  <c:v>0.2958820368840076</c:v>
                </c:pt>
                <c:pt idx="2">
                  <c:v>0.2309731380167929</c:v>
                </c:pt>
                <c:pt idx="3">
                  <c:v>0.23144544690317662</c:v>
                </c:pt>
                <c:pt idx="4">
                  <c:v>0.23402867808163597</c:v>
                </c:pt>
                <c:pt idx="5">
                  <c:v>0.27711096438818467</c:v>
                </c:pt>
                <c:pt idx="6">
                  <c:v>0.21823976067078044</c:v>
                </c:pt>
                <c:pt idx="7">
                  <c:v>0.16586869548107824</c:v>
                </c:pt>
                <c:pt idx="8">
                  <c:v>0.26613621201970644</c:v>
                </c:pt>
                <c:pt idx="9">
                  <c:v>0.2977409025328631</c:v>
                </c:pt>
                <c:pt idx="10">
                  <c:v>0.2653926734391223</c:v>
                </c:pt>
                <c:pt idx="11">
                  <c:v>0.22889844121938108</c:v>
                </c:pt>
                <c:pt idx="12">
                  <c:v>0.2884677572192505</c:v>
                </c:pt>
                <c:pt idx="13">
                  <c:v>0.28122611182875074</c:v>
                </c:pt>
                <c:pt idx="14">
                  <c:v>0.3025418574015288</c:v>
                </c:pt>
                <c:pt idx="15">
                  <c:v>0.30972782493261997</c:v>
                </c:pt>
                <c:pt idx="16">
                  <c:v>0.2787941828034106</c:v>
                </c:pt>
                <c:pt idx="17">
                  <c:v>0.25648079362045906</c:v>
                </c:pt>
                <c:pt idx="18">
                  <c:v>0.26549274840310433</c:v>
                </c:pt>
                <c:pt idx="19">
                  <c:v>0.17425024042639475</c:v>
                </c:pt>
                <c:pt idx="20">
                  <c:v>0.17286385220166584</c:v>
                </c:pt>
                <c:pt idx="21">
                  <c:v>0.15170693601301957</c:v>
                </c:pt>
                <c:pt idx="22">
                  <c:v>0.15644081150285602</c:v>
                </c:pt>
                <c:pt idx="23">
                  <c:v>0.1811645261505941</c:v>
                </c:pt>
                <c:pt idx="24">
                  <c:v>0.21040648522741204</c:v>
                </c:pt>
                <c:pt idx="25">
                  <c:v>0.05029767784454352</c:v>
                </c:pt>
                <c:pt idx="26">
                  <c:v>0.18060027598896045</c:v>
                </c:pt>
                <c:pt idx="27">
                  <c:v>0.24013638577691182</c:v>
                </c:pt>
                <c:pt idx="28">
                  <c:v>0.0912762457337884</c:v>
                </c:pt>
                <c:pt idx="29">
                  <c:v>0.12089882496566458</c:v>
                </c:pt>
                <c:pt idx="30">
                  <c:v>0.14501931757119826</c:v>
                </c:pt>
                <c:pt idx="31">
                  <c:v>0.08646037591467788</c:v>
                </c:pt>
                <c:pt idx="32">
                  <c:v>0.15863035354987065</c:v>
                </c:pt>
                <c:pt idx="33">
                  <c:v>0.21594580729769344</c:v>
                </c:pt>
                <c:pt idx="34">
                  <c:v>0.27203209224649466</c:v>
                </c:pt>
                <c:pt idx="35">
                  <c:v>0.13340048193002654</c:v>
                </c:pt>
                <c:pt idx="36">
                  <c:v>0.07057376661463508</c:v>
                </c:pt>
                <c:pt idx="37">
                  <c:v>0.06909385242718447</c:v>
                </c:pt>
                <c:pt idx="38">
                  <c:v>0.09430988338859037</c:v>
                </c:pt>
                <c:pt idx="39">
                  <c:v>0.083497818914956</c:v>
                </c:pt>
                <c:pt idx="40">
                  <c:v>0.19431955315015265</c:v>
                </c:pt>
                <c:pt idx="41">
                  <c:v>0.16346732294230243</c:v>
                </c:pt>
                <c:pt idx="42">
                  <c:v>0.18431367666707155</c:v>
                </c:pt>
                <c:pt idx="43">
                  <c:v>0.19999332962457256</c:v>
                </c:pt>
                <c:pt idx="44">
                  <c:v>0.2607631732508954</c:v>
                </c:pt>
                <c:pt idx="45">
                  <c:v>0.20857950542050574</c:v>
                </c:pt>
                <c:pt idx="46">
                  <c:v>0.22112931481060322</c:v>
                </c:pt>
                <c:pt idx="47">
                  <c:v>0.17462674958232782</c:v>
                </c:pt>
                <c:pt idx="48">
                  <c:v>0.25803839729567773</c:v>
                </c:pt>
                <c:pt idx="49">
                  <c:v>0.2593261738575607</c:v>
                </c:pt>
                <c:pt idx="50">
                  <c:v>0.24809466768373398</c:v>
                </c:pt>
                <c:pt idx="51">
                  <c:v>0.22200928307321852</c:v>
                </c:pt>
              </c:numCache>
            </c:numRef>
          </c:xVal>
          <c:yVal>
            <c:numRef>
              <c:f>Sheet1!$B$109:$B$160</c:f>
              <c:numCache>
                <c:formatCode>General</c:formatCode>
                <c:ptCount val="52"/>
                <c:pt idx="0">
                  <c:v>0.3258426966292135</c:v>
                </c:pt>
                <c:pt idx="1">
                  <c:v>0.3076923076923077</c:v>
                </c:pt>
                <c:pt idx="2">
                  <c:v>0.35051546391752575</c:v>
                </c:pt>
                <c:pt idx="3">
                  <c:v>0.33962264150943394</c:v>
                </c:pt>
                <c:pt idx="4">
                  <c:v>0.24031007751937986</c:v>
                </c:pt>
                <c:pt idx="5">
                  <c:v>0.30612244897959184</c:v>
                </c:pt>
                <c:pt idx="6">
                  <c:v>0.2635135135135135</c:v>
                </c:pt>
                <c:pt idx="7">
                  <c:v>0.24271844660194175</c:v>
                </c:pt>
                <c:pt idx="8">
                  <c:v>0.3382352941176471</c:v>
                </c:pt>
                <c:pt idx="9">
                  <c:v>0.3333333333333333</c:v>
                </c:pt>
                <c:pt idx="10">
                  <c:v>0.2891566265060241</c:v>
                </c:pt>
                <c:pt idx="11">
                  <c:v>0.3157894736842105</c:v>
                </c:pt>
                <c:pt idx="12">
                  <c:v>0.35</c:v>
                </c:pt>
                <c:pt idx="13">
                  <c:v>0.29473684210526313</c:v>
                </c:pt>
                <c:pt idx="14">
                  <c:v>0.3037974683544304</c:v>
                </c:pt>
                <c:pt idx="15">
                  <c:v>0.2916666666666667</c:v>
                </c:pt>
                <c:pt idx="16">
                  <c:v>0.2833333333333333</c:v>
                </c:pt>
                <c:pt idx="17">
                  <c:v>0.32142857142857145</c:v>
                </c:pt>
                <c:pt idx="18">
                  <c:v>0.35714285714285715</c:v>
                </c:pt>
                <c:pt idx="19">
                  <c:v>0.375</c:v>
                </c:pt>
                <c:pt idx="20">
                  <c:v>0.23809523809523808</c:v>
                </c:pt>
                <c:pt idx="21">
                  <c:v>0.28205128205128205</c:v>
                </c:pt>
                <c:pt idx="22">
                  <c:v>0.29411764705882354</c:v>
                </c:pt>
                <c:pt idx="23">
                  <c:v>0.3076923076923077</c:v>
                </c:pt>
                <c:pt idx="24">
                  <c:v>0.22580645161290322</c:v>
                </c:pt>
                <c:pt idx="25">
                  <c:v>0.25925925925925924</c:v>
                </c:pt>
                <c:pt idx="26">
                  <c:v>0.21428571428571427</c:v>
                </c:pt>
                <c:pt idx="27">
                  <c:v>0.2702702702702703</c:v>
                </c:pt>
                <c:pt idx="28">
                  <c:v>0.3333333333333333</c:v>
                </c:pt>
                <c:pt idx="29">
                  <c:v>0.25806451612903225</c:v>
                </c:pt>
                <c:pt idx="30">
                  <c:v>0.18421052631578946</c:v>
                </c:pt>
                <c:pt idx="31">
                  <c:v>0.2</c:v>
                </c:pt>
                <c:pt idx="32">
                  <c:v>0.25806451612903225</c:v>
                </c:pt>
                <c:pt idx="33">
                  <c:v>0.3</c:v>
                </c:pt>
                <c:pt idx="34">
                  <c:v>0.34615384615384615</c:v>
                </c:pt>
                <c:pt idx="35">
                  <c:v>0.3783783783783784</c:v>
                </c:pt>
                <c:pt idx="36">
                  <c:v>0.3103448275862069</c:v>
                </c:pt>
                <c:pt idx="37">
                  <c:v>0.20689655172413793</c:v>
                </c:pt>
                <c:pt idx="38">
                  <c:v>0.2916666666666667</c:v>
                </c:pt>
                <c:pt idx="39">
                  <c:v>0.34210526315789475</c:v>
                </c:pt>
                <c:pt idx="40">
                  <c:v>0.05976095617529881</c:v>
                </c:pt>
                <c:pt idx="41">
                  <c:v>0.14953271028037382</c:v>
                </c:pt>
                <c:pt idx="42">
                  <c:v>0.22</c:v>
                </c:pt>
                <c:pt idx="43">
                  <c:v>0.1875</c:v>
                </c:pt>
                <c:pt idx="44">
                  <c:v>0.1368421052631579</c:v>
                </c:pt>
                <c:pt idx="45">
                  <c:v>0.24705882352941178</c:v>
                </c:pt>
                <c:pt idx="46">
                  <c:v>0.2</c:v>
                </c:pt>
                <c:pt idx="47">
                  <c:v>0.2545454545454545</c:v>
                </c:pt>
                <c:pt idx="48">
                  <c:v>0.2222222222222222</c:v>
                </c:pt>
                <c:pt idx="49">
                  <c:v>0.2727272727272727</c:v>
                </c:pt>
                <c:pt idx="50">
                  <c:v>0.29931972789115646</c:v>
                </c:pt>
                <c:pt idx="51">
                  <c:v>0.27272727272727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331110152457026</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331110152457026</c:v>
                </c:pt>
                <c:pt idx="1">
                  <c:v>1.0331110152457026</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1590233288837336</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1590233288837336</c:v>
                </c:pt>
                <c:pt idx="1">
                  <c:v>0.41590233288837336</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191222937543192</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191222937543192</c:v>
                </c:pt>
                <c:pt idx="1">
                  <c:v>-0.11191222937543192</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10255574173875</c:v>
                </c:pt>
                <c:pt idx="1">
                  <c:v>0.2958820368840076</c:v>
                </c:pt>
                <c:pt idx="2">
                  <c:v>0.2309731380167929</c:v>
                </c:pt>
                <c:pt idx="3">
                  <c:v>0.23144544690317662</c:v>
                </c:pt>
                <c:pt idx="4">
                  <c:v>0.23402867808163597</c:v>
                </c:pt>
                <c:pt idx="5">
                  <c:v>0.27711096438818467</c:v>
                </c:pt>
                <c:pt idx="6">
                  <c:v>0.21823976067078044</c:v>
                </c:pt>
                <c:pt idx="7">
                  <c:v>0.16586869548107824</c:v>
                </c:pt>
                <c:pt idx="8">
                  <c:v>0.26613621201970644</c:v>
                </c:pt>
                <c:pt idx="9">
                  <c:v>0.2977409025328631</c:v>
                </c:pt>
                <c:pt idx="10">
                  <c:v>0.2653926734391223</c:v>
                </c:pt>
                <c:pt idx="11">
                  <c:v>0.22889844121938108</c:v>
                </c:pt>
                <c:pt idx="12">
                  <c:v>0.2884677572192505</c:v>
                </c:pt>
                <c:pt idx="13">
                  <c:v>0.28122611182875074</c:v>
                </c:pt>
                <c:pt idx="14">
                  <c:v>0.3025418574015288</c:v>
                </c:pt>
                <c:pt idx="15">
                  <c:v>0.30972782493261997</c:v>
                </c:pt>
                <c:pt idx="16">
                  <c:v>0.2787941828034106</c:v>
                </c:pt>
                <c:pt idx="17">
                  <c:v>0.25648079362045906</c:v>
                </c:pt>
                <c:pt idx="18">
                  <c:v>0.26549274840310433</c:v>
                </c:pt>
                <c:pt idx="19">
                  <c:v>0.17425024042639475</c:v>
                </c:pt>
                <c:pt idx="20">
                  <c:v>0.17286385220166584</c:v>
                </c:pt>
                <c:pt idx="21">
                  <c:v>0.15170693601301957</c:v>
                </c:pt>
                <c:pt idx="22">
                  <c:v>0.15644081150285602</c:v>
                </c:pt>
                <c:pt idx="23">
                  <c:v>0.1811645261505941</c:v>
                </c:pt>
                <c:pt idx="24">
                  <c:v>0.21040648522741204</c:v>
                </c:pt>
                <c:pt idx="25">
                  <c:v>0.05029767784454352</c:v>
                </c:pt>
                <c:pt idx="26">
                  <c:v>0.18060027598896045</c:v>
                </c:pt>
                <c:pt idx="27">
                  <c:v>0.24013638577691182</c:v>
                </c:pt>
                <c:pt idx="28">
                  <c:v>0.0912762457337884</c:v>
                </c:pt>
                <c:pt idx="29">
                  <c:v>0.12089882496566458</c:v>
                </c:pt>
                <c:pt idx="30">
                  <c:v>0.14501931757119826</c:v>
                </c:pt>
                <c:pt idx="31">
                  <c:v>0.08646037591467788</c:v>
                </c:pt>
                <c:pt idx="32">
                  <c:v>0.15863035354987065</c:v>
                </c:pt>
                <c:pt idx="33">
                  <c:v>0.21594580729769344</c:v>
                </c:pt>
                <c:pt idx="34">
                  <c:v>0.27203209224649466</c:v>
                </c:pt>
                <c:pt idx="35">
                  <c:v>0.13340048193002654</c:v>
                </c:pt>
                <c:pt idx="36">
                  <c:v>0.07057376661463508</c:v>
                </c:pt>
                <c:pt idx="37">
                  <c:v>0.06909385242718447</c:v>
                </c:pt>
                <c:pt idx="38">
                  <c:v>0.09430988338859037</c:v>
                </c:pt>
                <c:pt idx="39">
                  <c:v>0.083497818914956</c:v>
                </c:pt>
                <c:pt idx="40">
                  <c:v>0.19431955315015265</c:v>
                </c:pt>
                <c:pt idx="41">
                  <c:v>0.16346732294230243</c:v>
                </c:pt>
                <c:pt idx="42">
                  <c:v>0.18431367666707155</c:v>
                </c:pt>
                <c:pt idx="43">
                  <c:v>0.19999332962457256</c:v>
                </c:pt>
                <c:pt idx="44">
                  <c:v>0.2607631732508954</c:v>
                </c:pt>
                <c:pt idx="45">
                  <c:v>0.20857950542050574</c:v>
                </c:pt>
                <c:pt idx="46">
                  <c:v>0.22112931481060322</c:v>
                </c:pt>
                <c:pt idx="47">
                  <c:v>0.17462674958232782</c:v>
                </c:pt>
                <c:pt idx="48">
                  <c:v>0.25803839729567773</c:v>
                </c:pt>
                <c:pt idx="49">
                  <c:v>0.2593261738575607</c:v>
                </c:pt>
                <c:pt idx="50">
                  <c:v>0.24809466768373398</c:v>
                </c:pt>
                <c:pt idx="51">
                  <c:v>0.22200928307321852</c:v>
                </c:pt>
                <c:pt idx="52">
                  <c:v>0.41590233288837336</c:v>
                </c:pt>
                <c:pt idx="53">
                  <c:v>1.0331110152457026</c:v>
                </c:pt>
                <c:pt idx="54">
                  <c:v>-0.11191222937543192</c:v>
                </c:pt>
              </c:numCache>
            </c:numRef>
          </c:xVal>
          <c:yVal>
            <c:numRef>
              <c:f>Sheet1!$B$187:$B$241</c:f>
              <c:numCache>
                <c:formatCode>General</c:formatCode>
                <c:ptCount val="55"/>
                <c:pt idx="0">
                  <c:v>0.2754555397758971</c:v>
                </c:pt>
                <c:pt idx="1">
                  <c:v>0.2899395092874505</c:v>
                </c:pt>
                <c:pt idx="2">
                  <c:v>0.27886034929718645</c:v>
                </c:pt>
                <c:pt idx="3">
                  <c:v>0.27894096668260493</c:v>
                </c:pt>
                <c:pt idx="4">
                  <c:v>0.27938189284246073</c:v>
                </c:pt>
                <c:pt idx="5">
                  <c:v>0.28673551539756015</c:v>
                </c:pt>
                <c:pt idx="6">
                  <c:v>0.27668691657386335</c:v>
                </c:pt>
                <c:pt idx="7">
                  <c:v>0.26774781237977985</c:v>
                </c:pt>
                <c:pt idx="8">
                  <c:v>0.2848622585796831</c:v>
                </c:pt>
                <c:pt idx="9">
                  <c:v>0.29025679505694424</c:v>
                </c:pt>
                <c:pt idx="10">
                  <c:v>0.2847353455825904</c:v>
                </c:pt>
                <c:pt idx="11">
                  <c:v>0.27850622377432344</c:v>
                </c:pt>
                <c:pt idx="12">
                  <c:v>0.2886739818782358</c:v>
                </c:pt>
                <c:pt idx="13">
                  <c:v>0.2874379210410579</c:v>
                </c:pt>
                <c:pt idx="14">
                  <c:v>0.2910762596915978</c:v>
                </c:pt>
                <c:pt idx="15">
                  <c:v>0.2923028169950065</c:v>
                </c:pt>
                <c:pt idx="16">
                  <c:v>0.2870228203194784</c:v>
                </c:pt>
                <c:pt idx="17">
                  <c:v>0.2832141960322497</c:v>
                </c:pt>
                <c:pt idx="18">
                  <c:v>0.2847524271624096</c:v>
                </c:pt>
                <c:pt idx="19">
                  <c:v>0.26917844021410375</c:v>
                </c:pt>
                <c:pt idx="20">
                  <c:v>0.2689418005973724</c:v>
                </c:pt>
                <c:pt idx="21">
                  <c:v>0.26533057219194006</c:v>
                </c:pt>
                <c:pt idx="22">
                  <c:v>0.26613858719205863</c:v>
                </c:pt>
                <c:pt idx="23">
                  <c:v>0.27035862473569783</c:v>
                </c:pt>
                <c:pt idx="24">
                  <c:v>0.2753498716786414</c:v>
                </c:pt>
                <c:pt idx="25">
                  <c:v>0.24802124457507568</c:v>
                </c:pt>
                <c:pt idx="26">
                  <c:v>0.2702623140922518</c:v>
                </c:pt>
                <c:pt idx="27">
                  <c:v>0.28042440429945154</c:v>
                </c:pt>
                <c:pt idx="28">
                  <c:v>0.2550157879695895</c:v>
                </c:pt>
                <c:pt idx="29">
                  <c:v>0.26007200214610204</c:v>
                </c:pt>
                <c:pt idx="30">
                  <c:v>0.26418907702003225</c:v>
                </c:pt>
                <c:pt idx="31">
                  <c:v>0.25419377753420436</c:v>
                </c:pt>
                <c:pt idx="32">
                  <c:v>0.26651231540294557</c:v>
                </c:pt>
                <c:pt idx="33">
                  <c:v>0.2762953666188621</c:v>
                </c:pt>
                <c:pt idx="34">
                  <c:v>0.2858686136628228</c:v>
                </c:pt>
                <c:pt idx="35">
                  <c:v>0.2622058830171196</c:v>
                </c:pt>
                <c:pt idx="36">
                  <c:v>0.251482126447686</c:v>
                </c:pt>
                <c:pt idx="37">
                  <c:v>0.2512295230860396</c:v>
                </c:pt>
                <c:pt idx="38">
                  <c:v>0.2555335930397201</c:v>
                </c:pt>
                <c:pt idx="39">
                  <c:v>0.25368810506782435</c:v>
                </c:pt>
                <c:pt idx="40">
                  <c:v>0.27260402792921845</c:v>
                </c:pt>
                <c:pt idx="41">
                  <c:v>0.26733792727900574</c:v>
                </c:pt>
                <c:pt idx="42">
                  <c:v>0.27089614644711757</c:v>
                </c:pt>
                <c:pt idx="43">
                  <c:v>0.2735724726017693</c:v>
                </c:pt>
                <c:pt idx="44">
                  <c:v>0.28394514617764827</c:v>
                </c:pt>
                <c:pt idx="45">
                  <c:v>0.27503802843475733</c:v>
                </c:pt>
                <c:pt idx="46">
                  <c:v>0.27718012833949685</c:v>
                </c:pt>
                <c:pt idx="47">
                  <c:v>0.2692427057500962</c:v>
                </c:pt>
                <c:pt idx="48">
                  <c:v>0.2834800600450482</c:v>
                </c:pt>
                <c:pt idx="49">
                  <c:v>0.28369986784967605</c:v>
                </c:pt>
                <c:pt idx="50">
                  <c:v>0.2817827862783799</c:v>
                </c:pt>
                <c:pt idx="51">
                  <c:v>0.27733032822484405</c:v>
                </c:pt>
                <c:pt idx="52">
                  <c:v>0.31042551482317</c:v>
                </c:pt>
                <c:pt idx="53">
                  <c:v>0.41577553398165007</c:v>
                </c:pt>
                <c:pt idx="54">
                  <c:v>0.220333985270731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2.6212</c:v>
                </c:pt>
                <c:pt idx="1">
                  <c:v>1059.6667</c:v>
                </c:pt>
                <c:pt idx="2">
                  <c:v>1205.4259</c:v>
                </c:pt>
                <c:pt idx="3">
                  <c:v>1201.5</c:v>
                </c:pt>
                <c:pt idx="4">
                  <c:v>1162.1111</c:v>
                </c:pt>
                <c:pt idx="5">
                  <c:v>1182.4146</c:v>
                </c:pt>
                <c:pt idx="6">
                  <c:v>1189.122</c:v>
                </c:pt>
                <c:pt idx="7">
                  <c:v>1186.9231</c:v>
                </c:pt>
                <c:pt idx="8">
                  <c:v>1204.2903</c:v>
                </c:pt>
                <c:pt idx="9">
                  <c:v>1105.7647</c:v>
                </c:pt>
                <c:pt idx="10">
                  <c:v>1146.2549</c:v>
                </c:pt>
                <c:pt idx="11">
                  <c:v>1199.0385</c:v>
                </c:pt>
                <c:pt idx="12">
                  <c:v>1190.6667</c:v>
                </c:pt>
                <c:pt idx="13">
                  <c:v>1156.9623</c:v>
                </c:pt>
                <c:pt idx="14">
                  <c:v>1170.8846</c:v>
                </c:pt>
                <c:pt idx="15">
                  <c:v>1142.7143</c:v>
                </c:pt>
                <c:pt idx="16">
                  <c:v>1180.1667</c:v>
                </c:pt>
                <c:pt idx="17">
                  <c:v>1192.4444</c:v>
                </c:pt>
                <c:pt idx="18">
                  <c:v>1363.3158</c:v>
                </c:pt>
                <c:pt idx="19">
                  <c:v>1263.7222</c:v>
                </c:pt>
                <c:pt idx="20">
                  <c:v>1181.8077</c:v>
                </c:pt>
                <c:pt idx="21">
                  <c:v>1259.2222</c:v>
                </c:pt>
                <c:pt idx="22">
                  <c:v>1172.9412</c:v>
                </c:pt>
                <c:pt idx="23">
                  <c:v>1275.6316</c:v>
                </c:pt>
                <c:pt idx="24">
                  <c:v>1297.0</c:v>
                </c:pt>
                <c:pt idx="25">
                  <c:v>1130.0476</c:v>
                </c:pt>
                <c:pt idx="26">
                  <c:v>1181.0</c:v>
                </c:pt>
                <c:pt idx="27">
                  <c:v>1344.1429</c:v>
                </c:pt>
                <c:pt idx="28">
                  <c:v>1303.8095</c:v>
                </c:pt>
                <c:pt idx="29">
                  <c:v>1257.9524</c:v>
                </c:pt>
                <c:pt idx="30">
                  <c:v>1314.0714</c:v>
                </c:pt>
                <c:pt idx="31">
                  <c:v>1270.3529</c:v>
                </c:pt>
                <c:pt idx="32">
                  <c:v>1202.9048</c:v>
                </c:pt>
                <c:pt idx="33">
                  <c:v>1264.0476</c:v>
                </c:pt>
                <c:pt idx="34">
                  <c:v>1194.0</c:v>
                </c:pt>
                <c:pt idx="35">
                  <c:v>1260.2</c:v>
                </c:pt>
                <c:pt idx="36">
                  <c:v>1243.0357</c:v>
                </c:pt>
                <c:pt idx="37">
                  <c:v>1339.8235</c:v>
                </c:pt>
                <c:pt idx="38">
                  <c:v>1471.6429</c:v>
                </c:pt>
                <c:pt idx="39">
                  <c:v>1315.0588</c:v>
                </c:pt>
                <c:pt idx="40">
                  <c:v>1409.75</c:v>
                </c:pt>
                <c:pt idx="41">
                  <c:v>1468.25</c:v>
                </c:pt>
                <c:pt idx="42">
                  <c:v>1559.381</c:v>
                </c:pt>
                <c:pt idx="43">
                  <c:v>1560.7692</c:v>
                </c:pt>
                <c:pt idx="44">
                  <c:v>1520.7714</c:v>
                </c:pt>
                <c:pt idx="45">
                  <c:v>1544.1212</c:v>
                </c:pt>
                <c:pt idx="46">
                  <c:v>1497.2941</c:v>
                </c:pt>
                <c:pt idx="47">
                  <c:v>1495.6316</c:v>
                </c:pt>
                <c:pt idx="48">
                  <c:v>1533.8947</c:v>
                </c:pt>
                <c:pt idx="49">
                  <c:v>1519.9107</c:v>
                </c:pt>
                <c:pt idx="50">
                  <c:v>1555.8571</c:v>
                </c:pt>
                <c:pt idx="51">
                  <c:v>1460.4643</c:v>
                </c:pt>
                <c:pt idx="52">
                  <c:v>1512.025</c:v>
                </c:pt>
                <c:pt idx="53">
                  <c:v>1564.5946</c:v>
                </c:pt>
                <c:pt idx="54">
                  <c:v>1616.9286</c:v>
                </c:pt>
                <c:pt idx="55">
                  <c:v>1554.4118</c:v>
                </c:pt>
                <c:pt idx="56">
                  <c:v>1548.8056</c:v>
                </c:pt>
                <c:pt idx="57">
                  <c:v>1548.9394</c:v>
                </c:pt>
                <c:pt idx="58">
                  <c:v>1547.4</c:v>
                </c:pt>
                <c:pt idx="59">
                  <c:v>1565.1045</c:v>
                </c:pt>
                <c:pt idx="60">
                  <c:v>1477.0361</c:v>
                </c:pt>
                <c:pt idx="61">
                  <c:v>1625.0893</c:v>
                </c:pt>
                <c:pt idx="62">
                  <c:v>1581.0566</c:v>
                </c:pt>
                <c:pt idx="63">
                  <c:v>1604.0909</c:v>
                </c:pt>
                <c:pt idx="64">
                  <c:v>1593.9821</c:v>
                </c:pt>
                <c:pt idx="65">
                  <c:v>1555.4889</c:v>
                </c:pt>
                <c:pt idx="66">
                  <c:v>1443.9574</c:v>
                </c:pt>
                <c:pt idx="67">
                  <c:v>1454.9048</c:v>
                </c:pt>
                <c:pt idx="68">
                  <c:v>1445.0313</c:v>
                </c:pt>
                <c:pt idx="69">
                  <c:v>1355.0</c:v>
                </c:pt>
                <c:pt idx="70">
                  <c:v>1198.8261</c:v>
                </c:pt>
                <c:pt idx="71">
                  <c:v>1129.5333</c:v>
                </c:pt>
                <c:pt idx="72">
                  <c:v>1222.4138</c:v>
                </c:pt>
                <c:pt idx="73">
                  <c:v>1362.3043</c:v>
                </c:pt>
                <c:pt idx="74">
                  <c:v>1376.619</c:v>
                </c:pt>
                <c:pt idx="75">
                  <c:v>911.7826</c:v>
                </c:pt>
                <c:pt idx="76">
                  <c:v>1342.875</c:v>
                </c:pt>
                <c:pt idx="77">
                  <c:v>1476.8333</c:v>
                </c:pt>
                <c:pt idx="78">
                  <c:v>1499.3846</c:v>
                </c:pt>
                <c:pt idx="79">
                  <c:v>1768.5556</c:v>
                </c:pt>
                <c:pt idx="80">
                  <c:v>1666.6667</c:v>
                </c:pt>
                <c:pt idx="81">
                  <c:v>1559.0</c:v>
                </c:pt>
                <c:pt idx="82">
                  <c:v>952.5333</c:v>
                </c:pt>
                <c:pt idx="83">
                  <c:v>1386.125</c:v>
                </c:pt>
                <c:pt idx="84">
                  <c:v>1310.5556</c:v>
                </c:pt>
                <c:pt idx="85">
                  <c:v>1649.2</c:v>
                </c:pt>
                <c:pt idx="86">
                  <c:v>1457.625</c:v>
                </c:pt>
                <c:pt idx="87">
                  <c:v>1531.7</c:v>
                </c:pt>
                <c:pt idx="88">
                  <c:v>1524.3333</c:v>
                </c:pt>
                <c:pt idx="89">
                  <c:v>1387.9091</c:v>
                </c:pt>
                <c:pt idx="90">
                  <c:v>1193.5</c:v>
                </c:pt>
                <c:pt idx="91">
                  <c:v>1493.0769</c:v>
                </c:pt>
                <c:pt idx="92">
                  <c:v>1543.8333</c:v>
                </c:pt>
                <c:pt idx="93">
                  <c:v>1644.4167</c:v>
                </c:pt>
                <c:pt idx="94">
                  <c:v>1383.2308</c:v>
                </c:pt>
                <c:pt idx="95">
                  <c:v>1120.28</c:v>
                </c:pt>
                <c:pt idx="96">
                  <c:v>1277.1667</c:v>
                </c:pt>
                <c:pt idx="97">
                  <c:v>1505.0968</c:v>
                </c:pt>
                <c:pt idx="98">
                  <c:v>1273.8667</c:v>
                </c:pt>
                <c:pt idx="99">
                  <c:v>1397.6889</c:v>
                </c:pt>
                <c:pt idx="100">
                  <c:v>1420.1831</c:v>
                </c:pt>
                <c:pt idx="101">
                  <c:v>1383.3</c:v>
                </c:pt>
                <c:pt idx="102">
                  <c:v>1222.5357</c:v>
                </c:pt>
                <c:pt idx="103">
                  <c:v>1328.0</c:v>
                </c:pt>
                <c:pt idx="104">
                  <c:v>1542.2</c:v>
                </c:pt>
              </c:numCache>
            </c:numRef>
          </c:xVal>
          <c:yVal>
            <c:numRef>
              <c:f>Sheet1!$B$2:$B$106</c:f>
              <c:numCache>
                <c:formatCode>General</c:formatCode>
                <c:ptCount val="105"/>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numCache>
            </c:numRef>
          </c:xVal>
          <c:yVal>
            <c:numRef>
              <c:f>Sheet1!$B$109:$B$160</c:f>
              <c:numCache>
                <c:formatCode>General</c:formatCode>
                <c:ptCount val="52"/>
                <c:pt idx="0">
                  <c:v>0.3258426966292135</c:v>
                </c:pt>
                <c:pt idx="1">
                  <c:v>0.3076923076923077</c:v>
                </c:pt>
                <c:pt idx="2">
                  <c:v>0.35051546391752575</c:v>
                </c:pt>
                <c:pt idx="3">
                  <c:v>0.33962264150943394</c:v>
                </c:pt>
                <c:pt idx="4">
                  <c:v>0.24031007751937986</c:v>
                </c:pt>
                <c:pt idx="5">
                  <c:v>0.30612244897959184</c:v>
                </c:pt>
                <c:pt idx="6">
                  <c:v>0.2635135135135135</c:v>
                </c:pt>
                <c:pt idx="7">
                  <c:v>0.24271844660194175</c:v>
                </c:pt>
                <c:pt idx="8">
                  <c:v>0.3382352941176471</c:v>
                </c:pt>
                <c:pt idx="9">
                  <c:v>0.3333333333333333</c:v>
                </c:pt>
                <c:pt idx="10">
                  <c:v>0.2891566265060241</c:v>
                </c:pt>
                <c:pt idx="11">
                  <c:v>0.3157894736842105</c:v>
                </c:pt>
                <c:pt idx="12">
                  <c:v>0.35</c:v>
                </c:pt>
                <c:pt idx="13">
                  <c:v>0.29473684210526313</c:v>
                </c:pt>
                <c:pt idx="14">
                  <c:v>0.3037974683544304</c:v>
                </c:pt>
                <c:pt idx="15">
                  <c:v>0.2916666666666667</c:v>
                </c:pt>
                <c:pt idx="16">
                  <c:v>0.2833333333333333</c:v>
                </c:pt>
                <c:pt idx="17">
                  <c:v>0.32142857142857145</c:v>
                </c:pt>
                <c:pt idx="18">
                  <c:v>0.35714285714285715</c:v>
                </c:pt>
                <c:pt idx="19">
                  <c:v>0.375</c:v>
                </c:pt>
                <c:pt idx="20">
                  <c:v>0.23809523809523808</c:v>
                </c:pt>
                <c:pt idx="21">
                  <c:v>0.28205128205128205</c:v>
                </c:pt>
                <c:pt idx="22">
                  <c:v>0.29411764705882354</c:v>
                </c:pt>
                <c:pt idx="23">
                  <c:v>0.3076923076923077</c:v>
                </c:pt>
                <c:pt idx="24">
                  <c:v>0.22580645161290322</c:v>
                </c:pt>
                <c:pt idx="25">
                  <c:v>0.25925925925925924</c:v>
                </c:pt>
                <c:pt idx="26">
                  <c:v>0.21428571428571427</c:v>
                </c:pt>
                <c:pt idx="27">
                  <c:v>0.2702702702702703</c:v>
                </c:pt>
                <c:pt idx="28">
                  <c:v>0.3333333333333333</c:v>
                </c:pt>
                <c:pt idx="29">
                  <c:v>0.25806451612903225</c:v>
                </c:pt>
                <c:pt idx="30">
                  <c:v>0.18421052631578946</c:v>
                </c:pt>
                <c:pt idx="31">
                  <c:v>0.2</c:v>
                </c:pt>
                <c:pt idx="32">
                  <c:v>0.25806451612903225</c:v>
                </c:pt>
                <c:pt idx="33">
                  <c:v>0.3</c:v>
                </c:pt>
                <c:pt idx="34">
                  <c:v>0.34615384615384615</c:v>
                </c:pt>
                <c:pt idx="35">
                  <c:v>0.3783783783783784</c:v>
                </c:pt>
                <c:pt idx="36">
                  <c:v>0.3103448275862069</c:v>
                </c:pt>
                <c:pt idx="37">
                  <c:v>0.20689655172413793</c:v>
                </c:pt>
                <c:pt idx="38">
                  <c:v>0.2916666666666667</c:v>
                </c:pt>
                <c:pt idx="39">
                  <c:v>0.34210526315789475</c:v>
                </c:pt>
                <c:pt idx="40">
                  <c:v>0.05976095617529881</c:v>
                </c:pt>
                <c:pt idx="41">
                  <c:v>0.14953271028037382</c:v>
                </c:pt>
                <c:pt idx="42">
                  <c:v>0.22</c:v>
                </c:pt>
                <c:pt idx="43">
                  <c:v>0.1875</c:v>
                </c:pt>
                <c:pt idx="44">
                  <c:v>0.1368421052631579</c:v>
                </c:pt>
                <c:pt idx="45">
                  <c:v>0.24705882352941178</c:v>
                </c:pt>
                <c:pt idx="46">
                  <c:v>0.2</c:v>
                </c:pt>
                <c:pt idx="47">
                  <c:v>0.2545454545454545</c:v>
                </c:pt>
                <c:pt idx="48">
                  <c:v>0.2222222222222222</c:v>
                </c:pt>
                <c:pt idx="49">
                  <c:v>0.2727272727272727</c:v>
                </c:pt>
                <c:pt idx="50">
                  <c:v>0.29931972789115646</c:v>
                </c:pt>
                <c:pt idx="51">
                  <c:v>0.27272727272727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8.2392498452643</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8.2392498452643</c:v>
                </c:pt>
                <c:pt idx="1">
                  <c:v>-218.2392498452643</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3.7427235982962</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3.7427235982962</c:v>
                </c:pt>
                <c:pt idx="1">
                  <c:v>1083.7427235982962</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97.150660057986</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97.150660057986</c:v>
                </c:pt>
                <c:pt idx="1">
                  <c:v>2197.150660057986</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pt idx="52">
                  <c:v>1083.7427235982962</c:v>
                </c:pt>
                <c:pt idx="53">
                  <c:v>-218.2392498452643</c:v>
                </c:pt>
                <c:pt idx="54">
                  <c:v>2197.150660057986</c:v>
                </c:pt>
              </c:numCache>
            </c:numRef>
          </c:xVal>
          <c:yVal>
            <c:numRef>
              <c:f>Sheet1!$B$187:$B$241</c:f>
              <c:numCache>
                <c:formatCode>General</c:formatCode>
                <c:ptCount val="55"/>
                <c:pt idx="0">
                  <c:v>0.2850057182570964</c:v>
                </c:pt>
                <c:pt idx="1">
                  <c:v>0.2790154105743314</c:v>
                </c:pt>
                <c:pt idx="2">
                  <c:v>0.2873510266389233</c:v>
                </c:pt>
                <c:pt idx="3">
                  <c:v>0.2847006601876833</c:v>
                </c:pt>
                <c:pt idx="4">
                  <c:v>0.2814397001984474</c:v>
                </c:pt>
                <c:pt idx="5">
                  <c:v>0.26627899140811495</c:v>
                </c:pt>
                <c:pt idx="6">
                  <c:v>0.2740115714063121</c:v>
                </c:pt>
                <c:pt idx="7">
                  <c:v>0.2753360870822457</c:v>
                </c:pt>
                <c:pt idx="8">
                  <c:v>0.2761142800948379</c:v>
                </c:pt>
                <c:pt idx="9">
                  <c:v>0.27788926639065875</c:v>
                </c:pt>
                <c:pt idx="10">
                  <c:v>0.26739494028748634</c:v>
                </c:pt>
                <c:pt idx="11">
                  <c:v>0.2775149530755994</c:v>
                </c:pt>
                <c:pt idx="12">
                  <c:v>0.2796107192473868</c:v>
                </c:pt>
                <c:pt idx="13">
                  <c:v>0.27480493600268585</c:v>
                </c:pt>
                <c:pt idx="14">
                  <c:v>0.275169539504125</c:v>
                </c:pt>
                <c:pt idx="15">
                  <c:v>0.27351510863591044</c:v>
                </c:pt>
                <c:pt idx="16">
                  <c:v>0.25657234966034853</c:v>
                </c:pt>
                <c:pt idx="17">
                  <c:v>0.27866349456268935</c:v>
                </c:pt>
                <c:pt idx="18">
                  <c:v>0.280185596854283</c:v>
                </c:pt>
                <c:pt idx="19">
                  <c:v>0.2764311355877996</c:v>
                </c:pt>
                <c:pt idx="20">
                  <c:v>0.26335255877262953</c:v>
                </c:pt>
                <c:pt idx="21">
                  <c:v>0.27931858332159987</c:v>
                </c:pt>
                <c:pt idx="22">
                  <c:v>0.2695830225122679</c:v>
                </c:pt>
                <c:pt idx="23">
                  <c:v>0.2836925954291439</c:v>
                </c:pt>
                <c:pt idx="24">
                  <c:v>0.25924322809286127</c:v>
                </c:pt>
                <c:pt idx="25">
                  <c:v>0.29313509788039505</c:v>
                </c:pt>
                <c:pt idx="26">
                  <c:v>0.2710394945553003</c:v>
                </c:pt>
                <c:pt idx="27">
                  <c:v>0.2704649972494375</c:v>
                </c:pt>
                <c:pt idx="28">
                  <c:v>0.27909728857768384</c:v>
                </c:pt>
                <c:pt idx="29">
                  <c:v>0.26990668296627507</c:v>
                </c:pt>
                <c:pt idx="30">
                  <c:v>0.26709199410253565</c:v>
                </c:pt>
                <c:pt idx="31">
                  <c:v>0.2518383381213237</c:v>
                </c:pt>
                <c:pt idx="32">
                  <c:v>0.2641515955184598</c:v>
                </c:pt>
                <c:pt idx="33">
                  <c:v>0.26221300695464966</c:v>
                </c:pt>
                <c:pt idx="34">
                  <c:v>0.26579350072710417</c:v>
                </c:pt>
                <c:pt idx="35">
                  <c:v>0.2628844082004421</c:v>
                </c:pt>
                <c:pt idx="36">
                  <c:v>0.27739133096519136</c:v>
                </c:pt>
                <c:pt idx="37">
                  <c:v>0.2541552048407547</c:v>
                </c:pt>
                <c:pt idx="38">
                  <c:v>0.26461830580162676</c:v>
                </c:pt>
                <c:pt idx="39">
                  <c:v>0.2875306177333406</c:v>
                </c:pt>
                <c:pt idx="40">
                  <c:v>0.28481394134658583</c:v>
                </c:pt>
                <c:pt idx="41">
                  <c:v>0.2771890431814369</c:v>
                </c:pt>
                <c:pt idx="42">
                  <c:v>0.2753316772085599</c:v>
                </c:pt>
                <c:pt idx="43">
                  <c:v>0.2769125805131353</c:v>
                </c:pt>
                <c:pt idx="44">
                  <c:v>0.2791590187177744</c:v>
                </c:pt>
                <c:pt idx="45">
                  <c:v>0.28276640867395686</c:v>
                </c:pt>
                <c:pt idx="46">
                  <c:v>0.26956953396284716</c:v>
                </c:pt>
                <c:pt idx="47">
                  <c:v>0.24588067159534527</c:v>
                </c:pt>
                <c:pt idx="48">
                  <c:v>0.2674185432260948</c:v>
                </c:pt>
                <c:pt idx="49">
                  <c:v>0.2792018066297941</c:v>
                </c:pt>
                <c:pt idx="50">
                  <c:v>0.2976752772650263</c:v>
                </c:pt>
                <c:pt idx="51">
                  <c:v>0.29356536399644084</c:v>
                </c:pt>
                <c:pt idx="52">
                  <c:v>0.31042551482317</c:v>
                </c:pt>
                <c:pt idx="53">
                  <c:v>0.41577553398165007</c:v>
                </c:pt>
                <c:pt idx="54">
                  <c:v>0.220333985270731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552167088607594</c:v>
                </c:pt>
                <c:pt idx="1">
                  <c:v>1.3392916432374895</c:v>
                </c:pt>
                <c:pt idx="2">
                  <c:v>1.6178510878855163</c:v>
                </c:pt>
                <c:pt idx="3">
                  <c:v>1.4868338173947802</c:v>
                </c:pt>
                <c:pt idx="4">
                  <c:v>1.4862146942654992</c:v>
                </c:pt>
                <c:pt idx="5">
                  <c:v>1.5685359084030912</c:v>
                </c:pt>
                <c:pt idx="6">
                  <c:v>1.5721848350631322</c:v>
                </c:pt>
                <c:pt idx="7">
                  <c:v>1.5496269165309295</c:v>
                </c:pt>
                <c:pt idx="8">
                  <c:v>1.4919227028411177</c:v>
                </c:pt>
                <c:pt idx="9">
                  <c:v>1.7121518819175163</c:v>
                </c:pt>
                <c:pt idx="10">
                  <c:v>1.7373621370198042</c:v>
                </c:pt>
                <c:pt idx="11">
                  <c:v>1.602301600940557</c:v>
                </c:pt>
                <c:pt idx="12">
                  <c:v>1.6159010905703488</c:v>
                </c:pt>
                <c:pt idx="13">
                  <c:v>1.5040831924211497</c:v>
                </c:pt>
                <c:pt idx="14">
                  <c:v>1.4380651732486638</c:v>
                </c:pt>
                <c:pt idx="15">
                  <c:v>1.4983960662186528</c:v>
                </c:pt>
                <c:pt idx="16">
                  <c:v>1.5387791902992372</c:v>
                </c:pt>
                <c:pt idx="17">
                  <c:v>1.630825892841879</c:v>
                </c:pt>
                <c:pt idx="18">
                  <c:v>1.8033277777777779</c:v>
                </c:pt>
                <c:pt idx="19">
                  <c:v>1.7887745856639814</c:v>
                </c:pt>
                <c:pt idx="20">
                  <c:v>1.6630763982880192</c:v>
                </c:pt>
                <c:pt idx="21">
                  <c:v>1.875164382988425</c:v>
                </c:pt>
                <c:pt idx="22">
                  <c:v>1.7327898236262447</c:v>
                </c:pt>
                <c:pt idx="23">
                  <c:v>1.8865883250051503</c:v>
                </c:pt>
                <c:pt idx="24">
                  <c:v>1.7058308507597917</c:v>
                </c:pt>
                <c:pt idx="25">
                  <c:v>1.474517624701749</c:v>
                </c:pt>
                <c:pt idx="26">
                  <c:v>1.5808143482795025</c:v>
                </c:pt>
                <c:pt idx="27">
                  <c:v>2.0189061575799014</c:v>
                </c:pt>
                <c:pt idx="28">
                  <c:v>1.7030276130631377</c:v>
                </c:pt>
                <c:pt idx="29">
                  <c:v>1.7558948583973544</c:v>
                </c:pt>
                <c:pt idx="30">
                  <c:v>1.6356037906605627</c:v>
                </c:pt>
                <c:pt idx="31">
                  <c:v>1.7619319001386964</c:v>
                </c:pt>
                <c:pt idx="32">
                  <c:v>1.7485896065376554</c:v>
                </c:pt>
                <c:pt idx="33">
                  <c:v>1.7774279926211394</c:v>
                </c:pt>
                <c:pt idx="34">
                  <c:v>1.6721457214776614</c:v>
                </c:pt>
                <c:pt idx="35">
                  <c:v>1.8090232968093032</c:v>
                </c:pt>
                <c:pt idx="36">
                  <c:v>1.9203394098563262</c:v>
                </c:pt>
                <c:pt idx="37">
                  <c:v>1.8956785286691236</c:v>
                </c:pt>
                <c:pt idx="38">
                  <c:v>2.1651757609195403</c:v>
                </c:pt>
                <c:pt idx="39">
                  <c:v>1.9378284030208142</c:v>
                </c:pt>
                <c:pt idx="40">
                  <c:v>2.0809825869104537</c:v>
                </c:pt>
                <c:pt idx="41">
                  <c:v>2.0734550306333297</c:v>
                </c:pt>
                <c:pt idx="42">
                  <c:v>2.25685734646844</c:v>
                </c:pt>
                <c:pt idx="43">
                  <c:v>2.2570068300098174</c:v>
                </c:pt>
                <c:pt idx="44">
                  <c:v>2.210170083692437</c:v>
                </c:pt>
                <c:pt idx="45">
                  <c:v>2.2668771095239975</c:v>
                </c:pt>
                <c:pt idx="46">
                  <c:v>2.189026461988304</c:v>
                </c:pt>
                <c:pt idx="47">
                  <c:v>2.3020784607984606</c:v>
                </c:pt>
                <c:pt idx="48">
                  <c:v>2.25960438299064</c:v>
                </c:pt>
                <c:pt idx="49">
                  <c:v>2.181799820737388</c:v>
                </c:pt>
                <c:pt idx="50">
                  <c:v>2.186381247445065</c:v>
                </c:pt>
                <c:pt idx="51">
                  <c:v>2.1589082530997095</c:v>
                </c:pt>
                <c:pt idx="52">
                  <c:v>2.190106185079163</c:v>
                </c:pt>
                <c:pt idx="53">
                  <c:v>1.8991550757843902</c:v>
                </c:pt>
                <c:pt idx="54">
                  <c:v>1.899057300154151</c:v>
                </c:pt>
                <c:pt idx="55">
                  <c:v>1.3750834540340886</c:v>
                </c:pt>
                <c:pt idx="56">
                  <c:v>1.312337811884579</c:v>
                </c:pt>
                <c:pt idx="57">
                  <c:v>1.3329943201376937</c:v>
                </c:pt>
                <c:pt idx="58">
                  <c:v>1.3383596056535618</c:v>
                </c:pt>
                <c:pt idx="59">
                  <c:v>1.5127035416936083</c:v>
                </c:pt>
                <c:pt idx="60">
                  <c:v>1.4714712898759472</c:v>
                </c:pt>
                <c:pt idx="61">
                  <c:v>1.417847246827185</c:v>
                </c:pt>
                <c:pt idx="62">
                  <c:v>1.3607821643907159</c:v>
                </c:pt>
                <c:pt idx="63">
                  <c:v>1.4660794577348855</c:v>
                </c:pt>
                <c:pt idx="64">
                  <c:v>1.412657482281097</c:v>
                </c:pt>
                <c:pt idx="65">
                  <c:v>1.26073335084567</c:v>
                </c:pt>
                <c:pt idx="66">
                  <c:v>1.1573262314366488</c:v>
                </c:pt>
                <c:pt idx="67">
                  <c:v>1.1899079065516853</c:v>
                </c:pt>
                <c:pt idx="68">
                  <c:v>1.180535217748068</c:v>
                </c:pt>
                <c:pt idx="69">
                  <c:v>1.0695789103351083</c:v>
                </c:pt>
                <c:pt idx="70">
                  <c:v>1.0152194064262972</c:v>
                </c:pt>
                <c:pt idx="71">
                  <c:v>0.9067903226207853</c:v>
                </c:pt>
                <c:pt idx="72">
                  <c:v>1.1038070801056552</c:v>
                </c:pt>
                <c:pt idx="73">
                  <c:v>1.1858727597277732</c:v>
                </c:pt>
                <c:pt idx="74">
                  <c:v>1.1606544091696334</c:v>
                </c:pt>
                <c:pt idx="75">
                  <c:v>0.8064997798845139</c:v>
                </c:pt>
                <c:pt idx="76">
                  <c:v>1.2684844743073507</c:v>
                </c:pt>
                <c:pt idx="77">
                  <c:v>1.3980751151175486</c:v>
                </c:pt>
                <c:pt idx="78">
                  <c:v>1.4640283161646244</c:v>
                </c:pt>
                <c:pt idx="79">
                  <c:v>1.6667333590364408</c:v>
                </c:pt>
                <c:pt idx="80">
                  <c:v>1.5866539620113163</c:v>
                </c:pt>
                <c:pt idx="81">
                  <c:v>1.5848620966658122</c:v>
                </c:pt>
                <c:pt idx="82">
                  <c:v>0.8398118992909855</c:v>
                </c:pt>
                <c:pt idx="83">
                  <c:v>1.3626570477915247</c:v>
                </c:pt>
                <c:pt idx="84">
                  <c:v>1.3593408477508453</c:v>
                </c:pt>
                <c:pt idx="85">
                  <c:v>1.675319742574505</c:v>
                </c:pt>
                <c:pt idx="86">
                  <c:v>1.3941543125218372</c:v>
                </c:pt>
                <c:pt idx="87">
                  <c:v>1.4580345538102042</c:v>
                </c:pt>
                <c:pt idx="88">
                  <c:v>1.3424926681051566</c:v>
                </c:pt>
                <c:pt idx="89">
                  <c:v>1.2461331652320085</c:v>
                </c:pt>
                <c:pt idx="90">
                  <c:v>1.1137173018758975</c:v>
                </c:pt>
                <c:pt idx="91">
                  <c:v>1.417804388965853</c:v>
                </c:pt>
                <c:pt idx="92">
                  <c:v>1.5417776478621055</c:v>
                </c:pt>
                <c:pt idx="93">
                  <c:v>1.5819304473304474</c:v>
                </c:pt>
                <c:pt idx="94">
                  <c:v>1.3908170113886194</c:v>
                </c:pt>
                <c:pt idx="95">
                  <c:v>1.1113128168805906</c:v>
                </c:pt>
                <c:pt idx="96">
                  <c:v>1.2628455265902558</c:v>
                </c:pt>
                <c:pt idx="97">
                  <c:v>1.3451101998910755</c:v>
                </c:pt>
                <c:pt idx="98">
                  <c:v>1.2809475217105113</c:v>
                </c:pt>
                <c:pt idx="99">
                  <c:v>1.3476896152733586</c:v>
                </c:pt>
                <c:pt idx="100">
                  <c:v>1.39604808116796</c:v>
                </c:pt>
                <c:pt idx="101">
                  <c:v>1.4456056014212562</c:v>
                </c:pt>
                <c:pt idx="102">
                  <c:v>1.2565408363846597</c:v>
                </c:pt>
                <c:pt idx="103">
                  <c:v>1.3514819997455794</c:v>
                </c:pt>
                <c:pt idx="104">
                  <c:v>1.6373411456865212</c:v>
                </c:pt>
              </c:numCache>
            </c:numRef>
          </c:xVal>
          <c:yVal>
            <c:numRef>
              <c:f>Sheet1!$B$2:$B$106</c:f>
              <c:numCache>
                <c:formatCode>General</c:formatCode>
                <c:ptCount val="105"/>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492660383432807</c:v>
                </c:pt>
                <c:pt idx="1">
                  <c:v>1.568472138129425</c:v>
                </c:pt>
                <c:pt idx="2">
                  <c:v>1.4092836908192687</c:v>
                </c:pt>
                <c:pt idx="3">
                  <c:v>1.3829377128486617</c:v>
                </c:pt>
                <c:pt idx="4">
                  <c:v>1.7180892037121565</c:v>
                </c:pt>
                <c:pt idx="5">
                  <c:v>1.6138922247504774</c:v>
                </c:pt>
                <c:pt idx="6">
                  <c:v>1.8697933079853286</c:v>
                </c:pt>
                <c:pt idx="7">
                  <c:v>1.423219983156594</c:v>
                </c:pt>
                <c:pt idx="8">
                  <c:v>1.4232297985735631</c:v>
                </c:pt>
                <c:pt idx="9">
                  <c:v>1.4112930900934162</c:v>
                </c:pt>
                <c:pt idx="10">
                  <c:v>1.5785183415579294</c:v>
                </c:pt>
                <c:pt idx="11">
                  <c:v>1.8657557152587114</c:v>
                </c:pt>
                <c:pt idx="12">
                  <c:v>1.6637563048121053</c:v>
                </c:pt>
                <c:pt idx="13">
                  <c:v>1.6877284757804736</c:v>
                </c:pt>
                <c:pt idx="14">
                  <c:v>1.5956350334409966</c:v>
                </c:pt>
                <c:pt idx="15">
                  <c:v>1.711548654945242</c:v>
                </c:pt>
                <c:pt idx="16">
                  <c:v>1.9185865301017735</c:v>
                </c:pt>
                <c:pt idx="17">
                  <c:v>1.611471738019636</c:v>
                </c:pt>
                <c:pt idx="18">
                  <c:v>1.417375248921579</c:v>
                </c:pt>
                <c:pt idx="19">
                  <c:v>1.5150128006758523</c:v>
                </c:pt>
                <c:pt idx="20">
                  <c:v>1.955704898632721</c:v>
                </c:pt>
                <c:pt idx="21">
                  <c:v>1.6991615768535262</c:v>
                </c:pt>
                <c:pt idx="22">
                  <c:v>1.6819108031402021</c:v>
                </c:pt>
                <c:pt idx="23">
                  <c:v>1.6640680160037657</c:v>
                </c:pt>
                <c:pt idx="24">
                  <c:v>1.8172108656626023</c:v>
                </c:pt>
                <c:pt idx="25">
                  <c:v>1.2524785235173386</c:v>
                </c:pt>
                <c:pt idx="26">
                  <c:v>1.3378378274774425</c:v>
                </c:pt>
                <c:pt idx="27">
                  <c:v>1.3865354192300932</c:v>
                </c:pt>
                <c:pt idx="28">
                  <c:v>1.3313069350356925</c:v>
                </c:pt>
                <c:pt idx="29">
                  <c:v>1.3116721854304636</c:v>
                </c:pt>
                <c:pt idx="30">
                  <c:v>1.3455313017650437</c:v>
                </c:pt>
                <c:pt idx="31">
                  <c:v>1.7101504115031692</c:v>
                </c:pt>
                <c:pt idx="32">
                  <c:v>1.485377826288781</c:v>
                </c:pt>
                <c:pt idx="33">
                  <c:v>1.6483741379342494</c:v>
                </c:pt>
                <c:pt idx="34">
                  <c:v>1.4826231187669991</c:v>
                </c:pt>
                <c:pt idx="35">
                  <c:v>1.533905306028796</c:v>
                </c:pt>
                <c:pt idx="36">
                  <c:v>1.2311359564395714</c:v>
                </c:pt>
                <c:pt idx="37">
                  <c:v>1.6150750726216414</c:v>
                </c:pt>
                <c:pt idx="38">
                  <c:v>1.2668794440605082</c:v>
                </c:pt>
                <c:pt idx="39">
                  <c:v>1.1216456925591802</c:v>
                </c:pt>
                <c:pt idx="40">
                  <c:v>4.279461306215681</c:v>
                </c:pt>
                <c:pt idx="41">
                  <c:v>3.662546740664243</c:v>
                </c:pt>
                <c:pt idx="42">
                  <c:v>2.4240487220447284</c:v>
                </c:pt>
                <c:pt idx="43">
                  <c:v>2.4267266804599243</c:v>
                </c:pt>
                <c:pt idx="44">
                  <c:v>2.306424980707283</c:v>
                </c:pt>
                <c:pt idx="45">
                  <c:v>1.6704049993168733</c:v>
                </c:pt>
                <c:pt idx="46">
                  <c:v>1.998412633120758</c:v>
                </c:pt>
                <c:pt idx="47">
                  <c:v>2.0045408862484555</c:v>
                </c:pt>
                <c:pt idx="48">
                  <c:v>1.7462162162162163</c:v>
                </c:pt>
                <c:pt idx="49">
                  <c:v>1.5207113198661888</c:v>
                </c:pt>
                <c:pt idx="50">
                  <c:v>1.2997516550570622</c:v>
                </c:pt>
                <c:pt idx="51">
                  <c:v>1.3045282521682637</c:v>
                </c:pt>
              </c:numCache>
            </c:numRef>
          </c:xVal>
          <c:yVal>
            <c:numRef>
              <c:f>Sheet1!$B$109:$B$160</c:f>
              <c:numCache>
                <c:formatCode>General</c:formatCode>
                <c:ptCount val="52"/>
                <c:pt idx="0">
                  <c:v>0.3258426966292135</c:v>
                </c:pt>
                <c:pt idx="1">
                  <c:v>0.3076923076923077</c:v>
                </c:pt>
                <c:pt idx="2">
                  <c:v>0.35051546391752575</c:v>
                </c:pt>
                <c:pt idx="3">
                  <c:v>0.33962264150943394</c:v>
                </c:pt>
                <c:pt idx="4">
                  <c:v>0.24031007751937986</c:v>
                </c:pt>
                <c:pt idx="5">
                  <c:v>0.30612244897959184</c:v>
                </c:pt>
                <c:pt idx="6">
                  <c:v>0.2635135135135135</c:v>
                </c:pt>
                <c:pt idx="7">
                  <c:v>0.24271844660194175</c:v>
                </c:pt>
                <c:pt idx="8">
                  <c:v>0.3382352941176471</c:v>
                </c:pt>
                <c:pt idx="9">
                  <c:v>0.3333333333333333</c:v>
                </c:pt>
                <c:pt idx="10">
                  <c:v>0.2891566265060241</c:v>
                </c:pt>
                <c:pt idx="11">
                  <c:v>0.3157894736842105</c:v>
                </c:pt>
                <c:pt idx="12">
                  <c:v>0.35</c:v>
                </c:pt>
                <c:pt idx="13">
                  <c:v>0.29473684210526313</c:v>
                </c:pt>
                <c:pt idx="14">
                  <c:v>0.3037974683544304</c:v>
                </c:pt>
                <c:pt idx="15">
                  <c:v>0.2916666666666667</c:v>
                </c:pt>
                <c:pt idx="16">
                  <c:v>0.2833333333333333</c:v>
                </c:pt>
                <c:pt idx="17">
                  <c:v>0.32142857142857145</c:v>
                </c:pt>
                <c:pt idx="18">
                  <c:v>0.35714285714285715</c:v>
                </c:pt>
                <c:pt idx="19">
                  <c:v>0.375</c:v>
                </c:pt>
                <c:pt idx="20">
                  <c:v>0.23809523809523808</c:v>
                </c:pt>
                <c:pt idx="21">
                  <c:v>0.28205128205128205</c:v>
                </c:pt>
                <c:pt idx="22">
                  <c:v>0.29411764705882354</c:v>
                </c:pt>
                <c:pt idx="23">
                  <c:v>0.3076923076923077</c:v>
                </c:pt>
                <c:pt idx="24">
                  <c:v>0.22580645161290322</c:v>
                </c:pt>
                <c:pt idx="25">
                  <c:v>0.25925925925925924</c:v>
                </c:pt>
                <c:pt idx="26">
                  <c:v>0.21428571428571427</c:v>
                </c:pt>
                <c:pt idx="27">
                  <c:v>0.2702702702702703</c:v>
                </c:pt>
                <c:pt idx="28">
                  <c:v>0.3333333333333333</c:v>
                </c:pt>
                <c:pt idx="29">
                  <c:v>0.25806451612903225</c:v>
                </c:pt>
                <c:pt idx="30">
                  <c:v>0.18421052631578946</c:v>
                </c:pt>
                <c:pt idx="31">
                  <c:v>0.2</c:v>
                </c:pt>
                <c:pt idx="32">
                  <c:v>0.25806451612903225</c:v>
                </c:pt>
                <c:pt idx="33">
                  <c:v>0.3</c:v>
                </c:pt>
                <c:pt idx="34">
                  <c:v>0.34615384615384615</c:v>
                </c:pt>
                <c:pt idx="35">
                  <c:v>0.3783783783783784</c:v>
                </c:pt>
                <c:pt idx="36">
                  <c:v>0.3103448275862069</c:v>
                </c:pt>
                <c:pt idx="37">
                  <c:v>0.20689655172413793</c:v>
                </c:pt>
                <c:pt idx="38">
                  <c:v>0.2916666666666667</c:v>
                </c:pt>
                <c:pt idx="39">
                  <c:v>0.34210526315789475</c:v>
                </c:pt>
                <c:pt idx="40">
                  <c:v>0.05976095617529881</c:v>
                </c:pt>
                <c:pt idx="41">
                  <c:v>0.14953271028037382</c:v>
                </c:pt>
                <c:pt idx="42">
                  <c:v>0.22</c:v>
                </c:pt>
                <c:pt idx="43">
                  <c:v>0.1875</c:v>
                </c:pt>
                <c:pt idx="44">
                  <c:v>0.1368421052631579</c:v>
                </c:pt>
                <c:pt idx="45">
                  <c:v>0.24705882352941178</c:v>
                </c:pt>
                <c:pt idx="46">
                  <c:v>0.2</c:v>
                </c:pt>
                <c:pt idx="47">
                  <c:v>0.2545454545454545</c:v>
                </c:pt>
                <c:pt idx="48">
                  <c:v>0.2222222222222222</c:v>
                </c:pt>
                <c:pt idx="49">
                  <c:v>0.2727272727272727</c:v>
                </c:pt>
                <c:pt idx="50">
                  <c:v>0.29931972789115646</c:v>
                </c:pt>
                <c:pt idx="51">
                  <c:v>0.27272727272727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623007786763479</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623007786763479</c:v>
                </c:pt>
                <c:pt idx="1">
                  <c:v>-0.04623007786763479</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2522398097303133</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2522398097303133</c:v>
                </c:pt>
                <c:pt idx="1">
                  <c:v>1.2522398097303133</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62644337284356</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62644337284356</c:v>
                </c:pt>
                <c:pt idx="1">
                  <c:v>2.362644337284356</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492660383432807</c:v>
                </c:pt>
                <c:pt idx="1">
                  <c:v>1.568472138129425</c:v>
                </c:pt>
                <c:pt idx="2">
                  <c:v>1.4092836908192687</c:v>
                </c:pt>
                <c:pt idx="3">
                  <c:v>1.3829377128486617</c:v>
                </c:pt>
                <c:pt idx="4">
                  <c:v>1.7180892037121565</c:v>
                </c:pt>
                <c:pt idx="5">
                  <c:v>1.6138922247504774</c:v>
                </c:pt>
                <c:pt idx="6">
                  <c:v>1.8697933079853286</c:v>
                </c:pt>
                <c:pt idx="7">
                  <c:v>1.423219983156594</c:v>
                </c:pt>
                <c:pt idx="8">
                  <c:v>1.4232297985735631</c:v>
                </c:pt>
                <c:pt idx="9">
                  <c:v>1.4112930900934162</c:v>
                </c:pt>
                <c:pt idx="10">
                  <c:v>1.5785183415579294</c:v>
                </c:pt>
                <c:pt idx="11">
                  <c:v>1.8657557152587114</c:v>
                </c:pt>
                <c:pt idx="12">
                  <c:v>1.6637563048121053</c:v>
                </c:pt>
                <c:pt idx="13">
                  <c:v>1.6877284757804736</c:v>
                </c:pt>
                <c:pt idx="14">
                  <c:v>1.5956350334409966</c:v>
                </c:pt>
                <c:pt idx="15">
                  <c:v>1.711548654945242</c:v>
                </c:pt>
                <c:pt idx="16">
                  <c:v>1.9185865301017735</c:v>
                </c:pt>
                <c:pt idx="17">
                  <c:v>1.611471738019636</c:v>
                </c:pt>
                <c:pt idx="18">
                  <c:v>1.417375248921579</c:v>
                </c:pt>
                <c:pt idx="19">
                  <c:v>1.5150128006758523</c:v>
                </c:pt>
                <c:pt idx="20">
                  <c:v>1.955704898632721</c:v>
                </c:pt>
                <c:pt idx="21">
                  <c:v>1.6991615768535262</c:v>
                </c:pt>
                <c:pt idx="22">
                  <c:v>1.6819108031402021</c:v>
                </c:pt>
                <c:pt idx="23">
                  <c:v>1.6640680160037657</c:v>
                </c:pt>
                <c:pt idx="24">
                  <c:v>1.8172108656626023</c:v>
                </c:pt>
                <c:pt idx="25">
                  <c:v>1.2524785235173386</c:v>
                </c:pt>
                <c:pt idx="26">
                  <c:v>1.3378378274774425</c:v>
                </c:pt>
                <c:pt idx="27">
                  <c:v>1.3865354192300932</c:v>
                </c:pt>
                <c:pt idx="28">
                  <c:v>1.3313069350356925</c:v>
                </c:pt>
                <c:pt idx="29">
                  <c:v>1.3116721854304636</c:v>
                </c:pt>
                <c:pt idx="30">
                  <c:v>1.3455313017650437</c:v>
                </c:pt>
                <c:pt idx="31">
                  <c:v>1.7101504115031692</c:v>
                </c:pt>
                <c:pt idx="32">
                  <c:v>1.485377826288781</c:v>
                </c:pt>
                <c:pt idx="33">
                  <c:v>1.6483741379342494</c:v>
                </c:pt>
                <c:pt idx="34">
                  <c:v>1.4826231187669991</c:v>
                </c:pt>
                <c:pt idx="35">
                  <c:v>1.533905306028796</c:v>
                </c:pt>
                <c:pt idx="36">
                  <c:v>1.2311359564395714</c:v>
                </c:pt>
                <c:pt idx="37">
                  <c:v>1.6150750726216414</c:v>
                </c:pt>
                <c:pt idx="38">
                  <c:v>1.2668794440605082</c:v>
                </c:pt>
                <c:pt idx="39">
                  <c:v>1.1216456925591802</c:v>
                </c:pt>
                <c:pt idx="40">
                  <c:v>4.279461306215681</c:v>
                </c:pt>
                <c:pt idx="41">
                  <c:v>3.662546740664243</c:v>
                </c:pt>
                <c:pt idx="42">
                  <c:v>2.4240487220447284</c:v>
                </c:pt>
                <c:pt idx="43">
                  <c:v>2.4267266804599243</c:v>
                </c:pt>
                <c:pt idx="44">
                  <c:v>2.306424980707283</c:v>
                </c:pt>
                <c:pt idx="45">
                  <c:v>1.6704049993168733</c:v>
                </c:pt>
                <c:pt idx="46">
                  <c:v>1.998412633120758</c:v>
                </c:pt>
                <c:pt idx="47">
                  <c:v>2.0045408862484555</c:v>
                </c:pt>
                <c:pt idx="48">
                  <c:v>1.7462162162162163</c:v>
                </c:pt>
                <c:pt idx="49">
                  <c:v>1.5207113198661888</c:v>
                </c:pt>
                <c:pt idx="50">
                  <c:v>1.2997516550570622</c:v>
                </c:pt>
                <c:pt idx="51">
                  <c:v>1.3045282521682637</c:v>
                </c:pt>
                <c:pt idx="52">
                  <c:v>1.2522398097303133</c:v>
                </c:pt>
                <c:pt idx="53">
                  <c:v>-0.04623007786763479</c:v>
                </c:pt>
                <c:pt idx="54">
                  <c:v>2.362644337284356</c:v>
                </c:pt>
              </c:numCache>
            </c:numRef>
          </c:xVal>
          <c:yVal>
            <c:numRef>
              <c:f>Sheet1!$B$187:$B$241</c:f>
              <c:numCache>
                <c:formatCode>General</c:formatCode>
                <c:ptCount val="55"/>
                <c:pt idx="0">
                  <c:v>0.290919238791998</c:v>
                </c:pt>
                <c:pt idx="1">
                  <c:v>0.28476833002929924</c:v>
                </c:pt>
                <c:pt idx="2">
                  <c:v>0.29768392101382146</c:v>
                </c:pt>
                <c:pt idx="3">
                  <c:v>0.2998214748458066</c:v>
                </c:pt>
                <c:pt idx="4">
                  <c:v>0.27262930325931</c:v>
                </c:pt>
                <c:pt idx="5">
                  <c:v>0.28108321800520786</c:v>
                </c:pt>
                <c:pt idx="6">
                  <c:v>0.2603209467512018</c:v>
                </c:pt>
                <c:pt idx="7">
                  <c:v>0.29655321426524106</c:v>
                </c:pt>
                <c:pt idx="8">
                  <c:v>0.2965524179014781</c:v>
                </c:pt>
                <c:pt idx="9">
                  <c:v>0.2975208904699094</c:v>
                </c:pt>
                <c:pt idx="10">
                  <c:v>0.2839532416442918</c:v>
                </c:pt>
                <c:pt idx="11">
                  <c:v>0.2606485326853586</c:v>
                </c:pt>
                <c:pt idx="12">
                  <c:v>0.2770375471429206</c:v>
                </c:pt>
                <c:pt idx="13">
                  <c:v>0.27509258970115824</c:v>
                </c:pt>
                <c:pt idx="14">
                  <c:v>0.28256449644886283</c:v>
                </c:pt>
                <c:pt idx="15">
                  <c:v>0.27315996395809305</c:v>
                </c:pt>
                <c:pt idx="16">
                  <c:v>0.2563621588471707</c:v>
                </c:pt>
                <c:pt idx="17">
                  <c:v>0.2812796017072118</c:v>
                </c:pt>
                <c:pt idx="18">
                  <c:v>0.29702742076746047</c:v>
                </c:pt>
                <c:pt idx="19">
                  <c:v>0.2891056984032028</c:v>
                </c:pt>
                <c:pt idx="20">
                  <c:v>0.2533505981839498</c:v>
                </c:pt>
                <c:pt idx="21">
                  <c:v>0.2741649768018595</c:v>
                </c:pt>
                <c:pt idx="22">
                  <c:v>0.2755646005887147</c:v>
                </c:pt>
                <c:pt idx="23">
                  <c:v>0.27701225677590713</c:v>
                </c:pt>
                <c:pt idx="24">
                  <c:v>0.26458716914034525</c:v>
                </c:pt>
                <c:pt idx="25">
                  <c:v>0.31040614702552083</c:v>
                </c:pt>
                <c:pt idx="26">
                  <c:v>0.3034806076707446</c:v>
                </c:pt>
                <c:pt idx="27">
                  <c:v>0.2995295786379465</c:v>
                </c:pt>
                <c:pt idx="28">
                  <c:v>0.3040104849135147</c:v>
                </c:pt>
                <c:pt idx="29">
                  <c:v>0.3056035301329994</c:v>
                </c:pt>
                <c:pt idx="30">
                  <c:v>0.3028564055453542</c:v>
                </c:pt>
                <c:pt idx="31">
                  <c:v>0.27327340900200014</c:v>
                </c:pt>
                <c:pt idx="32">
                  <c:v>0.2915101015774763</c:v>
                </c:pt>
                <c:pt idx="33">
                  <c:v>0.27828556343560407</c:v>
                </c:pt>
                <c:pt idx="34">
                  <c:v>0.2917336019396854</c:v>
                </c:pt>
                <c:pt idx="35">
                  <c:v>0.2875728744079031</c:v>
                </c:pt>
                <c:pt idx="36">
                  <c:v>0.31213775425955026</c:v>
                </c:pt>
                <c:pt idx="37">
                  <c:v>0.2809872488594627</c:v>
                </c:pt>
                <c:pt idx="38">
                  <c:v>0.30923774314522046</c:v>
                </c:pt>
                <c:pt idx="39">
                  <c:v>0.3210211342344256</c:v>
                </c:pt>
                <c:pt idx="40">
                  <c:v>0.06481501149323499</c:v>
                </c:pt>
                <c:pt idx="41">
                  <c:v>0.11486774041729081</c:v>
                </c:pt>
                <c:pt idx="42">
                  <c:v>0.21535200365320914</c:v>
                </c:pt>
                <c:pt idx="43">
                  <c:v>0.21513473025084445</c:v>
                </c:pt>
                <c:pt idx="44">
                  <c:v>0.22489528495818836</c:v>
                </c:pt>
                <c:pt idx="45">
                  <c:v>0.27649811215089937</c:v>
                </c:pt>
                <c:pt idx="46">
                  <c:v>0.24988555006115257</c:v>
                </c:pt>
                <c:pt idx="47">
                  <c:v>0.24938834054510806</c:v>
                </c:pt>
                <c:pt idx="48">
                  <c:v>0.27034724702182955</c:v>
                </c:pt>
                <c:pt idx="49">
                  <c:v>0.2886433549082855</c:v>
                </c:pt>
                <c:pt idx="50">
                  <c:v>0.3065706901073753</c:v>
                </c:pt>
                <c:pt idx="51">
                  <c:v>0.30618314581236794</c:v>
                </c:pt>
                <c:pt idx="52">
                  <c:v>0.31042551482317</c:v>
                </c:pt>
                <c:pt idx="53">
                  <c:v>0.41577553398165007</c:v>
                </c:pt>
                <c:pt idx="54">
                  <c:v>0.220333985270731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2.6212</c:v>
                </c:pt>
                <c:pt idx="1">
                  <c:v>1059.6667</c:v>
                </c:pt>
                <c:pt idx="2">
                  <c:v>1205.4259</c:v>
                </c:pt>
                <c:pt idx="3">
                  <c:v>1201.5</c:v>
                </c:pt>
                <c:pt idx="4">
                  <c:v>1162.1111</c:v>
                </c:pt>
                <c:pt idx="5">
                  <c:v>1182.4146</c:v>
                </c:pt>
                <c:pt idx="6">
                  <c:v>1189.122</c:v>
                </c:pt>
                <c:pt idx="7">
                  <c:v>1186.9231</c:v>
                </c:pt>
                <c:pt idx="8">
                  <c:v>1204.2903</c:v>
                </c:pt>
                <c:pt idx="9">
                  <c:v>1105.7647</c:v>
                </c:pt>
                <c:pt idx="10">
                  <c:v>1146.2549</c:v>
                </c:pt>
                <c:pt idx="11">
                  <c:v>1199.0385</c:v>
                </c:pt>
                <c:pt idx="12">
                  <c:v>1190.6667</c:v>
                </c:pt>
                <c:pt idx="13">
                  <c:v>1156.9623</c:v>
                </c:pt>
                <c:pt idx="14">
                  <c:v>1170.8846</c:v>
                </c:pt>
                <c:pt idx="15">
                  <c:v>1142.7143</c:v>
                </c:pt>
                <c:pt idx="16">
                  <c:v>1180.1667</c:v>
                </c:pt>
                <c:pt idx="17">
                  <c:v>1192.4444</c:v>
                </c:pt>
                <c:pt idx="18">
                  <c:v>1363.3158</c:v>
                </c:pt>
                <c:pt idx="19">
                  <c:v>1263.7222</c:v>
                </c:pt>
                <c:pt idx="20">
                  <c:v>1181.8077</c:v>
                </c:pt>
                <c:pt idx="21">
                  <c:v>1259.2222</c:v>
                </c:pt>
                <c:pt idx="22">
                  <c:v>1172.9412</c:v>
                </c:pt>
                <c:pt idx="23">
                  <c:v>1275.6316</c:v>
                </c:pt>
                <c:pt idx="24">
                  <c:v>1297.0</c:v>
                </c:pt>
                <c:pt idx="25">
                  <c:v>1130.0476</c:v>
                </c:pt>
                <c:pt idx="26">
                  <c:v>1181.0</c:v>
                </c:pt>
                <c:pt idx="27">
                  <c:v>1344.1429</c:v>
                </c:pt>
                <c:pt idx="28">
                  <c:v>1303.8095</c:v>
                </c:pt>
                <c:pt idx="29">
                  <c:v>1257.9524</c:v>
                </c:pt>
                <c:pt idx="30">
                  <c:v>1314.0714</c:v>
                </c:pt>
                <c:pt idx="31">
                  <c:v>1270.3529</c:v>
                </c:pt>
                <c:pt idx="32">
                  <c:v>1202.9048</c:v>
                </c:pt>
                <c:pt idx="33">
                  <c:v>1264.0476</c:v>
                </c:pt>
                <c:pt idx="34">
                  <c:v>1194.0</c:v>
                </c:pt>
                <c:pt idx="35">
                  <c:v>1260.2</c:v>
                </c:pt>
                <c:pt idx="36">
                  <c:v>1243.0357</c:v>
                </c:pt>
                <c:pt idx="37">
                  <c:v>1339.8235</c:v>
                </c:pt>
                <c:pt idx="38">
                  <c:v>1471.6429</c:v>
                </c:pt>
                <c:pt idx="39">
                  <c:v>1315.0588</c:v>
                </c:pt>
                <c:pt idx="40">
                  <c:v>1409.75</c:v>
                </c:pt>
                <c:pt idx="41">
                  <c:v>1468.25</c:v>
                </c:pt>
                <c:pt idx="42">
                  <c:v>1559.381</c:v>
                </c:pt>
                <c:pt idx="43">
                  <c:v>1560.7692</c:v>
                </c:pt>
                <c:pt idx="44">
                  <c:v>1520.7714</c:v>
                </c:pt>
                <c:pt idx="45">
                  <c:v>1544.1212</c:v>
                </c:pt>
                <c:pt idx="46">
                  <c:v>1497.2941</c:v>
                </c:pt>
                <c:pt idx="47">
                  <c:v>1495.6316</c:v>
                </c:pt>
                <c:pt idx="48">
                  <c:v>1533.8947</c:v>
                </c:pt>
                <c:pt idx="49">
                  <c:v>1519.9107</c:v>
                </c:pt>
                <c:pt idx="50">
                  <c:v>1555.8571</c:v>
                </c:pt>
                <c:pt idx="51">
                  <c:v>1460.4643</c:v>
                </c:pt>
                <c:pt idx="52">
                  <c:v>1512.025</c:v>
                </c:pt>
                <c:pt idx="53">
                  <c:v>1564.5946</c:v>
                </c:pt>
                <c:pt idx="54">
                  <c:v>1616.9286</c:v>
                </c:pt>
                <c:pt idx="55">
                  <c:v>1554.4118</c:v>
                </c:pt>
                <c:pt idx="56">
                  <c:v>1548.8056</c:v>
                </c:pt>
                <c:pt idx="57">
                  <c:v>1548.9394</c:v>
                </c:pt>
                <c:pt idx="58">
                  <c:v>1547.4</c:v>
                </c:pt>
                <c:pt idx="59">
                  <c:v>1565.1045</c:v>
                </c:pt>
                <c:pt idx="60">
                  <c:v>1477.0361</c:v>
                </c:pt>
                <c:pt idx="61">
                  <c:v>1625.0893</c:v>
                </c:pt>
                <c:pt idx="62">
                  <c:v>1581.0566</c:v>
                </c:pt>
                <c:pt idx="63">
                  <c:v>1604.0909</c:v>
                </c:pt>
                <c:pt idx="64">
                  <c:v>1593.9821</c:v>
                </c:pt>
                <c:pt idx="65">
                  <c:v>1555.4889</c:v>
                </c:pt>
                <c:pt idx="66">
                  <c:v>1443.9574</c:v>
                </c:pt>
                <c:pt idx="67">
                  <c:v>1454.9048</c:v>
                </c:pt>
                <c:pt idx="68">
                  <c:v>1445.0313</c:v>
                </c:pt>
                <c:pt idx="69">
                  <c:v>1355.0</c:v>
                </c:pt>
                <c:pt idx="70">
                  <c:v>1198.8261</c:v>
                </c:pt>
                <c:pt idx="71">
                  <c:v>1129.5333</c:v>
                </c:pt>
                <c:pt idx="72">
                  <c:v>1222.4138</c:v>
                </c:pt>
                <c:pt idx="73">
                  <c:v>1362.3043</c:v>
                </c:pt>
                <c:pt idx="74">
                  <c:v>1376.619</c:v>
                </c:pt>
                <c:pt idx="75">
                  <c:v>911.7826</c:v>
                </c:pt>
                <c:pt idx="76">
                  <c:v>1342.875</c:v>
                </c:pt>
                <c:pt idx="77">
                  <c:v>1476.8333</c:v>
                </c:pt>
                <c:pt idx="78">
                  <c:v>1499.3846</c:v>
                </c:pt>
                <c:pt idx="79">
                  <c:v>1768.5556</c:v>
                </c:pt>
                <c:pt idx="80">
                  <c:v>1666.6667</c:v>
                </c:pt>
                <c:pt idx="81">
                  <c:v>1559.0</c:v>
                </c:pt>
                <c:pt idx="82">
                  <c:v>952.5333</c:v>
                </c:pt>
                <c:pt idx="83">
                  <c:v>1386.125</c:v>
                </c:pt>
                <c:pt idx="84">
                  <c:v>1310.5556</c:v>
                </c:pt>
                <c:pt idx="85">
                  <c:v>1649.2</c:v>
                </c:pt>
                <c:pt idx="86">
                  <c:v>1457.625</c:v>
                </c:pt>
                <c:pt idx="87">
                  <c:v>1531.7</c:v>
                </c:pt>
                <c:pt idx="88">
                  <c:v>1524.3333</c:v>
                </c:pt>
                <c:pt idx="89">
                  <c:v>1387.9091</c:v>
                </c:pt>
                <c:pt idx="90">
                  <c:v>1193.5</c:v>
                </c:pt>
                <c:pt idx="91">
                  <c:v>1493.0769</c:v>
                </c:pt>
                <c:pt idx="92">
                  <c:v>1543.8333</c:v>
                </c:pt>
                <c:pt idx="93">
                  <c:v>1644.4167</c:v>
                </c:pt>
                <c:pt idx="94">
                  <c:v>1383.2308</c:v>
                </c:pt>
                <c:pt idx="95">
                  <c:v>1120.28</c:v>
                </c:pt>
                <c:pt idx="96">
                  <c:v>1277.1667</c:v>
                </c:pt>
                <c:pt idx="97">
                  <c:v>1505.0968</c:v>
                </c:pt>
                <c:pt idx="98">
                  <c:v>1273.8667</c:v>
                </c:pt>
                <c:pt idx="99">
                  <c:v>1397.6889</c:v>
                </c:pt>
                <c:pt idx="100">
                  <c:v>1420.1831</c:v>
                </c:pt>
                <c:pt idx="101">
                  <c:v>1383.3</c:v>
                </c:pt>
                <c:pt idx="102">
                  <c:v>1222.5357</c:v>
                </c:pt>
                <c:pt idx="103">
                  <c:v>1328.0</c:v>
                </c:pt>
                <c:pt idx="104">
                  <c:v>1542.2</c:v>
                </c:pt>
              </c:numCache>
            </c:numRef>
          </c:xVal>
          <c:yVal>
            <c:numRef>
              <c:f>Sheet1!$B$2:$B$106</c:f>
              <c:numCache>
                <c:formatCode>General</c:formatCode>
                <c:ptCount val="105"/>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numCache>
            </c:numRef>
          </c:xVal>
          <c:yVal>
            <c:numRef>
              <c:f>Sheet1!$B$109:$B$160</c:f>
              <c:numCache>
                <c:formatCode>General</c:formatCode>
                <c:ptCount val="52"/>
                <c:pt idx="0">
                  <c:v>0.3258426966292135</c:v>
                </c:pt>
                <c:pt idx="1">
                  <c:v>0.3076923076923077</c:v>
                </c:pt>
                <c:pt idx="2">
                  <c:v>0.35051546391752575</c:v>
                </c:pt>
                <c:pt idx="3">
                  <c:v>0.33962264150943394</c:v>
                </c:pt>
                <c:pt idx="4">
                  <c:v>0.24031007751937986</c:v>
                </c:pt>
                <c:pt idx="5">
                  <c:v>0.30612244897959184</c:v>
                </c:pt>
                <c:pt idx="6">
                  <c:v>0.2635135135135135</c:v>
                </c:pt>
                <c:pt idx="7">
                  <c:v>0.24271844660194175</c:v>
                </c:pt>
                <c:pt idx="8">
                  <c:v>0.3382352941176471</c:v>
                </c:pt>
                <c:pt idx="9">
                  <c:v>0.3333333333333333</c:v>
                </c:pt>
                <c:pt idx="10">
                  <c:v>0.2891566265060241</c:v>
                </c:pt>
                <c:pt idx="11">
                  <c:v>0.3157894736842105</c:v>
                </c:pt>
                <c:pt idx="12">
                  <c:v>0.35</c:v>
                </c:pt>
                <c:pt idx="13">
                  <c:v>0.29473684210526313</c:v>
                </c:pt>
                <c:pt idx="14">
                  <c:v>0.3037974683544304</c:v>
                </c:pt>
                <c:pt idx="15">
                  <c:v>0.2916666666666667</c:v>
                </c:pt>
                <c:pt idx="16">
                  <c:v>0.2833333333333333</c:v>
                </c:pt>
                <c:pt idx="17">
                  <c:v>0.32142857142857145</c:v>
                </c:pt>
                <c:pt idx="18">
                  <c:v>0.35714285714285715</c:v>
                </c:pt>
                <c:pt idx="19">
                  <c:v>0.375</c:v>
                </c:pt>
                <c:pt idx="20">
                  <c:v>0.23809523809523808</c:v>
                </c:pt>
                <c:pt idx="21">
                  <c:v>0.28205128205128205</c:v>
                </c:pt>
                <c:pt idx="22">
                  <c:v>0.29411764705882354</c:v>
                </c:pt>
                <c:pt idx="23">
                  <c:v>0.3076923076923077</c:v>
                </c:pt>
                <c:pt idx="24">
                  <c:v>0.22580645161290322</c:v>
                </c:pt>
                <c:pt idx="25">
                  <c:v>0.25925925925925924</c:v>
                </c:pt>
                <c:pt idx="26">
                  <c:v>0.21428571428571427</c:v>
                </c:pt>
                <c:pt idx="27">
                  <c:v>0.2702702702702703</c:v>
                </c:pt>
                <c:pt idx="28">
                  <c:v>0.3333333333333333</c:v>
                </c:pt>
                <c:pt idx="29">
                  <c:v>0.25806451612903225</c:v>
                </c:pt>
                <c:pt idx="30">
                  <c:v>0.18421052631578946</c:v>
                </c:pt>
                <c:pt idx="31">
                  <c:v>0.2</c:v>
                </c:pt>
                <c:pt idx="32">
                  <c:v>0.25806451612903225</c:v>
                </c:pt>
                <c:pt idx="33">
                  <c:v>0.3</c:v>
                </c:pt>
                <c:pt idx="34">
                  <c:v>0.34615384615384615</c:v>
                </c:pt>
                <c:pt idx="35">
                  <c:v>0.3783783783783784</c:v>
                </c:pt>
                <c:pt idx="36">
                  <c:v>0.3103448275862069</c:v>
                </c:pt>
                <c:pt idx="37">
                  <c:v>0.20689655172413793</c:v>
                </c:pt>
                <c:pt idx="38">
                  <c:v>0.2916666666666667</c:v>
                </c:pt>
                <c:pt idx="39">
                  <c:v>0.34210526315789475</c:v>
                </c:pt>
                <c:pt idx="40">
                  <c:v>0.05976095617529881</c:v>
                </c:pt>
                <c:pt idx="41">
                  <c:v>0.14953271028037382</c:v>
                </c:pt>
                <c:pt idx="42">
                  <c:v>0.22</c:v>
                </c:pt>
                <c:pt idx="43">
                  <c:v>0.1875</c:v>
                </c:pt>
                <c:pt idx="44">
                  <c:v>0.1368421052631579</c:v>
                </c:pt>
                <c:pt idx="45">
                  <c:v>0.24705882352941178</c:v>
                </c:pt>
                <c:pt idx="46">
                  <c:v>0.2</c:v>
                </c:pt>
                <c:pt idx="47">
                  <c:v>0.2545454545454545</c:v>
                </c:pt>
                <c:pt idx="48">
                  <c:v>0.2222222222222222</c:v>
                </c:pt>
                <c:pt idx="49">
                  <c:v>0.2727272727272727</c:v>
                </c:pt>
                <c:pt idx="50">
                  <c:v>0.29931972789115646</c:v>
                </c:pt>
                <c:pt idx="51">
                  <c:v>0.27272727272727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8.2392498452643</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8.2392498452643</c:v>
                </c:pt>
                <c:pt idx="1">
                  <c:v>-218.2392498452643</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3.7427235982962</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3.7427235982962</c:v>
                </c:pt>
                <c:pt idx="1">
                  <c:v>1083.7427235982962</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97.150660057986</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97.150660057986</c:v>
                </c:pt>
                <c:pt idx="1">
                  <c:v>2197.150660057986</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pt idx="52">
                  <c:v>1083.7427235982962</c:v>
                </c:pt>
                <c:pt idx="53">
                  <c:v>-218.2392498452643</c:v>
                </c:pt>
                <c:pt idx="54">
                  <c:v>2197.150660057986</c:v>
                </c:pt>
              </c:numCache>
            </c:numRef>
          </c:xVal>
          <c:yVal>
            <c:numRef>
              <c:f>Sheet1!$B$187:$B$241</c:f>
              <c:numCache>
                <c:formatCode>General</c:formatCode>
                <c:ptCount val="55"/>
                <c:pt idx="0">
                  <c:v>0.2850057182570964</c:v>
                </c:pt>
                <c:pt idx="1">
                  <c:v>0.2790154105743314</c:v>
                </c:pt>
                <c:pt idx="2">
                  <c:v>0.2873510266389233</c:v>
                </c:pt>
                <c:pt idx="3">
                  <c:v>0.2847006601876833</c:v>
                </c:pt>
                <c:pt idx="4">
                  <c:v>0.2814397001984474</c:v>
                </c:pt>
                <c:pt idx="5">
                  <c:v>0.26627899140811495</c:v>
                </c:pt>
                <c:pt idx="6">
                  <c:v>0.2740115714063121</c:v>
                </c:pt>
                <c:pt idx="7">
                  <c:v>0.2753360870822457</c:v>
                </c:pt>
                <c:pt idx="8">
                  <c:v>0.2761142800948379</c:v>
                </c:pt>
                <c:pt idx="9">
                  <c:v>0.27788926639065875</c:v>
                </c:pt>
                <c:pt idx="10">
                  <c:v>0.26739494028748634</c:v>
                </c:pt>
                <c:pt idx="11">
                  <c:v>0.2775149530755994</c:v>
                </c:pt>
                <c:pt idx="12">
                  <c:v>0.2796107192473868</c:v>
                </c:pt>
                <c:pt idx="13">
                  <c:v>0.27480493600268585</c:v>
                </c:pt>
                <c:pt idx="14">
                  <c:v>0.275169539504125</c:v>
                </c:pt>
                <c:pt idx="15">
                  <c:v>0.27351510863591044</c:v>
                </c:pt>
                <c:pt idx="16">
                  <c:v>0.25657234966034853</c:v>
                </c:pt>
                <c:pt idx="17">
                  <c:v>0.27866349456268935</c:v>
                </c:pt>
                <c:pt idx="18">
                  <c:v>0.280185596854283</c:v>
                </c:pt>
                <c:pt idx="19">
                  <c:v>0.2764311355877996</c:v>
                </c:pt>
                <c:pt idx="20">
                  <c:v>0.26335255877262953</c:v>
                </c:pt>
                <c:pt idx="21">
                  <c:v>0.27931858332159987</c:v>
                </c:pt>
                <c:pt idx="22">
                  <c:v>0.2695830225122679</c:v>
                </c:pt>
                <c:pt idx="23">
                  <c:v>0.2836925954291439</c:v>
                </c:pt>
                <c:pt idx="24">
                  <c:v>0.25924322809286127</c:v>
                </c:pt>
                <c:pt idx="25">
                  <c:v>0.29313509788039505</c:v>
                </c:pt>
                <c:pt idx="26">
                  <c:v>0.2710394945553003</c:v>
                </c:pt>
                <c:pt idx="27">
                  <c:v>0.2704649972494375</c:v>
                </c:pt>
                <c:pt idx="28">
                  <c:v>0.27909728857768384</c:v>
                </c:pt>
                <c:pt idx="29">
                  <c:v>0.26990668296627507</c:v>
                </c:pt>
                <c:pt idx="30">
                  <c:v>0.26709199410253565</c:v>
                </c:pt>
                <c:pt idx="31">
                  <c:v>0.2518383381213237</c:v>
                </c:pt>
                <c:pt idx="32">
                  <c:v>0.2641515955184598</c:v>
                </c:pt>
                <c:pt idx="33">
                  <c:v>0.26221300695464966</c:v>
                </c:pt>
                <c:pt idx="34">
                  <c:v>0.26579350072710417</c:v>
                </c:pt>
                <c:pt idx="35">
                  <c:v>0.2628844082004421</c:v>
                </c:pt>
                <c:pt idx="36">
                  <c:v>0.27739133096519136</c:v>
                </c:pt>
                <c:pt idx="37">
                  <c:v>0.2541552048407547</c:v>
                </c:pt>
                <c:pt idx="38">
                  <c:v>0.26461830580162676</c:v>
                </c:pt>
                <c:pt idx="39">
                  <c:v>0.2875306177333406</c:v>
                </c:pt>
                <c:pt idx="40">
                  <c:v>0.28481394134658583</c:v>
                </c:pt>
                <c:pt idx="41">
                  <c:v>0.2771890431814369</c:v>
                </c:pt>
                <c:pt idx="42">
                  <c:v>0.2753316772085599</c:v>
                </c:pt>
                <c:pt idx="43">
                  <c:v>0.2769125805131353</c:v>
                </c:pt>
                <c:pt idx="44">
                  <c:v>0.2791590187177744</c:v>
                </c:pt>
                <c:pt idx="45">
                  <c:v>0.28276640867395686</c:v>
                </c:pt>
                <c:pt idx="46">
                  <c:v>0.26956953396284716</c:v>
                </c:pt>
                <c:pt idx="47">
                  <c:v>0.24588067159534527</c:v>
                </c:pt>
                <c:pt idx="48">
                  <c:v>0.2674185432260948</c:v>
                </c:pt>
                <c:pt idx="49">
                  <c:v>0.2792018066297941</c:v>
                </c:pt>
                <c:pt idx="50">
                  <c:v>0.2976752772650263</c:v>
                </c:pt>
                <c:pt idx="51">
                  <c:v>0.29356536399644084</c:v>
                </c:pt>
                <c:pt idx="52">
                  <c:v>0.31042551482317</c:v>
                </c:pt>
                <c:pt idx="53">
                  <c:v>0.41577553398165007</c:v>
                </c:pt>
                <c:pt idx="54">
                  <c:v>0.220333985270731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1</c:f>
              <c:numCache>
                <c:formatCode>General</c:formatCode>
                <c:ptCount val="130"/>
                <c:pt idx="0">
                  <c:v>0.0</c:v>
                </c:pt>
                <c:pt idx="1">
                  <c:v>0.0</c:v>
                </c:pt>
                <c:pt idx="2">
                  <c:v>0.0</c:v>
                </c:pt>
                <c:pt idx="3">
                  <c:v>0.10089855559287873</c:v>
                </c:pt>
                <c:pt idx="4">
                  <c:v>0.0</c:v>
                </c:pt>
                <c:pt idx="5">
                  <c:v>0.0</c:v>
                </c:pt>
                <c:pt idx="6">
                  <c:v>0.11006312476860423</c:v>
                </c:pt>
                <c:pt idx="7">
                  <c:v>0.0</c:v>
                </c:pt>
                <c:pt idx="8">
                  <c:v>0.0</c:v>
                </c:pt>
                <c:pt idx="9">
                  <c:v>0.0</c:v>
                </c:pt>
                <c:pt idx="10">
                  <c:v>0.0</c:v>
                </c:pt>
                <c:pt idx="11">
                  <c:v>0.0</c:v>
                </c:pt>
                <c:pt idx="12">
                  <c:v>0.0</c:v>
                </c:pt>
                <c:pt idx="13">
                  <c:v>0.0</c:v>
                </c:pt>
                <c:pt idx="14">
                  <c:v>0.0</c:v>
                </c:pt>
                <c:pt idx="15">
                  <c:v>0.1272085383502171</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16362416022040904</c:v>
                </c:pt>
                <c:pt idx="46">
                  <c:v>0.0</c:v>
                </c:pt>
                <c:pt idx="47">
                  <c:v>0.0</c:v>
                </c:pt>
                <c:pt idx="48">
                  <c:v>0.0</c:v>
                </c:pt>
                <c:pt idx="49">
                  <c:v>0.10373046920320764</c:v>
                </c:pt>
                <c:pt idx="50">
                  <c:v>0.0</c:v>
                </c:pt>
                <c:pt idx="51">
                  <c:v>0.0</c:v>
                </c:pt>
                <c:pt idx="52">
                  <c:v>0.0</c:v>
                </c:pt>
                <c:pt idx="53">
                  <c:v>0.0</c:v>
                </c:pt>
                <c:pt idx="54">
                  <c:v>0.0</c:v>
                </c:pt>
                <c:pt idx="55">
                  <c:v>0.0</c:v>
                </c:pt>
                <c:pt idx="56">
                  <c:v>0.0</c:v>
                </c:pt>
                <c:pt idx="57">
                  <c:v>0.0</c:v>
                </c:pt>
                <c:pt idx="58">
                  <c:v>0.1457748469147433</c:v>
                </c:pt>
                <c:pt idx="59">
                  <c:v>0.08173723104240652</c:v>
                </c:pt>
                <c:pt idx="60">
                  <c:v>0.11980663503264793</c:v>
                </c:pt>
                <c:pt idx="61">
                  <c:v>0.08931515801044243</c:v>
                </c:pt>
                <c:pt idx="62">
                  <c:v>0.06745697585118184</c:v>
                </c:pt>
                <c:pt idx="63">
                  <c:v>0.0</c:v>
                </c:pt>
                <c:pt idx="64">
                  <c:v>0.09841825759446776</c:v>
                </c:pt>
                <c:pt idx="65">
                  <c:v>0.0</c:v>
                </c:pt>
                <c:pt idx="66">
                  <c:v>0.0</c:v>
                </c:pt>
                <c:pt idx="67">
                  <c:v>0.07352831657148633</c:v>
                </c:pt>
                <c:pt idx="68">
                  <c:v>0.08709729974082335</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9816368411957836</c:v>
                </c:pt>
                <c:pt idx="101">
                  <c:v>0.07143299767621998</c:v>
                </c:pt>
                <c:pt idx="102">
                  <c:v>0.06239018627200816</c:v>
                </c:pt>
                <c:pt idx="103">
                  <c:v>0.06414219474497682</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numCache>
            </c:numRef>
          </c:xVal>
          <c:yVal>
            <c:numRef>
              <c:f>Sheet1!$B$2:$B$131</c:f>
              <c:numCache>
                <c:formatCode>General</c:formatCode>
                <c:ptCount val="130"/>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pt idx="105">
                  <c:v>0.3258426966292135</c:v>
                </c:pt>
                <c:pt idx="106">
                  <c:v>0.3076923076923077</c:v>
                </c:pt>
                <c:pt idx="107">
                  <c:v>0.35051546391752575</c:v>
                </c:pt>
                <c:pt idx="108">
                  <c:v>0.33962264150943394</c:v>
                </c:pt>
                <c:pt idx="109">
                  <c:v>0.24031007751937986</c:v>
                </c:pt>
                <c:pt idx="110">
                  <c:v>0.30612244897959184</c:v>
                </c:pt>
                <c:pt idx="111">
                  <c:v>0.2635135135135135</c:v>
                </c:pt>
                <c:pt idx="112">
                  <c:v>0.24271844660194175</c:v>
                </c:pt>
                <c:pt idx="113">
                  <c:v>0.2891566265060241</c:v>
                </c:pt>
                <c:pt idx="114">
                  <c:v>0.3157894736842105</c:v>
                </c:pt>
                <c:pt idx="115">
                  <c:v>0.35</c:v>
                </c:pt>
                <c:pt idx="116">
                  <c:v>0.35714285714285715</c:v>
                </c:pt>
                <c:pt idx="117">
                  <c:v>0.23809523809523808</c:v>
                </c:pt>
                <c:pt idx="118">
                  <c:v>0.25925925925925924</c:v>
                </c:pt>
                <c:pt idx="119">
                  <c:v>0.21428571428571427</c:v>
                </c:pt>
                <c:pt idx="120">
                  <c:v>0.3333333333333333</c:v>
                </c:pt>
                <c:pt idx="121">
                  <c:v>0.18421052631578946</c:v>
                </c:pt>
                <c:pt idx="122">
                  <c:v>0.2</c:v>
                </c:pt>
                <c:pt idx="123">
                  <c:v>0.25806451612903225</c:v>
                </c:pt>
                <c:pt idx="124">
                  <c:v>0.3</c:v>
                </c:pt>
                <c:pt idx="125">
                  <c:v>0.3783783783783784</c:v>
                </c:pt>
                <c:pt idx="126">
                  <c:v>0.3103448275862069</c:v>
                </c:pt>
                <c:pt idx="127">
                  <c:v>0.20689655172413793</c:v>
                </c:pt>
                <c:pt idx="128">
                  <c:v>0.2916666666666667</c:v>
                </c:pt>
                <c:pt idx="129">
                  <c:v>0.05976095617529881</c:v>
                </c:pt>
              </c:numCache>
            </c:numRef>
          </c:yVal>
          <c:smooth val="0"/>
          <c:extLst>
            <c:ext xmlns:c16="http://schemas.microsoft.com/office/drawing/2014/chart" uri="{C3380CC4-5D6E-409C-BE32-E72D297353CC}">
              <c16:uniqueId val="{00000000-096C-4121-9522-6AB7243CCAAE}"/>
            </c:ext>
          </c:extLst>
        </c:ser>
        <c:ser>
          <c:idx val="1"/>
          <c:order val="1"/>
          <c:tx>
            <c:strRef>
              <c:f>Sheet1!$B$13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4:$A$160</c:f>
              <c:numCache>
                <c:formatCode>General</c:formatCode>
                <c:ptCount val="27"/>
                <c:pt idx="0">
                  <c:v>0.12985811730255792</c:v>
                </c:pt>
                <c:pt idx="1">
                  <c:v>0.11029143408551069</c:v>
                </c:pt>
                <c:pt idx="2">
                  <c:v>0.07775724781876626</c:v>
                </c:pt>
                <c:pt idx="3">
                  <c:v>0.09126423809237792</c:v>
                </c:pt>
                <c:pt idx="4">
                  <c:v>0.21807564302339333</c:v>
                </c:pt>
                <c:pt idx="5">
                  <c:v>0.10969424343136641</c:v>
                </c:pt>
                <c:pt idx="6">
                  <c:v>0.10819978012313106</c:v>
                </c:pt>
                <c:pt idx="7">
                  <c:v>0.12046352931752644</c:v>
                </c:pt>
                <c:pt idx="8">
                  <c:v>0.09007802932695258</c:v>
                </c:pt>
                <c:pt idx="9">
                  <c:v>0.10425280567040757</c:v>
                </c:pt>
                <c:pt idx="10">
                  <c:v>0.10184551674468852</c:v>
                </c:pt>
                <c:pt idx="11">
                  <c:v>0.28455370969079</c:v>
                </c:pt>
                <c:pt idx="12">
                  <c:v>0.15542857142857142</c:v>
                </c:pt>
                <c:pt idx="13">
                  <c:v>0.27676855895196506</c:v>
                </c:pt>
                <c:pt idx="14">
                  <c:v>0.10240033187226048</c:v>
                </c:pt>
                <c:pt idx="15">
                  <c:v>0.15084903973509933</c:v>
                </c:pt>
                <c:pt idx="16">
                  <c:v>0.14881011649905407</c:v>
                </c:pt>
                <c:pt idx="17">
                  <c:v>0.13347299674553612</c:v>
                </c:pt>
                <c:pt idx="18">
                  <c:v>0.21871654230158405</c:v>
                </c:pt>
                <c:pt idx="19">
                  <c:v>0.36253099069107947</c:v>
                </c:pt>
                <c:pt idx="20">
                  <c:v>0.217238203360128</c:v>
                </c:pt>
                <c:pt idx="21">
                  <c:v>0.30734507641710196</c:v>
                </c:pt>
                <c:pt idx="22">
                  <c:v>0.2844185336356765</c:v>
                </c:pt>
                <c:pt idx="23">
                  <c:v>0.19750356713879585</c:v>
                </c:pt>
                <c:pt idx="24">
                  <c:v>0.16539897270932988</c:v>
                </c:pt>
                <c:pt idx="25">
                  <c:v>0.23817304363898206</c:v>
                </c:pt>
                <c:pt idx="26">
                  <c:v>0.20596335378975056</c:v>
                </c:pt>
              </c:numCache>
            </c:numRef>
          </c:xVal>
          <c:yVal>
            <c:numRef>
              <c:f>Sheet1!$B$134:$B$160</c:f>
              <c:numCache>
                <c:formatCode>General</c:formatCode>
                <c:ptCount val="27"/>
                <c:pt idx="0">
                  <c:v>0.3382352941176471</c:v>
                </c:pt>
                <c:pt idx="1">
                  <c:v>0.3333333333333333</c:v>
                </c:pt>
                <c:pt idx="2">
                  <c:v>0.29473684210526313</c:v>
                </c:pt>
                <c:pt idx="3">
                  <c:v>0.3037974683544304</c:v>
                </c:pt>
                <c:pt idx="4">
                  <c:v>0.2916666666666667</c:v>
                </c:pt>
                <c:pt idx="5">
                  <c:v>0.2833333333333333</c:v>
                </c:pt>
                <c:pt idx="6">
                  <c:v>0.32142857142857145</c:v>
                </c:pt>
                <c:pt idx="7">
                  <c:v>0.375</c:v>
                </c:pt>
                <c:pt idx="8">
                  <c:v>0.28205128205128205</c:v>
                </c:pt>
                <c:pt idx="9">
                  <c:v>0.29411764705882354</c:v>
                </c:pt>
                <c:pt idx="10">
                  <c:v>0.3076923076923077</c:v>
                </c:pt>
                <c:pt idx="11">
                  <c:v>0.22580645161290322</c:v>
                </c:pt>
                <c:pt idx="12">
                  <c:v>0.2702702702702703</c:v>
                </c:pt>
                <c:pt idx="13">
                  <c:v>0.25806451612903225</c:v>
                </c:pt>
                <c:pt idx="14">
                  <c:v>0.34615384615384615</c:v>
                </c:pt>
                <c:pt idx="15">
                  <c:v>0.34210526315789475</c:v>
                </c:pt>
                <c:pt idx="16">
                  <c:v>0.14953271028037382</c:v>
                </c:pt>
                <c:pt idx="17">
                  <c:v>0.22</c:v>
                </c:pt>
                <c:pt idx="18">
                  <c:v>0.1875</c:v>
                </c:pt>
                <c:pt idx="19">
                  <c:v>0.1368421052631579</c:v>
                </c:pt>
                <c:pt idx="20">
                  <c:v>0.24705882352941178</c:v>
                </c:pt>
                <c:pt idx="21">
                  <c:v>0.2</c:v>
                </c:pt>
                <c:pt idx="22">
                  <c:v>0.2545454545454545</c:v>
                </c:pt>
                <c:pt idx="23">
                  <c:v>0.2222222222222222</c:v>
                </c:pt>
                <c:pt idx="24">
                  <c:v>0.2727272727272727</c:v>
                </c:pt>
                <c:pt idx="25">
                  <c:v>0.29931972789115646</c:v>
                </c:pt>
                <c:pt idx="26">
                  <c:v>0.272727272727272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187607183023345</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187607183023345</c:v>
                </c:pt>
                <c:pt idx="1">
                  <c:v>-0.13187607183023345</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18225063862928</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18225063862928</c:v>
                </c:pt>
                <c:pt idx="1">
                  <c:v>0.0918225063862928</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83121447109934</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83121447109934</c:v>
                </c:pt>
                <c:pt idx="1">
                  <c:v>0.283121447109934</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16</c:f>
              <c:numCache>
                <c:formatCode>General</c:formatCode>
                <c:ptCount val="30"/>
                <c:pt idx="0">
                  <c:v>0.12985811730255792</c:v>
                </c:pt>
                <c:pt idx="1">
                  <c:v>0.11029143408551069</c:v>
                </c:pt>
                <c:pt idx="2">
                  <c:v>0.07775724781876626</c:v>
                </c:pt>
                <c:pt idx="3">
                  <c:v>0.09126423809237792</c:v>
                </c:pt>
                <c:pt idx="4">
                  <c:v>0.21807564302339333</c:v>
                </c:pt>
                <c:pt idx="5">
                  <c:v>0.10969424343136641</c:v>
                </c:pt>
                <c:pt idx="6">
                  <c:v>0.10819978012313106</c:v>
                </c:pt>
                <c:pt idx="7">
                  <c:v>0.12046352931752644</c:v>
                </c:pt>
                <c:pt idx="8">
                  <c:v>0.09007802932695258</c:v>
                </c:pt>
                <c:pt idx="9">
                  <c:v>0.10425280567040757</c:v>
                </c:pt>
                <c:pt idx="10">
                  <c:v>0.10184551674468852</c:v>
                </c:pt>
                <c:pt idx="11">
                  <c:v>0.28455370969079</c:v>
                </c:pt>
                <c:pt idx="12">
                  <c:v>0.15542857142857142</c:v>
                </c:pt>
                <c:pt idx="13">
                  <c:v>0.27676855895196506</c:v>
                </c:pt>
                <c:pt idx="14">
                  <c:v>0.10240033187226048</c:v>
                </c:pt>
                <c:pt idx="15">
                  <c:v>0.15084903973509933</c:v>
                </c:pt>
                <c:pt idx="16">
                  <c:v>0.14881011649905407</c:v>
                </c:pt>
                <c:pt idx="17">
                  <c:v>0.13347299674553612</c:v>
                </c:pt>
                <c:pt idx="18">
                  <c:v>0.21871654230158405</c:v>
                </c:pt>
                <c:pt idx="19">
                  <c:v>0.36253099069107947</c:v>
                </c:pt>
                <c:pt idx="20">
                  <c:v>0.217238203360128</c:v>
                </c:pt>
                <c:pt idx="21">
                  <c:v>0.30734507641710196</c:v>
                </c:pt>
                <c:pt idx="22">
                  <c:v>0.2844185336356765</c:v>
                </c:pt>
                <c:pt idx="23">
                  <c:v>0.19750356713879585</c:v>
                </c:pt>
                <c:pt idx="24">
                  <c:v>0.16539897270932988</c:v>
                </c:pt>
                <c:pt idx="25">
                  <c:v>0.23817304363898206</c:v>
                </c:pt>
                <c:pt idx="26">
                  <c:v>0.20596335378975056</c:v>
                </c:pt>
                <c:pt idx="27">
                  <c:v>0.0918225063862928</c:v>
                </c:pt>
                <c:pt idx="28">
                  <c:v>-0.13187607183023345</c:v>
                </c:pt>
                <c:pt idx="29">
                  <c:v>0.283121447109934</c:v>
                </c:pt>
              </c:numCache>
            </c:numRef>
          </c:xVal>
          <c:yVal>
            <c:numRef>
              <c:f>Sheet1!$B$187:$B$216</c:f>
              <c:numCache>
                <c:formatCode>General</c:formatCode>
                <c:ptCount val="30"/>
                <c:pt idx="0">
                  <c:v>0.29251278435040656</c:v>
                </c:pt>
                <c:pt idx="1">
                  <c:v>0.3017276415400154</c:v>
                </c:pt>
                <c:pt idx="2">
                  <c:v>0.3170494963941375</c:v>
                </c:pt>
                <c:pt idx="3">
                  <c:v>0.3106884292141706</c:v>
                </c:pt>
                <c:pt idx="4">
                  <c:v>0.2509670664522446</c:v>
                </c:pt>
                <c:pt idx="5">
                  <c:v>0.30200888627280253</c:v>
                </c:pt>
                <c:pt idx="6">
                  <c:v>0.30271269824786945</c:v>
                </c:pt>
                <c:pt idx="7">
                  <c:v>0.2969371308621269</c:v>
                </c:pt>
                <c:pt idx="8">
                  <c:v>0.31124706985086953</c:v>
                </c:pt>
                <c:pt idx="9">
                  <c:v>0.30457151128784316</c:v>
                </c:pt>
                <c:pt idx="10">
                  <c:v>0.3057052151158533</c:v>
                </c:pt>
                <c:pt idx="11">
                  <c:v>0.21965946649847984</c:v>
                </c:pt>
                <c:pt idx="12">
                  <c:v>0.2804704734267355</c:v>
                </c:pt>
                <c:pt idx="13">
                  <c:v>0.22332585448371323</c:v>
                </c:pt>
                <c:pt idx="14">
                  <c:v>0.30544392698078726</c:v>
                </c:pt>
                <c:pt idx="15">
                  <c:v>0.2826271869628276</c:v>
                </c:pt>
                <c:pt idx="16">
                  <c:v>0.28358741032988066</c:v>
                </c:pt>
                <c:pt idx="17">
                  <c:v>0.290810370228647</c:v>
                </c:pt>
                <c:pt idx="18">
                  <c:v>0.2506652373044049</c:v>
                </c:pt>
                <c:pt idx="19">
                  <c:v>0.18293635402811287</c:v>
                </c:pt>
                <c:pt idx="20">
                  <c:v>0.25136145556849404</c:v>
                </c:pt>
                <c:pt idx="21">
                  <c:v>0.20892595652086693</c:v>
                </c:pt>
                <c:pt idx="22">
                  <c:v>0.21972312716234957</c:v>
                </c:pt>
                <c:pt idx="23">
                  <c:v>0.26065540960512</c:v>
                </c:pt>
                <c:pt idx="24">
                  <c:v>0.27577494977021527</c:v>
                </c:pt>
                <c:pt idx="25">
                  <c:v>0.24150226986404927</c:v>
                </c:pt>
                <c:pt idx="26">
                  <c:v>0.2566713043289029</c:v>
                </c:pt>
                <c:pt idx="27">
                  <c:v>0.31042551482317</c:v>
                </c:pt>
                <c:pt idx="28">
                  <c:v>0.41577553398165007</c:v>
                </c:pt>
                <c:pt idx="29">
                  <c:v>0.220333985270731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2516652899557895</c:v>
                </c:pt>
                <c:pt idx="3">
                  <c:v>0.198301369739071</c:v>
                </c:pt>
                <c:pt idx="4">
                  <c:v>0.2633844806219298</c:v>
                </c:pt>
                <c:pt idx="5">
                  <c:v>0.16316710034292017</c:v>
                </c:pt>
                <c:pt idx="6">
                  <c:v>0.25252062057041924</c:v>
                </c:pt>
                <c:pt idx="7">
                  <c:v>0.4182252616316651</c:v>
                </c:pt>
                <c:pt idx="8">
                  <c:v>0.2529146479448628</c:v>
                </c:pt>
                <c:pt idx="9">
                  <c:v>0.276774345316833</c:v>
                </c:pt>
                <c:pt idx="10">
                  <c:v>0.27574899911712797</c:v>
                </c:pt>
                <c:pt idx="11">
                  <c:v>0.27195771394156665</c:v>
                </c:pt>
                <c:pt idx="12">
                  <c:v>0.24364301830552776</c:v>
                </c:pt>
                <c:pt idx="13">
                  <c:v>0.17996872759687477</c:v>
                </c:pt>
                <c:pt idx="14">
                  <c:v>0.19378820564420127</c:v>
                </c:pt>
                <c:pt idx="15">
                  <c:v>0.2832435011077785</c:v>
                </c:pt>
                <c:pt idx="16">
                  <c:v>0.2045699814232304</c:v>
                </c:pt>
                <c:pt idx="17">
                  <c:v>0.12366278026179024</c:v>
                </c:pt>
                <c:pt idx="18">
                  <c:v>0.18015202948165993</c:v>
                </c:pt>
                <c:pt idx="19">
                  <c:v>0.1459204719600862</c:v>
                </c:pt>
                <c:pt idx="20">
                  <c:v>0.18196126141602384</c:v>
                </c:pt>
                <c:pt idx="21">
                  <c:v>0.05718036981778827</c:v>
                </c:pt>
                <c:pt idx="22">
                  <c:v>0.08663905026457439</c:v>
                </c:pt>
                <c:pt idx="23">
                  <c:v>0.39277673977097416</c:v>
                </c:pt>
                <c:pt idx="24">
                  <c:v>0.3909875216925962</c:v>
                </c:pt>
                <c:pt idx="25">
                  <c:v>0.5455030263251127</c:v>
                </c:pt>
                <c:pt idx="26">
                  <c:v>0.31485549984648226</c:v>
                </c:pt>
                <c:pt idx="27">
                  <c:v>0.48386121353762024</c:v>
                </c:pt>
                <c:pt idx="28">
                  <c:v>0.3989097516765878</c:v>
                </c:pt>
                <c:pt idx="29">
                  <c:v>0.3381107867612706</c:v>
                </c:pt>
                <c:pt idx="30">
                  <c:v>0.2786005969684743</c:v>
                </c:pt>
                <c:pt idx="31">
                  <c:v>0.5214171123708481</c:v>
                </c:pt>
                <c:pt idx="32">
                  <c:v>0.0</c:v>
                </c:pt>
                <c:pt idx="33">
                  <c:v>0.5066401062416999</c:v>
                </c:pt>
                <c:pt idx="34">
                  <c:v>0.5119812763577972</c:v>
                </c:pt>
                <c:pt idx="35">
                  <c:v>0.41434392523711533</c:v>
                </c:pt>
                <c:pt idx="36">
                  <c:v>0.33891884557206253</c:v>
                </c:pt>
                <c:pt idx="37">
                  <c:v>0.27272038389053904</c:v>
                </c:pt>
                <c:pt idx="38">
                  <c:v>0.44094461533742135</c:v>
                </c:pt>
                <c:pt idx="39">
                  <c:v>0.36009909645623783</c:v>
                </c:pt>
                <c:pt idx="40">
                  <c:v>0.4740434662984638</c:v>
                </c:pt>
                <c:pt idx="41">
                  <c:v>0.7351262456366394</c:v>
                </c:pt>
                <c:pt idx="42">
                  <c:v>0.3291709868150473</c:v>
                </c:pt>
                <c:pt idx="43">
                  <c:v>0.34576419654686397</c:v>
                </c:pt>
                <c:pt idx="44">
                  <c:v>0.2186499491896004</c:v>
                </c:pt>
                <c:pt idx="45">
                  <c:v>0.19296361230737052</c:v>
                </c:pt>
                <c:pt idx="46">
                  <c:v>0.19097391468179697</c:v>
                </c:pt>
                <c:pt idx="47">
                  <c:v>0.2689470144280732</c:v>
                </c:pt>
                <c:pt idx="48">
                  <c:v>0.43982041759480217</c:v>
                </c:pt>
                <c:pt idx="49">
                  <c:v>0.47707816097980515</c:v>
                </c:pt>
                <c:pt idx="50">
                  <c:v>0.42482940469947045</c:v>
                </c:pt>
                <c:pt idx="51">
                  <c:v>0.5397784866343207</c:v>
                </c:pt>
                <c:pt idx="52">
                  <c:v>0.464016964073946</c:v>
                </c:pt>
              </c:numCache>
            </c:numRef>
          </c:xVal>
          <c:yVal>
            <c:numRef>
              <c:f>Sheet1!$B$2:$B$54</c:f>
              <c:numCache>
                <c:formatCode>General</c:formatCode>
                <c:ptCount val="53"/>
                <c:pt idx="0">
                  <c:v>0.0</c:v>
                </c:pt>
                <c:pt idx="1">
                  <c:v>0.0</c:v>
                </c:pt>
                <c:pt idx="2">
                  <c:v>0.00025660764690787786</c:v>
                </c:pt>
                <c:pt idx="3">
                  <c:v>0.00027329871549603714</c:v>
                </c:pt>
                <c:pt idx="4">
                  <c:v>0.00025484199796126404</c:v>
                </c:pt>
                <c:pt idx="5">
                  <c:v>0.00019496977968414895</c:v>
                </c:pt>
                <c:pt idx="6">
                  <c:v>0.00017421602787456446</c:v>
                </c:pt>
                <c:pt idx="7">
                  <c:v>9.868745682423764e-05</c:v>
                </c:pt>
                <c:pt idx="8">
                  <c:v>0.0003387916431394692</c:v>
                </c:pt>
                <c:pt idx="9">
                  <c:v>0.00047266425082716245</c:v>
                </c:pt>
                <c:pt idx="10">
                  <c:v>0.0003390405153415833</c:v>
                </c:pt>
                <c:pt idx="11">
                  <c:v>0.0004418912947414936</c:v>
                </c:pt>
                <c:pt idx="12">
                  <c:v>0.0006092916984006092</c:v>
                </c:pt>
                <c:pt idx="13">
                  <c:v>0.0004977600796416127</c:v>
                </c:pt>
                <c:pt idx="14">
                  <c:v>0.0005326704545454545</c:v>
                </c:pt>
                <c:pt idx="15">
                  <c:v>0.0003884249368809478</c:v>
                </c:pt>
                <c:pt idx="16">
                  <c:v>0.000664599025254763</c:v>
                </c:pt>
                <c:pt idx="17">
                  <c:v>0.0012987012987012987</c:v>
                </c:pt>
                <c:pt idx="18">
                  <c:v>0.00030525030525030525</c:v>
                </c:pt>
                <c:pt idx="19">
                  <c:v>0.000984251968503937</c:v>
                </c:pt>
                <c:pt idx="20">
                  <c:v>0.0007017543859649122</c:v>
                </c:pt>
                <c:pt idx="21">
                  <c:v>0.001162340178225494</c:v>
                </c:pt>
                <c:pt idx="22">
                  <c:v>0.0007410151908114116</c:v>
                </c:pt>
                <c:pt idx="23">
                  <c:v>0.0005136106831022085</c:v>
                </c:pt>
                <c:pt idx="24">
                  <c:v>0.0012135922330097086</c:v>
                </c:pt>
                <c:pt idx="25">
                  <c:v>0.0011198208286674132</c:v>
                </c:pt>
                <c:pt idx="26">
                  <c:v>0.001352265043948614</c:v>
                </c:pt>
                <c:pt idx="27">
                  <c:v>0.001375515818431912</c:v>
                </c:pt>
                <c:pt idx="28">
                  <c:v>0.0007407407407407407</c:v>
                </c:pt>
                <c:pt idx="29">
                  <c:v>0.0017605633802816902</c:v>
                </c:pt>
                <c:pt idx="30">
                  <c:v>0.0029218407596785976</c:v>
                </c:pt>
                <c:pt idx="31">
                  <c:v>0.0017467248908296944</c:v>
                </c:pt>
                <c:pt idx="32">
                  <c:v>0.0</c:v>
                </c:pt>
                <c:pt idx="33">
                  <c:v>0.001463057790782736</c:v>
                </c:pt>
                <c:pt idx="34">
                  <c:v>0.0024509803921568627</c:v>
                </c:pt>
                <c:pt idx="35">
                  <c:v>0.0025823111684958036</c:v>
                </c:pt>
                <c:pt idx="36">
                  <c:v>0.0031720856463124504</c:v>
                </c:pt>
                <c:pt idx="37">
                  <c:v>0.005649717514124294</c:v>
                </c:pt>
                <c:pt idx="38">
                  <c:v>0.00267379679144385</c:v>
                </c:pt>
                <c:pt idx="39">
                  <c:v>0.003117692907248636</c:v>
                </c:pt>
                <c:pt idx="40">
                  <c:v>0.002168021680216802</c:v>
                </c:pt>
                <c:pt idx="41">
                  <c:v>0.0011280315848843769</c:v>
                </c:pt>
                <c:pt idx="42">
                  <c:v>0.0031847133757961785</c:v>
                </c:pt>
                <c:pt idx="43">
                  <c:v>0.0031717263253285004</c:v>
                </c:pt>
                <c:pt idx="44">
                  <c:v>0.005729017473503294</c:v>
                </c:pt>
                <c:pt idx="45">
                  <c:v>0.008791832104367556</c:v>
                </c:pt>
                <c:pt idx="46">
                  <c:v>0.007398273736128237</c:v>
                </c:pt>
                <c:pt idx="47">
                  <c:v>0.0051313628899835794</c:v>
                </c:pt>
                <c:pt idx="48">
                  <c:v>0.002486016159105034</c:v>
                </c:pt>
                <c:pt idx="49">
                  <c:v>0.0034393809114359416</c:v>
                </c:pt>
                <c:pt idx="50">
                  <c:v>0.0038642009384487995</c:v>
                </c:pt>
                <c:pt idx="51">
                  <c:v>0.002376990729736154</c:v>
                </c:pt>
                <c:pt idx="52">
                  <c:v>0.00220696419813634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5467896179400726</c:v>
                </c:pt>
                <c:pt idx="1">
                  <c:v>0.3989005105281496</c:v>
                </c:pt>
                <c:pt idx="2">
                  <c:v>0.5335611696883127</c:v>
                </c:pt>
                <c:pt idx="3">
                  <c:v>0.35261269296941866</c:v>
                </c:pt>
                <c:pt idx="4">
                  <c:v>0.47141136423847385</c:v>
                </c:pt>
                <c:pt idx="5">
                  <c:v>0.5562201959417122</c:v>
                </c:pt>
                <c:pt idx="6">
                  <c:v>0.5568092541311702</c:v>
                </c:pt>
                <c:pt idx="7">
                  <c:v>0.4757525347380139</c:v>
                </c:pt>
                <c:pt idx="8">
                  <c:v>0.586380105218146</c:v>
                </c:pt>
                <c:pt idx="9">
                  <c:v>0.5597640229105523</c:v>
                </c:pt>
                <c:pt idx="10">
                  <c:v>0.5686456101991713</c:v>
                </c:pt>
                <c:pt idx="11">
                  <c:v>0.5185690572178646</c:v>
                </c:pt>
                <c:pt idx="12">
                  <c:v>0.42440439313448064</c:v>
                </c:pt>
                <c:pt idx="13">
                  <c:v>0.3989199640917771</c:v>
                </c:pt>
                <c:pt idx="14">
                  <c:v>0.3838819204757264</c:v>
                </c:pt>
                <c:pt idx="15">
                  <c:v>0.4180449329230817</c:v>
                </c:pt>
                <c:pt idx="16">
                  <c:v>0.39932313067683395</c:v>
                </c:pt>
                <c:pt idx="17">
                  <c:v>0.3634144020658679</c:v>
                </c:pt>
                <c:pt idx="18">
                  <c:v>0.37186229114148145</c:v>
                </c:pt>
                <c:pt idx="19">
                  <c:v>0.6152493105472386</c:v>
                </c:pt>
                <c:pt idx="20">
                  <c:v>0.4012945239447999</c:v>
                </c:pt>
                <c:pt idx="21">
                  <c:v>0.45699641702733795</c:v>
                </c:pt>
                <c:pt idx="22">
                  <c:v>0.43324186166009565</c:v>
                </c:pt>
                <c:pt idx="23">
                  <c:v>0.5096776013124047</c:v>
                </c:pt>
                <c:pt idx="24">
                  <c:v>0.38614475793444486</c:v>
                </c:pt>
                <c:pt idx="25">
                  <c:v>0.3257711500633824</c:v>
                </c:pt>
                <c:pt idx="26">
                  <c:v>0.3775769551986335</c:v>
                </c:pt>
                <c:pt idx="27">
                  <c:v>0.3859333797483067</c:v>
                </c:pt>
                <c:pt idx="28">
                  <c:v>0.47775332393100145</c:v>
                </c:pt>
                <c:pt idx="29">
                  <c:v>0.5703797169832127</c:v>
                </c:pt>
                <c:pt idx="30">
                  <c:v>0.3216162825169633</c:v>
                </c:pt>
                <c:pt idx="31">
                  <c:v>0.4146488980336327</c:v>
                </c:pt>
                <c:pt idx="32">
                  <c:v>0.5557160505260289</c:v>
                </c:pt>
                <c:pt idx="33">
                  <c:v>0.5079476416239423</c:v>
                </c:pt>
                <c:pt idx="34">
                  <c:v>0.5453635806834043</c:v>
                </c:pt>
                <c:pt idx="35">
                  <c:v>0.4141462935996248</c:v>
                </c:pt>
                <c:pt idx="36">
                  <c:v>0.3744797470497671</c:v>
                </c:pt>
                <c:pt idx="37">
                  <c:v>0.3495526633066135</c:v>
                </c:pt>
                <c:pt idx="38">
                  <c:v>0.3414320655041826</c:v>
                </c:pt>
                <c:pt idx="39">
                  <c:v>0.32907153846097215</c:v>
                </c:pt>
                <c:pt idx="40">
                  <c:v>0.4924004772281707</c:v>
                </c:pt>
                <c:pt idx="41">
                  <c:v>0.5080367642099628</c:v>
                </c:pt>
                <c:pt idx="42">
                  <c:v>0.4033960647963816</c:v>
                </c:pt>
                <c:pt idx="43">
                  <c:v>0.48526891567199737</c:v>
                </c:pt>
                <c:pt idx="44">
                  <c:v>0.5414781601320571</c:v>
                </c:pt>
                <c:pt idx="45">
                  <c:v>0.4411035232509465</c:v>
                </c:pt>
                <c:pt idx="46">
                  <c:v>0.4663415008891177</c:v>
                </c:pt>
                <c:pt idx="47">
                  <c:v>0.4893720053838144</c:v>
                </c:pt>
                <c:pt idx="48">
                  <c:v>0.5301990452657835</c:v>
                </c:pt>
                <c:pt idx="49">
                  <c:v>0.5471365105993492</c:v>
                </c:pt>
                <c:pt idx="50">
                  <c:v>0.5476442426350113</c:v>
                </c:pt>
                <c:pt idx="51">
                  <c:v>0.5238124779139354</c:v>
                </c:pt>
              </c:numCache>
            </c:numRef>
          </c:xVal>
          <c:yVal>
            <c:numRef>
              <c:f>Sheet1!$B$57:$B$108</c:f>
              <c:numCache>
                <c:formatCode>General</c:formatCode>
                <c:ptCount val="52"/>
                <c:pt idx="0">
                  <c:v>0.0018244475978106628</c:v>
                </c:pt>
                <c:pt idx="1">
                  <c:v>0.0027088976870181286</c:v>
                </c:pt>
                <c:pt idx="2">
                  <c:v>0.0020700037636432068</c:v>
                </c:pt>
                <c:pt idx="3">
                  <c:v>0.002414209346439041</c:v>
                </c:pt>
                <c:pt idx="4">
                  <c:v>0.0024752475247524753</c:v>
                </c:pt>
                <c:pt idx="5">
                  <c:v>0.0021916716477385933</c:v>
                </c:pt>
                <c:pt idx="6">
                  <c:v>0.001764234161988773</c:v>
                </c:pt>
                <c:pt idx="7">
                  <c:v>0.0024489795918367346</c:v>
                </c:pt>
                <c:pt idx="8">
                  <c:v>0.002201565557729941</c:v>
                </c:pt>
                <c:pt idx="9">
                  <c:v>0.0027913468248429866</c:v>
                </c:pt>
                <c:pt idx="10">
                  <c:v>0.002651880424300868</c:v>
                </c:pt>
                <c:pt idx="11">
                  <c:v>0.002297225658243506</c:v>
                </c:pt>
                <c:pt idx="12">
                  <c:v>0.003094606542882405</c:v>
                </c:pt>
                <c:pt idx="13">
                  <c:v>0.0038918918918918917</c:v>
                </c:pt>
                <c:pt idx="14">
                  <c:v>0.005332040717401842</c:v>
                </c:pt>
                <c:pt idx="15">
                  <c:v>0.0042294475284166</c:v>
                </c:pt>
                <c:pt idx="16">
                  <c:v>0.0044444444444444444</c:v>
                </c:pt>
                <c:pt idx="17">
                  <c:v>0.0051660516605166054</c:v>
                </c:pt>
                <c:pt idx="18">
                  <c:v>0.004235044997353097</c:v>
                </c:pt>
                <c:pt idx="19">
                  <c:v>0.0024342745861733205</c:v>
                </c:pt>
                <c:pt idx="20">
                  <c:v>0.0039273441335297005</c:v>
                </c:pt>
                <c:pt idx="21">
                  <c:v>0.004310344827586207</c:v>
                </c:pt>
                <c:pt idx="22">
                  <c:v>0.002798507462686567</c:v>
                </c:pt>
                <c:pt idx="23">
                  <c:v>0.002206287920573635</c:v>
                </c:pt>
                <c:pt idx="24">
                  <c:v>0.0035460992907801418</c:v>
                </c:pt>
                <c:pt idx="25">
                  <c:v>0.003963011889035667</c:v>
                </c:pt>
                <c:pt idx="26">
                  <c:v>0.0029940119760479044</c:v>
                </c:pt>
                <c:pt idx="27">
                  <c:v>0.0031665611146295125</c:v>
                </c:pt>
                <c:pt idx="28">
                  <c:v>0.0028636884306987398</c:v>
                </c:pt>
                <c:pt idx="29">
                  <c:v>0.0026954177897574125</c:v>
                </c:pt>
                <c:pt idx="30">
                  <c:v>0.004922067268252666</c:v>
                </c:pt>
                <c:pt idx="31">
                  <c:v>0.0041279669762641896</c:v>
                </c:pt>
                <c:pt idx="32">
                  <c:v>0.0032733224222585926</c:v>
                </c:pt>
                <c:pt idx="33">
                  <c:v>0.0036023054755043226</c:v>
                </c:pt>
                <c:pt idx="34">
                  <c:v>0.0036652412950519244</c:v>
                </c:pt>
                <c:pt idx="35">
                  <c:v>0.004559270516717325</c:v>
                </c:pt>
                <c:pt idx="36">
                  <c:v>0.006002400960384154</c:v>
                </c:pt>
                <c:pt idx="37">
                  <c:v>0.007231404958677686</c:v>
                </c:pt>
                <c:pt idx="38">
                  <c:v>0.005649717514124294</c:v>
                </c:pt>
                <c:pt idx="39">
                  <c:v>0.003912363067292645</c:v>
                </c:pt>
                <c:pt idx="40">
                  <c:v>0.0027593818984547464</c:v>
                </c:pt>
                <c:pt idx="41">
                  <c:v>0.003132832080200501</c:v>
                </c:pt>
                <c:pt idx="42">
                  <c:v>0.003671071953010279</c:v>
                </c:pt>
                <c:pt idx="43">
                  <c:v>0.0026929982046678637</c:v>
                </c:pt>
                <c:pt idx="44">
                  <c:v>0.002976190476190476</c:v>
                </c:pt>
                <c:pt idx="45">
                  <c:v>0.002688172043010753</c:v>
                </c:pt>
                <c:pt idx="46">
                  <c:v>0.0027063599458728013</c:v>
                </c:pt>
                <c:pt idx="47">
                  <c:v>0.0026455026455026454</c:v>
                </c:pt>
                <c:pt idx="48">
                  <c:v>0.002089427496865859</c:v>
                </c:pt>
                <c:pt idx="49">
                  <c:v>0.002346958732642284</c:v>
                </c:pt>
                <c:pt idx="50">
                  <c:v>0.002246925260170293</c:v>
                </c:pt>
                <c:pt idx="51">
                  <c:v>0.00270880361173814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3783251333987646</c:v>
                </c:pt>
              </c:numCache>
            </c:numRef>
          </c:xVal>
          <c:yVal>
            <c:numRef>
              <c:f>Sheet1!$B$111:$B$112</c:f>
              <c:numCache>
                <c:formatCode>General</c:formatCode>
                <c:ptCount val="2"/>
                <c:pt idx="0">
                  <c:v>0.004138637552957137</c:v>
                </c:pt>
                <c:pt idx="1">
                  <c:v>0.00413863755295713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3783251333987646</c:v>
                </c:pt>
                <c:pt idx="1">
                  <c:v>0.3783251333987646</c:v>
                </c:pt>
              </c:numCache>
            </c:numRef>
          </c:xVal>
          <c:yVal>
            <c:numRef>
              <c:f>Sheet1!$B$115:$B$116</c:f>
              <c:numCache>
                <c:formatCode>General</c:formatCode>
                <c:ptCount val="2"/>
                <c:pt idx="0">
                  <c:v>0.0041386375529571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40295566207297817</c:v>
                </c:pt>
              </c:numCache>
            </c:numRef>
          </c:xVal>
          <c:yVal>
            <c:numRef>
              <c:f>Sheet1!$B$119:$B$120</c:f>
              <c:numCache>
                <c:formatCode>General</c:formatCode>
                <c:ptCount val="2"/>
                <c:pt idx="0">
                  <c:v>0.0038944358664697054</c:v>
                </c:pt>
                <c:pt idx="1">
                  <c:v>0.0038944358664697054</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0295566207297817</c:v>
                </c:pt>
                <c:pt idx="1">
                  <c:v>0.40295566207297817</c:v>
                </c:pt>
              </c:numCache>
            </c:numRef>
          </c:xVal>
          <c:yVal>
            <c:numRef>
              <c:f>Sheet1!$B$123:$B$124</c:f>
              <c:numCache>
                <c:formatCode>General</c:formatCode>
                <c:ptCount val="2"/>
                <c:pt idx="0">
                  <c:v>0.00389443586646970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5119688474279992</c:v>
                </c:pt>
              </c:numCache>
            </c:numRef>
          </c:xVal>
          <c:yVal>
            <c:numRef>
              <c:f>Sheet1!$B$127:$B$128</c:f>
              <c:numCache>
                <c:formatCode>General</c:formatCode>
                <c:ptCount val="2"/>
                <c:pt idx="0">
                  <c:v>0.0028136144165860997</c:v>
                </c:pt>
                <c:pt idx="1">
                  <c:v>0.0028136144165860997</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5119688474279992</c:v>
                </c:pt>
                <c:pt idx="1">
                  <c:v>0.5119688474279992</c:v>
                </c:pt>
              </c:numCache>
            </c:numRef>
          </c:xVal>
          <c:yVal>
            <c:numRef>
              <c:f>Sheet1!$B$131:$B$132</c:f>
              <c:numCache>
                <c:formatCode>General</c:formatCode>
                <c:ptCount val="2"/>
                <c:pt idx="0">
                  <c:v>0.00281361441658609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5467896179400726</c:v>
                </c:pt>
                <c:pt idx="1">
                  <c:v>0.3989005105281496</c:v>
                </c:pt>
                <c:pt idx="2">
                  <c:v>0.5335611696883127</c:v>
                </c:pt>
                <c:pt idx="3">
                  <c:v>0.35261269296941866</c:v>
                </c:pt>
                <c:pt idx="4">
                  <c:v>0.47141136423847385</c:v>
                </c:pt>
                <c:pt idx="5">
                  <c:v>0.5562201959417122</c:v>
                </c:pt>
                <c:pt idx="6">
                  <c:v>0.5568092541311702</c:v>
                </c:pt>
                <c:pt idx="7">
                  <c:v>0.4757525347380139</c:v>
                </c:pt>
                <c:pt idx="8">
                  <c:v>0.586380105218146</c:v>
                </c:pt>
                <c:pt idx="9">
                  <c:v>0.5597640229105523</c:v>
                </c:pt>
                <c:pt idx="10">
                  <c:v>0.5686456101991713</c:v>
                </c:pt>
                <c:pt idx="11">
                  <c:v>0.5185690572178646</c:v>
                </c:pt>
                <c:pt idx="12">
                  <c:v>0.42440439313448064</c:v>
                </c:pt>
                <c:pt idx="13">
                  <c:v>0.3989199640917771</c:v>
                </c:pt>
                <c:pt idx="14">
                  <c:v>0.3838819204757264</c:v>
                </c:pt>
                <c:pt idx="15">
                  <c:v>0.4180449329230817</c:v>
                </c:pt>
                <c:pt idx="16">
                  <c:v>0.39932313067683395</c:v>
                </c:pt>
                <c:pt idx="17">
                  <c:v>0.3634144020658679</c:v>
                </c:pt>
                <c:pt idx="18">
                  <c:v>0.37186229114148145</c:v>
                </c:pt>
                <c:pt idx="19">
                  <c:v>0.6152493105472386</c:v>
                </c:pt>
                <c:pt idx="20">
                  <c:v>0.4012945239447999</c:v>
                </c:pt>
                <c:pt idx="21">
                  <c:v>0.45699641702733795</c:v>
                </c:pt>
                <c:pt idx="22">
                  <c:v>0.43324186166009565</c:v>
                </c:pt>
                <c:pt idx="23">
                  <c:v>0.5096776013124047</c:v>
                </c:pt>
                <c:pt idx="24">
                  <c:v>0.38614475793444486</c:v>
                </c:pt>
                <c:pt idx="25">
                  <c:v>0.3257711500633824</c:v>
                </c:pt>
                <c:pt idx="26">
                  <c:v>0.3775769551986335</c:v>
                </c:pt>
                <c:pt idx="27">
                  <c:v>0.3859333797483067</c:v>
                </c:pt>
                <c:pt idx="28">
                  <c:v>0.47775332393100145</c:v>
                </c:pt>
                <c:pt idx="29">
                  <c:v>0.5703797169832127</c:v>
                </c:pt>
                <c:pt idx="30">
                  <c:v>0.3216162825169633</c:v>
                </c:pt>
                <c:pt idx="31">
                  <c:v>0.4146488980336327</c:v>
                </c:pt>
                <c:pt idx="32">
                  <c:v>0.5557160505260289</c:v>
                </c:pt>
                <c:pt idx="33">
                  <c:v>0.5079476416239423</c:v>
                </c:pt>
                <c:pt idx="34">
                  <c:v>0.5453635806834043</c:v>
                </c:pt>
                <c:pt idx="35">
                  <c:v>0.4141462935996248</c:v>
                </c:pt>
                <c:pt idx="36">
                  <c:v>0.3744797470497671</c:v>
                </c:pt>
                <c:pt idx="37">
                  <c:v>0.3495526633066135</c:v>
                </c:pt>
                <c:pt idx="38">
                  <c:v>0.3414320655041826</c:v>
                </c:pt>
                <c:pt idx="39">
                  <c:v>0.32907153846097215</c:v>
                </c:pt>
                <c:pt idx="40">
                  <c:v>0.4924004772281707</c:v>
                </c:pt>
                <c:pt idx="41">
                  <c:v>0.5080367642099628</c:v>
                </c:pt>
                <c:pt idx="42">
                  <c:v>0.4033960647963816</c:v>
                </c:pt>
                <c:pt idx="43">
                  <c:v>0.48526891567199737</c:v>
                </c:pt>
                <c:pt idx="44">
                  <c:v>0.5414781601320571</c:v>
                </c:pt>
                <c:pt idx="45">
                  <c:v>0.4411035232509465</c:v>
                </c:pt>
                <c:pt idx="46">
                  <c:v>0.4663415008891177</c:v>
                </c:pt>
                <c:pt idx="47">
                  <c:v>0.4893720053838144</c:v>
                </c:pt>
                <c:pt idx="48">
                  <c:v>0.5301990452657835</c:v>
                </c:pt>
                <c:pt idx="49">
                  <c:v>0.5471365105993492</c:v>
                </c:pt>
                <c:pt idx="50">
                  <c:v>0.5476442426350113</c:v>
                </c:pt>
                <c:pt idx="51">
                  <c:v>0.5238124779139354</c:v>
                </c:pt>
                <c:pt idx="52">
                  <c:v>0.40295566207297817</c:v>
                </c:pt>
                <c:pt idx="53">
                  <c:v>0.3783251333987646</c:v>
                </c:pt>
                <c:pt idx="54">
                  <c:v>0.5119688474279992</c:v>
                </c:pt>
              </c:numCache>
            </c:numRef>
          </c:xVal>
          <c:yVal>
            <c:numRef>
              <c:f>Sheet1!$B$135:$B$189</c:f>
              <c:numCache>
                <c:formatCode>General</c:formatCode>
                <c:ptCount val="55"/>
                <c:pt idx="0">
                  <c:v>0.0024683806217166235</c:v>
                </c:pt>
                <c:pt idx="1">
                  <c:v>0.003934641046768819</c:v>
                </c:pt>
                <c:pt idx="2">
                  <c:v>0.0025995353125241143</c:v>
                </c:pt>
                <c:pt idx="3">
                  <c:v>0.004393565955006729</c:v>
                </c:pt>
                <c:pt idx="4">
                  <c:v>0.0032157253873074387</c:v>
                </c:pt>
                <c:pt idx="5">
                  <c:v>0.00237488027168302</c:v>
                </c:pt>
                <c:pt idx="6">
                  <c:v>0.002369039999019467</c:v>
                </c:pt>
                <c:pt idx="7">
                  <c:v>0.0031726844452578656</c:v>
                </c:pt>
                <c:pt idx="8">
                  <c:v>0.00207585702264802</c:v>
                </c:pt>
                <c:pt idx="9">
                  <c:v>0.0023397446668465558</c:v>
                </c:pt>
                <c:pt idx="10">
                  <c:v>0.0022516873367236833</c:v>
                </c:pt>
                <c:pt idx="11">
                  <c:v>0.00274817601763109</c:v>
                </c:pt>
                <c:pt idx="12">
                  <c:v>0.0036817804108148734</c:v>
                </c:pt>
                <c:pt idx="13">
                  <c:v>0.003934448172587803</c:v>
                </c:pt>
                <c:pt idx="14">
                  <c:v>0.0040835442663454576</c:v>
                </c:pt>
                <c:pt idx="15">
                  <c:v>0.0037448318754957433</c:v>
                </c:pt>
                <c:pt idx="16">
                  <c:v>0.003930450939669723</c:v>
                </c:pt>
                <c:pt idx="17">
                  <c:v>0.00428647139714362</c:v>
                </c:pt>
                <c:pt idx="18">
                  <c:v>0.004202714008627498</c:v>
                </c:pt>
                <c:pt idx="19">
                  <c:v>0.0017896305789461778</c:v>
                </c:pt>
                <c:pt idx="20">
                  <c:v>0.003910905376229534</c:v>
                </c:pt>
                <c:pt idx="21">
                  <c:v>0.003358643733322157</c:v>
                </c:pt>
                <c:pt idx="22">
                  <c:v>0.0035941605003054333</c:v>
                </c:pt>
                <c:pt idx="23">
                  <c:v>0.0028363311910811493</c:v>
                </c:pt>
                <c:pt idx="24">
                  <c:v>0.004061109152143281</c:v>
                </c:pt>
                <c:pt idx="25">
                  <c:v>0.004659688949453096</c:v>
                </c:pt>
                <c:pt idx="26">
                  <c:v>0.004146055435889404</c:v>
                </c:pt>
                <c:pt idx="27">
                  <c:v>0.004063204880993617</c:v>
                </c:pt>
                <c:pt idx="28">
                  <c:v>0.0031528474331621844</c:v>
                </c:pt>
                <c:pt idx="29">
                  <c:v>0.002234494372382014</c:v>
                </c:pt>
                <c:pt idx="30">
                  <c:v>0.004700882773401735</c:v>
                </c:pt>
                <c:pt idx="31">
                  <c:v>0.003778502181900569</c:v>
                </c:pt>
                <c:pt idx="32">
                  <c:v>0.0023798786686875344</c:v>
                </c:pt>
                <c:pt idx="33">
                  <c:v>0.002853483038654769</c:v>
                </c:pt>
                <c:pt idx="34">
                  <c:v>0.002482519201837192</c:v>
                </c:pt>
                <c:pt idx="35">
                  <c:v>0.0037834853006977424</c:v>
                </c:pt>
                <c:pt idx="36">
                  <c:v>0.0041767629965495864</c:v>
                </c:pt>
                <c:pt idx="37">
                  <c:v>0.004423904906080115</c:v>
                </c:pt>
                <c:pt idx="38">
                  <c:v>0.004504417334573617</c:v>
                </c:pt>
                <c:pt idx="39">
                  <c:v>0.004626966939161911</c:v>
                </c:pt>
                <c:pt idx="40">
                  <c:v>0.003007626858130297</c:v>
                </c:pt>
                <c:pt idx="41">
                  <c:v>0.0028525994244174057</c:v>
                </c:pt>
                <c:pt idx="42">
                  <c:v>0.003890069452365838</c:v>
                </c:pt>
                <c:pt idx="43">
                  <c:v>0.003078333394004606</c:v>
                </c:pt>
                <c:pt idx="44">
                  <c:v>0.002521041568283401</c:v>
                </c:pt>
                <c:pt idx="45">
                  <c:v>0.0035162153191656883</c:v>
                </c:pt>
                <c:pt idx="46">
                  <c:v>0.0032659910229561676</c:v>
                </c:pt>
                <c:pt idx="47">
                  <c:v>0.003037652926253056</c:v>
                </c:pt>
                <c:pt idx="48">
                  <c:v>0.0026328694104244066</c:v>
                </c:pt>
                <c:pt idx="49">
                  <c:v>0.0024649413219132808</c:v>
                </c:pt>
                <c:pt idx="50">
                  <c:v>0.00245990736502862</c:v>
                </c:pt>
                <c:pt idx="51">
                  <c:v>0.0026961896313914746</c:v>
                </c:pt>
                <c:pt idx="52">
                  <c:v>0.003894435866469705</c:v>
                </c:pt>
                <c:pt idx="53">
                  <c:v>0.004138637552957137</c:v>
                </c:pt>
                <c:pt idx="54">
                  <c:v>0.00281361441658609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5501985252410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2.6212</c:v>
                </c:pt>
                <c:pt idx="1">
                  <c:v>1059.6667</c:v>
                </c:pt>
                <c:pt idx="2">
                  <c:v>1205.4259</c:v>
                </c:pt>
                <c:pt idx="3">
                  <c:v>1201.5</c:v>
                </c:pt>
                <c:pt idx="4">
                  <c:v>1162.1111</c:v>
                </c:pt>
                <c:pt idx="5">
                  <c:v>1182.4146</c:v>
                </c:pt>
                <c:pt idx="6">
                  <c:v>1189.122</c:v>
                </c:pt>
                <c:pt idx="7">
                  <c:v>1186.9231</c:v>
                </c:pt>
                <c:pt idx="8">
                  <c:v>1204.2903</c:v>
                </c:pt>
                <c:pt idx="9">
                  <c:v>1105.7647</c:v>
                </c:pt>
                <c:pt idx="10">
                  <c:v>1146.2549</c:v>
                </c:pt>
                <c:pt idx="11">
                  <c:v>1199.0385</c:v>
                </c:pt>
                <c:pt idx="12">
                  <c:v>1190.6667</c:v>
                </c:pt>
                <c:pt idx="13">
                  <c:v>1156.9623</c:v>
                </c:pt>
                <c:pt idx="14">
                  <c:v>1170.8846</c:v>
                </c:pt>
                <c:pt idx="15">
                  <c:v>1142.7143</c:v>
                </c:pt>
                <c:pt idx="16">
                  <c:v>1180.1667</c:v>
                </c:pt>
                <c:pt idx="17">
                  <c:v>1192.4444</c:v>
                </c:pt>
                <c:pt idx="18">
                  <c:v>1363.3158</c:v>
                </c:pt>
                <c:pt idx="19">
                  <c:v>1263.7222</c:v>
                </c:pt>
                <c:pt idx="20">
                  <c:v>1181.8077</c:v>
                </c:pt>
                <c:pt idx="21">
                  <c:v>1259.2222</c:v>
                </c:pt>
                <c:pt idx="22">
                  <c:v>1172.9412</c:v>
                </c:pt>
                <c:pt idx="23">
                  <c:v>1275.6316</c:v>
                </c:pt>
                <c:pt idx="24">
                  <c:v>1297.0</c:v>
                </c:pt>
                <c:pt idx="25">
                  <c:v>1130.0476</c:v>
                </c:pt>
                <c:pt idx="26">
                  <c:v>1181.0</c:v>
                </c:pt>
                <c:pt idx="27">
                  <c:v>1344.1429</c:v>
                </c:pt>
                <c:pt idx="28">
                  <c:v>1303.8095</c:v>
                </c:pt>
                <c:pt idx="29">
                  <c:v>1257.9524</c:v>
                </c:pt>
                <c:pt idx="30">
                  <c:v>1314.0714</c:v>
                </c:pt>
                <c:pt idx="31">
                  <c:v>1270.3529</c:v>
                </c:pt>
                <c:pt idx="32">
                  <c:v>1202.9048</c:v>
                </c:pt>
                <c:pt idx="33">
                  <c:v>1264.0476</c:v>
                </c:pt>
                <c:pt idx="34">
                  <c:v>1194.0</c:v>
                </c:pt>
                <c:pt idx="35">
                  <c:v>1260.2</c:v>
                </c:pt>
                <c:pt idx="36">
                  <c:v>1243.0357</c:v>
                </c:pt>
                <c:pt idx="37">
                  <c:v>1339.8235</c:v>
                </c:pt>
                <c:pt idx="38">
                  <c:v>1471.6429</c:v>
                </c:pt>
                <c:pt idx="39">
                  <c:v>1315.0588</c:v>
                </c:pt>
                <c:pt idx="40">
                  <c:v>1409.75</c:v>
                </c:pt>
                <c:pt idx="41">
                  <c:v>1468.25</c:v>
                </c:pt>
                <c:pt idx="42">
                  <c:v>1559.381</c:v>
                </c:pt>
                <c:pt idx="43">
                  <c:v>1560.7692</c:v>
                </c:pt>
                <c:pt idx="44">
                  <c:v>1520.7714</c:v>
                </c:pt>
                <c:pt idx="45">
                  <c:v>1544.1212</c:v>
                </c:pt>
                <c:pt idx="46">
                  <c:v>1497.2941</c:v>
                </c:pt>
                <c:pt idx="47">
                  <c:v>1495.6316</c:v>
                </c:pt>
                <c:pt idx="48">
                  <c:v>1533.8947</c:v>
                </c:pt>
                <c:pt idx="49">
                  <c:v>1519.9107</c:v>
                </c:pt>
                <c:pt idx="50">
                  <c:v>1555.8571</c:v>
                </c:pt>
                <c:pt idx="51">
                  <c:v>1460.4643</c:v>
                </c:pt>
                <c:pt idx="52">
                  <c:v>1512.025</c:v>
                </c:pt>
                <c:pt idx="53">
                  <c:v>1564.5946</c:v>
                </c:pt>
                <c:pt idx="54">
                  <c:v>1616.9286</c:v>
                </c:pt>
                <c:pt idx="55">
                  <c:v>1554.4118</c:v>
                </c:pt>
                <c:pt idx="56">
                  <c:v>1548.8056</c:v>
                </c:pt>
                <c:pt idx="57">
                  <c:v>1548.9394</c:v>
                </c:pt>
                <c:pt idx="58">
                  <c:v>1547.4</c:v>
                </c:pt>
                <c:pt idx="59">
                  <c:v>1565.1045</c:v>
                </c:pt>
                <c:pt idx="60">
                  <c:v>1477.0361</c:v>
                </c:pt>
                <c:pt idx="61">
                  <c:v>1625.0893</c:v>
                </c:pt>
                <c:pt idx="62">
                  <c:v>1581.0566</c:v>
                </c:pt>
                <c:pt idx="63">
                  <c:v>1604.0909</c:v>
                </c:pt>
                <c:pt idx="64">
                  <c:v>1593.9821</c:v>
                </c:pt>
                <c:pt idx="65">
                  <c:v>1555.4889</c:v>
                </c:pt>
                <c:pt idx="66">
                  <c:v>1443.9574</c:v>
                </c:pt>
                <c:pt idx="67">
                  <c:v>1454.9048</c:v>
                </c:pt>
                <c:pt idx="68">
                  <c:v>1445.0313</c:v>
                </c:pt>
                <c:pt idx="69">
                  <c:v>1355.0</c:v>
                </c:pt>
                <c:pt idx="70">
                  <c:v>1198.8261</c:v>
                </c:pt>
                <c:pt idx="71">
                  <c:v>1129.5333</c:v>
                </c:pt>
                <c:pt idx="72">
                  <c:v>1222.4138</c:v>
                </c:pt>
                <c:pt idx="73">
                  <c:v>1362.3043</c:v>
                </c:pt>
                <c:pt idx="74">
                  <c:v>1376.619</c:v>
                </c:pt>
                <c:pt idx="75">
                  <c:v>911.7826</c:v>
                </c:pt>
                <c:pt idx="76">
                  <c:v>1342.875</c:v>
                </c:pt>
                <c:pt idx="77">
                  <c:v>1476.8333</c:v>
                </c:pt>
                <c:pt idx="78">
                  <c:v>1499.3846</c:v>
                </c:pt>
                <c:pt idx="79">
                  <c:v>1768.5556</c:v>
                </c:pt>
                <c:pt idx="80">
                  <c:v>1666.6667</c:v>
                </c:pt>
                <c:pt idx="81">
                  <c:v>1559.0</c:v>
                </c:pt>
                <c:pt idx="82">
                  <c:v>952.5333</c:v>
                </c:pt>
                <c:pt idx="83">
                  <c:v>1386.125</c:v>
                </c:pt>
                <c:pt idx="84">
                  <c:v>1310.5556</c:v>
                </c:pt>
                <c:pt idx="85">
                  <c:v>1649.2</c:v>
                </c:pt>
                <c:pt idx="86">
                  <c:v>1457.625</c:v>
                </c:pt>
                <c:pt idx="87">
                  <c:v>1531.7</c:v>
                </c:pt>
                <c:pt idx="88">
                  <c:v>1524.3333</c:v>
                </c:pt>
                <c:pt idx="89">
                  <c:v>1387.9091</c:v>
                </c:pt>
                <c:pt idx="90">
                  <c:v>1193.5</c:v>
                </c:pt>
                <c:pt idx="91">
                  <c:v>1493.0769</c:v>
                </c:pt>
                <c:pt idx="92">
                  <c:v>1543.8333</c:v>
                </c:pt>
                <c:pt idx="93">
                  <c:v>1644.4167</c:v>
                </c:pt>
                <c:pt idx="94">
                  <c:v>1383.2308</c:v>
                </c:pt>
                <c:pt idx="95">
                  <c:v>1120.28</c:v>
                </c:pt>
                <c:pt idx="96">
                  <c:v>1277.1667</c:v>
                </c:pt>
                <c:pt idx="97">
                  <c:v>1505.0968</c:v>
                </c:pt>
                <c:pt idx="98">
                  <c:v>1273.8667</c:v>
                </c:pt>
                <c:pt idx="99">
                  <c:v>1397.6889</c:v>
                </c:pt>
                <c:pt idx="100">
                  <c:v>1420.1831</c:v>
                </c:pt>
                <c:pt idx="101">
                  <c:v>1383.3</c:v>
                </c:pt>
                <c:pt idx="102">
                  <c:v>1222.5357</c:v>
                </c:pt>
                <c:pt idx="103">
                  <c:v>1328.0</c:v>
                </c:pt>
                <c:pt idx="104">
                  <c:v>1542.2</c:v>
                </c:pt>
              </c:numCache>
            </c:numRef>
          </c:xVal>
          <c:yVal>
            <c:numRef>
              <c:f>Sheet1!$B$2:$B$106</c:f>
              <c:numCache>
                <c:formatCode>General</c:formatCode>
                <c:ptCount val="105"/>
                <c:pt idx="0">
                  <c:v>0.3567567567567568</c:v>
                </c:pt>
                <c:pt idx="1">
                  <c:v>0.313953488372093</c:v>
                </c:pt>
                <c:pt idx="2">
                  <c:v>0.30857142857142855</c:v>
                </c:pt>
                <c:pt idx="3">
                  <c:v>0.3057324840764331</c:v>
                </c:pt>
                <c:pt idx="4">
                  <c:v>0.3284671532846715</c:v>
                </c:pt>
                <c:pt idx="5">
                  <c:v>0.3360655737704918</c:v>
                </c:pt>
                <c:pt idx="6">
                  <c:v>0.2867132867132867</c:v>
                </c:pt>
                <c:pt idx="7">
                  <c:v>0.3305084745762712</c:v>
                </c:pt>
                <c:pt idx="8">
                  <c:v>0.3163265306122449</c:v>
                </c:pt>
                <c:pt idx="9">
                  <c:v>0.3128834355828221</c:v>
                </c:pt>
                <c:pt idx="10">
                  <c:v>0.3128834355828221</c:v>
                </c:pt>
                <c:pt idx="11">
                  <c:v>0.4</c:v>
                </c:pt>
                <c:pt idx="12">
                  <c:v>0.42857142857142855</c:v>
                </c:pt>
                <c:pt idx="13">
                  <c:v>0.4344262295081967</c:v>
                </c:pt>
                <c:pt idx="14">
                  <c:v>0.416</c:v>
                </c:pt>
                <c:pt idx="15">
                  <c:v>0.4537037037037037</c:v>
                </c:pt>
                <c:pt idx="16">
                  <c:v>0.4235294117647059</c:v>
                </c:pt>
                <c:pt idx="17">
                  <c:v>0.3698630136986301</c:v>
                </c:pt>
                <c:pt idx="18">
                  <c:v>0.296875</c:v>
                </c:pt>
                <c:pt idx="19">
                  <c:v>0.3673469387755102</c:v>
                </c:pt>
                <c:pt idx="20">
                  <c:v>0.38235294117647056</c:v>
                </c:pt>
                <c:pt idx="21">
                  <c:v>0.36</c:v>
                </c:pt>
                <c:pt idx="22">
                  <c:v>0.3148148148148148</c:v>
                </c:pt>
                <c:pt idx="23">
                  <c:v>0.3877551020408163</c:v>
                </c:pt>
                <c:pt idx="24">
                  <c:v>0.45652173913043476</c:v>
                </c:pt>
                <c:pt idx="25">
                  <c:v>0.4883720930232558</c:v>
                </c:pt>
                <c:pt idx="26">
                  <c:v>0.4186046511627907</c:v>
                </c:pt>
                <c:pt idx="27">
                  <c:v>0.3559322033898305</c:v>
                </c:pt>
                <c:pt idx="28">
                  <c:v>0.44680851063829785</c:v>
                </c:pt>
                <c:pt idx="29">
                  <c:v>0.45652173913043476</c:v>
                </c:pt>
                <c:pt idx="30">
                  <c:v>0.4</c:v>
                </c:pt>
                <c:pt idx="31">
                  <c:v>0.3953488372093023</c:v>
                </c:pt>
                <c:pt idx="32">
                  <c:v>0.45652173913043476</c:v>
                </c:pt>
                <c:pt idx="33">
                  <c:v>0.3684210526315789</c:v>
                </c:pt>
                <c:pt idx="34">
                  <c:v>0.4594594594594595</c:v>
                </c:pt>
                <c:pt idx="35">
                  <c:v>0.5</c:v>
                </c:pt>
                <c:pt idx="36">
                  <c:v>0.4375</c:v>
                </c:pt>
                <c:pt idx="37">
                  <c:v>0.37777777777777777</c:v>
                </c:pt>
                <c:pt idx="38">
                  <c:v>0.32558139534883723</c:v>
                </c:pt>
                <c:pt idx="39">
                  <c:v>0.19767441860465115</c:v>
                </c:pt>
                <c:pt idx="40">
                  <c:v>0.12213740458015267</c:v>
                </c:pt>
                <c:pt idx="41">
                  <c:v>0.11009174311926606</c:v>
                </c:pt>
                <c:pt idx="42">
                  <c:v>0.17073170731707318</c:v>
                </c:pt>
                <c:pt idx="43">
                  <c:v>0.20155038759689922</c:v>
                </c:pt>
                <c:pt idx="44">
                  <c:v>0.20588235294117646</c:v>
                </c:pt>
                <c:pt idx="45">
                  <c:v>0.20625</c:v>
                </c:pt>
                <c:pt idx="46">
                  <c:v>0.23448275862068965</c:v>
                </c:pt>
                <c:pt idx="47">
                  <c:v>0.30158730158730157</c:v>
                </c:pt>
                <c:pt idx="48">
                  <c:v>0.3149171270718232</c:v>
                </c:pt>
                <c:pt idx="49">
                  <c:v>0.4072727272727273</c:v>
                </c:pt>
                <c:pt idx="50">
                  <c:v>0.3181818181818182</c:v>
                </c:pt>
                <c:pt idx="51">
                  <c:v>0.3076923076923077</c:v>
                </c:pt>
                <c:pt idx="52">
                  <c:v>0.35714285714285715</c:v>
                </c:pt>
                <c:pt idx="53">
                  <c:v>0.3333333333333333</c:v>
                </c:pt>
                <c:pt idx="54">
                  <c:v>0.3181818181818182</c:v>
                </c:pt>
                <c:pt idx="55">
                  <c:v>0.29310344827586204</c:v>
                </c:pt>
                <c:pt idx="56">
                  <c:v>0.2553191489361702</c:v>
                </c:pt>
                <c:pt idx="57">
                  <c:v>0.2129032258064516</c:v>
                </c:pt>
                <c:pt idx="58">
                  <c:v>0.18229166666666666</c:v>
                </c:pt>
                <c:pt idx="59">
                  <c:v>0.20241691842900303</c:v>
                </c:pt>
                <c:pt idx="60">
                  <c:v>0.2730263157894737</c:v>
                </c:pt>
                <c:pt idx="61">
                  <c:v>0.2994652406417112</c:v>
                </c:pt>
                <c:pt idx="62">
                  <c:v>0.263681592039801</c:v>
                </c:pt>
                <c:pt idx="63">
                  <c:v>0.2894736842105263</c:v>
                </c:pt>
                <c:pt idx="64">
                  <c:v>0.32</c:v>
                </c:pt>
                <c:pt idx="65">
                  <c:v>0.3284671532846715</c:v>
                </c:pt>
                <c:pt idx="66">
                  <c:v>0.3381294964028777</c:v>
                </c:pt>
                <c:pt idx="67">
                  <c:v>0.2978723404255319</c:v>
                </c:pt>
                <c:pt idx="68">
                  <c:v>0.3333333333333333</c:v>
                </c:pt>
                <c:pt idx="69">
                  <c:v>0.32894736842105265</c:v>
                </c:pt>
                <c:pt idx="70">
                  <c:v>0.2839506172839506</c:v>
                </c:pt>
                <c:pt idx="71">
                  <c:v>0.39473684210526316</c:v>
                </c:pt>
                <c:pt idx="72">
                  <c:v>0.3670886075949367</c:v>
                </c:pt>
                <c:pt idx="73">
                  <c:v>0.32857142857142857</c:v>
                </c:pt>
                <c:pt idx="74">
                  <c:v>0.2916666666666667</c:v>
                </c:pt>
                <c:pt idx="75">
                  <c:v>0.35384615384615387</c:v>
                </c:pt>
                <c:pt idx="76">
                  <c:v>0.3018867924528302</c:v>
                </c:pt>
                <c:pt idx="77">
                  <c:v>0.2857142857142857</c:v>
                </c:pt>
                <c:pt idx="78">
                  <c:v>0.30952380952380953</c:v>
                </c:pt>
                <c:pt idx="79">
                  <c:v>0.24324324324324326</c:v>
                </c:pt>
                <c:pt idx="80">
                  <c:v>0.25</c:v>
                </c:pt>
                <c:pt idx="81">
                  <c:v>0.2978723404255319</c:v>
                </c:pt>
                <c:pt idx="82">
                  <c:v>0.38461538461538464</c:v>
                </c:pt>
                <c:pt idx="83">
                  <c:v>0.27586206896551724</c:v>
                </c:pt>
                <c:pt idx="84">
                  <c:v>0.2903225806451613</c:v>
                </c:pt>
                <c:pt idx="85">
                  <c:v>0.2564102564102564</c:v>
                </c:pt>
                <c:pt idx="86">
                  <c:v>0.3404255319148936</c:v>
                </c:pt>
                <c:pt idx="87">
                  <c:v>0.36363636363636365</c:v>
                </c:pt>
                <c:pt idx="88">
                  <c:v>0.32432432432432434</c:v>
                </c:pt>
                <c:pt idx="89">
                  <c:v>0.28205128205128205</c:v>
                </c:pt>
                <c:pt idx="90">
                  <c:v>0.3111111111111111</c:v>
                </c:pt>
                <c:pt idx="91">
                  <c:v>0.28888888888888886</c:v>
                </c:pt>
                <c:pt idx="92">
                  <c:v>0.24</c:v>
                </c:pt>
                <c:pt idx="93">
                  <c:v>0.23076923076923078</c:v>
                </c:pt>
                <c:pt idx="94">
                  <c:v>0.29545454545454547</c:v>
                </c:pt>
                <c:pt idx="95">
                  <c:v>0.373134328358209</c:v>
                </c:pt>
                <c:pt idx="96">
                  <c:v>0.30612244897959184</c:v>
                </c:pt>
                <c:pt idx="97">
                  <c:v>0.3780487804878049</c:v>
                </c:pt>
                <c:pt idx="98">
                  <c:v>0.4205607476635514</c:v>
                </c:pt>
                <c:pt idx="99">
                  <c:v>0.40540540540540543</c:v>
                </c:pt>
                <c:pt idx="100">
                  <c:v>0.398876404494382</c:v>
                </c:pt>
                <c:pt idx="101">
                  <c:v>0.29411764705882354</c:v>
                </c:pt>
                <c:pt idx="102">
                  <c:v>0.37333333333333335</c:v>
                </c:pt>
                <c:pt idx="103">
                  <c:v>0.3225806451612903</c:v>
                </c:pt>
                <c:pt idx="104">
                  <c:v>0.29761904761904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numCache>
            </c:numRef>
          </c:xVal>
          <c:yVal>
            <c:numRef>
              <c:f>Sheet1!$B$109:$B$160</c:f>
              <c:numCache>
                <c:formatCode>General</c:formatCode>
                <c:ptCount val="52"/>
                <c:pt idx="0">
                  <c:v>0.3258426966292135</c:v>
                </c:pt>
                <c:pt idx="1">
                  <c:v>0.3076923076923077</c:v>
                </c:pt>
                <c:pt idx="2">
                  <c:v>0.35051546391752575</c:v>
                </c:pt>
                <c:pt idx="3">
                  <c:v>0.33962264150943394</c:v>
                </c:pt>
                <c:pt idx="4">
                  <c:v>0.24031007751937986</c:v>
                </c:pt>
                <c:pt idx="5">
                  <c:v>0.30612244897959184</c:v>
                </c:pt>
                <c:pt idx="6">
                  <c:v>0.2635135135135135</c:v>
                </c:pt>
                <c:pt idx="7">
                  <c:v>0.24271844660194175</c:v>
                </c:pt>
                <c:pt idx="8">
                  <c:v>0.3382352941176471</c:v>
                </c:pt>
                <c:pt idx="9">
                  <c:v>0.3333333333333333</c:v>
                </c:pt>
                <c:pt idx="10">
                  <c:v>0.2891566265060241</c:v>
                </c:pt>
                <c:pt idx="11">
                  <c:v>0.3157894736842105</c:v>
                </c:pt>
                <c:pt idx="12">
                  <c:v>0.35</c:v>
                </c:pt>
                <c:pt idx="13">
                  <c:v>0.29473684210526313</c:v>
                </c:pt>
                <c:pt idx="14">
                  <c:v>0.3037974683544304</c:v>
                </c:pt>
                <c:pt idx="15">
                  <c:v>0.2916666666666667</c:v>
                </c:pt>
                <c:pt idx="16">
                  <c:v>0.2833333333333333</c:v>
                </c:pt>
                <c:pt idx="17">
                  <c:v>0.32142857142857145</c:v>
                </c:pt>
                <c:pt idx="18">
                  <c:v>0.35714285714285715</c:v>
                </c:pt>
                <c:pt idx="19">
                  <c:v>0.375</c:v>
                </c:pt>
                <c:pt idx="20">
                  <c:v>0.23809523809523808</c:v>
                </c:pt>
                <c:pt idx="21">
                  <c:v>0.28205128205128205</c:v>
                </c:pt>
                <c:pt idx="22">
                  <c:v>0.29411764705882354</c:v>
                </c:pt>
                <c:pt idx="23">
                  <c:v>0.3076923076923077</c:v>
                </c:pt>
                <c:pt idx="24">
                  <c:v>0.22580645161290322</c:v>
                </c:pt>
                <c:pt idx="25">
                  <c:v>0.25925925925925924</c:v>
                </c:pt>
                <c:pt idx="26">
                  <c:v>0.21428571428571427</c:v>
                </c:pt>
                <c:pt idx="27">
                  <c:v>0.2702702702702703</c:v>
                </c:pt>
                <c:pt idx="28">
                  <c:v>0.3333333333333333</c:v>
                </c:pt>
                <c:pt idx="29">
                  <c:v>0.25806451612903225</c:v>
                </c:pt>
                <c:pt idx="30">
                  <c:v>0.18421052631578946</c:v>
                </c:pt>
                <c:pt idx="31">
                  <c:v>0.2</c:v>
                </c:pt>
                <c:pt idx="32">
                  <c:v>0.25806451612903225</c:v>
                </c:pt>
                <c:pt idx="33">
                  <c:v>0.3</c:v>
                </c:pt>
                <c:pt idx="34">
                  <c:v>0.34615384615384615</c:v>
                </c:pt>
                <c:pt idx="35">
                  <c:v>0.3783783783783784</c:v>
                </c:pt>
                <c:pt idx="36">
                  <c:v>0.3103448275862069</c:v>
                </c:pt>
                <c:pt idx="37">
                  <c:v>0.20689655172413793</c:v>
                </c:pt>
                <c:pt idx="38">
                  <c:v>0.2916666666666667</c:v>
                </c:pt>
                <c:pt idx="39">
                  <c:v>0.34210526315789475</c:v>
                </c:pt>
                <c:pt idx="40">
                  <c:v>0.05976095617529881</c:v>
                </c:pt>
                <c:pt idx="41">
                  <c:v>0.14953271028037382</c:v>
                </c:pt>
                <c:pt idx="42">
                  <c:v>0.22</c:v>
                </c:pt>
                <c:pt idx="43">
                  <c:v>0.1875</c:v>
                </c:pt>
                <c:pt idx="44">
                  <c:v>0.1368421052631579</c:v>
                </c:pt>
                <c:pt idx="45">
                  <c:v>0.24705882352941178</c:v>
                </c:pt>
                <c:pt idx="46">
                  <c:v>0.2</c:v>
                </c:pt>
                <c:pt idx="47">
                  <c:v>0.2545454545454545</c:v>
                </c:pt>
                <c:pt idx="48">
                  <c:v>0.2222222222222222</c:v>
                </c:pt>
                <c:pt idx="49">
                  <c:v>0.2727272727272727</c:v>
                </c:pt>
                <c:pt idx="50">
                  <c:v>0.29931972789115646</c:v>
                </c:pt>
                <c:pt idx="51">
                  <c:v>0.272727272727272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8.2392498452643</c:v>
                </c:pt>
              </c:numCache>
            </c:numRef>
          </c:xVal>
          <c:yVal>
            <c:numRef>
              <c:f>Sheet1!$B$163:$B$164</c:f>
              <c:numCache>
                <c:formatCode>General</c:formatCode>
                <c:ptCount val="2"/>
                <c:pt idx="0">
                  <c:v>0.41577553398165007</c:v>
                </c:pt>
                <c:pt idx="1">
                  <c:v>0.415775533981650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8.2392498452643</c:v>
                </c:pt>
                <c:pt idx="1">
                  <c:v>-218.2392498452643</c:v>
                </c:pt>
              </c:numCache>
            </c:numRef>
          </c:xVal>
          <c:yVal>
            <c:numRef>
              <c:f>Sheet1!$B$167:$B$168</c:f>
              <c:numCache>
                <c:formatCode>General</c:formatCode>
                <c:ptCount val="2"/>
                <c:pt idx="0">
                  <c:v>0.415775533981650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3.7427235982962</c:v>
                </c:pt>
              </c:numCache>
            </c:numRef>
          </c:xVal>
          <c:yVal>
            <c:numRef>
              <c:f>Sheet1!$B$171:$B$172</c:f>
              <c:numCache>
                <c:formatCode>General</c:formatCode>
                <c:ptCount val="2"/>
                <c:pt idx="0">
                  <c:v>0.31042551482317</c:v>
                </c:pt>
                <c:pt idx="1">
                  <c:v>0.31042551482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3.7427235982962</c:v>
                </c:pt>
                <c:pt idx="1">
                  <c:v>1083.7427235982962</c:v>
                </c:pt>
              </c:numCache>
            </c:numRef>
          </c:xVal>
          <c:yVal>
            <c:numRef>
              <c:f>Sheet1!$B$175:$B$176</c:f>
              <c:numCache>
                <c:formatCode>General</c:formatCode>
                <c:ptCount val="2"/>
                <c:pt idx="0">
                  <c:v>0.31042551482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97.150660057986</c:v>
                </c:pt>
              </c:numCache>
            </c:numRef>
          </c:xVal>
          <c:yVal>
            <c:numRef>
              <c:f>Sheet1!$B$179:$B$180</c:f>
              <c:numCache>
                <c:formatCode>General</c:formatCode>
                <c:ptCount val="2"/>
                <c:pt idx="0">
                  <c:v>0.22033398527073197</c:v>
                </c:pt>
                <c:pt idx="1">
                  <c:v>0.2203339852707319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97.150660057986</c:v>
                </c:pt>
                <c:pt idx="1">
                  <c:v>2197.150660057986</c:v>
                </c:pt>
              </c:numCache>
            </c:numRef>
          </c:xVal>
          <c:yVal>
            <c:numRef>
              <c:f>Sheet1!$B$183:$B$184</c:f>
              <c:numCache>
                <c:formatCode>General</c:formatCode>
                <c:ptCount val="2"/>
                <c:pt idx="0">
                  <c:v>0.220333985270731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97.8966</c:v>
                </c:pt>
                <c:pt idx="1">
                  <c:v>1471.9286</c:v>
                </c:pt>
                <c:pt idx="2">
                  <c:v>1368.9118</c:v>
                </c:pt>
                <c:pt idx="3">
                  <c:v>1401.6667</c:v>
                </c:pt>
                <c:pt idx="4">
                  <c:v>1441.9677</c:v>
                </c:pt>
                <c:pt idx="5">
                  <c:v>1629.3333</c:v>
                </c:pt>
                <c:pt idx="6">
                  <c:v>1533.7692</c:v>
                </c:pt>
                <c:pt idx="7">
                  <c:v>1517.4</c:v>
                </c:pt>
                <c:pt idx="8">
                  <c:v>1507.7826</c:v>
                </c:pt>
                <c:pt idx="9">
                  <c:v>1485.8462</c:v>
                </c:pt>
                <c:pt idx="10">
                  <c:v>1615.5417</c:v>
                </c:pt>
                <c:pt idx="11">
                  <c:v>1490.4722</c:v>
                </c:pt>
                <c:pt idx="12">
                  <c:v>1464.5714</c:v>
                </c:pt>
                <c:pt idx="13">
                  <c:v>1523.9643</c:v>
                </c:pt>
                <c:pt idx="14">
                  <c:v>1519.4583</c:v>
                </c:pt>
                <c:pt idx="15">
                  <c:v>1539.9048</c:v>
                </c:pt>
                <c:pt idx="16">
                  <c:v>1749.2941</c:v>
                </c:pt>
                <c:pt idx="17">
                  <c:v>1476.2778</c:v>
                </c:pt>
                <c:pt idx="18">
                  <c:v>1457.4667</c:v>
                </c:pt>
                <c:pt idx="19">
                  <c:v>1503.8667</c:v>
                </c:pt>
                <c:pt idx="20">
                  <c:v>1665.5</c:v>
                </c:pt>
                <c:pt idx="21">
                  <c:v>1468.1818</c:v>
                </c:pt>
                <c:pt idx="22">
                  <c:v>1588.5</c:v>
                </c:pt>
                <c:pt idx="23">
                  <c:v>1414.125</c:v>
                </c:pt>
                <c:pt idx="24">
                  <c:v>1716.2857</c:v>
                </c:pt>
                <c:pt idx="25">
                  <c:v>1297.4286</c:v>
                </c:pt>
                <c:pt idx="26">
                  <c:v>1570.5</c:v>
                </c:pt>
                <c:pt idx="27">
                  <c:v>1577.6</c:v>
                </c:pt>
                <c:pt idx="28">
                  <c:v>1470.9167</c:v>
                </c:pt>
                <c:pt idx="29">
                  <c:v>1584.5</c:v>
                </c:pt>
                <c:pt idx="30">
                  <c:v>1619.2857</c:v>
                </c:pt>
                <c:pt idx="31">
                  <c:v>1807.8</c:v>
                </c:pt>
                <c:pt idx="32">
                  <c:v>1655.625</c:v>
                </c:pt>
                <c:pt idx="33">
                  <c:v>1679.5833</c:v>
                </c:pt>
                <c:pt idx="34">
                  <c:v>1635.3333</c:v>
                </c:pt>
                <c:pt idx="35">
                  <c:v>1671.2857</c:v>
                </c:pt>
                <c:pt idx="36">
                  <c:v>1492.0</c:v>
                </c:pt>
                <c:pt idx="37">
                  <c:v>1779.1667</c:v>
                </c:pt>
                <c:pt idx="38">
                  <c:v>1649.8571</c:v>
                </c:pt>
                <c:pt idx="39">
                  <c:v>1366.6923</c:v>
                </c:pt>
                <c:pt idx="40">
                  <c:v>1400.2667</c:v>
                </c:pt>
                <c:pt idx="41">
                  <c:v>1494.5</c:v>
                </c:pt>
                <c:pt idx="42">
                  <c:v>1517.4545</c:v>
                </c:pt>
                <c:pt idx="43">
                  <c:v>1497.9167</c:v>
                </c:pt>
                <c:pt idx="44">
                  <c:v>1470.1538</c:v>
                </c:pt>
                <c:pt idx="45">
                  <c:v>1425.5714</c:v>
                </c:pt>
                <c:pt idx="46">
                  <c:v>1588.6667</c:v>
                </c:pt>
                <c:pt idx="47">
                  <c:v>1881.4286</c:v>
                </c:pt>
                <c:pt idx="48">
                  <c:v>1615.25</c:v>
                </c:pt>
                <c:pt idx="49">
                  <c:v>1469.625</c:v>
                </c:pt>
                <c:pt idx="50">
                  <c:v>1241.3182</c:v>
                </c:pt>
                <c:pt idx="51">
                  <c:v>1292.1111</c:v>
                </c:pt>
                <c:pt idx="52">
                  <c:v>1083.7427235982962</c:v>
                </c:pt>
                <c:pt idx="53">
                  <c:v>-218.2392498452643</c:v>
                </c:pt>
                <c:pt idx="54">
                  <c:v>2197.150660057986</c:v>
                </c:pt>
              </c:numCache>
            </c:numRef>
          </c:xVal>
          <c:yVal>
            <c:numRef>
              <c:f>Sheet1!$B$187:$B$241</c:f>
              <c:numCache>
                <c:formatCode>General</c:formatCode>
                <c:ptCount val="55"/>
                <c:pt idx="0">
                  <c:v>0.2850057182570964</c:v>
                </c:pt>
                <c:pt idx="1">
                  <c:v>0.2790154105743314</c:v>
                </c:pt>
                <c:pt idx="2">
                  <c:v>0.2873510266389233</c:v>
                </c:pt>
                <c:pt idx="3">
                  <c:v>0.2847006601876833</c:v>
                </c:pt>
                <c:pt idx="4">
                  <c:v>0.2814397001984474</c:v>
                </c:pt>
                <c:pt idx="5">
                  <c:v>0.26627899140811495</c:v>
                </c:pt>
                <c:pt idx="6">
                  <c:v>0.2740115714063121</c:v>
                </c:pt>
                <c:pt idx="7">
                  <c:v>0.2753360870822457</c:v>
                </c:pt>
                <c:pt idx="8">
                  <c:v>0.2761142800948379</c:v>
                </c:pt>
                <c:pt idx="9">
                  <c:v>0.27788926639065875</c:v>
                </c:pt>
                <c:pt idx="10">
                  <c:v>0.26739494028748634</c:v>
                </c:pt>
                <c:pt idx="11">
                  <c:v>0.2775149530755994</c:v>
                </c:pt>
                <c:pt idx="12">
                  <c:v>0.2796107192473868</c:v>
                </c:pt>
                <c:pt idx="13">
                  <c:v>0.27480493600268585</c:v>
                </c:pt>
                <c:pt idx="14">
                  <c:v>0.275169539504125</c:v>
                </c:pt>
                <c:pt idx="15">
                  <c:v>0.27351510863591044</c:v>
                </c:pt>
                <c:pt idx="16">
                  <c:v>0.25657234966034853</c:v>
                </c:pt>
                <c:pt idx="17">
                  <c:v>0.27866349456268935</c:v>
                </c:pt>
                <c:pt idx="18">
                  <c:v>0.280185596854283</c:v>
                </c:pt>
                <c:pt idx="19">
                  <c:v>0.2764311355877996</c:v>
                </c:pt>
                <c:pt idx="20">
                  <c:v>0.26335255877262953</c:v>
                </c:pt>
                <c:pt idx="21">
                  <c:v>0.27931858332159987</c:v>
                </c:pt>
                <c:pt idx="22">
                  <c:v>0.2695830225122679</c:v>
                </c:pt>
                <c:pt idx="23">
                  <c:v>0.2836925954291439</c:v>
                </c:pt>
                <c:pt idx="24">
                  <c:v>0.25924322809286127</c:v>
                </c:pt>
                <c:pt idx="25">
                  <c:v>0.29313509788039505</c:v>
                </c:pt>
                <c:pt idx="26">
                  <c:v>0.2710394945553003</c:v>
                </c:pt>
                <c:pt idx="27">
                  <c:v>0.2704649972494375</c:v>
                </c:pt>
                <c:pt idx="28">
                  <c:v>0.27909728857768384</c:v>
                </c:pt>
                <c:pt idx="29">
                  <c:v>0.26990668296627507</c:v>
                </c:pt>
                <c:pt idx="30">
                  <c:v>0.26709199410253565</c:v>
                </c:pt>
                <c:pt idx="31">
                  <c:v>0.2518383381213237</c:v>
                </c:pt>
                <c:pt idx="32">
                  <c:v>0.2641515955184598</c:v>
                </c:pt>
                <c:pt idx="33">
                  <c:v>0.26221300695464966</c:v>
                </c:pt>
                <c:pt idx="34">
                  <c:v>0.26579350072710417</c:v>
                </c:pt>
                <c:pt idx="35">
                  <c:v>0.2628844082004421</c:v>
                </c:pt>
                <c:pt idx="36">
                  <c:v>0.27739133096519136</c:v>
                </c:pt>
                <c:pt idx="37">
                  <c:v>0.2541552048407547</c:v>
                </c:pt>
                <c:pt idx="38">
                  <c:v>0.26461830580162676</c:v>
                </c:pt>
                <c:pt idx="39">
                  <c:v>0.2875306177333406</c:v>
                </c:pt>
                <c:pt idx="40">
                  <c:v>0.28481394134658583</c:v>
                </c:pt>
                <c:pt idx="41">
                  <c:v>0.2771890431814369</c:v>
                </c:pt>
                <c:pt idx="42">
                  <c:v>0.2753316772085599</c:v>
                </c:pt>
                <c:pt idx="43">
                  <c:v>0.2769125805131353</c:v>
                </c:pt>
                <c:pt idx="44">
                  <c:v>0.2791590187177744</c:v>
                </c:pt>
                <c:pt idx="45">
                  <c:v>0.28276640867395686</c:v>
                </c:pt>
                <c:pt idx="46">
                  <c:v>0.26956953396284716</c:v>
                </c:pt>
                <c:pt idx="47">
                  <c:v>0.24588067159534527</c:v>
                </c:pt>
                <c:pt idx="48">
                  <c:v>0.2674185432260948</c:v>
                </c:pt>
                <c:pt idx="49">
                  <c:v>0.2792018066297941</c:v>
                </c:pt>
                <c:pt idx="50">
                  <c:v>0.2976752772650263</c:v>
                </c:pt>
                <c:pt idx="51">
                  <c:v>0.29356536399644084</c:v>
                </c:pt>
                <c:pt idx="52">
                  <c:v>0.31042551482317</c:v>
                </c:pt>
                <c:pt idx="53">
                  <c:v>0.41577553398165007</c:v>
                </c:pt>
                <c:pt idx="54">
                  <c:v>0.220333985270731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4780876494023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79204637715889</c:v>
                </c:pt>
                <c:pt idx="1">
                  <c:v>0.5597953425736102</c:v>
                </c:pt>
                <c:pt idx="2">
                  <c:v>0.5698860912476731</c:v>
                </c:pt>
                <c:pt idx="3">
                  <c:v>0.5541311748114035</c:v>
                </c:pt>
                <c:pt idx="4">
                  <c:v>0.5636292296533509</c:v>
                </c:pt>
                <c:pt idx="5">
                  <c:v>0.5871162963548826</c:v>
                </c:pt>
                <c:pt idx="6">
                  <c:v>0.615991269457822</c:v>
                </c:pt>
                <c:pt idx="7">
                  <c:v>0.6082214284391967</c:v>
                </c:pt>
                <c:pt idx="8">
                  <c:v>0.6203597761417226</c:v>
                </c:pt>
                <c:pt idx="9">
                  <c:v>0.6589298357457719</c:v>
                </c:pt>
                <c:pt idx="10">
                  <c:v>0.6709663670473469</c:v>
                </c:pt>
                <c:pt idx="11">
                  <c:v>0.6506725815638418</c:v>
                </c:pt>
                <c:pt idx="12">
                  <c:v>0.6605112118143707</c:v>
                </c:pt>
                <c:pt idx="13">
                  <c:v>0.6914297246577822</c:v>
                </c:pt>
                <c:pt idx="14">
                  <c:v>0.6763136144532278</c:v>
                </c:pt>
                <c:pt idx="15">
                  <c:v>0.6749912993651531</c:v>
                </c:pt>
                <c:pt idx="16">
                  <c:v>0.6832719878904177</c:v>
                </c:pt>
                <c:pt idx="17">
                  <c:v>0.6707161750230443</c:v>
                </c:pt>
                <c:pt idx="18">
                  <c:v>0.6697715887856233</c:v>
                </c:pt>
                <c:pt idx="19">
                  <c:v>0.650712816693279</c:v>
                </c:pt>
                <c:pt idx="20">
                  <c:v>0.6935017254123506</c:v>
                </c:pt>
                <c:pt idx="21">
                  <c:v>0.6314091292688704</c:v>
                </c:pt>
                <c:pt idx="22">
                  <c:v>0.5962745982595716</c:v>
                </c:pt>
                <c:pt idx="23">
                  <c:v>0.5945621266328383</c:v>
                </c:pt>
                <c:pt idx="24">
                  <c:v>0.5936984932118906</c:v>
                </c:pt>
                <c:pt idx="25">
                  <c:v>0.550823481024047</c:v>
                </c:pt>
                <c:pt idx="26">
                  <c:v>0.5760998213302826</c:v>
                </c:pt>
                <c:pt idx="27">
                  <c:v>0.579955719201983</c:v>
                </c:pt>
                <c:pt idx="28">
                  <c:v>0.5721281560861079</c:v>
                </c:pt>
                <c:pt idx="29">
                  <c:v>0.5750727522880381</c:v>
                </c:pt>
                <c:pt idx="30">
                  <c:v>0.5644862776232591</c:v>
                </c:pt>
                <c:pt idx="31">
                  <c:v>0.6135576272992631</c:v>
                </c:pt>
                <c:pt idx="32">
                  <c:v>0.5785221717577634</c:v>
                </c:pt>
                <c:pt idx="33">
                  <c:v>0.5917681404873356</c:v>
                </c:pt>
                <c:pt idx="34">
                  <c:v>0.5996076108694879</c:v>
                </c:pt>
                <c:pt idx="35">
                  <c:v>0.6071720243039469</c:v>
                </c:pt>
                <c:pt idx="36">
                  <c:v>0.8190921093734602</c:v>
                </c:pt>
                <c:pt idx="37">
                  <c:v>0.7941412589559231</c:v>
                </c:pt>
                <c:pt idx="38">
                  <c:v>0.8687435059180144</c:v>
                </c:pt>
                <c:pt idx="39">
                  <c:v>0.891003978454701</c:v>
                </c:pt>
                <c:pt idx="40">
                  <c:v>0.8318768775354944</c:v>
                </c:pt>
                <c:pt idx="41">
                  <c:v>0.8078886008600773</c:v>
                </c:pt>
                <c:pt idx="42">
                  <c:v>0.8166473639485536</c:v>
                </c:pt>
                <c:pt idx="43">
                  <c:v>0.8360646026984357</c:v>
                </c:pt>
                <c:pt idx="44">
                  <c:v>0.8431849225051772</c:v>
                </c:pt>
                <c:pt idx="45">
                  <c:v>0.8828072592235351</c:v>
                </c:pt>
                <c:pt idx="46">
                  <c:v>0.8785512062648753</c:v>
                </c:pt>
                <c:pt idx="47">
                  <c:v>0.9274934066873579</c:v>
                </c:pt>
                <c:pt idx="48">
                  <c:v>0.9088594465430526</c:v>
                </c:pt>
                <c:pt idx="49">
                  <c:v>0.8777132461819247</c:v>
                </c:pt>
                <c:pt idx="50">
                  <c:v>0.8685917561716738</c:v>
                </c:pt>
                <c:pt idx="51">
                  <c:v>0.8888240459580163</c:v>
                </c:pt>
                <c:pt idx="52">
                  <c:v>0.8618233515753085</c:v>
                </c:pt>
                <c:pt idx="53">
                  <c:v>0.7925075241955385</c:v>
                </c:pt>
                <c:pt idx="54">
                  <c:v>0.7721137050678988</c:v>
                </c:pt>
                <c:pt idx="55">
                  <c:v>0.790753026089779</c:v>
                </c:pt>
                <c:pt idx="56">
                  <c:v>0.7413797978055395</c:v>
                </c:pt>
                <c:pt idx="57">
                  <c:v>0.7572417879119643</c:v>
                </c:pt>
                <c:pt idx="58">
                  <c:v>0.7592151183078613</c:v>
                </c:pt>
                <c:pt idx="59">
                  <c:v>0.7565196087016696</c:v>
                </c:pt>
                <c:pt idx="60">
                  <c:v>0.7501132926145493</c:v>
                </c:pt>
                <c:pt idx="61">
                  <c:v>0.8163754580058512</c:v>
                </c:pt>
                <c:pt idx="62">
                  <c:v>0.8413554646189244</c:v>
                </c:pt>
                <c:pt idx="63">
                  <c:v>0.8895805700390004</c:v>
                </c:pt>
                <c:pt idx="64">
                  <c:v>0.8831098257546709</c:v>
                </c:pt>
                <c:pt idx="65">
                  <c:v>0.8683751490281215</c:v>
                </c:pt>
                <c:pt idx="66">
                  <c:v>0.8478876278297713</c:v>
                </c:pt>
                <c:pt idx="67">
                  <c:v>0.8776404811409004</c:v>
                </c:pt>
                <c:pt idx="68">
                  <c:v>0.8916114622909107</c:v>
                </c:pt>
                <c:pt idx="69">
                  <c:v>0.8724989847474947</c:v>
                </c:pt>
                <c:pt idx="70">
                  <c:v>0.8829961514591728</c:v>
                </c:pt>
                <c:pt idx="71">
                  <c:v>0.7897236483695756</c:v>
                </c:pt>
                <c:pt idx="72">
                  <c:v>0.8178260099541618</c:v>
                </c:pt>
                <c:pt idx="73">
                  <c:v>0.8111596108342849</c:v>
                </c:pt>
                <c:pt idx="74">
                  <c:v>0.8517831648385741</c:v>
                </c:pt>
                <c:pt idx="75">
                  <c:v>0.7387187603437662</c:v>
                </c:pt>
                <c:pt idx="76">
                  <c:v>0.7950909986083966</c:v>
                </c:pt>
                <c:pt idx="77">
                  <c:v>0.9124079212344333</c:v>
                </c:pt>
                <c:pt idx="78">
                  <c:v>0.7581481495725458</c:v>
                </c:pt>
                <c:pt idx="79">
                  <c:v>0.6691252194758011</c:v>
                </c:pt>
                <c:pt idx="80">
                  <c:v>0.6590313806817232</c:v>
                </c:pt>
                <c:pt idx="81">
                  <c:v>0.5385059712777789</c:v>
                </c:pt>
                <c:pt idx="82">
                  <c:v>0.4978294779290524</c:v>
                </c:pt>
                <c:pt idx="83">
                  <c:v>0.5307658207118415</c:v>
                </c:pt>
                <c:pt idx="84">
                  <c:v>0.5244036630901774</c:v>
                </c:pt>
                <c:pt idx="85">
                  <c:v>0.5119629854953262</c:v>
                </c:pt>
                <c:pt idx="86">
                  <c:v>0.5294256340796704</c:v>
                </c:pt>
                <c:pt idx="87">
                  <c:v>0.499753938423533</c:v>
                </c:pt>
                <c:pt idx="88">
                  <c:v>0.5313136071896054</c:v>
                </c:pt>
                <c:pt idx="89">
                  <c:v>0.5138659389471829</c:v>
                </c:pt>
                <c:pt idx="90">
                  <c:v>0.451067279326211</c:v>
                </c:pt>
                <c:pt idx="91">
                  <c:v>0.47535719471748766</c:v>
                </c:pt>
                <c:pt idx="92">
                  <c:v>0.48562624119327596</c:v>
                </c:pt>
                <c:pt idx="93">
                  <c:v>0.5099980844808053</c:v>
                </c:pt>
                <c:pt idx="94">
                  <c:v>0.506473637461158</c:v>
                </c:pt>
                <c:pt idx="95">
                  <c:v>0.5261047892978155</c:v>
                </c:pt>
                <c:pt idx="96">
                  <c:v>0.5212448312451228</c:v>
                </c:pt>
                <c:pt idx="97">
                  <c:v>0.5455879457535894</c:v>
                </c:pt>
                <c:pt idx="98">
                  <c:v>0.5477160518713248</c:v>
                </c:pt>
                <c:pt idx="99">
                  <c:v>0.6662493459739158</c:v>
                </c:pt>
                <c:pt idx="100">
                  <c:v>0.7710389897196903</c:v>
                </c:pt>
                <c:pt idx="101">
                  <c:v>0.7007746059574104</c:v>
                </c:pt>
                <c:pt idx="102">
                  <c:v>0.46149760502841597</c:v>
                </c:pt>
                <c:pt idx="103">
                  <c:v>0.5143290948450472</c:v>
                </c:pt>
                <c:pt idx="104">
                  <c:v>0.5151340432712597</c:v>
                </c:pt>
              </c:numCache>
            </c:numRef>
          </c:xVal>
          <c:yVal>
            <c:numRef>
              <c:f>Sheet1!$B$2:$B$106</c:f>
              <c:numCache>
                <c:formatCode>General</c:formatCode>
                <c:ptCount val="105"/>
                <c:pt idx="0">
                  <c:v>0.018375918795939798</c:v>
                </c:pt>
                <c:pt idx="1">
                  <c:v>0.0187866927592955</c:v>
                </c:pt>
                <c:pt idx="2">
                  <c:v>0.019264110961279137</c:v>
                </c:pt>
                <c:pt idx="3">
                  <c:v>0.019128586609989374</c:v>
                </c:pt>
                <c:pt idx="4">
                  <c:v>0.02166334661354582</c:v>
                </c:pt>
                <c:pt idx="5">
                  <c:v>0.019656019656019656</c:v>
                </c:pt>
                <c:pt idx="6">
                  <c:v>0.019744160177975527</c:v>
                </c:pt>
                <c:pt idx="7">
                  <c:v>0.022131426625808647</c:v>
                </c:pt>
                <c:pt idx="8">
                  <c:v>0.021167883211678833</c:v>
                </c:pt>
                <c:pt idx="9">
                  <c:v>0.02370051171559386</c:v>
                </c:pt>
                <c:pt idx="10">
                  <c:v>0.019417475728155338</c:v>
                </c:pt>
                <c:pt idx="11">
                  <c:v>0.022276029055690073</c:v>
                </c:pt>
                <c:pt idx="12">
                  <c:v>0.01883408071748879</c:v>
                </c:pt>
                <c:pt idx="13">
                  <c:v>0.014442013129102845</c:v>
                </c:pt>
                <c:pt idx="14">
                  <c:v>0.01272264631043257</c:v>
                </c:pt>
                <c:pt idx="15">
                  <c:v>0.011655011655011656</c:v>
                </c:pt>
                <c:pt idx="16">
                  <c:v>0.01128526645768025</c:v>
                </c:pt>
                <c:pt idx="17">
                  <c:v>0.009938313913639479</c:v>
                </c:pt>
                <c:pt idx="18">
                  <c:v>0.010226767452200978</c:v>
                </c:pt>
                <c:pt idx="19">
                  <c:v>0.013293051359516616</c:v>
                </c:pt>
                <c:pt idx="20">
                  <c:v>0.009798865394533264</c:v>
                </c:pt>
                <c:pt idx="21">
                  <c:v>0.011299435028248588</c:v>
                </c:pt>
                <c:pt idx="22">
                  <c:v>0.025342465753424658</c:v>
                </c:pt>
                <c:pt idx="23">
                  <c:v>0.027202072538860103</c:v>
                </c:pt>
                <c:pt idx="24">
                  <c:v>0.021772151898734177</c:v>
                </c:pt>
                <c:pt idx="25">
                  <c:v>0.020149683362118594</c:v>
                </c:pt>
                <c:pt idx="26">
                  <c:v>0.023758099352051837</c:v>
                </c:pt>
                <c:pt idx="27">
                  <c:v>0.02606516290726817</c:v>
                </c:pt>
                <c:pt idx="28">
                  <c:v>0.01901901901901902</c:v>
                </c:pt>
                <c:pt idx="29">
                  <c:v>0.01949978804578211</c:v>
                </c:pt>
                <c:pt idx="30">
                  <c:v>0.018901358535144713</c:v>
                </c:pt>
                <c:pt idx="31">
                  <c:v>0.02030456852791878</c:v>
                </c:pt>
                <c:pt idx="32">
                  <c:v>0.02301255230125523</c:v>
                </c:pt>
                <c:pt idx="33">
                  <c:v>0.024868483978957436</c:v>
                </c:pt>
                <c:pt idx="34">
                  <c:v>0.026731470230862697</c:v>
                </c:pt>
                <c:pt idx="35">
                  <c:v>0.025806451612903226</c:v>
                </c:pt>
                <c:pt idx="36">
                  <c:v>0.012081784386617101</c:v>
                </c:pt>
                <c:pt idx="37">
                  <c:v>0.009523809523809525</c:v>
                </c:pt>
                <c:pt idx="38">
                  <c:v>0.009625126646403243</c:v>
                </c:pt>
                <c:pt idx="39">
                  <c:v>0.008117706747843734</c:v>
                </c:pt>
                <c:pt idx="40">
                  <c:v>0.008183306055646482</c:v>
                </c:pt>
                <c:pt idx="41">
                  <c:v>0.006478482184173994</c:v>
                </c:pt>
                <c:pt idx="42">
                  <c:v>0.007111813512445673</c:v>
                </c:pt>
                <c:pt idx="43">
                  <c:v>0.0060790273556231</c:v>
                </c:pt>
                <c:pt idx="44">
                  <c:v>0.005534269902085994</c:v>
                </c:pt>
                <c:pt idx="45">
                  <c:v>0.005059704513256426</c:v>
                </c:pt>
                <c:pt idx="46">
                  <c:v>0.004864759680871765</c:v>
                </c:pt>
                <c:pt idx="47">
                  <c:v>0.0068721774985273905</c:v>
                </c:pt>
                <c:pt idx="48">
                  <c:v>0.009015873015873015</c:v>
                </c:pt>
                <c:pt idx="49">
                  <c:v>0.009686067629507912</c:v>
                </c:pt>
                <c:pt idx="50">
                  <c:v>0.011439842209072978</c:v>
                </c:pt>
                <c:pt idx="51">
                  <c:v>0.012277951933124347</c:v>
                </c:pt>
                <c:pt idx="52">
                  <c:v>0.012758554030543205</c:v>
                </c:pt>
                <c:pt idx="53">
                  <c:v>0.012725884448969204</c:v>
                </c:pt>
                <c:pt idx="54">
                  <c:v>0.014683389415723462</c:v>
                </c:pt>
                <c:pt idx="55">
                  <c:v>0.011703511053315995</c:v>
                </c:pt>
                <c:pt idx="56">
                  <c:v>0.013986013986013986</c:v>
                </c:pt>
                <c:pt idx="57">
                  <c:v>0.013775653640708463</c:v>
                </c:pt>
                <c:pt idx="58">
                  <c:v>0.01361573373676248</c:v>
                </c:pt>
                <c:pt idx="59">
                  <c:v>0.011184014315538324</c:v>
                </c:pt>
                <c:pt idx="60">
                  <c:v>0.013881920053520656</c:v>
                </c:pt>
                <c:pt idx="61">
                  <c:v>0.01461778097292116</c:v>
                </c:pt>
                <c:pt idx="62">
                  <c:v>0.014322014322014322</c:v>
                </c:pt>
                <c:pt idx="63">
                  <c:v>0.013246382718565314</c:v>
                </c:pt>
                <c:pt idx="64">
                  <c:v>0.016054585591009432</c:v>
                </c:pt>
                <c:pt idx="65">
                  <c:v>0.015005599104143338</c:v>
                </c:pt>
                <c:pt idx="66">
                  <c:v>0.01318407960199005</c:v>
                </c:pt>
                <c:pt idx="67">
                  <c:v>0.011419249592169658</c:v>
                </c:pt>
                <c:pt idx="68">
                  <c:v>0.012768817204301076</c:v>
                </c:pt>
                <c:pt idx="69">
                  <c:v>0.01018149623727313</c:v>
                </c:pt>
                <c:pt idx="70">
                  <c:v>0.008683729433272395</c:v>
                </c:pt>
                <c:pt idx="71">
                  <c:v>0.012396694214876033</c:v>
                </c:pt>
                <c:pt idx="72">
                  <c:v>0.010248901903367497</c:v>
                </c:pt>
                <c:pt idx="73">
                  <c:v>0.011235955056179775</c:v>
                </c:pt>
                <c:pt idx="74">
                  <c:v>0.008837209302325582</c:v>
                </c:pt>
                <c:pt idx="75">
                  <c:v>0.010067114093959731</c:v>
                </c:pt>
                <c:pt idx="76">
                  <c:v>0.008373205741626795</c:v>
                </c:pt>
                <c:pt idx="77">
                  <c:v>0.004361370716510903</c:v>
                </c:pt>
                <c:pt idx="78">
                  <c:v>0.007665505226480836</c:v>
                </c:pt>
                <c:pt idx="79">
                  <c:v>0.008296107211231652</c:v>
                </c:pt>
                <c:pt idx="80">
                  <c:v>0.008075370121130552</c:v>
                </c:pt>
                <c:pt idx="81">
                  <c:v>0.011099365750528542</c:v>
                </c:pt>
                <c:pt idx="82">
                  <c:v>0.01037344398340249</c:v>
                </c:pt>
                <c:pt idx="83">
                  <c:v>0.012234910277324634</c:v>
                </c:pt>
                <c:pt idx="84">
                  <c:v>0.009425878320479864</c:v>
                </c:pt>
                <c:pt idx="85">
                  <c:v>0.013966480446927373</c:v>
                </c:pt>
                <c:pt idx="86">
                  <c:v>0.010209290454313425</c:v>
                </c:pt>
                <c:pt idx="87">
                  <c:v>0.010309278350515464</c:v>
                </c:pt>
                <c:pt idx="88">
                  <c:v>0.008253968253968255</c:v>
                </c:pt>
                <c:pt idx="89">
                  <c:v>0.010494752623688156</c:v>
                </c:pt>
                <c:pt idx="90">
                  <c:v>0.012204424103737605</c:v>
                </c:pt>
                <c:pt idx="91">
                  <c:v>0.01020408163265306</c:v>
                </c:pt>
                <c:pt idx="92">
                  <c:v>0.010700909577314071</c:v>
                </c:pt>
                <c:pt idx="93">
                  <c:v>0.010240655401945725</c:v>
                </c:pt>
                <c:pt idx="94">
                  <c:v>0.01141826923076923</c:v>
                </c:pt>
                <c:pt idx="95">
                  <c:v>0.008006742520016857</c:v>
                </c:pt>
                <c:pt idx="96">
                  <c:v>0.009363295880149813</c:v>
                </c:pt>
                <c:pt idx="97">
                  <c:v>0.0070109838747370885</c:v>
                </c:pt>
                <c:pt idx="98">
                  <c:v>0.006281174949196379</c:v>
                </c:pt>
                <c:pt idx="99">
                  <c:v>0.003425167535368578</c:v>
                </c:pt>
                <c:pt idx="100">
                  <c:v>0.002994310809462022</c:v>
                </c:pt>
                <c:pt idx="101">
                  <c:v>0.002044153720359771</c:v>
                </c:pt>
                <c:pt idx="102">
                  <c:v>0.0033282904689863843</c:v>
                </c:pt>
                <c:pt idx="103">
                  <c:v>0.0025826446280991736</c:v>
                </c:pt>
                <c:pt idx="104">
                  <c:v>0.002912055911473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61037399919079</c:v>
                </c:pt>
                <c:pt idx="1">
                  <c:v>0.4213228171257126</c:v>
                </c:pt>
                <c:pt idx="2">
                  <c:v>0.42919480845440044</c:v>
                </c:pt>
                <c:pt idx="3">
                  <c:v>0.3968612660008897</c:v>
                </c:pt>
                <c:pt idx="4">
                  <c:v>0.4010052613118204</c:v>
                </c:pt>
                <c:pt idx="5">
                  <c:v>0.4199704795342159</c:v>
                </c:pt>
                <c:pt idx="6">
                  <c:v>0.42562503811020846</c:v>
                </c:pt>
                <c:pt idx="7">
                  <c:v>0.4332504634359454</c:v>
                </c:pt>
                <c:pt idx="8">
                  <c:v>0.4343808463639122</c:v>
                </c:pt>
                <c:pt idx="9">
                  <c:v>0.4479364671819396</c:v>
                </c:pt>
                <c:pt idx="10">
                  <c:v>0.42168929465153887</c:v>
                </c:pt>
                <c:pt idx="11">
                  <c:v>0.4432340395527481</c:v>
                </c:pt>
                <c:pt idx="12">
                  <c:v>0.4515733535675936</c:v>
                </c:pt>
                <c:pt idx="13">
                  <c:v>0.4317074506736413</c:v>
                </c:pt>
                <c:pt idx="14">
                  <c:v>0.41263753396975233</c:v>
                </c:pt>
                <c:pt idx="15">
                  <c:v>0.4258749498643404</c:v>
                </c:pt>
                <c:pt idx="16">
                  <c:v>0.5441168397325229</c:v>
                </c:pt>
                <c:pt idx="17">
                  <c:v>0.5282697771221714</c:v>
                </c:pt>
                <c:pt idx="18">
                  <c:v>0.4226793224343381</c:v>
                </c:pt>
                <c:pt idx="19">
                  <c:v>0.536400308065209</c:v>
                </c:pt>
                <c:pt idx="20">
                  <c:v>0.435418489471041</c:v>
                </c:pt>
                <c:pt idx="21">
                  <c:v>0.5633761477464139</c:v>
                </c:pt>
                <c:pt idx="22">
                  <c:v>0.4369121269165385</c:v>
                </c:pt>
                <c:pt idx="23">
                  <c:v>0.4374637970875258</c:v>
                </c:pt>
                <c:pt idx="24">
                  <c:v>0.43648451863037085</c:v>
                </c:pt>
                <c:pt idx="25">
                  <c:v>0.6684318897456075</c:v>
                </c:pt>
                <c:pt idx="26">
                  <c:v>0.5325890954417749</c:v>
                </c:pt>
                <c:pt idx="27">
                  <c:v>0.3970935173752415</c:v>
                </c:pt>
                <c:pt idx="28">
                  <c:v>0.5525833624909235</c:v>
                </c:pt>
                <c:pt idx="29">
                  <c:v>0.46217047180539733</c:v>
                </c:pt>
                <c:pt idx="30">
                  <c:v>0.4606501979410437</c:v>
                </c:pt>
                <c:pt idx="31">
                  <c:v>0.4257462544355761</c:v>
                </c:pt>
                <c:pt idx="32">
                  <c:v>0.6212559398645089</c:v>
                </c:pt>
                <c:pt idx="33">
                  <c:v>0.4163222526736633</c:v>
                </c:pt>
                <c:pt idx="34">
                  <c:v>0.4427036016998713</c:v>
                </c:pt>
                <c:pt idx="35">
                  <c:v>0.4330752586116135</c:v>
                </c:pt>
                <c:pt idx="36">
                  <c:v>0.48775818973609525</c:v>
                </c:pt>
                <c:pt idx="37">
                  <c:v>0.26072436441319186</c:v>
                </c:pt>
                <c:pt idx="38">
                  <c:v>0.22941639192368934</c:v>
                </c:pt>
                <c:pt idx="39">
                  <c:v>0.25256048348948335</c:v>
                </c:pt>
                <c:pt idx="40">
                  <c:v>0.24267249401541552</c:v>
                </c:pt>
                <c:pt idx="41">
                  <c:v>0.25307496863783585</c:v>
                </c:pt>
                <c:pt idx="42">
                  <c:v>0.22887512302699692</c:v>
                </c:pt>
                <c:pt idx="43">
                  <c:v>0.2530752280384818</c:v>
                </c:pt>
                <c:pt idx="44">
                  <c:v>0.28693737093830546</c:v>
                </c:pt>
                <c:pt idx="45">
                  <c:v>0.23683056702694757</c:v>
                </c:pt>
                <c:pt idx="46">
                  <c:v>0.273519252600931</c:v>
                </c:pt>
                <c:pt idx="47">
                  <c:v>0.27185447860089973</c:v>
                </c:pt>
                <c:pt idx="48">
                  <c:v>0.3115531327232488</c:v>
                </c:pt>
                <c:pt idx="49">
                  <c:v>0.303862473294262</c:v>
                </c:pt>
                <c:pt idx="50">
                  <c:v>0.2655254248883221</c:v>
                </c:pt>
                <c:pt idx="51">
                  <c:v>0.27856006041029524</c:v>
                </c:pt>
              </c:numCache>
            </c:numRef>
          </c:xVal>
          <c:yVal>
            <c:numRef>
              <c:f>Sheet1!$B$109:$B$160</c:f>
              <c:numCache>
                <c:formatCode>General</c:formatCode>
                <c:ptCount val="52"/>
                <c:pt idx="0">
                  <c:v>0.0042643923240938165</c:v>
                </c:pt>
                <c:pt idx="1">
                  <c:v>0.01216256303767428</c:v>
                </c:pt>
                <c:pt idx="2">
                  <c:v>0.015706806282722512</c:v>
                </c:pt>
                <c:pt idx="3">
                  <c:v>0.014949279231179925</c:v>
                </c:pt>
                <c:pt idx="4">
                  <c:v>0.015384615384615385</c:v>
                </c:pt>
                <c:pt idx="5">
                  <c:v>0.013101767215112737</c:v>
                </c:pt>
                <c:pt idx="6">
                  <c:v>0.010434292160180485</c:v>
                </c:pt>
                <c:pt idx="7">
                  <c:v>0.008803521408563426</c:v>
                </c:pt>
                <c:pt idx="8">
                  <c:v>0.007562277580071174</c:v>
                </c:pt>
                <c:pt idx="9">
                  <c:v>0.006369426751592357</c:v>
                </c:pt>
                <c:pt idx="10">
                  <c:v>0.005317128750474744</c:v>
                </c:pt>
                <c:pt idx="11">
                  <c:v>0.007216494845360825</c:v>
                </c:pt>
                <c:pt idx="12">
                  <c:v>0.004562043795620438</c:v>
                </c:pt>
                <c:pt idx="13">
                  <c:v>0.006715701950751519</c:v>
                </c:pt>
                <c:pt idx="14">
                  <c:v>0.006732813607370659</c:v>
                </c:pt>
                <c:pt idx="15">
                  <c:v>0.006010518407212622</c:v>
                </c:pt>
                <c:pt idx="16">
                  <c:v>0.0035164835164835165</c:v>
                </c:pt>
                <c:pt idx="17">
                  <c:v>0.005200208008320333</c:v>
                </c:pt>
                <c:pt idx="18">
                  <c:v>0.007888349514563107</c:v>
                </c:pt>
                <c:pt idx="19">
                  <c:v>0.0035335689045936395</c:v>
                </c:pt>
                <c:pt idx="20">
                  <c:v>0.004657351962741184</c:v>
                </c:pt>
                <c:pt idx="21">
                  <c:v>0.0032102728731942215</c:v>
                </c:pt>
                <c:pt idx="22">
                  <c:v>0.0033472803347280333</c:v>
                </c:pt>
                <c:pt idx="23">
                  <c:v>0.006427915518824609</c:v>
                </c:pt>
                <c:pt idx="24">
                  <c:v>0.005582137161084529</c:v>
                </c:pt>
                <c:pt idx="25">
                  <c:v>0.002553191489361702</c:v>
                </c:pt>
                <c:pt idx="26">
                  <c:v>0.0032626427406199023</c:v>
                </c:pt>
                <c:pt idx="27">
                  <c:v>0.006545454545454545</c:v>
                </c:pt>
                <c:pt idx="28">
                  <c:v>0.002560819462227913</c:v>
                </c:pt>
                <c:pt idx="29">
                  <c:v>0.0032102728731942215</c:v>
                </c:pt>
                <c:pt idx="30">
                  <c:v>0.0041390728476821195</c:v>
                </c:pt>
                <c:pt idx="31">
                  <c:v>0.0042158516020236085</c:v>
                </c:pt>
                <c:pt idx="32">
                  <c:v>0.0030816640986132513</c:v>
                </c:pt>
                <c:pt idx="33">
                  <c:v>0.0039040713887339654</c:v>
                </c:pt>
                <c:pt idx="34">
                  <c:v>0.003926701570680628</c:v>
                </c:pt>
                <c:pt idx="35">
                  <c:v>0.0032768978700163844</c:v>
                </c:pt>
                <c:pt idx="36">
                  <c:v>0.002955665024630542</c:v>
                </c:pt>
                <c:pt idx="37">
                  <c:v>0.014388489208633094</c:v>
                </c:pt>
                <c:pt idx="38">
                  <c:v>0.013448607108549471</c:v>
                </c:pt>
                <c:pt idx="39">
                  <c:v>0.01348747591522158</c:v>
                </c:pt>
                <c:pt idx="40">
                  <c:v>0.013075965130759652</c:v>
                </c:pt>
                <c:pt idx="41">
                  <c:v>0.01353737492642731</c:v>
                </c:pt>
                <c:pt idx="42">
                  <c:v>0.013040494166094716</c:v>
                </c:pt>
                <c:pt idx="43">
                  <c:v>0.009699769053117783</c:v>
                </c:pt>
                <c:pt idx="44">
                  <c:v>0.006583760058522311</c:v>
                </c:pt>
                <c:pt idx="45">
                  <c:v>0.007957559681697613</c:v>
                </c:pt>
                <c:pt idx="46">
                  <c:v>0.005886426592797784</c:v>
                </c:pt>
                <c:pt idx="47">
                  <c:v>0.003498727735368957</c:v>
                </c:pt>
                <c:pt idx="48">
                  <c:v>0.0025614754098360654</c:v>
                </c:pt>
                <c:pt idx="49">
                  <c:v>0.0016241299303944316</c:v>
                </c:pt>
                <c:pt idx="50">
                  <c:v>0.001910480349344978</c:v>
                </c:pt>
                <c:pt idx="51">
                  <c:v>0.00329398847104035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051737066333368</c:v>
                </c:pt>
              </c:numCache>
            </c:numRef>
          </c:xVal>
          <c:yVal>
            <c:numRef>
              <c:f>Sheet1!$B$163:$B$164</c:f>
              <c:numCache>
                <c:formatCode>General</c:formatCode>
                <c:ptCount val="2"/>
                <c:pt idx="0">
                  <c:v>0.022817452034722886</c:v>
                </c:pt>
                <c:pt idx="1">
                  <c:v>0.02281745203472288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051737066333368</c:v>
                </c:pt>
                <c:pt idx="1">
                  <c:v>-0.5051737066333368</c:v>
                </c:pt>
              </c:numCache>
            </c:numRef>
          </c:xVal>
          <c:yVal>
            <c:numRef>
              <c:f>Sheet1!$B$167:$B$168</c:f>
              <c:numCache>
                <c:formatCode>General</c:formatCode>
                <c:ptCount val="2"/>
                <c:pt idx="0">
                  <c:v>0.0228174520347228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4693218452278572</c:v>
                </c:pt>
              </c:numCache>
            </c:numRef>
          </c:xVal>
          <c:yVal>
            <c:numRef>
              <c:f>Sheet1!$B$171:$B$172</c:f>
              <c:numCache>
                <c:formatCode>General</c:formatCode>
                <c:ptCount val="2"/>
                <c:pt idx="0">
                  <c:v>0.011374390513801527</c:v>
                </c:pt>
                <c:pt idx="1">
                  <c:v>0.01137439051380152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4693218452278572</c:v>
                </c:pt>
                <c:pt idx="1">
                  <c:v>0.14693218452278572</c:v>
                </c:pt>
              </c:numCache>
            </c:numRef>
          </c:xVal>
          <c:yVal>
            <c:numRef>
              <c:f>Sheet1!$B$175:$B$176</c:f>
              <c:numCache>
                <c:formatCode>General</c:formatCode>
                <c:ptCount val="2"/>
                <c:pt idx="0">
                  <c:v>0.0113743905138015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736065719701102</c:v>
                </c:pt>
              </c:numCache>
            </c:numRef>
          </c:xVal>
          <c:yVal>
            <c:numRef>
              <c:f>Sheet1!$B$179:$B$180</c:f>
              <c:numCache>
                <c:formatCode>General</c:formatCode>
                <c:ptCount val="2"/>
                <c:pt idx="0">
                  <c:v>0.0073967405708171945</c:v>
                </c:pt>
                <c:pt idx="1">
                  <c:v>0.00739674057081719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736065719701102</c:v>
                </c:pt>
                <c:pt idx="1">
                  <c:v>0.3736065719701102</c:v>
                </c:pt>
              </c:numCache>
            </c:numRef>
          </c:xVal>
          <c:yVal>
            <c:numRef>
              <c:f>Sheet1!$B$183:$B$184</c:f>
              <c:numCache>
                <c:formatCode>General</c:formatCode>
                <c:ptCount val="2"/>
                <c:pt idx="0">
                  <c:v>0.00739674057081719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61037399919079</c:v>
                </c:pt>
                <c:pt idx="1">
                  <c:v>0.4213228171257126</c:v>
                </c:pt>
                <c:pt idx="2">
                  <c:v>0.42919480845440044</c:v>
                </c:pt>
                <c:pt idx="3">
                  <c:v>0.3968612660008897</c:v>
                </c:pt>
                <c:pt idx="4">
                  <c:v>0.4010052613118204</c:v>
                </c:pt>
                <c:pt idx="5">
                  <c:v>0.4199704795342159</c:v>
                </c:pt>
                <c:pt idx="6">
                  <c:v>0.42562503811020846</c:v>
                </c:pt>
                <c:pt idx="7">
                  <c:v>0.4332504634359454</c:v>
                </c:pt>
                <c:pt idx="8">
                  <c:v>0.4343808463639122</c:v>
                </c:pt>
                <c:pt idx="9">
                  <c:v>0.4479364671819396</c:v>
                </c:pt>
                <c:pt idx="10">
                  <c:v>0.42168929465153887</c:v>
                </c:pt>
                <c:pt idx="11">
                  <c:v>0.4432340395527481</c:v>
                </c:pt>
                <c:pt idx="12">
                  <c:v>0.4515733535675936</c:v>
                </c:pt>
                <c:pt idx="13">
                  <c:v>0.4317074506736413</c:v>
                </c:pt>
                <c:pt idx="14">
                  <c:v>0.41263753396975233</c:v>
                </c:pt>
                <c:pt idx="15">
                  <c:v>0.4258749498643404</c:v>
                </c:pt>
                <c:pt idx="16">
                  <c:v>0.5441168397325229</c:v>
                </c:pt>
                <c:pt idx="17">
                  <c:v>0.5282697771221714</c:v>
                </c:pt>
                <c:pt idx="18">
                  <c:v>0.4226793224343381</c:v>
                </c:pt>
                <c:pt idx="19">
                  <c:v>0.536400308065209</c:v>
                </c:pt>
                <c:pt idx="20">
                  <c:v>0.435418489471041</c:v>
                </c:pt>
                <c:pt idx="21">
                  <c:v>0.5633761477464139</c:v>
                </c:pt>
                <c:pt idx="22">
                  <c:v>0.4369121269165385</c:v>
                </c:pt>
                <c:pt idx="23">
                  <c:v>0.4374637970875258</c:v>
                </c:pt>
                <c:pt idx="24">
                  <c:v>0.43648451863037085</c:v>
                </c:pt>
                <c:pt idx="25">
                  <c:v>0.6684318897456075</c:v>
                </c:pt>
                <c:pt idx="26">
                  <c:v>0.5325890954417749</c:v>
                </c:pt>
                <c:pt idx="27">
                  <c:v>0.3970935173752415</c:v>
                </c:pt>
                <c:pt idx="28">
                  <c:v>0.5525833624909235</c:v>
                </c:pt>
                <c:pt idx="29">
                  <c:v>0.46217047180539733</c:v>
                </c:pt>
                <c:pt idx="30">
                  <c:v>0.4606501979410437</c:v>
                </c:pt>
                <c:pt idx="31">
                  <c:v>0.4257462544355761</c:v>
                </c:pt>
                <c:pt idx="32">
                  <c:v>0.6212559398645089</c:v>
                </c:pt>
                <c:pt idx="33">
                  <c:v>0.4163222526736633</c:v>
                </c:pt>
                <c:pt idx="34">
                  <c:v>0.4427036016998713</c:v>
                </c:pt>
                <c:pt idx="35">
                  <c:v>0.4330752586116135</c:v>
                </c:pt>
                <c:pt idx="36">
                  <c:v>0.48775818973609525</c:v>
                </c:pt>
                <c:pt idx="37">
                  <c:v>0.26072436441319186</c:v>
                </c:pt>
                <c:pt idx="38">
                  <c:v>0.22941639192368934</c:v>
                </c:pt>
                <c:pt idx="39">
                  <c:v>0.25256048348948335</c:v>
                </c:pt>
                <c:pt idx="40">
                  <c:v>0.24267249401541552</c:v>
                </c:pt>
                <c:pt idx="41">
                  <c:v>0.25307496863783585</c:v>
                </c:pt>
                <c:pt idx="42">
                  <c:v>0.22887512302699692</c:v>
                </c:pt>
                <c:pt idx="43">
                  <c:v>0.2530752280384818</c:v>
                </c:pt>
                <c:pt idx="44">
                  <c:v>0.28693737093830546</c:v>
                </c:pt>
                <c:pt idx="45">
                  <c:v>0.23683056702694757</c:v>
                </c:pt>
                <c:pt idx="46">
                  <c:v>0.273519252600931</c:v>
                </c:pt>
                <c:pt idx="47">
                  <c:v>0.27185447860089973</c:v>
                </c:pt>
                <c:pt idx="48">
                  <c:v>0.3115531327232488</c:v>
                </c:pt>
                <c:pt idx="49">
                  <c:v>0.303862473294262</c:v>
                </c:pt>
                <c:pt idx="50">
                  <c:v>0.2655254248883221</c:v>
                </c:pt>
                <c:pt idx="51">
                  <c:v>0.27856006041029524</c:v>
                </c:pt>
                <c:pt idx="52">
                  <c:v>0.14693218452278572</c:v>
                </c:pt>
                <c:pt idx="53">
                  <c:v>-0.5051737066333368</c:v>
                </c:pt>
                <c:pt idx="54">
                  <c:v>0.3736065719701102</c:v>
                </c:pt>
              </c:numCache>
            </c:numRef>
          </c:xVal>
          <c:yVal>
            <c:numRef>
              <c:f>Sheet1!$B$187:$B$241</c:f>
              <c:numCache>
                <c:formatCode>General</c:formatCode>
                <c:ptCount val="55"/>
                <c:pt idx="0">
                  <c:v>0.005949091988312354</c:v>
                </c:pt>
                <c:pt idx="1">
                  <c:v>0.006559422680781142</c:v>
                </c:pt>
                <c:pt idx="2">
                  <c:v>0.0064212860954688524</c:v>
                </c:pt>
                <c:pt idx="3">
                  <c:v>0.006988670504201735</c:v>
                </c:pt>
                <c:pt idx="4">
                  <c:v>0.0069159522633017514</c:v>
                </c:pt>
                <c:pt idx="5">
                  <c:v>0.006583153308684405</c:v>
                </c:pt>
                <c:pt idx="6">
                  <c:v>0.0064839279182435676</c:v>
                </c:pt>
                <c:pt idx="7">
                  <c:v>0.006350118038116739</c:v>
                </c:pt>
                <c:pt idx="8">
                  <c:v>0.0063302822391117786</c:v>
                </c:pt>
                <c:pt idx="9">
                  <c:v>0.006092410131101896</c:v>
                </c:pt>
                <c:pt idx="10">
                  <c:v>0.006552991785230376</c:v>
                </c:pt>
                <c:pt idx="11">
                  <c:v>0.006174927662975621</c:v>
                </c:pt>
                <c:pt idx="12">
                  <c:v>0.006028590565568058</c:v>
                </c:pt>
                <c:pt idx="13">
                  <c:v>0.006377194606824482</c:v>
                </c:pt>
                <c:pt idx="14">
                  <c:v>0.006711830795518571</c:v>
                </c:pt>
                <c:pt idx="15">
                  <c:v>0.006479542502291777</c:v>
                </c:pt>
                <c:pt idx="16">
                  <c:v>0.004404650619759032</c:v>
                </c:pt>
                <c:pt idx="17">
                  <c:v>0.004682732622751902</c:v>
                </c:pt>
                <c:pt idx="18">
                  <c:v>0.0065356189183698905</c:v>
                </c:pt>
                <c:pt idx="19">
                  <c:v>0.004540059221022642</c:v>
                </c:pt>
                <c:pt idx="20">
                  <c:v>0.0063120738253055735</c:v>
                </c:pt>
                <c:pt idx="21">
                  <c:v>0.004066691019267453</c:v>
                </c:pt>
                <c:pt idx="22">
                  <c:v>0.006285863687641463</c:v>
                </c:pt>
                <c:pt idx="23">
                  <c:v>0.006276183057867251</c:v>
                </c:pt>
                <c:pt idx="24">
                  <c:v>0.006293367297088691</c:v>
                </c:pt>
                <c:pt idx="25">
                  <c:v>0.0022231877859329105</c:v>
                </c:pt>
                <c:pt idx="26">
                  <c:v>0.004606937838607201</c:v>
                </c:pt>
                <c:pt idx="27">
                  <c:v>0.0069845949900849795</c:v>
                </c:pt>
                <c:pt idx="28">
                  <c:v>0.004256081281394529</c:v>
                </c:pt>
                <c:pt idx="29">
                  <c:v>0.005842633840465211</c:v>
                </c:pt>
                <c:pt idx="30">
                  <c:v>0.005869311390222667</c:v>
                </c:pt>
                <c:pt idx="31">
                  <c:v>0.006481800831389525</c:v>
                </c:pt>
                <c:pt idx="32">
                  <c:v>0.003051024651261997</c:v>
                </c:pt>
                <c:pt idx="33">
                  <c:v>0.006647171875260407</c:v>
                </c:pt>
                <c:pt idx="34">
                  <c:v>0.006184235711048509</c:v>
                </c:pt>
                <c:pt idx="35">
                  <c:v>0.006353192507479434</c:v>
                </c:pt>
                <c:pt idx="36">
                  <c:v>0.005393624201951061</c:v>
                </c:pt>
                <c:pt idx="37">
                  <c:v>0.009377581509703877</c:v>
                </c:pt>
                <c:pt idx="38">
                  <c:v>0.009926969362430572</c:v>
                </c:pt>
                <c:pt idx="39">
                  <c:v>0.009520840132155282</c:v>
                </c:pt>
                <c:pt idx="40">
                  <c:v>0.009694353166471503</c:v>
                </c:pt>
                <c:pt idx="41">
                  <c:v>0.009511812019874683</c:v>
                </c:pt>
                <c:pt idx="42">
                  <c:v>0.009936467472121365</c:v>
                </c:pt>
                <c:pt idx="43">
                  <c:v>0.009511807467949007</c:v>
                </c:pt>
                <c:pt idx="44">
                  <c:v>0.008917599395781562</c:v>
                </c:pt>
                <c:pt idx="45">
                  <c:v>0.009796866471191464</c:v>
                </c:pt>
                <c:pt idx="46">
                  <c:v>0.009153058629798538</c:v>
                </c:pt>
                <c:pt idx="47">
                  <c:v>0.009182271847404985</c:v>
                </c:pt>
                <c:pt idx="48">
                  <c:v>0.008485645505608819</c:v>
                </c:pt>
                <c:pt idx="49">
                  <c:v>0.008620600104510425</c:v>
                </c:pt>
                <c:pt idx="50">
                  <c:v>0.009293333182664263</c:v>
                </c:pt>
                <c:pt idx="51">
                  <c:v>0.009064603250603253</c:v>
                </c:pt>
                <c:pt idx="52">
                  <c:v>0.011374390513801527</c:v>
                </c:pt>
                <c:pt idx="53">
                  <c:v>0.022817452034722886</c:v>
                </c:pt>
                <c:pt idx="54">
                  <c:v>0.00739674057081719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248704663212"/>
          <c:min val="0.00129930394431554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9.9048</c:v>
                </c:pt>
                <c:pt idx="1">
                  <c:v>738.4271</c:v>
                </c:pt>
                <c:pt idx="2">
                  <c:v>799.07</c:v>
                </c:pt>
                <c:pt idx="3">
                  <c:v>804.5333</c:v>
                </c:pt>
                <c:pt idx="4">
                  <c:v>813.908</c:v>
                </c:pt>
                <c:pt idx="5">
                  <c:v>818.0417</c:v>
                </c:pt>
                <c:pt idx="6">
                  <c:v>841.9859</c:v>
                </c:pt>
                <c:pt idx="7">
                  <c:v>827.9385</c:v>
                </c:pt>
                <c:pt idx="8">
                  <c:v>838.6034</c:v>
                </c:pt>
                <c:pt idx="9">
                  <c:v>831.7386</c:v>
                </c:pt>
                <c:pt idx="10">
                  <c:v>832.1447</c:v>
                </c:pt>
                <c:pt idx="11">
                  <c:v>816.5652</c:v>
                </c:pt>
                <c:pt idx="12">
                  <c:v>811.4048</c:v>
                </c:pt>
                <c:pt idx="13">
                  <c:v>824.6515</c:v>
                </c:pt>
                <c:pt idx="14">
                  <c:v>807.15</c:v>
                </c:pt>
                <c:pt idx="15">
                  <c:v>828.3556</c:v>
                </c:pt>
                <c:pt idx="16">
                  <c:v>848.1667</c:v>
                </c:pt>
                <c:pt idx="17">
                  <c:v>827.6207</c:v>
                </c:pt>
                <c:pt idx="18">
                  <c:v>825.1304</c:v>
                </c:pt>
                <c:pt idx="19">
                  <c:v>803.6818</c:v>
                </c:pt>
                <c:pt idx="20">
                  <c:v>844.6842</c:v>
                </c:pt>
                <c:pt idx="21">
                  <c:v>857.875</c:v>
                </c:pt>
                <c:pt idx="22">
                  <c:v>835.2162</c:v>
                </c:pt>
                <c:pt idx="23">
                  <c:v>850.9762</c:v>
                </c:pt>
                <c:pt idx="24">
                  <c:v>851.7442</c:v>
                </c:pt>
                <c:pt idx="25">
                  <c:v>835.6857</c:v>
                </c:pt>
                <c:pt idx="26">
                  <c:v>867.6818</c:v>
                </c:pt>
                <c:pt idx="27">
                  <c:v>843.4615</c:v>
                </c:pt>
                <c:pt idx="28">
                  <c:v>837.4737</c:v>
                </c:pt>
                <c:pt idx="29">
                  <c:v>849.5</c:v>
                </c:pt>
                <c:pt idx="30">
                  <c:v>832.1563</c:v>
                </c:pt>
                <c:pt idx="31">
                  <c:v>836.0</c:v>
                </c:pt>
                <c:pt idx="32">
                  <c:v>851.6061</c:v>
                </c:pt>
                <c:pt idx="33">
                  <c:v>860.3846</c:v>
                </c:pt>
                <c:pt idx="34">
                  <c:v>846.1364</c:v>
                </c:pt>
                <c:pt idx="35">
                  <c:v>835.6528</c:v>
                </c:pt>
                <c:pt idx="36">
                  <c:v>1097.0769</c:v>
                </c:pt>
                <c:pt idx="37">
                  <c:v>1068.4444</c:v>
                </c:pt>
                <c:pt idx="38">
                  <c:v>1147.3684</c:v>
                </c:pt>
                <c:pt idx="39">
                  <c:v>1130.3125</c:v>
                </c:pt>
                <c:pt idx="40">
                  <c:v>1136.0</c:v>
                </c:pt>
                <c:pt idx="41">
                  <c:v>1128.5</c:v>
                </c:pt>
                <c:pt idx="42">
                  <c:v>1148.2222</c:v>
                </c:pt>
                <c:pt idx="43">
                  <c:v>1189.8333</c:v>
                </c:pt>
                <c:pt idx="44">
                  <c:v>1109.9231</c:v>
                </c:pt>
                <c:pt idx="45">
                  <c:v>1144.8</c:v>
                </c:pt>
                <c:pt idx="46">
                  <c:v>1126.52</c:v>
                </c:pt>
                <c:pt idx="47">
                  <c:v>1138.0</c:v>
                </c:pt>
                <c:pt idx="48">
                  <c:v>1154.7042</c:v>
                </c:pt>
                <c:pt idx="49">
                  <c:v>1139.8036</c:v>
                </c:pt>
                <c:pt idx="50">
                  <c:v>1107.7241</c:v>
                </c:pt>
                <c:pt idx="51">
                  <c:v>1131.617</c:v>
                </c:pt>
                <c:pt idx="52">
                  <c:v>1126.0758</c:v>
                </c:pt>
                <c:pt idx="53">
                  <c:v>1125.56</c:v>
                </c:pt>
                <c:pt idx="54">
                  <c:v>1140.2708</c:v>
                </c:pt>
                <c:pt idx="55">
                  <c:v>1161.5833</c:v>
                </c:pt>
                <c:pt idx="56">
                  <c:v>1132.8095</c:v>
                </c:pt>
                <c:pt idx="57">
                  <c:v>1135.9796</c:v>
                </c:pt>
                <c:pt idx="58">
                  <c:v>1159.6481</c:v>
                </c:pt>
                <c:pt idx="59">
                  <c:v>1148.9867</c:v>
                </c:pt>
                <c:pt idx="60">
                  <c:v>1160.8313</c:v>
                </c:pt>
                <c:pt idx="61">
                  <c:v>1134.0656</c:v>
                </c:pt>
                <c:pt idx="62">
                  <c:v>1116.3387</c:v>
                </c:pt>
                <c:pt idx="63">
                  <c:v>1178.5231</c:v>
                </c:pt>
                <c:pt idx="64">
                  <c:v>1154.3125</c:v>
                </c:pt>
                <c:pt idx="65">
                  <c:v>1123.9403</c:v>
                </c:pt>
                <c:pt idx="66">
                  <c:v>1127.8491</c:v>
                </c:pt>
                <c:pt idx="67">
                  <c:v>1149.9524</c:v>
                </c:pt>
                <c:pt idx="68">
                  <c:v>1146.5263</c:v>
                </c:pt>
                <c:pt idx="69">
                  <c:v>1098.087</c:v>
                </c:pt>
                <c:pt idx="70">
                  <c:v>1116.7368</c:v>
                </c:pt>
                <c:pt idx="71">
                  <c:v>1097.125</c:v>
                </c:pt>
                <c:pt idx="72">
                  <c:v>1172.9048</c:v>
                </c:pt>
                <c:pt idx="73">
                  <c:v>1164.9545</c:v>
                </c:pt>
                <c:pt idx="74">
                  <c:v>1223.4211</c:v>
                </c:pt>
                <c:pt idx="75">
                  <c:v>1090.2222</c:v>
                </c:pt>
                <c:pt idx="76">
                  <c:v>1126.0714</c:v>
                </c:pt>
                <c:pt idx="77">
                  <c:v>1237.5714</c:v>
                </c:pt>
                <c:pt idx="78">
                  <c:v>1025.0909</c:v>
                </c:pt>
                <c:pt idx="79">
                  <c:v>894.6154</c:v>
                </c:pt>
                <c:pt idx="80">
                  <c:v>855.25</c:v>
                </c:pt>
                <c:pt idx="81">
                  <c:v>708.7143</c:v>
                </c:pt>
                <c:pt idx="82">
                  <c:v>660.9333</c:v>
                </c:pt>
                <c:pt idx="83">
                  <c:v>694.0667</c:v>
                </c:pt>
                <c:pt idx="84">
                  <c:v>681.6364</c:v>
                </c:pt>
                <c:pt idx="85">
                  <c:v>677.85</c:v>
                </c:pt>
                <c:pt idx="86">
                  <c:v>699.9</c:v>
                </c:pt>
                <c:pt idx="87">
                  <c:v>677.5455</c:v>
                </c:pt>
                <c:pt idx="88">
                  <c:v>748.6154</c:v>
                </c:pt>
                <c:pt idx="89">
                  <c:v>720.8571</c:v>
                </c:pt>
                <c:pt idx="90">
                  <c:v>665.4375</c:v>
                </c:pt>
                <c:pt idx="91">
                  <c:v>676.0</c:v>
                </c:pt>
                <c:pt idx="92">
                  <c:v>667.95</c:v>
                </c:pt>
                <c:pt idx="93">
                  <c:v>716.2</c:v>
                </c:pt>
                <c:pt idx="94">
                  <c:v>702.3158</c:v>
                </c:pt>
                <c:pt idx="95">
                  <c:v>719.2105</c:v>
                </c:pt>
                <c:pt idx="96">
                  <c:v>695.5429</c:v>
                </c:pt>
                <c:pt idx="97">
                  <c:v>701.6333</c:v>
                </c:pt>
                <c:pt idx="98">
                  <c:v>709.1765</c:v>
                </c:pt>
                <c:pt idx="99">
                  <c:v>852.2609</c:v>
                </c:pt>
                <c:pt idx="100">
                  <c:v>1017.7333</c:v>
                </c:pt>
                <c:pt idx="101">
                  <c:v>967.0</c:v>
                </c:pt>
                <c:pt idx="102">
                  <c:v>630.7273</c:v>
                </c:pt>
                <c:pt idx="103">
                  <c:v>696.4</c:v>
                </c:pt>
                <c:pt idx="104">
                  <c:v>741.2</c:v>
                </c:pt>
              </c:numCache>
            </c:numRef>
          </c:xVal>
          <c:yVal>
            <c:numRef>
              <c:f>Sheet1!$B$2:$B$106</c:f>
              <c:numCache>
                <c:formatCode>General</c:formatCode>
                <c:ptCount val="105"/>
                <c:pt idx="0">
                  <c:v>0.018375918795939798</c:v>
                </c:pt>
                <c:pt idx="1">
                  <c:v>0.0187866927592955</c:v>
                </c:pt>
                <c:pt idx="2">
                  <c:v>0.019264110961279137</c:v>
                </c:pt>
                <c:pt idx="3">
                  <c:v>0.019128586609989374</c:v>
                </c:pt>
                <c:pt idx="4">
                  <c:v>0.02166334661354582</c:v>
                </c:pt>
                <c:pt idx="5">
                  <c:v>0.019656019656019656</c:v>
                </c:pt>
                <c:pt idx="6">
                  <c:v>0.019744160177975527</c:v>
                </c:pt>
                <c:pt idx="7">
                  <c:v>0.022131426625808647</c:v>
                </c:pt>
                <c:pt idx="8">
                  <c:v>0.021167883211678833</c:v>
                </c:pt>
                <c:pt idx="9">
                  <c:v>0.02370051171559386</c:v>
                </c:pt>
                <c:pt idx="10">
                  <c:v>0.019417475728155338</c:v>
                </c:pt>
                <c:pt idx="11">
                  <c:v>0.022276029055690073</c:v>
                </c:pt>
                <c:pt idx="12">
                  <c:v>0.01883408071748879</c:v>
                </c:pt>
                <c:pt idx="13">
                  <c:v>0.014442013129102845</c:v>
                </c:pt>
                <c:pt idx="14">
                  <c:v>0.01272264631043257</c:v>
                </c:pt>
                <c:pt idx="15">
                  <c:v>0.011655011655011656</c:v>
                </c:pt>
                <c:pt idx="16">
                  <c:v>0.01128526645768025</c:v>
                </c:pt>
                <c:pt idx="17">
                  <c:v>0.009938313913639479</c:v>
                </c:pt>
                <c:pt idx="18">
                  <c:v>0.010226767452200978</c:v>
                </c:pt>
                <c:pt idx="19">
                  <c:v>0.013293051359516616</c:v>
                </c:pt>
                <c:pt idx="20">
                  <c:v>0.009798865394533264</c:v>
                </c:pt>
                <c:pt idx="21">
                  <c:v>0.011299435028248588</c:v>
                </c:pt>
                <c:pt idx="22">
                  <c:v>0.025342465753424658</c:v>
                </c:pt>
                <c:pt idx="23">
                  <c:v>0.027202072538860103</c:v>
                </c:pt>
                <c:pt idx="24">
                  <c:v>0.021772151898734177</c:v>
                </c:pt>
                <c:pt idx="25">
                  <c:v>0.020149683362118594</c:v>
                </c:pt>
                <c:pt idx="26">
                  <c:v>0.023758099352051837</c:v>
                </c:pt>
                <c:pt idx="27">
                  <c:v>0.02606516290726817</c:v>
                </c:pt>
                <c:pt idx="28">
                  <c:v>0.01901901901901902</c:v>
                </c:pt>
                <c:pt idx="29">
                  <c:v>0.01949978804578211</c:v>
                </c:pt>
                <c:pt idx="30">
                  <c:v>0.018901358535144713</c:v>
                </c:pt>
                <c:pt idx="31">
                  <c:v>0.02030456852791878</c:v>
                </c:pt>
                <c:pt idx="32">
                  <c:v>0.02301255230125523</c:v>
                </c:pt>
                <c:pt idx="33">
                  <c:v>0.024868483978957436</c:v>
                </c:pt>
                <c:pt idx="34">
                  <c:v>0.026731470230862697</c:v>
                </c:pt>
                <c:pt idx="35">
                  <c:v>0.025806451612903226</c:v>
                </c:pt>
                <c:pt idx="36">
                  <c:v>0.012081784386617101</c:v>
                </c:pt>
                <c:pt idx="37">
                  <c:v>0.009523809523809525</c:v>
                </c:pt>
                <c:pt idx="38">
                  <c:v>0.009625126646403243</c:v>
                </c:pt>
                <c:pt idx="39">
                  <c:v>0.008117706747843734</c:v>
                </c:pt>
                <c:pt idx="40">
                  <c:v>0.008183306055646482</c:v>
                </c:pt>
                <c:pt idx="41">
                  <c:v>0.006478482184173994</c:v>
                </c:pt>
                <c:pt idx="42">
                  <c:v>0.007111813512445673</c:v>
                </c:pt>
                <c:pt idx="43">
                  <c:v>0.0060790273556231</c:v>
                </c:pt>
                <c:pt idx="44">
                  <c:v>0.005534269902085994</c:v>
                </c:pt>
                <c:pt idx="45">
                  <c:v>0.005059704513256426</c:v>
                </c:pt>
                <c:pt idx="46">
                  <c:v>0.004864759680871765</c:v>
                </c:pt>
                <c:pt idx="47">
                  <c:v>0.0068721774985273905</c:v>
                </c:pt>
                <c:pt idx="48">
                  <c:v>0.009015873015873015</c:v>
                </c:pt>
                <c:pt idx="49">
                  <c:v>0.009686067629507912</c:v>
                </c:pt>
                <c:pt idx="50">
                  <c:v>0.011439842209072978</c:v>
                </c:pt>
                <c:pt idx="51">
                  <c:v>0.012277951933124347</c:v>
                </c:pt>
                <c:pt idx="52">
                  <c:v>0.012758554030543205</c:v>
                </c:pt>
                <c:pt idx="53">
                  <c:v>0.012725884448969204</c:v>
                </c:pt>
                <c:pt idx="54">
                  <c:v>0.014683389415723462</c:v>
                </c:pt>
                <c:pt idx="55">
                  <c:v>0.011703511053315995</c:v>
                </c:pt>
                <c:pt idx="56">
                  <c:v>0.013986013986013986</c:v>
                </c:pt>
                <c:pt idx="57">
                  <c:v>0.013775653640708463</c:v>
                </c:pt>
                <c:pt idx="58">
                  <c:v>0.01361573373676248</c:v>
                </c:pt>
                <c:pt idx="59">
                  <c:v>0.011184014315538324</c:v>
                </c:pt>
                <c:pt idx="60">
                  <c:v>0.013881920053520656</c:v>
                </c:pt>
                <c:pt idx="61">
                  <c:v>0.01461778097292116</c:v>
                </c:pt>
                <c:pt idx="62">
                  <c:v>0.014322014322014322</c:v>
                </c:pt>
                <c:pt idx="63">
                  <c:v>0.013246382718565314</c:v>
                </c:pt>
                <c:pt idx="64">
                  <c:v>0.016054585591009432</c:v>
                </c:pt>
                <c:pt idx="65">
                  <c:v>0.015005599104143338</c:v>
                </c:pt>
                <c:pt idx="66">
                  <c:v>0.01318407960199005</c:v>
                </c:pt>
                <c:pt idx="67">
                  <c:v>0.011419249592169658</c:v>
                </c:pt>
                <c:pt idx="68">
                  <c:v>0.012768817204301076</c:v>
                </c:pt>
                <c:pt idx="69">
                  <c:v>0.01018149623727313</c:v>
                </c:pt>
                <c:pt idx="70">
                  <c:v>0.008683729433272395</c:v>
                </c:pt>
                <c:pt idx="71">
                  <c:v>0.012396694214876033</c:v>
                </c:pt>
                <c:pt idx="72">
                  <c:v>0.010248901903367497</c:v>
                </c:pt>
                <c:pt idx="73">
                  <c:v>0.011235955056179775</c:v>
                </c:pt>
                <c:pt idx="74">
                  <c:v>0.008837209302325582</c:v>
                </c:pt>
                <c:pt idx="75">
                  <c:v>0.010067114093959731</c:v>
                </c:pt>
                <c:pt idx="76">
                  <c:v>0.008373205741626795</c:v>
                </c:pt>
                <c:pt idx="77">
                  <c:v>0.004361370716510903</c:v>
                </c:pt>
                <c:pt idx="78">
                  <c:v>0.007665505226480836</c:v>
                </c:pt>
                <c:pt idx="79">
                  <c:v>0.008296107211231652</c:v>
                </c:pt>
                <c:pt idx="80">
                  <c:v>0.008075370121130552</c:v>
                </c:pt>
                <c:pt idx="81">
                  <c:v>0.011099365750528542</c:v>
                </c:pt>
                <c:pt idx="82">
                  <c:v>0.01037344398340249</c:v>
                </c:pt>
                <c:pt idx="83">
                  <c:v>0.012234910277324634</c:v>
                </c:pt>
                <c:pt idx="84">
                  <c:v>0.009425878320479864</c:v>
                </c:pt>
                <c:pt idx="85">
                  <c:v>0.013966480446927373</c:v>
                </c:pt>
                <c:pt idx="86">
                  <c:v>0.010209290454313425</c:v>
                </c:pt>
                <c:pt idx="87">
                  <c:v>0.010309278350515464</c:v>
                </c:pt>
                <c:pt idx="88">
                  <c:v>0.008253968253968255</c:v>
                </c:pt>
                <c:pt idx="89">
                  <c:v>0.010494752623688156</c:v>
                </c:pt>
                <c:pt idx="90">
                  <c:v>0.012204424103737605</c:v>
                </c:pt>
                <c:pt idx="91">
                  <c:v>0.01020408163265306</c:v>
                </c:pt>
                <c:pt idx="92">
                  <c:v>0.010700909577314071</c:v>
                </c:pt>
                <c:pt idx="93">
                  <c:v>0.010240655401945725</c:v>
                </c:pt>
                <c:pt idx="94">
                  <c:v>0.01141826923076923</c:v>
                </c:pt>
                <c:pt idx="95">
                  <c:v>0.008006742520016857</c:v>
                </c:pt>
                <c:pt idx="96">
                  <c:v>0.009363295880149813</c:v>
                </c:pt>
                <c:pt idx="97">
                  <c:v>0.0070109838747370885</c:v>
                </c:pt>
                <c:pt idx="98">
                  <c:v>0.006281174949196379</c:v>
                </c:pt>
                <c:pt idx="99">
                  <c:v>0.003425167535368578</c:v>
                </c:pt>
                <c:pt idx="100">
                  <c:v>0.002994310809462022</c:v>
                </c:pt>
                <c:pt idx="101">
                  <c:v>0.002044153720359771</c:v>
                </c:pt>
                <c:pt idx="102">
                  <c:v>0.0033282904689863843</c:v>
                </c:pt>
                <c:pt idx="103">
                  <c:v>0.0025826446280991736</c:v>
                </c:pt>
                <c:pt idx="104">
                  <c:v>0.00291205591147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79.1875</c:v>
                </c:pt>
                <c:pt idx="1">
                  <c:v>659.4878</c:v>
                </c:pt>
                <c:pt idx="2">
                  <c:v>660.75</c:v>
                </c:pt>
                <c:pt idx="3">
                  <c:v>637.7857</c:v>
                </c:pt>
                <c:pt idx="4">
                  <c:v>628.7963</c:v>
                </c:pt>
                <c:pt idx="5">
                  <c:v>657.7442</c:v>
                </c:pt>
                <c:pt idx="6">
                  <c:v>624.027</c:v>
                </c:pt>
                <c:pt idx="7">
                  <c:v>628.1364</c:v>
                </c:pt>
                <c:pt idx="8">
                  <c:v>646.7059</c:v>
                </c:pt>
                <c:pt idx="9">
                  <c:v>668.1875</c:v>
                </c:pt>
                <c:pt idx="10">
                  <c:v>630.5714</c:v>
                </c:pt>
                <c:pt idx="11">
                  <c:v>616.0357</c:v>
                </c:pt>
                <c:pt idx="12">
                  <c:v>638.3333</c:v>
                </c:pt>
                <c:pt idx="13">
                  <c:v>652.5714</c:v>
                </c:pt>
                <c:pt idx="14">
                  <c:v>616.7895</c:v>
                </c:pt>
                <c:pt idx="15">
                  <c:v>631.5625</c:v>
                </c:pt>
                <c:pt idx="16">
                  <c:v>796.875</c:v>
                </c:pt>
                <c:pt idx="17">
                  <c:v>737.3</c:v>
                </c:pt>
                <c:pt idx="18">
                  <c:v>601.6923</c:v>
                </c:pt>
                <c:pt idx="19">
                  <c:v>842.6667</c:v>
                </c:pt>
                <c:pt idx="20">
                  <c:v>697.8571</c:v>
                </c:pt>
                <c:pt idx="21">
                  <c:v>863.75</c:v>
                </c:pt>
                <c:pt idx="22">
                  <c:v>663.75</c:v>
                </c:pt>
                <c:pt idx="23">
                  <c:v>668.0</c:v>
                </c:pt>
                <c:pt idx="24">
                  <c:v>658.8571</c:v>
                </c:pt>
                <c:pt idx="25">
                  <c:v>950.0</c:v>
                </c:pt>
                <c:pt idx="26">
                  <c:v>765.5</c:v>
                </c:pt>
                <c:pt idx="27">
                  <c:v>569.5556</c:v>
                </c:pt>
                <c:pt idx="28">
                  <c:v>822.5</c:v>
                </c:pt>
                <c:pt idx="29">
                  <c:v>713.0</c:v>
                </c:pt>
                <c:pt idx="30">
                  <c:v>718.2</c:v>
                </c:pt>
                <c:pt idx="31">
                  <c:v>641.2</c:v>
                </c:pt>
                <c:pt idx="32">
                  <c:v>954.0</c:v>
                </c:pt>
                <c:pt idx="33">
                  <c:v>650.2857</c:v>
                </c:pt>
                <c:pt idx="34">
                  <c:v>694.5556</c:v>
                </c:pt>
                <c:pt idx="35">
                  <c:v>689.0</c:v>
                </c:pt>
                <c:pt idx="36">
                  <c:v>795.0</c:v>
                </c:pt>
                <c:pt idx="37">
                  <c:v>433.3125</c:v>
                </c:pt>
                <c:pt idx="38">
                  <c:v>380.7143</c:v>
                </c:pt>
                <c:pt idx="39">
                  <c:v>397.7619</c:v>
                </c:pt>
                <c:pt idx="40">
                  <c:v>363.0</c:v>
                </c:pt>
                <c:pt idx="41">
                  <c:v>390.7826</c:v>
                </c:pt>
                <c:pt idx="42">
                  <c:v>363.6316</c:v>
                </c:pt>
                <c:pt idx="43">
                  <c:v>372.5238</c:v>
                </c:pt>
                <c:pt idx="44">
                  <c:v>387.7222</c:v>
                </c:pt>
                <c:pt idx="45">
                  <c:v>320.6333</c:v>
                </c:pt>
                <c:pt idx="46">
                  <c:v>375.4706</c:v>
                </c:pt>
                <c:pt idx="47">
                  <c:v>363.8182</c:v>
                </c:pt>
                <c:pt idx="48">
                  <c:v>386.0</c:v>
                </c:pt>
                <c:pt idx="49">
                  <c:v>380.5714</c:v>
                </c:pt>
                <c:pt idx="50">
                  <c:v>346.2143</c:v>
                </c:pt>
                <c:pt idx="51">
                  <c:v>341.6667</c:v>
                </c:pt>
              </c:numCache>
            </c:numRef>
          </c:xVal>
          <c:yVal>
            <c:numRef>
              <c:f>Sheet1!$B$109:$B$160</c:f>
              <c:numCache>
                <c:formatCode>General</c:formatCode>
                <c:ptCount val="52"/>
                <c:pt idx="0">
                  <c:v>0.0042643923240938165</c:v>
                </c:pt>
                <c:pt idx="1">
                  <c:v>0.01216256303767428</c:v>
                </c:pt>
                <c:pt idx="2">
                  <c:v>0.015706806282722512</c:v>
                </c:pt>
                <c:pt idx="3">
                  <c:v>0.014949279231179925</c:v>
                </c:pt>
                <c:pt idx="4">
                  <c:v>0.015384615384615385</c:v>
                </c:pt>
                <c:pt idx="5">
                  <c:v>0.013101767215112737</c:v>
                </c:pt>
                <c:pt idx="6">
                  <c:v>0.010434292160180485</c:v>
                </c:pt>
                <c:pt idx="7">
                  <c:v>0.008803521408563426</c:v>
                </c:pt>
                <c:pt idx="8">
                  <c:v>0.007562277580071174</c:v>
                </c:pt>
                <c:pt idx="9">
                  <c:v>0.006369426751592357</c:v>
                </c:pt>
                <c:pt idx="10">
                  <c:v>0.005317128750474744</c:v>
                </c:pt>
                <c:pt idx="11">
                  <c:v>0.007216494845360825</c:v>
                </c:pt>
                <c:pt idx="12">
                  <c:v>0.004562043795620438</c:v>
                </c:pt>
                <c:pt idx="13">
                  <c:v>0.006715701950751519</c:v>
                </c:pt>
                <c:pt idx="14">
                  <c:v>0.006732813607370659</c:v>
                </c:pt>
                <c:pt idx="15">
                  <c:v>0.006010518407212622</c:v>
                </c:pt>
                <c:pt idx="16">
                  <c:v>0.0035164835164835165</c:v>
                </c:pt>
                <c:pt idx="17">
                  <c:v>0.005200208008320333</c:v>
                </c:pt>
                <c:pt idx="18">
                  <c:v>0.007888349514563107</c:v>
                </c:pt>
                <c:pt idx="19">
                  <c:v>0.0035335689045936395</c:v>
                </c:pt>
                <c:pt idx="20">
                  <c:v>0.004657351962741184</c:v>
                </c:pt>
                <c:pt idx="21">
                  <c:v>0.0032102728731942215</c:v>
                </c:pt>
                <c:pt idx="22">
                  <c:v>0.0033472803347280333</c:v>
                </c:pt>
                <c:pt idx="23">
                  <c:v>0.006427915518824609</c:v>
                </c:pt>
                <c:pt idx="24">
                  <c:v>0.005582137161084529</c:v>
                </c:pt>
                <c:pt idx="25">
                  <c:v>0.002553191489361702</c:v>
                </c:pt>
                <c:pt idx="26">
                  <c:v>0.0032626427406199023</c:v>
                </c:pt>
                <c:pt idx="27">
                  <c:v>0.006545454545454545</c:v>
                </c:pt>
                <c:pt idx="28">
                  <c:v>0.002560819462227913</c:v>
                </c:pt>
                <c:pt idx="29">
                  <c:v>0.0032102728731942215</c:v>
                </c:pt>
                <c:pt idx="30">
                  <c:v>0.0041390728476821195</c:v>
                </c:pt>
                <c:pt idx="31">
                  <c:v>0.0042158516020236085</c:v>
                </c:pt>
                <c:pt idx="32">
                  <c:v>0.0030816640986132513</c:v>
                </c:pt>
                <c:pt idx="33">
                  <c:v>0.0039040713887339654</c:v>
                </c:pt>
                <c:pt idx="34">
                  <c:v>0.003926701570680628</c:v>
                </c:pt>
                <c:pt idx="35">
                  <c:v>0.0032768978700163844</c:v>
                </c:pt>
                <c:pt idx="36">
                  <c:v>0.002955665024630542</c:v>
                </c:pt>
                <c:pt idx="37">
                  <c:v>0.014388489208633094</c:v>
                </c:pt>
                <c:pt idx="38">
                  <c:v>0.013448607108549471</c:v>
                </c:pt>
                <c:pt idx="39">
                  <c:v>0.01348747591522158</c:v>
                </c:pt>
                <c:pt idx="40">
                  <c:v>0.013075965130759652</c:v>
                </c:pt>
                <c:pt idx="41">
                  <c:v>0.01353737492642731</c:v>
                </c:pt>
                <c:pt idx="42">
                  <c:v>0.013040494166094716</c:v>
                </c:pt>
                <c:pt idx="43">
                  <c:v>0.009699769053117783</c:v>
                </c:pt>
                <c:pt idx="44">
                  <c:v>0.006583760058522311</c:v>
                </c:pt>
                <c:pt idx="45">
                  <c:v>0.007957559681697613</c:v>
                </c:pt>
                <c:pt idx="46">
                  <c:v>0.005886426592797784</c:v>
                </c:pt>
                <c:pt idx="47">
                  <c:v>0.003498727735368957</c:v>
                </c:pt>
                <c:pt idx="48">
                  <c:v>0.0025614754098360654</c:v>
                </c:pt>
                <c:pt idx="49">
                  <c:v>0.0016241299303944316</c:v>
                </c:pt>
                <c:pt idx="50">
                  <c:v>0.001910480349344978</c:v>
                </c:pt>
                <c:pt idx="51">
                  <c:v>0.00329398847104035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38.6486835511482</c:v>
                </c:pt>
              </c:numCache>
            </c:numRef>
          </c:xVal>
          <c:yVal>
            <c:numRef>
              <c:f>Sheet1!$B$163:$B$164</c:f>
              <c:numCache>
                <c:formatCode>General</c:formatCode>
                <c:ptCount val="2"/>
                <c:pt idx="0">
                  <c:v>0.022817452034722886</c:v>
                </c:pt>
                <c:pt idx="1">
                  <c:v>0.02281745203472288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38.6486835511482</c:v>
                </c:pt>
                <c:pt idx="1">
                  <c:v>-1238.6486835511482</c:v>
                </c:pt>
              </c:numCache>
            </c:numRef>
          </c:xVal>
          <c:yVal>
            <c:numRef>
              <c:f>Sheet1!$B$167:$B$168</c:f>
              <c:numCache>
                <c:formatCode>General</c:formatCode>
                <c:ptCount val="2"/>
                <c:pt idx="0">
                  <c:v>0.0228174520347228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54992109872568</c:v>
                </c:pt>
              </c:numCache>
            </c:numRef>
          </c:xVal>
          <c:yVal>
            <c:numRef>
              <c:f>Sheet1!$B$171:$B$172</c:f>
              <c:numCache>
                <c:formatCode>General</c:formatCode>
                <c:ptCount val="2"/>
                <c:pt idx="0">
                  <c:v>0.011374390513801527</c:v>
                </c:pt>
                <c:pt idx="1">
                  <c:v>0.01137439051380152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54992109872568</c:v>
                </c:pt>
                <c:pt idx="1">
                  <c:v>81.54992109872568</c:v>
                </c:pt>
              </c:numCache>
            </c:numRef>
          </c:xVal>
          <c:yVal>
            <c:numRef>
              <c:f>Sheet1!$B$175:$B$176</c:f>
              <c:numCache>
                <c:formatCode>General</c:formatCode>
                <c:ptCount val="2"/>
                <c:pt idx="0">
                  <c:v>0.0113743905138015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540.4557737774544</c:v>
                </c:pt>
              </c:numCache>
            </c:numRef>
          </c:xVal>
          <c:yVal>
            <c:numRef>
              <c:f>Sheet1!$B$179:$B$180</c:f>
              <c:numCache>
                <c:formatCode>General</c:formatCode>
                <c:ptCount val="2"/>
                <c:pt idx="0">
                  <c:v>0.0073967405708171945</c:v>
                </c:pt>
                <c:pt idx="1">
                  <c:v>0.00739674057081719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540.4557737774544</c:v>
                </c:pt>
                <c:pt idx="1">
                  <c:v>540.4557737774544</c:v>
                </c:pt>
              </c:numCache>
            </c:numRef>
          </c:xVal>
          <c:yVal>
            <c:numRef>
              <c:f>Sheet1!$B$183:$B$184</c:f>
              <c:numCache>
                <c:formatCode>General</c:formatCode>
                <c:ptCount val="2"/>
                <c:pt idx="0">
                  <c:v>0.00739674057081719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79.1875</c:v>
                </c:pt>
                <c:pt idx="1">
                  <c:v>659.4878</c:v>
                </c:pt>
                <c:pt idx="2">
                  <c:v>660.75</c:v>
                </c:pt>
                <c:pt idx="3">
                  <c:v>637.7857</c:v>
                </c:pt>
                <c:pt idx="4">
                  <c:v>628.7963</c:v>
                </c:pt>
                <c:pt idx="5">
                  <c:v>657.7442</c:v>
                </c:pt>
                <c:pt idx="6">
                  <c:v>624.027</c:v>
                </c:pt>
                <c:pt idx="7">
                  <c:v>628.1364</c:v>
                </c:pt>
                <c:pt idx="8">
                  <c:v>646.7059</c:v>
                </c:pt>
                <c:pt idx="9">
                  <c:v>668.1875</c:v>
                </c:pt>
                <c:pt idx="10">
                  <c:v>630.5714</c:v>
                </c:pt>
                <c:pt idx="11">
                  <c:v>616.0357</c:v>
                </c:pt>
                <c:pt idx="12">
                  <c:v>638.3333</c:v>
                </c:pt>
                <c:pt idx="13">
                  <c:v>652.5714</c:v>
                </c:pt>
                <c:pt idx="14">
                  <c:v>616.7895</c:v>
                </c:pt>
                <c:pt idx="15">
                  <c:v>631.5625</c:v>
                </c:pt>
                <c:pt idx="16">
                  <c:v>796.875</c:v>
                </c:pt>
                <c:pt idx="17">
                  <c:v>737.3</c:v>
                </c:pt>
                <c:pt idx="18">
                  <c:v>601.6923</c:v>
                </c:pt>
                <c:pt idx="19">
                  <c:v>842.6667</c:v>
                </c:pt>
                <c:pt idx="20">
                  <c:v>697.8571</c:v>
                </c:pt>
                <c:pt idx="21">
                  <c:v>863.75</c:v>
                </c:pt>
                <c:pt idx="22">
                  <c:v>663.75</c:v>
                </c:pt>
                <c:pt idx="23">
                  <c:v>668.0</c:v>
                </c:pt>
                <c:pt idx="24">
                  <c:v>658.8571</c:v>
                </c:pt>
                <c:pt idx="25">
                  <c:v>950.0</c:v>
                </c:pt>
                <c:pt idx="26">
                  <c:v>765.5</c:v>
                </c:pt>
                <c:pt idx="27">
                  <c:v>569.5556</c:v>
                </c:pt>
                <c:pt idx="28">
                  <c:v>822.5</c:v>
                </c:pt>
                <c:pt idx="29">
                  <c:v>713.0</c:v>
                </c:pt>
                <c:pt idx="30">
                  <c:v>718.2</c:v>
                </c:pt>
                <c:pt idx="31">
                  <c:v>641.2</c:v>
                </c:pt>
                <c:pt idx="32">
                  <c:v>954.0</c:v>
                </c:pt>
                <c:pt idx="33">
                  <c:v>650.2857</c:v>
                </c:pt>
                <c:pt idx="34">
                  <c:v>694.5556</c:v>
                </c:pt>
                <c:pt idx="35">
                  <c:v>689.0</c:v>
                </c:pt>
                <c:pt idx="36">
                  <c:v>795.0</c:v>
                </c:pt>
                <c:pt idx="37">
                  <c:v>433.3125</c:v>
                </c:pt>
                <c:pt idx="38">
                  <c:v>380.7143</c:v>
                </c:pt>
                <c:pt idx="39">
                  <c:v>397.7619</c:v>
                </c:pt>
                <c:pt idx="40">
                  <c:v>363.0</c:v>
                </c:pt>
                <c:pt idx="41">
                  <c:v>390.7826</c:v>
                </c:pt>
                <c:pt idx="42">
                  <c:v>363.6316</c:v>
                </c:pt>
                <c:pt idx="43">
                  <c:v>372.5238</c:v>
                </c:pt>
                <c:pt idx="44">
                  <c:v>387.7222</c:v>
                </c:pt>
                <c:pt idx="45">
                  <c:v>320.6333</c:v>
                </c:pt>
                <c:pt idx="46">
                  <c:v>375.4706</c:v>
                </c:pt>
                <c:pt idx="47">
                  <c:v>363.8182</c:v>
                </c:pt>
                <c:pt idx="48">
                  <c:v>386.0</c:v>
                </c:pt>
                <c:pt idx="49">
                  <c:v>380.5714</c:v>
                </c:pt>
                <c:pt idx="50">
                  <c:v>346.2143</c:v>
                </c:pt>
                <c:pt idx="51">
                  <c:v>341.6667</c:v>
                </c:pt>
                <c:pt idx="52">
                  <c:v>81.54992109872568</c:v>
                </c:pt>
                <c:pt idx="53">
                  <c:v>-1238.6486835511482</c:v>
                </c:pt>
                <c:pt idx="54">
                  <c:v>540.4557737774544</c:v>
                </c:pt>
              </c:numCache>
            </c:numRef>
          </c:xVal>
          <c:yVal>
            <c:numRef>
              <c:f>Sheet1!$B$187:$B$241</c:f>
              <c:numCache>
                <c:formatCode>General</c:formatCode>
                <c:ptCount val="55"/>
                <c:pt idx="0">
                  <c:v>0.006194258101530516</c:v>
                </c:pt>
                <c:pt idx="1">
                  <c:v>0.006365008834223101</c:v>
                </c:pt>
                <c:pt idx="2">
                  <c:v>0.006354068486156654</c:v>
                </c:pt>
                <c:pt idx="3">
                  <c:v>0.006553115733108249</c:v>
                </c:pt>
                <c:pt idx="4">
                  <c:v>0.006631032992582593</c:v>
                </c:pt>
                <c:pt idx="5">
                  <c:v>0.006380121804345631</c:v>
                </c:pt>
                <c:pt idx="6">
                  <c:v>0.006672371767763471</c:v>
                </c:pt>
                <c:pt idx="7">
                  <c:v>0.006636752795853904</c:v>
                </c:pt>
                <c:pt idx="8">
                  <c:v>0.006475798277219865</c:v>
                </c:pt>
                <c:pt idx="9">
                  <c:v>0.006289602602188822</c:v>
                </c:pt>
                <c:pt idx="10">
                  <c:v>0.006615646990480905</c:v>
                </c:pt>
                <c:pt idx="11">
                  <c:v>0.0067416378139553545</c:v>
                </c:pt>
                <c:pt idx="12">
                  <c:v>0.006548369310511841</c:v>
                </c:pt>
                <c:pt idx="13">
                  <c:v>0.006424957989164292</c:v>
                </c:pt>
                <c:pt idx="14">
                  <c:v>0.006735104115355698</c:v>
                </c:pt>
                <c:pt idx="15">
                  <c:v>0.006607056450971592</c:v>
                </c:pt>
                <c:pt idx="16">
                  <c:v>0.005174180290510114</c:v>
                </c:pt>
                <c:pt idx="17">
                  <c:v>0.005690557438393623</c:v>
                </c:pt>
                <c:pt idx="18">
                  <c:v>0.006865961842204659</c:v>
                </c:pt>
                <c:pt idx="19">
                  <c:v>0.004777272402256026</c:v>
                </c:pt>
                <c:pt idx="20">
                  <c:v>0.0060324359479404874</c:v>
                </c:pt>
                <c:pt idx="21">
                  <c:v>0.0045945290649170014</c:v>
                </c:pt>
                <c:pt idx="22">
                  <c:v>0.006328065440522571</c:v>
                </c:pt>
                <c:pt idx="23">
                  <c:v>0.006291227792540952</c:v>
                </c:pt>
                <c:pt idx="24">
                  <c:v>0.006370475541183573</c:v>
                </c:pt>
                <c:pt idx="25">
                  <c:v>0.0038469415029370995</c:v>
                </c:pt>
                <c:pt idx="26">
                  <c:v>0.005446128809433237</c:v>
                </c:pt>
                <c:pt idx="27">
                  <c:v>0.007144512534414276</c:v>
                </c:pt>
                <c:pt idx="28">
                  <c:v>0.004952070942385651</c:v>
                </c:pt>
                <c:pt idx="29">
                  <c:v>0.005901182108029699</c:v>
                </c:pt>
                <c:pt idx="30">
                  <c:v>0.005856110162263954</c:v>
                </c:pt>
                <c:pt idx="31">
                  <c:v>0.006523521666872098</c:v>
                </c:pt>
                <c:pt idx="32">
                  <c:v>0.0038122707754249894</c:v>
                </c:pt>
                <c:pt idx="33">
                  <c:v>0.0064447697096329006</c:v>
                </c:pt>
                <c:pt idx="34">
                  <c:v>0.006061052299660796</c:v>
                </c:pt>
                <c:pt idx="35">
                  <c:v>0.006109206473102368</c:v>
                </c:pt>
                <c:pt idx="36">
                  <c:v>0.005190432194031416</c:v>
                </c:pt>
                <c:pt idx="37">
                  <c:v>0.008325424383290612</c:v>
                </c:pt>
                <c:pt idx="38">
                  <c:v>0.008781328848247496</c:v>
                </c:pt>
                <c:pt idx="39">
                  <c:v>0.008633565674663628</c:v>
                </c:pt>
                <c:pt idx="40">
                  <c:v>0.008934870765339446</c:v>
                </c:pt>
                <c:pt idx="41">
                  <c:v>0.008694060026794948</c:v>
                </c:pt>
                <c:pt idx="42">
                  <c:v>0.008929396257465283</c:v>
                </c:pt>
                <c:pt idx="43">
                  <c:v>0.008852321496669483</c:v>
                </c:pt>
                <c:pt idx="44">
                  <c:v>0.008720586600414465</c:v>
                </c:pt>
                <c:pt idx="45">
                  <c:v>0.009302091843161287</c:v>
                </c:pt>
                <c:pt idx="46">
                  <c:v>0.00882677957171131</c:v>
                </c:pt>
                <c:pt idx="47">
                  <c:v>0.008927778868026842</c:v>
                </c:pt>
                <c:pt idx="48">
                  <c:v>0.008735514082144805</c:v>
                </c:pt>
                <c:pt idx="49">
                  <c:v>0.008782567459987867</c:v>
                </c:pt>
                <c:pt idx="50">
                  <c:v>0.009080363873039458</c:v>
                </c:pt>
                <c:pt idx="51">
                  <c:v>0.009119781023147977</c:v>
                </c:pt>
                <c:pt idx="52">
                  <c:v>0.011374390513801527</c:v>
                </c:pt>
                <c:pt idx="53">
                  <c:v>0.022817452034722886</c:v>
                </c:pt>
                <c:pt idx="54">
                  <c:v>0.00739674057081719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248704663212"/>
          <c:min val="0.00129930394431554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8927280941390268</c:v>
                </c:pt>
                <c:pt idx="1">
                  <c:v>2.10239548696258</c:v>
                </c:pt>
                <c:pt idx="2">
                  <c:v>2.271539787125051</c:v>
                </c:pt>
                <c:pt idx="3">
                  <c:v>2.2432799885122052</c:v>
                </c:pt>
                <c:pt idx="4">
                  <c:v>2.270636321510462</c:v>
                </c:pt>
                <c:pt idx="5">
                  <c:v>1.9176563308383974</c:v>
                </c:pt>
                <c:pt idx="6">
                  <c:v>1.8287503040728386</c:v>
                </c:pt>
                <c:pt idx="7">
                  <c:v>1.754665733601187</c:v>
                </c:pt>
                <c:pt idx="8">
                  <c:v>1.7575003106944487</c:v>
                </c:pt>
                <c:pt idx="9">
                  <c:v>1.881696828525354</c:v>
                </c:pt>
                <c:pt idx="10">
                  <c:v>1.8142810983910649</c:v>
                </c:pt>
                <c:pt idx="11">
                  <c:v>1.7733926342648565</c:v>
                </c:pt>
                <c:pt idx="12">
                  <c:v>1.7683300799361539</c:v>
                </c:pt>
                <c:pt idx="13">
                  <c:v>1.773917512179057</c:v>
                </c:pt>
                <c:pt idx="14">
                  <c:v>1.7452389992536002</c:v>
                </c:pt>
                <c:pt idx="15">
                  <c:v>1.8126871266493731</c:v>
                </c:pt>
                <c:pt idx="16">
                  <c:v>1.8314540506586863</c:v>
                </c:pt>
                <c:pt idx="17">
                  <c:v>2.2215715212176783</c:v>
                </c:pt>
                <c:pt idx="18">
                  <c:v>2.241101719889174</c:v>
                </c:pt>
                <c:pt idx="19">
                  <c:v>2.0954489895102633</c:v>
                </c:pt>
                <c:pt idx="20">
                  <c:v>2.1544669743392495</c:v>
                </c:pt>
                <c:pt idx="21">
                  <c:v>2.1878544145629304</c:v>
                </c:pt>
                <c:pt idx="22">
                  <c:v>2.1537720063033743</c:v>
                </c:pt>
                <c:pt idx="23">
                  <c:v>2.3687609864453534</c:v>
                </c:pt>
                <c:pt idx="24">
                  <c:v>2.4096224866058873</c:v>
                </c:pt>
                <c:pt idx="25">
                  <c:v>2.3822860588127135</c:v>
                </c:pt>
                <c:pt idx="26">
                  <c:v>2.007388882205421</c:v>
                </c:pt>
                <c:pt idx="27">
                  <c:v>1.875702725686136</c:v>
                </c:pt>
                <c:pt idx="28">
                  <c:v>1.8503551467780934</c:v>
                </c:pt>
                <c:pt idx="29">
                  <c:v>1.8885613208857985</c:v>
                </c:pt>
                <c:pt idx="30">
                  <c:v>1.8230351558435158</c:v>
                </c:pt>
                <c:pt idx="31">
                  <c:v>1.8110149569039096</c:v>
                </c:pt>
                <c:pt idx="32">
                  <c:v>1.8251391615778811</c:v>
                </c:pt>
                <c:pt idx="33">
                  <c:v>1.8318944840550573</c:v>
                </c:pt>
                <c:pt idx="34">
                  <c:v>1.8195675632434347</c:v>
                </c:pt>
                <c:pt idx="35">
                  <c:v>1.7913166503037499</c:v>
                </c:pt>
                <c:pt idx="36">
                  <c:v>2.3695999263898773</c:v>
                </c:pt>
                <c:pt idx="37">
                  <c:v>2.303158412085259</c:v>
                </c:pt>
                <c:pt idx="38">
                  <c:v>2.4606891191609837</c:v>
                </c:pt>
                <c:pt idx="39">
                  <c:v>2.423047702835554</c:v>
                </c:pt>
                <c:pt idx="40">
                  <c:v>2.430441450323146</c:v>
                </c:pt>
                <c:pt idx="41">
                  <c:v>2.399509764314346</c:v>
                </c:pt>
                <c:pt idx="42">
                  <c:v>2.4331401607426506</c:v>
                </c:pt>
                <c:pt idx="43">
                  <c:v>2.5332812270123086</c:v>
                </c:pt>
                <c:pt idx="44">
                  <c:v>2.3679288957689217</c:v>
                </c:pt>
                <c:pt idx="45">
                  <c:v>2.4472786530732393</c:v>
                </c:pt>
                <c:pt idx="46">
                  <c:v>2.449636029472523</c:v>
                </c:pt>
                <c:pt idx="47">
                  <c:v>2.496982447178838</c:v>
                </c:pt>
                <c:pt idx="48">
                  <c:v>2.477957056626059</c:v>
                </c:pt>
                <c:pt idx="49">
                  <c:v>2.452537059594224</c:v>
                </c:pt>
                <c:pt idx="50">
                  <c:v>2.3656378135037244</c:v>
                </c:pt>
                <c:pt idx="51">
                  <c:v>2.4079268031889867</c:v>
                </c:pt>
                <c:pt idx="52">
                  <c:v>2.3899148984396987</c:v>
                </c:pt>
                <c:pt idx="53">
                  <c:v>2.3927181912992608</c:v>
                </c:pt>
                <c:pt idx="54">
                  <c:v>2.4372155654065977</c:v>
                </c:pt>
                <c:pt idx="55">
                  <c:v>2.4742244347233933</c:v>
                </c:pt>
                <c:pt idx="56">
                  <c:v>2.409387642505853</c:v>
                </c:pt>
                <c:pt idx="57">
                  <c:v>2.422373580641646</c:v>
                </c:pt>
                <c:pt idx="58">
                  <c:v>2.4742495414848467</c:v>
                </c:pt>
                <c:pt idx="59">
                  <c:v>2.532820018018721</c:v>
                </c:pt>
                <c:pt idx="60">
                  <c:v>2.5653730386740334</c:v>
                </c:pt>
                <c:pt idx="61">
                  <c:v>2.4201061199961758</c:v>
                </c:pt>
                <c:pt idx="62">
                  <c:v>2.4619689378790666</c:v>
                </c:pt>
                <c:pt idx="63">
                  <c:v>2.631290917055566</c:v>
                </c:pt>
                <c:pt idx="64">
                  <c:v>2.5143101535601073</c:v>
                </c:pt>
                <c:pt idx="65">
                  <c:v>2.421104319165028</c:v>
                </c:pt>
                <c:pt idx="66">
                  <c:v>2.4190171771054</c:v>
                </c:pt>
                <c:pt idx="67">
                  <c:v>2.4638366652925745</c:v>
                </c:pt>
                <c:pt idx="68">
                  <c:v>2.434415195328408</c:v>
                </c:pt>
                <c:pt idx="69">
                  <c:v>2.3201429500498856</c:v>
                </c:pt>
                <c:pt idx="70">
                  <c:v>2.43368031076509</c:v>
                </c:pt>
                <c:pt idx="71">
                  <c:v>2.3663126373227006</c:v>
                </c:pt>
                <c:pt idx="72">
                  <c:v>2.51211513917455</c:v>
                </c:pt>
                <c:pt idx="73">
                  <c:v>2.504588520882742</c:v>
                </c:pt>
                <c:pt idx="74">
                  <c:v>2.683931002619826</c:v>
                </c:pt>
                <c:pt idx="75">
                  <c:v>2.4199583230487565</c:v>
                </c:pt>
                <c:pt idx="76">
                  <c:v>2.6875084128476714</c:v>
                </c:pt>
                <c:pt idx="77">
                  <c:v>3.1598379805166057</c:v>
                </c:pt>
                <c:pt idx="78">
                  <c:v>2.507318642156641</c:v>
                </c:pt>
                <c:pt idx="79">
                  <c:v>2.339682832761586</c:v>
                </c:pt>
                <c:pt idx="80">
                  <c:v>2.0968336279892292</c:v>
                </c:pt>
                <c:pt idx="81">
                  <c:v>1.7890956981535602</c:v>
                </c:pt>
                <c:pt idx="82">
                  <c:v>1.5950298102784828</c:v>
                </c:pt>
                <c:pt idx="83">
                  <c:v>1.7089598506896737</c:v>
                </c:pt>
                <c:pt idx="84">
                  <c:v>1.6547898461147046</c:v>
                </c:pt>
                <c:pt idx="85">
                  <c:v>1.5197329879472854</c:v>
                </c:pt>
                <c:pt idx="86">
                  <c:v>1.5428302370919402</c:v>
                </c:pt>
                <c:pt idx="87">
                  <c:v>1.460720048895802</c:v>
                </c:pt>
                <c:pt idx="88">
                  <c:v>1.61190251183333</c:v>
                </c:pt>
                <c:pt idx="89">
                  <c:v>1.5075482281019195</c:v>
                </c:pt>
                <c:pt idx="90">
                  <c:v>1.3529615562206803</c:v>
                </c:pt>
                <c:pt idx="91">
                  <c:v>1.4218910646346246</c:v>
                </c:pt>
                <c:pt idx="92">
                  <c:v>1.434579255590929</c:v>
                </c:pt>
                <c:pt idx="93">
                  <c:v>1.4584119437462697</c:v>
                </c:pt>
                <c:pt idx="94">
                  <c:v>1.4076766862076042</c:v>
                </c:pt>
                <c:pt idx="95">
                  <c:v>1.4441560324360099</c:v>
                </c:pt>
                <c:pt idx="96">
                  <c:v>1.3851937399079277</c:v>
                </c:pt>
                <c:pt idx="97">
                  <c:v>1.4202646109163692</c:v>
                </c:pt>
                <c:pt idx="98">
                  <c:v>1.4749764613659626</c:v>
                </c:pt>
                <c:pt idx="99">
                  <c:v>2.0569030206462395</c:v>
                </c:pt>
                <c:pt idx="100">
                  <c:v>2.0714392133795494</c:v>
                </c:pt>
                <c:pt idx="101">
                  <c:v>2.0129616411112132</c:v>
                </c:pt>
                <c:pt idx="102">
                  <c:v>1.2959438118536228</c:v>
                </c:pt>
                <c:pt idx="103">
                  <c:v>1.4486645617623284</c:v>
                </c:pt>
                <c:pt idx="104">
                  <c:v>1.504292571510217</c:v>
                </c:pt>
              </c:numCache>
            </c:numRef>
          </c:xVal>
          <c:yVal>
            <c:numRef>
              <c:f>Sheet1!$B$2:$B$106</c:f>
              <c:numCache>
                <c:formatCode>General</c:formatCode>
                <c:ptCount val="105"/>
                <c:pt idx="0">
                  <c:v>0.018375918795939798</c:v>
                </c:pt>
                <c:pt idx="1">
                  <c:v>0.0187866927592955</c:v>
                </c:pt>
                <c:pt idx="2">
                  <c:v>0.019264110961279137</c:v>
                </c:pt>
                <c:pt idx="3">
                  <c:v>0.019128586609989374</c:v>
                </c:pt>
                <c:pt idx="4">
                  <c:v>0.02166334661354582</c:v>
                </c:pt>
                <c:pt idx="5">
                  <c:v>0.019656019656019656</c:v>
                </c:pt>
                <c:pt idx="6">
                  <c:v>0.019744160177975527</c:v>
                </c:pt>
                <c:pt idx="7">
                  <c:v>0.022131426625808647</c:v>
                </c:pt>
                <c:pt idx="8">
                  <c:v>0.021167883211678833</c:v>
                </c:pt>
                <c:pt idx="9">
                  <c:v>0.02370051171559386</c:v>
                </c:pt>
                <c:pt idx="10">
                  <c:v>0.019417475728155338</c:v>
                </c:pt>
                <c:pt idx="11">
                  <c:v>0.022276029055690073</c:v>
                </c:pt>
                <c:pt idx="12">
                  <c:v>0.01883408071748879</c:v>
                </c:pt>
                <c:pt idx="13">
                  <c:v>0.014442013129102845</c:v>
                </c:pt>
                <c:pt idx="14">
                  <c:v>0.01272264631043257</c:v>
                </c:pt>
                <c:pt idx="15">
                  <c:v>0.011655011655011656</c:v>
                </c:pt>
                <c:pt idx="16">
                  <c:v>0.01128526645768025</c:v>
                </c:pt>
                <c:pt idx="17">
                  <c:v>0.009938313913639479</c:v>
                </c:pt>
                <c:pt idx="18">
                  <c:v>0.010226767452200978</c:v>
                </c:pt>
                <c:pt idx="19">
                  <c:v>0.013293051359516616</c:v>
                </c:pt>
                <c:pt idx="20">
                  <c:v>0.009798865394533264</c:v>
                </c:pt>
                <c:pt idx="21">
                  <c:v>0.011299435028248588</c:v>
                </c:pt>
                <c:pt idx="22">
                  <c:v>0.025342465753424658</c:v>
                </c:pt>
                <c:pt idx="23">
                  <c:v>0.027202072538860103</c:v>
                </c:pt>
                <c:pt idx="24">
                  <c:v>0.021772151898734177</c:v>
                </c:pt>
                <c:pt idx="25">
                  <c:v>0.020149683362118594</c:v>
                </c:pt>
                <c:pt idx="26">
                  <c:v>0.023758099352051837</c:v>
                </c:pt>
                <c:pt idx="27">
                  <c:v>0.02606516290726817</c:v>
                </c:pt>
                <c:pt idx="28">
                  <c:v>0.01901901901901902</c:v>
                </c:pt>
                <c:pt idx="29">
                  <c:v>0.01949978804578211</c:v>
                </c:pt>
                <c:pt idx="30">
                  <c:v>0.018901358535144713</c:v>
                </c:pt>
                <c:pt idx="31">
                  <c:v>0.02030456852791878</c:v>
                </c:pt>
                <c:pt idx="32">
                  <c:v>0.02301255230125523</c:v>
                </c:pt>
                <c:pt idx="33">
                  <c:v>0.024868483978957436</c:v>
                </c:pt>
                <c:pt idx="34">
                  <c:v>0.026731470230862697</c:v>
                </c:pt>
                <c:pt idx="35">
                  <c:v>0.025806451612903226</c:v>
                </c:pt>
                <c:pt idx="36">
                  <c:v>0.012081784386617101</c:v>
                </c:pt>
                <c:pt idx="37">
                  <c:v>0.009523809523809525</c:v>
                </c:pt>
                <c:pt idx="38">
                  <c:v>0.009625126646403243</c:v>
                </c:pt>
                <c:pt idx="39">
                  <c:v>0.008117706747843734</c:v>
                </c:pt>
                <c:pt idx="40">
                  <c:v>0.008183306055646482</c:v>
                </c:pt>
                <c:pt idx="41">
                  <c:v>0.006478482184173994</c:v>
                </c:pt>
                <c:pt idx="42">
                  <c:v>0.007111813512445673</c:v>
                </c:pt>
                <c:pt idx="43">
                  <c:v>0.0060790273556231</c:v>
                </c:pt>
                <c:pt idx="44">
                  <c:v>0.005534269902085994</c:v>
                </c:pt>
                <c:pt idx="45">
                  <c:v>0.005059704513256426</c:v>
                </c:pt>
                <c:pt idx="46">
                  <c:v>0.004864759680871765</c:v>
                </c:pt>
                <c:pt idx="47">
                  <c:v>0.0068721774985273905</c:v>
                </c:pt>
                <c:pt idx="48">
                  <c:v>0.009015873015873015</c:v>
                </c:pt>
                <c:pt idx="49">
                  <c:v>0.009686067629507912</c:v>
                </c:pt>
                <c:pt idx="50">
                  <c:v>0.011439842209072978</c:v>
                </c:pt>
                <c:pt idx="51">
                  <c:v>0.012277951933124347</c:v>
                </c:pt>
                <c:pt idx="52">
                  <c:v>0.012758554030543205</c:v>
                </c:pt>
                <c:pt idx="53">
                  <c:v>0.012725884448969204</c:v>
                </c:pt>
                <c:pt idx="54">
                  <c:v>0.014683389415723462</c:v>
                </c:pt>
                <c:pt idx="55">
                  <c:v>0.011703511053315995</c:v>
                </c:pt>
                <c:pt idx="56">
                  <c:v>0.013986013986013986</c:v>
                </c:pt>
                <c:pt idx="57">
                  <c:v>0.013775653640708463</c:v>
                </c:pt>
                <c:pt idx="58">
                  <c:v>0.01361573373676248</c:v>
                </c:pt>
                <c:pt idx="59">
                  <c:v>0.011184014315538324</c:v>
                </c:pt>
                <c:pt idx="60">
                  <c:v>0.013881920053520656</c:v>
                </c:pt>
                <c:pt idx="61">
                  <c:v>0.01461778097292116</c:v>
                </c:pt>
                <c:pt idx="62">
                  <c:v>0.014322014322014322</c:v>
                </c:pt>
                <c:pt idx="63">
                  <c:v>0.013246382718565314</c:v>
                </c:pt>
                <c:pt idx="64">
                  <c:v>0.016054585591009432</c:v>
                </c:pt>
                <c:pt idx="65">
                  <c:v>0.015005599104143338</c:v>
                </c:pt>
                <c:pt idx="66">
                  <c:v>0.01318407960199005</c:v>
                </c:pt>
                <c:pt idx="67">
                  <c:v>0.011419249592169658</c:v>
                </c:pt>
                <c:pt idx="68">
                  <c:v>0.012768817204301076</c:v>
                </c:pt>
                <c:pt idx="69">
                  <c:v>0.01018149623727313</c:v>
                </c:pt>
                <c:pt idx="70">
                  <c:v>0.008683729433272395</c:v>
                </c:pt>
                <c:pt idx="71">
                  <c:v>0.012396694214876033</c:v>
                </c:pt>
                <c:pt idx="72">
                  <c:v>0.010248901903367497</c:v>
                </c:pt>
                <c:pt idx="73">
                  <c:v>0.011235955056179775</c:v>
                </c:pt>
                <c:pt idx="74">
                  <c:v>0.008837209302325582</c:v>
                </c:pt>
                <c:pt idx="75">
                  <c:v>0.010067114093959731</c:v>
                </c:pt>
                <c:pt idx="76">
                  <c:v>0.008373205741626795</c:v>
                </c:pt>
                <c:pt idx="77">
                  <c:v>0.004361370716510903</c:v>
                </c:pt>
                <c:pt idx="78">
                  <c:v>0.007665505226480836</c:v>
                </c:pt>
                <c:pt idx="79">
                  <c:v>0.008296107211231652</c:v>
                </c:pt>
                <c:pt idx="80">
                  <c:v>0.008075370121130552</c:v>
                </c:pt>
                <c:pt idx="81">
                  <c:v>0.011099365750528542</c:v>
                </c:pt>
                <c:pt idx="82">
                  <c:v>0.01037344398340249</c:v>
                </c:pt>
                <c:pt idx="83">
                  <c:v>0.012234910277324634</c:v>
                </c:pt>
                <c:pt idx="84">
                  <c:v>0.009425878320479864</c:v>
                </c:pt>
                <c:pt idx="85">
                  <c:v>0.013966480446927373</c:v>
                </c:pt>
                <c:pt idx="86">
                  <c:v>0.010209290454313425</c:v>
                </c:pt>
                <c:pt idx="87">
                  <c:v>0.010309278350515464</c:v>
                </c:pt>
                <c:pt idx="88">
                  <c:v>0.008253968253968255</c:v>
                </c:pt>
                <c:pt idx="89">
                  <c:v>0.010494752623688156</c:v>
                </c:pt>
                <c:pt idx="90">
                  <c:v>0.012204424103737605</c:v>
                </c:pt>
                <c:pt idx="91">
                  <c:v>0.01020408163265306</c:v>
                </c:pt>
                <c:pt idx="92">
                  <c:v>0.010700909577314071</c:v>
                </c:pt>
                <c:pt idx="93">
                  <c:v>0.010240655401945725</c:v>
                </c:pt>
                <c:pt idx="94">
                  <c:v>0.01141826923076923</c:v>
                </c:pt>
                <c:pt idx="95">
                  <c:v>0.008006742520016857</c:v>
                </c:pt>
                <c:pt idx="96">
                  <c:v>0.009363295880149813</c:v>
                </c:pt>
                <c:pt idx="97">
                  <c:v>0.0070109838747370885</c:v>
                </c:pt>
                <c:pt idx="98">
                  <c:v>0.006281174949196379</c:v>
                </c:pt>
                <c:pt idx="99">
                  <c:v>0.003425167535368578</c:v>
                </c:pt>
                <c:pt idx="100">
                  <c:v>0.002994310809462022</c:v>
                </c:pt>
                <c:pt idx="101">
                  <c:v>0.002044153720359771</c:v>
                </c:pt>
                <c:pt idx="102">
                  <c:v>0.0033282904689863843</c:v>
                </c:pt>
                <c:pt idx="103">
                  <c:v>0.0025826446280991736</c:v>
                </c:pt>
                <c:pt idx="104">
                  <c:v>0.002912055911473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986426334326324</c:v>
                </c:pt>
                <c:pt idx="1">
                  <c:v>1.2341684788100862</c:v>
                </c:pt>
                <c:pt idx="2">
                  <c:v>1.2128495420449001</c:v>
                </c:pt>
                <c:pt idx="3">
                  <c:v>1.1628990421275</c:v>
                </c:pt>
                <c:pt idx="4">
                  <c:v>1.0727068538319129</c:v>
                </c:pt>
                <c:pt idx="5">
                  <c:v>1.0606680033915874</c:v>
                </c:pt>
                <c:pt idx="6">
                  <c:v>1.0633319701462018</c:v>
                </c:pt>
                <c:pt idx="7">
                  <c:v>1.029332388563323</c:v>
                </c:pt>
                <c:pt idx="8">
                  <c:v>1.0531197757707476</c:v>
                </c:pt>
                <c:pt idx="9">
                  <c:v>1.1096063115561132</c:v>
                </c:pt>
                <c:pt idx="10">
                  <c:v>1.031116403376119</c:v>
                </c:pt>
                <c:pt idx="11">
                  <c:v>1.123048133314131</c:v>
                </c:pt>
                <c:pt idx="12">
                  <c:v>1.1756515611701974</c:v>
                </c:pt>
                <c:pt idx="13">
                  <c:v>1.124947184983314</c:v>
                </c:pt>
                <c:pt idx="14">
                  <c:v>1.0708773860979761</c:v>
                </c:pt>
                <c:pt idx="15">
                  <c:v>1.1402939085262431</c:v>
                </c:pt>
                <c:pt idx="16">
                  <c:v>1.3720190921352895</c:v>
                </c:pt>
                <c:pt idx="17">
                  <c:v>1.3422965413971861</c:v>
                </c:pt>
                <c:pt idx="18">
                  <c:v>1.0383128003501008</c:v>
                </c:pt>
                <c:pt idx="19">
                  <c:v>1.4651357968709846</c:v>
                </c:pt>
                <c:pt idx="20">
                  <c:v>1.1735730222044112</c:v>
                </c:pt>
                <c:pt idx="21">
                  <c:v>1.4786381088222869</c:v>
                </c:pt>
                <c:pt idx="22">
                  <c:v>1.1248631098791706</c:v>
                </c:pt>
                <c:pt idx="23">
                  <c:v>1.1468132069618429</c:v>
                </c:pt>
                <c:pt idx="24">
                  <c:v>1.1107911391231309</c:v>
                </c:pt>
                <c:pt idx="25">
                  <c:v>1.6736897035666503</c:v>
                </c:pt>
                <c:pt idx="26">
                  <c:v>1.2971036717099234</c:v>
                </c:pt>
                <c:pt idx="27">
                  <c:v>0.9361908886863459</c:v>
                </c:pt>
                <c:pt idx="28">
                  <c:v>1.3572190688536623</c:v>
                </c:pt>
                <c:pt idx="29">
                  <c:v>1.195019667543182</c:v>
                </c:pt>
                <c:pt idx="30">
                  <c:v>1.1625757446749272</c:v>
                </c:pt>
                <c:pt idx="31">
                  <c:v>1.0681295755117803</c:v>
                </c:pt>
                <c:pt idx="32">
                  <c:v>1.564276259057922</c:v>
                </c:pt>
                <c:pt idx="33">
                  <c:v>1.0495905732007471</c:v>
                </c:pt>
                <c:pt idx="34">
                  <c:v>1.1342025740826474</c:v>
                </c:pt>
                <c:pt idx="35">
                  <c:v>1.115483641489062</c:v>
                </c:pt>
                <c:pt idx="36">
                  <c:v>1.3271827732677677</c:v>
                </c:pt>
                <c:pt idx="37">
                  <c:v>0.7096130386856504</c:v>
                </c:pt>
                <c:pt idx="38">
                  <c:v>0.6218159872734221</c:v>
                </c:pt>
                <c:pt idx="39">
                  <c:v>0.6633836205602577</c:v>
                </c:pt>
                <c:pt idx="40">
                  <c:v>0.6049586611581541</c:v>
                </c:pt>
                <c:pt idx="41">
                  <c:v>0.6369259424902631</c:v>
                </c:pt>
                <c:pt idx="42">
                  <c:v>0.5876892389649357</c:v>
                </c:pt>
                <c:pt idx="43">
                  <c:v>0.6026806818317862</c:v>
                </c:pt>
                <c:pt idx="44">
                  <c:v>0.6212130922495886</c:v>
                </c:pt>
                <c:pt idx="45">
                  <c:v>0.523177659272777</c:v>
                </c:pt>
                <c:pt idx="46">
                  <c:v>0.6149960722342009</c:v>
                </c:pt>
                <c:pt idx="47">
                  <c:v>0.6135249342070427</c:v>
                </c:pt>
                <c:pt idx="48">
                  <c:v>0.6385379136021809</c:v>
                </c:pt>
                <c:pt idx="49">
                  <c:v>0.6363365794622736</c:v>
                </c:pt>
                <c:pt idx="50">
                  <c:v>0.5789131162883402</c:v>
                </c:pt>
                <c:pt idx="51">
                  <c:v>0.5973939754018247</c:v>
                </c:pt>
              </c:numCache>
            </c:numRef>
          </c:xVal>
          <c:yVal>
            <c:numRef>
              <c:f>Sheet1!$B$109:$B$160</c:f>
              <c:numCache>
                <c:formatCode>General</c:formatCode>
                <c:ptCount val="52"/>
                <c:pt idx="0">
                  <c:v>0.0042643923240938165</c:v>
                </c:pt>
                <c:pt idx="1">
                  <c:v>0.01216256303767428</c:v>
                </c:pt>
                <c:pt idx="2">
                  <c:v>0.015706806282722512</c:v>
                </c:pt>
                <c:pt idx="3">
                  <c:v>0.014949279231179925</c:v>
                </c:pt>
                <c:pt idx="4">
                  <c:v>0.015384615384615385</c:v>
                </c:pt>
                <c:pt idx="5">
                  <c:v>0.013101767215112737</c:v>
                </c:pt>
                <c:pt idx="6">
                  <c:v>0.010434292160180485</c:v>
                </c:pt>
                <c:pt idx="7">
                  <c:v>0.008803521408563426</c:v>
                </c:pt>
                <c:pt idx="8">
                  <c:v>0.007562277580071174</c:v>
                </c:pt>
                <c:pt idx="9">
                  <c:v>0.006369426751592357</c:v>
                </c:pt>
                <c:pt idx="10">
                  <c:v>0.005317128750474744</c:v>
                </c:pt>
                <c:pt idx="11">
                  <c:v>0.007216494845360825</c:v>
                </c:pt>
                <c:pt idx="12">
                  <c:v>0.004562043795620438</c:v>
                </c:pt>
                <c:pt idx="13">
                  <c:v>0.006715701950751519</c:v>
                </c:pt>
                <c:pt idx="14">
                  <c:v>0.006732813607370659</c:v>
                </c:pt>
                <c:pt idx="15">
                  <c:v>0.006010518407212622</c:v>
                </c:pt>
                <c:pt idx="16">
                  <c:v>0.0035164835164835165</c:v>
                </c:pt>
                <c:pt idx="17">
                  <c:v>0.005200208008320333</c:v>
                </c:pt>
                <c:pt idx="18">
                  <c:v>0.007888349514563107</c:v>
                </c:pt>
                <c:pt idx="19">
                  <c:v>0.0035335689045936395</c:v>
                </c:pt>
                <c:pt idx="20">
                  <c:v>0.004657351962741184</c:v>
                </c:pt>
                <c:pt idx="21">
                  <c:v>0.0032102728731942215</c:v>
                </c:pt>
                <c:pt idx="22">
                  <c:v>0.0033472803347280333</c:v>
                </c:pt>
                <c:pt idx="23">
                  <c:v>0.006427915518824609</c:v>
                </c:pt>
                <c:pt idx="24">
                  <c:v>0.005582137161084529</c:v>
                </c:pt>
                <c:pt idx="25">
                  <c:v>0.002553191489361702</c:v>
                </c:pt>
                <c:pt idx="26">
                  <c:v>0.0032626427406199023</c:v>
                </c:pt>
                <c:pt idx="27">
                  <c:v>0.006545454545454545</c:v>
                </c:pt>
                <c:pt idx="28">
                  <c:v>0.002560819462227913</c:v>
                </c:pt>
                <c:pt idx="29">
                  <c:v>0.0032102728731942215</c:v>
                </c:pt>
                <c:pt idx="30">
                  <c:v>0.0041390728476821195</c:v>
                </c:pt>
                <c:pt idx="31">
                  <c:v>0.0042158516020236085</c:v>
                </c:pt>
                <c:pt idx="32">
                  <c:v>0.0030816640986132513</c:v>
                </c:pt>
                <c:pt idx="33">
                  <c:v>0.0039040713887339654</c:v>
                </c:pt>
                <c:pt idx="34">
                  <c:v>0.003926701570680628</c:v>
                </c:pt>
                <c:pt idx="35">
                  <c:v>0.0032768978700163844</c:v>
                </c:pt>
                <c:pt idx="36">
                  <c:v>0.002955665024630542</c:v>
                </c:pt>
                <c:pt idx="37">
                  <c:v>0.014388489208633094</c:v>
                </c:pt>
                <c:pt idx="38">
                  <c:v>0.013448607108549471</c:v>
                </c:pt>
                <c:pt idx="39">
                  <c:v>0.01348747591522158</c:v>
                </c:pt>
                <c:pt idx="40">
                  <c:v>0.013075965130759652</c:v>
                </c:pt>
                <c:pt idx="41">
                  <c:v>0.01353737492642731</c:v>
                </c:pt>
                <c:pt idx="42">
                  <c:v>0.013040494166094716</c:v>
                </c:pt>
                <c:pt idx="43">
                  <c:v>0.009699769053117783</c:v>
                </c:pt>
                <c:pt idx="44">
                  <c:v>0.006583760058522311</c:v>
                </c:pt>
                <c:pt idx="45">
                  <c:v>0.007957559681697613</c:v>
                </c:pt>
                <c:pt idx="46">
                  <c:v>0.005886426592797784</c:v>
                </c:pt>
                <c:pt idx="47">
                  <c:v>0.003498727735368957</c:v>
                </c:pt>
                <c:pt idx="48">
                  <c:v>0.0025614754098360654</c:v>
                </c:pt>
                <c:pt idx="49">
                  <c:v>0.0016241299303944316</c:v>
                </c:pt>
                <c:pt idx="50">
                  <c:v>0.001910480349344978</c:v>
                </c:pt>
                <c:pt idx="51">
                  <c:v>0.00329398847104035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5517249071260113</c:v>
                </c:pt>
              </c:numCache>
            </c:numRef>
          </c:xVal>
          <c:yVal>
            <c:numRef>
              <c:f>Sheet1!$B$163:$B$164</c:f>
              <c:numCache>
                <c:formatCode>General</c:formatCode>
                <c:ptCount val="2"/>
                <c:pt idx="0">
                  <c:v>0.022817452034722886</c:v>
                </c:pt>
                <c:pt idx="1">
                  <c:v>0.02281745203472288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5517249071260113</c:v>
                </c:pt>
                <c:pt idx="1">
                  <c:v>-2.5517249071260113</c:v>
                </c:pt>
              </c:numCache>
            </c:numRef>
          </c:xVal>
          <c:yVal>
            <c:numRef>
              <c:f>Sheet1!$B$167:$B$168</c:f>
              <c:numCache>
                <c:formatCode>General</c:formatCode>
                <c:ptCount val="2"/>
                <c:pt idx="0">
                  <c:v>0.0228174520347228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12447245311910401</c:v>
                </c:pt>
              </c:numCache>
            </c:numRef>
          </c:xVal>
          <c:yVal>
            <c:numRef>
              <c:f>Sheet1!$B$171:$B$172</c:f>
              <c:numCache>
                <c:formatCode>General</c:formatCode>
                <c:ptCount val="2"/>
                <c:pt idx="0">
                  <c:v>0.011374390513801527</c:v>
                </c:pt>
                <c:pt idx="1">
                  <c:v>0.01137439051380152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12447245311910401</c:v>
                </c:pt>
                <c:pt idx="1">
                  <c:v>0.012447245311910401</c:v>
                </c:pt>
              </c:numCache>
            </c:numRef>
          </c:xVal>
          <c:yVal>
            <c:numRef>
              <c:f>Sheet1!$B$175:$B$176</c:f>
              <c:numCache>
                <c:formatCode>General</c:formatCode>
                <c:ptCount val="2"/>
                <c:pt idx="0">
                  <c:v>0.0113743905138015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037628427417748</c:v>
                </c:pt>
              </c:numCache>
            </c:numRef>
          </c:xVal>
          <c:yVal>
            <c:numRef>
              <c:f>Sheet1!$B$179:$B$180</c:f>
              <c:numCache>
                <c:formatCode>General</c:formatCode>
                <c:ptCount val="2"/>
                <c:pt idx="0">
                  <c:v>0.0073967405708171945</c:v>
                </c:pt>
                <c:pt idx="1">
                  <c:v>0.007396740570817194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037628427417748</c:v>
                </c:pt>
                <c:pt idx="1">
                  <c:v>0.9037628427417748</c:v>
                </c:pt>
              </c:numCache>
            </c:numRef>
          </c:xVal>
          <c:yVal>
            <c:numRef>
              <c:f>Sheet1!$B$183:$B$184</c:f>
              <c:numCache>
                <c:formatCode>General</c:formatCode>
                <c:ptCount val="2"/>
                <c:pt idx="0">
                  <c:v>0.00739674057081719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986426334326324</c:v>
                </c:pt>
                <c:pt idx="1">
                  <c:v>1.2341684788100862</c:v>
                </c:pt>
                <c:pt idx="2">
                  <c:v>1.2128495420449001</c:v>
                </c:pt>
                <c:pt idx="3">
                  <c:v>1.1628990421275</c:v>
                </c:pt>
                <c:pt idx="4">
                  <c:v>1.0727068538319129</c:v>
                </c:pt>
                <c:pt idx="5">
                  <c:v>1.0606680033915874</c:v>
                </c:pt>
                <c:pt idx="6">
                  <c:v>1.0633319701462018</c:v>
                </c:pt>
                <c:pt idx="7">
                  <c:v>1.029332388563323</c:v>
                </c:pt>
                <c:pt idx="8">
                  <c:v>1.0531197757707476</c:v>
                </c:pt>
                <c:pt idx="9">
                  <c:v>1.1096063115561132</c:v>
                </c:pt>
                <c:pt idx="10">
                  <c:v>1.031116403376119</c:v>
                </c:pt>
                <c:pt idx="11">
                  <c:v>1.123048133314131</c:v>
                </c:pt>
                <c:pt idx="12">
                  <c:v>1.1756515611701974</c:v>
                </c:pt>
                <c:pt idx="13">
                  <c:v>1.124947184983314</c:v>
                </c:pt>
                <c:pt idx="14">
                  <c:v>1.0708773860979761</c:v>
                </c:pt>
                <c:pt idx="15">
                  <c:v>1.1402939085262431</c:v>
                </c:pt>
                <c:pt idx="16">
                  <c:v>1.3720190921352895</c:v>
                </c:pt>
                <c:pt idx="17">
                  <c:v>1.3422965413971861</c:v>
                </c:pt>
                <c:pt idx="18">
                  <c:v>1.0383128003501008</c:v>
                </c:pt>
                <c:pt idx="19">
                  <c:v>1.4651357968709846</c:v>
                </c:pt>
                <c:pt idx="20">
                  <c:v>1.1735730222044112</c:v>
                </c:pt>
                <c:pt idx="21">
                  <c:v>1.4786381088222869</c:v>
                </c:pt>
                <c:pt idx="22">
                  <c:v>1.1248631098791706</c:v>
                </c:pt>
                <c:pt idx="23">
                  <c:v>1.1468132069618429</c:v>
                </c:pt>
                <c:pt idx="24">
                  <c:v>1.1107911391231309</c:v>
                </c:pt>
                <c:pt idx="25">
                  <c:v>1.6736897035666503</c:v>
                </c:pt>
                <c:pt idx="26">
                  <c:v>1.2971036717099234</c:v>
                </c:pt>
                <c:pt idx="27">
                  <c:v>0.9361908886863459</c:v>
                </c:pt>
                <c:pt idx="28">
                  <c:v>1.3572190688536623</c:v>
                </c:pt>
                <c:pt idx="29">
                  <c:v>1.195019667543182</c:v>
                </c:pt>
                <c:pt idx="30">
                  <c:v>1.1625757446749272</c:v>
                </c:pt>
                <c:pt idx="31">
                  <c:v>1.0681295755117803</c:v>
                </c:pt>
                <c:pt idx="32">
                  <c:v>1.564276259057922</c:v>
                </c:pt>
                <c:pt idx="33">
                  <c:v>1.0495905732007471</c:v>
                </c:pt>
                <c:pt idx="34">
                  <c:v>1.1342025740826474</c:v>
                </c:pt>
                <c:pt idx="35">
                  <c:v>1.115483641489062</c:v>
                </c:pt>
                <c:pt idx="36">
                  <c:v>1.3271827732677677</c:v>
                </c:pt>
                <c:pt idx="37">
                  <c:v>0.7096130386856504</c:v>
                </c:pt>
                <c:pt idx="38">
                  <c:v>0.6218159872734221</c:v>
                </c:pt>
                <c:pt idx="39">
                  <c:v>0.6633836205602577</c:v>
                </c:pt>
                <c:pt idx="40">
                  <c:v>0.6049586611581541</c:v>
                </c:pt>
                <c:pt idx="41">
                  <c:v>0.6369259424902631</c:v>
                </c:pt>
                <c:pt idx="42">
                  <c:v>0.5876892389649357</c:v>
                </c:pt>
                <c:pt idx="43">
                  <c:v>0.6026806818317862</c:v>
                </c:pt>
                <c:pt idx="44">
                  <c:v>0.6212130922495886</c:v>
                </c:pt>
                <c:pt idx="45">
                  <c:v>0.523177659272777</c:v>
                </c:pt>
                <c:pt idx="46">
                  <c:v>0.6149960722342009</c:v>
                </c:pt>
                <c:pt idx="47">
                  <c:v>0.6135249342070427</c:v>
                </c:pt>
                <c:pt idx="48">
                  <c:v>0.6385379136021809</c:v>
                </c:pt>
                <c:pt idx="49">
                  <c:v>0.6363365794622736</c:v>
                </c:pt>
                <c:pt idx="50">
                  <c:v>0.5789131162883402</c:v>
                </c:pt>
                <c:pt idx="51">
                  <c:v>0.5973939754018247</c:v>
                </c:pt>
                <c:pt idx="52">
                  <c:v>0.012447245311910401</c:v>
                </c:pt>
                <c:pt idx="53">
                  <c:v>-2.5517249071260113</c:v>
                </c:pt>
                <c:pt idx="54">
                  <c:v>0.9037628427417748</c:v>
                </c:pt>
              </c:numCache>
            </c:numRef>
          </c:xVal>
          <c:yVal>
            <c:numRef>
              <c:f>Sheet1!$B$187:$B$241</c:f>
              <c:numCache>
                <c:formatCode>General</c:formatCode>
                <c:ptCount val="55"/>
                <c:pt idx="0">
                  <c:v>0.005634521238566869</c:v>
                </c:pt>
                <c:pt idx="1">
                  <c:v>0.0059222482997759755</c:v>
                </c:pt>
                <c:pt idx="2">
                  <c:v>0.006017387740680017</c:v>
                </c:pt>
                <c:pt idx="3">
                  <c:v>0.006240300481937324</c:v>
                </c:pt>
                <c:pt idx="4">
                  <c:v>0.00664279871451179</c:v>
                </c:pt>
                <c:pt idx="5">
                  <c:v>0.006696524165862175</c:v>
                </c:pt>
                <c:pt idx="6">
                  <c:v>0.006684635753676683</c:v>
                </c:pt>
                <c:pt idx="7">
                  <c:v>0.006836364764292668</c:v>
                </c:pt>
                <c:pt idx="8">
                  <c:v>0.006730209436547712</c:v>
                </c:pt>
                <c:pt idx="9">
                  <c:v>0.006478128505288431</c:v>
                </c:pt>
                <c:pt idx="10">
                  <c:v>0.006828403289772461</c:v>
                </c:pt>
                <c:pt idx="11">
                  <c:v>0.006418142051889032</c:v>
                </c:pt>
                <c:pt idx="12">
                  <c:v>0.006183390161070777</c:v>
                </c:pt>
                <c:pt idx="13">
                  <c:v>0.006409667205509779</c:v>
                </c:pt>
                <c:pt idx="14">
                  <c:v>0.006650963030550429</c:v>
                </c:pt>
                <c:pt idx="15">
                  <c:v>0.006341179798578328</c:v>
                </c:pt>
                <c:pt idx="16">
                  <c:v>0.005307066106381793</c:v>
                </c:pt>
                <c:pt idx="17">
                  <c:v>0.005439708127445571</c:v>
                </c:pt>
                <c:pt idx="18">
                  <c:v>0.006796288124172541</c:v>
                </c:pt>
                <c:pt idx="19">
                  <c:v>0.004891516713606838</c:v>
                </c:pt>
                <c:pt idx="20">
                  <c:v>0.006192666000540647</c:v>
                </c:pt>
                <c:pt idx="21">
                  <c:v>0.004831260312262442</c:v>
                </c:pt>
                <c:pt idx="22">
                  <c:v>0.006410042405196811</c:v>
                </c:pt>
                <c:pt idx="23">
                  <c:v>0.0063120863022618325</c:v>
                </c:pt>
                <c:pt idx="24">
                  <c:v>0.006472841007439204</c:v>
                </c:pt>
                <c:pt idx="25">
                  <c:v>0.003960808850455761</c:v>
                </c:pt>
                <c:pt idx="26">
                  <c:v>0.005641389121308111</c:v>
                </c:pt>
                <c:pt idx="27">
                  <c:v>0.0072520248096721454</c:v>
                </c:pt>
                <c:pt idx="28">
                  <c:v>0.005373113768884371</c:v>
                </c:pt>
                <c:pt idx="29">
                  <c:v>0.0060969566380488956</c:v>
                </c:pt>
                <c:pt idx="30">
                  <c:v>0.006241743252710663</c:v>
                </c:pt>
                <c:pt idx="31">
                  <c:v>0.006663225610329162</c:v>
                </c:pt>
                <c:pt idx="32">
                  <c:v>0.004449085261826548</c:v>
                </c:pt>
                <c:pt idx="33">
                  <c:v>0.00674595911314018</c:v>
                </c:pt>
                <c:pt idx="34">
                  <c:v>0.006368363431594661</c:v>
                </c:pt>
                <c:pt idx="35">
                  <c:v>0.006451899904397675</c:v>
                </c:pt>
                <c:pt idx="36">
                  <c:v>0.005507155930571209</c:v>
                </c:pt>
                <c:pt idx="37">
                  <c:v>0.008263167635777235</c:v>
                </c:pt>
                <c:pt idx="38">
                  <c:v>0.008654977155941636</c:v>
                </c:pt>
                <c:pt idx="39">
                  <c:v>0.008469474406242045</c:v>
                </c:pt>
                <c:pt idx="40">
                  <c:v>0.008730205888003112</c:v>
                </c:pt>
                <c:pt idx="41">
                  <c:v>0.008587546368597546</c:v>
                </c:pt>
                <c:pt idx="42">
                  <c:v>0.008807273670055061</c:v>
                </c:pt>
                <c:pt idx="43">
                  <c:v>0.00874037176456106</c:v>
                </c:pt>
                <c:pt idx="44">
                  <c:v>0.008657667679213183</c:v>
                </c:pt>
                <c:pt idx="45">
                  <c:v>0.009095167747107308</c:v>
                </c:pt>
                <c:pt idx="46">
                  <c:v>0.008685412205821991</c:v>
                </c:pt>
                <c:pt idx="47">
                  <c:v>0.008691977413596568</c:v>
                </c:pt>
                <c:pt idx="48">
                  <c:v>0.008580352668835195</c:v>
                </c:pt>
                <c:pt idx="49">
                  <c:v>0.008590176502998245</c:v>
                </c:pt>
                <c:pt idx="50">
                  <c:v>0.008846438634703769</c:v>
                </c:pt>
                <c:pt idx="51">
                  <c:v>0.008763964605963532</c:v>
                </c:pt>
                <c:pt idx="52">
                  <c:v>0.011374390513801527</c:v>
                </c:pt>
                <c:pt idx="53">
                  <c:v>0.022817452034722886</c:v>
                </c:pt>
                <c:pt idx="54">
                  <c:v>0.00739674057081719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248704663212"/>
          <c:min val="0.00129930394431554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69.9048</c:v>
                </c:pt>
                <c:pt idx="1">
                  <c:v>738.4271</c:v>
                </c:pt>
                <c:pt idx="2">
                  <c:v>799.07</c:v>
                </c:pt>
                <c:pt idx="3">
                  <c:v>804.5333</c:v>
                </c:pt>
                <c:pt idx="4">
                  <c:v>813.908</c:v>
                </c:pt>
                <c:pt idx="5">
                  <c:v>818.0417</c:v>
                </c:pt>
                <c:pt idx="6">
                  <c:v>841.9859</c:v>
                </c:pt>
                <c:pt idx="7">
                  <c:v>827.9385</c:v>
                </c:pt>
                <c:pt idx="8">
                  <c:v>838.6034</c:v>
                </c:pt>
                <c:pt idx="9">
                  <c:v>831.7386</c:v>
                </c:pt>
                <c:pt idx="10">
                  <c:v>832.1447</c:v>
                </c:pt>
                <c:pt idx="11">
                  <c:v>816.5652</c:v>
                </c:pt>
                <c:pt idx="12">
                  <c:v>811.4048</c:v>
                </c:pt>
                <c:pt idx="13">
                  <c:v>824.6515</c:v>
                </c:pt>
                <c:pt idx="14">
                  <c:v>807.15</c:v>
                </c:pt>
                <c:pt idx="15">
                  <c:v>828.3556</c:v>
                </c:pt>
                <c:pt idx="16">
                  <c:v>848.1667</c:v>
                </c:pt>
                <c:pt idx="17">
                  <c:v>827.6207</c:v>
                </c:pt>
                <c:pt idx="18">
                  <c:v>825.1304</c:v>
                </c:pt>
                <c:pt idx="19">
                  <c:v>803.6818</c:v>
                </c:pt>
                <c:pt idx="20">
                  <c:v>844.6842</c:v>
                </c:pt>
                <c:pt idx="21">
                  <c:v>857.875</c:v>
                </c:pt>
                <c:pt idx="22">
                  <c:v>835.2162</c:v>
                </c:pt>
                <c:pt idx="23">
                  <c:v>850.9762</c:v>
                </c:pt>
                <c:pt idx="24">
                  <c:v>851.7442</c:v>
                </c:pt>
                <c:pt idx="25">
                  <c:v>835.6857</c:v>
                </c:pt>
                <c:pt idx="26">
                  <c:v>867.6818</c:v>
                </c:pt>
                <c:pt idx="27">
                  <c:v>843.4615</c:v>
                </c:pt>
                <c:pt idx="28">
                  <c:v>837.4737</c:v>
                </c:pt>
                <c:pt idx="29">
                  <c:v>849.5</c:v>
                </c:pt>
                <c:pt idx="30">
                  <c:v>832.1563</c:v>
                </c:pt>
                <c:pt idx="31">
                  <c:v>836.0</c:v>
                </c:pt>
                <c:pt idx="32">
                  <c:v>851.6061</c:v>
                </c:pt>
                <c:pt idx="33">
                  <c:v>860.3846</c:v>
                </c:pt>
                <c:pt idx="34">
                  <c:v>846.1364</c:v>
                </c:pt>
                <c:pt idx="35">
                  <c:v>835.6528</c:v>
                </c:pt>
                <c:pt idx="36">
                  <c:v>1097.0769</c:v>
                </c:pt>
                <c:pt idx="37">
                  <c:v>1068.4444</c:v>
                </c:pt>
                <c:pt idx="38">
                  <c:v>1147.3684</c:v>
                </c:pt>
                <c:pt idx="39">
                  <c:v>1130.3125</c:v>
                </c:pt>
                <c:pt idx="40">
                  <c:v>1136.0</c:v>
                </c:pt>
                <c:pt idx="41">
                  <c:v>1128.5</c:v>
                </c:pt>
                <c:pt idx="42">
                  <c:v>1148.2222</c:v>
                </c:pt>
                <c:pt idx="43">
                  <c:v>1189.8333</c:v>
                </c:pt>
                <c:pt idx="44">
                  <c:v>1109.9231</c:v>
                </c:pt>
                <c:pt idx="45">
                  <c:v>1144.8</c:v>
                </c:pt>
                <c:pt idx="46">
                  <c:v>1126.52</c:v>
                </c:pt>
                <c:pt idx="47">
                  <c:v>1138.0</c:v>
                </c:pt>
                <c:pt idx="48">
                  <c:v>1154.7042</c:v>
                </c:pt>
                <c:pt idx="49">
                  <c:v>1139.8036</c:v>
                </c:pt>
                <c:pt idx="50">
                  <c:v>1107.7241</c:v>
                </c:pt>
                <c:pt idx="51">
                  <c:v>1131.617</c:v>
                </c:pt>
                <c:pt idx="52">
                  <c:v>1126.0758</c:v>
                </c:pt>
                <c:pt idx="53">
                  <c:v>1125.56</c:v>
                </c:pt>
                <c:pt idx="54">
                  <c:v>1140.2708</c:v>
                </c:pt>
                <c:pt idx="55">
                  <c:v>1161.5833</c:v>
                </c:pt>
                <c:pt idx="56">
                  <c:v>1132.8095</c:v>
                </c:pt>
                <c:pt idx="57">
                  <c:v>1135.9796</c:v>
                </c:pt>
                <c:pt idx="58">
                  <c:v>1159.6481</c:v>
                </c:pt>
                <c:pt idx="59">
                  <c:v>1148.9867</c:v>
                </c:pt>
                <c:pt idx="60">
                  <c:v>1160.8313</c:v>
                </c:pt>
                <c:pt idx="61">
                  <c:v>1134.0656</c:v>
                </c:pt>
                <c:pt idx="62">
                  <c:v>1116.3387</c:v>
                </c:pt>
                <c:pt idx="63">
                  <c:v>1178.5231</c:v>
                </c:pt>
                <c:pt idx="64">
                  <c:v>1154.3125</c:v>
                </c:pt>
                <c:pt idx="65">
                  <c:v>1123.9403</c:v>
                </c:pt>
                <c:pt idx="66">
                  <c:v>1127.8491</c:v>
                </c:pt>
                <c:pt idx="67">
                  <c:v>1149.9524</c:v>
                </c:pt>
                <c:pt idx="68">
                  <c:v>1146.5263</c:v>
                </c:pt>
                <c:pt idx="69">
                  <c:v>1098.087</c:v>
                </c:pt>
                <c:pt idx="70">
                  <c:v>1116.7368</c:v>
                </c:pt>
                <c:pt idx="71">
                  <c:v>1097.125</c:v>
                </c:pt>
                <c:pt idx="72">
                  <c:v>1172.9048</c:v>
                </c:pt>
                <c:pt idx="73">
                  <c:v>1164.9545</c:v>
                </c:pt>
                <c:pt idx="74">
                  <c:v>1223.4211</c:v>
                </c:pt>
                <c:pt idx="75">
                  <c:v>1090.2222</c:v>
                </c:pt>
                <c:pt idx="76">
                  <c:v>1126.0714</c:v>
                </c:pt>
                <c:pt idx="77">
                  <c:v>1237.5714</c:v>
                </c:pt>
                <c:pt idx="78">
                  <c:v>1025.0909</c:v>
                </c:pt>
                <c:pt idx="79">
                  <c:v>894.6154</c:v>
                </c:pt>
                <c:pt idx="80">
                  <c:v>855.25</c:v>
                </c:pt>
                <c:pt idx="81">
                  <c:v>708.7143</c:v>
                </c:pt>
                <c:pt idx="82">
                  <c:v>660.9333</c:v>
                </c:pt>
                <c:pt idx="83">
                  <c:v>694.0667</c:v>
                </c:pt>
                <c:pt idx="84">
                  <c:v>681.6364</c:v>
                </c:pt>
                <c:pt idx="85">
                  <c:v>677.85</c:v>
                </c:pt>
                <c:pt idx="86">
                  <c:v>699.9</c:v>
                </c:pt>
                <c:pt idx="87">
                  <c:v>677.5455</c:v>
                </c:pt>
                <c:pt idx="88">
                  <c:v>748.6154</c:v>
                </c:pt>
                <c:pt idx="89">
                  <c:v>720.8571</c:v>
                </c:pt>
                <c:pt idx="90">
                  <c:v>665.4375</c:v>
                </c:pt>
                <c:pt idx="91">
                  <c:v>676.0</c:v>
                </c:pt>
                <c:pt idx="92">
                  <c:v>667.95</c:v>
                </c:pt>
                <c:pt idx="93">
                  <c:v>716.2</c:v>
                </c:pt>
                <c:pt idx="94">
                  <c:v>702.3158</c:v>
                </c:pt>
                <c:pt idx="95">
                  <c:v>719.2105</c:v>
                </c:pt>
                <c:pt idx="96">
                  <c:v>695.5429</c:v>
                </c:pt>
                <c:pt idx="97">
                  <c:v>701.6333</c:v>
                </c:pt>
                <c:pt idx="98">
                  <c:v>709.1765</c:v>
                </c:pt>
                <c:pt idx="99">
                  <c:v>852.2609</c:v>
                </c:pt>
                <c:pt idx="100">
                  <c:v>1017.7333</c:v>
                </c:pt>
                <c:pt idx="101">
                  <c:v>967.0</c:v>
                </c:pt>
                <c:pt idx="102">
                  <c:v>630.7273</c:v>
                </c:pt>
                <c:pt idx="103">
                  <c:v>696.4</c:v>
                </c:pt>
                <c:pt idx="104">
                  <c:v>741.2</c:v>
                </c:pt>
              </c:numCache>
            </c:numRef>
          </c:xVal>
          <c:yVal>
            <c:numRef>
              <c:f>Sheet1!$B$2:$B$106</c:f>
              <c:numCache>
                <c:formatCode>General</c:formatCode>
                <c:ptCount val="105"/>
                <c:pt idx="0">
                  <c:v>0.018375918795939798</c:v>
                </c:pt>
                <c:pt idx="1">
                  <c:v>0.0187866927592955</c:v>
                </c:pt>
                <c:pt idx="2">
                  <c:v>0.019264110961279137</c:v>
                </c:pt>
                <c:pt idx="3">
                  <c:v>0.019128586609989374</c:v>
                </c:pt>
                <c:pt idx="4">
                  <c:v>0.02166334661354582</c:v>
                </c:pt>
                <c:pt idx="5">
                  <c:v>0.019656019656019656</c:v>
                </c:pt>
                <c:pt idx="6">
                  <c:v>0.019744160177975527</c:v>
                </c:pt>
                <c:pt idx="7">
                  <c:v>0.022131426625808647</c:v>
                </c:pt>
                <c:pt idx="8">
                  <c:v>0.021167883211678833</c:v>
                </c:pt>
                <c:pt idx="9">
                  <c:v>0.02370051171559386</c:v>
                </c:pt>
                <c:pt idx="10">
                  <c:v>0.019417475728155338</c:v>
                </c:pt>
                <c:pt idx="11">
                  <c:v>0.022276029055690073</c:v>
                </c:pt>
                <c:pt idx="12">
                  <c:v>0.01883408071748879</c:v>
                </c:pt>
                <c:pt idx="13">
                  <c:v>0.014442013129102845</c:v>
                </c:pt>
                <c:pt idx="14">
                  <c:v>0.01272264631043257</c:v>
                </c:pt>
                <c:pt idx="15">
                  <c:v>0.011655011655011656</c:v>
                </c:pt>
                <c:pt idx="16">
                  <c:v>0.01128526645768025</c:v>
                </c:pt>
                <c:pt idx="17">
                  <c:v>0.009938313913639479</c:v>
                </c:pt>
                <c:pt idx="18">
                  <c:v>0.010226767452200978</c:v>
                </c:pt>
                <c:pt idx="19">
                  <c:v>0.013293051359516616</c:v>
                </c:pt>
                <c:pt idx="20">
                  <c:v>0.009798865394533264</c:v>
                </c:pt>
                <c:pt idx="21">
                  <c:v>0.011299435028248588</c:v>
                </c:pt>
                <c:pt idx="22">
                  <c:v>0.025342465753424658</c:v>
                </c:pt>
                <c:pt idx="23">
                  <c:v>0.027202072538860103</c:v>
                </c:pt>
                <c:pt idx="24">
                  <c:v>0.021772151898734177</c:v>
                </c:pt>
                <c:pt idx="25">
                  <c:v>0.020149683362118594</c:v>
                </c:pt>
                <c:pt idx="26">
                  <c:v>0.023758099352051837</c:v>
                </c:pt>
                <c:pt idx="27">
                  <c:v>0.02606516290726817</c:v>
                </c:pt>
                <c:pt idx="28">
                  <c:v>0.01901901901901902</c:v>
                </c:pt>
                <c:pt idx="29">
                  <c:v>0.01949978804578211</c:v>
                </c:pt>
                <c:pt idx="30">
                  <c:v>0.018901358535144713</c:v>
                </c:pt>
                <c:pt idx="31">
                  <c:v>0.02030456852791878</c:v>
                </c:pt>
                <c:pt idx="32">
                  <c:v>0.02301255230125523</c:v>
                </c:pt>
                <c:pt idx="33">
                  <c:v>0.024868483978957436</c:v>
                </c:pt>
                <c:pt idx="34">
                  <c:v>0.026731470230862697</c:v>
                </c:pt>
                <c:pt idx="35">
                  <c:v>0.025806451612903226</c:v>
                </c:pt>
                <c:pt idx="36">
                  <c:v>0.012081784386617101</c:v>
                </c:pt>
                <c:pt idx="37">
                  <c:v>0.009523809523809525</c:v>
                </c:pt>
                <c:pt idx="38">
                  <c:v>0.009625126646403243</c:v>
                </c:pt>
                <c:pt idx="39">
                  <c:v>0.008117706747843734</c:v>
                </c:pt>
                <c:pt idx="40">
                  <c:v>0.008183306055646482</c:v>
                </c:pt>
                <c:pt idx="41">
                  <c:v>0.006478482184173994</c:v>
                </c:pt>
                <c:pt idx="42">
                  <c:v>0.007111813512445673</c:v>
                </c:pt>
                <c:pt idx="43">
                  <c:v>0.0060790273556231</c:v>
                </c:pt>
                <c:pt idx="44">
                  <c:v>0.005534269902085994</c:v>
                </c:pt>
                <c:pt idx="45">
                  <c:v>0.005059704513256426</c:v>
                </c:pt>
                <c:pt idx="46">
                  <c:v>0.004864759680871765</c:v>
                </c:pt>
                <c:pt idx="47">
                  <c:v>0.0068721774985273905</c:v>
                </c:pt>
                <c:pt idx="48">
                  <c:v>0.009015873015873015</c:v>
                </c:pt>
                <c:pt idx="49">
                  <c:v>0.009686067629507912</c:v>
                </c:pt>
                <c:pt idx="50">
                  <c:v>0.011439842209072978</c:v>
                </c:pt>
                <c:pt idx="51">
                  <c:v>0.012277951933124347</c:v>
                </c:pt>
                <c:pt idx="52">
                  <c:v>0.012758554030543205</c:v>
                </c:pt>
                <c:pt idx="53">
                  <c:v>0.012725884448969204</c:v>
                </c:pt>
                <c:pt idx="54">
                  <c:v>0.014683389415723462</c:v>
                </c:pt>
                <c:pt idx="55">
                  <c:v>0.011703511053315995</c:v>
                </c:pt>
                <c:pt idx="56">
                  <c:v>0.013986013986013986</c:v>
                </c:pt>
                <c:pt idx="57">
                  <c:v>0.013775653640708463</c:v>
                </c:pt>
                <c:pt idx="58">
                  <c:v>0.01361573373676248</c:v>
                </c:pt>
                <c:pt idx="59">
                  <c:v>0.011184014315538324</c:v>
                </c:pt>
                <c:pt idx="60">
                  <c:v>0.013881920053520656</c:v>
                </c:pt>
                <c:pt idx="61">
                  <c:v>0.01461778097292116</c:v>
                </c:pt>
                <c:pt idx="62">
                  <c:v>0.014322014322014322</c:v>
                </c:pt>
                <c:pt idx="63">
                  <c:v>0.013246382718565314</c:v>
                </c:pt>
                <c:pt idx="64">
                  <c:v>0.016054585591009432</c:v>
                </c:pt>
                <c:pt idx="65">
                  <c:v>0.015005599104143338</c:v>
                </c:pt>
                <c:pt idx="66">
                  <c:v>0.01318407960199005</c:v>
                </c:pt>
                <c:pt idx="67">
                  <c:v>0.011419249592169658</c:v>
                </c:pt>
                <c:pt idx="68">
                  <c:v>0.012768817204301076</c:v>
                </c:pt>
                <c:pt idx="69">
                  <c:v>0.01018149623727313</c:v>
                </c:pt>
                <c:pt idx="70">
                  <c:v>0.008683729433272395</c:v>
                </c:pt>
                <c:pt idx="71">
                  <c:v>0.012396694214876033</c:v>
                </c:pt>
                <c:pt idx="72">
                  <c:v>0.010248901903367497</c:v>
                </c:pt>
                <c:pt idx="73">
                  <c:v>0.011235955056179775</c:v>
                </c:pt>
                <c:pt idx="74">
                  <c:v>0.008837209302325582</c:v>
                </c:pt>
                <c:pt idx="75">
                  <c:v>0.010067114093959731</c:v>
                </c:pt>
                <c:pt idx="76">
                  <c:v>0.008373205741626795</c:v>
                </c:pt>
                <c:pt idx="77">
                  <c:v>0.004361370716510903</c:v>
                </c:pt>
                <c:pt idx="78">
                  <c:v>0.007665505226480836</c:v>
                </c:pt>
                <c:pt idx="79">
                  <c:v>0.008296107211231652</c:v>
                </c:pt>
                <c:pt idx="80">
                  <c:v>0.008075370121130552</c:v>
                </c:pt>
                <c:pt idx="81">
                  <c:v>0.011099365750528542</c:v>
                </c:pt>
                <c:pt idx="82">
                  <c:v>0.01037344398340249</c:v>
                </c:pt>
                <c:pt idx="83">
                  <c:v>0.012234910277324634</c:v>
                </c:pt>
                <c:pt idx="84">
                  <c:v>0.009425878320479864</c:v>
                </c:pt>
                <c:pt idx="85">
                  <c:v>0.013966480446927373</c:v>
                </c:pt>
                <c:pt idx="86">
                  <c:v>0.010209290454313425</c:v>
                </c:pt>
                <c:pt idx="87">
                  <c:v>0.010309278350515464</c:v>
                </c:pt>
                <c:pt idx="88">
                  <c:v>0.008253968253968255</c:v>
                </c:pt>
                <c:pt idx="89">
                  <c:v>0.010494752623688156</c:v>
                </c:pt>
                <c:pt idx="90">
                  <c:v>0.012204424103737605</c:v>
                </c:pt>
                <c:pt idx="91">
                  <c:v>0.01020408163265306</c:v>
                </c:pt>
                <c:pt idx="92">
                  <c:v>0.010700909577314071</c:v>
                </c:pt>
                <c:pt idx="93">
                  <c:v>0.010240655401945725</c:v>
                </c:pt>
                <c:pt idx="94">
                  <c:v>0.01141826923076923</c:v>
                </c:pt>
                <c:pt idx="95">
                  <c:v>0.008006742520016857</c:v>
                </c:pt>
                <c:pt idx="96">
                  <c:v>0.009363295880149813</c:v>
                </c:pt>
                <c:pt idx="97">
                  <c:v>0.0070109838747370885</c:v>
                </c:pt>
                <c:pt idx="98">
                  <c:v>0.006281174949196379</c:v>
                </c:pt>
                <c:pt idx="99">
                  <c:v>0.003425167535368578</c:v>
                </c:pt>
                <c:pt idx="100">
                  <c:v>0.002994310809462022</c:v>
                </c:pt>
                <c:pt idx="101">
                  <c:v>0.002044153720359771</c:v>
                </c:pt>
                <c:pt idx="102">
                  <c:v>0.0033282904689863843</c:v>
                </c:pt>
                <c:pt idx="103">
                  <c:v>0.0025826446280991736</c:v>
                </c:pt>
                <c:pt idx="104">
                  <c:v>0.002912055911473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79.1875</c:v>
                </c:pt>
                <c:pt idx="1">
                  <c:v>659.4878</c:v>
                </c:pt>
                <c:pt idx="2">
                  <c:v>660.75</c:v>
                </c:pt>
                <c:pt idx="3">
                  <c:v>637.7857</c:v>
                </c:pt>
                <c:pt idx="4">
                  <c:v>628.7963</c:v>
                </c:pt>
                <c:pt idx="5">
                  <c:v>657.7442</c:v>
                </c:pt>
                <c:pt idx="6">
                  <c:v>624.027</c:v>
                </c:pt>
                <c:pt idx="7">
                  <c:v>628.1364</c:v>
                </c:pt>
                <c:pt idx="8">
                  <c:v>646.7059</c:v>
                </c:pt>
                <c:pt idx="9">
                  <c:v>668.1875</c:v>
                </c:pt>
                <c:pt idx="10">
                  <c:v>630.5714</c:v>
                </c:pt>
                <c:pt idx="11">
                  <c:v>616.0357</c:v>
                </c:pt>
                <c:pt idx="12">
                  <c:v>638.3333</c:v>
                </c:pt>
                <c:pt idx="13">
                  <c:v>652.5714</c:v>
                </c:pt>
                <c:pt idx="14">
                  <c:v>616.7895</c:v>
                </c:pt>
                <c:pt idx="15">
                  <c:v>631.5625</c:v>
                </c:pt>
                <c:pt idx="16">
                  <c:v>796.875</c:v>
                </c:pt>
                <c:pt idx="17">
                  <c:v>737.3</c:v>
                </c:pt>
                <c:pt idx="18">
                  <c:v>601.6923</c:v>
                </c:pt>
                <c:pt idx="19">
                  <c:v>842.6667</c:v>
                </c:pt>
                <c:pt idx="20">
                  <c:v>697.8571</c:v>
                </c:pt>
                <c:pt idx="21">
                  <c:v>863.75</c:v>
                </c:pt>
                <c:pt idx="22">
                  <c:v>663.75</c:v>
                </c:pt>
                <c:pt idx="23">
                  <c:v>668.0</c:v>
                </c:pt>
                <c:pt idx="24">
                  <c:v>658.8571</c:v>
                </c:pt>
                <c:pt idx="25">
                  <c:v>950.0</c:v>
                </c:pt>
                <c:pt idx="26">
                  <c:v>765.5</c:v>
                </c:pt>
                <c:pt idx="27">
                  <c:v>569.5556</c:v>
                </c:pt>
                <c:pt idx="28">
                  <c:v>822.5</c:v>
                </c:pt>
                <c:pt idx="29">
                  <c:v>713.0</c:v>
                </c:pt>
                <c:pt idx="30">
                  <c:v>718.2</c:v>
                </c:pt>
                <c:pt idx="31">
                  <c:v>641.2</c:v>
                </c:pt>
                <c:pt idx="32">
                  <c:v>954.0</c:v>
                </c:pt>
                <c:pt idx="33">
                  <c:v>650.2857</c:v>
                </c:pt>
                <c:pt idx="34">
                  <c:v>694.5556</c:v>
                </c:pt>
                <c:pt idx="35">
                  <c:v>689.0</c:v>
                </c:pt>
                <c:pt idx="36">
                  <c:v>795.0</c:v>
                </c:pt>
                <c:pt idx="37">
                  <c:v>433.3125</c:v>
                </c:pt>
                <c:pt idx="38">
                  <c:v>380.7143</c:v>
                </c:pt>
                <c:pt idx="39">
                  <c:v>397.7619</c:v>
                </c:pt>
                <c:pt idx="40">
                  <c:v>363.0</c:v>
                </c:pt>
                <c:pt idx="41">
                  <c:v>390.7826</c:v>
                </c:pt>
                <c:pt idx="42">
                  <c:v>363.6316</c:v>
                </c:pt>
                <c:pt idx="43">
                  <c:v>372.5238</c:v>
                </c:pt>
                <c:pt idx="44">
                  <c:v>387.7222</c:v>
                </c:pt>
                <c:pt idx="45">
                  <c:v>320.6333</c:v>
                </c:pt>
                <c:pt idx="46">
                  <c:v>375.4706</c:v>
                </c:pt>
                <c:pt idx="47">
                  <c:v>363.8182</c:v>
                </c:pt>
                <c:pt idx="48">
                  <c:v>386.0</c:v>
                </c:pt>
                <c:pt idx="49">
                  <c:v>380.5714</c:v>
                </c:pt>
                <c:pt idx="50">
                  <c:v>346.2143</c:v>
                </c:pt>
                <c:pt idx="51">
                  <c:v>341.6667</c:v>
                </c:pt>
              </c:numCache>
            </c:numRef>
          </c:xVal>
          <c:yVal>
            <c:numRef>
              <c:f>Sheet1!$B$109:$B$160</c:f>
              <c:numCache>
                <c:formatCode>General</c:formatCode>
                <c:ptCount val="52"/>
                <c:pt idx="0">
                  <c:v>0.0042643923240938165</c:v>
                </c:pt>
                <c:pt idx="1">
                  <c:v>0.01216256303767428</c:v>
                </c:pt>
                <c:pt idx="2">
                  <c:v>0.015706806282722512</c:v>
                </c:pt>
                <c:pt idx="3">
                  <c:v>0.014949279231179925</c:v>
                </c:pt>
                <c:pt idx="4">
                  <c:v>0.015384615384615385</c:v>
                </c:pt>
                <c:pt idx="5">
                  <c:v>0.013101767215112737</c:v>
                </c:pt>
                <c:pt idx="6">
                  <c:v>0.010434292160180485</c:v>
                </c:pt>
                <c:pt idx="7">
                  <c:v>0.008803521408563426</c:v>
                </c:pt>
                <c:pt idx="8">
                  <c:v>0.007562277580071174</c:v>
                </c:pt>
                <c:pt idx="9">
                  <c:v>0.006369426751592357</c:v>
                </c:pt>
                <c:pt idx="10">
                  <c:v>0.005317128750474744</c:v>
                </c:pt>
                <c:pt idx="11">
                  <c:v>0.007216494845360825</c:v>
                </c:pt>
                <c:pt idx="12">
                  <c:v>0.004562043795620438</c:v>
                </c:pt>
                <c:pt idx="13">
                  <c:v>0.006715701950751519</c:v>
                </c:pt>
                <c:pt idx="14">
                  <c:v>0.006732813607370659</c:v>
                </c:pt>
                <c:pt idx="15">
                  <c:v>0.006010518407212622</c:v>
                </c:pt>
                <c:pt idx="16">
                  <c:v>0.0035164835164835165</c:v>
                </c:pt>
                <c:pt idx="17">
                  <c:v>0.005200208008320333</c:v>
                </c:pt>
                <c:pt idx="18">
                  <c:v>0.007888349514563107</c:v>
                </c:pt>
                <c:pt idx="19">
                  <c:v>0.0035335689045936395</c:v>
                </c:pt>
                <c:pt idx="20">
                  <c:v>0.004657351962741184</c:v>
                </c:pt>
                <c:pt idx="21">
                  <c:v>0.0032102728731942215</c:v>
                </c:pt>
                <c:pt idx="22">
                  <c:v>0.0033472803347280333</c:v>
                </c:pt>
                <c:pt idx="23">
                  <c:v>0.006427915518824609</c:v>
                </c:pt>
                <c:pt idx="24">
                  <c:v>0.005582137161084529</c:v>
                </c:pt>
                <c:pt idx="25">
                  <c:v>0.002553191489361702</c:v>
                </c:pt>
                <c:pt idx="26">
                  <c:v>0.0032626427406199023</c:v>
                </c:pt>
                <c:pt idx="27">
                  <c:v>0.006545454545454545</c:v>
                </c:pt>
                <c:pt idx="28">
                  <c:v>0.002560819462227913</c:v>
                </c:pt>
                <c:pt idx="29">
                  <c:v>0.0032102728731942215</c:v>
                </c:pt>
                <c:pt idx="30">
                  <c:v>0.0041390728476821195</c:v>
                </c:pt>
                <c:pt idx="31">
                  <c:v>0.0042158516020236085</c:v>
                </c:pt>
                <c:pt idx="32">
                  <c:v>0.0030816640986132513</c:v>
                </c:pt>
                <c:pt idx="33">
                  <c:v>0.0039040713887339654</c:v>
                </c:pt>
                <c:pt idx="34">
                  <c:v>0.003926701570680628</c:v>
                </c:pt>
                <c:pt idx="35">
                  <c:v>0.0032768978700163844</c:v>
                </c:pt>
                <c:pt idx="36">
                  <c:v>0.002955665024630542</c:v>
                </c:pt>
                <c:pt idx="37">
                  <c:v>0.014388489208633094</c:v>
                </c:pt>
                <c:pt idx="38">
                  <c:v>0.013448607108549471</c:v>
                </c:pt>
                <c:pt idx="39">
                  <c:v>0.01348747591522158</c:v>
                </c:pt>
                <c:pt idx="40">
                  <c:v>0.013075965130759652</c:v>
                </c:pt>
                <c:pt idx="41">
                  <c:v>0.01353737492642731</c:v>
                </c:pt>
                <c:pt idx="42">
                  <c:v>0.013040494166094716</c:v>
                </c:pt>
                <c:pt idx="43">
                  <c:v>0.009699769053117783</c:v>
                </c:pt>
                <c:pt idx="44">
                  <c:v>0.006583760058522311</c:v>
                </c:pt>
                <c:pt idx="45">
                  <c:v>0.007957559681697613</c:v>
                </c:pt>
                <c:pt idx="46">
                  <c:v>0.005886426592797784</c:v>
                </c:pt>
                <c:pt idx="47">
                  <c:v>0.003498727735368957</c:v>
                </c:pt>
                <c:pt idx="48">
                  <c:v>0.0025614754098360654</c:v>
                </c:pt>
                <c:pt idx="49">
                  <c:v>0.0016241299303944316</c:v>
                </c:pt>
                <c:pt idx="50">
                  <c:v>0.001910480349344978</c:v>
                </c:pt>
                <c:pt idx="51">
                  <c:v>0.00329398847104035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38.6486835511482</c:v>
                </c:pt>
              </c:numCache>
            </c:numRef>
          </c:xVal>
          <c:yVal>
            <c:numRef>
              <c:f>Sheet1!$B$163:$B$164</c:f>
              <c:numCache>
                <c:formatCode>General</c:formatCode>
                <c:ptCount val="2"/>
                <c:pt idx="0">
                  <c:v>0.022817452034722886</c:v>
                </c:pt>
                <c:pt idx="1">
                  <c:v>0.02281745203472288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38.6486835511482</c:v>
                </c:pt>
                <c:pt idx="1">
                  <c:v>-1238.6486835511482</c:v>
                </c:pt>
              </c:numCache>
            </c:numRef>
          </c:xVal>
          <c:yVal>
            <c:numRef>
              <c:f>Sheet1!$B$167:$B$168</c:f>
              <c:numCache>
                <c:formatCode>General</c:formatCode>
                <c:ptCount val="2"/>
                <c:pt idx="0">
                  <c:v>0.0228174520347228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1.54992109872568</c:v>
                </c:pt>
              </c:numCache>
            </c:numRef>
          </c:xVal>
          <c:yVal>
            <c:numRef>
              <c:f>Sheet1!$B$171:$B$172</c:f>
              <c:numCache>
                <c:formatCode>General</c:formatCode>
                <c:ptCount val="2"/>
                <c:pt idx="0">
                  <c:v>0.011374390513801527</c:v>
                </c:pt>
                <c:pt idx="1">
                  <c:v>0.01137439051380152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1.54992109872568</c:v>
                </c:pt>
                <c:pt idx="1">
                  <c:v>81.54992109872568</c:v>
                </c:pt>
              </c:numCache>
            </c:numRef>
          </c:xVal>
          <c:yVal>
            <c:numRef>
              <c:f>Sheet1!$B$175:$B$176</c:f>
              <c:numCache>
                <c:formatCode>General</c:formatCode>
                <c:ptCount val="2"/>
                <c:pt idx="0">
                  <c:v>0.0113743905138015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540.4557737774544</c:v>
                </c:pt>
              </c:numCache>
            </c:numRef>
          </c:xVal>
          <c:yVal>
            <c:numRef>
              <c:f>Sheet1!$B$179:$B$180</c:f>
              <c:numCache>
                <c:formatCode>General</c:formatCode>
                <c:ptCount val="2"/>
                <c:pt idx="0">
                  <c:v>0.0073967405708171945</c:v>
                </c:pt>
                <c:pt idx="1">
                  <c:v>0.007396740570817194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540.4557737774544</c:v>
                </c:pt>
                <c:pt idx="1">
                  <c:v>540.4557737774544</c:v>
                </c:pt>
              </c:numCache>
            </c:numRef>
          </c:xVal>
          <c:yVal>
            <c:numRef>
              <c:f>Sheet1!$B$183:$B$184</c:f>
              <c:numCache>
                <c:formatCode>General</c:formatCode>
                <c:ptCount val="2"/>
                <c:pt idx="0">
                  <c:v>0.00739674057081719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79.1875</c:v>
                </c:pt>
                <c:pt idx="1">
                  <c:v>659.4878</c:v>
                </c:pt>
                <c:pt idx="2">
                  <c:v>660.75</c:v>
                </c:pt>
                <c:pt idx="3">
                  <c:v>637.7857</c:v>
                </c:pt>
                <c:pt idx="4">
                  <c:v>628.7963</c:v>
                </c:pt>
                <c:pt idx="5">
                  <c:v>657.7442</c:v>
                </c:pt>
                <c:pt idx="6">
                  <c:v>624.027</c:v>
                </c:pt>
                <c:pt idx="7">
                  <c:v>628.1364</c:v>
                </c:pt>
                <c:pt idx="8">
                  <c:v>646.7059</c:v>
                </c:pt>
                <c:pt idx="9">
                  <c:v>668.1875</c:v>
                </c:pt>
                <c:pt idx="10">
                  <c:v>630.5714</c:v>
                </c:pt>
                <c:pt idx="11">
                  <c:v>616.0357</c:v>
                </c:pt>
                <c:pt idx="12">
                  <c:v>638.3333</c:v>
                </c:pt>
                <c:pt idx="13">
                  <c:v>652.5714</c:v>
                </c:pt>
                <c:pt idx="14">
                  <c:v>616.7895</c:v>
                </c:pt>
                <c:pt idx="15">
                  <c:v>631.5625</c:v>
                </c:pt>
                <c:pt idx="16">
                  <c:v>796.875</c:v>
                </c:pt>
                <c:pt idx="17">
                  <c:v>737.3</c:v>
                </c:pt>
                <c:pt idx="18">
                  <c:v>601.6923</c:v>
                </c:pt>
                <c:pt idx="19">
                  <c:v>842.6667</c:v>
                </c:pt>
                <c:pt idx="20">
                  <c:v>697.8571</c:v>
                </c:pt>
                <c:pt idx="21">
                  <c:v>863.75</c:v>
                </c:pt>
                <c:pt idx="22">
                  <c:v>663.75</c:v>
                </c:pt>
                <c:pt idx="23">
                  <c:v>668.0</c:v>
                </c:pt>
                <c:pt idx="24">
                  <c:v>658.8571</c:v>
                </c:pt>
                <c:pt idx="25">
                  <c:v>950.0</c:v>
                </c:pt>
                <c:pt idx="26">
                  <c:v>765.5</c:v>
                </c:pt>
                <c:pt idx="27">
                  <c:v>569.5556</c:v>
                </c:pt>
                <c:pt idx="28">
                  <c:v>822.5</c:v>
                </c:pt>
                <c:pt idx="29">
                  <c:v>713.0</c:v>
                </c:pt>
                <c:pt idx="30">
                  <c:v>718.2</c:v>
                </c:pt>
                <c:pt idx="31">
                  <c:v>641.2</c:v>
                </c:pt>
                <c:pt idx="32">
                  <c:v>954.0</c:v>
                </c:pt>
                <c:pt idx="33">
                  <c:v>650.2857</c:v>
                </c:pt>
                <c:pt idx="34">
                  <c:v>694.5556</c:v>
                </c:pt>
                <c:pt idx="35">
                  <c:v>689.0</c:v>
                </c:pt>
                <c:pt idx="36">
                  <c:v>795.0</c:v>
                </c:pt>
                <c:pt idx="37">
                  <c:v>433.3125</c:v>
                </c:pt>
                <c:pt idx="38">
                  <c:v>380.7143</c:v>
                </c:pt>
                <c:pt idx="39">
                  <c:v>397.7619</c:v>
                </c:pt>
                <c:pt idx="40">
                  <c:v>363.0</c:v>
                </c:pt>
                <c:pt idx="41">
                  <c:v>390.7826</c:v>
                </c:pt>
                <c:pt idx="42">
                  <c:v>363.6316</c:v>
                </c:pt>
                <c:pt idx="43">
                  <c:v>372.5238</c:v>
                </c:pt>
                <c:pt idx="44">
                  <c:v>387.7222</c:v>
                </c:pt>
                <c:pt idx="45">
                  <c:v>320.6333</c:v>
                </c:pt>
                <c:pt idx="46">
                  <c:v>375.4706</c:v>
                </c:pt>
                <c:pt idx="47">
                  <c:v>363.8182</c:v>
                </c:pt>
                <c:pt idx="48">
                  <c:v>386.0</c:v>
                </c:pt>
                <c:pt idx="49">
                  <c:v>380.5714</c:v>
                </c:pt>
                <c:pt idx="50">
                  <c:v>346.2143</c:v>
                </c:pt>
                <c:pt idx="51">
                  <c:v>341.6667</c:v>
                </c:pt>
                <c:pt idx="52">
                  <c:v>81.54992109872568</c:v>
                </c:pt>
                <c:pt idx="53">
                  <c:v>-1238.6486835511482</c:v>
                </c:pt>
                <c:pt idx="54">
                  <c:v>540.4557737774544</c:v>
                </c:pt>
              </c:numCache>
            </c:numRef>
          </c:xVal>
          <c:yVal>
            <c:numRef>
              <c:f>Sheet1!$B$187:$B$241</c:f>
              <c:numCache>
                <c:formatCode>General</c:formatCode>
                <c:ptCount val="55"/>
                <c:pt idx="0">
                  <c:v>0.006194258101530516</c:v>
                </c:pt>
                <c:pt idx="1">
                  <c:v>0.006365008834223101</c:v>
                </c:pt>
                <c:pt idx="2">
                  <c:v>0.006354068486156654</c:v>
                </c:pt>
                <c:pt idx="3">
                  <c:v>0.006553115733108249</c:v>
                </c:pt>
                <c:pt idx="4">
                  <c:v>0.006631032992582593</c:v>
                </c:pt>
                <c:pt idx="5">
                  <c:v>0.006380121804345631</c:v>
                </c:pt>
                <c:pt idx="6">
                  <c:v>0.006672371767763471</c:v>
                </c:pt>
                <c:pt idx="7">
                  <c:v>0.006636752795853904</c:v>
                </c:pt>
                <c:pt idx="8">
                  <c:v>0.006475798277219865</c:v>
                </c:pt>
                <c:pt idx="9">
                  <c:v>0.006289602602188822</c:v>
                </c:pt>
                <c:pt idx="10">
                  <c:v>0.006615646990480905</c:v>
                </c:pt>
                <c:pt idx="11">
                  <c:v>0.0067416378139553545</c:v>
                </c:pt>
                <c:pt idx="12">
                  <c:v>0.006548369310511841</c:v>
                </c:pt>
                <c:pt idx="13">
                  <c:v>0.006424957989164292</c:v>
                </c:pt>
                <c:pt idx="14">
                  <c:v>0.006735104115355698</c:v>
                </c:pt>
                <c:pt idx="15">
                  <c:v>0.006607056450971592</c:v>
                </c:pt>
                <c:pt idx="16">
                  <c:v>0.005174180290510114</c:v>
                </c:pt>
                <c:pt idx="17">
                  <c:v>0.005690557438393623</c:v>
                </c:pt>
                <c:pt idx="18">
                  <c:v>0.006865961842204659</c:v>
                </c:pt>
                <c:pt idx="19">
                  <c:v>0.004777272402256026</c:v>
                </c:pt>
                <c:pt idx="20">
                  <c:v>0.0060324359479404874</c:v>
                </c:pt>
                <c:pt idx="21">
                  <c:v>0.0045945290649170014</c:v>
                </c:pt>
                <c:pt idx="22">
                  <c:v>0.006328065440522571</c:v>
                </c:pt>
                <c:pt idx="23">
                  <c:v>0.006291227792540952</c:v>
                </c:pt>
                <c:pt idx="24">
                  <c:v>0.006370475541183573</c:v>
                </c:pt>
                <c:pt idx="25">
                  <c:v>0.0038469415029370995</c:v>
                </c:pt>
                <c:pt idx="26">
                  <c:v>0.005446128809433237</c:v>
                </c:pt>
                <c:pt idx="27">
                  <c:v>0.007144512534414276</c:v>
                </c:pt>
                <c:pt idx="28">
                  <c:v>0.004952070942385651</c:v>
                </c:pt>
                <c:pt idx="29">
                  <c:v>0.005901182108029699</c:v>
                </c:pt>
                <c:pt idx="30">
                  <c:v>0.005856110162263954</c:v>
                </c:pt>
                <c:pt idx="31">
                  <c:v>0.006523521666872098</c:v>
                </c:pt>
                <c:pt idx="32">
                  <c:v>0.0038122707754249894</c:v>
                </c:pt>
                <c:pt idx="33">
                  <c:v>0.0064447697096329006</c:v>
                </c:pt>
                <c:pt idx="34">
                  <c:v>0.006061052299660796</c:v>
                </c:pt>
                <c:pt idx="35">
                  <c:v>0.006109206473102368</c:v>
                </c:pt>
                <c:pt idx="36">
                  <c:v>0.005190432194031416</c:v>
                </c:pt>
                <c:pt idx="37">
                  <c:v>0.008325424383290612</c:v>
                </c:pt>
                <c:pt idx="38">
                  <c:v>0.008781328848247496</c:v>
                </c:pt>
                <c:pt idx="39">
                  <c:v>0.008633565674663628</c:v>
                </c:pt>
                <c:pt idx="40">
                  <c:v>0.008934870765339446</c:v>
                </c:pt>
                <c:pt idx="41">
                  <c:v>0.008694060026794948</c:v>
                </c:pt>
                <c:pt idx="42">
                  <c:v>0.008929396257465283</c:v>
                </c:pt>
                <c:pt idx="43">
                  <c:v>0.008852321496669483</c:v>
                </c:pt>
                <c:pt idx="44">
                  <c:v>0.008720586600414465</c:v>
                </c:pt>
                <c:pt idx="45">
                  <c:v>0.009302091843161287</c:v>
                </c:pt>
                <c:pt idx="46">
                  <c:v>0.00882677957171131</c:v>
                </c:pt>
                <c:pt idx="47">
                  <c:v>0.008927778868026842</c:v>
                </c:pt>
                <c:pt idx="48">
                  <c:v>0.008735514082144805</c:v>
                </c:pt>
                <c:pt idx="49">
                  <c:v>0.008782567459987867</c:v>
                </c:pt>
                <c:pt idx="50">
                  <c:v>0.009080363873039458</c:v>
                </c:pt>
                <c:pt idx="51">
                  <c:v>0.009119781023147977</c:v>
                </c:pt>
                <c:pt idx="52">
                  <c:v>0.011374390513801527</c:v>
                </c:pt>
                <c:pt idx="53">
                  <c:v>0.022817452034722886</c:v>
                </c:pt>
                <c:pt idx="54">
                  <c:v>0.00739674057081719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248704663212"/>
          <c:min val="0.00129930394431554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74242991709676</c:v>
                </c:pt>
                <c:pt idx="1">
                  <c:v>0.7038236394019296</c:v>
                </c:pt>
                <c:pt idx="2">
                  <c:v>0.7026611990921988</c:v>
                </c:pt>
                <c:pt idx="3">
                  <c:v>0.6938451075651857</c:v>
                </c:pt>
                <c:pt idx="4">
                  <c:v>0.69596681164332</c:v>
                </c:pt>
                <c:pt idx="5">
                  <c:v>0.7089378660228716</c:v>
                </c:pt>
                <c:pt idx="6">
                  <c:v>0.6918468898065345</c:v>
                </c:pt>
                <c:pt idx="7">
                  <c:v>0.718057408026122</c:v>
                </c:pt>
                <c:pt idx="8">
                  <c:v>0.7168185244921648</c:v>
                </c:pt>
                <c:pt idx="9">
                  <c:v>0.7724813027334299</c:v>
                </c:pt>
                <c:pt idx="10">
                  <c:v>0.8262103394386568</c:v>
                </c:pt>
                <c:pt idx="11">
                  <c:v>0.8342333386137326</c:v>
                </c:pt>
                <c:pt idx="12">
                  <c:v>0.8612928962414986</c:v>
                </c:pt>
                <c:pt idx="13">
                  <c:v>0.851656250592156</c:v>
                </c:pt>
                <c:pt idx="14">
                  <c:v>0.8584858484843</c:v>
                </c:pt>
                <c:pt idx="15">
                  <c:v>0.8267639432002348</c:v>
                </c:pt>
                <c:pt idx="16">
                  <c:v>0.8192673831556612</c:v>
                </c:pt>
                <c:pt idx="17">
                  <c:v>0.8261891745097273</c:v>
                </c:pt>
                <c:pt idx="18">
                  <c:v>0.880667431898444</c:v>
                </c:pt>
                <c:pt idx="19">
                  <c:v>0.9103664696455476</c:v>
                </c:pt>
                <c:pt idx="20">
                  <c:v>0.902941522022971</c:v>
                </c:pt>
                <c:pt idx="21">
                  <c:v>0.8113766474414563</c:v>
                </c:pt>
                <c:pt idx="22">
                  <c:v>0.7772118006679546</c:v>
                </c:pt>
                <c:pt idx="23">
                  <c:v>0.7637587689886166</c:v>
                </c:pt>
                <c:pt idx="24">
                  <c:v>0.6956322173979413</c:v>
                </c:pt>
                <c:pt idx="25">
                  <c:v>0.6487268621507201</c:v>
                </c:pt>
                <c:pt idx="26">
                  <c:v>0.6479690013684068</c:v>
                </c:pt>
                <c:pt idx="27">
                  <c:v>0.6819636196114428</c:v>
                </c:pt>
                <c:pt idx="28">
                  <c:v>0.6733193199092026</c:v>
                </c:pt>
                <c:pt idx="29">
                  <c:v>0.6248665384424795</c:v>
                </c:pt>
                <c:pt idx="30">
                  <c:v>0.6497904534808899</c:v>
                </c:pt>
                <c:pt idx="31">
                  <c:v>0.6882841024283085</c:v>
                </c:pt>
                <c:pt idx="32">
                  <c:v>0.6210912075517662</c:v>
                </c:pt>
                <c:pt idx="33">
                  <c:v>0.571760805842515</c:v>
                </c:pt>
                <c:pt idx="34">
                  <c:v>0.6805568252054246</c:v>
                </c:pt>
                <c:pt idx="35">
                  <c:v>0.7105166216281412</c:v>
                </c:pt>
                <c:pt idx="36">
                  <c:v>0.8398906629746146</c:v>
                </c:pt>
                <c:pt idx="37">
                  <c:v>0.7893253238700364</c:v>
                </c:pt>
                <c:pt idx="38">
                  <c:v>0.8526649482627566</c:v>
                </c:pt>
                <c:pt idx="39">
                  <c:v>0.9022248445706744</c:v>
                </c:pt>
                <c:pt idx="40">
                  <c:v>0.8737779153824505</c:v>
                </c:pt>
                <c:pt idx="41">
                  <c:v>0.8498852060813931</c:v>
                </c:pt>
                <c:pt idx="42">
                  <c:v>0.8971145921436656</c:v>
                </c:pt>
                <c:pt idx="43">
                  <c:v>0.8956100880337755</c:v>
                </c:pt>
                <c:pt idx="44">
                  <c:v>0.867940343952122</c:v>
                </c:pt>
                <c:pt idx="45">
                  <c:v>0.8528646085361322</c:v>
                </c:pt>
                <c:pt idx="46">
                  <c:v>0.8776141016156478</c:v>
                </c:pt>
                <c:pt idx="47">
                  <c:v>0.9108986913948254</c:v>
                </c:pt>
                <c:pt idx="48">
                  <c:v>0.8852493364610304</c:v>
                </c:pt>
                <c:pt idx="49">
                  <c:v>0.8500709876645409</c:v>
                </c:pt>
                <c:pt idx="50">
                  <c:v>0.861299413852502</c:v>
                </c:pt>
                <c:pt idx="51">
                  <c:v>0.885705903883402</c:v>
                </c:pt>
                <c:pt idx="52">
                  <c:v>0.8416663847688869</c:v>
                </c:pt>
                <c:pt idx="53">
                  <c:v>0.8329927481153865</c:v>
                </c:pt>
                <c:pt idx="54">
                  <c:v>0.8130992109246832</c:v>
                </c:pt>
                <c:pt idx="55">
                  <c:v>0.806977583572142</c:v>
                </c:pt>
                <c:pt idx="56">
                  <c:v>0.7967009399240014</c:v>
                </c:pt>
                <c:pt idx="57">
                  <c:v>0.7942415794000938</c:v>
                </c:pt>
                <c:pt idx="58">
                  <c:v>0.7575186741757496</c:v>
                </c:pt>
                <c:pt idx="59">
                  <c:v>0.755050732173288</c:v>
                </c:pt>
                <c:pt idx="60">
                  <c:v>0.769054628784382</c:v>
                </c:pt>
                <c:pt idx="61">
                  <c:v>0.8625190233633285</c:v>
                </c:pt>
                <c:pt idx="62">
                  <c:v>0.8638701190563761</c:v>
                </c:pt>
                <c:pt idx="63">
                  <c:v>0.8881692707680722</c:v>
                </c:pt>
                <c:pt idx="64">
                  <c:v>0.9226212753794738</c:v>
                </c:pt>
                <c:pt idx="65">
                  <c:v>0.9179815509926696</c:v>
                </c:pt>
                <c:pt idx="66">
                  <c:v>0.8920554027366078</c:v>
                </c:pt>
                <c:pt idx="67">
                  <c:v>0.9323990425538167</c:v>
                </c:pt>
                <c:pt idx="68">
                  <c:v>0.9491126666969957</c:v>
                </c:pt>
                <c:pt idx="69">
                  <c:v>1.0034796284847234</c:v>
                </c:pt>
                <c:pt idx="70">
                  <c:v>0.9329344339044167</c:v>
                </c:pt>
                <c:pt idx="71">
                  <c:v>0.9003382972042936</c:v>
                </c:pt>
                <c:pt idx="72">
                  <c:v>0.957850302682938</c:v>
                </c:pt>
                <c:pt idx="73">
                  <c:v>0.8813893499565577</c:v>
                </c:pt>
                <c:pt idx="74">
                  <c:v>0.8822354543162049</c:v>
                </c:pt>
                <c:pt idx="75">
                  <c:v>0.7979065995811844</c:v>
                </c:pt>
                <c:pt idx="76">
                  <c:v>0.8242649634440197</c:v>
                </c:pt>
                <c:pt idx="77">
                  <c:v>0.8027073543945481</c:v>
                </c:pt>
                <c:pt idx="78">
                  <c:v>0.8660661827571128</c:v>
                </c:pt>
                <c:pt idx="79">
                  <c:v>0.9169364076462658</c:v>
                </c:pt>
                <c:pt idx="80">
                  <c:v>0.9780162851065689</c:v>
                </c:pt>
                <c:pt idx="81">
                  <c:v>0.9680092724191803</c:v>
                </c:pt>
                <c:pt idx="82">
                  <c:v>0.9487314198030642</c:v>
                </c:pt>
                <c:pt idx="83">
                  <c:v>0.9005997153869748</c:v>
                </c:pt>
                <c:pt idx="84">
                  <c:v>0.9489469211970936</c:v>
                </c:pt>
                <c:pt idx="85">
                  <c:v>0.9315829841131733</c:v>
                </c:pt>
                <c:pt idx="86">
                  <c:v>0.9424380674504446</c:v>
                </c:pt>
                <c:pt idx="87">
                  <c:v>0.9373441370297446</c:v>
                </c:pt>
                <c:pt idx="88">
                  <c:v>0.8717229089751329</c:v>
                </c:pt>
                <c:pt idx="89">
                  <c:v>0.8502745486279127</c:v>
                </c:pt>
                <c:pt idx="90">
                  <c:v>0.8915783896043189</c:v>
                </c:pt>
                <c:pt idx="91">
                  <c:v>0.9481060426267423</c:v>
                </c:pt>
                <c:pt idx="92">
                  <c:v>0.933718615963395</c:v>
                </c:pt>
                <c:pt idx="93">
                  <c:v>0.925967461808891</c:v>
                </c:pt>
                <c:pt idx="94">
                  <c:v>0.9824828101753118</c:v>
                </c:pt>
                <c:pt idx="95">
                  <c:v>0.9461247154452513</c:v>
                </c:pt>
                <c:pt idx="96">
                  <c:v>0.9433978015841119</c:v>
                </c:pt>
                <c:pt idx="97">
                  <c:v>0.9579871341911574</c:v>
                </c:pt>
                <c:pt idx="98">
                  <c:v>0.9418502757901946</c:v>
                </c:pt>
                <c:pt idx="99">
                  <c:v>0.8958993727369017</c:v>
                </c:pt>
                <c:pt idx="100">
                  <c:v>0.8642040743194537</c:v>
                </c:pt>
                <c:pt idx="101">
                  <c:v>0.8269862865584039</c:v>
                </c:pt>
                <c:pt idx="102">
                  <c:v>0.8655003070176209</c:v>
                </c:pt>
                <c:pt idx="103">
                  <c:v>0.8519131026075465</c:v>
                </c:pt>
                <c:pt idx="104">
                  <c:v>0.829117416645863</c:v>
                </c:pt>
              </c:numCache>
            </c:numRef>
          </c:xVal>
          <c:yVal>
            <c:numRef>
              <c:f>Sheet1!$B$2:$B$106</c:f>
              <c:numCache>
                <c:formatCode>General</c:formatCode>
                <c:ptCount val="105"/>
                <c:pt idx="0">
                  <c:v>0.20423521176058804</c:v>
                </c:pt>
                <c:pt idx="1">
                  <c:v>0.21780821917808219</c:v>
                </c:pt>
                <c:pt idx="2">
                  <c:v>0.2120978616836833</c:v>
                </c:pt>
                <c:pt idx="3">
                  <c:v>0.22231668437832094</c:v>
                </c:pt>
                <c:pt idx="4">
                  <c:v>0.22634462151394422</c:v>
                </c:pt>
                <c:pt idx="5">
                  <c:v>0.24624624624624625</c:v>
                </c:pt>
                <c:pt idx="6">
                  <c:v>0.29199110122358174</c:v>
                </c:pt>
                <c:pt idx="7">
                  <c:v>0.30643513789581206</c:v>
                </c:pt>
                <c:pt idx="8">
                  <c:v>0.3124087591240876</c:v>
                </c:pt>
                <c:pt idx="9">
                  <c:v>0.2935631564772421</c:v>
                </c:pt>
                <c:pt idx="10">
                  <c:v>0.2884517118037813</c:v>
                </c:pt>
                <c:pt idx="11">
                  <c:v>0.2772397094430993</c:v>
                </c:pt>
                <c:pt idx="12">
                  <c:v>0.26502242152466365</c:v>
                </c:pt>
                <c:pt idx="13">
                  <c:v>0.2606126914660831</c:v>
                </c:pt>
                <c:pt idx="14">
                  <c:v>0.24045801526717558</c:v>
                </c:pt>
                <c:pt idx="15">
                  <c:v>0.23724423724423724</c:v>
                </c:pt>
                <c:pt idx="16">
                  <c:v>0.22664576802507838</c:v>
                </c:pt>
                <c:pt idx="17">
                  <c:v>0.2021932830705963</c:v>
                </c:pt>
                <c:pt idx="18">
                  <c:v>0.18674966651845265</c:v>
                </c:pt>
                <c:pt idx="19">
                  <c:v>0.1903323262839879</c:v>
                </c:pt>
                <c:pt idx="20">
                  <c:v>0.21248066013408973</c:v>
                </c:pt>
                <c:pt idx="21">
                  <c:v>0.2365819209039548</c:v>
                </c:pt>
                <c:pt idx="22">
                  <c:v>0.24726027397260275</c:v>
                </c:pt>
                <c:pt idx="23">
                  <c:v>0.20595854922279794</c:v>
                </c:pt>
                <c:pt idx="24">
                  <c:v>0.20303797468354431</c:v>
                </c:pt>
                <c:pt idx="25">
                  <c:v>0.21934369602763384</c:v>
                </c:pt>
                <c:pt idx="26">
                  <c:v>0.24136069114470843</c:v>
                </c:pt>
                <c:pt idx="27">
                  <c:v>0.22205513784461153</c:v>
                </c:pt>
                <c:pt idx="28">
                  <c:v>0.22422422422422422</c:v>
                </c:pt>
                <c:pt idx="29">
                  <c:v>0.26663840610428147</c:v>
                </c:pt>
                <c:pt idx="30">
                  <c:v>0.27643236857649145</c:v>
                </c:pt>
                <c:pt idx="31">
                  <c:v>0.27220812182741116</c:v>
                </c:pt>
                <c:pt idx="32">
                  <c:v>0.297768479776848</c:v>
                </c:pt>
                <c:pt idx="33">
                  <c:v>0.34146341463414637</c:v>
                </c:pt>
                <c:pt idx="34">
                  <c:v>0.3159173754556501</c:v>
                </c:pt>
                <c:pt idx="35">
                  <c:v>0.3025089605734767</c:v>
                </c:pt>
                <c:pt idx="36">
                  <c:v>0.21143122676579926</c:v>
                </c:pt>
                <c:pt idx="37">
                  <c:v>0.1962962962962963</c:v>
                </c:pt>
                <c:pt idx="38">
                  <c:v>0.17882472137791286</c:v>
                </c:pt>
                <c:pt idx="39">
                  <c:v>0.16692034500253677</c:v>
                </c:pt>
                <c:pt idx="40">
                  <c:v>0.18085106382978725</c:v>
                </c:pt>
                <c:pt idx="41">
                  <c:v>0.16751503933364184</c:v>
                </c:pt>
                <c:pt idx="42">
                  <c:v>0.16870802054523903</c:v>
                </c:pt>
                <c:pt idx="43">
                  <c:v>0.18101992570077677</c:v>
                </c:pt>
                <c:pt idx="44">
                  <c:v>0.2054065559812686</c:v>
                </c:pt>
                <c:pt idx="45">
                  <c:v>0.23213924306820483</c:v>
                </c:pt>
                <c:pt idx="46">
                  <c:v>0.23525977816695856</c:v>
                </c:pt>
                <c:pt idx="47">
                  <c:v>0.23110151187904968</c:v>
                </c:pt>
                <c:pt idx="48">
                  <c:v>0.24622222222222223</c:v>
                </c:pt>
                <c:pt idx="49">
                  <c:v>0.27216120383983394</c:v>
                </c:pt>
                <c:pt idx="50">
                  <c:v>0.2455621301775148</c:v>
                </c:pt>
                <c:pt idx="51">
                  <c:v>0.20506792058516196</c:v>
                </c:pt>
                <c:pt idx="52">
                  <c:v>0.2364198724144597</c:v>
                </c:pt>
                <c:pt idx="53">
                  <c:v>0.2191397302112497</c:v>
                </c:pt>
                <c:pt idx="54">
                  <c:v>0.2190272254512083</c:v>
                </c:pt>
                <c:pt idx="55">
                  <c:v>0.2122886866059818</c:v>
                </c:pt>
                <c:pt idx="56">
                  <c:v>0.2241092241092241</c:v>
                </c:pt>
                <c:pt idx="57">
                  <c:v>0.22434635929153782</c:v>
                </c:pt>
                <c:pt idx="58">
                  <c:v>0.25239536056480083</c:v>
                </c:pt>
                <c:pt idx="59">
                  <c:v>0.24485535341485237</c:v>
                </c:pt>
                <c:pt idx="60">
                  <c:v>0.2617494564308413</c:v>
                </c:pt>
                <c:pt idx="61">
                  <c:v>0.26887131560028754</c:v>
                </c:pt>
                <c:pt idx="62">
                  <c:v>0.2758142758142758</c:v>
                </c:pt>
                <c:pt idx="63">
                  <c:v>0.2922355818218871</c:v>
                </c:pt>
                <c:pt idx="64">
                  <c:v>0.27654023680513745</c:v>
                </c:pt>
                <c:pt idx="65">
                  <c:v>0.2685330347144457</c:v>
                </c:pt>
                <c:pt idx="66">
                  <c:v>0.28955223880597014</c:v>
                </c:pt>
                <c:pt idx="67">
                  <c:v>0.27215878194671017</c:v>
                </c:pt>
                <c:pt idx="68">
                  <c:v>0.25168010752688175</c:v>
                </c:pt>
                <c:pt idx="69">
                  <c:v>0.22532093846834883</c:v>
                </c:pt>
                <c:pt idx="70">
                  <c:v>0.20338208409506398</c:v>
                </c:pt>
                <c:pt idx="71">
                  <c:v>0.21074380165289255</c:v>
                </c:pt>
                <c:pt idx="72">
                  <c:v>0.2015617374328941</c:v>
                </c:pt>
                <c:pt idx="73">
                  <c:v>0.22982635342185903</c:v>
                </c:pt>
                <c:pt idx="74">
                  <c:v>0.21813953488372093</c:v>
                </c:pt>
                <c:pt idx="75">
                  <c:v>0.2516778523489933</c:v>
                </c:pt>
                <c:pt idx="76">
                  <c:v>0.23624401913875598</c:v>
                </c:pt>
                <c:pt idx="77">
                  <c:v>0.24174454828660435</c:v>
                </c:pt>
                <c:pt idx="78">
                  <c:v>0.20766550522648083</c:v>
                </c:pt>
                <c:pt idx="79">
                  <c:v>0.18251435864709636</c:v>
                </c:pt>
                <c:pt idx="80">
                  <c:v>0.18371467025572005</c:v>
                </c:pt>
                <c:pt idx="81">
                  <c:v>0.19503171247357293</c:v>
                </c:pt>
                <c:pt idx="82">
                  <c:v>0.20470262793914246</c:v>
                </c:pt>
                <c:pt idx="83">
                  <c:v>0.18270799347471453</c:v>
                </c:pt>
                <c:pt idx="84">
                  <c:v>0.1928020565552699</c:v>
                </c:pt>
                <c:pt idx="85">
                  <c:v>0.21787709497206703</c:v>
                </c:pt>
                <c:pt idx="86">
                  <c:v>0.24451250638080654</c:v>
                </c:pt>
                <c:pt idx="87">
                  <c:v>0.25679475164011245</c:v>
                </c:pt>
                <c:pt idx="88">
                  <c:v>0.22476190476190477</c:v>
                </c:pt>
                <c:pt idx="89">
                  <c:v>0.2098950524737631</c:v>
                </c:pt>
                <c:pt idx="90">
                  <c:v>0.1945080091533181</c:v>
                </c:pt>
                <c:pt idx="91">
                  <c:v>0.1880466472303207</c:v>
                </c:pt>
                <c:pt idx="92">
                  <c:v>0.20278223649010166</c:v>
                </c:pt>
                <c:pt idx="93">
                  <c:v>0.19252432155657961</c:v>
                </c:pt>
                <c:pt idx="94">
                  <c:v>0.17848557692307693</c:v>
                </c:pt>
                <c:pt idx="95">
                  <c:v>0.2001685630004214</c:v>
                </c:pt>
                <c:pt idx="96">
                  <c:v>0.20465489566613163</c:v>
                </c:pt>
                <c:pt idx="97">
                  <c:v>0.2358027576536574</c:v>
                </c:pt>
                <c:pt idx="98">
                  <c:v>0.24644374653611675</c:v>
                </c:pt>
                <c:pt idx="99">
                  <c:v>0.24988830975428145</c:v>
                </c:pt>
                <c:pt idx="100">
                  <c:v>0.26809062780716636</c:v>
                </c:pt>
                <c:pt idx="101">
                  <c:v>0.27269010629599344</c:v>
                </c:pt>
                <c:pt idx="102">
                  <c:v>0.22299546142208776</c:v>
                </c:pt>
                <c:pt idx="103">
                  <c:v>0.21978305785123967</c:v>
                </c:pt>
                <c:pt idx="104">
                  <c:v>0.24082702387885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059024617094467</c:v>
                </c:pt>
                <c:pt idx="1">
                  <c:v>0.7796504789465342</c:v>
                </c:pt>
                <c:pt idx="2">
                  <c:v>0.7902390675167116</c:v>
                </c:pt>
                <c:pt idx="3">
                  <c:v>0.726721103878992</c:v>
                </c:pt>
                <c:pt idx="4">
                  <c:v>0.7677859124390166</c:v>
                </c:pt>
                <c:pt idx="5">
                  <c:v>0.787651475636996</c:v>
                </c:pt>
                <c:pt idx="6">
                  <c:v>0.7965596934431891</c:v>
                </c:pt>
                <c:pt idx="7">
                  <c:v>0.8415140802034566</c:v>
                </c:pt>
                <c:pt idx="8">
                  <c:v>0.8633027970929326</c:v>
                </c:pt>
                <c:pt idx="9">
                  <c:v>0.847731868607761</c:v>
                </c:pt>
                <c:pt idx="10">
                  <c:v>0.8482097788739195</c:v>
                </c:pt>
                <c:pt idx="11">
                  <c:v>0.8395931836569797</c:v>
                </c:pt>
                <c:pt idx="12">
                  <c:v>0.8358328214519191</c:v>
                </c:pt>
                <c:pt idx="13">
                  <c:v>0.8158373454027955</c:v>
                </c:pt>
                <c:pt idx="14">
                  <c:v>0.8034445116500838</c:v>
                </c:pt>
                <c:pt idx="15">
                  <c:v>0.836316343267499</c:v>
                </c:pt>
                <c:pt idx="16">
                  <c:v>0.8948632775638752</c:v>
                </c:pt>
                <c:pt idx="17">
                  <c:v>0.8971612144945821</c:v>
                </c:pt>
                <c:pt idx="18">
                  <c:v>0.7612592057039468</c:v>
                </c:pt>
                <c:pt idx="19">
                  <c:v>0.8427773839295449</c:v>
                </c:pt>
                <c:pt idx="20">
                  <c:v>0.8439111257417279</c:v>
                </c:pt>
                <c:pt idx="21">
                  <c:v>0.7796683663070082</c:v>
                </c:pt>
                <c:pt idx="22">
                  <c:v>0.7988502645038041</c:v>
                </c:pt>
                <c:pt idx="23">
                  <c:v>0.8475743189104531</c:v>
                </c:pt>
                <c:pt idx="24">
                  <c:v>0.8020438663373397</c:v>
                </c:pt>
                <c:pt idx="25">
                  <c:v>0.7859284251575811</c:v>
                </c:pt>
                <c:pt idx="26">
                  <c:v>0.7993003915208198</c:v>
                </c:pt>
                <c:pt idx="27">
                  <c:v>0.8285666079392824</c:v>
                </c:pt>
                <c:pt idx="28">
                  <c:v>0.8171993099997368</c:v>
                </c:pt>
                <c:pt idx="29">
                  <c:v>0.8123175625816415</c:v>
                </c:pt>
                <c:pt idx="30">
                  <c:v>0.7125476701118582</c:v>
                </c:pt>
                <c:pt idx="31">
                  <c:v>0.616567624666564</c:v>
                </c:pt>
                <c:pt idx="32">
                  <c:v>0.729425520594895</c:v>
                </c:pt>
                <c:pt idx="33">
                  <c:v>0.7890484032797415</c:v>
                </c:pt>
                <c:pt idx="34">
                  <c:v>0.7985154904855666</c:v>
                </c:pt>
                <c:pt idx="35">
                  <c:v>0.7608860128948316</c:v>
                </c:pt>
                <c:pt idx="36">
                  <c:v>0.7447952213195117</c:v>
                </c:pt>
                <c:pt idx="37">
                  <c:v>0.8158172389971986</c:v>
                </c:pt>
                <c:pt idx="38">
                  <c:v>0.7853155402405462</c:v>
                </c:pt>
                <c:pt idx="39">
                  <c:v>0.7867094490161833</c:v>
                </c:pt>
                <c:pt idx="40">
                  <c:v>0.8185418765817166</c:v>
                </c:pt>
                <c:pt idx="41">
                  <c:v>0.8404363160098999</c:v>
                </c:pt>
                <c:pt idx="42">
                  <c:v>0.7664872225956401</c:v>
                </c:pt>
                <c:pt idx="43">
                  <c:v>0.8637238581499691</c:v>
                </c:pt>
                <c:pt idx="44">
                  <c:v>0.944281462857207</c:v>
                </c:pt>
                <c:pt idx="45">
                  <c:v>0.8983071253779034</c:v>
                </c:pt>
                <c:pt idx="46">
                  <c:v>0.9193172308330672</c:v>
                </c:pt>
                <c:pt idx="47">
                  <c:v>0.9463307795384669</c:v>
                </c:pt>
                <c:pt idx="48">
                  <c:v>0.9746669367869994</c:v>
                </c:pt>
                <c:pt idx="49">
                  <c:v>1.012217051718469</c:v>
                </c:pt>
                <c:pt idx="50">
                  <c:v>0.8820640305524157</c:v>
                </c:pt>
                <c:pt idx="51">
                  <c:v>0.8972559445186681</c:v>
                </c:pt>
              </c:numCache>
            </c:numRef>
          </c:xVal>
          <c:yVal>
            <c:numRef>
              <c:f>Sheet1!$B$109:$B$160</c:f>
              <c:numCache>
                <c:formatCode>General</c:formatCode>
                <c:ptCount val="52"/>
                <c:pt idx="0">
                  <c:v>0.24040511727078892</c:v>
                </c:pt>
                <c:pt idx="1">
                  <c:v>0.23850489469000297</c:v>
                </c:pt>
                <c:pt idx="2">
                  <c:v>0.2520942408376963</c:v>
                </c:pt>
                <c:pt idx="3">
                  <c:v>0.2824345969033636</c:v>
                </c:pt>
                <c:pt idx="4">
                  <c:v>0.26809116809116806</c:v>
                </c:pt>
                <c:pt idx="5">
                  <c:v>0.2681291895185862</c:v>
                </c:pt>
                <c:pt idx="6">
                  <c:v>0.2822899041173153</c:v>
                </c:pt>
                <c:pt idx="7">
                  <c:v>0.26810724289715887</c:v>
                </c:pt>
                <c:pt idx="8">
                  <c:v>0.2891459074733096</c:v>
                </c:pt>
                <c:pt idx="9">
                  <c:v>0.29418789808917195</c:v>
                </c:pt>
                <c:pt idx="10">
                  <c:v>0.3114318268135207</c:v>
                </c:pt>
                <c:pt idx="11">
                  <c:v>0.32216494845360827</c:v>
                </c:pt>
                <c:pt idx="12">
                  <c:v>0.3199513381995134</c:v>
                </c:pt>
                <c:pt idx="13">
                  <c:v>0.31084106172049886</c:v>
                </c:pt>
                <c:pt idx="14">
                  <c:v>0.332388377037562</c:v>
                </c:pt>
                <c:pt idx="15">
                  <c:v>0.31329827197595794</c:v>
                </c:pt>
                <c:pt idx="16">
                  <c:v>0.2756043956043956</c:v>
                </c:pt>
                <c:pt idx="17">
                  <c:v>0.2376495059802392</c:v>
                </c:pt>
                <c:pt idx="18">
                  <c:v>0.25910194174757284</c:v>
                </c:pt>
                <c:pt idx="19">
                  <c:v>0.2332155477031802</c:v>
                </c:pt>
                <c:pt idx="20">
                  <c:v>0.21290751829673984</c:v>
                </c:pt>
                <c:pt idx="21">
                  <c:v>0.2592295345104334</c:v>
                </c:pt>
                <c:pt idx="22">
                  <c:v>0.23263598326359833</c:v>
                </c:pt>
                <c:pt idx="23">
                  <c:v>0.2295684113865932</c:v>
                </c:pt>
                <c:pt idx="24">
                  <c:v>0.23365231259968103</c:v>
                </c:pt>
                <c:pt idx="25">
                  <c:v>0.265531914893617</c:v>
                </c:pt>
                <c:pt idx="26">
                  <c:v>0.24306688417618272</c:v>
                </c:pt>
                <c:pt idx="27">
                  <c:v>0.2290909090909091</c:v>
                </c:pt>
                <c:pt idx="28">
                  <c:v>0.24839948783610755</c:v>
                </c:pt>
                <c:pt idx="29">
                  <c:v>0.2552166934189406</c:v>
                </c:pt>
                <c:pt idx="30">
                  <c:v>0.28642384105960267</c:v>
                </c:pt>
                <c:pt idx="31">
                  <c:v>0.3136593591905565</c:v>
                </c:pt>
                <c:pt idx="32">
                  <c:v>0.300462249614792</c:v>
                </c:pt>
                <c:pt idx="33">
                  <c:v>0.32738427216954824</c:v>
                </c:pt>
                <c:pt idx="34">
                  <c:v>0.3486038394415358</c:v>
                </c:pt>
                <c:pt idx="35">
                  <c:v>0.3402512288367013</c:v>
                </c:pt>
                <c:pt idx="36">
                  <c:v>0.2748768472906404</c:v>
                </c:pt>
                <c:pt idx="37">
                  <c:v>0.22571942446043167</c:v>
                </c:pt>
                <c:pt idx="38">
                  <c:v>0.23631123919308358</c:v>
                </c:pt>
                <c:pt idx="39">
                  <c:v>0.26396917148362237</c:v>
                </c:pt>
                <c:pt idx="40">
                  <c:v>0.2534246575342466</c:v>
                </c:pt>
                <c:pt idx="41">
                  <c:v>0.23955267804590935</c:v>
                </c:pt>
                <c:pt idx="42">
                  <c:v>0.24982841455044613</c:v>
                </c:pt>
                <c:pt idx="43">
                  <c:v>0.21709006928406466</c:v>
                </c:pt>
                <c:pt idx="44">
                  <c:v>0.1986100950987564</c:v>
                </c:pt>
                <c:pt idx="45">
                  <c:v>0.22413793103448276</c:v>
                </c:pt>
                <c:pt idx="46">
                  <c:v>0.22126038781163435</c:v>
                </c:pt>
                <c:pt idx="47">
                  <c:v>0.22137404580152673</c:v>
                </c:pt>
                <c:pt idx="48">
                  <c:v>0.21618852459016394</c:v>
                </c:pt>
                <c:pt idx="49">
                  <c:v>0.24245939675174014</c:v>
                </c:pt>
                <c:pt idx="50">
                  <c:v>0.28916484716157204</c:v>
                </c:pt>
                <c:pt idx="51">
                  <c:v>0.284655503705737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414715301835507</c:v>
                </c:pt>
              </c:numCache>
            </c:numRef>
          </c:xVal>
          <c:yVal>
            <c:numRef>
              <c:f>Sheet1!$B$163:$B$164</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414715301835507</c:v>
                </c:pt>
                <c:pt idx="1">
                  <c:v>0.7414715301835507</c:v>
                </c:pt>
              </c:numCache>
            </c:numRef>
          </c:xVal>
          <c:yVal>
            <c:numRef>
              <c:f>Sheet1!$B$167:$B$168</c:f>
              <c:numCache>
                <c:formatCode>General</c:formatCode>
                <c:ptCount val="2"/>
                <c:pt idx="0">
                  <c:v>0.28322862816403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414715301835507</c:v>
                </c:pt>
              </c:numCache>
            </c:numRef>
          </c:xVal>
          <c:yVal>
            <c:numRef>
              <c:f>Sheet1!$B$171:$B$172</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414715301835507</c:v>
                </c:pt>
                <c:pt idx="1">
                  <c:v>0.7414715301835507</c:v>
                </c:pt>
              </c:numCache>
            </c:numRef>
          </c:xVal>
          <c:yVal>
            <c:numRef>
              <c:f>Sheet1!$B$175:$B$176</c:f>
              <c:numCache>
                <c:formatCode>General</c:formatCode>
                <c:ptCount val="2"/>
                <c:pt idx="0">
                  <c:v>0.28322862816403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352150310875773</c:v>
                </c:pt>
              </c:numCache>
            </c:numRef>
          </c:xVal>
          <c:yVal>
            <c:numRef>
              <c:f>Sheet1!$B$179:$B$180</c:f>
              <c:numCache>
                <c:formatCode>General</c:formatCode>
                <c:ptCount val="2"/>
                <c:pt idx="0">
                  <c:v>0.24013197868106942</c:v>
                </c:pt>
                <c:pt idx="1">
                  <c:v>0.2401319786810694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352150310875773</c:v>
                </c:pt>
                <c:pt idx="1">
                  <c:v>0.9352150310875773</c:v>
                </c:pt>
              </c:numCache>
            </c:numRef>
          </c:xVal>
          <c:yVal>
            <c:numRef>
              <c:f>Sheet1!$B$183:$B$184</c:f>
              <c:numCache>
                <c:formatCode>General</c:formatCode>
                <c:ptCount val="2"/>
                <c:pt idx="0">
                  <c:v>0.240131978681069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059024617094467</c:v>
                </c:pt>
                <c:pt idx="1">
                  <c:v>0.7796504789465342</c:v>
                </c:pt>
                <c:pt idx="2">
                  <c:v>0.7902390675167116</c:v>
                </c:pt>
                <c:pt idx="3">
                  <c:v>0.726721103878992</c:v>
                </c:pt>
                <c:pt idx="4">
                  <c:v>0.7677859124390166</c:v>
                </c:pt>
                <c:pt idx="5">
                  <c:v>0.787651475636996</c:v>
                </c:pt>
                <c:pt idx="6">
                  <c:v>0.7965596934431891</c:v>
                </c:pt>
                <c:pt idx="7">
                  <c:v>0.8415140802034566</c:v>
                </c:pt>
                <c:pt idx="8">
                  <c:v>0.8633027970929326</c:v>
                </c:pt>
                <c:pt idx="9">
                  <c:v>0.847731868607761</c:v>
                </c:pt>
                <c:pt idx="10">
                  <c:v>0.8482097788739195</c:v>
                </c:pt>
                <c:pt idx="11">
                  <c:v>0.8395931836569797</c:v>
                </c:pt>
                <c:pt idx="12">
                  <c:v>0.8358328214519191</c:v>
                </c:pt>
                <c:pt idx="13">
                  <c:v>0.8158373454027955</c:v>
                </c:pt>
                <c:pt idx="14">
                  <c:v>0.8034445116500838</c:v>
                </c:pt>
                <c:pt idx="15">
                  <c:v>0.836316343267499</c:v>
                </c:pt>
                <c:pt idx="16">
                  <c:v>0.8948632775638752</c:v>
                </c:pt>
                <c:pt idx="17">
                  <c:v>0.8971612144945821</c:v>
                </c:pt>
                <c:pt idx="18">
                  <c:v>0.7612592057039468</c:v>
                </c:pt>
                <c:pt idx="19">
                  <c:v>0.8427773839295449</c:v>
                </c:pt>
                <c:pt idx="20">
                  <c:v>0.8439111257417279</c:v>
                </c:pt>
                <c:pt idx="21">
                  <c:v>0.7796683663070082</c:v>
                </c:pt>
                <c:pt idx="22">
                  <c:v>0.7988502645038041</c:v>
                </c:pt>
                <c:pt idx="23">
                  <c:v>0.8475743189104531</c:v>
                </c:pt>
                <c:pt idx="24">
                  <c:v>0.8020438663373397</c:v>
                </c:pt>
                <c:pt idx="25">
                  <c:v>0.7859284251575811</c:v>
                </c:pt>
                <c:pt idx="26">
                  <c:v>0.7993003915208198</c:v>
                </c:pt>
                <c:pt idx="27">
                  <c:v>0.8285666079392824</c:v>
                </c:pt>
                <c:pt idx="28">
                  <c:v>0.8171993099997368</c:v>
                </c:pt>
                <c:pt idx="29">
                  <c:v>0.8123175625816415</c:v>
                </c:pt>
                <c:pt idx="30">
                  <c:v>0.7125476701118582</c:v>
                </c:pt>
                <c:pt idx="31">
                  <c:v>0.616567624666564</c:v>
                </c:pt>
                <c:pt idx="32">
                  <c:v>0.729425520594895</c:v>
                </c:pt>
                <c:pt idx="33">
                  <c:v>0.7890484032797415</c:v>
                </c:pt>
                <c:pt idx="34">
                  <c:v>0.7985154904855666</c:v>
                </c:pt>
                <c:pt idx="35">
                  <c:v>0.7608860128948316</c:v>
                </c:pt>
                <c:pt idx="36">
                  <c:v>0.7447952213195117</c:v>
                </c:pt>
                <c:pt idx="37">
                  <c:v>0.8158172389971986</c:v>
                </c:pt>
                <c:pt idx="38">
                  <c:v>0.7853155402405462</c:v>
                </c:pt>
                <c:pt idx="39">
                  <c:v>0.7867094490161833</c:v>
                </c:pt>
                <c:pt idx="40">
                  <c:v>0.8185418765817166</c:v>
                </c:pt>
                <c:pt idx="41">
                  <c:v>0.8404363160098999</c:v>
                </c:pt>
                <c:pt idx="42">
                  <c:v>0.7664872225956401</c:v>
                </c:pt>
                <c:pt idx="43">
                  <c:v>0.8637238581499691</c:v>
                </c:pt>
                <c:pt idx="44">
                  <c:v>0.944281462857207</c:v>
                </c:pt>
                <c:pt idx="45">
                  <c:v>0.8983071253779034</c:v>
                </c:pt>
                <c:pt idx="46">
                  <c:v>0.9193172308330672</c:v>
                </c:pt>
                <c:pt idx="47">
                  <c:v>0.9463307795384669</c:v>
                </c:pt>
                <c:pt idx="48">
                  <c:v>0.9746669367869994</c:v>
                </c:pt>
                <c:pt idx="49">
                  <c:v>1.012217051718469</c:v>
                </c:pt>
                <c:pt idx="50">
                  <c:v>0.8820640305524157</c:v>
                </c:pt>
                <c:pt idx="51">
                  <c:v>0.8972559445186681</c:v>
                </c:pt>
                <c:pt idx="52">
                  <c:v>0.7414715301835507</c:v>
                </c:pt>
                <c:pt idx="53">
                  <c:v>0.7414715301835507</c:v>
                </c:pt>
                <c:pt idx="54">
                  <c:v>0.9352150310875773</c:v>
                </c:pt>
              </c:numCache>
            </c:numRef>
          </c:xVal>
          <c:yVal>
            <c:numRef>
              <c:f>Sheet1!$B$187:$B$241</c:f>
              <c:numCache>
                <c:formatCode>General</c:formatCode>
                <c:ptCount val="55"/>
                <c:pt idx="0">
                  <c:v>0.2688964969757553</c:v>
                </c:pt>
                <c:pt idx="1">
                  <c:v>0.2747360347877948</c:v>
                </c:pt>
                <c:pt idx="2">
                  <c:v>0.27238069028333955</c:v>
                </c:pt>
                <c:pt idx="3">
                  <c:v>0.2865097392681737</c:v>
                </c:pt>
                <c:pt idx="4">
                  <c:v>0.2773752100977065</c:v>
                </c:pt>
                <c:pt idx="5">
                  <c:v>0.27295627883069573</c:v>
                </c:pt>
                <c:pt idx="6">
                  <c:v>0.27097471899245607</c:v>
                </c:pt>
                <c:pt idx="7">
                  <c:v>0.2609749851180877</c:v>
                </c:pt>
                <c:pt idx="8">
                  <c:v>0.2561282641179631</c:v>
                </c:pt>
                <c:pt idx="9">
                  <c:v>0.259591889188835</c:v>
                </c:pt>
                <c:pt idx="10">
                  <c:v>0.25948558197786364</c:v>
                </c:pt>
                <c:pt idx="11">
                  <c:v>0.2614022727678425</c:v>
                </c:pt>
                <c:pt idx="12">
                  <c:v>0.2622387344355851</c:v>
                </c:pt>
                <c:pt idx="13">
                  <c:v>0.2666865637486359</c:v>
                </c:pt>
                <c:pt idx="14">
                  <c:v>0.26944324776564355</c:v>
                </c:pt>
                <c:pt idx="15">
                  <c:v>0.2621311789815638</c:v>
                </c:pt>
                <c:pt idx="16">
                  <c:v>0.24910789461899435</c:v>
                </c:pt>
                <c:pt idx="17">
                  <c:v>0.2485967374344977</c:v>
                </c:pt>
                <c:pt idx="18">
                  <c:v>0.2788270223707732</c:v>
                </c:pt>
                <c:pt idx="19">
                  <c:v>0.26069397358676044</c:v>
                </c:pt>
                <c:pt idx="20">
                  <c:v>0.26044178203836865</c:v>
                </c:pt>
                <c:pt idx="21">
                  <c:v>0.27473205589146577</c:v>
                </c:pt>
                <c:pt idx="22">
                  <c:v>0.27046520028522447</c:v>
                </c:pt>
                <c:pt idx="23">
                  <c:v>0.2596269348241691</c:v>
                </c:pt>
                <c:pt idx="24">
                  <c:v>0.2697548098041719</c:v>
                </c:pt>
                <c:pt idx="25">
                  <c:v>0.27333955724884296</c:v>
                </c:pt>
                <c:pt idx="26">
                  <c:v>0.2703650732296865</c:v>
                </c:pt>
                <c:pt idx="27">
                  <c:v>0.2638550439136387</c:v>
                </c:pt>
                <c:pt idx="28">
                  <c:v>0.266383605917438</c:v>
                </c:pt>
                <c:pt idx="29">
                  <c:v>0.2674695105096453</c:v>
                </c:pt>
                <c:pt idx="30">
                  <c:v>0.2896625031244163</c:v>
                </c:pt>
                <c:pt idx="31">
                  <c:v>0.3110124754156858</c:v>
                </c:pt>
                <c:pt idx="32">
                  <c:v>0.28590816399613983</c:v>
                </c:pt>
                <c:pt idx="33">
                  <c:v>0.27264554375730465</c:v>
                </c:pt>
                <c:pt idx="34">
                  <c:v>0.27053966801422014</c:v>
                </c:pt>
                <c:pt idx="35">
                  <c:v>0.27891003604405235</c:v>
                </c:pt>
                <c:pt idx="36">
                  <c:v>0.2824893003868003</c:v>
                </c:pt>
                <c:pt idx="37">
                  <c:v>0.2666910362533152</c:v>
                </c:pt>
                <c:pt idx="38">
                  <c:v>0.27347588846160414</c:v>
                </c:pt>
                <c:pt idx="39">
                  <c:v>0.27316582491039054</c:v>
                </c:pt>
                <c:pt idx="40">
                  <c:v>0.2660849630152444</c:v>
                </c:pt>
                <c:pt idx="41">
                  <c:v>0.26121472490527164</c:v>
                </c:pt>
                <c:pt idx="42">
                  <c:v>0.2776640929800015</c:v>
                </c:pt>
                <c:pt idx="43">
                  <c:v>0.256034602546342</c:v>
                </c:pt>
                <c:pt idx="44">
                  <c:v>0.23811522544695465</c:v>
                </c:pt>
                <c:pt idx="45">
                  <c:v>0.24834183897624348</c:v>
                </c:pt>
                <c:pt idx="46">
                  <c:v>0.24366831369061456</c:v>
                </c:pt>
                <c:pt idx="47">
                  <c:v>0.23765937179364635</c:v>
                </c:pt>
                <c:pt idx="48">
                  <c:v>0.2313562264961997</c:v>
                </c:pt>
                <c:pt idx="49">
                  <c:v>0.22300351203767405</c:v>
                </c:pt>
                <c:pt idx="50">
                  <c:v>0.25195498192527743</c:v>
                </c:pt>
                <c:pt idx="51">
                  <c:v>0.24857566551918442</c:v>
                </c:pt>
                <c:pt idx="52">
                  <c:v>0.2832286281640303</c:v>
                </c:pt>
                <c:pt idx="53">
                  <c:v>0.2832286281640303</c:v>
                </c:pt>
                <c:pt idx="54">
                  <c:v>0.240131978681069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32460732984295"/>
          <c:min val="0.13353627600202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7.2862</c:v>
                </c:pt>
                <c:pt idx="1">
                  <c:v>928.4151</c:v>
                </c:pt>
                <c:pt idx="2">
                  <c:v>985.2416</c:v>
                </c:pt>
                <c:pt idx="3">
                  <c:v>1007.3815</c:v>
                </c:pt>
                <c:pt idx="4">
                  <c:v>1005.0099</c:v>
                </c:pt>
                <c:pt idx="5">
                  <c:v>987.7783</c:v>
                </c:pt>
                <c:pt idx="6">
                  <c:v>945.6714</c:v>
                </c:pt>
                <c:pt idx="7">
                  <c:v>977.4522</c:v>
                </c:pt>
                <c:pt idx="8">
                  <c:v>968.9965</c:v>
                </c:pt>
                <c:pt idx="9">
                  <c:v>975.0697</c:v>
                </c:pt>
                <c:pt idx="10">
                  <c:v>1024.6811</c:v>
                </c:pt>
                <c:pt idx="11">
                  <c:v>1046.9258</c:v>
                </c:pt>
                <c:pt idx="12">
                  <c:v>1058.055</c:v>
                </c:pt>
                <c:pt idx="13">
                  <c:v>1015.7498</c:v>
                </c:pt>
                <c:pt idx="14">
                  <c:v>1024.5644</c:v>
                </c:pt>
                <c:pt idx="15">
                  <c:v>1014.6124</c:v>
                </c:pt>
                <c:pt idx="16">
                  <c:v>1016.982</c:v>
                </c:pt>
                <c:pt idx="17">
                  <c:v>1019.4644</c:v>
                </c:pt>
                <c:pt idx="18">
                  <c:v>1084.9452</c:v>
                </c:pt>
                <c:pt idx="19">
                  <c:v>1124.3746</c:v>
                </c:pt>
                <c:pt idx="20">
                  <c:v>1099.7816</c:v>
                </c:pt>
                <c:pt idx="21">
                  <c:v>1102.391</c:v>
                </c:pt>
                <c:pt idx="22">
                  <c:v>1088.6593</c:v>
                </c:pt>
                <c:pt idx="23">
                  <c:v>1093.1415</c:v>
                </c:pt>
                <c:pt idx="24">
                  <c:v>997.9825</c:v>
                </c:pt>
                <c:pt idx="25">
                  <c:v>984.2205</c:v>
                </c:pt>
                <c:pt idx="26">
                  <c:v>975.9262</c:v>
                </c:pt>
                <c:pt idx="27">
                  <c:v>991.8172</c:v>
                </c:pt>
                <c:pt idx="28">
                  <c:v>985.596</c:v>
                </c:pt>
                <c:pt idx="29">
                  <c:v>923.0556</c:v>
                </c:pt>
                <c:pt idx="30">
                  <c:v>957.9103</c:v>
                </c:pt>
                <c:pt idx="31">
                  <c:v>937.8182</c:v>
                </c:pt>
                <c:pt idx="32">
                  <c:v>914.2693</c:v>
                </c:pt>
                <c:pt idx="33">
                  <c:v>831.2955</c:v>
                </c:pt>
                <c:pt idx="34">
                  <c:v>960.3679</c:v>
                </c:pt>
                <c:pt idx="35">
                  <c:v>977.8863</c:v>
                </c:pt>
                <c:pt idx="36">
                  <c:v>1124.9341</c:v>
                </c:pt>
                <c:pt idx="37">
                  <c:v>1061.965</c:v>
                </c:pt>
                <c:pt idx="38">
                  <c:v>1126.1331</c:v>
                </c:pt>
                <c:pt idx="39">
                  <c:v>1144.5471</c:v>
                </c:pt>
                <c:pt idx="40">
                  <c:v>1193.2195</c:v>
                </c:pt>
                <c:pt idx="41">
                  <c:v>1187.163</c:v>
                </c:pt>
                <c:pt idx="42">
                  <c:v>1261.3607</c:v>
                </c:pt>
                <c:pt idx="43">
                  <c:v>1274.5746</c:v>
                </c:pt>
                <c:pt idx="44">
                  <c:v>1142.5098</c:v>
                </c:pt>
                <c:pt idx="45">
                  <c:v>1105.9712</c:v>
                </c:pt>
                <c:pt idx="46">
                  <c:v>1125.3184</c:v>
                </c:pt>
                <c:pt idx="47">
                  <c:v>1117.6389</c:v>
                </c:pt>
                <c:pt idx="48">
                  <c:v>1124.7076</c:v>
                </c:pt>
                <c:pt idx="49">
                  <c:v>1103.9072</c:v>
                </c:pt>
                <c:pt idx="50">
                  <c:v>1098.4241</c:v>
                </c:pt>
                <c:pt idx="51">
                  <c:v>1127.6471</c:v>
                </c:pt>
                <c:pt idx="52">
                  <c:v>1099.7383</c:v>
                </c:pt>
                <c:pt idx="53">
                  <c:v>1183.0592</c:v>
                </c:pt>
                <c:pt idx="54">
                  <c:v>1200.7989</c:v>
                </c:pt>
                <c:pt idx="55">
                  <c:v>1185.4165</c:v>
                </c:pt>
                <c:pt idx="56">
                  <c:v>1217.3388</c:v>
                </c:pt>
                <c:pt idx="57">
                  <c:v>1191.485</c:v>
                </c:pt>
                <c:pt idx="58">
                  <c:v>1157.0569</c:v>
                </c:pt>
                <c:pt idx="59">
                  <c:v>1146.7558</c:v>
                </c:pt>
                <c:pt idx="60">
                  <c:v>1190.1438</c:v>
                </c:pt>
                <c:pt idx="61">
                  <c:v>1198.1658</c:v>
                </c:pt>
                <c:pt idx="62">
                  <c:v>1146.2119</c:v>
                </c:pt>
                <c:pt idx="63">
                  <c:v>1176.6534</c:v>
                </c:pt>
                <c:pt idx="64">
                  <c:v>1205.9579</c:v>
                </c:pt>
                <c:pt idx="65">
                  <c:v>1188.146</c:v>
                </c:pt>
                <c:pt idx="66">
                  <c:v>1186.6005</c:v>
                </c:pt>
                <c:pt idx="67">
                  <c:v>1221.7013</c:v>
                </c:pt>
                <c:pt idx="68">
                  <c:v>1220.4673</c:v>
                </c:pt>
                <c:pt idx="69">
                  <c:v>1262.9332</c:v>
                </c:pt>
                <c:pt idx="70">
                  <c:v>1179.8944</c:v>
                </c:pt>
                <c:pt idx="71">
                  <c:v>1250.7966</c:v>
                </c:pt>
                <c:pt idx="72">
                  <c:v>1373.724</c:v>
                </c:pt>
                <c:pt idx="73">
                  <c:v>1265.8156</c:v>
                </c:pt>
                <c:pt idx="74">
                  <c:v>1267.1599</c:v>
                </c:pt>
                <c:pt idx="75">
                  <c:v>1177.5733</c:v>
                </c:pt>
                <c:pt idx="76">
                  <c:v>1167.3899</c:v>
                </c:pt>
                <c:pt idx="77">
                  <c:v>1088.7758</c:v>
                </c:pt>
                <c:pt idx="78">
                  <c:v>1171.0067</c:v>
                </c:pt>
                <c:pt idx="79">
                  <c:v>1225.9371</c:v>
                </c:pt>
                <c:pt idx="80">
                  <c:v>1269.2088</c:v>
                </c:pt>
                <c:pt idx="81">
                  <c:v>1273.9729</c:v>
                </c:pt>
                <c:pt idx="82">
                  <c:v>1259.5642</c:v>
                </c:pt>
                <c:pt idx="83">
                  <c:v>1177.6875</c:v>
                </c:pt>
                <c:pt idx="84">
                  <c:v>1233.4711</c:v>
                </c:pt>
                <c:pt idx="85">
                  <c:v>1233.4359</c:v>
                </c:pt>
                <c:pt idx="86">
                  <c:v>1245.9019</c:v>
                </c:pt>
                <c:pt idx="87">
                  <c:v>1270.812</c:v>
                </c:pt>
                <c:pt idx="88">
                  <c:v>1228.2486</c:v>
                </c:pt>
                <c:pt idx="89">
                  <c:v>1192.775</c:v>
                </c:pt>
                <c:pt idx="90">
                  <c:v>1315.302</c:v>
                </c:pt>
                <c:pt idx="91">
                  <c:v>1348.2907</c:v>
                </c:pt>
                <c:pt idx="92">
                  <c:v>1284.2744</c:v>
                </c:pt>
                <c:pt idx="93">
                  <c:v>1300.3537</c:v>
                </c:pt>
                <c:pt idx="94">
                  <c:v>1362.3872</c:v>
                </c:pt>
                <c:pt idx="95">
                  <c:v>1293.3979</c:v>
                </c:pt>
                <c:pt idx="96">
                  <c:v>1258.8588</c:v>
                </c:pt>
                <c:pt idx="97">
                  <c:v>1231.9841</c:v>
                </c:pt>
                <c:pt idx="98">
                  <c:v>1219.497</c:v>
                </c:pt>
                <c:pt idx="99">
                  <c:v>1146.0274</c:v>
                </c:pt>
                <c:pt idx="100">
                  <c:v>1140.7066</c:v>
                </c:pt>
                <c:pt idx="101">
                  <c:v>1141.1597</c:v>
                </c:pt>
                <c:pt idx="102">
                  <c:v>1182.8765</c:v>
                </c:pt>
                <c:pt idx="103">
                  <c:v>1153.4877</c:v>
                </c:pt>
                <c:pt idx="104">
                  <c:v>1192.9746</c:v>
                </c:pt>
              </c:numCache>
            </c:numRef>
          </c:xVal>
          <c:yVal>
            <c:numRef>
              <c:f>Sheet1!$B$2:$B$106</c:f>
              <c:numCache>
                <c:formatCode>General</c:formatCode>
                <c:ptCount val="105"/>
                <c:pt idx="0">
                  <c:v>0.20423521176058804</c:v>
                </c:pt>
                <c:pt idx="1">
                  <c:v>0.21780821917808219</c:v>
                </c:pt>
                <c:pt idx="2">
                  <c:v>0.2120978616836833</c:v>
                </c:pt>
                <c:pt idx="3">
                  <c:v>0.22231668437832094</c:v>
                </c:pt>
                <c:pt idx="4">
                  <c:v>0.22634462151394422</c:v>
                </c:pt>
                <c:pt idx="5">
                  <c:v>0.24624624624624625</c:v>
                </c:pt>
                <c:pt idx="6">
                  <c:v>0.29199110122358174</c:v>
                </c:pt>
                <c:pt idx="7">
                  <c:v>0.30643513789581206</c:v>
                </c:pt>
                <c:pt idx="8">
                  <c:v>0.3124087591240876</c:v>
                </c:pt>
                <c:pt idx="9">
                  <c:v>0.2935631564772421</c:v>
                </c:pt>
                <c:pt idx="10">
                  <c:v>0.2884517118037813</c:v>
                </c:pt>
                <c:pt idx="11">
                  <c:v>0.2772397094430993</c:v>
                </c:pt>
                <c:pt idx="12">
                  <c:v>0.26502242152466365</c:v>
                </c:pt>
                <c:pt idx="13">
                  <c:v>0.2606126914660831</c:v>
                </c:pt>
                <c:pt idx="14">
                  <c:v>0.24045801526717558</c:v>
                </c:pt>
                <c:pt idx="15">
                  <c:v>0.23724423724423724</c:v>
                </c:pt>
                <c:pt idx="16">
                  <c:v>0.22664576802507838</c:v>
                </c:pt>
                <c:pt idx="17">
                  <c:v>0.2021932830705963</c:v>
                </c:pt>
                <c:pt idx="18">
                  <c:v>0.18674966651845265</c:v>
                </c:pt>
                <c:pt idx="19">
                  <c:v>0.1903323262839879</c:v>
                </c:pt>
                <c:pt idx="20">
                  <c:v>0.21248066013408973</c:v>
                </c:pt>
                <c:pt idx="21">
                  <c:v>0.2365819209039548</c:v>
                </c:pt>
                <c:pt idx="22">
                  <c:v>0.24726027397260275</c:v>
                </c:pt>
                <c:pt idx="23">
                  <c:v>0.20595854922279794</c:v>
                </c:pt>
                <c:pt idx="24">
                  <c:v>0.20303797468354431</c:v>
                </c:pt>
                <c:pt idx="25">
                  <c:v>0.21934369602763384</c:v>
                </c:pt>
                <c:pt idx="26">
                  <c:v>0.24136069114470843</c:v>
                </c:pt>
                <c:pt idx="27">
                  <c:v>0.22205513784461153</c:v>
                </c:pt>
                <c:pt idx="28">
                  <c:v>0.22422422422422422</c:v>
                </c:pt>
                <c:pt idx="29">
                  <c:v>0.26663840610428147</c:v>
                </c:pt>
                <c:pt idx="30">
                  <c:v>0.27643236857649145</c:v>
                </c:pt>
                <c:pt idx="31">
                  <c:v>0.27220812182741116</c:v>
                </c:pt>
                <c:pt idx="32">
                  <c:v>0.297768479776848</c:v>
                </c:pt>
                <c:pt idx="33">
                  <c:v>0.34146341463414637</c:v>
                </c:pt>
                <c:pt idx="34">
                  <c:v>0.3159173754556501</c:v>
                </c:pt>
                <c:pt idx="35">
                  <c:v>0.3025089605734767</c:v>
                </c:pt>
                <c:pt idx="36">
                  <c:v>0.21143122676579926</c:v>
                </c:pt>
                <c:pt idx="37">
                  <c:v>0.1962962962962963</c:v>
                </c:pt>
                <c:pt idx="38">
                  <c:v>0.17882472137791286</c:v>
                </c:pt>
                <c:pt idx="39">
                  <c:v>0.16692034500253677</c:v>
                </c:pt>
                <c:pt idx="40">
                  <c:v>0.18085106382978725</c:v>
                </c:pt>
                <c:pt idx="41">
                  <c:v>0.16751503933364184</c:v>
                </c:pt>
                <c:pt idx="42">
                  <c:v>0.16870802054523903</c:v>
                </c:pt>
                <c:pt idx="43">
                  <c:v>0.18101992570077677</c:v>
                </c:pt>
                <c:pt idx="44">
                  <c:v>0.2054065559812686</c:v>
                </c:pt>
                <c:pt idx="45">
                  <c:v>0.23213924306820483</c:v>
                </c:pt>
                <c:pt idx="46">
                  <c:v>0.23525977816695856</c:v>
                </c:pt>
                <c:pt idx="47">
                  <c:v>0.23110151187904968</c:v>
                </c:pt>
                <c:pt idx="48">
                  <c:v>0.24622222222222223</c:v>
                </c:pt>
                <c:pt idx="49">
                  <c:v>0.27216120383983394</c:v>
                </c:pt>
                <c:pt idx="50">
                  <c:v>0.2455621301775148</c:v>
                </c:pt>
                <c:pt idx="51">
                  <c:v>0.20506792058516196</c:v>
                </c:pt>
                <c:pt idx="52">
                  <c:v>0.2364198724144597</c:v>
                </c:pt>
                <c:pt idx="53">
                  <c:v>0.2191397302112497</c:v>
                </c:pt>
                <c:pt idx="54">
                  <c:v>0.2190272254512083</c:v>
                </c:pt>
                <c:pt idx="55">
                  <c:v>0.2122886866059818</c:v>
                </c:pt>
                <c:pt idx="56">
                  <c:v>0.2241092241092241</c:v>
                </c:pt>
                <c:pt idx="57">
                  <c:v>0.22434635929153782</c:v>
                </c:pt>
                <c:pt idx="58">
                  <c:v>0.25239536056480083</c:v>
                </c:pt>
                <c:pt idx="59">
                  <c:v>0.24485535341485237</c:v>
                </c:pt>
                <c:pt idx="60">
                  <c:v>0.2617494564308413</c:v>
                </c:pt>
                <c:pt idx="61">
                  <c:v>0.26887131560028754</c:v>
                </c:pt>
                <c:pt idx="62">
                  <c:v>0.2758142758142758</c:v>
                </c:pt>
                <c:pt idx="63">
                  <c:v>0.2922355818218871</c:v>
                </c:pt>
                <c:pt idx="64">
                  <c:v>0.27654023680513745</c:v>
                </c:pt>
                <c:pt idx="65">
                  <c:v>0.2685330347144457</c:v>
                </c:pt>
                <c:pt idx="66">
                  <c:v>0.28955223880597014</c:v>
                </c:pt>
                <c:pt idx="67">
                  <c:v>0.27215878194671017</c:v>
                </c:pt>
                <c:pt idx="68">
                  <c:v>0.25168010752688175</c:v>
                </c:pt>
                <c:pt idx="69">
                  <c:v>0.22532093846834883</c:v>
                </c:pt>
                <c:pt idx="70">
                  <c:v>0.20338208409506398</c:v>
                </c:pt>
                <c:pt idx="71">
                  <c:v>0.21074380165289255</c:v>
                </c:pt>
                <c:pt idx="72">
                  <c:v>0.2015617374328941</c:v>
                </c:pt>
                <c:pt idx="73">
                  <c:v>0.22982635342185903</c:v>
                </c:pt>
                <c:pt idx="74">
                  <c:v>0.21813953488372093</c:v>
                </c:pt>
                <c:pt idx="75">
                  <c:v>0.2516778523489933</c:v>
                </c:pt>
                <c:pt idx="76">
                  <c:v>0.23624401913875598</c:v>
                </c:pt>
                <c:pt idx="77">
                  <c:v>0.24174454828660435</c:v>
                </c:pt>
                <c:pt idx="78">
                  <c:v>0.20766550522648083</c:v>
                </c:pt>
                <c:pt idx="79">
                  <c:v>0.18251435864709636</c:v>
                </c:pt>
                <c:pt idx="80">
                  <c:v>0.18371467025572005</c:v>
                </c:pt>
                <c:pt idx="81">
                  <c:v>0.19503171247357293</c:v>
                </c:pt>
                <c:pt idx="82">
                  <c:v>0.20470262793914246</c:v>
                </c:pt>
                <c:pt idx="83">
                  <c:v>0.18270799347471453</c:v>
                </c:pt>
                <c:pt idx="84">
                  <c:v>0.1928020565552699</c:v>
                </c:pt>
                <c:pt idx="85">
                  <c:v>0.21787709497206703</c:v>
                </c:pt>
                <c:pt idx="86">
                  <c:v>0.24451250638080654</c:v>
                </c:pt>
                <c:pt idx="87">
                  <c:v>0.25679475164011245</c:v>
                </c:pt>
                <c:pt idx="88">
                  <c:v>0.22476190476190477</c:v>
                </c:pt>
                <c:pt idx="89">
                  <c:v>0.2098950524737631</c:v>
                </c:pt>
                <c:pt idx="90">
                  <c:v>0.1945080091533181</c:v>
                </c:pt>
                <c:pt idx="91">
                  <c:v>0.1880466472303207</c:v>
                </c:pt>
                <c:pt idx="92">
                  <c:v>0.20278223649010166</c:v>
                </c:pt>
                <c:pt idx="93">
                  <c:v>0.19252432155657961</c:v>
                </c:pt>
                <c:pt idx="94">
                  <c:v>0.17848557692307693</c:v>
                </c:pt>
                <c:pt idx="95">
                  <c:v>0.2001685630004214</c:v>
                </c:pt>
                <c:pt idx="96">
                  <c:v>0.20465489566613163</c:v>
                </c:pt>
                <c:pt idx="97">
                  <c:v>0.2358027576536574</c:v>
                </c:pt>
                <c:pt idx="98">
                  <c:v>0.24644374653611675</c:v>
                </c:pt>
                <c:pt idx="99">
                  <c:v>0.24988830975428145</c:v>
                </c:pt>
                <c:pt idx="100">
                  <c:v>0.26809062780716636</c:v>
                </c:pt>
                <c:pt idx="101">
                  <c:v>0.27269010629599344</c:v>
                </c:pt>
                <c:pt idx="102">
                  <c:v>0.22299546142208776</c:v>
                </c:pt>
                <c:pt idx="103">
                  <c:v>0.21978305785123967</c:v>
                </c:pt>
                <c:pt idx="104">
                  <c:v>0.24082702387885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0754</c:v>
                </c:pt>
                <c:pt idx="1">
                  <c:v>1220.3706</c:v>
                </c:pt>
                <c:pt idx="2">
                  <c:v>1216.5815</c:v>
                </c:pt>
                <c:pt idx="3">
                  <c:v>1167.8951</c:v>
                </c:pt>
                <c:pt idx="4">
                  <c:v>1203.9267</c:v>
                </c:pt>
                <c:pt idx="5">
                  <c:v>1233.5943</c:v>
                </c:pt>
                <c:pt idx="6">
                  <c:v>1167.8701</c:v>
                </c:pt>
                <c:pt idx="7">
                  <c:v>1220.0463</c:v>
                </c:pt>
                <c:pt idx="8">
                  <c:v>1285.2846</c:v>
                </c:pt>
                <c:pt idx="9">
                  <c:v>1264.5629</c:v>
                </c:pt>
                <c:pt idx="10">
                  <c:v>1268.3671</c:v>
                </c:pt>
                <c:pt idx="11">
                  <c:v>1166.9216</c:v>
                </c:pt>
                <c:pt idx="12">
                  <c:v>1181.5133</c:v>
                </c:pt>
                <c:pt idx="13">
                  <c:v>1233.2243</c:v>
                </c:pt>
                <c:pt idx="14">
                  <c:v>1200.9478</c:v>
                </c:pt>
                <c:pt idx="15">
                  <c:v>1240.2374</c:v>
                </c:pt>
                <c:pt idx="16">
                  <c:v>1310.5534</c:v>
                </c:pt>
                <c:pt idx="17">
                  <c:v>1252.1575</c:v>
                </c:pt>
                <c:pt idx="18">
                  <c:v>1083.6674</c:v>
                </c:pt>
                <c:pt idx="19">
                  <c:v>1323.9747</c:v>
                </c:pt>
                <c:pt idx="20">
                  <c:v>1352.5594</c:v>
                </c:pt>
                <c:pt idx="21">
                  <c:v>1195.3622</c:v>
                </c:pt>
                <c:pt idx="22">
                  <c:v>1213.6007</c:v>
                </c:pt>
                <c:pt idx="23">
                  <c:v>1294.232</c:v>
                </c:pt>
                <c:pt idx="24">
                  <c:v>1210.6553</c:v>
                </c:pt>
                <c:pt idx="25">
                  <c:v>1116.9904</c:v>
                </c:pt>
                <c:pt idx="26">
                  <c:v>1148.849</c:v>
                </c:pt>
                <c:pt idx="27">
                  <c:v>1188.4222</c:v>
                </c:pt>
                <c:pt idx="28">
                  <c:v>1216.3711</c:v>
                </c:pt>
                <c:pt idx="29">
                  <c:v>1253.1792</c:v>
                </c:pt>
                <c:pt idx="30">
                  <c:v>1110.9335</c:v>
                </c:pt>
                <c:pt idx="31">
                  <c:v>928.5887</c:v>
                </c:pt>
                <c:pt idx="32">
                  <c:v>1120.1051</c:v>
                </c:pt>
                <c:pt idx="33">
                  <c:v>1232.4753</c:v>
                </c:pt>
                <c:pt idx="34">
                  <c:v>1252.7872</c:v>
                </c:pt>
                <c:pt idx="35">
                  <c:v>1210.5297</c:v>
                </c:pt>
                <c:pt idx="36">
                  <c:v>1213.9462</c:v>
                </c:pt>
                <c:pt idx="37">
                  <c:v>1355.8526</c:v>
                </c:pt>
                <c:pt idx="38">
                  <c:v>1303.2236</c:v>
                </c:pt>
                <c:pt idx="39">
                  <c:v>1239.0024</c:v>
                </c:pt>
                <c:pt idx="40">
                  <c:v>1224.4103</c:v>
                </c:pt>
                <c:pt idx="41">
                  <c:v>1297.7494</c:v>
                </c:pt>
                <c:pt idx="42">
                  <c:v>1217.7775</c:v>
                </c:pt>
                <c:pt idx="43">
                  <c:v>1271.3915</c:v>
                </c:pt>
                <c:pt idx="44">
                  <c:v>1275.954</c:v>
                </c:pt>
                <c:pt idx="45">
                  <c:v>1216.174</c:v>
                </c:pt>
                <c:pt idx="46">
                  <c:v>1261.9828</c:v>
                </c:pt>
                <c:pt idx="47">
                  <c:v>1266.4583</c:v>
                </c:pt>
                <c:pt idx="48">
                  <c:v>1207.5675</c:v>
                </c:pt>
                <c:pt idx="49">
                  <c:v>1267.7474</c:v>
                </c:pt>
                <c:pt idx="50">
                  <c:v>1150.109</c:v>
                </c:pt>
                <c:pt idx="51">
                  <c:v>1100.5256</c:v>
                </c:pt>
              </c:numCache>
            </c:numRef>
          </c:xVal>
          <c:yVal>
            <c:numRef>
              <c:f>Sheet1!$B$109:$B$160</c:f>
              <c:numCache>
                <c:formatCode>General</c:formatCode>
                <c:ptCount val="52"/>
                <c:pt idx="0">
                  <c:v>0.24040511727078892</c:v>
                </c:pt>
                <c:pt idx="1">
                  <c:v>0.23850489469000297</c:v>
                </c:pt>
                <c:pt idx="2">
                  <c:v>0.2520942408376963</c:v>
                </c:pt>
                <c:pt idx="3">
                  <c:v>0.2824345969033636</c:v>
                </c:pt>
                <c:pt idx="4">
                  <c:v>0.26809116809116806</c:v>
                </c:pt>
                <c:pt idx="5">
                  <c:v>0.2681291895185862</c:v>
                </c:pt>
                <c:pt idx="6">
                  <c:v>0.2822899041173153</c:v>
                </c:pt>
                <c:pt idx="7">
                  <c:v>0.26810724289715887</c:v>
                </c:pt>
                <c:pt idx="8">
                  <c:v>0.2891459074733096</c:v>
                </c:pt>
                <c:pt idx="9">
                  <c:v>0.29418789808917195</c:v>
                </c:pt>
                <c:pt idx="10">
                  <c:v>0.3114318268135207</c:v>
                </c:pt>
                <c:pt idx="11">
                  <c:v>0.32216494845360827</c:v>
                </c:pt>
                <c:pt idx="12">
                  <c:v>0.3199513381995134</c:v>
                </c:pt>
                <c:pt idx="13">
                  <c:v>0.31084106172049886</c:v>
                </c:pt>
                <c:pt idx="14">
                  <c:v>0.332388377037562</c:v>
                </c:pt>
                <c:pt idx="15">
                  <c:v>0.31329827197595794</c:v>
                </c:pt>
                <c:pt idx="16">
                  <c:v>0.2756043956043956</c:v>
                </c:pt>
                <c:pt idx="17">
                  <c:v>0.2376495059802392</c:v>
                </c:pt>
                <c:pt idx="18">
                  <c:v>0.25910194174757284</c:v>
                </c:pt>
                <c:pt idx="19">
                  <c:v>0.2332155477031802</c:v>
                </c:pt>
                <c:pt idx="20">
                  <c:v>0.21290751829673984</c:v>
                </c:pt>
                <c:pt idx="21">
                  <c:v>0.2592295345104334</c:v>
                </c:pt>
                <c:pt idx="22">
                  <c:v>0.23263598326359833</c:v>
                </c:pt>
                <c:pt idx="23">
                  <c:v>0.2295684113865932</c:v>
                </c:pt>
                <c:pt idx="24">
                  <c:v>0.23365231259968103</c:v>
                </c:pt>
                <c:pt idx="25">
                  <c:v>0.265531914893617</c:v>
                </c:pt>
                <c:pt idx="26">
                  <c:v>0.24306688417618272</c:v>
                </c:pt>
                <c:pt idx="27">
                  <c:v>0.2290909090909091</c:v>
                </c:pt>
                <c:pt idx="28">
                  <c:v>0.24839948783610755</c:v>
                </c:pt>
                <c:pt idx="29">
                  <c:v>0.2552166934189406</c:v>
                </c:pt>
                <c:pt idx="30">
                  <c:v>0.28642384105960267</c:v>
                </c:pt>
                <c:pt idx="31">
                  <c:v>0.3136593591905565</c:v>
                </c:pt>
                <c:pt idx="32">
                  <c:v>0.300462249614792</c:v>
                </c:pt>
                <c:pt idx="33">
                  <c:v>0.32738427216954824</c:v>
                </c:pt>
                <c:pt idx="34">
                  <c:v>0.3486038394415358</c:v>
                </c:pt>
                <c:pt idx="35">
                  <c:v>0.3402512288367013</c:v>
                </c:pt>
                <c:pt idx="36">
                  <c:v>0.2748768472906404</c:v>
                </c:pt>
                <c:pt idx="37">
                  <c:v>0.22571942446043167</c:v>
                </c:pt>
                <c:pt idx="38">
                  <c:v>0.23631123919308358</c:v>
                </c:pt>
                <c:pt idx="39">
                  <c:v>0.26396917148362237</c:v>
                </c:pt>
                <c:pt idx="40">
                  <c:v>0.2534246575342466</c:v>
                </c:pt>
                <c:pt idx="41">
                  <c:v>0.23955267804590935</c:v>
                </c:pt>
                <c:pt idx="42">
                  <c:v>0.24982841455044613</c:v>
                </c:pt>
                <c:pt idx="43">
                  <c:v>0.21709006928406466</c:v>
                </c:pt>
                <c:pt idx="44">
                  <c:v>0.1986100950987564</c:v>
                </c:pt>
                <c:pt idx="45">
                  <c:v>0.22413793103448276</c:v>
                </c:pt>
                <c:pt idx="46">
                  <c:v>0.22126038781163435</c:v>
                </c:pt>
                <c:pt idx="47">
                  <c:v>0.22137404580152673</c:v>
                </c:pt>
                <c:pt idx="48">
                  <c:v>0.21618852459016394</c:v>
                </c:pt>
                <c:pt idx="49">
                  <c:v>0.24245939675174014</c:v>
                </c:pt>
                <c:pt idx="50">
                  <c:v>0.28916484716157204</c:v>
                </c:pt>
                <c:pt idx="51">
                  <c:v>0.284655503705737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2.495882488668</c:v>
                </c:pt>
              </c:numCache>
            </c:numRef>
          </c:xVal>
          <c:yVal>
            <c:numRef>
              <c:f>Sheet1!$B$163:$B$164</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2.495882488668</c:v>
                </c:pt>
                <c:pt idx="1">
                  <c:v>1122.495882488668</c:v>
                </c:pt>
              </c:numCache>
            </c:numRef>
          </c:xVal>
          <c:yVal>
            <c:numRef>
              <c:f>Sheet1!$B$167:$B$168</c:f>
              <c:numCache>
                <c:formatCode>General</c:formatCode>
                <c:ptCount val="2"/>
                <c:pt idx="0">
                  <c:v>0.28322862816403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2.495882488668</c:v>
                </c:pt>
              </c:numCache>
            </c:numRef>
          </c:xVal>
          <c:yVal>
            <c:numRef>
              <c:f>Sheet1!$B$171:$B$172</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2.495882488668</c:v>
                </c:pt>
                <c:pt idx="1">
                  <c:v>1122.495882488668</c:v>
                </c:pt>
              </c:numCache>
            </c:numRef>
          </c:xVal>
          <c:yVal>
            <c:numRef>
              <c:f>Sheet1!$B$175:$B$176</c:f>
              <c:numCache>
                <c:formatCode>General</c:formatCode>
                <c:ptCount val="2"/>
                <c:pt idx="0">
                  <c:v>0.28322862816403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0.1566977220773</c:v>
                </c:pt>
              </c:numCache>
            </c:numRef>
          </c:xVal>
          <c:yVal>
            <c:numRef>
              <c:f>Sheet1!$B$179:$B$180</c:f>
              <c:numCache>
                <c:formatCode>General</c:formatCode>
                <c:ptCount val="2"/>
                <c:pt idx="0">
                  <c:v>0.24013197868106942</c:v>
                </c:pt>
                <c:pt idx="1">
                  <c:v>0.2401319786810694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0.1566977220773</c:v>
                </c:pt>
                <c:pt idx="1">
                  <c:v>1350.1566977220773</c:v>
                </c:pt>
              </c:numCache>
            </c:numRef>
          </c:xVal>
          <c:yVal>
            <c:numRef>
              <c:f>Sheet1!$B$183:$B$184</c:f>
              <c:numCache>
                <c:formatCode>General</c:formatCode>
                <c:ptCount val="2"/>
                <c:pt idx="0">
                  <c:v>0.240131978681069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0754</c:v>
                </c:pt>
                <c:pt idx="1">
                  <c:v>1220.3706</c:v>
                </c:pt>
                <c:pt idx="2">
                  <c:v>1216.5815</c:v>
                </c:pt>
                <c:pt idx="3">
                  <c:v>1167.8951</c:v>
                </c:pt>
                <c:pt idx="4">
                  <c:v>1203.9267</c:v>
                </c:pt>
                <c:pt idx="5">
                  <c:v>1233.5943</c:v>
                </c:pt>
                <c:pt idx="6">
                  <c:v>1167.8701</c:v>
                </c:pt>
                <c:pt idx="7">
                  <c:v>1220.0463</c:v>
                </c:pt>
                <c:pt idx="8">
                  <c:v>1285.2846</c:v>
                </c:pt>
                <c:pt idx="9">
                  <c:v>1264.5629</c:v>
                </c:pt>
                <c:pt idx="10">
                  <c:v>1268.3671</c:v>
                </c:pt>
                <c:pt idx="11">
                  <c:v>1166.9216</c:v>
                </c:pt>
                <c:pt idx="12">
                  <c:v>1181.5133</c:v>
                </c:pt>
                <c:pt idx="13">
                  <c:v>1233.2243</c:v>
                </c:pt>
                <c:pt idx="14">
                  <c:v>1200.9478</c:v>
                </c:pt>
                <c:pt idx="15">
                  <c:v>1240.2374</c:v>
                </c:pt>
                <c:pt idx="16">
                  <c:v>1310.5534</c:v>
                </c:pt>
                <c:pt idx="17">
                  <c:v>1252.1575</c:v>
                </c:pt>
                <c:pt idx="18">
                  <c:v>1083.6674</c:v>
                </c:pt>
                <c:pt idx="19">
                  <c:v>1323.9747</c:v>
                </c:pt>
                <c:pt idx="20">
                  <c:v>1352.5594</c:v>
                </c:pt>
                <c:pt idx="21">
                  <c:v>1195.3622</c:v>
                </c:pt>
                <c:pt idx="22">
                  <c:v>1213.6007</c:v>
                </c:pt>
                <c:pt idx="23">
                  <c:v>1294.232</c:v>
                </c:pt>
                <c:pt idx="24">
                  <c:v>1210.6553</c:v>
                </c:pt>
                <c:pt idx="25">
                  <c:v>1116.9904</c:v>
                </c:pt>
                <c:pt idx="26">
                  <c:v>1148.849</c:v>
                </c:pt>
                <c:pt idx="27">
                  <c:v>1188.4222</c:v>
                </c:pt>
                <c:pt idx="28">
                  <c:v>1216.3711</c:v>
                </c:pt>
                <c:pt idx="29">
                  <c:v>1253.1792</c:v>
                </c:pt>
                <c:pt idx="30">
                  <c:v>1110.9335</c:v>
                </c:pt>
                <c:pt idx="31">
                  <c:v>928.5887</c:v>
                </c:pt>
                <c:pt idx="32">
                  <c:v>1120.1051</c:v>
                </c:pt>
                <c:pt idx="33">
                  <c:v>1232.4753</c:v>
                </c:pt>
                <c:pt idx="34">
                  <c:v>1252.7872</c:v>
                </c:pt>
                <c:pt idx="35">
                  <c:v>1210.5297</c:v>
                </c:pt>
                <c:pt idx="36">
                  <c:v>1213.9462</c:v>
                </c:pt>
                <c:pt idx="37">
                  <c:v>1355.8526</c:v>
                </c:pt>
                <c:pt idx="38">
                  <c:v>1303.2236</c:v>
                </c:pt>
                <c:pt idx="39">
                  <c:v>1239.0024</c:v>
                </c:pt>
                <c:pt idx="40">
                  <c:v>1224.4103</c:v>
                </c:pt>
                <c:pt idx="41">
                  <c:v>1297.7494</c:v>
                </c:pt>
                <c:pt idx="42">
                  <c:v>1217.7775</c:v>
                </c:pt>
                <c:pt idx="43">
                  <c:v>1271.3915</c:v>
                </c:pt>
                <c:pt idx="44">
                  <c:v>1275.954</c:v>
                </c:pt>
                <c:pt idx="45">
                  <c:v>1216.174</c:v>
                </c:pt>
                <c:pt idx="46">
                  <c:v>1261.9828</c:v>
                </c:pt>
                <c:pt idx="47">
                  <c:v>1266.4583</c:v>
                </c:pt>
                <c:pt idx="48">
                  <c:v>1207.5675</c:v>
                </c:pt>
                <c:pt idx="49">
                  <c:v>1267.7474</c:v>
                </c:pt>
                <c:pt idx="50">
                  <c:v>1150.109</c:v>
                </c:pt>
                <c:pt idx="51">
                  <c:v>1100.5256</c:v>
                </c:pt>
                <c:pt idx="52">
                  <c:v>1122.495882488668</c:v>
                </c:pt>
                <c:pt idx="53">
                  <c:v>1122.495882488668</c:v>
                </c:pt>
                <c:pt idx="54">
                  <c:v>1350.1566977220773</c:v>
                </c:pt>
              </c:numCache>
            </c:numRef>
          </c:xVal>
          <c:yVal>
            <c:numRef>
              <c:f>Sheet1!$B$187:$B$241</c:f>
              <c:numCache>
                <c:formatCode>General</c:formatCode>
                <c:ptCount val="55"/>
                <c:pt idx="0">
                  <c:v>0.2685426697138892</c:v>
                </c:pt>
                <c:pt idx="1">
                  <c:v>0.2647007475996692</c:v>
                </c:pt>
                <c:pt idx="2">
                  <c:v>0.26541803183845425</c:v>
                </c:pt>
                <c:pt idx="3">
                  <c:v>0.27463446512424405</c:v>
                </c:pt>
                <c:pt idx="4">
                  <c:v>0.26781361089020206</c:v>
                </c:pt>
                <c:pt idx="5">
                  <c:v>0.26219747463552934</c:v>
                </c:pt>
                <c:pt idx="6">
                  <c:v>0.2746391976744459</c:v>
                </c:pt>
                <c:pt idx="7">
                  <c:v>0.2647621382408869</c:v>
                </c:pt>
                <c:pt idx="8">
                  <c:v>0.2524123970476925</c:v>
                </c:pt>
                <c:pt idx="9">
                  <c:v>0.2563350564683552</c:v>
                </c:pt>
                <c:pt idx="10">
                  <c:v>0.2556149137692482</c:v>
                </c:pt>
                <c:pt idx="11">
                  <c:v>0.27481875062910205</c:v>
                </c:pt>
                <c:pt idx="12">
                  <c:v>0.27205651251791985</c:v>
                </c:pt>
                <c:pt idx="13">
                  <c:v>0.2622675163785159</c:v>
                </c:pt>
                <c:pt idx="14">
                  <c:v>0.26837752264204734</c:v>
                </c:pt>
                <c:pt idx="15">
                  <c:v>0.2609399224657072</c:v>
                </c:pt>
                <c:pt idx="16">
                  <c:v>0.2476289624661263</c:v>
                </c:pt>
                <c:pt idx="17">
                  <c:v>0.2586834235992898</c:v>
                </c:pt>
                <c:pt idx="18">
                  <c:v>0.2905789378695182</c:v>
                </c:pt>
                <c:pt idx="19">
                  <c:v>0.24508828342519146</c:v>
                </c:pt>
                <c:pt idx="20">
                  <c:v>0.23967714231505977</c:v>
                </c:pt>
                <c:pt idx="21">
                  <c:v>0.2694348879383335</c:v>
                </c:pt>
                <c:pt idx="22">
                  <c:v>0.26598230326411487</c:v>
                </c:pt>
                <c:pt idx="23">
                  <c:v>0.25071863626067037</c:v>
                </c:pt>
                <c:pt idx="24">
                  <c:v>0.2665398733986898</c:v>
                </c:pt>
                <c:pt idx="25">
                  <c:v>0.28427082705453965</c:v>
                </c:pt>
                <c:pt idx="26">
                  <c:v>0.27823993010018155</c:v>
                </c:pt>
                <c:pt idx="27">
                  <c:v>0.2707486438743522</c:v>
                </c:pt>
                <c:pt idx="28">
                  <c:v>0.2654578609809526</c:v>
                </c:pt>
                <c:pt idx="29">
                  <c:v>0.2584900137376428</c:v>
                </c:pt>
                <c:pt idx="30">
                  <c:v>0.2854174103872301</c:v>
                </c:pt>
                <c:pt idx="31">
                  <c:v>0.3199356471886917</c:v>
                </c:pt>
                <c:pt idx="32">
                  <c:v>0.28368120808999825</c:v>
                </c:pt>
                <c:pt idx="33">
                  <c:v>0.26240930358256176</c:v>
                </c:pt>
                <c:pt idx="34">
                  <c:v>0.25856422012480695</c:v>
                </c:pt>
                <c:pt idx="35">
                  <c:v>0.2665636497309035</c:v>
                </c:pt>
                <c:pt idx="36">
                  <c:v>0.26591689942032604</c:v>
                </c:pt>
                <c:pt idx="37">
                  <c:v>0.23905373294207755</c:v>
                </c:pt>
                <c:pt idx="38">
                  <c:v>0.24901650832489142</c:v>
                </c:pt>
                <c:pt idx="39">
                  <c:v>0.26117371044567594</c:v>
                </c:pt>
                <c:pt idx="40">
                  <c:v>0.2639360242776613</c:v>
                </c:pt>
                <c:pt idx="41">
                  <c:v>0.25005278537747844</c:v>
                </c:pt>
                <c:pt idx="42">
                  <c:v>0.26519162663680035</c:v>
                </c:pt>
                <c:pt idx="43">
                  <c:v>0.2550423887760357</c:v>
                </c:pt>
                <c:pt idx="44">
                  <c:v>0.2541786983642078</c:v>
                </c:pt>
                <c:pt idx="45">
                  <c:v>0.2654951724067436</c:v>
                </c:pt>
                <c:pt idx="46">
                  <c:v>0.2568234745793814</c:v>
                </c:pt>
                <c:pt idx="47">
                  <c:v>0.2559762534422558</c:v>
                </c:pt>
                <c:pt idx="48">
                  <c:v>0.267124400139214</c:v>
                </c:pt>
                <c:pt idx="49">
                  <c:v>0.25573222422365033</c:v>
                </c:pt>
                <c:pt idx="50">
                  <c:v>0.27800140957001096</c:v>
                </c:pt>
                <c:pt idx="51">
                  <c:v>0.2873876467570412</c:v>
                </c:pt>
                <c:pt idx="52">
                  <c:v>0.2832286281640303</c:v>
                </c:pt>
                <c:pt idx="53">
                  <c:v>0.2832286281640303</c:v>
                </c:pt>
                <c:pt idx="54">
                  <c:v>0.24013197868106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6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32460732984295"/>
          <c:min val="0.13353627600202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3938959603160006</c:v>
                </c:pt>
                <c:pt idx="1">
                  <c:v>2.643315387893961</c:v>
                </c:pt>
                <c:pt idx="2">
                  <c:v>2.8007752691638337</c:v>
                </c:pt>
                <c:pt idx="3">
                  <c:v>2.8088815711511352</c:v>
                </c:pt>
                <c:pt idx="4">
                  <c:v>2.80377141202396</c:v>
                </c:pt>
                <c:pt idx="5">
                  <c:v>2.315553486405143</c:v>
                </c:pt>
                <c:pt idx="6">
                  <c:v>2.05394990617181</c:v>
                </c:pt>
                <c:pt idx="7">
                  <c:v>2.0715329478857356</c:v>
                </c:pt>
                <c:pt idx="8">
                  <c:v>2.0307712201164856</c:v>
                </c:pt>
                <c:pt idx="9">
                  <c:v>2.2059641840371103</c:v>
                </c:pt>
                <c:pt idx="10">
                  <c:v>2.234058032946151</c:v>
                </c:pt>
                <c:pt idx="11">
                  <c:v>2.2736831086382843</c:v>
                </c:pt>
                <c:pt idx="12">
                  <c:v>2.3058656822425103</c:v>
                </c:pt>
                <c:pt idx="13">
                  <c:v>2.1849913062819564</c:v>
                </c:pt>
                <c:pt idx="14">
                  <c:v>2.2153376053111136</c:v>
                </c:pt>
                <c:pt idx="15">
                  <c:v>2.220272110213083</c:v>
                </c:pt>
                <c:pt idx="16">
                  <c:v>2.195978459596412</c:v>
                </c:pt>
                <c:pt idx="17">
                  <c:v>2.7365350793367877</c:v>
                </c:pt>
                <c:pt idx="18">
                  <c:v>2.946773690201578</c:v>
                </c:pt>
                <c:pt idx="19">
                  <c:v>2.9315950907448776</c:v>
                </c:pt>
                <c:pt idx="20">
                  <c:v>2.8051230698833702</c:v>
                </c:pt>
                <c:pt idx="21">
                  <c:v>2.811448073349198</c:v>
                </c:pt>
                <c:pt idx="22">
                  <c:v>2.807325725652624</c:v>
                </c:pt>
                <c:pt idx="23">
                  <c:v>3.0428476587998032</c:v>
                </c:pt>
                <c:pt idx="24">
                  <c:v>2.8233371864923296</c:v>
                </c:pt>
                <c:pt idx="25">
                  <c:v>2.805713650416273</c:v>
                </c:pt>
                <c:pt idx="26">
                  <c:v>2.2578131795930076</c:v>
                </c:pt>
                <c:pt idx="27">
                  <c:v>2.205618425289585</c:v>
                </c:pt>
                <c:pt idx="28">
                  <c:v>2.1776237644763077</c:v>
                </c:pt>
                <c:pt idx="29">
                  <c:v>2.0520860543696684</c:v>
                </c:pt>
                <c:pt idx="30">
                  <c:v>2.0985290299966595</c:v>
                </c:pt>
                <c:pt idx="31">
                  <c:v>2.031582281168304</c:v>
                </c:pt>
                <c:pt idx="32">
                  <c:v>1.9594372370728632</c:v>
                </c:pt>
                <c:pt idx="33">
                  <c:v>1.7699592032095772</c:v>
                </c:pt>
                <c:pt idx="34">
                  <c:v>2.0652158205464444</c:v>
                </c:pt>
                <c:pt idx="35">
                  <c:v>2.096210305636417</c:v>
                </c:pt>
                <c:pt idx="36">
                  <c:v>2.4297692901504555</c:v>
                </c:pt>
                <c:pt idx="37">
                  <c:v>2.2891912981996274</c:v>
                </c:pt>
                <c:pt idx="38">
                  <c:v>2.415147101747815</c:v>
                </c:pt>
                <c:pt idx="39">
                  <c:v>2.4535623745133273</c:v>
                </c:pt>
                <c:pt idx="40">
                  <c:v>2.5528610318079745</c:v>
                </c:pt>
                <c:pt idx="41">
                  <c:v>2.524243872691814</c:v>
                </c:pt>
                <c:pt idx="42">
                  <c:v>2.6728862900860673</c:v>
                </c:pt>
                <c:pt idx="43">
                  <c:v>2.713704437929853</c:v>
                </c:pt>
                <c:pt idx="44">
                  <c:v>2.437449918034116</c:v>
                </c:pt>
                <c:pt idx="45">
                  <c:v>2.364272981021833</c:v>
                </c:pt>
                <c:pt idx="46">
                  <c:v>2.447023130764099</c:v>
                </c:pt>
                <c:pt idx="47">
                  <c:v>2.4523064284571743</c:v>
                </c:pt>
                <c:pt idx="48">
                  <c:v>2.413585344247435</c:v>
                </c:pt>
                <c:pt idx="49">
                  <c:v>2.375298093770623</c:v>
                </c:pt>
                <c:pt idx="50">
                  <c:v>2.345776882730814</c:v>
                </c:pt>
                <c:pt idx="51">
                  <c:v>2.3994793968527617</c:v>
                </c:pt>
                <c:pt idx="52">
                  <c:v>2.3340177877499424</c:v>
                </c:pt>
                <c:pt idx="53">
                  <c:v>2.514950130800624</c:v>
                </c:pt>
                <c:pt idx="54">
                  <c:v>2.5665883665556644</c:v>
                </c:pt>
                <c:pt idx="55">
                  <c:v>2.5249902177693873</c:v>
                </c:pt>
                <c:pt idx="56">
                  <c:v>2.589174138690489</c:v>
                </c:pt>
                <c:pt idx="57">
                  <c:v>2.540733817518212</c:v>
                </c:pt>
                <c:pt idx="58">
                  <c:v>2.4687209027435806</c:v>
                </c:pt>
                <c:pt idx="59">
                  <c:v>2.5279022342200066</c:v>
                </c:pt>
                <c:pt idx="60">
                  <c:v>2.630152044198895</c:v>
                </c:pt>
                <c:pt idx="61">
                  <c:v>2.556896519346071</c:v>
                </c:pt>
                <c:pt idx="62">
                  <c:v>2.5278511745828993</c:v>
                </c:pt>
                <c:pt idx="63">
                  <c:v>2.6271164340712114</c:v>
                </c:pt>
                <c:pt idx="64">
                  <c:v>2.6268035672627863</c:v>
                </c:pt>
                <c:pt idx="65">
                  <c:v>2.5594112181925066</c:v>
                </c:pt>
                <c:pt idx="66">
                  <c:v>2.5450275146399073</c:v>
                </c:pt>
                <c:pt idx="67">
                  <c:v>2.61756265474606</c:v>
                </c:pt>
                <c:pt idx="68">
                  <c:v>2.591413856377682</c:v>
                </c:pt>
                <c:pt idx="69">
                  <c:v>2.668445724577326</c:v>
                </c:pt>
                <c:pt idx="70">
                  <c:v>2.571318299944973</c:v>
                </c:pt>
                <c:pt idx="71">
                  <c:v>2.6977562276862406</c:v>
                </c:pt>
                <c:pt idx="72">
                  <c:v>2.942227585263032</c:v>
                </c:pt>
                <c:pt idx="73">
                  <c:v>2.7214343747453658</c:v>
                </c:pt>
                <c:pt idx="74">
                  <c:v>2.7798848171628223</c:v>
                </c:pt>
                <c:pt idx="75">
                  <c:v>2.613850927210059</c:v>
                </c:pt>
                <c:pt idx="76">
                  <c:v>2.786120113985136</c:v>
                </c:pt>
                <c:pt idx="77">
                  <c:v>2.77992455635881</c:v>
                </c:pt>
                <c:pt idx="78">
                  <c:v>2.8642210451778753</c:v>
                </c:pt>
                <c:pt idx="79">
                  <c:v>3.206186688621193</c:v>
                </c:pt>
                <c:pt idx="80">
                  <c:v>3.111744744554056</c:v>
                </c:pt>
                <c:pt idx="81">
                  <c:v>3.2160483215228135</c:v>
                </c:pt>
                <c:pt idx="82">
                  <c:v>3.0397052879005626</c:v>
                </c:pt>
                <c:pt idx="83">
                  <c:v>2.8997510673817013</c:v>
                </c:pt>
                <c:pt idx="84">
                  <c:v>2.9944636931888255</c:v>
                </c:pt>
                <c:pt idx="85">
                  <c:v>2.765351074350445</c:v>
                </c:pt>
                <c:pt idx="86">
                  <c:v>2.746413950236175</c:v>
                </c:pt>
                <c:pt idx="87">
                  <c:v>2.739743038330816</c:v>
                </c:pt>
                <c:pt idx="88">
                  <c:v>2.6446383596914664</c:v>
                </c:pt>
                <c:pt idx="89">
                  <c:v>2.494483078233213</c:v>
                </c:pt>
                <c:pt idx="90">
                  <c:v>2.6742602285266055</c:v>
                </c:pt>
                <c:pt idx="91">
                  <c:v>2.8359800278993537</c:v>
                </c:pt>
                <c:pt idx="92">
                  <c:v>2.758280429263398</c:v>
                </c:pt>
                <c:pt idx="93">
                  <c:v>2.6479354470464305</c:v>
                </c:pt>
                <c:pt idx="94">
                  <c:v>2.7306814100261683</c:v>
                </c:pt>
                <c:pt idx="95">
                  <c:v>2.5971094410121474</c:v>
                </c:pt>
                <c:pt idx="96">
                  <c:v>2.507053596820564</c:v>
                </c:pt>
                <c:pt idx="97">
                  <c:v>2.493814672766605</c:v>
                </c:pt>
                <c:pt idx="98">
                  <c:v>2.536363471866887</c:v>
                </c:pt>
                <c:pt idx="99">
                  <c:v>2.7658985890392906</c:v>
                </c:pt>
                <c:pt idx="100">
                  <c:v>2.321732404944262</c:v>
                </c:pt>
                <c:pt idx="101">
                  <c:v>2.375502277644239</c:v>
                </c:pt>
                <c:pt idx="102">
                  <c:v>2.430434643247679</c:v>
                </c:pt>
                <c:pt idx="103">
                  <c:v>2.399507112893073</c:v>
                </c:pt>
                <c:pt idx="104">
                  <c:v>2.42118568372959</c:v>
                </c:pt>
              </c:numCache>
            </c:numRef>
          </c:xVal>
          <c:yVal>
            <c:numRef>
              <c:f>Sheet1!$B$2:$B$106</c:f>
              <c:numCache>
                <c:formatCode>General</c:formatCode>
                <c:ptCount val="105"/>
                <c:pt idx="0">
                  <c:v>0.20423521176058804</c:v>
                </c:pt>
                <c:pt idx="1">
                  <c:v>0.21780821917808219</c:v>
                </c:pt>
                <c:pt idx="2">
                  <c:v>0.2120978616836833</c:v>
                </c:pt>
                <c:pt idx="3">
                  <c:v>0.22231668437832094</c:v>
                </c:pt>
                <c:pt idx="4">
                  <c:v>0.22634462151394422</c:v>
                </c:pt>
                <c:pt idx="5">
                  <c:v>0.24624624624624625</c:v>
                </c:pt>
                <c:pt idx="6">
                  <c:v>0.29199110122358174</c:v>
                </c:pt>
                <c:pt idx="7">
                  <c:v>0.30643513789581206</c:v>
                </c:pt>
                <c:pt idx="8">
                  <c:v>0.3124087591240876</c:v>
                </c:pt>
                <c:pt idx="9">
                  <c:v>0.2935631564772421</c:v>
                </c:pt>
                <c:pt idx="10">
                  <c:v>0.2884517118037813</c:v>
                </c:pt>
                <c:pt idx="11">
                  <c:v>0.2772397094430993</c:v>
                </c:pt>
                <c:pt idx="12">
                  <c:v>0.26502242152466365</c:v>
                </c:pt>
                <c:pt idx="13">
                  <c:v>0.2606126914660831</c:v>
                </c:pt>
                <c:pt idx="14">
                  <c:v>0.24045801526717558</c:v>
                </c:pt>
                <c:pt idx="15">
                  <c:v>0.23724423724423724</c:v>
                </c:pt>
                <c:pt idx="16">
                  <c:v>0.22664576802507838</c:v>
                </c:pt>
                <c:pt idx="17">
                  <c:v>0.2021932830705963</c:v>
                </c:pt>
                <c:pt idx="18">
                  <c:v>0.18674966651845265</c:v>
                </c:pt>
                <c:pt idx="19">
                  <c:v>0.1903323262839879</c:v>
                </c:pt>
                <c:pt idx="20">
                  <c:v>0.21248066013408973</c:v>
                </c:pt>
                <c:pt idx="21">
                  <c:v>0.2365819209039548</c:v>
                </c:pt>
                <c:pt idx="22">
                  <c:v>0.24726027397260275</c:v>
                </c:pt>
                <c:pt idx="23">
                  <c:v>0.20595854922279794</c:v>
                </c:pt>
                <c:pt idx="24">
                  <c:v>0.20303797468354431</c:v>
                </c:pt>
                <c:pt idx="25">
                  <c:v>0.21934369602763384</c:v>
                </c:pt>
                <c:pt idx="26">
                  <c:v>0.24136069114470843</c:v>
                </c:pt>
                <c:pt idx="27">
                  <c:v>0.22205513784461153</c:v>
                </c:pt>
                <c:pt idx="28">
                  <c:v>0.22422422422422422</c:v>
                </c:pt>
                <c:pt idx="29">
                  <c:v>0.26663840610428147</c:v>
                </c:pt>
                <c:pt idx="30">
                  <c:v>0.27643236857649145</c:v>
                </c:pt>
                <c:pt idx="31">
                  <c:v>0.27220812182741116</c:v>
                </c:pt>
                <c:pt idx="32">
                  <c:v>0.297768479776848</c:v>
                </c:pt>
                <c:pt idx="33">
                  <c:v>0.34146341463414637</c:v>
                </c:pt>
                <c:pt idx="34">
                  <c:v>0.3159173754556501</c:v>
                </c:pt>
                <c:pt idx="35">
                  <c:v>0.3025089605734767</c:v>
                </c:pt>
                <c:pt idx="36">
                  <c:v>0.21143122676579926</c:v>
                </c:pt>
                <c:pt idx="37">
                  <c:v>0.1962962962962963</c:v>
                </c:pt>
                <c:pt idx="38">
                  <c:v>0.17882472137791286</c:v>
                </c:pt>
                <c:pt idx="39">
                  <c:v>0.16692034500253677</c:v>
                </c:pt>
                <c:pt idx="40">
                  <c:v>0.18085106382978725</c:v>
                </c:pt>
                <c:pt idx="41">
                  <c:v>0.16751503933364184</c:v>
                </c:pt>
                <c:pt idx="42">
                  <c:v>0.16870802054523903</c:v>
                </c:pt>
                <c:pt idx="43">
                  <c:v>0.18101992570077677</c:v>
                </c:pt>
                <c:pt idx="44">
                  <c:v>0.2054065559812686</c:v>
                </c:pt>
                <c:pt idx="45">
                  <c:v>0.23213924306820483</c:v>
                </c:pt>
                <c:pt idx="46">
                  <c:v>0.23525977816695856</c:v>
                </c:pt>
                <c:pt idx="47">
                  <c:v>0.23110151187904968</c:v>
                </c:pt>
                <c:pt idx="48">
                  <c:v>0.24622222222222223</c:v>
                </c:pt>
                <c:pt idx="49">
                  <c:v>0.27216120383983394</c:v>
                </c:pt>
                <c:pt idx="50">
                  <c:v>0.2455621301775148</c:v>
                </c:pt>
                <c:pt idx="51">
                  <c:v>0.20506792058516196</c:v>
                </c:pt>
                <c:pt idx="52">
                  <c:v>0.2364198724144597</c:v>
                </c:pt>
                <c:pt idx="53">
                  <c:v>0.2191397302112497</c:v>
                </c:pt>
                <c:pt idx="54">
                  <c:v>0.2190272254512083</c:v>
                </c:pt>
                <c:pt idx="55">
                  <c:v>0.2122886866059818</c:v>
                </c:pt>
                <c:pt idx="56">
                  <c:v>0.2241092241092241</c:v>
                </c:pt>
                <c:pt idx="57">
                  <c:v>0.22434635929153782</c:v>
                </c:pt>
                <c:pt idx="58">
                  <c:v>0.25239536056480083</c:v>
                </c:pt>
                <c:pt idx="59">
                  <c:v>0.24485535341485237</c:v>
                </c:pt>
                <c:pt idx="60">
                  <c:v>0.2617494564308413</c:v>
                </c:pt>
                <c:pt idx="61">
                  <c:v>0.26887131560028754</c:v>
                </c:pt>
                <c:pt idx="62">
                  <c:v>0.2758142758142758</c:v>
                </c:pt>
                <c:pt idx="63">
                  <c:v>0.2922355818218871</c:v>
                </c:pt>
                <c:pt idx="64">
                  <c:v>0.27654023680513745</c:v>
                </c:pt>
                <c:pt idx="65">
                  <c:v>0.2685330347144457</c:v>
                </c:pt>
                <c:pt idx="66">
                  <c:v>0.28955223880597014</c:v>
                </c:pt>
                <c:pt idx="67">
                  <c:v>0.27215878194671017</c:v>
                </c:pt>
                <c:pt idx="68">
                  <c:v>0.25168010752688175</c:v>
                </c:pt>
                <c:pt idx="69">
                  <c:v>0.22532093846834883</c:v>
                </c:pt>
                <c:pt idx="70">
                  <c:v>0.20338208409506398</c:v>
                </c:pt>
                <c:pt idx="71">
                  <c:v>0.21074380165289255</c:v>
                </c:pt>
                <c:pt idx="72">
                  <c:v>0.2015617374328941</c:v>
                </c:pt>
                <c:pt idx="73">
                  <c:v>0.22982635342185903</c:v>
                </c:pt>
                <c:pt idx="74">
                  <c:v>0.21813953488372093</c:v>
                </c:pt>
                <c:pt idx="75">
                  <c:v>0.2516778523489933</c:v>
                </c:pt>
                <c:pt idx="76">
                  <c:v>0.23624401913875598</c:v>
                </c:pt>
                <c:pt idx="77">
                  <c:v>0.24174454828660435</c:v>
                </c:pt>
                <c:pt idx="78">
                  <c:v>0.20766550522648083</c:v>
                </c:pt>
                <c:pt idx="79">
                  <c:v>0.18251435864709636</c:v>
                </c:pt>
                <c:pt idx="80">
                  <c:v>0.18371467025572005</c:v>
                </c:pt>
                <c:pt idx="81">
                  <c:v>0.19503171247357293</c:v>
                </c:pt>
                <c:pt idx="82">
                  <c:v>0.20470262793914246</c:v>
                </c:pt>
                <c:pt idx="83">
                  <c:v>0.18270799347471453</c:v>
                </c:pt>
                <c:pt idx="84">
                  <c:v>0.1928020565552699</c:v>
                </c:pt>
                <c:pt idx="85">
                  <c:v>0.21787709497206703</c:v>
                </c:pt>
                <c:pt idx="86">
                  <c:v>0.24451250638080654</c:v>
                </c:pt>
                <c:pt idx="87">
                  <c:v>0.25679475164011245</c:v>
                </c:pt>
                <c:pt idx="88">
                  <c:v>0.22476190476190477</c:v>
                </c:pt>
                <c:pt idx="89">
                  <c:v>0.2098950524737631</c:v>
                </c:pt>
                <c:pt idx="90">
                  <c:v>0.1945080091533181</c:v>
                </c:pt>
                <c:pt idx="91">
                  <c:v>0.1880466472303207</c:v>
                </c:pt>
                <c:pt idx="92">
                  <c:v>0.20278223649010166</c:v>
                </c:pt>
                <c:pt idx="93">
                  <c:v>0.19252432155657961</c:v>
                </c:pt>
                <c:pt idx="94">
                  <c:v>0.17848557692307693</c:v>
                </c:pt>
                <c:pt idx="95">
                  <c:v>0.2001685630004214</c:v>
                </c:pt>
                <c:pt idx="96">
                  <c:v>0.20465489566613163</c:v>
                </c:pt>
                <c:pt idx="97">
                  <c:v>0.2358027576536574</c:v>
                </c:pt>
                <c:pt idx="98">
                  <c:v>0.24644374653611675</c:v>
                </c:pt>
                <c:pt idx="99">
                  <c:v>0.24988830975428145</c:v>
                </c:pt>
                <c:pt idx="100">
                  <c:v>0.26809062780716636</c:v>
                </c:pt>
                <c:pt idx="101">
                  <c:v>0.27269010629599344</c:v>
                </c:pt>
                <c:pt idx="102">
                  <c:v>0.22299546142208776</c:v>
                </c:pt>
                <c:pt idx="103">
                  <c:v>0.21978305785123967</c:v>
                </c:pt>
                <c:pt idx="104">
                  <c:v>0.24082702387885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294608009973269</c:v>
                </c:pt>
                <c:pt idx="1">
                  <c:v>2.2838071105887816</c:v>
                </c:pt>
                <c:pt idx="2">
                  <c:v>2.2331143626716576</c:v>
                </c:pt>
                <c:pt idx="3">
                  <c:v>2.1294677712206482</c:v>
                </c:pt>
                <c:pt idx="4">
                  <c:v>2.053861357964793</c:v>
                </c:pt>
                <c:pt idx="5">
                  <c:v>1.9892748627448829</c:v>
                </c:pt>
                <c:pt idx="6">
                  <c:v>1.9900318644991992</c:v>
                </c:pt>
                <c:pt idx="7">
                  <c:v>1.999300107646754</c:v>
                </c:pt>
                <c:pt idx="8">
                  <c:v>2.0930049188566158</c:v>
                </c:pt>
                <c:pt idx="9">
                  <c:v>2.0999599292110402</c:v>
                </c:pt>
                <c:pt idx="10">
                  <c:v>2.0740460514266874</c:v>
                </c:pt>
                <c:pt idx="11">
                  <c:v>2.127326589358277</c:v>
                </c:pt>
                <c:pt idx="12">
                  <c:v>2.1760543523083506</c:v>
                </c:pt>
                <c:pt idx="13">
                  <c:v>2.1259163437717588</c:v>
                </c:pt>
                <c:pt idx="14">
                  <c:v>2.0851000882863846</c:v>
                </c:pt>
                <c:pt idx="15">
                  <c:v>2.2392639720477794</c:v>
                </c:pt>
                <c:pt idx="16">
                  <c:v>2.2564445942749076</c:v>
                </c:pt>
                <c:pt idx="17">
                  <c:v>2.2796238729615452</c:v>
                </c:pt>
                <c:pt idx="18">
                  <c:v>1.8700351205127816</c:v>
                </c:pt>
                <c:pt idx="19">
                  <c:v>2.3019809933411666</c:v>
                </c:pt>
                <c:pt idx="20">
                  <c:v>2.274573437411449</c:v>
                </c:pt>
                <c:pt idx="21">
                  <c:v>2.0463190770079867</c:v>
                </c:pt>
                <c:pt idx="22">
                  <c:v>2.0567000490448786</c:v>
                </c:pt>
                <c:pt idx="23">
                  <c:v>2.221919686336287</c:v>
                </c:pt>
                <c:pt idx="24">
                  <c:v>2.0410877863689345</c:v>
                </c:pt>
                <c:pt idx="25">
                  <c:v>1.9678898225924149</c:v>
                </c:pt>
                <c:pt idx="26">
                  <c:v>1.9466704848337997</c:v>
                </c:pt>
                <c:pt idx="27">
                  <c:v>1.953435337221831</c:v>
                </c:pt>
                <c:pt idx="28">
                  <c:v>2.0071514306656595</c:v>
                </c:pt>
                <c:pt idx="29">
                  <c:v>2.1003839985358073</c:v>
                </c:pt>
                <c:pt idx="30">
                  <c:v>1.79830735317018</c:v>
                </c:pt>
                <c:pt idx="31">
                  <c:v>1.5468700155271924</c:v>
                </c:pt>
                <c:pt idx="32">
                  <c:v>1.8366392196852197</c:v>
                </c:pt>
                <c:pt idx="33">
                  <c:v>1.9892709567237337</c:v>
                </c:pt>
                <c:pt idx="34">
                  <c:v>2.0457893752750564</c:v>
                </c:pt>
                <c:pt idx="35">
                  <c:v>1.9598346558587256</c:v>
                </c:pt>
                <c:pt idx="36">
                  <c:v>2.026576709828765</c:v>
                </c:pt>
                <c:pt idx="37">
                  <c:v>2.2204083276984616</c:v>
                </c:pt>
                <c:pt idx="38">
                  <c:v>2.1285390894747676</c:v>
                </c:pt>
                <c:pt idx="39">
                  <c:v>2.066396751410451</c:v>
                </c:pt>
                <c:pt idx="40">
                  <c:v>2.0405443961329306</c:v>
                </c:pt>
                <c:pt idx="41">
                  <c:v>2.115166488249921</c:v>
                </c:pt>
                <c:pt idx="42">
                  <c:v>1.9681312960799393</c:v>
                </c:pt>
                <c:pt idx="43">
                  <c:v>2.056897025358212</c:v>
                </c:pt>
                <c:pt idx="44">
                  <c:v>2.044348582330936</c:v>
                </c:pt>
                <c:pt idx="45">
                  <c:v>1.9844322676041768</c:v>
                </c:pt>
                <c:pt idx="46">
                  <c:v>2.067044570805595</c:v>
                </c:pt>
                <c:pt idx="47">
                  <c:v>2.135692346296758</c:v>
                </c:pt>
                <c:pt idx="48">
                  <c:v>1.9976104455538906</c:v>
                </c:pt>
                <c:pt idx="49">
                  <c:v>2.1197442691126835</c:v>
                </c:pt>
                <c:pt idx="50">
                  <c:v>1.923124449975829</c:v>
                </c:pt>
                <c:pt idx="51">
                  <c:v>1.924235997290571</c:v>
                </c:pt>
              </c:numCache>
            </c:numRef>
          </c:xVal>
          <c:yVal>
            <c:numRef>
              <c:f>Sheet1!$B$109:$B$160</c:f>
              <c:numCache>
                <c:formatCode>General</c:formatCode>
                <c:ptCount val="52"/>
                <c:pt idx="0">
                  <c:v>0.24040511727078892</c:v>
                </c:pt>
                <c:pt idx="1">
                  <c:v>0.23850489469000297</c:v>
                </c:pt>
                <c:pt idx="2">
                  <c:v>0.2520942408376963</c:v>
                </c:pt>
                <c:pt idx="3">
                  <c:v>0.2824345969033636</c:v>
                </c:pt>
                <c:pt idx="4">
                  <c:v>0.26809116809116806</c:v>
                </c:pt>
                <c:pt idx="5">
                  <c:v>0.2681291895185862</c:v>
                </c:pt>
                <c:pt idx="6">
                  <c:v>0.2822899041173153</c:v>
                </c:pt>
                <c:pt idx="7">
                  <c:v>0.26810724289715887</c:v>
                </c:pt>
                <c:pt idx="8">
                  <c:v>0.2891459074733096</c:v>
                </c:pt>
                <c:pt idx="9">
                  <c:v>0.29418789808917195</c:v>
                </c:pt>
                <c:pt idx="10">
                  <c:v>0.3114318268135207</c:v>
                </c:pt>
                <c:pt idx="11">
                  <c:v>0.32216494845360827</c:v>
                </c:pt>
                <c:pt idx="12">
                  <c:v>0.3199513381995134</c:v>
                </c:pt>
                <c:pt idx="13">
                  <c:v>0.31084106172049886</c:v>
                </c:pt>
                <c:pt idx="14">
                  <c:v>0.332388377037562</c:v>
                </c:pt>
                <c:pt idx="15">
                  <c:v>0.31329827197595794</c:v>
                </c:pt>
                <c:pt idx="16">
                  <c:v>0.2756043956043956</c:v>
                </c:pt>
                <c:pt idx="17">
                  <c:v>0.2376495059802392</c:v>
                </c:pt>
                <c:pt idx="18">
                  <c:v>0.25910194174757284</c:v>
                </c:pt>
                <c:pt idx="19">
                  <c:v>0.2332155477031802</c:v>
                </c:pt>
                <c:pt idx="20">
                  <c:v>0.21290751829673984</c:v>
                </c:pt>
                <c:pt idx="21">
                  <c:v>0.2592295345104334</c:v>
                </c:pt>
                <c:pt idx="22">
                  <c:v>0.23263598326359833</c:v>
                </c:pt>
                <c:pt idx="23">
                  <c:v>0.2295684113865932</c:v>
                </c:pt>
                <c:pt idx="24">
                  <c:v>0.23365231259968103</c:v>
                </c:pt>
                <c:pt idx="25">
                  <c:v>0.265531914893617</c:v>
                </c:pt>
                <c:pt idx="26">
                  <c:v>0.24306688417618272</c:v>
                </c:pt>
                <c:pt idx="27">
                  <c:v>0.2290909090909091</c:v>
                </c:pt>
                <c:pt idx="28">
                  <c:v>0.24839948783610755</c:v>
                </c:pt>
                <c:pt idx="29">
                  <c:v>0.2552166934189406</c:v>
                </c:pt>
                <c:pt idx="30">
                  <c:v>0.28642384105960267</c:v>
                </c:pt>
                <c:pt idx="31">
                  <c:v>0.3136593591905565</c:v>
                </c:pt>
                <c:pt idx="32">
                  <c:v>0.300462249614792</c:v>
                </c:pt>
                <c:pt idx="33">
                  <c:v>0.32738427216954824</c:v>
                </c:pt>
                <c:pt idx="34">
                  <c:v>0.3486038394415358</c:v>
                </c:pt>
                <c:pt idx="35">
                  <c:v>0.3402512288367013</c:v>
                </c:pt>
                <c:pt idx="36">
                  <c:v>0.2748768472906404</c:v>
                </c:pt>
                <c:pt idx="37">
                  <c:v>0.22571942446043167</c:v>
                </c:pt>
                <c:pt idx="38">
                  <c:v>0.23631123919308358</c:v>
                </c:pt>
                <c:pt idx="39">
                  <c:v>0.26396917148362237</c:v>
                </c:pt>
                <c:pt idx="40">
                  <c:v>0.2534246575342466</c:v>
                </c:pt>
                <c:pt idx="41">
                  <c:v>0.23955267804590935</c:v>
                </c:pt>
                <c:pt idx="42">
                  <c:v>0.24982841455044613</c:v>
                </c:pt>
                <c:pt idx="43">
                  <c:v>0.21709006928406466</c:v>
                </c:pt>
                <c:pt idx="44">
                  <c:v>0.1986100950987564</c:v>
                </c:pt>
                <c:pt idx="45">
                  <c:v>0.22413793103448276</c:v>
                </c:pt>
                <c:pt idx="46">
                  <c:v>0.22126038781163435</c:v>
                </c:pt>
                <c:pt idx="47">
                  <c:v>0.22137404580152673</c:v>
                </c:pt>
                <c:pt idx="48">
                  <c:v>0.21618852459016394</c:v>
                </c:pt>
                <c:pt idx="49">
                  <c:v>0.24245939675174014</c:v>
                </c:pt>
                <c:pt idx="50">
                  <c:v>0.28916484716157204</c:v>
                </c:pt>
                <c:pt idx="51">
                  <c:v>0.284655503705737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10706811964677</c:v>
                </c:pt>
              </c:numCache>
            </c:numRef>
          </c:xVal>
          <c:yVal>
            <c:numRef>
              <c:f>Sheet1!$B$163:$B$164</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10706811964677</c:v>
                </c:pt>
                <c:pt idx="1">
                  <c:v>1.810706811964677</c:v>
                </c:pt>
              </c:numCache>
            </c:numRef>
          </c:xVal>
          <c:yVal>
            <c:numRef>
              <c:f>Sheet1!$B$167:$B$168</c:f>
              <c:numCache>
                <c:formatCode>General</c:formatCode>
                <c:ptCount val="2"/>
                <c:pt idx="0">
                  <c:v>0.28322862816403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10706811964677</c:v>
                </c:pt>
              </c:numCache>
            </c:numRef>
          </c:xVal>
          <c:yVal>
            <c:numRef>
              <c:f>Sheet1!$B$171:$B$172</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10706811964677</c:v>
                </c:pt>
                <c:pt idx="1">
                  <c:v>1.810706811964677</c:v>
                </c:pt>
              </c:numCache>
            </c:numRef>
          </c:xVal>
          <c:yVal>
            <c:numRef>
              <c:f>Sheet1!$B$175:$B$176</c:f>
              <c:numCache>
                <c:formatCode>General</c:formatCode>
                <c:ptCount val="2"/>
                <c:pt idx="0">
                  <c:v>0.28322862816403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112842969249835</c:v>
                </c:pt>
              </c:numCache>
            </c:numRef>
          </c:xVal>
          <c:yVal>
            <c:numRef>
              <c:f>Sheet1!$B$179:$B$180</c:f>
              <c:numCache>
                <c:formatCode>General</c:formatCode>
                <c:ptCount val="2"/>
                <c:pt idx="0">
                  <c:v>0.24013197868106942</c:v>
                </c:pt>
                <c:pt idx="1">
                  <c:v>0.2401319786810694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112842969249835</c:v>
                </c:pt>
                <c:pt idx="1">
                  <c:v>2.4112842969249835</c:v>
                </c:pt>
              </c:numCache>
            </c:numRef>
          </c:xVal>
          <c:yVal>
            <c:numRef>
              <c:f>Sheet1!$B$183:$B$184</c:f>
              <c:numCache>
                <c:formatCode>General</c:formatCode>
                <c:ptCount val="2"/>
                <c:pt idx="0">
                  <c:v>0.240131978681069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294608009973269</c:v>
                </c:pt>
                <c:pt idx="1">
                  <c:v>2.2838071105887816</c:v>
                </c:pt>
                <c:pt idx="2">
                  <c:v>2.2331143626716576</c:v>
                </c:pt>
                <c:pt idx="3">
                  <c:v>2.1294677712206482</c:v>
                </c:pt>
                <c:pt idx="4">
                  <c:v>2.053861357964793</c:v>
                </c:pt>
                <c:pt idx="5">
                  <c:v>1.9892748627448829</c:v>
                </c:pt>
                <c:pt idx="6">
                  <c:v>1.9900318644991992</c:v>
                </c:pt>
                <c:pt idx="7">
                  <c:v>1.999300107646754</c:v>
                </c:pt>
                <c:pt idx="8">
                  <c:v>2.0930049188566158</c:v>
                </c:pt>
                <c:pt idx="9">
                  <c:v>2.0999599292110402</c:v>
                </c:pt>
                <c:pt idx="10">
                  <c:v>2.0740460514266874</c:v>
                </c:pt>
                <c:pt idx="11">
                  <c:v>2.127326589358277</c:v>
                </c:pt>
                <c:pt idx="12">
                  <c:v>2.1760543523083506</c:v>
                </c:pt>
                <c:pt idx="13">
                  <c:v>2.1259163437717588</c:v>
                </c:pt>
                <c:pt idx="14">
                  <c:v>2.0851000882863846</c:v>
                </c:pt>
                <c:pt idx="15">
                  <c:v>2.2392639720477794</c:v>
                </c:pt>
                <c:pt idx="16">
                  <c:v>2.2564445942749076</c:v>
                </c:pt>
                <c:pt idx="17">
                  <c:v>2.2796238729615452</c:v>
                </c:pt>
                <c:pt idx="18">
                  <c:v>1.8700351205127816</c:v>
                </c:pt>
                <c:pt idx="19">
                  <c:v>2.3019809933411666</c:v>
                </c:pt>
                <c:pt idx="20">
                  <c:v>2.274573437411449</c:v>
                </c:pt>
                <c:pt idx="21">
                  <c:v>2.0463190770079867</c:v>
                </c:pt>
                <c:pt idx="22">
                  <c:v>2.0567000490448786</c:v>
                </c:pt>
                <c:pt idx="23">
                  <c:v>2.221919686336287</c:v>
                </c:pt>
                <c:pt idx="24">
                  <c:v>2.0410877863689345</c:v>
                </c:pt>
                <c:pt idx="25">
                  <c:v>1.9678898225924149</c:v>
                </c:pt>
                <c:pt idx="26">
                  <c:v>1.9466704848337997</c:v>
                </c:pt>
                <c:pt idx="27">
                  <c:v>1.953435337221831</c:v>
                </c:pt>
                <c:pt idx="28">
                  <c:v>2.0071514306656595</c:v>
                </c:pt>
                <c:pt idx="29">
                  <c:v>2.1003839985358073</c:v>
                </c:pt>
                <c:pt idx="30">
                  <c:v>1.79830735317018</c:v>
                </c:pt>
                <c:pt idx="31">
                  <c:v>1.5468700155271924</c:v>
                </c:pt>
                <c:pt idx="32">
                  <c:v>1.8366392196852197</c:v>
                </c:pt>
                <c:pt idx="33">
                  <c:v>1.9892709567237337</c:v>
                </c:pt>
                <c:pt idx="34">
                  <c:v>2.0457893752750564</c:v>
                </c:pt>
                <c:pt idx="35">
                  <c:v>1.9598346558587256</c:v>
                </c:pt>
                <c:pt idx="36">
                  <c:v>2.026576709828765</c:v>
                </c:pt>
                <c:pt idx="37">
                  <c:v>2.2204083276984616</c:v>
                </c:pt>
                <c:pt idx="38">
                  <c:v>2.1285390894747676</c:v>
                </c:pt>
                <c:pt idx="39">
                  <c:v>2.066396751410451</c:v>
                </c:pt>
                <c:pt idx="40">
                  <c:v>2.0405443961329306</c:v>
                </c:pt>
                <c:pt idx="41">
                  <c:v>2.115166488249921</c:v>
                </c:pt>
                <c:pt idx="42">
                  <c:v>1.9681312960799393</c:v>
                </c:pt>
                <c:pt idx="43">
                  <c:v>2.056897025358212</c:v>
                </c:pt>
                <c:pt idx="44">
                  <c:v>2.044348582330936</c:v>
                </c:pt>
                <c:pt idx="45">
                  <c:v>1.9844322676041768</c:v>
                </c:pt>
                <c:pt idx="46">
                  <c:v>2.067044570805595</c:v>
                </c:pt>
                <c:pt idx="47">
                  <c:v>2.135692346296758</c:v>
                </c:pt>
                <c:pt idx="48">
                  <c:v>1.9976104455538906</c:v>
                </c:pt>
                <c:pt idx="49">
                  <c:v>2.1197442691126835</c:v>
                </c:pt>
                <c:pt idx="50">
                  <c:v>1.923124449975829</c:v>
                </c:pt>
                <c:pt idx="51">
                  <c:v>1.924235997290571</c:v>
                </c:pt>
                <c:pt idx="52">
                  <c:v>1.810706811964677</c:v>
                </c:pt>
                <c:pt idx="53">
                  <c:v>1.810706811964677</c:v>
                </c:pt>
                <c:pt idx="54">
                  <c:v>2.4112842969249835</c:v>
                </c:pt>
              </c:numCache>
            </c:numRef>
          </c:xVal>
          <c:yVal>
            <c:numRef>
              <c:f>Sheet1!$B$187:$B$241</c:f>
              <c:numCache>
                <c:formatCode>General</c:formatCode>
                <c:ptCount val="55"/>
                <c:pt idx="0">
                  <c:v>0.24850451539390297</c:v>
                </c:pt>
                <c:pt idx="1">
                  <c:v>0.24927957371115697</c:v>
                </c:pt>
                <c:pt idx="2">
                  <c:v>0.2529172185497023</c:v>
                </c:pt>
                <c:pt idx="3">
                  <c:v>0.260354761470851</c:v>
                </c:pt>
                <c:pt idx="4">
                  <c:v>0.2657801781278987</c:v>
                </c:pt>
                <c:pt idx="5">
                  <c:v>0.2704148199776666</c:v>
                </c:pt>
                <c:pt idx="6">
                  <c:v>0.27036049852859345</c:v>
                </c:pt>
                <c:pt idx="7">
                  <c:v>0.2696954216047067</c:v>
                </c:pt>
                <c:pt idx="8">
                  <c:v>0.26297128774237033</c:v>
                </c:pt>
                <c:pt idx="9">
                  <c:v>0.2624722053576639</c:v>
                </c:pt>
                <c:pt idx="10">
                  <c:v>0.2643317511041887</c:v>
                </c:pt>
                <c:pt idx="11">
                  <c:v>0.2605084098617959</c:v>
                </c:pt>
                <c:pt idx="12">
                  <c:v>0.2570117697570025</c:v>
                </c:pt>
                <c:pt idx="13">
                  <c:v>0.26060960722807924</c:v>
                </c:pt>
                <c:pt idx="14">
                  <c:v>0.26353852797504396</c:v>
                </c:pt>
                <c:pt idx="15">
                  <c:v>0.2524759306786504</c:v>
                </c:pt>
                <c:pt idx="16">
                  <c:v>0.2512430718509995</c:v>
                </c:pt>
                <c:pt idx="17">
                  <c:v>0.24957975733481855</c:v>
                </c:pt>
                <c:pt idx="18">
                  <c:v>0.2789713068658741</c:v>
                </c:pt>
                <c:pt idx="19">
                  <c:v>0.2479754398161347</c:v>
                </c:pt>
                <c:pt idx="20">
                  <c:v>0.24994216993950213</c:v>
                </c:pt>
                <c:pt idx="21">
                  <c:v>0.2663214022777167</c:v>
                </c:pt>
                <c:pt idx="22">
                  <c:v>0.2655764773939677</c:v>
                </c:pt>
                <c:pt idx="23">
                  <c:v>0.2537205337824279</c:v>
                </c:pt>
                <c:pt idx="24">
                  <c:v>0.2666967928054346</c:v>
                </c:pt>
                <c:pt idx="25">
                  <c:v>0.2719493822992809</c:v>
                </c:pt>
                <c:pt idx="26">
                  <c:v>0.2734720540353085</c:v>
                </c:pt>
                <c:pt idx="27">
                  <c:v>0.27298661713587125</c:v>
                </c:pt>
                <c:pt idx="28">
                  <c:v>0.2691320210034577</c:v>
                </c:pt>
                <c:pt idx="29">
                  <c:v>0.26244177470133123</c:v>
                </c:pt>
                <c:pt idx="30">
                  <c:v>0.28411839699957064</c:v>
                </c:pt>
                <c:pt idx="31">
                  <c:v>0.3021612092572511</c:v>
                </c:pt>
                <c:pt idx="32">
                  <c:v>0.28136775273368464</c:v>
                </c:pt>
                <c:pt idx="33">
                  <c:v>0.2704151002686008</c:v>
                </c:pt>
                <c:pt idx="34">
                  <c:v>0.2663594129765629</c:v>
                </c:pt>
                <c:pt idx="35">
                  <c:v>0.27252741045708234</c:v>
                </c:pt>
                <c:pt idx="36">
                  <c:v>0.2677380885498354</c:v>
                </c:pt>
                <c:pt idx="37">
                  <c:v>0.2538289868881279</c:v>
                </c:pt>
                <c:pt idx="38">
                  <c:v>0.2604214024500513</c:v>
                </c:pt>
                <c:pt idx="39">
                  <c:v>0.26488065480078926</c:v>
                </c:pt>
                <c:pt idx="40">
                  <c:v>0.2667357857732364</c:v>
                </c:pt>
                <c:pt idx="41">
                  <c:v>0.2613810027049639</c:v>
                </c:pt>
                <c:pt idx="42">
                  <c:v>0.2719320544797874</c:v>
                </c:pt>
                <c:pt idx="43">
                  <c:v>0.2655623426331004</c:v>
                </c:pt>
                <c:pt idx="44">
                  <c:v>0.26646280238100317</c:v>
                </c:pt>
                <c:pt idx="45">
                  <c:v>0.2707623182282557</c:v>
                </c:pt>
                <c:pt idx="46">
                  <c:v>0.2648341681340395</c:v>
                </c:pt>
                <c:pt idx="47">
                  <c:v>0.2599080941598824</c:v>
                </c:pt>
                <c:pt idx="48">
                  <c:v>0.26981666953155103</c:v>
                </c:pt>
                <c:pt idx="49">
                  <c:v>0.2610525071782537</c:v>
                </c:pt>
                <c:pt idx="50">
                  <c:v>0.2751616864914013</c:v>
                </c:pt>
                <c:pt idx="51">
                  <c:v>0.2750819233197761</c:v>
                </c:pt>
                <c:pt idx="52">
                  <c:v>0.2832286281640303</c:v>
                </c:pt>
                <c:pt idx="53">
                  <c:v>0.2832286281640303</c:v>
                </c:pt>
                <c:pt idx="54">
                  <c:v>0.240131978681069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32460732984295"/>
          <c:min val="0.13353627600202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25660764690787786</c:v>
                </c:pt>
                <c:pt idx="3">
                  <c:v>0.00027329871549603714</c:v>
                </c:pt>
                <c:pt idx="4">
                  <c:v>0.00025484199796126404</c:v>
                </c:pt>
                <c:pt idx="5">
                  <c:v>0.00019496977968414895</c:v>
                </c:pt>
                <c:pt idx="6">
                  <c:v>0.00017421602787456446</c:v>
                </c:pt>
                <c:pt idx="7">
                  <c:v>9.868745682423764e-05</c:v>
                </c:pt>
                <c:pt idx="8">
                  <c:v>0.0003387916431394692</c:v>
                </c:pt>
                <c:pt idx="9">
                  <c:v>0.00047266425082716245</c:v>
                </c:pt>
                <c:pt idx="10">
                  <c:v>0.0003390405153415833</c:v>
                </c:pt>
                <c:pt idx="11">
                  <c:v>0.0004418912947414936</c:v>
                </c:pt>
                <c:pt idx="12">
                  <c:v>0.0006092916984006092</c:v>
                </c:pt>
                <c:pt idx="13">
                  <c:v>0.0004977600796416127</c:v>
                </c:pt>
                <c:pt idx="14">
                  <c:v>0.0005326704545454545</c:v>
                </c:pt>
                <c:pt idx="15">
                  <c:v>0.0003884249368809478</c:v>
                </c:pt>
                <c:pt idx="16">
                  <c:v>0.000664599025254763</c:v>
                </c:pt>
                <c:pt idx="17">
                  <c:v>0.0012987012987012987</c:v>
                </c:pt>
                <c:pt idx="18">
                  <c:v>0.00030525030525030525</c:v>
                </c:pt>
                <c:pt idx="19">
                  <c:v>0.000984251968503937</c:v>
                </c:pt>
                <c:pt idx="20">
                  <c:v>0.0007017543859649122</c:v>
                </c:pt>
                <c:pt idx="21">
                  <c:v>0.001162340178225494</c:v>
                </c:pt>
                <c:pt idx="22">
                  <c:v>0.0007410151908114116</c:v>
                </c:pt>
                <c:pt idx="23">
                  <c:v>0.0005136106831022085</c:v>
                </c:pt>
                <c:pt idx="24">
                  <c:v>0.0012135922330097086</c:v>
                </c:pt>
                <c:pt idx="25">
                  <c:v>0.0011198208286674132</c:v>
                </c:pt>
                <c:pt idx="26">
                  <c:v>0.001352265043948614</c:v>
                </c:pt>
                <c:pt idx="27">
                  <c:v>0.001375515818431912</c:v>
                </c:pt>
                <c:pt idx="28">
                  <c:v>0.0007407407407407407</c:v>
                </c:pt>
                <c:pt idx="29">
                  <c:v>0.0017605633802816902</c:v>
                </c:pt>
                <c:pt idx="30">
                  <c:v>0.0029218407596785976</c:v>
                </c:pt>
                <c:pt idx="31">
                  <c:v>0.0017467248908296944</c:v>
                </c:pt>
                <c:pt idx="32">
                  <c:v>0.0</c:v>
                </c:pt>
                <c:pt idx="33">
                  <c:v>0.001463057790782736</c:v>
                </c:pt>
                <c:pt idx="34">
                  <c:v>0.0024509803921568627</c:v>
                </c:pt>
                <c:pt idx="35">
                  <c:v>0.0025823111684958036</c:v>
                </c:pt>
                <c:pt idx="36">
                  <c:v>0.0031720856463124504</c:v>
                </c:pt>
                <c:pt idx="37">
                  <c:v>0.005649717514124294</c:v>
                </c:pt>
                <c:pt idx="38">
                  <c:v>0.00267379679144385</c:v>
                </c:pt>
                <c:pt idx="39">
                  <c:v>0.003117692907248636</c:v>
                </c:pt>
                <c:pt idx="40">
                  <c:v>0.002168021680216802</c:v>
                </c:pt>
                <c:pt idx="41">
                  <c:v>0.0011280315848843769</c:v>
                </c:pt>
                <c:pt idx="42">
                  <c:v>0.0031847133757961785</c:v>
                </c:pt>
                <c:pt idx="43">
                  <c:v>0.0031717263253285004</c:v>
                </c:pt>
                <c:pt idx="44">
                  <c:v>0.005729017473503294</c:v>
                </c:pt>
                <c:pt idx="45">
                  <c:v>0.008791832104367556</c:v>
                </c:pt>
                <c:pt idx="46">
                  <c:v>0.007398273736128237</c:v>
                </c:pt>
                <c:pt idx="47">
                  <c:v>0.0051313628899835794</c:v>
                </c:pt>
                <c:pt idx="48">
                  <c:v>0.002486016159105034</c:v>
                </c:pt>
                <c:pt idx="49">
                  <c:v>0.0034393809114359416</c:v>
                </c:pt>
                <c:pt idx="50">
                  <c:v>0.0038642009384487995</c:v>
                </c:pt>
                <c:pt idx="51">
                  <c:v>0.002376990729736154</c:v>
                </c:pt>
                <c:pt idx="52">
                  <c:v>0.00220696419813634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18244475978106628</c:v>
                </c:pt>
                <c:pt idx="1">
                  <c:v>0.0027088976870181286</c:v>
                </c:pt>
                <c:pt idx="2">
                  <c:v>0.0020700037636432068</c:v>
                </c:pt>
                <c:pt idx="3">
                  <c:v>0.002414209346439041</c:v>
                </c:pt>
                <c:pt idx="4">
                  <c:v>0.0024752475247524753</c:v>
                </c:pt>
                <c:pt idx="5">
                  <c:v>0.0021916716477385933</c:v>
                </c:pt>
                <c:pt idx="6">
                  <c:v>0.001764234161988773</c:v>
                </c:pt>
                <c:pt idx="7">
                  <c:v>0.0024489795918367346</c:v>
                </c:pt>
                <c:pt idx="8">
                  <c:v>0.002201565557729941</c:v>
                </c:pt>
                <c:pt idx="9">
                  <c:v>0.0027913468248429866</c:v>
                </c:pt>
                <c:pt idx="10">
                  <c:v>0.002651880424300868</c:v>
                </c:pt>
                <c:pt idx="11">
                  <c:v>0.002297225658243506</c:v>
                </c:pt>
                <c:pt idx="12">
                  <c:v>0.003094606542882405</c:v>
                </c:pt>
                <c:pt idx="13">
                  <c:v>0.0038918918918918917</c:v>
                </c:pt>
                <c:pt idx="14">
                  <c:v>0.005332040717401842</c:v>
                </c:pt>
                <c:pt idx="15">
                  <c:v>0.0042294475284166</c:v>
                </c:pt>
                <c:pt idx="16">
                  <c:v>0.0044444444444444444</c:v>
                </c:pt>
                <c:pt idx="17">
                  <c:v>0.0051660516605166054</c:v>
                </c:pt>
                <c:pt idx="18">
                  <c:v>0.004235044997353097</c:v>
                </c:pt>
                <c:pt idx="19">
                  <c:v>0.0024342745861733205</c:v>
                </c:pt>
                <c:pt idx="20">
                  <c:v>0.0039273441335297005</c:v>
                </c:pt>
                <c:pt idx="21">
                  <c:v>0.004310344827586207</c:v>
                </c:pt>
                <c:pt idx="22">
                  <c:v>0.002798507462686567</c:v>
                </c:pt>
                <c:pt idx="23">
                  <c:v>0.002206287920573635</c:v>
                </c:pt>
                <c:pt idx="24">
                  <c:v>0.0035460992907801418</c:v>
                </c:pt>
                <c:pt idx="25">
                  <c:v>0.003963011889035667</c:v>
                </c:pt>
                <c:pt idx="26">
                  <c:v>0.0029940119760479044</c:v>
                </c:pt>
                <c:pt idx="27">
                  <c:v>0.0031665611146295125</c:v>
                </c:pt>
                <c:pt idx="28">
                  <c:v>0.0028636884306987398</c:v>
                </c:pt>
                <c:pt idx="29">
                  <c:v>0.0026954177897574125</c:v>
                </c:pt>
                <c:pt idx="30">
                  <c:v>0.004922067268252666</c:v>
                </c:pt>
                <c:pt idx="31">
                  <c:v>0.0041279669762641896</c:v>
                </c:pt>
                <c:pt idx="32">
                  <c:v>0.0032733224222585926</c:v>
                </c:pt>
                <c:pt idx="33">
                  <c:v>0.0036023054755043226</c:v>
                </c:pt>
                <c:pt idx="34">
                  <c:v>0.0036652412950519244</c:v>
                </c:pt>
                <c:pt idx="35">
                  <c:v>0.004559270516717325</c:v>
                </c:pt>
                <c:pt idx="36">
                  <c:v>0.006002400960384154</c:v>
                </c:pt>
                <c:pt idx="37">
                  <c:v>0.007231404958677686</c:v>
                </c:pt>
                <c:pt idx="38">
                  <c:v>0.005649717514124294</c:v>
                </c:pt>
                <c:pt idx="39">
                  <c:v>0.003912363067292645</c:v>
                </c:pt>
                <c:pt idx="40">
                  <c:v>0.0027593818984547464</c:v>
                </c:pt>
                <c:pt idx="41">
                  <c:v>0.003132832080200501</c:v>
                </c:pt>
                <c:pt idx="42">
                  <c:v>0.003671071953010279</c:v>
                </c:pt>
                <c:pt idx="43">
                  <c:v>0.0026929982046678637</c:v>
                </c:pt>
                <c:pt idx="44">
                  <c:v>0.002976190476190476</c:v>
                </c:pt>
                <c:pt idx="45">
                  <c:v>0.002688172043010753</c:v>
                </c:pt>
                <c:pt idx="46">
                  <c:v>0.0027063599458728013</c:v>
                </c:pt>
                <c:pt idx="47">
                  <c:v>0.0026455026455026454</c:v>
                </c:pt>
                <c:pt idx="48">
                  <c:v>0.002089427496865859</c:v>
                </c:pt>
                <c:pt idx="49">
                  <c:v>0.002346958732642284</c:v>
                </c:pt>
                <c:pt idx="50">
                  <c:v>0.002246925260170293</c:v>
                </c:pt>
                <c:pt idx="51">
                  <c:v>0.00270880361173814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720.0243394684185</c:v>
                </c:pt>
              </c:numCache>
            </c:numRef>
          </c:xVal>
          <c:yVal>
            <c:numRef>
              <c:f>Sheet1!$B$111:$B$112</c:f>
              <c:numCache>
                <c:formatCode>General</c:formatCode>
                <c:ptCount val="2"/>
                <c:pt idx="0">
                  <c:v>0.004138637552957137</c:v>
                </c:pt>
                <c:pt idx="1">
                  <c:v>0.00413863755295713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720.0243394684185</c:v>
                </c:pt>
                <c:pt idx="1">
                  <c:v>2720.0243394684185</c:v>
                </c:pt>
              </c:numCache>
            </c:numRef>
          </c:xVal>
          <c:yVal>
            <c:numRef>
              <c:f>Sheet1!$B$115:$B$116</c:f>
              <c:numCache>
                <c:formatCode>General</c:formatCode>
                <c:ptCount val="2"/>
                <c:pt idx="0">
                  <c:v>0.0041386375529571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170.7785796390035</c:v>
                </c:pt>
              </c:numCache>
            </c:numRef>
          </c:xVal>
          <c:yVal>
            <c:numRef>
              <c:f>Sheet1!$B$119:$B$120</c:f>
              <c:numCache>
                <c:formatCode>General</c:formatCode>
                <c:ptCount val="2"/>
                <c:pt idx="0">
                  <c:v>0.0038944358664697054</c:v>
                </c:pt>
                <c:pt idx="1">
                  <c:v>0.0038944358664697054</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170.7785796390035</c:v>
                </c:pt>
                <c:pt idx="1">
                  <c:v>3170.7785796390035</c:v>
                </c:pt>
              </c:numCache>
            </c:numRef>
          </c:xVal>
          <c:yVal>
            <c:numRef>
              <c:f>Sheet1!$B$123:$B$124</c:f>
              <c:numCache>
                <c:formatCode>General</c:formatCode>
                <c:ptCount val="2"/>
                <c:pt idx="0">
                  <c:v>0.00389443586646970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165.788763270263</c:v>
                </c:pt>
              </c:numCache>
            </c:numRef>
          </c:xVal>
          <c:yVal>
            <c:numRef>
              <c:f>Sheet1!$B$127:$B$128</c:f>
              <c:numCache>
                <c:formatCode>General</c:formatCode>
                <c:ptCount val="2"/>
                <c:pt idx="0">
                  <c:v>0.0028136144165860997</c:v>
                </c:pt>
                <c:pt idx="1">
                  <c:v>0.0028136144165860997</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165.788763270263</c:v>
                </c:pt>
                <c:pt idx="1">
                  <c:v>5165.788763270263</c:v>
                </c:pt>
              </c:numCache>
            </c:numRef>
          </c:xVal>
          <c:yVal>
            <c:numRef>
              <c:f>Sheet1!$B$131:$B$132</c:f>
              <c:numCache>
                <c:formatCode>General</c:formatCode>
                <c:ptCount val="2"/>
                <c:pt idx="0">
                  <c:v>0.00281361441658609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170.7785796390035</c:v>
                </c:pt>
                <c:pt idx="53">
                  <c:v>2720.0243394684185</c:v>
                </c:pt>
                <c:pt idx="54">
                  <c:v>5165.788763270263</c:v>
                </c:pt>
              </c:numCache>
            </c:numRef>
          </c:xVal>
          <c:yVal>
            <c:numRef>
              <c:f>Sheet1!$B$135:$B$189</c:f>
              <c:numCache>
                <c:formatCode>General</c:formatCode>
                <c:ptCount val="55"/>
                <c:pt idx="0">
                  <c:v>0.0032041106469159037</c:v>
                </c:pt>
                <c:pt idx="1">
                  <c:v>0.003965328441549805</c:v>
                </c:pt>
                <c:pt idx="2">
                  <c:v>0.002929831147923819</c:v>
                </c:pt>
                <c:pt idx="3">
                  <c:v>0.0038504718389252386</c:v>
                </c:pt>
                <c:pt idx="4">
                  <c:v>0.0032810825653115596</c:v>
                </c:pt>
                <c:pt idx="5">
                  <c:v>0.003097826729542193</c:v>
                </c:pt>
                <c:pt idx="6">
                  <c:v>0.003065123948228272</c:v>
                </c:pt>
                <c:pt idx="7">
                  <c:v>0.003351530201986096</c:v>
                </c:pt>
                <c:pt idx="8">
                  <c:v>0.0032768271844057094</c:v>
                </c:pt>
                <c:pt idx="9">
                  <c:v>0.0033888516158765065</c:v>
                </c:pt>
                <c:pt idx="10">
                  <c:v>0.003350879003614569</c:v>
                </c:pt>
                <c:pt idx="11">
                  <c:v>0.003387559729323476</c:v>
                </c:pt>
                <c:pt idx="12">
                  <c:v>0.0035973914473857397</c:v>
                </c:pt>
                <c:pt idx="13">
                  <c:v>0.0036209064806275114</c:v>
                </c:pt>
                <c:pt idx="14">
                  <c:v>0.0037039356815793487</c:v>
                </c:pt>
                <c:pt idx="15">
                  <c:v>0.0035942811354300217</c:v>
                </c:pt>
                <c:pt idx="16">
                  <c:v>0.00346775545889185</c:v>
                </c:pt>
                <c:pt idx="17">
                  <c:v>0.003690226276395355</c:v>
                </c:pt>
                <c:pt idx="18">
                  <c:v>0.003592351106978637</c:v>
                </c:pt>
                <c:pt idx="19">
                  <c:v>0.002482808224411074</c:v>
                </c:pt>
                <c:pt idx="20">
                  <c:v>0.003454404862927043</c:v>
                </c:pt>
                <c:pt idx="21">
                  <c:v>0.0033526739165302974</c:v>
                </c:pt>
                <c:pt idx="22">
                  <c:v>0.0033617634972605824</c:v>
                </c:pt>
                <c:pt idx="23">
                  <c:v>0.002913996896539355</c:v>
                </c:pt>
                <c:pt idx="24">
                  <c:v>0.0035893036936343456</c:v>
                </c:pt>
                <c:pt idx="25">
                  <c:v>0.0035934572232141997</c:v>
                </c:pt>
                <c:pt idx="26">
                  <c:v>0.0032322822902764647</c:v>
                </c:pt>
                <c:pt idx="27">
                  <c:v>0.0030510086004987</c:v>
                </c:pt>
                <c:pt idx="28">
                  <c:v>0.0034250413423473815</c:v>
                </c:pt>
                <c:pt idx="29">
                  <c:v>0.0029851032079061565</c:v>
                </c:pt>
                <c:pt idx="30">
                  <c:v>0.0040400499874033245</c:v>
                </c:pt>
                <c:pt idx="31">
                  <c:v>0.00338763265053879</c:v>
                </c:pt>
                <c:pt idx="32">
                  <c:v>0.002875260886918584</c:v>
                </c:pt>
                <c:pt idx="33">
                  <c:v>0.003009076192881249</c:v>
                </c:pt>
                <c:pt idx="34">
                  <c:v>0.002802303536054282</c:v>
                </c:pt>
                <c:pt idx="35">
                  <c:v>0.0030909726228888056</c:v>
                </c:pt>
                <c:pt idx="36">
                  <c:v>0.00303605595902271</c:v>
                </c:pt>
                <c:pt idx="37">
                  <c:v>0.0034994485576724816</c:v>
                </c:pt>
                <c:pt idx="38">
                  <c:v>0.0033506031923908213</c:v>
                </c:pt>
                <c:pt idx="39">
                  <c:v>0.00343262601555984</c:v>
                </c:pt>
                <c:pt idx="40">
                  <c:v>0.0027519557709788965</c:v>
                </c:pt>
                <c:pt idx="41">
                  <c:v>0.0027519557709788965</c:v>
                </c:pt>
                <c:pt idx="42">
                  <c:v>0.0032638128603454004</c:v>
                </c:pt>
                <c:pt idx="43">
                  <c:v>0.0032224402557872664</c:v>
                </c:pt>
                <c:pt idx="44">
                  <c:v>0.0034114701949208032</c:v>
                </c:pt>
                <c:pt idx="45">
                  <c:v>0.0036065317370740737</c:v>
                </c:pt>
                <c:pt idx="46">
                  <c:v>0.0033009506709678325</c:v>
                </c:pt>
                <c:pt idx="47">
                  <c:v>0.0033287761823487193</c:v>
                </c:pt>
                <c:pt idx="48">
                  <c:v>0.0031977720271597772</c:v>
                </c:pt>
                <c:pt idx="49">
                  <c:v>0.0034485357886190056</c:v>
                </c:pt>
                <c:pt idx="50">
                  <c:v>0.003575132327675476</c:v>
                </c:pt>
                <c:pt idx="51">
                  <c:v>0.0035079942089809592</c:v>
                </c:pt>
                <c:pt idx="52">
                  <c:v>0.0038944358664697054</c:v>
                </c:pt>
                <c:pt idx="53">
                  <c:v>0.004138637552957137</c:v>
                </c:pt>
                <c:pt idx="54">
                  <c:v>0.00281361441658609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5501985252410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7.2862</c:v>
                </c:pt>
                <c:pt idx="1">
                  <c:v>928.4151</c:v>
                </c:pt>
                <c:pt idx="2">
                  <c:v>985.2416</c:v>
                </c:pt>
                <c:pt idx="3">
                  <c:v>1007.3815</c:v>
                </c:pt>
                <c:pt idx="4">
                  <c:v>1005.0099</c:v>
                </c:pt>
                <c:pt idx="5">
                  <c:v>987.7783</c:v>
                </c:pt>
                <c:pt idx="6">
                  <c:v>945.6714</c:v>
                </c:pt>
                <c:pt idx="7">
                  <c:v>977.4522</c:v>
                </c:pt>
                <c:pt idx="8">
                  <c:v>968.9965</c:v>
                </c:pt>
                <c:pt idx="9">
                  <c:v>975.0697</c:v>
                </c:pt>
                <c:pt idx="10">
                  <c:v>1024.6811</c:v>
                </c:pt>
                <c:pt idx="11">
                  <c:v>1046.9258</c:v>
                </c:pt>
                <c:pt idx="12">
                  <c:v>1058.055</c:v>
                </c:pt>
                <c:pt idx="13">
                  <c:v>1015.7498</c:v>
                </c:pt>
                <c:pt idx="14">
                  <c:v>1024.5644</c:v>
                </c:pt>
                <c:pt idx="15">
                  <c:v>1014.6124</c:v>
                </c:pt>
                <c:pt idx="16">
                  <c:v>1016.982</c:v>
                </c:pt>
                <c:pt idx="17">
                  <c:v>1019.4644</c:v>
                </c:pt>
                <c:pt idx="18">
                  <c:v>1084.9452</c:v>
                </c:pt>
                <c:pt idx="19">
                  <c:v>1124.3746</c:v>
                </c:pt>
                <c:pt idx="20">
                  <c:v>1099.7816</c:v>
                </c:pt>
                <c:pt idx="21">
                  <c:v>1102.391</c:v>
                </c:pt>
                <c:pt idx="22">
                  <c:v>1088.6593</c:v>
                </c:pt>
                <c:pt idx="23">
                  <c:v>1093.1415</c:v>
                </c:pt>
                <c:pt idx="24">
                  <c:v>997.9825</c:v>
                </c:pt>
                <c:pt idx="25">
                  <c:v>984.2205</c:v>
                </c:pt>
                <c:pt idx="26">
                  <c:v>975.9262</c:v>
                </c:pt>
                <c:pt idx="27">
                  <c:v>991.8172</c:v>
                </c:pt>
                <c:pt idx="28">
                  <c:v>985.596</c:v>
                </c:pt>
                <c:pt idx="29">
                  <c:v>923.0556</c:v>
                </c:pt>
                <c:pt idx="30">
                  <c:v>957.9103</c:v>
                </c:pt>
                <c:pt idx="31">
                  <c:v>937.8182</c:v>
                </c:pt>
                <c:pt idx="32">
                  <c:v>914.2693</c:v>
                </c:pt>
                <c:pt idx="33">
                  <c:v>831.2955</c:v>
                </c:pt>
                <c:pt idx="34">
                  <c:v>960.3679</c:v>
                </c:pt>
                <c:pt idx="35">
                  <c:v>977.8863</c:v>
                </c:pt>
                <c:pt idx="36">
                  <c:v>1124.9341</c:v>
                </c:pt>
                <c:pt idx="37">
                  <c:v>1061.965</c:v>
                </c:pt>
                <c:pt idx="38">
                  <c:v>1126.1331</c:v>
                </c:pt>
                <c:pt idx="39">
                  <c:v>1144.5471</c:v>
                </c:pt>
                <c:pt idx="40">
                  <c:v>1193.2195</c:v>
                </c:pt>
                <c:pt idx="41">
                  <c:v>1187.163</c:v>
                </c:pt>
                <c:pt idx="42">
                  <c:v>1261.3607</c:v>
                </c:pt>
                <c:pt idx="43">
                  <c:v>1274.5746</c:v>
                </c:pt>
                <c:pt idx="44">
                  <c:v>1142.5098</c:v>
                </c:pt>
                <c:pt idx="45">
                  <c:v>1105.9712</c:v>
                </c:pt>
                <c:pt idx="46">
                  <c:v>1125.3184</c:v>
                </c:pt>
                <c:pt idx="47">
                  <c:v>1117.6389</c:v>
                </c:pt>
                <c:pt idx="48">
                  <c:v>1124.7076</c:v>
                </c:pt>
                <c:pt idx="49">
                  <c:v>1103.9072</c:v>
                </c:pt>
                <c:pt idx="50">
                  <c:v>1098.4241</c:v>
                </c:pt>
                <c:pt idx="51">
                  <c:v>1127.6471</c:v>
                </c:pt>
                <c:pt idx="52">
                  <c:v>1099.7383</c:v>
                </c:pt>
                <c:pt idx="53">
                  <c:v>1183.0592</c:v>
                </c:pt>
                <c:pt idx="54">
                  <c:v>1200.7989</c:v>
                </c:pt>
                <c:pt idx="55">
                  <c:v>1185.4165</c:v>
                </c:pt>
                <c:pt idx="56">
                  <c:v>1217.3388</c:v>
                </c:pt>
                <c:pt idx="57">
                  <c:v>1191.485</c:v>
                </c:pt>
                <c:pt idx="58">
                  <c:v>1157.0569</c:v>
                </c:pt>
                <c:pt idx="59">
                  <c:v>1146.7558</c:v>
                </c:pt>
                <c:pt idx="60">
                  <c:v>1190.1438</c:v>
                </c:pt>
                <c:pt idx="61">
                  <c:v>1198.1658</c:v>
                </c:pt>
                <c:pt idx="62">
                  <c:v>1146.2119</c:v>
                </c:pt>
                <c:pt idx="63">
                  <c:v>1176.6534</c:v>
                </c:pt>
                <c:pt idx="64">
                  <c:v>1205.9579</c:v>
                </c:pt>
                <c:pt idx="65">
                  <c:v>1188.146</c:v>
                </c:pt>
                <c:pt idx="66">
                  <c:v>1186.6005</c:v>
                </c:pt>
                <c:pt idx="67">
                  <c:v>1221.7013</c:v>
                </c:pt>
                <c:pt idx="68">
                  <c:v>1220.4673</c:v>
                </c:pt>
                <c:pt idx="69">
                  <c:v>1262.9332</c:v>
                </c:pt>
                <c:pt idx="70">
                  <c:v>1179.8944</c:v>
                </c:pt>
                <c:pt idx="71">
                  <c:v>1250.7966</c:v>
                </c:pt>
                <c:pt idx="72">
                  <c:v>1373.724</c:v>
                </c:pt>
                <c:pt idx="73">
                  <c:v>1265.8156</c:v>
                </c:pt>
                <c:pt idx="74">
                  <c:v>1267.1599</c:v>
                </c:pt>
                <c:pt idx="75">
                  <c:v>1177.5733</c:v>
                </c:pt>
                <c:pt idx="76">
                  <c:v>1167.3899</c:v>
                </c:pt>
                <c:pt idx="77">
                  <c:v>1088.7758</c:v>
                </c:pt>
                <c:pt idx="78">
                  <c:v>1171.0067</c:v>
                </c:pt>
                <c:pt idx="79">
                  <c:v>1225.9371</c:v>
                </c:pt>
                <c:pt idx="80">
                  <c:v>1269.2088</c:v>
                </c:pt>
                <c:pt idx="81">
                  <c:v>1273.9729</c:v>
                </c:pt>
                <c:pt idx="82">
                  <c:v>1259.5642</c:v>
                </c:pt>
                <c:pt idx="83">
                  <c:v>1177.6875</c:v>
                </c:pt>
                <c:pt idx="84">
                  <c:v>1233.4711</c:v>
                </c:pt>
                <c:pt idx="85">
                  <c:v>1233.4359</c:v>
                </c:pt>
                <c:pt idx="86">
                  <c:v>1245.9019</c:v>
                </c:pt>
                <c:pt idx="87">
                  <c:v>1270.812</c:v>
                </c:pt>
                <c:pt idx="88">
                  <c:v>1228.2486</c:v>
                </c:pt>
                <c:pt idx="89">
                  <c:v>1192.775</c:v>
                </c:pt>
                <c:pt idx="90">
                  <c:v>1315.302</c:v>
                </c:pt>
                <c:pt idx="91">
                  <c:v>1348.2907</c:v>
                </c:pt>
                <c:pt idx="92">
                  <c:v>1284.2744</c:v>
                </c:pt>
                <c:pt idx="93">
                  <c:v>1300.3537</c:v>
                </c:pt>
                <c:pt idx="94">
                  <c:v>1362.3872</c:v>
                </c:pt>
                <c:pt idx="95">
                  <c:v>1293.3979</c:v>
                </c:pt>
                <c:pt idx="96">
                  <c:v>1258.8588</c:v>
                </c:pt>
                <c:pt idx="97">
                  <c:v>1231.9841</c:v>
                </c:pt>
                <c:pt idx="98">
                  <c:v>1219.497</c:v>
                </c:pt>
                <c:pt idx="99">
                  <c:v>1146.0274</c:v>
                </c:pt>
                <c:pt idx="100">
                  <c:v>1140.7066</c:v>
                </c:pt>
                <c:pt idx="101">
                  <c:v>1141.1597</c:v>
                </c:pt>
                <c:pt idx="102">
                  <c:v>1182.8765</c:v>
                </c:pt>
                <c:pt idx="103">
                  <c:v>1153.4877</c:v>
                </c:pt>
                <c:pt idx="104">
                  <c:v>1192.9746</c:v>
                </c:pt>
              </c:numCache>
            </c:numRef>
          </c:xVal>
          <c:yVal>
            <c:numRef>
              <c:f>Sheet1!$B$2:$B$106</c:f>
              <c:numCache>
                <c:formatCode>General</c:formatCode>
                <c:ptCount val="105"/>
                <c:pt idx="0">
                  <c:v>0.20423521176058804</c:v>
                </c:pt>
                <c:pt idx="1">
                  <c:v>0.21780821917808219</c:v>
                </c:pt>
                <c:pt idx="2">
                  <c:v>0.2120978616836833</c:v>
                </c:pt>
                <c:pt idx="3">
                  <c:v>0.22231668437832094</c:v>
                </c:pt>
                <c:pt idx="4">
                  <c:v>0.22634462151394422</c:v>
                </c:pt>
                <c:pt idx="5">
                  <c:v>0.24624624624624625</c:v>
                </c:pt>
                <c:pt idx="6">
                  <c:v>0.29199110122358174</c:v>
                </c:pt>
                <c:pt idx="7">
                  <c:v>0.30643513789581206</c:v>
                </c:pt>
                <c:pt idx="8">
                  <c:v>0.3124087591240876</c:v>
                </c:pt>
                <c:pt idx="9">
                  <c:v>0.2935631564772421</c:v>
                </c:pt>
                <c:pt idx="10">
                  <c:v>0.2884517118037813</c:v>
                </c:pt>
                <c:pt idx="11">
                  <c:v>0.2772397094430993</c:v>
                </c:pt>
                <c:pt idx="12">
                  <c:v>0.26502242152466365</c:v>
                </c:pt>
                <c:pt idx="13">
                  <c:v>0.2606126914660831</c:v>
                </c:pt>
                <c:pt idx="14">
                  <c:v>0.24045801526717558</c:v>
                </c:pt>
                <c:pt idx="15">
                  <c:v>0.23724423724423724</c:v>
                </c:pt>
                <c:pt idx="16">
                  <c:v>0.22664576802507838</c:v>
                </c:pt>
                <c:pt idx="17">
                  <c:v>0.2021932830705963</c:v>
                </c:pt>
                <c:pt idx="18">
                  <c:v>0.18674966651845265</c:v>
                </c:pt>
                <c:pt idx="19">
                  <c:v>0.1903323262839879</c:v>
                </c:pt>
                <c:pt idx="20">
                  <c:v>0.21248066013408973</c:v>
                </c:pt>
                <c:pt idx="21">
                  <c:v>0.2365819209039548</c:v>
                </c:pt>
                <c:pt idx="22">
                  <c:v>0.24726027397260275</c:v>
                </c:pt>
                <c:pt idx="23">
                  <c:v>0.20595854922279794</c:v>
                </c:pt>
                <c:pt idx="24">
                  <c:v>0.20303797468354431</c:v>
                </c:pt>
                <c:pt idx="25">
                  <c:v>0.21934369602763384</c:v>
                </c:pt>
                <c:pt idx="26">
                  <c:v>0.24136069114470843</c:v>
                </c:pt>
                <c:pt idx="27">
                  <c:v>0.22205513784461153</c:v>
                </c:pt>
                <c:pt idx="28">
                  <c:v>0.22422422422422422</c:v>
                </c:pt>
                <c:pt idx="29">
                  <c:v>0.26663840610428147</c:v>
                </c:pt>
                <c:pt idx="30">
                  <c:v>0.27643236857649145</c:v>
                </c:pt>
                <c:pt idx="31">
                  <c:v>0.27220812182741116</c:v>
                </c:pt>
                <c:pt idx="32">
                  <c:v>0.297768479776848</c:v>
                </c:pt>
                <c:pt idx="33">
                  <c:v>0.34146341463414637</c:v>
                </c:pt>
                <c:pt idx="34">
                  <c:v>0.3159173754556501</c:v>
                </c:pt>
                <c:pt idx="35">
                  <c:v>0.3025089605734767</c:v>
                </c:pt>
                <c:pt idx="36">
                  <c:v>0.21143122676579926</c:v>
                </c:pt>
                <c:pt idx="37">
                  <c:v>0.1962962962962963</c:v>
                </c:pt>
                <c:pt idx="38">
                  <c:v>0.17882472137791286</c:v>
                </c:pt>
                <c:pt idx="39">
                  <c:v>0.16692034500253677</c:v>
                </c:pt>
                <c:pt idx="40">
                  <c:v>0.18085106382978725</c:v>
                </c:pt>
                <c:pt idx="41">
                  <c:v>0.16751503933364184</c:v>
                </c:pt>
                <c:pt idx="42">
                  <c:v>0.16870802054523903</c:v>
                </c:pt>
                <c:pt idx="43">
                  <c:v>0.18101992570077677</c:v>
                </c:pt>
                <c:pt idx="44">
                  <c:v>0.2054065559812686</c:v>
                </c:pt>
                <c:pt idx="45">
                  <c:v>0.23213924306820483</c:v>
                </c:pt>
                <c:pt idx="46">
                  <c:v>0.23525977816695856</c:v>
                </c:pt>
                <c:pt idx="47">
                  <c:v>0.23110151187904968</c:v>
                </c:pt>
                <c:pt idx="48">
                  <c:v>0.24622222222222223</c:v>
                </c:pt>
                <c:pt idx="49">
                  <c:v>0.27216120383983394</c:v>
                </c:pt>
                <c:pt idx="50">
                  <c:v>0.2455621301775148</c:v>
                </c:pt>
                <c:pt idx="51">
                  <c:v>0.20506792058516196</c:v>
                </c:pt>
                <c:pt idx="52">
                  <c:v>0.2364198724144597</c:v>
                </c:pt>
                <c:pt idx="53">
                  <c:v>0.2191397302112497</c:v>
                </c:pt>
                <c:pt idx="54">
                  <c:v>0.2190272254512083</c:v>
                </c:pt>
                <c:pt idx="55">
                  <c:v>0.2122886866059818</c:v>
                </c:pt>
                <c:pt idx="56">
                  <c:v>0.2241092241092241</c:v>
                </c:pt>
                <c:pt idx="57">
                  <c:v>0.22434635929153782</c:v>
                </c:pt>
                <c:pt idx="58">
                  <c:v>0.25239536056480083</c:v>
                </c:pt>
                <c:pt idx="59">
                  <c:v>0.24485535341485237</c:v>
                </c:pt>
                <c:pt idx="60">
                  <c:v>0.2617494564308413</c:v>
                </c:pt>
                <c:pt idx="61">
                  <c:v>0.26887131560028754</c:v>
                </c:pt>
                <c:pt idx="62">
                  <c:v>0.2758142758142758</c:v>
                </c:pt>
                <c:pt idx="63">
                  <c:v>0.2922355818218871</c:v>
                </c:pt>
                <c:pt idx="64">
                  <c:v>0.27654023680513745</c:v>
                </c:pt>
                <c:pt idx="65">
                  <c:v>0.2685330347144457</c:v>
                </c:pt>
                <c:pt idx="66">
                  <c:v>0.28955223880597014</c:v>
                </c:pt>
                <c:pt idx="67">
                  <c:v>0.27215878194671017</c:v>
                </c:pt>
                <c:pt idx="68">
                  <c:v>0.25168010752688175</c:v>
                </c:pt>
                <c:pt idx="69">
                  <c:v>0.22532093846834883</c:v>
                </c:pt>
                <c:pt idx="70">
                  <c:v>0.20338208409506398</c:v>
                </c:pt>
                <c:pt idx="71">
                  <c:v>0.21074380165289255</c:v>
                </c:pt>
                <c:pt idx="72">
                  <c:v>0.2015617374328941</c:v>
                </c:pt>
                <c:pt idx="73">
                  <c:v>0.22982635342185903</c:v>
                </c:pt>
                <c:pt idx="74">
                  <c:v>0.21813953488372093</c:v>
                </c:pt>
                <c:pt idx="75">
                  <c:v>0.2516778523489933</c:v>
                </c:pt>
                <c:pt idx="76">
                  <c:v>0.23624401913875598</c:v>
                </c:pt>
                <c:pt idx="77">
                  <c:v>0.24174454828660435</c:v>
                </c:pt>
                <c:pt idx="78">
                  <c:v>0.20766550522648083</c:v>
                </c:pt>
                <c:pt idx="79">
                  <c:v>0.18251435864709636</c:v>
                </c:pt>
                <c:pt idx="80">
                  <c:v>0.18371467025572005</c:v>
                </c:pt>
                <c:pt idx="81">
                  <c:v>0.19503171247357293</c:v>
                </c:pt>
                <c:pt idx="82">
                  <c:v>0.20470262793914246</c:v>
                </c:pt>
                <c:pt idx="83">
                  <c:v>0.18270799347471453</c:v>
                </c:pt>
                <c:pt idx="84">
                  <c:v>0.1928020565552699</c:v>
                </c:pt>
                <c:pt idx="85">
                  <c:v>0.21787709497206703</c:v>
                </c:pt>
                <c:pt idx="86">
                  <c:v>0.24451250638080654</c:v>
                </c:pt>
                <c:pt idx="87">
                  <c:v>0.25679475164011245</c:v>
                </c:pt>
                <c:pt idx="88">
                  <c:v>0.22476190476190477</c:v>
                </c:pt>
                <c:pt idx="89">
                  <c:v>0.2098950524737631</c:v>
                </c:pt>
                <c:pt idx="90">
                  <c:v>0.1945080091533181</c:v>
                </c:pt>
                <c:pt idx="91">
                  <c:v>0.1880466472303207</c:v>
                </c:pt>
                <c:pt idx="92">
                  <c:v>0.20278223649010166</c:v>
                </c:pt>
                <c:pt idx="93">
                  <c:v>0.19252432155657961</c:v>
                </c:pt>
                <c:pt idx="94">
                  <c:v>0.17848557692307693</c:v>
                </c:pt>
                <c:pt idx="95">
                  <c:v>0.2001685630004214</c:v>
                </c:pt>
                <c:pt idx="96">
                  <c:v>0.20465489566613163</c:v>
                </c:pt>
                <c:pt idx="97">
                  <c:v>0.2358027576536574</c:v>
                </c:pt>
                <c:pt idx="98">
                  <c:v>0.24644374653611675</c:v>
                </c:pt>
                <c:pt idx="99">
                  <c:v>0.24988830975428145</c:v>
                </c:pt>
                <c:pt idx="100">
                  <c:v>0.26809062780716636</c:v>
                </c:pt>
                <c:pt idx="101">
                  <c:v>0.27269010629599344</c:v>
                </c:pt>
                <c:pt idx="102">
                  <c:v>0.22299546142208776</c:v>
                </c:pt>
                <c:pt idx="103">
                  <c:v>0.21978305785123967</c:v>
                </c:pt>
                <c:pt idx="104">
                  <c:v>0.24082702387885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0.0754</c:v>
                </c:pt>
                <c:pt idx="1">
                  <c:v>1220.3706</c:v>
                </c:pt>
                <c:pt idx="2">
                  <c:v>1216.5815</c:v>
                </c:pt>
                <c:pt idx="3">
                  <c:v>1167.8951</c:v>
                </c:pt>
                <c:pt idx="4">
                  <c:v>1203.9267</c:v>
                </c:pt>
                <c:pt idx="5">
                  <c:v>1233.5943</c:v>
                </c:pt>
                <c:pt idx="6">
                  <c:v>1167.8701</c:v>
                </c:pt>
                <c:pt idx="7">
                  <c:v>1220.0463</c:v>
                </c:pt>
                <c:pt idx="8">
                  <c:v>1285.2846</c:v>
                </c:pt>
                <c:pt idx="9">
                  <c:v>1264.5629</c:v>
                </c:pt>
                <c:pt idx="10">
                  <c:v>1268.3671</c:v>
                </c:pt>
                <c:pt idx="11">
                  <c:v>1166.9216</c:v>
                </c:pt>
                <c:pt idx="12">
                  <c:v>1181.5133</c:v>
                </c:pt>
                <c:pt idx="13">
                  <c:v>1233.2243</c:v>
                </c:pt>
                <c:pt idx="14">
                  <c:v>1200.9478</c:v>
                </c:pt>
                <c:pt idx="15">
                  <c:v>1240.2374</c:v>
                </c:pt>
                <c:pt idx="16">
                  <c:v>1310.5534</c:v>
                </c:pt>
                <c:pt idx="17">
                  <c:v>1252.1575</c:v>
                </c:pt>
                <c:pt idx="18">
                  <c:v>1083.6674</c:v>
                </c:pt>
                <c:pt idx="19">
                  <c:v>1323.9747</c:v>
                </c:pt>
                <c:pt idx="20">
                  <c:v>1352.5594</c:v>
                </c:pt>
                <c:pt idx="21">
                  <c:v>1195.3622</c:v>
                </c:pt>
                <c:pt idx="22">
                  <c:v>1213.6007</c:v>
                </c:pt>
                <c:pt idx="23">
                  <c:v>1294.232</c:v>
                </c:pt>
                <c:pt idx="24">
                  <c:v>1210.6553</c:v>
                </c:pt>
                <c:pt idx="25">
                  <c:v>1116.9904</c:v>
                </c:pt>
                <c:pt idx="26">
                  <c:v>1148.849</c:v>
                </c:pt>
                <c:pt idx="27">
                  <c:v>1188.4222</c:v>
                </c:pt>
                <c:pt idx="28">
                  <c:v>1216.3711</c:v>
                </c:pt>
                <c:pt idx="29">
                  <c:v>1253.1792</c:v>
                </c:pt>
                <c:pt idx="30">
                  <c:v>1110.9335</c:v>
                </c:pt>
                <c:pt idx="31">
                  <c:v>928.5887</c:v>
                </c:pt>
                <c:pt idx="32">
                  <c:v>1120.1051</c:v>
                </c:pt>
                <c:pt idx="33">
                  <c:v>1232.4753</c:v>
                </c:pt>
                <c:pt idx="34">
                  <c:v>1252.7872</c:v>
                </c:pt>
                <c:pt idx="35">
                  <c:v>1210.5297</c:v>
                </c:pt>
                <c:pt idx="36">
                  <c:v>1213.9462</c:v>
                </c:pt>
                <c:pt idx="37">
                  <c:v>1355.8526</c:v>
                </c:pt>
                <c:pt idx="38">
                  <c:v>1303.2236</c:v>
                </c:pt>
                <c:pt idx="39">
                  <c:v>1239.0024</c:v>
                </c:pt>
                <c:pt idx="40">
                  <c:v>1224.4103</c:v>
                </c:pt>
                <c:pt idx="41">
                  <c:v>1297.7494</c:v>
                </c:pt>
                <c:pt idx="42">
                  <c:v>1217.7775</c:v>
                </c:pt>
                <c:pt idx="43">
                  <c:v>1271.3915</c:v>
                </c:pt>
                <c:pt idx="44">
                  <c:v>1275.954</c:v>
                </c:pt>
                <c:pt idx="45">
                  <c:v>1216.174</c:v>
                </c:pt>
                <c:pt idx="46">
                  <c:v>1261.9828</c:v>
                </c:pt>
                <c:pt idx="47">
                  <c:v>1266.4583</c:v>
                </c:pt>
                <c:pt idx="48">
                  <c:v>1207.5675</c:v>
                </c:pt>
                <c:pt idx="49">
                  <c:v>1267.7474</c:v>
                </c:pt>
                <c:pt idx="50">
                  <c:v>1150.109</c:v>
                </c:pt>
                <c:pt idx="51">
                  <c:v>1100.5256</c:v>
                </c:pt>
              </c:numCache>
            </c:numRef>
          </c:xVal>
          <c:yVal>
            <c:numRef>
              <c:f>Sheet1!$B$109:$B$160</c:f>
              <c:numCache>
                <c:formatCode>General</c:formatCode>
                <c:ptCount val="52"/>
                <c:pt idx="0">
                  <c:v>0.24040511727078892</c:v>
                </c:pt>
                <c:pt idx="1">
                  <c:v>0.23850489469000297</c:v>
                </c:pt>
                <c:pt idx="2">
                  <c:v>0.2520942408376963</c:v>
                </c:pt>
                <c:pt idx="3">
                  <c:v>0.2824345969033636</c:v>
                </c:pt>
                <c:pt idx="4">
                  <c:v>0.26809116809116806</c:v>
                </c:pt>
                <c:pt idx="5">
                  <c:v>0.2681291895185862</c:v>
                </c:pt>
                <c:pt idx="6">
                  <c:v>0.2822899041173153</c:v>
                </c:pt>
                <c:pt idx="7">
                  <c:v>0.26810724289715887</c:v>
                </c:pt>
                <c:pt idx="8">
                  <c:v>0.2891459074733096</c:v>
                </c:pt>
                <c:pt idx="9">
                  <c:v>0.29418789808917195</c:v>
                </c:pt>
                <c:pt idx="10">
                  <c:v>0.3114318268135207</c:v>
                </c:pt>
                <c:pt idx="11">
                  <c:v>0.32216494845360827</c:v>
                </c:pt>
                <c:pt idx="12">
                  <c:v>0.3199513381995134</c:v>
                </c:pt>
                <c:pt idx="13">
                  <c:v>0.31084106172049886</c:v>
                </c:pt>
                <c:pt idx="14">
                  <c:v>0.332388377037562</c:v>
                </c:pt>
                <c:pt idx="15">
                  <c:v>0.31329827197595794</c:v>
                </c:pt>
                <c:pt idx="16">
                  <c:v>0.2756043956043956</c:v>
                </c:pt>
                <c:pt idx="17">
                  <c:v>0.2376495059802392</c:v>
                </c:pt>
                <c:pt idx="18">
                  <c:v>0.25910194174757284</c:v>
                </c:pt>
                <c:pt idx="19">
                  <c:v>0.2332155477031802</c:v>
                </c:pt>
                <c:pt idx="20">
                  <c:v>0.21290751829673984</c:v>
                </c:pt>
                <c:pt idx="21">
                  <c:v>0.2592295345104334</c:v>
                </c:pt>
                <c:pt idx="22">
                  <c:v>0.23263598326359833</c:v>
                </c:pt>
                <c:pt idx="23">
                  <c:v>0.2295684113865932</c:v>
                </c:pt>
                <c:pt idx="24">
                  <c:v>0.23365231259968103</c:v>
                </c:pt>
                <c:pt idx="25">
                  <c:v>0.265531914893617</c:v>
                </c:pt>
                <c:pt idx="26">
                  <c:v>0.24306688417618272</c:v>
                </c:pt>
                <c:pt idx="27">
                  <c:v>0.2290909090909091</c:v>
                </c:pt>
                <c:pt idx="28">
                  <c:v>0.24839948783610755</c:v>
                </c:pt>
                <c:pt idx="29">
                  <c:v>0.2552166934189406</c:v>
                </c:pt>
                <c:pt idx="30">
                  <c:v>0.28642384105960267</c:v>
                </c:pt>
                <c:pt idx="31">
                  <c:v>0.3136593591905565</c:v>
                </c:pt>
                <c:pt idx="32">
                  <c:v>0.300462249614792</c:v>
                </c:pt>
                <c:pt idx="33">
                  <c:v>0.32738427216954824</c:v>
                </c:pt>
                <c:pt idx="34">
                  <c:v>0.3486038394415358</c:v>
                </c:pt>
                <c:pt idx="35">
                  <c:v>0.3402512288367013</c:v>
                </c:pt>
                <c:pt idx="36">
                  <c:v>0.2748768472906404</c:v>
                </c:pt>
                <c:pt idx="37">
                  <c:v>0.22571942446043167</c:v>
                </c:pt>
                <c:pt idx="38">
                  <c:v>0.23631123919308358</c:v>
                </c:pt>
                <c:pt idx="39">
                  <c:v>0.26396917148362237</c:v>
                </c:pt>
                <c:pt idx="40">
                  <c:v>0.2534246575342466</c:v>
                </c:pt>
                <c:pt idx="41">
                  <c:v>0.23955267804590935</c:v>
                </c:pt>
                <c:pt idx="42">
                  <c:v>0.24982841455044613</c:v>
                </c:pt>
                <c:pt idx="43">
                  <c:v>0.21709006928406466</c:v>
                </c:pt>
                <c:pt idx="44">
                  <c:v>0.1986100950987564</c:v>
                </c:pt>
                <c:pt idx="45">
                  <c:v>0.22413793103448276</c:v>
                </c:pt>
                <c:pt idx="46">
                  <c:v>0.22126038781163435</c:v>
                </c:pt>
                <c:pt idx="47">
                  <c:v>0.22137404580152673</c:v>
                </c:pt>
                <c:pt idx="48">
                  <c:v>0.21618852459016394</c:v>
                </c:pt>
                <c:pt idx="49">
                  <c:v>0.24245939675174014</c:v>
                </c:pt>
                <c:pt idx="50">
                  <c:v>0.28916484716157204</c:v>
                </c:pt>
                <c:pt idx="51">
                  <c:v>0.284655503705737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2.495882488668</c:v>
                </c:pt>
              </c:numCache>
            </c:numRef>
          </c:xVal>
          <c:yVal>
            <c:numRef>
              <c:f>Sheet1!$B$163:$B$164</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2.495882488668</c:v>
                </c:pt>
                <c:pt idx="1">
                  <c:v>1122.495882488668</c:v>
                </c:pt>
              </c:numCache>
            </c:numRef>
          </c:xVal>
          <c:yVal>
            <c:numRef>
              <c:f>Sheet1!$B$167:$B$168</c:f>
              <c:numCache>
                <c:formatCode>General</c:formatCode>
                <c:ptCount val="2"/>
                <c:pt idx="0">
                  <c:v>0.28322862816403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2.495882488668</c:v>
                </c:pt>
              </c:numCache>
            </c:numRef>
          </c:xVal>
          <c:yVal>
            <c:numRef>
              <c:f>Sheet1!$B$171:$B$172</c:f>
              <c:numCache>
                <c:formatCode>General</c:formatCode>
                <c:ptCount val="2"/>
                <c:pt idx="0">
                  <c:v>0.2832286281640303</c:v>
                </c:pt>
                <c:pt idx="1">
                  <c:v>0.28322862816403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2.495882488668</c:v>
                </c:pt>
                <c:pt idx="1">
                  <c:v>1122.495882488668</c:v>
                </c:pt>
              </c:numCache>
            </c:numRef>
          </c:xVal>
          <c:yVal>
            <c:numRef>
              <c:f>Sheet1!$B$175:$B$176</c:f>
              <c:numCache>
                <c:formatCode>General</c:formatCode>
                <c:ptCount val="2"/>
                <c:pt idx="0">
                  <c:v>0.28322862816403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0.1566977220773</c:v>
                </c:pt>
              </c:numCache>
            </c:numRef>
          </c:xVal>
          <c:yVal>
            <c:numRef>
              <c:f>Sheet1!$B$179:$B$180</c:f>
              <c:numCache>
                <c:formatCode>General</c:formatCode>
                <c:ptCount val="2"/>
                <c:pt idx="0">
                  <c:v>0.24013197868106942</c:v>
                </c:pt>
                <c:pt idx="1">
                  <c:v>0.2401319786810694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0.1566977220773</c:v>
                </c:pt>
                <c:pt idx="1">
                  <c:v>1350.1566977220773</c:v>
                </c:pt>
              </c:numCache>
            </c:numRef>
          </c:xVal>
          <c:yVal>
            <c:numRef>
              <c:f>Sheet1!$B$183:$B$184</c:f>
              <c:numCache>
                <c:formatCode>General</c:formatCode>
                <c:ptCount val="2"/>
                <c:pt idx="0">
                  <c:v>0.240131978681069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0.0754</c:v>
                </c:pt>
                <c:pt idx="1">
                  <c:v>1220.3706</c:v>
                </c:pt>
                <c:pt idx="2">
                  <c:v>1216.5815</c:v>
                </c:pt>
                <c:pt idx="3">
                  <c:v>1167.8951</c:v>
                </c:pt>
                <c:pt idx="4">
                  <c:v>1203.9267</c:v>
                </c:pt>
                <c:pt idx="5">
                  <c:v>1233.5943</c:v>
                </c:pt>
                <c:pt idx="6">
                  <c:v>1167.8701</c:v>
                </c:pt>
                <c:pt idx="7">
                  <c:v>1220.0463</c:v>
                </c:pt>
                <c:pt idx="8">
                  <c:v>1285.2846</c:v>
                </c:pt>
                <c:pt idx="9">
                  <c:v>1264.5629</c:v>
                </c:pt>
                <c:pt idx="10">
                  <c:v>1268.3671</c:v>
                </c:pt>
                <c:pt idx="11">
                  <c:v>1166.9216</c:v>
                </c:pt>
                <c:pt idx="12">
                  <c:v>1181.5133</c:v>
                </c:pt>
                <c:pt idx="13">
                  <c:v>1233.2243</c:v>
                </c:pt>
                <c:pt idx="14">
                  <c:v>1200.9478</c:v>
                </c:pt>
                <c:pt idx="15">
                  <c:v>1240.2374</c:v>
                </c:pt>
                <c:pt idx="16">
                  <c:v>1310.5534</c:v>
                </c:pt>
                <c:pt idx="17">
                  <c:v>1252.1575</c:v>
                </c:pt>
                <c:pt idx="18">
                  <c:v>1083.6674</c:v>
                </c:pt>
                <c:pt idx="19">
                  <c:v>1323.9747</c:v>
                </c:pt>
                <c:pt idx="20">
                  <c:v>1352.5594</c:v>
                </c:pt>
                <c:pt idx="21">
                  <c:v>1195.3622</c:v>
                </c:pt>
                <c:pt idx="22">
                  <c:v>1213.6007</c:v>
                </c:pt>
                <c:pt idx="23">
                  <c:v>1294.232</c:v>
                </c:pt>
                <c:pt idx="24">
                  <c:v>1210.6553</c:v>
                </c:pt>
                <c:pt idx="25">
                  <c:v>1116.9904</c:v>
                </c:pt>
                <c:pt idx="26">
                  <c:v>1148.849</c:v>
                </c:pt>
                <c:pt idx="27">
                  <c:v>1188.4222</c:v>
                </c:pt>
                <c:pt idx="28">
                  <c:v>1216.3711</c:v>
                </c:pt>
                <c:pt idx="29">
                  <c:v>1253.1792</c:v>
                </c:pt>
                <c:pt idx="30">
                  <c:v>1110.9335</c:v>
                </c:pt>
                <c:pt idx="31">
                  <c:v>928.5887</c:v>
                </c:pt>
                <c:pt idx="32">
                  <c:v>1120.1051</c:v>
                </c:pt>
                <c:pt idx="33">
                  <c:v>1232.4753</c:v>
                </c:pt>
                <c:pt idx="34">
                  <c:v>1252.7872</c:v>
                </c:pt>
                <c:pt idx="35">
                  <c:v>1210.5297</c:v>
                </c:pt>
                <c:pt idx="36">
                  <c:v>1213.9462</c:v>
                </c:pt>
                <c:pt idx="37">
                  <c:v>1355.8526</c:v>
                </c:pt>
                <c:pt idx="38">
                  <c:v>1303.2236</c:v>
                </c:pt>
                <c:pt idx="39">
                  <c:v>1239.0024</c:v>
                </c:pt>
                <c:pt idx="40">
                  <c:v>1224.4103</c:v>
                </c:pt>
                <c:pt idx="41">
                  <c:v>1297.7494</c:v>
                </c:pt>
                <c:pt idx="42">
                  <c:v>1217.7775</c:v>
                </c:pt>
                <c:pt idx="43">
                  <c:v>1271.3915</c:v>
                </c:pt>
                <c:pt idx="44">
                  <c:v>1275.954</c:v>
                </c:pt>
                <c:pt idx="45">
                  <c:v>1216.174</c:v>
                </c:pt>
                <c:pt idx="46">
                  <c:v>1261.9828</c:v>
                </c:pt>
                <c:pt idx="47">
                  <c:v>1266.4583</c:v>
                </c:pt>
                <c:pt idx="48">
                  <c:v>1207.5675</c:v>
                </c:pt>
                <c:pt idx="49">
                  <c:v>1267.7474</c:v>
                </c:pt>
                <c:pt idx="50">
                  <c:v>1150.109</c:v>
                </c:pt>
                <c:pt idx="51">
                  <c:v>1100.5256</c:v>
                </c:pt>
                <c:pt idx="52">
                  <c:v>1122.495882488668</c:v>
                </c:pt>
                <c:pt idx="53">
                  <c:v>1122.495882488668</c:v>
                </c:pt>
                <c:pt idx="54">
                  <c:v>1350.1566977220773</c:v>
                </c:pt>
              </c:numCache>
            </c:numRef>
          </c:xVal>
          <c:yVal>
            <c:numRef>
              <c:f>Sheet1!$B$187:$B$241</c:f>
              <c:numCache>
                <c:formatCode>General</c:formatCode>
                <c:ptCount val="55"/>
                <c:pt idx="0">
                  <c:v>0.2685426697138892</c:v>
                </c:pt>
                <c:pt idx="1">
                  <c:v>0.2647007475996692</c:v>
                </c:pt>
                <c:pt idx="2">
                  <c:v>0.26541803183845425</c:v>
                </c:pt>
                <c:pt idx="3">
                  <c:v>0.27463446512424405</c:v>
                </c:pt>
                <c:pt idx="4">
                  <c:v>0.26781361089020206</c:v>
                </c:pt>
                <c:pt idx="5">
                  <c:v>0.26219747463552934</c:v>
                </c:pt>
                <c:pt idx="6">
                  <c:v>0.2746391976744459</c:v>
                </c:pt>
                <c:pt idx="7">
                  <c:v>0.2647621382408869</c:v>
                </c:pt>
                <c:pt idx="8">
                  <c:v>0.2524123970476925</c:v>
                </c:pt>
                <c:pt idx="9">
                  <c:v>0.2563350564683552</c:v>
                </c:pt>
                <c:pt idx="10">
                  <c:v>0.2556149137692482</c:v>
                </c:pt>
                <c:pt idx="11">
                  <c:v>0.27481875062910205</c:v>
                </c:pt>
                <c:pt idx="12">
                  <c:v>0.27205651251791985</c:v>
                </c:pt>
                <c:pt idx="13">
                  <c:v>0.2622675163785159</c:v>
                </c:pt>
                <c:pt idx="14">
                  <c:v>0.26837752264204734</c:v>
                </c:pt>
                <c:pt idx="15">
                  <c:v>0.2609399224657072</c:v>
                </c:pt>
                <c:pt idx="16">
                  <c:v>0.2476289624661263</c:v>
                </c:pt>
                <c:pt idx="17">
                  <c:v>0.2586834235992898</c:v>
                </c:pt>
                <c:pt idx="18">
                  <c:v>0.2905789378695182</c:v>
                </c:pt>
                <c:pt idx="19">
                  <c:v>0.24508828342519146</c:v>
                </c:pt>
                <c:pt idx="20">
                  <c:v>0.23967714231505977</c:v>
                </c:pt>
                <c:pt idx="21">
                  <c:v>0.2694348879383335</c:v>
                </c:pt>
                <c:pt idx="22">
                  <c:v>0.26598230326411487</c:v>
                </c:pt>
                <c:pt idx="23">
                  <c:v>0.25071863626067037</c:v>
                </c:pt>
                <c:pt idx="24">
                  <c:v>0.2665398733986898</c:v>
                </c:pt>
                <c:pt idx="25">
                  <c:v>0.28427082705453965</c:v>
                </c:pt>
                <c:pt idx="26">
                  <c:v>0.27823993010018155</c:v>
                </c:pt>
                <c:pt idx="27">
                  <c:v>0.2707486438743522</c:v>
                </c:pt>
                <c:pt idx="28">
                  <c:v>0.2654578609809526</c:v>
                </c:pt>
                <c:pt idx="29">
                  <c:v>0.2584900137376428</c:v>
                </c:pt>
                <c:pt idx="30">
                  <c:v>0.2854174103872301</c:v>
                </c:pt>
                <c:pt idx="31">
                  <c:v>0.3199356471886917</c:v>
                </c:pt>
                <c:pt idx="32">
                  <c:v>0.28368120808999825</c:v>
                </c:pt>
                <c:pt idx="33">
                  <c:v>0.26240930358256176</c:v>
                </c:pt>
                <c:pt idx="34">
                  <c:v>0.25856422012480695</c:v>
                </c:pt>
                <c:pt idx="35">
                  <c:v>0.2665636497309035</c:v>
                </c:pt>
                <c:pt idx="36">
                  <c:v>0.26591689942032604</c:v>
                </c:pt>
                <c:pt idx="37">
                  <c:v>0.23905373294207755</c:v>
                </c:pt>
                <c:pt idx="38">
                  <c:v>0.24901650832489142</c:v>
                </c:pt>
                <c:pt idx="39">
                  <c:v>0.26117371044567594</c:v>
                </c:pt>
                <c:pt idx="40">
                  <c:v>0.2639360242776613</c:v>
                </c:pt>
                <c:pt idx="41">
                  <c:v>0.25005278537747844</c:v>
                </c:pt>
                <c:pt idx="42">
                  <c:v>0.26519162663680035</c:v>
                </c:pt>
                <c:pt idx="43">
                  <c:v>0.2550423887760357</c:v>
                </c:pt>
                <c:pt idx="44">
                  <c:v>0.2541786983642078</c:v>
                </c:pt>
                <c:pt idx="45">
                  <c:v>0.2654951724067436</c:v>
                </c:pt>
                <c:pt idx="46">
                  <c:v>0.2568234745793814</c:v>
                </c:pt>
                <c:pt idx="47">
                  <c:v>0.2559762534422558</c:v>
                </c:pt>
                <c:pt idx="48">
                  <c:v>0.267124400139214</c:v>
                </c:pt>
                <c:pt idx="49">
                  <c:v>0.25573222422365033</c:v>
                </c:pt>
                <c:pt idx="50">
                  <c:v>0.27800140957001096</c:v>
                </c:pt>
                <c:pt idx="51">
                  <c:v>0.2873876467570412</c:v>
                </c:pt>
                <c:pt idx="52">
                  <c:v>0.2832286281640303</c:v>
                </c:pt>
                <c:pt idx="53">
                  <c:v>0.2832286281640303</c:v>
                </c:pt>
                <c:pt idx="54">
                  <c:v>0.24013197868106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6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832460732984295"/>
          <c:min val="0.13353627600202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397501318112</c:v>
                </c:pt>
                <c:pt idx="1">
                  <c:v>0.44215461693679087</c:v>
                </c:pt>
                <c:pt idx="2">
                  <c:v>0.4769777290077133</c:v>
                </c:pt>
                <c:pt idx="3">
                  <c:v>0.4838897845593159</c:v>
                </c:pt>
                <c:pt idx="4">
                  <c:v>0.518938408532234</c:v>
                </c:pt>
                <c:pt idx="5">
                  <c:v>0.4841884392630825</c:v>
                </c:pt>
                <c:pt idx="6">
                  <c:v>0.46350127883981546</c:v>
                </c:pt>
                <c:pt idx="7">
                  <c:v>0.4225871006144926</c:v>
                </c:pt>
                <c:pt idx="8">
                  <c:v>0.42855797496124987</c:v>
                </c:pt>
                <c:pt idx="9">
                  <c:v>0.4256046590065569</c:v>
                </c:pt>
                <c:pt idx="10">
                  <c:v>0.4538848043669914</c:v>
                </c:pt>
                <c:pt idx="11">
                  <c:v>0.47158630366831344</c:v>
                </c:pt>
                <c:pt idx="12">
                  <c:v>0.44689931813211375</c:v>
                </c:pt>
                <c:pt idx="13">
                  <c:v>0.46523972959951054</c:v>
                </c:pt>
                <c:pt idx="14">
                  <c:v>0.3875709638391536</c:v>
                </c:pt>
                <c:pt idx="15">
                  <c:v>0.3698133320056787</c:v>
                </c:pt>
                <c:pt idx="16">
                  <c:v>0.39446181000607433</c:v>
                </c:pt>
                <c:pt idx="17">
                  <c:v>0.44399101508667843</c:v>
                </c:pt>
                <c:pt idx="18">
                  <c:v>0.3768282061519555</c:v>
                </c:pt>
                <c:pt idx="19">
                  <c:v>0.4252991731413059</c:v>
                </c:pt>
                <c:pt idx="20">
                  <c:v>0.45400765848505237</c:v>
                </c:pt>
                <c:pt idx="21">
                  <c:v>0.4365535596175421</c:v>
                </c:pt>
                <c:pt idx="22">
                  <c:v>0.40620886403551976</c:v>
                </c:pt>
                <c:pt idx="23">
                  <c:v>0.3923224869391447</c:v>
                </c:pt>
                <c:pt idx="24">
                  <c:v>0.3673569556451613</c:v>
                </c:pt>
                <c:pt idx="25">
                  <c:v>0.3625523011195894</c:v>
                </c:pt>
                <c:pt idx="26">
                  <c:v>0.33963608539707685</c:v>
                </c:pt>
                <c:pt idx="27">
                  <c:v>0.3032024678983446</c:v>
                </c:pt>
                <c:pt idx="28">
                  <c:v>0.3664385496100284</c:v>
                </c:pt>
                <c:pt idx="29">
                  <c:v>0.34672244504128014</c:v>
                </c:pt>
                <c:pt idx="30">
                  <c:v>0.2914987106017192</c:v>
                </c:pt>
                <c:pt idx="31">
                  <c:v>0.36185479644615204</c:v>
                </c:pt>
                <c:pt idx="32">
                  <c:v>0.3700052950628104</c:v>
                </c:pt>
                <c:pt idx="33">
                  <c:v>0.36623348705742337</c:v>
                </c:pt>
                <c:pt idx="34">
                  <c:v>0.3678636734391221</c:v>
                </c:pt>
                <c:pt idx="35">
                  <c:v>0.33391077358345744</c:v>
                </c:pt>
                <c:pt idx="36">
                  <c:v>0.30248868725041944</c:v>
                </c:pt>
                <c:pt idx="37">
                  <c:v>0.424319711922222</c:v>
                </c:pt>
                <c:pt idx="38">
                  <c:v>0.43211921594598107</c:v>
                </c:pt>
                <c:pt idx="39">
                  <c:v>0.43188184755670234</c:v>
                </c:pt>
                <c:pt idx="40">
                  <c:v>0.451676576458335</c:v>
                </c:pt>
                <c:pt idx="41">
                  <c:v>0.4871234628810372</c:v>
                </c:pt>
                <c:pt idx="42">
                  <c:v>0.4697467679135415</c:v>
                </c:pt>
                <c:pt idx="43">
                  <c:v>0.5127515578395454</c:v>
                </c:pt>
                <c:pt idx="44">
                  <c:v>0.47026036493543943</c:v>
                </c:pt>
                <c:pt idx="45">
                  <c:v>0.5136954767203616</c:v>
                </c:pt>
                <c:pt idx="46">
                  <c:v>0.5391343994999215</c:v>
                </c:pt>
                <c:pt idx="47">
                  <c:v>0.5386344522018933</c:v>
                </c:pt>
                <c:pt idx="48">
                  <c:v>0.5254103437036308</c:v>
                </c:pt>
                <c:pt idx="49">
                  <c:v>0.40759215689401546</c:v>
                </c:pt>
                <c:pt idx="50">
                  <c:v>0.2987174770607692</c:v>
                </c:pt>
                <c:pt idx="51">
                  <c:v>0.29444066436096406</c:v>
                </c:pt>
                <c:pt idx="52">
                  <c:v>0.27244288166846825</c:v>
                </c:pt>
                <c:pt idx="53">
                  <c:v>0.24945556327211907</c:v>
                </c:pt>
                <c:pt idx="54">
                  <c:v>0.22024168604001204</c:v>
                </c:pt>
                <c:pt idx="55">
                  <c:v>0.26252285281901194</c:v>
                </c:pt>
                <c:pt idx="56">
                  <c:v>0.329723609369394</c:v>
                </c:pt>
                <c:pt idx="57">
                  <c:v>0.564000468494958</c:v>
                </c:pt>
                <c:pt idx="58">
                  <c:v>0.4164366744851435</c:v>
                </c:pt>
                <c:pt idx="59">
                  <c:v>0.3642131474530162</c:v>
                </c:pt>
                <c:pt idx="60">
                  <c:v>0.35480891833245115</c:v>
                </c:pt>
                <c:pt idx="61">
                  <c:v>0.3126204817978794</c:v>
                </c:pt>
                <c:pt idx="62">
                  <c:v>0.4681954656796232</c:v>
                </c:pt>
                <c:pt idx="63">
                  <c:v>0.42568641887947783</c:v>
                </c:pt>
                <c:pt idx="64">
                  <c:v>0.4332555343200586</c:v>
                </c:pt>
                <c:pt idx="65">
                  <c:v>0.37607754204879323</c:v>
                </c:pt>
                <c:pt idx="66">
                  <c:v>0.41970754950750805</c:v>
                </c:pt>
                <c:pt idx="67">
                  <c:v>0.5274041585916538</c:v>
                </c:pt>
                <c:pt idx="68">
                  <c:v>0.49138984999504287</c:v>
                </c:pt>
                <c:pt idx="69">
                  <c:v>0.5137098113130354</c:v>
                </c:pt>
                <c:pt idx="70">
                  <c:v>0.47672694319880415</c:v>
                </c:pt>
                <c:pt idx="71">
                  <c:v>0.44963583079903446</c:v>
                </c:pt>
                <c:pt idx="72">
                  <c:v>0.4280420375906327</c:v>
                </c:pt>
                <c:pt idx="73">
                  <c:v>0.43183962892948924</c:v>
                </c:pt>
                <c:pt idx="74">
                  <c:v>0.4039035072585952</c:v>
                </c:pt>
                <c:pt idx="75">
                  <c:v>0.38287015113766293</c:v>
                </c:pt>
                <c:pt idx="76">
                  <c:v>0.3890588327091136</c:v>
                </c:pt>
                <c:pt idx="77">
                  <c:v>0.4011966610506969</c:v>
                </c:pt>
                <c:pt idx="78">
                  <c:v>0.430927916135013</c:v>
                </c:pt>
                <c:pt idx="79">
                  <c:v>0.41136676533357136</c:v>
                </c:pt>
                <c:pt idx="80">
                  <c:v>0.3877461410345536</c:v>
                </c:pt>
                <c:pt idx="81">
                  <c:v>0.4449979562733062</c:v>
                </c:pt>
                <c:pt idx="82">
                  <c:v>0.4675856398597688</c:v>
                </c:pt>
                <c:pt idx="83">
                  <c:v>0.3823691764133919</c:v>
                </c:pt>
                <c:pt idx="84">
                  <c:v>0.354433988785437</c:v>
                </c:pt>
                <c:pt idx="85">
                  <c:v>0.34764531412302024</c:v>
                </c:pt>
                <c:pt idx="86">
                  <c:v>0.3366308068559782</c:v>
                </c:pt>
                <c:pt idx="87">
                  <c:v>0.31521849768688925</c:v>
                </c:pt>
                <c:pt idx="88">
                  <c:v>0.28658089562592115</c:v>
                </c:pt>
                <c:pt idx="89">
                  <c:v>0.30109029452239094</c:v>
                </c:pt>
                <c:pt idx="90">
                  <c:v>0.33839376658045434</c:v>
                </c:pt>
                <c:pt idx="91">
                  <c:v>0.3475664376100988</c:v>
                </c:pt>
                <c:pt idx="92">
                  <c:v>0.3210895411219415</c:v>
                </c:pt>
                <c:pt idx="93">
                  <c:v>0.3521504921200542</c:v>
                </c:pt>
                <c:pt idx="94">
                  <c:v>0.36528405707343803</c:v>
                </c:pt>
                <c:pt idx="95">
                  <c:v>0.47927910878709573</c:v>
                </c:pt>
                <c:pt idx="96">
                  <c:v>0.4142098392675838</c:v>
                </c:pt>
                <c:pt idx="97">
                  <c:v>0.38681224039152123</c:v>
                </c:pt>
                <c:pt idx="98">
                  <c:v>0.4320143531195386</c:v>
                </c:pt>
                <c:pt idx="99">
                  <c:v>0.46083902027106793</c:v>
                </c:pt>
                <c:pt idx="100">
                  <c:v>0.42971768884202177</c:v>
                </c:pt>
                <c:pt idx="101">
                  <c:v>0.40760393730540495</c:v>
                </c:pt>
                <c:pt idx="102">
                  <c:v>0.41560932357817093</c:v>
                </c:pt>
                <c:pt idx="103">
                  <c:v>0.3929371334789273</c:v>
                </c:pt>
                <c:pt idx="104">
                  <c:v>0.3739154597185281</c:v>
                </c:pt>
              </c:numCache>
            </c:numRef>
          </c:xVal>
          <c:yVal>
            <c:numRef>
              <c:f>Sheet1!$B$2:$B$106</c:f>
              <c:numCache>
                <c:formatCode>General</c:formatCode>
                <c:ptCount val="105"/>
                <c:pt idx="0">
                  <c:v>0.2995720399429387</c:v>
                </c:pt>
                <c:pt idx="1">
                  <c:v>0.3014463334179142</c:v>
                </c:pt>
                <c:pt idx="2">
                  <c:v>0.2982067744077928</c:v>
                </c:pt>
                <c:pt idx="3">
                  <c:v>0.29277389277389276</c:v>
                </c:pt>
                <c:pt idx="4">
                  <c:v>0.28530993489951884</c:v>
                </c:pt>
                <c:pt idx="5">
                  <c:v>0.29013939081053175</c:v>
                </c:pt>
                <c:pt idx="6">
                  <c:v>0.3295136948015651</c:v>
                </c:pt>
                <c:pt idx="7">
                  <c:v>0.33245283018867927</c:v>
                </c:pt>
                <c:pt idx="8">
                  <c:v>0.3241469816272966</c:v>
                </c:pt>
                <c:pt idx="9">
                  <c:v>0.302060737527115</c:v>
                </c:pt>
                <c:pt idx="10">
                  <c:v>0.2991357680512963</c:v>
                </c:pt>
                <c:pt idx="11">
                  <c:v>0.25887071891391544</c:v>
                </c:pt>
                <c:pt idx="12">
                  <c:v>0.24685293214614676</c:v>
                </c:pt>
                <c:pt idx="13">
                  <c:v>0.2271412037037037</c:v>
                </c:pt>
                <c:pt idx="14">
                  <c:v>0.22119549523534507</c:v>
                </c:pt>
                <c:pt idx="15">
                  <c:v>0.2240381341504937</c:v>
                </c:pt>
                <c:pt idx="16">
                  <c:v>0.21096543504171633</c:v>
                </c:pt>
                <c:pt idx="17">
                  <c:v>0.19499568593615185</c:v>
                </c:pt>
                <c:pt idx="18">
                  <c:v>0.19181890389197775</c:v>
                </c:pt>
                <c:pt idx="19">
                  <c:v>0.18353576248313092</c:v>
                </c:pt>
                <c:pt idx="20">
                  <c:v>0.1787534300274402</c:v>
                </c:pt>
                <c:pt idx="21">
                  <c:v>0.20851769911504425</c:v>
                </c:pt>
                <c:pt idx="22">
                  <c:v>0.21794246708922477</c:v>
                </c:pt>
                <c:pt idx="23">
                  <c:v>0.23401950162513543</c:v>
                </c:pt>
                <c:pt idx="24">
                  <c:v>0.249054820415879</c:v>
                </c:pt>
                <c:pt idx="25">
                  <c:v>0.2545357524012807</c:v>
                </c:pt>
                <c:pt idx="26">
                  <c:v>0.277330809275911</c:v>
                </c:pt>
                <c:pt idx="27">
                  <c:v>0.2758470894874023</c:v>
                </c:pt>
                <c:pt idx="28">
                  <c:v>0.28754125412541254</c:v>
                </c:pt>
                <c:pt idx="29">
                  <c:v>0.275</c:v>
                </c:pt>
                <c:pt idx="30">
                  <c:v>0.28702807357212</c:v>
                </c:pt>
                <c:pt idx="31">
                  <c:v>0.29462738301559793</c:v>
                </c:pt>
                <c:pt idx="32">
                  <c:v>0.2896776825785394</c:v>
                </c:pt>
                <c:pt idx="33">
                  <c:v>0.2825233926954422</c:v>
                </c:pt>
                <c:pt idx="34">
                  <c:v>0.2757913247362251</c:v>
                </c:pt>
                <c:pt idx="35">
                  <c:v>0.27711244178310046</c:v>
                </c:pt>
                <c:pt idx="36">
                  <c:v>0.2572509457755359</c:v>
                </c:pt>
                <c:pt idx="37">
                  <c:v>0.2558139534883721</c:v>
                </c:pt>
                <c:pt idx="38">
                  <c:v>0.2448290417897847</c:v>
                </c:pt>
                <c:pt idx="39">
                  <c:v>0.22462896109105496</c:v>
                </c:pt>
                <c:pt idx="40">
                  <c:v>0.22994652406417113</c:v>
                </c:pt>
                <c:pt idx="41">
                  <c:v>0.21902570003835828</c:v>
                </c:pt>
                <c:pt idx="42">
                  <c:v>0.21819814426818318</c:v>
                </c:pt>
                <c:pt idx="43">
                  <c:v>0.21658727934995797</c:v>
                </c:pt>
                <c:pt idx="44">
                  <c:v>0.23023848807559621</c:v>
                </c:pt>
                <c:pt idx="45">
                  <c:v>0.23726962457337883</c:v>
                </c:pt>
                <c:pt idx="46">
                  <c:v>0.24931002759889603</c:v>
                </c:pt>
                <c:pt idx="47">
                  <c:v>0.24387990762124712</c:v>
                </c:pt>
                <c:pt idx="48">
                  <c:v>0.2407283288650581</c:v>
                </c:pt>
                <c:pt idx="49">
                  <c:v>0.26079690386137744</c:v>
                </c:pt>
                <c:pt idx="50">
                  <c:v>0.2515649452269171</c:v>
                </c:pt>
                <c:pt idx="51">
                  <c:v>0.23695445920303607</c:v>
                </c:pt>
                <c:pt idx="52">
                  <c:v>0.2509818589863475</c:v>
                </c:pt>
                <c:pt idx="53">
                  <c:v>0.24439675727229376</c:v>
                </c:pt>
                <c:pt idx="54">
                  <c:v>0.23053392658509456</c:v>
                </c:pt>
                <c:pt idx="55">
                  <c:v>0.23181565796779566</c:v>
                </c:pt>
                <c:pt idx="56">
                  <c:v>0.23170361372608564</c:v>
                </c:pt>
                <c:pt idx="57">
                  <c:v>0.2262710015273838</c:v>
                </c:pt>
                <c:pt idx="58">
                  <c:v>0.2588436667934576</c:v>
                </c:pt>
                <c:pt idx="59">
                  <c:v>0.2747291568535092</c:v>
                </c:pt>
                <c:pt idx="60">
                  <c:v>0.2596024711254365</c:v>
                </c:pt>
                <c:pt idx="61">
                  <c:v>0.2532261991721451</c:v>
                </c:pt>
                <c:pt idx="62">
                  <c:v>0.27215954875100723</c:v>
                </c:pt>
                <c:pt idx="63">
                  <c:v>0.29571577847439917</c:v>
                </c:pt>
                <c:pt idx="64">
                  <c:v>0.25071100415663966</c:v>
                </c:pt>
                <c:pt idx="65">
                  <c:v>0.23877699587478768</c:v>
                </c:pt>
                <c:pt idx="66">
                  <c:v>0.25421657296504524</c:v>
                </c:pt>
                <c:pt idx="67">
                  <c:v>0.2291210129047967</c:v>
                </c:pt>
                <c:pt idx="68">
                  <c:v>0.20557156580211336</c:v>
                </c:pt>
                <c:pt idx="69">
                  <c:v>0.1937857726901063</c:v>
                </c:pt>
                <c:pt idx="70">
                  <c:v>0.19162303664921465</c:v>
                </c:pt>
                <c:pt idx="71">
                  <c:v>0.19690522243713732</c:v>
                </c:pt>
                <c:pt idx="72">
                  <c:v>0.20840950639853748</c:v>
                </c:pt>
                <c:pt idx="73">
                  <c:v>0.2144981412639405</c:v>
                </c:pt>
                <c:pt idx="74">
                  <c:v>0.23168764117457244</c:v>
                </c:pt>
                <c:pt idx="75">
                  <c:v>0.23470149253731343</c:v>
                </c:pt>
                <c:pt idx="76">
                  <c:v>0.23475355054302421</c:v>
                </c:pt>
                <c:pt idx="77">
                  <c:v>0.22149978326831382</c:v>
                </c:pt>
                <c:pt idx="78">
                  <c:v>0.2261467889908257</c:v>
                </c:pt>
                <c:pt idx="79">
                  <c:v>0.1984156921916258</c:v>
                </c:pt>
                <c:pt idx="80">
                  <c:v>0.19687613512531785</c:v>
                </c:pt>
                <c:pt idx="81">
                  <c:v>0.2085696282293636</c:v>
                </c:pt>
                <c:pt idx="82">
                  <c:v>0.2166370106761566</c:v>
                </c:pt>
                <c:pt idx="83">
                  <c:v>0.2156374501992032</c:v>
                </c:pt>
                <c:pt idx="84">
                  <c:v>0.20747295968534907</c:v>
                </c:pt>
                <c:pt idx="85">
                  <c:v>0.22307364836100468</c:v>
                </c:pt>
                <c:pt idx="86">
                  <c:v>0.2453781512605042</c:v>
                </c:pt>
                <c:pt idx="87">
                  <c:v>0.2335920959774171</c:v>
                </c:pt>
                <c:pt idx="88">
                  <c:v>0.2315388280133397</c:v>
                </c:pt>
                <c:pt idx="89">
                  <c:v>0.25364020666979803</c:v>
                </c:pt>
                <c:pt idx="90">
                  <c:v>0.20766773162939298</c:v>
                </c:pt>
                <c:pt idx="91">
                  <c:v>0.20027560863573726</c:v>
                </c:pt>
                <c:pt idx="92">
                  <c:v>0.21203119197920534</c:v>
                </c:pt>
                <c:pt idx="93">
                  <c:v>0.21360184879498184</c:v>
                </c:pt>
                <c:pt idx="94">
                  <c:v>0.2025036818851252</c:v>
                </c:pt>
                <c:pt idx="95">
                  <c:v>0.20326975476839237</c:v>
                </c:pt>
                <c:pt idx="96">
                  <c:v>0.2229025318550389</c:v>
                </c:pt>
                <c:pt idx="97">
                  <c:v>0.2370700636942675</c:v>
                </c:pt>
                <c:pt idx="98">
                  <c:v>0.24104425193163193</c:v>
                </c:pt>
                <c:pt idx="99">
                  <c:v>0.24941774295998306</c:v>
                </c:pt>
                <c:pt idx="100">
                  <c:v>0.2581321093594093</c:v>
                </c:pt>
                <c:pt idx="101">
                  <c:v>0.24458361543669602</c:v>
                </c:pt>
                <c:pt idx="102">
                  <c:v>0.23138056312443234</c:v>
                </c:pt>
                <c:pt idx="103">
                  <c:v>0.23065813905508561</c:v>
                </c:pt>
                <c:pt idx="104">
                  <c:v>0.233928571428571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763156158836676</c:v>
                </c:pt>
                <c:pt idx="1">
                  <c:v>0.4369999578400879</c:v>
                </c:pt>
                <c:pt idx="2">
                  <c:v>0.40982672883982735</c:v>
                </c:pt>
                <c:pt idx="3">
                  <c:v>0.4137937158907402</c:v>
                </c:pt>
                <c:pt idx="4">
                  <c:v>0.406426004655123</c:v>
                </c:pt>
                <c:pt idx="5">
                  <c:v>0.35308118608115535</c:v>
                </c:pt>
                <c:pt idx="6">
                  <c:v>0.3879391040152353</c:v>
                </c:pt>
                <c:pt idx="7">
                  <c:v>0.4076041319931886</c:v>
                </c:pt>
                <c:pt idx="8">
                  <c:v>0.38002870953728596</c:v>
                </c:pt>
                <c:pt idx="9">
                  <c:v>0.36195217081644054</c:v>
                </c:pt>
                <c:pt idx="10">
                  <c:v>0.39424929305784673</c:v>
                </c:pt>
                <c:pt idx="11">
                  <c:v>0.383379313348778</c:v>
                </c:pt>
                <c:pt idx="12">
                  <c:v>0.4273928361817457</c:v>
                </c:pt>
                <c:pt idx="13">
                  <c:v>0.4910934184554896</c:v>
                </c:pt>
                <c:pt idx="14">
                  <c:v>0.4602832299041484</c:v>
                </c:pt>
                <c:pt idx="15">
                  <c:v>0.3960629838963164</c:v>
                </c:pt>
                <c:pt idx="16">
                  <c:v>0.38084149840117787</c:v>
                </c:pt>
                <c:pt idx="17">
                  <c:v>0.35884891866337076</c:v>
                </c:pt>
                <c:pt idx="18">
                  <c:v>0.3009681252572998</c:v>
                </c:pt>
                <c:pt idx="19">
                  <c:v>0.3427966884881372</c:v>
                </c:pt>
                <c:pt idx="20">
                  <c:v>0.3634263351456678</c:v>
                </c:pt>
                <c:pt idx="21">
                  <c:v>0.3143134735144459</c:v>
                </c:pt>
                <c:pt idx="22">
                  <c:v>0.32172067762727913</c:v>
                </c:pt>
                <c:pt idx="23">
                  <c:v>0.3236844272607915</c:v>
                </c:pt>
                <c:pt idx="24">
                  <c:v>0.33327301733703624</c:v>
                </c:pt>
                <c:pt idx="25">
                  <c:v>0.3191834442816451</c:v>
                </c:pt>
                <c:pt idx="26">
                  <c:v>0.3079499796567897</c:v>
                </c:pt>
                <c:pt idx="27">
                  <c:v>0.3321868515347371</c:v>
                </c:pt>
                <c:pt idx="28">
                  <c:v>0.408050144913376</c:v>
                </c:pt>
                <c:pt idx="29">
                  <c:v>0.4202814290094796</c:v>
                </c:pt>
                <c:pt idx="30">
                  <c:v>0.4015408663269306</c:v>
                </c:pt>
                <c:pt idx="31">
                  <c:v>0.31031334871438565</c:v>
                </c:pt>
                <c:pt idx="32">
                  <c:v>0.2876963273581863</c:v>
                </c:pt>
                <c:pt idx="33">
                  <c:v>0.2793141128457583</c:v>
                </c:pt>
                <c:pt idx="34">
                  <c:v>0.29692803656853534</c:v>
                </c:pt>
                <c:pt idx="35">
                  <c:v>0.3088105644293466</c:v>
                </c:pt>
                <c:pt idx="36">
                  <c:v>0.33486010338496003</c:v>
                </c:pt>
                <c:pt idx="37">
                  <c:v>0.3355486654417635</c:v>
                </c:pt>
                <c:pt idx="38">
                  <c:v>0.32815985910207573</c:v>
                </c:pt>
                <c:pt idx="39">
                  <c:v>0.3627461166268017</c:v>
                </c:pt>
                <c:pt idx="40">
                  <c:v>0.32861110255428666</c:v>
                </c:pt>
                <c:pt idx="41">
                  <c:v>0.35779902970526684</c:v>
                </c:pt>
                <c:pt idx="42">
                  <c:v>0.32012666239839094</c:v>
                </c:pt>
                <c:pt idx="43">
                  <c:v>0.38653689463087554</c:v>
                </c:pt>
                <c:pt idx="44">
                  <c:v>0.40260159719080846</c:v>
                </c:pt>
                <c:pt idx="45">
                  <c:v>0.40843157088236787</c:v>
                </c:pt>
                <c:pt idx="46">
                  <c:v>0.3778324532358984</c:v>
                </c:pt>
                <c:pt idx="47">
                  <c:v>0.40121561178614484</c:v>
                </c:pt>
                <c:pt idx="48">
                  <c:v>0.4226455644076282</c:v>
                </c:pt>
                <c:pt idx="49">
                  <c:v>0.4588923510170067</c:v>
                </c:pt>
                <c:pt idx="50">
                  <c:v>0.45247994976875583</c:v>
                </c:pt>
                <c:pt idx="51">
                  <c:v>0.37817577066248415</c:v>
                </c:pt>
              </c:numCache>
            </c:numRef>
          </c:xVal>
          <c:yVal>
            <c:numRef>
              <c:f>Sheet1!$B$109:$B$160</c:f>
              <c:numCache>
                <c:formatCode>General</c:formatCode>
                <c:ptCount val="52"/>
                <c:pt idx="0">
                  <c:v>0.22774015550539253</c:v>
                </c:pt>
                <c:pt idx="1">
                  <c:v>0.23313925278990782</c:v>
                </c:pt>
                <c:pt idx="2">
                  <c:v>0.24355537224169932</c:v>
                </c:pt>
                <c:pt idx="3">
                  <c:v>0.2644841697178548</c:v>
                </c:pt>
                <c:pt idx="4">
                  <c:v>0.2309308678293759</c:v>
                </c:pt>
                <c:pt idx="5">
                  <c:v>0.2434047815333883</c:v>
                </c:pt>
                <c:pt idx="6">
                  <c:v>0.27111181003302404</c:v>
                </c:pt>
                <c:pt idx="7">
                  <c:v>0.2643800596506178</c:v>
                </c:pt>
                <c:pt idx="8">
                  <c:v>0.24603698811096433</c:v>
                </c:pt>
                <c:pt idx="9">
                  <c:v>0.2595051297525649</c:v>
                </c:pt>
                <c:pt idx="10">
                  <c:v>0.24941656942823803</c:v>
                </c:pt>
                <c:pt idx="11">
                  <c:v>0.26384156729131175</c:v>
                </c:pt>
                <c:pt idx="12">
                  <c:v>0.26065526239489706</c:v>
                </c:pt>
                <c:pt idx="13">
                  <c:v>0.26494940202391903</c:v>
                </c:pt>
                <c:pt idx="14">
                  <c:v>0.2760517799352751</c:v>
                </c:pt>
                <c:pt idx="15">
                  <c:v>0.26062322946175637</c:v>
                </c:pt>
                <c:pt idx="16">
                  <c:v>0.2644426362896664</c:v>
                </c:pt>
                <c:pt idx="17">
                  <c:v>0.2695789059425423</c:v>
                </c:pt>
                <c:pt idx="18">
                  <c:v>0.28207271207689094</c:v>
                </c:pt>
                <c:pt idx="19">
                  <c:v>0.253864168618267</c:v>
                </c:pt>
                <c:pt idx="20">
                  <c:v>0.22615535889872174</c:v>
                </c:pt>
                <c:pt idx="21">
                  <c:v>0.24806701030927836</c:v>
                </c:pt>
                <c:pt idx="22">
                  <c:v>0.24124513618677043</c:v>
                </c:pt>
                <c:pt idx="23">
                  <c:v>0.23864363403710812</c:v>
                </c:pt>
                <c:pt idx="24">
                  <c:v>0.2420448617631716</c:v>
                </c:pt>
                <c:pt idx="25">
                  <c:v>0.22989161437535655</c:v>
                </c:pt>
                <c:pt idx="26">
                  <c:v>0.23204134366925064</c:v>
                </c:pt>
                <c:pt idx="27">
                  <c:v>0.24474959612277866</c:v>
                </c:pt>
                <c:pt idx="28">
                  <c:v>0.24446749654218533</c:v>
                </c:pt>
                <c:pt idx="29">
                  <c:v>0.2288623284639221</c:v>
                </c:pt>
                <c:pt idx="30">
                  <c:v>0.228</c:v>
                </c:pt>
                <c:pt idx="31">
                  <c:v>0.2123404255319149</c:v>
                </c:pt>
                <c:pt idx="32">
                  <c:v>0.2185053380782918</c:v>
                </c:pt>
                <c:pt idx="33">
                  <c:v>0.23351318944844124</c:v>
                </c:pt>
                <c:pt idx="34">
                  <c:v>0.24364467295058553</c:v>
                </c:pt>
                <c:pt idx="35">
                  <c:v>0.23961393201846412</c:v>
                </c:pt>
                <c:pt idx="36">
                  <c:v>0.21503017004936917</c:v>
                </c:pt>
                <c:pt idx="37">
                  <c:v>0.21997034107760752</c:v>
                </c:pt>
                <c:pt idx="38">
                  <c:v>0.22871046228710462</c:v>
                </c:pt>
                <c:pt idx="39">
                  <c:v>0.2359594383775351</c:v>
                </c:pt>
                <c:pt idx="40">
                  <c:v>0.22946655376799321</c:v>
                </c:pt>
                <c:pt idx="41">
                  <c:v>0.22404580152671755</c:v>
                </c:pt>
                <c:pt idx="42">
                  <c:v>0.2328519855595668</c:v>
                </c:pt>
                <c:pt idx="43">
                  <c:v>0.21937673557543969</c:v>
                </c:pt>
                <c:pt idx="44">
                  <c:v>0.2142393421337373</c:v>
                </c:pt>
                <c:pt idx="45">
                  <c:v>0.23116438356164384</c:v>
                </c:pt>
                <c:pt idx="46">
                  <c:v>0.2564791706661547</c:v>
                </c:pt>
                <c:pt idx="47">
                  <c:v>0.2605832549388523</c:v>
                </c:pt>
                <c:pt idx="48">
                  <c:v>0.24702167360413377</c:v>
                </c:pt>
                <c:pt idx="49">
                  <c:v>0.25562679034238167</c:v>
                </c:pt>
                <c:pt idx="50">
                  <c:v>0.2587316176470588</c:v>
                </c:pt>
                <c:pt idx="51">
                  <c:v>0.24554707379134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602237225641903</c:v>
                </c:pt>
              </c:numCache>
            </c:numRef>
          </c:xVal>
          <c:yVal>
            <c:numRef>
              <c:f>Sheet1!$B$163:$B$164</c:f>
              <c:numCache>
                <c:formatCode>General</c:formatCode>
                <c:ptCount val="2"/>
                <c:pt idx="0">
                  <c:v>0.3059513192077922</c:v>
                </c:pt>
                <c:pt idx="1">
                  <c:v>0.30595131920779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602237225641903</c:v>
                </c:pt>
                <c:pt idx="1">
                  <c:v>0.8602237225641903</c:v>
                </c:pt>
              </c:numCache>
            </c:numRef>
          </c:xVal>
          <c:yVal>
            <c:numRef>
              <c:f>Sheet1!$B$167:$B$168</c:f>
              <c:numCache>
                <c:formatCode>General</c:formatCode>
                <c:ptCount val="2"/>
                <c:pt idx="0">
                  <c:v>0.30595131920779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989093531870077</c:v>
                </c:pt>
              </c:numCache>
            </c:numRef>
          </c:xVal>
          <c:yVal>
            <c:numRef>
              <c:f>Sheet1!$B$171:$B$172</c:f>
              <c:numCache>
                <c:formatCode>General</c:formatCode>
                <c:ptCount val="2"/>
                <c:pt idx="0">
                  <c:v>0.2599402871094868</c:v>
                </c:pt>
                <c:pt idx="1">
                  <c:v>0.259940287109486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989093531870077</c:v>
                </c:pt>
                <c:pt idx="1">
                  <c:v>0.49989093531870077</c:v>
                </c:pt>
              </c:numCache>
            </c:numRef>
          </c:xVal>
          <c:yVal>
            <c:numRef>
              <c:f>Sheet1!$B$175:$B$176</c:f>
              <c:numCache>
                <c:formatCode>General</c:formatCode>
                <c:ptCount val="2"/>
                <c:pt idx="0">
                  <c:v>0.259940287109486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3836445962956385</c:v>
                </c:pt>
              </c:numCache>
            </c:numRef>
          </c:xVal>
          <c:yVal>
            <c:numRef>
              <c:f>Sheet1!$B$179:$B$180</c:f>
              <c:numCache>
                <c:formatCode>General</c:formatCode>
                <c:ptCount val="2"/>
                <c:pt idx="0">
                  <c:v>0.2393149093455818</c:v>
                </c:pt>
                <c:pt idx="1">
                  <c:v>0.23931490934558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3836445962956385</c:v>
                </c:pt>
                <c:pt idx="1">
                  <c:v>0.33836445962956385</c:v>
                </c:pt>
              </c:numCache>
            </c:numRef>
          </c:xVal>
          <c:yVal>
            <c:numRef>
              <c:f>Sheet1!$B$183:$B$184</c:f>
              <c:numCache>
                <c:formatCode>General</c:formatCode>
                <c:ptCount val="2"/>
                <c:pt idx="0">
                  <c:v>0.23931490934558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763156158836676</c:v>
                </c:pt>
                <c:pt idx="1">
                  <c:v>0.4369999578400879</c:v>
                </c:pt>
                <c:pt idx="2">
                  <c:v>0.40982672883982735</c:v>
                </c:pt>
                <c:pt idx="3">
                  <c:v>0.4137937158907402</c:v>
                </c:pt>
                <c:pt idx="4">
                  <c:v>0.406426004655123</c:v>
                </c:pt>
                <c:pt idx="5">
                  <c:v>0.35308118608115535</c:v>
                </c:pt>
                <c:pt idx="6">
                  <c:v>0.3879391040152353</c:v>
                </c:pt>
                <c:pt idx="7">
                  <c:v>0.4076041319931886</c:v>
                </c:pt>
                <c:pt idx="8">
                  <c:v>0.38002870953728596</c:v>
                </c:pt>
                <c:pt idx="9">
                  <c:v>0.36195217081644054</c:v>
                </c:pt>
                <c:pt idx="10">
                  <c:v>0.39424929305784673</c:v>
                </c:pt>
                <c:pt idx="11">
                  <c:v>0.383379313348778</c:v>
                </c:pt>
                <c:pt idx="12">
                  <c:v>0.4273928361817457</c:v>
                </c:pt>
                <c:pt idx="13">
                  <c:v>0.4910934184554896</c:v>
                </c:pt>
                <c:pt idx="14">
                  <c:v>0.4602832299041484</c:v>
                </c:pt>
                <c:pt idx="15">
                  <c:v>0.3960629838963164</c:v>
                </c:pt>
                <c:pt idx="16">
                  <c:v>0.38084149840117787</c:v>
                </c:pt>
                <c:pt idx="17">
                  <c:v>0.35884891866337076</c:v>
                </c:pt>
                <c:pt idx="18">
                  <c:v>0.3009681252572998</c:v>
                </c:pt>
                <c:pt idx="19">
                  <c:v>0.3427966884881372</c:v>
                </c:pt>
                <c:pt idx="20">
                  <c:v>0.3634263351456678</c:v>
                </c:pt>
                <c:pt idx="21">
                  <c:v>0.3143134735144459</c:v>
                </c:pt>
                <c:pt idx="22">
                  <c:v>0.32172067762727913</c:v>
                </c:pt>
                <c:pt idx="23">
                  <c:v>0.3236844272607915</c:v>
                </c:pt>
                <c:pt idx="24">
                  <c:v>0.33327301733703624</c:v>
                </c:pt>
                <c:pt idx="25">
                  <c:v>0.3191834442816451</c:v>
                </c:pt>
                <c:pt idx="26">
                  <c:v>0.3079499796567897</c:v>
                </c:pt>
                <c:pt idx="27">
                  <c:v>0.3321868515347371</c:v>
                </c:pt>
                <c:pt idx="28">
                  <c:v>0.408050144913376</c:v>
                </c:pt>
                <c:pt idx="29">
                  <c:v>0.4202814290094796</c:v>
                </c:pt>
                <c:pt idx="30">
                  <c:v>0.4015408663269306</c:v>
                </c:pt>
                <c:pt idx="31">
                  <c:v>0.31031334871438565</c:v>
                </c:pt>
                <c:pt idx="32">
                  <c:v>0.2876963273581863</c:v>
                </c:pt>
                <c:pt idx="33">
                  <c:v>0.2793141128457583</c:v>
                </c:pt>
                <c:pt idx="34">
                  <c:v>0.29692803656853534</c:v>
                </c:pt>
                <c:pt idx="35">
                  <c:v>0.3088105644293466</c:v>
                </c:pt>
                <c:pt idx="36">
                  <c:v>0.33486010338496003</c:v>
                </c:pt>
                <c:pt idx="37">
                  <c:v>0.3355486654417635</c:v>
                </c:pt>
                <c:pt idx="38">
                  <c:v>0.32815985910207573</c:v>
                </c:pt>
                <c:pt idx="39">
                  <c:v>0.3627461166268017</c:v>
                </c:pt>
                <c:pt idx="40">
                  <c:v>0.32861110255428666</c:v>
                </c:pt>
                <c:pt idx="41">
                  <c:v>0.35779902970526684</c:v>
                </c:pt>
                <c:pt idx="42">
                  <c:v>0.32012666239839094</c:v>
                </c:pt>
                <c:pt idx="43">
                  <c:v>0.38653689463087554</c:v>
                </c:pt>
                <c:pt idx="44">
                  <c:v>0.40260159719080846</c:v>
                </c:pt>
                <c:pt idx="45">
                  <c:v>0.40843157088236787</c:v>
                </c:pt>
                <c:pt idx="46">
                  <c:v>0.3778324532358984</c:v>
                </c:pt>
                <c:pt idx="47">
                  <c:v>0.40121561178614484</c:v>
                </c:pt>
                <c:pt idx="48">
                  <c:v>0.4226455644076282</c:v>
                </c:pt>
                <c:pt idx="49">
                  <c:v>0.4588923510170067</c:v>
                </c:pt>
                <c:pt idx="50">
                  <c:v>0.45247994976875583</c:v>
                </c:pt>
                <c:pt idx="51">
                  <c:v>0.37817577066248415</c:v>
                </c:pt>
                <c:pt idx="52">
                  <c:v>0.49989093531870077</c:v>
                </c:pt>
                <c:pt idx="53">
                  <c:v>0.8602237225641903</c:v>
                </c:pt>
                <c:pt idx="54">
                  <c:v>0.33836445962956385</c:v>
                </c:pt>
              </c:numCache>
            </c:numRef>
          </c:xVal>
          <c:yVal>
            <c:numRef>
              <c:f>Sheet1!$B$187:$B$241</c:f>
              <c:numCache>
                <c:formatCode>General</c:formatCode>
                <c:ptCount val="55"/>
                <c:pt idx="0">
                  <c:v>0.24416090707430288</c:v>
                </c:pt>
                <c:pt idx="1">
                  <c:v>0.2519097140229171</c:v>
                </c:pt>
                <c:pt idx="2">
                  <c:v>0.24843995396776622</c:v>
                </c:pt>
                <c:pt idx="3">
                  <c:v>0.24894650006902003</c:v>
                </c:pt>
                <c:pt idx="4">
                  <c:v>0.24800571418954334</c:v>
                </c:pt>
                <c:pt idx="5">
                  <c:v>0.2411940938026011</c:v>
                </c:pt>
                <c:pt idx="6">
                  <c:v>0.24564511474134337</c:v>
                </c:pt>
                <c:pt idx="7">
                  <c:v>0.24815614972215752</c:v>
                </c:pt>
                <c:pt idx="8">
                  <c:v>0.24463503343007148</c:v>
                </c:pt>
                <c:pt idx="9">
                  <c:v>0.24232683325303778</c:v>
                </c:pt>
                <c:pt idx="10">
                  <c:v>0.2464508652055335</c:v>
                </c:pt>
                <c:pt idx="11">
                  <c:v>0.24506287331857496</c:v>
                </c:pt>
                <c:pt idx="12">
                  <c:v>0.25068297696583897</c:v>
                </c:pt>
                <c:pt idx="13">
                  <c:v>0.25881692879987284</c:v>
                </c:pt>
                <c:pt idx="14">
                  <c:v>0.2548827639817687</c:v>
                </c:pt>
                <c:pt idx="15">
                  <c:v>0.2466824560857949</c:v>
                </c:pt>
                <c:pt idx="16">
                  <c:v>0.24473881875249953</c:v>
                </c:pt>
                <c:pt idx="17">
                  <c:v>0.24193057779286853</c:v>
                </c:pt>
                <c:pt idx="18">
                  <c:v>0.23453975703620022</c:v>
                </c:pt>
                <c:pt idx="19">
                  <c:v>0.2398808623520728</c:v>
                </c:pt>
                <c:pt idx="20">
                  <c:v>0.24251506986283605</c:v>
                </c:pt>
                <c:pt idx="21">
                  <c:v>0.23624382968447766</c:v>
                </c:pt>
                <c:pt idx="22">
                  <c:v>0.23718965842462525</c:v>
                </c:pt>
                <c:pt idx="23">
                  <c:v>0.2374404103701012</c:v>
                </c:pt>
                <c:pt idx="24">
                  <c:v>0.23866478112233866</c:v>
                </c:pt>
                <c:pt idx="25">
                  <c:v>0.2368656781235284</c:v>
                </c:pt>
                <c:pt idx="26">
                  <c:v>0.23543127270796663</c:v>
                </c:pt>
                <c:pt idx="27">
                  <c:v>0.23852608819357218</c:v>
                </c:pt>
                <c:pt idx="28">
                  <c:v>0.24821310128336257</c:v>
                </c:pt>
                <c:pt idx="29">
                  <c:v>0.2497749186507228</c:v>
                </c:pt>
                <c:pt idx="30">
                  <c:v>0.24738192899879968</c:v>
                </c:pt>
                <c:pt idx="31">
                  <c:v>0.23573305221129864</c:v>
                </c:pt>
                <c:pt idx="32">
                  <c:v>0.23284507606140925</c:v>
                </c:pt>
                <c:pt idx="33">
                  <c:v>0.2317747478685894</c:v>
                </c:pt>
                <c:pt idx="34">
                  <c:v>0.23402387655871232</c:v>
                </c:pt>
                <c:pt idx="35">
                  <c:v>0.2355411611083426</c:v>
                </c:pt>
                <c:pt idx="36">
                  <c:v>0.23886743674979907</c:v>
                </c:pt>
                <c:pt idx="37">
                  <c:v>0.2389553595034831</c:v>
                </c:pt>
                <c:pt idx="38">
                  <c:v>0.2380118799820597</c:v>
                </c:pt>
                <c:pt idx="39">
                  <c:v>0.24242821249871813</c:v>
                </c:pt>
                <c:pt idx="40">
                  <c:v>0.2380694994319092</c:v>
                </c:pt>
                <c:pt idx="41">
                  <c:v>0.24179651706828045</c:v>
                </c:pt>
                <c:pt idx="42">
                  <c:v>0.23698611800738423</c:v>
                </c:pt>
                <c:pt idx="43">
                  <c:v>0.24546606608611132</c:v>
                </c:pt>
                <c:pt idx="44">
                  <c:v>0.24751737413050315</c:v>
                </c:pt>
                <c:pt idx="45">
                  <c:v>0.2482618057119453</c:v>
                </c:pt>
                <c:pt idx="46">
                  <c:v>0.24435459261880996</c:v>
                </c:pt>
                <c:pt idx="47">
                  <c:v>0.24734039712147424</c:v>
                </c:pt>
                <c:pt idx="48">
                  <c:v>0.2500767960083745</c:v>
                </c:pt>
                <c:pt idx="49">
                  <c:v>0.25470516212208133</c:v>
                </c:pt>
                <c:pt idx="50">
                  <c:v>0.25388636014206756</c:v>
                </c:pt>
                <c:pt idx="51">
                  <c:v>0.2443984309529657</c:v>
                </c:pt>
                <c:pt idx="52">
                  <c:v>0.2599402871094868</c:v>
                </c:pt>
                <c:pt idx="53">
                  <c:v>0.3059513192077922</c:v>
                </c:pt>
                <c:pt idx="54">
                  <c:v>0.23931490934558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9433962264151"/>
          <c:min val="0.1430027440219521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3.8841</c:v>
                </c:pt>
                <c:pt idx="1">
                  <c:v>898.2551</c:v>
                </c:pt>
                <c:pt idx="2">
                  <c:v>959.0616</c:v>
                </c:pt>
                <c:pt idx="3">
                  <c:v>963.5135</c:v>
                </c:pt>
                <c:pt idx="4">
                  <c:v>962.8829</c:v>
                </c:pt>
                <c:pt idx="5">
                  <c:v>949.3995</c:v>
                </c:pt>
                <c:pt idx="6">
                  <c:v>878.9143</c:v>
                </c:pt>
                <c:pt idx="7">
                  <c:v>889.6924</c:v>
                </c:pt>
                <c:pt idx="8">
                  <c:v>909.6734</c:v>
                </c:pt>
                <c:pt idx="9">
                  <c:v>853.9048</c:v>
                </c:pt>
                <c:pt idx="10">
                  <c:v>845.4185</c:v>
                </c:pt>
                <c:pt idx="11">
                  <c:v>930.5423</c:v>
                </c:pt>
                <c:pt idx="12">
                  <c:v>951.2214</c:v>
                </c:pt>
                <c:pt idx="13">
                  <c:v>974.586</c:v>
                </c:pt>
                <c:pt idx="14">
                  <c:v>983.389</c:v>
                </c:pt>
                <c:pt idx="15">
                  <c:v>995.3389</c:v>
                </c:pt>
                <c:pt idx="16">
                  <c:v>1031.4331</c:v>
                </c:pt>
                <c:pt idx="17">
                  <c:v>1065.0155</c:v>
                </c:pt>
                <c:pt idx="18">
                  <c:v>1092.5549</c:v>
                </c:pt>
                <c:pt idx="19">
                  <c:v>1113.4044</c:v>
                </c:pt>
                <c:pt idx="20">
                  <c:v>1144.5746</c:v>
                </c:pt>
                <c:pt idx="21">
                  <c:v>1162.3077</c:v>
                </c:pt>
                <c:pt idx="22">
                  <c:v>1116.4989</c:v>
                </c:pt>
                <c:pt idx="23">
                  <c:v>1092.3333</c:v>
                </c:pt>
                <c:pt idx="24">
                  <c:v>1093.2543</c:v>
                </c:pt>
                <c:pt idx="25">
                  <c:v>1062.4444</c:v>
                </c:pt>
                <c:pt idx="26">
                  <c:v>1038.9386</c:v>
                </c:pt>
                <c:pt idx="27">
                  <c:v>1058.1858</c:v>
                </c:pt>
                <c:pt idx="28">
                  <c:v>1054.175</c:v>
                </c:pt>
                <c:pt idx="29">
                  <c:v>1038.3494</c:v>
                </c:pt>
                <c:pt idx="30">
                  <c:v>1017.3305</c:v>
                </c:pt>
                <c:pt idx="31">
                  <c:v>1035.5029</c:v>
                </c:pt>
                <c:pt idx="32">
                  <c:v>1013.2225</c:v>
                </c:pt>
                <c:pt idx="33">
                  <c:v>984.7286</c:v>
                </c:pt>
                <c:pt idx="34">
                  <c:v>992.2019</c:v>
                </c:pt>
                <c:pt idx="35">
                  <c:v>1007.5222</c:v>
                </c:pt>
                <c:pt idx="36">
                  <c:v>1131.2092</c:v>
                </c:pt>
                <c:pt idx="37">
                  <c:v>1122.9653</c:v>
                </c:pt>
                <c:pt idx="38">
                  <c:v>1202.6879</c:v>
                </c:pt>
                <c:pt idx="39">
                  <c:v>1220.675</c:v>
                </c:pt>
                <c:pt idx="40">
                  <c:v>1228.577</c:v>
                </c:pt>
                <c:pt idx="41">
                  <c:v>1256.2067</c:v>
                </c:pt>
                <c:pt idx="42">
                  <c:v>1263.2936</c:v>
                </c:pt>
                <c:pt idx="43">
                  <c:v>1274.8603</c:v>
                </c:pt>
                <c:pt idx="44">
                  <c:v>1174.1837</c:v>
                </c:pt>
                <c:pt idx="45">
                  <c:v>1128.4816</c:v>
                </c:pt>
                <c:pt idx="46">
                  <c:v>1109.1488</c:v>
                </c:pt>
                <c:pt idx="47">
                  <c:v>1081.7121</c:v>
                </c:pt>
                <c:pt idx="48">
                  <c:v>1103.2186</c:v>
                </c:pt>
                <c:pt idx="49">
                  <c:v>1063.203</c:v>
                </c:pt>
                <c:pt idx="50">
                  <c:v>1069.2823</c:v>
                </c:pt>
                <c:pt idx="51">
                  <c:v>1069.7688</c:v>
                </c:pt>
                <c:pt idx="52">
                  <c:v>1071.1773</c:v>
                </c:pt>
                <c:pt idx="53">
                  <c:v>1166.9073</c:v>
                </c:pt>
                <c:pt idx="54">
                  <c:v>1154.6671</c:v>
                </c:pt>
                <c:pt idx="55">
                  <c:v>1173.8838</c:v>
                </c:pt>
                <c:pt idx="56">
                  <c:v>1207.6632</c:v>
                </c:pt>
                <c:pt idx="57">
                  <c:v>1178.8158</c:v>
                </c:pt>
                <c:pt idx="58">
                  <c:v>1109.5246</c:v>
                </c:pt>
                <c:pt idx="59">
                  <c:v>1097.0214</c:v>
                </c:pt>
                <c:pt idx="60">
                  <c:v>1139.9214</c:v>
                </c:pt>
                <c:pt idx="61">
                  <c:v>1174.9365</c:v>
                </c:pt>
                <c:pt idx="62">
                  <c:v>1056.7439</c:v>
                </c:pt>
                <c:pt idx="63">
                  <c:v>1104.9682</c:v>
                </c:pt>
                <c:pt idx="64">
                  <c:v>1149.8124</c:v>
                </c:pt>
                <c:pt idx="65">
                  <c:v>1137.9959</c:v>
                </c:pt>
                <c:pt idx="66">
                  <c:v>1110.9394</c:v>
                </c:pt>
                <c:pt idx="67">
                  <c:v>1181.2147</c:v>
                </c:pt>
                <c:pt idx="68">
                  <c:v>1257.9361</c:v>
                </c:pt>
                <c:pt idx="69">
                  <c:v>1295.8143</c:v>
                </c:pt>
                <c:pt idx="70">
                  <c:v>1275.7213</c:v>
                </c:pt>
                <c:pt idx="71">
                  <c:v>1338.0884</c:v>
                </c:pt>
                <c:pt idx="72">
                  <c:v>1394.1</c:v>
                </c:pt>
                <c:pt idx="73">
                  <c:v>1352.4835</c:v>
                </c:pt>
                <c:pt idx="74">
                  <c:v>1327.4582</c:v>
                </c:pt>
                <c:pt idx="75">
                  <c:v>1284.9857</c:v>
                </c:pt>
                <c:pt idx="76">
                  <c:v>1246.5445</c:v>
                </c:pt>
                <c:pt idx="77">
                  <c:v>1309.7065</c:v>
                </c:pt>
                <c:pt idx="78">
                  <c:v>1337.9696</c:v>
                </c:pt>
                <c:pt idx="79">
                  <c:v>1300.1521</c:v>
                </c:pt>
                <c:pt idx="80">
                  <c:v>1281.6863</c:v>
                </c:pt>
                <c:pt idx="81">
                  <c:v>1228.2628</c:v>
                </c:pt>
                <c:pt idx="82">
                  <c:v>1245.2218</c:v>
                </c:pt>
                <c:pt idx="83">
                  <c:v>1207.5843</c:v>
                </c:pt>
                <c:pt idx="84">
                  <c:v>1226.3483</c:v>
                </c:pt>
                <c:pt idx="85">
                  <c:v>1210.4447</c:v>
                </c:pt>
                <c:pt idx="86">
                  <c:v>1200.1712</c:v>
                </c:pt>
                <c:pt idx="87">
                  <c:v>1215.5091</c:v>
                </c:pt>
                <c:pt idx="88">
                  <c:v>1229.9897</c:v>
                </c:pt>
                <c:pt idx="89">
                  <c:v>1237.7019</c:v>
                </c:pt>
                <c:pt idx="90">
                  <c:v>1379.9934</c:v>
                </c:pt>
                <c:pt idx="91">
                  <c:v>1409.7546</c:v>
                </c:pt>
                <c:pt idx="92">
                  <c:v>1324.6567</c:v>
                </c:pt>
                <c:pt idx="93">
                  <c:v>1370.6368</c:v>
                </c:pt>
                <c:pt idx="94">
                  <c:v>1380.1491</c:v>
                </c:pt>
                <c:pt idx="95">
                  <c:v>1333.6501</c:v>
                </c:pt>
                <c:pt idx="96">
                  <c:v>1252.5375</c:v>
                </c:pt>
                <c:pt idx="97">
                  <c:v>1195.3203</c:v>
                </c:pt>
                <c:pt idx="98">
                  <c:v>1174.4143</c:v>
                </c:pt>
                <c:pt idx="99">
                  <c:v>1132.0811</c:v>
                </c:pt>
                <c:pt idx="100">
                  <c:v>1149.4882</c:v>
                </c:pt>
                <c:pt idx="101">
                  <c:v>1166.9426</c:v>
                </c:pt>
                <c:pt idx="102">
                  <c:v>1198.0824</c:v>
                </c:pt>
                <c:pt idx="103">
                  <c:v>1203.5286</c:v>
                </c:pt>
                <c:pt idx="104">
                  <c:v>1275.8206</c:v>
                </c:pt>
              </c:numCache>
            </c:numRef>
          </c:xVal>
          <c:yVal>
            <c:numRef>
              <c:f>Sheet1!$B$2:$B$106</c:f>
              <c:numCache>
                <c:formatCode>General</c:formatCode>
                <c:ptCount val="105"/>
                <c:pt idx="0">
                  <c:v>0.2995720399429387</c:v>
                </c:pt>
                <c:pt idx="1">
                  <c:v>0.3014463334179142</c:v>
                </c:pt>
                <c:pt idx="2">
                  <c:v>0.2982067744077928</c:v>
                </c:pt>
                <c:pt idx="3">
                  <c:v>0.29277389277389276</c:v>
                </c:pt>
                <c:pt idx="4">
                  <c:v>0.28530993489951884</c:v>
                </c:pt>
                <c:pt idx="5">
                  <c:v>0.29013939081053175</c:v>
                </c:pt>
                <c:pt idx="6">
                  <c:v>0.3295136948015651</c:v>
                </c:pt>
                <c:pt idx="7">
                  <c:v>0.33245283018867927</c:v>
                </c:pt>
                <c:pt idx="8">
                  <c:v>0.3241469816272966</c:v>
                </c:pt>
                <c:pt idx="9">
                  <c:v>0.302060737527115</c:v>
                </c:pt>
                <c:pt idx="10">
                  <c:v>0.2991357680512963</c:v>
                </c:pt>
                <c:pt idx="11">
                  <c:v>0.25887071891391544</c:v>
                </c:pt>
                <c:pt idx="12">
                  <c:v>0.24685293214614676</c:v>
                </c:pt>
                <c:pt idx="13">
                  <c:v>0.2271412037037037</c:v>
                </c:pt>
                <c:pt idx="14">
                  <c:v>0.22119549523534507</c:v>
                </c:pt>
                <c:pt idx="15">
                  <c:v>0.2240381341504937</c:v>
                </c:pt>
                <c:pt idx="16">
                  <c:v>0.21096543504171633</c:v>
                </c:pt>
                <c:pt idx="17">
                  <c:v>0.19499568593615185</c:v>
                </c:pt>
                <c:pt idx="18">
                  <c:v>0.19181890389197775</c:v>
                </c:pt>
                <c:pt idx="19">
                  <c:v>0.18353576248313092</c:v>
                </c:pt>
                <c:pt idx="20">
                  <c:v>0.1787534300274402</c:v>
                </c:pt>
                <c:pt idx="21">
                  <c:v>0.20851769911504425</c:v>
                </c:pt>
                <c:pt idx="22">
                  <c:v>0.21794246708922477</c:v>
                </c:pt>
                <c:pt idx="23">
                  <c:v>0.23401950162513543</c:v>
                </c:pt>
                <c:pt idx="24">
                  <c:v>0.249054820415879</c:v>
                </c:pt>
                <c:pt idx="25">
                  <c:v>0.2545357524012807</c:v>
                </c:pt>
                <c:pt idx="26">
                  <c:v>0.277330809275911</c:v>
                </c:pt>
                <c:pt idx="27">
                  <c:v>0.2758470894874023</c:v>
                </c:pt>
                <c:pt idx="28">
                  <c:v>0.28754125412541254</c:v>
                </c:pt>
                <c:pt idx="29">
                  <c:v>0.275</c:v>
                </c:pt>
                <c:pt idx="30">
                  <c:v>0.28702807357212</c:v>
                </c:pt>
                <c:pt idx="31">
                  <c:v>0.29462738301559793</c:v>
                </c:pt>
                <c:pt idx="32">
                  <c:v>0.2896776825785394</c:v>
                </c:pt>
                <c:pt idx="33">
                  <c:v>0.2825233926954422</c:v>
                </c:pt>
                <c:pt idx="34">
                  <c:v>0.2757913247362251</c:v>
                </c:pt>
                <c:pt idx="35">
                  <c:v>0.27711244178310046</c:v>
                </c:pt>
                <c:pt idx="36">
                  <c:v>0.2572509457755359</c:v>
                </c:pt>
                <c:pt idx="37">
                  <c:v>0.2558139534883721</c:v>
                </c:pt>
                <c:pt idx="38">
                  <c:v>0.2448290417897847</c:v>
                </c:pt>
                <c:pt idx="39">
                  <c:v>0.22462896109105496</c:v>
                </c:pt>
                <c:pt idx="40">
                  <c:v>0.22994652406417113</c:v>
                </c:pt>
                <c:pt idx="41">
                  <c:v>0.21902570003835828</c:v>
                </c:pt>
                <c:pt idx="42">
                  <c:v>0.21819814426818318</c:v>
                </c:pt>
                <c:pt idx="43">
                  <c:v>0.21658727934995797</c:v>
                </c:pt>
                <c:pt idx="44">
                  <c:v>0.23023848807559621</c:v>
                </c:pt>
                <c:pt idx="45">
                  <c:v>0.23726962457337883</c:v>
                </c:pt>
                <c:pt idx="46">
                  <c:v>0.24931002759889603</c:v>
                </c:pt>
                <c:pt idx="47">
                  <c:v>0.24387990762124712</c:v>
                </c:pt>
                <c:pt idx="48">
                  <c:v>0.2407283288650581</c:v>
                </c:pt>
                <c:pt idx="49">
                  <c:v>0.26079690386137744</c:v>
                </c:pt>
                <c:pt idx="50">
                  <c:v>0.2515649452269171</c:v>
                </c:pt>
                <c:pt idx="51">
                  <c:v>0.23695445920303607</c:v>
                </c:pt>
                <c:pt idx="52">
                  <c:v>0.2509818589863475</c:v>
                </c:pt>
                <c:pt idx="53">
                  <c:v>0.24439675727229376</c:v>
                </c:pt>
                <c:pt idx="54">
                  <c:v>0.23053392658509456</c:v>
                </c:pt>
                <c:pt idx="55">
                  <c:v>0.23181565796779566</c:v>
                </c:pt>
                <c:pt idx="56">
                  <c:v>0.23170361372608564</c:v>
                </c:pt>
                <c:pt idx="57">
                  <c:v>0.2262710015273838</c:v>
                </c:pt>
                <c:pt idx="58">
                  <c:v>0.2588436667934576</c:v>
                </c:pt>
                <c:pt idx="59">
                  <c:v>0.2747291568535092</c:v>
                </c:pt>
                <c:pt idx="60">
                  <c:v>0.2596024711254365</c:v>
                </c:pt>
                <c:pt idx="61">
                  <c:v>0.2532261991721451</c:v>
                </c:pt>
                <c:pt idx="62">
                  <c:v>0.27215954875100723</c:v>
                </c:pt>
                <c:pt idx="63">
                  <c:v>0.29571577847439917</c:v>
                </c:pt>
                <c:pt idx="64">
                  <c:v>0.25071100415663966</c:v>
                </c:pt>
                <c:pt idx="65">
                  <c:v>0.23877699587478768</c:v>
                </c:pt>
                <c:pt idx="66">
                  <c:v>0.25421657296504524</c:v>
                </c:pt>
                <c:pt idx="67">
                  <c:v>0.2291210129047967</c:v>
                </c:pt>
                <c:pt idx="68">
                  <c:v>0.20557156580211336</c:v>
                </c:pt>
                <c:pt idx="69">
                  <c:v>0.1937857726901063</c:v>
                </c:pt>
                <c:pt idx="70">
                  <c:v>0.19162303664921465</c:v>
                </c:pt>
                <c:pt idx="71">
                  <c:v>0.19690522243713732</c:v>
                </c:pt>
                <c:pt idx="72">
                  <c:v>0.20840950639853748</c:v>
                </c:pt>
                <c:pt idx="73">
                  <c:v>0.2144981412639405</c:v>
                </c:pt>
                <c:pt idx="74">
                  <c:v>0.23168764117457244</c:v>
                </c:pt>
                <c:pt idx="75">
                  <c:v>0.23470149253731343</c:v>
                </c:pt>
                <c:pt idx="76">
                  <c:v>0.23475355054302421</c:v>
                </c:pt>
                <c:pt idx="77">
                  <c:v>0.22149978326831382</c:v>
                </c:pt>
                <c:pt idx="78">
                  <c:v>0.2261467889908257</c:v>
                </c:pt>
                <c:pt idx="79">
                  <c:v>0.1984156921916258</c:v>
                </c:pt>
                <c:pt idx="80">
                  <c:v>0.19687613512531785</c:v>
                </c:pt>
                <c:pt idx="81">
                  <c:v>0.2085696282293636</c:v>
                </c:pt>
                <c:pt idx="82">
                  <c:v>0.2166370106761566</c:v>
                </c:pt>
                <c:pt idx="83">
                  <c:v>0.2156374501992032</c:v>
                </c:pt>
                <c:pt idx="84">
                  <c:v>0.20747295968534907</c:v>
                </c:pt>
                <c:pt idx="85">
                  <c:v>0.22307364836100468</c:v>
                </c:pt>
                <c:pt idx="86">
                  <c:v>0.2453781512605042</c:v>
                </c:pt>
                <c:pt idx="87">
                  <c:v>0.2335920959774171</c:v>
                </c:pt>
                <c:pt idx="88">
                  <c:v>0.2315388280133397</c:v>
                </c:pt>
                <c:pt idx="89">
                  <c:v>0.25364020666979803</c:v>
                </c:pt>
                <c:pt idx="90">
                  <c:v>0.20766773162939298</c:v>
                </c:pt>
                <c:pt idx="91">
                  <c:v>0.20027560863573726</c:v>
                </c:pt>
                <c:pt idx="92">
                  <c:v>0.21203119197920534</c:v>
                </c:pt>
                <c:pt idx="93">
                  <c:v>0.21360184879498184</c:v>
                </c:pt>
                <c:pt idx="94">
                  <c:v>0.2025036818851252</c:v>
                </c:pt>
                <c:pt idx="95">
                  <c:v>0.20326975476839237</c:v>
                </c:pt>
                <c:pt idx="96">
                  <c:v>0.2229025318550389</c:v>
                </c:pt>
                <c:pt idx="97">
                  <c:v>0.2370700636942675</c:v>
                </c:pt>
                <c:pt idx="98">
                  <c:v>0.24104425193163193</c:v>
                </c:pt>
                <c:pt idx="99">
                  <c:v>0.24941774295998306</c:v>
                </c:pt>
                <c:pt idx="100">
                  <c:v>0.2581321093594093</c:v>
                </c:pt>
                <c:pt idx="101">
                  <c:v>0.24458361543669602</c:v>
                </c:pt>
                <c:pt idx="102">
                  <c:v>0.23138056312443234</c:v>
                </c:pt>
                <c:pt idx="103">
                  <c:v>0.23065813905508561</c:v>
                </c:pt>
                <c:pt idx="104">
                  <c:v>0.233928571428571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9.5308</c:v>
                </c:pt>
                <c:pt idx="1">
                  <c:v>1314.3195</c:v>
                </c:pt>
                <c:pt idx="2">
                  <c:v>1300.63</c:v>
                </c:pt>
                <c:pt idx="3">
                  <c:v>1265.0871</c:v>
                </c:pt>
                <c:pt idx="4">
                  <c:v>1333.3913</c:v>
                </c:pt>
                <c:pt idx="5">
                  <c:v>1278.6892</c:v>
                </c:pt>
                <c:pt idx="6">
                  <c:v>1129.8347</c:v>
                </c:pt>
                <c:pt idx="7">
                  <c:v>1147.2635</c:v>
                </c:pt>
                <c:pt idx="8">
                  <c:v>1210.4725</c:v>
                </c:pt>
                <c:pt idx="9">
                  <c:v>1162.8209</c:v>
                </c:pt>
                <c:pt idx="10">
                  <c:v>1190.4152</c:v>
                </c:pt>
                <c:pt idx="11">
                  <c:v>1033.3228</c:v>
                </c:pt>
                <c:pt idx="12">
                  <c:v>1098.2091</c:v>
                </c:pt>
                <c:pt idx="13">
                  <c:v>1175.5174</c:v>
                </c:pt>
                <c:pt idx="14">
                  <c:v>1122.2802</c:v>
                </c:pt>
                <c:pt idx="15">
                  <c:v>1178.5245</c:v>
                </c:pt>
                <c:pt idx="16">
                  <c:v>1195.5323</c:v>
                </c:pt>
                <c:pt idx="17">
                  <c:v>1168.8146</c:v>
                </c:pt>
                <c:pt idx="18">
                  <c:v>1067.5867</c:v>
                </c:pt>
                <c:pt idx="19">
                  <c:v>1262.6384</c:v>
                </c:pt>
                <c:pt idx="20">
                  <c:v>1350.6457</c:v>
                </c:pt>
                <c:pt idx="21">
                  <c:v>1225.3584</c:v>
                </c:pt>
                <c:pt idx="22">
                  <c:v>1264.4462</c:v>
                </c:pt>
                <c:pt idx="23">
                  <c:v>1278.874</c:v>
                </c:pt>
                <c:pt idx="24">
                  <c:v>1261.6444</c:v>
                </c:pt>
                <c:pt idx="25">
                  <c:v>1220.2084</c:v>
                </c:pt>
                <c:pt idx="26">
                  <c:v>1207.1581</c:v>
                </c:pt>
                <c:pt idx="27">
                  <c:v>1214.5512</c:v>
                </c:pt>
                <c:pt idx="28">
                  <c:v>1227.8388</c:v>
                </c:pt>
                <c:pt idx="29">
                  <c:v>1247.4023</c:v>
                </c:pt>
                <c:pt idx="30">
                  <c:v>1229.1969</c:v>
                </c:pt>
                <c:pt idx="31">
                  <c:v>1254.8337</c:v>
                </c:pt>
                <c:pt idx="32">
                  <c:v>1248.6596</c:v>
                </c:pt>
                <c:pt idx="33">
                  <c:v>1221.3671</c:v>
                </c:pt>
                <c:pt idx="34">
                  <c:v>1231.0868</c:v>
                </c:pt>
                <c:pt idx="35">
                  <c:v>1265.1996</c:v>
                </c:pt>
                <c:pt idx="36">
                  <c:v>1370.9107</c:v>
                </c:pt>
                <c:pt idx="37">
                  <c:v>1385.6562</c:v>
                </c:pt>
                <c:pt idx="38">
                  <c:v>1373.8106</c:v>
                </c:pt>
                <c:pt idx="39">
                  <c:v>1329.1901</c:v>
                </c:pt>
                <c:pt idx="40">
                  <c:v>1330.2509</c:v>
                </c:pt>
                <c:pt idx="41">
                  <c:v>1379.3646</c:v>
                </c:pt>
                <c:pt idx="42">
                  <c:v>1369.3256</c:v>
                </c:pt>
                <c:pt idx="43">
                  <c:v>1397.0591</c:v>
                </c:pt>
                <c:pt idx="44">
                  <c:v>1286.7697</c:v>
                </c:pt>
                <c:pt idx="45">
                  <c:v>1228.0</c:v>
                </c:pt>
                <c:pt idx="46">
                  <c:v>1191.4858</c:v>
                </c:pt>
                <c:pt idx="47">
                  <c:v>1172.3726</c:v>
                </c:pt>
                <c:pt idx="48">
                  <c:v>1176.2923</c:v>
                </c:pt>
                <c:pt idx="49">
                  <c:v>1197.7033</c:v>
                </c:pt>
                <c:pt idx="50">
                  <c:v>1152.4396</c:v>
                </c:pt>
                <c:pt idx="51">
                  <c:v>1116.9033</c:v>
                </c:pt>
              </c:numCache>
            </c:numRef>
          </c:xVal>
          <c:yVal>
            <c:numRef>
              <c:f>Sheet1!$B$109:$B$160</c:f>
              <c:numCache>
                <c:formatCode>General</c:formatCode>
                <c:ptCount val="52"/>
                <c:pt idx="0">
                  <c:v>0.22774015550539253</c:v>
                </c:pt>
                <c:pt idx="1">
                  <c:v>0.23313925278990782</c:v>
                </c:pt>
                <c:pt idx="2">
                  <c:v>0.24355537224169932</c:v>
                </c:pt>
                <c:pt idx="3">
                  <c:v>0.2644841697178548</c:v>
                </c:pt>
                <c:pt idx="4">
                  <c:v>0.2309308678293759</c:v>
                </c:pt>
                <c:pt idx="5">
                  <c:v>0.2434047815333883</c:v>
                </c:pt>
                <c:pt idx="6">
                  <c:v>0.27111181003302404</c:v>
                </c:pt>
                <c:pt idx="7">
                  <c:v>0.2643800596506178</c:v>
                </c:pt>
                <c:pt idx="8">
                  <c:v>0.24603698811096433</c:v>
                </c:pt>
                <c:pt idx="9">
                  <c:v>0.2595051297525649</c:v>
                </c:pt>
                <c:pt idx="10">
                  <c:v>0.24941656942823803</c:v>
                </c:pt>
                <c:pt idx="11">
                  <c:v>0.26384156729131175</c:v>
                </c:pt>
                <c:pt idx="12">
                  <c:v>0.26065526239489706</c:v>
                </c:pt>
                <c:pt idx="13">
                  <c:v>0.26494940202391903</c:v>
                </c:pt>
                <c:pt idx="14">
                  <c:v>0.2760517799352751</c:v>
                </c:pt>
                <c:pt idx="15">
                  <c:v>0.26062322946175637</c:v>
                </c:pt>
                <c:pt idx="16">
                  <c:v>0.2644426362896664</c:v>
                </c:pt>
                <c:pt idx="17">
                  <c:v>0.2695789059425423</c:v>
                </c:pt>
                <c:pt idx="18">
                  <c:v>0.28207271207689094</c:v>
                </c:pt>
                <c:pt idx="19">
                  <c:v>0.253864168618267</c:v>
                </c:pt>
                <c:pt idx="20">
                  <c:v>0.22615535889872174</c:v>
                </c:pt>
                <c:pt idx="21">
                  <c:v>0.24806701030927836</c:v>
                </c:pt>
                <c:pt idx="22">
                  <c:v>0.24124513618677043</c:v>
                </c:pt>
                <c:pt idx="23">
                  <c:v>0.23864363403710812</c:v>
                </c:pt>
                <c:pt idx="24">
                  <c:v>0.2420448617631716</c:v>
                </c:pt>
                <c:pt idx="25">
                  <c:v>0.22989161437535655</c:v>
                </c:pt>
                <c:pt idx="26">
                  <c:v>0.23204134366925064</c:v>
                </c:pt>
                <c:pt idx="27">
                  <c:v>0.24474959612277866</c:v>
                </c:pt>
                <c:pt idx="28">
                  <c:v>0.24446749654218533</c:v>
                </c:pt>
                <c:pt idx="29">
                  <c:v>0.2288623284639221</c:v>
                </c:pt>
                <c:pt idx="30">
                  <c:v>0.228</c:v>
                </c:pt>
                <c:pt idx="31">
                  <c:v>0.2123404255319149</c:v>
                </c:pt>
                <c:pt idx="32">
                  <c:v>0.2185053380782918</c:v>
                </c:pt>
                <c:pt idx="33">
                  <c:v>0.23351318944844124</c:v>
                </c:pt>
                <c:pt idx="34">
                  <c:v>0.24364467295058553</c:v>
                </c:pt>
                <c:pt idx="35">
                  <c:v>0.23961393201846412</c:v>
                </c:pt>
                <c:pt idx="36">
                  <c:v>0.21503017004936917</c:v>
                </c:pt>
                <c:pt idx="37">
                  <c:v>0.21997034107760752</c:v>
                </c:pt>
                <c:pt idx="38">
                  <c:v>0.22871046228710462</c:v>
                </c:pt>
                <c:pt idx="39">
                  <c:v>0.2359594383775351</c:v>
                </c:pt>
                <c:pt idx="40">
                  <c:v>0.22946655376799321</c:v>
                </c:pt>
                <c:pt idx="41">
                  <c:v>0.22404580152671755</c:v>
                </c:pt>
                <c:pt idx="42">
                  <c:v>0.2328519855595668</c:v>
                </c:pt>
                <c:pt idx="43">
                  <c:v>0.21937673557543969</c:v>
                </c:pt>
                <c:pt idx="44">
                  <c:v>0.2142393421337373</c:v>
                </c:pt>
                <c:pt idx="45">
                  <c:v>0.23116438356164384</c:v>
                </c:pt>
                <c:pt idx="46">
                  <c:v>0.2564791706661547</c:v>
                </c:pt>
                <c:pt idx="47">
                  <c:v>0.2605832549388523</c:v>
                </c:pt>
                <c:pt idx="48">
                  <c:v>0.24702167360413377</c:v>
                </c:pt>
                <c:pt idx="49">
                  <c:v>0.25562679034238167</c:v>
                </c:pt>
                <c:pt idx="50">
                  <c:v>0.2587316176470588</c:v>
                </c:pt>
                <c:pt idx="51">
                  <c:v>0.24554707379134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9.7598418614405</c:v>
                </c:pt>
              </c:numCache>
            </c:numRef>
          </c:xVal>
          <c:yVal>
            <c:numRef>
              <c:f>Sheet1!$B$163:$B$164</c:f>
              <c:numCache>
                <c:formatCode>General</c:formatCode>
                <c:ptCount val="2"/>
                <c:pt idx="0">
                  <c:v>0.3059513192077922</c:v>
                </c:pt>
                <c:pt idx="1">
                  <c:v>0.30595131920779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9.7598418614405</c:v>
                </c:pt>
                <c:pt idx="1">
                  <c:v>839.7598418614405</c:v>
                </c:pt>
              </c:numCache>
            </c:numRef>
          </c:xVal>
          <c:yVal>
            <c:numRef>
              <c:f>Sheet1!$B$167:$B$168</c:f>
              <c:numCache>
                <c:formatCode>General</c:formatCode>
                <c:ptCount val="2"/>
                <c:pt idx="0">
                  <c:v>0.30595131920779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2.4423769981206</c:v>
                </c:pt>
              </c:numCache>
            </c:numRef>
          </c:xVal>
          <c:yVal>
            <c:numRef>
              <c:f>Sheet1!$B$171:$B$172</c:f>
              <c:numCache>
                <c:formatCode>General</c:formatCode>
                <c:ptCount val="2"/>
                <c:pt idx="0">
                  <c:v>0.2599402871094868</c:v>
                </c:pt>
                <c:pt idx="1">
                  <c:v>0.259940287109486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2.4423769981206</c:v>
                </c:pt>
                <c:pt idx="1">
                  <c:v>1132.4423769981206</c:v>
                </c:pt>
              </c:numCache>
            </c:numRef>
          </c:xVal>
          <c:yVal>
            <c:numRef>
              <c:f>Sheet1!$B$175:$B$176</c:f>
              <c:numCache>
                <c:formatCode>General</c:formatCode>
                <c:ptCount val="2"/>
                <c:pt idx="0">
                  <c:v>0.259940287109486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3.643255935017</c:v>
                </c:pt>
              </c:numCache>
            </c:numRef>
          </c:xVal>
          <c:yVal>
            <c:numRef>
              <c:f>Sheet1!$B$179:$B$180</c:f>
              <c:numCache>
                <c:formatCode>General</c:formatCode>
                <c:ptCount val="2"/>
                <c:pt idx="0">
                  <c:v>0.2393149093455818</c:v>
                </c:pt>
                <c:pt idx="1">
                  <c:v>0.23931490934558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3.643255935017</c:v>
                </c:pt>
                <c:pt idx="1">
                  <c:v>1263.643255935017</c:v>
                </c:pt>
              </c:numCache>
            </c:numRef>
          </c:xVal>
          <c:yVal>
            <c:numRef>
              <c:f>Sheet1!$B$183:$B$184</c:f>
              <c:numCache>
                <c:formatCode>General</c:formatCode>
                <c:ptCount val="2"/>
                <c:pt idx="0">
                  <c:v>0.23931490934558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9.5308</c:v>
                </c:pt>
                <c:pt idx="1">
                  <c:v>1314.3195</c:v>
                </c:pt>
                <c:pt idx="2">
                  <c:v>1300.63</c:v>
                </c:pt>
                <c:pt idx="3">
                  <c:v>1265.0871</c:v>
                </c:pt>
                <c:pt idx="4">
                  <c:v>1333.3913</c:v>
                </c:pt>
                <c:pt idx="5">
                  <c:v>1278.6892</c:v>
                </c:pt>
                <c:pt idx="6">
                  <c:v>1129.8347</c:v>
                </c:pt>
                <c:pt idx="7">
                  <c:v>1147.2635</c:v>
                </c:pt>
                <c:pt idx="8">
                  <c:v>1210.4725</c:v>
                </c:pt>
                <c:pt idx="9">
                  <c:v>1162.8209</c:v>
                </c:pt>
                <c:pt idx="10">
                  <c:v>1190.4152</c:v>
                </c:pt>
                <c:pt idx="11">
                  <c:v>1033.3228</c:v>
                </c:pt>
                <c:pt idx="12">
                  <c:v>1098.2091</c:v>
                </c:pt>
                <c:pt idx="13">
                  <c:v>1175.5174</c:v>
                </c:pt>
                <c:pt idx="14">
                  <c:v>1122.2802</c:v>
                </c:pt>
                <c:pt idx="15">
                  <c:v>1178.5245</c:v>
                </c:pt>
                <c:pt idx="16">
                  <c:v>1195.5323</c:v>
                </c:pt>
                <c:pt idx="17">
                  <c:v>1168.8146</c:v>
                </c:pt>
                <c:pt idx="18">
                  <c:v>1067.5867</c:v>
                </c:pt>
                <c:pt idx="19">
                  <c:v>1262.6384</c:v>
                </c:pt>
                <c:pt idx="20">
                  <c:v>1350.6457</c:v>
                </c:pt>
                <c:pt idx="21">
                  <c:v>1225.3584</c:v>
                </c:pt>
                <c:pt idx="22">
                  <c:v>1264.4462</c:v>
                </c:pt>
                <c:pt idx="23">
                  <c:v>1278.874</c:v>
                </c:pt>
                <c:pt idx="24">
                  <c:v>1261.6444</c:v>
                </c:pt>
                <c:pt idx="25">
                  <c:v>1220.2084</c:v>
                </c:pt>
                <c:pt idx="26">
                  <c:v>1207.1581</c:v>
                </c:pt>
                <c:pt idx="27">
                  <c:v>1214.5512</c:v>
                </c:pt>
                <c:pt idx="28">
                  <c:v>1227.8388</c:v>
                </c:pt>
                <c:pt idx="29">
                  <c:v>1247.4023</c:v>
                </c:pt>
                <c:pt idx="30">
                  <c:v>1229.1969</c:v>
                </c:pt>
                <c:pt idx="31">
                  <c:v>1254.8337</c:v>
                </c:pt>
                <c:pt idx="32">
                  <c:v>1248.6596</c:v>
                </c:pt>
                <c:pt idx="33">
                  <c:v>1221.3671</c:v>
                </c:pt>
                <c:pt idx="34">
                  <c:v>1231.0868</c:v>
                </c:pt>
                <c:pt idx="35">
                  <c:v>1265.1996</c:v>
                </c:pt>
                <c:pt idx="36">
                  <c:v>1370.9107</c:v>
                </c:pt>
                <c:pt idx="37">
                  <c:v>1385.6562</c:v>
                </c:pt>
                <c:pt idx="38">
                  <c:v>1373.8106</c:v>
                </c:pt>
                <c:pt idx="39">
                  <c:v>1329.1901</c:v>
                </c:pt>
                <c:pt idx="40">
                  <c:v>1330.2509</c:v>
                </c:pt>
                <c:pt idx="41">
                  <c:v>1379.3646</c:v>
                </c:pt>
                <c:pt idx="42">
                  <c:v>1369.3256</c:v>
                </c:pt>
                <c:pt idx="43">
                  <c:v>1397.0591</c:v>
                </c:pt>
                <c:pt idx="44">
                  <c:v>1286.7697</c:v>
                </c:pt>
                <c:pt idx="45">
                  <c:v>1228.0</c:v>
                </c:pt>
                <c:pt idx="46">
                  <c:v>1191.4858</c:v>
                </c:pt>
                <c:pt idx="47">
                  <c:v>1172.3726</c:v>
                </c:pt>
                <c:pt idx="48">
                  <c:v>1176.2923</c:v>
                </c:pt>
                <c:pt idx="49">
                  <c:v>1197.7033</c:v>
                </c:pt>
                <c:pt idx="50">
                  <c:v>1152.4396</c:v>
                </c:pt>
                <c:pt idx="51">
                  <c:v>1116.9033</c:v>
                </c:pt>
                <c:pt idx="52">
                  <c:v>1132.4423769981206</c:v>
                </c:pt>
                <c:pt idx="53">
                  <c:v>839.7598418614405</c:v>
                </c:pt>
                <c:pt idx="54">
                  <c:v>1263.643255935017</c:v>
                </c:pt>
              </c:numCache>
            </c:numRef>
          </c:xVal>
          <c:yVal>
            <c:numRef>
              <c:f>Sheet1!$B$187:$B$241</c:f>
              <c:numCache>
                <c:formatCode>General</c:formatCode>
                <c:ptCount val="55"/>
                <c:pt idx="0">
                  <c:v>0.23052913200950484</c:v>
                </c:pt>
                <c:pt idx="1">
                  <c:v>0.2313483721854242</c:v>
                </c:pt>
                <c:pt idx="2">
                  <c:v>0.23350042414717043</c:v>
                </c:pt>
                <c:pt idx="3">
                  <c:v>0.23908793046012197</c:v>
                </c:pt>
                <c:pt idx="4">
                  <c:v>0.2283501980662795</c:v>
                </c:pt>
                <c:pt idx="5">
                  <c:v>0.23694961817779842</c:v>
                </c:pt>
                <c:pt idx="6">
                  <c:v>0.26035022585081447</c:v>
                </c:pt>
                <c:pt idx="7">
                  <c:v>0.2576103388402675</c:v>
                </c:pt>
                <c:pt idx="8">
                  <c:v>0.2476735951717612</c:v>
                </c:pt>
                <c:pt idx="9">
                  <c:v>0.25516464446211856</c:v>
                </c:pt>
                <c:pt idx="10">
                  <c:v>0.25082669439469363</c:v>
                </c:pt>
                <c:pt idx="11">
                  <c:v>0.2755223375953527</c:v>
                </c:pt>
                <c:pt idx="12">
                  <c:v>0.2653219147014958</c:v>
                </c:pt>
                <c:pt idx="13">
                  <c:v>0.25316869663843533</c:v>
                </c:pt>
                <c:pt idx="14">
                  <c:v>0.26153782777528306</c:v>
                </c:pt>
                <c:pt idx="15">
                  <c:v>0.25269596677582773</c:v>
                </c:pt>
                <c:pt idx="16">
                  <c:v>0.25002226288927326</c:v>
                </c:pt>
                <c:pt idx="17">
                  <c:v>0.25422240743058944</c:v>
                </c:pt>
                <c:pt idx="18">
                  <c:v>0.27013589592749954</c:v>
                </c:pt>
                <c:pt idx="19">
                  <c:v>0.23947287729081176</c:v>
                </c:pt>
                <c:pt idx="20">
                  <c:v>0.22563772753274983</c:v>
                </c:pt>
                <c:pt idx="21">
                  <c:v>0.24533346366240308</c:v>
                </c:pt>
                <c:pt idx="22">
                  <c:v>0.2391886828690692</c:v>
                </c:pt>
                <c:pt idx="23">
                  <c:v>0.23692056677325254</c:v>
                </c:pt>
                <c:pt idx="24">
                  <c:v>0.23962913863344487</c:v>
                </c:pt>
                <c:pt idx="25">
                  <c:v>0.2461430671981782</c:v>
                </c:pt>
                <c:pt idx="26">
                  <c:v>0.24819463399874625</c:v>
                </c:pt>
                <c:pt idx="27">
                  <c:v>0.24703240489188436</c:v>
                </c:pt>
                <c:pt idx="28">
                  <c:v>0.2449435334468426</c:v>
                </c:pt>
                <c:pt idx="29">
                  <c:v>0.2418680618406026</c:v>
                </c:pt>
                <c:pt idx="30">
                  <c:v>0.24473003392025305</c:v>
                </c:pt>
                <c:pt idx="31">
                  <c:v>0.24069981179870767</c:v>
                </c:pt>
                <c:pt idx="32">
                  <c:v>0.24167040853467445</c:v>
                </c:pt>
                <c:pt idx="33">
                  <c:v>0.2459609142628573</c:v>
                </c:pt>
                <c:pt idx="34">
                  <c:v>0.2444329330033091</c:v>
                </c:pt>
                <c:pt idx="35">
                  <c:v>0.23907024494599097</c:v>
                </c:pt>
                <c:pt idx="36">
                  <c:v>0.22245197692061738</c:v>
                </c:pt>
                <c:pt idx="37">
                  <c:v>0.22013391693289475</c:v>
                </c:pt>
                <c:pt idx="38">
                  <c:v>0.22199609938791945</c:v>
                </c:pt>
                <c:pt idx="39">
                  <c:v>0.22901064590598788</c:v>
                </c:pt>
                <c:pt idx="40">
                  <c:v>0.22884388329807523</c:v>
                </c:pt>
                <c:pt idx="41">
                  <c:v>0.22112298520584278</c:v>
                </c:pt>
                <c:pt idx="42">
                  <c:v>0.22270116188460906</c:v>
                </c:pt>
                <c:pt idx="43">
                  <c:v>0.21834132894103264</c:v>
                </c:pt>
                <c:pt idx="44">
                  <c:v>0.23567932664948177</c:v>
                </c:pt>
                <c:pt idx="45">
                  <c:v>0.24491819207014998</c:v>
                </c:pt>
                <c:pt idx="46">
                  <c:v>0.2506583911819944</c:v>
                </c:pt>
                <c:pt idx="47">
                  <c:v>0.25366307357033935</c:v>
                </c:pt>
                <c:pt idx="48">
                  <c:v>0.253046878817101</c:v>
                </c:pt>
                <c:pt idx="49">
                  <c:v>0.2496809717676873</c:v>
                </c:pt>
                <c:pt idx="50">
                  <c:v>0.2567966322652141</c:v>
                </c:pt>
                <c:pt idx="51">
                  <c:v>0.2623831010280033</c:v>
                </c:pt>
                <c:pt idx="52">
                  <c:v>0.2599402871094868</c:v>
                </c:pt>
                <c:pt idx="53">
                  <c:v>0.3059513192077922</c:v>
                </c:pt>
                <c:pt idx="54">
                  <c:v>0.23931490934558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2.0"/>
          <c:min val="6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9433962264151"/>
          <c:min val="0.1430027440219521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04075470583395</c:v>
                </c:pt>
                <c:pt idx="1">
                  <c:v>0.612090030148805</c:v>
                </c:pt>
                <c:pt idx="2">
                  <c:v>0.6493705795287235</c:v>
                </c:pt>
                <c:pt idx="3">
                  <c:v>0.6670974933178954</c:v>
                </c:pt>
                <c:pt idx="4">
                  <c:v>0.6560725083001457</c:v>
                </c:pt>
                <c:pt idx="5">
                  <c:v>0.6992307942127796</c:v>
                </c:pt>
                <c:pt idx="6">
                  <c:v>0.6374928233333543</c:v>
                </c:pt>
                <c:pt idx="7">
                  <c:v>0.5928701973491499</c:v>
                </c:pt>
                <c:pt idx="8">
                  <c:v>0.6245905106907149</c:v>
                </c:pt>
                <c:pt idx="9">
                  <c:v>0.6556908926248344</c:v>
                </c:pt>
                <c:pt idx="10">
                  <c:v>0.6676284738154313</c:v>
                </c:pt>
                <c:pt idx="11">
                  <c:v>0.6958323895156159</c:v>
                </c:pt>
                <c:pt idx="12">
                  <c:v>0.7054014562434386</c:v>
                </c:pt>
                <c:pt idx="13">
                  <c:v>0.7003778012212122</c:v>
                </c:pt>
                <c:pt idx="14">
                  <c:v>0.6871287143021271</c:v>
                </c:pt>
                <c:pt idx="15">
                  <c:v>0.7009272023633494</c:v>
                </c:pt>
                <c:pt idx="16">
                  <c:v>0.6960034592453175</c:v>
                </c:pt>
                <c:pt idx="17">
                  <c:v>0.7000463087565404</c:v>
                </c:pt>
                <c:pt idx="18">
                  <c:v>0.7392291106112814</c:v>
                </c:pt>
                <c:pt idx="19">
                  <c:v>0.7522671100048614</c:v>
                </c:pt>
                <c:pt idx="20">
                  <c:v>0.7609275901461569</c:v>
                </c:pt>
                <c:pt idx="21">
                  <c:v>0.6177167024316798</c:v>
                </c:pt>
                <c:pt idx="22">
                  <c:v>0.5922449458925729</c:v>
                </c:pt>
                <c:pt idx="23">
                  <c:v>0.5803483323983094</c:v>
                </c:pt>
                <c:pt idx="24">
                  <c:v>0.5616519839221593</c:v>
                </c:pt>
                <c:pt idx="25">
                  <c:v>0.5582474302608258</c:v>
                </c:pt>
                <c:pt idx="26">
                  <c:v>0.574622476353432</c:v>
                </c:pt>
                <c:pt idx="27">
                  <c:v>0.5814714739045229</c:v>
                </c:pt>
                <c:pt idx="28">
                  <c:v>0.5675719737597733</c:v>
                </c:pt>
                <c:pt idx="29">
                  <c:v>0.5295698305833587</c:v>
                </c:pt>
                <c:pt idx="30">
                  <c:v>0.5354633249432063</c:v>
                </c:pt>
                <c:pt idx="31">
                  <c:v>0.5373795620355578</c:v>
                </c:pt>
                <c:pt idx="32">
                  <c:v>0.5222864820082486</c:v>
                </c:pt>
                <c:pt idx="33">
                  <c:v>0.5087204499035217</c:v>
                </c:pt>
                <c:pt idx="34">
                  <c:v>0.5804011560644268</c:v>
                </c:pt>
                <c:pt idx="35">
                  <c:v>0.6179301634897045</c:v>
                </c:pt>
                <c:pt idx="36">
                  <c:v>0.6398022245980068</c:v>
                </c:pt>
                <c:pt idx="37">
                  <c:v>0.625478178630428</c:v>
                </c:pt>
                <c:pt idx="38">
                  <c:v>0.7013073426577134</c:v>
                </c:pt>
                <c:pt idx="39">
                  <c:v>0.7097170374534811</c:v>
                </c:pt>
                <c:pt idx="40">
                  <c:v>0.6949913413662672</c:v>
                </c:pt>
                <c:pt idx="41">
                  <c:v>0.6726811980721188</c:v>
                </c:pt>
                <c:pt idx="42">
                  <c:v>0.6990421163569788</c:v>
                </c:pt>
                <c:pt idx="43">
                  <c:v>0.7007269108198038</c:v>
                </c:pt>
                <c:pt idx="44">
                  <c:v>0.6505225648808176</c:v>
                </c:pt>
                <c:pt idx="45">
                  <c:v>0.6420190328217096</c:v>
                </c:pt>
                <c:pt idx="46">
                  <c:v>0.6228467053170258</c:v>
                </c:pt>
                <c:pt idx="47">
                  <c:v>0.6266592396295295</c:v>
                </c:pt>
                <c:pt idx="48">
                  <c:v>0.63739289572503</c:v>
                </c:pt>
                <c:pt idx="49">
                  <c:v>0.6520684204451085</c:v>
                </c:pt>
                <c:pt idx="50">
                  <c:v>0.6069772366042169</c:v>
                </c:pt>
                <c:pt idx="51">
                  <c:v>0.6332555518684236</c:v>
                </c:pt>
                <c:pt idx="52">
                  <c:v>0.65614621468628</c:v>
                </c:pt>
                <c:pt idx="53">
                  <c:v>0.6133537337575267</c:v>
                </c:pt>
                <c:pt idx="54">
                  <c:v>0.5906883470213614</c:v>
                </c:pt>
                <c:pt idx="55">
                  <c:v>0.615362299226687</c:v>
                </c:pt>
                <c:pt idx="56">
                  <c:v>0.6053604910315601</c:v>
                </c:pt>
                <c:pt idx="57">
                  <c:v>0.6248686081952098</c:v>
                </c:pt>
                <c:pt idx="58">
                  <c:v>0.5891944816481851</c:v>
                </c:pt>
                <c:pt idx="59">
                  <c:v>0.5925124868226855</c:v>
                </c:pt>
                <c:pt idx="60">
                  <c:v>0.5942112962196039</c:v>
                </c:pt>
                <c:pt idx="61">
                  <c:v>0.5994911943256979</c:v>
                </c:pt>
                <c:pt idx="62">
                  <c:v>0.657663797943538</c:v>
                </c:pt>
                <c:pt idx="63">
                  <c:v>0.6187904825372029</c:v>
                </c:pt>
                <c:pt idx="64">
                  <c:v>0.7265153493348422</c:v>
                </c:pt>
                <c:pt idx="65">
                  <c:v>0.730201079649493</c:v>
                </c:pt>
                <c:pt idx="66">
                  <c:v>0.6596049442775221</c:v>
                </c:pt>
                <c:pt idx="67">
                  <c:v>0.6416631855284962</c:v>
                </c:pt>
                <c:pt idx="68">
                  <c:v>0.6382624156145204</c:v>
                </c:pt>
                <c:pt idx="69">
                  <c:v>0.583726154640018</c:v>
                </c:pt>
                <c:pt idx="70">
                  <c:v>0.5679749651673356</c:v>
                </c:pt>
                <c:pt idx="71">
                  <c:v>0.5368880808312815</c:v>
                </c:pt>
                <c:pt idx="72">
                  <c:v>0.6343126976604447</c:v>
                </c:pt>
                <c:pt idx="73">
                  <c:v>0.6110554944563646</c:v>
                </c:pt>
                <c:pt idx="74">
                  <c:v>0.606697634854511</c:v>
                </c:pt>
                <c:pt idx="75">
                  <c:v>0.5803326567618987</c:v>
                </c:pt>
                <c:pt idx="76">
                  <c:v>0.5787359493723083</c:v>
                </c:pt>
                <c:pt idx="77">
                  <c:v>0.585488169664017</c:v>
                </c:pt>
                <c:pt idx="78">
                  <c:v>0.6046772362342192</c:v>
                </c:pt>
                <c:pt idx="79">
                  <c:v>0.42095489387833174</c:v>
                </c:pt>
                <c:pt idx="80">
                  <c:v>0.4665049322113716</c:v>
                </c:pt>
                <c:pt idx="81">
                  <c:v>0.5248773084650543</c:v>
                </c:pt>
                <c:pt idx="82">
                  <c:v>0.5637751595385755</c:v>
                </c:pt>
                <c:pt idx="83">
                  <c:v>0.5476171234357723</c:v>
                </c:pt>
                <c:pt idx="84">
                  <c:v>0.4830936724284841</c:v>
                </c:pt>
                <c:pt idx="85">
                  <c:v>0.6117786090932122</c:v>
                </c:pt>
                <c:pt idx="86">
                  <c:v>0.6814765186622207</c:v>
                </c:pt>
                <c:pt idx="87">
                  <c:v>0.5817106192831364</c:v>
                </c:pt>
                <c:pt idx="88">
                  <c:v>0.5475787071357703</c:v>
                </c:pt>
                <c:pt idx="89">
                  <c:v>0.5269555879077631</c:v>
                </c:pt>
                <c:pt idx="90">
                  <c:v>0.5667392029523043</c:v>
                </c:pt>
                <c:pt idx="91">
                  <c:v>0.5946699149827794</c:v>
                </c:pt>
                <c:pt idx="92">
                  <c:v>0.6401851672828069</c:v>
                </c:pt>
                <c:pt idx="93">
                  <c:v>0.6693061131375961</c:v>
                </c:pt>
                <c:pt idx="94">
                  <c:v>0.6057481318354354</c:v>
                </c:pt>
                <c:pt idx="95">
                  <c:v>0.722990872174201</c:v>
                </c:pt>
                <c:pt idx="96">
                  <c:v>0.756435072069592</c:v>
                </c:pt>
                <c:pt idx="97">
                  <c:v>0.780279241437378</c:v>
                </c:pt>
                <c:pt idx="98">
                  <c:v>0.7828024090219659</c:v>
                </c:pt>
                <c:pt idx="99">
                  <c:v>0.7773751058610855</c:v>
                </c:pt>
                <c:pt idx="100">
                  <c:v>0.7604092421697216</c:v>
                </c:pt>
                <c:pt idx="101">
                  <c:v>0.7063389935722184</c:v>
                </c:pt>
                <c:pt idx="102">
                  <c:v>0.7277592057052725</c:v>
                </c:pt>
                <c:pt idx="103">
                  <c:v>0.6904559679836243</c:v>
                </c:pt>
                <c:pt idx="104">
                  <c:v>0.738698084091245</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00566590218052</c:v>
                </c:pt>
                <c:pt idx="1">
                  <c:v>0.6083219813453636</c:v>
                </c:pt>
                <c:pt idx="2">
                  <c:v>0.6040310924034132</c:v>
                </c:pt>
                <c:pt idx="3">
                  <c:v>0.5975852425189627</c:v>
                </c:pt>
                <c:pt idx="4">
                  <c:v>0.5941646661552676</c:v>
                </c:pt>
                <c:pt idx="5">
                  <c:v>0.6211578007032991</c:v>
                </c:pt>
                <c:pt idx="6">
                  <c:v>0.6764391112067197</c:v>
                </c:pt>
                <c:pt idx="7">
                  <c:v>0.6778149498516863</c:v>
                </c:pt>
                <c:pt idx="8">
                  <c:v>0.6957553441797198</c:v>
                </c:pt>
                <c:pt idx="9">
                  <c:v>0.7019485648779468</c:v>
                </c:pt>
                <c:pt idx="10">
                  <c:v>0.7101778817191238</c:v>
                </c:pt>
                <c:pt idx="11">
                  <c:v>0.6737718871186632</c:v>
                </c:pt>
                <c:pt idx="12">
                  <c:v>0.6317055008219563</c:v>
                </c:pt>
                <c:pt idx="13">
                  <c:v>0.6288806459749342</c:v>
                </c:pt>
                <c:pt idx="14">
                  <c:v>0.6150143471894824</c:v>
                </c:pt>
                <c:pt idx="15">
                  <c:v>0.6218266463035318</c:v>
                </c:pt>
                <c:pt idx="16">
                  <c:v>0.6413736955130194</c:v>
                </c:pt>
                <c:pt idx="17">
                  <c:v>0.6409278147172996</c:v>
                </c:pt>
                <c:pt idx="18">
                  <c:v>0.6784039426099453</c:v>
                </c:pt>
                <c:pt idx="19">
                  <c:v>0.6802188699134731</c:v>
                </c:pt>
                <c:pt idx="20">
                  <c:v>0.6539305423630355</c:v>
                </c:pt>
                <c:pt idx="21">
                  <c:v>0.6457155231169088</c:v>
                </c:pt>
                <c:pt idx="22">
                  <c:v>0.606405858931575</c:v>
                </c:pt>
                <c:pt idx="23">
                  <c:v>0.6291963810814934</c:v>
                </c:pt>
                <c:pt idx="24">
                  <c:v>0.6425869583782797</c:v>
                </c:pt>
                <c:pt idx="25">
                  <c:v>0.6722348382599436</c:v>
                </c:pt>
                <c:pt idx="26">
                  <c:v>0.6481272898010714</c:v>
                </c:pt>
                <c:pt idx="27">
                  <c:v>0.6785628067367369</c:v>
                </c:pt>
                <c:pt idx="28">
                  <c:v>0.6690955684713091</c:v>
                </c:pt>
                <c:pt idx="29">
                  <c:v>0.609548436627974</c:v>
                </c:pt>
                <c:pt idx="30">
                  <c:v>0.5692818947043585</c:v>
                </c:pt>
                <c:pt idx="31">
                  <c:v>0.6044762039627334</c:v>
                </c:pt>
                <c:pt idx="32">
                  <c:v>0.6037412549419503</c:v>
                </c:pt>
                <c:pt idx="33">
                  <c:v>0.6107489484585789</c:v>
                </c:pt>
                <c:pt idx="34">
                  <c:v>0.6340740639549902</c:v>
                </c:pt>
                <c:pt idx="35">
                  <c:v>0.5748605471177329</c:v>
                </c:pt>
                <c:pt idx="36">
                  <c:v>0.5332804761151101</c:v>
                </c:pt>
                <c:pt idx="37">
                  <c:v>0.5820393554098098</c:v>
                </c:pt>
                <c:pt idx="38">
                  <c:v>0.5939257930748234</c:v>
                </c:pt>
                <c:pt idx="39">
                  <c:v>0.6567295358680724</c:v>
                </c:pt>
                <c:pt idx="40">
                  <c:v>0.6673665406954632</c:v>
                </c:pt>
                <c:pt idx="41">
                  <c:v>0.6794214216876987</c:v>
                </c:pt>
                <c:pt idx="42">
                  <c:v>0.6981754169891214</c:v>
                </c:pt>
                <c:pt idx="43">
                  <c:v>0.7368437308366135</c:v>
                </c:pt>
                <c:pt idx="44">
                  <c:v>0.8020596958335748</c:v>
                </c:pt>
                <c:pt idx="45">
                  <c:v>0.7982505917587417</c:v>
                </c:pt>
                <c:pt idx="46">
                  <c:v>0.7519090291612696</c:v>
                </c:pt>
                <c:pt idx="47">
                  <c:v>0.7727281670589929</c:v>
                </c:pt>
                <c:pt idx="48">
                  <c:v>0.8420462595441761</c:v>
                </c:pt>
                <c:pt idx="49">
                  <c:v>0.8676905393662812</c:v>
                </c:pt>
                <c:pt idx="50">
                  <c:v>0.7444254107955787</c:v>
                </c:pt>
                <c:pt idx="51">
                  <c:v>0.7146293880660765</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726178538518737</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726178538518737</c:v>
                </c:pt>
                <c:pt idx="1">
                  <c:v>0.34726178538518737</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12421763639658</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12421763639658</c:v>
                </c:pt>
                <c:pt idx="1">
                  <c:v>0.4712421763639658</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270550595849267</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270550595849267</c:v>
                </c:pt>
                <c:pt idx="1">
                  <c:v>0.7270550595849267</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00566590218052</c:v>
                </c:pt>
                <c:pt idx="1">
                  <c:v>0.6083219813453636</c:v>
                </c:pt>
                <c:pt idx="2">
                  <c:v>0.6040310924034132</c:v>
                </c:pt>
                <c:pt idx="3">
                  <c:v>0.5975852425189627</c:v>
                </c:pt>
                <c:pt idx="4">
                  <c:v>0.5941646661552676</c:v>
                </c:pt>
                <c:pt idx="5">
                  <c:v>0.6211578007032991</c:v>
                </c:pt>
                <c:pt idx="6">
                  <c:v>0.6764391112067197</c:v>
                </c:pt>
                <c:pt idx="7">
                  <c:v>0.6778149498516863</c:v>
                </c:pt>
                <c:pt idx="8">
                  <c:v>0.6957553441797198</c:v>
                </c:pt>
                <c:pt idx="9">
                  <c:v>0.7019485648779468</c:v>
                </c:pt>
                <c:pt idx="10">
                  <c:v>0.7101778817191238</c:v>
                </c:pt>
                <c:pt idx="11">
                  <c:v>0.6737718871186632</c:v>
                </c:pt>
                <c:pt idx="12">
                  <c:v>0.6317055008219563</c:v>
                </c:pt>
                <c:pt idx="13">
                  <c:v>0.6288806459749342</c:v>
                </c:pt>
                <c:pt idx="14">
                  <c:v>0.6150143471894824</c:v>
                </c:pt>
                <c:pt idx="15">
                  <c:v>0.6218266463035318</c:v>
                </c:pt>
                <c:pt idx="16">
                  <c:v>0.6413736955130194</c:v>
                </c:pt>
                <c:pt idx="17">
                  <c:v>0.6409278147172996</c:v>
                </c:pt>
                <c:pt idx="18">
                  <c:v>0.6784039426099453</c:v>
                </c:pt>
                <c:pt idx="19">
                  <c:v>0.6802188699134731</c:v>
                </c:pt>
                <c:pt idx="20">
                  <c:v>0.6539305423630355</c:v>
                </c:pt>
                <c:pt idx="21">
                  <c:v>0.6457155231169088</c:v>
                </c:pt>
                <c:pt idx="22">
                  <c:v>0.606405858931575</c:v>
                </c:pt>
                <c:pt idx="23">
                  <c:v>0.6291963810814934</c:v>
                </c:pt>
                <c:pt idx="24">
                  <c:v>0.6425869583782797</c:v>
                </c:pt>
                <c:pt idx="25">
                  <c:v>0.6722348382599436</c:v>
                </c:pt>
                <c:pt idx="26">
                  <c:v>0.6481272898010714</c:v>
                </c:pt>
                <c:pt idx="27">
                  <c:v>0.6785628067367369</c:v>
                </c:pt>
                <c:pt idx="28">
                  <c:v>0.6690955684713091</c:v>
                </c:pt>
                <c:pt idx="29">
                  <c:v>0.609548436627974</c:v>
                </c:pt>
                <c:pt idx="30">
                  <c:v>0.5692818947043585</c:v>
                </c:pt>
                <c:pt idx="31">
                  <c:v>0.6044762039627334</c:v>
                </c:pt>
                <c:pt idx="32">
                  <c:v>0.6037412549419503</c:v>
                </c:pt>
                <c:pt idx="33">
                  <c:v>0.6107489484585789</c:v>
                </c:pt>
                <c:pt idx="34">
                  <c:v>0.6340740639549902</c:v>
                </c:pt>
                <c:pt idx="35">
                  <c:v>0.5748605471177329</c:v>
                </c:pt>
                <c:pt idx="36">
                  <c:v>0.5332804761151101</c:v>
                </c:pt>
                <c:pt idx="37">
                  <c:v>0.5820393554098098</c:v>
                </c:pt>
                <c:pt idx="38">
                  <c:v>0.5939257930748234</c:v>
                </c:pt>
                <c:pt idx="39">
                  <c:v>0.6567295358680724</c:v>
                </c:pt>
                <c:pt idx="40">
                  <c:v>0.6673665406954632</c:v>
                </c:pt>
                <c:pt idx="41">
                  <c:v>0.6794214216876987</c:v>
                </c:pt>
                <c:pt idx="42">
                  <c:v>0.6981754169891214</c:v>
                </c:pt>
                <c:pt idx="43">
                  <c:v>0.7368437308366135</c:v>
                </c:pt>
                <c:pt idx="44">
                  <c:v>0.8020596958335748</c:v>
                </c:pt>
                <c:pt idx="45">
                  <c:v>0.7982505917587417</c:v>
                </c:pt>
                <c:pt idx="46">
                  <c:v>0.7519090291612696</c:v>
                </c:pt>
                <c:pt idx="47">
                  <c:v>0.7727281670589929</c:v>
                </c:pt>
                <c:pt idx="48">
                  <c:v>0.8420462595441761</c:v>
                </c:pt>
                <c:pt idx="49">
                  <c:v>0.8676905393662812</c:v>
                </c:pt>
                <c:pt idx="50">
                  <c:v>0.7444254107955787</c:v>
                </c:pt>
                <c:pt idx="51">
                  <c:v>0.7146293880660765</c:v>
                </c:pt>
                <c:pt idx="52">
                  <c:v>0.4712421763639658</c:v>
                </c:pt>
                <c:pt idx="53">
                  <c:v>0.34726178538518737</c:v>
                </c:pt>
                <c:pt idx="54">
                  <c:v>0.7270550595849267</c:v>
                </c:pt>
              </c:numCache>
            </c:numRef>
          </c:xVal>
          <c:yVal>
            <c:numRef>
              <c:f>Sheet1!$B$187:$B$241</c:f>
              <c:numCache>
                <c:formatCode>General</c:formatCode>
                <c:ptCount val="55"/>
                <c:pt idx="0">
                  <c:v>0.14374653405871016</c:v>
                </c:pt>
                <c:pt idx="1">
                  <c:v>0.1561484540434572</c:v>
                </c:pt>
                <c:pt idx="2">
                  <c:v>0.1567285537687672</c:v>
                </c:pt>
                <c:pt idx="3">
                  <c:v>0.15759998992056365</c:v>
                </c:pt>
                <c:pt idx="4">
                  <c:v>0.15806242915770677</c:v>
                </c:pt>
                <c:pt idx="5">
                  <c:v>0.15441313640079585</c:v>
                </c:pt>
                <c:pt idx="6">
                  <c:v>0.14693946987815817</c:v>
                </c:pt>
                <c:pt idx="7">
                  <c:v>0.14675346561871136</c:v>
                </c:pt>
                <c:pt idx="8">
                  <c:v>0.14432804329656784</c:v>
                </c:pt>
                <c:pt idx="9">
                  <c:v>0.14349076093516686</c:v>
                </c:pt>
                <c:pt idx="10">
                  <c:v>0.1423782118797989</c:v>
                </c:pt>
                <c:pt idx="11">
                  <c:v>0.14730006088430025</c:v>
                </c:pt>
                <c:pt idx="12">
                  <c:v>0.15298715730316298</c:v>
                </c:pt>
                <c:pt idx="13">
                  <c:v>0.15336905894241942</c:v>
                </c:pt>
                <c:pt idx="14">
                  <c:v>0.15524369056894913</c:v>
                </c:pt>
                <c:pt idx="15">
                  <c:v>0.15432271291181282</c:v>
                </c:pt>
                <c:pt idx="16">
                  <c:v>0.15168008150595536</c:v>
                </c:pt>
                <c:pt idx="17">
                  <c:v>0.15174036163219895</c:v>
                </c:pt>
                <c:pt idx="18">
                  <c:v>0.14667383770433323</c:v>
                </c:pt>
                <c:pt idx="19">
                  <c:v>0.14642847157053732</c:v>
                </c:pt>
                <c:pt idx="20">
                  <c:v>0.14998247909605866</c:v>
                </c:pt>
                <c:pt idx="21">
                  <c:v>0.15109309521140568</c:v>
                </c:pt>
                <c:pt idx="22">
                  <c:v>0.15640750108497628</c:v>
                </c:pt>
                <c:pt idx="23">
                  <c:v>0.15332637365014928</c:v>
                </c:pt>
                <c:pt idx="24">
                  <c:v>0.1515160564136288</c:v>
                </c:pt>
                <c:pt idx="25">
                  <c:v>0.14750785969540767</c:v>
                </c:pt>
                <c:pt idx="26">
                  <c:v>0.15076704035192973</c:v>
                </c:pt>
                <c:pt idx="27">
                  <c:v>0.14665236032806922</c:v>
                </c:pt>
                <c:pt idx="28">
                  <c:v>0.14793226814938948</c:v>
                </c:pt>
                <c:pt idx="29">
                  <c:v>0.15598264542380463</c:v>
                </c:pt>
                <c:pt idx="30">
                  <c:v>0.16142641482102776</c:v>
                </c:pt>
                <c:pt idx="31">
                  <c:v>0.1566683776381828</c:v>
                </c:pt>
                <c:pt idx="32">
                  <c:v>0.15676773787118836</c:v>
                </c:pt>
                <c:pt idx="33">
                  <c:v>0.15582034418679133</c:v>
                </c:pt>
                <c:pt idx="34">
                  <c:v>0.15266694327724883</c:v>
                </c:pt>
                <c:pt idx="35">
                  <c:v>0.16067221801556875</c:v>
                </c:pt>
                <c:pt idx="36">
                  <c:v>0.16629356783219387</c:v>
                </c:pt>
                <c:pt idx="37">
                  <c:v>0.15970169074846266</c:v>
                </c:pt>
                <c:pt idx="38">
                  <c:v>0.15809472321383927</c:v>
                </c:pt>
                <c:pt idx="39">
                  <c:v>0.14960407373871137</c:v>
                </c:pt>
                <c:pt idx="40">
                  <c:v>0.14816602123677786</c:v>
                </c:pt>
                <c:pt idx="41">
                  <c:v>0.14653628128152704</c:v>
                </c:pt>
                <c:pt idx="42">
                  <c:v>0.14400086550405058</c:v>
                </c:pt>
                <c:pt idx="43">
                  <c:v>0.13877316594235214</c:v>
                </c:pt>
                <c:pt idx="44">
                  <c:v>0.1299564000245264</c:v>
                </c:pt>
                <c:pt idx="45">
                  <c:v>0.13047136563127631</c:v>
                </c:pt>
                <c:pt idx="46">
                  <c:v>0.13673643753057607</c:v>
                </c:pt>
                <c:pt idx="47">
                  <c:v>0.13392182817129245</c:v>
                </c:pt>
                <c:pt idx="48">
                  <c:v>0.12455048182472636</c:v>
                </c:pt>
                <c:pt idx="49">
                  <c:v>0.12108354528038087</c:v>
                </c:pt>
                <c:pt idx="50">
                  <c:v>0.13774817309795917</c:v>
                </c:pt>
                <c:pt idx="51">
                  <c:v>0.14177639774663955</c:v>
                </c:pt>
                <c:pt idx="52">
                  <c:v>0.17468073448488744</c:v>
                </c:pt>
                <c:pt idx="53">
                  <c:v>0.19144206103600622</c:v>
                </c:pt>
                <c:pt idx="54">
                  <c:v>0.14009652937148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5599603108187</c:v>
                </c:pt>
                <c:pt idx="1">
                  <c:v>0.7122876370445639</c:v>
                </c:pt>
                <c:pt idx="2">
                  <c:v>0.6585899359613151</c:v>
                </c:pt>
                <c:pt idx="3">
                  <c:v>0.6659411067769925</c:v>
                </c:pt>
                <c:pt idx="4">
                  <c:v>0.6510856303739859</c:v>
                </c:pt>
                <c:pt idx="5">
                  <c:v>0.6123473635098886</c:v>
                </c:pt>
                <c:pt idx="6">
                  <c:v>0.5995032799373614</c:v>
                </c:pt>
                <c:pt idx="7">
                  <c:v>0.6047402681638342</c:v>
                </c:pt>
                <c:pt idx="8">
                  <c:v>0.6275966447098442</c:v>
                </c:pt>
                <c:pt idx="9">
                  <c:v>0.6336572646050143</c:v>
                </c:pt>
                <c:pt idx="10">
                  <c:v>0.6554623753218948</c:v>
                </c:pt>
                <c:pt idx="11">
                  <c:v>0.7120408238229291</c:v>
                </c:pt>
                <c:pt idx="12">
                  <c:v>0.7617468585989816</c:v>
                </c:pt>
                <c:pt idx="13">
                  <c:v>0.7565528564509556</c:v>
                </c:pt>
                <c:pt idx="14">
                  <c:v>0.771818105085721</c:v>
                </c:pt>
                <c:pt idx="15">
                  <c:v>0.8138722724252196</c:v>
                </c:pt>
                <c:pt idx="16">
                  <c:v>0.8300360637861324</c:v>
                </c:pt>
                <c:pt idx="17">
                  <c:v>0.7602269662678935</c:v>
                </c:pt>
                <c:pt idx="18">
                  <c:v>0.7897798068527064</c:v>
                </c:pt>
                <c:pt idx="19">
                  <c:v>0.7725069039285346</c:v>
                </c:pt>
                <c:pt idx="20">
                  <c:v>0.8553475712865969</c:v>
                </c:pt>
                <c:pt idx="21">
                  <c:v>0.8250333167872775</c:v>
                </c:pt>
                <c:pt idx="22">
                  <c:v>0.8271997098902605</c:v>
                </c:pt>
                <c:pt idx="23">
                  <c:v>0.760250476475285</c:v>
                </c:pt>
                <c:pt idx="24">
                  <c:v>0.691722801483008</c:v>
                </c:pt>
                <c:pt idx="25">
                  <c:v>0.711686823940236</c:v>
                </c:pt>
                <c:pt idx="26">
                  <c:v>0.6879963582475042</c:v>
                </c:pt>
                <c:pt idx="27">
                  <c:v>0.7296392478169502</c:v>
                </c:pt>
                <c:pt idx="28">
                  <c:v>0.7231452744657241</c:v>
                </c:pt>
                <c:pt idx="29">
                  <c:v>0.7085683151947171</c:v>
                </c:pt>
                <c:pt idx="30">
                  <c:v>0.7200156839300469</c:v>
                </c:pt>
                <c:pt idx="31">
                  <c:v>0.6920162667404648</c:v>
                </c:pt>
                <c:pt idx="32">
                  <c:v>0.7034372707920182</c:v>
                </c:pt>
                <c:pt idx="33">
                  <c:v>0.7185580305923503</c:v>
                </c:pt>
                <c:pt idx="34">
                  <c:v>0.7123530341320217</c:v>
                </c:pt>
                <c:pt idx="35">
                  <c:v>0.7669619029144354</c:v>
                </c:pt>
                <c:pt idx="36">
                  <c:v>0.8283604643707724</c:v>
                </c:pt>
                <c:pt idx="37">
                  <c:v>0.7890794431518771</c:v>
                </c:pt>
                <c:pt idx="38">
                  <c:v>0.8417170457007204</c:v>
                </c:pt>
                <c:pt idx="39">
                  <c:v>0.8776111000736718</c:v>
                </c:pt>
                <c:pt idx="40">
                  <c:v>0.8795764545237684</c:v>
                </c:pt>
                <c:pt idx="41">
                  <c:v>0.8929792631946037</c:v>
                </c:pt>
                <c:pt idx="42">
                  <c:v>0.8683346859254144</c:v>
                </c:pt>
                <c:pt idx="43">
                  <c:v>0.8854031315314878</c:v>
                </c:pt>
                <c:pt idx="44">
                  <c:v>0.8538222327840649</c:v>
                </c:pt>
                <c:pt idx="45">
                  <c:v>0.8404928812705901</c:v>
                </c:pt>
                <c:pt idx="46">
                  <c:v>0.8390019261582337</c:v>
                </c:pt>
                <c:pt idx="47">
                  <c:v>0.818241825087616</c:v>
                </c:pt>
                <c:pt idx="48">
                  <c:v>0.8237715381774118</c:v>
                </c:pt>
                <c:pt idx="49">
                  <c:v>0.8181907717605296</c:v>
                </c:pt>
                <c:pt idx="50">
                  <c:v>0.7943045499987605</c:v>
                </c:pt>
                <c:pt idx="51">
                  <c:v>0.7924892571356913</c:v>
                </c:pt>
                <c:pt idx="52">
                  <c:v>0.7797689631706843</c:v>
                </c:pt>
                <c:pt idx="53">
                  <c:v>0.7151471563514792</c:v>
                </c:pt>
                <c:pt idx="54">
                  <c:v>0.6767464270213388</c:v>
                </c:pt>
                <c:pt idx="55">
                  <c:v>0.6717193341449277</c:v>
                </c:pt>
                <c:pt idx="56">
                  <c:v>0.6752500311773493</c:v>
                </c:pt>
                <c:pt idx="57">
                  <c:v>0.665125186621184</c:v>
                </c:pt>
                <c:pt idx="58">
                  <c:v>0.6422494779868193</c:v>
                </c:pt>
                <c:pt idx="59">
                  <c:v>0.6348404715274856</c:v>
                </c:pt>
                <c:pt idx="60">
                  <c:v>0.6313348191900374</c:v>
                </c:pt>
                <c:pt idx="61">
                  <c:v>0.6672038943728312</c:v>
                </c:pt>
                <c:pt idx="62">
                  <c:v>0.7249091774123428</c:v>
                </c:pt>
                <c:pt idx="63">
                  <c:v>0.7366646649352103</c:v>
                </c:pt>
                <c:pt idx="64">
                  <c:v>0.7564255965257962</c:v>
                </c:pt>
                <c:pt idx="65">
                  <c:v>0.750256642501734</c:v>
                </c:pt>
                <c:pt idx="66">
                  <c:v>0.734178447355227</c:v>
                </c:pt>
                <c:pt idx="67">
                  <c:v>0.7469500476791507</c:v>
                </c:pt>
                <c:pt idx="68">
                  <c:v>0.7814540105282607</c:v>
                </c:pt>
                <c:pt idx="69">
                  <c:v>0.7826997689159155</c:v>
                </c:pt>
                <c:pt idx="70">
                  <c:v>0.7153994412468148</c:v>
                </c:pt>
                <c:pt idx="71">
                  <c:v>0.7507963085195928</c:v>
                </c:pt>
                <c:pt idx="72">
                  <c:v>0.8898588412845697</c:v>
                </c:pt>
                <c:pt idx="73">
                  <c:v>0.8077711592743345</c:v>
                </c:pt>
                <c:pt idx="74">
                  <c:v>0.7992150718590533</c:v>
                </c:pt>
                <c:pt idx="75">
                  <c:v>0.7935538871135741</c:v>
                </c:pt>
                <c:pt idx="76">
                  <c:v>0.7626732764980887</c:v>
                </c:pt>
                <c:pt idx="77">
                  <c:v>0.7974965987376536</c:v>
                </c:pt>
                <c:pt idx="78">
                  <c:v>0.7832920389295028</c:v>
                </c:pt>
                <c:pt idx="79">
                  <c:v>0.7399208123048796</c:v>
                </c:pt>
                <c:pt idx="80">
                  <c:v>0.8057699509306735</c:v>
                </c:pt>
                <c:pt idx="81">
                  <c:v>0.8334930552930676</c:v>
                </c:pt>
                <c:pt idx="82">
                  <c:v>0.8318010400389867</c:v>
                </c:pt>
                <c:pt idx="83">
                  <c:v>0.7896734932799399</c:v>
                </c:pt>
                <c:pt idx="84">
                  <c:v>0.795754418002307</c:v>
                </c:pt>
                <c:pt idx="85">
                  <c:v>0.7701930012180114</c:v>
                </c:pt>
                <c:pt idx="86">
                  <c:v>0.7942452949998684</c:v>
                </c:pt>
                <c:pt idx="87">
                  <c:v>0.804688726411449</c:v>
                </c:pt>
                <c:pt idx="88">
                  <c:v>0.8560472498084422</c:v>
                </c:pt>
                <c:pt idx="89">
                  <c:v>0.8455950952952153</c:v>
                </c:pt>
                <c:pt idx="90">
                  <c:v>0.8278644858397105</c:v>
                </c:pt>
                <c:pt idx="91">
                  <c:v>0.8552133945905204</c:v>
                </c:pt>
                <c:pt idx="92">
                  <c:v>0.8370345908220244</c:v>
                </c:pt>
                <c:pt idx="93">
                  <c:v>0.8613926155230988</c:v>
                </c:pt>
                <c:pt idx="94">
                  <c:v>0.8804141205579386</c:v>
                </c:pt>
                <c:pt idx="95">
                  <c:v>0.8879421205863584</c:v>
                </c:pt>
                <c:pt idx="96">
                  <c:v>0.9115782187909233</c:v>
                </c:pt>
                <c:pt idx="97">
                  <c:v>0.9117570851603851</c:v>
                </c:pt>
                <c:pt idx="98">
                  <c:v>0.9241852060519554</c:v>
                </c:pt>
                <c:pt idx="99">
                  <c:v>0.8934962559605186</c:v>
                </c:pt>
                <c:pt idx="100">
                  <c:v>0.8840633973453639</c:v>
                </c:pt>
                <c:pt idx="101">
                  <c:v>0.7889419932892879</c:v>
                </c:pt>
                <c:pt idx="102">
                  <c:v>0.7843669222092073</c:v>
                </c:pt>
                <c:pt idx="103">
                  <c:v>0.7819732509414278</c:v>
                </c:pt>
                <c:pt idx="104">
                  <c:v>0.7692003318000814</c:v>
                </c:pt>
              </c:numCache>
            </c:numRef>
          </c:xVal>
          <c:yVal>
            <c:numRef>
              <c:f>Sheet1!$B$2:$B$106</c:f>
              <c:numCache>
                <c:formatCode>General</c:formatCode>
                <c:ptCount val="105"/>
                <c:pt idx="0">
                  <c:v>0.28513040093421566</c:v>
                </c:pt>
                <c:pt idx="1">
                  <c:v>0.2717875962707742</c:v>
                </c:pt>
                <c:pt idx="2">
                  <c:v>0.28115015974440893</c:v>
                </c:pt>
                <c:pt idx="3">
                  <c:v>0.27319587628865977</c:v>
                </c:pt>
                <c:pt idx="4">
                  <c:v>0.2749187432286024</c:v>
                </c:pt>
                <c:pt idx="5">
                  <c:v>0.2919566898685228</c:v>
                </c:pt>
                <c:pt idx="6">
                  <c:v>0.3195701357466063</c:v>
                </c:pt>
                <c:pt idx="7">
                  <c:v>0.34022988505747126</c:v>
                </c:pt>
                <c:pt idx="8">
                  <c:v>0.33280356007628736</c:v>
                </c:pt>
                <c:pt idx="9">
                  <c:v>0.30428134556574926</c:v>
                </c:pt>
                <c:pt idx="10">
                  <c:v>0.28994340444057465</c:v>
                </c:pt>
                <c:pt idx="11">
                  <c:v>0.25115594787725937</c:v>
                </c:pt>
                <c:pt idx="12">
                  <c:v>0.2341509433962264</c:v>
                </c:pt>
                <c:pt idx="13">
                  <c:v>0.2084996009577015</c:v>
                </c:pt>
                <c:pt idx="14">
                  <c:v>0.19366922644690016</c:v>
                </c:pt>
                <c:pt idx="15">
                  <c:v>0.18372352285395763</c:v>
                </c:pt>
                <c:pt idx="16">
                  <c:v>0.16893550546752956</c:v>
                </c:pt>
                <c:pt idx="17">
                  <c:v>0.18946580129805293</c:v>
                </c:pt>
                <c:pt idx="18">
                  <c:v>0.17272727272727273</c:v>
                </c:pt>
                <c:pt idx="19">
                  <c:v>0.17930793428871025</c:v>
                </c:pt>
                <c:pt idx="20">
                  <c:v>0.1758905852417303</c:v>
                </c:pt>
                <c:pt idx="21">
                  <c:v>0.2126650863528615</c:v>
                </c:pt>
                <c:pt idx="22">
                  <c:v>0.20197884680996248</c:v>
                </c:pt>
                <c:pt idx="23">
                  <c:v>0.23082099596231495</c:v>
                </c:pt>
                <c:pt idx="24">
                  <c:v>0.23305844388669775</c:v>
                </c:pt>
                <c:pt idx="25">
                  <c:v>0.23717948717948717</c:v>
                </c:pt>
                <c:pt idx="26">
                  <c:v>0.2606865284974093</c:v>
                </c:pt>
                <c:pt idx="27">
                  <c:v>0.2421555252387449</c:v>
                </c:pt>
                <c:pt idx="28">
                  <c:v>0.24200136147038803</c:v>
                </c:pt>
                <c:pt idx="29">
                  <c:v>0.23310810810810811</c:v>
                </c:pt>
                <c:pt idx="30">
                  <c:v>0.23035328046142753</c:v>
                </c:pt>
                <c:pt idx="31">
                  <c:v>0.24128011506652283</c:v>
                </c:pt>
                <c:pt idx="32">
                  <c:v>0.25757575757575757</c:v>
                </c:pt>
                <c:pt idx="33">
                  <c:v>0.23502914679385267</c:v>
                </c:pt>
                <c:pt idx="34">
                  <c:v>0.2399218177376008</c:v>
                </c:pt>
                <c:pt idx="35">
                  <c:v>0.24694680190436763</c:v>
                </c:pt>
                <c:pt idx="36">
                  <c:v>0.2229647630619684</c:v>
                </c:pt>
                <c:pt idx="37">
                  <c:v>0.22576530612244897</c:v>
                </c:pt>
                <c:pt idx="38">
                  <c:v>0.20160280490859003</c:v>
                </c:pt>
                <c:pt idx="39">
                  <c:v>0.19645410351730055</c:v>
                </c:pt>
                <c:pt idx="40">
                  <c:v>0.18808857215576483</c:v>
                </c:pt>
                <c:pt idx="41">
                  <c:v>0.20339869281045753</c:v>
                </c:pt>
                <c:pt idx="42">
                  <c:v>0.20713970912296165</c:v>
                </c:pt>
                <c:pt idx="43">
                  <c:v>0.18303220738413198</c:v>
                </c:pt>
                <c:pt idx="44">
                  <c:v>0.1759392027530829</c:v>
                </c:pt>
                <c:pt idx="45">
                  <c:v>0.20915581688366233</c:v>
                </c:pt>
                <c:pt idx="46">
                  <c:v>0.2034956304619226</c:v>
                </c:pt>
                <c:pt idx="47">
                  <c:v>0.2068066419651434</c:v>
                </c:pt>
                <c:pt idx="48">
                  <c:v>0.19372711981794796</c:v>
                </c:pt>
                <c:pt idx="49">
                  <c:v>0.21048182586644126</c:v>
                </c:pt>
                <c:pt idx="50">
                  <c:v>0.20329239613274105</c:v>
                </c:pt>
                <c:pt idx="51">
                  <c:v>0.19863493174658733</c:v>
                </c:pt>
                <c:pt idx="52">
                  <c:v>0.20882254277088225</c:v>
                </c:pt>
                <c:pt idx="53">
                  <c:v>0.21807849405079027</c:v>
                </c:pt>
                <c:pt idx="54">
                  <c:v>0.22088271352676747</c:v>
                </c:pt>
                <c:pt idx="55">
                  <c:v>0.21893371173727955</c:v>
                </c:pt>
                <c:pt idx="56">
                  <c:v>0.23293439716312056</c:v>
                </c:pt>
                <c:pt idx="57">
                  <c:v>0.2237155863862996</c:v>
                </c:pt>
                <c:pt idx="58">
                  <c:v>0.23238180196253344</c:v>
                </c:pt>
                <c:pt idx="59">
                  <c:v>0.21449851042701093</c:v>
                </c:pt>
                <c:pt idx="60">
                  <c:v>0.22286100777815354</c:v>
                </c:pt>
                <c:pt idx="61">
                  <c:v>0.23924074422101108</c:v>
                </c:pt>
                <c:pt idx="62">
                  <c:v>0.2210283960092095</c:v>
                </c:pt>
                <c:pt idx="63">
                  <c:v>0.224212271973466</c:v>
                </c:pt>
                <c:pt idx="64">
                  <c:v>0.2240386112408532</c:v>
                </c:pt>
                <c:pt idx="65">
                  <c:v>0.20935711881521374</c:v>
                </c:pt>
                <c:pt idx="66">
                  <c:v>0.2210543337645537</c:v>
                </c:pt>
                <c:pt idx="67">
                  <c:v>0.2173421605037946</c:v>
                </c:pt>
                <c:pt idx="68">
                  <c:v>0.19710906701708278</c:v>
                </c:pt>
                <c:pt idx="69">
                  <c:v>0.18213241159266153</c:v>
                </c:pt>
                <c:pt idx="70">
                  <c:v>0.19678425725941925</c:v>
                </c:pt>
                <c:pt idx="71">
                  <c:v>0.19207397622192868</c:v>
                </c:pt>
                <c:pt idx="72">
                  <c:v>0.165771484375</c:v>
                </c:pt>
                <c:pt idx="73">
                  <c:v>0.1793913507741591</c:v>
                </c:pt>
                <c:pt idx="74">
                  <c:v>0.16470258136924804</c:v>
                </c:pt>
                <c:pt idx="75">
                  <c:v>0.18797845194216048</c:v>
                </c:pt>
                <c:pt idx="76">
                  <c:v>0.18991504521786792</c:v>
                </c:pt>
                <c:pt idx="77">
                  <c:v>0.18278560250391238</c:v>
                </c:pt>
                <c:pt idx="78">
                  <c:v>0.1871011084984884</c:v>
                </c:pt>
                <c:pt idx="79">
                  <c:v>0.1626691266912669</c:v>
                </c:pt>
                <c:pt idx="80">
                  <c:v>0.1622364802933089</c:v>
                </c:pt>
                <c:pt idx="81">
                  <c:v>0.16198163094906765</c:v>
                </c:pt>
                <c:pt idx="82">
                  <c:v>0.15863840719332048</c:v>
                </c:pt>
                <c:pt idx="83">
                  <c:v>0.15833896016205268</c:v>
                </c:pt>
                <c:pt idx="84">
                  <c:v>0.17563837129054521</c:v>
                </c:pt>
                <c:pt idx="85">
                  <c:v>0.17338577515568665</c:v>
                </c:pt>
                <c:pt idx="86">
                  <c:v>0.18540344514959203</c:v>
                </c:pt>
                <c:pt idx="87">
                  <c:v>0.20316222655403943</c:v>
                </c:pt>
                <c:pt idx="88">
                  <c:v>0.194207453973956</c:v>
                </c:pt>
                <c:pt idx="89">
                  <c:v>0.17954126021618771</c:v>
                </c:pt>
                <c:pt idx="90">
                  <c:v>0.1840929401251117</c:v>
                </c:pt>
                <c:pt idx="91">
                  <c:v>0.1729794214136594</c:v>
                </c:pt>
                <c:pt idx="92">
                  <c:v>0.17577081815974752</c:v>
                </c:pt>
                <c:pt idx="93">
                  <c:v>0.17348689046802254</c:v>
                </c:pt>
                <c:pt idx="94">
                  <c:v>0.1943256023418149</c:v>
                </c:pt>
                <c:pt idx="95">
                  <c:v>0.19321967470115617</c:v>
                </c:pt>
                <c:pt idx="96">
                  <c:v>0.16993652625504904</c:v>
                </c:pt>
                <c:pt idx="97">
                  <c:v>0.16584287200832465</c:v>
                </c:pt>
                <c:pt idx="98">
                  <c:v>0.17304357877702</c:v>
                </c:pt>
                <c:pt idx="99">
                  <c:v>0.1765262162446149</c:v>
                </c:pt>
                <c:pt idx="100">
                  <c:v>0.17941973537382433</c:v>
                </c:pt>
                <c:pt idx="101">
                  <c:v>0.20577027762656505</c:v>
                </c:pt>
                <c:pt idx="102">
                  <c:v>0.19974608548455353</c:v>
                </c:pt>
                <c:pt idx="103">
                  <c:v>0.19555160142348754</c:v>
                </c:pt>
                <c:pt idx="104">
                  <c:v>0.19310631229235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672683239827008</c:v>
                </c:pt>
                <c:pt idx="1">
                  <c:v>0.7541016514160538</c:v>
                </c:pt>
                <c:pt idx="2">
                  <c:v>0.7474976357488383</c:v>
                </c:pt>
                <c:pt idx="3">
                  <c:v>0.692141579290159</c:v>
                </c:pt>
                <c:pt idx="4">
                  <c:v>0.7349099637313005</c:v>
                </c:pt>
                <c:pt idx="5">
                  <c:v>0.7089074135048802</c:v>
                </c:pt>
                <c:pt idx="6">
                  <c:v>0.6796588069466589</c:v>
                </c:pt>
                <c:pt idx="7">
                  <c:v>0.6958961391503321</c:v>
                </c:pt>
                <c:pt idx="8">
                  <c:v>0.734717560127541</c:v>
                </c:pt>
                <c:pt idx="9">
                  <c:v>0.7048207443741523</c:v>
                </c:pt>
                <c:pt idx="10">
                  <c:v>0.7396866971660114</c:v>
                </c:pt>
                <c:pt idx="11">
                  <c:v>0.715889727664554</c:v>
                </c:pt>
                <c:pt idx="12">
                  <c:v>0.7384287534420823</c:v>
                </c:pt>
                <c:pt idx="13">
                  <c:v>0.7040053701897077</c:v>
                </c:pt>
                <c:pt idx="14">
                  <c:v>0.6988290755999291</c:v>
                </c:pt>
                <c:pt idx="15">
                  <c:v>0.702592521078226</c:v>
                </c:pt>
                <c:pt idx="16">
                  <c:v>0.7295409122851588</c:v>
                </c:pt>
                <c:pt idx="17">
                  <c:v>0.6801731890737289</c:v>
                </c:pt>
                <c:pt idx="18">
                  <c:v>0.731623014810866</c:v>
                </c:pt>
                <c:pt idx="19">
                  <c:v>0.7527709511438144</c:v>
                </c:pt>
                <c:pt idx="20">
                  <c:v>0.7046891516653324</c:v>
                </c:pt>
                <c:pt idx="21">
                  <c:v>0.6860812893681102</c:v>
                </c:pt>
                <c:pt idx="22">
                  <c:v>0.7044163497637101</c:v>
                </c:pt>
                <c:pt idx="23">
                  <c:v>0.6916353807458308</c:v>
                </c:pt>
                <c:pt idx="24">
                  <c:v>0.6715543186429053</c:v>
                </c:pt>
                <c:pt idx="25">
                  <c:v>0.6790271106564375</c:v>
                </c:pt>
                <c:pt idx="26">
                  <c:v>0.6719020917406408</c:v>
                </c:pt>
                <c:pt idx="27">
                  <c:v>0.6908514807591286</c:v>
                </c:pt>
                <c:pt idx="28">
                  <c:v>0.6852188715335302</c:v>
                </c:pt>
                <c:pt idx="29">
                  <c:v>0.6736185390996074</c:v>
                </c:pt>
                <c:pt idx="30">
                  <c:v>0.6896216797325958</c:v>
                </c:pt>
                <c:pt idx="31">
                  <c:v>0.6647886215633371</c:v>
                </c:pt>
                <c:pt idx="32">
                  <c:v>0.6680479977863669</c:v>
                </c:pt>
                <c:pt idx="33">
                  <c:v>0.7043156572602021</c:v>
                </c:pt>
                <c:pt idx="34">
                  <c:v>0.7209077368064459</c:v>
                </c:pt>
                <c:pt idx="35">
                  <c:v>0.7170941710334298</c:v>
                </c:pt>
                <c:pt idx="36">
                  <c:v>0.6804142551449583</c:v>
                </c:pt>
                <c:pt idx="37">
                  <c:v>0.6538086977968269</c:v>
                </c:pt>
                <c:pt idx="38">
                  <c:v>0.6722290000547243</c:v>
                </c:pt>
                <c:pt idx="39">
                  <c:v>0.6982562848457379</c:v>
                </c:pt>
                <c:pt idx="40">
                  <c:v>0.760253308232057</c:v>
                </c:pt>
                <c:pt idx="41">
                  <c:v>0.7566843571227728</c:v>
                </c:pt>
                <c:pt idx="42">
                  <c:v>0.7381373555887738</c:v>
                </c:pt>
                <c:pt idx="43">
                  <c:v>0.7958380313554277</c:v>
                </c:pt>
                <c:pt idx="44">
                  <c:v>0.8297569024475258</c:v>
                </c:pt>
                <c:pt idx="45">
                  <c:v>0.8046099999800626</c:v>
                </c:pt>
                <c:pt idx="46">
                  <c:v>0.7638568349826442</c:v>
                </c:pt>
                <c:pt idx="47">
                  <c:v>0.7570457008171949</c:v>
                </c:pt>
                <c:pt idx="48">
                  <c:v>0.7773651555336262</c:v>
                </c:pt>
                <c:pt idx="49">
                  <c:v>0.8009590865019677</c:v>
                </c:pt>
                <c:pt idx="50">
                  <c:v>0.8172372019370328</c:v>
                </c:pt>
                <c:pt idx="51">
                  <c:v>0.7945813986409427</c:v>
                </c:pt>
              </c:numCache>
            </c:numRef>
          </c:xVal>
          <c:yVal>
            <c:numRef>
              <c:f>Sheet1!$B$109:$B$160</c:f>
              <c:numCache>
                <c:formatCode>General</c:formatCode>
                <c:ptCount val="52"/>
                <c:pt idx="0">
                  <c:v>0.1883008356545961</c:v>
                </c:pt>
                <c:pt idx="1">
                  <c:v>0.1962360321505587</c:v>
                </c:pt>
                <c:pt idx="2">
                  <c:v>0.2070623035681272</c:v>
                </c:pt>
                <c:pt idx="3">
                  <c:v>0.2307535225648356</c:v>
                </c:pt>
                <c:pt idx="4">
                  <c:v>0.2131081624447125</c:v>
                </c:pt>
                <c:pt idx="5">
                  <c:v>0.22560035250055077</c:v>
                </c:pt>
                <c:pt idx="6">
                  <c:v>0.23763998907402348</c:v>
                </c:pt>
                <c:pt idx="7">
                  <c:v>0.20937642239417387</c:v>
                </c:pt>
                <c:pt idx="8">
                  <c:v>0.2162423461166613</c:v>
                </c:pt>
                <c:pt idx="9">
                  <c:v>0.21928104575163399</c:v>
                </c:pt>
                <c:pt idx="10">
                  <c:v>0.22534102833158448</c:v>
                </c:pt>
                <c:pt idx="11">
                  <c:v>0.21299234646257234</c:v>
                </c:pt>
                <c:pt idx="12">
                  <c:v>0.21937639198218262</c:v>
                </c:pt>
                <c:pt idx="13">
                  <c:v>0.21815990357573323</c:v>
                </c:pt>
                <c:pt idx="14">
                  <c:v>0.22596475574392147</c:v>
                </c:pt>
                <c:pt idx="15">
                  <c:v>0.22016592214422465</c:v>
                </c:pt>
                <c:pt idx="16">
                  <c:v>0.22083775185577942</c:v>
                </c:pt>
                <c:pt idx="17">
                  <c:v>0.23083333333333333</c:v>
                </c:pt>
                <c:pt idx="18">
                  <c:v>0.22112211221122113</c:v>
                </c:pt>
                <c:pt idx="19">
                  <c:v>0.21683744115203546</c:v>
                </c:pt>
                <c:pt idx="20">
                  <c:v>0.20981713185755535</c:v>
                </c:pt>
                <c:pt idx="21">
                  <c:v>0.22101606600086843</c:v>
                </c:pt>
                <c:pt idx="22">
                  <c:v>0.23205187586845763</c:v>
                </c:pt>
                <c:pt idx="23">
                  <c:v>0.22917718324078748</c:v>
                </c:pt>
                <c:pt idx="24">
                  <c:v>0.23804878048780487</c:v>
                </c:pt>
                <c:pt idx="25">
                  <c:v>0.24257425742574257</c:v>
                </c:pt>
                <c:pt idx="26">
                  <c:v>0.22978017420157612</c:v>
                </c:pt>
                <c:pt idx="27">
                  <c:v>0.22506301764494058</c:v>
                </c:pt>
                <c:pt idx="28">
                  <c:v>0.224964234620887</c:v>
                </c:pt>
                <c:pt idx="29">
                  <c:v>0.23404255319148937</c:v>
                </c:pt>
                <c:pt idx="30">
                  <c:v>0.2341796134899583</c:v>
                </c:pt>
                <c:pt idx="31">
                  <c:v>0.21842863019333608</c:v>
                </c:pt>
                <c:pt idx="32">
                  <c:v>0.22503057480635957</c:v>
                </c:pt>
                <c:pt idx="33">
                  <c:v>0.23076923076923078</c:v>
                </c:pt>
                <c:pt idx="34">
                  <c:v>0.24257066924377868</c:v>
                </c:pt>
                <c:pt idx="35">
                  <c:v>0.24421965317919075</c:v>
                </c:pt>
                <c:pt idx="36">
                  <c:v>0.23065420560747663</c:v>
                </c:pt>
                <c:pt idx="37">
                  <c:v>0.24307387862796834</c:v>
                </c:pt>
                <c:pt idx="38">
                  <c:v>0.21852970795568982</c:v>
                </c:pt>
                <c:pt idx="39">
                  <c:v>0.23173341485784163</c:v>
                </c:pt>
                <c:pt idx="40">
                  <c:v>0.22205838985549986</c:v>
                </c:pt>
                <c:pt idx="41">
                  <c:v>0.21705426356589147</c:v>
                </c:pt>
                <c:pt idx="42">
                  <c:v>0.20890515401036902</c:v>
                </c:pt>
                <c:pt idx="43">
                  <c:v>0.20249617931737138</c:v>
                </c:pt>
                <c:pt idx="44">
                  <c:v>0.20190713101160862</c:v>
                </c:pt>
                <c:pt idx="45">
                  <c:v>0.22230950510604872</c:v>
                </c:pt>
                <c:pt idx="46">
                  <c:v>0.24022346368715083</c:v>
                </c:pt>
                <c:pt idx="47">
                  <c:v>0.2299059250701436</c:v>
                </c:pt>
                <c:pt idx="48">
                  <c:v>0.22239010989010988</c:v>
                </c:pt>
                <c:pt idx="49">
                  <c:v>0.2387263863497867</c:v>
                </c:pt>
                <c:pt idx="50">
                  <c:v>0.2258511480601742</c:v>
                </c:pt>
                <c:pt idx="51">
                  <c:v>0.22554303446023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7708924653554715</c:v>
                </c:pt>
              </c:numCache>
            </c:numRef>
          </c:xVal>
          <c:yVal>
            <c:numRef>
              <c:f>Sheet1!$B$163:$B$164</c:f>
              <c:numCache>
                <c:formatCode>General</c:formatCode>
                <c:ptCount val="2"/>
                <c:pt idx="0">
                  <c:v>0.29674922746839427</c:v>
                </c:pt>
                <c:pt idx="1">
                  <c:v>0.2967492274683942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7708924653554715</c:v>
                </c:pt>
                <c:pt idx="1">
                  <c:v>0.037708924653554715</c:v>
                </c:pt>
              </c:numCache>
            </c:numRef>
          </c:xVal>
          <c:yVal>
            <c:numRef>
              <c:f>Sheet1!$B$167:$B$168</c:f>
              <c:numCache>
                <c:formatCode>General</c:formatCode>
                <c:ptCount val="2"/>
                <c:pt idx="0">
                  <c:v>0.296749227468394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86026777310894</c:v>
                </c:pt>
              </c:numCache>
            </c:numRef>
          </c:xVal>
          <c:yVal>
            <c:numRef>
              <c:f>Sheet1!$B$171:$B$172</c:f>
              <c:numCache>
                <c:formatCode>General</c:formatCode>
                <c:ptCount val="2"/>
                <c:pt idx="0">
                  <c:v>0.23128313809110376</c:v>
                </c:pt>
                <c:pt idx="1">
                  <c:v>0.231283138091103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86026777310894</c:v>
                </c:pt>
                <c:pt idx="1">
                  <c:v>0.6486026777310894</c:v>
                </c:pt>
              </c:numCache>
            </c:numRef>
          </c:xVal>
          <c:yVal>
            <c:numRef>
              <c:f>Sheet1!$B$175:$B$176</c:f>
              <c:numCache>
                <c:formatCode>General</c:formatCode>
                <c:ptCount val="2"/>
                <c:pt idx="0">
                  <c:v>0.231283138091103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329997074656833</c:v>
                </c:pt>
              </c:numCache>
            </c:numRef>
          </c:xVal>
          <c:yVal>
            <c:numRef>
              <c:f>Sheet1!$B$179:$B$180</c:f>
              <c:numCache>
                <c:formatCode>General</c:formatCode>
                <c:ptCount val="2"/>
                <c:pt idx="0">
                  <c:v>0.22223877732632522</c:v>
                </c:pt>
                <c:pt idx="1">
                  <c:v>0.2222387773263252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329997074656833</c:v>
                </c:pt>
                <c:pt idx="1">
                  <c:v>0.7329997074656833</c:v>
                </c:pt>
              </c:numCache>
            </c:numRef>
          </c:xVal>
          <c:yVal>
            <c:numRef>
              <c:f>Sheet1!$B$183:$B$184</c:f>
              <c:numCache>
                <c:formatCode>General</c:formatCode>
                <c:ptCount val="2"/>
                <c:pt idx="0">
                  <c:v>0.222238777326325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672683239827008</c:v>
                </c:pt>
                <c:pt idx="1">
                  <c:v>0.7541016514160538</c:v>
                </c:pt>
                <c:pt idx="2">
                  <c:v>0.7474976357488383</c:v>
                </c:pt>
                <c:pt idx="3">
                  <c:v>0.692141579290159</c:v>
                </c:pt>
                <c:pt idx="4">
                  <c:v>0.7349099637313005</c:v>
                </c:pt>
                <c:pt idx="5">
                  <c:v>0.7089074135048802</c:v>
                </c:pt>
                <c:pt idx="6">
                  <c:v>0.6796588069466589</c:v>
                </c:pt>
                <c:pt idx="7">
                  <c:v>0.6958961391503321</c:v>
                </c:pt>
                <c:pt idx="8">
                  <c:v>0.734717560127541</c:v>
                </c:pt>
                <c:pt idx="9">
                  <c:v>0.7048207443741523</c:v>
                </c:pt>
                <c:pt idx="10">
                  <c:v>0.7396866971660114</c:v>
                </c:pt>
                <c:pt idx="11">
                  <c:v>0.715889727664554</c:v>
                </c:pt>
                <c:pt idx="12">
                  <c:v>0.7384287534420823</c:v>
                </c:pt>
                <c:pt idx="13">
                  <c:v>0.7040053701897077</c:v>
                </c:pt>
                <c:pt idx="14">
                  <c:v>0.6988290755999291</c:v>
                </c:pt>
                <c:pt idx="15">
                  <c:v>0.702592521078226</c:v>
                </c:pt>
                <c:pt idx="16">
                  <c:v>0.7295409122851588</c:v>
                </c:pt>
                <c:pt idx="17">
                  <c:v>0.6801731890737289</c:v>
                </c:pt>
                <c:pt idx="18">
                  <c:v>0.731623014810866</c:v>
                </c:pt>
                <c:pt idx="19">
                  <c:v>0.7527709511438144</c:v>
                </c:pt>
                <c:pt idx="20">
                  <c:v>0.7046891516653324</c:v>
                </c:pt>
                <c:pt idx="21">
                  <c:v>0.6860812893681102</c:v>
                </c:pt>
                <c:pt idx="22">
                  <c:v>0.7044163497637101</c:v>
                </c:pt>
                <c:pt idx="23">
                  <c:v>0.6916353807458308</c:v>
                </c:pt>
                <c:pt idx="24">
                  <c:v>0.6715543186429053</c:v>
                </c:pt>
                <c:pt idx="25">
                  <c:v>0.6790271106564375</c:v>
                </c:pt>
                <c:pt idx="26">
                  <c:v>0.6719020917406408</c:v>
                </c:pt>
                <c:pt idx="27">
                  <c:v>0.6908514807591286</c:v>
                </c:pt>
                <c:pt idx="28">
                  <c:v>0.6852188715335302</c:v>
                </c:pt>
                <c:pt idx="29">
                  <c:v>0.6736185390996074</c:v>
                </c:pt>
                <c:pt idx="30">
                  <c:v>0.6896216797325958</c:v>
                </c:pt>
                <c:pt idx="31">
                  <c:v>0.6647886215633371</c:v>
                </c:pt>
                <c:pt idx="32">
                  <c:v>0.6680479977863669</c:v>
                </c:pt>
                <c:pt idx="33">
                  <c:v>0.7043156572602021</c:v>
                </c:pt>
                <c:pt idx="34">
                  <c:v>0.7209077368064459</c:v>
                </c:pt>
                <c:pt idx="35">
                  <c:v>0.7170941710334298</c:v>
                </c:pt>
                <c:pt idx="36">
                  <c:v>0.6804142551449583</c:v>
                </c:pt>
                <c:pt idx="37">
                  <c:v>0.6538086977968269</c:v>
                </c:pt>
                <c:pt idx="38">
                  <c:v>0.6722290000547243</c:v>
                </c:pt>
                <c:pt idx="39">
                  <c:v>0.6982562848457379</c:v>
                </c:pt>
                <c:pt idx="40">
                  <c:v>0.760253308232057</c:v>
                </c:pt>
                <c:pt idx="41">
                  <c:v>0.7566843571227728</c:v>
                </c:pt>
                <c:pt idx="42">
                  <c:v>0.7381373555887738</c:v>
                </c:pt>
                <c:pt idx="43">
                  <c:v>0.7958380313554277</c:v>
                </c:pt>
                <c:pt idx="44">
                  <c:v>0.8297569024475258</c:v>
                </c:pt>
                <c:pt idx="45">
                  <c:v>0.8046099999800626</c:v>
                </c:pt>
                <c:pt idx="46">
                  <c:v>0.7638568349826442</c:v>
                </c:pt>
                <c:pt idx="47">
                  <c:v>0.7570457008171949</c:v>
                </c:pt>
                <c:pt idx="48">
                  <c:v>0.7773651555336262</c:v>
                </c:pt>
                <c:pt idx="49">
                  <c:v>0.8009590865019677</c:v>
                </c:pt>
                <c:pt idx="50">
                  <c:v>0.8172372019370328</c:v>
                </c:pt>
                <c:pt idx="51">
                  <c:v>0.7945813986409427</c:v>
                </c:pt>
                <c:pt idx="52">
                  <c:v>0.6486026777310894</c:v>
                </c:pt>
                <c:pt idx="53">
                  <c:v>0.037708924653554715</c:v>
                </c:pt>
                <c:pt idx="54">
                  <c:v>0.7329997074656833</c:v>
                </c:pt>
              </c:numCache>
            </c:numRef>
          </c:xVal>
          <c:yVal>
            <c:numRef>
              <c:f>Sheet1!$B$187:$B$241</c:f>
              <c:numCache>
                <c:formatCode>General</c:formatCode>
                <c:ptCount val="55"/>
                <c:pt idx="0">
                  <c:v>0.21856640009143405</c:v>
                </c:pt>
                <c:pt idx="1">
                  <c:v>0.21997739923605983</c:v>
                </c:pt>
                <c:pt idx="2">
                  <c:v>0.22068511490304926</c:v>
                </c:pt>
                <c:pt idx="3">
                  <c:v>0.22661731591417714</c:v>
                </c:pt>
                <c:pt idx="4">
                  <c:v>0.22203406577576767</c:v>
                </c:pt>
                <c:pt idx="5">
                  <c:v>0.22482061461275382</c:v>
                </c:pt>
                <c:pt idx="6">
                  <c:v>0.22795502527165395</c:v>
                </c:pt>
                <c:pt idx="7">
                  <c:v>0.22621496059438506</c:v>
                </c:pt>
                <c:pt idx="8">
                  <c:v>0.22205468460098363</c:v>
                </c:pt>
                <c:pt idx="9">
                  <c:v>0.22525856023786434</c:v>
                </c:pt>
                <c:pt idx="10">
                  <c:v>0.22152216979321276</c:v>
                </c:pt>
                <c:pt idx="11">
                  <c:v>0.2240723587981629</c:v>
                </c:pt>
                <c:pt idx="12">
                  <c:v>0.2216569766329414</c:v>
                </c:pt>
                <c:pt idx="13">
                  <c:v>0.22534593935897318</c:v>
                </c:pt>
                <c:pt idx="14">
                  <c:v>0.2259006540905455</c:v>
                </c:pt>
                <c:pt idx="15">
                  <c:v>0.22549734654842785</c:v>
                </c:pt>
                <c:pt idx="16">
                  <c:v>0.22260943718867482</c:v>
                </c:pt>
                <c:pt idx="17">
                  <c:v>0.22789990179701503</c:v>
                </c:pt>
                <c:pt idx="18">
                  <c:v>0.22238630982920526</c:v>
                </c:pt>
                <c:pt idx="19">
                  <c:v>0.22012000299083379</c:v>
                </c:pt>
                <c:pt idx="20">
                  <c:v>0.2252726622973364</c:v>
                </c:pt>
                <c:pt idx="21">
                  <c:v>0.22726676351401007</c:v>
                </c:pt>
                <c:pt idx="22">
                  <c:v>0.22530189696143949</c:v>
                </c:pt>
                <c:pt idx="23">
                  <c:v>0.2266715623997218</c:v>
                </c:pt>
                <c:pt idx="24">
                  <c:v>0.22882353825444002</c:v>
                </c:pt>
                <c:pt idx="25">
                  <c:v>0.22802272065335755</c:v>
                </c:pt>
                <c:pt idx="26">
                  <c:v>0.22878626934379118</c:v>
                </c:pt>
                <c:pt idx="27">
                  <c:v>0.22675556860592994</c:v>
                </c:pt>
                <c:pt idx="28">
                  <c:v>0.22735918404172828</c:v>
                </c:pt>
                <c:pt idx="29">
                  <c:v>0.22860232721695253</c:v>
                </c:pt>
                <c:pt idx="30">
                  <c:v>0.22688735954914008</c:v>
                </c:pt>
                <c:pt idx="31">
                  <c:v>0.22954858042008558</c:v>
                </c:pt>
                <c:pt idx="32">
                  <c:v>0.22919929117943424</c:v>
                </c:pt>
                <c:pt idx="33">
                  <c:v>0.22531268761759052</c:v>
                </c:pt>
                <c:pt idx="34">
                  <c:v>0.22353460663860292</c:v>
                </c:pt>
                <c:pt idx="35">
                  <c:v>0.22394328529423613</c:v>
                </c:pt>
                <c:pt idx="36">
                  <c:v>0.22787406808553012</c:v>
                </c:pt>
                <c:pt idx="37">
                  <c:v>0.23072523784542834</c:v>
                </c:pt>
                <c:pt idx="38">
                  <c:v>0.2287512363960811</c:v>
                </c:pt>
                <c:pt idx="39">
                  <c:v>0.2259620368932333</c:v>
                </c:pt>
                <c:pt idx="40">
                  <c:v>0.21931816035383842</c:v>
                </c:pt>
                <c:pt idx="41">
                  <c:v>0.21970062501504428</c:v>
                </c:pt>
                <c:pt idx="42">
                  <c:v>0.22168820412186713</c:v>
                </c:pt>
                <c:pt idx="43">
                  <c:v>0.21550474328626357</c:v>
                </c:pt>
                <c:pt idx="44">
                  <c:v>0.2118698463253672</c:v>
                </c:pt>
                <c:pt idx="45">
                  <c:v>0.21456470014602497</c:v>
                </c:pt>
                <c:pt idx="46">
                  <c:v>0.21893199041325717</c:v>
                </c:pt>
                <c:pt idx="47">
                  <c:v>0.2196619018189471</c:v>
                </c:pt>
                <c:pt idx="48">
                  <c:v>0.21748437875235443</c:v>
                </c:pt>
                <c:pt idx="49">
                  <c:v>0.21495594825891146</c:v>
                </c:pt>
                <c:pt idx="50">
                  <c:v>0.2132115130693269</c:v>
                </c:pt>
                <c:pt idx="51">
                  <c:v>0.21563940963239409</c:v>
                </c:pt>
                <c:pt idx="52">
                  <c:v>0.23128313809110376</c:v>
                </c:pt>
                <c:pt idx="53">
                  <c:v>0.29674922746839427</c:v>
                </c:pt>
                <c:pt idx="54">
                  <c:v>0.222238777326325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82758620689655"/>
          <c:min val="0.126671168129642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671</c:v>
                </c:pt>
                <c:pt idx="1">
                  <c:v>902.8432</c:v>
                </c:pt>
                <c:pt idx="2">
                  <c:v>985.2542</c:v>
                </c:pt>
                <c:pt idx="3">
                  <c:v>997.4359</c:v>
                </c:pt>
                <c:pt idx="4">
                  <c:v>997.3115</c:v>
                </c:pt>
                <c:pt idx="5">
                  <c:v>999.0053</c:v>
                </c:pt>
                <c:pt idx="6">
                  <c:v>921.263</c:v>
                </c:pt>
                <c:pt idx="7">
                  <c:v>951.4774</c:v>
                </c:pt>
                <c:pt idx="8">
                  <c:v>983.8892</c:v>
                </c:pt>
                <c:pt idx="9">
                  <c:v>911.3152</c:v>
                </c:pt>
                <c:pt idx="10">
                  <c:v>909.9708</c:v>
                </c:pt>
                <c:pt idx="11">
                  <c:v>964.5726</c:v>
                </c:pt>
                <c:pt idx="12">
                  <c:v>964.0199</c:v>
                </c:pt>
                <c:pt idx="13">
                  <c:v>950.364</c:v>
                </c:pt>
                <c:pt idx="14">
                  <c:v>950.9456</c:v>
                </c:pt>
                <c:pt idx="15">
                  <c:v>962.0413</c:v>
                </c:pt>
                <c:pt idx="16">
                  <c:v>969.7886</c:v>
                </c:pt>
                <c:pt idx="17">
                  <c:v>986.8333</c:v>
                </c:pt>
                <c:pt idx="18">
                  <c:v>1040.959</c:v>
                </c:pt>
                <c:pt idx="19">
                  <c:v>1076.8727</c:v>
                </c:pt>
                <c:pt idx="20">
                  <c:v>1076.7289</c:v>
                </c:pt>
                <c:pt idx="21">
                  <c:v>1086.3796</c:v>
                </c:pt>
                <c:pt idx="22">
                  <c:v>1068.1275</c:v>
                </c:pt>
                <c:pt idx="23">
                  <c:v>1051.2208</c:v>
                </c:pt>
                <c:pt idx="24">
                  <c:v>1031.6641</c:v>
                </c:pt>
                <c:pt idx="25">
                  <c:v>1036.3221</c:v>
                </c:pt>
                <c:pt idx="26">
                  <c:v>1037.0525</c:v>
                </c:pt>
                <c:pt idx="27">
                  <c:v>1041.3586</c:v>
                </c:pt>
                <c:pt idx="28">
                  <c:v>1034.6765</c:v>
                </c:pt>
                <c:pt idx="29">
                  <c:v>943.0731</c:v>
                </c:pt>
                <c:pt idx="30">
                  <c:v>983.6676</c:v>
                </c:pt>
                <c:pt idx="31">
                  <c:v>999.9237</c:v>
                </c:pt>
                <c:pt idx="32">
                  <c:v>983.1398</c:v>
                </c:pt>
                <c:pt idx="33">
                  <c:v>919.3306</c:v>
                </c:pt>
                <c:pt idx="34">
                  <c:v>978.4737</c:v>
                </c:pt>
                <c:pt idx="35">
                  <c:v>1020.832</c:v>
                </c:pt>
                <c:pt idx="36">
                  <c:v>1108.2054</c:v>
                </c:pt>
                <c:pt idx="37">
                  <c:v>1096.794</c:v>
                </c:pt>
                <c:pt idx="38">
                  <c:v>1190.2685</c:v>
                </c:pt>
                <c:pt idx="39">
                  <c:v>1182.6103</c:v>
                </c:pt>
                <c:pt idx="40">
                  <c:v>1204.7481</c:v>
                </c:pt>
                <c:pt idx="41">
                  <c:v>1229.7287</c:v>
                </c:pt>
                <c:pt idx="42">
                  <c:v>1261.8951</c:v>
                </c:pt>
                <c:pt idx="43">
                  <c:v>1268.9533</c:v>
                </c:pt>
                <c:pt idx="44">
                  <c:v>1074.978</c:v>
                </c:pt>
                <c:pt idx="45">
                  <c:v>1009.5644</c:v>
                </c:pt>
                <c:pt idx="46">
                  <c:v>987.2418</c:v>
                </c:pt>
                <c:pt idx="47">
                  <c:v>966.9421</c:v>
                </c:pt>
                <c:pt idx="48">
                  <c:v>976.7686</c:v>
                </c:pt>
                <c:pt idx="49">
                  <c:v>958.6468</c:v>
                </c:pt>
                <c:pt idx="50">
                  <c:v>955.4439</c:v>
                </c:pt>
                <c:pt idx="51">
                  <c:v>996.3261</c:v>
                </c:pt>
                <c:pt idx="52">
                  <c:v>1013.2034</c:v>
                </c:pt>
                <c:pt idx="53">
                  <c:v>1086.3752</c:v>
                </c:pt>
                <c:pt idx="54">
                  <c:v>1058.7316</c:v>
                </c:pt>
                <c:pt idx="55">
                  <c:v>1092.1719</c:v>
                </c:pt>
                <c:pt idx="56">
                  <c:v>1111.6811</c:v>
                </c:pt>
                <c:pt idx="57">
                  <c:v>1099.0574</c:v>
                </c:pt>
                <c:pt idx="58">
                  <c:v>1037.6294</c:v>
                </c:pt>
                <c:pt idx="59">
                  <c:v>1037.4454</c:v>
                </c:pt>
                <c:pt idx="60">
                  <c:v>1069.7952</c:v>
                </c:pt>
                <c:pt idx="61">
                  <c:v>1069.552</c:v>
                </c:pt>
                <c:pt idx="62">
                  <c:v>1041.3442</c:v>
                </c:pt>
                <c:pt idx="63">
                  <c:v>1052.4167</c:v>
                </c:pt>
                <c:pt idx="64">
                  <c:v>1074.5178</c:v>
                </c:pt>
                <c:pt idx="65">
                  <c:v>1051.6686</c:v>
                </c:pt>
                <c:pt idx="66">
                  <c:v>970.2639</c:v>
                </c:pt>
                <c:pt idx="67">
                  <c:v>939.9074</c:v>
                </c:pt>
                <c:pt idx="68">
                  <c:v>953.1809</c:v>
                </c:pt>
                <c:pt idx="69">
                  <c:v>914.7098</c:v>
                </c:pt>
                <c:pt idx="70">
                  <c:v>882.1038</c:v>
                </c:pt>
                <c:pt idx="71">
                  <c:v>948.0803</c:v>
                </c:pt>
                <c:pt idx="72">
                  <c:v>1056.6974</c:v>
                </c:pt>
                <c:pt idx="73">
                  <c:v>1081.1125</c:v>
                </c:pt>
                <c:pt idx="74">
                  <c:v>1080.9789</c:v>
                </c:pt>
                <c:pt idx="75">
                  <c:v>1040.6</c:v>
                </c:pt>
                <c:pt idx="76">
                  <c:v>1041.3744</c:v>
                </c:pt>
                <c:pt idx="77">
                  <c:v>1046.883</c:v>
                </c:pt>
                <c:pt idx="78">
                  <c:v>1090.9083</c:v>
                </c:pt>
                <c:pt idx="79">
                  <c:v>769.137</c:v>
                </c:pt>
                <c:pt idx="80">
                  <c:v>809.6285</c:v>
                </c:pt>
                <c:pt idx="81">
                  <c:v>886.4814</c:v>
                </c:pt>
                <c:pt idx="82">
                  <c:v>990.476</c:v>
                </c:pt>
                <c:pt idx="83">
                  <c:v>989.9916</c:v>
                </c:pt>
                <c:pt idx="84">
                  <c:v>859.8535</c:v>
                </c:pt>
                <c:pt idx="85">
                  <c:v>1085.9345</c:v>
                </c:pt>
                <c:pt idx="86">
                  <c:v>1149.3892</c:v>
                </c:pt>
                <c:pt idx="87">
                  <c:v>990.0293</c:v>
                </c:pt>
                <c:pt idx="88">
                  <c:v>1075.7659</c:v>
                </c:pt>
                <c:pt idx="89">
                  <c:v>1043.3063</c:v>
                </c:pt>
                <c:pt idx="90">
                  <c:v>1098.7157</c:v>
                </c:pt>
                <c:pt idx="91">
                  <c:v>1134.4983</c:v>
                </c:pt>
                <c:pt idx="92">
                  <c:v>1163.5174</c:v>
                </c:pt>
                <c:pt idx="93">
                  <c:v>1204.6571</c:v>
                </c:pt>
                <c:pt idx="94">
                  <c:v>1115.6554</c:v>
                </c:pt>
                <c:pt idx="95">
                  <c:v>1240.9732</c:v>
                </c:pt>
                <c:pt idx="96">
                  <c:v>1214.05</c:v>
                </c:pt>
                <c:pt idx="97">
                  <c:v>1188.6092</c:v>
                </c:pt>
                <c:pt idx="98">
                  <c:v>1160.3567</c:v>
                </c:pt>
                <c:pt idx="99">
                  <c:v>1133.7216</c:v>
                </c:pt>
                <c:pt idx="100">
                  <c:v>1137.9173</c:v>
                </c:pt>
                <c:pt idx="101">
                  <c:v>1149.4662</c:v>
                </c:pt>
                <c:pt idx="102">
                  <c:v>1196.5346</c:v>
                </c:pt>
                <c:pt idx="103">
                  <c:v>1101.1108</c:v>
                </c:pt>
                <c:pt idx="104">
                  <c:v>1270.3012</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723463062643</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723463062643</c:v>
                </c:pt>
                <c:pt idx="1">
                  <c:v>934.6723463062643</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7.5987954678346</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7.5987954678346</c:v>
                </c:pt>
                <c:pt idx="1">
                  <c:v>1037.5987954678346</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9.9703770691847</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9.9703770691847</c:v>
                </c:pt>
                <c:pt idx="1">
                  <c:v>1249.9703770691847</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pt idx="52">
                  <c:v>1037.5987954678346</c:v>
                </c:pt>
                <c:pt idx="53">
                  <c:v>934.6723463062643</c:v>
                </c:pt>
                <c:pt idx="54">
                  <c:v>1249.9703770691847</c:v>
                </c:pt>
              </c:numCache>
            </c:numRef>
          </c:xVal>
          <c:yVal>
            <c:numRef>
              <c:f>Sheet1!$B$187:$B$241</c:f>
              <c:numCache>
                <c:formatCode>General</c:formatCode>
                <c:ptCount val="55"/>
                <c:pt idx="0">
                  <c:v>0.13960606119669972</c:v>
                </c:pt>
                <c:pt idx="1">
                  <c:v>0.15679379621637524</c:v>
                </c:pt>
                <c:pt idx="2">
                  <c:v>0.16090193666245892</c:v>
                </c:pt>
                <c:pt idx="3">
                  <c:v>0.15787593488891408</c:v>
                </c:pt>
                <c:pt idx="4">
                  <c:v>0.15854751844454912</c:v>
                </c:pt>
                <c:pt idx="5">
                  <c:v>0.15801536501508645</c:v>
                </c:pt>
                <c:pt idx="6">
                  <c:v>0.1674986491899664</c:v>
                </c:pt>
                <c:pt idx="7">
                  <c:v>0.15852592485107744</c:v>
                </c:pt>
                <c:pt idx="8">
                  <c:v>0.1427656631518747</c:v>
                </c:pt>
                <c:pt idx="9">
                  <c:v>0.1484766149432498</c:v>
                </c:pt>
                <c:pt idx="10">
                  <c:v>0.14299763957646294</c:v>
                </c:pt>
                <c:pt idx="11">
                  <c:v>0.17390040055529976</c:v>
                </c:pt>
                <c:pt idx="12">
                  <c:v>0.17262727420234172</c:v>
                </c:pt>
                <c:pt idx="13">
                  <c:v>0.15964035620525607</c:v>
                </c:pt>
                <c:pt idx="14">
                  <c:v>0.16421896340503261</c:v>
                </c:pt>
                <c:pt idx="15">
                  <c:v>0.15749392695855316</c:v>
                </c:pt>
                <c:pt idx="16">
                  <c:v>0.152270410642136</c:v>
                </c:pt>
                <c:pt idx="17">
                  <c:v>0.1508765979232514</c:v>
                </c:pt>
                <c:pt idx="18">
                  <c:v>0.15353332644976467</c:v>
                </c:pt>
                <c:pt idx="19">
                  <c:v>0.12898815256364043</c:v>
                </c:pt>
                <c:pt idx="20">
                  <c:v>0.1211758314600542</c:v>
                </c:pt>
                <c:pt idx="21">
                  <c:v>0.12362846307330913</c:v>
                </c:pt>
                <c:pt idx="22">
                  <c:v>0.13268441882715565</c:v>
                </c:pt>
                <c:pt idx="23">
                  <c:v>0.1392209265921709</c:v>
                </c:pt>
                <c:pt idx="24">
                  <c:v>0.13767421624952642</c:v>
                </c:pt>
                <c:pt idx="25">
                  <c:v>0.14728626403193318</c:v>
                </c:pt>
                <c:pt idx="26">
                  <c:v>0.14066497779963777</c:v>
                </c:pt>
                <c:pt idx="27">
                  <c:v>0.14128676255524536</c:v>
                </c:pt>
                <c:pt idx="28">
                  <c:v>0.1457272586945141</c:v>
                </c:pt>
                <c:pt idx="29">
                  <c:v>0.1490892965172958</c:v>
                </c:pt>
                <c:pt idx="30">
                  <c:v>0.16376276210223048</c:v>
                </c:pt>
                <c:pt idx="31">
                  <c:v>0.15957883237709922</c:v>
                </c:pt>
                <c:pt idx="32">
                  <c:v>0.1613302095996472</c:v>
                </c:pt>
                <c:pt idx="33">
                  <c:v>0.16261978356150902</c:v>
                </c:pt>
                <c:pt idx="34">
                  <c:v>0.15921923227827445</c:v>
                </c:pt>
                <c:pt idx="35">
                  <c:v>0.16226606226151027</c:v>
                </c:pt>
                <c:pt idx="36">
                  <c:v>0.15440161363703198</c:v>
                </c:pt>
                <c:pt idx="37">
                  <c:v>0.13891233036570913</c:v>
                </c:pt>
                <c:pt idx="38">
                  <c:v>0.13793731285294153</c:v>
                </c:pt>
                <c:pt idx="39">
                  <c:v>0.13505149030458846</c:v>
                </c:pt>
                <c:pt idx="40">
                  <c:v>0.13061747550031344</c:v>
                </c:pt>
                <c:pt idx="41">
                  <c:v>0.1242892824017309</c:v>
                </c:pt>
                <c:pt idx="42">
                  <c:v>0.11234839976140229</c:v>
                </c:pt>
                <c:pt idx="43">
                  <c:v>0.12181487806263006</c:v>
                </c:pt>
                <c:pt idx="44">
                  <c:v>0.13523484043196224</c:v>
                </c:pt>
                <c:pt idx="45">
                  <c:v>0.14490240296560952</c:v>
                </c:pt>
                <c:pt idx="46">
                  <c:v>0.14967672042657965</c:v>
                </c:pt>
                <c:pt idx="47">
                  <c:v>0.14986207357959222</c:v>
                </c:pt>
                <c:pt idx="48">
                  <c:v>0.14876430153621414</c:v>
                </c:pt>
                <c:pt idx="49">
                  <c:v>0.14685913102803527</c:v>
                </c:pt>
                <c:pt idx="50">
                  <c:v>0.17218699939608204</c:v>
                </c:pt>
                <c:pt idx="51">
                  <c:v>0.17731015272866363</c:v>
                </c:pt>
                <c:pt idx="52">
                  <c:v>0.17468073448488744</c:v>
                </c:pt>
                <c:pt idx="53">
                  <c:v>0.19144206103600622</c:v>
                </c:pt>
                <c:pt idx="54">
                  <c:v>0.14009652937148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4.0"/>
          <c:min val="6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960761422747624</c:v>
                </c:pt>
                <c:pt idx="1">
                  <c:v>0.2024054925577057</c:v>
                </c:pt>
                <c:pt idx="2">
                  <c:v>0.2226230210360855</c:v>
                </c:pt>
                <c:pt idx="3">
                  <c:v>0.2422444434357361</c:v>
                </c:pt>
                <c:pt idx="4">
                  <c:v>0.22551873459512017</c:v>
                </c:pt>
                <c:pt idx="5">
                  <c:v>0.22261730828133108</c:v>
                </c:pt>
                <c:pt idx="6">
                  <c:v>0.2049325757426785</c:v>
                </c:pt>
                <c:pt idx="7">
                  <c:v>0.20071623751925122</c:v>
                </c:pt>
                <c:pt idx="8">
                  <c:v>0.20026580137212585</c:v>
                </c:pt>
                <c:pt idx="9">
                  <c:v>0.19508626295365739</c:v>
                </c:pt>
                <c:pt idx="10">
                  <c:v>0.2066649683257604</c:v>
                </c:pt>
                <c:pt idx="11">
                  <c:v>0.20490382385486022</c:v>
                </c:pt>
                <c:pt idx="12">
                  <c:v>0.21850513027668797</c:v>
                </c:pt>
                <c:pt idx="13">
                  <c:v>0.21793266707863862</c:v>
                </c:pt>
                <c:pt idx="14">
                  <c:v>0.20194683210859693</c:v>
                </c:pt>
                <c:pt idx="15">
                  <c:v>0.20501299176765395</c:v>
                </c:pt>
                <c:pt idx="16">
                  <c:v>0.18349633346440097</c:v>
                </c:pt>
                <c:pt idx="17">
                  <c:v>0.18064044909493093</c:v>
                </c:pt>
                <c:pt idx="18">
                  <c:v>0.19575221276880864</c:v>
                </c:pt>
                <c:pt idx="19">
                  <c:v>0.220032949998252</c:v>
                </c:pt>
                <c:pt idx="20">
                  <c:v>0.23866317189404856</c:v>
                </c:pt>
                <c:pt idx="21">
                  <c:v>0.1944825635517365</c:v>
                </c:pt>
                <c:pt idx="22">
                  <c:v>0.18846577843537662</c:v>
                </c:pt>
                <c:pt idx="23">
                  <c:v>0.16092342746769556</c:v>
                </c:pt>
                <c:pt idx="24">
                  <c:v>0.18368031313304212</c:v>
                </c:pt>
                <c:pt idx="25">
                  <c:v>0.17304984266876947</c:v>
                </c:pt>
                <c:pt idx="26">
                  <c:v>0.18644813606249383</c:v>
                </c:pt>
                <c:pt idx="27">
                  <c:v>0.19167501021730635</c:v>
                </c:pt>
                <c:pt idx="28">
                  <c:v>0.17785124347090456</c:v>
                </c:pt>
                <c:pt idx="29">
                  <c:v>0.19203585787018929</c:v>
                </c:pt>
                <c:pt idx="30">
                  <c:v>0.16857891587727564</c:v>
                </c:pt>
                <c:pt idx="31">
                  <c:v>0.19289863190481255</c:v>
                </c:pt>
                <c:pt idx="32">
                  <c:v>0.17447225831255403</c:v>
                </c:pt>
                <c:pt idx="33">
                  <c:v>0.16727317017467083</c:v>
                </c:pt>
                <c:pt idx="34">
                  <c:v>0.19931279338572547</c:v>
                </c:pt>
                <c:pt idx="35">
                  <c:v>0.21095287638600613</c:v>
                </c:pt>
                <c:pt idx="36">
                  <c:v>0.17129757824243852</c:v>
                </c:pt>
                <c:pt idx="37">
                  <c:v>0.16893760476926653</c:v>
                </c:pt>
                <c:pt idx="38">
                  <c:v>0.20933243574011795</c:v>
                </c:pt>
                <c:pt idx="39">
                  <c:v>0.20834717927401594</c:v>
                </c:pt>
                <c:pt idx="40">
                  <c:v>0.21205156369947492</c:v>
                </c:pt>
                <c:pt idx="41">
                  <c:v>0.21911307016466805</c:v>
                </c:pt>
                <c:pt idx="42">
                  <c:v>0.2109908836837135</c:v>
                </c:pt>
                <c:pt idx="43">
                  <c:v>0.2519399794541242</c:v>
                </c:pt>
                <c:pt idx="44">
                  <c:v>0.22287002592643057</c:v>
                </c:pt>
                <c:pt idx="45">
                  <c:v>0.2017770154644072</c:v>
                </c:pt>
                <c:pt idx="46">
                  <c:v>0.2215414340340736</c:v>
                </c:pt>
                <c:pt idx="47">
                  <c:v>0.200772649315535</c:v>
                </c:pt>
                <c:pt idx="48">
                  <c:v>0.23025687715339416</c:v>
                </c:pt>
                <c:pt idx="49">
                  <c:v>0.23813761923688395</c:v>
                </c:pt>
                <c:pt idx="50">
                  <c:v>0.197658575498269</c:v>
                </c:pt>
                <c:pt idx="51">
                  <c:v>0.19342663696326387</c:v>
                </c:pt>
                <c:pt idx="52">
                  <c:v>0.22003452350068103</c:v>
                </c:pt>
                <c:pt idx="53">
                  <c:v>0.2108407946038119</c:v>
                </c:pt>
                <c:pt idx="54">
                  <c:v>0.2052513145617962</c:v>
                </c:pt>
                <c:pt idx="55">
                  <c:v>0.19005110961155233</c:v>
                </c:pt>
                <c:pt idx="56">
                  <c:v>0.20627493184433837</c:v>
                </c:pt>
                <c:pt idx="57">
                  <c:v>0.20377443218689162</c:v>
                </c:pt>
                <c:pt idx="58">
                  <c:v>0.18170925741982233</c:v>
                </c:pt>
                <c:pt idx="59">
                  <c:v>0.21715123278899567</c:v>
                </c:pt>
                <c:pt idx="60">
                  <c:v>0.22496237257174448</c:v>
                </c:pt>
                <c:pt idx="61">
                  <c:v>0.2116324978421262</c:v>
                </c:pt>
                <c:pt idx="62">
                  <c:v>0.24399204750428732</c:v>
                </c:pt>
                <c:pt idx="63">
                  <c:v>0.23432753517707255</c:v>
                </c:pt>
                <c:pt idx="64">
                  <c:v>0.23532204432579185</c:v>
                </c:pt>
                <c:pt idx="65">
                  <c:v>0.20779953403065457</c:v>
                </c:pt>
                <c:pt idx="66">
                  <c:v>0.18550708804733343</c:v>
                </c:pt>
                <c:pt idx="67">
                  <c:v>0.17732619707447095</c:v>
                </c:pt>
                <c:pt idx="68">
                  <c:v>0.16356537728623746</c:v>
                </c:pt>
                <c:pt idx="69">
                  <c:v>0.14681336632219635</c:v>
                </c:pt>
                <c:pt idx="70">
                  <c:v>0.1423520002677581</c:v>
                </c:pt>
                <c:pt idx="71">
                  <c:v>0.15392866056325194</c:v>
                </c:pt>
                <c:pt idx="72">
                  <c:v>0.18296954360821505</c:v>
                </c:pt>
                <c:pt idx="73">
                  <c:v>0.16272356206925265</c:v>
                </c:pt>
                <c:pt idx="74">
                  <c:v>0.17585636890668566</c:v>
                </c:pt>
                <c:pt idx="75">
                  <c:v>0.16726068373197128</c:v>
                </c:pt>
                <c:pt idx="76">
                  <c:v>0.15412224917989006</c:v>
                </c:pt>
                <c:pt idx="77">
                  <c:v>0.1746908977172106</c:v>
                </c:pt>
                <c:pt idx="78">
                  <c:v>0.18176665850675153</c:v>
                </c:pt>
                <c:pt idx="79">
                  <c:v>0.11870963539868028</c:v>
                </c:pt>
                <c:pt idx="80">
                  <c:v>0.12155953471182539</c:v>
                </c:pt>
                <c:pt idx="81">
                  <c:v>0.13907653284106686</c:v>
                </c:pt>
                <c:pt idx="82">
                  <c:v>0.15427435598241152</c:v>
                </c:pt>
                <c:pt idx="83">
                  <c:v>0.13335498102659069</c:v>
                </c:pt>
                <c:pt idx="84">
                  <c:v>0.12401279453189237</c:v>
                </c:pt>
                <c:pt idx="85">
                  <c:v>0.16627551794119996</c:v>
                </c:pt>
                <c:pt idx="86">
                  <c:v>0.1877425657067586</c:v>
                </c:pt>
                <c:pt idx="87">
                  <c:v>0.17754071991097548</c:v>
                </c:pt>
                <c:pt idx="88">
                  <c:v>0.1560285735983627</c:v>
                </c:pt>
                <c:pt idx="89">
                  <c:v>0.1528142680119924</c:v>
                </c:pt>
                <c:pt idx="90">
                  <c:v>0.1553149794937539</c:v>
                </c:pt>
                <c:pt idx="91">
                  <c:v>0.1654307341571801</c:v>
                </c:pt>
                <c:pt idx="92">
                  <c:v>0.18672154748395955</c:v>
                </c:pt>
                <c:pt idx="93">
                  <c:v>0.17722672187474917</c:v>
                </c:pt>
                <c:pt idx="94">
                  <c:v>0.17123030477327278</c:v>
                </c:pt>
                <c:pt idx="95">
                  <c:v>0.1779100785770235</c:v>
                </c:pt>
                <c:pt idx="96">
                  <c:v>0.18462974728695936</c:v>
                </c:pt>
                <c:pt idx="97">
                  <c:v>0.19437242705048</c:v>
                </c:pt>
                <c:pt idx="98">
                  <c:v>0.1930398325208827</c:v>
                </c:pt>
                <c:pt idx="99">
                  <c:v>0.23823210559946995</c:v>
                </c:pt>
                <c:pt idx="100">
                  <c:v>0.21829592454668795</c:v>
                </c:pt>
                <c:pt idx="101">
                  <c:v>0.23055445172318598</c:v>
                </c:pt>
                <c:pt idx="102">
                  <c:v>0.23254891820943946</c:v>
                </c:pt>
                <c:pt idx="103">
                  <c:v>0.1932353988756481</c:v>
                </c:pt>
                <c:pt idx="104">
                  <c:v>0.19713514777160987</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82792424345812</c:v>
                </c:pt>
                <c:pt idx="1">
                  <c:v>0.20268193141370308</c:v>
                </c:pt>
                <c:pt idx="2">
                  <c:v>0.22192105679481092</c:v>
                </c:pt>
                <c:pt idx="3">
                  <c:v>0.20928650645376637</c:v>
                </c:pt>
                <c:pt idx="4">
                  <c:v>0.18785531876635744</c:v>
                </c:pt>
                <c:pt idx="5">
                  <c:v>0.20251407267579313</c:v>
                </c:pt>
                <c:pt idx="6">
                  <c:v>0.19761953736720925</c:v>
                </c:pt>
                <c:pt idx="7">
                  <c:v>0.18398793073687938</c:v>
                </c:pt>
                <c:pt idx="8">
                  <c:v>0.23421941961096918</c:v>
                </c:pt>
                <c:pt idx="9">
                  <c:v>0.2146929298711492</c:v>
                </c:pt>
                <c:pt idx="10">
                  <c:v>0.2122099751108425</c:v>
                </c:pt>
                <c:pt idx="11">
                  <c:v>0.16942278061307414</c:v>
                </c:pt>
                <c:pt idx="12">
                  <c:v>0.18577932842253894</c:v>
                </c:pt>
                <c:pt idx="13">
                  <c:v>0.19706058236910978</c:v>
                </c:pt>
                <c:pt idx="14">
                  <c:v>0.16180744710918196</c:v>
                </c:pt>
                <c:pt idx="15">
                  <c:v>0.1684397835855752</c:v>
                </c:pt>
                <c:pt idx="16">
                  <c:v>0.16819181215959259</c:v>
                </c:pt>
                <c:pt idx="17">
                  <c:v>0.16197668645774485</c:v>
                </c:pt>
                <c:pt idx="18">
                  <c:v>0.16106155260828675</c:v>
                </c:pt>
                <c:pt idx="19">
                  <c:v>0.17618402522015558</c:v>
                </c:pt>
                <c:pt idx="20">
                  <c:v>0.18041602193944944</c:v>
                </c:pt>
                <c:pt idx="21">
                  <c:v>0.16974481816948084</c:v>
                </c:pt>
                <c:pt idx="22">
                  <c:v>0.16177436389457878</c:v>
                </c:pt>
                <c:pt idx="23">
                  <c:v>0.17617053643476124</c:v>
                </c:pt>
                <c:pt idx="24">
                  <c:v>0.16821690099047468</c:v>
                </c:pt>
                <c:pt idx="25">
                  <c:v>0.17509809023591624</c:v>
                </c:pt>
                <c:pt idx="26">
                  <c:v>0.15594283164041384</c:v>
                </c:pt>
                <c:pt idx="27">
                  <c:v>0.15086709869792939</c:v>
                </c:pt>
                <c:pt idx="28">
                  <c:v>0.1746203557213527</c:v>
                </c:pt>
                <c:pt idx="29">
                  <c:v>0.14271272266126142</c:v>
                </c:pt>
                <c:pt idx="30">
                  <c:v>0.14771661132478922</c:v>
                </c:pt>
                <c:pt idx="31">
                  <c:v>0.15611406393784336</c:v>
                </c:pt>
                <c:pt idx="32">
                  <c:v>0.17305815391620682</c:v>
                </c:pt>
                <c:pt idx="33">
                  <c:v>0.16244996986965543</c:v>
                </c:pt>
                <c:pt idx="34">
                  <c:v>0.1958437445728936</c:v>
                </c:pt>
                <c:pt idx="35">
                  <c:v>0.13810374123965768</c:v>
                </c:pt>
                <c:pt idx="36">
                  <c:v>0.12844482145965677</c:v>
                </c:pt>
                <c:pt idx="37">
                  <c:v>0.1441505973249129</c:v>
                </c:pt>
                <c:pt idx="38">
                  <c:v>0.15671811496032512</c:v>
                </c:pt>
                <c:pt idx="39">
                  <c:v>0.16575875410854315</c:v>
                </c:pt>
                <c:pt idx="40">
                  <c:v>0.18197479561753757</c:v>
                </c:pt>
                <c:pt idx="41">
                  <c:v>0.16764670423431363</c:v>
                </c:pt>
                <c:pt idx="42">
                  <c:v>0.17823052357499136</c:v>
                </c:pt>
                <c:pt idx="43">
                  <c:v>0.18416056036028414</c:v>
                </c:pt>
                <c:pt idx="44">
                  <c:v>0.18535156154675236</c:v>
                </c:pt>
                <c:pt idx="45">
                  <c:v>0.20150885267859525</c:v>
                </c:pt>
                <c:pt idx="46">
                  <c:v>0.18974505429442357</c:v>
                </c:pt>
                <c:pt idx="47">
                  <c:v>0.1689172898859097</c:v>
                </c:pt>
                <c:pt idx="48">
                  <c:v>0.17306102655722935</c:v>
                </c:pt>
                <c:pt idx="49">
                  <c:v>0.20241821149367373</c:v>
                </c:pt>
                <c:pt idx="50">
                  <c:v>0.18726578484449044</c:v>
                </c:pt>
                <c:pt idx="51">
                  <c:v>0.1617380724120676</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246690540274244</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246690540274244</c:v>
                </c:pt>
                <c:pt idx="1">
                  <c:v>0.34246690540274244</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77678734331678</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77678734331678</c:v>
                </c:pt>
                <c:pt idx="1">
                  <c:v>0.2777678734331678</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427219900369284</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427219900369284</c:v>
                </c:pt>
                <c:pt idx="1">
                  <c:v>0.14427219900369284</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82792424345812</c:v>
                </c:pt>
                <c:pt idx="1">
                  <c:v>0.20268193141370308</c:v>
                </c:pt>
                <c:pt idx="2">
                  <c:v>0.22192105679481092</c:v>
                </c:pt>
                <c:pt idx="3">
                  <c:v>0.20928650645376637</c:v>
                </c:pt>
                <c:pt idx="4">
                  <c:v>0.18785531876635744</c:v>
                </c:pt>
                <c:pt idx="5">
                  <c:v>0.20251407267579313</c:v>
                </c:pt>
                <c:pt idx="6">
                  <c:v>0.19761953736720925</c:v>
                </c:pt>
                <c:pt idx="7">
                  <c:v>0.18398793073687938</c:v>
                </c:pt>
                <c:pt idx="8">
                  <c:v>0.23421941961096918</c:v>
                </c:pt>
                <c:pt idx="9">
                  <c:v>0.2146929298711492</c:v>
                </c:pt>
                <c:pt idx="10">
                  <c:v>0.2122099751108425</c:v>
                </c:pt>
                <c:pt idx="11">
                  <c:v>0.16942278061307414</c:v>
                </c:pt>
                <c:pt idx="12">
                  <c:v>0.18577932842253894</c:v>
                </c:pt>
                <c:pt idx="13">
                  <c:v>0.19706058236910978</c:v>
                </c:pt>
                <c:pt idx="14">
                  <c:v>0.16180744710918196</c:v>
                </c:pt>
                <c:pt idx="15">
                  <c:v>0.1684397835855752</c:v>
                </c:pt>
                <c:pt idx="16">
                  <c:v>0.16819181215959259</c:v>
                </c:pt>
                <c:pt idx="17">
                  <c:v>0.16197668645774485</c:v>
                </c:pt>
                <c:pt idx="18">
                  <c:v>0.16106155260828675</c:v>
                </c:pt>
                <c:pt idx="19">
                  <c:v>0.17618402522015558</c:v>
                </c:pt>
                <c:pt idx="20">
                  <c:v>0.18041602193944944</c:v>
                </c:pt>
                <c:pt idx="21">
                  <c:v>0.16974481816948084</c:v>
                </c:pt>
                <c:pt idx="22">
                  <c:v>0.16177436389457878</c:v>
                </c:pt>
                <c:pt idx="23">
                  <c:v>0.17617053643476124</c:v>
                </c:pt>
                <c:pt idx="24">
                  <c:v>0.16821690099047468</c:v>
                </c:pt>
                <c:pt idx="25">
                  <c:v>0.17509809023591624</c:v>
                </c:pt>
                <c:pt idx="26">
                  <c:v>0.15594283164041384</c:v>
                </c:pt>
                <c:pt idx="27">
                  <c:v>0.15086709869792939</c:v>
                </c:pt>
                <c:pt idx="28">
                  <c:v>0.1746203557213527</c:v>
                </c:pt>
                <c:pt idx="29">
                  <c:v>0.14271272266126142</c:v>
                </c:pt>
                <c:pt idx="30">
                  <c:v>0.14771661132478922</c:v>
                </c:pt>
                <c:pt idx="31">
                  <c:v>0.15611406393784336</c:v>
                </c:pt>
                <c:pt idx="32">
                  <c:v>0.17305815391620682</c:v>
                </c:pt>
                <c:pt idx="33">
                  <c:v>0.16244996986965543</c:v>
                </c:pt>
                <c:pt idx="34">
                  <c:v>0.1958437445728936</c:v>
                </c:pt>
                <c:pt idx="35">
                  <c:v>0.13810374123965768</c:v>
                </c:pt>
                <c:pt idx="36">
                  <c:v>0.12844482145965677</c:v>
                </c:pt>
                <c:pt idx="37">
                  <c:v>0.1441505973249129</c:v>
                </c:pt>
                <c:pt idx="38">
                  <c:v>0.15671811496032512</c:v>
                </c:pt>
                <c:pt idx="39">
                  <c:v>0.16575875410854315</c:v>
                </c:pt>
                <c:pt idx="40">
                  <c:v>0.18197479561753757</c:v>
                </c:pt>
                <c:pt idx="41">
                  <c:v>0.16764670423431363</c:v>
                </c:pt>
                <c:pt idx="42">
                  <c:v>0.17823052357499136</c:v>
                </c:pt>
                <c:pt idx="43">
                  <c:v>0.18416056036028414</c:v>
                </c:pt>
                <c:pt idx="44">
                  <c:v>0.18535156154675236</c:v>
                </c:pt>
                <c:pt idx="45">
                  <c:v>0.20150885267859525</c:v>
                </c:pt>
                <c:pt idx="46">
                  <c:v>0.18974505429442357</c:v>
                </c:pt>
                <c:pt idx="47">
                  <c:v>0.1689172898859097</c:v>
                </c:pt>
                <c:pt idx="48">
                  <c:v>0.17306102655722935</c:v>
                </c:pt>
                <c:pt idx="49">
                  <c:v>0.20241821149367373</c:v>
                </c:pt>
                <c:pt idx="50">
                  <c:v>0.18726578484449044</c:v>
                </c:pt>
                <c:pt idx="51">
                  <c:v>0.1617380724120676</c:v>
                </c:pt>
                <c:pt idx="52">
                  <c:v>0.2777678734331678</c:v>
                </c:pt>
                <c:pt idx="53">
                  <c:v>0.34246690540274244</c:v>
                </c:pt>
                <c:pt idx="54">
                  <c:v>0.14427219900369284</c:v>
                </c:pt>
              </c:numCache>
            </c:numRef>
          </c:xVal>
          <c:yVal>
            <c:numRef>
              <c:f>Sheet1!$B$187:$B$241</c:f>
              <c:numCache>
                <c:formatCode>General</c:formatCode>
                <c:ptCount val="55"/>
                <c:pt idx="0">
                  <c:v>0.15667858514353059</c:v>
                </c:pt>
                <c:pt idx="1">
                  <c:v>0.1552285115493347</c:v>
                </c:pt>
                <c:pt idx="2">
                  <c:v>0.16021271692697178</c:v>
                </c:pt>
                <c:pt idx="3">
                  <c:v>0.156939533115004</c:v>
                </c:pt>
                <c:pt idx="4">
                  <c:v>0.15138743868218618</c:v>
                </c:pt>
                <c:pt idx="5">
                  <c:v>0.1551850250390282</c:v>
                </c:pt>
                <c:pt idx="6">
                  <c:v>0.15391701681501435</c:v>
                </c:pt>
                <c:pt idx="7">
                  <c:v>0.15038552950845308</c:v>
                </c:pt>
                <c:pt idx="8">
                  <c:v>0.1633988059445432</c:v>
                </c:pt>
                <c:pt idx="9">
                  <c:v>0.15834015420026204</c:v>
                </c:pt>
                <c:pt idx="10">
                  <c:v>0.15769690476851278</c:v>
                </c:pt>
                <c:pt idx="11">
                  <c:v>0.14661219272026166</c:v>
                </c:pt>
                <c:pt idx="12">
                  <c:v>0.15084961993883816</c:v>
                </c:pt>
                <c:pt idx="13">
                  <c:v>0.15377221051783618</c:v>
                </c:pt>
                <c:pt idx="14">
                  <c:v>0.1446393178909375</c:v>
                </c:pt>
                <c:pt idx="15">
                  <c:v>0.14635753150393255</c:v>
                </c:pt>
                <c:pt idx="16">
                  <c:v>0.1462932905111431</c:v>
                </c:pt>
                <c:pt idx="17">
                  <c:v>0.14468316207067572</c:v>
                </c:pt>
                <c:pt idx="18">
                  <c:v>0.14444608190391273</c:v>
                </c:pt>
                <c:pt idx="19">
                  <c:v>0.14836380206125732</c:v>
                </c:pt>
                <c:pt idx="20">
                  <c:v>0.14946016899003461</c:v>
                </c:pt>
                <c:pt idx="21">
                  <c:v>0.14669562173736342</c:v>
                </c:pt>
                <c:pt idx="22">
                  <c:v>0.14463074715121477</c:v>
                </c:pt>
                <c:pt idx="23">
                  <c:v>0.14836030757409283</c:v>
                </c:pt>
                <c:pt idx="24">
                  <c:v>0.14629979017697115</c:v>
                </c:pt>
                <c:pt idx="25">
                  <c:v>0.14808247310887546</c:v>
                </c:pt>
                <c:pt idx="26">
                  <c:v>0.14311999477316673</c:v>
                </c:pt>
                <c:pt idx="27">
                  <c:v>0.14180504438294667</c:v>
                </c:pt>
                <c:pt idx="28">
                  <c:v>0.14795870828644186</c:v>
                </c:pt>
                <c:pt idx="29">
                  <c:v>0.13969252190138182</c:v>
                </c:pt>
                <c:pt idx="30">
                  <c:v>0.14098885987370685</c:v>
                </c:pt>
                <c:pt idx="31">
                  <c:v>0.1431643552584158</c:v>
                </c:pt>
                <c:pt idx="32">
                  <c:v>0.14755399474131325</c:v>
                </c:pt>
                <c:pt idx="33">
                  <c:v>0.14480577376325854</c:v>
                </c:pt>
                <c:pt idx="34">
                  <c:v>0.15345696908313103</c:v>
                </c:pt>
                <c:pt idx="35">
                  <c:v>0.13849849101214273</c:v>
                </c:pt>
                <c:pt idx="36">
                  <c:v>0.13599619223524928</c:v>
                </c:pt>
                <c:pt idx="37">
                  <c:v>0.1400650264975615</c:v>
                </c:pt>
                <c:pt idx="38">
                  <c:v>0.14332084440721968</c:v>
                </c:pt>
                <c:pt idx="39">
                  <c:v>0.1456629676257768</c:v>
                </c:pt>
                <c:pt idx="40">
                  <c:v>0.14986399442362086</c:v>
                </c:pt>
                <c:pt idx="41">
                  <c:v>0.1461520715212593</c:v>
                </c:pt>
                <c:pt idx="42">
                  <c:v>0.14889398042973523</c:v>
                </c:pt>
                <c:pt idx="43">
                  <c:v>0.15043025199350732</c:v>
                </c:pt>
                <c:pt idx="44">
                  <c:v>0.1507388000382223</c:v>
                </c:pt>
                <c:pt idx="45">
                  <c:v>0.15492460660438034</c:v>
                </c:pt>
                <c:pt idx="46">
                  <c:v>0.15187700511489668</c:v>
                </c:pt>
                <c:pt idx="47">
                  <c:v>0.14648123720379352</c:v>
                </c:pt>
                <c:pt idx="48">
                  <c:v>0.14755473894524918</c:v>
                </c:pt>
                <c:pt idx="49">
                  <c:v>0.15516019065544984</c:v>
                </c:pt>
                <c:pt idx="50">
                  <c:v>0.1512347104221711</c:v>
                </c:pt>
                <c:pt idx="51">
                  <c:v>0.14462134525800438</c:v>
                </c:pt>
                <c:pt idx="52">
                  <c:v>0.17468073448488744</c:v>
                </c:pt>
                <c:pt idx="53">
                  <c:v>0.19144206103600622</c:v>
                </c:pt>
                <c:pt idx="54">
                  <c:v>0.14009652937148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671</c:v>
                </c:pt>
                <c:pt idx="1">
                  <c:v>902.8432</c:v>
                </c:pt>
                <c:pt idx="2">
                  <c:v>985.2542</c:v>
                </c:pt>
                <c:pt idx="3">
                  <c:v>997.4359</c:v>
                </c:pt>
                <c:pt idx="4">
                  <c:v>997.3115</c:v>
                </c:pt>
                <c:pt idx="5">
                  <c:v>999.0053</c:v>
                </c:pt>
                <c:pt idx="6">
                  <c:v>921.263</c:v>
                </c:pt>
                <c:pt idx="7">
                  <c:v>951.4774</c:v>
                </c:pt>
                <c:pt idx="8">
                  <c:v>983.8892</c:v>
                </c:pt>
                <c:pt idx="9">
                  <c:v>911.3152</c:v>
                </c:pt>
                <c:pt idx="10">
                  <c:v>909.9708</c:v>
                </c:pt>
                <c:pt idx="11">
                  <c:v>964.5726</c:v>
                </c:pt>
                <c:pt idx="12">
                  <c:v>964.0199</c:v>
                </c:pt>
                <c:pt idx="13">
                  <c:v>950.364</c:v>
                </c:pt>
                <c:pt idx="14">
                  <c:v>950.9456</c:v>
                </c:pt>
                <c:pt idx="15">
                  <c:v>962.0413</c:v>
                </c:pt>
                <c:pt idx="16">
                  <c:v>969.7886</c:v>
                </c:pt>
                <c:pt idx="17">
                  <c:v>986.8333</c:v>
                </c:pt>
                <c:pt idx="18">
                  <c:v>1040.959</c:v>
                </c:pt>
                <c:pt idx="19">
                  <c:v>1076.8727</c:v>
                </c:pt>
                <c:pt idx="20">
                  <c:v>1076.7289</c:v>
                </c:pt>
                <c:pt idx="21">
                  <c:v>1086.3796</c:v>
                </c:pt>
                <c:pt idx="22">
                  <c:v>1068.1275</c:v>
                </c:pt>
                <c:pt idx="23">
                  <c:v>1051.2208</c:v>
                </c:pt>
                <c:pt idx="24">
                  <c:v>1031.6641</c:v>
                </c:pt>
                <c:pt idx="25">
                  <c:v>1036.3221</c:v>
                </c:pt>
                <c:pt idx="26">
                  <c:v>1037.0525</c:v>
                </c:pt>
                <c:pt idx="27">
                  <c:v>1041.3586</c:v>
                </c:pt>
                <c:pt idx="28">
                  <c:v>1034.6765</c:v>
                </c:pt>
                <c:pt idx="29">
                  <c:v>943.0731</c:v>
                </c:pt>
                <c:pt idx="30">
                  <c:v>983.6676</c:v>
                </c:pt>
                <c:pt idx="31">
                  <c:v>999.9237</c:v>
                </c:pt>
                <c:pt idx="32">
                  <c:v>983.1398</c:v>
                </c:pt>
                <c:pt idx="33">
                  <c:v>919.3306</c:v>
                </c:pt>
                <c:pt idx="34">
                  <c:v>978.4737</c:v>
                </c:pt>
                <c:pt idx="35">
                  <c:v>1020.832</c:v>
                </c:pt>
                <c:pt idx="36">
                  <c:v>1108.2054</c:v>
                </c:pt>
                <c:pt idx="37">
                  <c:v>1096.794</c:v>
                </c:pt>
                <c:pt idx="38">
                  <c:v>1190.2685</c:v>
                </c:pt>
                <c:pt idx="39">
                  <c:v>1182.6103</c:v>
                </c:pt>
                <c:pt idx="40">
                  <c:v>1204.7481</c:v>
                </c:pt>
                <c:pt idx="41">
                  <c:v>1229.7287</c:v>
                </c:pt>
                <c:pt idx="42">
                  <c:v>1261.8951</c:v>
                </c:pt>
                <c:pt idx="43">
                  <c:v>1268.9533</c:v>
                </c:pt>
                <c:pt idx="44">
                  <c:v>1074.978</c:v>
                </c:pt>
                <c:pt idx="45">
                  <c:v>1009.5644</c:v>
                </c:pt>
                <c:pt idx="46">
                  <c:v>987.2418</c:v>
                </c:pt>
                <c:pt idx="47">
                  <c:v>966.9421</c:v>
                </c:pt>
                <c:pt idx="48">
                  <c:v>976.7686</c:v>
                </c:pt>
                <c:pt idx="49">
                  <c:v>958.6468</c:v>
                </c:pt>
                <c:pt idx="50">
                  <c:v>955.4439</c:v>
                </c:pt>
                <c:pt idx="51">
                  <c:v>996.3261</c:v>
                </c:pt>
                <c:pt idx="52">
                  <c:v>1013.2034</c:v>
                </c:pt>
                <c:pt idx="53">
                  <c:v>1086.3752</c:v>
                </c:pt>
                <c:pt idx="54">
                  <c:v>1058.7316</c:v>
                </c:pt>
                <c:pt idx="55">
                  <c:v>1092.1719</c:v>
                </c:pt>
                <c:pt idx="56">
                  <c:v>1111.6811</c:v>
                </c:pt>
                <c:pt idx="57">
                  <c:v>1099.0574</c:v>
                </c:pt>
                <c:pt idx="58">
                  <c:v>1037.6294</c:v>
                </c:pt>
                <c:pt idx="59">
                  <c:v>1037.4454</c:v>
                </c:pt>
                <c:pt idx="60">
                  <c:v>1069.7952</c:v>
                </c:pt>
                <c:pt idx="61">
                  <c:v>1069.552</c:v>
                </c:pt>
                <c:pt idx="62">
                  <c:v>1041.3442</c:v>
                </c:pt>
                <c:pt idx="63">
                  <c:v>1052.4167</c:v>
                </c:pt>
                <c:pt idx="64">
                  <c:v>1074.5178</c:v>
                </c:pt>
                <c:pt idx="65">
                  <c:v>1051.6686</c:v>
                </c:pt>
                <c:pt idx="66">
                  <c:v>970.2639</c:v>
                </c:pt>
                <c:pt idx="67">
                  <c:v>939.9074</c:v>
                </c:pt>
                <c:pt idx="68">
                  <c:v>953.1809</c:v>
                </c:pt>
                <c:pt idx="69">
                  <c:v>914.7098</c:v>
                </c:pt>
                <c:pt idx="70">
                  <c:v>882.1038</c:v>
                </c:pt>
                <c:pt idx="71">
                  <c:v>948.0803</c:v>
                </c:pt>
                <c:pt idx="72">
                  <c:v>1056.6974</c:v>
                </c:pt>
                <c:pt idx="73">
                  <c:v>1081.1125</c:v>
                </c:pt>
                <c:pt idx="74">
                  <c:v>1080.9789</c:v>
                </c:pt>
                <c:pt idx="75">
                  <c:v>1040.6</c:v>
                </c:pt>
                <c:pt idx="76">
                  <c:v>1041.3744</c:v>
                </c:pt>
                <c:pt idx="77">
                  <c:v>1046.883</c:v>
                </c:pt>
                <c:pt idx="78">
                  <c:v>1090.9083</c:v>
                </c:pt>
                <c:pt idx="79">
                  <c:v>769.137</c:v>
                </c:pt>
                <c:pt idx="80">
                  <c:v>809.6285</c:v>
                </c:pt>
                <c:pt idx="81">
                  <c:v>886.4814</c:v>
                </c:pt>
                <c:pt idx="82">
                  <c:v>990.476</c:v>
                </c:pt>
                <c:pt idx="83">
                  <c:v>989.9916</c:v>
                </c:pt>
                <c:pt idx="84">
                  <c:v>859.8535</c:v>
                </c:pt>
                <c:pt idx="85">
                  <c:v>1085.9345</c:v>
                </c:pt>
                <c:pt idx="86">
                  <c:v>1149.3892</c:v>
                </c:pt>
                <c:pt idx="87">
                  <c:v>990.0293</c:v>
                </c:pt>
                <c:pt idx="88">
                  <c:v>1075.7659</c:v>
                </c:pt>
                <c:pt idx="89">
                  <c:v>1043.3063</c:v>
                </c:pt>
                <c:pt idx="90">
                  <c:v>1098.7157</c:v>
                </c:pt>
                <c:pt idx="91">
                  <c:v>1134.4983</c:v>
                </c:pt>
                <c:pt idx="92">
                  <c:v>1163.5174</c:v>
                </c:pt>
                <c:pt idx="93">
                  <c:v>1204.6571</c:v>
                </c:pt>
                <c:pt idx="94">
                  <c:v>1115.6554</c:v>
                </c:pt>
                <c:pt idx="95">
                  <c:v>1240.9732</c:v>
                </c:pt>
                <c:pt idx="96">
                  <c:v>1214.05</c:v>
                </c:pt>
                <c:pt idx="97">
                  <c:v>1188.6092</c:v>
                </c:pt>
                <c:pt idx="98">
                  <c:v>1160.3567</c:v>
                </c:pt>
                <c:pt idx="99">
                  <c:v>1133.7216</c:v>
                </c:pt>
                <c:pt idx="100">
                  <c:v>1137.9173</c:v>
                </c:pt>
                <c:pt idx="101">
                  <c:v>1149.4662</c:v>
                </c:pt>
                <c:pt idx="102">
                  <c:v>1196.5346</c:v>
                </c:pt>
                <c:pt idx="103">
                  <c:v>1101.1108</c:v>
                </c:pt>
                <c:pt idx="104">
                  <c:v>1270.3012</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723463062643</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723463062643</c:v>
                </c:pt>
                <c:pt idx="1">
                  <c:v>934.6723463062643</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7.5987954678346</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7.5987954678346</c:v>
                </c:pt>
                <c:pt idx="1">
                  <c:v>1037.5987954678346</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9.9703770691847</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9.9703770691847</c:v>
                </c:pt>
                <c:pt idx="1">
                  <c:v>1249.9703770691847</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pt idx="52">
                  <c:v>1037.5987954678346</c:v>
                </c:pt>
                <c:pt idx="53">
                  <c:v>934.6723463062643</c:v>
                </c:pt>
                <c:pt idx="54">
                  <c:v>1249.9703770691847</c:v>
                </c:pt>
              </c:numCache>
            </c:numRef>
          </c:xVal>
          <c:yVal>
            <c:numRef>
              <c:f>Sheet1!$B$187:$B$241</c:f>
              <c:numCache>
                <c:formatCode>General</c:formatCode>
                <c:ptCount val="55"/>
                <c:pt idx="0">
                  <c:v>0.13960606119669972</c:v>
                </c:pt>
                <c:pt idx="1">
                  <c:v>0.15679379621637524</c:v>
                </c:pt>
                <c:pt idx="2">
                  <c:v>0.16090193666245892</c:v>
                </c:pt>
                <c:pt idx="3">
                  <c:v>0.15787593488891408</c:v>
                </c:pt>
                <c:pt idx="4">
                  <c:v>0.15854751844454912</c:v>
                </c:pt>
                <c:pt idx="5">
                  <c:v>0.15801536501508645</c:v>
                </c:pt>
                <c:pt idx="6">
                  <c:v>0.1674986491899664</c:v>
                </c:pt>
                <c:pt idx="7">
                  <c:v>0.15852592485107744</c:v>
                </c:pt>
                <c:pt idx="8">
                  <c:v>0.1427656631518747</c:v>
                </c:pt>
                <c:pt idx="9">
                  <c:v>0.1484766149432498</c:v>
                </c:pt>
                <c:pt idx="10">
                  <c:v>0.14299763957646294</c:v>
                </c:pt>
                <c:pt idx="11">
                  <c:v>0.17390040055529976</c:v>
                </c:pt>
                <c:pt idx="12">
                  <c:v>0.17262727420234172</c:v>
                </c:pt>
                <c:pt idx="13">
                  <c:v>0.15964035620525607</c:v>
                </c:pt>
                <c:pt idx="14">
                  <c:v>0.16421896340503261</c:v>
                </c:pt>
                <c:pt idx="15">
                  <c:v>0.15749392695855316</c:v>
                </c:pt>
                <c:pt idx="16">
                  <c:v>0.152270410642136</c:v>
                </c:pt>
                <c:pt idx="17">
                  <c:v>0.1508765979232514</c:v>
                </c:pt>
                <c:pt idx="18">
                  <c:v>0.15353332644976467</c:v>
                </c:pt>
                <c:pt idx="19">
                  <c:v>0.12898815256364043</c:v>
                </c:pt>
                <c:pt idx="20">
                  <c:v>0.1211758314600542</c:v>
                </c:pt>
                <c:pt idx="21">
                  <c:v>0.12362846307330913</c:v>
                </c:pt>
                <c:pt idx="22">
                  <c:v>0.13268441882715565</c:v>
                </c:pt>
                <c:pt idx="23">
                  <c:v>0.1392209265921709</c:v>
                </c:pt>
                <c:pt idx="24">
                  <c:v>0.13767421624952642</c:v>
                </c:pt>
                <c:pt idx="25">
                  <c:v>0.14728626403193318</c:v>
                </c:pt>
                <c:pt idx="26">
                  <c:v>0.14066497779963777</c:v>
                </c:pt>
                <c:pt idx="27">
                  <c:v>0.14128676255524536</c:v>
                </c:pt>
                <c:pt idx="28">
                  <c:v>0.1457272586945141</c:v>
                </c:pt>
                <c:pt idx="29">
                  <c:v>0.1490892965172958</c:v>
                </c:pt>
                <c:pt idx="30">
                  <c:v>0.16376276210223048</c:v>
                </c:pt>
                <c:pt idx="31">
                  <c:v>0.15957883237709922</c:v>
                </c:pt>
                <c:pt idx="32">
                  <c:v>0.1613302095996472</c:v>
                </c:pt>
                <c:pt idx="33">
                  <c:v>0.16261978356150902</c:v>
                </c:pt>
                <c:pt idx="34">
                  <c:v>0.15921923227827445</c:v>
                </c:pt>
                <c:pt idx="35">
                  <c:v>0.16226606226151027</c:v>
                </c:pt>
                <c:pt idx="36">
                  <c:v>0.15440161363703198</c:v>
                </c:pt>
                <c:pt idx="37">
                  <c:v>0.13891233036570913</c:v>
                </c:pt>
                <c:pt idx="38">
                  <c:v>0.13793731285294153</c:v>
                </c:pt>
                <c:pt idx="39">
                  <c:v>0.13505149030458846</c:v>
                </c:pt>
                <c:pt idx="40">
                  <c:v>0.13061747550031344</c:v>
                </c:pt>
                <c:pt idx="41">
                  <c:v>0.1242892824017309</c:v>
                </c:pt>
                <c:pt idx="42">
                  <c:v>0.11234839976140229</c:v>
                </c:pt>
                <c:pt idx="43">
                  <c:v>0.12181487806263006</c:v>
                </c:pt>
                <c:pt idx="44">
                  <c:v>0.13523484043196224</c:v>
                </c:pt>
                <c:pt idx="45">
                  <c:v>0.14490240296560952</c:v>
                </c:pt>
                <c:pt idx="46">
                  <c:v>0.14967672042657965</c:v>
                </c:pt>
                <c:pt idx="47">
                  <c:v>0.14986207357959222</c:v>
                </c:pt>
                <c:pt idx="48">
                  <c:v>0.14876430153621414</c:v>
                </c:pt>
                <c:pt idx="49">
                  <c:v>0.14685913102803527</c:v>
                </c:pt>
                <c:pt idx="50">
                  <c:v>0.17218699939608204</c:v>
                </c:pt>
                <c:pt idx="51">
                  <c:v>0.17731015272866363</c:v>
                </c:pt>
                <c:pt idx="52">
                  <c:v>0.17468073448488744</c:v>
                </c:pt>
                <c:pt idx="53">
                  <c:v>0.19144206103600622</c:v>
                </c:pt>
                <c:pt idx="54">
                  <c:v>0.14009652937148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4.0"/>
          <c:min val="6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52527336496802</c:v>
                </c:pt>
                <c:pt idx="1">
                  <c:v>0.4444130506467333</c:v>
                </c:pt>
                <c:pt idx="2">
                  <c:v>0.4900043029679338</c:v>
                </c:pt>
                <c:pt idx="3">
                  <c:v>0.5009260822632244</c:v>
                </c:pt>
                <c:pt idx="4">
                  <c:v>0.5374934403974722</c:v>
                </c:pt>
                <c:pt idx="5">
                  <c:v>0.5094871200401386</c:v>
                </c:pt>
                <c:pt idx="6">
                  <c:v>0.48583414634146344</c:v>
                </c:pt>
                <c:pt idx="7">
                  <c:v>0.45193380966974184</c:v>
                </c:pt>
                <c:pt idx="8">
                  <c:v>0.4635219224155</c:v>
                </c:pt>
                <c:pt idx="9">
                  <c:v>0.45421924662268226</c:v>
                </c:pt>
                <c:pt idx="10">
                  <c:v>0.48854137748070886</c:v>
                </c:pt>
                <c:pt idx="11">
                  <c:v>0.4888324013360109</c:v>
                </c:pt>
                <c:pt idx="12">
                  <c:v>0.4529122620409807</c:v>
                </c:pt>
                <c:pt idx="13">
                  <c:v>0.4536768334257923</c:v>
                </c:pt>
                <c:pt idx="14">
                  <c:v>0.37478444720309284</c:v>
                </c:pt>
                <c:pt idx="15">
                  <c:v>0.3574417705166298</c:v>
                </c:pt>
                <c:pt idx="16">
                  <c:v>0.37088645543686427</c:v>
                </c:pt>
                <c:pt idx="17">
                  <c:v>0.4113978797382167</c:v>
                </c:pt>
                <c:pt idx="18">
                  <c:v>0.359032495893555</c:v>
                </c:pt>
                <c:pt idx="19">
                  <c:v>0.4113447628628426</c:v>
                </c:pt>
                <c:pt idx="20">
                  <c:v>0.42709594176927057</c:v>
                </c:pt>
                <c:pt idx="21">
                  <c:v>0.40803556706703525</c:v>
                </c:pt>
                <c:pt idx="22">
                  <c:v>0.38861019784264866</c:v>
                </c:pt>
                <c:pt idx="23">
                  <c:v>0.377556519221887</c:v>
                </c:pt>
                <c:pt idx="24">
                  <c:v>0.34666132392473115</c:v>
                </c:pt>
                <c:pt idx="25">
                  <c:v>0.35363823467476063</c:v>
                </c:pt>
                <c:pt idx="26">
                  <c:v>0.3390195064956216</c:v>
                </c:pt>
                <c:pt idx="27">
                  <c:v>0.298380962480469</c:v>
                </c:pt>
                <c:pt idx="28">
                  <c:v>0.35966073562319406</c:v>
                </c:pt>
                <c:pt idx="29">
                  <c:v>0.31490807534020787</c:v>
                </c:pt>
                <c:pt idx="30">
                  <c:v>0.2818531805157593</c:v>
                </c:pt>
                <c:pt idx="31">
                  <c:v>0.3494217031407476</c:v>
                </c:pt>
                <c:pt idx="32">
                  <c:v>0.35901979257960853</c:v>
                </c:pt>
                <c:pt idx="33">
                  <c:v>0.3419111127640583</c:v>
                </c:pt>
                <c:pt idx="34">
                  <c:v>0.36277387661278365</c:v>
                </c:pt>
                <c:pt idx="35">
                  <c:v>0.3383218779881456</c:v>
                </c:pt>
                <c:pt idx="36">
                  <c:v>0.2963374030637534</c:v>
                </c:pt>
                <c:pt idx="37">
                  <c:v>0.41443071670871895</c:v>
                </c:pt>
                <c:pt idx="38">
                  <c:v>0.4276569931278089</c:v>
                </c:pt>
                <c:pt idx="39">
                  <c:v>0.41841433739823136</c:v>
                </c:pt>
                <c:pt idx="40">
                  <c:v>0.44291607062698046</c:v>
                </c:pt>
                <c:pt idx="41">
                  <c:v>0.4768560004879739</c:v>
                </c:pt>
                <c:pt idx="42">
                  <c:v>0.46922674560445427</c:v>
                </c:pt>
                <c:pt idx="43">
                  <c:v>0.5103757497198963</c:v>
                </c:pt>
                <c:pt idx="44">
                  <c:v>0.4305284995674602</c:v>
                </c:pt>
                <c:pt idx="45">
                  <c:v>0.4595632447510937</c:v>
                </c:pt>
                <c:pt idx="46">
                  <c:v>0.4798779162942083</c:v>
                </c:pt>
                <c:pt idx="47">
                  <c:v>0.4814851644392702</c:v>
                </c:pt>
                <c:pt idx="48">
                  <c:v>0.4651882463229992</c:v>
                </c:pt>
                <c:pt idx="49">
                  <c:v>0.3675092309855652</c:v>
                </c:pt>
                <c:pt idx="50">
                  <c:v>0.26691528633841766</c:v>
                </c:pt>
                <c:pt idx="51">
                  <c:v>0.274226467255512</c:v>
                </c:pt>
                <c:pt idx="52">
                  <c:v>0.25769781903732436</c:v>
                </c:pt>
                <c:pt idx="53">
                  <c:v>0.23223981668540508</c:v>
                </c:pt>
                <c:pt idx="54">
                  <c:v>0.20194290860789196</c:v>
                </c:pt>
                <c:pt idx="55">
                  <c:v>0.24424911814675407</c:v>
                </c:pt>
                <c:pt idx="56">
                  <c:v>0.3035179880944772</c:v>
                </c:pt>
                <c:pt idx="57">
                  <c:v>0.5258403293397071</c:v>
                </c:pt>
                <c:pt idx="58">
                  <c:v>0.3894523264144074</c:v>
                </c:pt>
                <c:pt idx="59">
                  <c:v>0.3444338045225493</c:v>
                </c:pt>
                <c:pt idx="60">
                  <c:v>0.3329816228989545</c:v>
                </c:pt>
                <c:pt idx="61">
                  <c:v>0.28458036800106684</c:v>
                </c:pt>
                <c:pt idx="62">
                  <c:v>0.4613725545534493</c:v>
                </c:pt>
                <c:pt idx="63">
                  <c:v>0.4054410762155488</c:v>
                </c:pt>
                <c:pt idx="64">
                  <c:v>0.4048841215970656</c:v>
                </c:pt>
                <c:pt idx="65">
                  <c:v>0.3475486529766017</c:v>
                </c:pt>
                <c:pt idx="66">
                  <c:v>0.3665610238007563</c:v>
                </c:pt>
                <c:pt idx="67">
                  <c:v>0.419662125311401</c:v>
                </c:pt>
                <c:pt idx="68">
                  <c:v>0.37234277597180016</c:v>
                </c:pt>
                <c:pt idx="69">
                  <c:v>0.362625569700986</c:v>
                </c:pt>
                <c:pt idx="70">
                  <c:v>0.32963520179372197</c:v>
                </c:pt>
                <c:pt idx="71">
                  <c:v>0.3185819960435333</c:v>
                </c:pt>
                <c:pt idx="72">
                  <c:v>0.32444653053061034</c:v>
                </c:pt>
                <c:pt idx="73">
                  <c:v>0.34519254455306286</c:v>
                </c:pt>
                <c:pt idx="74">
                  <c:v>0.32890765900013896</c:v>
                </c:pt>
                <c:pt idx="75">
                  <c:v>0.31005378446923726</c:v>
                </c:pt>
                <c:pt idx="76">
                  <c:v>0.3250232209737827</c:v>
                </c:pt>
                <c:pt idx="77">
                  <c:v>0.3206870883749426</c:v>
                </c:pt>
                <c:pt idx="78">
                  <c:v>0.35135539732247256</c:v>
                </c:pt>
                <c:pt idx="79">
                  <c:v>0.24335414278711473</c:v>
                </c:pt>
                <c:pt idx="80">
                  <c:v>0.24493538438118134</c:v>
                </c:pt>
                <c:pt idx="81">
                  <c:v>0.32117101590498326</c:v>
                </c:pt>
                <c:pt idx="82">
                  <c:v>0.37192759894321187</c:v>
                </c:pt>
                <c:pt idx="83">
                  <c:v>0.31347068088594404</c:v>
                </c:pt>
                <c:pt idx="84">
                  <c:v>0.24851121477978055</c:v>
                </c:pt>
                <c:pt idx="85">
                  <c:v>0.3118854090315113</c:v>
                </c:pt>
                <c:pt idx="86">
                  <c:v>0.3223871842513362</c:v>
                </c:pt>
                <c:pt idx="87">
                  <c:v>0.2567447241752469</c:v>
                </c:pt>
                <c:pt idx="88">
                  <c:v>0.2506475908748058</c:v>
                </c:pt>
                <c:pt idx="89">
                  <c:v>0.25380053237703354</c:v>
                </c:pt>
                <c:pt idx="90">
                  <c:v>0.2694205234054601</c:v>
                </c:pt>
                <c:pt idx="91">
                  <c:v>0.2797036680041428</c:v>
                </c:pt>
                <c:pt idx="92">
                  <c:v>0.28203025587942476</c:v>
                </c:pt>
                <c:pt idx="93">
                  <c:v>0.3095062022272548</c:v>
                </c:pt>
                <c:pt idx="94">
                  <c:v>0.2952805104954887</c:v>
                </c:pt>
                <c:pt idx="95">
                  <c:v>0.44597344485234186</c:v>
                </c:pt>
                <c:pt idx="96">
                  <c:v>0.4014821555145536</c:v>
                </c:pt>
                <c:pt idx="97">
                  <c:v>0.3846404914247451</c:v>
                </c:pt>
                <c:pt idx="98">
                  <c:v>0.4268431925074674</c:v>
                </c:pt>
                <c:pt idx="99">
                  <c:v>0.46150682261557724</c:v>
                </c:pt>
                <c:pt idx="100">
                  <c:v>0.42539209384607307</c:v>
                </c:pt>
                <c:pt idx="101">
                  <c:v>0.40149956726190483</c:v>
                </c:pt>
                <c:pt idx="102">
                  <c:v>0.4150723988132013</c:v>
                </c:pt>
                <c:pt idx="103">
                  <c:v>0.35949899436929733</c:v>
                </c:pt>
                <c:pt idx="104">
                  <c:v>0.37229784279937</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573366898933111</c:v>
                </c:pt>
                <c:pt idx="1">
                  <c:v>0.38151305806856267</c:v>
                </c:pt>
                <c:pt idx="2">
                  <c:v>0.3536069576297903</c:v>
                </c:pt>
                <c:pt idx="3">
                  <c:v>0.3731384530734465</c:v>
                </c:pt>
                <c:pt idx="4">
                  <c:v>0.3464635738545244</c:v>
                </c:pt>
                <c:pt idx="5">
                  <c:v>0.3147676190090664</c:v>
                </c:pt>
                <c:pt idx="6">
                  <c:v>0.37141226579213543</c:v>
                </c:pt>
                <c:pt idx="7">
                  <c:v>0.40388690421438705</c:v>
                </c:pt>
                <c:pt idx="8">
                  <c:v>0.38728332573520274</c:v>
                </c:pt>
                <c:pt idx="9">
                  <c:v>0.3730613627702527</c:v>
                </c:pt>
                <c:pt idx="10">
                  <c:v>0.40807311164401944</c:v>
                </c:pt>
                <c:pt idx="11">
                  <c:v>0.3867436124212305</c:v>
                </c:pt>
                <c:pt idx="12">
                  <c:v>0.40871232026503584</c:v>
                </c:pt>
                <c:pt idx="13">
                  <c:v>0.4720599135964104</c:v>
                </c:pt>
                <c:pt idx="14">
                  <c:v>0.4519006612274116</c:v>
                </c:pt>
                <c:pt idx="15">
                  <c:v>0.38417075528363415</c:v>
                </c:pt>
                <c:pt idx="16">
                  <c:v>0.3743690561820803</c:v>
                </c:pt>
                <c:pt idx="17">
                  <c:v>0.36344147042463903</c:v>
                </c:pt>
                <c:pt idx="18">
                  <c:v>0.3291235423295827</c:v>
                </c:pt>
                <c:pt idx="19">
                  <c:v>0.3578768134875671</c:v>
                </c:pt>
                <c:pt idx="20">
                  <c:v>0.3676000267138647</c:v>
                </c:pt>
                <c:pt idx="21">
                  <c:v>0.34656609593688975</c:v>
                </c:pt>
                <c:pt idx="22">
                  <c:v>0.32961832126717083</c:v>
                </c:pt>
                <c:pt idx="23">
                  <c:v>0.31772976809712156</c:v>
                </c:pt>
                <c:pt idx="24">
                  <c:v>0.3341185067210423</c:v>
                </c:pt>
                <c:pt idx="25">
                  <c:v>0.3154197893890311</c:v>
                </c:pt>
                <c:pt idx="26">
                  <c:v>0.3179810484290345</c:v>
                </c:pt>
                <c:pt idx="27">
                  <c:v>0.33987518287284524</c:v>
                </c:pt>
                <c:pt idx="28">
                  <c:v>0.4039142397290298</c:v>
                </c:pt>
                <c:pt idx="29">
                  <c:v>0.40254099648428526</c:v>
                </c:pt>
                <c:pt idx="30">
                  <c:v>0.36085290082320665</c:v>
                </c:pt>
                <c:pt idx="31">
                  <c:v>0.27952556668006673</c:v>
                </c:pt>
                <c:pt idx="32">
                  <c:v>0.2579559697709783</c:v>
                </c:pt>
                <c:pt idx="33">
                  <c:v>0.2542255916249064</c:v>
                </c:pt>
                <c:pt idx="34">
                  <c:v>0.27316017691900635</c:v>
                </c:pt>
                <c:pt idx="35">
                  <c:v>0.2718650982638846</c:v>
                </c:pt>
                <c:pt idx="36">
                  <c:v>0.28386237511054035</c:v>
                </c:pt>
                <c:pt idx="37">
                  <c:v>0.3044521017169098</c:v>
                </c:pt>
                <c:pt idx="38">
                  <c:v>0.3017455351804576</c:v>
                </c:pt>
                <c:pt idx="39">
                  <c:v>0.3495811618414551</c:v>
                </c:pt>
                <c:pt idx="40">
                  <c:v>0.32315857047930796</c:v>
                </c:pt>
                <c:pt idx="41">
                  <c:v>0.3494137265491852</c:v>
                </c:pt>
                <c:pt idx="42">
                  <c:v>0.33205853937161706</c:v>
                </c:pt>
                <c:pt idx="43">
                  <c:v>0.37690116160628645</c:v>
                </c:pt>
                <c:pt idx="44">
                  <c:v>0.40042862999034523</c:v>
                </c:pt>
                <c:pt idx="45">
                  <c:v>0.4059234085703312</c:v>
                </c:pt>
                <c:pt idx="46">
                  <c:v>0.3777231770167567</c:v>
                </c:pt>
                <c:pt idx="47">
                  <c:v>0.4072491814226533</c:v>
                </c:pt>
                <c:pt idx="48">
                  <c:v>0.42999396119144784</c:v>
                </c:pt>
                <c:pt idx="49">
                  <c:v>0.4630072749390562</c:v>
                </c:pt>
                <c:pt idx="50">
                  <c:v>0.4134026756099975</c:v>
                </c:pt>
                <c:pt idx="51">
                  <c:v>0.34585671897241865</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19265427320214</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19265427320214</c:v>
                </c:pt>
                <c:pt idx="1">
                  <c:v>-0.2919265427320214</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3683982662177135</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3683982662177135</c:v>
                </c:pt>
                <c:pt idx="1">
                  <c:v>-0.03683982662177135</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894891178538056</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894891178538056</c:v>
                </c:pt>
                <c:pt idx="1">
                  <c:v>0.4894891178538056</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573366898933111</c:v>
                </c:pt>
                <c:pt idx="1">
                  <c:v>0.38151305806856267</c:v>
                </c:pt>
                <c:pt idx="2">
                  <c:v>0.3536069576297903</c:v>
                </c:pt>
                <c:pt idx="3">
                  <c:v>0.3731384530734465</c:v>
                </c:pt>
                <c:pt idx="4">
                  <c:v>0.3464635738545244</c:v>
                </c:pt>
                <c:pt idx="5">
                  <c:v>0.3147676190090664</c:v>
                </c:pt>
                <c:pt idx="6">
                  <c:v>0.37141226579213543</c:v>
                </c:pt>
                <c:pt idx="7">
                  <c:v>0.40388690421438705</c:v>
                </c:pt>
                <c:pt idx="8">
                  <c:v>0.38728332573520274</c:v>
                </c:pt>
                <c:pt idx="9">
                  <c:v>0.3730613627702527</c:v>
                </c:pt>
                <c:pt idx="10">
                  <c:v>0.40807311164401944</c:v>
                </c:pt>
                <c:pt idx="11">
                  <c:v>0.3867436124212305</c:v>
                </c:pt>
                <c:pt idx="12">
                  <c:v>0.40871232026503584</c:v>
                </c:pt>
                <c:pt idx="13">
                  <c:v>0.4720599135964104</c:v>
                </c:pt>
                <c:pt idx="14">
                  <c:v>0.4519006612274116</c:v>
                </c:pt>
                <c:pt idx="15">
                  <c:v>0.38417075528363415</c:v>
                </c:pt>
                <c:pt idx="16">
                  <c:v>0.3743690561820803</c:v>
                </c:pt>
                <c:pt idx="17">
                  <c:v>0.36344147042463903</c:v>
                </c:pt>
                <c:pt idx="18">
                  <c:v>0.3291235423295827</c:v>
                </c:pt>
                <c:pt idx="19">
                  <c:v>0.3578768134875671</c:v>
                </c:pt>
                <c:pt idx="20">
                  <c:v>0.3676000267138647</c:v>
                </c:pt>
                <c:pt idx="21">
                  <c:v>0.34656609593688975</c:v>
                </c:pt>
                <c:pt idx="22">
                  <c:v>0.32961832126717083</c:v>
                </c:pt>
                <c:pt idx="23">
                  <c:v>0.31772976809712156</c:v>
                </c:pt>
                <c:pt idx="24">
                  <c:v>0.3341185067210423</c:v>
                </c:pt>
                <c:pt idx="25">
                  <c:v>0.3154197893890311</c:v>
                </c:pt>
                <c:pt idx="26">
                  <c:v>0.3179810484290345</c:v>
                </c:pt>
                <c:pt idx="27">
                  <c:v>0.33987518287284524</c:v>
                </c:pt>
                <c:pt idx="28">
                  <c:v>0.4039142397290298</c:v>
                </c:pt>
                <c:pt idx="29">
                  <c:v>0.40254099648428526</c:v>
                </c:pt>
                <c:pt idx="30">
                  <c:v>0.36085290082320665</c:v>
                </c:pt>
                <c:pt idx="31">
                  <c:v>0.27952556668006673</c:v>
                </c:pt>
                <c:pt idx="32">
                  <c:v>0.2579559697709783</c:v>
                </c:pt>
                <c:pt idx="33">
                  <c:v>0.2542255916249064</c:v>
                </c:pt>
                <c:pt idx="34">
                  <c:v>0.27316017691900635</c:v>
                </c:pt>
                <c:pt idx="35">
                  <c:v>0.2718650982638846</c:v>
                </c:pt>
                <c:pt idx="36">
                  <c:v>0.28386237511054035</c:v>
                </c:pt>
                <c:pt idx="37">
                  <c:v>0.3044521017169098</c:v>
                </c:pt>
                <c:pt idx="38">
                  <c:v>0.3017455351804576</c:v>
                </c:pt>
                <c:pt idx="39">
                  <c:v>0.3495811618414551</c:v>
                </c:pt>
                <c:pt idx="40">
                  <c:v>0.32315857047930796</c:v>
                </c:pt>
                <c:pt idx="41">
                  <c:v>0.3494137265491852</c:v>
                </c:pt>
                <c:pt idx="42">
                  <c:v>0.33205853937161706</c:v>
                </c:pt>
                <c:pt idx="43">
                  <c:v>0.37690116160628645</c:v>
                </c:pt>
                <c:pt idx="44">
                  <c:v>0.40042862999034523</c:v>
                </c:pt>
                <c:pt idx="45">
                  <c:v>0.4059234085703312</c:v>
                </c:pt>
                <c:pt idx="46">
                  <c:v>0.3777231770167567</c:v>
                </c:pt>
                <c:pt idx="47">
                  <c:v>0.4072491814226533</c:v>
                </c:pt>
                <c:pt idx="48">
                  <c:v>0.42999396119144784</c:v>
                </c:pt>
                <c:pt idx="49">
                  <c:v>0.4630072749390562</c:v>
                </c:pt>
                <c:pt idx="50">
                  <c:v>0.4134026756099975</c:v>
                </c:pt>
                <c:pt idx="51">
                  <c:v>0.34585671897241865</c:v>
                </c:pt>
                <c:pt idx="52">
                  <c:v>-0.03683982662177135</c:v>
                </c:pt>
                <c:pt idx="53">
                  <c:v>-0.2919265427320214</c:v>
                </c:pt>
                <c:pt idx="54">
                  <c:v>0.4894891178538056</c:v>
                </c:pt>
              </c:numCache>
            </c:numRef>
          </c:xVal>
          <c:yVal>
            <c:numRef>
              <c:f>Sheet1!$B$187:$B$241</c:f>
              <c:numCache>
                <c:formatCode>General</c:formatCode>
                <c:ptCount val="55"/>
                <c:pt idx="0">
                  <c:v>0.14878004701343084</c:v>
                </c:pt>
                <c:pt idx="1">
                  <c:v>0.14719145781527626</c:v>
                </c:pt>
                <c:pt idx="2">
                  <c:v>0.14902512155659164</c:v>
                </c:pt>
                <c:pt idx="3">
                  <c:v>0.1477417392693646</c:v>
                </c:pt>
                <c:pt idx="4">
                  <c:v>0.1494945014990793</c:v>
                </c:pt>
                <c:pt idx="5">
                  <c:v>0.15157719031022313</c:v>
                </c:pt>
                <c:pt idx="6">
                  <c:v>0.1478551641828671</c:v>
                </c:pt>
                <c:pt idx="7">
                  <c:v>0.14572130936076963</c:v>
                </c:pt>
                <c:pt idx="8">
                  <c:v>0.14681230306303067</c:v>
                </c:pt>
                <c:pt idx="9">
                  <c:v>0.14774680474578555</c:v>
                </c:pt>
                <c:pt idx="10">
                  <c:v>0.1454462405888291</c:v>
                </c:pt>
                <c:pt idx="11">
                  <c:v>0.14684776673294428</c:v>
                </c:pt>
                <c:pt idx="12">
                  <c:v>0.14540423924671877</c:v>
                </c:pt>
                <c:pt idx="13">
                  <c:v>0.14124177357917797</c:v>
                </c:pt>
                <c:pt idx="14">
                  <c:v>0.14256640473651805</c:v>
                </c:pt>
                <c:pt idx="15">
                  <c:v>0.14701682492346954</c:v>
                </c:pt>
                <c:pt idx="16">
                  <c:v>0.14766087837283043</c:v>
                </c:pt>
                <c:pt idx="17">
                  <c:v>0.1483789119736733</c:v>
                </c:pt>
                <c:pt idx="18">
                  <c:v>0.15063388631389119</c:v>
                </c:pt>
                <c:pt idx="19">
                  <c:v>0.14874455638467785</c:v>
                </c:pt>
                <c:pt idx="20">
                  <c:v>0.14810566011247175</c:v>
                </c:pt>
                <c:pt idx="21">
                  <c:v>0.14948776494247837</c:v>
                </c:pt>
                <c:pt idx="22">
                  <c:v>0.1506013752075898</c:v>
                </c:pt>
                <c:pt idx="23">
                  <c:v>0.1513825523889896</c:v>
                </c:pt>
                <c:pt idx="24">
                  <c:v>0.15030567545856666</c:v>
                </c:pt>
                <c:pt idx="25">
                  <c:v>0.15153433727235333</c:v>
                </c:pt>
                <c:pt idx="26">
                  <c:v>0.15136604117365351</c:v>
                </c:pt>
                <c:pt idx="27">
                  <c:v>0.1499274137822993</c:v>
                </c:pt>
                <c:pt idx="28">
                  <c:v>0.145719513189278</c:v>
                </c:pt>
                <c:pt idx="29">
                  <c:v>0.14580974673342434</c:v>
                </c:pt>
                <c:pt idx="30">
                  <c:v>0.14854900260423032</c:v>
                </c:pt>
                <c:pt idx="31">
                  <c:v>0.15389288732661607</c:v>
                </c:pt>
                <c:pt idx="32">
                  <c:v>0.15531018989290485</c:v>
                </c:pt>
                <c:pt idx="33">
                  <c:v>0.1555553068759407</c:v>
                </c:pt>
                <c:pt idx="34">
                  <c:v>0.15431114656816813</c:v>
                </c:pt>
                <c:pt idx="35">
                  <c:v>0.1543962440463077</c:v>
                </c:pt>
                <c:pt idx="36">
                  <c:v>0.1536079228117983</c:v>
                </c:pt>
                <c:pt idx="37">
                  <c:v>0.15225500590373614</c:v>
                </c:pt>
                <c:pt idx="38">
                  <c:v>0.15243284991788777</c:v>
                </c:pt>
                <c:pt idx="39">
                  <c:v>0.14928964994468397</c:v>
                </c:pt>
                <c:pt idx="40">
                  <c:v>0.151025834756269</c:v>
                </c:pt>
                <c:pt idx="41">
                  <c:v>0.14930065184103009</c:v>
                </c:pt>
                <c:pt idx="42">
                  <c:v>0.1504410325087293</c:v>
                </c:pt>
                <c:pt idx="43">
                  <c:v>0.14749449791004446</c:v>
                </c:pt>
                <c:pt idx="44">
                  <c:v>0.14594854684477654</c:v>
                </c:pt>
                <c:pt idx="45">
                  <c:v>0.14558749402513294</c:v>
                </c:pt>
                <c:pt idx="46">
                  <c:v>0.14744048463591147</c:v>
                </c:pt>
                <c:pt idx="47">
                  <c:v>0.14550037968202156</c:v>
                </c:pt>
                <c:pt idx="48">
                  <c:v>0.14400585779216638</c:v>
                </c:pt>
                <c:pt idx="49">
                  <c:v>0.1418366075046718</c:v>
                </c:pt>
                <c:pt idx="50">
                  <c:v>0.14509604374843296</c:v>
                </c:pt>
                <c:pt idx="51">
                  <c:v>0.14953437693047467</c:v>
                </c:pt>
                <c:pt idx="52">
                  <c:v>0.17468073448488744</c:v>
                </c:pt>
                <c:pt idx="53">
                  <c:v>0.19144206103600622</c:v>
                </c:pt>
                <c:pt idx="54">
                  <c:v>0.14009652937148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671</c:v>
                </c:pt>
                <c:pt idx="1">
                  <c:v>902.8432</c:v>
                </c:pt>
                <c:pt idx="2">
                  <c:v>985.2542</c:v>
                </c:pt>
                <c:pt idx="3">
                  <c:v>997.4359</c:v>
                </c:pt>
                <c:pt idx="4">
                  <c:v>997.3115</c:v>
                </c:pt>
                <c:pt idx="5">
                  <c:v>999.0053</c:v>
                </c:pt>
                <c:pt idx="6">
                  <c:v>921.263</c:v>
                </c:pt>
                <c:pt idx="7">
                  <c:v>951.4774</c:v>
                </c:pt>
                <c:pt idx="8">
                  <c:v>983.8892</c:v>
                </c:pt>
                <c:pt idx="9">
                  <c:v>911.3152</c:v>
                </c:pt>
                <c:pt idx="10">
                  <c:v>909.9708</c:v>
                </c:pt>
                <c:pt idx="11">
                  <c:v>964.5726</c:v>
                </c:pt>
                <c:pt idx="12">
                  <c:v>964.0199</c:v>
                </c:pt>
                <c:pt idx="13">
                  <c:v>950.364</c:v>
                </c:pt>
                <c:pt idx="14">
                  <c:v>950.9456</c:v>
                </c:pt>
                <c:pt idx="15">
                  <c:v>962.0413</c:v>
                </c:pt>
                <c:pt idx="16">
                  <c:v>969.7886</c:v>
                </c:pt>
                <c:pt idx="17">
                  <c:v>986.8333</c:v>
                </c:pt>
                <c:pt idx="18">
                  <c:v>1040.959</c:v>
                </c:pt>
                <c:pt idx="19">
                  <c:v>1076.8727</c:v>
                </c:pt>
                <c:pt idx="20">
                  <c:v>1076.7289</c:v>
                </c:pt>
                <c:pt idx="21">
                  <c:v>1086.3796</c:v>
                </c:pt>
                <c:pt idx="22">
                  <c:v>1068.1275</c:v>
                </c:pt>
                <c:pt idx="23">
                  <c:v>1051.2208</c:v>
                </c:pt>
                <c:pt idx="24">
                  <c:v>1031.6641</c:v>
                </c:pt>
                <c:pt idx="25">
                  <c:v>1036.3221</c:v>
                </c:pt>
                <c:pt idx="26">
                  <c:v>1037.0525</c:v>
                </c:pt>
                <c:pt idx="27">
                  <c:v>1041.3586</c:v>
                </c:pt>
                <c:pt idx="28">
                  <c:v>1034.6765</c:v>
                </c:pt>
                <c:pt idx="29">
                  <c:v>943.0731</c:v>
                </c:pt>
                <c:pt idx="30">
                  <c:v>983.6676</c:v>
                </c:pt>
                <c:pt idx="31">
                  <c:v>999.9237</c:v>
                </c:pt>
                <c:pt idx="32">
                  <c:v>983.1398</c:v>
                </c:pt>
                <c:pt idx="33">
                  <c:v>919.3306</c:v>
                </c:pt>
                <c:pt idx="34">
                  <c:v>978.4737</c:v>
                </c:pt>
                <c:pt idx="35">
                  <c:v>1020.832</c:v>
                </c:pt>
                <c:pt idx="36">
                  <c:v>1108.2054</c:v>
                </c:pt>
                <c:pt idx="37">
                  <c:v>1096.794</c:v>
                </c:pt>
                <c:pt idx="38">
                  <c:v>1190.2685</c:v>
                </c:pt>
                <c:pt idx="39">
                  <c:v>1182.6103</c:v>
                </c:pt>
                <c:pt idx="40">
                  <c:v>1204.7481</c:v>
                </c:pt>
                <c:pt idx="41">
                  <c:v>1229.7287</c:v>
                </c:pt>
                <c:pt idx="42">
                  <c:v>1261.8951</c:v>
                </c:pt>
                <c:pt idx="43">
                  <c:v>1268.9533</c:v>
                </c:pt>
                <c:pt idx="44">
                  <c:v>1074.978</c:v>
                </c:pt>
                <c:pt idx="45">
                  <c:v>1009.5644</c:v>
                </c:pt>
                <c:pt idx="46">
                  <c:v>987.2418</c:v>
                </c:pt>
                <c:pt idx="47">
                  <c:v>966.9421</c:v>
                </c:pt>
                <c:pt idx="48">
                  <c:v>976.7686</c:v>
                </c:pt>
                <c:pt idx="49">
                  <c:v>958.6468</c:v>
                </c:pt>
                <c:pt idx="50">
                  <c:v>955.4439</c:v>
                </c:pt>
                <c:pt idx="51">
                  <c:v>996.3261</c:v>
                </c:pt>
                <c:pt idx="52">
                  <c:v>1013.2034</c:v>
                </c:pt>
                <c:pt idx="53">
                  <c:v>1086.3752</c:v>
                </c:pt>
                <c:pt idx="54">
                  <c:v>1058.7316</c:v>
                </c:pt>
                <c:pt idx="55">
                  <c:v>1092.1719</c:v>
                </c:pt>
                <c:pt idx="56">
                  <c:v>1111.6811</c:v>
                </c:pt>
                <c:pt idx="57">
                  <c:v>1099.0574</c:v>
                </c:pt>
                <c:pt idx="58">
                  <c:v>1037.6294</c:v>
                </c:pt>
                <c:pt idx="59">
                  <c:v>1037.4454</c:v>
                </c:pt>
                <c:pt idx="60">
                  <c:v>1069.7952</c:v>
                </c:pt>
                <c:pt idx="61">
                  <c:v>1069.552</c:v>
                </c:pt>
                <c:pt idx="62">
                  <c:v>1041.3442</c:v>
                </c:pt>
                <c:pt idx="63">
                  <c:v>1052.4167</c:v>
                </c:pt>
                <c:pt idx="64">
                  <c:v>1074.5178</c:v>
                </c:pt>
                <c:pt idx="65">
                  <c:v>1051.6686</c:v>
                </c:pt>
                <c:pt idx="66">
                  <c:v>970.2639</c:v>
                </c:pt>
                <c:pt idx="67">
                  <c:v>939.9074</c:v>
                </c:pt>
                <c:pt idx="68">
                  <c:v>953.1809</c:v>
                </c:pt>
                <c:pt idx="69">
                  <c:v>914.7098</c:v>
                </c:pt>
                <c:pt idx="70">
                  <c:v>882.1038</c:v>
                </c:pt>
                <c:pt idx="71">
                  <c:v>948.0803</c:v>
                </c:pt>
                <c:pt idx="72">
                  <c:v>1056.6974</c:v>
                </c:pt>
                <c:pt idx="73">
                  <c:v>1081.1125</c:v>
                </c:pt>
                <c:pt idx="74">
                  <c:v>1080.9789</c:v>
                </c:pt>
                <c:pt idx="75">
                  <c:v>1040.6</c:v>
                </c:pt>
                <c:pt idx="76">
                  <c:v>1041.3744</c:v>
                </c:pt>
                <c:pt idx="77">
                  <c:v>1046.883</c:v>
                </c:pt>
                <c:pt idx="78">
                  <c:v>1090.9083</c:v>
                </c:pt>
                <c:pt idx="79">
                  <c:v>769.137</c:v>
                </c:pt>
                <c:pt idx="80">
                  <c:v>809.6285</c:v>
                </c:pt>
                <c:pt idx="81">
                  <c:v>886.4814</c:v>
                </c:pt>
                <c:pt idx="82">
                  <c:v>990.476</c:v>
                </c:pt>
                <c:pt idx="83">
                  <c:v>989.9916</c:v>
                </c:pt>
                <c:pt idx="84">
                  <c:v>859.8535</c:v>
                </c:pt>
                <c:pt idx="85">
                  <c:v>1085.9345</c:v>
                </c:pt>
                <c:pt idx="86">
                  <c:v>1149.3892</c:v>
                </c:pt>
                <c:pt idx="87">
                  <c:v>990.0293</c:v>
                </c:pt>
                <c:pt idx="88">
                  <c:v>1075.7659</c:v>
                </c:pt>
                <c:pt idx="89">
                  <c:v>1043.3063</c:v>
                </c:pt>
                <c:pt idx="90">
                  <c:v>1098.7157</c:v>
                </c:pt>
                <c:pt idx="91">
                  <c:v>1134.4983</c:v>
                </c:pt>
                <c:pt idx="92">
                  <c:v>1163.5174</c:v>
                </c:pt>
                <c:pt idx="93">
                  <c:v>1204.6571</c:v>
                </c:pt>
                <c:pt idx="94">
                  <c:v>1115.6554</c:v>
                </c:pt>
                <c:pt idx="95">
                  <c:v>1240.9732</c:v>
                </c:pt>
                <c:pt idx="96">
                  <c:v>1214.05</c:v>
                </c:pt>
                <c:pt idx="97">
                  <c:v>1188.6092</c:v>
                </c:pt>
                <c:pt idx="98">
                  <c:v>1160.3567</c:v>
                </c:pt>
                <c:pt idx="99">
                  <c:v>1133.7216</c:v>
                </c:pt>
                <c:pt idx="100">
                  <c:v>1137.9173</c:v>
                </c:pt>
                <c:pt idx="101">
                  <c:v>1149.4662</c:v>
                </c:pt>
                <c:pt idx="102">
                  <c:v>1196.5346</c:v>
                </c:pt>
                <c:pt idx="103">
                  <c:v>1101.1108</c:v>
                </c:pt>
                <c:pt idx="104">
                  <c:v>1270.3012</c:v>
                </c:pt>
              </c:numCache>
            </c:numRef>
          </c:xVal>
          <c:yVal>
            <c:numRef>
              <c:f>Sheet1!$B$2:$B$106</c:f>
              <c:numCache>
                <c:formatCode>General</c:formatCode>
                <c:ptCount val="105"/>
                <c:pt idx="0">
                  <c:v>0.20161673799334284</c:v>
                </c:pt>
                <c:pt idx="1">
                  <c:v>0.2136513575234712</c:v>
                </c:pt>
                <c:pt idx="2">
                  <c:v>0.17068851007305733</c:v>
                </c:pt>
                <c:pt idx="3">
                  <c:v>0.17645687645687647</c:v>
                </c:pt>
                <c:pt idx="4">
                  <c:v>0.16444947636569487</c:v>
                </c:pt>
                <c:pt idx="5">
                  <c:v>0.14584408879710895</c:v>
                </c:pt>
                <c:pt idx="6">
                  <c:v>0.16685299049748462</c:v>
                </c:pt>
                <c:pt idx="7">
                  <c:v>0.1588679245283019</c:v>
                </c:pt>
                <c:pt idx="8">
                  <c:v>0.1657917760279965</c:v>
                </c:pt>
                <c:pt idx="9">
                  <c:v>0.17462039045553146</c:v>
                </c:pt>
                <c:pt idx="10">
                  <c:v>0.19096738221354892</c:v>
                </c:pt>
                <c:pt idx="11">
                  <c:v>0.1826596729404505</c:v>
                </c:pt>
                <c:pt idx="12">
                  <c:v>0.20079828062634325</c:v>
                </c:pt>
                <c:pt idx="13">
                  <c:v>0.21383101851851852</c:v>
                </c:pt>
                <c:pt idx="14">
                  <c:v>0.2174415246895755</c:v>
                </c:pt>
                <c:pt idx="15">
                  <c:v>0.21416411304051752</c:v>
                </c:pt>
                <c:pt idx="16">
                  <c:v>0.19547079856972585</c:v>
                </c:pt>
                <c:pt idx="17">
                  <c:v>0.17601380500431407</c:v>
                </c:pt>
                <c:pt idx="18">
                  <c:v>0.15488482922954727</c:v>
                </c:pt>
                <c:pt idx="19">
                  <c:v>0.1448493027440396</c:v>
                </c:pt>
                <c:pt idx="20">
                  <c:v>0.1532732261858095</c:v>
                </c:pt>
                <c:pt idx="21">
                  <c:v>0.1515486725663717</c:v>
                </c:pt>
                <c:pt idx="22">
                  <c:v>0.1491955143832277</c:v>
                </c:pt>
                <c:pt idx="23">
                  <c:v>0.17172264355362946</c:v>
                </c:pt>
                <c:pt idx="24">
                  <c:v>0.18147448015122875</c:v>
                </c:pt>
                <c:pt idx="25">
                  <c:v>0.17395944503735325</c:v>
                </c:pt>
                <c:pt idx="26">
                  <c:v>0.18930430667297682</c:v>
                </c:pt>
                <c:pt idx="27">
                  <c:v>0.17202432667245873</c:v>
                </c:pt>
                <c:pt idx="28">
                  <c:v>0.18234323432343233</c:v>
                </c:pt>
                <c:pt idx="29">
                  <c:v>0.19535714285714287</c:v>
                </c:pt>
                <c:pt idx="30">
                  <c:v>0.16602129719264277</c:v>
                </c:pt>
                <c:pt idx="31">
                  <c:v>0.16464471403812825</c:v>
                </c:pt>
                <c:pt idx="32">
                  <c:v>0.15177478580171358</c:v>
                </c:pt>
                <c:pt idx="33">
                  <c:v>0.1844249924539692</c:v>
                </c:pt>
                <c:pt idx="34">
                  <c:v>0.17262602579132474</c:v>
                </c:pt>
                <c:pt idx="35">
                  <c:v>0.16833000665335995</c:v>
                </c:pt>
                <c:pt idx="36">
                  <c:v>0.12484237074401008</c:v>
                </c:pt>
                <c:pt idx="37">
                  <c:v>0.12727272727272726</c:v>
                </c:pt>
                <c:pt idx="38">
                  <c:v>0.12579147319544112</c:v>
                </c:pt>
                <c:pt idx="39">
                  <c:v>0.1327717609306057</c:v>
                </c:pt>
                <c:pt idx="40">
                  <c:v>0.13268716577540107</c:v>
                </c:pt>
                <c:pt idx="41">
                  <c:v>0.12159570387418489</c:v>
                </c:pt>
                <c:pt idx="42">
                  <c:v>0.12840466926070038</c:v>
                </c:pt>
                <c:pt idx="43">
                  <c:v>0.1319697394228075</c:v>
                </c:pt>
                <c:pt idx="44">
                  <c:v>0.16334183290835458</c:v>
                </c:pt>
                <c:pt idx="45">
                  <c:v>0.18771331058020477</c:v>
                </c:pt>
                <c:pt idx="46">
                  <c:v>0.19717877951548604</c:v>
                </c:pt>
                <c:pt idx="47">
                  <c:v>0.20492686682063124</c:v>
                </c:pt>
                <c:pt idx="48">
                  <c:v>0.22352546916890081</c:v>
                </c:pt>
                <c:pt idx="49">
                  <c:v>0.25323247427214357</c:v>
                </c:pt>
                <c:pt idx="50">
                  <c:v>0.2093114241001565</c:v>
                </c:pt>
                <c:pt idx="51">
                  <c:v>0.17528462998102468</c:v>
                </c:pt>
                <c:pt idx="52">
                  <c:v>0.1866467177856742</c:v>
                </c:pt>
                <c:pt idx="53">
                  <c:v>0.1709585121602289</c:v>
                </c:pt>
                <c:pt idx="54">
                  <c:v>0.16268075639599555</c:v>
                </c:pt>
                <c:pt idx="55">
                  <c:v>0.1501943364797335</c:v>
                </c:pt>
                <c:pt idx="56">
                  <c:v>0.15426662617673853</c:v>
                </c:pt>
                <c:pt idx="57">
                  <c:v>0.1557931485926249</c:v>
                </c:pt>
                <c:pt idx="58">
                  <c:v>0.19246861924686193</c:v>
                </c:pt>
                <c:pt idx="59">
                  <c:v>0.21573245407442299</c:v>
                </c:pt>
                <c:pt idx="60">
                  <c:v>0.23865162503357507</c:v>
                </c:pt>
                <c:pt idx="61">
                  <c:v>0.23423423423423423</c:v>
                </c:pt>
                <c:pt idx="62">
                  <c:v>0.20950846091861403</c:v>
                </c:pt>
                <c:pt idx="63">
                  <c:v>0.22570532915360503</c:v>
                </c:pt>
                <c:pt idx="64">
                  <c:v>0.190111572959965</c:v>
                </c:pt>
                <c:pt idx="65">
                  <c:v>0.16986168405726765</c:v>
                </c:pt>
                <c:pt idx="66">
                  <c:v>0.18064043021266193</c:v>
                </c:pt>
                <c:pt idx="67">
                  <c:v>0.18675432188945704</c:v>
                </c:pt>
                <c:pt idx="68">
                  <c:v>0.1610630803714377</c:v>
                </c:pt>
                <c:pt idx="69">
                  <c:v>0.14227309893704007</c:v>
                </c:pt>
                <c:pt idx="70">
                  <c:v>0.14799301919720767</c:v>
                </c:pt>
                <c:pt idx="71">
                  <c:v>0.15899419729206962</c:v>
                </c:pt>
                <c:pt idx="72">
                  <c:v>0.1546617915904936</c:v>
                </c:pt>
                <c:pt idx="73">
                  <c:v>0.14869888475836432</c:v>
                </c:pt>
                <c:pt idx="74">
                  <c:v>0.15295256534365925</c:v>
                </c:pt>
                <c:pt idx="75">
                  <c:v>0.16417910447761194</c:v>
                </c:pt>
                <c:pt idx="76">
                  <c:v>0.16290726817042606</c:v>
                </c:pt>
                <c:pt idx="77">
                  <c:v>0.15561335067186824</c:v>
                </c:pt>
                <c:pt idx="78">
                  <c:v>0.15504587155963304</c:v>
                </c:pt>
                <c:pt idx="79">
                  <c:v>0.1844586948321388</c:v>
                </c:pt>
                <c:pt idx="80">
                  <c:v>0.1427533599709408</c:v>
                </c:pt>
                <c:pt idx="81">
                  <c:v>0.14398235664776307</c:v>
                </c:pt>
                <c:pt idx="82">
                  <c:v>0.12055160142348754</c:v>
                </c:pt>
                <c:pt idx="83">
                  <c:v>0.11852589641434264</c:v>
                </c:pt>
                <c:pt idx="84">
                  <c:v>0.13421828908554573</c:v>
                </c:pt>
                <c:pt idx="85">
                  <c:v>0.11707109408258834</c:v>
                </c:pt>
                <c:pt idx="86">
                  <c:v>0.12436974789915967</c:v>
                </c:pt>
                <c:pt idx="87">
                  <c:v>0.15666901905434016</c:v>
                </c:pt>
                <c:pt idx="88">
                  <c:v>0.12005717008099095</c:v>
                </c:pt>
                <c:pt idx="89">
                  <c:v>0.13339596054485675</c:v>
                </c:pt>
                <c:pt idx="90">
                  <c:v>0.13646736649931537</c:v>
                </c:pt>
                <c:pt idx="91">
                  <c:v>0.13367018833256775</c:v>
                </c:pt>
                <c:pt idx="92">
                  <c:v>0.12773858150761233</c:v>
                </c:pt>
                <c:pt idx="93">
                  <c:v>0.12710465500165072</c:v>
                </c:pt>
                <c:pt idx="94">
                  <c:v>0.1410162002945508</c:v>
                </c:pt>
                <c:pt idx="95">
                  <c:v>0.13215258855585832</c:v>
                </c:pt>
                <c:pt idx="96">
                  <c:v>0.1323845771967566</c:v>
                </c:pt>
                <c:pt idx="97">
                  <c:v>0.15222929936305732</c:v>
                </c:pt>
                <c:pt idx="98">
                  <c:v>0.15851088738000468</c:v>
                </c:pt>
                <c:pt idx="99">
                  <c:v>0.16694897311031123</c:v>
                </c:pt>
                <c:pt idx="100">
                  <c:v>0.18708840550788267</c:v>
                </c:pt>
                <c:pt idx="101">
                  <c:v>0.16773865944482058</c:v>
                </c:pt>
                <c:pt idx="102">
                  <c:v>0.14100817438692098</c:v>
                </c:pt>
                <c:pt idx="103">
                  <c:v>0.16009903032803796</c:v>
                </c:pt>
                <c:pt idx="104">
                  <c:v>0.1452380952380952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numCache>
            </c:numRef>
          </c:xVal>
          <c:yVal>
            <c:numRef>
              <c:f>Sheet1!$B$109:$B$160</c:f>
              <c:numCache>
                <c:formatCode>General</c:formatCode>
                <c:ptCount val="52"/>
                <c:pt idx="0">
                  <c:v>0.15475294707800352</c:v>
                </c:pt>
                <c:pt idx="1">
                  <c:v>0.19359534206695778</c:v>
                </c:pt>
                <c:pt idx="2">
                  <c:v>0.199010105176325</c:v>
                </c:pt>
                <c:pt idx="3">
                  <c:v>0.19793237131165195</c:v>
                </c:pt>
                <c:pt idx="4">
                  <c:v>0.18365202773691952</c:v>
                </c:pt>
                <c:pt idx="5">
                  <c:v>0.18672712283594395</c:v>
                </c:pt>
                <c:pt idx="6">
                  <c:v>0.16512030193426638</c:v>
                </c:pt>
                <c:pt idx="7">
                  <c:v>0.15296122709842352</c:v>
                </c:pt>
                <c:pt idx="8">
                  <c:v>0.1383751651254954</c:v>
                </c:pt>
                <c:pt idx="9">
                  <c:v>0.1412190706095353</c:v>
                </c:pt>
                <c:pt idx="10">
                  <c:v>0.13885647607934656</c:v>
                </c:pt>
                <c:pt idx="11">
                  <c:v>0.16737649063032367</c:v>
                </c:pt>
                <c:pt idx="12">
                  <c:v>0.1696143809799942</c:v>
                </c:pt>
                <c:pt idx="13">
                  <c:v>0.15823367065317387</c:v>
                </c:pt>
                <c:pt idx="14">
                  <c:v>0.15922330097087378</c:v>
                </c:pt>
                <c:pt idx="15">
                  <c:v>0.1565155807365439</c:v>
                </c:pt>
                <c:pt idx="16">
                  <c:v>0.13303498779495526</c:v>
                </c:pt>
                <c:pt idx="17">
                  <c:v>0.14049586776859505</c:v>
                </c:pt>
                <c:pt idx="18">
                  <c:v>0.12202256581696615</c:v>
                </c:pt>
                <c:pt idx="19">
                  <c:v>0.1377049180327869</c:v>
                </c:pt>
                <c:pt idx="20">
                  <c:v>0.12536873156342182</c:v>
                </c:pt>
                <c:pt idx="21">
                  <c:v>0.11404639175257732</c:v>
                </c:pt>
                <c:pt idx="22">
                  <c:v>0.11608300907911803</c:v>
                </c:pt>
                <c:pt idx="23">
                  <c:v>0.12348048624440179</c:v>
                </c:pt>
                <c:pt idx="24">
                  <c:v>0.1178925404277517</c:v>
                </c:pt>
                <c:pt idx="25">
                  <c:v>0.12378779235596121</c:v>
                </c:pt>
                <c:pt idx="26">
                  <c:v>0.12713178294573643</c:v>
                </c:pt>
                <c:pt idx="27">
                  <c:v>0.13004846526655897</c:v>
                </c:pt>
                <c:pt idx="28">
                  <c:v>0.13174273858921162</c:v>
                </c:pt>
                <c:pt idx="29">
                  <c:v>0.1407702523240372</c:v>
                </c:pt>
                <c:pt idx="30">
                  <c:v>0.1431111111111111</c:v>
                </c:pt>
                <c:pt idx="31">
                  <c:v>0.15106382978723404</c:v>
                </c:pt>
                <c:pt idx="32">
                  <c:v>0.16797153024911032</c:v>
                </c:pt>
                <c:pt idx="33">
                  <c:v>0.17625899280575538</c:v>
                </c:pt>
                <c:pt idx="34">
                  <c:v>0.19080262782062268</c:v>
                </c:pt>
                <c:pt idx="35">
                  <c:v>0.1716323961393202</c:v>
                </c:pt>
                <c:pt idx="36">
                  <c:v>0.1727921009325288</c:v>
                </c:pt>
                <c:pt idx="37">
                  <c:v>0.14285714285714285</c:v>
                </c:pt>
                <c:pt idx="38">
                  <c:v>0.14841849148418493</c:v>
                </c:pt>
                <c:pt idx="39">
                  <c:v>0.15756630265210608</c:v>
                </c:pt>
                <c:pt idx="40">
                  <c:v>0.1375952582557155</c:v>
                </c:pt>
                <c:pt idx="41">
                  <c:v>0.14007633587786258</c:v>
                </c:pt>
                <c:pt idx="42">
                  <c:v>0.12906137184115524</c:v>
                </c:pt>
                <c:pt idx="43">
                  <c:v>0.13390928725701945</c:v>
                </c:pt>
                <c:pt idx="44">
                  <c:v>0.1283272019043497</c:v>
                </c:pt>
                <c:pt idx="45">
                  <c:v>0.14009962640099627</c:v>
                </c:pt>
                <c:pt idx="46">
                  <c:v>0.13188711844883855</c:v>
                </c:pt>
                <c:pt idx="47">
                  <c:v>0.12361241768579492</c:v>
                </c:pt>
                <c:pt idx="48">
                  <c:v>0.12114252906559494</c:v>
                </c:pt>
                <c:pt idx="49">
                  <c:v>0.13940799345246216</c:v>
                </c:pt>
                <c:pt idx="50">
                  <c:v>0.17635569852941177</c:v>
                </c:pt>
                <c:pt idx="51">
                  <c:v>0.162213740458015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34.6723463062643</c:v>
                </c:pt>
              </c:numCache>
            </c:numRef>
          </c:xVal>
          <c:yVal>
            <c:numRef>
              <c:f>Sheet1!$B$163:$B$164</c:f>
              <c:numCache>
                <c:formatCode>General</c:formatCode>
                <c:ptCount val="2"/>
                <c:pt idx="0">
                  <c:v>0.19144206103600622</c:v>
                </c:pt>
                <c:pt idx="1">
                  <c:v>0.191442061036006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34.6723463062643</c:v>
                </c:pt>
                <c:pt idx="1">
                  <c:v>934.6723463062643</c:v>
                </c:pt>
              </c:numCache>
            </c:numRef>
          </c:xVal>
          <c:yVal>
            <c:numRef>
              <c:f>Sheet1!$B$167:$B$168</c:f>
              <c:numCache>
                <c:formatCode>General</c:formatCode>
                <c:ptCount val="2"/>
                <c:pt idx="0">
                  <c:v>0.191442061036006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7.5987954678346</c:v>
                </c:pt>
              </c:numCache>
            </c:numRef>
          </c:xVal>
          <c:yVal>
            <c:numRef>
              <c:f>Sheet1!$B$171:$B$172</c:f>
              <c:numCache>
                <c:formatCode>General</c:formatCode>
                <c:ptCount val="2"/>
                <c:pt idx="0">
                  <c:v>0.17468073448488744</c:v>
                </c:pt>
                <c:pt idx="1">
                  <c:v>0.1746807344848874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7.5987954678346</c:v>
                </c:pt>
                <c:pt idx="1">
                  <c:v>1037.5987954678346</c:v>
                </c:pt>
              </c:numCache>
            </c:numRef>
          </c:xVal>
          <c:yVal>
            <c:numRef>
              <c:f>Sheet1!$B$175:$B$176</c:f>
              <c:numCache>
                <c:formatCode>General</c:formatCode>
                <c:ptCount val="2"/>
                <c:pt idx="0">
                  <c:v>0.1746807344848874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9.9703770691847</c:v>
                </c:pt>
              </c:numCache>
            </c:numRef>
          </c:xVal>
          <c:yVal>
            <c:numRef>
              <c:f>Sheet1!$B$179:$B$180</c:f>
              <c:numCache>
                <c:formatCode>General</c:formatCode>
                <c:ptCount val="2"/>
                <c:pt idx="0">
                  <c:v>0.1400965293714863</c:v>
                </c:pt>
                <c:pt idx="1">
                  <c:v>0.14009652937148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9.9703770691847</c:v>
                </c:pt>
                <c:pt idx="1">
                  <c:v>1249.9703770691847</c:v>
                </c:pt>
              </c:numCache>
            </c:numRef>
          </c:xVal>
          <c:yVal>
            <c:numRef>
              <c:f>Sheet1!$B$183:$B$184</c:f>
              <c:numCache>
                <c:formatCode>General</c:formatCode>
                <c:ptCount val="2"/>
                <c:pt idx="0">
                  <c:v>0.14009652937148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2.9822</c:v>
                </c:pt>
                <c:pt idx="1">
                  <c:v>1147.4373</c:v>
                </c:pt>
                <c:pt idx="2">
                  <c:v>1122.2104</c:v>
                </c:pt>
                <c:pt idx="3">
                  <c:v>1140.7922</c:v>
                </c:pt>
                <c:pt idx="4">
                  <c:v>1136.6682</c:v>
                </c:pt>
                <c:pt idx="5">
                  <c:v>1139.936</c:v>
                </c:pt>
                <c:pt idx="6">
                  <c:v>1081.7019</c:v>
                </c:pt>
                <c:pt idx="7">
                  <c:v>1136.8008</c:v>
                </c:pt>
                <c:pt idx="8">
                  <c:v>1233.58</c:v>
                </c:pt>
                <c:pt idx="9">
                  <c:v>1198.5107</c:v>
                </c:pt>
                <c:pt idx="10">
                  <c:v>1232.1555</c:v>
                </c:pt>
                <c:pt idx="11">
                  <c:v>1042.3906</c:v>
                </c:pt>
                <c:pt idx="12">
                  <c:v>1050.2085</c:v>
                </c:pt>
                <c:pt idx="13">
                  <c:v>1129.9574</c:v>
                </c:pt>
                <c:pt idx="14">
                  <c:v>1101.8415</c:v>
                </c:pt>
                <c:pt idx="15">
                  <c:v>1143.138</c:v>
                </c:pt>
                <c:pt idx="16">
                  <c:v>1175.2141</c:v>
                </c:pt>
                <c:pt idx="17">
                  <c:v>1183.7731</c:v>
                </c:pt>
                <c:pt idx="18">
                  <c:v>1167.4589</c:v>
                </c:pt>
                <c:pt idx="19">
                  <c:v>1318.1837</c:v>
                </c:pt>
                <c:pt idx="20">
                  <c:v>1366.1569</c:v>
                </c:pt>
                <c:pt idx="21">
                  <c:v>1351.096</c:v>
                </c:pt>
                <c:pt idx="22">
                  <c:v>1295.486</c:v>
                </c:pt>
                <c:pt idx="23">
                  <c:v>1255.3472</c:v>
                </c:pt>
                <c:pt idx="24">
                  <c:v>1264.8451</c:v>
                </c:pt>
                <c:pt idx="25">
                  <c:v>1205.8203</c:v>
                </c:pt>
                <c:pt idx="26">
                  <c:v>1246.4797</c:v>
                </c:pt>
                <c:pt idx="27">
                  <c:v>1242.6615</c:v>
                </c:pt>
                <c:pt idx="28">
                  <c:v>1215.3937</c:v>
                </c:pt>
                <c:pt idx="29">
                  <c:v>1194.7484</c:v>
                </c:pt>
                <c:pt idx="30">
                  <c:v>1104.6429</c:v>
                </c:pt>
                <c:pt idx="31">
                  <c:v>1130.3352</c:v>
                </c:pt>
                <c:pt idx="32">
                  <c:v>1119.5805</c:v>
                </c:pt>
                <c:pt idx="33">
                  <c:v>1111.6616</c:v>
                </c:pt>
                <c:pt idx="34">
                  <c:v>1132.5434</c:v>
                </c:pt>
                <c:pt idx="35">
                  <c:v>1113.8337</c:v>
                </c:pt>
                <c:pt idx="36">
                  <c:v>1162.127</c:v>
                </c:pt>
                <c:pt idx="37">
                  <c:v>1257.2422</c:v>
                </c:pt>
                <c:pt idx="38">
                  <c:v>1263.2295</c:v>
                </c:pt>
                <c:pt idx="39">
                  <c:v>1280.9505</c:v>
                </c:pt>
                <c:pt idx="40">
                  <c:v>1308.1785</c:v>
                </c:pt>
                <c:pt idx="41">
                  <c:v>1347.0381</c:v>
                </c:pt>
                <c:pt idx="42">
                  <c:v>1420.3636</c:v>
                </c:pt>
                <c:pt idx="43">
                  <c:v>1362.2327</c:v>
                </c:pt>
                <c:pt idx="44">
                  <c:v>1279.8246</c:v>
                </c:pt>
                <c:pt idx="45">
                  <c:v>1220.4589</c:v>
                </c:pt>
                <c:pt idx="46">
                  <c:v>1191.1412</c:v>
                </c:pt>
                <c:pt idx="47">
                  <c:v>1190.003</c:v>
                </c:pt>
                <c:pt idx="48">
                  <c:v>1196.7441</c:v>
                </c:pt>
                <c:pt idx="49">
                  <c:v>1208.4432</c:v>
                </c:pt>
                <c:pt idx="50">
                  <c:v>1052.9121</c:v>
                </c:pt>
                <c:pt idx="51">
                  <c:v>1021.4523</c:v>
                </c:pt>
                <c:pt idx="52">
                  <c:v>1037.5987954678346</c:v>
                </c:pt>
                <c:pt idx="53">
                  <c:v>934.6723463062643</c:v>
                </c:pt>
                <c:pt idx="54">
                  <c:v>1249.9703770691847</c:v>
                </c:pt>
              </c:numCache>
            </c:numRef>
          </c:xVal>
          <c:yVal>
            <c:numRef>
              <c:f>Sheet1!$B$187:$B$241</c:f>
              <c:numCache>
                <c:formatCode>General</c:formatCode>
                <c:ptCount val="55"/>
                <c:pt idx="0">
                  <c:v>0.13960606119669972</c:v>
                </c:pt>
                <c:pt idx="1">
                  <c:v>0.15679379621637524</c:v>
                </c:pt>
                <c:pt idx="2">
                  <c:v>0.16090193666245892</c:v>
                </c:pt>
                <c:pt idx="3">
                  <c:v>0.15787593488891408</c:v>
                </c:pt>
                <c:pt idx="4">
                  <c:v>0.15854751844454912</c:v>
                </c:pt>
                <c:pt idx="5">
                  <c:v>0.15801536501508645</c:v>
                </c:pt>
                <c:pt idx="6">
                  <c:v>0.1674986491899664</c:v>
                </c:pt>
                <c:pt idx="7">
                  <c:v>0.15852592485107744</c:v>
                </c:pt>
                <c:pt idx="8">
                  <c:v>0.1427656631518747</c:v>
                </c:pt>
                <c:pt idx="9">
                  <c:v>0.1484766149432498</c:v>
                </c:pt>
                <c:pt idx="10">
                  <c:v>0.14299763957646294</c:v>
                </c:pt>
                <c:pt idx="11">
                  <c:v>0.17390040055529976</c:v>
                </c:pt>
                <c:pt idx="12">
                  <c:v>0.17262727420234172</c:v>
                </c:pt>
                <c:pt idx="13">
                  <c:v>0.15964035620525607</c:v>
                </c:pt>
                <c:pt idx="14">
                  <c:v>0.16421896340503261</c:v>
                </c:pt>
                <c:pt idx="15">
                  <c:v>0.15749392695855316</c:v>
                </c:pt>
                <c:pt idx="16">
                  <c:v>0.152270410642136</c:v>
                </c:pt>
                <c:pt idx="17">
                  <c:v>0.1508765979232514</c:v>
                </c:pt>
                <c:pt idx="18">
                  <c:v>0.15353332644976467</c:v>
                </c:pt>
                <c:pt idx="19">
                  <c:v>0.12898815256364043</c:v>
                </c:pt>
                <c:pt idx="20">
                  <c:v>0.1211758314600542</c:v>
                </c:pt>
                <c:pt idx="21">
                  <c:v>0.12362846307330913</c:v>
                </c:pt>
                <c:pt idx="22">
                  <c:v>0.13268441882715565</c:v>
                </c:pt>
                <c:pt idx="23">
                  <c:v>0.1392209265921709</c:v>
                </c:pt>
                <c:pt idx="24">
                  <c:v>0.13767421624952642</c:v>
                </c:pt>
                <c:pt idx="25">
                  <c:v>0.14728626403193318</c:v>
                </c:pt>
                <c:pt idx="26">
                  <c:v>0.14066497779963777</c:v>
                </c:pt>
                <c:pt idx="27">
                  <c:v>0.14128676255524536</c:v>
                </c:pt>
                <c:pt idx="28">
                  <c:v>0.1457272586945141</c:v>
                </c:pt>
                <c:pt idx="29">
                  <c:v>0.1490892965172958</c:v>
                </c:pt>
                <c:pt idx="30">
                  <c:v>0.16376276210223048</c:v>
                </c:pt>
                <c:pt idx="31">
                  <c:v>0.15957883237709922</c:v>
                </c:pt>
                <c:pt idx="32">
                  <c:v>0.1613302095996472</c:v>
                </c:pt>
                <c:pt idx="33">
                  <c:v>0.16261978356150902</c:v>
                </c:pt>
                <c:pt idx="34">
                  <c:v>0.15921923227827445</c:v>
                </c:pt>
                <c:pt idx="35">
                  <c:v>0.16226606226151027</c:v>
                </c:pt>
                <c:pt idx="36">
                  <c:v>0.15440161363703198</c:v>
                </c:pt>
                <c:pt idx="37">
                  <c:v>0.13891233036570913</c:v>
                </c:pt>
                <c:pt idx="38">
                  <c:v>0.13793731285294153</c:v>
                </c:pt>
                <c:pt idx="39">
                  <c:v>0.13505149030458846</c:v>
                </c:pt>
                <c:pt idx="40">
                  <c:v>0.13061747550031344</c:v>
                </c:pt>
                <c:pt idx="41">
                  <c:v>0.1242892824017309</c:v>
                </c:pt>
                <c:pt idx="42">
                  <c:v>0.11234839976140229</c:v>
                </c:pt>
                <c:pt idx="43">
                  <c:v>0.12181487806263006</c:v>
                </c:pt>
                <c:pt idx="44">
                  <c:v>0.13523484043196224</c:v>
                </c:pt>
                <c:pt idx="45">
                  <c:v>0.14490240296560952</c:v>
                </c:pt>
                <c:pt idx="46">
                  <c:v>0.14967672042657965</c:v>
                </c:pt>
                <c:pt idx="47">
                  <c:v>0.14986207357959222</c:v>
                </c:pt>
                <c:pt idx="48">
                  <c:v>0.14876430153621414</c:v>
                </c:pt>
                <c:pt idx="49">
                  <c:v>0.14685913102803527</c:v>
                </c:pt>
                <c:pt idx="50">
                  <c:v>0.17218699939608204</c:v>
                </c:pt>
                <c:pt idx="51">
                  <c:v>0.17731015272866363</c:v>
                </c:pt>
                <c:pt idx="52">
                  <c:v>0.17468073448488744</c:v>
                </c:pt>
                <c:pt idx="53">
                  <c:v>0.19144206103600622</c:v>
                </c:pt>
                <c:pt idx="54">
                  <c:v>0.14009652937148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4.0"/>
          <c:min val="6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387896912657225"/>
          <c:min val="0.091237113402061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7333687127118693</c:v>
                </c:pt>
                <c:pt idx="8">
                  <c:v>1.2809926628072938</c:v>
                </c:pt>
                <c:pt idx="9">
                  <c:v>1.5371899640580604</c:v>
                </c:pt>
                <c:pt idx="10">
                  <c:v>1.7415067206686377</c:v>
                </c:pt>
                <c:pt idx="11">
                  <c:v>1.3203868590366614</c:v>
                </c:pt>
                <c:pt idx="12">
                  <c:v>1.9371167940115304</c:v>
                </c:pt>
                <c:pt idx="13">
                  <c:v>1.4400325722314504</c:v>
                </c:pt>
                <c:pt idx="14">
                  <c:v>1.2049812053523872</c:v>
                </c:pt>
                <c:pt idx="15">
                  <c:v>1.211770600287944</c:v>
                </c:pt>
                <c:pt idx="16">
                  <c:v>1.2638947228930073</c:v>
                </c:pt>
                <c:pt idx="17">
                  <c:v>1.3943675337122652</c:v>
                </c:pt>
                <c:pt idx="18">
                  <c:v>1.609716920977258</c:v>
                </c:pt>
                <c:pt idx="19">
                  <c:v>0.881713017193064</c:v>
                </c:pt>
                <c:pt idx="20">
                  <c:v>1.3569294795855797</c:v>
                </c:pt>
                <c:pt idx="21">
                  <c:v>0.37939714937514346</c:v>
                </c:pt>
                <c:pt idx="22">
                  <c:v>1.2555125813922372</c:v>
                </c:pt>
                <c:pt idx="23">
                  <c:v>1.7051384759268744</c:v>
                </c:pt>
                <c:pt idx="24">
                  <c:v>2.3009126346765387</c:v>
                </c:pt>
                <c:pt idx="25">
                  <c:v>2.1924424436320766</c:v>
                </c:pt>
                <c:pt idx="26">
                  <c:v>2.1432094719814963</c:v>
                </c:pt>
                <c:pt idx="27">
                  <c:v>2.363385746291509</c:v>
                </c:pt>
                <c:pt idx="28">
                  <c:v>2.576058341486991</c:v>
                </c:pt>
                <c:pt idx="29">
                  <c:v>2.149732964176683</c:v>
                </c:pt>
                <c:pt idx="30">
                  <c:v>2.517649606813506</c:v>
                </c:pt>
                <c:pt idx="31">
                  <c:v>2.31594224880382</c:v>
                </c:pt>
                <c:pt idx="32">
                  <c:v>2.836692473882372</c:v>
                </c:pt>
                <c:pt idx="33">
                  <c:v>2.2987587525250768</c:v>
                </c:pt>
                <c:pt idx="34">
                  <c:v>2.936818872819895</c:v>
                </c:pt>
                <c:pt idx="35">
                  <c:v>3.0676982421401617</c:v>
                </c:pt>
                <c:pt idx="36">
                  <c:v>2.322407643174636</c:v>
                </c:pt>
                <c:pt idx="37">
                  <c:v>2.4287244973824613</c:v>
                </c:pt>
                <c:pt idx="38">
                  <c:v>2.3336829387321223</c:v>
                </c:pt>
                <c:pt idx="39">
                  <c:v>2.768590761756267</c:v>
                </c:pt>
                <c:pt idx="40">
                  <c:v>2.9512766674951076</c:v>
                </c:pt>
                <c:pt idx="41">
                  <c:v>2.6721836152006735</c:v>
                </c:pt>
                <c:pt idx="42">
                  <c:v>3.741269998984679</c:v>
                </c:pt>
                <c:pt idx="43">
                  <c:v>2.9930805191524477</c:v>
                </c:pt>
                <c:pt idx="44">
                  <c:v>2.7545120989112144</c:v>
                </c:pt>
                <c:pt idx="45">
                  <c:v>3.0472819564415077</c:v>
                </c:pt>
                <c:pt idx="46">
                  <c:v>2.752132936196727</c:v>
                </c:pt>
                <c:pt idx="47">
                  <c:v>2.5591553219627223</c:v>
                </c:pt>
                <c:pt idx="48">
                  <c:v>2.752043263881584</c:v>
                </c:pt>
                <c:pt idx="49">
                  <c:v>2.4999853443407063</c:v>
                </c:pt>
                <c:pt idx="50">
                  <c:v>2.1816070125128997</c:v>
                </c:pt>
                <c:pt idx="51">
                  <c:v>2.7545090358172635</c:v>
                </c:pt>
                <c:pt idx="52">
                  <c:v>2.520282194845959</c:v>
                </c:pt>
              </c:numCache>
            </c:numRef>
          </c:xVal>
          <c:yVal>
            <c:numRef>
              <c:f>Sheet1!$B$2:$B$54</c:f>
              <c:numCache>
                <c:formatCode>General</c:formatCode>
                <c:ptCount val="53"/>
                <c:pt idx="0">
                  <c:v>0.0</c:v>
                </c:pt>
                <c:pt idx="1">
                  <c:v>0.0</c:v>
                </c:pt>
                <c:pt idx="2">
                  <c:v>0.0</c:v>
                </c:pt>
                <c:pt idx="3">
                  <c:v>0.0</c:v>
                </c:pt>
                <c:pt idx="4">
                  <c:v>0.0</c:v>
                </c:pt>
                <c:pt idx="5">
                  <c:v>0.0</c:v>
                </c:pt>
                <c:pt idx="6">
                  <c:v>0.0</c:v>
                </c:pt>
                <c:pt idx="7">
                  <c:v>0.00011775788977861517</c:v>
                </c:pt>
                <c:pt idx="8">
                  <c:v>0.0005372011818426001</c:v>
                </c:pt>
                <c:pt idx="9">
                  <c:v>0.0004869734599464329</c:v>
                </c:pt>
                <c:pt idx="10">
                  <c:v>0.00040290088638195</c:v>
                </c:pt>
                <c:pt idx="11">
                  <c:v>0.0006269592476489029</c:v>
                </c:pt>
                <c:pt idx="12">
                  <c:v>0.0004375410194705754</c:v>
                </c:pt>
                <c:pt idx="13">
                  <c:v>0.000485319097306479</c:v>
                </c:pt>
                <c:pt idx="14">
                  <c:v>0.0004888780249327792</c:v>
                </c:pt>
                <c:pt idx="15">
                  <c:v>0.0004869734599464329</c:v>
                </c:pt>
                <c:pt idx="16">
                  <c:v>0.0006404098623118795</c:v>
                </c:pt>
                <c:pt idx="17">
                  <c:v>0.0004088307440719542</c:v>
                </c:pt>
                <c:pt idx="18">
                  <c:v>0.00034904013961605586</c:v>
                </c:pt>
                <c:pt idx="19">
                  <c:v>0.0007736943907156673</c:v>
                </c:pt>
                <c:pt idx="20">
                  <c:v>0.0007312614259597807</c:v>
                </c:pt>
                <c:pt idx="21">
                  <c:v>0.001486988847583643</c:v>
                </c:pt>
                <c:pt idx="22">
                  <c:v>0.0006453694740238787</c:v>
                </c:pt>
                <c:pt idx="23">
                  <c:v>0.0014925373134328358</c:v>
                </c:pt>
                <c:pt idx="24">
                  <c:v>0.001670843776106934</c:v>
                </c:pt>
                <c:pt idx="25">
                  <c:v>0.002167316861725184</c:v>
                </c:pt>
                <c:pt idx="26">
                  <c:v>0.0022935779816513763</c:v>
                </c:pt>
                <c:pt idx="27">
                  <c:v>0.001886080724254998</c:v>
                </c:pt>
                <c:pt idx="28">
                  <c:v>0.0018162005085361425</c:v>
                </c:pt>
                <c:pt idx="29">
                  <c:v>0.002520478890989288</c:v>
                </c:pt>
                <c:pt idx="30">
                  <c:v>0.0026690391459074734</c:v>
                </c:pt>
                <c:pt idx="31">
                  <c:v>0.00249003984063745</c:v>
                </c:pt>
                <c:pt idx="32">
                  <c:v>0.0019665683382497543</c:v>
                </c:pt>
                <c:pt idx="33">
                  <c:v>0.0021285653469561515</c:v>
                </c:pt>
                <c:pt idx="34">
                  <c:v>0.002352941176470588</c:v>
                </c:pt>
                <c:pt idx="35">
                  <c:v>0.002117148906139732</c:v>
                </c:pt>
                <c:pt idx="36">
                  <c:v>0.0033349213911386373</c:v>
                </c:pt>
                <c:pt idx="37">
                  <c:v>0.0032879286049788633</c:v>
                </c:pt>
                <c:pt idx="38">
                  <c:v>0.004107713372889092</c:v>
                </c:pt>
                <c:pt idx="39">
                  <c:v>0.003215434083601286</c:v>
                </c:pt>
                <c:pt idx="40">
                  <c:v>0.0025993316004456</c:v>
                </c:pt>
                <c:pt idx="41">
                  <c:v>0.0029712776493892373</c:v>
                </c:pt>
                <c:pt idx="42">
                  <c:v>0.001840942562592047</c:v>
                </c:pt>
                <c:pt idx="43">
                  <c:v>0.002997275204359673</c:v>
                </c:pt>
                <c:pt idx="44">
                  <c:v>0.002978652986927023</c:v>
                </c:pt>
                <c:pt idx="45">
                  <c:v>0.003439490445859873</c:v>
                </c:pt>
                <c:pt idx="46">
                  <c:v>0.0033949894638258017</c:v>
                </c:pt>
                <c:pt idx="47">
                  <c:v>0.0035994071564683463</c:v>
                </c:pt>
                <c:pt idx="48">
                  <c:v>0.003592097385751347</c:v>
                </c:pt>
                <c:pt idx="49">
                  <c:v>0.004570074475287745</c:v>
                </c:pt>
                <c:pt idx="50">
                  <c:v>0.004768392370572207</c:v>
                </c:pt>
                <c:pt idx="51">
                  <c:v>0.003713637301423561</c:v>
                </c:pt>
                <c:pt idx="52">
                  <c:v>0.0026785714285714286</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1060852325782724</c:v>
                </c:pt>
                <c:pt idx="1">
                  <c:v>2.1071423553870714</c:v>
                </c:pt>
                <c:pt idx="2">
                  <c:v>2.4639457817415074</c:v>
                </c:pt>
                <c:pt idx="3">
                  <c:v>2.162974259918775</c:v>
                </c:pt>
                <c:pt idx="4">
                  <c:v>2.5257017253839087</c:v>
                </c:pt>
                <c:pt idx="5">
                  <c:v>2.5770641278994306</c:v>
                </c:pt>
                <c:pt idx="6">
                  <c:v>2.6856572272611294</c:v>
                </c:pt>
                <c:pt idx="7">
                  <c:v>2.5853303609189155</c:v>
                </c:pt>
                <c:pt idx="8">
                  <c:v>2.3267305065633366</c:v>
                </c:pt>
                <c:pt idx="9">
                  <c:v>2.311987669242915</c:v>
                </c:pt>
                <c:pt idx="10">
                  <c:v>2.3933269917226303</c:v>
                </c:pt>
                <c:pt idx="11">
                  <c:v>2.5229228648335735</c:v>
                </c:pt>
                <c:pt idx="12">
                  <c:v>2.2386506562117106</c:v>
                </c:pt>
                <c:pt idx="13">
                  <c:v>1.935545373612598</c:v>
                </c:pt>
                <c:pt idx="14">
                  <c:v>1.9889930644087443</c:v>
                </c:pt>
                <c:pt idx="15">
                  <c:v>2.292470963711684</c:v>
                </c:pt>
                <c:pt idx="16">
                  <c:v>2.0327159967278985</c:v>
                </c:pt>
                <c:pt idx="17">
                  <c:v>2.1112801689731584</c:v>
                </c:pt>
                <c:pt idx="18">
                  <c:v>2.852810797665511</c:v>
                </c:pt>
                <c:pt idx="19">
                  <c:v>1.9845266096480503</c:v>
                </c:pt>
                <c:pt idx="20">
                  <c:v>2.3309356240547574</c:v>
                </c:pt>
                <c:pt idx="21">
                  <c:v>2.082827562762459</c:v>
                </c:pt>
                <c:pt idx="22">
                  <c:v>1.712798447471883</c:v>
                </c:pt>
                <c:pt idx="23">
                  <c:v>1.9054240071821824</c:v>
                </c:pt>
                <c:pt idx="24">
                  <c:v>2.1178639155225394</c:v>
                </c:pt>
                <c:pt idx="25">
                  <c:v>1.7987006094388034</c:v>
                </c:pt>
                <c:pt idx="26">
                  <c:v>1.8963166635642017</c:v>
                </c:pt>
                <c:pt idx="27">
                  <c:v>2.354275091779732</c:v>
                </c:pt>
                <c:pt idx="28">
                  <c:v>2.353921295257704</c:v>
                </c:pt>
                <c:pt idx="29">
                  <c:v>1.877413382655761</c:v>
                </c:pt>
                <c:pt idx="30">
                  <c:v>2.4488466536996785</c:v>
                </c:pt>
                <c:pt idx="31">
                  <c:v>2.5644942601416</c:v>
                </c:pt>
                <c:pt idx="32">
                  <c:v>2.5733777608930524</c:v>
                </c:pt>
                <c:pt idx="33">
                  <c:v>2.752668128918025</c:v>
                </c:pt>
                <c:pt idx="34">
                  <c:v>2.552650540770268</c:v>
                </c:pt>
                <c:pt idx="35">
                  <c:v>2.144873171164736</c:v>
                </c:pt>
                <c:pt idx="36">
                  <c:v>2.0917728633128028</c:v>
                </c:pt>
                <c:pt idx="37">
                  <c:v>2.1976664671818273</c:v>
                </c:pt>
                <c:pt idx="38">
                  <c:v>1.852918690157156</c:v>
                </c:pt>
                <c:pt idx="39">
                  <c:v>2.225347376438433</c:v>
                </c:pt>
                <c:pt idx="40">
                  <c:v>2.5430950022239966</c:v>
                </c:pt>
                <c:pt idx="41">
                  <c:v>2.4104403388779514</c:v>
                </c:pt>
                <c:pt idx="42">
                  <c:v>2.31352723484777</c:v>
                </c:pt>
                <c:pt idx="43">
                  <c:v>2.501595275442419</c:v>
                </c:pt>
                <c:pt idx="44">
                  <c:v>2.694354699977596</c:v>
                </c:pt>
                <c:pt idx="45">
                  <c:v>2.9216759313945757</c:v>
                </c:pt>
                <c:pt idx="46">
                  <c:v>2.728214077401468</c:v>
                </c:pt>
                <c:pt idx="47">
                  <c:v>2.6236227859689283</c:v>
                </c:pt>
                <c:pt idx="48">
                  <c:v>2.705359964853059</c:v>
                </c:pt>
                <c:pt idx="49">
                  <c:v>2.945646272072579</c:v>
                </c:pt>
                <c:pt idx="50">
                  <c:v>3.250583340998562</c:v>
                </c:pt>
                <c:pt idx="51">
                  <c:v>3.2421509005345457</c:v>
                </c:pt>
              </c:numCache>
            </c:numRef>
          </c:xVal>
          <c:yVal>
            <c:numRef>
              <c:f>Sheet1!$B$57:$B$108</c:f>
              <c:numCache>
                <c:formatCode>General</c:formatCode>
                <c:ptCount val="52"/>
                <c:pt idx="0">
                  <c:v>0.0027589666415851516</c:v>
                </c:pt>
                <c:pt idx="1">
                  <c:v>0.0038816108685104317</c:v>
                </c:pt>
                <c:pt idx="2">
                  <c:v>0.0032996494122499486</c:v>
                </c:pt>
                <c:pt idx="3">
                  <c:v>0.0034460478139134183</c:v>
                </c:pt>
                <c:pt idx="4">
                  <c:v>0.0031519226728304265</c:v>
                </c:pt>
                <c:pt idx="5">
                  <c:v>0.0032976092333058533</c:v>
                </c:pt>
                <c:pt idx="6">
                  <c:v>0.003302406038685328</c:v>
                </c:pt>
                <c:pt idx="7">
                  <c:v>0.0034086067319982955</c:v>
                </c:pt>
                <c:pt idx="8">
                  <c:v>0.005284015852047556</c:v>
                </c:pt>
                <c:pt idx="9">
                  <c:v>0.005431502715751358</c:v>
                </c:pt>
                <c:pt idx="10">
                  <c:v>0.004959159859976663</c:v>
                </c:pt>
                <c:pt idx="11">
                  <c:v>0.006175468483816013</c:v>
                </c:pt>
                <c:pt idx="12">
                  <c:v>0.0057987822557262975</c:v>
                </c:pt>
                <c:pt idx="13">
                  <c:v>0.00827966881324747</c:v>
                </c:pt>
                <c:pt idx="14">
                  <c:v>0.006148867313915857</c:v>
                </c:pt>
                <c:pt idx="15">
                  <c:v>0.0056657223796034</c:v>
                </c:pt>
                <c:pt idx="16">
                  <c:v>0.006509357200976403</c:v>
                </c:pt>
                <c:pt idx="17">
                  <c:v>0.0059031877213695395</c:v>
                </c:pt>
                <c:pt idx="18">
                  <c:v>0.003343083994985374</c:v>
                </c:pt>
                <c:pt idx="19">
                  <c:v>0.004215456674473068</c:v>
                </c:pt>
                <c:pt idx="20">
                  <c:v>0.004424778761061947</c:v>
                </c:pt>
                <c:pt idx="21">
                  <c:v>0.005798969072164949</c:v>
                </c:pt>
                <c:pt idx="22">
                  <c:v>0.005836575875486381</c:v>
                </c:pt>
                <c:pt idx="23">
                  <c:v>0.005118362124120281</c:v>
                </c:pt>
                <c:pt idx="24">
                  <c:v>0.005738132498695879</c:v>
                </c:pt>
                <c:pt idx="25">
                  <c:v>0.0068454078722190535</c:v>
                </c:pt>
                <c:pt idx="26">
                  <c:v>0.005684754521963824</c:v>
                </c:pt>
                <c:pt idx="27">
                  <c:v>0.004846526655896607</c:v>
                </c:pt>
                <c:pt idx="28">
                  <c:v>0.004149377593360996</c:v>
                </c:pt>
                <c:pt idx="29">
                  <c:v>0.005312084993359893</c:v>
                </c:pt>
                <c:pt idx="30">
                  <c:v>0.004</c:v>
                </c:pt>
                <c:pt idx="31">
                  <c:v>0.004680851063829788</c:v>
                </c:pt>
                <c:pt idx="32">
                  <c:v>0.004270462633451958</c:v>
                </c:pt>
                <c:pt idx="33">
                  <c:v>0.002997601918465228</c:v>
                </c:pt>
                <c:pt idx="34">
                  <c:v>0.0037132247929163096</c:v>
                </c:pt>
                <c:pt idx="35">
                  <c:v>0.005455308434746118</c:v>
                </c:pt>
                <c:pt idx="36">
                  <c:v>0.005485463521667581</c:v>
                </c:pt>
                <c:pt idx="37">
                  <c:v>0.004943153732081068</c:v>
                </c:pt>
                <c:pt idx="38">
                  <c:v>0.00583941605839416</c:v>
                </c:pt>
                <c:pt idx="39">
                  <c:v>0.005070202808112325</c:v>
                </c:pt>
                <c:pt idx="40">
                  <c:v>0.003810330228619814</c:v>
                </c:pt>
                <c:pt idx="41">
                  <c:v>0.003816793893129771</c:v>
                </c:pt>
                <c:pt idx="42">
                  <c:v>0.0036101083032490976</c:v>
                </c:pt>
                <c:pt idx="43">
                  <c:v>0.0030854674483184203</c:v>
                </c:pt>
                <c:pt idx="44">
                  <c:v>0.002813243886604631</c:v>
                </c:pt>
                <c:pt idx="45">
                  <c:v>0.0024906600249066002</c:v>
                </c:pt>
                <c:pt idx="46">
                  <c:v>0.002303705125743905</c:v>
                </c:pt>
                <c:pt idx="47">
                  <c:v>0.0024459078080903106</c:v>
                </c:pt>
                <c:pt idx="48">
                  <c:v>0.0027271422419979903</c:v>
                </c:pt>
                <c:pt idx="49">
                  <c:v>0.0021825126176510706</c:v>
                </c:pt>
                <c:pt idx="50">
                  <c:v>0.002068014705882353</c:v>
                </c:pt>
                <c:pt idx="51">
                  <c:v>0.0027565733672603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9987664074088227</c:v>
                </c:pt>
              </c:numCache>
            </c:numRef>
          </c:xVal>
          <c:yVal>
            <c:numRef>
              <c:f>Sheet1!$B$111:$B$112</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9987664074088227</c:v>
                </c:pt>
                <c:pt idx="1">
                  <c:v>1.9987664074088227</c:v>
                </c:pt>
              </c:numCache>
            </c:numRef>
          </c:xVal>
          <c:yVal>
            <c:numRef>
              <c:f>Sheet1!$B$115:$B$116</c:f>
              <c:numCache>
                <c:formatCode>General</c:formatCode>
                <c:ptCount val="2"/>
                <c:pt idx="0">
                  <c:v>0.0055887696343898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1.9987664074088227</c:v>
                </c:pt>
              </c:numCache>
            </c:numRef>
          </c:xVal>
          <c:yVal>
            <c:numRef>
              <c:f>Sheet1!$B$119:$B$120</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1.9987664074088227</c:v>
                </c:pt>
                <c:pt idx="1">
                  <c:v>1.9987664074088227</c:v>
                </c:pt>
              </c:numCache>
            </c:numRef>
          </c:xVal>
          <c:yVal>
            <c:numRef>
              <c:f>Sheet1!$B$123:$B$124</c:f>
              <c:numCache>
                <c:formatCode>General</c:formatCode>
                <c:ptCount val="2"/>
                <c:pt idx="0">
                  <c:v>0.0055887696343898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828310353259648</c:v>
                </c:pt>
              </c:numCache>
            </c:numRef>
          </c:xVal>
          <c:yVal>
            <c:numRef>
              <c:f>Sheet1!$B$127:$B$128</c:f>
              <c:numCache>
                <c:formatCode>General</c:formatCode>
                <c:ptCount val="2"/>
                <c:pt idx="0">
                  <c:v>0.0030138971122743597</c:v>
                </c:pt>
                <c:pt idx="1">
                  <c:v>0.0030138971122743597</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828310353259648</c:v>
                </c:pt>
                <c:pt idx="1">
                  <c:v>2.828310353259648</c:v>
                </c:pt>
              </c:numCache>
            </c:numRef>
          </c:xVal>
          <c:yVal>
            <c:numRef>
              <c:f>Sheet1!$B$131:$B$132</c:f>
              <c:numCache>
                <c:formatCode>General</c:formatCode>
                <c:ptCount val="2"/>
                <c:pt idx="0">
                  <c:v>0.00301389711227435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1060852325782724</c:v>
                </c:pt>
                <c:pt idx="1">
                  <c:v>2.1071423553870714</c:v>
                </c:pt>
                <c:pt idx="2">
                  <c:v>2.4639457817415074</c:v>
                </c:pt>
                <c:pt idx="3">
                  <c:v>2.162974259918775</c:v>
                </c:pt>
                <c:pt idx="4">
                  <c:v>2.5257017253839087</c:v>
                </c:pt>
                <c:pt idx="5">
                  <c:v>2.5770641278994306</c:v>
                </c:pt>
                <c:pt idx="6">
                  <c:v>2.6856572272611294</c:v>
                </c:pt>
                <c:pt idx="7">
                  <c:v>2.5853303609189155</c:v>
                </c:pt>
                <c:pt idx="8">
                  <c:v>2.3267305065633366</c:v>
                </c:pt>
                <c:pt idx="9">
                  <c:v>2.311987669242915</c:v>
                </c:pt>
                <c:pt idx="10">
                  <c:v>2.3933269917226303</c:v>
                </c:pt>
                <c:pt idx="11">
                  <c:v>2.5229228648335735</c:v>
                </c:pt>
                <c:pt idx="12">
                  <c:v>2.2386506562117106</c:v>
                </c:pt>
                <c:pt idx="13">
                  <c:v>1.935545373612598</c:v>
                </c:pt>
                <c:pt idx="14">
                  <c:v>1.9889930644087443</c:v>
                </c:pt>
                <c:pt idx="15">
                  <c:v>2.292470963711684</c:v>
                </c:pt>
                <c:pt idx="16">
                  <c:v>2.0327159967278985</c:v>
                </c:pt>
                <c:pt idx="17">
                  <c:v>2.1112801689731584</c:v>
                </c:pt>
                <c:pt idx="18">
                  <c:v>2.852810797665511</c:v>
                </c:pt>
                <c:pt idx="19">
                  <c:v>1.9845266096480503</c:v>
                </c:pt>
                <c:pt idx="20">
                  <c:v>2.3309356240547574</c:v>
                </c:pt>
                <c:pt idx="21">
                  <c:v>2.082827562762459</c:v>
                </c:pt>
                <c:pt idx="22">
                  <c:v>1.712798447471883</c:v>
                </c:pt>
                <c:pt idx="23">
                  <c:v>1.9054240071821824</c:v>
                </c:pt>
                <c:pt idx="24">
                  <c:v>2.1178639155225394</c:v>
                </c:pt>
                <c:pt idx="25">
                  <c:v>1.7987006094388034</c:v>
                </c:pt>
                <c:pt idx="26">
                  <c:v>1.8963166635642017</c:v>
                </c:pt>
                <c:pt idx="27">
                  <c:v>2.354275091779732</c:v>
                </c:pt>
                <c:pt idx="28">
                  <c:v>2.353921295257704</c:v>
                </c:pt>
                <c:pt idx="29">
                  <c:v>1.877413382655761</c:v>
                </c:pt>
                <c:pt idx="30">
                  <c:v>2.4488466536996785</c:v>
                </c:pt>
                <c:pt idx="31">
                  <c:v>2.5644942601416</c:v>
                </c:pt>
                <c:pt idx="32">
                  <c:v>2.5733777608930524</c:v>
                </c:pt>
                <c:pt idx="33">
                  <c:v>2.752668128918025</c:v>
                </c:pt>
                <c:pt idx="34">
                  <c:v>2.552650540770268</c:v>
                </c:pt>
                <c:pt idx="35">
                  <c:v>2.144873171164736</c:v>
                </c:pt>
                <c:pt idx="36">
                  <c:v>2.0917728633128028</c:v>
                </c:pt>
                <c:pt idx="37">
                  <c:v>2.1976664671818273</c:v>
                </c:pt>
                <c:pt idx="38">
                  <c:v>1.852918690157156</c:v>
                </c:pt>
                <c:pt idx="39">
                  <c:v>2.225347376438433</c:v>
                </c:pt>
                <c:pt idx="40">
                  <c:v>2.5430950022239966</c:v>
                </c:pt>
                <c:pt idx="41">
                  <c:v>2.4104403388779514</c:v>
                </c:pt>
                <c:pt idx="42">
                  <c:v>2.31352723484777</c:v>
                </c:pt>
                <c:pt idx="43">
                  <c:v>2.501595275442419</c:v>
                </c:pt>
                <c:pt idx="44">
                  <c:v>2.694354699977596</c:v>
                </c:pt>
                <c:pt idx="45">
                  <c:v>2.9216759313945757</c:v>
                </c:pt>
                <c:pt idx="46">
                  <c:v>2.728214077401468</c:v>
                </c:pt>
                <c:pt idx="47">
                  <c:v>2.6236227859689283</c:v>
                </c:pt>
                <c:pt idx="48">
                  <c:v>2.705359964853059</c:v>
                </c:pt>
                <c:pt idx="49">
                  <c:v>2.945646272072579</c:v>
                </c:pt>
                <c:pt idx="50">
                  <c:v>3.250583340998562</c:v>
                </c:pt>
                <c:pt idx="51">
                  <c:v>3.2421509005345457</c:v>
                </c:pt>
                <c:pt idx="52">
                  <c:v>1.9987664074088227</c:v>
                </c:pt>
                <c:pt idx="53">
                  <c:v>1.9987664074088227</c:v>
                </c:pt>
                <c:pt idx="54">
                  <c:v>2.828310353259648</c:v>
                </c:pt>
              </c:numCache>
            </c:numRef>
          </c:xVal>
          <c:yVal>
            <c:numRef>
              <c:f>Sheet1!$B$135:$B$189</c:f>
              <c:numCache>
                <c:formatCode>General</c:formatCode>
                <c:ptCount val="55"/>
                <c:pt idx="0">
                  <c:v>0.0021516945639116023</c:v>
                </c:pt>
                <c:pt idx="1">
                  <c:v>0.005252374857593328</c:v>
                </c:pt>
                <c:pt idx="2">
                  <c:v>0.004144870736911197</c:v>
                </c:pt>
                <c:pt idx="3">
                  <c:v>0.005079074771979886</c:v>
                </c:pt>
                <c:pt idx="4">
                  <c:v>0.003953182661604902</c:v>
                </c:pt>
                <c:pt idx="5">
                  <c:v>0.003793755738452073</c:v>
                </c:pt>
                <c:pt idx="6">
                  <c:v>0.0034566869321081117</c:v>
                </c:pt>
                <c:pt idx="7">
                  <c:v>0.0037680976688950173</c:v>
                </c:pt>
                <c:pt idx="8">
                  <c:v>0.0045707816768173586</c:v>
                </c:pt>
                <c:pt idx="9">
                  <c:v>0.004616542877178404</c:v>
                </c:pt>
                <c:pt idx="10">
                  <c:v>0.00436406874670217</c:v>
                </c:pt>
                <c:pt idx="11">
                  <c:v>0.0039618081379399865</c:v>
                </c:pt>
                <c:pt idx="12">
                  <c:v>0.004844178146717257</c:v>
                </c:pt>
                <c:pt idx="13">
                  <c:v>0.00578500529321886</c:v>
                </c:pt>
                <c:pt idx="14">
                  <c:v>0.005619105715396769</c:v>
                </c:pt>
                <c:pt idx="15">
                  <c:v>0.004677121980969035</c:v>
                </c:pt>
                <c:pt idx="16">
                  <c:v>0.005483391414089395</c:v>
                </c:pt>
                <c:pt idx="17">
                  <c:v>0.005239531243270371</c:v>
                </c:pt>
                <c:pt idx="18">
                  <c:v>0.002937848674580596</c:v>
                </c:pt>
                <c:pt idx="19">
                  <c:v>0.005632969419293477</c:v>
                </c:pt>
                <c:pt idx="20">
                  <c:v>0.004557729153759256</c:v>
                </c:pt>
                <c:pt idx="21">
                  <c:v>0.005327847039294127</c:v>
                </c:pt>
                <c:pt idx="22">
                  <c:v>0.00647640319006827</c:v>
                </c:pt>
                <c:pt idx="23">
                  <c:v>0.005878500856821222</c:v>
                </c:pt>
                <c:pt idx="24">
                  <c:v>0.005219095547045517</c:v>
                </c:pt>
                <c:pt idx="25">
                  <c:v>0.006209766181209048</c:v>
                </c:pt>
                <c:pt idx="26">
                  <c:v>0.0059067697013456075</c:v>
                </c:pt>
                <c:pt idx="27">
                  <c:v>0.004485284343057634</c:v>
                </c:pt>
                <c:pt idx="28">
                  <c:v>0.004486382513862866</c:v>
                </c:pt>
                <c:pt idx="29">
                  <c:v>0.005965444758685761</c:v>
                </c:pt>
                <c:pt idx="30">
                  <c:v>0.004191737849976477</c:v>
                </c:pt>
                <c:pt idx="31">
                  <c:v>0.003832772124814905</c:v>
                </c:pt>
                <c:pt idx="32">
                  <c:v>0.0038051980799442067</c:v>
                </c:pt>
                <c:pt idx="33">
                  <c:v>0.0032486876691136066</c:v>
                </c:pt>
                <c:pt idx="34">
                  <c:v>0.003869534574497558</c:v>
                </c:pt>
                <c:pt idx="35">
                  <c:v>0.005135259855707241</c:v>
                </c:pt>
                <c:pt idx="36">
                  <c:v>0.005300081170223114</c:v>
                </c:pt>
                <c:pt idx="37">
                  <c:v>0.004971391494125872</c:v>
                </c:pt>
                <c:pt idx="38">
                  <c:v>0.0060414753426804866</c:v>
                </c:pt>
                <c:pt idx="39">
                  <c:v>0.004885471015785326</c:v>
                </c:pt>
                <c:pt idx="40">
                  <c:v>0.003899194598851753</c:v>
                </c:pt>
                <c:pt idx="41">
                  <c:v>0.004310949574930668</c:v>
                </c:pt>
                <c:pt idx="42">
                  <c:v>0.004611764124718378</c:v>
                </c:pt>
                <c:pt idx="43">
                  <c:v>0.004028008155625514</c:v>
                </c:pt>
                <c:pt idx="44">
                  <c:v>0.0034296903111075087</c:v>
                </c:pt>
                <c:pt idx="45">
                  <c:v>0.002724093946506592</c:v>
                </c:pt>
                <c:pt idx="46">
                  <c:v>0.003324592105062203</c:v>
                </c:pt>
                <c:pt idx="47">
                  <c:v>0.0036492394534145614</c:v>
                </c:pt>
                <c:pt idx="48">
                  <c:v>0.003395530391951727</c:v>
                </c:pt>
                <c:pt idx="49">
                  <c:v>0.002649690930408108</c:v>
                </c:pt>
                <c:pt idx="50">
                  <c:v>0.0017031779895576495</c:v>
                </c:pt>
                <c:pt idx="51">
                  <c:v>0.0017293519606338906</c:v>
                </c:pt>
                <c:pt idx="52">
                  <c:v>0.005588769634389872</c:v>
                </c:pt>
                <c:pt idx="53">
                  <c:v>0.005588769634389872</c:v>
                </c:pt>
                <c:pt idx="54">
                  <c:v>0.00301389711227435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93560257589696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0.00011775788977861517</c:v>
                </c:pt>
                <c:pt idx="8">
                  <c:v>0.0005372011818426001</c:v>
                </c:pt>
                <c:pt idx="9">
                  <c:v>0.0004869734599464329</c:v>
                </c:pt>
                <c:pt idx="10">
                  <c:v>0.00040290088638195</c:v>
                </c:pt>
                <c:pt idx="11">
                  <c:v>0.0006269592476489029</c:v>
                </c:pt>
                <c:pt idx="12">
                  <c:v>0.0004375410194705754</c:v>
                </c:pt>
                <c:pt idx="13">
                  <c:v>0.000485319097306479</c:v>
                </c:pt>
                <c:pt idx="14">
                  <c:v>0.0004888780249327792</c:v>
                </c:pt>
                <c:pt idx="15">
                  <c:v>0.0004869734599464329</c:v>
                </c:pt>
                <c:pt idx="16">
                  <c:v>0.0006404098623118795</c:v>
                </c:pt>
                <c:pt idx="17">
                  <c:v>0.0004088307440719542</c:v>
                </c:pt>
                <c:pt idx="18">
                  <c:v>0.00034904013961605586</c:v>
                </c:pt>
                <c:pt idx="19">
                  <c:v>0.0007736943907156673</c:v>
                </c:pt>
                <c:pt idx="20">
                  <c:v>0.0007312614259597807</c:v>
                </c:pt>
                <c:pt idx="21">
                  <c:v>0.001486988847583643</c:v>
                </c:pt>
                <c:pt idx="22">
                  <c:v>0.0006453694740238787</c:v>
                </c:pt>
                <c:pt idx="23">
                  <c:v>0.0014925373134328358</c:v>
                </c:pt>
                <c:pt idx="24">
                  <c:v>0.001670843776106934</c:v>
                </c:pt>
                <c:pt idx="25">
                  <c:v>0.002167316861725184</c:v>
                </c:pt>
                <c:pt idx="26">
                  <c:v>0.0022935779816513763</c:v>
                </c:pt>
                <c:pt idx="27">
                  <c:v>0.001886080724254998</c:v>
                </c:pt>
                <c:pt idx="28">
                  <c:v>0.0018162005085361425</c:v>
                </c:pt>
                <c:pt idx="29">
                  <c:v>0.002520478890989288</c:v>
                </c:pt>
                <c:pt idx="30">
                  <c:v>0.0026690391459074734</c:v>
                </c:pt>
                <c:pt idx="31">
                  <c:v>0.00249003984063745</c:v>
                </c:pt>
                <c:pt idx="32">
                  <c:v>0.0019665683382497543</c:v>
                </c:pt>
                <c:pt idx="33">
                  <c:v>0.0021285653469561515</c:v>
                </c:pt>
                <c:pt idx="34">
                  <c:v>0.002352941176470588</c:v>
                </c:pt>
                <c:pt idx="35">
                  <c:v>0.002117148906139732</c:v>
                </c:pt>
                <c:pt idx="36">
                  <c:v>0.0033349213911386373</c:v>
                </c:pt>
                <c:pt idx="37">
                  <c:v>0.0032879286049788633</c:v>
                </c:pt>
                <c:pt idx="38">
                  <c:v>0.004107713372889092</c:v>
                </c:pt>
                <c:pt idx="39">
                  <c:v>0.003215434083601286</c:v>
                </c:pt>
                <c:pt idx="40">
                  <c:v>0.0025993316004456</c:v>
                </c:pt>
                <c:pt idx="41">
                  <c:v>0.0029712776493892373</c:v>
                </c:pt>
                <c:pt idx="42">
                  <c:v>0.001840942562592047</c:v>
                </c:pt>
                <c:pt idx="43">
                  <c:v>0.002997275204359673</c:v>
                </c:pt>
                <c:pt idx="44">
                  <c:v>0.002978652986927023</c:v>
                </c:pt>
                <c:pt idx="45">
                  <c:v>0.003439490445859873</c:v>
                </c:pt>
                <c:pt idx="46">
                  <c:v>0.0033949894638258017</c:v>
                </c:pt>
                <c:pt idx="47">
                  <c:v>0.0035994071564683463</c:v>
                </c:pt>
                <c:pt idx="48">
                  <c:v>0.003592097385751347</c:v>
                </c:pt>
                <c:pt idx="49">
                  <c:v>0.004570074475287745</c:v>
                </c:pt>
                <c:pt idx="50">
                  <c:v>0.004768392370572207</c:v>
                </c:pt>
                <c:pt idx="51">
                  <c:v>0.003713637301423561</c:v>
                </c:pt>
                <c:pt idx="52">
                  <c:v>0.0026785714285714286</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7589666415851516</c:v>
                </c:pt>
                <c:pt idx="1">
                  <c:v>0.0038816108685104317</c:v>
                </c:pt>
                <c:pt idx="2">
                  <c:v>0.0032996494122499486</c:v>
                </c:pt>
                <c:pt idx="3">
                  <c:v>0.0034460478139134183</c:v>
                </c:pt>
                <c:pt idx="4">
                  <c:v>0.0031519226728304265</c:v>
                </c:pt>
                <c:pt idx="5">
                  <c:v>0.0032976092333058533</c:v>
                </c:pt>
                <c:pt idx="6">
                  <c:v>0.003302406038685328</c:v>
                </c:pt>
                <c:pt idx="7">
                  <c:v>0.0034086067319982955</c:v>
                </c:pt>
                <c:pt idx="8">
                  <c:v>0.005284015852047556</c:v>
                </c:pt>
                <c:pt idx="9">
                  <c:v>0.005431502715751358</c:v>
                </c:pt>
                <c:pt idx="10">
                  <c:v>0.004959159859976663</c:v>
                </c:pt>
                <c:pt idx="11">
                  <c:v>0.006175468483816013</c:v>
                </c:pt>
                <c:pt idx="12">
                  <c:v>0.0057987822557262975</c:v>
                </c:pt>
                <c:pt idx="13">
                  <c:v>0.00827966881324747</c:v>
                </c:pt>
                <c:pt idx="14">
                  <c:v>0.006148867313915857</c:v>
                </c:pt>
                <c:pt idx="15">
                  <c:v>0.0056657223796034</c:v>
                </c:pt>
                <c:pt idx="16">
                  <c:v>0.006509357200976403</c:v>
                </c:pt>
                <c:pt idx="17">
                  <c:v>0.0059031877213695395</c:v>
                </c:pt>
                <c:pt idx="18">
                  <c:v>0.003343083994985374</c:v>
                </c:pt>
                <c:pt idx="19">
                  <c:v>0.004215456674473068</c:v>
                </c:pt>
                <c:pt idx="20">
                  <c:v>0.004424778761061947</c:v>
                </c:pt>
                <c:pt idx="21">
                  <c:v>0.005798969072164949</c:v>
                </c:pt>
                <c:pt idx="22">
                  <c:v>0.005836575875486381</c:v>
                </c:pt>
                <c:pt idx="23">
                  <c:v>0.005118362124120281</c:v>
                </c:pt>
                <c:pt idx="24">
                  <c:v>0.005738132498695879</c:v>
                </c:pt>
                <c:pt idx="25">
                  <c:v>0.0068454078722190535</c:v>
                </c:pt>
                <c:pt idx="26">
                  <c:v>0.005684754521963824</c:v>
                </c:pt>
                <c:pt idx="27">
                  <c:v>0.004846526655896607</c:v>
                </c:pt>
                <c:pt idx="28">
                  <c:v>0.004149377593360996</c:v>
                </c:pt>
                <c:pt idx="29">
                  <c:v>0.005312084993359893</c:v>
                </c:pt>
                <c:pt idx="30">
                  <c:v>0.004</c:v>
                </c:pt>
                <c:pt idx="31">
                  <c:v>0.004680851063829788</c:v>
                </c:pt>
                <c:pt idx="32">
                  <c:v>0.004270462633451958</c:v>
                </c:pt>
                <c:pt idx="33">
                  <c:v>0.002997601918465228</c:v>
                </c:pt>
                <c:pt idx="34">
                  <c:v>0.0037132247929163096</c:v>
                </c:pt>
                <c:pt idx="35">
                  <c:v>0.005455308434746118</c:v>
                </c:pt>
                <c:pt idx="36">
                  <c:v>0.005485463521667581</c:v>
                </c:pt>
                <c:pt idx="37">
                  <c:v>0.004943153732081068</c:v>
                </c:pt>
                <c:pt idx="38">
                  <c:v>0.00583941605839416</c:v>
                </c:pt>
                <c:pt idx="39">
                  <c:v>0.005070202808112325</c:v>
                </c:pt>
                <c:pt idx="40">
                  <c:v>0.003810330228619814</c:v>
                </c:pt>
                <c:pt idx="41">
                  <c:v>0.003816793893129771</c:v>
                </c:pt>
                <c:pt idx="42">
                  <c:v>0.0036101083032490976</c:v>
                </c:pt>
                <c:pt idx="43">
                  <c:v>0.0030854674483184203</c:v>
                </c:pt>
                <c:pt idx="44">
                  <c:v>0.002813243886604631</c:v>
                </c:pt>
                <c:pt idx="45">
                  <c:v>0.0024906600249066002</c:v>
                </c:pt>
                <c:pt idx="46">
                  <c:v>0.002303705125743905</c:v>
                </c:pt>
                <c:pt idx="47">
                  <c:v>0.0024459078080903106</c:v>
                </c:pt>
                <c:pt idx="48">
                  <c:v>0.0027271422419979903</c:v>
                </c:pt>
                <c:pt idx="49">
                  <c:v>0.0021825126176510706</c:v>
                </c:pt>
                <c:pt idx="50">
                  <c:v>0.002068014705882353</c:v>
                </c:pt>
                <c:pt idx="51">
                  <c:v>0.0027565733672603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22.6508282398563</c:v>
                </c:pt>
              </c:numCache>
            </c:numRef>
          </c:xVal>
          <c:yVal>
            <c:numRef>
              <c:f>Sheet1!$B$111:$B$112</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22.6508282398563</c:v>
                </c:pt>
                <c:pt idx="1">
                  <c:v>3622.6508282398563</c:v>
                </c:pt>
              </c:numCache>
            </c:numRef>
          </c:xVal>
          <c:yVal>
            <c:numRef>
              <c:f>Sheet1!$B$115:$B$116</c:f>
              <c:numCache>
                <c:formatCode>General</c:formatCode>
                <c:ptCount val="2"/>
                <c:pt idx="0">
                  <c:v>0.0055887696343898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22.6508282398563</c:v>
                </c:pt>
              </c:numCache>
            </c:numRef>
          </c:xVal>
          <c:yVal>
            <c:numRef>
              <c:f>Sheet1!$B$119:$B$120</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22.6508282398563</c:v>
                </c:pt>
                <c:pt idx="1">
                  <c:v>3622.6508282398563</c:v>
                </c:pt>
              </c:numCache>
            </c:numRef>
          </c:xVal>
          <c:yVal>
            <c:numRef>
              <c:f>Sheet1!$B$123:$B$124</c:f>
              <c:numCache>
                <c:formatCode>General</c:formatCode>
                <c:ptCount val="2"/>
                <c:pt idx="0">
                  <c:v>0.0055887696343898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57.671500420285</c:v>
                </c:pt>
              </c:numCache>
            </c:numRef>
          </c:xVal>
          <c:yVal>
            <c:numRef>
              <c:f>Sheet1!$B$127:$B$128</c:f>
              <c:numCache>
                <c:formatCode>General</c:formatCode>
                <c:ptCount val="2"/>
                <c:pt idx="0">
                  <c:v>0.0030138971122743597</c:v>
                </c:pt>
                <c:pt idx="1">
                  <c:v>0.0030138971122743597</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57.671500420285</c:v>
                </c:pt>
                <c:pt idx="1">
                  <c:v>5057.671500420285</c:v>
                </c:pt>
              </c:numCache>
            </c:numRef>
          </c:xVal>
          <c:yVal>
            <c:numRef>
              <c:f>Sheet1!$B$131:$B$132</c:f>
              <c:numCache>
                <c:formatCode>General</c:formatCode>
                <c:ptCount val="2"/>
                <c:pt idx="0">
                  <c:v>0.00301389711227435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22.6508282398563</c:v>
                </c:pt>
                <c:pt idx="53">
                  <c:v>3622.6508282398563</c:v>
                </c:pt>
                <c:pt idx="54">
                  <c:v>5057.671500420285</c:v>
                </c:pt>
              </c:numCache>
            </c:numRef>
          </c:xVal>
          <c:yVal>
            <c:numRef>
              <c:f>Sheet1!$B$135:$B$189</c:f>
              <c:numCache>
                <c:formatCode>General</c:formatCode>
                <c:ptCount val="55"/>
                <c:pt idx="0">
                  <c:v>0.0021137057583704155</c:v>
                </c:pt>
                <c:pt idx="1">
                  <c:v>0.004957330860445159</c:v>
                </c:pt>
                <c:pt idx="2">
                  <c:v>0.00387513739800446</c:v>
                </c:pt>
                <c:pt idx="3">
                  <c:v>0.004679997758619682</c:v>
                </c:pt>
                <c:pt idx="4">
                  <c:v>0.0034191806954561275</c:v>
                </c:pt>
                <c:pt idx="5">
                  <c:v>0.003602962938590616</c:v>
                </c:pt>
                <c:pt idx="6">
                  <c:v>0.004382964564006096</c:v>
                </c:pt>
                <c:pt idx="7">
                  <c:v>0.00430879979378251</c:v>
                </c:pt>
                <c:pt idx="8">
                  <c:v>0.00468683856703511</c:v>
                </c:pt>
                <c:pt idx="9">
                  <c:v>0.005005889385754674</c:v>
                </c:pt>
                <c:pt idx="10">
                  <c:v>0.004638214011102726</c:v>
                </c:pt>
                <c:pt idx="11">
                  <c:v>0.005085364955912157</c:v>
                </c:pt>
                <c:pt idx="12">
                  <c:v>0.005410954959468229</c:v>
                </c:pt>
                <c:pt idx="13">
                  <c:v>0.005848783385142395</c:v>
                </c:pt>
                <c:pt idx="14">
                  <c:v>0.005695046151999507</c:v>
                </c:pt>
                <c:pt idx="15">
                  <c:v>0.004527032796674696</c:v>
                </c:pt>
                <c:pt idx="16">
                  <c:v>0.0054057963170565946</c:v>
                </c:pt>
                <c:pt idx="17">
                  <c:v>0.005092076035685373</c:v>
                </c:pt>
                <c:pt idx="18">
                  <c:v>0.003279987065862201</c:v>
                </c:pt>
                <c:pt idx="19">
                  <c:v>0.0051884105875371995</c:v>
                </c:pt>
                <c:pt idx="20">
                  <c:v>0.0033512360816792108</c:v>
                </c:pt>
                <c:pt idx="21">
                  <c:v>0.004269125617007591</c:v>
                </c:pt>
                <c:pt idx="22">
                  <c:v>0.005523348589436273</c:v>
                </c:pt>
                <c:pt idx="23">
                  <c:v>0.005267634415944995</c:v>
                </c:pt>
                <c:pt idx="24">
                  <c:v>0.004608938939705502</c:v>
                </c:pt>
                <c:pt idx="25">
                  <c:v>0.0062997366531290415</c:v>
                </c:pt>
                <c:pt idx="26">
                  <c:v>0.005545079662170724</c:v>
                </c:pt>
                <c:pt idx="27">
                  <c:v>0.0043529098647383125</c:v>
                </c:pt>
                <c:pt idx="28">
                  <c:v>0.004416757529569669</c:v>
                </c:pt>
                <c:pt idx="29">
                  <c:v>0.005486166530381536</c:v>
                </c:pt>
                <c:pt idx="30">
                  <c:v>0.0035627653614708384</c:v>
                </c:pt>
                <c:pt idx="31">
                  <c:v>0.0034843958042464103</c:v>
                </c:pt>
                <c:pt idx="32">
                  <c:v>0.003526330991561466</c:v>
                </c:pt>
                <c:pt idx="33">
                  <c:v>0.0030988962883337825</c:v>
                </c:pt>
                <c:pt idx="34">
                  <c:v>0.003907978481898685</c:v>
                </c:pt>
                <c:pt idx="35">
                  <c:v>0.0046320516314510675</c:v>
                </c:pt>
                <c:pt idx="36">
                  <c:v>0.003909745159922512</c:v>
                </c:pt>
                <c:pt idx="37">
                  <c:v>0.0035711587866788883</c:v>
                </c:pt>
                <c:pt idx="38">
                  <c:v>0.005017552403380978</c:v>
                </c:pt>
                <c:pt idx="39">
                  <c:v>0.004300656316013744</c:v>
                </c:pt>
                <c:pt idx="40">
                  <c:v>0.003144292341556165</c:v>
                </c:pt>
                <c:pt idx="41">
                  <c:v>0.003513920284789796</c:v>
                </c:pt>
                <c:pt idx="42">
                  <c:v>0.003643783500282681</c:v>
                </c:pt>
                <c:pt idx="43">
                  <c:v>0.003790602949093806</c:v>
                </c:pt>
                <c:pt idx="44">
                  <c:v>0.004374637169420914</c:v>
                </c:pt>
                <c:pt idx="45">
                  <c:v>0.004073745130852385</c:v>
                </c:pt>
                <c:pt idx="46">
                  <c:v>0.004334069605495821</c:v>
                </c:pt>
                <c:pt idx="47">
                  <c:v>0.004839225581598953</c:v>
                </c:pt>
                <c:pt idx="48">
                  <c:v>0.0051899005828967195</c:v>
                </c:pt>
                <c:pt idx="49">
                  <c:v>0.0047278834175276795</c:v>
                </c:pt>
                <c:pt idx="50">
                  <c:v>0.0038393882752383937</c:v>
                </c:pt>
                <c:pt idx="51">
                  <c:v>0.0037738193284364337</c:v>
                </c:pt>
                <c:pt idx="52">
                  <c:v>0.005588769634389872</c:v>
                </c:pt>
                <c:pt idx="53">
                  <c:v>0.005588769634389872</c:v>
                </c:pt>
                <c:pt idx="54">
                  <c:v>0.00301389711227435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93560257589696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007625651167702</c:v>
                </c:pt>
                <c:pt idx="8">
                  <c:v>0.7178372718541958</c:v>
                </c:pt>
                <c:pt idx="9">
                  <c:v>0.7297089428498341</c:v>
                </c:pt>
                <c:pt idx="10">
                  <c:v>1.2217236329554977</c:v>
                </c:pt>
                <c:pt idx="11">
                  <c:v>0.865137852401449</c:v>
                </c:pt>
                <c:pt idx="12">
                  <c:v>1.0795475034248785</c:v>
                </c:pt>
                <c:pt idx="13">
                  <c:v>0.6854021373971534</c:v>
                </c:pt>
                <c:pt idx="14">
                  <c:v>0.66964195481955</c:v>
                </c:pt>
                <c:pt idx="15">
                  <c:v>0.7925251704877914</c:v>
                </c:pt>
                <c:pt idx="16">
                  <c:v>0.7373175329538945</c:v>
                </c:pt>
                <c:pt idx="17">
                  <c:v>0.8662166621552041</c:v>
                </c:pt>
                <c:pt idx="18">
                  <c:v>0.9342301943198804</c:v>
                </c:pt>
                <c:pt idx="19">
                  <c:v>0.5231963662147409</c:v>
                </c:pt>
                <c:pt idx="20">
                  <c:v>0.694059985634908</c:v>
                </c:pt>
                <c:pt idx="21">
                  <c:v>0.21432597951762045</c:v>
                </c:pt>
                <c:pt idx="22">
                  <c:v>0.680648283868733</c:v>
                </c:pt>
                <c:pt idx="23">
                  <c:v>0.9110027349747195</c:v>
                </c:pt>
                <c:pt idx="24">
                  <c:v>1.292212858926342</c:v>
                </c:pt>
                <c:pt idx="25">
                  <c:v>1.2008577117475876</c:v>
                </c:pt>
                <c:pt idx="26">
                  <c:v>1.245339117217343</c:v>
                </c:pt>
                <c:pt idx="27">
                  <c:v>1.3662739659947691</c:v>
                </c:pt>
                <c:pt idx="28">
                  <c:v>1.3525426988938576</c:v>
                </c:pt>
                <c:pt idx="29">
                  <c:v>1.3154158293642912</c:v>
                </c:pt>
                <c:pt idx="30">
                  <c:v>1.6609163376564093</c:v>
                </c:pt>
                <c:pt idx="31">
                  <c:v>1.3257072552264793</c:v>
                </c:pt>
                <c:pt idx="32">
                  <c:v>1.4592405839170417</c:v>
                </c:pt>
                <c:pt idx="33">
                  <c:v>1.1719097450280644</c:v>
                </c:pt>
                <c:pt idx="34">
                  <c:v>1.389325591031662</c:v>
                </c:pt>
                <c:pt idx="35">
                  <c:v>1.3539641755238598</c:v>
                </c:pt>
                <c:pt idx="36">
                  <c:v>1.0630542663643547</c:v>
                </c:pt>
                <c:pt idx="37">
                  <c:v>1.169760003647038</c:v>
                </c:pt>
                <c:pt idx="38">
                  <c:v>1.109402835625815</c:v>
                </c:pt>
                <c:pt idx="39">
                  <c:v>1.302209800352918</c:v>
                </c:pt>
                <c:pt idx="40">
                  <c:v>1.300169632541524</c:v>
                </c:pt>
                <c:pt idx="41">
                  <c:v>1.2356937822031062</c:v>
                </c:pt>
                <c:pt idx="42">
                  <c:v>1.8237350759205886</c:v>
                </c:pt>
                <c:pt idx="43">
                  <c:v>1.8462673336838906</c:v>
                </c:pt>
                <c:pt idx="44">
                  <c:v>1.4619727398891016</c:v>
                </c:pt>
                <c:pt idx="45">
                  <c:v>1.5021648238087708</c:v>
                </c:pt>
                <c:pt idx="46">
                  <c:v>1.5006714276197346</c:v>
                </c:pt>
                <c:pt idx="47">
                  <c:v>1.5193021133735836</c:v>
                </c:pt>
                <c:pt idx="48">
                  <c:v>1.5395623586019898</c:v>
                </c:pt>
                <c:pt idx="49">
                  <c:v>1.4210500100491361</c:v>
                </c:pt>
                <c:pt idx="50">
                  <c:v>1.2442643787293428</c:v>
                </c:pt>
                <c:pt idx="51">
                  <c:v>1.4341873693253888</c:v>
                </c:pt>
                <c:pt idx="52">
                  <c:v>1.2702017841850968</c:v>
                </c:pt>
              </c:numCache>
            </c:numRef>
          </c:xVal>
          <c:yVal>
            <c:numRef>
              <c:f>Sheet1!$B$2:$B$54</c:f>
              <c:numCache>
                <c:formatCode>General</c:formatCode>
                <c:ptCount val="53"/>
                <c:pt idx="0">
                  <c:v>0.0</c:v>
                </c:pt>
                <c:pt idx="1">
                  <c:v>0.0</c:v>
                </c:pt>
                <c:pt idx="2">
                  <c:v>0.0</c:v>
                </c:pt>
                <c:pt idx="3">
                  <c:v>0.0</c:v>
                </c:pt>
                <c:pt idx="4">
                  <c:v>0.0</c:v>
                </c:pt>
                <c:pt idx="5">
                  <c:v>0.0</c:v>
                </c:pt>
                <c:pt idx="6">
                  <c:v>0.0</c:v>
                </c:pt>
                <c:pt idx="7">
                  <c:v>0.00011775788977861517</c:v>
                </c:pt>
                <c:pt idx="8">
                  <c:v>0.0005372011818426001</c:v>
                </c:pt>
                <c:pt idx="9">
                  <c:v>0.0004869734599464329</c:v>
                </c:pt>
                <c:pt idx="10">
                  <c:v>0.00040290088638195</c:v>
                </c:pt>
                <c:pt idx="11">
                  <c:v>0.0006269592476489029</c:v>
                </c:pt>
                <c:pt idx="12">
                  <c:v>0.0004375410194705754</c:v>
                </c:pt>
                <c:pt idx="13">
                  <c:v>0.000485319097306479</c:v>
                </c:pt>
                <c:pt idx="14">
                  <c:v>0.0004888780249327792</c:v>
                </c:pt>
                <c:pt idx="15">
                  <c:v>0.0004869734599464329</c:v>
                </c:pt>
                <c:pt idx="16">
                  <c:v>0.0006404098623118795</c:v>
                </c:pt>
                <c:pt idx="17">
                  <c:v>0.0004088307440719542</c:v>
                </c:pt>
                <c:pt idx="18">
                  <c:v>0.00034904013961605586</c:v>
                </c:pt>
                <c:pt idx="19">
                  <c:v>0.0007736943907156673</c:v>
                </c:pt>
                <c:pt idx="20">
                  <c:v>0.0007312614259597807</c:v>
                </c:pt>
                <c:pt idx="21">
                  <c:v>0.001486988847583643</c:v>
                </c:pt>
                <c:pt idx="22">
                  <c:v>0.0006453694740238787</c:v>
                </c:pt>
                <c:pt idx="23">
                  <c:v>0.0014925373134328358</c:v>
                </c:pt>
                <c:pt idx="24">
                  <c:v>0.001670843776106934</c:v>
                </c:pt>
                <c:pt idx="25">
                  <c:v>0.002167316861725184</c:v>
                </c:pt>
                <c:pt idx="26">
                  <c:v>0.0022935779816513763</c:v>
                </c:pt>
                <c:pt idx="27">
                  <c:v>0.001886080724254998</c:v>
                </c:pt>
                <c:pt idx="28">
                  <c:v>0.0018162005085361425</c:v>
                </c:pt>
                <c:pt idx="29">
                  <c:v>0.002520478890989288</c:v>
                </c:pt>
                <c:pt idx="30">
                  <c:v>0.0026690391459074734</c:v>
                </c:pt>
                <c:pt idx="31">
                  <c:v>0.00249003984063745</c:v>
                </c:pt>
                <c:pt idx="32">
                  <c:v>0.0019665683382497543</c:v>
                </c:pt>
                <c:pt idx="33">
                  <c:v>0.0021285653469561515</c:v>
                </c:pt>
                <c:pt idx="34">
                  <c:v>0.002352941176470588</c:v>
                </c:pt>
                <c:pt idx="35">
                  <c:v>0.002117148906139732</c:v>
                </c:pt>
                <c:pt idx="36">
                  <c:v>0.0033349213911386373</c:v>
                </c:pt>
                <c:pt idx="37">
                  <c:v>0.0032879286049788633</c:v>
                </c:pt>
                <c:pt idx="38">
                  <c:v>0.004107713372889092</c:v>
                </c:pt>
                <c:pt idx="39">
                  <c:v>0.003215434083601286</c:v>
                </c:pt>
                <c:pt idx="40">
                  <c:v>0.0025993316004456</c:v>
                </c:pt>
                <c:pt idx="41">
                  <c:v>0.0029712776493892373</c:v>
                </c:pt>
                <c:pt idx="42">
                  <c:v>0.001840942562592047</c:v>
                </c:pt>
                <c:pt idx="43">
                  <c:v>0.002997275204359673</c:v>
                </c:pt>
                <c:pt idx="44">
                  <c:v>0.002978652986927023</c:v>
                </c:pt>
                <c:pt idx="45">
                  <c:v>0.003439490445859873</c:v>
                </c:pt>
                <c:pt idx="46">
                  <c:v>0.0033949894638258017</c:v>
                </c:pt>
                <c:pt idx="47">
                  <c:v>0.0035994071564683463</c:v>
                </c:pt>
                <c:pt idx="48">
                  <c:v>0.003592097385751347</c:v>
                </c:pt>
                <c:pt idx="49">
                  <c:v>0.004570074475287745</c:v>
                </c:pt>
                <c:pt idx="50">
                  <c:v>0.004768392370572207</c:v>
                </c:pt>
                <c:pt idx="51">
                  <c:v>0.003713637301423561</c:v>
                </c:pt>
                <c:pt idx="52">
                  <c:v>0.0026785714285714286</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1.5854691205807725</c:v>
                </c:pt>
                <c:pt idx="1">
                  <c:v>1.3215079323808208</c:v>
                </c:pt>
                <c:pt idx="2">
                  <c:v>1.4424230517333654</c:v>
                </c:pt>
                <c:pt idx="3">
                  <c:v>1.3505836690037807</c:v>
                </c:pt>
                <c:pt idx="4">
                  <c:v>1.4727628486046245</c:v>
                </c:pt>
                <c:pt idx="5">
                  <c:v>1.3059102512342828</c:v>
                </c:pt>
                <c:pt idx="6">
                  <c:v>1.4746131904446438</c:v>
                </c:pt>
                <c:pt idx="7">
                  <c:v>1.5405105421051624</c:v>
                </c:pt>
                <c:pt idx="8">
                  <c:v>1.295144818088007</c:v>
                </c:pt>
                <c:pt idx="9">
                  <c:v>1.2287414117667639</c:v>
                </c:pt>
                <c:pt idx="10">
                  <c:v>1.375222205357476</c:v>
                </c:pt>
                <c:pt idx="11">
                  <c:v>1.4481522919848595</c:v>
                </c:pt>
                <c:pt idx="12">
                  <c:v>1.448402938984399</c:v>
                </c:pt>
                <c:pt idx="13">
                  <c:v>1.4528883782279933</c:v>
                </c:pt>
                <c:pt idx="14">
                  <c:v>1.4614736795825085</c:v>
                </c:pt>
                <c:pt idx="15">
                  <c:v>1.4163116148693033</c:v>
                </c:pt>
                <c:pt idx="16">
                  <c:v>1.1864938872688653</c:v>
                </c:pt>
                <c:pt idx="17">
                  <c:v>1.1972124652265832</c:v>
                </c:pt>
                <c:pt idx="18">
                  <c:v>1.3840237892951048</c:v>
                </c:pt>
                <c:pt idx="19">
                  <c:v>1.0440993197270048</c:v>
                </c:pt>
                <c:pt idx="20">
                  <c:v>1.3103104109107948</c:v>
                </c:pt>
                <c:pt idx="21">
                  <c:v>1.1178876627465586</c:v>
                </c:pt>
                <c:pt idx="22">
                  <c:v>0.9310097199908535</c:v>
                </c:pt>
                <c:pt idx="23">
                  <c:v>0.9621955022819343</c:v>
                </c:pt>
                <c:pt idx="24">
                  <c:v>1.101201198789672</c:v>
                </c:pt>
                <c:pt idx="25">
                  <c:v>0.8439695997780537</c:v>
                </c:pt>
                <c:pt idx="26">
                  <c:v>0.9303616285292804</c:v>
                </c:pt>
                <c:pt idx="27">
                  <c:v>1.1791976651353075</c:v>
                </c:pt>
                <c:pt idx="28">
                  <c:v>1.4209963048003034</c:v>
                </c:pt>
                <c:pt idx="29">
                  <c:v>1.239829041393197</c:v>
                </c:pt>
                <c:pt idx="30">
                  <c:v>1.5522598327453287</c:v>
                </c:pt>
                <c:pt idx="31">
                  <c:v>1.1858890500808752</c:v>
                </c:pt>
                <c:pt idx="32">
                  <c:v>1.0995076954979035</c:v>
                </c:pt>
                <c:pt idx="33">
                  <c:v>1.145804156335227</c:v>
                </c:pt>
                <c:pt idx="34">
                  <c:v>1.0996861612347861</c:v>
                </c:pt>
                <c:pt idx="35">
                  <c:v>1.0143610626367219</c:v>
                </c:pt>
                <c:pt idx="36">
                  <c:v>1.1134396246743143</c:v>
                </c:pt>
                <c:pt idx="37">
                  <c:v>1.1495514325404785</c:v>
                </c:pt>
                <c:pt idx="38">
                  <c:v>0.9413801325461315</c:v>
                </c:pt>
                <c:pt idx="39">
                  <c:v>1.1845660639092352</c:v>
                </c:pt>
                <c:pt idx="40">
                  <c:v>1.2314416372378465</c:v>
                </c:pt>
                <c:pt idx="41">
                  <c:v>1.2396443717357035</c:v>
                </c:pt>
                <c:pt idx="42">
                  <c:v>1.1003344656748013</c:v>
                </c:pt>
                <c:pt idx="43">
                  <c:v>1.2795849726678514</c:v>
                </c:pt>
                <c:pt idx="44">
                  <c:v>1.34515768193387</c:v>
                </c:pt>
                <c:pt idx="45">
                  <c:v>1.4857197289344766</c:v>
                </c:pt>
                <c:pt idx="46">
                  <c:v>1.3705244237423546</c:v>
                </c:pt>
                <c:pt idx="47">
                  <c:v>1.382721993963624</c:v>
                </c:pt>
                <c:pt idx="48">
                  <c:v>1.381501829086735</c:v>
                </c:pt>
                <c:pt idx="49">
                  <c:v>1.571822661985929</c:v>
                </c:pt>
                <c:pt idx="50">
                  <c:v>1.8051504300826478</c:v>
                </c:pt>
                <c:pt idx="51">
                  <c:v>1.569092583649345</c:v>
                </c:pt>
              </c:numCache>
            </c:numRef>
          </c:xVal>
          <c:yVal>
            <c:numRef>
              <c:f>Sheet1!$B$57:$B$108</c:f>
              <c:numCache>
                <c:formatCode>General</c:formatCode>
                <c:ptCount val="52"/>
                <c:pt idx="0">
                  <c:v>0.0027589666415851516</c:v>
                </c:pt>
                <c:pt idx="1">
                  <c:v>0.0038816108685104317</c:v>
                </c:pt>
                <c:pt idx="2">
                  <c:v>0.0032996494122499486</c:v>
                </c:pt>
                <c:pt idx="3">
                  <c:v>0.0034460478139134183</c:v>
                </c:pt>
                <c:pt idx="4">
                  <c:v>0.0031519226728304265</c:v>
                </c:pt>
                <c:pt idx="5">
                  <c:v>0.0032976092333058533</c:v>
                </c:pt>
                <c:pt idx="6">
                  <c:v>0.003302406038685328</c:v>
                </c:pt>
                <c:pt idx="7">
                  <c:v>0.0034086067319982955</c:v>
                </c:pt>
                <c:pt idx="8">
                  <c:v>0.005284015852047556</c:v>
                </c:pt>
                <c:pt idx="9">
                  <c:v>0.005431502715751358</c:v>
                </c:pt>
                <c:pt idx="10">
                  <c:v>0.004959159859976663</c:v>
                </c:pt>
                <c:pt idx="11">
                  <c:v>0.006175468483816013</c:v>
                </c:pt>
                <c:pt idx="12">
                  <c:v>0.0057987822557262975</c:v>
                </c:pt>
                <c:pt idx="13">
                  <c:v>0.00827966881324747</c:v>
                </c:pt>
                <c:pt idx="14">
                  <c:v>0.006148867313915857</c:v>
                </c:pt>
                <c:pt idx="15">
                  <c:v>0.0056657223796034</c:v>
                </c:pt>
                <c:pt idx="16">
                  <c:v>0.006509357200976403</c:v>
                </c:pt>
                <c:pt idx="17">
                  <c:v>0.0059031877213695395</c:v>
                </c:pt>
                <c:pt idx="18">
                  <c:v>0.003343083994985374</c:v>
                </c:pt>
                <c:pt idx="19">
                  <c:v>0.004215456674473068</c:v>
                </c:pt>
                <c:pt idx="20">
                  <c:v>0.004424778761061947</c:v>
                </c:pt>
                <c:pt idx="21">
                  <c:v>0.005798969072164949</c:v>
                </c:pt>
                <c:pt idx="22">
                  <c:v>0.005836575875486381</c:v>
                </c:pt>
                <c:pt idx="23">
                  <c:v>0.005118362124120281</c:v>
                </c:pt>
                <c:pt idx="24">
                  <c:v>0.005738132498695879</c:v>
                </c:pt>
                <c:pt idx="25">
                  <c:v>0.0068454078722190535</c:v>
                </c:pt>
                <c:pt idx="26">
                  <c:v>0.005684754521963824</c:v>
                </c:pt>
                <c:pt idx="27">
                  <c:v>0.004846526655896607</c:v>
                </c:pt>
                <c:pt idx="28">
                  <c:v>0.004149377593360996</c:v>
                </c:pt>
                <c:pt idx="29">
                  <c:v>0.005312084993359893</c:v>
                </c:pt>
                <c:pt idx="30">
                  <c:v>0.004</c:v>
                </c:pt>
                <c:pt idx="31">
                  <c:v>0.004680851063829788</c:v>
                </c:pt>
                <c:pt idx="32">
                  <c:v>0.004270462633451958</c:v>
                </c:pt>
                <c:pt idx="33">
                  <c:v>0.002997601918465228</c:v>
                </c:pt>
                <c:pt idx="34">
                  <c:v>0.0037132247929163096</c:v>
                </c:pt>
                <c:pt idx="35">
                  <c:v>0.005455308434746118</c:v>
                </c:pt>
                <c:pt idx="36">
                  <c:v>0.005485463521667581</c:v>
                </c:pt>
                <c:pt idx="37">
                  <c:v>0.004943153732081068</c:v>
                </c:pt>
                <c:pt idx="38">
                  <c:v>0.00583941605839416</c:v>
                </c:pt>
                <c:pt idx="39">
                  <c:v>0.005070202808112325</c:v>
                </c:pt>
                <c:pt idx="40">
                  <c:v>0.003810330228619814</c:v>
                </c:pt>
                <c:pt idx="41">
                  <c:v>0.003816793893129771</c:v>
                </c:pt>
                <c:pt idx="42">
                  <c:v>0.0036101083032490976</c:v>
                </c:pt>
                <c:pt idx="43">
                  <c:v>0.0030854674483184203</c:v>
                </c:pt>
                <c:pt idx="44">
                  <c:v>0.002813243886604631</c:v>
                </c:pt>
                <c:pt idx="45">
                  <c:v>0.0024906600249066002</c:v>
                </c:pt>
                <c:pt idx="46">
                  <c:v>0.002303705125743905</c:v>
                </c:pt>
                <c:pt idx="47">
                  <c:v>0.0024459078080903106</c:v>
                </c:pt>
                <c:pt idx="48">
                  <c:v>0.0027271422419979903</c:v>
                </c:pt>
                <c:pt idx="49">
                  <c:v>0.0021825126176510706</c:v>
                </c:pt>
                <c:pt idx="50">
                  <c:v>0.002068014705882353</c:v>
                </c:pt>
                <c:pt idx="51">
                  <c:v>0.00275657336726039</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932431200658425</c:v>
                </c:pt>
              </c:numCache>
            </c:numRef>
          </c:xVal>
          <c:yVal>
            <c:numRef>
              <c:f>Sheet1!$B$111:$B$112</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932431200658425</c:v>
                </c:pt>
                <c:pt idx="1">
                  <c:v>0.932431200658425</c:v>
                </c:pt>
              </c:numCache>
            </c:numRef>
          </c:xVal>
          <c:yVal>
            <c:numRef>
              <c:f>Sheet1!$B$115:$B$116</c:f>
              <c:numCache>
                <c:formatCode>General</c:formatCode>
                <c:ptCount val="2"/>
                <c:pt idx="0">
                  <c:v>0.0055887696343898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932431200658425</c:v>
                </c:pt>
              </c:numCache>
            </c:numRef>
          </c:xVal>
          <c:yVal>
            <c:numRef>
              <c:f>Sheet1!$B$119:$B$120</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932431200658425</c:v>
                </c:pt>
                <c:pt idx="1">
                  <c:v>0.932431200658425</c:v>
                </c:pt>
              </c:numCache>
            </c:numRef>
          </c:xVal>
          <c:yVal>
            <c:numRef>
              <c:f>Sheet1!$B$123:$B$124</c:f>
              <c:numCache>
                <c:formatCode>General</c:formatCode>
                <c:ptCount val="2"/>
                <c:pt idx="0">
                  <c:v>0.0055887696343898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1.6891815796460028</c:v>
                </c:pt>
              </c:numCache>
            </c:numRef>
          </c:xVal>
          <c:yVal>
            <c:numRef>
              <c:f>Sheet1!$B$127:$B$128</c:f>
              <c:numCache>
                <c:formatCode>General</c:formatCode>
                <c:ptCount val="2"/>
                <c:pt idx="0">
                  <c:v>0.0030138971122743597</c:v>
                </c:pt>
                <c:pt idx="1">
                  <c:v>0.0030138971122743597</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1.6891815796460028</c:v>
                </c:pt>
                <c:pt idx="1">
                  <c:v>1.6891815796460028</c:v>
                </c:pt>
              </c:numCache>
            </c:numRef>
          </c:xVal>
          <c:yVal>
            <c:numRef>
              <c:f>Sheet1!$B$131:$B$132</c:f>
              <c:numCache>
                <c:formatCode>General</c:formatCode>
                <c:ptCount val="2"/>
                <c:pt idx="0">
                  <c:v>0.00301389711227435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1.5854691205807725</c:v>
                </c:pt>
                <c:pt idx="1">
                  <c:v>1.3215079323808208</c:v>
                </c:pt>
                <c:pt idx="2">
                  <c:v>1.4424230517333654</c:v>
                </c:pt>
                <c:pt idx="3">
                  <c:v>1.3505836690037807</c:v>
                </c:pt>
                <c:pt idx="4">
                  <c:v>1.4727628486046245</c:v>
                </c:pt>
                <c:pt idx="5">
                  <c:v>1.3059102512342828</c:v>
                </c:pt>
                <c:pt idx="6">
                  <c:v>1.4746131904446438</c:v>
                </c:pt>
                <c:pt idx="7">
                  <c:v>1.5405105421051624</c:v>
                </c:pt>
                <c:pt idx="8">
                  <c:v>1.295144818088007</c:v>
                </c:pt>
                <c:pt idx="9">
                  <c:v>1.2287414117667639</c:v>
                </c:pt>
                <c:pt idx="10">
                  <c:v>1.375222205357476</c:v>
                </c:pt>
                <c:pt idx="11">
                  <c:v>1.4481522919848595</c:v>
                </c:pt>
                <c:pt idx="12">
                  <c:v>1.448402938984399</c:v>
                </c:pt>
                <c:pt idx="13">
                  <c:v>1.4528883782279933</c:v>
                </c:pt>
                <c:pt idx="14">
                  <c:v>1.4614736795825085</c:v>
                </c:pt>
                <c:pt idx="15">
                  <c:v>1.4163116148693033</c:v>
                </c:pt>
                <c:pt idx="16">
                  <c:v>1.1864938872688653</c:v>
                </c:pt>
                <c:pt idx="17">
                  <c:v>1.1972124652265832</c:v>
                </c:pt>
                <c:pt idx="18">
                  <c:v>1.3840237892951048</c:v>
                </c:pt>
                <c:pt idx="19">
                  <c:v>1.0440993197270048</c:v>
                </c:pt>
                <c:pt idx="20">
                  <c:v>1.3103104109107948</c:v>
                </c:pt>
                <c:pt idx="21">
                  <c:v>1.1178876627465586</c:v>
                </c:pt>
                <c:pt idx="22">
                  <c:v>0.9310097199908535</c:v>
                </c:pt>
                <c:pt idx="23">
                  <c:v>0.9621955022819343</c:v>
                </c:pt>
                <c:pt idx="24">
                  <c:v>1.101201198789672</c:v>
                </c:pt>
                <c:pt idx="25">
                  <c:v>0.8439695997780537</c:v>
                </c:pt>
                <c:pt idx="26">
                  <c:v>0.9303616285292804</c:v>
                </c:pt>
                <c:pt idx="27">
                  <c:v>1.1791976651353075</c:v>
                </c:pt>
                <c:pt idx="28">
                  <c:v>1.4209963048003034</c:v>
                </c:pt>
                <c:pt idx="29">
                  <c:v>1.239829041393197</c:v>
                </c:pt>
                <c:pt idx="30">
                  <c:v>1.5522598327453287</c:v>
                </c:pt>
                <c:pt idx="31">
                  <c:v>1.1858890500808752</c:v>
                </c:pt>
                <c:pt idx="32">
                  <c:v>1.0995076954979035</c:v>
                </c:pt>
                <c:pt idx="33">
                  <c:v>1.145804156335227</c:v>
                </c:pt>
                <c:pt idx="34">
                  <c:v>1.0996861612347861</c:v>
                </c:pt>
                <c:pt idx="35">
                  <c:v>1.0143610626367219</c:v>
                </c:pt>
                <c:pt idx="36">
                  <c:v>1.1134396246743143</c:v>
                </c:pt>
                <c:pt idx="37">
                  <c:v>1.1495514325404785</c:v>
                </c:pt>
                <c:pt idx="38">
                  <c:v>0.9413801325461315</c:v>
                </c:pt>
                <c:pt idx="39">
                  <c:v>1.1845660639092352</c:v>
                </c:pt>
                <c:pt idx="40">
                  <c:v>1.2314416372378465</c:v>
                </c:pt>
                <c:pt idx="41">
                  <c:v>1.2396443717357035</c:v>
                </c:pt>
                <c:pt idx="42">
                  <c:v>1.1003344656748013</c:v>
                </c:pt>
                <c:pt idx="43">
                  <c:v>1.2795849726678514</c:v>
                </c:pt>
                <c:pt idx="44">
                  <c:v>1.34515768193387</c:v>
                </c:pt>
                <c:pt idx="45">
                  <c:v>1.4857197289344766</c:v>
                </c:pt>
                <c:pt idx="46">
                  <c:v>1.3705244237423546</c:v>
                </c:pt>
                <c:pt idx="47">
                  <c:v>1.382721993963624</c:v>
                </c:pt>
                <c:pt idx="48">
                  <c:v>1.381501829086735</c:v>
                </c:pt>
                <c:pt idx="49">
                  <c:v>1.571822661985929</c:v>
                </c:pt>
                <c:pt idx="50">
                  <c:v>1.8051504300826478</c:v>
                </c:pt>
                <c:pt idx="51">
                  <c:v>1.569092583649345</c:v>
                </c:pt>
                <c:pt idx="52">
                  <c:v>0.932431200658425</c:v>
                </c:pt>
                <c:pt idx="53">
                  <c:v>0.932431200658425</c:v>
                </c:pt>
                <c:pt idx="54">
                  <c:v>1.6891815796460028</c:v>
                </c:pt>
              </c:numCache>
            </c:numRef>
          </c:xVal>
          <c:yVal>
            <c:numRef>
              <c:f>Sheet1!$B$135:$B$189</c:f>
              <c:numCache>
                <c:formatCode>General</c:formatCode>
                <c:ptCount val="55"/>
                <c:pt idx="0">
                  <c:v>0.0033667827776972968</c:v>
                </c:pt>
                <c:pt idx="1">
                  <c:v>0.004264920960740313</c:v>
                </c:pt>
                <c:pt idx="2">
                  <c:v>0.0038535025763244187</c:v>
                </c:pt>
                <c:pt idx="3">
                  <c:v>0.004165989638907495</c:v>
                </c:pt>
                <c:pt idx="4">
                  <c:v>0.0037502702404584153</c:v>
                </c:pt>
                <c:pt idx="5">
                  <c:v>0.004317992675942716</c:v>
                </c:pt>
                <c:pt idx="6">
                  <c:v>0.0037439743805650115</c:v>
                </c:pt>
                <c:pt idx="7">
                  <c:v>0.0035197560850976787</c:v>
                </c:pt>
                <c:pt idx="8">
                  <c:v>0.004354622479860492</c:v>
                </c:pt>
                <c:pt idx="9">
                  <c:v>0.004580562645942982</c:v>
                </c:pt>
                <c:pt idx="10">
                  <c:v>0.004082156063128981</c:v>
                </c:pt>
                <c:pt idx="11">
                  <c:v>0.0038340086141067766</c:v>
                </c:pt>
                <c:pt idx="12">
                  <c:v>0.003833155777967165</c:v>
                </c:pt>
                <c:pt idx="13">
                  <c:v>0.003817893896931307</c:v>
                </c:pt>
                <c:pt idx="14">
                  <c:v>0.0037886820760117098</c:v>
                </c:pt>
                <c:pt idx="15">
                  <c:v>0.003942347753229617</c:v>
                </c:pt>
                <c:pt idx="16">
                  <c:v>0.004724311487010727</c:v>
                </c:pt>
                <c:pt idx="17">
                  <c:v>0.004687841109689735</c:v>
                </c:pt>
                <c:pt idx="18">
                  <c:v>0.004052208332329806</c:v>
                </c:pt>
                <c:pt idx="19">
                  <c:v>0.005208814527171182</c:v>
                </c:pt>
                <c:pt idx="20">
                  <c:v>0.004303020961942217</c:v>
                </c:pt>
                <c:pt idx="21">
                  <c:v>0.004957746827479152</c:v>
                </c:pt>
                <c:pt idx="22">
                  <c:v>0.005593606277506649</c:v>
                </c:pt>
                <c:pt idx="23">
                  <c:v>0.005487495443430279</c:v>
                </c:pt>
                <c:pt idx="24">
                  <c:v>0.005014523168432347</c:v>
                </c:pt>
                <c:pt idx="25">
                  <c:v>0.005889763663192276</c:v>
                </c:pt>
                <c:pt idx="26">
                  <c:v>0.005595811433846912</c:v>
                </c:pt>
                <c:pt idx="27">
                  <c:v>0.004749137165872074</c:v>
                </c:pt>
                <c:pt idx="28">
                  <c:v>0.003926407914000067</c:v>
                </c:pt>
                <c:pt idx="29">
                  <c:v>0.004542836556002081</c:v>
                </c:pt>
                <c:pt idx="30">
                  <c:v>0.003479778667888867</c:v>
                </c:pt>
                <c:pt idx="31">
                  <c:v>0.004726369469007106</c:v>
                </c:pt>
                <c:pt idx="32">
                  <c:v>0.005020285379080884</c:v>
                </c:pt>
                <c:pt idx="33">
                  <c:v>0.004862759875042547</c:v>
                </c:pt>
                <c:pt idx="34">
                  <c:v>0.005019678142487685</c:v>
                </c:pt>
                <c:pt idx="35">
                  <c:v>0.005310000100596093</c:v>
                </c:pt>
                <c:pt idx="36">
                  <c:v>0.0049728814495785395</c:v>
                </c:pt>
                <c:pt idx="37">
                  <c:v>0.004850009622381176</c:v>
                </c:pt>
                <c:pt idx="38">
                  <c:v>0.005558320546474295</c:v>
                </c:pt>
                <c:pt idx="39">
                  <c:v>0.004730870980780449</c:v>
                </c:pt>
                <c:pt idx="40">
                  <c:v>0.004571375024024234</c:v>
                </c:pt>
                <c:pt idx="41">
                  <c:v>0.004543464901675834</c:v>
                </c:pt>
                <c:pt idx="42">
                  <c:v>0.005017472261480009</c:v>
                </c:pt>
                <c:pt idx="43">
                  <c:v>0.0044075654575360685</c:v>
                </c:pt>
                <c:pt idx="44">
                  <c:v>0.004184451770410301</c:v>
                </c:pt>
                <c:pt idx="45">
                  <c:v>0.0037061839524828357</c:v>
                </c:pt>
                <c:pt idx="46">
                  <c:v>0.004098140447321637</c:v>
                </c:pt>
                <c:pt idx="47">
                  <c:v>0.0040566377414474235</c:v>
                </c:pt>
                <c:pt idx="48">
                  <c:v>0.004060789399776495</c:v>
                </c:pt>
                <c:pt idx="49">
                  <c:v>0.003413215382471224</c:v>
                </c:pt>
                <c:pt idx="50">
                  <c:v>0.0026193085997319133</c:v>
                </c:pt>
                <c:pt idx="51">
                  <c:v>0.003422504579922961</c:v>
                </c:pt>
                <c:pt idx="52">
                  <c:v>0.005588769634389872</c:v>
                </c:pt>
                <c:pt idx="53">
                  <c:v>0.005588769634389872</c:v>
                </c:pt>
                <c:pt idx="54">
                  <c:v>0.00301389711227435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93560257589696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256</c:v>
                </c:pt>
                <c:pt idx="1">
                  <c:v>841.6749</c:v>
                </c:pt>
                <c:pt idx="2">
                  <c:v>833.9808</c:v>
                </c:pt>
                <c:pt idx="3">
                  <c:v>836.8168</c:v>
                </c:pt>
                <c:pt idx="4">
                  <c:v>830.8966</c:v>
                </c:pt>
                <c:pt idx="5">
                  <c:v>825.4132</c:v>
                </c:pt>
                <c:pt idx="6">
                  <c:v>814.746</c:v>
                </c:pt>
                <c:pt idx="7">
                  <c:v>823.2703</c:v>
                </c:pt>
                <c:pt idx="8">
                  <c:v>814.9933</c:v>
                </c:pt>
                <c:pt idx="9">
                  <c:v>822.8729</c:v>
                </c:pt>
                <c:pt idx="10">
                  <c:v>821.3776</c:v>
                </c:pt>
                <c:pt idx="11">
                  <c:v>858.7364</c:v>
                </c:pt>
                <c:pt idx="12">
                  <c:v>871.6293</c:v>
                </c:pt>
                <c:pt idx="13">
                  <c:v>882.0938</c:v>
                </c:pt>
                <c:pt idx="14">
                  <c:v>876.9236</c:v>
                </c:pt>
                <c:pt idx="15">
                  <c:v>894.4405</c:v>
                </c:pt>
                <c:pt idx="16">
                  <c:v>912.0462</c:v>
                </c:pt>
                <c:pt idx="17">
                  <c:v>916.1594</c:v>
                </c:pt>
                <c:pt idx="18">
                  <c:v>965.986</c:v>
                </c:pt>
                <c:pt idx="19">
                  <c:v>956.6082</c:v>
                </c:pt>
                <c:pt idx="20">
                  <c:v>1001.1248</c:v>
                </c:pt>
                <c:pt idx="21">
                  <c:v>997.5892</c:v>
                </c:pt>
                <c:pt idx="22">
                  <c:v>989.9831</c:v>
                </c:pt>
                <c:pt idx="23">
                  <c:v>973.4184</c:v>
                </c:pt>
                <c:pt idx="24">
                  <c:v>968.2015</c:v>
                </c:pt>
                <c:pt idx="25">
                  <c:v>985.6807</c:v>
                </c:pt>
                <c:pt idx="26">
                  <c:v>966.2075</c:v>
                </c:pt>
                <c:pt idx="27">
                  <c:v>977.5873</c:v>
                </c:pt>
                <c:pt idx="28">
                  <c:v>990.3361</c:v>
                </c:pt>
                <c:pt idx="29">
                  <c:v>960.4229</c:v>
                </c:pt>
                <c:pt idx="30">
                  <c:v>965.9014</c:v>
                </c:pt>
                <c:pt idx="31">
                  <c:v>932.465</c:v>
                </c:pt>
                <c:pt idx="32">
                  <c:v>931.1511</c:v>
                </c:pt>
                <c:pt idx="33">
                  <c:v>912.5761</c:v>
                </c:pt>
                <c:pt idx="34">
                  <c:v>906.9827</c:v>
                </c:pt>
                <c:pt idx="35">
                  <c:v>937.43</c:v>
                </c:pt>
                <c:pt idx="36">
                  <c:v>984.5195</c:v>
                </c:pt>
                <c:pt idx="37">
                  <c:v>997.4814</c:v>
                </c:pt>
                <c:pt idx="38">
                  <c:v>1042.4621</c:v>
                </c:pt>
                <c:pt idx="39">
                  <c:v>1064.1383</c:v>
                </c:pt>
                <c:pt idx="40">
                  <c:v>1069.2923</c:v>
                </c:pt>
                <c:pt idx="41">
                  <c:v>1095.4332</c:v>
                </c:pt>
                <c:pt idx="42">
                  <c:v>1091.684</c:v>
                </c:pt>
                <c:pt idx="43">
                  <c:v>1122.0064</c:v>
                </c:pt>
                <c:pt idx="44">
                  <c:v>1063.1394</c:v>
                </c:pt>
                <c:pt idx="45">
                  <c:v>1030.921</c:v>
                </c:pt>
                <c:pt idx="46">
                  <c:v>1025.319</c:v>
                </c:pt>
                <c:pt idx="47">
                  <c:v>1003.4705</c:v>
                </c:pt>
                <c:pt idx="48">
                  <c:v>1016.9888</c:v>
                </c:pt>
                <c:pt idx="49">
                  <c:v>993.5653</c:v>
                </c:pt>
                <c:pt idx="50">
                  <c:v>983.6967</c:v>
                </c:pt>
                <c:pt idx="51">
                  <c:v>997.2264</c:v>
                </c:pt>
                <c:pt idx="52">
                  <c:v>981.441</c:v>
                </c:pt>
                <c:pt idx="53">
                  <c:v>998.4389</c:v>
                </c:pt>
                <c:pt idx="54">
                  <c:v>1006.9528</c:v>
                </c:pt>
                <c:pt idx="55">
                  <c:v>1025.2426</c:v>
                </c:pt>
                <c:pt idx="56">
                  <c:v>1028.2303</c:v>
                </c:pt>
                <c:pt idx="57">
                  <c:v>1008.6676</c:v>
                </c:pt>
                <c:pt idx="58">
                  <c:v>1014.5317</c:v>
                </c:pt>
                <c:pt idx="59">
                  <c:v>984.8757</c:v>
                </c:pt>
                <c:pt idx="60">
                  <c:v>981.5668</c:v>
                </c:pt>
                <c:pt idx="61">
                  <c:v>972.9348</c:v>
                </c:pt>
                <c:pt idx="62">
                  <c:v>989.6181</c:v>
                </c:pt>
                <c:pt idx="63">
                  <c:v>979.0392</c:v>
                </c:pt>
                <c:pt idx="64">
                  <c:v>969.0737</c:v>
                </c:pt>
                <c:pt idx="65">
                  <c:v>985.5354</c:v>
                </c:pt>
                <c:pt idx="66">
                  <c:v>991.0622</c:v>
                </c:pt>
                <c:pt idx="67">
                  <c:v>984.6976</c:v>
                </c:pt>
                <c:pt idx="68">
                  <c:v>1012.139</c:v>
                </c:pt>
                <c:pt idx="69">
                  <c:v>1027.6394</c:v>
                </c:pt>
                <c:pt idx="70">
                  <c:v>971.8622</c:v>
                </c:pt>
                <c:pt idx="71">
                  <c:v>1041.4677</c:v>
                </c:pt>
                <c:pt idx="72">
                  <c:v>1205.6701</c:v>
                </c:pt>
                <c:pt idx="73">
                  <c:v>1132.2202</c:v>
                </c:pt>
                <c:pt idx="74">
                  <c:v>1125.1942</c:v>
                </c:pt>
                <c:pt idx="75">
                  <c:v>1098.6848</c:v>
                </c:pt>
                <c:pt idx="76">
                  <c:v>1075.2929</c:v>
                </c:pt>
                <c:pt idx="77">
                  <c:v>1104.9435</c:v>
                </c:pt>
                <c:pt idx="78">
                  <c:v>1110.2567</c:v>
                </c:pt>
                <c:pt idx="79">
                  <c:v>1041.862</c:v>
                </c:pt>
                <c:pt idx="80">
                  <c:v>1101.0151</c:v>
                </c:pt>
                <c:pt idx="81">
                  <c:v>1146.6564</c:v>
                </c:pt>
                <c:pt idx="82">
                  <c:v>1144.6113</c:v>
                </c:pt>
                <c:pt idx="83">
                  <c:v>1106.3497</c:v>
                </c:pt>
                <c:pt idx="84">
                  <c:v>1122.2554</c:v>
                </c:pt>
                <c:pt idx="85">
                  <c:v>1123.7883</c:v>
                </c:pt>
                <c:pt idx="86">
                  <c:v>1118.835</c:v>
                </c:pt>
                <c:pt idx="87">
                  <c:v>1130.8038</c:v>
                </c:pt>
                <c:pt idx="88">
                  <c:v>1171.4035</c:v>
                </c:pt>
                <c:pt idx="89">
                  <c:v>1154.699</c:v>
                </c:pt>
                <c:pt idx="90">
                  <c:v>1185.7104</c:v>
                </c:pt>
                <c:pt idx="91">
                  <c:v>1150.9845</c:v>
                </c:pt>
                <c:pt idx="92">
                  <c:v>1097.4959</c:v>
                </c:pt>
                <c:pt idx="93">
                  <c:v>1139.5381</c:v>
                </c:pt>
                <c:pt idx="94">
                  <c:v>1136.9513</c:v>
                </c:pt>
                <c:pt idx="95">
                  <c:v>1115.1856</c:v>
                </c:pt>
                <c:pt idx="96">
                  <c:v>1109.7267</c:v>
                </c:pt>
                <c:pt idx="97">
                  <c:v>1074.6651</c:v>
                </c:pt>
                <c:pt idx="98">
                  <c:v>1073.1256</c:v>
                </c:pt>
                <c:pt idx="99">
                  <c:v>1042.103</c:v>
                </c:pt>
                <c:pt idx="100">
                  <c:v>1056.6255</c:v>
                </c:pt>
                <c:pt idx="101">
                  <c:v>1032.6872</c:v>
                </c:pt>
                <c:pt idx="102">
                  <c:v>1054.0689</c:v>
                </c:pt>
                <c:pt idx="103">
                  <c:v>1021.98</c:v>
                </c:pt>
                <c:pt idx="104">
                  <c:v>1051.1011</c:v>
                </c:pt>
              </c:numCache>
            </c:numRef>
          </c:xVal>
          <c:yVal>
            <c:numRef>
              <c:f>Sheet1!$B$2:$B$106</c:f>
              <c:numCache>
                <c:formatCode>General</c:formatCode>
                <c:ptCount val="105"/>
                <c:pt idx="0">
                  <c:v>0.28513040093421566</c:v>
                </c:pt>
                <c:pt idx="1">
                  <c:v>0.2717875962707742</c:v>
                </c:pt>
                <c:pt idx="2">
                  <c:v>0.28115015974440893</c:v>
                </c:pt>
                <c:pt idx="3">
                  <c:v>0.27319587628865977</c:v>
                </c:pt>
                <c:pt idx="4">
                  <c:v>0.2749187432286024</c:v>
                </c:pt>
                <c:pt idx="5">
                  <c:v>0.2919566898685228</c:v>
                </c:pt>
                <c:pt idx="6">
                  <c:v>0.3195701357466063</c:v>
                </c:pt>
                <c:pt idx="7">
                  <c:v>0.34022988505747126</c:v>
                </c:pt>
                <c:pt idx="8">
                  <c:v>0.33280356007628736</c:v>
                </c:pt>
                <c:pt idx="9">
                  <c:v>0.30428134556574926</c:v>
                </c:pt>
                <c:pt idx="10">
                  <c:v>0.28994340444057465</c:v>
                </c:pt>
                <c:pt idx="11">
                  <c:v>0.25115594787725937</c:v>
                </c:pt>
                <c:pt idx="12">
                  <c:v>0.2341509433962264</c:v>
                </c:pt>
                <c:pt idx="13">
                  <c:v>0.2084996009577015</c:v>
                </c:pt>
                <c:pt idx="14">
                  <c:v>0.19366922644690016</c:v>
                </c:pt>
                <c:pt idx="15">
                  <c:v>0.18372352285395763</c:v>
                </c:pt>
                <c:pt idx="16">
                  <c:v>0.16893550546752956</c:v>
                </c:pt>
                <c:pt idx="17">
                  <c:v>0.18946580129805293</c:v>
                </c:pt>
                <c:pt idx="18">
                  <c:v>0.17272727272727273</c:v>
                </c:pt>
                <c:pt idx="19">
                  <c:v>0.17930793428871025</c:v>
                </c:pt>
                <c:pt idx="20">
                  <c:v>0.1758905852417303</c:v>
                </c:pt>
                <c:pt idx="21">
                  <c:v>0.2126650863528615</c:v>
                </c:pt>
                <c:pt idx="22">
                  <c:v>0.20197884680996248</c:v>
                </c:pt>
                <c:pt idx="23">
                  <c:v>0.23082099596231495</c:v>
                </c:pt>
                <c:pt idx="24">
                  <c:v>0.23305844388669775</c:v>
                </c:pt>
                <c:pt idx="25">
                  <c:v>0.23717948717948717</c:v>
                </c:pt>
                <c:pt idx="26">
                  <c:v>0.2606865284974093</c:v>
                </c:pt>
                <c:pt idx="27">
                  <c:v>0.2421555252387449</c:v>
                </c:pt>
                <c:pt idx="28">
                  <c:v>0.24200136147038803</c:v>
                </c:pt>
                <c:pt idx="29">
                  <c:v>0.23310810810810811</c:v>
                </c:pt>
                <c:pt idx="30">
                  <c:v>0.23035328046142753</c:v>
                </c:pt>
                <c:pt idx="31">
                  <c:v>0.24128011506652283</c:v>
                </c:pt>
                <c:pt idx="32">
                  <c:v>0.25757575757575757</c:v>
                </c:pt>
                <c:pt idx="33">
                  <c:v>0.23502914679385267</c:v>
                </c:pt>
                <c:pt idx="34">
                  <c:v>0.2399218177376008</c:v>
                </c:pt>
                <c:pt idx="35">
                  <c:v>0.24694680190436763</c:v>
                </c:pt>
                <c:pt idx="36">
                  <c:v>0.2229647630619684</c:v>
                </c:pt>
                <c:pt idx="37">
                  <c:v>0.22576530612244897</c:v>
                </c:pt>
                <c:pt idx="38">
                  <c:v>0.20160280490859003</c:v>
                </c:pt>
                <c:pt idx="39">
                  <c:v>0.19645410351730055</c:v>
                </c:pt>
                <c:pt idx="40">
                  <c:v>0.18808857215576483</c:v>
                </c:pt>
                <c:pt idx="41">
                  <c:v>0.20339869281045753</c:v>
                </c:pt>
                <c:pt idx="42">
                  <c:v>0.20713970912296165</c:v>
                </c:pt>
                <c:pt idx="43">
                  <c:v>0.18303220738413198</c:v>
                </c:pt>
                <c:pt idx="44">
                  <c:v>0.1759392027530829</c:v>
                </c:pt>
                <c:pt idx="45">
                  <c:v>0.20915581688366233</c:v>
                </c:pt>
                <c:pt idx="46">
                  <c:v>0.2034956304619226</c:v>
                </c:pt>
                <c:pt idx="47">
                  <c:v>0.2068066419651434</c:v>
                </c:pt>
                <c:pt idx="48">
                  <c:v>0.19372711981794796</c:v>
                </c:pt>
                <c:pt idx="49">
                  <c:v>0.21048182586644126</c:v>
                </c:pt>
                <c:pt idx="50">
                  <c:v>0.20329239613274105</c:v>
                </c:pt>
                <c:pt idx="51">
                  <c:v>0.19863493174658733</c:v>
                </c:pt>
                <c:pt idx="52">
                  <c:v>0.20882254277088225</c:v>
                </c:pt>
                <c:pt idx="53">
                  <c:v>0.21807849405079027</c:v>
                </c:pt>
                <c:pt idx="54">
                  <c:v>0.22088271352676747</c:v>
                </c:pt>
                <c:pt idx="55">
                  <c:v>0.21893371173727955</c:v>
                </c:pt>
                <c:pt idx="56">
                  <c:v>0.23293439716312056</c:v>
                </c:pt>
                <c:pt idx="57">
                  <c:v>0.2237155863862996</c:v>
                </c:pt>
                <c:pt idx="58">
                  <c:v>0.23238180196253344</c:v>
                </c:pt>
                <c:pt idx="59">
                  <c:v>0.21449851042701093</c:v>
                </c:pt>
                <c:pt idx="60">
                  <c:v>0.22286100777815354</c:v>
                </c:pt>
                <c:pt idx="61">
                  <c:v>0.23924074422101108</c:v>
                </c:pt>
                <c:pt idx="62">
                  <c:v>0.2210283960092095</c:v>
                </c:pt>
                <c:pt idx="63">
                  <c:v>0.224212271973466</c:v>
                </c:pt>
                <c:pt idx="64">
                  <c:v>0.2240386112408532</c:v>
                </c:pt>
                <c:pt idx="65">
                  <c:v>0.20935711881521374</c:v>
                </c:pt>
                <c:pt idx="66">
                  <c:v>0.2210543337645537</c:v>
                </c:pt>
                <c:pt idx="67">
                  <c:v>0.2173421605037946</c:v>
                </c:pt>
                <c:pt idx="68">
                  <c:v>0.19710906701708278</c:v>
                </c:pt>
                <c:pt idx="69">
                  <c:v>0.18213241159266153</c:v>
                </c:pt>
                <c:pt idx="70">
                  <c:v>0.19678425725941925</c:v>
                </c:pt>
                <c:pt idx="71">
                  <c:v>0.19207397622192868</c:v>
                </c:pt>
                <c:pt idx="72">
                  <c:v>0.165771484375</c:v>
                </c:pt>
                <c:pt idx="73">
                  <c:v>0.1793913507741591</c:v>
                </c:pt>
                <c:pt idx="74">
                  <c:v>0.16470258136924804</c:v>
                </c:pt>
                <c:pt idx="75">
                  <c:v>0.18797845194216048</c:v>
                </c:pt>
                <c:pt idx="76">
                  <c:v>0.18991504521786792</c:v>
                </c:pt>
                <c:pt idx="77">
                  <c:v>0.18278560250391238</c:v>
                </c:pt>
                <c:pt idx="78">
                  <c:v>0.1871011084984884</c:v>
                </c:pt>
                <c:pt idx="79">
                  <c:v>0.1626691266912669</c:v>
                </c:pt>
                <c:pt idx="80">
                  <c:v>0.1622364802933089</c:v>
                </c:pt>
                <c:pt idx="81">
                  <c:v>0.16198163094906765</c:v>
                </c:pt>
                <c:pt idx="82">
                  <c:v>0.15863840719332048</c:v>
                </c:pt>
                <c:pt idx="83">
                  <c:v>0.15833896016205268</c:v>
                </c:pt>
                <c:pt idx="84">
                  <c:v>0.17563837129054521</c:v>
                </c:pt>
                <c:pt idx="85">
                  <c:v>0.17338577515568665</c:v>
                </c:pt>
                <c:pt idx="86">
                  <c:v>0.18540344514959203</c:v>
                </c:pt>
                <c:pt idx="87">
                  <c:v>0.20316222655403943</c:v>
                </c:pt>
                <c:pt idx="88">
                  <c:v>0.194207453973956</c:v>
                </c:pt>
                <c:pt idx="89">
                  <c:v>0.17954126021618771</c:v>
                </c:pt>
                <c:pt idx="90">
                  <c:v>0.1840929401251117</c:v>
                </c:pt>
                <c:pt idx="91">
                  <c:v>0.1729794214136594</c:v>
                </c:pt>
                <c:pt idx="92">
                  <c:v>0.17577081815974752</c:v>
                </c:pt>
                <c:pt idx="93">
                  <c:v>0.17348689046802254</c:v>
                </c:pt>
                <c:pt idx="94">
                  <c:v>0.1943256023418149</c:v>
                </c:pt>
                <c:pt idx="95">
                  <c:v>0.19321967470115617</c:v>
                </c:pt>
                <c:pt idx="96">
                  <c:v>0.16993652625504904</c:v>
                </c:pt>
                <c:pt idx="97">
                  <c:v>0.16584287200832465</c:v>
                </c:pt>
                <c:pt idx="98">
                  <c:v>0.17304357877702</c:v>
                </c:pt>
                <c:pt idx="99">
                  <c:v>0.1765262162446149</c:v>
                </c:pt>
                <c:pt idx="100">
                  <c:v>0.17941973537382433</c:v>
                </c:pt>
                <c:pt idx="101">
                  <c:v>0.20577027762656505</c:v>
                </c:pt>
                <c:pt idx="102">
                  <c:v>0.19974608548455353</c:v>
                </c:pt>
                <c:pt idx="103">
                  <c:v>0.19555160142348754</c:v>
                </c:pt>
                <c:pt idx="104">
                  <c:v>0.19310631229235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9.5079</c:v>
                </c:pt>
                <c:pt idx="1">
                  <c:v>1075.5365</c:v>
                </c:pt>
                <c:pt idx="2">
                  <c:v>1098.6795</c:v>
                </c:pt>
                <c:pt idx="3">
                  <c:v>1077.7947</c:v>
                </c:pt>
                <c:pt idx="4">
                  <c:v>1110.2057</c:v>
                </c:pt>
                <c:pt idx="5">
                  <c:v>1095.0205</c:v>
                </c:pt>
                <c:pt idx="6">
                  <c:v>1029.469</c:v>
                </c:pt>
                <c:pt idx="7">
                  <c:v>1115.0435</c:v>
                </c:pt>
                <c:pt idx="8">
                  <c:v>1121.8495</c:v>
                </c:pt>
                <c:pt idx="9">
                  <c:v>1084.8689</c:v>
                </c:pt>
                <c:pt idx="10">
                  <c:v>1144.6554</c:v>
                </c:pt>
                <c:pt idx="11">
                  <c:v>1048.5644</c:v>
                </c:pt>
                <c:pt idx="12">
                  <c:v>1058.3553</c:v>
                </c:pt>
                <c:pt idx="13">
                  <c:v>1108.8545</c:v>
                </c:pt>
                <c:pt idx="14">
                  <c:v>1098.4679</c:v>
                </c:pt>
                <c:pt idx="15">
                  <c:v>1109.0763</c:v>
                </c:pt>
                <c:pt idx="16">
                  <c:v>1139.4682</c:v>
                </c:pt>
                <c:pt idx="17">
                  <c:v>1031.4621</c:v>
                </c:pt>
                <c:pt idx="18">
                  <c:v>1084.3343</c:v>
                </c:pt>
                <c:pt idx="19">
                  <c:v>1207.4227</c:v>
                </c:pt>
                <c:pt idx="20">
                  <c:v>1168.4312</c:v>
                </c:pt>
                <c:pt idx="21">
                  <c:v>1111.7878</c:v>
                </c:pt>
                <c:pt idx="22">
                  <c:v>1145.5828</c:v>
                </c:pt>
                <c:pt idx="23">
                  <c:v>1181.0991</c:v>
                </c:pt>
                <c:pt idx="24">
                  <c:v>1152.9857</c:v>
                </c:pt>
                <c:pt idx="25">
                  <c:v>1143.3102</c:v>
                </c:pt>
                <c:pt idx="26">
                  <c:v>1094.3051</c:v>
                </c:pt>
                <c:pt idx="27">
                  <c:v>1094.5712</c:v>
                </c:pt>
                <c:pt idx="28">
                  <c:v>1121.7011</c:v>
                </c:pt>
                <c:pt idx="29">
                  <c:v>1161.7323</c:v>
                </c:pt>
                <c:pt idx="30">
                  <c:v>1169.0275</c:v>
                </c:pt>
                <c:pt idx="31">
                  <c:v>1125.2994</c:v>
                </c:pt>
                <c:pt idx="32">
                  <c:v>1139.0688</c:v>
                </c:pt>
                <c:pt idx="33">
                  <c:v>1163.1042</c:v>
                </c:pt>
                <c:pt idx="34">
                  <c:v>1157.0239</c:v>
                </c:pt>
                <c:pt idx="35">
                  <c:v>1184.4793</c:v>
                </c:pt>
                <c:pt idx="36">
                  <c:v>1212.6515</c:v>
                </c:pt>
                <c:pt idx="37">
                  <c:v>1190.791</c:v>
                </c:pt>
                <c:pt idx="38">
                  <c:v>1241.9055</c:v>
                </c:pt>
                <c:pt idx="39">
                  <c:v>1160.4921</c:v>
                </c:pt>
                <c:pt idx="40">
                  <c:v>1205.1169</c:v>
                </c:pt>
                <c:pt idx="41">
                  <c:v>1200.227</c:v>
                </c:pt>
                <c:pt idx="42">
                  <c:v>1171.3825</c:v>
                </c:pt>
                <c:pt idx="43">
                  <c:v>1253.1962</c:v>
                </c:pt>
                <c:pt idx="44">
                  <c:v>1191.2166</c:v>
                </c:pt>
                <c:pt idx="45">
                  <c:v>1129.9901</c:v>
                </c:pt>
                <c:pt idx="46">
                  <c:v>1112.0845</c:v>
                </c:pt>
                <c:pt idx="47">
                  <c:v>1088.9038</c:v>
                </c:pt>
                <c:pt idx="48">
                  <c:v>1056.8406</c:v>
                </c:pt>
                <c:pt idx="49">
                  <c:v>1089.7907</c:v>
                </c:pt>
                <c:pt idx="50">
                  <c:v>1082.3295</c:v>
                </c:pt>
                <c:pt idx="51">
                  <c:v>1041.2143</c:v>
                </c:pt>
              </c:numCache>
            </c:numRef>
          </c:xVal>
          <c:yVal>
            <c:numRef>
              <c:f>Sheet1!$B$109:$B$160</c:f>
              <c:numCache>
                <c:formatCode>General</c:formatCode>
                <c:ptCount val="52"/>
                <c:pt idx="0">
                  <c:v>0.1883008356545961</c:v>
                </c:pt>
                <c:pt idx="1">
                  <c:v>0.1962360321505587</c:v>
                </c:pt>
                <c:pt idx="2">
                  <c:v>0.2070623035681272</c:v>
                </c:pt>
                <c:pt idx="3">
                  <c:v>0.2307535225648356</c:v>
                </c:pt>
                <c:pt idx="4">
                  <c:v>0.2131081624447125</c:v>
                </c:pt>
                <c:pt idx="5">
                  <c:v>0.22560035250055077</c:v>
                </c:pt>
                <c:pt idx="6">
                  <c:v>0.23763998907402348</c:v>
                </c:pt>
                <c:pt idx="7">
                  <c:v>0.20937642239417387</c:v>
                </c:pt>
                <c:pt idx="8">
                  <c:v>0.2162423461166613</c:v>
                </c:pt>
                <c:pt idx="9">
                  <c:v>0.21928104575163399</c:v>
                </c:pt>
                <c:pt idx="10">
                  <c:v>0.22534102833158448</c:v>
                </c:pt>
                <c:pt idx="11">
                  <c:v>0.21299234646257234</c:v>
                </c:pt>
                <c:pt idx="12">
                  <c:v>0.21937639198218262</c:v>
                </c:pt>
                <c:pt idx="13">
                  <c:v>0.21815990357573323</c:v>
                </c:pt>
                <c:pt idx="14">
                  <c:v>0.22596475574392147</c:v>
                </c:pt>
                <c:pt idx="15">
                  <c:v>0.22016592214422465</c:v>
                </c:pt>
                <c:pt idx="16">
                  <c:v>0.22083775185577942</c:v>
                </c:pt>
                <c:pt idx="17">
                  <c:v>0.23083333333333333</c:v>
                </c:pt>
                <c:pt idx="18">
                  <c:v>0.22112211221122113</c:v>
                </c:pt>
                <c:pt idx="19">
                  <c:v>0.21683744115203546</c:v>
                </c:pt>
                <c:pt idx="20">
                  <c:v>0.20981713185755535</c:v>
                </c:pt>
                <c:pt idx="21">
                  <c:v>0.22101606600086843</c:v>
                </c:pt>
                <c:pt idx="22">
                  <c:v>0.23205187586845763</c:v>
                </c:pt>
                <c:pt idx="23">
                  <c:v>0.22917718324078748</c:v>
                </c:pt>
                <c:pt idx="24">
                  <c:v>0.23804878048780487</c:v>
                </c:pt>
                <c:pt idx="25">
                  <c:v>0.24257425742574257</c:v>
                </c:pt>
                <c:pt idx="26">
                  <c:v>0.22978017420157612</c:v>
                </c:pt>
                <c:pt idx="27">
                  <c:v>0.22506301764494058</c:v>
                </c:pt>
                <c:pt idx="28">
                  <c:v>0.224964234620887</c:v>
                </c:pt>
                <c:pt idx="29">
                  <c:v>0.23404255319148937</c:v>
                </c:pt>
                <c:pt idx="30">
                  <c:v>0.2341796134899583</c:v>
                </c:pt>
                <c:pt idx="31">
                  <c:v>0.21842863019333608</c:v>
                </c:pt>
                <c:pt idx="32">
                  <c:v>0.22503057480635957</c:v>
                </c:pt>
                <c:pt idx="33">
                  <c:v>0.23076923076923078</c:v>
                </c:pt>
                <c:pt idx="34">
                  <c:v>0.24257066924377868</c:v>
                </c:pt>
                <c:pt idx="35">
                  <c:v>0.24421965317919075</c:v>
                </c:pt>
                <c:pt idx="36">
                  <c:v>0.23065420560747663</c:v>
                </c:pt>
                <c:pt idx="37">
                  <c:v>0.24307387862796834</c:v>
                </c:pt>
                <c:pt idx="38">
                  <c:v>0.21852970795568982</c:v>
                </c:pt>
                <c:pt idx="39">
                  <c:v>0.23173341485784163</c:v>
                </c:pt>
                <c:pt idx="40">
                  <c:v>0.22205838985549986</c:v>
                </c:pt>
                <c:pt idx="41">
                  <c:v>0.21705426356589147</c:v>
                </c:pt>
                <c:pt idx="42">
                  <c:v>0.20890515401036902</c:v>
                </c:pt>
                <c:pt idx="43">
                  <c:v>0.20249617931737138</c:v>
                </c:pt>
                <c:pt idx="44">
                  <c:v>0.20190713101160862</c:v>
                </c:pt>
                <c:pt idx="45">
                  <c:v>0.22230950510604872</c:v>
                </c:pt>
                <c:pt idx="46">
                  <c:v>0.24022346368715083</c:v>
                </c:pt>
                <c:pt idx="47">
                  <c:v>0.2299059250701436</c:v>
                </c:pt>
                <c:pt idx="48">
                  <c:v>0.22239010989010988</c:v>
                </c:pt>
                <c:pt idx="49">
                  <c:v>0.2387263863497867</c:v>
                </c:pt>
                <c:pt idx="50">
                  <c:v>0.2258511480601742</c:v>
                </c:pt>
                <c:pt idx="51">
                  <c:v>0.22554303446023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137.881166326877</c:v>
                </c:pt>
              </c:numCache>
            </c:numRef>
          </c:xVal>
          <c:yVal>
            <c:numRef>
              <c:f>Sheet1!$B$163:$B$164</c:f>
              <c:numCache>
                <c:formatCode>General</c:formatCode>
                <c:ptCount val="2"/>
                <c:pt idx="0">
                  <c:v>0.29674922746839427</c:v>
                </c:pt>
                <c:pt idx="1">
                  <c:v>0.2967492274683942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137.881166326877</c:v>
                </c:pt>
                <c:pt idx="1">
                  <c:v>12137.881166326877</c:v>
                </c:pt>
              </c:numCache>
            </c:numRef>
          </c:xVal>
          <c:yVal>
            <c:numRef>
              <c:f>Sheet1!$B$167:$B$168</c:f>
              <c:numCache>
                <c:formatCode>General</c:formatCode>
                <c:ptCount val="2"/>
                <c:pt idx="0">
                  <c:v>0.296749227468394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307.241161667992</c:v>
                </c:pt>
              </c:numCache>
            </c:numRef>
          </c:xVal>
          <c:yVal>
            <c:numRef>
              <c:f>Sheet1!$B$171:$B$172</c:f>
              <c:numCache>
                <c:formatCode>General</c:formatCode>
                <c:ptCount val="2"/>
                <c:pt idx="0">
                  <c:v>0.23128313809110376</c:v>
                </c:pt>
                <c:pt idx="1">
                  <c:v>0.231283138091103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307.241161667992</c:v>
                </c:pt>
                <c:pt idx="1">
                  <c:v>2307.241161667992</c:v>
                </c:pt>
              </c:numCache>
            </c:numRef>
          </c:xVal>
          <c:yVal>
            <c:numRef>
              <c:f>Sheet1!$B$175:$B$176</c:f>
              <c:numCache>
                <c:formatCode>General</c:formatCode>
                <c:ptCount val="2"/>
                <c:pt idx="0">
                  <c:v>0.231283138091103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49.1051312967965</c:v>
                </c:pt>
              </c:numCache>
            </c:numRef>
          </c:xVal>
          <c:yVal>
            <c:numRef>
              <c:f>Sheet1!$B$179:$B$180</c:f>
              <c:numCache>
                <c:formatCode>General</c:formatCode>
                <c:ptCount val="2"/>
                <c:pt idx="0">
                  <c:v>0.22223877732632522</c:v>
                </c:pt>
                <c:pt idx="1">
                  <c:v>0.2222387773263252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49.1051312967965</c:v>
                </c:pt>
                <c:pt idx="1">
                  <c:v>949.1051312967965</c:v>
                </c:pt>
              </c:numCache>
            </c:numRef>
          </c:xVal>
          <c:yVal>
            <c:numRef>
              <c:f>Sheet1!$B$183:$B$184</c:f>
              <c:numCache>
                <c:formatCode>General</c:formatCode>
                <c:ptCount val="2"/>
                <c:pt idx="0">
                  <c:v>0.222238777326325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9.5079</c:v>
                </c:pt>
                <c:pt idx="1">
                  <c:v>1075.5365</c:v>
                </c:pt>
                <c:pt idx="2">
                  <c:v>1098.6795</c:v>
                </c:pt>
                <c:pt idx="3">
                  <c:v>1077.7947</c:v>
                </c:pt>
                <c:pt idx="4">
                  <c:v>1110.2057</c:v>
                </c:pt>
                <c:pt idx="5">
                  <c:v>1095.0205</c:v>
                </c:pt>
                <c:pt idx="6">
                  <c:v>1029.469</c:v>
                </c:pt>
                <c:pt idx="7">
                  <c:v>1115.0435</c:v>
                </c:pt>
                <c:pt idx="8">
                  <c:v>1121.8495</c:v>
                </c:pt>
                <c:pt idx="9">
                  <c:v>1084.8689</c:v>
                </c:pt>
                <c:pt idx="10">
                  <c:v>1144.6554</c:v>
                </c:pt>
                <c:pt idx="11">
                  <c:v>1048.5644</c:v>
                </c:pt>
                <c:pt idx="12">
                  <c:v>1058.3553</c:v>
                </c:pt>
                <c:pt idx="13">
                  <c:v>1108.8545</c:v>
                </c:pt>
                <c:pt idx="14">
                  <c:v>1098.4679</c:v>
                </c:pt>
                <c:pt idx="15">
                  <c:v>1109.0763</c:v>
                </c:pt>
                <c:pt idx="16">
                  <c:v>1139.4682</c:v>
                </c:pt>
                <c:pt idx="17">
                  <c:v>1031.4621</c:v>
                </c:pt>
                <c:pt idx="18">
                  <c:v>1084.3343</c:v>
                </c:pt>
                <c:pt idx="19">
                  <c:v>1207.4227</c:v>
                </c:pt>
                <c:pt idx="20">
                  <c:v>1168.4312</c:v>
                </c:pt>
                <c:pt idx="21">
                  <c:v>1111.7878</c:v>
                </c:pt>
                <c:pt idx="22">
                  <c:v>1145.5828</c:v>
                </c:pt>
                <c:pt idx="23">
                  <c:v>1181.0991</c:v>
                </c:pt>
                <c:pt idx="24">
                  <c:v>1152.9857</c:v>
                </c:pt>
                <c:pt idx="25">
                  <c:v>1143.3102</c:v>
                </c:pt>
                <c:pt idx="26">
                  <c:v>1094.3051</c:v>
                </c:pt>
                <c:pt idx="27">
                  <c:v>1094.5712</c:v>
                </c:pt>
                <c:pt idx="28">
                  <c:v>1121.7011</c:v>
                </c:pt>
                <c:pt idx="29">
                  <c:v>1161.7323</c:v>
                </c:pt>
                <c:pt idx="30">
                  <c:v>1169.0275</c:v>
                </c:pt>
                <c:pt idx="31">
                  <c:v>1125.2994</c:v>
                </c:pt>
                <c:pt idx="32">
                  <c:v>1139.0688</c:v>
                </c:pt>
                <c:pt idx="33">
                  <c:v>1163.1042</c:v>
                </c:pt>
                <c:pt idx="34">
                  <c:v>1157.0239</c:v>
                </c:pt>
                <c:pt idx="35">
                  <c:v>1184.4793</c:v>
                </c:pt>
                <c:pt idx="36">
                  <c:v>1212.6515</c:v>
                </c:pt>
                <c:pt idx="37">
                  <c:v>1190.791</c:v>
                </c:pt>
                <c:pt idx="38">
                  <c:v>1241.9055</c:v>
                </c:pt>
                <c:pt idx="39">
                  <c:v>1160.4921</c:v>
                </c:pt>
                <c:pt idx="40">
                  <c:v>1205.1169</c:v>
                </c:pt>
                <c:pt idx="41">
                  <c:v>1200.227</c:v>
                </c:pt>
                <c:pt idx="42">
                  <c:v>1171.3825</c:v>
                </c:pt>
                <c:pt idx="43">
                  <c:v>1253.1962</c:v>
                </c:pt>
                <c:pt idx="44">
                  <c:v>1191.2166</c:v>
                </c:pt>
                <c:pt idx="45">
                  <c:v>1129.9901</c:v>
                </c:pt>
                <c:pt idx="46">
                  <c:v>1112.0845</c:v>
                </c:pt>
                <c:pt idx="47">
                  <c:v>1088.9038</c:v>
                </c:pt>
                <c:pt idx="48">
                  <c:v>1056.8406</c:v>
                </c:pt>
                <c:pt idx="49">
                  <c:v>1089.7907</c:v>
                </c:pt>
                <c:pt idx="50">
                  <c:v>1082.3295</c:v>
                </c:pt>
                <c:pt idx="51">
                  <c:v>1041.2143</c:v>
                </c:pt>
                <c:pt idx="52">
                  <c:v>2307.241161667992</c:v>
                </c:pt>
                <c:pt idx="53">
                  <c:v>12137.881166326877</c:v>
                </c:pt>
                <c:pt idx="54">
                  <c:v>949.1051312967965</c:v>
                </c:pt>
              </c:numCache>
            </c:numRef>
          </c:xVal>
          <c:yVal>
            <c:numRef>
              <c:f>Sheet1!$B$187:$B$241</c:f>
              <c:numCache>
                <c:formatCode>General</c:formatCode>
                <c:ptCount val="55"/>
                <c:pt idx="0">
                  <c:v>0.22304058660969453</c:v>
                </c:pt>
                <c:pt idx="1">
                  <c:v>0.22308073342274362</c:v>
                </c:pt>
                <c:pt idx="2">
                  <c:v>0.22323485174115834</c:v>
                </c:pt>
                <c:pt idx="3">
                  <c:v>0.2230957716626712</c:v>
                </c:pt>
                <c:pt idx="4">
                  <c:v>0.2233116092298898</c:v>
                </c:pt>
                <c:pt idx="5">
                  <c:v>0.2232104850243507</c:v>
                </c:pt>
                <c:pt idx="6">
                  <c:v>0.2227739518631545</c:v>
                </c:pt>
                <c:pt idx="7">
                  <c:v>0.22334382603846373</c:v>
                </c:pt>
                <c:pt idx="8">
                  <c:v>0.223389149863168</c:v>
                </c:pt>
                <c:pt idx="9">
                  <c:v>0.2231428815364183</c:v>
                </c:pt>
                <c:pt idx="10">
                  <c:v>0.2235410233004032</c:v>
                </c:pt>
                <c:pt idx="11">
                  <c:v>0.22290111562487325</c:v>
                </c:pt>
                <c:pt idx="12">
                  <c:v>0.22296631706996534</c:v>
                </c:pt>
                <c:pt idx="13">
                  <c:v>0.22330261105887297</c:v>
                </c:pt>
                <c:pt idx="14">
                  <c:v>0.22323344261372557</c:v>
                </c:pt>
                <c:pt idx="15">
                  <c:v>0.22330408811210828</c:v>
                </c:pt>
                <c:pt idx="16">
                  <c:v>0.22350647970012316</c:v>
                </c:pt>
                <c:pt idx="17">
                  <c:v>0.22278722469815568</c:v>
                </c:pt>
                <c:pt idx="18">
                  <c:v>0.22313932142523893</c:v>
                </c:pt>
                <c:pt idx="19">
                  <c:v>0.2239590153812671</c:v>
                </c:pt>
                <c:pt idx="20">
                  <c:v>0.22369935568233143</c:v>
                </c:pt>
                <c:pt idx="21">
                  <c:v>0.22332214505461276</c:v>
                </c:pt>
                <c:pt idx="22">
                  <c:v>0.22354719922091904</c:v>
                </c:pt>
                <c:pt idx="23">
                  <c:v>0.22378371619937099</c:v>
                </c:pt>
                <c:pt idx="24">
                  <c:v>0.22359649803694948</c:v>
                </c:pt>
                <c:pt idx="25">
                  <c:v>0.22353206508574083</c:v>
                </c:pt>
                <c:pt idx="26">
                  <c:v>0.22320572089502458</c:v>
                </c:pt>
                <c:pt idx="27">
                  <c:v>0.2232074929593434</c:v>
                </c:pt>
                <c:pt idx="28">
                  <c:v>0.2233881616093352</c:v>
                </c:pt>
                <c:pt idx="29">
                  <c:v>0.22365474507855368</c:v>
                </c:pt>
                <c:pt idx="30">
                  <c:v>0.22370332667802217</c:v>
                </c:pt>
                <c:pt idx="31">
                  <c:v>0.2234121241010239</c:v>
                </c:pt>
                <c:pt idx="32">
                  <c:v>0.22350381993879687</c:v>
                </c:pt>
                <c:pt idx="33">
                  <c:v>0.22366388109899327</c:v>
                </c:pt>
                <c:pt idx="34">
                  <c:v>0.22362338999535686</c:v>
                </c:pt>
                <c:pt idx="35">
                  <c:v>0.2238062262775763</c:v>
                </c:pt>
                <c:pt idx="36">
                  <c:v>0.22399383601227116</c:v>
                </c:pt>
                <c:pt idx="37">
                  <c:v>0.22384825836461505</c:v>
                </c:pt>
                <c:pt idx="38">
                  <c:v>0.2241886498776691</c:v>
                </c:pt>
                <c:pt idx="39">
                  <c:v>0.22364648610009377</c:v>
                </c:pt>
                <c:pt idx="40">
                  <c:v>0.22394366015426106</c:v>
                </c:pt>
                <c:pt idx="41">
                  <c:v>0.22391109639134285</c:v>
                </c:pt>
                <c:pt idx="42">
                  <c:v>0.2237190095471345</c:v>
                </c:pt>
                <c:pt idx="43">
                  <c:v>0.22426383907948932</c:v>
                </c:pt>
                <c:pt idx="44">
                  <c:v>0.22385109260202235</c:v>
                </c:pt>
                <c:pt idx="45">
                  <c:v>0.22344336131297515</c:v>
                </c:pt>
                <c:pt idx="46">
                  <c:v>0.22332412089633916</c:v>
                </c:pt>
                <c:pt idx="47">
                  <c:v>0.22316975151883078</c:v>
                </c:pt>
                <c:pt idx="48">
                  <c:v>0.22295623008829044</c:v>
                </c:pt>
                <c:pt idx="49">
                  <c:v>0.22317565773395423</c:v>
                </c:pt>
                <c:pt idx="50">
                  <c:v>0.22312597067534662</c:v>
                </c:pt>
                <c:pt idx="51">
                  <c:v>0.22285216842476174</c:v>
                </c:pt>
                <c:pt idx="52">
                  <c:v>0.23128313809110376</c:v>
                </c:pt>
                <c:pt idx="53">
                  <c:v>0.29674922746839427</c:v>
                </c:pt>
                <c:pt idx="54">
                  <c:v>0.222238777326325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5.0"/>
          <c:min val="6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82758620689655"/>
          <c:min val="0.126671168129642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0.00011775788977861517</c:v>
                </c:pt>
                <c:pt idx="8">
                  <c:v>0.0005372011818426001</c:v>
                </c:pt>
                <c:pt idx="9">
                  <c:v>0.0004869734599464329</c:v>
                </c:pt>
                <c:pt idx="10">
                  <c:v>0.00040290088638195</c:v>
                </c:pt>
                <c:pt idx="11">
                  <c:v>0.0006269592476489029</c:v>
                </c:pt>
                <c:pt idx="12">
                  <c:v>0.0004375410194705754</c:v>
                </c:pt>
                <c:pt idx="13">
                  <c:v>0.000485319097306479</c:v>
                </c:pt>
                <c:pt idx="14">
                  <c:v>0.0004888780249327792</c:v>
                </c:pt>
                <c:pt idx="15">
                  <c:v>0.0004869734599464329</c:v>
                </c:pt>
                <c:pt idx="16">
                  <c:v>0.0006404098623118795</c:v>
                </c:pt>
                <c:pt idx="17">
                  <c:v>0.0004088307440719542</c:v>
                </c:pt>
                <c:pt idx="18">
                  <c:v>0.00034904013961605586</c:v>
                </c:pt>
                <c:pt idx="19">
                  <c:v>0.0007736943907156673</c:v>
                </c:pt>
                <c:pt idx="20">
                  <c:v>0.0007312614259597807</c:v>
                </c:pt>
                <c:pt idx="21">
                  <c:v>0.001486988847583643</c:v>
                </c:pt>
                <c:pt idx="22">
                  <c:v>0.0006453694740238787</c:v>
                </c:pt>
                <c:pt idx="23">
                  <c:v>0.0014925373134328358</c:v>
                </c:pt>
                <c:pt idx="24">
                  <c:v>0.001670843776106934</c:v>
                </c:pt>
                <c:pt idx="25">
                  <c:v>0.002167316861725184</c:v>
                </c:pt>
                <c:pt idx="26">
                  <c:v>0.0022935779816513763</c:v>
                </c:pt>
                <c:pt idx="27">
                  <c:v>0.001886080724254998</c:v>
                </c:pt>
                <c:pt idx="28">
                  <c:v>0.0018162005085361425</c:v>
                </c:pt>
                <c:pt idx="29">
                  <c:v>0.002520478890989288</c:v>
                </c:pt>
                <c:pt idx="30">
                  <c:v>0.0026690391459074734</c:v>
                </c:pt>
                <c:pt idx="31">
                  <c:v>0.00249003984063745</c:v>
                </c:pt>
                <c:pt idx="32">
                  <c:v>0.0019665683382497543</c:v>
                </c:pt>
                <c:pt idx="33">
                  <c:v>0.0021285653469561515</c:v>
                </c:pt>
                <c:pt idx="34">
                  <c:v>0.002352941176470588</c:v>
                </c:pt>
                <c:pt idx="35">
                  <c:v>0.002117148906139732</c:v>
                </c:pt>
                <c:pt idx="36">
                  <c:v>0.0033349213911386373</c:v>
                </c:pt>
                <c:pt idx="37">
                  <c:v>0.0032879286049788633</c:v>
                </c:pt>
                <c:pt idx="38">
                  <c:v>0.004107713372889092</c:v>
                </c:pt>
                <c:pt idx="39">
                  <c:v>0.003215434083601286</c:v>
                </c:pt>
                <c:pt idx="40">
                  <c:v>0.0025993316004456</c:v>
                </c:pt>
                <c:pt idx="41">
                  <c:v>0.0029712776493892373</c:v>
                </c:pt>
                <c:pt idx="42">
                  <c:v>0.001840942562592047</c:v>
                </c:pt>
                <c:pt idx="43">
                  <c:v>0.002997275204359673</c:v>
                </c:pt>
                <c:pt idx="44">
                  <c:v>0.002978652986927023</c:v>
                </c:pt>
                <c:pt idx="45">
                  <c:v>0.003439490445859873</c:v>
                </c:pt>
                <c:pt idx="46">
                  <c:v>0.0033949894638258017</c:v>
                </c:pt>
                <c:pt idx="47">
                  <c:v>0.0035994071564683463</c:v>
                </c:pt>
                <c:pt idx="48">
                  <c:v>0.003592097385751347</c:v>
                </c:pt>
                <c:pt idx="49">
                  <c:v>0.004570074475287745</c:v>
                </c:pt>
                <c:pt idx="50">
                  <c:v>0.004768392370572207</c:v>
                </c:pt>
                <c:pt idx="51">
                  <c:v>0.003713637301423561</c:v>
                </c:pt>
                <c:pt idx="52">
                  <c:v>0.0026785714285714286</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27589666415851516</c:v>
                </c:pt>
                <c:pt idx="1">
                  <c:v>0.0038816108685104317</c:v>
                </c:pt>
                <c:pt idx="2">
                  <c:v>0.0032996494122499486</c:v>
                </c:pt>
                <c:pt idx="3">
                  <c:v>0.0034460478139134183</c:v>
                </c:pt>
                <c:pt idx="4">
                  <c:v>0.0031519226728304265</c:v>
                </c:pt>
                <c:pt idx="5">
                  <c:v>0.0032976092333058533</c:v>
                </c:pt>
                <c:pt idx="6">
                  <c:v>0.003302406038685328</c:v>
                </c:pt>
                <c:pt idx="7">
                  <c:v>0.0034086067319982955</c:v>
                </c:pt>
                <c:pt idx="8">
                  <c:v>0.005284015852047556</c:v>
                </c:pt>
                <c:pt idx="9">
                  <c:v>0.005431502715751358</c:v>
                </c:pt>
                <c:pt idx="10">
                  <c:v>0.004959159859976663</c:v>
                </c:pt>
                <c:pt idx="11">
                  <c:v>0.006175468483816013</c:v>
                </c:pt>
                <c:pt idx="12">
                  <c:v>0.0057987822557262975</c:v>
                </c:pt>
                <c:pt idx="13">
                  <c:v>0.00827966881324747</c:v>
                </c:pt>
                <c:pt idx="14">
                  <c:v>0.006148867313915857</c:v>
                </c:pt>
                <c:pt idx="15">
                  <c:v>0.0056657223796034</c:v>
                </c:pt>
                <c:pt idx="16">
                  <c:v>0.006509357200976403</c:v>
                </c:pt>
                <c:pt idx="17">
                  <c:v>0.0059031877213695395</c:v>
                </c:pt>
                <c:pt idx="18">
                  <c:v>0.003343083994985374</c:v>
                </c:pt>
                <c:pt idx="19">
                  <c:v>0.004215456674473068</c:v>
                </c:pt>
                <c:pt idx="20">
                  <c:v>0.004424778761061947</c:v>
                </c:pt>
                <c:pt idx="21">
                  <c:v>0.005798969072164949</c:v>
                </c:pt>
                <c:pt idx="22">
                  <c:v>0.005836575875486381</c:v>
                </c:pt>
                <c:pt idx="23">
                  <c:v>0.005118362124120281</c:v>
                </c:pt>
                <c:pt idx="24">
                  <c:v>0.005738132498695879</c:v>
                </c:pt>
                <c:pt idx="25">
                  <c:v>0.0068454078722190535</c:v>
                </c:pt>
                <c:pt idx="26">
                  <c:v>0.005684754521963824</c:v>
                </c:pt>
                <c:pt idx="27">
                  <c:v>0.004846526655896607</c:v>
                </c:pt>
                <c:pt idx="28">
                  <c:v>0.004149377593360996</c:v>
                </c:pt>
                <c:pt idx="29">
                  <c:v>0.005312084993359893</c:v>
                </c:pt>
                <c:pt idx="30">
                  <c:v>0.004</c:v>
                </c:pt>
                <c:pt idx="31">
                  <c:v>0.004680851063829788</c:v>
                </c:pt>
                <c:pt idx="32">
                  <c:v>0.004270462633451958</c:v>
                </c:pt>
                <c:pt idx="33">
                  <c:v>0.002997601918465228</c:v>
                </c:pt>
                <c:pt idx="34">
                  <c:v>0.0037132247929163096</c:v>
                </c:pt>
                <c:pt idx="35">
                  <c:v>0.005455308434746118</c:v>
                </c:pt>
                <c:pt idx="36">
                  <c:v>0.005485463521667581</c:v>
                </c:pt>
                <c:pt idx="37">
                  <c:v>0.004943153732081068</c:v>
                </c:pt>
                <c:pt idx="38">
                  <c:v>0.00583941605839416</c:v>
                </c:pt>
                <c:pt idx="39">
                  <c:v>0.005070202808112325</c:v>
                </c:pt>
                <c:pt idx="40">
                  <c:v>0.003810330228619814</c:v>
                </c:pt>
                <c:pt idx="41">
                  <c:v>0.003816793893129771</c:v>
                </c:pt>
                <c:pt idx="42">
                  <c:v>0.0036101083032490976</c:v>
                </c:pt>
                <c:pt idx="43">
                  <c:v>0.0030854674483184203</c:v>
                </c:pt>
                <c:pt idx="44">
                  <c:v>0.002813243886604631</c:v>
                </c:pt>
                <c:pt idx="45">
                  <c:v>0.0024906600249066002</c:v>
                </c:pt>
                <c:pt idx="46">
                  <c:v>0.002303705125743905</c:v>
                </c:pt>
                <c:pt idx="47">
                  <c:v>0.0024459078080903106</c:v>
                </c:pt>
                <c:pt idx="48">
                  <c:v>0.0027271422419979903</c:v>
                </c:pt>
                <c:pt idx="49">
                  <c:v>0.0021825126176510706</c:v>
                </c:pt>
                <c:pt idx="50">
                  <c:v>0.002068014705882353</c:v>
                </c:pt>
                <c:pt idx="51">
                  <c:v>0.00275657336726039</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22.6508282398563</c:v>
                </c:pt>
              </c:numCache>
            </c:numRef>
          </c:xVal>
          <c:yVal>
            <c:numRef>
              <c:f>Sheet1!$B$111:$B$112</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22.6508282398563</c:v>
                </c:pt>
                <c:pt idx="1">
                  <c:v>3622.6508282398563</c:v>
                </c:pt>
              </c:numCache>
            </c:numRef>
          </c:xVal>
          <c:yVal>
            <c:numRef>
              <c:f>Sheet1!$B$115:$B$116</c:f>
              <c:numCache>
                <c:formatCode>General</c:formatCode>
                <c:ptCount val="2"/>
                <c:pt idx="0">
                  <c:v>0.0055887696343898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22.6508282398563</c:v>
                </c:pt>
              </c:numCache>
            </c:numRef>
          </c:xVal>
          <c:yVal>
            <c:numRef>
              <c:f>Sheet1!$B$119:$B$120</c:f>
              <c:numCache>
                <c:formatCode>General</c:formatCode>
                <c:ptCount val="2"/>
                <c:pt idx="0">
                  <c:v>0.005588769634389872</c:v>
                </c:pt>
                <c:pt idx="1">
                  <c:v>0.005588769634389872</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22.6508282398563</c:v>
                </c:pt>
                <c:pt idx="1">
                  <c:v>3622.6508282398563</c:v>
                </c:pt>
              </c:numCache>
            </c:numRef>
          </c:xVal>
          <c:yVal>
            <c:numRef>
              <c:f>Sheet1!$B$123:$B$124</c:f>
              <c:numCache>
                <c:formatCode>General</c:formatCode>
                <c:ptCount val="2"/>
                <c:pt idx="0">
                  <c:v>0.0055887696343898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57.671500420285</c:v>
                </c:pt>
              </c:numCache>
            </c:numRef>
          </c:xVal>
          <c:yVal>
            <c:numRef>
              <c:f>Sheet1!$B$127:$B$128</c:f>
              <c:numCache>
                <c:formatCode>General</c:formatCode>
                <c:ptCount val="2"/>
                <c:pt idx="0">
                  <c:v>0.0030138971122743597</c:v>
                </c:pt>
                <c:pt idx="1">
                  <c:v>0.0030138971122743597</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57.671500420285</c:v>
                </c:pt>
                <c:pt idx="1">
                  <c:v>5057.671500420285</c:v>
                </c:pt>
              </c:numCache>
            </c:numRef>
          </c:xVal>
          <c:yVal>
            <c:numRef>
              <c:f>Sheet1!$B$131:$B$132</c:f>
              <c:numCache>
                <c:formatCode>General</c:formatCode>
                <c:ptCount val="2"/>
                <c:pt idx="0">
                  <c:v>0.00301389711227435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22.6508282398563</c:v>
                </c:pt>
                <c:pt idx="53">
                  <c:v>3622.6508282398563</c:v>
                </c:pt>
                <c:pt idx="54">
                  <c:v>5057.671500420285</c:v>
                </c:pt>
              </c:numCache>
            </c:numRef>
          </c:xVal>
          <c:yVal>
            <c:numRef>
              <c:f>Sheet1!$B$135:$B$189</c:f>
              <c:numCache>
                <c:formatCode>General</c:formatCode>
                <c:ptCount val="55"/>
                <c:pt idx="0">
                  <c:v>0.0021137057583704155</c:v>
                </c:pt>
                <c:pt idx="1">
                  <c:v>0.004957330860445159</c:v>
                </c:pt>
                <c:pt idx="2">
                  <c:v>0.00387513739800446</c:v>
                </c:pt>
                <c:pt idx="3">
                  <c:v>0.004679997758619682</c:v>
                </c:pt>
                <c:pt idx="4">
                  <c:v>0.0034191806954561275</c:v>
                </c:pt>
                <c:pt idx="5">
                  <c:v>0.003602962938590616</c:v>
                </c:pt>
                <c:pt idx="6">
                  <c:v>0.004382964564006096</c:v>
                </c:pt>
                <c:pt idx="7">
                  <c:v>0.00430879979378251</c:v>
                </c:pt>
                <c:pt idx="8">
                  <c:v>0.00468683856703511</c:v>
                </c:pt>
                <c:pt idx="9">
                  <c:v>0.005005889385754674</c:v>
                </c:pt>
                <c:pt idx="10">
                  <c:v>0.004638214011102726</c:v>
                </c:pt>
                <c:pt idx="11">
                  <c:v>0.005085364955912157</c:v>
                </c:pt>
                <c:pt idx="12">
                  <c:v>0.005410954959468229</c:v>
                </c:pt>
                <c:pt idx="13">
                  <c:v>0.005848783385142395</c:v>
                </c:pt>
                <c:pt idx="14">
                  <c:v>0.005695046151999507</c:v>
                </c:pt>
                <c:pt idx="15">
                  <c:v>0.004527032796674696</c:v>
                </c:pt>
                <c:pt idx="16">
                  <c:v>0.0054057963170565946</c:v>
                </c:pt>
                <c:pt idx="17">
                  <c:v>0.005092076035685373</c:v>
                </c:pt>
                <c:pt idx="18">
                  <c:v>0.003279987065862201</c:v>
                </c:pt>
                <c:pt idx="19">
                  <c:v>0.0051884105875371995</c:v>
                </c:pt>
                <c:pt idx="20">
                  <c:v>0.0033512360816792108</c:v>
                </c:pt>
                <c:pt idx="21">
                  <c:v>0.004269125617007591</c:v>
                </c:pt>
                <c:pt idx="22">
                  <c:v>0.005523348589436273</c:v>
                </c:pt>
                <c:pt idx="23">
                  <c:v>0.005267634415944995</c:v>
                </c:pt>
                <c:pt idx="24">
                  <c:v>0.004608938939705502</c:v>
                </c:pt>
                <c:pt idx="25">
                  <c:v>0.0062997366531290415</c:v>
                </c:pt>
                <c:pt idx="26">
                  <c:v>0.005545079662170724</c:v>
                </c:pt>
                <c:pt idx="27">
                  <c:v>0.0043529098647383125</c:v>
                </c:pt>
                <c:pt idx="28">
                  <c:v>0.004416757529569669</c:v>
                </c:pt>
                <c:pt idx="29">
                  <c:v>0.005486166530381536</c:v>
                </c:pt>
                <c:pt idx="30">
                  <c:v>0.0035627653614708384</c:v>
                </c:pt>
                <c:pt idx="31">
                  <c:v>0.0034843958042464103</c:v>
                </c:pt>
                <c:pt idx="32">
                  <c:v>0.003526330991561466</c:v>
                </c:pt>
                <c:pt idx="33">
                  <c:v>0.0030988962883337825</c:v>
                </c:pt>
                <c:pt idx="34">
                  <c:v>0.003907978481898685</c:v>
                </c:pt>
                <c:pt idx="35">
                  <c:v>0.0046320516314510675</c:v>
                </c:pt>
                <c:pt idx="36">
                  <c:v>0.003909745159922512</c:v>
                </c:pt>
                <c:pt idx="37">
                  <c:v>0.0035711587866788883</c:v>
                </c:pt>
                <c:pt idx="38">
                  <c:v>0.005017552403380978</c:v>
                </c:pt>
                <c:pt idx="39">
                  <c:v>0.004300656316013744</c:v>
                </c:pt>
                <c:pt idx="40">
                  <c:v>0.003144292341556165</c:v>
                </c:pt>
                <c:pt idx="41">
                  <c:v>0.003513920284789796</c:v>
                </c:pt>
                <c:pt idx="42">
                  <c:v>0.003643783500282681</c:v>
                </c:pt>
                <c:pt idx="43">
                  <c:v>0.003790602949093806</c:v>
                </c:pt>
                <c:pt idx="44">
                  <c:v>0.004374637169420914</c:v>
                </c:pt>
                <c:pt idx="45">
                  <c:v>0.004073745130852385</c:v>
                </c:pt>
                <c:pt idx="46">
                  <c:v>0.004334069605495821</c:v>
                </c:pt>
                <c:pt idx="47">
                  <c:v>0.004839225581598953</c:v>
                </c:pt>
                <c:pt idx="48">
                  <c:v>0.0051899005828967195</c:v>
                </c:pt>
                <c:pt idx="49">
                  <c:v>0.0047278834175276795</c:v>
                </c:pt>
                <c:pt idx="50">
                  <c:v>0.0038393882752383937</c:v>
                </c:pt>
                <c:pt idx="51">
                  <c:v>0.0037738193284364337</c:v>
                </c:pt>
                <c:pt idx="52">
                  <c:v>0.005588769634389872</c:v>
                </c:pt>
                <c:pt idx="53">
                  <c:v>0.005588769634389872</c:v>
                </c:pt>
                <c:pt idx="54">
                  <c:v>0.00301389711227435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93560257589696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7</c:f>
              <c:numCache>
                <c:formatCode>General</c:formatCode>
                <c:ptCount val="96"/>
                <c:pt idx="0">
                  <c:v>0.0</c:v>
                </c:pt>
                <c:pt idx="1">
                  <c:v>0.0</c:v>
                </c:pt>
                <c:pt idx="2">
                  <c:v>0.0</c:v>
                </c:pt>
                <c:pt idx="3">
                  <c:v>0.0</c:v>
                </c:pt>
                <c:pt idx="4">
                  <c:v>0.0</c:v>
                </c:pt>
                <c:pt idx="5">
                  <c:v>0.0</c:v>
                </c:pt>
                <c:pt idx="6">
                  <c:v>0.0</c:v>
                </c:pt>
                <c:pt idx="7">
                  <c:v>0.0</c:v>
                </c:pt>
                <c:pt idx="8">
                  <c:v>0.0</c:v>
                </c:pt>
                <c:pt idx="9">
                  <c:v>0.0</c:v>
                </c:pt>
                <c:pt idx="10">
                  <c:v>0.0</c:v>
                </c:pt>
                <c:pt idx="11">
                  <c:v>0.0</c:v>
                </c:pt>
                <c:pt idx="12">
                  <c:v>0.1707583196944899</c:v>
                </c:pt>
                <c:pt idx="13">
                  <c:v>0.0</c:v>
                </c:pt>
                <c:pt idx="14">
                  <c:v>0.1300456531774119</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7708503918586969</c:v>
                </c:pt>
                <c:pt idx="34">
                  <c:v>0.0</c:v>
                </c:pt>
                <c:pt idx="35">
                  <c:v>0.0</c:v>
                </c:pt>
                <c:pt idx="36">
                  <c:v>0.0</c:v>
                </c:pt>
                <c:pt idx="37">
                  <c:v>0.0</c:v>
                </c:pt>
                <c:pt idx="38">
                  <c:v>0.0</c:v>
                </c:pt>
                <c:pt idx="39">
                  <c:v>0.0</c:v>
                </c:pt>
                <c:pt idx="40">
                  <c:v>0.0</c:v>
                </c:pt>
                <c:pt idx="41">
                  <c:v>0.0</c:v>
                </c:pt>
                <c:pt idx="42">
                  <c:v>0.0</c:v>
                </c:pt>
                <c:pt idx="43">
                  <c:v>0.09339158106033771</c:v>
                </c:pt>
                <c:pt idx="44">
                  <c:v>0.0</c:v>
                </c:pt>
                <c:pt idx="45">
                  <c:v>0.0</c:v>
                </c:pt>
                <c:pt idx="46">
                  <c:v>0.0</c:v>
                </c:pt>
                <c:pt idx="47">
                  <c:v>0.19093009820912768</c:v>
                </c:pt>
                <c:pt idx="48">
                  <c:v>0.2448634822349993</c:v>
                </c:pt>
                <c:pt idx="49">
                  <c:v>0.11598149396965374</c:v>
                </c:pt>
                <c:pt idx="50">
                  <c:v>0.12625838926174496</c:v>
                </c:pt>
                <c:pt idx="51">
                  <c:v>0.0</c:v>
                </c:pt>
                <c:pt idx="52">
                  <c:v>0.0</c:v>
                </c:pt>
                <c:pt idx="53">
                  <c:v>0.0</c:v>
                </c:pt>
                <c:pt idx="54">
                  <c:v>0.0</c:v>
                </c:pt>
                <c:pt idx="55">
                  <c:v>0.0</c:v>
                </c:pt>
                <c:pt idx="56">
                  <c:v>0.27424400417101147</c:v>
                </c:pt>
                <c:pt idx="57">
                  <c:v>0.0</c:v>
                </c:pt>
                <c:pt idx="58">
                  <c:v>0.08030197624513424</c:v>
                </c:pt>
                <c:pt idx="59">
                  <c:v>0.14597009795497506</c:v>
                </c:pt>
                <c:pt idx="60">
                  <c:v>0.11794298490776971</c:v>
                </c:pt>
                <c:pt idx="61">
                  <c:v>0.20106104281475204</c:v>
                </c:pt>
                <c:pt idx="62">
                  <c:v>0.18296007789678675</c:v>
                </c:pt>
                <c:pt idx="63">
                  <c:v>0.0</c:v>
                </c:pt>
                <c:pt idx="64">
                  <c:v>0.11463068181818181</c:v>
                </c:pt>
                <c:pt idx="65">
                  <c:v>0.0</c:v>
                </c:pt>
                <c:pt idx="66">
                  <c:v>0.0</c:v>
                </c:pt>
                <c:pt idx="67">
                  <c:v>0.0</c:v>
                </c:pt>
                <c:pt idx="68">
                  <c:v>0.07328475182180669</c:v>
                </c:pt>
                <c:pt idx="69">
                  <c:v>0.09011362152278961</c:v>
                </c:pt>
                <c:pt idx="70">
                  <c:v>0.0</c:v>
                </c:pt>
                <c:pt idx="71">
                  <c:v>0.0</c:v>
                </c:pt>
                <c:pt idx="72">
                  <c:v>0.0</c:v>
                </c:pt>
                <c:pt idx="73">
                  <c:v>0.1362810417928528</c:v>
                </c:pt>
                <c:pt idx="74">
                  <c:v>0.1464249059185768</c:v>
                </c:pt>
                <c:pt idx="75">
                  <c:v>0.0</c:v>
                </c:pt>
                <c:pt idx="76">
                  <c:v>0.13170966191315495</c:v>
                </c:pt>
                <c:pt idx="77">
                  <c:v>0.09638384691149571</c:v>
                </c:pt>
                <c:pt idx="78">
                  <c:v>0.07720751368140807</c:v>
                </c:pt>
                <c:pt idx="79">
                  <c:v>0.15501608657502194</c:v>
                </c:pt>
                <c:pt idx="80">
                  <c:v>0.050028752156411734</c:v>
                </c:pt>
                <c:pt idx="81">
                  <c:v>0.10424413386331581</c:v>
                </c:pt>
                <c:pt idx="82">
                  <c:v>0.06955838715308081</c:v>
                </c:pt>
                <c:pt idx="83">
                  <c:v>0.10873850197109067</c:v>
                </c:pt>
                <c:pt idx="84">
                  <c:v>0.09147286821705426</c:v>
                </c:pt>
                <c:pt idx="85">
                  <c:v>0.10704486513866025</c:v>
                </c:pt>
                <c:pt idx="86">
                  <c:v>0.06091135521778005</c:v>
                </c:pt>
                <c:pt idx="87">
                  <c:v>0.0739745841512553</c:v>
                </c:pt>
                <c:pt idx="88">
                  <c:v>0.13037790697674417</c:v>
                </c:pt>
                <c:pt idx="89">
                  <c:v>0.13070283600493218</c:v>
                </c:pt>
                <c:pt idx="90">
                  <c:v>0.0</c:v>
                </c:pt>
                <c:pt idx="91">
                  <c:v>0.0</c:v>
                </c:pt>
                <c:pt idx="92">
                  <c:v>0.0</c:v>
                </c:pt>
                <c:pt idx="93">
                  <c:v>0.0</c:v>
                </c:pt>
                <c:pt idx="94">
                  <c:v>0.0</c:v>
                </c:pt>
                <c:pt idx="95">
                  <c:v>0.0</c:v>
                </c:pt>
              </c:numCache>
            </c:numRef>
          </c:xVal>
          <c:yVal>
            <c:numRef>
              <c:f>Sheet1!$B$2:$B$97</c:f>
              <c:numCache>
                <c:formatCode>General</c:formatCode>
                <c:ptCount val="96"/>
                <c:pt idx="0">
                  <c:v>0.3448275862068966</c:v>
                </c:pt>
                <c:pt idx="1">
                  <c:v>0.35714285714285715</c:v>
                </c:pt>
                <c:pt idx="2">
                  <c:v>0.32432432432432434</c:v>
                </c:pt>
                <c:pt idx="3">
                  <c:v>0.4</c:v>
                </c:pt>
                <c:pt idx="4">
                  <c:v>0.2857142857142857</c:v>
                </c:pt>
                <c:pt idx="5">
                  <c:v>0.32</c:v>
                </c:pt>
                <c:pt idx="6">
                  <c:v>0.45454545454545453</c:v>
                </c:pt>
                <c:pt idx="7">
                  <c:v>0.35714285714285715</c:v>
                </c:pt>
                <c:pt idx="8">
                  <c:v>0.2222222222222222</c:v>
                </c:pt>
                <c:pt idx="9">
                  <c:v>0.16666666666666666</c:v>
                </c:pt>
                <c:pt idx="10">
                  <c:v>0.5</c:v>
                </c:pt>
                <c:pt idx="11">
                  <c:v>0.2727272727272727</c:v>
                </c:pt>
                <c:pt idx="12">
                  <c:v>0.375</c:v>
                </c:pt>
                <c:pt idx="13">
                  <c:v>0.35714285714285715</c:v>
                </c:pt>
                <c:pt idx="14">
                  <c:v>0.375</c:v>
                </c:pt>
                <c:pt idx="15">
                  <c:v>0.3076923076923077</c:v>
                </c:pt>
                <c:pt idx="16">
                  <c:v>0.18181818181818182</c:v>
                </c:pt>
                <c:pt idx="17">
                  <c:v>0.16666666666666666</c:v>
                </c:pt>
                <c:pt idx="18">
                  <c:v>0.2857142857142857</c:v>
                </c:pt>
                <c:pt idx="19">
                  <c:v>0.125</c:v>
                </c:pt>
                <c:pt idx="20">
                  <c:v>0.25</c:v>
                </c:pt>
                <c:pt idx="21">
                  <c:v>0.4</c:v>
                </c:pt>
                <c:pt idx="22">
                  <c:v>0.3333333333333333</c:v>
                </c:pt>
                <c:pt idx="23">
                  <c:v>0.14285714285714285</c:v>
                </c:pt>
                <c:pt idx="24">
                  <c:v>0.2857142857142857</c:v>
                </c:pt>
                <c:pt idx="25">
                  <c:v>0.2857142857142857</c:v>
                </c:pt>
                <c:pt idx="26">
                  <c:v>0.2857142857142857</c:v>
                </c:pt>
                <c:pt idx="27">
                  <c:v>0.2222222222222222</c:v>
                </c:pt>
                <c:pt idx="28">
                  <c:v>0.1111111111111111</c:v>
                </c:pt>
                <c:pt idx="29">
                  <c:v>0.1111111111111111</c:v>
                </c:pt>
                <c:pt idx="30">
                  <c:v>0.1111111111111111</c:v>
                </c:pt>
                <c:pt idx="31">
                  <c:v>0.2</c:v>
                </c:pt>
                <c:pt idx="32">
                  <c:v>0.2</c:v>
                </c:pt>
                <c:pt idx="33">
                  <c:v>0.13333333333333333</c:v>
                </c:pt>
                <c:pt idx="34">
                  <c:v>0.1</c:v>
                </c:pt>
                <c:pt idx="35">
                  <c:v>0.1111111111111111</c:v>
                </c:pt>
                <c:pt idx="36">
                  <c:v>0.125</c:v>
                </c:pt>
                <c:pt idx="37">
                  <c:v>0.3333333333333333</c:v>
                </c:pt>
                <c:pt idx="38">
                  <c:v>0.7666666666666667</c:v>
                </c:pt>
                <c:pt idx="39">
                  <c:v>0.8085106382978723</c:v>
                </c:pt>
                <c:pt idx="40">
                  <c:v>0.7352941176470589</c:v>
                </c:pt>
                <c:pt idx="41">
                  <c:v>0.7073170731707317</c:v>
                </c:pt>
                <c:pt idx="42">
                  <c:v>0.7027027027027027</c:v>
                </c:pt>
                <c:pt idx="43">
                  <c:v>0.6</c:v>
                </c:pt>
                <c:pt idx="44">
                  <c:v>0.5</c:v>
                </c:pt>
                <c:pt idx="45">
                  <c:v>0.4230769230769231</c:v>
                </c:pt>
                <c:pt idx="46">
                  <c:v>0.391304347826087</c:v>
                </c:pt>
                <c:pt idx="47">
                  <c:v>0.32432432432432434</c:v>
                </c:pt>
                <c:pt idx="48">
                  <c:v>0.22448979591836735</c:v>
                </c:pt>
                <c:pt idx="49">
                  <c:v>0.2</c:v>
                </c:pt>
                <c:pt idx="50">
                  <c:v>0.2857142857142857</c:v>
                </c:pt>
                <c:pt idx="51">
                  <c:v>0.2222222222222222</c:v>
                </c:pt>
                <c:pt idx="52">
                  <c:v>0.2</c:v>
                </c:pt>
                <c:pt idx="53">
                  <c:v>0.16666666666666666</c:v>
                </c:pt>
                <c:pt idx="54">
                  <c:v>0.16666666666666666</c:v>
                </c:pt>
                <c:pt idx="55">
                  <c:v>0.043478260869565216</c:v>
                </c:pt>
                <c:pt idx="56">
                  <c:v>0.03225806451612903</c:v>
                </c:pt>
                <c:pt idx="57">
                  <c:v>0.3023255813953488</c:v>
                </c:pt>
                <c:pt idx="58">
                  <c:v>0.14666666666666667</c:v>
                </c:pt>
                <c:pt idx="59">
                  <c:v>0.07936507936507936</c:v>
                </c:pt>
                <c:pt idx="60">
                  <c:v>0.10714285714285714</c:v>
                </c:pt>
                <c:pt idx="61">
                  <c:v>0.3793103448275862</c:v>
                </c:pt>
                <c:pt idx="62">
                  <c:v>0.07407407407407407</c:v>
                </c:pt>
                <c:pt idx="63">
                  <c:v>0.15789473684210525</c:v>
                </c:pt>
                <c:pt idx="64">
                  <c:v>0.15</c:v>
                </c:pt>
                <c:pt idx="65">
                  <c:v>0.19047619047619047</c:v>
                </c:pt>
                <c:pt idx="66">
                  <c:v>0.23529411764705882</c:v>
                </c:pt>
                <c:pt idx="67">
                  <c:v>0.14285714285714285</c:v>
                </c:pt>
                <c:pt idx="68">
                  <c:v>0.08333333333333333</c:v>
                </c:pt>
                <c:pt idx="69">
                  <c:v>0.06666666666666667</c:v>
                </c:pt>
                <c:pt idx="70">
                  <c:v>0.2857142857142857</c:v>
                </c:pt>
                <c:pt idx="71">
                  <c:v>0.1</c:v>
                </c:pt>
                <c:pt idx="72">
                  <c:v>0.125</c:v>
                </c:pt>
                <c:pt idx="73">
                  <c:v>0.125</c:v>
                </c:pt>
                <c:pt idx="74">
                  <c:v>0.14285714285714285</c:v>
                </c:pt>
                <c:pt idx="75">
                  <c:v>0.2222222222222222</c:v>
                </c:pt>
                <c:pt idx="76">
                  <c:v>0.1111111111111111</c:v>
                </c:pt>
                <c:pt idx="77">
                  <c:v>0.1</c:v>
                </c:pt>
                <c:pt idx="78">
                  <c:v>0.3076923076923077</c:v>
                </c:pt>
                <c:pt idx="79">
                  <c:v>0.1</c:v>
                </c:pt>
                <c:pt idx="80">
                  <c:v>0.14285714285714285</c:v>
                </c:pt>
                <c:pt idx="81">
                  <c:v>0.15789473684210525</c:v>
                </c:pt>
                <c:pt idx="82">
                  <c:v>0.047619047619047616</c:v>
                </c:pt>
                <c:pt idx="83">
                  <c:v>0.08695652173913043</c:v>
                </c:pt>
                <c:pt idx="84">
                  <c:v>0.13043478260869565</c:v>
                </c:pt>
                <c:pt idx="85">
                  <c:v>0.1111111111111111</c:v>
                </c:pt>
                <c:pt idx="86">
                  <c:v>0.2222222222222222</c:v>
                </c:pt>
                <c:pt idx="87">
                  <c:v>0.07692307692307693</c:v>
                </c:pt>
                <c:pt idx="88">
                  <c:v>0.058823529411764705</c:v>
                </c:pt>
                <c:pt idx="89">
                  <c:v>0.1</c:v>
                </c:pt>
                <c:pt idx="90">
                  <c:v>0.045454545454545456</c:v>
                </c:pt>
                <c:pt idx="91">
                  <c:v>0.1</c:v>
                </c:pt>
                <c:pt idx="92">
                  <c:v>0.16666666666666666</c:v>
                </c:pt>
                <c:pt idx="93">
                  <c:v>0.2</c:v>
                </c:pt>
                <c:pt idx="94">
                  <c:v>0.3333333333333333</c:v>
                </c:pt>
                <c:pt idx="95">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9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0:$A$141</c:f>
              <c:numCache>
                <c:formatCode>General</c:formatCode>
                <c:ptCount val="4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10048933939182104</c:v>
                </c:pt>
                <c:pt idx="15">
                  <c:v>0.10180369591678655</c:v>
                </c:pt>
                <c:pt idx="16">
                  <c:v>0.23039166583191426</c:v>
                </c:pt>
                <c:pt idx="17">
                  <c:v>0.1711552079688473</c:v>
                </c:pt>
                <c:pt idx="18">
                  <c:v>0.06105885922330097</c:v>
                </c:pt>
                <c:pt idx="19">
                  <c:v>0.059955510786535715</c:v>
                </c:pt>
                <c:pt idx="20">
                  <c:v>0.07300081161408321</c:v>
                </c:pt>
                <c:pt idx="21">
                  <c:v>0.1366662557021329</c:v>
                </c:pt>
                <c:pt idx="22">
                  <c:v>0.14853815659068384</c:v>
                </c:pt>
                <c:pt idx="23">
                  <c:v>0.07720580674626476</c:v>
                </c:pt>
                <c:pt idx="24">
                  <c:v>0.06726934325977134</c:v>
                </c:pt>
                <c:pt idx="25">
                  <c:v>0.0</c:v>
                </c:pt>
                <c:pt idx="26">
                  <c:v>0.0</c:v>
                </c:pt>
                <c:pt idx="27">
                  <c:v>0.0</c:v>
                </c:pt>
                <c:pt idx="28">
                  <c:v>0.09803921568627451</c:v>
                </c:pt>
                <c:pt idx="29">
                  <c:v>0.0</c:v>
                </c:pt>
                <c:pt idx="30">
                  <c:v>0.0</c:v>
                </c:pt>
                <c:pt idx="31">
                  <c:v>0.2212549873050417</c:v>
                </c:pt>
                <c:pt idx="32">
                  <c:v>0.0</c:v>
                </c:pt>
                <c:pt idx="33">
                  <c:v>0.0</c:v>
                </c:pt>
                <c:pt idx="34">
                  <c:v>0.0</c:v>
                </c:pt>
                <c:pt idx="35">
                  <c:v>0.04453681710213777</c:v>
                </c:pt>
                <c:pt idx="36">
                  <c:v>0.07810009563277016</c:v>
                </c:pt>
                <c:pt idx="37">
                  <c:v>0.04129088340758448</c:v>
                </c:pt>
                <c:pt idx="38">
                  <c:v>0.057590097159940214</c:v>
                </c:pt>
                <c:pt idx="39">
                  <c:v>0.0</c:v>
                </c:pt>
                <c:pt idx="40">
                  <c:v>0.0</c:v>
                </c:pt>
                <c:pt idx="41">
                  <c:v>0.0</c:v>
                </c:pt>
              </c:numCache>
            </c:numRef>
          </c:xVal>
          <c:yVal>
            <c:numRef>
              <c:f>Sheet1!$B$100:$B$141</c:f>
              <c:numCache>
                <c:formatCode>General</c:formatCode>
                <c:ptCount val="4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6666666666666667</c:v>
                </c:pt>
                <c:pt idx="15">
                  <c:v>0.08333333333333333</c:v>
                </c:pt>
                <c:pt idx="16">
                  <c:v>0.0625</c:v>
                </c:pt>
                <c:pt idx="17">
                  <c:v>0.11764705882352941</c:v>
                </c:pt>
                <c:pt idx="18">
                  <c:v>0.125</c:v>
                </c:pt>
                <c:pt idx="19">
                  <c:v>0.35294117647058826</c:v>
                </c:pt>
                <c:pt idx="20">
                  <c:v>0.5806451612903226</c:v>
                </c:pt>
                <c:pt idx="21">
                  <c:v>0.25</c:v>
                </c:pt>
                <c:pt idx="22">
                  <c:v>0.125</c:v>
                </c:pt>
                <c:pt idx="23">
                  <c:v>0.25</c:v>
                </c:pt>
                <c:pt idx="24">
                  <c:v>0.14285714285714285</c:v>
                </c:pt>
                <c:pt idx="25">
                  <c:v>0.0</c:v>
                </c:pt>
                <c:pt idx="26">
                  <c:v>0.0</c:v>
                </c:pt>
                <c:pt idx="27">
                  <c:v>0.0</c:v>
                </c:pt>
                <c:pt idx="28">
                  <c:v>0.125</c:v>
                </c:pt>
                <c:pt idx="29">
                  <c:v>0.0</c:v>
                </c:pt>
                <c:pt idx="30">
                  <c:v>0.0</c:v>
                </c:pt>
                <c:pt idx="31">
                  <c:v>0.1</c:v>
                </c:pt>
                <c:pt idx="32">
                  <c:v>0.0</c:v>
                </c:pt>
                <c:pt idx="33">
                  <c:v>0.0</c:v>
                </c:pt>
                <c:pt idx="34">
                  <c:v>0.0</c:v>
                </c:pt>
                <c:pt idx="35">
                  <c:v>0.4444444444444444</c:v>
                </c:pt>
                <c:pt idx="36">
                  <c:v>0.2857142857142857</c:v>
                </c:pt>
                <c:pt idx="37">
                  <c:v>0.14285714285714285</c:v>
                </c:pt>
                <c:pt idx="38">
                  <c:v>0.23076923076923078</c:v>
                </c:pt>
                <c:pt idx="39">
                  <c:v>0.0</c:v>
                </c:pt>
                <c:pt idx="40">
                  <c:v>0.0</c:v>
                </c:pt>
                <c:pt idx="41">
                  <c:v>0.0</c:v>
                </c:pt>
              </c:numCache>
            </c:numRef>
          </c:yVal>
          <c:smooth val="0"/>
          <c:extLst>
            <c:ext xmlns:c16="http://schemas.microsoft.com/office/drawing/2014/chart" uri="{C3380CC4-5D6E-409C-BE32-E72D297353CC}">
              <c16:uniqueId val="{00000002-096C-4121-9522-6AB7243CCAAE}"/>
            </c:ext>
          </c:extLst>
        </c:ser>
        <c:ser>
          <c:idx val="2"/>
          <c:order val="2"/>
          <c:tx>
            <c:strRef>
              <c:f>Sheet1!$B$14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4:$A$145</c:f>
              <c:numCache>
                <c:formatCode>General</c:formatCode>
                <c:ptCount val="2"/>
                <c:pt idx="0">
                  <c:v>0</c:v>
                </c:pt>
                <c:pt idx="1">
                  <c:v>0.4771221868175223</c:v>
                </c:pt>
              </c:numCache>
            </c:numRef>
          </c:xVal>
          <c:yVal>
            <c:numRef>
              <c:f>Sheet1!$B$144:$B$145</c:f>
              <c:numCache>
                <c:formatCode>General</c:formatCode>
                <c:ptCount val="2"/>
                <c:pt idx="0">
                  <c:v>0.4849474549101913</c:v>
                </c:pt>
                <c:pt idx="1">
                  <c:v>0.4849474549101913</c:v>
                </c:pt>
              </c:numCache>
            </c:numRef>
          </c:yVal>
          <c:smooth val="0"/>
          <c:extLst>
            <c:ext xmlns:c16="http://schemas.microsoft.com/office/drawing/2014/chart" uri="{C3380CC4-5D6E-409C-BE32-E72D297353CC}">
              <c16:uniqueId val="{00000005-096C-4121-9522-6AB7243CCAAE}"/>
            </c:ext>
          </c:extLst>
        </c:ser>
        <c:ser>
          <c:idx val="3"/>
          <c:order val="3"/>
          <c:tx>
            <c:strRef>
              <c:f>Sheet1!$B$14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771221868175223</c:v>
                </c:pt>
                <c:pt idx="1">
                  <c:v>0.4771221868175223</c:v>
                </c:pt>
              </c:numCache>
            </c:numRef>
          </c:xVal>
          <c:yVal>
            <c:numRef>
              <c:f>Sheet1!$B$148:$B$149</c:f>
              <c:numCache>
                <c:formatCode>General</c:formatCode>
                <c:ptCount val="2"/>
                <c:pt idx="0">
                  <c:v>0.48494745491019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2:$A$153</c:f>
              <c:numCache>
                <c:formatCode>General</c:formatCode>
                <c:ptCount val="2"/>
                <c:pt idx="0">
                  <c:v>0</c:v>
                </c:pt>
                <c:pt idx="1">
                  <c:v>0.15481512950045073</c:v>
                </c:pt>
              </c:numCache>
            </c:numRef>
          </c:xVal>
          <c:yVal>
            <c:numRef>
              <c:f>Sheet1!$B$152:$B$153</c:f>
              <c:numCache>
                <c:formatCode>General</c:formatCode>
                <c:ptCount val="2"/>
                <c:pt idx="0">
                  <c:v>0.1871319935598873</c:v>
                </c:pt>
                <c:pt idx="1">
                  <c:v>0.1871319935598873</c:v>
                </c:pt>
              </c:numCache>
            </c:numRef>
          </c:yVal>
          <c:smooth val="0"/>
          <c:extLst>
            <c:ext xmlns:c16="http://schemas.microsoft.com/office/drawing/2014/chart" uri="{C3380CC4-5D6E-409C-BE32-E72D297353CC}">
              <c16:uniqueId val="{0000000D-096C-4121-9522-6AB7243CCAAE}"/>
            </c:ext>
          </c:extLst>
        </c:ser>
        <c:ser>
          <c:idx val="5"/>
          <c:order val="5"/>
          <c:tx>
            <c:strRef>
              <c:f>Sheet1!$B$15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15481512950045073</c:v>
                </c:pt>
                <c:pt idx="1">
                  <c:v>0.15481512950045073</c:v>
                </c:pt>
              </c:numCache>
            </c:numRef>
          </c:xVal>
          <c:yVal>
            <c:numRef>
              <c:f>Sheet1!$B$156:$B$157</c:f>
              <c:numCache>
                <c:formatCode>General</c:formatCode>
                <c:ptCount val="2"/>
                <c:pt idx="0">
                  <c:v>0.18713199355988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0:$A$204</c:f>
              <c:numCache>
                <c:formatCode>General</c:formatCode>
                <c:ptCount val="45"/>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10048933939182104</c:v>
                </c:pt>
                <c:pt idx="15">
                  <c:v>0.10180369591678655</c:v>
                </c:pt>
                <c:pt idx="16">
                  <c:v>0.23039166583191426</c:v>
                </c:pt>
                <c:pt idx="17">
                  <c:v>0.1711552079688473</c:v>
                </c:pt>
                <c:pt idx="18">
                  <c:v>0.06105885922330097</c:v>
                </c:pt>
                <c:pt idx="19">
                  <c:v>0.059955510786535715</c:v>
                </c:pt>
                <c:pt idx="20">
                  <c:v>0.07300081161408321</c:v>
                </c:pt>
                <c:pt idx="21">
                  <c:v>0.1366662557021329</c:v>
                </c:pt>
                <c:pt idx="22">
                  <c:v>0.14853815659068384</c:v>
                </c:pt>
                <c:pt idx="23">
                  <c:v>0.07720580674626476</c:v>
                </c:pt>
                <c:pt idx="24">
                  <c:v>0.06726934325977134</c:v>
                </c:pt>
                <c:pt idx="25">
                  <c:v>0.0</c:v>
                </c:pt>
                <c:pt idx="26">
                  <c:v>0.0</c:v>
                </c:pt>
                <c:pt idx="27">
                  <c:v>0.0</c:v>
                </c:pt>
                <c:pt idx="28">
                  <c:v>0.09803921568627451</c:v>
                </c:pt>
                <c:pt idx="29">
                  <c:v>0.0</c:v>
                </c:pt>
                <c:pt idx="30">
                  <c:v>0.0</c:v>
                </c:pt>
                <c:pt idx="31">
                  <c:v>0.2212549873050417</c:v>
                </c:pt>
                <c:pt idx="32">
                  <c:v>0.0</c:v>
                </c:pt>
                <c:pt idx="33">
                  <c:v>0.0</c:v>
                </c:pt>
                <c:pt idx="34">
                  <c:v>0.0</c:v>
                </c:pt>
                <c:pt idx="35">
                  <c:v>0.04453681710213777</c:v>
                </c:pt>
                <c:pt idx="36">
                  <c:v>0.07810009563277016</c:v>
                </c:pt>
                <c:pt idx="37">
                  <c:v>0.04129088340758448</c:v>
                </c:pt>
                <c:pt idx="38">
                  <c:v>0.057590097159940214</c:v>
                </c:pt>
                <c:pt idx="39">
                  <c:v>0.0</c:v>
                </c:pt>
                <c:pt idx="40">
                  <c:v>0.0</c:v>
                </c:pt>
                <c:pt idx="41">
                  <c:v>0.0</c:v>
                </c:pt>
                <c:pt idx="42">
                  <c:v>0.15481512950045073</c:v>
                </c:pt>
                <c:pt idx="43">
                  <c:v>0.4771221868175223</c:v>
                </c:pt>
                <c:pt idx="44">
                  <c:v>0</c:v>
                </c:pt>
              </c:numCache>
            </c:numRef>
          </c:xVal>
          <c:yVal>
            <c:numRef>
              <c:f>Sheet1!$B$160:$B$204</c:f>
              <c:numCache>
                <c:formatCode>General</c:formatCode>
                <c:ptCount val="45"/>
                <c:pt idx="0">
                  <c:v>0.044081017264241386</c:v>
                </c:pt>
                <c:pt idx="1">
                  <c:v>0.044081017264241386</c:v>
                </c:pt>
                <c:pt idx="2">
                  <c:v>0.044081017264241386</c:v>
                </c:pt>
                <c:pt idx="3">
                  <c:v>0.044081017264241386</c:v>
                </c:pt>
                <c:pt idx="4">
                  <c:v>0.044081017264241386</c:v>
                </c:pt>
                <c:pt idx="5">
                  <c:v>0.044081017264241386</c:v>
                </c:pt>
                <c:pt idx="6">
                  <c:v>0.044081017264241386</c:v>
                </c:pt>
                <c:pt idx="7">
                  <c:v>0.044081017264241386</c:v>
                </c:pt>
                <c:pt idx="8">
                  <c:v>0.044081017264241386</c:v>
                </c:pt>
                <c:pt idx="9">
                  <c:v>0.044081017264241386</c:v>
                </c:pt>
                <c:pt idx="10">
                  <c:v>0.044081017264241386</c:v>
                </c:pt>
                <c:pt idx="11">
                  <c:v>0.044081017264241386</c:v>
                </c:pt>
                <c:pt idx="12">
                  <c:v>0.044081017264241386</c:v>
                </c:pt>
                <c:pt idx="13">
                  <c:v>0.044081017264241386</c:v>
                </c:pt>
                <c:pt idx="14">
                  <c:v>0.13693433304603425</c:v>
                </c:pt>
                <c:pt idx="15">
                  <c:v>0.1381488137282748</c:v>
                </c:pt>
                <c:pt idx="16">
                  <c:v>0.256965590199599</c:v>
                </c:pt>
                <c:pt idx="17">
                  <c:v>0.20223041569210395</c:v>
                </c:pt>
                <c:pt idx="18">
                  <c:v>0.10050011177765054</c:v>
                </c:pt>
                <c:pt idx="19">
                  <c:v>0.09948060501766631</c:v>
                </c:pt>
                <c:pt idx="20">
                  <c:v>0.11153461437368106</c:v>
                </c:pt>
                <c:pt idx="21">
                  <c:v>0.1703622235516642</c:v>
                </c:pt>
                <c:pt idx="22">
                  <c:v>0.18133199774668185</c:v>
                </c:pt>
                <c:pt idx="23">
                  <c:v>0.11542007867499313</c:v>
                </c:pt>
                <c:pt idx="24">
                  <c:v>0.10623867110032335</c:v>
                </c:pt>
                <c:pt idx="25">
                  <c:v>0.044081017264241386</c:v>
                </c:pt>
                <c:pt idx="26">
                  <c:v>0.044081017264241386</c:v>
                </c:pt>
                <c:pt idx="27">
                  <c:v>0.044081017264241386</c:v>
                </c:pt>
                <c:pt idx="28">
                  <c:v>0.13467039030830255</c:v>
                </c:pt>
                <c:pt idx="29">
                  <c:v>0.044081017264241386</c:v>
                </c:pt>
                <c:pt idx="30">
                  <c:v>0.044081017264241386</c:v>
                </c:pt>
                <c:pt idx="31">
                  <c:v>0.2485231932091629</c:v>
                </c:pt>
                <c:pt idx="32">
                  <c:v>0.044081017264241386</c:v>
                </c:pt>
                <c:pt idx="33">
                  <c:v>0.044081017264241386</c:v>
                </c:pt>
                <c:pt idx="34">
                  <c:v>0.044081017264241386</c:v>
                </c:pt>
                <c:pt idx="35">
                  <c:v>0.08523355311858034</c:v>
                </c:pt>
                <c:pt idx="36">
                  <c:v>0.11624641198439087</c:v>
                </c:pt>
                <c:pt idx="37">
                  <c:v>0.08223427271559215</c:v>
                </c:pt>
                <c:pt idx="38">
                  <c:v>0.09729493537595002</c:v>
                </c:pt>
                <c:pt idx="39">
                  <c:v>0.044081017264241386</c:v>
                </c:pt>
                <c:pt idx="40">
                  <c:v>0.044081017264241386</c:v>
                </c:pt>
                <c:pt idx="41">
                  <c:v>0.044081017264241386</c:v>
                </c:pt>
                <c:pt idx="42">
                  <c:v>0.1871319935598873</c:v>
                </c:pt>
                <c:pt idx="43">
                  <c:v>0.4849474549101913</c:v>
                </c:pt>
                <c:pt idx="44">
                  <c:v>0.044081017264241386</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021276595744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1</c:f>
              <c:numCache>
                <c:formatCode>General</c:formatCode>
                <c:ptCount val="90"/>
                <c:pt idx="0">
                  <c:v>712.6</c:v>
                </c:pt>
                <c:pt idx="1">
                  <c:v>774.5</c:v>
                </c:pt>
                <c:pt idx="2">
                  <c:v>825.4167</c:v>
                </c:pt>
                <c:pt idx="3">
                  <c:v>815.8333</c:v>
                </c:pt>
                <c:pt idx="4">
                  <c:v>903.5</c:v>
                </c:pt>
                <c:pt idx="5">
                  <c:v>793.125</c:v>
                </c:pt>
                <c:pt idx="6">
                  <c:v>718.8</c:v>
                </c:pt>
                <c:pt idx="7">
                  <c:v>715.8</c:v>
                </c:pt>
                <c:pt idx="8">
                  <c:v>883.5</c:v>
                </c:pt>
                <c:pt idx="9">
                  <c:v>767.25</c:v>
                </c:pt>
                <c:pt idx="10">
                  <c:v>555.2857</c:v>
                </c:pt>
                <c:pt idx="11">
                  <c:v>806.3333</c:v>
                </c:pt>
                <c:pt idx="12">
                  <c:v>939.0</c:v>
                </c:pt>
                <c:pt idx="13">
                  <c:v>817.8</c:v>
                </c:pt>
                <c:pt idx="14">
                  <c:v>845.1667</c:v>
                </c:pt>
                <c:pt idx="15">
                  <c:v>890.25</c:v>
                </c:pt>
                <c:pt idx="16">
                  <c:v>982.5</c:v>
                </c:pt>
                <c:pt idx="17">
                  <c:v>826.0</c:v>
                </c:pt>
                <c:pt idx="18">
                  <c:v>1012.5</c:v>
                </c:pt>
                <c:pt idx="19">
                  <c:v>1178.0</c:v>
                </c:pt>
                <c:pt idx="20">
                  <c:v>779.6667</c:v>
                </c:pt>
                <c:pt idx="21">
                  <c:v>926.0</c:v>
                </c:pt>
                <c:pt idx="22">
                  <c:v>699.3333</c:v>
                </c:pt>
                <c:pt idx="23">
                  <c:v>909.0</c:v>
                </c:pt>
                <c:pt idx="24">
                  <c:v>1058.5</c:v>
                </c:pt>
                <c:pt idx="25">
                  <c:v>890.0</c:v>
                </c:pt>
                <c:pt idx="26">
                  <c:v>869.5</c:v>
                </c:pt>
                <c:pt idx="27">
                  <c:v>773.5</c:v>
                </c:pt>
                <c:pt idx="28">
                  <c:v>626.0</c:v>
                </c:pt>
                <c:pt idx="29">
                  <c:v>784.0</c:v>
                </c:pt>
                <c:pt idx="30">
                  <c:v>970.0</c:v>
                </c:pt>
                <c:pt idx="31">
                  <c:v>545.0</c:v>
                </c:pt>
                <c:pt idx="32">
                  <c:v>699.0</c:v>
                </c:pt>
                <c:pt idx="33">
                  <c:v>659.0</c:v>
                </c:pt>
                <c:pt idx="34">
                  <c:v>1032.0</c:v>
                </c:pt>
                <c:pt idx="35">
                  <c:v>591.0</c:v>
                </c:pt>
                <c:pt idx="36">
                  <c:v>610.0</c:v>
                </c:pt>
                <c:pt idx="37">
                  <c:v>772.0</c:v>
                </c:pt>
                <c:pt idx="38">
                  <c:v>790.0435</c:v>
                </c:pt>
                <c:pt idx="39">
                  <c:v>804.3158</c:v>
                </c:pt>
                <c:pt idx="40">
                  <c:v>800.64</c:v>
                </c:pt>
                <c:pt idx="41">
                  <c:v>774.2069</c:v>
                </c:pt>
                <c:pt idx="42">
                  <c:v>806.0</c:v>
                </c:pt>
                <c:pt idx="43">
                  <c:v>790.9333</c:v>
                </c:pt>
                <c:pt idx="44">
                  <c:v>836.3529</c:v>
                </c:pt>
                <c:pt idx="45">
                  <c:v>816.6364</c:v>
                </c:pt>
                <c:pt idx="46">
                  <c:v>780.5556</c:v>
                </c:pt>
                <c:pt idx="47">
                  <c:v>826.25</c:v>
                </c:pt>
                <c:pt idx="48">
                  <c:v>830.4545</c:v>
                </c:pt>
                <c:pt idx="49">
                  <c:v>894.3333</c:v>
                </c:pt>
                <c:pt idx="50">
                  <c:v>752.5</c:v>
                </c:pt>
                <c:pt idx="51">
                  <c:v>783.75</c:v>
                </c:pt>
                <c:pt idx="52">
                  <c:v>896.3333</c:v>
                </c:pt>
                <c:pt idx="53">
                  <c:v>765.5</c:v>
                </c:pt>
                <c:pt idx="54">
                  <c:v>837.3333</c:v>
                </c:pt>
                <c:pt idx="55">
                  <c:v>1030.0</c:v>
                </c:pt>
                <c:pt idx="56">
                  <c:v>1315.0</c:v>
                </c:pt>
                <c:pt idx="57">
                  <c:v>652.1538</c:v>
                </c:pt>
                <c:pt idx="58">
                  <c:v>804.5455</c:v>
                </c:pt>
                <c:pt idx="59">
                  <c:v>849.4</c:v>
                </c:pt>
                <c:pt idx="60">
                  <c:v>844.0</c:v>
                </c:pt>
                <c:pt idx="61">
                  <c:v>711.4545</c:v>
                </c:pt>
                <c:pt idx="62">
                  <c:v>939.5</c:v>
                </c:pt>
                <c:pt idx="63">
                  <c:v>955.0</c:v>
                </c:pt>
                <c:pt idx="64">
                  <c:v>807.0</c:v>
                </c:pt>
                <c:pt idx="65">
                  <c:v>619.5</c:v>
                </c:pt>
                <c:pt idx="66">
                  <c:v>771.75</c:v>
                </c:pt>
                <c:pt idx="67">
                  <c:v>508.5</c:v>
                </c:pt>
                <c:pt idx="68">
                  <c:v>533.0</c:v>
                </c:pt>
                <c:pt idx="69">
                  <c:v>690.0</c:v>
                </c:pt>
                <c:pt idx="70">
                  <c:v>480.5</c:v>
                </c:pt>
                <c:pt idx="71">
                  <c:v>690.0</c:v>
                </c:pt>
                <c:pt idx="72">
                  <c:v>1427.0</c:v>
                </c:pt>
                <c:pt idx="73">
                  <c:v>900.0</c:v>
                </c:pt>
                <c:pt idx="74">
                  <c:v>856.0</c:v>
                </c:pt>
                <c:pt idx="75">
                  <c:v>702.5</c:v>
                </c:pt>
                <c:pt idx="76">
                  <c:v>822.0</c:v>
                </c:pt>
                <c:pt idx="77">
                  <c:v>685.0</c:v>
                </c:pt>
                <c:pt idx="78">
                  <c:v>522.0</c:v>
                </c:pt>
                <c:pt idx="79">
                  <c:v>1060.0</c:v>
                </c:pt>
                <c:pt idx="80">
                  <c:v>522.0</c:v>
                </c:pt>
                <c:pt idx="81">
                  <c:v>813.0</c:v>
                </c:pt>
                <c:pt idx="82">
                  <c:v>797.0</c:v>
                </c:pt>
                <c:pt idx="83">
                  <c:v>827.5</c:v>
                </c:pt>
                <c:pt idx="84">
                  <c:v>944.0</c:v>
                </c:pt>
                <c:pt idx="85">
                  <c:v>845.3333</c:v>
                </c:pt>
                <c:pt idx="86">
                  <c:v>953.75</c:v>
                </c:pt>
                <c:pt idx="87">
                  <c:v>716.0</c:v>
                </c:pt>
                <c:pt idx="88">
                  <c:v>897.0</c:v>
                </c:pt>
                <c:pt idx="89">
                  <c:v>742.0</c:v>
                </c:pt>
              </c:numCache>
            </c:numRef>
          </c:xVal>
          <c:yVal>
            <c:numRef>
              <c:f>Sheet1!$B$2:$B$91</c:f>
              <c:numCache>
                <c:formatCode>General</c:formatCode>
                <c:ptCount val="90"/>
                <c:pt idx="0">
                  <c:v>0.3448275862068966</c:v>
                </c:pt>
                <c:pt idx="1">
                  <c:v>0.35714285714285715</c:v>
                </c:pt>
                <c:pt idx="2">
                  <c:v>0.32432432432432434</c:v>
                </c:pt>
                <c:pt idx="3">
                  <c:v>0.4</c:v>
                </c:pt>
                <c:pt idx="4">
                  <c:v>0.2857142857142857</c:v>
                </c:pt>
                <c:pt idx="5">
                  <c:v>0.32</c:v>
                </c:pt>
                <c:pt idx="6">
                  <c:v>0.45454545454545453</c:v>
                </c:pt>
                <c:pt idx="7">
                  <c:v>0.35714285714285715</c:v>
                </c:pt>
                <c:pt idx="8">
                  <c:v>0.2222222222222222</c:v>
                </c:pt>
                <c:pt idx="9">
                  <c:v>0.16666666666666666</c:v>
                </c:pt>
                <c:pt idx="10">
                  <c:v>0.5</c:v>
                </c:pt>
                <c:pt idx="11">
                  <c:v>0.2727272727272727</c:v>
                </c:pt>
                <c:pt idx="12">
                  <c:v>0.375</c:v>
                </c:pt>
                <c:pt idx="13">
                  <c:v>0.35714285714285715</c:v>
                </c:pt>
                <c:pt idx="14">
                  <c:v>0.375</c:v>
                </c:pt>
                <c:pt idx="15">
                  <c:v>0.3076923076923077</c:v>
                </c:pt>
                <c:pt idx="16">
                  <c:v>0.18181818181818182</c:v>
                </c:pt>
                <c:pt idx="17">
                  <c:v>0.16666666666666666</c:v>
                </c:pt>
                <c:pt idx="18">
                  <c:v>0.2857142857142857</c:v>
                </c:pt>
                <c:pt idx="19">
                  <c:v>0.125</c:v>
                </c:pt>
                <c:pt idx="20">
                  <c:v>0.25</c:v>
                </c:pt>
                <c:pt idx="21">
                  <c:v>0.4</c:v>
                </c:pt>
                <c:pt idx="22">
                  <c:v>0.3333333333333333</c:v>
                </c:pt>
                <c:pt idx="23">
                  <c:v>0.14285714285714285</c:v>
                </c:pt>
                <c:pt idx="24">
                  <c:v>0.2857142857142857</c:v>
                </c:pt>
                <c:pt idx="25">
                  <c:v>0.2857142857142857</c:v>
                </c:pt>
                <c:pt idx="26">
                  <c:v>0.2857142857142857</c:v>
                </c:pt>
                <c:pt idx="27">
                  <c:v>0.2222222222222222</c:v>
                </c:pt>
                <c:pt idx="28">
                  <c:v>0.1111111111111111</c:v>
                </c:pt>
                <c:pt idx="29">
                  <c:v>0.1111111111111111</c:v>
                </c:pt>
                <c:pt idx="30">
                  <c:v>0.1111111111111111</c:v>
                </c:pt>
                <c:pt idx="31">
                  <c:v>0.2</c:v>
                </c:pt>
                <c:pt idx="32">
                  <c:v>0.2</c:v>
                </c:pt>
                <c:pt idx="33">
                  <c:v>0.13333333333333333</c:v>
                </c:pt>
                <c:pt idx="34">
                  <c:v>0.1</c:v>
                </c:pt>
                <c:pt idx="35">
                  <c:v>0.1111111111111111</c:v>
                </c:pt>
                <c:pt idx="36">
                  <c:v>0.125</c:v>
                </c:pt>
                <c:pt idx="37">
                  <c:v>0.3333333333333333</c:v>
                </c:pt>
                <c:pt idx="38">
                  <c:v>0.7666666666666667</c:v>
                </c:pt>
                <c:pt idx="39">
                  <c:v>0.8085106382978723</c:v>
                </c:pt>
                <c:pt idx="40">
                  <c:v>0.7352941176470589</c:v>
                </c:pt>
                <c:pt idx="41">
                  <c:v>0.7073170731707317</c:v>
                </c:pt>
                <c:pt idx="42">
                  <c:v>0.7027027027027027</c:v>
                </c:pt>
                <c:pt idx="43">
                  <c:v>0.6</c:v>
                </c:pt>
                <c:pt idx="44">
                  <c:v>0.5</c:v>
                </c:pt>
                <c:pt idx="45">
                  <c:v>0.4230769230769231</c:v>
                </c:pt>
                <c:pt idx="46">
                  <c:v>0.391304347826087</c:v>
                </c:pt>
                <c:pt idx="47">
                  <c:v>0.32432432432432434</c:v>
                </c:pt>
                <c:pt idx="48">
                  <c:v>0.22448979591836735</c:v>
                </c:pt>
                <c:pt idx="49">
                  <c:v>0.2</c:v>
                </c:pt>
                <c:pt idx="50">
                  <c:v>0.2857142857142857</c:v>
                </c:pt>
                <c:pt idx="51">
                  <c:v>0.2222222222222222</c:v>
                </c:pt>
                <c:pt idx="52">
                  <c:v>0.2</c:v>
                </c:pt>
                <c:pt idx="53">
                  <c:v>0.16666666666666666</c:v>
                </c:pt>
                <c:pt idx="54">
                  <c:v>0.16666666666666666</c:v>
                </c:pt>
                <c:pt idx="55">
                  <c:v>0.043478260869565216</c:v>
                </c:pt>
                <c:pt idx="56">
                  <c:v>0.03225806451612903</c:v>
                </c:pt>
                <c:pt idx="57">
                  <c:v>0.3023255813953488</c:v>
                </c:pt>
                <c:pt idx="58">
                  <c:v>0.14666666666666667</c:v>
                </c:pt>
                <c:pt idx="59">
                  <c:v>0.07936507936507936</c:v>
                </c:pt>
                <c:pt idx="60">
                  <c:v>0.10714285714285714</c:v>
                </c:pt>
                <c:pt idx="61">
                  <c:v>0.3793103448275862</c:v>
                </c:pt>
                <c:pt idx="62">
                  <c:v>0.07407407407407407</c:v>
                </c:pt>
                <c:pt idx="63">
                  <c:v>0.15789473684210525</c:v>
                </c:pt>
                <c:pt idx="64">
                  <c:v>0.15</c:v>
                </c:pt>
                <c:pt idx="65">
                  <c:v>0.19047619047619047</c:v>
                </c:pt>
                <c:pt idx="66">
                  <c:v>0.23529411764705882</c:v>
                </c:pt>
                <c:pt idx="67">
                  <c:v>0.14285714285714285</c:v>
                </c:pt>
                <c:pt idx="68">
                  <c:v>0.08333333333333333</c:v>
                </c:pt>
                <c:pt idx="69">
                  <c:v>0.06666666666666667</c:v>
                </c:pt>
                <c:pt idx="70">
                  <c:v>0.2857142857142857</c:v>
                </c:pt>
                <c:pt idx="71">
                  <c:v>0.1</c:v>
                </c:pt>
                <c:pt idx="72">
                  <c:v>0.125</c:v>
                </c:pt>
                <c:pt idx="73">
                  <c:v>0.125</c:v>
                </c:pt>
                <c:pt idx="74">
                  <c:v>0.14285714285714285</c:v>
                </c:pt>
                <c:pt idx="75">
                  <c:v>0.2222222222222222</c:v>
                </c:pt>
                <c:pt idx="76">
                  <c:v>0.1111111111111111</c:v>
                </c:pt>
                <c:pt idx="77">
                  <c:v>0.1</c:v>
                </c:pt>
                <c:pt idx="78">
                  <c:v>0.3076923076923077</c:v>
                </c:pt>
                <c:pt idx="79">
                  <c:v>0.1</c:v>
                </c:pt>
                <c:pt idx="80">
                  <c:v>0.14285714285714285</c:v>
                </c:pt>
                <c:pt idx="81">
                  <c:v>0.15789473684210525</c:v>
                </c:pt>
                <c:pt idx="82">
                  <c:v>0.047619047619047616</c:v>
                </c:pt>
                <c:pt idx="83">
                  <c:v>0.08695652173913043</c:v>
                </c:pt>
                <c:pt idx="84">
                  <c:v>0.13043478260869565</c:v>
                </c:pt>
                <c:pt idx="85">
                  <c:v>0.1111111111111111</c:v>
                </c:pt>
                <c:pt idx="86">
                  <c:v>0.2222222222222222</c:v>
                </c:pt>
                <c:pt idx="87">
                  <c:v>0.07692307692307693</c:v>
                </c:pt>
                <c:pt idx="88">
                  <c:v>0.058823529411764705</c:v>
                </c:pt>
                <c:pt idx="89">
                  <c:v>0.1</c:v>
                </c:pt>
              </c:numCache>
            </c:numRef>
          </c:yVal>
          <c:smooth val="0"/>
          <c:extLst>
            <c:ext xmlns:c16="http://schemas.microsoft.com/office/drawing/2014/chart" uri="{C3380CC4-5D6E-409C-BE32-E72D297353CC}">
              <c16:uniqueId val="{00000000-F32D-48B7-BC20-E66FC6253BAD}"/>
            </c:ext>
          </c:extLst>
        </c:ser>
        <c:ser>
          <c:idx val="1"/>
          <c:order val="1"/>
          <c:tx>
            <c:strRef>
              <c:f>Sheet1!$B$9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4:$A$141</c:f>
              <c:numCache>
                <c:formatCode>General</c:formatCode>
                <c:ptCount val="4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1150.0</c:v>
                </c:pt>
                <c:pt idx="15">
                  <c:v>920.0</c:v>
                </c:pt>
                <c:pt idx="16">
                  <c:v>1150.0</c:v>
                </c:pt>
                <c:pt idx="17">
                  <c:v>885.5</c:v>
                </c:pt>
                <c:pt idx="18">
                  <c:v>987.0</c:v>
                </c:pt>
                <c:pt idx="19">
                  <c:v>805.0</c:v>
                </c:pt>
                <c:pt idx="20">
                  <c:v>714.25</c:v>
                </c:pt>
                <c:pt idx="21">
                  <c:v>638.6111</c:v>
                </c:pt>
                <c:pt idx="22">
                  <c:v>1108.5</c:v>
                </c:pt>
                <c:pt idx="23">
                  <c:v>1199.0</c:v>
                </c:pt>
                <c:pt idx="24">
                  <c:v>591.6667</c:v>
                </c:pt>
                <c:pt idx="25">
                  <c:v>759.0</c:v>
                </c:pt>
                <c:pt idx="26">
                  <c:v>0.0</c:v>
                </c:pt>
                <c:pt idx="27">
                  <c:v>790.0</c:v>
                </c:pt>
                <c:pt idx="28">
                  <c:v>0.0</c:v>
                </c:pt>
                <c:pt idx="29">
                  <c:v>0.0</c:v>
                </c:pt>
                <c:pt idx="30">
                  <c:v>800.0</c:v>
                </c:pt>
                <c:pt idx="31">
                  <c:v>0.0</c:v>
                </c:pt>
                <c:pt idx="32">
                  <c:v>0.0</c:v>
                </c:pt>
                <c:pt idx="33">
                  <c:v>915.0</c:v>
                </c:pt>
                <c:pt idx="34">
                  <c:v>552.0</c:v>
                </c:pt>
                <c:pt idx="35">
                  <c:v>1150.0</c:v>
                </c:pt>
                <c:pt idx="36">
                  <c:v>0.0</c:v>
                </c:pt>
                <c:pt idx="37">
                  <c:v>647.5</c:v>
                </c:pt>
                <c:pt idx="38">
                  <c:v>0.0</c:v>
                </c:pt>
                <c:pt idx="39">
                  <c:v>0.0</c:v>
                </c:pt>
                <c:pt idx="40">
                  <c:v>527.5</c:v>
                </c:pt>
                <c:pt idx="41">
                  <c:v>393.75</c:v>
                </c:pt>
                <c:pt idx="42">
                  <c:v>490.0</c:v>
                </c:pt>
                <c:pt idx="43">
                  <c:v>380.0</c:v>
                </c:pt>
                <c:pt idx="44">
                  <c:v>462.3333</c:v>
                </c:pt>
                <c:pt idx="45">
                  <c:v>0.0</c:v>
                </c:pt>
                <c:pt idx="46">
                  <c:v>0.0</c:v>
                </c:pt>
                <c:pt idx="47">
                  <c:v>0.0</c:v>
                </c:pt>
              </c:numCache>
            </c:numRef>
          </c:xVal>
          <c:yVal>
            <c:numRef>
              <c:f>Sheet1!$B$94:$B$141</c:f>
              <c:numCache>
                <c:formatCode>General</c:formatCode>
                <c:ptCount val="4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6666666666666667</c:v>
                </c:pt>
                <c:pt idx="15">
                  <c:v>0.08333333333333333</c:v>
                </c:pt>
                <c:pt idx="16">
                  <c:v>0.0625</c:v>
                </c:pt>
                <c:pt idx="17">
                  <c:v>0.11764705882352941</c:v>
                </c:pt>
                <c:pt idx="18">
                  <c:v>0.045454545454545456</c:v>
                </c:pt>
                <c:pt idx="19">
                  <c:v>0.125</c:v>
                </c:pt>
                <c:pt idx="20">
                  <c:v>0.35294117647058826</c:v>
                </c:pt>
                <c:pt idx="21">
                  <c:v>0.5806451612903226</c:v>
                </c:pt>
                <c:pt idx="22">
                  <c:v>0.25</c:v>
                </c:pt>
                <c:pt idx="23">
                  <c:v>0.125</c:v>
                </c:pt>
                <c:pt idx="24">
                  <c:v>0.25</c:v>
                </c:pt>
                <c:pt idx="25">
                  <c:v>0.14285714285714285</c:v>
                </c:pt>
                <c:pt idx="26">
                  <c:v>0.0</c:v>
                </c:pt>
                <c:pt idx="27">
                  <c:v>0.1</c:v>
                </c:pt>
                <c:pt idx="28">
                  <c:v>0.0</c:v>
                </c:pt>
                <c:pt idx="29">
                  <c:v>0.0</c:v>
                </c:pt>
                <c:pt idx="30">
                  <c:v>0.125</c:v>
                </c:pt>
                <c:pt idx="31">
                  <c:v>0.0</c:v>
                </c:pt>
                <c:pt idx="32">
                  <c:v>0.0</c:v>
                </c:pt>
                <c:pt idx="33">
                  <c:v>0.1</c:v>
                </c:pt>
                <c:pt idx="34">
                  <c:v>0.16666666666666666</c:v>
                </c:pt>
                <c:pt idx="35">
                  <c:v>0.2</c:v>
                </c:pt>
                <c:pt idx="36">
                  <c:v>0.0</c:v>
                </c:pt>
                <c:pt idx="37">
                  <c:v>0.3333333333333333</c:v>
                </c:pt>
                <c:pt idx="38">
                  <c:v>0.0</c:v>
                </c:pt>
                <c:pt idx="39">
                  <c:v>0.0</c:v>
                </c:pt>
                <c:pt idx="40">
                  <c:v>0.3333333333333333</c:v>
                </c:pt>
                <c:pt idx="41">
                  <c:v>0.4444444444444444</c:v>
                </c:pt>
                <c:pt idx="42">
                  <c:v>0.2857142857142857</c:v>
                </c:pt>
                <c:pt idx="43">
                  <c:v>0.14285714285714285</c:v>
                </c:pt>
                <c:pt idx="44">
                  <c:v>0.23076923076923078</c:v>
                </c:pt>
                <c:pt idx="45">
                  <c:v>0.0</c:v>
                </c:pt>
                <c:pt idx="46">
                  <c:v>0.0</c:v>
                </c:pt>
                <c:pt idx="47">
                  <c:v>0.0</c:v>
                </c:pt>
              </c:numCache>
            </c:numRef>
          </c:yVal>
          <c:smooth val="0"/>
          <c:extLst>
            <c:ext xmlns:c16="http://schemas.microsoft.com/office/drawing/2014/chart" uri="{C3380CC4-5D6E-409C-BE32-E72D297353CC}">
              <c16:uniqueId val="{00000002-F32D-48B7-BC20-E66FC6253BAD}"/>
            </c:ext>
          </c:extLst>
        </c:ser>
        <c:ser>
          <c:idx val="2"/>
          <c:order val="2"/>
          <c:tx>
            <c:strRef>
              <c:f>Sheet1!$B$143</c:f>
              <c:strCache>
                <c:ptCount val="1"/>
                <c:pt idx="0">
                  <c:v>Custom Linep3yQ</c:v>
                </c:pt>
              </c:strCache>
            </c:strRef>
          </c:tx>
          <c:spPr>
            <a:ln w="19050" cap="rnd">
              <a:solidFill>
                <a:srgbClr val="C00000"/>
              </a:solidFill>
              <a:prstDash val="sysDot"/>
              <a:round/>
            </a:ln>
            <a:effectLst/>
          </c:spPr>
          <c:marker>
            <c:symbol val="none"/>
          </c:marker>
          <c:xVal>
            <c:numRef>
              <c:f>Sheet1!$A$144:$A$145</c:f>
              <c:numCache>
                <c:formatCode>General</c:formatCode>
                <c:ptCount val="2"/>
                <c:pt idx="0">
                  <c:v>0</c:v>
                </c:pt>
                <c:pt idx="1">
                  <c:v>2671.20268668165</c:v>
                </c:pt>
              </c:numCache>
            </c:numRef>
          </c:xVal>
          <c:yVal>
            <c:numRef>
              <c:f>Sheet1!$B$144:$B$145</c:f>
              <c:numCache>
                <c:formatCode>General</c:formatCode>
                <c:ptCount val="2"/>
                <c:pt idx="0">
                  <c:v>0.4849474549101913</c:v>
                </c:pt>
                <c:pt idx="1">
                  <c:v>0.4849474549101913</c:v>
                </c:pt>
              </c:numCache>
            </c:numRef>
          </c:yVal>
          <c:smooth val="0"/>
          <c:extLst>
            <c:ext xmlns:c16="http://schemas.microsoft.com/office/drawing/2014/chart" uri="{C3380CC4-5D6E-409C-BE32-E72D297353CC}">
              <c16:uniqueId val="{00000003-F32D-48B7-BC20-E66FC6253BAD}"/>
            </c:ext>
          </c:extLst>
        </c:ser>
        <c:ser>
          <c:idx val="3"/>
          <c:order val="3"/>
          <c:tx>
            <c:strRef>
              <c:f>Sheet1!$B$14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671.20268668165</c:v>
                </c:pt>
                <c:pt idx="1">
                  <c:v>2671.20268668165</c:v>
                </c:pt>
              </c:numCache>
            </c:numRef>
          </c:xVal>
          <c:yVal>
            <c:numRef>
              <c:f>Sheet1!$B$148:$B$149</c:f>
              <c:numCache>
                <c:formatCode>General</c:formatCode>
                <c:ptCount val="2"/>
                <c:pt idx="0">
                  <c:v>0.48494745491019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2:$A$153</c:f>
              <c:numCache>
                <c:formatCode>General</c:formatCode>
                <c:ptCount val="2"/>
                <c:pt idx="0">
                  <c:v>0</c:v>
                </c:pt>
                <c:pt idx="1">
                  <c:v>907.9704001620058</c:v>
                </c:pt>
              </c:numCache>
            </c:numRef>
          </c:xVal>
          <c:yVal>
            <c:numRef>
              <c:f>Sheet1!$B$152:$B$153</c:f>
              <c:numCache>
                <c:formatCode>General</c:formatCode>
                <c:ptCount val="2"/>
                <c:pt idx="0">
                  <c:v>0.1871319935598873</c:v>
                </c:pt>
                <c:pt idx="1">
                  <c:v>0.1871319935598873</c:v>
                </c:pt>
              </c:numCache>
            </c:numRef>
          </c:yVal>
          <c:smooth val="0"/>
          <c:extLst>
            <c:ext xmlns:c16="http://schemas.microsoft.com/office/drawing/2014/chart" uri="{C3380CC4-5D6E-409C-BE32-E72D297353CC}">
              <c16:uniqueId val="{0000000A-F32D-48B7-BC20-E66FC6253BAD}"/>
            </c:ext>
          </c:extLst>
        </c:ser>
        <c:ser>
          <c:idx val="5"/>
          <c:order val="5"/>
          <c:tx>
            <c:strRef>
              <c:f>Sheet1!$B$15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907.9704001620058</c:v>
                </c:pt>
                <c:pt idx="1">
                  <c:v>907.9704001620058</c:v>
                </c:pt>
              </c:numCache>
            </c:numRef>
          </c:xVal>
          <c:yVal>
            <c:numRef>
              <c:f>Sheet1!$B$156:$B$157</c:f>
              <c:numCache>
                <c:formatCode>General</c:formatCode>
                <c:ptCount val="2"/>
                <c:pt idx="0">
                  <c:v>0.18713199355988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0:$A$210</c:f>
              <c:numCache>
                <c:formatCode>General</c:formatCode>
                <c:ptCount val="51"/>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1150.0</c:v>
                </c:pt>
                <c:pt idx="15">
                  <c:v>920.0</c:v>
                </c:pt>
                <c:pt idx="16">
                  <c:v>1150.0</c:v>
                </c:pt>
                <c:pt idx="17">
                  <c:v>885.5</c:v>
                </c:pt>
                <c:pt idx="18">
                  <c:v>987.0</c:v>
                </c:pt>
                <c:pt idx="19">
                  <c:v>805.0</c:v>
                </c:pt>
                <c:pt idx="20">
                  <c:v>714.25</c:v>
                </c:pt>
                <c:pt idx="21">
                  <c:v>638.6111</c:v>
                </c:pt>
                <c:pt idx="22">
                  <c:v>1108.5</c:v>
                </c:pt>
                <c:pt idx="23">
                  <c:v>1199.0</c:v>
                </c:pt>
                <c:pt idx="24">
                  <c:v>591.6667</c:v>
                </c:pt>
                <c:pt idx="25">
                  <c:v>759.0</c:v>
                </c:pt>
                <c:pt idx="26">
                  <c:v>0.0</c:v>
                </c:pt>
                <c:pt idx="27">
                  <c:v>790.0</c:v>
                </c:pt>
                <c:pt idx="28">
                  <c:v>0.0</c:v>
                </c:pt>
                <c:pt idx="29">
                  <c:v>0.0</c:v>
                </c:pt>
                <c:pt idx="30">
                  <c:v>800.0</c:v>
                </c:pt>
                <c:pt idx="31">
                  <c:v>0.0</c:v>
                </c:pt>
                <c:pt idx="32">
                  <c:v>0.0</c:v>
                </c:pt>
                <c:pt idx="33">
                  <c:v>915.0</c:v>
                </c:pt>
                <c:pt idx="34">
                  <c:v>552.0</c:v>
                </c:pt>
                <c:pt idx="35">
                  <c:v>1150.0</c:v>
                </c:pt>
                <c:pt idx="36">
                  <c:v>0.0</c:v>
                </c:pt>
                <c:pt idx="37">
                  <c:v>647.5</c:v>
                </c:pt>
                <c:pt idx="38">
                  <c:v>0.0</c:v>
                </c:pt>
                <c:pt idx="39">
                  <c:v>0.0</c:v>
                </c:pt>
                <c:pt idx="40">
                  <c:v>527.5</c:v>
                </c:pt>
                <c:pt idx="41">
                  <c:v>393.75</c:v>
                </c:pt>
                <c:pt idx="42">
                  <c:v>490.0</c:v>
                </c:pt>
                <c:pt idx="43">
                  <c:v>380.0</c:v>
                </c:pt>
                <c:pt idx="44">
                  <c:v>462.3333</c:v>
                </c:pt>
                <c:pt idx="45">
                  <c:v>0.0</c:v>
                </c:pt>
                <c:pt idx="46">
                  <c:v>0.0</c:v>
                </c:pt>
                <c:pt idx="47">
                  <c:v>0.0</c:v>
                </c:pt>
                <c:pt idx="48">
                  <c:v>907.9704001620058</c:v>
                </c:pt>
                <c:pt idx="49">
                  <c:v>2671.20268668165</c:v>
                </c:pt>
                <c:pt idx="50">
                  <c:v>0</c:v>
                </c:pt>
              </c:numCache>
            </c:numRef>
          </c:xVal>
          <c:yVal>
            <c:numRef>
              <c:f>Sheet1!$B$160:$B$210</c:f>
              <c:numCache>
                <c:formatCode>General</c:formatCode>
                <c:ptCount val="51"/>
                <c:pt idx="0">
                  <c:v>0.03377294626702495</c:v>
                </c:pt>
                <c:pt idx="1">
                  <c:v>0.03377294626702495</c:v>
                </c:pt>
                <c:pt idx="2">
                  <c:v>0.03377294626702495</c:v>
                </c:pt>
                <c:pt idx="3">
                  <c:v>0.03377294626702495</c:v>
                </c:pt>
                <c:pt idx="4">
                  <c:v>0.03377294626702495</c:v>
                </c:pt>
                <c:pt idx="5">
                  <c:v>0.03377294626702495</c:v>
                </c:pt>
                <c:pt idx="6">
                  <c:v>0.03377294626702495</c:v>
                </c:pt>
                <c:pt idx="7">
                  <c:v>0.03377294626702495</c:v>
                </c:pt>
                <c:pt idx="8">
                  <c:v>0.03377294626702495</c:v>
                </c:pt>
                <c:pt idx="9">
                  <c:v>0.03377294626702495</c:v>
                </c:pt>
                <c:pt idx="10">
                  <c:v>0.03377294626702495</c:v>
                </c:pt>
                <c:pt idx="11">
                  <c:v>0.03377294626702495</c:v>
                </c:pt>
                <c:pt idx="12">
                  <c:v>0.03377294626702495</c:v>
                </c:pt>
                <c:pt idx="13">
                  <c:v>0.03377294626702495</c:v>
                </c:pt>
                <c:pt idx="14">
                  <c:v>0.228011551793509</c:v>
                </c:pt>
                <c:pt idx="15">
                  <c:v>0.1891638306882122</c:v>
                </c:pt>
                <c:pt idx="16">
                  <c:v>0.228011551793509</c:v>
                </c:pt>
                <c:pt idx="17">
                  <c:v>0.18333667252241764</c:v>
                </c:pt>
                <c:pt idx="18">
                  <c:v>0.20048034074932036</c:v>
                </c:pt>
                <c:pt idx="19">
                  <c:v>0.16973997013556377</c:v>
                </c:pt>
                <c:pt idx="20">
                  <c:v>0.15441201061249557</c:v>
                </c:pt>
                <c:pt idx="21">
                  <c:v>0.1416363632563589</c:v>
                </c:pt>
                <c:pt idx="22">
                  <c:v>0.2210020716810315</c:v>
                </c:pt>
                <c:pt idx="23">
                  <c:v>0.2362878054202896</c:v>
                </c:pt>
                <c:pt idx="24">
                  <c:v>0.1337073069143785</c:v>
                </c:pt>
                <c:pt idx="25">
                  <c:v>0.16197042591450442</c:v>
                </c:pt>
                <c:pt idx="26">
                  <c:v>0.03377294626702495</c:v>
                </c:pt>
                <c:pt idx="27">
                  <c:v>0.16720642310695746</c:v>
                </c:pt>
                <c:pt idx="28">
                  <c:v>0.03377294626702495</c:v>
                </c:pt>
                <c:pt idx="29">
                  <c:v>0.03377294626702495</c:v>
                </c:pt>
                <c:pt idx="30">
                  <c:v>0.16889545445936166</c:v>
                </c:pt>
                <c:pt idx="31">
                  <c:v>0.03377294626702495</c:v>
                </c:pt>
                <c:pt idx="32">
                  <c:v>0.03377294626702495</c:v>
                </c:pt>
                <c:pt idx="33">
                  <c:v>0.18831931501201007</c:v>
                </c:pt>
                <c:pt idx="34">
                  <c:v>0.1270074769197373</c:v>
                </c:pt>
                <c:pt idx="35">
                  <c:v>0.228011551793509</c:v>
                </c:pt>
                <c:pt idx="36">
                  <c:v>0.03377294626702495</c:v>
                </c:pt>
                <c:pt idx="37">
                  <c:v>0.14313772633519747</c:v>
                </c:pt>
                <c:pt idx="38">
                  <c:v>0.03377294626702495</c:v>
                </c:pt>
                <c:pt idx="39">
                  <c:v>0.03377294626702495</c:v>
                </c:pt>
                <c:pt idx="40">
                  <c:v>0.12286935010634698</c:v>
                </c:pt>
                <c:pt idx="41">
                  <c:v>0.10027855576794067</c:v>
                </c:pt>
                <c:pt idx="42">
                  <c:v>0.11653548253483118</c:v>
                </c:pt>
                <c:pt idx="43">
                  <c:v>0.0979561376583849</c:v>
                </c:pt>
                <c:pt idx="44">
                  <c:v>0.11186249016307503</c:v>
                </c:pt>
                <c:pt idx="45">
                  <c:v>0.03377294626702495</c:v>
                </c:pt>
                <c:pt idx="46">
                  <c:v>0.03377294626702495</c:v>
                </c:pt>
                <c:pt idx="47">
                  <c:v>0.03377294626702495</c:v>
                </c:pt>
                <c:pt idx="48">
                  <c:v>0.1871319935598873</c:v>
                </c:pt>
                <c:pt idx="49">
                  <c:v>0.4849474549101913</c:v>
                </c:pt>
                <c:pt idx="50">
                  <c:v>0.0337729462670249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0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021276595744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8</c:f>
              <c:numCache>
                <c:formatCode>General</c:formatCode>
                <c:ptCount val="13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13037457521434137</c:v>
                </c:pt>
                <c:pt idx="46">
                  <c:v>0.0</c:v>
                </c:pt>
                <c:pt idx="47">
                  <c:v>0.0</c:v>
                </c:pt>
                <c:pt idx="48">
                  <c:v>0.0</c:v>
                </c:pt>
                <c:pt idx="49">
                  <c:v>0.07520870313349032</c:v>
                </c:pt>
                <c:pt idx="50">
                  <c:v>0.0</c:v>
                </c:pt>
                <c:pt idx="51">
                  <c:v>0.0</c:v>
                </c:pt>
                <c:pt idx="52">
                  <c:v>0.0</c:v>
                </c:pt>
                <c:pt idx="53">
                  <c:v>0.0</c:v>
                </c:pt>
                <c:pt idx="54">
                  <c:v>0.0</c:v>
                </c:pt>
                <c:pt idx="55">
                  <c:v>0.0</c:v>
                </c:pt>
                <c:pt idx="56">
                  <c:v>0.0</c:v>
                </c:pt>
                <c:pt idx="57">
                  <c:v>0.0</c:v>
                </c:pt>
                <c:pt idx="58">
                  <c:v>0.0</c:v>
                </c:pt>
                <c:pt idx="59">
                  <c:v>0.0</c:v>
                </c:pt>
                <c:pt idx="60">
                  <c:v>0.08145377828922133</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numCache>
            </c:numRef>
          </c:xVal>
          <c:yVal>
            <c:numRef>
              <c:f>Sheet1!$B$2:$B$138</c:f>
              <c:numCache>
                <c:formatCode>General</c:formatCode>
                <c:ptCount val="137"/>
                <c:pt idx="0">
                  <c:v>0.3448275862068966</c:v>
                </c:pt>
                <c:pt idx="1">
                  <c:v>0.35714285714285715</c:v>
                </c:pt>
                <c:pt idx="2">
                  <c:v>0.32432432432432434</c:v>
                </c:pt>
                <c:pt idx="3">
                  <c:v>0.4</c:v>
                </c:pt>
                <c:pt idx="4">
                  <c:v>0.2857142857142857</c:v>
                </c:pt>
                <c:pt idx="5">
                  <c:v>0.32</c:v>
                </c:pt>
                <c:pt idx="6">
                  <c:v>0.45454545454545453</c:v>
                </c:pt>
                <c:pt idx="7">
                  <c:v>0.35714285714285715</c:v>
                </c:pt>
                <c:pt idx="8">
                  <c:v>0.2222222222222222</c:v>
                </c:pt>
                <c:pt idx="9">
                  <c:v>0.16666666666666666</c:v>
                </c:pt>
                <c:pt idx="10">
                  <c:v>0.5</c:v>
                </c:pt>
                <c:pt idx="11">
                  <c:v>0.2727272727272727</c:v>
                </c:pt>
                <c:pt idx="12">
                  <c:v>0.375</c:v>
                </c:pt>
                <c:pt idx="13">
                  <c:v>0.35714285714285715</c:v>
                </c:pt>
                <c:pt idx="14">
                  <c:v>0.375</c:v>
                </c:pt>
                <c:pt idx="15">
                  <c:v>0.3076923076923077</c:v>
                </c:pt>
                <c:pt idx="16">
                  <c:v>0.18181818181818182</c:v>
                </c:pt>
                <c:pt idx="17">
                  <c:v>0.16666666666666666</c:v>
                </c:pt>
                <c:pt idx="18">
                  <c:v>0.2857142857142857</c:v>
                </c:pt>
                <c:pt idx="19">
                  <c:v>0.125</c:v>
                </c:pt>
                <c:pt idx="20">
                  <c:v>0.25</c:v>
                </c:pt>
                <c:pt idx="21">
                  <c:v>0.4</c:v>
                </c:pt>
                <c:pt idx="22">
                  <c:v>0.3333333333333333</c:v>
                </c:pt>
                <c:pt idx="23">
                  <c:v>0.14285714285714285</c:v>
                </c:pt>
                <c:pt idx="24">
                  <c:v>0.2857142857142857</c:v>
                </c:pt>
                <c:pt idx="25">
                  <c:v>0.2857142857142857</c:v>
                </c:pt>
                <c:pt idx="26">
                  <c:v>0.2857142857142857</c:v>
                </c:pt>
                <c:pt idx="27">
                  <c:v>0.2222222222222222</c:v>
                </c:pt>
                <c:pt idx="28">
                  <c:v>0.1111111111111111</c:v>
                </c:pt>
                <c:pt idx="29">
                  <c:v>0.1111111111111111</c:v>
                </c:pt>
                <c:pt idx="30">
                  <c:v>0.0</c:v>
                </c:pt>
                <c:pt idx="31">
                  <c:v>0.1111111111111111</c:v>
                </c:pt>
                <c:pt idx="32">
                  <c:v>0.2</c:v>
                </c:pt>
                <c:pt idx="33">
                  <c:v>0.2</c:v>
                </c:pt>
                <c:pt idx="34">
                  <c:v>0.13333333333333333</c:v>
                </c:pt>
                <c:pt idx="35">
                  <c:v>0.1</c:v>
                </c:pt>
                <c:pt idx="36">
                  <c:v>0.1111111111111111</c:v>
                </c:pt>
                <c:pt idx="37">
                  <c:v>0.125</c:v>
                </c:pt>
                <c:pt idx="38">
                  <c:v>0.3333333333333333</c:v>
                </c:pt>
                <c:pt idx="39">
                  <c:v>0.7666666666666667</c:v>
                </c:pt>
                <c:pt idx="40">
                  <c:v>0.8085106382978723</c:v>
                </c:pt>
                <c:pt idx="41">
                  <c:v>0.7352941176470589</c:v>
                </c:pt>
                <c:pt idx="42">
                  <c:v>0.7073170731707317</c:v>
                </c:pt>
                <c:pt idx="43">
                  <c:v>0.7027027027027027</c:v>
                </c:pt>
                <c:pt idx="44">
                  <c:v>0.6</c:v>
                </c:pt>
                <c:pt idx="45">
                  <c:v>0.5</c:v>
                </c:pt>
                <c:pt idx="46">
                  <c:v>0.4230769230769231</c:v>
                </c:pt>
                <c:pt idx="47">
                  <c:v>0.391304347826087</c:v>
                </c:pt>
                <c:pt idx="48">
                  <c:v>0.32432432432432434</c:v>
                </c:pt>
                <c:pt idx="49">
                  <c:v>0.22448979591836735</c:v>
                </c:pt>
                <c:pt idx="50">
                  <c:v>0.2</c:v>
                </c:pt>
                <c:pt idx="51">
                  <c:v>0.2857142857142857</c:v>
                </c:pt>
                <c:pt idx="52">
                  <c:v>0.2222222222222222</c:v>
                </c:pt>
                <c:pt idx="53">
                  <c:v>0.2</c:v>
                </c:pt>
                <c:pt idx="54">
                  <c:v>0.16666666666666666</c:v>
                </c:pt>
                <c:pt idx="55">
                  <c:v>0.16666666666666666</c:v>
                </c:pt>
                <c:pt idx="56">
                  <c:v>0.043478260869565216</c:v>
                </c:pt>
                <c:pt idx="57">
                  <c:v>0.03225806451612903</c:v>
                </c:pt>
                <c:pt idx="58">
                  <c:v>0.3023255813953488</c:v>
                </c:pt>
                <c:pt idx="59">
                  <c:v>0.14666666666666667</c:v>
                </c:pt>
                <c:pt idx="60">
                  <c:v>0.07936507936507936</c:v>
                </c:pt>
                <c:pt idx="61">
                  <c:v>0.10714285714285714</c:v>
                </c:pt>
                <c:pt idx="62">
                  <c:v>0.3793103448275862</c:v>
                </c:pt>
                <c:pt idx="63">
                  <c:v>0.07407407407407407</c:v>
                </c:pt>
                <c:pt idx="64">
                  <c:v>0.15789473684210525</c:v>
                </c:pt>
                <c:pt idx="65">
                  <c:v>0.15</c:v>
                </c:pt>
                <c:pt idx="66">
                  <c:v>0.19047619047619047</c:v>
                </c:pt>
                <c:pt idx="67">
                  <c:v>0.23529411764705882</c:v>
                </c:pt>
                <c:pt idx="68">
                  <c:v>0.14285714285714285</c:v>
                </c:pt>
                <c:pt idx="69">
                  <c:v>0.0</c:v>
                </c:pt>
                <c:pt idx="70">
                  <c:v>0.0</c:v>
                </c:pt>
                <c:pt idx="71">
                  <c:v>0.0</c:v>
                </c:pt>
                <c:pt idx="72">
                  <c:v>0.0</c:v>
                </c:pt>
                <c:pt idx="73">
                  <c:v>0.08333333333333333</c:v>
                </c:pt>
                <c:pt idx="74">
                  <c:v>0.06666666666666667</c:v>
                </c:pt>
                <c:pt idx="75">
                  <c:v>0.0</c:v>
                </c:pt>
                <c:pt idx="76">
                  <c:v>0.0</c:v>
                </c:pt>
                <c:pt idx="77">
                  <c:v>0.0</c:v>
                </c:pt>
                <c:pt idx="78">
                  <c:v>0.2857142857142857</c:v>
                </c:pt>
                <c:pt idx="79">
                  <c:v>0.1</c:v>
                </c:pt>
                <c:pt idx="80">
                  <c:v>0.125</c:v>
                </c:pt>
                <c:pt idx="81">
                  <c:v>0.0</c:v>
                </c:pt>
                <c:pt idx="82">
                  <c:v>0.0</c:v>
                </c:pt>
                <c:pt idx="83">
                  <c:v>0.0</c:v>
                </c:pt>
                <c:pt idx="84">
                  <c:v>0.0</c:v>
                </c:pt>
                <c:pt idx="85">
                  <c:v>0.125</c:v>
                </c:pt>
                <c:pt idx="86">
                  <c:v>0.14285714285714285</c:v>
                </c:pt>
                <c:pt idx="87">
                  <c:v>0.0</c:v>
                </c:pt>
                <c:pt idx="88">
                  <c:v>0.0</c:v>
                </c:pt>
                <c:pt idx="89">
                  <c:v>0.2222222222222222</c:v>
                </c:pt>
                <c:pt idx="90">
                  <c:v>0.1</c:v>
                </c:pt>
                <c:pt idx="91">
                  <c:v>0.3076923076923077</c:v>
                </c:pt>
                <c:pt idx="92">
                  <c:v>0.1</c:v>
                </c:pt>
                <c:pt idx="93">
                  <c:v>0.14285714285714285</c:v>
                </c:pt>
                <c:pt idx="94">
                  <c:v>0.15789473684210525</c:v>
                </c:pt>
                <c:pt idx="95">
                  <c:v>0.047619047619047616</c:v>
                </c:pt>
                <c:pt idx="96">
                  <c:v>0.08695652173913043</c:v>
                </c:pt>
                <c:pt idx="97">
                  <c:v>0.13043478260869565</c:v>
                </c:pt>
                <c:pt idx="98">
                  <c:v>0.1111111111111111</c:v>
                </c:pt>
                <c:pt idx="99">
                  <c:v>0.2222222222222222</c:v>
                </c:pt>
                <c:pt idx="100">
                  <c:v>0.07692307692307693</c:v>
                </c:pt>
                <c:pt idx="101">
                  <c:v>0.058823529411764705</c:v>
                </c:pt>
                <c:pt idx="102">
                  <c:v>0.1</c:v>
                </c:pt>
                <c:pt idx="103">
                  <c:v>0.06666666666666667</c:v>
                </c:pt>
                <c:pt idx="104">
                  <c:v>0.08333333333333333</c:v>
                </c:pt>
                <c:pt idx="105">
                  <c:v>0.0625</c:v>
                </c:pt>
                <c:pt idx="106">
                  <c:v>0.11764705882352941</c:v>
                </c:pt>
                <c:pt idx="107">
                  <c:v>0.045454545454545456</c:v>
                </c:pt>
                <c:pt idx="108">
                  <c:v>0.125</c:v>
                </c:pt>
                <c:pt idx="109">
                  <c:v>0.35294117647058826</c:v>
                </c:pt>
                <c:pt idx="110">
                  <c:v>0.5806451612903226</c:v>
                </c:pt>
                <c:pt idx="111">
                  <c:v>0.25</c:v>
                </c:pt>
                <c:pt idx="112">
                  <c:v>0.125</c:v>
                </c:pt>
                <c:pt idx="113">
                  <c:v>0.25</c:v>
                </c:pt>
                <c:pt idx="114">
                  <c:v>0.14285714285714285</c:v>
                </c:pt>
                <c:pt idx="115">
                  <c:v>0.0</c:v>
                </c:pt>
                <c:pt idx="116">
                  <c:v>0.1</c:v>
                </c:pt>
                <c:pt idx="117">
                  <c:v>0.0</c:v>
                </c:pt>
                <c:pt idx="118">
                  <c:v>0.0</c:v>
                </c:pt>
                <c:pt idx="119">
                  <c:v>0.125</c:v>
                </c:pt>
                <c:pt idx="120">
                  <c:v>0.0</c:v>
                </c:pt>
                <c:pt idx="121">
                  <c:v>0.0</c:v>
                </c:pt>
                <c:pt idx="122">
                  <c:v>0.1</c:v>
                </c:pt>
                <c:pt idx="123">
                  <c:v>0.16666666666666666</c:v>
                </c:pt>
                <c:pt idx="124">
                  <c:v>0.2</c:v>
                </c:pt>
                <c:pt idx="125">
                  <c:v>0.0</c:v>
                </c:pt>
                <c:pt idx="126">
                  <c:v>0.3333333333333333</c:v>
                </c:pt>
                <c:pt idx="127">
                  <c:v>0.0</c:v>
                </c:pt>
                <c:pt idx="128">
                  <c:v>0.0</c:v>
                </c:pt>
                <c:pt idx="129">
                  <c:v>0.3333333333333333</c:v>
                </c:pt>
                <c:pt idx="130">
                  <c:v>0.4444444444444444</c:v>
                </c:pt>
                <c:pt idx="131">
                  <c:v>0.2857142857142857</c:v>
                </c:pt>
                <c:pt idx="132">
                  <c:v>0.14285714285714285</c:v>
                </c:pt>
                <c:pt idx="133">
                  <c:v>0.23076923076923078</c:v>
                </c:pt>
                <c:pt idx="134">
                  <c:v>0.0</c:v>
                </c:pt>
                <c:pt idx="135">
                  <c:v>0.0</c:v>
                </c:pt>
                <c:pt idx="136">
                  <c:v>0.0</c:v>
                </c:pt>
              </c:numCache>
            </c:numRef>
          </c:yVal>
          <c:smooth val="0"/>
          <c:extLst>
            <c:ext xmlns:c16="http://schemas.microsoft.com/office/drawing/2014/chart" uri="{C3380CC4-5D6E-409C-BE32-E72D297353CC}">
              <c16:uniqueId val="{00000000-096C-4121-9522-6AB7243CCAAE}"/>
            </c:ext>
          </c:extLst>
        </c:ser>
        <c:ser>
          <c:idx val="1"/>
          <c:order val="1"/>
          <c:tx>
            <c:strRef>
              <c:f>Sheet1!$B$14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1:$A$140</c:f>
              <c:numCache>
                <c:formatCode>General</c:formatCode>
                <c:ptCount val="0"/>
              </c:numCache>
            </c:numRef>
          </c:xVal>
          <c:yVal>
            <c:numRef>
              <c:f>Sheet1!$B$141:$B$14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4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3:$A$144</c:f>
              <c:numCache>
                <c:formatCode>General</c:formatCode>
                <c:ptCount val="2"/>
                <c:pt idx="0">
                  <c:v>0</c:v>
                </c:pt>
                <c:pt idx="1">
                  <c:v>0.4849474549101913</c:v>
                </c:pt>
              </c:numCache>
            </c:numRef>
          </c:xVal>
          <c:yVal>
            <c:numRef>
              <c:f>Sheet1!$B$143:$B$144</c:f>
              <c:numCache>
                <c:formatCode>General</c:formatCode>
                <c:ptCount val="2"/>
                <c:pt idx="0">
                  <c:v>0.4849474549101913</c:v>
                </c:pt>
                <c:pt idx="1">
                  <c:v>0.4849474549101913</c:v>
                </c:pt>
              </c:numCache>
            </c:numRef>
          </c:yVal>
          <c:smooth val="0"/>
          <c:extLst>
            <c:ext xmlns:c16="http://schemas.microsoft.com/office/drawing/2014/chart" uri="{C3380CC4-5D6E-409C-BE32-E72D297353CC}">
              <c16:uniqueId val="{00000005-096C-4121-9522-6AB7243CCAAE}"/>
            </c:ext>
          </c:extLst>
        </c:ser>
        <c:ser>
          <c:idx val="3"/>
          <c:order val="3"/>
          <c:tx>
            <c:strRef>
              <c:f>Sheet1!$B$14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7:$A$148</c:f>
              <c:numCache>
                <c:formatCode>General</c:formatCode>
                <c:ptCount val="2"/>
                <c:pt idx="0">
                  <c:v>0.4849474549101913</c:v>
                </c:pt>
                <c:pt idx="1">
                  <c:v>0.4849474549101913</c:v>
                </c:pt>
              </c:numCache>
            </c:numRef>
          </c:xVal>
          <c:yVal>
            <c:numRef>
              <c:f>Sheet1!$B$147:$B$148</c:f>
              <c:numCache>
                <c:formatCode>General</c:formatCode>
                <c:ptCount val="2"/>
                <c:pt idx="0">
                  <c:v>0.48494745491019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1:$A$152</c:f>
              <c:numCache>
                <c:formatCode>General</c:formatCode>
                <c:ptCount val="2"/>
                <c:pt idx="0">
                  <c:v>0</c:v>
                </c:pt>
                <c:pt idx="1">
                  <c:v>0.1871319935598873</c:v>
                </c:pt>
              </c:numCache>
            </c:numRef>
          </c:xVal>
          <c:yVal>
            <c:numRef>
              <c:f>Sheet1!$B$151:$B$152</c:f>
              <c:numCache>
                <c:formatCode>General</c:formatCode>
                <c:ptCount val="2"/>
                <c:pt idx="0">
                  <c:v>0.1871319935598873</c:v>
                </c:pt>
                <c:pt idx="1">
                  <c:v>0.1871319935598873</c:v>
                </c:pt>
              </c:numCache>
            </c:numRef>
          </c:yVal>
          <c:smooth val="0"/>
          <c:extLst>
            <c:ext xmlns:c16="http://schemas.microsoft.com/office/drawing/2014/chart" uri="{C3380CC4-5D6E-409C-BE32-E72D297353CC}">
              <c16:uniqueId val="{0000000D-096C-4121-9522-6AB7243CCAAE}"/>
            </c:ext>
          </c:extLst>
        </c:ser>
        <c:ser>
          <c:idx val="5"/>
          <c:order val="5"/>
          <c:tx>
            <c:strRef>
              <c:f>Sheet1!$B$15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5:$A$156</c:f>
              <c:numCache>
                <c:formatCode>General</c:formatCode>
                <c:ptCount val="2"/>
                <c:pt idx="0">
                  <c:v>0.1871319935598873</c:v>
                </c:pt>
                <c:pt idx="1">
                  <c:v>0.1871319935598873</c:v>
                </c:pt>
              </c:numCache>
            </c:numRef>
          </c:xVal>
          <c:yVal>
            <c:numRef>
              <c:f>Sheet1!$B$155:$B$156</c:f>
              <c:numCache>
                <c:formatCode>General</c:formatCode>
                <c:ptCount val="2"/>
                <c:pt idx="0">
                  <c:v>0.18713199355988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8</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9:$A$161</c:f>
              <c:numCache>
                <c:formatCode>General</c:formatCode>
                <c:ptCount val="3"/>
                <c:pt idx="0">
                  <c:v>0.1871319935598873</c:v>
                </c:pt>
                <c:pt idx="1">
                  <c:v>0.4849474549101913</c:v>
                </c:pt>
                <c:pt idx="2">
                  <c:v>0</c:v>
                </c:pt>
              </c:numCache>
            </c:numRef>
          </c:xVal>
          <c:yVal>
            <c:numRef>
              <c:f>Sheet1!$B$159:$B$161</c:f>
              <c:numCache>
                <c:formatCode>General</c:formatCode>
                <c:ptCount val="3"/>
                <c:pt idx="0">
                  <c:v>0.1871319935598873</c:v>
                </c:pt>
                <c:pt idx="1">
                  <c:v>0.4849474549101913</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021276595744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0</c:f>
              <c:numCache>
                <c:formatCode>General</c:formatCode>
                <c:ptCount val="89"/>
                <c:pt idx="0">
                  <c:v>712.6</c:v>
                </c:pt>
                <c:pt idx="1">
                  <c:v>774.5</c:v>
                </c:pt>
                <c:pt idx="2">
                  <c:v>825.4167</c:v>
                </c:pt>
                <c:pt idx="3">
                  <c:v>815.8333</c:v>
                </c:pt>
                <c:pt idx="4">
                  <c:v>903.5</c:v>
                </c:pt>
                <c:pt idx="5">
                  <c:v>793.125</c:v>
                </c:pt>
                <c:pt idx="6">
                  <c:v>718.8</c:v>
                </c:pt>
                <c:pt idx="7">
                  <c:v>715.8</c:v>
                </c:pt>
                <c:pt idx="8">
                  <c:v>883.5</c:v>
                </c:pt>
                <c:pt idx="9">
                  <c:v>767.25</c:v>
                </c:pt>
                <c:pt idx="10">
                  <c:v>555.2857</c:v>
                </c:pt>
                <c:pt idx="11">
                  <c:v>806.3333</c:v>
                </c:pt>
                <c:pt idx="12">
                  <c:v>939.0</c:v>
                </c:pt>
                <c:pt idx="13">
                  <c:v>817.8</c:v>
                </c:pt>
                <c:pt idx="14">
                  <c:v>845.1667</c:v>
                </c:pt>
                <c:pt idx="15">
                  <c:v>890.25</c:v>
                </c:pt>
                <c:pt idx="16">
                  <c:v>982.5</c:v>
                </c:pt>
                <c:pt idx="17">
                  <c:v>826.0</c:v>
                </c:pt>
                <c:pt idx="18">
                  <c:v>1012.5</c:v>
                </c:pt>
                <c:pt idx="19">
                  <c:v>1178.0</c:v>
                </c:pt>
                <c:pt idx="20">
                  <c:v>779.6667</c:v>
                </c:pt>
                <c:pt idx="21">
                  <c:v>926.0</c:v>
                </c:pt>
                <c:pt idx="22">
                  <c:v>699.3333</c:v>
                </c:pt>
                <c:pt idx="23">
                  <c:v>909.0</c:v>
                </c:pt>
                <c:pt idx="24">
                  <c:v>1058.5</c:v>
                </c:pt>
                <c:pt idx="25">
                  <c:v>890.0</c:v>
                </c:pt>
                <c:pt idx="26">
                  <c:v>869.5</c:v>
                </c:pt>
                <c:pt idx="27">
                  <c:v>773.5</c:v>
                </c:pt>
                <c:pt idx="28">
                  <c:v>626.0</c:v>
                </c:pt>
                <c:pt idx="29">
                  <c:v>784.0</c:v>
                </c:pt>
                <c:pt idx="30">
                  <c:v>970.0</c:v>
                </c:pt>
                <c:pt idx="31">
                  <c:v>545.0</c:v>
                </c:pt>
                <c:pt idx="32">
                  <c:v>699.0</c:v>
                </c:pt>
                <c:pt idx="33">
                  <c:v>659.0</c:v>
                </c:pt>
                <c:pt idx="34">
                  <c:v>1032.0</c:v>
                </c:pt>
                <c:pt idx="35">
                  <c:v>591.0</c:v>
                </c:pt>
                <c:pt idx="36">
                  <c:v>610.0</c:v>
                </c:pt>
                <c:pt idx="37">
                  <c:v>772.0</c:v>
                </c:pt>
                <c:pt idx="38">
                  <c:v>790.0435</c:v>
                </c:pt>
                <c:pt idx="39">
                  <c:v>804.3158</c:v>
                </c:pt>
                <c:pt idx="40">
                  <c:v>800.64</c:v>
                </c:pt>
                <c:pt idx="41">
                  <c:v>774.2069</c:v>
                </c:pt>
                <c:pt idx="42">
                  <c:v>806.0</c:v>
                </c:pt>
                <c:pt idx="43">
                  <c:v>790.9333</c:v>
                </c:pt>
                <c:pt idx="44">
                  <c:v>836.3529</c:v>
                </c:pt>
                <c:pt idx="45">
                  <c:v>816.6364</c:v>
                </c:pt>
                <c:pt idx="46">
                  <c:v>780.5556</c:v>
                </c:pt>
                <c:pt idx="47">
                  <c:v>826.25</c:v>
                </c:pt>
                <c:pt idx="48">
                  <c:v>830.4545</c:v>
                </c:pt>
                <c:pt idx="49">
                  <c:v>894.3333</c:v>
                </c:pt>
                <c:pt idx="50">
                  <c:v>752.5</c:v>
                </c:pt>
                <c:pt idx="51">
                  <c:v>783.75</c:v>
                </c:pt>
                <c:pt idx="52">
                  <c:v>896.3333</c:v>
                </c:pt>
                <c:pt idx="53">
                  <c:v>765.5</c:v>
                </c:pt>
                <c:pt idx="54">
                  <c:v>837.3333</c:v>
                </c:pt>
                <c:pt idx="55">
                  <c:v>1030.0</c:v>
                </c:pt>
                <c:pt idx="56">
                  <c:v>1315.0</c:v>
                </c:pt>
                <c:pt idx="57">
                  <c:v>652.1538</c:v>
                </c:pt>
                <c:pt idx="58">
                  <c:v>804.5455</c:v>
                </c:pt>
                <c:pt idx="59">
                  <c:v>849.4</c:v>
                </c:pt>
                <c:pt idx="60">
                  <c:v>844.0</c:v>
                </c:pt>
                <c:pt idx="61">
                  <c:v>711.4545</c:v>
                </c:pt>
                <c:pt idx="62">
                  <c:v>939.5</c:v>
                </c:pt>
                <c:pt idx="63">
                  <c:v>955.0</c:v>
                </c:pt>
                <c:pt idx="64">
                  <c:v>807.0</c:v>
                </c:pt>
                <c:pt idx="65">
                  <c:v>619.5</c:v>
                </c:pt>
                <c:pt idx="66">
                  <c:v>771.75</c:v>
                </c:pt>
                <c:pt idx="67">
                  <c:v>508.5</c:v>
                </c:pt>
                <c:pt idx="68">
                  <c:v>533.0</c:v>
                </c:pt>
                <c:pt idx="69">
                  <c:v>690.0</c:v>
                </c:pt>
                <c:pt idx="70">
                  <c:v>480.5</c:v>
                </c:pt>
                <c:pt idx="71">
                  <c:v>690.0</c:v>
                </c:pt>
                <c:pt idx="72">
                  <c:v>1427.0</c:v>
                </c:pt>
                <c:pt idx="73">
                  <c:v>900.0</c:v>
                </c:pt>
                <c:pt idx="74">
                  <c:v>856.0</c:v>
                </c:pt>
                <c:pt idx="75">
                  <c:v>702.5</c:v>
                </c:pt>
                <c:pt idx="76">
                  <c:v>685.0</c:v>
                </c:pt>
                <c:pt idx="77">
                  <c:v>522.0</c:v>
                </c:pt>
                <c:pt idx="78">
                  <c:v>1060.0</c:v>
                </c:pt>
                <c:pt idx="79">
                  <c:v>522.0</c:v>
                </c:pt>
                <c:pt idx="80">
                  <c:v>813.0</c:v>
                </c:pt>
                <c:pt idx="81">
                  <c:v>797.0</c:v>
                </c:pt>
                <c:pt idx="82">
                  <c:v>827.5</c:v>
                </c:pt>
                <c:pt idx="83">
                  <c:v>944.0</c:v>
                </c:pt>
                <c:pt idx="84">
                  <c:v>845.3333</c:v>
                </c:pt>
                <c:pt idx="85">
                  <c:v>953.75</c:v>
                </c:pt>
                <c:pt idx="86">
                  <c:v>716.0</c:v>
                </c:pt>
                <c:pt idx="87">
                  <c:v>897.0</c:v>
                </c:pt>
                <c:pt idx="88">
                  <c:v>742.0</c:v>
                </c:pt>
              </c:numCache>
            </c:numRef>
          </c:xVal>
          <c:yVal>
            <c:numRef>
              <c:f>Sheet1!$B$2:$B$90</c:f>
              <c:numCache>
                <c:formatCode>General</c:formatCode>
                <c:ptCount val="89"/>
                <c:pt idx="0">
                  <c:v>0.3448275862068966</c:v>
                </c:pt>
                <c:pt idx="1">
                  <c:v>0.35714285714285715</c:v>
                </c:pt>
                <c:pt idx="2">
                  <c:v>0.32432432432432434</c:v>
                </c:pt>
                <c:pt idx="3">
                  <c:v>0.4</c:v>
                </c:pt>
                <c:pt idx="4">
                  <c:v>0.2857142857142857</c:v>
                </c:pt>
                <c:pt idx="5">
                  <c:v>0.32</c:v>
                </c:pt>
                <c:pt idx="6">
                  <c:v>0.45454545454545453</c:v>
                </c:pt>
                <c:pt idx="7">
                  <c:v>0.35714285714285715</c:v>
                </c:pt>
                <c:pt idx="8">
                  <c:v>0.2222222222222222</c:v>
                </c:pt>
                <c:pt idx="9">
                  <c:v>0.16666666666666666</c:v>
                </c:pt>
                <c:pt idx="10">
                  <c:v>0.5</c:v>
                </c:pt>
                <c:pt idx="11">
                  <c:v>0.2727272727272727</c:v>
                </c:pt>
                <c:pt idx="12">
                  <c:v>0.375</c:v>
                </c:pt>
                <c:pt idx="13">
                  <c:v>0.35714285714285715</c:v>
                </c:pt>
                <c:pt idx="14">
                  <c:v>0.375</c:v>
                </c:pt>
                <c:pt idx="15">
                  <c:v>0.3076923076923077</c:v>
                </c:pt>
                <c:pt idx="16">
                  <c:v>0.18181818181818182</c:v>
                </c:pt>
                <c:pt idx="17">
                  <c:v>0.16666666666666666</c:v>
                </c:pt>
                <c:pt idx="18">
                  <c:v>0.2857142857142857</c:v>
                </c:pt>
                <c:pt idx="19">
                  <c:v>0.125</c:v>
                </c:pt>
                <c:pt idx="20">
                  <c:v>0.25</c:v>
                </c:pt>
                <c:pt idx="21">
                  <c:v>0.4</c:v>
                </c:pt>
                <c:pt idx="22">
                  <c:v>0.3333333333333333</c:v>
                </c:pt>
                <c:pt idx="23">
                  <c:v>0.14285714285714285</c:v>
                </c:pt>
                <c:pt idx="24">
                  <c:v>0.2857142857142857</c:v>
                </c:pt>
                <c:pt idx="25">
                  <c:v>0.2857142857142857</c:v>
                </c:pt>
                <c:pt idx="26">
                  <c:v>0.2857142857142857</c:v>
                </c:pt>
                <c:pt idx="27">
                  <c:v>0.2222222222222222</c:v>
                </c:pt>
                <c:pt idx="28">
                  <c:v>0.1111111111111111</c:v>
                </c:pt>
                <c:pt idx="29">
                  <c:v>0.1111111111111111</c:v>
                </c:pt>
                <c:pt idx="30">
                  <c:v>0.1111111111111111</c:v>
                </c:pt>
                <c:pt idx="31">
                  <c:v>0.2</c:v>
                </c:pt>
                <c:pt idx="32">
                  <c:v>0.2</c:v>
                </c:pt>
                <c:pt idx="33">
                  <c:v>0.13333333333333333</c:v>
                </c:pt>
                <c:pt idx="34">
                  <c:v>0.1</c:v>
                </c:pt>
                <c:pt idx="35">
                  <c:v>0.1111111111111111</c:v>
                </c:pt>
                <c:pt idx="36">
                  <c:v>0.125</c:v>
                </c:pt>
                <c:pt idx="37">
                  <c:v>0.3333333333333333</c:v>
                </c:pt>
                <c:pt idx="38">
                  <c:v>0.7666666666666667</c:v>
                </c:pt>
                <c:pt idx="39">
                  <c:v>0.8085106382978723</c:v>
                </c:pt>
                <c:pt idx="40">
                  <c:v>0.7352941176470589</c:v>
                </c:pt>
                <c:pt idx="41">
                  <c:v>0.7073170731707317</c:v>
                </c:pt>
                <c:pt idx="42">
                  <c:v>0.7027027027027027</c:v>
                </c:pt>
                <c:pt idx="43">
                  <c:v>0.6</c:v>
                </c:pt>
                <c:pt idx="44">
                  <c:v>0.5</c:v>
                </c:pt>
                <c:pt idx="45">
                  <c:v>0.4230769230769231</c:v>
                </c:pt>
                <c:pt idx="46">
                  <c:v>0.391304347826087</c:v>
                </c:pt>
                <c:pt idx="47">
                  <c:v>0.32432432432432434</c:v>
                </c:pt>
                <c:pt idx="48">
                  <c:v>0.22448979591836735</c:v>
                </c:pt>
                <c:pt idx="49">
                  <c:v>0.2</c:v>
                </c:pt>
                <c:pt idx="50">
                  <c:v>0.2857142857142857</c:v>
                </c:pt>
                <c:pt idx="51">
                  <c:v>0.2222222222222222</c:v>
                </c:pt>
                <c:pt idx="52">
                  <c:v>0.2</c:v>
                </c:pt>
                <c:pt idx="53">
                  <c:v>0.16666666666666666</c:v>
                </c:pt>
                <c:pt idx="54">
                  <c:v>0.16666666666666666</c:v>
                </c:pt>
                <c:pt idx="55">
                  <c:v>0.043478260869565216</c:v>
                </c:pt>
                <c:pt idx="56">
                  <c:v>0.03225806451612903</c:v>
                </c:pt>
                <c:pt idx="57">
                  <c:v>0.3023255813953488</c:v>
                </c:pt>
                <c:pt idx="58">
                  <c:v>0.14666666666666667</c:v>
                </c:pt>
                <c:pt idx="59">
                  <c:v>0.07936507936507936</c:v>
                </c:pt>
                <c:pt idx="60">
                  <c:v>0.10714285714285714</c:v>
                </c:pt>
                <c:pt idx="61">
                  <c:v>0.3793103448275862</c:v>
                </c:pt>
                <c:pt idx="62">
                  <c:v>0.07407407407407407</c:v>
                </c:pt>
                <c:pt idx="63">
                  <c:v>0.15789473684210525</c:v>
                </c:pt>
                <c:pt idx="64">
                  <c:v>0.15</c:v>
                </c:pt>
                <c:pt idx="65">
                  <c:v>0.19047619047619047</c:v>
                </c:pt>
                <c:pt idx="66">
                  <c:v>0.23529411764705882</c:v>
                </c:pt>
                <c:pt idx="67">
                  <c:v>0.14285714285714285</c:v>
                </c:pt>
                <c:pt idx="68">
                  <c:v>0.08333333333333333</c:v>
                </c:pt>
                <c:pt idx="69">
                  <c:v>0.06666666666666667</c:v>
                </c:pt>
                <c:pt idx="70">
                  <c:v>0.2857142857142857</c:v>
                </c:pt>
                <c:pt idx="71">
                  <c:v>0.1</c:v>
                </c:pt>
                <c:pt idx="72">
                  <c:v>0.125</c:v>
                </c:pt>
                <c:pt idx="73">
                  <c:v>0.125</c:v>
                </c:pt>
                <c:pt idx="74">
                  <c:v>0.14285714285714285</c:v>
                </c:pt>
                <c:pt idx="75">
                  <c:v>0.2222222222222222</c:v>
                </c:pt>
                <c:pt idx="76">
                  <c:v>0.1</c:v>
                </c:pt>
                <c:pt idx="77">
                  <c:v>0.3076923076923077</c:v>
                </c:pt>
                <c:pt idx="78">
                  <c:v>0.1</c:v>
                </c:pt>
                <c:pt idx="79">
                  <c:v>0.14285714285714285</c:v>
                </c:pt>
                <c:pt idx="80">
                  <c:v>0.15789473684210525</c:v>
                </c:pt>
                <c:pt idx="81">
                  <c:v>0.047619047619047616</c:v>
                </c:pt>
                <c:pt idx="82">
                  <c:v>0.08695652173913043</c:v>
                </c:pt>
                <c:pt idx="83">
                  <c:v>0.13043478260869565</c:v>
                </c:pt>
                <c:pt idx="84">
                  <c:v>0.1111111111111111</c:v>
                </c:pt>
                <c:pt idx="85">
                  <c:v>0.2222222222222222</c:v>
                </c:pt>
                <c:pt idx="86">
                  <c:v>0.07692307692307693</c:v>
                </c:pt>
                <c:pt idx="87">
                  <c:v>0.058823529411764705</c:v>
                </c:pt>
                <c:pt idx="88">
                  <c:v>0.1</c:v>
                </c:pt>
              </c:numCache>
            </c:numRef>
          </c:yVal>
          <c:smooth val="0"/>
          <c:extLst>
            <c:ext xmlns:c16="http://schemas.microsoft.com/office/drawing/2014/chart" uri="{C3380CC4-5D6E-409C-BE32-E72D297353CC}">
              <c16:uniqueId val="{00000000-F32D-48B7-BC20-E66FC6253BAD}"/>
            </c:ext>
          </c:extLst>
        </c:ser>
        <c:ser>
          <c:idx val="1"/>
          <c:order val="1"/>
          <c:tx>
            <c:strRef>
              <c:f>Sheet1!$B$9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3:$A$140</c:f>
              <c:numCache>
                <c:formatCode>General</c:formatCode>
                <c:ptCount val="4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1150.0</c:v>
                </c:pt>
                <c:pt idx="15">
                  <c:v>920.0</c:v>
                </c:pt>
                <c:pt idx="16">
                  <c:v>1150.0</c:v>
                </c:pt>
                <c:pt idx="17">
                  <c:v>885.5</c:v>
                </c:pt>
                <c:pt idx="18">
                  <c:v>987.0</c:v>
                </c:pt>
                <c:pt idx="19">
                  <c:v>805.0</c:v>
                </c:pt>
                <c:pt idx="20">
                  <c:v>714.25</c:v>
                </c:pt>
                <c:pt idx="21">
                  <c:v>638.6111</c:v>
                </c:pt>
                <c:pt idx="22">
                  <c:v>1108.5</c:v>
                </c:pt>
                <c:pt idx="23">
                  <c:v>1199.0</c:v>
                </c:pt>
                <c:pt idx="24">
                  <c:v>591.6667</c:v>
                </c:pt>
                <c:pt idx="25">
                  <c:v>759.0</c:v>
                </c:pt>
                <c:pt idx="26">
                  <c:v>0.0</c:v>
                </c:pt>
                <c:pt idx="27">
                  <c:v>790.0</c:v>
                </c:pt>
                <c:pt idx="28">
                  <c:v>0.0</c:v>
                </c:pt>
                <c:pt idx="29">
                  <c:v>0.0</c:v>
                </c:pt>
                <c:pt idx="30">
                  <c:v>800.0</c:v>
                </c:pt>
                <c:pt idx="31">
                  <c:v>0.0</c:v>
                </c:pt>
                <c:pt idx="32">
                  <c:v>0.0</c:v>
                </c:pt>
                <c:pt idx="33">
                  <c:v>915.0</c:v>
                </c:pt>
                <c:pt idx="34">
                  <c:v>552.0</c:v>
                </c:pt>
                <c:pt idx="35">
                  <c:v>1150.0</c:v>
                </c:pt>
                <c:pt idx="36">
                  <c:v>0.0</c:v>
                </c:pt>
                <c:pt idx="37">
                  <c:v>647.5</c:v>
                </c:pt>
                <c:pt idx="38">
                  <c:v>0.0</c:v>
                </c:pt>
                <c:pt idx="39">
                  <c:v>0.0</c:v>
                </c:pt>
                <c:pt idx="40">
                  <c:v>527.5</c:v>
                </c:pt>
                <c:pt idx="41">
                  <c:v>393.75</c:v>
                </c:pt>
                <c:pt idx="42">
                  <c:v>490.0</c:v>
                </c:pt>
                <c:pt idx="43">
                  <c:v>380.0</c:v>
                </c:pt>
                <c:pt idx="44">
                  <c:v>462.3333</c:v>
                </c:pt>
                <c:pt idx="45">
                  <c:v>0.0</c:v>
                </c:pt>
                <c:pt idx="46">
                  <c:v>0.0</c:v>
                </c:pt>
                <c:pt idx="47">
                  <c:v>0.0</c:v>
                </c:pt>
              </c:numCache>
            </c:numRef>
          </c:xVal>
          <c:yVal>
            <c:numRef>
              <c:f>Sheet1!$B$93:$B$140</c:f>
              <c:numCache>
                <c:formatCode>General</c:formatCode>
                <c:ptCount val="4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6666666666666667</c:v>
                </c:pt>
                <c:pt idx="15">
                  <c:v>0.08333333333333333</c:v>
                </c:pt>
                <c:pt idx="16">
                  <c:v>0.0625</c:v>
                </c:pt>
                <c:pt idx="17">
                  <c:v>0.11764705882352941</c:v>
                </c:pt>
                <c:pt idx="18">
                  <c:v>0.045454545454545456</c:v>
                </c:pt>
                <c:pt idx="19">
                  <c:v>0.125</c:v>
                </c:pt>
                <c:pt idx="20">
                  <c:v>0.35294117647058826</c:v>
                </c:pt>
                <c:pt idx="21">
                  <c:v>0.5806451612903226</c:v>
                </c:pt>
                <c:pt idx="22">
                  <c:v>0.25</c:v>
                </c:pt>
                <c:pt idx="23">
                  <c:v>0.125</c:v>
                </c:pt>
                <c:pt idx="24">
                  <c:v>0.25</c:v>
                </c:pt>
                <c:pt idx="25">
                  <c:v>0.14285714285714285</c:v>
                </c:pt>
                <c:pt idx="26">
                  <c:v>0.0</c:v>
                </c:pt>
                <c:pt idx="27">
                  <c:v>0.1</c:v>
                </c:pt>
                <c:pt idx="28">
                  <c:v>0.0</c:v>
                </c:pt>
                <c:pt idx="29">
                  <c:v>0.0</c:v>
                </c:pt>
                <c:pt idx="30">
                  <c:v>0.125</c:v>
                </c:pt>
                <c:pt idx="31">
                  <c:v>0.0</c:v>
                </c:pt>
                <c:pt idx="32">
                  <c:v>0.0</c:v>
                </c:pt>
                <c:pt idx="33">
                  <c:v>0.1</c:v>
                </c:pt>
                <c:pt idx="34">
                  <c:v>0.16666666666666666</c:v>
                </c:pt>
                <c:pt idx="35">
                  <c:v>0.2</c:v>
                </c:pt>
                <c:pt idx="36">
                  <c:v>0.0</c:v>
                </c:pt>
                <c:pt idx="37">
                  <c:v>0.3333333333333333</c:v>
                </c:pt>
                <c:pt idx="38">
                  <c:v>0.0</c:v>
                </c:pt>
                <c:pt idx="39">
                  <c:v>0.0</c:v>
                </c:pt>
                <c:pt idx="40">
                  <c:v>0.3333333333333333</c:v>
                </c:pt>
                <c:pt idx="41">
                  <c:v>0.4444444444444444</c:v>
                </c:pt>
                <c:pt idx="42">
                  <c:v>0.2857142857142857</c:v>
                </c:pt>
                <c:pt idx="43">
                  <c:v>0.14285714285714285</c:v>
                </c:pt>
                <c:pt idx="44">
                  <c:v>0.23076923076923078</c:v>
                </c:pt>
                <c:pt idx="45">
                  <c:v>0.0</c:v>
                </c:pt>
                <c:pt idx="46">
                  <c:v>0.0</c:v>
                </c:pt>
                <c:pt idx="47">
                  <c:v>0.0</c:v>
                </c:pt>
              </c:numCache>
            </c:numRef>
          </c:yVal>
          <c:smooth val="0"/>
          <c:extLst>
            <c:ext xmlns:c16="http://schemas.microsoft.com/office/drawing/2014/chart" uri="{C3380CC4-5D6E-409C-BE32-E72D297353CC}">
              <c16:uniqueId val="{00000002-F32D-48B7-BC20-E66FC6253BAD}"/>
            </c:ext>
          </c:extLst>
        </c:ser>
        <c:ser>
          <c:idx val="2"/>
          <c:order val="2"/>
          <c:tx>
            <c:strRef>
              <c:f>Sheet1!$B$142</c:f>
              <c:strCache>
                <c:ptCount val="1"/>
                <c:pt idx="0">
                  <c:v>Custom Linep3yQ</c:v>
                </c:pt>
              </c:strCache>
            </c:strRef>
          </c:tx>
          <c:spPr>
            <a:ln w="19050" cap="rnd">
              <a:solidFill>
                <a:srgbClr val="C00000"/>
              </a:solidFill>
              <a:prstDash val="sysDot"/>
              <a:round/>
            </a:ln>
            <a:effectLst/>
          </c:spPr>
          <c:marker>
            <c:symbol val="none"/>
          </c:marker>
          <c:xVal>
            <c:numRef>
              <c:f>Sheet1!$A$143:$A$144</c:f>
              <c:numCache>
                <c:formatCode>General</c:formatCode>
                <c:ptCount val="2"/>
                <c:pt idx="0">
                  <c:v>0</c:v>
                </c:pt>
                <c:pt idx="1">
                  <c:v>2671.20268668165</c:v>
                </c:pt>
              </c:numCache>
            </c:numRef>
          </c:xVal>
          <c:yVal>
            <c:numRef>
              <c:f>Sheet1!$B$143:$B$144</c:f>
              <c:numCache>
                <c:formatCode>General</c:formatCode>
                <c:ptCount val="2"/>
                <c:pt idx="0">
                  <c:v>0.4849474549101913</c:v>
                </c:pt>
                <c:pt idx="1">
                  <c:v>0.4849474549101913</c:v>
                </c:pt>
              </c:numCache>
            </c:numRef>
          </c:yVal>
          <c:smooth val="0"/>
          <c:extLst>
            <c:ext xmlns:c16="http://schemas.microsoft.com/office/drawing/2014/chart" uri="{C3380CC4-5D6E-409C-BE32-E72D297353CC}">
              <c16:uniqueId val="{00000003-F32D-48B7-BC20-E66FC6253BAD}"/>
            </c:ext>
          </c:extLst>
        </c:ser>
        <c:ser>
          <c:idx val="3"/>
          <c:order val="3"/>
          <c:tx>
            <c:strRef>
              <c:f>Sheet1!$B$14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7:$A$148</c:f>
              <c:numCache>
                <c:formatCode>General</c:formatCode>
                <c:ptCount val="2"/>
                <c:pt idx="0">
                  <c:v>2671.20268668165</c:v>
                </c:pt>
                <c:pt idx="1">
                  <c:v>2671.20268668165</c:v>
                </c:pt>
              </c:numCache>
            </c:numRef>
          </c:xVal>
          <c:yVal>
            <c:numRef>
              <c:f>Sheet1!$B$147:$B$148</c:f>
              <c:numCache>
                <c:formatCode>General</c:formatCode>
                <c:ptCount val="2"/>
                <c:pt idx="0">
                  <c:v>0.48494745491019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1:$A$152</c:f>
              <c:numCache>
                <c:formatCode>General</c:formatCode>
                <c:ptCount val="2"/>
                <c:pt idx="0">
                  <c:v>0</c:v>
                </c:pt>
                <c:pt idx="1">
                  <c:v>907.9704001620058</c:v>
                </c:pt>
              </c:numCache>
            </c:numRef>
          </c:xVal>
          <c:yVal>
            <c:numRef>
              <c:f>Sheet1!$B$151:$B$152</c:f>
              <c:numCache>
                <c:formatCode>General</c:formatCode>
                <c:ptCount val="2"/>
                <c:pt idx="0">
                  <c:v>0.1871319935598873</c:v>
                </c:pt>
                <c:pt idx="1">
                  <c:v>0.1871319935598873</c:v>
                </c:pt>
              </c:numCache>
            </c:numRef>
          </c:yVal>
          <c:smooth val="0"/>
          <c:extLst>
            <c:ext xmlns:c16="http://schemas.microsoft.com/office/drawing/2014/chart" uri="{C3380CC4-5D6E-409C-BE32-E72D297353CC}">
              <c16:uniqueId val="{0000000A-F32D-48B7-BC20-E66FC6253BAD}"/>
            </c:ext>
          </c:extLst>
        </c:ser>
        <c:ser>
          <c:idx val="5"/>
          <c:order val="5"/>
          <c:tx>
            <c:strRef>
              <c:f>Sheet1!$B$15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5:$A$156</c:f>
              <c:numCache>
                <c:formatCode>General</c:formatCode>
                <c:ptCount val="2"/>
                <c:pt idx="0">
                  <c:v>907.9704001620058</c:v>
                </c:pt>
                <c:pt idx="1">
                  <c:v>907.9704001620058</c:v>
                </c:pt>
              </c:numCache>
            </c:numRef>
          </c:xVal>
          <c:yVal>
            <c:numRef>
              <c:f>Sheet1!$B$155:$B$156</c:f>
              <c:numCache>
                <c:formatCode>General</c:formatCode>
                <c:ptCount val="2"/>
                <c:pt idx="0">
                  <c:v>0.18713199355988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8</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9:$A$209</c:f>
              <c:numCache>
                <c:formatCode>General</c:formatCode>
                <c:ptCount val="51"/>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1150.0</c:v>
                </c:pt>
                <c:pt idx="15">
                  <c:v>920.0</c:v>
                </c:pt>
                <c:pt idx="16">
                  <c:v>1150.0</c:v>
                </c:pt>
                <c:pt idx="17">
                  <c:v>885.5</c:v>
                </c:pt>
                <c:pt idx="18">
                  <c:v>987.0</c:v>
                </c:pt>
                <c:pt idx="19">
                  <c:v>805.0</c:v>
                </c:pt>
                <c:pt idx="20">
                  <c:v>714.25</c:v>
                </c:pt>
                <c:pt idx="21">
                  <c:v>638.6111</c:v>
                </c:pt>
                <c:pt idx="22">
                  <c:v>1108.5</c:v>
                </c:pt>
                <c:pt idx="23">
                  <c:v>1199.0</c:v>
                </c:pt>
                <c:pt idx="24">
                  <c:v>591.6667</c:v>
                </c:pt>
                <c:pt idx="25">
                  <c:v>759.0</c:v>
                </c:pt>
                <c:pt idx="26">
                  <c:v>0.0</c:v>
                </c:pt>
                <c:pt idx="27">
                  <c:v>790.0</c:v>
                </c:pt>
                <c:pt idx="28">
                  <c:v>0.0</c:v>
                </c:pt>
                <c:pt idx="29">
                  <c:v>0.0</c:v>
                </c:pt>
                <c:pt idx="30">
                  <c:v>800.0</c:v>
                </c:pt>
                <c:pt idx="31">
                  <c:v>0.0</c:v>
                </c:pt>
                <c:pt idx="32">
                  <c:v>0.0</c:v>
                </c:pt>
                <c:pt idx="33">
                  <c:v>915.0</c:v>
                </c:pt>
                <c:pt idx="34">
                  <c:v>552.0</c:v>
                </c:pt>
                <c:pt idx="35">
                  <c:v>1150.0</c:v>
                </c:pt>
                <c:pt idx="36">
                  <c:v>0.0</c:v>
                </c:pt>
                <c:pt idx="37">
                  <c:v>647.5</c:v>
                </c:pt>
                <c:pt idx="38">
                  <c:v>0.0</c:v>
                </c:pt>
                <c:pt idx="39">
                  <c:v>0.0</c:v>
                </c:pt>
                <c:pt idx="40">
                  <c:v>527.5</c:v>
                </c:pt>
                <c:pt idx="41">
                  <c:v>393.75</c:v>
                </c:pt>
                <c:pt idx="42">
                  <c:v>490.0</c:v>
                </c:pt>
                <c:pt idx="43">
                  <c:v>380.0</c:v>
                </c:pt>
                <c:pt idx="44">
                  <c:v>462.3333</c:v>
                </c:pt>
                <c:pt idx="45">
                  <c:v>0.0</c:v>
                </c:pt>
                <c:pt idx="46">
                  <c:v>0.0</c:v>
                </c:pt>
                <c:pt idx="47">
                  <c:v>0.0</c:v>
                </c:pt>
                <c:pt idx="48">
                  <c:v>907.9704001620058</c:v>
                </c:pt>
                <c:pt idx="49">
                  <c:v>2671.20268668165</c:v>
                </c:pt>
                <c:pt idx="50">
                  <c:v>0</c:v>
                </c:pt>
              </c:numCache>
            </c:numRef>
          </c:xVal>
          <c:yVal>
            <c:numRef>
              <c:f>Sheet1!$B$159:$B$209</c:f>
              <c:numCache>
                <c:formatCode>General</c:formatCode>
                <c:ptCount val="51"/>
                <c:pt idx="0">
                  <c:v>0.03377294626702495</c:v>
                </c:pt>
                <c:pt idx="1">
                  <c:v>0.03377294626702495</c:v>
                </c:pt>
                <c:pt idx="2">
                  <c:v>0.03377294626702495</c:v>
                </c:pt>
                <c:pt idx="3">
                  <c:v>0.03377294626702495</c:v>
                </c:pt>
                <c:pt idx="4">
                  <c:v>0.03377294626702495</c:v>
                </c:pt>
                <c:pt idx="5">
                  <c:v>0.03377294626702495</c:v>
                </c:pt>
                <c:pt idx="6">
                  <c:v>0.03377294626702495</c:v>
                </c:pt>
                <c:pt idx="7">
                  <c:v>0.03377294626702495</c:v>
                </c:pt>
                <c:pt idx="8">
                  <c:v>0.03377294626702495</c:v>
                </c:pt>
                <c:pt idx="9">
                  <c:v>0.03377294626702495</c:v>
                </c:pt>
                <c:pt idx="10">
                  <c:v>0.03377294626702495</c:v>
                </c:pt>
                <c:pt idx="11">
                  <c:v>0.03377294626702495</c:v>
                </c:pt>
                <c:pt idx="12">
                  <c:v>0.03377294626702495</c:v>
                </c:pt>
                <c:pt idx="13">
                  <c:v>0.03377294626702495</c:v>
                </c:pt>
                <c:pt idx="14">
                  <c:v>0.228011551793509</c:v>
                </c:pt>
                <c:pt idx="15">
                  <c:v>0.1891638306882122</c:v>
                </c:pt>
                <c:pt idx="16">
                  <c:v>0.228011551793509</c:v>
                </c:pt>
                <c:pt idx="17">
                  <c:v>0.18333667252241764</c:v>
                </c:pt>
                <c:pt idx="18">
                  <c:v>0.20048034074932036</c:v>
                </c:pt>
                <c:pt idx="19">
                  <c:v>0.16973997013556377</c:v>
                </c:pt>
                <c:pt idx="20">
                  <c:v>0.15441201061249557</c:v>
                </c:pt>
                <c:pt idx="21">
                  <c:v>0.1416363632563589</c:v>
                </c:pt>
                <c:pt idx="22">
                  <c:v>0.2210020716810315</c:v>
                </c:pt>
                <c:pt idx="23">
                  <c:v>0.2362878054202896</c:v>
                </c:pt>
                <c:pt idx="24">
                  <c:v>0.1337073069143785</c:v>
                </c:pt>
                <c:pt idx="25">
                  <c:v>0.16197042591450442</c:v>
                </c:pt>
                <c:pt idx="26">
                  <c:v>0.03377294626702495</c:v>
                </c:pt>
                <c:pt idx="27">
                  <c:v>0.16720642310695746</c:v>
                </c:pt>
                <c:pt idx="28">
                  <c:v>0.03377294626702495</c:v>
                </c:pt>
                <c:pt idx="29">
                  <c:v>0.03377294626702495</c:v>
                </c:pt>
                <c:pt idx="30">
                  <c:v>0.16889545445936166</c:v>
                </c:pt>
                <c:pt idx="31">
                  <c:v>0.03377294626702495</c:v>
                </c:pt>
                <c:pt idx="32">
                  <c:v>0.03377294626702495</c:v>
                </c:pt>
                <c:pt idx="33">
                  <c:v>0.18831931501201007</c:v>
                </c:pt>
                <c:pt idx="34">
                  <c:v>0.1270074769197373</c:v>
                </c:pt>
                <c:pt idx="35">
                  <c:v>0.228011551793509</c:v>
                </c:pt>
                <c:pt idx="36">
                  <c:v>0.03377294626702495</c:v>
                </c:pt>
                <c:pt idx="37">
                  <c:v>0.14313772633519747</c:v>
                </c:pt>
                <c:pt idx="38">
                  <c:v>0.03377294626702495</c:v>
                </c:pt>
                <c:pt idx="39">
                  <c:v>0.03377294626702495</c:v>
                </c:pt>
                <c:pt idx="40">
                  <c:v>0.12286935010634698</c:v>
                </c:pt>
                <c:pt idx="41">
                  <c:v>0.10027855576794067</c:v>
                </c:pt>
                <c:pt idx="42">
                  <c:v>0.11653548253483118</c:v>
                </c:pt>
                <c:pt idx="43">
                  <c:v>0.0979561376583849</c:v>
                </c:pt>
                <c:pt idx="44">
                  <c:v>0.11186249016307503</c:v>
                </c:pt>
                <c:pt idx="45">
                  <c:v>0.03377294626702495</c:v>
                </c:pt>
                <c:pt idx="46">
                  <c:v>0.03377294626702495</c:v>
                </c:pt>
                <c:pt idx="47">
                  <c:v>0.03377294626702495</c:v>
                </c:pt>
                <c:pt idx="48">
                  <c:v>0.1871319935598873</c:v>
                </c:pt>
                <c:pt idx="49">
                  <c:v>0.4849474549101913</c:v>
                </c:pt>
                <c:pt idx="50">
                  <c:v>0.03377294626702495</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0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021276595744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4361005194011611</c:v>
                </c:pt>
                <c:pt idx="1">
                  <c:v>1.4083223329741381</c:v>
                </c:pt>
                <c:pt idx="2">
                  <c:v>1.8067819025480882</c:v>
                </c:pt>
                <c:pt idx="3">
                  <c:v>1.7170102345415779</c:v>
                </c:pt>
                <c:pt idx="4">
                  <c:v>1.5423043603811724</c:v>
                </c:pt>
                <c:pt idx="5">
                  <c:v>1.77699423718532</c:v>
                </c:pt>
                <c:pt idx="6">
                  <c:v>1.9038461538461537</c:v>
                </c:pt>
                <c:pt idx="7">
                  <c:v>1.733465090496796</c:v>
                </c:pt>
                <c:pt idx="8">
                  <c:v>1.8357689631176062</c:v>
                </c:pt>
                <c:pt idx="9">
                  <c:v>1.7915827497486754</c:v>
                </c:pt>
                <c:pt idx="10">
                  <c:v>1.7010665065370683</c:v>
                </c:pt>
                <c:pt idx="11">
                  <c:v>2.6088537165510406</c:v>
                </c:pt>
                <c:pt idx="12">
                  <c:v>1.633654332874828</c:v>
                </c:pt>
                <c:pt idx="13">
                  <c:v>1.5159009931139138</c:v>
                </c:pt>
                <c:pt idx="14">
                  <c:v>1.5183431952662723</c:v>
                </c:pt>
                <c:pt idx="15">
                  <c:v>1.925288589540412</c:v>
                </c:pt>
                <c:pt idx="16">
                  <c:v>1.7991423380726697</c:v>
                </c:pt>
                <c:pt idx="17">
                  <c:v>2.50517970749543</c:v>
                </c:pt>
                <c:pt idx="18">
                  <c:v>2.2396967200522635</c:v>
                </c:pt>
                <c:pt idx="19">
                  <c:v>2.2508130081300814</c:v>
                </c:pt>
                <c:pt idx="20">
                  <c:v>2.0033556012722973</c:v>
                </c:pt>
                <c:pt idx="21">
                  <c:v>3.158805031446541</c:v>
                </c:pt>
                <c:pt idx="22">
                  <c:v>2.2058098966026587</c:v>
                </c:pt>
                <c:pt idx="23">
                  <c:v>2.0457875</c:v>
                </c:pt>
                <c:pt idx="24">
                  <c:v>1.9771402379286214</c:v>
                </c:pt>
                <c:pt idx="25">
                  <c:v>2.030640668523677</c:v>
                </c:pt>
                <c:pt idx="26">
                  <c:v>1.977204047452896</c:v>
                </c:pt>
                <c:pt idx="27">
                  <c:v>2.549575215273383</c:v>
                </c:pt>
                <c:pt idx="28">
                  <c:v>1.686875</c:v>
                </c:pt>
                <c:pt idx="29">
                  <c:v>1.450759900062461</c:v>
                </c:pt>
                <c:pt idx="30">
                  <c:v>1.7857589006870707</c:v>
                </c:pt>
                <c:pt idx="31">
                  <c:v>1.9775690722544925</c:v>
                </c:pt>
                <c:pt idx="32">
                  <c:v>2.0262295081967214</c:v>
                </c:pt>
                <c:pt idx="33">
                  <c:v>1.5933415536374846</c:v>
                </c:pt>
                <c:pt idx="34">
                  <c:v>1.7341840402588067</c:v>
                </c:pt>
                <c:pt idx="35">
                  <c:v>1.2784371909000989</c:v>
                </c:pt>
                <c:pt idx="36">
                  <c:v>1.8939633070866142</c:v>
                </c:pt>
                <c:pt idx="37">
                  <c:v>1.6038514442916094</c:v>
                </c:pt>
                <c:pt idx="38">
                  <c:v>1.7908496732026145</c:v>
                </c:pt>
                <c:pt idx="39">
                  <c:v>2.0517688838829926</c:v>
                </c:pt>
                <c:pt idx="40">
                  <c:v>2.052244897959184</c:v>
                </c:pt>
                <c:pt idx="41">
                  <c:v>1.9083991385498924</c:v>
                </c:pt>
                <c:pt idx="42">
                  <c:v>2.5150352348993286</c:v>
                </c:pt>
                <c:pt idx="43">
                  <c:v>1.9067613786104183</c:v>
                </c:pt>
                <c:pt idx="44">
                  <c:v>1.981037409609526</c:v>
                </c:pt>
                <c:pt idx="45">
                  <c:v>2.425791505791506</c:v>
                </c:pt>
                <c:pt idx="46">
                  <c:v>2.0821122477191043</c:v>
                </c:pt>
                <c:pt idx="47">
                  <c:v>2.1501622791200865</c:v>
                </c:pt>
                <c:pt idx="48">
                  <c:v>2.304042173443685</c:v>
                </c:pt>
                <c:pt idx="49">
                  <c:v>2.2063519751595653</c:v>
                </c:pt>
                <c:pt idx="50">
                  <c:v>1.8906633906633907</c:v>
                </c:pt>
                <c:pt idx="51">
                  <c:v>2.1163975601004665</c:v>
                </c:pt>
                <c:pt idx="52">
                  <c:v>2.3522810457516337</c:v>
                </c:pt>
                <c:pt idx="53">
                  <c:v>2.06397770979021</c:v>
                </c:pt>
                <c:pt idx="54">
                  <c:v>2.0378447722899296</c:v>
                </c:pt>
                <c:pt idx="55">
                  <c:v>1.4341648769205355</c:v>
                </c:pt>
                <c:pt idx="56">
                  <c:v>1.2582802107403641</c:v>
                </c:pt>
                <c:pt idx="57">
                  <c:v>1.2559169022730095</c:v>
                </c:pt>
                <c:pt idx="58">
                  <c:v>1.1801848640703543</c:v>
                </c:pt>
                <c:pt idx="59">
                  <c:v>1.4233485379980952</c:v>
                </c:pt>
                <c:pt idx="60">
                  <c:v>1.3596998302589403</c:v>
                </c:pt>
                <c:pt idx="61">
                  <c:v>1.429921740014229</c:v>
                </c:pt>
                <c:pt idx="62">
                  <c:v>1.3741840272323451</c:v>
                </c:pt>
                <c:pt idx="63">
                  <c:v>1.4258440943070732</c:v>
                </c:pt>
                <c:pt idx="64">
                  <c:v>1.2349124203468542</c:v>
                </c:pt>
                <c:pt idx="65">
                  <c:v>1.2217610391469262</c:v>
                </c:pt>
                <c:pt idx="66">
                  <c:v>1.0111499919108</c:v>
                </c:pt>
                <c:pt idx="67">
                  <c:v>1.2417842536179777</c:v>
                </c:pt>
                <c:pt idx="68">
                  <c:v>1.0678575905117293</c:v>
                </c:pt>
                <c:pt idx="69">
                  <c:v>0.8466885743174923</c:v>
                </c:pt>
                <c:pt idx="70">
                  <c:v>0.8620452985586822</c:v>
                </c:pt>
                <c:pt idx="71">
                  <c:v>0.6397954895643648</c:v>
                </c:pt>
                <c:pt idx="72">
                  <c:v>0.9681837884698743</c:v>
                </c:pt>
                <c:pt idx="73">
                  <c:v>1.001212304894681</c:v>
                </c:pt>
                <c:pt idx="74">
                  <c:v>0.9897948370375956</c:v>
                </c:pt>
                <c:pt idx="75">
                  <c:v>0.7000818891107954</c:v>
                </c:pt>
                <c:pt idx="76">
                  <c:v>1.1195688225538971</c:v>
                </c:pt>
                <c:pt idx="77">
                  <c:v>1.4257586526726873</c:v>
                </c:pt>
                <c:pt idx="78">
                  <c:v>1.7955236749246664</c:v>
                </c:pt>
                <c:pt idx="79">
                  <c:v>1.1969325092965488</c:v>
                </c:pt>
                <c:pt idx="80">
                  <c:v>1.5832474768280123</c:v>
                </c:pt>
                <c:pt idx="81">
                  <c:v>1.292138396226415</c:v>
                </c:pt>
                <c:pt idx="82">
                  <c:v>1.393890630421523</c:v>
                </c:pt>
                <c:pt idx="83">
                  <c:v>1.4220019037373448</c:v>
                </c:pt>
                <c:pt idx="84">
                  <c:v>1.3683965557365605</c:v>
                </c:pt>
                <c:pt idx="85">
                  <c:v>1.6626281453867662</c:v>
                </c:pt>
                <c:pt idx="86">
                  <c:v>1.2658486963190183</c:v>
                </c:pt>
                <c:pt idx="87">
                  <c:v>1.634571381869389</c:v>
                </c:pt>
                <c:pt idx="88">
                  <c:v>1.4993090741593735</c:v>
                </c:pt>
                <c:pt idx="89">
                  <c:v>1.1786486374253828</c:v>
                </c:pt>
                <c:pt idx="90">
                  <c:v>1.2586615468260605</c:v>
                </c:pt>
                <c:pt idx="91">
                  <c:v>1.284833916986172</c:v>
                </c:pt>
                <c:pt idx="92">
                  <c:v>1.2885780885780886</c:v>
                </c:pt>
                <c:pt idx="93">
                  <c:v>1.3355539106834444</c:v>
                </c:pt>
                <c:pt idx="94">
                  <c:v>1.722209796466115</c:v>
                </c:pt>
                <c:pt idx="95">
                  <c:v>1.1216639093137255</c:v>
                </c:pt>
                <c:pt idx="96">
                  <c:v>1.2980432803778446</c:v>
                </c:pt>
                <c:pt idx="97">
                  <c:v>1.5061003748826123</c:v>
                </c:pt>
                <c:pt idx="98">
                  <c:v>1.401277683787544</c:v>
                </c:pt>
                <c:pt idx="99">
                  <c:v>1.5578842315369261</c:v>
                </c:pt>
                <c:pt idx="100">
                  <c:v>1.266859344894027</c:v>
                </c:pt>
                <c:pt idx="101">
                  <c:v>1.5375772506220577</c:v>
                </c:pt>
                <c:pt idx="102">
                  <c:v>1.17581134746776</c:v>
                </c:pt>
                <c:pt idx="103">
                  <c:v>1.1247555598530263</c:v>
                </c:pt>
                <c:pt idx="104">
                  <c:v>1.4937476601920416</c:v>
                </c:pt>
              </c:numCache>
            </c:numRef>
          </c:xVal>
          <c:yVal>
            <c:numRef>
              <c:f>Sheet1!$B$2:$B$106</c:f>
              <c:numCache>
                <c:formatCode>General</c:formatCode>
                <c:ptCount val="105"/>
                <c:pt idx="0">
                  <c:v>0.4827586206896552</c:v>
                </c:pt>
                <c:pt idx="1">
                  <c:v>0.4642857142857143</c:v>
                </c:pt>
                <c:pt idx="2">
                  <c:v>0.43243243243243246</c:v>
                </c:pt>
                <c:pt idx="3">
                  <c:v>0.4</c:v>
                </c:pt>
                <c:pt idx="4">
                  <c:v>0.47619047619047616</c:v>
                </c:pt>
                <c:pt idx="5">
                  <c:v>0.48</c:v>
                </c:pt>
                <c:pt idx="6">
                  <c:v>0.36363636363636365</c:v>
                </c:pt>
                <c:pt idx="7">
                  <c:v>0.42857142857142855</c:v>
                </c:pt>
                <c:pt idx="8">
                  <c:v>0.5555555555555556</c:v>
                </c:pt>
                <c:pt idx="9">
                  <c:v>0.375</c:v>
                </c:pt>
                <c:pt idx="10">
                  <c:v>0.2857142857142857</c:v>
                </c:pt>
                <c:pt idx="11">
                  <c:v>0.5454545454545454</c:v>
                </c:pt>
                <c:pt idx="12">
                  <c:v>0.375</c:v>
                </c:pt>
                <c:pt idx="13">
                  <c:v>0.42857142857142855</c:v>
                </c:pt>
                <c:pt idx="14">
                  <c:v>0.5</c:v>
                </c:pt>
                <c:pt idx="15">
                  <c:v>0.5384615384615384</c:v>
                </c:pt>
                <c:pt idx="16">
                  <c:v>0.6363636363636364</c:v>
                </c:pt>
                <c:pt idx="17">
                  <c:v>0.5</c:v>
                </c:pt>
                <c:pt idx="18">
                  <c:v>0.2857142857142857</c:v>
                </c:pt>
                <c:pt idx="19">
                  <c:v>0.5</c:v>
                </c:pt>
                <c:pt idx="20">
                  <c:v>0.5</c:v>
                </c:pt>
                <c:pt idx="21">
                  <c:v>0.2</c:v>
                </c:pt>
                <c:pt idx="22">
                  <c:v>0.3333333333333333</c:v>
                </c:pt>
                <c:pt idx="23">
                  <c:v>0.42857142857142855</c:v>
                </c:pt>
                <c:pt idx="24">
                  <c:v>0.42857142857142855</c:v>
                </c:pt>
                <c:pt idx="25">
                  <c:v>0.42857142857142855</c:v>
                </c:pt>
                <c:pt idx="26">
                  <c:v>0.42857142857142855</c:v>
                </c:pt>
                <c:pt idx="27">
                  <c:v>0.4444444444444444</c:v>
                </c:pt>
                <c:pt idx="28">
                  <c:v>0.6666666666666666</c:v>
                </c:pt>
                <c:pt idx="29">
                  <c:v>0.6666666666666666</c:v>
                </c:pt>
                <c:pt idx="30">
                  <c:v>0.5</c:v>
                </c:pt>
                <c:pt idx="31">
                  <c:v>0.5555555555555556</c:v>
                </c:pt>
                <c:pt idx="32">
                  <c:v>0.5</c:v>
                </c:pt>
                <c:pt idx="33">
                  <c:v>0.5</c:v>
                </c:pt>
                <c:pt idx="34">
                  <c:v>0.5333333333333333</c:v>
                </c:pt>
                <c:pt idx="35">
                  <c:v>0.8</c:v>
                </c:pt>
                <c:pt idx="36">
                  <c:v>0.6666666666666666</c:v>
                </c:pt>
                <c:pt idx="37">
                  <c:v>0.5</c:v>
                </c:pt>
                <c:pt idx="38">
                  <c:v>0.4444444444444444</c:v>
                </c:pt>
                <c:pt idx="39">
                  <c:v>0.13333333333333333</c:v>
                </c:pt>
                <c:pt idx="40">
                  <c:v>0.10638297872340426</c:v>
                </c:pt>
                <c:pt idx="41">
                  <c:v>0.14705882352941177</c:v>
                </c:pt>
                <c:pt idx="42">
                  <c:v>0.17073170731707318</c:v>
                </c:pt>
                <c:pt idx="43">
                  <c:v>0.21621621621621623</c:v>
                </c:pt>
                <c:pt idx="44">
                  <c:v>0.24</c:v>
                </c:pt>
                <c:pt idx="45">
                  <c:v>0.29411764705882354</c:v>
                </c:pt>
                <c:pt idx="46">
                  <c:v>0.38461538461538464</c:v>
                </c:pt>
                <c:pt idx="47">
                  <c:v>0.43478260869565216</c:v>
                </c:pt>
                <c:pt idx="48">
                  <c:v>0.40540540540540543</c:v>
                </c:pt>
                <c:pt idx="49">
                  <c:v>0.5510204081632653</c:v>
                </c:pt>
                <c:pt idx="50">
                  <c:v>0.5333333333333333</c:v>
                </c:pt>
                <c:pt idx="51">
                  <c:v>0.35714285714285715</c:v>
                </c:pt>
                <c:pt idx="52">
                  <c:v>0.5</c:v>
                </c:pt>
                <c:pt idx="53">
                  <c:v>0.4666666666666667</c:v>
                </c:pt>
                <c:pt idx="54">
                  <c:v>0.5</c:v>
                </c:pt>
                <c:pt idx="55">
                  <c:v>0.2777777777777778</c:v>
                </c:pt>
                <c:pt idx="56">
                  <c:v>0.2608695652173913</c:v>
                </c:pt>
                <c:pt idx="57">
                  <c:v>0.22580645161290322</c:v>
                </c:pt>
                <c:pt idx="58">
                  <c:v>0.16279069767441862</c:v>
                </c:pt>
                <c:pt idx="59">
                  <c:v>0.18666666666666668</c:v>
                </c:pt>
                <c:pt idx="60">
                  <c:v>0.30158730158730157</c:v>
                </c:pt>
                <c:pt idx="61">
                  <c:v>0.2857142857142857</c:v>
                </c:pt>
                <c:pt idx="62">
                  <c:v>0.1724137931034483</c:v>
                </c:pt>
                <c:pt idx="63">
                  <c:v>0.25925925925925924</c:v>
                </c:pt>
                <c:pt idx="64">
                  <c:v>0.3684210526315789</c:v>
                </c:pt>
                <c:pt idx="65">
                  <c:v>0.3</c:v>
                </c:pt>
                <c:pt idx="66">
                  <c:v>0.38095238095238093</c:v>
                </c:pt>
                <c:pt idx="67">
                  <c:v>0.35294117647058826</c:v>
                </c:pt>
                <c:pt idx="68">
                  <c:v>0.42857142857142855</c:v>
                </c:pt>
                <c:pt idx="69">
                  <c:v>0.5</c:v>
                </c:pt>
                <c:pt idx="70">
                  <c:v>0.3333333333333333</c:v>
                </c:pt>
                <c:pt idx="71">
                  <c:v>0.5454545454545454</c:v>
                </c:pt>
                <c:pt idx="72">
                  <c:v>0.45454545454545453</c:v>
                </c:pt>
                <c:pt idx="73">
                  <c:v>0.4166666666666667</c:v>
                </c:pt>
                <c:pt idx="74">
                  <c:v>0.4</c:v>
                </c:pt>
                <c:pt idx="75">
                  <c:v>0.36363636363636365</c:v>
                </c:pt>
                <c:pt idx="76">
                  <c:v>0.45454545454545453</c:v>
                </c:pt>
                <c:pt idx="77">
                  <c:v>0.42857142857142855</c:v>
                </c:pt>
                <c:pt idx="78">
                  <c:v>0.2857142857142857</c:v>
                </c:pt>
                <c:pt idx="79">
                  <c:v>0.3</c:v>
                </c:pt>
                <c:pt idx="80">
                  <c:v>0.375</c:v>
                </c:pt>
                <c:pt idx="81">
                  <c:v>0.375</c:v>
                </c:pt>
                <c:pt idx="82">
                  <c:v>0.5</c:v>
                </c:pt>
                <c:pt idx="83">
                  <c:v>0.4</c:v>
                </c:pt>
                <c:pt idx="84">
                  <c:v>0.2</c:v>
                </c:pt>
                <c:pt idx="85">
                  <c:v>0.3333333333333333</c:v>
                </c:pt>
                <c:pt idx="86">
                  <c:v>0.375</c:v>
                </c:pt>
                <c:pt idx="87">
                  <c:v>0.2857142857142857</c:v>
                </c:pt>
                <c:pt idx="88">
                  <c:v>0.3333333333333333</c:v>
                </c:pt>
                <c:pt idx="89">
                  <c:v>0.42857142857142855</c:v>
                </c:pt>
                <c:pt idx="90">
                  <c:v>0.4444444444444444</c:v>
                </c:pt>
                <c:pt idx="91">
                  <c:v>0.4444444444444444</c:v>
                </c:pt>
                <c:pt idx="92">
                  <c:v>0.4</c:v>
                </c:pt>
                <c:pt idx="93">
                  <c:v>0.3076923076923077</c:v>
                </c:pt>
                <c:pt idx="94">
                  <c:v>0.3</c:v>
                </c:pt>
                <c:pt idx="95">
                  <c:v>0.42857142857142855</c:v>
                </c:pt>
                <c:pt idx="96">
                  <c:v>0.3684210526315789</c:v>
                </c:pt>
                <c:pt idx="97">
                  <c:v>0.5714285714285714</c:v>
                </c:pt>
                <c:pt idx="98">
                  <c:v>0.5217391304347826</c:v>
                </c:pt>
                <c:pt idx="99">
                  <c:v>0.5217391304347826</c:v>
                </c:pt>
                <c:pt idx="100">
                  <c:v>0.5925925925925926</c:v>
                </c:pt>
                <c:pt idx="101">
                  <c:v>0.3333333333333333</c:v>
                </c:pt>
                <c:pt idx="102">
                  <c:v>0.6153846153846154</c:v>
                </c:pt>
                <c:pt idx="103">
                  <c:v>0.5294117647058824</c:v>
                </c:pt>
                <c:pt idx="104">
                  <c:v>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825252276642875</c:v>
                </c:pt>
                <c:pt idx="1">
                  <c:v>1.9653465346534653</c:v>
                </c:pt>
                <c:pt idx="2">
                  <c:v>1.508716830537883</c:v>
                </c:pt>
                <c:pt idx="3">
                  <c:v>1.251934270570165</c:v>
                </c:pt>
                <c:pt idx="4">
                  <c:v>2.0845319332921557</c:v>
                </c:pt>
                <c:pt idx="5">
                  <c:v>1.7533826719604066</c:v>
                </c:pt>
                <c:pt idx="6">
                  <c:v>2.1051453836637704</c:v>
                </c:pt>
                <c:pt idx="7">
                  <c:v>1.3696567441860465</c:v>
                </c:pt>
                <c:pt idx="8">
                  <c:v>1.506926802374894</c:v>
                </c:pt>
                <c:pt idx="9">
                  <c:v>1.043222003929273</c:v>
                </c:pt>
                <c:pt idx="10">
                  <c:v>1.7227126114481295</c:v>
                </c:pt>
                <c:pt idx="11">
                  <c:v>2.0564299405386497</c:v>
                </c:pt>
                <c:pt idx="12">
                  <c:v>2.1922290869722123</c:v>
                </c:pt>
                <c:pt idx="13">
                  <c:v>1.989813177094074</c:v>
                </c:pt>
                <c:pt idx="14">
                  <c:v>1.537914691943128</c:v>
                </c:pt>
                <c:pt idx="15">
                  <c:v>1.7380923076923078</c:v>
                </c:pt>
                <c:pt idx="16">
                  <c:v>1.8563615428900404</c:v>
                </c:pt>
                <c:pt idx="17">
                  <c:v>1.7837838526557472</c:v>
                </c:pt>
                <c:pt idx="18">
                  <c:v>1.5534591194968554</c:v>
                </c:pt>
                <c:pt idx="19">
                  <c:v>0.6783691959229898</c:v>
                </c:pt>
                <c:pt idx="20">
                  <c:v>1.4875</c:v>
                </c:pt>
                <c:pt idx="21">
                  <c:v>1.4225422045680238</c:v>
                </c:pt>
                <c:pt idx="22">
                  <c:v>1.031409168081494</c:v>
                </c:pt>
                <c:pt idx="23">
                  <c:v>1.4055299539170507</c:v>
                </c:pt>
                <c:pt idx="24">
                  <c:v>1.469118340405469</c:v>
                </c:pt>
                <c:pt idx="25">
                  <c:v>1.9202958093672966</c:v>
                </c:pt>
                <c:pt idx="26">
                  <c:v>0.7189973614775725</c:v>
                </c:pt>
                <c:pt idx="27">
                  <c:v>0.8066435917932321</c:v>
                </c:pt>
                <c:pt idx="28">
                  <c:v>1.1545091779728651</c:v>
                </c:pt>
                <c:pt idx="29">
                  <c:v>1.3454887218045113</c:v>
                </c:pt>
                <c:pt idx="30">
                  <c:v>0.617600522317189</c:v>
                </c:pt>
                <c:pt idx="31">
                  <c:v>1.048015873015873</c:v>
                </c:pt>
                <c:pt idx="32">
                  <c:v>1.091989509770312</c:v>
                </c:pt>
                <c:pt idx="33">
                  <c:v>1.6591771519872178</c:v>
                </c:pt>
                <c:pt idx="34">
                  <c:v>1.22609472743521</c:v>
                </c:pt>
                <c:pt idx="35">
                  <c:v>1.4020343171585794</c:v>
                </c:pt>
                <c:pt idx="36">
                  <c:v>0.5158490566037736</c:v>
                </c:pt>
                <c:pt idx="37">
                  <c:v>1.2874402538998302</c:v>
                </c:pt>
                <c:pt idx="38">
                  <c:v>1.301047120418848</c:v>
                </c:pt>
                <c:pt idx="39">
                  <c:v>1.4543851917144117</c:v>
                </c:pt>
                <c:pt idx="40">
                  <c:v>5.57818008775648</c:v>
                </c:pt>
                <c:pt idx="41">
                  <c:v>4.501135395969344</c:v>
                </c:pt>
                <c:pt idx="42">
                  <c:v>3.674806432400238</c:v>
                </c:pt>
                <c:pt idx="43">
                  <c:v>2.6343332887258</c:v>
                </c:pt>
                <c:pt idx="44">
                  <c:v>3.4243027888446216</c:v>
                </c:pt>
                <c:pt idx="45">
                  <c:v>2.1312762973352033</c:v>
                </c:pt>
                <c:pt idx="46">
                  <c:v>2.38312946781763</c:v>
                </c:pt>
                <c:pt idx="47">
                  <c:v>1.9736123748862602</c:v>
                </c:pt>
                <c:pt idx="48">
                  <c:v>2.6566610858646253</c:v>
                </c:pt>
                <c:pt idx="49">
                  <c:v>1.8388871759849228</c:v>
                </c:pt>
                <c:pt idx="50">
                  <c:v>1.3032008441786844</c:v>
                </c:pt>
                <c:pt idx="51">
                  <c:v>1.9748314606741573</c:v>
                </c:pt>
              </c:numCache>
            </c:numRef>
          </c:xVal>
          <c:yVal>
            <c:numRef>
              <c:f>Sheet1!$B$109:$B$160</c:f>
              <c:numCache>
                <c:formatCode>General</c:formatCode>
                <c:ptCount val="52"/>
                <c:pt idx="0">
                  <c:v>0.4</c:v>
                </c:pt>
                <c:pt idx="1">
                  <c:v>0.3333333333333333</c:v>
                </c:pt>
                <c:pt idx="2">
                  <c:v>0.4375</c:v>
                </c:pt>
                <c:pt idx="3">
                  <c:v>0.47058823529411764</c:v>
                </c:pt>
                <c:pt idx="4">
                  <c:v>0.3181818181818182</c:v>
                </c:pt>
                <c:pt idx="5">
                  <c:v>0.375</c:v>
                </c:pt>
                <c:pt idx="6">
                  <c:v>0.23529411764705882</c:v>
                </c:pt>
                <c:pt idx="7">
                  <c:v>0.22580645161290322</c:v>
                </c:pt>
                <c:pt idx="8">
                  <c:v>0.375</c:v>
                </c:pt>
                <c:pt idx="9">
                  <c:v>0.5</c:v>
                </c:pt>
                <c:pt idx="10">
                  <c:v>0.25</c:v>
                </c:pt>
                <c:pt idx="11">
                  <c:v>0.42857142857142855</c:v>
                </c:pt>
                <c:pt idx="12">
                  <c:v>0.46153846153846156</c:v>
                </c:pt>
                <c:pt idx="13">
                  <c:v>0.5</c:v>
                </c:pt>
                <c:pt idx="14">
                  <c:v>0.5714285714285714</c:v>
                </c:pt>
                <c:pt idx="15">
                  <c:v>0.5555555555555556</c:v>
                </c:pt>
                <c:pt idx="16">
                  <c:v>0.5</c:v>
                </c:pt>
                <c:pt idx="17">
                  <c:v>0.4444444444444444</c:v>
                </c:pt>
                <c:pt idx="18">
                  <c:v>0.5555555555555556</c:v>
                </c:pt>
                <c:pt idx="19">
                  <c:v>0.8</c:v>
                </c:pt>
                <c:pt idx="20">
                  <c:v>0.4</c:v>
                </c:pt>
                <c:pt idx="21">
                  <c:v>0.3333333333333333</c:v>
                </c:pt>
                <c:pt idx="22">
                  <c:v>0.6</c:v>
                </c:pt>
                <c:pt idx="23">
                  <c:v>0.5</c:v>
                </c:pt>
                <c:pt idx="24">
                  <c:v>0.2</c:v>
                </c:pt>
                <c:pt idx="25">
                  <c:v>0.3333333333333333</c:v>
                </c:pt>
                <c:pt idx="26">
                  <c:v>0.6666666666666666</c:v>
                </c:pt>
                <c:pt idx="27">
                  <c:v>0.42857142857142855</c:v>
                </c:pt>
                <c:pt idx="28">
                  <c:v>0.5555555555555556</c:v>
                </c:pt>
                <c:pt idx="29">
                  <c:v>0.3333333333333333</c:v>
                </c:pt>
                <c:pt idx="30">
                  <c:v>0.3333333333333333</c:v>
                </c:pt>
                <c:pt idx="31">
                  <c:v>0.2857142857142857</c:v>
                </c:pt>
                <c:pt idx="32">
                  <c:v>0.42857142857142855</c:v>
                </c:pt>
                <c:pt idx="33">
                  <c:v>0.3076923076923077</c:v>
                </c:pt>
                <c:pt idx="34">
                  <c:v>0.4444444444444444</c:v>
                </c:pt>
                <c:pt idx="35">
                  <c:v>0.6</c:v>
                </c:pt>
                <c:pt idx="36">
                  <c:v>0.6</c:v>
                </c:pt>
                <c:pt idx="37">
                  <c:v>0.3333333333333333</c:v>
                </c:pt>
                <c:pt idx="38">
                  <c:v>0.2857142857142857</c:v>
                </c:pt>
                <c:pt idx="39">
                  <c:v>0.375</c:v>
                </c:pt>
                <c:pt idx="40">
                  <c:v>0.022727272727272728</c:v>
                </c:pt>
                <c:pt idx="41">
                  <c:v>0.11428571428571428</c:v>
                </c:pt>
                <c:pt idx="42">
                  <c:v>0.3076923076923077</c:v>
                </c:pt>
                <c:pt idx="43">
                  <c:v>0.14285714285714285</c:v>
                </c:pt>
                <c:pt idx="44">
                  <c:v>0.23529411764705882</c:v>
                </c:pt>
                <c:pt idx="45">
                  <c:v>0.2777777777777778</c:v>
                </c:pt>
                <c:pt idx="46">
                  <c:v>0.18181818181818182</c:v>
                </c:pt>
                <c:pt idx="47">
                  <c:v>0.2222222222222222</c:v>
                </c:pt>
                <c:pt idx="48">
                  <c:v>0.15384615384615385</c:v>
                </c:pt>
                <c:pt idx="49">
                  <c:v>0.25</c:v>
                </c:pt>
                <c:pt idx="50">
                  <c:v>0.21428571428571427</c:v>
                </c:pt>
                <c:pt idx="51">
                  <c:v>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33704852798793</c:v>
                </c:pt>
              </c:numCache>
            </c:numRef>
          </c:xVal>
          <c:yVal>
            <c:numRef>
              <c:f>Sheet1!$B$163:$B$164</c:f>
              <c:numCache>
                <c:formatCode>General</c:formatCode>
                <c:ptCount val="2"/>
                <c:pt idx="0">
                  <c:v>0.49340659340659343</c:v>
                </c:pt>
                <c:pt idx="1">
                  <c:v>0.493406593406593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33704852798793</c:v>
                </c:pt>
                <c:pt idx="1">
                  <c:v>0.633704852798793</c:v>
                </c:pt>
              </c:numCache>
            </c:numRef>
          </c:xVal>
          <c:yVal>
            <c:numRef>
              <c:f>Sheet1!$B$167:$B$168</c:f>
              <c:numCache>
                <c:formatCode>General</c:formatCode>
                <c:ptCount val="2"/>
                <c:pt idx="0">
                  <c:v>0.493406593406593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1659311791518</c:v>
                </c:pt>
              </c:numCache>
            </c:numRef>
          </c:xVal>
          <c:yVal>
            <c:numRef>
              <c:f>Sheet1!$B$171:$B$172</c:f>
              <c:numCache>
                <c:formatCode>General</c:formatCode>
                <c:ptCount val="2"/>
                <c:pt idx="0">
                  <c:v>0.4846482577251808</c:v>
                </c:pt>
                <c:pt idx="1">
                  <c:v>0.48464825772518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1659311791518</c:v>
                </c:pt>
                <c:pt idx="1">
                  <c:v>0.71659311791518</c:v>
                </c:pt>
              </c:numCache>
            </c:numRef>
          </c:xVal>
          <c:yVal>
            <c:numRef>
              <c:f>Sheet1!$B$175:$B$176</c:f>
              <c:numCache>
                <c:formatCode>General</c:formatCode>
                <c:ptCount val="2"/>
                <c:pt idx="0">
                  <c:v>0.48464825772518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339281283529603</c:v>
                </c:pt>
              </c:numCache>
            </c:numRef>
          </c:xVal>
          <c:yVal>
            <c:numRef>
              <c:f>Sheet1!$B$179:$B$180</c:f>
              <c:numCache>
                <c:formatCode>General</c:formatCode>
                <c:ptCount val="2"/>
                <c:pt idx="0">
                  <c:v>0.2075235850122728</c:v>
                </c:pt>
                <c:pt idx="1">
                  <c:v>0.207523585012272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339281283529603</c:v>
                </c:pt>
                <c:pt idx="1">
                  <c:v>3.339281283529603</c:v>
                </c:pt>
              </c:numCache>
            </c:numRef>
          </c:xVal>
          <c:yVal>
            <c:numRef>
              <c:f>Sheet1!$B$183:$B$184</c:f>
              <c:numCache>
                <c:formatCode>General</c:formatCode>
                <c:ptCount val="2"/>
                <c:pt idx="0">
                  <c:v>0.20752358501227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825252276642875</c:v>
                </c:pt>
                <c:pt idx="1">
                  <c:v>1.9653465346534653</c:v>
                </c:pt>
                <c:pt idx="2">
                  <c:v>1.508716830537883</c:v>
                </c:pt>
                <c:pt idx="3">
                  <c:v>1.251934270570165</c:v>
                </c:pt>
                <c:pt idx="4">
                  <c:v>2.0845319332921557</c:v>
                </c:pt>
                <c:pt idx="5">
                  <c:v>1.7533826719604066</c:v>
                </c:pt>
                <c:pt idx="6">
                  <c:v>2.1051453836637704</c:v>
                </c:pt>
                <c:pt idx="7">
                  <c:v>1.3696567441860465</c:v>
                </c:pt>
                <c:pt idx="8">
                  <c:v>1.506926802374894</c:v>
                </c:pt>
                <c:pt idx="9">
                  <c:v>1.043222003929273</c:v>
                </c:pt>
                <c:pt idx="10">
                  <c:v>1.7227126114481295</c:v>
                </c:pt>
                <c:pt idx="11">
                  <c:v>2.0564299405386497</c:v>
                </c:pt>
                <c:pt idx="12">
                  <c:v>2.1922290869722123</c:v>
                </c:pt>
                <c:pt idx="13">
                  <c:v>1.989813177094074</c:v>
                </c:pt>
                <c:pt idx="14">
                  <c:v>1.537914691943128</c:v>
                </c:pt>
                <c:pt idx="15">
                  <c:v>1.7380923076923078</c:v>
                </c:pt>
                <c:pt idx="16">
                  <c:v>1.8563615428900404</c:v>
                </c:pt>
                <c:pt idx="17">
                  <c:v>1.7837838526557472</c:v>
                </c:pt>
                <c:pt idx="18">
                  <c:v>1.5534591194968554</c:v>
                </c:pt>
                <c:pt idx="19">
                  <c:v>0.6783691959229898</c:v>
                </c:pt>
                <c:pt idx="20">
                  <c:v>1.4875</c:v>
                </c:pt>
                <c:pt idx="21">
                  <c:v>1.4225422045680238</c:v>
                </c:pt>
                <c:pt idx="22">
                  <c:v>1.031409168081494</c:v>
                </c:pt>
                <c:pt idx="23">
                  <c:v>1.4055299539170507</c:v>
                </c:pt>
                <c:pt idx="24">
                  <c:v>1.469118340405469</c:v>
                </c:pt>
                <c:pt idx="25">
                  <c:v>1.9202958093672966</c:v>
                </c:pt>
                <c:pt idx="26">
                  <c:v>0.7189973614775725</c:v>
                </c:pt>
                <c:pt idx="27">
                  <c:v>0.8066435917932321</c:v>
                </c:pt>
                <c:pt idx="28">
                  <c:v>1.1545091779728651</c:v>
                </c:pt>
                <c:pt idx="29">
                  <c:v>1.3454887218045113</c:v>
                </c:pt>
                <c:pt idx="30">
                  <c:v>0.617600522317189</c:v>
                </c:pt>
                <c:pt idx="31">
                  <c:v>1.048015873015873</c:v>
                </c:pt>
                <c:pt idx="32">
                  <c:v>1.091989509770312</c:v>
                </c:pt>
                <c:pt idx="33">
                  <c:v>1.6591771519872178</c:v>
                </c:pt>
                <c:pt idx="34">
                  <c:v>1.22609472743521</c:v>
                </c:pt>
                <c:pt idx="35">
                  <c:v>1.4020343171585794</c:v>
                </c:pt>
                <c:pt idx="36">
                  <c:v>0.5158490566037736</c:v>
                </c:pt>
                <c:pt idx="37">
                  <c:v>1.2874402538998302</c:v>
                </c:pt>
                <c:pt idx="38">
                  <c:v>1.301047120418848</c:v>
                </c:pt>
                <c:pt idx="39">
                  <c:v>1.4543851917144117</c:v>
                </c:pt>
                <c:pt idx="40">
                  <c:v>5.57818008775648</c:v>
                </c:pt>
                <c:pt idx="41">
                  <c:v>4.501135395969344</c:v>
                </c:pt>
                <c:pt idx="42">
                  <c:v>3.674806432400238</c:v>
                </c:pt>
                <c:pt idx="43">
                  <c:v>2.6343332887258</c:v>
                </c:pt>
                <c:pt idx="44">
                  <c:v>3.4243027888446216</c:v>
                </c:pt>
                <c:pt idx="45">
                  <c:v>2.1312762973352033</c:v>
                </c:pt>
                <c:pt idx="46">
                  <c:v>2.38312946781763</c:v>
                </c:pt>
                <c:pt idx="47">
                  <c:v>1.9736123748862602</c:v>
                </c:pt>
                <c:pt idx="48">
                  <c:v>2.6566610858646253</c:v>
                </c:pt>
                <c:pt idx="49">
                  <c:v>1.8388871759849228</c:v>
                </c:pt>
                <c:pt idx="50">
                  <c:v>1.3032008441786844</c:v>
                </c:pt>
                <c:pt idx="51">
                  <c:v>1.9748314606741573</c:v>
                </c:pt>
                <c:pt idx="52">
                  <c:v>0.71659311791518</c:v>
                </c:pt>
                <c:pt idx="53">
                  <c:v>0.633704852798793</c:v>
                </c:pt>
                <c:pt idx="54">
                  <c:v>3.339281283529603</c:v>
                </c:pt>
              </c:numCache>
            </c:numRef>
          </c:xVal>
          <c:yVal>
            <c:numRef>
              <c:f>Sheet1!$B$187:$B$241</c:f>
              <c:numCache>
                <c:formatCode>General</c:formatCode>
                <c:ptCount val="55"/>
                <c:pt idx="0">
                  <c:v>0.3508843485458389</c:v>
                </c:pt>
                <c:pt idx="1">
                  <c:v>0.3526995241891637</c:v>
                </c:pt>
                <c:pt idx="2">
                  <c:v>0.40094901071337546</c:v>
                </c:pt>
                <c:pt idx="3">
                  <c:v>0.4280817761798965</c:v>
                </c:pt>
                <c:pt idx="4">
                  <c:v>0.340105875038287</c:v>
                </c:pt>
                <c:pt idx="5">
                  <c:v>0.3750965505859395</c:v>
                </c:pt>
                <c:pt idx="6">
                  <c:v>0.33792776794854107</c:v>
                </c:pt>
                <c:pt idx="7">
                  <c:v>0.41564270606874887</c:v>
                </c:pt>
                <c:pt idx="8">
                  <c:v>0.4011381528978406</c:v>
                </c:pt>
                <c:pt idx="9">
                  <c:v>0.4501352247531379</c:v>
                </c:pt>
                <c:pt idx="10">
                  <c:v>0.3783372829737942</c:v>
                </c:pt>
                <c:pt idx="11">
                  <c:v>0.3430752541838902</c:v>
                </c:pt>
                <c:pt idx="12">
                  <c:v>0.32872612396570555</c:v>
                </c:pt>
                <c:pt idx="13">
                  <c:v>0.35011427201636147</c:v>
                </c:pt>
                <c:pt idx="14">
                  <c:v>0.39786383730544583</c:v>
                </c:pt>
                <c:pt idx="15">
                  <c:v>0.376712197176721</c:v>
                </c:pt>
                <c:pt idx="16">
                  <c:v>0.36421535385165904</c:v>
                </c:pt>
                <c:pt idx="17">
                  <c:v>0.3718842292124953</c:v>
                </c:pt>
                <c:pt idx="18">
                  <c:v>0.39622134527958697</c:v>
                </c:pt>
                <c:pt idx="19">
                  <c:v>0.4886871640697358</c:v>
                </c:pt>
                <c:pt idx="20">
                  <c:v>0.40319087358365635</c:v>
                </c:pt>
                <c:pt idx="21">
                  <c:v>0.4100545976188854</c:v>
                </c:pt>
                <c:pt idx="22">
                  <c:v>0.4513834205207655</c:v>
                </c:pt>
                <c:pt idx="23">
                  <c:v>0.41185218623638553</c:v>
                </c:pt>
                <c:pt idx="24">
                  <c:v>0.40513315992400023</c:v>
                </c:pt>
                <c:pt idx="25">
                  <c:v>0.35745978035079695</c:v>
                </c:pt>
                <c:pt idx="26">
                  <c:v>0.4843942148621803</c:v>
                </c:pt>
                <c:pt idx="27">
                  <c:v>0.47513313182181166</c:v>
                </c:pt>
                <c:pt idx="28">
                  <c:v>0.438376136467951</c:v>
                </c:pt>
                <c:pt idx="29">
                  <c:v>0.41819640474341846</c:v>
                </c:pt>
                <c:pt idx="30">
                  <c:v>0.4951082472183151</c:v>
                </c:pt>
                <c:pt idx="31">
                  <c:v>0.4496286836328208</c:v>
                </c:pt>
                <c:pt idx="32">
                  <c:v>0.444982237344108</c:v>
                </c:pt>
                <c:pt idx="33">
                  <c:v>0.3850507167855659</c:v>
                </c:pt>
                <c:pt idx="34">
                  <c:v>0.4308120950291631</c:v>
                </c:pt>
                <c:pt idx="35">
                  <c:v>0.41222155046554376</c:v>
                </c:pt>
                <c:pt idx="36">
                  <c:v>0.5058597509630551</c:v>
                </c:pt>
                <c:pt idx="37">
                  <c:v>0.42433005909107585</c:v>
                </c:pt>
                <c:pt idx="38">
                  <c:v>0.42289229821650093</c:v>
                </c:pt>
                <c:pt idx="39">
                  <c:v>0.4066899286861315</c:v>
                </c:pt>
                <c:pt idx="40">
                  <c:v>-0.029048229545535653</c:v>
                </c:pt>
                <c:pt idx="41">
                  <c:v>0.08475701105528893</c:v>
                </c:pt>
                <c:pt idx="42">
                  <c:v>0.17207053409802459</c:v>
                </c:pt>
                <c:pt idx="43">
                  <c:v>0.2820114653866663</c:v>
                </c:pt>
                <c:pt idx="44">
                  <c:v>0.1985398418654914</c:v>
                </c:pt>
                <c:pt idx="45">
                  <c:v>0.33516666161732434</c:v>
                </c:pt>
                <c:pt idx="46">
                  <c:v>0.30855475694763607</c:v>
                </c:pt>
                <c:pt idx="47">
                  <c:v>0.35182611945151976</c:v>
                </c:pt>
                <c:pt idx="48">
                  <c:v>0.27965221293888337</c:v>
                </c:pt>
                <c:pt idx="49">
                  <c:v>0.36606177168849385</c:v>
                </c:pt>
                <c:pt idx="50">
                  <c:v>0.42266472636869845</c:v>
                </c:pt>
                <c:pt idx="51">
                  <c:v>0.3516973055290682</c:v>
                </c:pt>
                <c:pt idx="52">
                  <c:v>0.4846482577251808</c:v>
                </c:pt>
                <c:pt idx="53">
                  <c:v>0.49340659340659343</c:v>
                </c:pt>
                <c:pt idx="54">
                  <c:v>0.20752358501227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
          <c:min val="0.0181818181818181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2234526623971553</c:v>
                </c:pt>
                <c:pt idx="1">
                  <c:v>2.3864946517051453</c:v>
                </c:pt>
                <c:pt idx="2">
                  <c:v>2.3509920202562076</c:v>
                </c:pt>
                <c:pt idx="3">
                  <c:v>2.3436662067930225</c:v>
                </c:pt>
                <c:pt idx="4">
                  <c:v>2.3553647343563484</c:v>
                </c:pt>
                <c:pt idx="5">
                  <c:v>1.854133220059451</c:v>
                </c:pt>
                <c:pt idx="6">
                  <c:v>1.6394533183623698</c:v>
                </c:pt>
                <c:pt idx="7">
                  <c:v>1.639081141724014</c:v>
                </c:pt>
                <c:pt idx="8">
                  <c:v>1.6524044405642468</c:v>
                </c:pt>
                <c:pt idx="9">
                  <c:v>1.7469923948447483</c:v>
                </c:pt>
                <c:pt idx="10">
                  <c:v>1.7855929976063185</c:v>
                </c:pt>
                <c:pt idx="11">
                  <c:v>1.7960203115075328</c:v>
                </c:pt>
                <c:pt idx="12">
                  <c:v>1.8066814288885613</c:v>
                </c:pt>
                <c:pt idx="13">
                  <c:v>1.8073744510325322</c:v>
                </c:pt>
                <c:pt idx="14">
                  <c:v>1.8713452239194546</c:v>
                </c:pt>
                <c:pt idx="15">
                  <c:v>1.921743834809705</c:v>
                </c:pt>
                <c:pt idx="16">
                  <c:v>1.9284823042166286</c:v>
                </c:pt>
                <c:pt idx="17">
                  <c:v>2.303659516003876</c:v>
                </c:pt>
                <c:pt idx="18">
                  <c:v>2.6661260737108985</c:v>
                </c:pt>
                <c:pt idx="19">
                  <c:v>2.5893444759545727</c:v>
                </c:pt>
                <c:pt idx="20">
                  <c:v>2.5915525917343145</c:v>
                </c:pt>
                <c:pt idx="21">
                  <c:v>2.68199636679117</c:v>
                </c:pt>
                <c:pt idx="22">
                  <c:v>2.7245174150548395</c:v>
                </c:pt>
                <c:pt idx="23">
                  <c:v>3.0636335568226563</c:v>
                </c:pt>
                <c:pt idx="24">
                  <c:v>2.896723673573675</c:v>
                </c:pt>
                <c:pt idx="25">
                  <c:v>2.8949679086068607</c:v>
                </c:pt>
                <c:pt idx="26">
                  <c:v>2.130685514405942</c:v>
                </c:pt>
                <c:pt idx="27">
                  <c:v>2.061908901926442</c:v>
                </c:pt>
                <c:pt idx="28">
                  <c:v>2.0258950394281303</c:v>
                </c:pt>
                <c:pt idx="29">
                  <c:v>1.929122507204912</c:v>
                </c:pt>
                <c:pt idx="30">
                  <c:v>1.9415860638585705</c:v>
                </c:pt>
                <c:pt idx="31">
                  <c:v>1.8447645101862522</c:v>
                </c:pt>
                <c:pt idx="32">
                  <c:v>1.840743413145243</c:v>
                </c:pt>
                <c:pt idx="33">
                  <c:v>1.7881020110894226</c:v>
                </c:pt>
                <c:pt idx="34">
                  <c:v>1.8095677883607257</c:v>
                </c:pt>
                <c:pt idx="35">
                  <c:v>1.8914071647212805</c:v>
                </c:pt>
                <c:pt idx="36">
                  <c:v>1.995143052672557</c:v>
                </c:pt>
                <c:pt idx="37">
                  <c:v>2.0142118166469682</c:v>
                </c:pt>
                <c:pt idx="38">
                  <c:v>2.105399207290904</c:v>
                </c:pt>
                <c:pt idx="39">
                  <c:v>2.164940296916338</c:v>
                </c:pt>
                <c:pt idx="40">
                  <c:v>2.1616756189617496</c:v>
                </c:pt>
                <c:pt idx="41">
                  <c:v>2.2053626900341325</c:v>
                </c:pt>
                <c:pt idx="42">
                  <c:v>2.2190101853999304</c:v>
                </c:pt>
                <c:pt idx="43">
                  <c:v>2.266118331096177</c:v>
                </c:pt>
                <c:pt idx="44">
                  <c:v>2.140269312441568</c:v>
                </c:pt>
                <c:pt idx="45">
                  <c:v>2.093917465300459</c:v>
                </c:pt>
                <c:pt idx="46">
                  <c:v>2.115581704034098</c:v>
                </c:pt>
                <c:pt idx="47">
                  <c:v>2.0694393087890135</c:v>
                </c:pt>
                <c:pt idx="48">
                  <c:v>2.0952878168076072</c:v>
                </c:pt>
                <c:pt idx="49">
                  <c:v>2.061976640491903</c:v>
                </c:pt>
                <c:pt idx="50">
                  <c:v>2.022181163125011</c:v>
                </c:pt>
                <c:pt idx="51">
                  <c:v>2.0575818812139</c:v>
                </c:pt>
                <c:pt idx="52">
                  <c:v>2.0150256240846893</c:v>
                </c:pt>
                <c:pt idx="53">
                  <c:v>2.031489505600621</c:v>
                </c:pt>
                <c:pt idx="54">
                  <c:v>2.1114720795577906</c:v>
                </c:pt>
                <c:pt idx="55">
                  <c:v>2.151794255712029</c:v>
                </c:pt>
                <c:pt idx="56">
                  <c:v>2.1688513441968165</c:v>
                </c:pt>
                <c:pt idx="57">
                  <c:v>2.131622119961749</c:v>
                </c:pt>
                <c:pt idx="58">
                  <c:v>2.1537029265031773</c:v>
                </c:pt>
                <c:pt idx="59">
                  <c:v>2.1421694802593203</c:v>
                </c:pt>
                <c:pt idx="60">
                  <c:v>2.160675520100729</c:v>
                </c:pt>
                <c:pt idx="61">
                  <c:v>2.06468302339084</c:v>
                </c:pt>
                <c:pt idx="62">
                  <c:v>2.1456390943209684</c:v>
                </c:pt>
                <c:pt idx="63">
                  <c:v>2.1856602762662205</c:v>
                </c:pt>
                <c:pt idx="64">
                  <c:v>2.135292085301186</c:v>
                </c:pt>
                <c:pt idx="65">
                  <c:v>2.1568035022341974</c:v>
                </c:pt>
                <c:pt idx="66">
                  <c:v>2.158450369102339</c:v>
                </c:pt>
                <c:pt idx="67">
                  <c:v>2.173769053638826</c:v>
                </c:pt>
                <c:pt idx="68">
                  <c:v>2.1973810901377844</c:v>
                </c:pt>
                <c:pt idx="69">
                  <c:v>2.193700887244981</c:v>
                </c:pt>
                <c:pt idx="70">
                  <c:v>2.1188300219739875</c:v>
                </c:pt>
                <c:pt idx="71">
                  <c:v>2.26571172421985</c:v>
                </c:pt>
                <c:pt idx="72">
                  <c:v>2.577273853413888</c:v>
                </c:pt>
                <c:pt idx="73">
                  <c:v>2.3894371120953544</c:v>
                </c:pt>
                <c:pt idx="74">
                  <c:v>2.4925970460844846</c:v>
                </c:pt>
                <c:pt idx="75">
                  <c:v>2.4928625591685836</c:v>
                </c:pt>
                <c:pt idx="76">
                  <c:v>2.5248439190964502</c:v>
                </c:pt>
                <c:pt idx="77">
                  <c:v>2.59042450437136</c:v>
                </c:pt>
                <c:pt idx="78">
                  <c:v>2.5616953579429955</c:v>
                </c:pt>
                <c:pt idx="79">
                  <c:v>2.8101098596404257</c:v>
                </c:pt>
                <c:pt idx="80">
                  <c:v>2.6978509620732933</c:v>
                </c:pt>
                <c:pt idx="81">
                  <c:v>2.666156062207248</c:v>
                </c:pt>
                <c:pt idx="82">
                  <c:v>2.59996701804263</c:v>
                </c:pt>
                <c:pt idx="83">
                  <c:v>2.5234196719359665</c:v>
                </c:pt>
                <c:pt idx="84">
                  <c:v>2.6479172924152548</c:v>
                </c:pt>
                <c:pt idx="85">
                  <c:v>2.4821304843827128</c:v>
                </c:pt>
                <c:pt idx="86">
                  <c:v>2.459693225085008</c:v>
                </c:pt>
                <c:pt idx="87">
                  <c:v>2.491717183558159</c:v>
                </c:pt>
                <c:pt idx="88">
                  <c:v>2.5326082608963554</c:v>
                </c:pt>
                <c:pt idx="89">
                  <c:v>2.505714192093637</c:v>
                </c:pt>
                <c:pt idx="90">
                  <c:v>2.610013055453871</c:v>
                </c:pt>
                <c:pt idx="91">
                  <c:v>2.555209133696958</c:v>
                </c:pt>
                <c:pt idx="92">
                  <c:v>2.444278373946367</c:v>
                </c:pt>
                <c:pt idx="93">
                  <c:v>2.157366226940902</c:v>
                </c:pt>
                <c:pt idx="94">
                  <c:v>1.985826668506444</c:v>
                </c:pt>
                <c:pt idx="95">
                  <c:v>1.9868480080843238</c:v>
                </c:pt>
                <c:pt idx="96">
                  <c:v>1.9393808216506379</c:v>
                </c:pt>
                <c:pt idx="97">
                  <c:v>1.8964145008158007</c:v>
                </c:pt>
                <c:pt idx="98">
                  <c:v>1.9535129262637916</c:v>
                </c:pt>
                <c:pt idx="99">
                  <c:v>2.11905125502742</c:v>
                </c:pt>
                <c:pt idx="100">
                  <c:v>1.9055120737227464</c:v>
                </c:pt>
                <c:pt idx="101">
                  <c:v>1.689520881473905</c:v>
                </c:pt>
                <c:pt idx="102">
                  <c:v>1.7284337462008508</c:v>
                </c:pt>
                <c:pt idx="103">
                  <c:v>1.6214458979392479</c:v>
                </c:pt>
                <c:pt idx="104">
                  <c:v>1.71248929797136</c:v>
                </c:pt>
              </c:numCache>
            </c:numRef>
          </c:xVal>
          <c:yVal>
            <c:numRef>
              <c:f>Sheet1!$B$2:$B$106</c:f>
              <c:numCache>
                <c:formatCode>General</c:formatCode>
                <c:ptCount val="105"/>
                <c:pt idx="0">
                  <c:v>0.28513040093421566</c:v>
                </c:pt>
                <c:pt idx="1">
                  <c:v>0.2717875962707742</c:v>
                </c:pt>
                <c:pt idx="2">
                  <c:v>0.28115015974440893</c:v>
                </c:pt>
                <c:pt idx="3">
                  <c:v>0.27319587628865977</c:v>
                </c:pt>
                <c:pt idx="4">
                  <c:v>0.2749187432286024</c:v>
                </c:pt>
                <c:pt idx="5">
                  <c:v>0.2919566898685228</c:v>
                </c:pt>
                <c:pt idx="6">
                  <c:v>0.3195701357466063</c:v>
                </c:pt>
                <c:pt idx="7">
                  <c:v>0.34022988505747126</c:v>
                </c:pt>
                <c:pt idx="8">
                  <c:v>0.33280356007628736</c:v>
                </c:pt>
                <c:pt idx="9">
                  <c:v>0.30428134556574926</c:v>
                </c:pt>
                <c:pt idx="10">
                  <c:v>0.28994340444057465</c:v>
                </c:pt>
                <c:pt idx="11">
                  <c:v>0.25115594787725937</c:v>
                </c:pt>
                <c:pt idx="12">
                  <c:v>0.2341509433962264</c:v>
                </c:pt>
                <c:pt idx="13">
                  <c:v>0.2084996009577015</c:v>
                </c:pt>
                <c:pt idx="14">
                  <c:v>0.19366922644690016</c:v>
                </c:pt>
                <c:pt idx="15">
                  <c:v>0.18372352285395763</c:v>
                </c:pt>
                <c:pt idx="16">
                  <c:v>0.16893550546752956</c:v>
                </c:pt>
                <c:pt idx="17">
                  <c:v>0.18946580129805293</c:v>
                </c:pt>
                <c:pt idx="18">
                  <c:v>0.17272727272727273</c:v>
                </c:pt>
                <c:pt idx="19">
                  <c:v>0.17930793428871025</c:v>
                </c:pt>
                <c:pt idx="20">
                  <c:v>0.1758905852417303</c:v>
                </c:pt>
                <c:pt idx="21">
                  <c:v>0.2126650863528615</c:v>
                </c:pt>
                <c:pt idx="22">
                  <c:v>0.20197884680996248</c:v>
                </c:pt>
                <c:pt idx="23">
                  <c:v>0.23082099596231495</c:v>
                </c:pt>
                <c:pt idx="24">
                  <c:v>0.23305844388669775</c:v>
                </c:pt>
                <c:pt idx="25">
                  <c:v>0.23717948717948717</c:v>
                </c:pt>
                <c:pt idx="26">
                  <c:v>0.2606865284974093</c:v>
                </c:pt>
                <c:pt idx="27">
                  <c:v>0.2421555252387449</c:v>
                </c:pt>
                <c:pt idx="28">
                  <c:v>0.24200136147038803</c:v>
                </c:pt>
                <c:pt idx="29">
                  <c:v>0.23310810810810811</c:v>
                </c:pt>
                <c:pt idx="30">
                  <c:v>0.23035328046142753</c:v>
                </c:pt>
                <c:pt idx="31">
                  <c:v>0.24128011506652283</c:v>
                </c:pt>
                <c:pt idx="32">
                  <c:v>0.25757575757575757</c:v>
                </c:pt>
                <c:pt idx="33">
                  <c:v>0.23502914679385267</c:v>
                </c:pt>
                <c:pt idx="34">
                  <c:v>0.2399218177376008</c:v>
                </c:pt>
                <c:pt idx="35">
                  <c:v>0.24694680190436763</c:v>
                </c:pt>
                <c:pt idx="36">
                  <c:v>0.2229647630619684</c:v>
                </c:pt>
                <c:pt idx="37">
                  <c:v>0.22576530612244897</c:v>
                </c:pt>
                <c:pt idx="38">
                  <c:v>0.20160280490859003</c:v>
                </c:pt>
                <c:pt idx="39">
                  <c:v>0.19645410351730055</c:v>
                </c:pt>
                <c:pt idx="40">
                  <c:v>0.18808857215576483</c:v>
                </c:pt>
                <c:pt idx="41">
                  <c:v>0.20339869281045753</c:v>
                </c:pt>
                <c:pt idx="42">
                  <c:v>0.20713970912296165</c:v>
                </c:pt>
                <c:pt idx="43">
                  <c:v>0.18303220738413198</c:v>
                </c:pt>
                <c:pt idx="44">
                  <c:v>0.1759392027530829</c:v>
                </c:pt>
                <c:pt idx="45">
                  <c:v>0.20915581688366233</c:v>
                </c:pt>
                <c:pt idx="46">
                  <c:v>0.2034956304619226</c:v>
                </c:pt>
                <c:pt idx="47">
                  <c:v>0.2068066419651434</c:v>
                </c:pt>
                <c:pt idx="48">
                  <c:v>0.19372711981794796</c:v>
                </c:pt>
                <c:pt idx="49">
                  <c:v>0.21048182586644126</c:v>
                </c:pt>
                <c:pt idx="50">
                  <c:v>0.20329239613274105</c:v>
                </c:pt>
                <c:pt idx="51">
                  <c:v>0.19863493174658733</c:v>
                </c:pt>
                <c:pt idx="52">
                  <c:v>0.20882254277088225</c:v>
                </c:pt>
                <c:pt idx="53">
                  <c:v>0.21807849405079027</c:v>
                </c:pt>
                <c:pt idx="54">
                  <c:v>0.22088271352676747</c:v>
                </c:pt>
                <c:pt idx="55">
                  <c:v>0.21893371173727955</c:v>
                </c:pt>
                <c:pt idx="56">
                  <c:v>0.23293439716312056</c:v>
                </c:pt>
                <c:pt idx="57">
                  <c:v>0.2237155863862996</c:v>
                </c:pt>
                <c:pt idx="58">
                  <c:v>0.23238180196253344</c:v>
                </c:pt>
                <c:pt idx="59">
                  <c:v>0.21449851042701093</c:v>
                </c:pt>
                <c:pt idx="60">
                  <c:v>0.22286100777815354</c:v>
                </c:pt>
                <c:pt idx="61">
                  <c:v>0.23924074422101108</c:v>
                </c:pt>
                <c:pt idx="62">
                  <c:v>0.2210283960092095</c:v>
                </c:pt>
                <c:pt idx="63">
                  <c:v>0.224212271973466</c:v>
                </c:pt>
                <c:pt idx="64">
                  <c:v>0.2240386112408532</c:v>
                </c:pt>
                <c:pt idx="65">
                  <c:v>0.20935711881521374</c:v>
                </c:pt>
                <c:pt idx="66">
                  <c:v>0.2210543337645537</c:v>
                </c:pt>
                <c:pt idx="67">
                  <c:v>0.2173421605037946</c:v>
                </c:pt>
                <c:pt idx="68">
                  <c:v>0.19710906701708278</c:v>
                </c:pt>
                <c:pt idx="69">
                  <c:v>0.18213241159266153</c:v>
                </c:pt>
                <c:pt idx="70">
                  <c:v>0.19678425725941925</c:v>
                </c:pt>
                <c:pt idx="71">
                  <c:v>0.19207397622192868</c:v>
                </c:pt>
                <c:pt idx="72">
                  <c:v>0.165771484375</c:v>
                </c:pt>
                <c:pt idx="73">
                  <c:v>0.1793913507741591</c:v>
                </c:pt>
                <c:pt idx="74">
                  <c:v>0.16470258136924804</c:v>
                </c:pt>
                <c:pt idx="75">
                  <c:v>0.18797845194216048</c:v>
                </c:pt>
                <c:pt idx="76">
                  <c:v>0.18991504521786792</c:v>
                </c:pt>
                <c:pt idx="77">
                  <c:v>0.18278560250391238</c:v>
                </c:pt>
                <c:pt idx="78">
                  <c:v>0.1871011084984884</c:v>
                </c:pt>
                <c:pt idx="79">
                  <c:v>0.1626691266912669</c:v>
                </c:pt>
                <c:pt idx="80">
                  <c:v>0.1622364802933089</c:v>
                </c:pt>
                <c:pt idx="81">
                  <c:v>0.16198163094906765</c:v>
                </c:pt>
                <c:pt idx="82">
                  <c:v>0.15863840719332048</c:v>
                </c:pt>
                <c:pt idx="83">
                  <c:v>0.15833896016205268</c:v>
                </c:pt>
                <c:pt idx="84">
                  <c:v>0.17563837129054521</c:v>
                </c:pt>
                <c:pt idx="85">
                  <c:v>0.17338577515568665</c:v>
                </c:pt>
                <c:pt idx="86">
                  <c:v>0.18540344514959203</c:v>
                </c:pt>
                <c:pt idx="87">
                  <c:v>0.20316222655403943</c:v>
                </c:pt>
                <c:pt idx="88">
                  <c:v>0.194207453973956</c:v>
                </c:pt>
                <c:pt idx="89">
                  <c:v>0.17954126021618771</c:v>
                </c:pt>
                <c:pt idx="90">
                  <c:v>0.1840929401251117</c:v>
                </c:pt>
                <c:pt idx="91">
                  <c:v>0.1729794214136594</c:v>
                </c:pt>
                <c:pt idx="92">
                  <c:v>0.17577081815974752</c:v>
                </c:pt>
                <c:pt idx="93">
                  <c:v>0.17348689046802254</c:v>
                </c:pt>
                <c:pt idx="94">
                  <c:v>0.1943256023418149</c:v>
                </c:pt>
                <c:pt idx="95">
                  <c:v>0.19321967470115617</c:v>
                </c:pt>
                <c:pt idx="96">
                  <c:v>0.16993652625504904</c:v>
                </c:pt>
                <c:pt idx="97">
                  <c:v>0.16584287200832465</c:v>
                </c:pt>
                <c:pt idx="98">
                  <c:v>0.17304357877702</c:v>
                </c:pt>
                <c:pt idx="99">
                  <c:v>0.1765262162446149</c:v>
                </c:pt>
                <c:pt idx="100">
                  <c:v>0.17941973537382433</c:v>
                </c:pt>
                <c:pt idx="101">
                  <c:v>0.20577027762656505</c:v>
                </c:pt>
                <c:pt idx="102">
                  <c:v>0.19974608548455353</c:v>
                </c:pt>
                <c:pt idx="103">
                  <c:v>0.19555160142348754</c:v>
                </c:pt>
                <c:pt idx="104">
                  <c:v>0.19310631229235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705976056037946</c:v>
                </c:pt>
                <c:pt idx="1">
                  <c:v>1.6772875679391475</c:v>
                </c:pt>
                <c:pt idx="2">
                  <c:v>1.6913310239955812</c:v>
                </c:pt>
                <c:pt idx="3">
                  <c:v>1.6505981418504492</c:v>
                </c:pt>
                <c:pt idx="4">
                  <c:v>1.7114184413562403</c:v>
                </c:pt>
                <c:pt idx="5">
                  <c:v>1.619873418507987</c:v>
                </c:pt>
                <c:pt idx="6">
                  <c:v>1.6362701200131797</c:v>
                </c:pt>
                <c:pt idx="7">
                  <c:v>1.682314853385568</c:v>
                </c:pt>
                <c:pt idx="8">
                  <c:v>1.7045125807473027</c:v>
                </c:pt>
                <c:pt idx="9">
                  <c:v>1.6635728140273462</c:v>
                </c:pt>
                <c:pt idx="10">
                  <c:v>1.778039740045339</c:v>
                </c:pt>
                <c:pt idx="11">
                  <c:v>1.8199614160634492</c:v>
                </c:pt>
                <c:pt idx="12">
                  <c:v>1.937119123764334</c:v>
                </c:pt>
                <c:pt idx="13">
                  <c:v>1.9252169495492248</c:v>
                </c:pt>
                <c:pt idx="14">
                  <c:v>1.8992040399506698</c:v>
                </c:pt>
                <c:pt idx="15">
                  <c:v>2.134344161546229</c:v>
                </c:pt>
                <c:pt idx="16">
                  <c:v>1.91662910114567</c:v>
                </c:pt>
                <c:pt idx="17">
                  <c:v>2.127271174859866</c:v>
                </c:pt>
                <c:pt idx="18">
                  <c:v>2.0009734207240624</c:v>
                </c:pt>
                <c:pt idx="19">
                  <c:v>2.0332742425168617</c:v>
                </c:pt>
                <c:pt idx="20">
                  <c:v>1.8411248146554915</c:v>
                </c:pt>
                <c:pt idx="21">
                  <c:v>1.8362310967942899</c:v>
                </c:pt>
                <c:pt idx="22">
                  <c:v>1.7799647171389121</c:v>
                </c:pt>
                <c:pt idx="23">
                  <c:v>1.8493341859494337</c:v>
                </c:pt>
                <c:pt idx="24">
                  <c:v>1.7718941522157403</c:v>
                </c:pt>
                <c:pt idx="25">
                  <c:v>1.9585969355503496</c:v>
                </c:pt>
                <c:pt idx="26">
                  <c:v>1.740273604785913</c:v>
                </c:pt>
                <c:pt idx="27">
                  <c:v>1.661963819981473</c:v>
                </c:pt>
                <c:pt idx="28">
                  <c:v>1.6346428825413257</c:v>
                </c:pt>
                <c:pt idx="29">
                  <c:v>1.953168468327758</c:v>
                </c:pt>
                <c:pt idx="30">
                  <c:v>1.9451372712146422</c:v>
                </c:pt>
                <c:pt idx="31">
                  <c:v>1.6802041151211435</c:v>
                </c:pt>
                <c:pt idx="32">
                  <c:v>1.6839622850712381</c:v>
                </c:pt>
                <c:pt idx="33">
                  <c:v>1.645296979912766</c:v>
                </c:pt>
                <c:pt idx="34">
                  <c:v>1.6611197611023174</c:v>
                </c:pt>
                <c:pt idx="35">
                  <c:v>1.6402947347488352</c:v>
                </c:pt>
                <c:pt idx="36">
                  <c:v>1.6994651662976425</c:v>
                </c:pt>
                <c:pt idx="37">
                  <c:v>1.6962402240740584</c:v>
                </c:pt>
                <c:pt idx="38">
                  <c:v>1.7369307692307694</c:v>
                </c:pt>
                <c:pt idx="39">
                  <c:v>1.7134378589219044</c:v>
                </c:pt>
                <c:pt idx="40">
                  <c:v>1.6868075749209341</c:v>
                </c:pt>
                <c:pt idx="41">
                  <c:v>1.6959592933709013</c:v>
                </c:pt>
                <c:pt idx="42">
                  <c:v>1.6693534814036173</c:v>
                </c:pt>
                <c:pt idx="43">
                  <c:v>1.8019499711488705</c:v>
                </c:pt>
                <c:pt idx="44">
                  <c:v>1.7576490679440233</c:v>
                </c:pt>
                <c:pt idx="45">
                  <c:v>1.7108528827745129</c:v>
                </c:pt>
                <c:pt idx="46">
                  <c:v>1.6774890681124959</c:v>
                </c:pt>
                <c:pt idx="47">
                  <c:v>1.7254580632280168</c:v>
                </c:pt>
                <c:pt idx="48">
                  <c:v>1.6495782873390055</c:v>
                </c:pt>
                <c:pt idx="49">
                  <c:v>1.7184368178151288</c:v>
                </c:pt>
                <c:pt idx="50">
                  <c:v>1.7424700155373924</c:v>
                </c:pt>
                <c:pt idx="51">
                  <c:v>1.7673392319648413</c:v>
                </c:pt>
              </c:numCache>
            </c:numRef>
          </c:xVal>
          <c:yVal>
            <c:numRef>
              <c:f>Sheet1!$B$109:$B$160</c:f>
              <c:numCache>
                <c:formatCode>General</c:formatCode>
                <c:ptCount val="52"/>
                <c:pt idx="0">
                  <c:v>0.1883008356545961</c:v>
                </c:pt>
                <c:pt idx="1">
                  <c:v>0.1962360321505587</c:v>
                </c:pt>
                <c:pt idx="2">
                  <c:v>0.2070623035681272</c:v>
                </c:pt>
                <c:pt idx="3">
                  <c:v>0.2307535225648356</c:v>
                </c:pt>
                <c:pt idx="4">
                  <c:v>0.2131081624447125</c:v>
                </c:pt>
                <c:pt idx="5">
                  <c:v>0.22560035250055077</c:v>
                </c:pt>
                <c:pt idx="6">
                  <c:v>0.23763998907402348</c:v>
                </c:pt>
                <c:pt idx="7">
                  <c:v>0.20937642239417387</c:v>
                </c:pt>
                <c:pt idx="8">
                  <c:v>0.2162423461166613</c:v>
                </c:pt>
                <c:pt idx="9">
                  <c:v>0.21928104575163399</c:v>
                </c:pt>
                <c:pt idx="10">
                  <c:v>0.22534102833158448</c:v>
                </c:pt>
                <c:pt idx="11">
                  <c:v>0.21299234646257234</c:v>
                </c:pt>
                <c:pt idx="12">
                  <c:v>0.21937639198218262</c:v>
                </c:pt>
                <c:pt idx="13">
                  <c:v>0.21815990357573323</c:v>
                </c:pt>
                <c:pt idx="14">
                  <c:v>0.22596475574392147</c:v>
                </c:pt>
                <c:pt idx="15">
                  <c:v>0.22016592214422465</c:v>
                </c:pt>
                <c:pt idx="16">
                  <c:v>0.22083775185577942</c:v>
                </c:pt>
                <c:pt idx="17">
                  <c:v>0.23083333333333333</c:v>
                </c:pt>
                <c:pt idx="18">
                  <c:v>0.22112211221122113</c:v>
                </c:pt>
                <c:pt idx="19">
                  <c:v>0.21683744115203546</c:v>
                </c:pt>
                <c:pt idx="20">
                  <c:v>0.20981713185755535</c:v>
                </c:pt>
                <c:pt idx="21">
                  <c:v>0.22101606600086843</c:v>
                </c:pt>
                <c:pt idx="22">
                  <c:v>0.23205187586845763</c:v>
                </c:pt>
                <c:pt idx="23">
                  <c:v>0.22917718324078748</c:v>
                </c:pt>
                <c:pt idx="24">
                  <c:v>0.23804878048780487</c:v>
                </c:pt>
                <c:pt idx="25">
                  <c:v>0.24257425742574257</c:v>
                </c:pt>
                <c:pt idx="26">
                  <c:v>0.22978017420157612</c:v>
                </c:pt>
                <c:pt idx="27">
                  <c:v>0.22506301764494058</c:v>
                </c:pt>
                <c:pt idx="28">
                  <c:v>0.224964234620887</c:v>
                </c:pt>
                <c:pt idx="29">
                  <c:v>0.23404255319148937</c:v>
                </c:pt>
                <c:pt idx="30">
                  <c:v>0.2341796134899583</c:v>
                </c:pt>
                <c:pt idx="31">
                  <c:v>0.21842863019333608</c:v>
                </c:pt>
                <c:pt idx="32">
                  <c:v>0.22503057480635957</c:v>
                </c:pt>
                <c:pt idx="33">
                  <c:v>0.23076923076923078</c:v>
                </c:pt>
                <c:pt idx="34">
                  <c:v>0.24257066924377868</c:v>
                </c:pt>
                <c:pt idx="35">
                  <c:v>0.24421965317919075</c:v>
                </c:pt>
                <c:pt idx="36">
                  <c:v>0.23065420560747663</c:v>
                </c:pt>
                <c:pt idx="37">
                  <c:v>0.24307387862796834</c:v>
                </c:pt>
                <c:pt idx="38">
                  <c:v>0.21852970795568982</c:v>
                </c:pt>
                <c:pt idx="39">
                  <c:v>0.23173341485784163</c:v>
                </c:pt>
                <c:pt idx="40">
                  <c:v>0.22205838985549986</c:v>
                </c:pt>
                <c:pt idx="41">
                  <c:v>0.21705426356589147</c:v>
                </c:pt>
                <c:pt idx="42">
                  <c:v>0.20890515401036902</c:v>
                </c:pt>
                <c:pt idx="43">
                  <c:v>0.20249617931737138</c:v>
                </c:pt>
                <c:pt idx="44">
                  <c:v>0.20190713101160862</c:v>
                </c:pt>
                <c:pt idx="45">
                  <c:v>0.22230950510604872</c:v>
                </c:pt>
                <c:pt idx="46">
                  <c:v>0.24022346368715083</c:v>
                </c:pt>
                <c:pt idx="47">
                  <c:v>0.2299059250701436</c:v>
                </c:pt>
                <c:pt idx="48">
                  <c:v>0.22239010989010988</c:v>
                </c:pt>
                <c:pt idx="49">
                  <c:v>0.2387263863497867</c:v>
                </c:pt>
                <c:pt idx="50">
                  <c:v>0.2258511480601742</c:v>
                </c:pt>
                <c:pt idx="51">
                  <c:v>0.22554303446023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5.41140100948318</c:v>
                </c:pt>
              </c:numCache>
            </c:numRef>
          </c:xVal>
          <c:yVal>
            <c:numRef>
              <c:f>Sheet1!$B$163:$B$164</c:f>
              <c:numCache>
                <c:formatCode>General</c:formatCode>
                <c:ptCount val="2"/>
                <c:pt idx="0">
                  <c:v>0.29674922746839427</c:v>
                </c:pt>
                <c:pt idx="1">
                  <c:v>0.2967492274683942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5.41140100948318</c:v>
                </c:pt>
                <c:pt idx="1">
                  <c:v>35.41140100948318</c:v>
                </c:pt>
              </c:numCache>
            </c:numRef>
          </c:xVal>
          <c:yVal>
            <c:numRef>
              <c:f>Sheet1!$B$167:$B$168</c:f>
              <c:numCache>
                <c:formatCode>General</c:formatCode>
                <c:ptCount val="2"/>
                <c:pt idx="0">
                  <c:v>0.296749227468394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5.373074200391142</c:v>
                </c:pt>
              </c:numCache>
            </c:numRef>
          </c:xVal>
          <c:yVal>
            <c:numRef>
              <c:f>Sheet1!$B$171:$B$172</c:f>
              <c:numCache>
                <c:formatCode>General</c:formatCode>
                <c:ptCount val="2"/>
                <c:pt idx="0">
                  <c:v>0.23128313809110376</c:v>
                </c:pt>
                <c:pt idx="1">
                  <c:v>0.231283138091103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5.373074200391142</c:v>
                </c:pt>
                <c:pt idx="1">
                  <c:v>5.373074200391142</c:v>
                </c:pt>
              </c:numCache>
            </c:numRef>
          </c:xVal>
          <c:yVal>
            <c:numRef>
              <c:f>Sheet1!$B$175:$B$176</c:f>
              <c:numCache>
                <c:formatCode>General</c:formatCode>
                <c:ptCount val="2"/>
                <c:pt idx="0">
                  <c:v>0.231283138091103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231781700046125</c:v>
                </c:pt>
              </c:numCache>
            </c:numRef>
          </c:xVal>
          <c:yVal>
            <c:numRef>
              <c:f>Sheet1!$B$179:$B$180</c:f>
              <c:numCache>
                <c:formatCode>General</c:formatCode>
                <c:ptCount val="2"/>
                <c:pt idx="0">
                  <c:v>0.22223877732632522</c:v>
                </c:pt>
                <c:pt idx="1">
                  <c:v>0.2222387773263252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231781700046125</c:v>
                </c:pt>
                <c:pt idx="1">
                  <c:v>1.2231781700046125</c:v>
                </c:pt>
              </c:numCache>
            </c:numRef>
          </c:xVal>
          <c:yVal>
            <c:numRef>
              <c:f>Sheet1!$B$183:$B$184</c:f>
              <c:numCache>
                <c:formatCode>General</c:formatCode>
                <c:ptCount val="2"/>
                <c:pt idx="0">
                  <c:v>0.222238777326325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705976056037946</c:v>
                </c:pt>
                <c:pt idx="1">
                  <c:v>1.6772875679391475</c:v>
                </c:pt>
                <c:pt idx="2">
                  <c:v>1.6913310239955812</c:v>
                </c:pt>
                <c:pt idx="3">
                  <c:v>1.6505981418504492</c:v>
                </c:pt>
                <c:pt idx="4">
                  <c:v>1.7114184413562403</c:v>
                </c:pt>
                <c:pt idx="5">
                  <c:v>1.619873418507987</c:v>
                </c:pt>
                <c:pt idx="6">
                  <c:v>1.6362701200131797</c:v>
                </c:pt>
                <c:pt idx="7">
                  <c:v>1.682314853385568</c:v>
                </c:pt>
                <c:pt idx="8">
                  <c:v>1.7045125807473027</c:v>
                </c:pt>
                <c:pt idx="9">
                  <c:v>1.6635728140273462</c:v>
                </c:pt>
                <c:pt idx="10">
                  <c:v>1.778039740045339</c:v>
                </c:pt>
                <c:pt idx="11">
                  <c:v>1.8199614160634492</c:v>
                </c:pt>
                <c:pt idx="12">
                  <c:v>1.937119123764334</c:v>
                </c:pt>
                <c:pt idx="13">
                  <c:v>1.9252169495492248</c:v>
                </c:pt>
                <c:pt idx="14">
                  <c:v>1.8992040399506698</c:v>
                </c:pt>
                <c:pt idx="15">
                  <c:v>2.134344161546229</c:v>
                </c:pt>
                <c:pt idx="16">
                  <c:v>1.91662910114567</c:v>
                </c:pt>
                <c:pt idx="17">
                  <c:v>2.127271174859866</c:v>
                </c:pt>
                <c:pt idx="18">
                  <c:v>2.0009734207240624</c:v>
                </c:pt>
                <c:pt idx="19">
                  <c:v>2.0332742425168617</c:v>
                </c:pt>
                <c:pt idx="20">
                  <c:v>1.8411248146554915</c:v>
                </c:pt>
                <c:pt idx="21">
                  <c:v>1.8362310967942899</c:v>
                </c:pt>
                <c:pt idx="22">
                  <c:v>1.7799647171389121</c:v>
                </c:pt>
                <c:pt idx="23">
                  <c:v>1.8493341859494337</c:v>
                </c:pt>
                <c:pt idx="24">
                  <c:v>1.7718941522157403</c:v>
                </c:pt>
                <c:pt idx="25">
                  <c:v>1.9585969355503496</c:v>
                </c:pt>
                <c:pt idx="26">
                  <c:v>1.740273604785913</c:v>
                </c:pt>
                <c:pt idx="27">
                  <c:v>1.661963819981473</c:v>
                </c:pt>
                <c:pt idx="28">
                  <c:v>1.6346428825413257</c:v>
                </c:pt>
                <c:pt idx="29">
                  <c:v>1.953168468327758</c:v>
                </c:pt>
                <c:pt idx="30">
                  <c:v>1.9451372712146422</c:v>
                </c:pt>
                <c:pt idx="31">
                  <c:v>1.6802041151211435</c:v>
                </c:pt>
                <c:pt idx="32">
                  <c:v>1.6839622850712381</c:v>
                </c:pt>
                <c:pt idx="33">
                  <c:v>1.645296979912766</c:v>
                </c:pt>
                <c:pt idx="34">
                  <c:v>1.6611197611023174</c:v>
                </c:pt>
                <c:pt idx="35">
                  <c:v>1.6402947347488352</c:v>
                </c:pt>
                <c:pt idx="36">
                  <c:v>1.6994651662976425</c:v>
                </c:pt>
                <c:pt idx="37">
                  <c:v>1.6962402240740584</c:v>
                </c:pt>
                <c:pt idx="38">
                  <c:v>1.7369307692307694</c:v>
                </c:pt>
                <c:pt idx="39">
                  <c:v>1.7134378589219044</c:v>
                </c:pt>
                <c:pt idx="40">
                  <c:v>1.6868075749209341</c:v>
                </c:pt>
                <c:pt idx="41">
                  <c:v>1.6959592933709013</c:v>
                </c:pt>
                <c:pt idx="42">
                  <c:v>1.6693534814036173</c:v>
                </c:pt>
                <c:pt idx="43">
                  <c:v>1.8019499711488705</c:v>
                </c:pt>
                <c:pt idx="44">
                  <c:v>1.7576490679440233</c:v>
                </c:pt>
                <c:pt idx="45">
                  <c:v>1.7108528827745129</c:v>
                </c:pt>
                <c:pt idx="46">
                  <c:v>1.6774890681124959</c:v>
                </c:pt>
                <c:pt idx="47">
                  <c:v>1.7254580632280168</c:v>
                </c:pt>
                <c:pt idx="48">
                  <c:v>1.6495782873390055</c:v>
                </c:pt>
                <c:pt idx="49">
                  <c:v>1.7184368178151288</c:v>
                </c:pt>
                <c:pt idx="50">
                  <c:v>1.7424700155373924</c:v>
                </c:pt>
                <c:pt idx="51">
                  <c:v>1.7673392319648413</c:v>
                </c:pt>
                <c:pt idx="52">
                  <c:v>5.373074200391142</c:v>
                </c:pt>
                <c:pt idx="53">
                  <c:v>35.41140100948318</c:v>
                </c:pt>
                <c:pt idx="54">
                  <c:v>1.2231781700046125</c:v>
                </c:pt>
              </c:numCache>
            </c:numRef>
          </c:xVal>
          <c:yVal>
            <c:numRef>
              <c:f>Sheet1!$B$187:$B$241</c:f>
              <c:numCache>
                <c:formatCode>General</c:formatCode>
                <c:ptCount val="55"/>
                <c:pt idx="0">
                  <c:v>0.22321389158439392</c:v>
                </c:pt>
                <c:pt idx="1">
                  <c:v>0.22322847181301186</c:v>
                </c:pt>
                <c:pt idx="2">
                  <c:v>0.22325907838291834</c:v>
                </c:pt>
                <c:pt idx="3">
                  <c:v>0.22317030438028979</c:v>
                </c:pt>
                <c:pt idx="4">
                  <c:v>0.22330285727475374</c:v>
                </c:pt>
                <c:pt idx="5">
                  <c:v>0.2231033423455129</c:v>
                </c:pt>
                <c:pt idx="6">
                  <c:v>0.22313907762241608</c:v>
                </c:pt>
                <c:pt idx="7">
                  <c:v>0.22323942837262492</c:v>
                </c:pt>
                <c:pt idx="8">
                  <c:v>0.2232878065134139</c:v>
                </c:pt>
                <c:pt idx="9">
                  <c:v>0.22319858162268655</c:v>
                </c:pt>
                <c:pt idx="10">
                  <c:v>0.22344805297497136</c:v>
                </c:pt>
                <c:pt idx="11">
                  <c:v>0.22353941785712642</c:v>
                </c:pt>
                <c:pt idx="12">
                  <c:v>0.22379475354916845</c:v>
                </c:pt>
                <c:pt idx="13">
                  <c:v>0.22376881372882151</c:v>
                </c:pt>
                <c:pt idx="14">
                  <c:v>0.22371212070874869</c:v>
                </c:pt>
                <c:pt idx="15">
                  <c:v>0.22422458947288446</c:v>
                </c:pt>
                <c:pt idx="16">
                  <c:v>0.22375009721192898</c:v>
                </c:pt>
                <c:pt idx="17">
                  <c:v>0.22420917447385616</c:v>
                </c:pt>
                <c:pt idx="18">
                  <c:v>0.22393391879423877</c:v>
                </c:pt>
                <c:pt idx="19">
                  <c:v>0.2240043158073576</c:v>
                </c:pt>
                <c:pt idx="20">
                  <c:v>0.22358554176251433</c:v>
                </c:pt>
                <c:pt idx="21">
                  <c:v>0.22357487630258627</c:v>
                </c:pt>
                <c:pt idx="22">
                  <c:v>0.22345224830593163</c:v>
                </c:pt>
                <c:pt idx="23">
                  <c:v>0.22360343341933916</c:v>
                </c:pt>
                <c:pt idx="24">
                  <c:v>0.22343465916629868</c:v>
                </c:pt>
                <c:pt idx="25">
                  <c:v>0.22384156269253214</c:v>
                </c:pt>
                <c:pt idx="26">
                  <c:v>0.22336574475580717</c:v>
                </c:pt>
                <c:pt idx="27">
                  <c:v>0.22319507495107052</c:v>
                </c:pt>
                <c:pt idx="28">
                  <c:v>0.2231355311907374</c:v>
                </c:pt>
                <c:pt idx="29">
                  <c:v>0.22382973178987786</c:v>
                </c:pt>
                <c:pt idx="30">
                  <c:v>0.22381222844918397</c:v>
                </c:pt>
                <c:pt idx="31">
                  <c:v>0.2232348281903062</c:v>
                </c:pt>
                <c:pt idx="32">
                  <c:v>0.22324301881594963</c:v>
                </c:pt>
                <c:pt idx="33">
                  <c:v>0.22315875092914647</c:v>
                </c:pt>
                <c:pt idx="34">
                  <c:v>0.2231932353934156</c:v>
                </c:pt>
                <c:pt idx="35">
                  <c:v>0.22314784894279183</c:v>
                </c:pt>
                <c:pt idx="36">
                  <c:v>0.22327680608427597</c:v>
                </c:pt>
                <c:pt idx="37">
                  <c:v>0.22326977758507935</c:v>
                </c:pt>
                <c:pt idx="38">
                  <c:v>0.22335845931768616</c:v>
                </c:pt>
                <c:pt idx="39">
                  <c:v>0.22330725843103932</c:v>
                </c:pt>
                <c:pt idx="40">
                  <c:v>0.22324921989368568</c:v>
                </c:pt>
                <c:pt idx="41">
                  <c:v>0.2232691653194682</c:v>
                </c:pt>
                <c:pt idx="42">
                  <c:v>0.22321118011692095</c:v>
                </c:pt>
                <c:pt idx="43">
                  <c:v>0.22350016337833717</c:v>
                </c:pt>
                <c:pt idx="44">
                  <c:v>0.22340361316410134</c:v>
                </c:pt>
                <c:pt idx="45">
                  <c:v>0.22330162468583845</c:v>
                </c:pt>
                <c:pt idx="46">
                  <c:v>0.22322891096624572</c:v>
                </c:pt>
                <c:pt idx="47">
                  <c:v>0.22333345548836672</c:v>
                </c:pt>
                <c:pt idx="48">
                  <c:v>0.22316808169035696</c:v>
                </c:pt>
                <c:pt idx="49">
                  <c:v>0.22331815325523433</c:v>
                </c:pt>
                <c:pt idx="50">
                  <c:v>0.22337053165434115</c:v>
                </c:pt>
                <c:pt idx="51">
                  <c:v>0.22342473208819788</c:v>
                </c:pt>
                <c:pt idx="52">
                  <c:v>0.23128313809110376</c:v>
                </c:pt>
                <c:pt idx="53">
                  <c:v>0.29674922746839427</c:v>
                </c:pt>
                <c:pt idx="54">
                  <c:v>0.222238777326325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82758620689655"/>
          <c:min val="0.126671168129642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0.0714</c:v>
                </c:pt>
                <c:pt idx="1">
                  <c:v>1045.5385</c:v>
                </c:pt>
                <c:pt idx="2">
                  <c:v>1222.1875</c:v>
                </c:pt>
                <c:pt idx="3">
                  <c:v>1207.9167</c:v>
                </c:pt>
                <c:pt idx="4">
                  <c:v>1068.2</c:v>
                </c:pt>
                <c:pt idx="5">
                  <c:v>1171.75</c:v>
                </c:pt>
                <c:pt idx="6">
                  <c:v>1287.0</c:v>
                </c:pt>
                <c:pt idx="7">
                  <c:v>1170.6667</c:v>
                </c:pt>
                <c:pt idx="8">
                  <c:v>1319.0</c:v>
                </c:pt>
                <c:pt idx="9">
                  <c:v>998.8889</c:v>
                </c:pt>
                <c:pt idx="10">
                  <c:v>1050.125</c:v>
                </c:pt>
                <c:pt idx="11">
                  <c:v>1316.1667</c:v>
                </c:pt>
                <c:pt idx="12">
                  <c:v>1187.6667</c:v>
                </c:pt>
                <c:pt idx="13">
                  <c:v>1144.0</c:v>
                </c:pt>
                <c:pt idx="14">
                  <c:v>1283.0</c:v>
                </c:pt>
                <c:pt idx="15">
                  <c:v>1214.8571</c:v>
                </c:pt>
                <c:pt idx="16">
                  <c:v>1138.8571</c:v>
                </c:pt>
                <c:pt idx="17">
                  <c:v>1370.3333</c:v>
                </c:pt>
                <c:pt idx="18">
                  <c:v>1576.0</c:v>
                </c:pt>
                <c:pt idx="19">
                  <c:v>1384.25</c:v>
                </c:pt>
                <c:pt idx="20">
                  <c:v>1293.5</c:v>
                </c:pt>
                <c:pt idx="21">
                  <c:v>2009.0</c:v>
                </c:pt>
                <c:pt idx="22">
                  <c:v>1493.3333</c:v>
                </c:pt>
                <c:pt idx="23">
                  <c:v>1489.3333</c:v>
                </c:pt>
                <c:pt idx="24">
                  <c:v>1412.6667</c:v>
                </c:pt>
                <c:pt idx="25">
                  <c:v>1458.0</c:v>
                </c:pt>
                <c:pt idx="26">
                  <c:v>1416.6667</c:v>
                </c:pt>
                <c:pt idx="27">
                  <c:v>1500.0</c:v>
                </c:pt>
                <c:pt idx="28">
                  <c:v>1349.5</c:v>
                </c:pt>
                <c:pt idx="29">
                  <c:v>1161.3333</c:v>
                </c:pt>
                <c:pt idx="30">
                  <c:v>1429.5</c:v>
                </c:pt>
                <c:pt idx="31">
                  <c:v>1334.2</c:v>
                </c:pt>
                <c:pt idx="32">
                  <c:v>1236.0</c:v>
                </c:pt>
                <c:pt idx="33">
                  <c:v>1292.2</c:v>
                </c:pt>
                <c:pt idx="34">
                  <c:v>1206.125</c:v>
                </c:pt>
                <c:pt idx="35">
                  <c:v>1292.5</c:v>
                </c:pt>
                <c:pt idx="36">
                  <c:v>1202.6667</c:v>
                </c:pt>
                <c:pt idx="37">
                  <c:v>1166.0</c:v>
                </c:pt>
                <c:pt idx="38">
                  <c:v>1507.0</c:v>
                </c:pt>
                <c:pt idx="39">
                  <c:v>1314.5</c:v>
                </c:pt>
                <c:pt idx="40">
                  <c:v>1508.4</c:v>
                </c:pt>
                <c:pt idx="41">
                  <c:v>1329.2</c:v>
                </c:pt>
                <c:pt idx="42">
                  <c:v>1648.8571</c:v>
                </c:pt>
                <c:pt idx="43">
                  <c:v>1553.375</c:v>
                </c:pt>
                <c:pt idx="44">
                  <c:v>1481.25</c:v>
                </c:pt>
                <c:pt idx="45">
                  <c:v>1570.7</c:v>
                </c:pt>
                <c:pt idx="46">
                  <c:v>1506.2</c:v>
                </c:pt>
                <c:pt idx="47">
                  <c:v>1490.6</c:v>
                </c:pt>
                <c:pt idx="48">
                  <c:v>1600.7333</c:v>
                </c:pt>
                <c:pt idx="49">
                  <c:v>1598.7778</c:v>
                </c:pt>
                <c:pt idx="50">
                  <c:v>1539.0</c:v>
                </c:pt>
                <c:pt idx="51">
                  <c:v>1474.6</c:v>
                </c:pt>
                <c:pt idx="52">
                  <c:v>1583.5556</c:v>
                </c:pt>
                <c:pt idx="53">
                  <c:v>1416.7143</c:v>
                </c:pt>
                <c:pt idx="54">
                  <c:v>1588.5</c:v>
                </c:pt>
                <c:pt idx="55">
                  <c:v>1736.2</c:v>
                </c:pt>
                <c:pt idx="56">
                  <c:v>1701.6667</c:v>
                </c:pt>
                <c:pt idx="57">
                  <c:v>1551.2857</c:v>
                </c:pt>
                <c:pt idx="58">
                  <c:v>1524.2857</c:v>
                </c:pt>
                <c:pt idx="59">
                  <c:v>1554.5</c:v>
                </c:pt>
                <c:pt idx="60">
                  <c:v>1386.5263</c:v>
                </c:pt>
                <c:pt idx="61">
                  <c:v>1758.625</c:v>
                </c:pt>
                <c:pt idx="62">
                  <c:v>1684.0</c:v>
                </c:pt>
                <c:pt idx="63">
                  <c:v>1549.7143</c:v>
                </c:pt>
                <c:pt idx="64">
                  <c:v>1531.4286</c:v>
                </c:pt>
                <c:pt idx="65">
                  <c:v>1707.1667</c:v>
                </c:pt>
                <c:pt idx="66">
                  <c:v>1404.375</c:v>
                </c:pt>
                <c:pt idx="67">
                  <c:v>1633.8333</c:v>
                </c:pt>
                <c:pt idx="68">
                  <c:v>1335.0</c:v>
                </c:pt>
                <c:pt idx="69">
                  <c:v>1339.8</c:v>
                </c:pt>
                <c:pt idx="70">
                  <c:v>1099.0</c:v>
                </c:pt>
                <c:pt idx="71">
                  <c:v>913.5</c:v>
                </c:pt>
                <c:pt idx="72">
                  <c:v>1116.8</c:v>
                </c:pt>
                <c:pt idx="73">
                  <c:v>1321.4</c:v>
                </c:pt>
                <c:pt idx="74">
                  <c:v>1295.5</c:v>
                </c:pt>
                <c:pt idx="75">
                  <c:v>855.0</c:v>
                </c:pt>
                <c:pt idx="76">
                  <c:v>1350.2</c:v>
                </c:pt>
                <c:pt idx="77">
                  <c:v>1460.3333</c:v>
                </c:pt>
                <c:pt idx="78">
                  <c:v>2166.0</c:v>
                </c:pt>
                <c:pt idx="79">
                  <c:v>1300.6667</c:v>
                </c:pt>
                <c:pt idx="80">
                  <c:v>1537.3333</c:v>
                </c:pt>
                <c:pt idx="81">
                  <c:v>1369.6667</c:v>
                </c:pt>
                <c:pt idx="82">
                  <c:v>1445.0</c:v>
                </c:pt>
                <c:pt idx="83">
                  <c:v>1458.5</c:v>
                </c:pt>
                <c:pt idx="84">
                  <c:v>1470.0</c:v>
                </c:pt>
                <c:pt idx="85">
                  <c:v>1784.0</c:v>
                </c:pt>
                <c:pt idx="86">
                  <c:v>1650.6667</c:v>
                </c:pt>
                <c:pt idx="87">
                  <c:v>1907.0</c:v>
                </c:pt>
                <c:pt idx="88">
                  <c:v>1627.5</c:v>
                </c:pt>
                <c:pt idx="89">
                  <c:v>1135.3333</c:v>
                </c:pt>
                <c:pt idx="90">
                  <c:v>1683.25</c:v>
                </c:pt>
                <c:pt idx="91">
                  <c:v>1251.0</c:v>
                </c:pt>
                <c:pt idx="92">
                  <c:v>1382.0</c:v>
                </c:pt>
                <c:pt idx="93">
                  <c:v>1353.25</c:v>
                </c:pt>
                <c:pt idx="94">
                  <c:v>1540.0</c:v>
                </c:pt>
                <c:pt idx="95">
                  <c:v>1098.3333</c:v>
                </c:pt>
                <c:pt idx="96">
                  <c:v>1511.5714</c:v>
                </c:pt>
                <c:pt idx="97">
                  <c:v>1548.9167</c:v>
                </c:pt>
                <c:pt idx="98">
                  <c:v>1334.4167</c:v>
                </c:pt>
                <c:pt idx="99">
                  <c:v>1561.0</c:v>
                </c:pt>
                <c:pt idx="100">
                  <c:v>1315.0</c:v>
                </c:pt>
                <c:pt idx="101">
                  <c:v>1506.1667</c:v>
                </c:pt>
                <c:pt idx="102">
                  <c:v>1171.5</c:v>
                </c:pt>
                <c:pt idx="103">
                  <c:v>1163.2222</c:v>
                </c:pt>
                <c:pt idx="104">
                  <c:v>1361.8</c:v>
                </c:pt>
              </c:numCache>
            </c:numRef>
          </c:xVal>
          <c:yVal>
            <c:numRef>
              <c:f>Sheet1!$B$2:$B$106</c:f>
              <c:numCache>
                <c:formatCode>General</c:formatCode>
                <c:ptCount val="105"/>
                <c:pt idx="0">
                  <c:v>0.4827586206896552</c:v>
                </c:pt>
                <c:pt idx="1">
                  <c:v>0.4642857142857143</c:v>
                </c:pt>
                <c:pt idx="2">
                  <c:v>0.43243243243243246</c:v>
                </c:pt>
                <c:pt idx="3">
                  <c:v>0.4</c:v>
                </c:pt>
                <c:pt idx="4">
                  <c:v>0.47619047619047616</c:v>
                </c:pt>
                <c:pt idx="5">
                  <c:v>0.48</c:v>
                </c:pt>
                <c:pt idx="6">
                  <c:v>0.36363636363636365</c:v>
                </c:pt>
                <c:pt idx="7">
                  <c:v>0.42857142857142855</c:v>
                </c:pt>
                <c:pt idx="8">
                  <c:v>0.5555555555555556</c:v>
                </c:pt>
                <c:pt idx="9">
                  <c:v>0.375</c:v>
                </c:pt>
                <c:pt idx="10">
                  <c:v>0.2857142857142857</c:v>
                </c:pt>
                <c:pt idx="11">
                  <c:v>0.5454545454545454</c:v>
                </c:pt>
                <c:pt idx="12">
                  <c:v>0.375</c:v>
                </c:pt>
                <c:pt idx="13">
                  <c:v>0.42857142857142855</c:v>
                </c:pt>
                <c:pt idx="14">
                  <c:v>0.5</c:v>
                </c:pt>
                <c:pt idx="15">
                  <c:v>0.5384615384615384</c:v>
                </c:pt>
                <c:pt idx="16">
                  <c:v>0.6363636363636364</c:v>
                </c:pt>
                <c:pt idx="17">
                  <c:v>0.5</c:v>
                </c:pt>
                <c:pt idx="18">
                  <c:v>0.2857142857142857</c:v>
                </c:pt>
                <c:pt idx="19">
                  <c:v>0.5</c:v>
                </c:pt>
                <c:pt idx="20">
                  <c:v>0.5</c:v>
                </c:pt>
                <c:pt idx="21">
                  <c:v>0.2</c:v>
                </c:pt>
                <c:pt idx="22">
                  <c:v>0.3333333333333333</c:v>
                </c:pt>
                <c:pt idx="23">
                  <c:v>0.42857142857142855</c:v>
                </c:pt>
                <c:pt idx="24">
                  <c:v>0.42857142857142855</c:v>
                </c:pt>
                <c:pt idx="25">
                  <c:v>0.42857142857142855</c:v>
                </c:pt>
                <c:pt idx="26">
                  <c:v>0.42857142857142855</c:v>
                </c:pt>
                <c:pt idx="27">
                  <c:v>0.4444444444444444</c:v>
                </c:pt>
                <c:pt idx="28">
                  <c:v>0.6666666666666666</c:v>
                </c:pt>
                <c:pt idx="29">
                  <c:v>0.6666666666666666</c:v>
                </c:pt>
                <c:pt idx="30">
                  <c:v>0.5</c:v>
                </c:pt>
                <c:pt idx="31">
                  <c:v>0.5555555555555556</c:v>
                </c:pt>
                <c:pt idx="32">
                  <c:v>0.5</c:v>
                </c:pt>
                <c:pt idx="33">
                  <c:v>0.5</c:v>
                </c:pt>
                <c:pt idx="34">
                  <c:v>0.5333333333333333</c:v>
                </c:pt>
                <c:pt idx="35">
                  <c:v>0.8</c:v>
                </c:pt>
                <c:pt idx="36">
                  <c:v>0.6666666666666666</c:v>
                </c:pt>
                <c:pt idx="37">
                  <c:v>0.5</c:v>
                </c:pt>
                <c:pt idx="38">
                  <c:v>0.4444444444444444</c:v>
                </c:pt>
                <c:pt idx="39">
                  <c:v>0.13333333333333333</c:v>
                </c:pt>
                <c:pt idx="40">
                  <c:v>0.10638297872340426</c:v>
                </c:pt>
                <c:pt idx="41">
                  <c:v>0.14705882352941177</c:v>
                </c:pt>
                <c:pt idx="42">
                  <c:v>0.17073170731707318</c:v>
                </c:pt>
                <c:pt idx="43">
                  <c:v>0.21621621621621623</c:v>
                </c:pt>
                <c:pt idx="44">
                  <c:v>0.24</c:v>
                </c:pt>
                <c:pt idx="45">
                  <c:v>0.29411764705882354</c:v>
                </c:pt>
                <c:pt idx="46">
                  <c:v>0.38461538461538464</c:v>
                </c:pt>
                <c:pt idx="47">
                  <c:v>0.43478260869565216</c:v>
                </c:pt>
                <c:pt idx="48">
                  <c:v>0.40540540540540543</c:v>
                </c:pt>
                <c:pt idx="49">
                  <c:v>0.5510204081632653</c:v>
                </c:pt>
                <c:pt idx="50">
                  <c:v>0.5333333333333333</c:v>
                </c:pt>
                <c:pt idx="51">
                  <c:v>0.35714285714285715</c:v>
                </c:pt>
                <c:pt idx="52">
                  <c:v>0.5</c:v>
                </c:pt>
                <c:pt idx="53">
                  <c:v>0.4666666666666667</c:v>
                </c:pt>
                <c:pt idx="54">
                  <c:v>0.5</c:v>
                </c:pt>
                <c:pt idx="55">
                  <c:v>0.2777777777777778</c:v>
                </c:pt>
                <c:pt idx="56">
                  <c:v>0.2608695652173913</c:v>
                </c:pt>
                <c:pt idx="57">
                  <c:v>0.22580645161290322</c:v>
                </c:pt>
                <c:pt idx="58">
                  <c:v>0.16279069767441862</c:v>
                </c:pt>
                <c:pt idx="59">
                  <c:v>0.18666666666666668</c:v>
                </c:pt>
                <c:pt idx="60">
                  <c:v>0.30158730158730157</c:v>
                </c:pt>
                <c:pt idx="61">
                  <c:v>0.2857142857142857</c:v>
                </c:pt>
                <c:pt idx="62">
                  <c:v>0.1724137931034483</c:v>
                </c:pt>
                <c:pt idx="63">
                  <c:v>0.25925925925925924</c:v>
                </c:pt>
                <c:pt idx="64">
                  <c:v>0.3684210526315789</c:v>
                </c:pt>
                <c:pt idx="65">
                  <c:v>0.3</c:v>
                </c:pt>
                <c:pt idx="66">
                  <c:v>0.38095238095238093</c:v>
                </c:pt>
                <c:pt idx="67">
                  <c:v>0.35294117647058826</c:v>
                </c:pt>
                <c:pt idx="68">
                  <c:v>0.42857142857142855</c:v>
                </c:pt>
                <c:pt idx="69">
                  <c:v>0.5</c:v>
                </c:pt>
                <c:pt idx="70">
                  <c:v>0.3333333333333333</c:v>
                </c:pt>
                <c:pt idx="71">
                  <c:v>0.5454545454545454</c:v>
                </c:pt>
                <c:pt idx="72">
                  <c:v>0.45454545454545453</c:v>
                </c:pt>
                <c:pt idx="73">
                  <c:v>0.4166666666666667</c:v>
                </c:pt>
                <c:pt idx="74">
                  <c:v>0.4</c:v>
                </c:pt>
                <c:pt idx="75">
                  <c:v>0.36363636363636365</c:v>
                </c:pt>
                <c:pt idx="76">
                  <c:v>0.45454545454545453</c:v>
                </c:pt>
                <c:pt idx="77">
                  <c:v>0.42857142857142855</c:v>
                </c:pt>
                <c:pt idx="78">
                  <c:v>0.2857142857142857</c:v>
                </c:pt>
                <c:pt idx="79">
                  <c:v>0.3</c:v>
                </c:pt>
                <c:pt idx="80">
                  <c:v>0.375</c:v>
                </c:pt>
                <c:pt idx="81">
                  <c:v>0.375</c:v>
                </c:pt>
                <c:pt idx="82">
                  <c:v>0.5</c:v>
                </c:pt>
                <c:pt idx="83">
                  <c:v>0.4</c:v>
                </c:pt>
                <c:pt idx="84">
                  <c:v>0.2</c:v>
                </c:pt>
                <c:pt idx="85">
                  <c:v>0.3333333333333333</c:v>
                </c:pt>
                <c:pt idx="86">
                  <c:v>0.375</c:v>
                </c:pt>
                <c:pt idx="87">
                  <c:v>0.2857142857142857</c:v>
                </c:pt>
                <c:pt idx="88">
                  <c:v>0.3333333333333333</c:v>
                </c:pt>
                <c:pt idx="89">
                  <c:v>0.42857142857142855</c:v>
                </c:pt>
                <c:pt idx="90">
                  <c:v>0.4444444444444444</c:v>
                </c:pt>
                <c:pt idx="91">
                  <c:v>0.4444444444444444</c:v>
                </c:pt>
                <c:pt idx="92">
                  <c:v>0.4</c:v>
                </c:pt>
                <c:pt idx="93">
                  <c:v>0.3076923076923077</c:v>
                </c:pt>
                <c:pt idx="94">
                  <c:v>0.3</c:v>
                </c:pt>
                <c:pt idx="95">
                  <c:v>0.42857142857142855</c:v>
                </c:pt>
                <c:pt idx="96">
                  <c:v>0.3684210526315789</c:v>
                </c:pt>
                <c:pt idx="97">
                  <c:v>0.5714285714285714</c:v>
                </c:pt>
                <c:pt idx="98">
                  <c:v>0.5217391304347826</c:v>
                </c:pt>
                <c:pt idx="99">
                  <c:v>0.5217391304347826</c:v>
                </c:pt>
                <c:pt idx="100">
                  <c:v>0.5925925925925926</c:v>
                </c:pt>
                <c:pt idx="101">
                  <c:v>0.3333333333333333</c:v>
                </c:pt>
                <c:pt idx="102">
                  <c:v>0.6153846153846154</c:v>
                </c:pt>
                <c:pt idx="103">
                  <c:v>0.5294117647058824</c:v>
                </c:pt>
                <c:pt idx="104">
                  <c:v>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611.0</c:v>
                </c:pt>
                <c:pt idx="1">
                  <c:v>1786.5</c:v>
                </c:pt>
                <c:pt idx="2">
                  <c:v>1304.2857</c:v>
                </c:pt>
                <c:pt idx="3">
                  <c:v>1510.25</c:v>
                </c:pt>
                <c:pt idx="4">
                  <c:v>1687.4286</c:v>
                </c:pt>
                <c:pt idx="5">
                  <c:v>1619.8333</c:v>
                </c:pt>
                <c:pt idx="6">
                  <c:v>1605.875</c:v>
                </c:pt>
                <c:pt idx="7">
                  <c:v>1325.1429</c:v>
                </c:pt>
                <c:pt idx="8">
                  <c:v>1776.6667</c:v>
                </c:pt>
                <c:pt idx="9">
                  <c:v>1327.5</c:v>
                </c:pt>
                <c:pt idx="10">
                  <c:v>1431.0</c:v>
                </c:pt>
                <c:pt idx="11">
                  <c:v>1469.8333</c:v>
                </c:pt>
                <c:pt idx="12">
                  <c:v>1518.6667</c:v>
                </c:pt>
                <c:pt idx="13">
                  <c:v>1419.4</c:v>
                </c:pt>
                <c:pt idx="14">
                  <c:v>1460.25</c:v>
                </c:pt>
                <c:pt idx="15">
                  <c:v>1412.2</c:v>
                </c:pt>
                <c:pt idx="16">
                  <c:v>1612.25</c:v>
                </c:pt>
                <c:pt idx="17">
                  <c:v>1540.0</c:v>
                </c:pt>
                <c:pt idx="18">
                  <c:v>1235.0</c:v>
                </c:pt>
                <c:pt idx="19">
                  <c:v>1198.0</c:v>
                </c:pt>
                <c:pt idx="20">
                  <c:v>1338.75</c:v>
                </c:pt>
                <c:pt idx="21">
                  <c:v>1432.5</c:v>
                </c:pt>
                <c:pt idx="22">
                  <c:v>1215.0</c:v>
                </c:pt>
                <c:pt idx="23">
                  <c:v>1220.0</c:v>
                </c:pt>
                <c:pt idx="24">
                  <c:v>1558.0</c:v>
                </c:pt>
                <c:pt idx="25">
                  <c:v>1168.5</c:v>
                </c:pt>
                <c:pt idx="26">
                  <c:v>1362.5</c:v>
                </c:pt>
                <c:pt idx="27">
                  <c:v>1513.6667</c:v>
                </c:pt>
                <c:pt idx="28">
                  <c:v>1446.6</c:v>
                </c:pt>
                <c:pt idx="29">
                  <c:v>1789.5</c:v>
                </c:pt>
                <c:pt idx="30">
                  <c:v>1300.6667</c:v>
                </c:pt>
                <c:pt idx="31">
                  <c:v>1320.5</c:v>
                </c:pt>
                <c:pt idx="32">
                  <c:v>1592.6667</c:v>
                </c:pt>
                <c:pt idx="33">
                  <c:v>1661.5</c:v>
                </c:pt>
                <c:pt idx="34">
                  <c:v>1372.0</c:v>
                </c:pt>
                <c:pt idx="35">
                  <c:v>1401.3333</c:v>
                </c:pt>
                <c:pt idx="36">
                  <c:v>1367.0</c:v>
                </c:pt>
                <c:pt idx="37">
                  <c:v>1705.0</c:v>
                </c:pt>
                <c:pt idx="38">
                  <c:v>1242.5</c:v>
                </c:pt>
                <c:pt idx="39">
                  <c:v>1650.0</c:v>
                </c:pt>
                <c:pt idx="40">
                  <c:v>1620.0</c:v>
                </c:pt>
                <c:pt idx="41">
                  <c:v>1585.75</c:v>
                </c:pt>
                <c:pt idx="42">
                  <c:v>1542.5</c:v>
                </c:pt>
                <c:pt idx="43">
                  <c:v>1376.0</c:v>
                </c:pt>
                <c:pt idx="44">
                  <c:v>1719.0</c:v>
                </c:pt>
                <c:pt idx="45">
                  <c:v>1519.6</c:v>
                </c:pt>
                <c:pt idx="46">
                  <c:v>1624.5</c:v>
                </c:pt>
                <c:pt idx="47">
                  <c:v>2169.0</c:v>
                </c:pt>
                <c:pt idx="48">
                  <c:v>2221.5</c:v>
                </c:pt>
                <c:pt idx="49">
                  <c:v>1922.25</c:v>
                </c:pt>
                <c:pt idx="50">
                  <c:v>1482.0</c:v>
                </c:pt>
                <c:pt idx="51">
                  <c:v>2197.0</c:v>
                </c:pt>
              </c:numCache>
            </c:numRef>
          </c:xVal>
          <c:yVal>
            <c:numRef>
              <c:f>Sheet1!$B$109:$B$160</c:f>
              <c:numCache>
                <c:formatCode>General</c:formatCode>
                <c:ptCount val="52"/>
                <c:pt idx="0">
                  <c:v>0.4</c:v>
                </c:pt>
                <c:pt idx="1">
                  <c:v>0.3333333333333333</c:v>
                </c:pt>
                <c:pt idx="2">
                  <c:v>0.4375</c:v>
                </c:pt>
                <c:pt idx="3">
                  <c:v>0.47058823529411764</c:v>
                </c:pt>
                <c:pt idx="4">
                  <c:v>0.3181818181818182</c:v>
                </c:pt>
                <c:pt idx="5">
                  <c:v>0.375</c:v>
                </c:pt>
                <c:pt idx="6">
                  <c:v>0.23529411764705882</c:v>
                </c:pt>
                <c:pt idx="7">
                  <c:v>0.22580645161290322</c:v>
                </c:pt>
                <c:pt idx="8">
                  <c:v>0.375</c:v>
                </c:pt>
                <c:pt idx="9">
                  <c:v>0.5</c:v>
                </c:pt>
                <c:pt idx="10">
                  <c:v>0.25</c:v>
                </c:pt>
                <c:pt idx="11">
                  <c:v>0.42857142857142855</c:v>
                </c:pt>
                <c:pt idx="12">
                  <c:v>0.46153846153846156</c:v>
                </c:pt>
                <c:pt idx="13">
                  <c:v>0.5</c:v>
                </c:pt>
                <c:pt idx="14">
                  <c:v>0.5714285714285714</c:v>
                </c:pt>
                <c:pt idx="15">
                  <c:v>0.5555555555555556</c:v>
                </c:pt>
                <c:pt idx="16">
                  <c:v>0.5</c:v>
                </c:pt>
                <c:pt idx="17">
                  <c:v>0.4444444444444444</c:v>
                </c:pt>
                <c:pt idx="18">
                  <c:v>0.5555555555555556</c:v>
                </c:pt>
                <c:pt idx="19">
                  <c:v>0.8</c:v>
                </c:pt>
                <c:pt idx="20">
                  <c:v>0.4</c:v>
                </c:pt>
                <c:pt idx="21">
                  <c:v>0.3333333333333333</c:v>
                </c:pt>
                <c:pt idx="22">
                  <c:v>0.6</c:v>
                </c:pt>
                <c:pt idx="23">
                  <c:v>0.5</c:v>
                </c:pt>
                <c:pt idx="24">
                  <c:v>0.2</c:v>
                </c:pt>
                <c:pt idx="25">
                  <c:v>0.3333333333333333</c:v>
                </c:pt>
                <c:pt idx="26">
                  <c:v>0.6666666666666666</c:v>
                </c:pt>
                <c:pt idx="27">
                  <c:v>0.42857142857142855</c:v>
                </c:pt>
                <c:pt idx="28">
                  <c:v>0.5555555555555556</c:v>
                </c:pt>
                <c:pt idx="29">
                  <c:v>0.3333333333333333</c:v>
                </c:pt>
                <c:pt idx="30">
                  <c:v>0.3333333333333333</c:v>
                </c:pt>
                <c:pt idx="31">
                  <c:v>0.2857142857142857</c:v>
                </c:pt>
                <c:pt idx="32">
                  <c:v>0.42857142857142855</c:v>
                </c:pt>
                <c:pt idx="33">
                  <c:v>0.3076923076923077</c:v>
                </c:pt>
                <c:pt idx="34">
                  <c:v>0.4444444444444444</c:v>
                </c:pt>
                <c:pt idx="35">
                  <c:v>0.6</c:v>
                </c:pt>
                <c:pt idx="36">
                  <c:v>0.6</c:v>
                </c:pt>
                <c:pt idx="37">
                  <c:v>0.3333333333333333</c:v>
                </c:pt>
                <c:pt idx="38">
                  <c:v>0.2857142857142857</c:v>
                </c:pt>
                <c:pt idx="39">
                  <c:v>0.375</c:v>
                </c:pt>
                <c:pt idx="40">
                  <c:v>0.022727272727272728</c:v>
                </c:pt>
                <c:pt idx="41">
                  <c:v>0.11428571428571428</c:v>
                </c:pt>
                <c:pt idx="42">
                  <c:v>0.3076923076923077</c:v>
                </c:pt>
                <c:pt idx="43">
                  <c:v>0.14285714285714285</c:v>
                </c:pt>
                <c:pt idx="44">
                  <c:v>0.23529411764705882</c:v>
                </c:pt>
                <c:pt idx="45">
                  <c:v>0.2777777777777778</c:v>
                </c:pt>
                <c:pt idx="46">
                  <c:v>0.18181818181818182</c:v>
                </c:pt>
                <c:pt idx="47">
                  <c:v>0.2222222222222222</c:v>
                </c:pt>
                <c:pt idx="48">
                  <c:v>0.15384615384615385</c:v>
                </c:pt>
                <c:pt idx="49">
                  <c:v>0.25</c:v>
                </c:pt>
                <c:pt idx="50">
                  <c:v>0.21428571428571427</c:v>
                </c:pt>
                <c:pt idx="51">
                  <c:v>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55.4605093997648</c:v>
                </c:pt>
              </c:numCache>
            </c:numRef>
          </c:xVal>
          <c:yVal>
            <c:numRef>
              <c:f>Sheet1!$B$163:$B$164</c:f>
              <c:numCache>
                <c:formatCode>General</c:formatCode>
                <c:ptCount val="2"/>
                <c:pt idx="0">
                  <c:v>0.49340659340659343</c:v>
                </c:pt>
                <c:pt idx="1">
                  <c:v>0.493406593406593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55.4605093997648</c:v>
                </c:pt>
                <c:pt idx="1">
                  <c:v>1155.4605093997648</c:v>
                </c:pt>
              </c:numCache>
            </c:numRef>
          </c:xVal>
          <c:yVal>
            <c:numRef>
              <c:f>Sheet1!$B$167:$B$168</c:f>
              <c:numCache>
                <c:formatCode>General</c:formatCode>
                <c:ptCount val="2"/>
                <c:pt idx="0">
                  <c:v>0.493406593406593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2.6441329482557</c:v>
                </c:pt>
              </c:numCache>
            </c:numRef>
          </c:xVal>
          <c:yVal>
            <c:numRef>
              <c:f>Sheet1!$B$171:$B$172</c:f>
              <c:numCache>
                <c:formatCode>General</c:formatCode>
                <c:ptCount val="2"/>
                <c:pt idx="0">
                  <c:v>0.4846482577251808</c:v>
                </c:pt>
                <c:pt idx="1">
                  <c:v>0.48464825772518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2.6441329482557</c:v>
                </c:pt>
                <c:pt idx="1">
                  <c:v>1182.6441329482557</c:v>
                </c:pt>
              </c:numCache>
            </c:numRef>
          </c:xVal>
          <c:yVal>
            <c:numRef>
              <c:f>Sheet1!$B$175:$B$176</c:f>
              <c:numCache>
                <c:formatCode>General</c:formatCode>
                <c:ptCount val="2"/>
                <c:pt idx="0">
                  <c:v>0.48464825772518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042.7679113750035</c:v>
                </c:pt>
              </c:numCache>
            </c:numRef>
          </c:xVal>
          <c:yVal>
            <c:numRef>
              <c:f>Sheet1!$B$179:$B$180</c:f>
              <c:numCache>
                <c:formatCode>General</c:formatCode>
                <c:ptCount val="2"/>
                <c:pt idx="0">
                  <c:v>0.2075235850122728</c:v>
                </c:pt>
                <c:pt idx="1">
                  <c:v>0.207523585012272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042.7679113750035</c:v>
                </c:pt>
                <c:pt idx="1">
                  <c:v>2042.7679113750035</c:v>
                </c:pt>
              </c:numCache>
            </c:numRef>
          </c:xVal>
          <c:yVal>
            <c:numRef>
              <c:f>Sheet1!$B$183:$B$184</c:f>
              <c:numCache>
                <c:formatCode>General</c:formatCode>
                <c:ptCount val="2"/>
                <c:pt idx="0">
                  <c:v>0.20752358501227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611.0</c:v>
                </c:pt>
                <c:pt idx="1">
                  <c:v>1786.5</c:v>
                </c:pt>
                <c:pt idx="2">
                  <c:v>1304.2857</c:v>
                </c:pt>
                <c:pt idx="3">
                  <c:v>1510.25</c:v>
                </c:pt>
                <c:pt idx="4">
                  <c:v>1687.4286</c:v>
                </c:pt>
                <c:pt idx="5">
                  <c:v>1619.8333</c:v>
                </c:pt>
                <c:pt idx="6">
                  <c:v>1605.875</c:v>
                </c:pt>
                <c:pt idx="7">
                  <c:v>1325.1429</c:v>
                </c:pt>
                <c:pt idx="8">
                  <c:v>1776.6667</c:v>
                </c:pt>
                <c:pt idx="9">
                  <c:v>1327.5</c:v>
                </c:pt>
                <c:pt idx="10">
                  <c:v>1431.0</c:v>
                </c:pt>
                <c:pt idx="11">
                  <c:v>1469.8333</c:v>
                </c:pt>
                <c:pt idx="12">
                  <c:v>1518.6667</c:v>
                </c:pt>
                <c:pt idx="13">
                  <c:v>1419.4</c:v>
                </c:pt>
                <c:pt idx="14">
                  <c:v>1460.25</c:v>
                </c:pt>
                <c:pt idx="15">
                  <c:v>1412.2</c:v>
                </c:pt>
                <c:pt idx="16">
                  <c:v>1612.25</c:v>
                </c:pt>
                <c:pt idx="17">
                  <c:v>1540.0</c:v>
                </c:pt>
                <c:pt idx="18">
                  <c:v>1235.0</c:v>
                </c:pt>
                <c:pt idx="19">
                  <c:v>1198.0</c:v>
                </c:pt>
                <c:pt idx="20">
                  <c:v>1338.75</c:v>
                </c:pt>
                <c:pt idx="21">
                  <c:v>1432.5</c:v>
                </c:pt>
                <c:pt idx="22">
                  <c:v>1215.0</c:v>
                </c:pt>
                <c:pt idx="23">
                  <c:v>1220.0</c:v>
                </c:pt>
                <c:pt idx="24">
                  <c:v>1558.0</c:v>
                </c:pt>
                <c:pt idx="25">
                  <c:v>1168.5</c:v>
                </c:pt>
                <c:pt idx="26">
                  <c:v>1362.5</c:v>
                </c:pt>
                <c:pt idx="27">
                  <c:v>1513.6667</c:v>
                </c:pt>
                <c:pt idx="28">
                  <c:v>1446.6</c:v>
                </c:pt>
                <c:pt idx="29">
                  <c:v>1789.5</c:v>
                </c:pt>
                <c:pt idx="30">
                  <c:v>1300.6667</c:v>
                </c:pt>
                <c:pt idx="31">
                  <c:v>1320.5</c:v>
                </c:pt>
                <c:pt idx="32">
                  <c:v>1592.6667</c:v>
                </c:pt>
                <c:pt idx="33">
                  <c:v>1661.5</c:v>
                </c:pt>
                <c:pt idx="34">
                  <c:v>1372.0</c:v>
                </c:pt>
                <c:pt idx="35">
                  <c:v>1401.3333</c:v>
                </c:pt>
                <c:pt idx="36">
                  <c:v>1367.0</c:v>
                </c:pt>
                <c:pt idx="37">
                  <c:v>1705.0</c:v>
                </c:pt>
                <c:pt idx="38">
                  <c:v>1242.5</c:v>
                </c:pt>
                <c:pt idx="39">
                  <c:v>1650.0</c:v>
                </c:pt>
                <c:pt idx="40">
                  <c:v>1620.0</c:v>
                </c:pt>
                <c:pt idx="41">
                  <c:v>1585.75</c:v>
                </c:pt>
                <c:pt idx="42">
                  <c:v>1542.5</c:v>
                </c:pt>
                <c:pt idx="43">
                  <c:v>1376.0</c:v>
                </c:pt>
                <c:pt idx="44">
                  <c:v>1719.0</c:v>
                </c:pt>
                <c:pt idx="45">
                  <c:v>1519.6</c:v>
                </c:pt>
                <c:pt idx="46">
                  <c:v>1624.5</c:v>
                </c:pt>
                <c:pt idx="47">
                  <c:v>2169.0</c:v>
                </c:pt>
                <c:pt idx="48">
                  <c:v>2221.5</c:v>
                </c:pt>
                <c:pt idx="49">
                  <c:v>1922.25</c:v>
                </c:pt>
                <c:pt idx="50">
                  <c:v>1482.0</c:v>
                </c:pt>
                <c:pt idx="51">
                  <c:v>2197.0</c:v>
                </c:pt>
                <c:pt idx="52">
                  <c:v>1182.6441329482557</c:v>
                </c:pt>
                <c:pt idx="53">
                  <c:v>1155.4605093997648</c:v>
                </c:pt>
                <c:pt idx="54">
                  <c:v>2042.7679113750035</c:v>
                </c:pt>
              </c:numCache>
            </c:numRef>
          </c:xVal>
          <c:yVal>
            <c:numRef>
              <c:f>Sheet1!$B$187:$B$241</c:f>
              <c:numCache>
                <c:formatCode>General</c:formatCode>
                <c:ptCount val="55"/>
                <c:pt idx="0">
                  <c:v>0.3466355874110345</c:v>
                </c:pt>
                <c:pt idx="1">
                  <c:v>0.2900909582762903</c:v>
                </c:pt>
                <c:pt idx="2">
                  <c:v>0.445456364298913</c:v>
                </c:pt>
                <c:pt idx="3">
                  <c:v>0.3790963930254247</c:v>
                </c:pt>
                <c:pt idx="4">
                  <c:v>0.3220109330390247</c:v>
                </c:pt>
                <c:pt idx="5">
                  <c:v>0.3437895721829095</c:v>
                </c:pt>
                <c:pt idx="6">
                  <c:v>0.34828681945841655</c:v>
                </c:pt>
                <c:pt idx="7">
                  <c:v>0.43873634926307714</c:v>
                </c:pt>
                <c:pt idx="8">
                  <c:v>0.29325916512341665</c:v>
                </c:pt>
                <c:pt idx="9">
                  <c:v>0.437976911397929</c:v>
                </c:pt>
                <c:pt idx="10">
                  <c:v>0.40463007883128493</c:v>
                </c:pt>
                <c:pt idx="11">
                  <c:v>0.3921183150331182</c:v>
                </c:pt>
                <c:pt idx="12">
                  <c:v>0.3763846028257757</c:v>
                </c:pt>
                <c:pt idx="13">
                  <c:v>0.40836750161170104</c:v>
                </c:pt>
                <c:pt idx="14">
                  <c:v>0.39520597397549423</c:v>
                </c:pt>
                <c:pt idx="15">
                  <c:v>0.4106872812685111</c:v>
                </c:pt>
                <c:pt idx="16">
                  <c:v>0.3462328478872827</c:v>
                </c:pt>
                <c:pt idx="17">
                  <c:v>0.36951119236013324</c:v>
                </c:pt>
                <c:pt idx="18">
                  <c:v>0.4677796361555577</c:v>
                </c:pt>
                <c:pt idx="19">
                  <c:v>0.4797007260586092</c:v>
                </c:pt>
                <c:pt idx="20">
                  <c:v>0.4343522556841633</c:v>
                </c:pt>
                <c:pt idx="21">
                  <c:v>0.40414679140278287</c:v>
                </c:pt>
                <c:pt idx="22">
                  <c:v>0.4742234685355855</c:v>
                </c:pt>
                <c:pt idx="23">
                  <c:v>0.47261251044057856</c:v>
                </c:pt>
                <c:pt idx="24">
                  <c:v>0.3637117432181082</c:v>
                </c:pt>
                <c:pt idx="25">
                  <c:v>0.4892053788191502</c:v>
                </c:pt>
                <c:pt idx="26">
                  <c:v>0.4267002047328803</c:v>
                </c:pt>
                <c:pt idx="27">
                  <c:v>0.3779955609207826</c:v>
                </c:pt>
                <c:pt idx="28">
                  <c:v>0.39960388957486326</c:v>
                </c:pt>
                <c:pt idx="29">
                  <c:v>0.28912438341928604</c:v>
                </c:pt>
                <c:pt idx="30">
                  <c:v>0.446622375768079</c:v>
                </c:pt>
                <c:pt idx="31">
                  <c:v>0.4402322527309387</c:v>
                </c:pt>
                <c:pt idx="32">
                  <c:v>0.35254242301967265</c:v>
                </c:pt>
                <c:pt idx="33">
                  <c:v>0.3303649106514642</c:v>
                </c:pt>
                <c:pt idx="34">
                  <c:v>0.42363938435236703</c:v>
                </c:pt>
                <c:pt idx="35">
                  <c:v>0.4141884409347135</c:v>
                </c:pt>
                <c:pt idx="36">
                  <c:v>0.42525034244737403</c:v>
                </c:pt>
                <c:pt idx="37">
                  <c:v>0.3163495752249037</c:v>
                </c:pt>
                <c:pt idx="38">
                  <c:v>0.46536319901304724</c:v>
                </c:pt>
                <c:pt idx="39">
                  <c:v>0.33407011426998023</c:v>
                </c:pt>
                <c:pt idx="40">
                  <c:v>0.343735862840022</c:v>
                </c:pt>
                <c:pt idx="41">
                  <c:v>0.3547709257908196</c:v>
                </c:pt>
                <c:pt idx="42">
                  <c:v>0.3687057133126298</c:v>
                </c:pt>
                <c:pt idx="43">
                  <c:v>0.42235061787636147</c:v>
                </c:pt>
                <c:pt idx="44">
                  <c:v>0.3118388925588842</c:v>
                </c:pt>
                <c:pt idx="45">
                  <c:v>0.3760839013877617</c:v>
                </c:pt>
                <c:pt idx="46">
                  <c:v>0.34228600055451563</c:v>
                </c:pt>
                <c:pt idx="47">
                  <c:v>0.16685266400825804</c:v>
                </c:pt>
                <c:pt idx="48">
                  <c:v>0.1499376040106849</c:v>
                </c:pt>
                <c:pt idx="49">
                  <c:v>0.24635344599685138</c:v>
                </c:pt>
                <c:pt idx="50">
                  <c:v>0.38819830626221397</c:v>
                </c:pt>
                <c:pt idx="51">
                  <c:v>0.15783129867621903</c:v>
                </c:pt>
                <c:pt idx="52">
                  <c:v>0.48464825772518083</c:v>
                </c:pt>
                <c:pt idx="53">
                  <c:v>0.49340659340659343</c:v>
                </c:pt>
                <c:pt idx="54">
                  <c:v>0.2075235850122727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66.0"/>
          <c:min val="68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
          <c:min val="0.0181818181818181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41638023643996</c:v>
                </c:pt>
                <c:pt idx="1">
                  <c:v>0.5666341779839017</c:v>
                </c:pt>
                <c:pt idx="2">
                  <c:v>0.5667525959129748</c:v>
                </c:pt>
                <c:pt idx="3">
                  <c:v>0.5646301053247103</c:v>
                </c:pt>
                <c:pt idx="4">
                  <c:v>0.5776629800288461</c:v>
                </c:pt>
                <c:pt idx="5">
                  <c:v>0.6255701887616177</c:v>
                </c:pt>
                <c:pt idx="6">
                  <c:v>0.6698150129728243</c:v>
                </c:pt>
                <c:pt idx="7">
                  <c:v>0.6227154518130189</c:v>
                </c:pt>
                <c:pt idx="8">
                  <c:v>0.6242136077058718</c:v>
                </c:pt>
                <c:pt idx="9">
                  <c:v>0.6722907398548684</c:v>
                </c:pt>
                <c:pt idx="10">
                  <c:v>0.7192866545447975</c:v>
                </c:pt>
                <c:pt idx="11">
                  <c:v>0.7012369368972852</c:v>
                </c:pt>
                <c:pt idx="12">
                  <c:v>0.7071026340777936</c:v>
                </c:pt>
                <c:pt idx="13">
                  <c:v>0.760679117118467</c:v>
                </c:pt>
                <c:pt idx="14">
                  <c:v>0.6975228425322576</c:v>
                </c:pt>
                <c:pt idx="15">
                  <c:v>0.7083472377984117</c:v>
                </c:pt>
                <c:pt idx="16">
                  <c:v>0.7150717601597893</c:v>
                </c:pt>
                <c:pt idx="17">
                  <c:v>0.7340289128088885</c:v>
                </c:pt>
                <c:pt idx="18">
                  <c:v>0.7463702082175268</c:v>
                </c:pt>
                <c:pt idx="19">
                  <c:v>0.6777455583607606</c:v>
                </c:pt>
                <c:pt idx="20">
                  <c:v>0.725479655502816</c:v>
                </c:pt>
                <c:pt idx="21">
                  <c:v>0.6703144183799662</c:v>
                </c:pt>
                <c:pt idx="22">
                  <c:v>0.5454879973635192</c:v>
                </c:pt>
                <c:pt idx="23">
                  <c:v>0.5484752620683362</c:v>
                </c:pt>
                <c:pt idx="24">
                  <c:v>0.5941086927218513</c:v>
                </c:pt>
                <c:pt idx="25">
                  <c:v>0.5606372527298623</c:v>
                </c:pt>
                <c:pt idx="26">
                  <c:v>0.561591489502598</c:v>
                </c:pt>
                <c:pt idx="27">
                  <c:v>0.6110317695954781</c:v>
                </c:pt>
                <c:pt idx="28">
                  <c:v>0.5751634781464912</c:v>
                </c:pt>
                <c:pt idx="29">
                  <c:v>0.575490569603184</c:v>
                </c:pt>
                <c:pt idx="30">
                  <c:v>0.539735186911077</c:v>
                </c:pt>
                <c:pt idx="31">
                  <c:v>0.5360949335645655</c:v>
                </c:pt>
                <c:pt idx="32">
                  <c:v>0.5672166389062446</c:v>
                </c:pt>
                <c:pt idx="33">
                  <c:v>0.5744984749334734</c:v>
                </c:pt>
                <c:pt idx="34">
                  <c:v>0.5891236337393951</c:v>
                </c:pt>
                <c:pt idx="35">
                  <c:v>0.5847521347280116</c:v>
                </c:pt>
                <c:pt idx="36">
                  <c:v>0.7920112923612965</c:v>
                </c:pt>
                <c:pt idx="37">
                  <c:v>0.7513218289392841</c:v>
                </c:pt>
                <c:pt idx="38">
                  <c:v>0.7288454039490943</c:v>
                </c:pt>
                <c:pt idx="39">
                  <c:v>0.8870975203980984</c:v>
                </c:pt>
                <c:pt idx="40">
                  <c:v>0.7161200639252998</c:v>
                </c:pt>
                <c:pt idx="41">
                  <c:v>0.8345158687961589</c:v>
                </c:pt>
                <c:pt idx="42">
                  <c:v>0.7518097213335276</c:v>
                </c:pt>
                <c:pt idx="43">
                  <c:v>0.7569605205856798</c:v>
                </c:pt>
                <c:pt idx="44">
                  <c:v>0.8266501948961165</c:v>
                </c:pt>
                <c:pt idx="45">
                  <c:v>0.8287465085976297</c:v>
                </c:pt>
                <c:pt idx="46">
                  <c:v>0.8590326366590025</c:v>
                </c:pt>
                <c:pt idx="47">
                  <c:v>0.8822417867313066</c:v>
                </c:pt>
                <c:pt idx="48">
                  <c:v>0.8508233068694597</c:v>
                </c:pt>
                <c:pt idx="49">
                  <c:v>0.8452049327565015</c:v>
                </c:pt>
                <c:pt idx="50">
                  <c:v>0.8419956545294409</c:v>
                </c:pt>
                <c:pt idx="51">
                  <c:v>0.8644791629913919</c:v>
                </c:pt>
                <c:pt idx="52">
                  <c:v>0.870752860746985</c:v>
                </c:pt>
                <c:pt idx="53">
                  <c:v>0.7955139256168223</c:v>
                </c:pt>
                <c:pt idx="54">
                  <c:v>0.77067799872759</c:v>
                </c:pt>
                <c:pt idx="55">
                  <c:v>0.8214285595568438</c:v>
                </c:pt>
                <c:pt idx="56">
                  <c:v>0.7842194752449716</c:v>
                </c:pt>
                <c:pt idx="57">
                  <c:v>0.747847074922818</c:v>
                </c:pt>
                <c:pt idx="58">
                  <c:v>0.7539266182777126</c:v>
                </c:pt>
                <c:pt idx="59">
                  <c:v>0.7859651187631942</c:v>
                </c:pt>
                <c:pt idx="60">
                  <c:v>0.770414580542267</c:v>
                </c:pt>
                <c:pt idx="61">
                  <c:v>0.9326937109189724</c:v>
                </c:pt>
                <c:pt idx="62">
                  <c:v>0.9642541661880222</c:v>
                </c:pt>
                <c:pt idx="63">
                  <c:v>0.9315746592780709</c:v>
                </c:pt>
                <c:pt idx="64">
                  <c:v>0.9128450820789267</c:v>
                </c:pt>
                <c:pt idx="65">
                  <c:v>0.9079674705999601</c:v>
                </c:pt>
                <c:pt idx="66">
                  <c:v>0.9343328933404149</c:v>
                </c:pt>
                <c:pt idx="67">
                  <c:v>0.9097112766568972</c:v>
                </c:pt>
                <c:pt idx="68">
                  <c:v>0.9120515528578788</c:v>
                </c:pt>
                <c:pt idx="69">
                  <c:v>0.879625469712285</c:v>
                </c:pt>
                <c:pt idx="70">
                  <c:v>0.9639030720523716</c:v>
                </c:pt>
                <c:pt idx="71">
                  <c:v>0.7513210816831783</c:v>
                </c:pt>
                <c:pt idx="72">
                  <c:v>0.7623855670016721</c:v>
                </c:pt>
                <c:pt idx="73">
                  <c:v>0.7613317102941937</c:v>
                </c:pt>
                <c:pt idx="74">
                  <c:v>0.7391650247993737</c:v>
                </c:pt>
                <c:pt idx="75">
                  <c:v>0.6913004226003111</c:v>
                </c:pt>
                <c:pt idx="76">
                  <c:v>0.7749276227730103</c:v>
                </c:pt>
                <c:pt idx="77">
                  <c:v>0.7239367894910703</c:v>
                </c:pt>
                <c:pt idx="78">
                  <c:v>0.7761284584398858</c:v>
                </c:pt>
                <c:pt idx="79">
                  <c:v>0.7288542654197123</c:v>
                </c:pt>
                <c:pt idx="80">
                  <c:v>0.7573711374071992</c:v>
                </c:pt>
                <c:pt idx="81">
                  <c:v>0.5451538297764243</c:v>
                </c:pt>
                <c:pt idx="82">
                  <c:v>0.49603123646645547</c:v>
                </c:pt>
                <c:pt idx="83">
                  <c:v>0.5006049202932736</c:v>
                </c:pt>
                <c:pt idx="84">
                  <c:v>0.4685562353615454</c:v>
                </c:pt>
                <c:pt idx="85">
                  <c:v>0.5069912959107049</c:v>
                </c:pt>
                <c:pt idx="86">
                  <c:v>0.5222160542973393</c:v>
                </c:pt>
                <c:pt idx="87">
                  <c:v>0.5085371044225697</c:v>
                </c:pt>
                <c:pt idx="88">
                  <c:v>0.4591140339992555</c:v>
                </c:pt>
                <c:pt idx="89">
                  <c:v>0.457320343751814</c:v>
                </c:pt>
                <c:pt idx="90">
                  <c:v>0.4471620457856682</c:v>
                </c:pt>
                <c:pt idx="91">
                  <c:v>0.41028217472807466</c:v>
                </c:pt>
                <c:pt idx="92">
                  <c:v>0.4427545135698541</c:v>
                </c:pt>
                <c:pt idx="93">
                  <c:v>0.4303161196453053</c:v>
                </c:pt>
                <c:pt idx="94">
                  <c:v>0.44151091518848523</c:v>
                </c:pt>
                <c:pt idx="95">
                  <c:v>0.45641928403883536</c:v>
                </c:pt>
                <c:pt idx="96">
                  <c:v>0.49994864696339875</c:v>
                </c:pt>
                <c:pt idx="97">
                  <c:v>0.549154251123544</c:v>
                </c:pt>
                <c:pt idx="98">
                  <c:v>0.5598371709355509</c:v>
                </c:pt>
                <c:pt idx="99">
                  <c:v>0.6985707630051052</c:v>
                </c:pt>
                <c:pt idx="100">
                  <c:v>0.6737447989238211</c:v>
                </c:pt>
                <c:pt idx="101">
                  <c:v>0.7078337776500562</c:v>
                </c:pt>
                <c:pt idx="102">
                  <c:v>0.5155102077190798</c:v>
                </c:pt>
                <c:pt idx="103">
                  <c:v>0.46000459864353344</c:v>
                </c:pt>
                <c:pt idx="104">
                  <c:v>0.40518824187595964</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9984315749828164</c:v>
                </c:pt>
                <c:pt idx="1">
                  <c:v>0.3835971069903816</c:v>
                </c:pt>
                <c:pt idx="2">
                  <c:v>0.40255213976217985</c:v>
                </c:pt>
                <c:pt idx="3">
                  <c:v>0.39048432829422186</c:v>
                </c:pt>
                <c:pt idx="4">
                  <c:v>0.3856969368978687</c:v>
                </c:pt>
                <c:pt idx="5">
                  <c:v>0.4152280900282091</c:v>
                </c:pt>
                <c:pt idx="6">
                  <c:v>0.44730701527706807</c:v>
                </c:pt>
                <c:pt idx="7">
                  <c:v>0.44427083420650715</c:v>
                </c:pt>
                <c:pt idx="8">
                  <c:v>0.547197241960709</c:v>
                </c:pt>
                <c:pt idx="9">
                  <c:v>0.4138881208868458</c:v>
                </c:pt>
                <c:pt idx="10">
                  <c:v>0.4974860441432474</c:v>
                </c:pt>
                <c:pt idx="11">
                  <c:v>0.489452261533179</c:v>
                </c:pt>
                <c:pt idx="12">
                  <c:v>0.47471128842720267</c:v>
                </c:pt>
                <c:pt idx="13">
                  <c:v>0.40172517091437954</c:v>
                </c:pt>
                <c:pt idx="14">
                  <c:v>0.40287546208136166</c:v>
                </c:pt>
                <c:pt idx="15">
                  <c:v>0.4134470481169607</c:v>
                </c:pt>
                <c:pt idx="16">
                  <c:v>0.47246187474746204</c:v>
                </c:pt>
                <c:pt idx="17">
                  <c:v>0.4977122626284661</c:v>
                </c:pt>
                <c:pt idx="18">
                  <c:v>0.4283151321850537</c:v>
                </c:pt>
                <c:pt idx="19">
                  <c:v>0.407048790848558</c:v>
                </c:pt>
                <c:pt idx="20">
                  <c:v>0.43127363754750864</c:v>
                </c:pt>
                <c:pt idx="21">
                  <c:v>0.5848183008159441</c:v>
                </c:pt>
                <c:pt idx="22">
                  <c:v>0.40587554630465633</c:v>
                </c:pt>
                <c:pt idx="23">
                  <c:v>0.5144318348981408</c:v>
                </c:pt>
                <c:pt idx="24">
                  <c:v>0.44557061338717074</c:v>
                </c:pt>
                <c:pt idx="25">
                  <c:v>0.5150605356298434</c:v>
                </c:pt>
                <c:pt idx="26">
                  <c:v>0.4449257166434608</c:v>
                </c:pt>
                <c:pt idx="27">
                  <c:v>0.418649711583862</c:v>
                </c:pt>
                <c:pt idx="28">
                  <c:v>0.551700738210069</c:v>
                </c:pt>
                <c:pt idx="29">
                  <c:v>0.5321598238611227</c:v>
                </c:pt>
                <c:pt idx="30">
                  <c:v>0.5178665254074437</c:v>
                </c:pt>
                <c:pt idx="31">
                  <c:v>0.2743865140472485</c:v>
                </c:pt>
                <c:pt idx="32">
                  <c:v>0.6410108674187278</c:v>
                </c:pt>
                <c:pt idx="33">
                  <c:v>0.3623448755656663</c:v>
                </c:pt>
                <c:pt idx="34">
                  <c:v>0.44489008433325244</c:v>
                </c:pt>
                <c:pt idx="35">
                  <c:v>0.4175572859380428</c:v>
                </c:pt>
                <c:pt idx="36">
                  <c:v>0.38737486832452145</c:v>
                </c:pt>
                <c:pt idx="37">
                  <c:v>0.23846762202121927</c:v>
                </c:pt>
                <c:pt idx="38">
                  <c:v>0.22101810000188843</c:v>
                </c:pt>
                <c:pt idx="39">
                  <c:v>0.244256541161455</c:v>
                </c:pt>
                <c:pt idx="40">
                  <c:v>0.21839744435625388</c:v>
                </c:pt>
                <c:pt idx="41">
                  <c:v>0.2495879991681447</c:v>
                </c:pt>
                <c:pt idx="42">
                  <c:v>0.21007547320775632</c:v>
                </c:pt>
                <c:pt idx="43">
                  <c:v>0.2713914976584876</c:v>
                </c:pt>
                <c:pt idx="44">
                  <c:v>0.28475472685984193</c:v>
                </c:pt>
                <c:pt idx="45">
                  <c:v>0.1737580999762998</c:v>
                </c:pt>
                <c:pt idx="46">
                  <c:v>0.2899057793316088</c:v>
                </c:pt>
                <c:pt idx="47">
                  <c:v>0.26525474739589283</c:v>
                </c:pt>
                <c:pt idx="48">
                  <c:v>0.37383000946511064</c:v>
                </c:pt>
                <c:pt idx="49">
                  <c:v>0.35407777964954273</c:v>
                </c:pt>
                <c:pt idx="50">
                  <c:v>0.2736730286814321</c:v>
                </c:pt>
                <c:pt idx="51">
                  <c:v>0.3393373193488468</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6965886476717826</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6965886476717826</c:v>
                </c:pt>
                <c:pt idx="1">
                  <c:v>-0.26965886476717826</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711155078016713</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711155078016713</c:v>
                </c:pt>
                <c:pt idx="1">
                  <c:v>0.09711155078016713</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770424763013353</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770424763013353</c:v>
                </c:pt>
                <c:pt idx="1">
                  <c:v>0.4770424763013353</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9984315749828164</c:v>
                </c:pt>
                <c:pt idx="1">
                  <c:v>0.3835971069903816</c:v>
                </c:pt>
                <c:pt idx="2">
                  <c:v>0.40255213976217985</c:v>
                </c:pt>
                <c:pt idx="3">
                  <c:v>0.39048432829422186</c:v>
                </c:pt>
                <c:pt idx="4">
                  <c:v>0.3856969368978687</c:v>
                </c:pt>
                <c:pt idx="5">
                  <c:v>0.4152280900282091</c:v>
                </c:pt>
                <c:pt idx="6">
                  <c:v>0.44730701527706807</c:v>
                </c:pt>
                <c:pt idx="7">
                  <c:v>0.44427083420650715</c:v>
                </c:pt>
                <c:pt idx="8">
                  <c:v>0.547197241960709</c:v>
                </c:pt>
                <c:pt idx="9">
                  <c:v>0.4138881208868458</c:v>
                </c:pt>
                <c:pt idx="10">
                  <c:v>0.4974860441432474</c:v>
                </c:pt>
                <c:pt idx="11">
                  <c:v>0.489452261533179</c:v>
                </c:pt>
                <c:pt idx="12">
                  <c:v>0.47471128842720267</c:v>
                </c:pt>
                <c:pt idx="13">
                  <c:v>0.40172517091437954</c:v>
                </c:pt>
                <c:pt idx="14">
                  <c:v>0.40287546208136166</c:v>
                </c:pt>
                <c:pt idx="15">
                  <c:v>0.4134470481169607</c:v>
                </c:pt>
                <c:pt idx="16">
                  <c:v>0.47246187474746204</c:v>
                </c:pt>
                <c:pt idx="17">
                  <c:v>0.4977122626284661</c:v>
                </c:pt>
                <c:pt idx="18">
                  <c:v>0.4283151321850537</c:v>
                </c:pt>
                <c:pt idx="19">
                  <c:v>0.407048790848558</c:v>
                </c:pt>
                <c:pt idx="20">
                  <c:v>0.43127363754750864</c:v>
                </c:pt>
                <c:pt idx="21">
                  <c:v>0.5848183008159441</c:v>
                </c:pt>
                <c:pt idx="22">
                  <c:v>0.40587554630465633</c:v>
                </c:pt>
                <c:pt idx="23">
                  <c:v>0.5144318348981408</c:v>
                </c:pt>
                <c:pt idx="24">
                  <c:v>0.44557061338717074</c:v>
                </c:pt>
                <c:pt idx="25">
                  <c:v>0.5150605356298434</c:v>
                </c:pt>
                <c:pt idx="26">
                  <c:v>0.4449257166434608</c:v>
                </c:pt>
                <c:pt idx="27">
                  <c:v>0.418649711583862</c:v>
                </c:pt>
                <c:pt idx="28">
                  <c:v>0.551700738210069</c:v>
                </c:pt>
                <c:pt idx="29">
                  <c:v>0.5321598238611227</c:v>
                </c:pt>
                <c:pt idx="30">
                  <c:v>0.5178665254074437</c:v>
                </c:pt>
                <c:pt idx="31">
                  <c:v>0.2743865140472485</c:v>
                </c:pt>
                <c:pt idx="32">
                  <c:v>0.6410108674187278</c:v>
                </c:pt>
                <c:pt idx="33">
                  <c:v>0.3623448755656663</c:v>
                </c:pt>
                <c:pt idx="34">
                  <c:v>0.44489008433325244</c:v>
                </c:pt>
                <c:pt idx="35">
                  <c:v>0.4175572859380428</c:v>
                </c:pt>
                <c:pt idx="36">
                  <c:v>0.38737486832452145</c:v>
                </c:pt>
                <c:pt idx="37">
                  <c:v>0.23846762202121927</c:v>
                </c:pt>
                <c:pt idx="38">
                  <c:v>0.22101810000188843</c:v>
                </c:pt>
                <c:pt idx="39">
                  <c:v>0.244256541161455</c:v>
                </c:pt>
                <c:pt idx="40">
                  <c:v>0.21839744435625388</c:v>
                </c:pt>
                <c:pt idx="41">
                  <c:v>0.2495879991681447</c:v>
                </c:pt>
                <c:pt idx="42">
                  <c:v>0.21007547320775632</c:v>
                </c:pt>
                <c:pt idx="43">
                  <c:v>0.2713914976584876</c:v>
                </c:pt>
                <c:pt idx="44">
                  <c:v>0.28475472685984193</c:v>
                </c:pt>
                <c:pt idx="45">
                  <c:v>0.1737580999762998</c:v>
                </c:pt>
                <c:pt idx="46">
                  <c:v>0.2899057793316088</c:v>
                </c:pt>
                <c:pt idx="47">
                  <c:v>0.26525474739589283</c:v>
                </c:pt>
                <c:pt idx="48">
                  <c:v>0.37383000946511064</c:v>
                </c:pt>
                <c:pt idx="49">
                  <c:v>0.35407777964954273</c:v>
                </c:pt>
                <c:pt idx="50">
                  <c:v>0.2736730286814321</c:v>
                </c:pt>
                <c:pt idx="51">
                  <c:v>0.3393373193488468</c:v>
                </c:pt>
                <c:pt idx="52">
                  <c:v>0.09711155078016713</c:v>
                </c:pt>
                <c:pt idx="53">
                  <c:v>-0.26965886476717826</c:v>
                </c:pt>
                <c:pt idx="54">
                  <c:v>0.4770424763013353</c:v>
                </c:pt>
              </c:numCache>
            </c:numRef>
          </c:xVal>
          <c:yVal>
            <c:numRef>
              <c:f>Sheet1!$B$187:$B$241</c:f>
              <c:numCache>
                <c:formatCode>General</c:formatCode>
                <c:ptCount val="55"/>
                <c:pt idx="0">
                  <c:v>0.010750292631242475</c:v>
                </c:pt>
                <c:pt idx="1">
                  <c:v>0.011109071875465969</c:v>
                </c:pt>
                <c:pt idx="2">
                  <c:v>0.010690467222674182</c:v>
                </c:pt>
                <c:pt idx="3">
                  <c:v>0.01095697385921333</c:v>
                </c:pt>
                <c:pt idx="4">
                  <c:v>0.0110626990424602</c:v>
                </c:pt>
                <c:pt idx="5">
                  <c:v>0.01041053039408627</c:v>
                </c:pt>
                <c:pt idx="6">
                  <c:v>0.009702096516529942</c:v>
                </c:pt>
                <c:pt idx="7">
                  <c:v>0.009769147813046091</c:v>
                </c:pt>
                <c:pt idx="8">
                  <c:v>0.00749611174395751</c:v>
                </c:pt>
                <c:pt idx="9">
                  <c:v>0.01044012239342096</c:v>
                </c:pt>
                <c:pt idx="10">
                  <c:v>0.008593938318713053</c:v>
                </c:pt>
                <c:pt idx="11">
                  <c:v>0.008771357098230854</c:v>
                </c:pt>
                <c:pt idx="12">
                  <c:v>0.00909689807740664</c:v>
                </c:pt>
                <c:pt idx="13">
                  <c:v>0.010708730077271727</c:v>
                </c:pt>
                <c:pt idx="14">
                  <c:v>0.010683326943425374</c:v>
                </c:pt>
                <c:pt idx="15">
                  <c:v>0.010449863084239938</c:v>
                </c:pt>
                <c:pt idx="16">
                  <c:v>0.009146574331925906</c:v>
                </c:pt>
                <c:pt idx="17">
                  <c:v>0.008588942489288745</c:v>
                </c:pt>
                <c:pt idx="18">
                  <c:v>0.010121514975115951</c:v>
                </c:pt>
                <c:pt idx="19">
                  <c:v>0.010591162774647075</c:v>
                </c:pt>
                <c:pt idx="20">
                  <c:v>0.010056179075941158</c:v>
                </c:pt>
                <c:pt idx="21">
                  <c:v>0.006665284888137675</c:v>
                </c:pt>
                <c:pt idx="22">
                  <c:v>0.010617072812938885</c:v>
                </c:pt>
                <c:pt idx="23">
                  <c:v>0.008219705947783658</c:v>
                </c:pt>
                <c:pt idx="24">
                  <c:v>0.009740443372427176</c:v>
                </c:pt>
                <c:pt idx="25">
                  <c:v>0.008205821664138637</c:v>
                </c:pt>
                <c:pt idx="26">
                  <c:v>0.00975468533026166</c:v>
                </c:pt>
                <c:pt idx="27">
                  <c:v>0.010334966995144539</c:v>
                </c:pt>
                <c:pt idx="28">
                  <c:v>0.007396656126733925</c:v>
                </c:pt>
                <c:pt idx="29">
                  <c:v>0.00782819944110081</c:v>
                </c:pt>
                <c:pt idx="30">
                  <c:v>0.008143853932891174</c:v>
                </c:pt>
                <c:pt idx="31">
                  <c:v>0.013520888456873457</c:v>
                </c:pt>
                <c:pt idx="32">
                  <c:v>0.005424323180741689</c:v>
                </c:pt>
                <c:pt idx="33">
                  <c:v>0.01157840807043313</c:v>
                </c:pt>
                <c:pt idx="34">
                  <c:v>0.00975547223741305</c:v>
                </c:pt>
                <c:pt idx="35">
                  <c:v>0.01035909222160415</c:v>
                </c:pt>
                <c:pt idx="36">
                  <c:v>0.011025643453545186</c:v>
                </c:pt>
                <c:pt idx="37">
                  <c:v>0.014314124506963136</c:v>
                </c:pt>
                <c:pt idx="38">
                  <c:v>0.014699481324554734</c:v>
                </c:pt>
                <c:pt idx="39">
                  <c:v>0.01418628149471873</c:v>
                </c:pt>
                <c:pt idx="40">
                  <c:v>0.01475735612012142</c:v>
                </c:pt>
                <c:pt idx="41">
                  <c:v>0.014068541095394028</c:v>
                </c:pt>
                <c:pt idx="42">
                  <c:v>0.01494113928130609</c:v>
                </c:pt>
                <c:pt idx="43">
                  <c:v>0.013587030668845167</c:v>
                </c:pt>
                <c:pt idx="44">
                  <c:v>0.013291915910281796</c:v>
                </c:pt>
                <c:pt idx="45">
                  <c:v>0.01574317542626504</c:v>
                </c:pt>
                <c:pt idx="46">
                  <c:v>0.013178159603056395</c:v>
                </c:pt>
                <c:pt idx="47">
                  <c:v>0.013722555214957553</c:v>
                </c:pt>
                <c:pt idx="48">
                  <c:v>0.01132476933785351</c:v>
                </c:pt>
                <c:pt idx="49">
                  <c:v>0.011760979362038288</c:v>
                </c:pt>
                <c:pt idx="50">
                  <c:v>0.013536645132022759</c:v>
                </c:pt>
                <c:pt idx="51">
                  <c:v>0.012086509016376024</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2.7857</c:v>
                </c:pt>
                <c:pt idx="1">
                  <c:v>787.2273</c:v>
                </c:pt>
                <c:pt idx="2">
                  <c:v>842.1667</c:v>
                </c:pt>
                <c:pt idx="3">
                  <c:v>844.125</c:v>
                </c:pt>
                <c:pt idx="4">
                  <c:v>842.0</c:v>
                </c:pt>
                <c:pt idx="5">
                  <c:v>844.5556</c:v>
                </c:pt>
                <c:pt idx="6">
                  <c:v>879.1667</c:v>
                </c:pt>
                <c:pt idx="7">
                  <c:v>845.5</c:v>
                </c:pt>
                <c:pt idx="8">
                  <c:v>828.0</c:v>
                </c:pt>
                <c:pt idx="9">
                  <c:v>828.1875</c:v>
                </c:pt>
                <c:pt idx="10">
                  <c:v>859.8462</c:v>
                </c:pt>
                <c:pt idx="11">
                  <c:v>871.5</c:v>
                </c:pt>
                <c:pt idx="12">
                  <c:v>851.0</c:v>
                </c:pt>
                <c:pt idx="13">
                  <c:v>883.3333</c:v>
                </c:pt>
                <c:pt idx="14">
                  <c:v>831.2778</c:v>
                </c:pt>
                <c:pt idx="15">
                  <c:v>863.9231</c:v>
                </c:pt>
                <c:pt idx="16">
                  <c:v>870.8889</c:v>
                </c:pt>
                <c:pt idx="17">
                  <c:v>863.125</c:v>
                </c:pt>
                <c:pt idx="18">
                  <c:v>884.5714</c:v>
                </c:pt>
                <c:pt idx="19">
                  <c:v>824.0</c:v>
                </c:pt>
                <c:pt idx="20">
                  <c:v>865.2</c:v>
                </c:pt>
                <c:pt idx="21">
                  <c:v>961.3333</c:v>
                </c:pt>
                <c:pt idx="22">
                  <c:v>818.0</c:v>
                </c:pt>
                <c:pt idx="23">
                  <c:v>824.0</c:v>
                </c:pt>
                <c:pt idx="24">
                  <c:v>899.5714</c:v>
                </c:pt>
                <c:pt idx="25">
                  <c:v>885.6667</c:v>
                </c:pt>
                <c:pt idx="26">
                  <c:v>861.625</c:v>
                </c:pt>
                <c:pt idx="27">
                  <c:v>880.2143</c:v>
                </c:pt>
                <c:pt idx="28">
                  <c:v>842.1818</c:v>
                </c:pt>
                <c:pt idx="29">
                  <c:v>846.9333</c:v>
                </c:pt>
                <c:pt idx="30">
                  <c:v>818.3636</c:v>
                </c:pt>
                <c:pt idx="31">
                  <c:v>824.0</c:v>
                </c:pt>
                <c:pt idx="32">
                  <c:v>882.8571</c:v>
                </c:pt>
                <c:pt idx="33">
                  <c:v>880.0556</c:v>
                </c:pt>
                <c:pt idx="34">
                  <c:v>873.4</c:v>
                </c:pt>
                <c:pt idx="35">
                  <c:v>835.5625</c:v>
                </c:pt>
                <c:pt idx="36">
                  <c:v>1119.7778</c:v>
                </c:pt>
                <c:pt idx="37">
                  <c:v>1060.2</c:v>
                </c:pt>
                <c:pt idx="38">
                  <c:v>1028.0</c:v>
                </c:pt>
                <c:pt idx="39">
                  <c:v>1198.4</c:v>
                </c:pt>
                <c:pt idx="40">
                  <c:v>1060.2</c:v>
                </c:pt>
                <c:pt idx="41">
                  <c:v>1255.5</c:v>
                </c:pt>
                <c:pt idx="42">
                  <c:v>1135.8333</c:v>
                </c:pt>
                <c:pt idx="43">
                  <c:v>1162.5</c:v>
                </c:pt>
                <c:pt idx="44">
                  <c:v>1116.0</c:v>
                </c:pt>
                <c:pt idx="45">
                  <c:v>1111.0</c:v>
                </c:pt>
                <c:pt idx="46">
                  <c:v>1153.1667</c:v>
                </c:pt>
                <c:pt idx="47">
                  <c:v>1157.8333</c:v>
                </c:pt>
                <c:pt idx="48">
                  <c:v>1155.0556</c:v>
                </c:pt>
                <c:pt idx="49">
                  <c:v>1167.1429</c:v>
                </c:pt>
                <c:pt idx="50">
                  <c:v>1132.6667</c:v>
                </c:pt>
                <c:pt idx="51">
                  <c:v>1158.9231</c:v>
                </c:pt>
                <c:pt idx="52">
                  <c:v>1183.9375</c:v>
                </c:pt>
                <c:pt idx="53">
                  <c:v>1185.0833</c:v>
                </c:pt>
                <c:pt idx="54">
                  <c:v>1181.0833</c:v>
                </c:pt>
                <c:pt idx="55">
                  <c:v>1235.5714</c:v>
                </c:pt>
                <c:pt idx="56">
                  <c:v>1187.2857</c:v>
                </c:pt>
                <c:pt idx="57">
                  <c:v>1116.0</c:v>
                </c:pt>
                <c:pt idx="58">
                  <c:v>1113.6667</c:v>
                </c:pt>
                <c:pt idx="59">
                  <c:v>1163.3043</c:v>
                </c:pt>
                <c:pt idx="60">
                  <c:v>1175.48</c:v>
                </c:pt>
                <c:pt idx="61">
                  <c:v>1231.5714</c:v>
                </c:pt>
                <c:pt idx="62">
                  <c:v>1217.125</c:v>
                </c:pt>
                <c:pt idx="63">
                  <c:v>1162.5</c:v>
                </c:pt>
                <c:pt idx="64">
                  <c:v>1148.0</c:v>
                </c:pt>
                <c:pt idx="65">
                  <c:v>1138.8182</c:v>
                </c:pt>
                <c:pt idx="66">
                  <c:v>1170.2</c:v>
                </c:pt>
                <c:pt idx="67">
                  <c:v>1129.0</c:v>
                </c:pt>
                <c:pt idx="68">
                  <c:v>1115.9</c:v>
                </c:pt>
                <c:pt idx="69">
                  <c:v>1060.2</c:v>
                </c:pt>
                <c:pt idx="70">
                  <c:v>1171.8</c:v>
                </c:pt>
                <c:pt idx="71">
                  <c:v>1069.5</c:v>
                </c:pt>
                <c:pt idx="72">
                  <c:v>1146.5714</c:v>
                </c:pt>
                <c:pt idx="73">
                  <c:v>1162.5</c:v>
                </c:pt>
                <c:pt idx="74">
                  <c:v>1109.625</c:v>
                </c:pt>
                <c:pt idx="75">
                  <c:v>1087.3333</c:v>
                </c:pt>
                <c:pt idx="76">
                  <c:v>1185.75</c:v>
                </c:pt>
                <c:pt idx="77">
                  <c:v>1023.0</c:v>
                </c:pt>
                <c:pt idx="78">
                  <c:v>1116.0</c:v>
                </c:pt>
                <c:pt idx="79">
                  <c:v>1018.75</c:v>
                </c:pt>
                <c:pt idx="80">
                  <c:v>996.0</c:v>
                </c:pt>
                <c:pt idx="81">
                  <c:v>731.8</c:v>
                </c:pt>
                <c:pt idx="82">
                  <c:v>676.0</c:v>
                </c:pt>
                <c:pt idx="83">
                  <c:v>704.1667</c:v>
                </c:pt>
                <c:pt idx="84">
                  <c:v>633.75</c:v>
                </c:pt>
                <c:pt idx="85">
                  <c:v>694.3333</c:v>
                </c:pt>
                <c:pt idx="86">
                  <c:v>731.8</c:v>
                </c:pt>
                <c:pt idx="87">
                  <c:v>724.2857</c:v>
                </c:pt>
                <c:pt idx="88">
                  <c:v>703.0</c:v>
                </c:pt>
                <c:pt idx="89">
                  <c:v>709.8</c:v>
                </c:pt>
                <c:pt idx="90">
                  <c:v>700.1429</c:v>
                </c:pt>
                <c:pt idx="91">
                  <c:v>642.2</c:v>
                </c:pt>
                <c:pt idx="92">
                  <c:v>670.3333</c:v>
                </c:pt>
                <c:pt idx="93">
                  <c:v>673.1667</c:v>
                </c:pt>
                <c:pt idx="94">
                  <c:v>692.875</c:v>
                </c:pt>
                <c:pt idx="95">
                  <c:v>676.0</c:v>
                </c:pt>
                <c:pt idx="96">
                  <c:v>711.6667</c:v>
                </c:pt>
                <c:pt idx="97">
                  <c:v>748.4286</c:v>
                </c:pt>
                <c:pt idx="98">
                  <c:v>760.5</c:v>
                </c:pt>
                <c:pt idx="99">
                  <c:v>935.3333</c:v>
                </c:pt>
                <c:pt idx="100">
                  <c:v>951.5</c:v>
                </c:pt>
                <c:pt idx="101">
                  <c:v>1035.0</c:v>
                </c:pt>
                <c:pt idx="102">
                  <c:v>752.0</c:v>
                </c:pt>
                <c:pt idx="103">
                  <c:v>656.0</c:v>
                </c:pt>
                <c:pt idx="104">
                  <c:v>628.0</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412.3874231820062</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412.3874231820062</c:v>
                </c:pt>
                <c:pt idx="1">
                  <c:v>-1412.3874231820062</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09.7392112422423</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09.7392112422423</c:v>
                </c:pt>
                <c:pt idx="1">
                  <c:v>-309.7392112422423</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32.474385951387</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32.474385951387</c:v>
                </c:pt>
                <c:pt idx="1">
                  <c:v>832.474385951387</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pt idx="52">
                  <c:v>-309.7392112422423</c:v>
                </c:pt>
                <c:pt idx="53">
                  <c:v>-1412.3874231820062</c:v>
                </c:pt>
                <c:pt idx="54">
                  <c:v>832.474385951387</c:v>
                </c:pt>
              </c:numCache>
            </c:numRef>
          </c:xVal>
          <c:yVal>
            <c:numRef>
              <c:f>Sheet1!$B$187:$B$241</c:f>
              <c:numCache>
                <c:formatCode>General</c:formatCode>
                <c:ptCount val="55"/>
                <c:pt idx="0">
                  <c:v>0.010415212303460524</c:v>
                </c:pt>
                <c:pt idx="1">
                  <c:v>0.010367873277213686</c:v>
                </c:pt>
                <c:pt idx="2">
                  <c:v>0.01027697829195933</c:v>
                </c:pt>
                <c:pt idx="3">
                  <c:v>0.010309800624073436</c:v>
                </c:pt>
                <c:pt idx="4">
                  <c:v>0.010365088498979842</c:v>
                </c:pt>
                <c:pt idx="5">
                  <c:v>0.010196675894975096</c:v>
                </c:pt>
                <c:pt idx="6">
                  <c:v>0.01037581257638313</c:v>
                </c:pt>
                <c:pt idx="7">
                  <c:v>0.010488669919758147</c:v>
                </c:pt>
                <c:pt idx="8">
                  <c:v>0.009320693820625942</c:v>
                </c:pt>
                <c:pt idx="9">
                  <c:v>0.010780663944541198</c:v>
                </c:pt>
                <c:pt idx="10">
                  <c:v>0.009904681870192045</c:v>
                </c:pt>
                <c:pt idx="11">
                  <c:v>0.010321816086371238</c:v>
                </c:pt>
                <c:pt idx="12">
                  <c:v>0.010196675894975096</c:v>
                </c:pt>
                <c:pt idx="13">
                  <c:v>0.010722265139584589</c:v>
                </c:pt>
                <c:pt idx="14">
                  <c:v>0.010702921545484936</c:v>
                </c:pt>
                <c:pt idx="15">
                  <c:v>0.010683332602946849</c:v>
                </c:pt>
                <c:pt idx="16">
                  <c:v>0.010074858926140259</c:v>
                </c:pt>
                <c:pt idx="17">
                  <c:v>0.009904681870192045</c:v>
                </c:pt>
                <c:pt idx="18">
                  <c:v>0.010780663944541198</c:v>
                </c:pt>
                <c:pt idx="19">
                  <c:v>0.01046418429251766</c:v>
                </c:pt>
                <c:pt idx="20">
                  <c:v>0.009904681870192045</c:v>
                </c:pt>
                <c:pt idx="21">
                  <c:v>0.008152717721493737</c:v>
                </c:pt>
                <c:pt idx="22">
                  <c:v>0.010488669919758147</c:v>
                </c:pt>
                <c:pt idx="23">
                  <c:v>0.009460263291591425</c:v>
                </c:pt>
                <c:pt idx="24">
                  <c:v>0.010227895381901586</c:v>
                </c:pt>
                <c:pt idx="25">
                  <c:v>0.009904681870192045</c:v>
                </c:pt>
                <c:pt idx="26">
                  <c:v>0.010488669919758147</c:v>
                </c:pt>
                <c:pt idx="27">
                  <c:v>0.010824738514319773</c:v>
                </c:pt>
                <c:pt idx="28">
                  <c:v>0.00928396501247713</c:v>
                </c:pt>
                <c:pt idx="29">
                  <c:v>0.009320693820625942</c:v>
                </c:pt>
                <c:pt idx="30">
                  <c:v>0.009320693820625942</c:v>
                </c:pt>
                <c:pt idx="31">
                  <c:v>0.012229615426011814</c:v>
                </c:pt>
                <c:pt idx="32">
                  <c:v>0.008152717721493737</c:v>
                </c:pt>
                <c:pt idx="33">
                  <c:v>0.011248956248438545</c:v>
                </c:pt>
                <c:pt idx="34">
                  <c:v>0.010196675894975096</c:v>
                </c:pt>
                <c:pt idx="35">
                  <c:v>0.010488669919758147</c:v>
                </c:pt>
                <c:pt idx="36">
                  <c:v>0.010488669919758147</c:v>
                </c:pt>
                <c:pt idx="37">
                  <c:v>0.012233288306826694</c:v>
                </c:pt>
                <c:pt idx="38">
                  <c:v>0.012452436617255883</c:v>
                </c:pt>
                <c:pt idx="39">
                  <c:v>0.012348984052495451</c:v>
                </c:pt>
                <c:pt idx="40">
                  <c:v>0.012716884035927325</c:v>
                </c:pt>
                <c:pt idx="41">
                  <c:v>0.012242470508863897</c:v>
                </c:pt>
                <c:pt idx="42">
                  <c:v>0.01266485180257523</c:v>
                </c:pt>
                <c:pt idx="43">
                  <c:v>0.012278097452768245</c:v>
                </c:pt>
                <c:pt idx="44">
                  <c:v>0.01234959595443921</c:v>
                </c:pt>
                <c:pt idx="45">
                  <c:v>0.013438276025930458</c:v>
                </c:pt>
                <c:pt idx="46">
                  <c:v>0.012271853555382947</c:v>
                </c:pt>
                <c:pt idx="47">
                  <c:v>0.012593230626685048</c:v>
                </c:pt>
                <c:pt idx="48">
                  <c:v>0.011847635821264173</c:v>
                </c:pt>
                <c:pt idx="49">
                  <c:v>0.01193211208000644</c:v>
                </c:pt>
                <c:pt idx="50">
                  <c:v>0.012580742831914451</c:v>
                </c:pt>
                <c:pt idx="51">
                  <c:v>0.012178195094603477</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152858211837714</c:v>
                </c:pt>
                <c:pt idx="1">
                  <c:v>2.0230127711101593</c:v>
                </c:pt>
                <c:pt idx="2">
                  <c:v>2.1540437491255724</c:v>
                </c:pt>
                <c:pt idx="3">
                  <c:v>2.1601708636614543</c:v>
                </c:pt>
                <c:pt idx="4">
                  <c:v>2.1597291566257644</c:v>
                </c:pt>
                <c:pt idx="5">
                  <c:v>1.9125489371955295</c:v>
                </c:pt>
                <c:pt idx="6">
                  <c:v>1.8887301997528145</c:v>
                </c:pt>
                <c:pt idx="7">
                  <c:v>1.772578307918341</c:v>
                </c:pt>
                <c:pt idx="8">
                  <c:v>1.7082541271460974</c:v>
                </c:pt>
                <c:pt idx="9">
                  <c:v>1.9887056049350997</c:v>
                </c:pt>
                <c:pt idx="10">
                  <c:v>1.8867145612176137</c:v>
                </c:pt>
                <c:pt idx="11">
                  <c:v>1.872879713199042</c:v>
                </c:pt>
                <c:pt idx="12">
                  <c:v>1.8414815465588639</c:v>
                </c:pt>
                <c:pt idx="13">
                  <c:v>1.8872316383215146</c:v>
                </c:pt>
                <c:pt idx="14">
                  <c:v>1.7744628066889618</c:v>
                </c:pt>
                <c:pt idx="15">
                  <c:v>1.8674633634409346</c:v>
                </c:pt>
                <c:pt idx="16">
                  <c:v>1.8403798301605097</c:v>
                </c:pt>
                <c:pt idx="17">
                  <c:v>2.207623100005422</c:v>
                </c:pt>
                <c:pt idx="18">
                  <c:v>2.1872441415271346</c:v>
                </c:pt>
                <c:pt idx="19">
                  <c:v>1.8194247438232296</c:v>
                </c:pt>
                <c:pt idx="20">
                  <c:v>1.9494468681095098</c:v>
                </c:pt>
                <c:pt idx="21">
                  <c:v>2.267416911235578</c:v>
                </c:pt>
                <c:pt idx="22">
                  <c:v>1.8546700501169031</c:v>
                </c:pt>
                <c:pt idx="23">
                  <c:v>2.2973386279925694</c:v>
                </c:pt>
                <c:pt idx="24">
                  <c:v>2.467219440859177</c:v>
                </c:pt>
                <c:pt idx="25">
                  <c:v>2.4097662735401144</c:v>
                </c:pt>
                <c:pt idx="26">
                  <c:v>1.9792956429652737</c:v>
                </c:pt>
                <c:pt idx="27">
                  <c:v>1.9530579215825148</c:v>
                </c:pt>
                <c:pt idx="28">
                  <c:v>1.850164216057804</c:v>
                </c:pt>
                <c:pt idx="29">
                  <c:v>1.8666982142203796</c:v>
                </c:pt>
                <c:pt idx="30">
                  <c:v>1.7688970661027157</c:v>
                </c:pt>
                <c:pt idx="31">
                  <c:v>1.765407735271111</c:v>
                </c:pt>
                <c:pt idx="32">
                  <c:v>1.8669878349121063</c:v>
                </c:pt>
                <c:pt idx="33">
                  <c:v>1.8240893084029242</c:v>
                </c:pt>
                <c:pt idx="34">
                  <c:v>1.8573474636914515</c:v>
                </c:pt>
                <c:pt idx="35">
                  <c:v>1.7739995910870565</c:v>
                </c:pt>
                <c:pt idx="36">
                  <c:v>2.3838175643024013</c:v>
                </c:pt>
                <c:pt idx="37">
                  <c:v>2.2566266857918724</c:v>
                </c:pt>
                <c:pt idx="38">
                  <c:v>2.1806952047827655</c:v>
                </c:pt>
                <c:pt idx="39">
                  <c:v>2.5727006916923925</c:v>
                </c:pt>
                <c:pt idx="40">
                  <c:v>2.24984673157877</c:v>
                </c:pt>
                <c:pt idx="41">
                  <c:v>2.668581328602792</c:v>
                </c:pt>
                <c:pt idx="42">
                  <c:v>2.4045313862803046</c:v>
                </c:pt>
                <c:pt idx="43">
                  <c:v>2.478344597986923</c:v>
                </c:pt>
                <c:pt idx="44">
                  <c:v>2.3614679528061897</c:v>
                </c:pt>
                <c:pt idx="45">
                  <c:v>2.363986715713894</c:v>
                </c:pt>
                <c:pt idx="46">
                  <c:v>2.5115698461782396</c:v>
                </c:pt>
                <c:pt idx="47">
                  <c:v>2.568042519421677</c:v>
                </c:pt>
                <c:pt idx="48">
                  <c:v>2.483527479930086</c:v>
                </c:pt>
                <c:pt idx="49">
                  <c:v>2.5054108746419708</c:v>
                </c:pt>
                <c:pt idx="50">
                  <c:v>2.40048604542683</c:v>
                </c:pt>
                <c:pt idx="51">
                  <c:v>2.443194282672513</c:v>
                </c:pt>
                <c:pt idx="52">
                  <c:v>2.5074475547283552</c:v>
                </c:pt>
                <c:pt idx="53">
                  <c:v>2.4876373116009582</c:v>
                </c:pt>
                <c:pt idx="54">
                  <c:v>2.5268229763361854</c:v>
                </c:pt>
                <c:pt idx="55">
                  <c:v>2.6351143729238076</c:v>
                </c:pt>
                <c:pt idx="56">
                  <c:v>2.5256024250159537</c:v>
                </c:pt>
                <c:pt idx="57">
                  <c:v>2.359005556557264</c:v>
                </c:pt>
                <c:pt idx="58">
                  <c:v>2.354038585234831</c:v>
                </c:pt>
                <c:pt idx="59">
                  <c:v>2.583221711683944</c:v>
                </c:pt>
                <c:pt idx="60">
                  <c:v>2.656630887232632</c:v>
                </c:pt>
                <c:pt idx="61">
                  <c:v>2.615733719090096</c:v>
                </c:pt>
                <c:pt idx="62">
                  <c:v>2.719854890420323</c:v>
                </c:pt>
                <c:pt idx="63">
                  <c:v>2.5915052131053256</c:v>
                </c:pt>
                <c:pt idx="64">
                  <c:v>2.4990726437750452</c:v>
                </c:pt>
                <c:pt idx="65">
                  <c:v>2.4428219762946233</c:v>
                </c:pt>
                <c:pt idx="66">
                  <c:v>2.5086012093678742</c:v>
                </c:pt>
                <c:pt idx="67">
                  <c:v>2.4310551468387454</c:v>
                </c:pt>
                <c:pt idx="68">
                  <c:v>2.317820339117534</c:v>
                </c:pt>
                <c:pt idx="69">
                  <c:v>2.233385639469372</c:v>
                </c:pt>
                <c:pt idx="70">
                  <c:v>2.4722509974028495</c:v>
                </c:pt>
                <c:pt idx="71">
                  <c:v>2.267447740046816</c:v>
                </c:pt>
                <c:pt idx="72">
                  <c:v>2.379580588978527</c:v>
                </c:pt>
                <c:pt idx="73">
                  <c:v>2.418413645469921</c:v>
                </c:pt>
                <c:pt idx="74">
                  <c:v>2.3543406541295617</c:v>
                </c:pt>
                <c:pt idx="75">
                  <c:v>2.4042381664049794</c:v>
                </c:pt>
                <c:pt idx="76">
                  <c:v>2.6861721768970392</c:v>
                </c:pt>
                <c:pt idx="77">
                  <c:v>2.626158282127953</c:v>
                </c:pt>
                <c:pt idx="78">
                  <c:v>2.5758954352640084</c:v>
                </c:pt>
                <c:pt idx="79">
                  <c:v>2.4933673369490728</c:v>
                </c:pt>
                <c:pt idx="80">
                  <c:v>2.2436849055422172</c:v>
                </c:pt>
                <c:pt idx="81">
                  <c:v>1.7839621365128389</c:v>
                </c:pt>
                <c:pt idx="82">
                  <c:v>1.5186929535342861</c:v>
                </c:pt>
                <c:pt idx="83">
                  <c:v>1.6498047646515543</c:v>
                </c:pt>
                <c:pt idx="84">
                  <c:v>1.3873586289766295</c:v>
                </c:pt>
                <c:pt idx="85">
                  <c:v>1.5052317464446758</c:v>
                </c:pt>
                <c:pt idx="86">
                  <c:v>1.6166080743807605</c:v>
                </c:pt>
                <c:pt idx="87">
                  <c:v>1.5162453732459367</c:v>
                </c:pt>
                <c:pt idx="88">
                  <c:v>1.524507598141532</c:v>
                </c:pt>
                <c:pt idx="89">
                  <c:v>1.4776417686734948</c:v>
                </c:pt>
                <c:pt idx="90">
                  <c:v>1.3762165974407203</c:v>
                </c:pt>
                <c:pt idx="91">
                  <c:v>1.4098108522067316</c:v>
                </c:pt>
                <c:pt idx="92">
                  <c:v>1.3940544234437402</c:v>
                </c:pt>
                <c:pt idx="93">
                  <c:v>1.3421202162172507</c:v>
                </c:pt>
                <c:pt idx="94">
                  <c:v>1.3583057048937626</c:v>
                </c:pt>
                <c:pt idx="95">
                  <c:v>1.4041781361986323</c:v>
                </c:pt>
                <c:pt idx="96">
                  <c:v>1.4108404081855173</c:v>
                </c:pt>
                <c:pt idx="97">
                  <c:v>1.491273573486153</c:v>
                </c:pt>
                <c:pt idx="98">
                  <c:v>1.604594224389157</c:v>
                </c:pt>
                <c:pt idx="99">
                  <c:v>2.1101614882730364</c:v>
                </c:pt>
                <c:pt idx="100">
                  <c:v>1.8705497037395267</c:v>
                </c:pt>
                <c:pt idx="101">
                  <c:v>2.173352929207281</c:v>
                </c:pt>
                <c:pt idx="102">
                  <c:v>1.5413863253206523</c:v>
                </c:pt>
                <c:pt idx="103">
                  <c:v>1.3434028476044628</c:v>
                </c:pt>
                <c:pt idx="104">
                  <c:v>1.3621752985126911</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190279376651082</c:v>
                </c:pt>
                <c:pt idx="1">
                  <c:v>1.3036896662449877</c:v>
                </c:pt>
                <c:pt idx="2">
                  <c:v>1.2679305319726977</c:v>
                </c:pt>
                <c:pt idx="3">
                  <c:v>1.251238258805375</c:v>
                </c:pt>
                <c:pt idx="4">
                  <c:v>1.1408715994188894</c:v>
                </c:pt>
                <c:pt idx="5">
                  <c:v>1.0939943071822689</c:v>
                </c:pt>
                <c:pt idx="6">
                  <c:v>1.1760182858133288</c:v>
                </c:pt>
                <c:pt idx="7">
                  <c:v>1.0721071271018399</c:v>
                </c:pt>
                <c:pt idx="8">
                  <c:v>1.309546047098194</c:v>
                </c:pt>
                <c:pt idx="9">
                  <c:v>1.0246605946038838</c:v>
                </c:pt>
                <c:pt idx="10">
                  <c:v>1.1773010435280529</c:v>
                </c:pt>
                <c:pt idx="11">
                  <c:v>1.3871939110522018</c:v>
                </c:pt>
                <c:pt idx="12">
                  <c:v>1.3080120017722765</c:v>
                </c:pt>
                <c:pt idx="13">
                  <c:v>1.0370751802265705</c:v>
                </c:pt>
                <c:pt idx="14">
                  <c:v>1.0181525906853546</c:v>
                </c:pt>
                <c:pt idx="15">
                  <c:v>1.0428989957028114</c:v>
                </c:pt>
                <c:pt idx="16">
                  <c:v>1.1804010340245357</c:v>
                </c:pt>
                <c:pt idx="17">
                  <c:v>1.254479878265483</c:v>
                </c:pt>
                <c:pt idx="18">
                  <c:v>1.0053724405367517</c:v>
                </c:pt>
                <c:pt idx="19">
                  <c:v>1.129120864565183</c:v>
                </c:pt>
                <c:pt idx="20">
                  <c:v>1.1820211851897617</c:v>
                </c:pt>
                <c:pt idx="21">
                  <c:v>1.6746023038946791</c:v>
                </c:pt>
                <c:pt idx="22">
                  <c:v>1.1106475651584269</c:v>
                </c:pt>
                <c:pt idx="23">
                  <c:v>1.3293546342998508</c:v>
                </c:pt>
                <c:pt idx="24">
                  <c:v>1.2297379385416718</c:v>
                </c:pt>
                <c:pt idx="25">
                  <c:v>1.4376450831031193</c:v>
                </c:pt>
                <c:pt idx="26">
                  <c:v>1.1684425707720705</c:v>
                </c:pt>
                <c:pt idx="27">
                  <c:v>0.9803929710682339</c:v>
                </c:pt>
                <c:pt idx="28">
                  <c:v>1.3776597659114969</c:v>
                </c:pt>
                <c:pt idx="29">
                  <c:v>1.3204883315339258</c:v>
                </c:pt>
                <c:pt idx="30">
                  <c:v>1.31438024574116</c:v>
                </c:pt>
                <c:pt idx="31">
                  <c:v>0.6684216504285437</c:v>
                </c:pt>
                <c:pt idx="32">
                  <c:v>1.6537378114842904</c:v>
                </c:pt>
                <c:pt idx="33">
                  <c:v>0.9090775619854322</c:v>
                </c:pt>
                <c:pt idx="34">
                  <c:v>1.1421803703520905</c:v>
                </c:pt>
                <c:pt idx="35">
                  <c:v>1.0582362728785357</c:v>
                </c:pt>
                <c:pt idx="36">
                  <c:v>1.0490328856964861</c:v>
                </c:pt>
                <c:pt idx="37">
                  <c:v>0.6633668673469354</c:v>
                </c:pt>
                <c:pt idx="38">
                  <c:v>0.6172888642047781</c:v>
                </c:pt>
                <c:pt idx="39">
                  <c:v>0.6582191058779181</c:v>
                </c:pt>
                <c:pt idx="40">
                  <c:v>0.6104850988738019</c:v>
                </c:pt>
                <c:pt idx="41">
                  <c:v>0.6629377496029465</c:v>
                </c:pt>
                <c:pt idx="42">
                  <c:v>0.5520925077918575</c:v>
                </c:pt>
                <c:pt idx="43">
                  <c:v>0.6456222974643858</c:v>
                </c:pt>
                <c:pt idx="44">
                  <c:v>0.6247155517426869</c:v>
                </c:pt>
                <c:pt idx="45">
                  <c:v>0.38794280932929803</c:v>
                </c:pt>
                <c:pt idx="46">
                  <c:v>0.6560401234639986</c:v>
                </c:pt>
                <c:pt idx="47">
                  <c:v>0.6155211720791143</c:v>
                </c:pt>
                <c:pt idx="48">
                  <c:v>0.7650226877570926</c:v>
                </c:pt>
                <c:pt idx="49">
                  <c:v>0.7381740982351004</c:v>
                </c:pt>
                <c:pt idx="50">
                  <c:v>0.5911338340802458</c:v>
                </c:pt>
                <c:pt idx="51">
                  <c:v>0.6889774302193986</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64603522281503</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64603522281503</c:v>
                </c:pt>
                <c:pt idx="1">
                  <c:v>-4.64603522281503</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202592589526354</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202592589526354</c:v>
                </c:pt>
                <c:pt idx="1">
                  <c:v>-1.5202592589526354</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17676257601479</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17676257601479</c:v>
                </c:pt>
                <c:pt idx="1">
                  <c:v>1.717676257601479</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190279376651082</c:v>
                </c:pt>
                <c:pt idx="1">
                  <c:v>1.3036896662449877</c:v>
                </c:pt>
                <c:pt idx="2">
                  <c:v>1.2679305319726977</c:v>
                </c:pt>
                <c:pt idx="3">
                  <c:v>1.251238258805375</c:v>
                </c:pt>
                <c:pt idx="4">
                  <c:v>1.1408715994188894</c:v>
                </c:pt>
                <c:pt idx="5">
                  <c:v>1.0939943071822689</c:v>
                </c:pt>
                <c:pt idx="6">
                  <c:v>1.1760182858133288</c:v>
                </c:pt>
                <c:pt idx="7">
                  <c:v>1.0721071271018399</c:v>
                </c:pt>
                <c:pt idx="8">
                  <c:v>1.309546047098194</c:v>
                </c:pt>
                <c:pt idx="9">
                  <c:v>1.0246605946038838</c:v>
                </c:pt>
                <c:pt idx="10">
                  <c:v>1.1773010435280529</c:v>
                </c:pt>
                <c:pt idx="11">
                  <c:v>1.3871939110522018</c:v>
                </c:pt>
                <c:pt idx="12">
                  <c:v>1.3080120017722765</c:v>
                </c:pt>
                <c:pt idx="13">
                  <c:v>1.0370751802265705</c:v>
                </c:pt>
                <c:pt idx="14">
                  <c:v>1.0181525906853546</c:v>
                </c:pt>
                <c:pt idx="15">
                  <c:v>1.0428989957028114</c:v>
                </c:pt>
                <c:pt idx="16">
                  <c:v>1.1804010340245357</c:v>
                </c:pt>
                <c:pt idx="17">
                  <c:v>1.254479878265483</c:v>
                </c:pt>
                <c:pt idx="18">
                  <c:v>1.0053724405367517</c:v>
                </c:pt>
                <c:pt idx="19">
                  <c:v>1.129120864565183</c:v>
                </c:pt>
                <c:pt idx="20">
                  <c:v>1.1820211851897617</c:v>
                </c:pt>
                <c:pt idx="21">
                  <c:v>1.6746023038946791</c:v>
                </c:pt>
                <c:pt idx="22">
                  <c:v>1.1106475651584269</c:v>
                </c:pt>
                <c:pt idx="23">
                  <c:v>1.3293546342998508</c:v>
                </c:pt>
                <c:pt idx="24">
                  <c:v>1.2297379385416718</c:v>
                </c:pt>
                <c:pt idx="25">
                  <c:v>1.4376450831031193</c:v>
                </c:pt>
                <c:pt idx="26">
                  <c:v>1.1684425707720705</c:v>
                </c:pt>
                <c:pt idx="27">
                  <c:v>0.9803929710682339</c:v>
                </c:pt>
                <c:pt idx="28">
                  <c:v>1.3776597659114969</c:v>
                </c:pt>
                <c:pt idx="29">
                  <c:v>1.3204883315339258</c:v>
                </c:pt>
                <c:pt idx="30">
                  <c:v>1.31438024574116</c:v>
                </c:pt>
                <c:pt idx="31">
                  <c:v>0.6684216504285437</c:v>
                </c:pt>
                <c:pt idx="32">
                  <c:v>1.6537378114842904</c:v>
                </c:pt>
                <c:pt idx="33">
                  <c:v>0.9090775619854322</c:v>
                </c:pt>
                <c:pt idx="34">
                  <c:v>1.1421803703520905</c:v>
                </c:pt>
                <c:pt idx="35">
                  <c:v>1.0582362728785357</c:v>
                </c:pt>
                <c:pt idx="36">
                  <c:v>1.0490328856964861</c:v>
                </c:pt>
                <c:pt idx="37">
                  <c:v>0.6633668673469354</c:v>
                </c:pt>
                <c:pt idx="38">
                  <c:v>0.6172888642047781</c:v>
                </c:pt>
                <c:pt idx="39">
                  <c:v>0.6582191058779181</c:v>
                </c:pt>
                <c:pt idx="40">
                  <c:v>0.6104850988738019</c:v>
                </c:pt>
                <c:pt idx="41">
                  <c:v>0.6629377496029465</c:v>
                </c:pt>
                <c:pt idx="42">
                  <c:v>0.5520925077918575</c:v>
                </c:pt>
                <c:pt idx="43">
                  <c:v>0.6456222974643858</c:v>
                </c:pt>
                <c:pt idx="44">
                  <c:v>0.6247155517426869</c:v>
                </c:pt>
                <c:pt idx="45">
                  <c:v>0.38794280932929803</c:v>
                </c:pt>
                <c:pt idx="46">
                  <c:v>0.6560401234639986</c:v>
                </c:pt>
                <c:pt idx="47">
                  <c:v>0.6155211720791143</c:v>
                </c:pt>
                <c:pt idx="48">
                  <c:v>0.7650226877570926</c:v>
                </c:pt>
                <c:pt idx="49">
                  <c:v>0.7381740982351004</c:v>
                </c:pt>
                <c:pt idx="50">
                  <c:v>0.5911338340802458</c:v>
                </c:pt>
                <c:pt idx="51">
                  <c:v>0.6889774302193986</c:v>
                </c:pt>
                <c:pt idx="52">
                  <c:v>-1.5202592589526354</c:v>
                </c:pt>
                <c:pt idx="53">
                  <c:v>-4.64603522281503</c:v>
                </c:pt>
                <c:pt idx="54">
                  <c:v>1.717676257601479</c:v>
                </c:pt>
              </c:numCache>
            </c:numRef>
          </c:xVal>
          <c:yVal>
            <c:numRef>
              <c:f>Sheet1!$B$187:$B$241</c:f>
              <c:numCache>
                <c:formatCode>General</c:formatCode>
                <c:ptCount val="55"/>
                <c:pt idx="0">
                  <c:v>0.01007842918258193</c:v>
                </c:pt>
                <c:pt idx="1">
                  <c:v>0.010118175086674728</c:v>
                </c:pt>
                <c:pt idx="2">
                  <c:v>0.010210837361470798</c:v>
                </c:pt>
                <c:pt idx="3">
                  <c:v>0.010254091876287173</c:v>
                </c:pt>
                <c:pt idx="4">
                  <c:v>0.010540083859273172</c:v>
                </c:pt>
                <c:pt idx="5">
                  <c:v>0.010661556501811149</c:v>
                </c:pt>
                <c:pt idx="6">
                  <c:v>0.01044900861432865</c:v>
                </c:pt>
                <c:pt idx="7">
                  <c:v>0.010718272525182425</c:v>
                </c:pt>
                <c:pt idx="8">
                  <c:v>0.01010299950754023</c:v>
                </c:pt>
                <c:pt idx="9">
                  <c:v>0.010841220234122156</c:v>
                </c:pt>
                <c:pt idx="10">
                  <c:v>0.010445684617529583</c:v>
                </c:pt>
                <c:pt idx="11">
                  <c:v>0.009901791400759816</c:v>
                </c:pt>
                <c:pt idx="12">
                  <c:v>0.010106974663327209</c:v>
                </c:pt>
                <c:pt idx="13">
                  <c:v>0.01080905044679763</c:v>
                </c:pt>
                <c:pt idx="14">
                  <c:v>0.010858084357366325</c:v>
                </c:pt>
                <c:pt idx="15">
                  <c:v>0.010793959253987651</c:v>
                </c:pt>
                <c:pt idx="16">
                  <c:v>0.01043765164421812</c:v>
                </c:pt>
                <c:pt idx="17">
                  <c:v>0.010245691901307086</c:v>
                </c:pt>
                <c:pt idx="18">
                  <c:v>0.010891201428265955</c:v>
                </c:pt>
                <c:pt idx="19">
                  <c:v>0.010570533416966007</c:v>
                </c:pt>
                <c:pt idx="20">
                  <c:v>0.010433453363260304</c:v>
                </c:pt>
                <c:pt idx="21">
                  <c:v>0.009157033004947539</c:v>
                </c:pt>
                <c:pt idx="22">
                  <c:v>0.010618403086656118</c:v>
                </c:pt>
                <c:pt idx="23">
                  <c:v>0.010051669720397588</c:v>
                </c:pt>
                <c:pt idx="24">
                  <c:v>0.010309805433816517</c:v>
                </c:pt>
                <c:pt idx="25">
                  <c:v>0.00977105780042239</c:v>
                </c:pt>
                <c:pt idx="26">
                  <c:v>0.010468639486362199</c:v>
                </c:pt>
                <c:pt idx="27">
                  <c:v>0.010955930469146162</c:v>
                </c:pt>
                <c:pt idx="28">
                  <c:v>0.00992649713245473</c:v>
                </c:pt>
                <c:pt idx="29">
                  <c:v>0.010074644879053987</c:v>
                </c:pt>
                <c:pt idx="30">
                  <c:v>0.01009047269859507</c:v>
                </c:pt>
                <c:pt idx="31">
                  <c:v>0.011764338525713932</c:v>
                </c:pt>
                <c:pt idx="32">
                  <c:v>0.009211098948336726</c:v>
                </c:pt>
                <c:pt idx="33">
                  <c:v>0.011140729351113097</c:v>
                </c:pt>
                <c:pt idx="34">
                  <c:v>0.010536692454690109</c:v>
                </c:pt>
                <c:pt idx="35">
                  <c:v>0.010754215926270074</c:v>
                </c:pt>
                <c:pt idx="36">
                  <c:v>0.010778064568287634</c:v>
                </c:pt>
                <c:pt idx="37">
                  <c:v>0.011777436932833521</c:v>
                </c:pt>
                <c:pt idx="38">
                  <c:v>0.011896838385807771</c:v>
                </c:pt>
                <c:pt idx="39">
                  <c:v>0.011790776273886762</c:v>
                </c:pt>
                <c:pt idx="40">
                  <c:v>0.011914468912541061</c:v>
                </c:pt>
                <c:pt idx="41">
                  <c:v>0.01177854890120531</c:v>
                </c:pt>
                <c:pt idx="42">
                  <c:v>0.012065781029878379</c:v>
                </c:pt>
                <c:pt idx="43">
                  <c:v>0.01182341825324454</c:v>
                </c:pt>
                <c:pt idx="44">
                  <c:v>0.011877593687202315</c:v>
                </c:pt>
                <c:pt idx="45">
                  <c:v>0.012491140445763804</c:v>
                </c:pt>
                <c:pt idx="46">
                  <c:v>0.011796422648479528</c:v>
                </c:pt>
                <c:pt idx="47">
                  <c:v>0.011901418988130408</c:v>
                </c:pt>
                <c:pt idx="48">
                  <c:v>0.011514017256793845</c:v>
                </c:pt>
                <c:pt idx="49">
                  <c:v>0.011583589729136989</c:v>
                </c:pt>
                <c:pt idx="50">
                  <c:v>0.011964613644857512</c:v>
                </c:pt>
                <c:pt idx="51">
                  <c:v>0.01171107254614284</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2.7857</c:v>
                </c:pt>
                <c:pt idx="1">
                  <c:v>787.2273</c:v>
                </c:pt>
                <c:pt idx="2">
                  <c:v>842.1667</c:v>
                </c:pt>
                <c:pt idx="3">
                  <c:v>844.125</c:v>
                </c:pt>
                <c:pt idx="4">
                  <c:v>842.0</c:v>
                </c:pt>
                <c:pt idx="5">
                  <c:v>844.5556</c:v>
                </c:pt>
                <c:pt idx="6">
                  <c:v>879.1667</c:v>
                </c:pt>
                <c:pt idx="7">
                  <c:v>845.5</c:v>
                </c:pt>
                <c:pt idx="8">
                  <c:v>828.0</c:v>
                </c:pt>
                <c:pt idx="9">
                  <c:v>828.1875</c:v>
                </c:pt>
                <c:pt idx="10">
                  <c:v>859.8462</c:v>
                </c:pt>
                <c:pt idx="11">
                  <c:v>871.5</c:v>
                </c:pt>
                <c:pt idx="12">
                  <c:v>851.0</c:v>
                </c:pt>
                <c:pt idx="13">
                  <c:v>883.3333</c:v>
                </c:pt>
                <c:pt idx="14">
                  <c:v>831.2778</c:v>
                </c:pt>
                <c:pt idx="15">
                  <c:v>863.9231</c:v>
                </c:pt>
                <c:pt idx="16">
                  <c:v>870.8889</c:v>
                </c:pt>
                <c:pt idx="17">
                  <c:v>863.125</c:v>
                </c:pt>
                <c:pt idx="18">
                  <c:v>884.5714</c:v>
                </c:pt>
                <c:pt idx="19">
                  <c:v>824.0</c:v>
                </c:pt>
                <c:pt idx="20">
                  <c:v>865.2</c:v>
                </c:pt>
                <c:pt idx="21">
                  <c:v>961.3333</c:v>
                </c:pt>
                <c:pt idx="22">
                  <c:v>818.0</c:v>
                </c:pt>
                <c:pt idx="23">
                  <c:v>824.0</c:v>
                </c:pt>
                <c:pt idx="24">
                  <c:v>899.5714</c:v>
                </c:pt>
                <c:pt idx="25">
                  <c:v>885.6667</c:v>
                </c:pt>
                <c:pt idx="26">
                  <c:v>861.625</c:v>
                </c:pt>
                <c:pt idx="27">
                  <c:v>880.2143</c:v>
                </c:pt>
                <c:pt idx="28">
                  <c:v>842.1818</c:v>
                </c:pt>
                <c:pt idx="29">
                  <c:v>846.9333</c:v>
                </c:pt>
                <c:pt idx="30">
                  <c:v>818.3636</c:v>
                </c:pt>
                <c:pt idx="31">
                  <c:v>824.0</c:v>
                </c:pt>
                <c:pt idx="32">
                  <c:v>882.8571</c:v>
                </c:pt>
                <c:pt idx="33">
                  <c:v>880.0556</c:v>
                </c:pt>
                <c:pt idx="34">
                  <c:v>873.4</c:v>
                </c:pt>
                <c:pt idx="35">
                  <c:v>835.5625</c:v>
                </c:pt>
                <c:pt idx="36">
                  <c:v>1119.7778</c:v>
                </c:pt>
                <c:pt idx="37">
                  <c:v>1060.2</c:v>
                </c:pt>
                <c:pt idx="38">
                  <c:v>1028.0</c:v>
                </c:pt>
                <c:pt idx="39">
                  <c:v>1198.4</c:v>
                </c:pt>
                <c:pt idx="40">
                  <c:v>1060.2</c:v>
                </c:pt>
                <c:pt idx="41">
                  <c:v>1255.5</c:v>
                </c:pt>
                <c:pt idx="42">
                  <c:v>1135.8333</c:v>
                </c:pt>
                <c:pt idx="43">
                  <c:v>1162.5</c:v>
                </c:pt>
                <c:pt idx="44">
                  <c:v>1116.0</c:v>
                </c:pt>
                <c:pt idx="45">
                  <c:v>1111.0</c:v>
                </c:pt>
                <c:pt idx="46">
                  <c:v>1153.1667</c:v>
                </c:pt>
                <c:pt idx="47">
                  <c:v>1157.8333</c:v>
                </c:pt>
                <c:pt idx="48">
                  <c:v>1155.0556</c:v>
                </c:pt>
                <c:pt idx="49">
                  <c:v>1167.1429</c:v>
                </c:pt>
                <c:pt idx="50">
                  <c:v>1132.6667</c:v>
                </c:pt>
                <c:pt idx="51">
                  <c:v>1158.9231</c:v>
                </c:pt>
                <c:pt idx="52">
                  <c:v>1183.9375</c:v>
                </c:pt>
                <c:pt idx="53">
                  <c:v>1185.0833</c:v>
                </c:pt>
                <c:pt idx="54">
                  <c:v>1181.0833</c:v>
                </c:pt>
                <c:pt idx="55">
                  <c:v>1235.5714</c:v>
                </c:pt>
                <c:pt idx="56">
                  <c:v>1187.2857</c:v>
                </c:pt>
                <c:pt idx="57">
                  <c:v>1116.0</c:v>
                </c:pt>
                <c:pt idx="58">
                  <c:v>1113.6667</c:v>
                </c:pt>
                <c:pt idx="59">
                  <c:v>1163.3043</c:v>
                </c:pt>
                <c:pt idx="60">
                  <c:v>1175.48</c:v>
                </c:pt>
                <c:pt idx="61">
                  <c:v>1231.5714</c:v>
                </c:pt>
                <c:pt idx="62">
                  <c:v>1217.125</c:v>
                </c:pt>
                <c:pt idx="63">
                  <c:v>1162.5</c:v>
                </c:pt>
                <c:pt idx="64">
                  <c:v>1148.0</c:v>
                </c:pt>
                <c:pt idx="65">
                  <c:v>1138.8182</c:v>
                </c:pt>
                <c:pt idx="66">
                  <c:v>1170.2</c:v>
                </c:pt>
                <c:pt idx="67">
                  <c:v>1129.0</c:v>
                </c:pt>
                <c:pt idx="68">
                  <c:v>1115.9</c:v>
                </c:pt>
                <c:pt idx="69">
                  <c:v>1060.2</c:v>
                </c:pt>
                <c:pt idx="70">
                  <c:v>1171.8</c:v>
                </c:pt>
                <c:pt idx="71">
                  <c:v>1069.5</c:v>
                </c:pt>
                <c:pt idx="72">
                  <c:v>1146.5714</c:v>
                </c:pt>
                <c:pt idx="73">
                  <c:v>1162.5</c:v>
                </c:pt>
                <c:pt idx="74">
                  <c:v>1109.625</c:v>
                </c:pt>
                <c:pt idx="75">
                  <c:v>1087.3333</c:v>
                </c:pt>
                <c:pt idx="76">
                  <c:v>1185.75</c:v>
                </c:pt>
                <c:pt idx="77">
                  <c:v>1023.0</c:v>
                </c:pt>
                <c:pt idx="78">
                  <c:v>1116.0</c:v>
                </c:pt>
                <c:pt idx="79">
                  <c:v>1018.75</c:v>
                </c:pt>
                <c:pt idx="80">
                  <c:v>996.0</c:v>
                </c:pt>
                <c:pt idx="81">
                  <c:v>731.8</c:v>
                </c:pt>
                <c:pt idx="82">
                  <c:v>676.0</c:v>
                </c:pt>
                <c:pt idx="83">
                  <c:v>704.1667</c:v>
                </c:pt>
                <c:pt idx="84">
                  <c:v>633.75</c:v>
                </c:pt>
                <c:pt idx="85">
                  <c:v>694.3333</c:v>
                </c:pt>
                <c:pt idx="86">
                  <c:v>731.8</c:v>
                </c:pt>
                <c:pt idx="87">
                  <c:v>724.2857</c:v>
                </c:pt>
                <c:pt idx="88">
                  <c:v>703.0</c:v>
                </c:pt>
                <c:pt idx="89">
                  <c:v>709.8</c:v>
                </c:pt>
                <c:pt idx="90">
                  <c:v>700.1429</c:v>
                </c:pt>
                <c:pt idx="91">
                  <c:v>642.2</c:v>
                </c:pt>
                <c:pt idx="92">
                  <c:v>670.3333</c:v>
                </c:pt>
                <c:pt idx="93">
                  <c:v>673.1667</c:v>
                </c:pt>
                <c:pt idx="94">
                  <c:v>692.875</c:v>
                </c:pt>
                <c:pt idx="95">
                  <c:v>676.0</c:v>
                </c:pt>
                <c:pt idx="96">
                  <c:v>711.6667</c:v>
                </c:pt>
                <c:pt idx="97">
                  <c:v>748.4286</c:v>
                </c:pt>
                <c:pt idx="98">
                  <c:v>760.5</c:v>
                </c:pt>
                <c:pt idx="99">
                  <c:v>935.3333</c:v>
                </c:pt>
                <c:pt idx="100">
                  <c:v>951.5</c:v>
                </c:pt>
                <c:pt idx="101">
                  <c:v>1035.0</c:v>
                </c:pt>
                <c:pt idx="102">
                  <c:v>752.0</c:v>
                </c:pt>
                <c:pt idx="103">
                  <c:v>656.0</c:v>
                </c:pt>
                <c:pt idx="104">
                  <c:v>628.0</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412.3874231820062</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412.3874231820062</c:v>
                </c:pt>
                <c:pt idx="1">
                  <c:v>-1412.3874231820062</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09.7392112422423</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09.7392112422423</c:v>
                </c:pt>
                <c:pt idx="1">
                  <c:v>-309.7392112422423</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32.474385951387</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32.474385951387</c:v>
                </c:pt>
                <c:pt idx="1">
                  <c:v>832.474385951387</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pt idx="52">
                  <c:v>-309.7392112422423</c:v>
                </c:pt>
                <c:pt idx="53">
                  <c:v>-1412.3874231820062</c:v>
                </c:pt>
                <c:pt idx="54">
                  <c:v>832.474385951387</c:v>
                </c:pt>
              </c:numCache>
            </c:numRef>
          </c:xVal>
          <c:yVal>
            <c:numRef>
              <c:f>Sheet1!$B$187:$B$241</c:f>
              <c:numCache>
                <c:formatCode>General</c:formatCode>
                <c:ptCount val="55"/>
                <c:pt idx="0">
                  <c:v>0.010415212303460524</c:v>
                </c:pt>
                <c:pt idx="1">
                  <c:v>0.010367873277213686</c:v>
                </c:pt>
                <c:pt idx="2">
                  <c:v>0.01027697829195933</c:v>
                </c:pt>
                <c:pt idx="3">
                  <c:v>0.010309800624073436</c:v>
                </c:pt>
                <c:pt idx="4">
                  <c:v>0.010365088498979842</c:v>
                </c:pt>
                <c:pt idx="5">
                  <c:v>0.010196675894975096</c:v>
                </c:pt>
                <c:pt idx="6">
                  <c:v>0.01037581257638313</c:v>
                </c:pt>
                <c:pt idx="7">
                  <c:v>0.010488669919758147</c:v>
                </c:pt>
                <c:pt idx="8">
                  <c:v>0.009320693820625942</c:v>
                </c:pt>
                <c:pt idx="9">
                  <c:v>0.010780663944541198</c:v>
                </c:pt>
                <c:pt idx="10">
                  <c:v>0.009904681870192045</c:v>
                </c:pt>
                <c:pt idx="11">
                  <c:v>0.010321816086371238</c:v>
                </c:pt>
                <c:pt idx="12">
                  <c:v>0.010196675894975096</c:v>
                </c:pt>
                <c:pt idx="13">
                  <c:v>0.010722265139584589</c:v>
                </c:pt>
                <c:pt idx="14">
                  <c:v>0.010702921545484936</c:v>
                </c:pt>
                <c:pt idx="15">
                  <c:v>0.010683332602946849</c:v>
                </c:pt>
                <c:pt idx="16">
                  <c:v>0.010074858926140259</c:v>
                </c:pt>
                <c:pt idx="17">
                  <c:v>0.009904681870192045</c:v>
                </c:pt>
                <c:pt idx="18">
                  <c:v>0.010780663944541198</c:v>
                </c:pt>
                <c:pt idx="19">
                  <c:v>0.01046418429251766</c:v>
                </c:pt>
                <c:pt idx="20">
                  <c:v>0.009904681870192045</c:v>
                </c:pt>
                <c:pt idx="21">
                  <c:v>0.008152717721493737</c:v>
                </c:pt>
                <c:pt idx="22">
                  <c:v>0.010488669919758147</c:v>
                </c:pt>
                <c:pt idx="23">
                  <c:v>0.009460263291591425</c:v>
                </c:pt>
                <c:pt idx="24">
                  <c:v>0.010227895381901586</c:v>
                </c:pt>
                <c:pt idx="25">
                  <c:v>0.009904681870192045</c:v>
                </c:pt>
                <c:pt idx="26">
                  <c:v>0.010488669919758147</c:v>
                </c:pt>
                <c:pt idx="27">
                  <c:v>0.010824738514319773</c:v>
                </c:pt>
                <c:pt idx="28">
                  <c:v>0.00928396501247713</c:v>
                </c:pt>
                <c:pt idx="29">
                  <c:v>0.009320693820625942</c:v>
                </c:pt>
                <c:pt idx="30">
                  <c:v>0.009320693820625942</c:v>
                </c:pt>
                <c:pt idx="31">
                  <c:v>0.012229615426011814</c:v>
                </c:pt>
                <c:pt idx="32">
                  <c:v>0.008152717721493737</c:v>
                </c:pt>
                <c:pt idx="33">
                  <c:v>0.011248956248438545</c:v>
                </c:pt>
                <c:pt idx="34">
                  <c:v>0.010196675894975096</c:v>
                </c:pt>
                <c:pt idx="35">
                  <c:v>0.010488669919758147</c:v>
                </c:pt>
                <c:pt idx="36">
                  <c:v>0.010488669919758147</c:v>
                </c:pt>
                <c:pt idx="37">
                  <c:v>0.012233288306826694</c:v>
                </c:pt>
                <c:pt idx="38">
                  <c:v>0.012452436617255883</c:v>
                </c:pt>
                <c:pt idx="39">
                  <c:v>0.012348984052495451</c:v>
                </c:pt>
                <c:pt idx="40">
                  <c:v>0.012716884035927325</c:v>
                </c:pt>
                <c:pt idx="41">
                  <c:v>0.012242470508863897</c:v>
                </c:pt>
                <c:pt idx="42">
                  <c:v>0.01266485180257523</c:v>
                </c:pt>
                <c:pt idx="43">
                  <c:v>0.012278097452768245</c:v>
                </c:pt>
                <c:pt idx="44">
                  <c:v>0.01234959595443921</c:v>
                </c:pt>
                <c:pt idx="45">
                  <c:v>0.013438276025930458</c:v>
                </c:pt>
                <c:pt idx="46">
                  <c:v>0.012271853555382947</c:v>
                </c:pt>
                <c:pt idx="47">
                  <c:v>0.012593230626685048</c:v>
                </c:pt>
                <c:pt idx="48">
                  <c:v>0.011847635821264173</c:v>
                </c:pt>
                <c:pt idx="49">
                  <c:v>0.01193211208000644</c:v>
                </c:pt>
                <c:pt idx="50">
                  <c:v>0.012580742831914451</c:v>
                </c:pt>
                <c:pt idx="51">
                  <c:v>0.012178195094603477</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4037779287951477</c:v>
                </c:pt>
                <c:pt idx="1">
                  <c:v>1.6389004258869835</c:v>
                </c:pt>
                <c:pt idx="2">
                  <c:v>1.7280630728975155</c:v>
                </c:pt>
                <c:pt idx="3">
                  <c:v>1.7868229467755903</c:v>
                </c:pt>
                <c:pt idx="4">
                  <c:v>1.7496103896103896</c:v>
                </c:pt>
                <c:pt idx="5">
                  <c:v>1.7300064771111348</c:v>
                </c:pt>
                <c:pt idx="6">
                  <c:v>1.788048986099996</c:v>
                </c:pt>
                <c:pt idx="7">
                  <c:v>1.7614583333333333</c:v>
                </c:pt>
                <c:pt idx="8">
                  <c:v>1.7129557796741661</c:v>
                </c:pt>
                <c:pt idx="9">
                  <c:v>2.0913825757575757</c:v>
                </c:pt>
                <c:pt idx="10">
                  <c:v>2.0945865228711296</c:v>
                </c:pt>
                <c:pt idx="11">
                  <c:v>1.8563996582435327</c:v>
                </c:pt>
                <c:pt idx="12">
                  <c:v>1.7729166666666667</c:v>
                </c:pt>
                <c:pt idx="13">
                  <c:v>1.8147774387682083</c:v>
                </c:pt>
                <c:pt idx="14">
                  <c:v>1.7038260144881345</c:v>
                </c:pt>
                <c:pt idx="15">
                  <c:v>1.7812847422680411</c:v>
                </c:pt>
                <c:pt idx="16">
                  <c:v>1.787646301388815</c:v>
                </c:pt>
                <c:pt idx="17">
                  <c:v>1.7771961717778881</c:v>
                </c:pt>
                <c:pt idx="18">
                  <c:v>1.8031777806089948</c:v>
                </c:pt>
                <c:pt idx="19">
                  <c:v>1.6706344234222947</c:v>
                </c:pt>
                <c:pt idx="20">
                  <c:v>1.7597630543726512</c:v>
                </c:pt>
                <c:pt idx="21">
                  <c:v>1.963347153010375</c:v>
                </c:pt>
                <c:pt idx="22">
                  <c:v>1.683366568504582</c:v>
                </c:pt>
                <c:pt idx="23">
                  <c:v>1.5147058823529411</c:v>
                </c:pt>
                <c:pt idx="24">
                  <c:v>1.6637049089917453</c:v>
                </c:pt>
                <c:pt idx="25">
                  <c:v>1.7052350779100507</c:v>
                </c:pt>
                <c:pt idx="26">
                  <c:v>1.540707030970603</c:v>
                </c:pt>
                <c:pt idx="27">
                  <c:v>1.5907488307680018</c:v>
                </c:pt>
                <c:pt idx="28">
                  <c:v>1.539794172862909</c:v>
                </c:pt>
                <c:pt idx="29">
                  <c:v>1.524676592786938</c:v>
                </c:pt>
                <c:pt idx="30">
                  <c:v>1.4578924856230693</c:v>
                </c:pt>
                <c:pt idx="31">
                  <c:v>1.4539808018068887</c:v>
                </c:pt>
                <c:pt idx="32">
                  <c:v>1.6135263908180422</c:v>
                </c:pt>
                <c:pt idx="33">
                  <c:v>1.6480441947565543</c:v>
                </c:pt>
                <c:pt idx="34">
                  <c:v>1.6412150553576539</c:v>
                </c:pt>
                <c:pt idx="35">
                  <c:v>1.541059572113611</c:v>
                </c:pt>
                <c:pt idx="36">
                  <c:v>2.028123703871406</c:v>
                </c:pt>
                <c:pt idx="37">
                  <c:v>1.9532354676757218</c:v>
                </c:pt>
                <c:pt idx="38">
                  <c:v>1.872495446265938</c:v>
                </c:pt>
                <c:pt idx="39">
                  <c:v>2.133876156480216</c:v>
                </c:pt>
                <c:pt idx="40">
                  <c:v>1.9427911946589917</c:v>
                </c:pt>
                <c:pt idx="41">
                  <c:v>2.289185689881799</c:v>
                </c:pt>
                <c:pt idx="42">
                  <c:v>2.0233058116232465</c:v>
                </c:pt>
                <c:pt idx="43">
                  <c:v>2.014825650420384</c:v>
                </c:pt>
                <c:pt idx="44">
                  <c:v>1.8929139884308355</c:v>
                </c:pt>
                <c:pt idx="45">
                  <c:v>1.9194885970974431</c:v>
                </c:pt>
                <c:pt idx="46">
                  <c:v>2.231512136955175</c:v>
                </c:pt>
                <c:pt idx="47">
                  <c:v>2.3400026273241714</c:v>
                </c:pt>
                <c:pt idx="48">
                  <c:v>2.263773122447376</c:v>
                </c:pt>
                <c:pt idx="49">
                  <c:v>2.2539060991303734</c:v>
                </c:pt>
                <c:pt idx="50">
                  <c:v>2.0861094765418593</c:v>
                </c:pt>
                <c:pt idx="51">
                  <c:v>2.0908897371275907</c:v>
                </c:pt>
                <c:pt idx="52">
                  <c:v>2.1480188288143633</c:v>
                </c:pt>
                <c:pt idx="53">
                  <c:v>2.114961398867424</c:v>
                </c:pt>
                <c:pt idx="54">
                  <c:v>2.1556359790970987</c:v>
                </c:pt>
                <c:pt idx="55">
                  <c:v>2.2210630898262496</c:v>
                </c:pt>
                <c:pt idx="56">
                  <c:v>2.027759270838154</c:v>
                </c:pt>
                <c:pt idx="57">
                  <c:v>1.9007479170544948</c:v>
                </c:pt>
                <c:pt idx="58">
                  <c:v>1.8507132530120483</c:v>
                </c:pt>
                <c:pt idx="59">
                  <c:v>2.2088054931135765</c:v>
                </c:pt>
                <c:pt idx="60">
                  <c:v>2.4308423410102797</c:v>
                </c:pt>
                <c:pt idx="61">
                  <c:v>2.358136400947642</c:v>
                </c:pt>
                <c:pt idx="62">
                  <c:v>2.377874402515404</c:v>
                </c:pt>
                <c:pt idx="63">
                  <c:v>2.1975425330812857</c:v>
                </c:pt>
                <c:pt idx="64">
                  <c:v>2.17691656834513</c:v>
                </c:pt>
                <c:pt idx="65">
                  <c:v>2.1927523261518695</c:v>
                </c:pt>
                <c:pt idx="66">
                  <c:v>2.1066654664926414</c:v>
                </c:pt>
                <c:pt idx="67">
                  <c:v>1.888354589169977</c:v>
                </c:pt>
                <c:pt idx="68">
                  <c:v>1.861786968458903</c:v>
                </c:pt>
                <c:pt idx="69">
                  <c:v>1.753026624773927</c:v>
                </c:pt>
                <c:pt idx="70">
                  <c:v>1.9643984218427424</c:v>
                </c:pt>
                <c:pt idx="71">
                  <c:v>1.6486929079381905</c:v>
                </c:pt>
                <c:pt idx="72">
                  <c:v>1.8013076380585298</c:v>
                </c:pt>
                <c:pt idx="73">
                  <c:v>1.794756993762737</c:v>
                </c:pt>
                <c:pt idx="74">
                  <c:v>1.7588560591986926</c:v>
                </c:pt>
                <c:pt idx="75">
                  <c:v>1.6993122161225143</c:v>
                </c:pt>
                <c:pt idx="76">
                  <c:v>1.8779068358659536</c:v>
                </c:pt>
                <c:pt idx="77">
                  <c:v>1.5827747077243273</c:v>
                </c:pt>
                <c:pt idx="78">
                  <c:v>1.6802484238261033</c:v>
                </c:pt>
                <c:pt idx="79">
                  <c:v>1.5022487650224876</c:v>
                </c:pt>
                <c:pt idx="80">
                  <c:v>1.484766607658623</c:v>
                </c:pt>
                <c:pt idx="81">
                  <c:v>1.0895854215316847</c:v>
                </c:pt>
                <c:pt idx="82">
                  <c:v>0.9790479396037493</c:v>
                </c:pt>
                <c:pt idx="83">
                  <c:v>1.0234981104651162</c:v>
                </c:pt>
                <c:pt idx="84">
                  <c:v>0.9554020580604049</c:v>
                </c:pt>
                <c:pt idx="85">
                  <c:v>1.0024405072224085</c:v>
                </c:pt>
                <c:pt idx="86">
                  <c:v>1.0862656419729004</c:v>
                </c:pt>
                <c:pt idx="87">
                  <c:v>1.073545944982908</c:v>
                </c:pt>
                <c:pt idx="88">
                  <c:v>1.0269332602939834</c:v>
                </c:pt>
                <c:pt idx="89">
                  <c:v>1.018364418938307</c:v>
                </c:pt>
                <c:pt idx="90">
                  <c:v>1.0341041449364496</c:v>
                </c:pt>
                <c:pt idx="91">
                  <c:v>0.9327523602033406</c:v>
                </c:pt>
                <c:pt idx="92">
                  <c:v>1.0740677361305457</c:v>
                </c:pt>
                <c:pt idx="93">
                  <c:v>0.9965220666095153</c:v>
                </c:pt>
                <c:pt idx="94">
                  <c:v>1.016566867175296</c:v>
                </c:pt>
                <c:pt idx="95">
                  <c:v>0.9947677570459282</c:v>
                </c:pt>
                <c:pt idx="96">
                  <c:v>1.0460244361095654</c:v>
                </c:pt>
                <c:pt idx="97">
                  <c:v>1.1097468646104216</c:v>
                </c:pt>
                <c:pt idx="98">
                  <c:v>1.2306127917709304</c:v>
                </c:pt>
                <c:pt idx="99">
                  <c:v>1.542987065797733</c:v>
                </c:pt>
                <c:pt idx="100">
                  <c:v>1.507645099551319</c:v>
                </c:pt>
                <c:pt idx="101">
                  <c:v>1.646282193764074</c:v>
                </c:pt>
                <c:pt idx="102">
                  <c:v>1.198894147690686</c:v>
                </c:pt>
                <c:pt idx="103">
                  <c:v>1.0496186412270683</c:v>
                </c:pt>
                <c:pt idx="104">
                  <c:v>0.99821481678228</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25434750205841</c:v>
                </c:pt>
                <c:pt idx="1">
                  <c:v>1.0430974240092727</c:v>
                </c:pt>
                <c:pt idx="2">
                  <c:v>1.0644365133357532</c:v>
                </c:pt>
                <c:pt idx="3">
                  <c:v>1.0514142943304035</c:v>
                </c:pt>
                <c:pt idx="4">
                  <c:v>1.0380177817747938</c:v>
                </c:pt>
                <c:pt idx="5">
                  <c:v>1.0833561387215291</c:v>
                </c:pt>
                <c:pt idx="6">
                  <c:v>1.059099045603152</c:v>
                </c:pt>
                <c:pt idx="7">
                  <c:v>1.015295522834092</c:v>
                </c:pt>
                <c:pt idx="8">
                  <c:v>1.2611840852845992</c:v>
                </c:pt>
                <c:pt idx="9">
                  <c:v>0.9436932092548883</c:v>
                </c:pt>
                <c:pt idx="10">
                  <c:v>1.1260006534108613</c:v>
                </c:pt>
                <c:pt idx="11">
                  <c:v>1.105437334710331</c:v>
                </c:pt>
                <c:pt idx="12">
                  <c:v>1.0892805445064797</c:v>
                </c:pt>
                <c:pt idx="13">
                  <c:v>0.9624850657108722</c:v>
                </c:pt>
                <c:pt idx="14">
                  <c:v>0.9882303147278949</c:v>
                </c:pt>
                <c:pt idx="15">
                  <c:v>0.9824221388143947</c:v>
                </c:pt>
                <c:pt idx="16">
                  <c:v>1.0892087152643615</c:v>
                </c:pt>
                <c:pt idx="17">
                  <c:v>1.1426061961034812</c:v>
                </c:pt>
                <c:pt idx="18">
                  <c:v>0.9696493650321265</c:v>
                </c:pt>
                <c:pt idx="19">
                  <c:v>1.02293328</c:v>
                </c:pt>
                <c:pt idx="20">
                  <c:v>1.1458362025947304</c:v>
                </c:pt>
                <c:pt idx="21">
                  <c:v>1.563568141168241</c:v>
                </c:pt>
                <c:pt idx="22">
                  <c:v>1.0534452878448148</c:v>
                </c:pt>
                <c:pt idx="23">
                  <c:v>1.2656472986748215</c:v>
                </c:pt>
                <c:pt idx="24">
                  <c:v>1.0625</c:v>
                </c:pt>
                <c:pt idx="25">
                  <c:v>1.1448</c:v>
                </c:pt>
                <c:pt idx="26">
                  <c:v>1.0011543183359053</c:v>
                </c:pt>
                <c:pt idx="27">
                  <c:v>0.9584373501046204</c:v>
                </c:pt>
                <c:pt idx="28">
                  <c:v>1.2935215428736908</c:v>
                </c:pt>
                <c:pt idx="29">
                  <c:v>1.2821639702247658</c:v>
                </c:pt>
                <c:pt idx="30">
                  <c:v>1.279834841740775</c:v>
                </c:pt>
                <c:pt idx="31">
                  <c:v>0.6353503184713376</c:v>
                </c:pt>
                <c:pt idx="32">
                  <c:v>1.5433324559741768</c:v>
                </c:pt>
                <c:pt idx="33">
                  <c:v>0.8397092098833064</c:v>
                </c:pt>
                <c:pt idx="34">
                  <c:v>1.0852515478987395</c:v>
                </c:pt>
                <c:pt idx="35">
                  <c:v>1.0254642442707425</c:v>
                </c:pt>
                <c:pt idx="36">
                  <c:v>1.011201923191582</c:v>
                </c:pt>
                <c:pt idx="37">
                  <c:v>0.6398335822556245</c:v>
                </c:pt>
                <c:pt idx="38">
                  <c:v>0.5997366581515998</c:v>
                </c:pt>
                <c:pt idx="39">
                  <c:v>0.6270852324745446</c:v>
                </c:pt>
                <c:pt idx="40">
                  <c:v>0.537178074675388</c:v>
                </c:pt>
                <c:pt idx="41">
                  <c:v>0.6301387637732313</c:v>
                </c:pt>
                <c:pt idx="42">
                  <c:v>0.5401430842607313</c:v>
                </c:pt>
                <c:pt idx="43">
                  <c:v>0.6276461828587332</c:v>
                </c:pt>
                <c:pt idx="44">
                  <c:v>0.6227348428901968</c:v>
                </c:pt>
                <c:pt idx="45">
                  <c:v>0.3805390096245922</c:v>
                </c:pt>
                <c:pt idx="46">
                  <c:v>0.6308823866782025</c:v>
                </c:pt>
                <c:pt idx="47">
                  <c:v>0.5773533757827103</c:v>
                </c:pt>
                <c:pt idx="48">
                  <c:v>0.737570827650958</c:v>
                </c:pt>
                <c:pt idx="49">
                  <c:v>0.7040409064586742</c:v>
                </c:pt>
                <c:pt idx="50">
                  <c:v>0.562578982516961</c:v>
                </c:pt>
                <c:pt idx="51">
                  <c:v>0.6522467651934136</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2333354814445565</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2333354814445565</c:v>
                </c:pt>
                <c:pt idx="1">
                  <c:v>-2.2333354814445565</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812193085267997</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812193085267997</c:v>
                </c:pt>
                <c:pt idx="1">
                  <c:v>-0.4812193085267997</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3337665545064177</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3337665545064177</c:v>
                </c:pt>
                <c:pt idx="1">
                  <c:v>1.3337665545064177</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25434750205841</c:v>
                </c:pt>
                <c:pt idx="1">
                  <c:v>1.0430974240092727</c:v>
                </c:pt>
                <c:pt idx="2">
                  <c:v>1.0644365133357532</c:v>
                </c:pt>
                <c:pt idx="3">
                  <c:v>1.0514142943304035</c:v>
                </c:pt>
                <c:pt idx="4">
                  <c:v>1.0380177817747938</c:v>
                </c:pt>
                <c:pt idx="5">
                  <c:v>1.0833561387215291</c:v>
                </c:pt>
                <c:pt idx="6">
                  <c:v>1.059099045603152</c:v>
                </c:pt>
                <c:pt idx="7">
                  <c:v>1.015295522834092</c:v>
                </c:pt>
                <c:pt idx="8">
                  <c:v>1.2611840852845992</c:v>
                </c:pt>
                <c:pt idx="9">
                  <c:v>0.9436932092548883</c:v>
                </c:pt>
                <c:pt idx="10">
                  <c:v>1.1260006534108613</c:v>
                </c:pt>
                <c:pt idx="11">
                  <c:v>1.105437334710331</c:v>
                </c:pt>
                <c:pt idx="12">
                  <c:v>1.0892805445064797</c:v>
                </c:pt>
                <c:pt idx="13">
                  <c:v>0.9624850657108722</c:v>
                </c:pt>
                <c:pt idx="14">
                  <c:v>0.9882303147278949</c:v>
                </c:pt>
                <c:pt idx="15">
                  <c:v>0.9824221388143947</c:v>
                </c:pt>
                <c:pt idx="16">
                  <c:v>1.0892087152643615</c:v>
                </c:pt>
                <c:pt idx="17">
                  <c:v>1.1426061961034812</c:v>
                </c:pt>
                <c:pt idx="18">
                  <c:v>0.9696493650321265</c:v>
                </c:pt>
                <c:pt idx="19">
                  <c:v>1.02293328</c:v>
                </c:pt>
                <c:pt idx="20">
                  <c:v>1.1458362025947304</c:v>
                </c:pt>
                <c:pt idx="21">
                  <c:v>1.563568141168241</c:v>
                </c:pt>
                <c:pt idx="22">
                  <c:v>1.0534452878448148</c:v>
                </c:pt>
                <c:pt idx="23">
                  <c:v>1.2656472986748215</c:v>
                </c:pt>
                <c:pt idx="24">
                  <c:v>1.0625</c:v>
                </c:pt>
                <c:pt idx="25">
                  <c:v>1.1448</c:v>
                </c:pt>
                <c:pt idx="26">
                  <c:v>1.0011543183359053</c:v>
                </c:pt>
                <c:pt idx="27">
                  <c:v>0.9584373501046204</c:v>
                </c:pt>
                <c:pt idx="28">
                  <c:v>1.2935215428736908</c:v>
                </c:pt>
                <c:pt idx="29">
                  <c:v>1.2821639702247658</c:v>
                </c:pt>
                <c:pt idx="30">
                  <c:v>1.279834841740775</c:v>
                </c:pt>
                <c:pt idx="31">
                  <c:v>0.6353503184713376</c:v>
                </c:pt>
                <c:pt idx="32">
                  <c:v>1.5433324559741768</c:v>
                </c:pt>
                <c:pt idx="33">
                  <c:v>0.8397092098833064</c:v>
                </c:pt>
                <c:pt idx="34">
                  <c:v>1.0852515478987395</c:v>
                </c:pt>
                <c:pt idx="35">
                  <c:v>1.0254642442707425</c:v>
                </c:pt>
                <c:pt idx="36">
                  <c:v>1.011201923191582</c:v>
                </c:pt>
                <c:pt idx="37">
                  <c:v>0.6398335822556245</c:v>
                </c:pt>
                <c:pt idx="38">
                  <c:v>0.5997366581515998</c:v>
                </c:pt>
                <c:pt idx="39">
                  <c:v>0.6270852324745446</c:v>
                </c:pt>
                <c:pt idx="40">
                  <c:v>0.537178074675388</c:v>
                </c:pt>
                <c:pt idx="41">
                  <c:v>0.6301387637732313</c:v>
                </c:pt>
                <c:pt idx="42">
                  <c:v>0.5401430842607313</c:v>
                </c:pt>
                <c:pt idx="43">
                  <c:v>0.6276461828587332</c:v>
                </c:pt>
                <c:pt idx="44">
                  <c:v>0.6227348428901968</c:v>
                </c:pt>
                <c:pt idx="45">
                  <c:v>0.3805390096245922</c:v>
                </c:pt>
                <c:pt idx="46">
                  <c:v>0.6308823866782025</c:v>
                </c:pt>
                <c:pt idx="47">
                  <c:v>0.5773533757827103</c:v>
                </c:pt>
                <c:pt idx="48">
                  <c:v>0.737570827650958</c:v>
                </c:pt>
                <c:pt idx="49">
                  <c:v>0.7040409064586742</c:v>
                </c:pt>
                <c:pt idx="50">
                  <c:v>0.562578982516961</c:v>
                </c:pt>
                <c:pt idx="51">
                  <c:v>0.6522467651934136</c:v>
                </c:pt>
                <c:pt idx="52">
                  <c:v>-0.4812193085267997</c:v>
                </c:pt>
                <c:pt idx="53">
                  <c:v>-2.2333354814445565</c:v>
                </c:pt>
                <c:pt idx="54">
                  <c:v>1.3337665545064177</c:v>
                </c:pt>
              </c:numCache>
            </c:numRef>
          </c:xVal>
          <c:yVal>
            <c:numRef>
              <c:f>Sheet1!$B$187:$B$241</c:f>
              <c:numCache>
                <c:formatCode>General</c:formatCode>
                <c:ptCount val="55"/>
                <c:pt idx="0">
                  <c:v>0.010470791234286618</c:v>
                </c:pt>
                <c:pt idx="1">
                  <c:v>0.010389139134260261</c:v>
                </c:pt>
                <c:pt idx="2">
                  <c:v>0.010290491473348434</c:v>
                </c:pt>
                <c:pt idx="3">
                  <c:v>0.010350691392150273</c:v>
                </c:pt>
                <c:pt idx="4">
                  <c:v>0.010412621618307902</c:v>
                </c:pt>
                <c:pt idx="5">
                  <c:v>0.010203028659866569</c:v>
                </c:pt>
                <c:pt idx="6">
                  <c:v>0.010315165849042626</c:v>
                </c:pt>
                <c:pt idx="7">
                  <c:v>0.010517663481193377</c:v>
                </c:pt>
                <c:pt idx="8">
                  <c:v>0.009380954638580602</c:v>
                </c:pt>
                <c:pt idx="9">
                  <c:v>0.010848671081489533</c:v>
                </c:pt>
                <c:pt idx="10">
                  <c:v>0.01000588896189444</c:v>
                </c:pt>
                <c:pt idx="11">
                  <c:v>0.010100950342413357</c:v>
                </c:pt>
                <c:pt idx="12">
                  <c:v>0.01017564095067072</c:v>
                </c:pt>
                <c:pt idx="13">
                  <c:v>0.010761798926112537</c:v>
                </c:pt>
                <c:pt idx="14">
                  <c:v>0.010642782197878956</c:v>
                </c:pt>
                <c:pt idx="15">
                  <c:v>0.010669632592441962</c:v>
                </c:pt>
                <c:pt idx="16">
                  <c:v>0.01017597300733029</c:v>
                </c:pt>
                <c:pt idx="17">
                  <c:v>0.00992912383289872</c:v>
                </c:pt>
                <c:pt idx="18">
                  <c:v>0.010728679360450617</c:v>
                </c:pt>
                <c:pt idx="19">
                  <c:v>0.010482355185347108</c:v>
                </c:pt>
                <c:pt idx="20">
                  <c:v>0.0099141919592739</c:v>
                </c:pt>
                <c:pt idx="21">
                  <c:v>0.007983074937456903</c:v>
                </c:pt>
                <c:pt idx="22">
                  <c:v>0.010341302389814771</c:v>
                </c:pt>
                <c:pt idx="23">
                  <c:v>0.009360321819890004</c:v>
                </c:pt>
                <c:pt idx="24">
                  <c:v>0.010299443706875081</c:v>
                </c:pt>
                <c:pt idx="25">
                  <c:v>0.009918982180666999</c:v>
                </c:pt>
                <c:pt idx="26">
                  <c:v>0.010583036315285732</c:v>
                </c:pt>
                <c:pt idx="27">
                  <c:v>0.01078051095596929</c:v>
                </c:pt>
                <c:pt idx="28">
                  <c:v>0.00923146304115612</c:v>
                </c:pt>
                <c:pt idx="29">
                  <c:v>0.009283967529904957</c:v>
                </c:pt>
                <c:pt idx="30">
                  <c:v>0.009294734769002815</c:v>
                </c:pt>
                <c:pt idx="31">
                  <c:v>0.012274097652849458</c:v>
                </c:pt>
                <c:pt idx="32">
                  <c:v>0.008076621713554109</c:v>
                </c:pt>
                <c:pt idx="33">
                  <c:v>0.011329374740081664</c:v>
                </c:pt>
                <c:pt idx="34">
                  <c:v>0.010194266445184307</c:v>
                </c:pt>
                <c:pt idx="35">
                  <c:v>0.010470654887300633</c:v>
                </c:pt>
                <c:pt idx="36">
                  <c:v>0.010536587626608617</c:v>
                </c:pt>
                <c:pt idx="37">
                  <c:v>0.012253372143958045</c:v>
                </c:pt>
                <c:pt idx="38">
                  <c:v>0.01243873468272921</c:v>
                </c:pt>
                <c:pt idx="39">
                  <c:v>0.012312306003184585</c:v>
                </c:pt>
                <c:pt idx="40">
                  <c:v>0.012727934368595253</c:v>
                </c:pt>
                <c:pt idx="41">
                  <c:v>0.012298189949986256</c:v>
                </c:pt>
                <c:pt idx="42">
                  <c:v>0.012714227539044082</c:v>
                </c:pt>
                <c:pt idx="43">
                  <c:v>0.01230971280708136</c:v>
                </c:pt>
                <c:pt idx="44">
                  <c:v>0.012332417253012783</c:v>
                </c:pt>
                <c:pt idx="45">
                  <c:v>0.01345205511893587</c:v>
                </c:pt>
                <c:pt idx="46">
                  <c:v>0.012294752284064644</c:v>
                </c:pt>
                <c:pt idx="47">
                  <c:v>0.01254220950376948</c:v>
                </c:pt>
                <c:pt idx="48">
                  <c:v>0.01180154636570188</c:v>
                </c:pt>
                <c:pt idx="49">
                  <c:v>0.011956550557566437</c:v>
                </c:pt>
                <c:pt idx="50">
                  <c:v>0.01261050948202811</c:v>
                </c:pt>
                <c:pt idx="51">
                  <c:v>0.01219598771472826</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72.7857</c:v>
                </c:pt>
                <c:pt idx="1">
                  <c:v>787.2273</c:v>
                </c:pt>
                <c:pt idx="2">
                  <c:v>842.1667</c:v>
                </c:pt>
                <c:pt idx="3">
                  <c:v>844.125</c:v>
                </c:pt>
                <c:pt idx="4">
                  <c:v>842.0</c:v>
                </c:pt>
                <c:pt idx="5">
                  <c:v>844.5556</c:v>
                </c:pt>
                <c:pt idx="6">
                  <c:v>879.1667</c:v>
                </c:pt>
                <c:pt idx="7">
                  <c:v>845.5</c:v>
                </c:pt>
                <c:pt idx="8">
                  <c:v>828.0</c:v>
                </c:pt>
                <c:pt idx="9">
                  <c:v>828.1875</c:v>
                </c:pt>
                <c:pt idx="10">
                  <c:v>859.8462</c:v>
                </c:pt>
                <c:pt idx="11">
                  <c:v>871.5</c:v>
                </c:pt>
                <c:pt idx="12">
                  <c:v>851.0</c:v>
                </c:pt>
                <c:pt idx="13">
                  <c:v>883.3333</c:v>
                </c:pt>
                <c:pt idx="14">
                  <c:v>831.2778</c:v>
                </c:pt>
                <c:pt idx="15">
                  <c:v>863.9231</c:v>
                </c:pt>
                <c:pt idx="16">
                  <c:v>870.8889</c:v>
                </c:pt>
                <c:pt idx="17">
                  <c:v>863.125</c:v>
                </c:pt>
                <c:pt idx="18">
                  <c:v>884.5714</c:v>
                </c:pt>
                <c:pt idx="19">
                  <c:v>824.0</c:v>
                </c:pt>
                <c:pt idx="20">
                  <c:v>865.2</c:v>
                </c:pt>
                <c:pt idx="21">
                  <c:v>961.3333</c:v>
                </c:pt>
                <c:pt idx="22">
                  <c:v>818.0</c:v>
                </c:pt>
                <c:pt idx="23">
                  <c:v>824.0</c:v>
                </c:pt>
                <c:pt idx="24">
                  <c:v>899.5714</c:v>
                </c:pt>
                <c:pt idx="25">
                  <c:v>885.6667</c:v>
                </c:pt>
                <c:pt idx="26">
                  <c:v>861.625</c:v>
                </c:pt>
                <c:pt idx="27">
                  <c:v>880.2143</c:v>
                </c:pt>
                <c:pt idx="28">
                  <c:v>842.1818</c:v>
                </c:pt>
                <c:pt idx="29">
                  <c:v>846.9333</c:v>
                </c:pt>
                <c:pt idx="30">
                  <c:v>818.3636</c:v>
                </c:pt>
                <c:pt idx="31">
                  <c:v>824.0</c:v>
                </c:pt>
                <c:pt idx="32">
                  <c:v>882.8571</c:v>
                </c:pt>
                <c:pt idx="33">
                  <c:v>880.0556</c:v>
                </c:pt>
                <c:pt idx="34">
                  <c:v>873.4</c:v>
                </c:pt>
                <c:pt idx="35">
                  <c:v>835.5625</c:v>
                </c:pt>
                <c:pt idx="36">
                  <c:v>1119.7778</c:v>
                </c:pt>
                <c:pt idx="37">
                  <c:v>1060.2</c:v>
                </c:pt>
                <c:pt idx="38">
                  <c:v>1028.0</c:v>
                </c:pt>
                <c:pt idx="39">
                  <c:v>1198.4</c:v>
                </c:pt>
                <c:pt idx="40">
                  <c:v>1060.2</c:v>
                </c:pt>
                <c:pt idx="41">
                  <c:v>1255.5</c:v>
                </c:pt>
                <c:pt idx="42">
                  <c:v>1135.8333</c:v>
                </c:pt>
                <c:pt idx="43">
                  <c:v>1162.5</c:v>
                </c:pt>
                <c:pt idx="44">
                  <c:v>1116.0</c:v>
                </c:pt>
                <c:pt idx="45">
                  <c:v>1111.0</c:v>
                </c:pt>
                <c:pt idx="46">
                  <c:v>1153.1667</c:v>
                </c:pt>
                <c:pt idx="47">
                  <c:v>1157.8333</c:v>
                </c:pt>
                <c:pt idx="48">
                  <c:v>1155.0556</c:v>
                </c:pt>
                <c:pt idx="49">
                  <c:v>1167.1429</c:v>
                </c:pt>
                <c:pt idx="50">
                  <c:v>1132.6667</c:v>
                </c:pt>
                <c:pt idx="51">
                  <c:v>1158.9231</c:v>
                </c:pt>
                <c:pt idx="52">
                  <c:v>1183.9375</c:v>
                </c:pt>
                <c:pt idx="53">
                  <c:v>1185.0833</c:v>
                </c:pt>
                <c:pt idx="54">
                  <c:v>1181.0833</c:v>
                </c:pt>
                <c:pt idx="55">
                  <c:v>1235.5714</c:v>
                </c:pt>
                <c:pt idx="56">
                  <c:v>1187.2857</c:v>
                </c:pt>
                <c:pt idx="57">
                  <c:v>1116.0</c:v>
                </c:pt>
                <c:pt idx="58">
                  <c:v>1113.6667</c:v>
                </c:pt>
                <c:pt idx="59">
                  <c:v>1163.3043</c:v>
                </c:pt>
                <c:pt idx="60">
                  <c:v>1175.48</c:v>
                </c:pt>
                <c:pt idx="61">
                  <c:v>1231.5714</c:v>
                </c:pt>
                <c:pt idx="62">
                  <c:v>1217.125</c:v>
                </c:pt>
                <c:pt idx="63">
                  <c:v>1162.5</c:v>
                </c:pt>
                <c:pt idx="64">
                  <c:v>1148.0</c:v>
                </c:pt>
                <c:pt idx="65">
                  <c:v>1138.8182</c:v>
                </c:pt>
                <c:pt idx="66">
                  <c:v>1170.2</c:v>
                </c:pt>
                <c:pt idx="67">
                  <c:v>1129.0</c:v>
                </c:pt>
                <c:pt idx="68">
                  <c:v>1115.9</c:v>
                </c:pt>
                <c:pt idx="69">
                  <c:v>1060.2</c:v>
                </c:pt>
                <c:pt idx="70">
                  <c:v>1171.8</c:v>
                </c:pt>
                <c:pt idx="71">
                  <c:v>1069.5</c:v>
                </c:pt>
                <c:pt idx="72">
                  <c:v>1146.5714</c:v>
                </c:pt>
                <c:pt idx="73">
                  <c:v>1162.5</c:v>
                </c:pt>
                <c:pt idx="74">
                  <c:v>1109.625</c:v>
                </c:pt>
                <c:pt idx="75">
                  <c:v>1087.3333</c:v>
                </c:pt>
                <c:pt idx="76">
                  <c:v>1185.75</c:v>
                </c:pt>
                <c:pt idx="77">
                  <c:v>1023.0</c:v>
                </c:pt>
                <c:pt idx="78">
                  <c:v>1116.0</c:v>
                </c:pt>
                <c:pt idx="79">
                  <c:v>1018.75</c:v>
                </c:pt>
                <c:pt idx="80">
                  <c:v>996.0</c:v>
                </c:pt>
                <c:pt idx="81">
                  <c:v>731.8</c:v>
                </c:pt>
                <c:pt idx="82">
                  <c:v>676.0</c:v>
                </c:pt>
                <c:pt idx="83">
                  <c:v>704.1667</c:v>
                </c:pt>
                <c:pt idx="84">
                  <c:v>633.75</c:v>
                </c:pt>
                <c:pt idx="85">
                  <c:v>694.3333</c:v>
                </c:pt>
                <c:pt idx="86">
                  <c:v>731.8</c:v>
                </c:pt>
                <c:pt idx="87">
                  <c:v>724.2857</c:v>
                </c:pt>
                <c:pt idx="88">
                  <c:v>703.0</c:v>
                </c:pt>
                <c:pt idx="89">
                  <c:v>709.8</c:v>
                </c:pt>
                <c:pt idx="90">
                  <c:v>700.1429</c:v>
                </c:pt>
                <c:pt idx="91">
                  <c:v>642.2</c:v>
                </c:pt>
                <c:pt idx="92">
                  <c:v>670.3333</c:v>
                </c:pt>
                <c:pt idx="93">
                  <c:v>673.1667</c:v>
                </c:pt>
                <c:pt idx="94">
                  <c:v>692.875</c:v>
                </c:pt>
                <c:pt idx="95">
                  <c:v>676.0</c:v>
                </c:pt>
                <c:pt idx="96">
                  <c:v>711.6667</c:v>
                </c:pt>
                <c:pt idx="97">
                  <c:v>748.4286</c:v>
                </c:pt>
                <c:pt idx="98">
                  <c:v>760.5</c:v>
                </c:pt>
                <c:pt idx="99">
                  <c:v>935.3333</c:v>
                </c:pt>
                <c:pt idx="100">
                  <c:v>951.5</c:v>
                </c:pt>
                <c:pt idx="101">
                  <c:v>1035.0</c:v>
                </c:pt>
                <c:pt idx="102">
                  <c:v>752.0</c:v>
                </c:pt>
                <c:pt idx="103">
                  <c:v>656.0</c:v>
                </c:pt>
                <c:pt idx="104">
                  <c:v>628.0</c:v>
                </c:pt>
              </c:numCache>
            </c:numRef>
          </c:xVal>
          <c:yVal>
            <c:numRef>
              <c:f>Sheet1!$B$2:$B$106</c:f>
              <c:numCache>
                <c:formatCode>General</c:formatCode>
                <c:ptCount val="105"/>
                <c:pt idx="0">
                  <c:v>0.022187004754358162</c:v>
                </c:pt>
                <c:pt idx="1">
                  <c:v>0.020389249304911955</c:v>
                </c:pt>
                <c:pt idx="2">
                  <c:v>0.02077922077922078</c:v>
                </c:pt>
                <c:pt idx="3">
                  <c:v>0.014532243415077202</c:v>
                </c:pt>
                <c:pt idx="4">
                  <c:v>0.013948497854077254</c:v>
                </c:pt>
                <c:pt idx="5">
                  <c:v>0.02040816326530612</c:v>
                </c:pt>
                <c:pt idx="6">
                  <c:v>0.015306122448979591</c:v>
                </c:pt>
                <c:pt idx="7">
                  <c:v>0.018867924528301886</c:v>
                </c:pt>
                <c:pt idx="8">
                  <c:v>0.019801980198019802</c:v>
                </c:pt>
                <c:pt idx="9">
                  <c:v>0.02476780185758514</c:v>
                </c:pt>
                <c:pt idx="10">
                  <c:v>0.019726858877086494</c:v>
                </c:pt>
                <c:pt idx="11">
                  <c:v>0.01791044776119403</c:v>
                </c:pt>
                <c:pt idx="12">
                  <c:v>0.01692524682651622</c:v>
                </c:pt>
                <c:pt idx="13">
                  <c:v>0.014336917562724014</c:v>
                </c:pt>
                <c:pt idx="14">
                  <c:v>0.019148936170212766</c:v>
                </c:pt>
                <c:pt idx="15">
                  <c:v>0.01752021563342318</c:v>
                </c:pt>
                <c:pt idx="16">
                  <c:v>0.015901060070671377</c:v>
                </c:pt>
                <c:pt idx="17">
                  <c:v>0.0175054704595186</c:v>
                </c:pt>
                <c:pt idx="18">
                  <c:v>0.017721518987341773</c:v>
                </c:pt>
                <c:pt idx="19">
                  <c:v>0.025477707006369428</c:v>
                </c:pt>
                <c:pt idx="20">
                  <c:v>0.01483679525222552</c:v>
                </c:pt>
                <c:pt idx="21">
                  <c:v>0.014492753623188406</c:v>
                </c:pt>
                <c:pt idx="22">
                  <c:v>0.03017241379310345</c:v>
                </c:pt>
                <c:pt idx="23">
                  <c:v>0.015873015873015872</c:v>
                </c:pt>
                <c:pt idx="24">
                  <c:v>0.01818181818181818</c:v>
                </c:pt>
                <c:pt idx="25">
                  <c:v>0.017142857142857144</c:v>
                </c:pt>
                <c:pt idx="26">
                  <c:v>0.020512820512820513</c:v>
                </c:pt>
                <c:pt idx="27">
                  <c:v>0.030042918454935622</c:v>
                </c:pt>
                <c:pt idx="28">
                  <c:v>0.021956087824351298</c:v>
                </c:pt>
                <c:pt idx="29">
                  <c:v>0.025817555938037865</c:v>
                </c:pt>
                <c:pt idx="30">
                  <c:v>0.03125</c:v>
                </c:pt>
                <c:pt idx="31">
                  <c:v>0.025423728813559324</c:v>
                </c:pt>
                <c:pt idx="32">
                  <c:v>0.021604938271604937</c:v>
                </c:pt>
                <c:pt idx="33">
                  <c:v>0.037422037422037424</c:v>
                </c:pt>
                <c:pt idx="34">
                  <c:v>0.03656307129798903</c:v>
                </c:pt>
                <c:pt idx="35">
                  <c:v>0.03018867924528302</c:v>
                </c:pt>
                <c:pt idx="36">
                  <c:v>0.022113022113022112</c:v>
                </c:pt>
                <c:pt idx="37">
                  <c:v>0.01182033096926714</c:v>
                </c:pt>
                <c:pt idx="38">
                  <c:v>0.009216589861751152</c:v>
                </c:pt>
                <c:pt idx="39">
                  <c:v>0.010183299389002037</c:v>
                </c:pt>
                <c:pt idx="40">
                  <c:v>0.00825082508250825</c:v>
                </c:pt>
                <c:pt idx="41">
                  <c:v>0.00796812749003984</c:v>
                </c:pt>
                <c:pt idx="42">
                  <c:v>0.008968609865470852</c:v>
                </c:pt>
                <c:pt idx="43">
                  <c:v>0.008633093525179856</c:v>
                </c:pt>
                <c:pt idx="44">
                  <c:v>0.007457121551081283</c:v>
                </c:pt>
                <c:pt idx="45">
                  <c:v>0.005287009063444109</c:v>
                </c:pt>
                <c:pt idx="46">
                  <c:v>0.005159071367153913</c:v>
                </c:pt>
                <c:pt idx="47">
                  <c:v>0.005357142857142857</c:v>
                </c:pt>
                <c:pt idx="48">
                  <c:v>0.010101010101010102</c:v>
                </c:pt>
                <c:pt idx="49">
                  <c:v>0.011991434689507495</c:v>
                </c:pt>
                <c:pt idx="50">
                  <c:v>0.01362088535754824</c:v>
                </c:pt>
                <c:pt idx="51">
                  <c:v>0.01813110181311018</c:v>
                </c:pt>
                <c:pt idx="52">
                  <c:v>0.01568627450980392</c:v>
                </c:pt>
                <c:pt idx="53">
                  <c:v>0.015132408575031526</c:v>
                </c:pt>
                <c:pt idx="54">
                  <c:v>0.02030456852791878</c:v>
                </c:pt>
                <c:pt idx="55">
                  <c:v>0.012216404886561954</c:v>
                </c:pt>
                <c:pt idx="56">
                  <c:v>0.013333333333333334</c:v>
                </c:pt>
                <c:pt idx="57">
                  <c:v>0.013157894736842105</c:v>
                </c:pt>
                <c:pt idx="58">
                  <c:v>0.01405152224824356</c:v>
                </c:pt>
                <c:pt idx="59">
                  <c:v>0.014321295143212951</c:v>
                </c:pt>
                <c:pt idx="60">
                  <c:v>0.016914749661705007</c:v>
                </c:pt>
                <c:pt idx="61">
                  <c:v>0.009009009009009009</c:v>
                </c:pt>
                <c:pt idx="62">
                  <c:v>0.008918617614269788</c:v>
                </c:pt>
                <c:pt idx="63">
                  <c:v>0.01263157894736842</c:v>
                </c:pt>
                <c:pt idx="64">
                  <c:v>0.013110846245530394</c:v>
                </c:pt>
                <c:pt idx="65">
                  <c:v>0.01544943820224719</c:v>
                </c:pt>
                <c:pt idx="66">
                  <c:v>0.014970059880239521</c:v>
                </c:pt>
                <c:pt idx="67">
                  <c:v>0.019490254872563718</c:v>
                </c:pt>
                <c:pt idx="68">
                  <c:v>0.02040816326530612</c:v>
                </c:pt>
                <c:pt idx="69">
                  <c:v>0.014492753623188406</c:v>
                </c:pt>
                <c:pt idx="70">
                  <c:v>0.013368983957219251</c:v>
                </c:pt>
                <c:pt idx="71">
                  <c:v>0.017045454545454544</c:v>
                </c:pt>
                <c:pt idx="72">
                  <c:v>0.019021739130434784</c:v>
                </c:pt>
                <c:pt idx="73">
                  <c:v>0.01639344262295082</c:v>
                </c:pt>
                <c:pt idx="74">
                  <c:v>0.0175054704595186</c:v>
                </c:pt>
                <c:pt idx="75">
                  <c:v>0.021791767554479417</c:v>
                </c:pt>
                <c:pt idx="76">
                  <c:v>0.011976047904191617</c:v>
                </c:pt>
                <c:pt idx="77">
                  <c:v>0.009375</c:v>
                </c:pt>
                <c:pt idx="78">
                  <c:v>0.010752688172043012</c:v>
                </c:pt>
                <c:pt idx="79">
                  <c:v>0.012012012012012012</c:v>
                </c:pt>
                <c:pt idx="80">
                  <c:v>0.0121580547112462</c:v>
                </c:pt>
                <c:pt idx="81">
                  <c:v>0.012953367875647668</c:v>
                </c:pt>
                <c:pt idx="82">
                  <c:v>0.017064846416382253</c:v>
                </c:pt>
                <c:pt idx="83">
                  <c:v>0.02390438247011952</c:v>
                </c:pt>
                <c:pt idx="84">
                  <c:v>0.017543859649122806</c:v>
                </c:pt>
                <c:pt idx="85">
                  <c:v>0.020338983050847456</c:v>
                </c:pt>
                <c:pt idx="86">
                  <c:v>0.01282051282051282</c:v>
                </c:pt>
                <c:pt idx="87">
                  <c:v>0.018134715025906734</c:v>
                </c:pt>
                <c:pt idx="88">
                  <c:v>0.01818181818181818</c:v>
                </c:pt>
                <c:pt idx="89">
                  <c:v>0.018726591760299626</c:v>
                </c:pt>
                <c:pt idx="90">
                  <c:v>0.02422145328719723</c:v>
                </c:pt>
                <c:pt idx="91">
                  <c:v>0.016286644951140065</c:v>
                </c:pt>
                <c:pt idx="92">
                  <c:v>0.01411764705882353</c:v>
                </c:pt>
                <c:pt idx="93">
                  <c:v>0.0125</c:v>
                </c:pt>
                <c:pt idx="94">
                  <c:v>0.019464720194647202</c:v>
                </c:pt>
                <c:pt idx="95">
                  <c:v>0.012589928057553957</c:v>
                </c:pt>
                <c:pt idx="96">
                  <c:v>0.008356545961002786</c:v>
                </c:pt>
                <c:pt idx="97">
                  <c:v>0.005368098159509203</c:v>
                </c:pt>
                <c:pt idx="98">
                  <c:v>0.004056795131845842</c:v>
                </c:pt>
                <c:pt idx="99">
                  <c:v>0.0017301038062283738</c:v>
                </c:pt>
                <c:pt idx="100">
                  <c:v>0.0019011406844106464</c:v>
                </c:pt>
                <c:pt idx="101">
                  <c:v>0.0019588638589618022</c:v>
                </c:pt>
                <c:pt idx="102">
                  <c:v>0.0026560424966799467</c:v>
                </c:pt>
                <c:pt idx="103">
                  <c:v>0.002386634844868735</c:v>
                </c:pt>
                <c:pt idx="104">
                  <c:v>0.00314465408805031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numCache>
            </c:numRef>
          </c:xVal>
          <c:yVal>
            <c:numRef>
              <c:f>Sheet1!$B$109:$B$160</c:f>
              <c:numCache>
                <c:formatCode>General</c:formatCode>
                <c:ptCount val="52"/>
                <c:pt idx="0">
                  <c:v>0.0027210884353741495</c:v>
                </c:pt>
                <c:pt idx="1">
                  <c:v>0.025677603423680456</c:v>
                </c:pt>
                <c:pt idx="2">
                  <c:v>0.028205128205128206</c:v>
                </c:pt>
                <c:pt idx="3">
                  <c:v>0.026954177897574125</c:v>
                </c:pt>
                <c:pt idx="4">
                  <c:v>0.022397891963109356</c:v>
                </c:pt>
                <c:pt idx="5">
                  <c:v>0.021621621621621623</c:v>
                </c:pt>
                <c:pt idx="6">
                  <c:v>0.013480392156862746</c:v>
                </c:pt>
                <c:pt idx="7">
                  <c:v>0.010101010101010102</c:v>
                </c:pt>
                <c:pt idx="8">
                  <c:v>0.005763688760806916</c:v>
                </c:pt>
                <c:pt idx="9">
                  <c:v>0.010101010101010102</c:v>
                </c:pt>
                <c:pt idx="10">
                  <c:v>0.004914004914004914</c:v>
                </c:pt>
                <c:pt idx="11">
                  <c:v>0.010279001468428781</c:v>
                </c:pt>
                <c:pt idx="12">
                  <c:v>0.008247422680412371</c:v>
                </c:pt>
                <c:pt idx="13">
                  <c:v>0.01072961373390558</c:v>
                </c:pt>
                <c:pt idx="14">
                  <c:v>0.013422818791946308</c:v>
                </c:pt>
                <c:pt idx="15">
                  <c:v>0.0136986301369863</c:v>
                </c:pt>
                <c:pt idx="16">
                  <c:v>0.008645533141210375</c:v>
                </c:pt>
                <c:pt idx="17">
                  <c:v>0.012422360248447204</c:v>
                </c:pt>
                <c:pt idx="18">
                  <c:v>0.012422360248447204</c:v>
                </c:pt>
                <c:pt idx="19">
                  <c:v>0.009900990099009901</c:v>
                </c:pt>
                <c:pt idx="20">
                  <c:v>0.007518796992481203</c:v>
                </c:pt>
                <c:pt idx="21">
                  <c:v>0.00510204081632653</c:v>
                </c:pt>
                <c:pt idx="22">
                  <c:v>0.005235602094240838</c:v>
                </c:pt>
                <c:pt idx="23">
                  <c:v>0.01092896174863388</c:v>
                </c:pt>
                <c:pt idx="24">
                  <c:v>0.009174311926605505</c:v>
                </c:pt>
                <c:pt idx="25">
                  <c:v>0.009302325581395349</c:v>
                </c:pt>
                <c:pt idx="26">
                  <c:v>0.009569377990430622</c:v>
                </c:pt>
                <c:pt idx="27">
                  <c:v>0.013377926421404682</c:v>
                </c:pt>
                <c:pt idx="28">
                  <c:v>0.005571030640668524</c:v>
                </c:pt>
                <c:pt idx="29">
                  <c:v>0.0078125</c:v>
                </c:pt>
                <c:pt idx="30">
                  <c:v>0.003787878787878788</c:v>
                </c:pt>
                <c:pt idx="31">
                  <c:v>0.013793103448275862</c:v>
                </c:pt>
                <c:pt idx="32">
                  <c:v>0.0028735632183908046</c:v>
                </c:pt>
                <c:pt idx="33">
                  <c:v>0.00468384074941452</c:v>
                </c:pt>
                <c:pt idx="34">
                  <c:v>0.008333333333333333</c:v>
                </c:pt>
                <c:pt idx="35">
                  <c:v>0.0033333333333333335</c:v>
                </c:pt>
                <c:pt idx="36">
                  <c:v>0.0045871559633027525</c:v>
                </c:pt>
                <c:pt idx="37">
                  <c:v>0.024489795918367346</c:v>
                </c:pt>
                <c:pt idx="38">
                  <c:v>0.024193548387096774</c:v>
                </c:pt>
                <c:pt idx="39">
                  <c:v>0.022284122562674095</c:v>
                </c:pt>
                <c:pt idx="40">
                  <c:v>0.01834862385321101</c:v>
                </c:pt>
                <c:pt idx="41">
                  <c:v>0.011730205278592375</c:v>
                </c:pt>
                <c:pt idx="42">
                  <c:v>0.014814814814814815</c:v>
                </c:pt>
                <c:pt idx="43">
                  <c:v>0.010638297872340425</c:v>
                </c:pt>
                <c:pt idx="44">
                  <c:v>0.004207573632538569</c:v>
                </c:pt>
                <c:pt idx="45">
                  <c:v>0.013251783893985729</c:v>
                </c:pt>
                <c:pt idx="46">
                  <c:v>0.005578800557880056</c:v>
                </c:pt>
                <c:pt idx="47">
                  <c:v>0.005657708628005658</c:v>
                </c:pt>
                <c:pt idx="48">
                  <c:v>0.0010559662090813093</c:v>
                </c:pt>
                <c:pt idx="49">
                  <c:v>0.0019665683382497543</c:v>
                </c:pt>
                <c:pt idx="50">
                  <c:v>0.003604902667627974</c:v>
                </c:pt>
                <c:pt idx="51">
                  <c:v>0.0044510385756676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412.3874231820062</c:v>
                </c:pt>
              </c:numCache>
            </c:numRef>
          </c:xVal>
          <c:yVal>
            <c:numRef>
              <c:f>Sheet1!$B$163:$B$164</c:f>
              <c:numCache>
                <c:formatCode>General</c:formatCode>
                <c:ptCount val="2"/>
                <c:pt idx="0">
                  <c:v>0.025535635655856204</c:v>
                </c:pt>
                <c:pt idx="1">
                  <c:v>0.0255356356558562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412.3874231820062</c:v>
                </c:pt>
                <c:pt idx="1">
                  <c:v>-1412.3874231820062</c:v>
                </c:pt>
              </c:numCache>
            </c:numRef>
          </c:xVal>
          <c:yVal>
            <c:numRef>
              <c:f>Sheet1!$B$167:$B$168</c:f>
              <c:numCache>
                <c:formatCode>General</c:formatCode>
                <c:ptCount val="2"/>
                <c:pt idx="0">
                  <c:v>0.0255356356558562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09.7392112422423</c:v>
                </c:pt>
              </c:numCache>
            </c:numRef>
          </c:xVal>
          <c:yVal>
            <c:numRef>
              <c:f>Sheet1!$B$171:$B$172</c:f>
              <c:numCache>
                <c:formatCode>General</c:formatCode>
                <c:ptCount val="2"/>
                <c:pt idx="0">
                  <c:v>0.017435844729463076</c:v>
                </c:pt>
                <c:pt idx="1">
                  <c:v>0.0174358447294630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09.7392112422423</c:v>
                </c:pt>
                <c:pt idx="1">
                  <c:v>-309.7392112422423</c:v>
                </c:pt>
              </c:numCache>
            </c:numRef>
          </c:xVal>
          <c:yVal>
            <c:numRef>
              <c:f>Sheet1!$B$175:$B$176</c:f>
              <c:numCache>
                <c:formatCode>General</c:formatCode>
                <c:ptCount val="2"/>
                <c:pt idx="0">
                  <c:v>0.0174358447294630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32.474385951387</c:v>
                </c:pt>
              </c:numCache>
            </c:numRef>
          </c:xVal>
          <c:yVal>
            <c:numRef>
              <c:f>Sheet1!$B$179:$B$180</c:f>
              <c:numCache>
                <c:formatCode>General</c:formatCode>
                <c:ptCount val="2"/>
                <c:pt idx="0">
                  <c:v>0.00904541591420534</c:v>
                </c:pt>
                <c:pt idx="1">
                  <c:v>0.0090454159142053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32.474385951387</c:v>
                </c:pt>
                <c:pt idx="1">
                  <c:v>832.474385951387</c:v>
                </c:pt>
              </c:numCache>
            </c:numRef>
          </c:xVal>
          <c:yVal>
            <c:numRef>
              <c:f>Sheet1!$B$183:$B$184</c:f>
              <c:numCache>
                <c:formatCode>General</c:formatCode>
                <c:ptCount val="2"/>
                <c:pt idx="0">
                  <c:v>0.009045415914205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46.0</c:v>
                </c:pt>
                <c:pt idx="1">
                  <c:v>652.4444</c:v>
                </c:pt>
                <c:pt idx="2">
                  <c:v>664.8182</c:v>
                </c:pt>
                <c:pt idx="3">
                  <c:v>660.35</c:v>
                </c:pt>
                <c:pt idx="4">
                  <c:v>652.8235</c:v>
                </c:pt>
                <c:pt idx="5">
                  <c:v>675.75</c:v>
                </c:pt>
                <c:pt idx="6">
                  <c:v>651.3636</c:v>
                </c:pt>
                <c:pt idx="7">
                  <c:v>636.0</c:v>
                </c:pt>
                <c:pt idx="8">
                  <c:v>795.0</c:v>
                </c:pt>
                <c:pt idx="9">
                  <c:v>596.25</c:v>
                </c:pt>
                <c:pt idx="10">
                  <c:v>715.5</c:v>
                </c:pt>
                <c:pt idx="11">
                  <c:v>658.7143</c:v>
                </c:pt>
                <c:pt idx="12">
                  <c:v>675.75</c:v>
                </c:pt>
                <c:pt idx="13">
                  <c:v>604.2</c:v>
                </c:pt>
                <c:pt idx="14">
                  <c:v>606.8333</c:v>
                </c:pt>
                <c:pt idx="15">
                  <c:v>609.5</c:v>
                </c:pt>
                <c:pt idx="16">
                  <c:v>692.3333</c:v>
                </c:pt>
                <c:pt idx="17">
                  <c:v>715.5</c:v>
                </c:pt>
                <c:pt idx="18">
                  <c:v>596.25</c:v>
                </c:pt>
                <c:pt idx="19">
                  <c:v>639.3333</c:v>
                </c:pt>
                <c:pt idx="20">
                  <c:v>715.5</c:v>
                </c:pt>
                <c:pt idx="21">
                  <c:v>954.0</c:v>
                </c:pt>
                <c:pt idx="22">
                  <c:v>636.0</c:v>
                </c:pt>
                <c:pt idx="23">
                  <c:v>776.0</c:v>
                </c:pt>
                <c:pt idx="24">
                  <c:v>671.5</c:v>
                </c:pt>
                <c:pt idx="25">
                  <c:v>715.5</c:v>
                </c:pt>
                <c:pt idx="26">
                  <c:v>636.0</c:v>
                </c:pt>
                <c:pt idx="27">
                  <c:v>590.25</c:v>
                </c:pt>
                <c:pt idx="28">
                  <c:v>800.0</c:v>
                </c:pt>
                <c:pt idx="29">
                  <c:v>795.0</c:v>
                </c:pt>
                <c:pt idx="30">
                  <c:v>795.0</c:v>
                </c:pt>
                <c:pt idx="31">
                  <c:v>399.0</c:v>
                </c:pt>
                <c:pt idx="32">
                  <c:v>954.0</c:v>
                </c:pt>
                <c:pt idx="33">
                  <c:v>532.5</c:v>
                </c:pt>
                <c:pt idx="34">
                  <c:v>675.75</c:v>
                </c:pt>
                <c:pt idx="35">
                  <c:v>636.0</c:v>
                </c:pt>
                <c:pt idx="36">
                  <c:v>636.0</c:v>
                </c:pt>
                <c:pt idx="37">
                  <c:v>398.5</c:v>
                </c:pt>
                <c:pt idx="38">
                  <c:v>368.6667</c:v>
                </c:pt>
                <c:pt idx="39">
                  <c:v>382.75</c:v>
                </c:pt>
                <c:pt idx="40">
                  <c:v>332.6667</c:v>
                </c:pt>
                <c:pt idx="41">
                  <c:v>397.25</c:v>
                </c:pt>
                <c:pt idx="42">
                  <c:v>339.75</c:v>
                </c:pt>
                <c:pt idx="43">
                  <c:v>392.4</c:v>
                </c:pt>
                <c:pt idx="44">
                  <c:v>382.6667</c:v>
                </c:pt>
                <c:pt idx="45">
                  <c:v>234.4615</c:v>
                </c:pt>
                <c:pt idx="46">
                  <c:v>393.25</c:v>
                </c:pt>
                <c:pt idx="47">
                  <c:v>349.5</c:v>
                </c:pt>
                <c:pt idx="48">
                  <c:v>451.0</c:v>
                </c:pt>
                <c:pt idx="49">
                  <c:v>439.5</c:v>
                </c:pt>
                <c:pt idx="50">
                  <c:v>351.2</c:v>
                </c:pt>
                <c:pt idx="51">
                  <c:v>406.0</c:v>
                </c:pt>
                <c:pt idx="52">
                  <c:v>-309.7392112422423</c:v>
                </c:pt>
                <c:pt idx="53">
                  <c:v>-1412.3874231820062</c:v>
                </c:pt>
                <c:pt idx="54">
                  <c:v>832.474385951387</c:v>
                </c:pt>
              </c:numCache>
            </c:numRef>
          </c:xVal>
          <c:yVal>
            <c:numRef>
              <c:f>Sheet1!$B$187:$B$241</c:f>
              <c:numCache>
                <c:formatCode>General</c:formatCode>
                <c:ptCount val="55"/>
                <c:pt idx="0">
                  <c:v>0.010415212303460524</c:v>
                </c:pt>
                <c:pt idx="1">
                  <c:v>0.010367873277213686</c:v>
                </c:pt>
                <c:pt idx="2">
                  <c:v>0.01027697829195933</c:v>
                </c:pt>
                <c:pt idx="3">
                  <c:v>0.010309800624073436</c:v>
                </c:pt>
                <c:pt idx="4">
                  <c:v>0.010365088498979842</c:v>
                </c:pt>
                <c:pt idx="5">
                  <c:v>0.010196675894975096</c:v>
                </c:pt>
                <c:pt idx="6">
                  <c:v>0.01037581257638313</c:v>
                </c:pt>
                <c:pt idx="7">
                  <c:v>0.010488669919758147</c:v>
                </c:pt>
                <c:pt idx="8">
                  <c:v>0.009320693820625942</c:v>
                </c:pt>
                <c:pt idx="9">
                  <c:v>0.010780663944541198</c:v>
                </c:pt>
                <c:pt idx="10">
                  <c:v>0.009904681870192045</c:v>
                </c:pt>
                <c:pt idx="11">
                  <c:v>0.010321816086371238</c:v>
                </c:pt>
                <c:pt idx="12">
                  <c:v>0.010196675894975096</c:v>
                </c:pt>
                <c:pt idx="13">
                  <c:v>0.010722265139584589</c:v>
                </c:pt>
                <c:pt idx="14">
                  <c:v>0.010702921545484936</c:v>
                </c:pt>
                <c:pt idx="15">
                  <c:v>0.010683332602946849</c:v>
                </c:pt>
                <c:pt idx="16">
                  <c:v>0.010074858926140259</c:v>
                </c:pt>
                <c:pt idx="17">
                  <c:v>0.009904681870192045</c:v>
                </c:pt>
                <c:pt idx="18">
                  <c:v>0.010780663944541198</c:v>
                </c:pt>
                <c:pt idx="19">
                  <c:v>0.01046418429251766</c:v>
                </c:pt>
                <c:pt idx="20">
                  <c:v>0.009904681870192045</c:v>
                </c:pt>
                <c:pt idx="21">
                  <c:v>0.008152717721493737</c:v>
                </c:pt>
                <c:pt idx="22">
                  <c:v>0.010488669919758147</c:v>
                </c:pt>
                <c:pt idx="23">
                  <c:v>0.009460263291591425</c:v>
                </c:pt>
                <c:pt idx="24">
                  <c:v>0.010227895381901586</c:v>
                </c:pt>
                <c:pt idx="25">
                  <c:v>0.009904681870192045</c:v>
                </c:pt>
                <c:pt idx="26">
                  <c:v>0.010488669919758147</c:v>
                </c:pt>
                <c:pt idx="27">
                  <c:v>0.010824738514319773</c:v>
                </c:pt>
                <c:pt idx="28">
                  <c:v>0.00928396501247713</c:v>
                </c:pt>
                <c:pt idx="29">
                  <c:v>0.009320693820625942</c:v>
                </c:pt>
                <c:pt idx="30">
                  <c:v>0.009320693820625942</c:v>
                </c:pt>
                <c:pt idx="31">
                  <c:v>0.012229615426011814</c:v>
                </c:pt>
                <c:pt idx="32">
                  <c:v>0.008152717721493737</c:v>
                </c:pt>
                <c:pt idx="33">
                  <c:v>0.011248956248438545</c:v>
                </c:pt>
                <c:pt idx="34">
                  <c:v>0.010196675894975096</c:v>
                </c:pt>
                <c:pt idx="35">
                  <c:v>0.010488669919758147</c:v>
                </c:pt>
                <c:pt idx="36">
                  <c:v>0.010488669919758147</c:v>
                </c:pt>
                <c:pt idx="37">
                  <c:v>0.012233288306826694</c:v>
                </c:pt>
                <c:pt idx="38">
                  <c:v>0.012452436617255883</c:v>
                </c:pt>
                <c:pt idx="39">
                  <c:v>0.012348984052495451</c:v>
                </c:pt>
                <c:pt idx="40">
                  <c:v>0.012716884035927325</c:v>
                </c:pt>
                <c:pt idx="41">
                  <c:v>0.012242470508863897</c:v>
                </c:pt>
                <c:pt idx="42">
                  <c:v>0.01266485180257523</c:v>
                </c:pt>
                <c:pt idx="43">
                  <c:v>0.012278097452768245</c:v>
                </c:pt>
                <c:pt idx="44">
                  <c:v>0.01234959595443921</c:v>
                </c:pt>
                <c:pt idx="45">
                  <c:v>0.013438276025930458</c:v>
                </c:pt>
                <c:pt idx="46">
                  <c:v>0.012271853555382947</c:v>
                </c:pt>
                <c:pt idx="47">
                  <c:v>0.012593230626685048</c:v>
                </c:pt>
                <c:pt idx="48">
                  <c:v>0.011847635821264173</c:v>
                </c:pt>
                <c:pt idx="49">
                  <c:v>0.01193211208000644</c:v>
                </c:pt>
                <c:pt idx="50">
                  <c:v>0.012580742831914451</c:v>
                </c:pt>
                <c:pt idx="51">
                  <c:v>0.012178195094603477</c:v>
                </c:pt>
                <c:pt idx="52">
                  <c:v>0.017435844729463076</c:v>
                </c:pt>
                <c:pt idx="53">
                  <c:v>0.025535635655856204</c:v>
                </c:pt>
                <c:pt idx="54">
                  <c:v>0.009045415914205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490644490644491"/>
          <c:min val="0.00084477296726504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256</c:v>
                </c:pt>
                <c:pt idx="1">
                  <c:v>841.6749</c:v>
                </c:pt>
                <c:pt idx="2">
                  <c:v>833.9808</c:v>
                </c:pt>
                <c:pt idx="3">
                  <c:v>836.8168</c:v>
                </c:pt>
                <c:pt idx="4">
                  <c:v>830.8966</c:v>
                </c:pt>
                <c:pt idx="5">
                  <c:v>825.4132</c:v>
                </c:pt>
                <c:pt idx="6">
                  <c:v>814.746</c:v>
                </c:pt>
                <c:pt idx="7">
                  <c:v>823.2703</c:v>
                </c:pt>
                <c:pt idx="8">
                  <c:v>814.9933</c:v>
                </c:pt>
                <c:pt idx="9">
                  <c:v>822.8729</c:v>
                </c:pt>
                <c:pt idx="10">
                  <c:v>821.3776</c:v>
                </c:pt>
                <c:pt idx="11">
                  <c:v>858.7364</c:v>
                </c:pt>
                <c:pt idx="12">
                  <c:v>871.6293</c:v>
                </c:pt>
                <c:pt idx="13">
                  <c:v>882.0938</c:v>
                </c:pt>
                <c:pt idx="14">
                  <c:v>876.9236</c:v>
                </c:pt>
                <c:pt idx="15">
                  <c:v>894.4405</c:v>
                </c:pt>
                <c:pt idx="16">
                  <c:v>912.0462</c:v>
                </c:pt>
                <c:pt idx="17">
                  <c:v>916.1594</c:v>
                </c:pt>
                <c:pt idx="18">
                  <c:v>965.986</c:v>
                </c:pt>
                <c:pt idx="19">
                  <c:v>956.6082</c:v>
                </c:pt>
                <c:pt idx="20">
                  <c:v>1001.1248</c:v>
                </c:pt>
                <c:pt idx="21">
                  <c:v>997.5892</c:v>
                </c:pt>
                <c:pt idx="22">
                  <c:v>989.9831</c:v>
                </c:pt>
                <c:pt idx="23">
                  <c:v>973.4184</c:v>
                </c:pt>
                <c:pt idx="24">
                  <c:v>968.2015</c:v>
                </c:pt>
                <c:pt idx="25">
                  <c:v>985.6807</c:v>
                </c:pt>
                <c:pt idx="26">
                  <c:v>966.2075</c:v>
                </c:pt>
                <c:pt idx="27">
                  <c:v>977.5873</c:v>
                </c:pt>
                <c:pt idx="28">
                  <c:v>990.3361</c:v>
                </c:pt>
                <c:pt idx="29">
                  <c:v>960.4229</c:v>
                </c:pt>
                <c:pt idx="30">
                  <c:v>965.9014</c:v>
                </c:pt>
                <c:pt idx="31">
                  <c:v>932.465</c:v>
                </c:pt>
                <c:pt idx="32">
                  <c:v>931.1511</c:v>
                </c:pt>
                <c:pt idx="33">
                  <c:v>912.5761</c:v>
                </c:pt>
                <c:pt idx="34">
                  <c:v>906.9827</c:v>
                </c:pt>
                <c:pt idx="35">
                  <c:v>937.43</c:v>
                </c:pt>
                <c:pt idx="36">
                  <c:v>984.5195</c:v>
                </c:pt>
                <c:pt idx="37">
                  <c:v>997.4814</c:v>
                </c:pt>
                <c:pt idx="38">
                  <c:v>1042.4621</c:v>
                </c:pt>
                <c:pt idx="39">
                  <c:v>1064.1383</c:v>
                </c:pt>
                <c:pt idx="40">
                  <c:v>1069.2923</c:v>
                </c:pt>
                <c:pt idx="41">
                  <c:v>1095.4332</c:v>
                </c:pt>
                <c:pt idx="42">
                  <c:v>1091.684</c:v>
                </c:pt>
                <c:pt idx="43">
                  <c:v>1122.0064</c:v>
                </c:pt>
                <c:pt idx="44">
                  <c:v>1063.1394</c:v>
                </c:pt>
                <c:pt idx="45">
                  <c:v>1030.921</c:v>
                </c:pt>
                <c:pt idx="46">
                  <c:v>1025.319</c:v>
                </c:pt>
                <c:pt idx="47">
                  <c:v>1003.4705</c:v>
                </c:pt>
                <c:pt idx="48">
                  <c:v>1016.9888</c:v>
                </c:pt>
                <c:pt idx="49">
                  <c:v>993.5653</c:v>
                </c:pt>
                <c:pt idx="50">
                  <c:v>983.6967</c:v>
                </c:pt>
                <c:pt idx="51">
                  <c:v>997.2264</c:v>
                </c:pt>
                <c:pt idx="52">
                  <c:v>981.441</c:v>
                </c:pt>
                <c:pt idx="53">
                  <c:v>998.4389</c:v>
                </c:pt>
                <c:pt idx="54">
                  <c:v>1006.9528</c:v>
                </c:pt>
                <c:pt idx="55">
                  <c:v>1025.2426</c:v>
                </c:pt>
                <c:pt idx="56">
                  <c:v>1028.2303</c:v>
                </c:pt>
                <c:pt idx="57">
                  <c:v>1008.6676</c:v>
                </c:pt>
                <c:pt idx="58">
                  <c:v>1014.5317</c:v>
                </c:pt>
                <c:pt idx="59">
                  <c:v>984.8757</c:v>
                </c:pt>
                <c:pt idx="60">
                  <c:v>981.5668</c:v>
                </c:pt>
                <c:pt idx="61">
                  <c:v>972.9348</c:v>
                </c:pt>
                <c:pt idx="62">
                  <c:v>989.6181</c:v>
                </c:pt>
                <c:pt idx="63">
                  <c:v>979.0392</c:v>
                </c:pt>
                <c:pt idx="64">
                  <c:v>969.0737</c:v>
                </c:pt>
                <c:pt idx="65">
                  <c:v>985.5354</c:v>
                </c:pt>
                <c:pt idx="66">
                  <c:v>991.0622</c:v>
                </c:pt>
                <c:pt idx="67">
                  <c:v>984.6976</c:v>
                </c:pt>
                <c:pt idx="68">
                  <c:v>1012.139</c:v>
                </c:pt>
                <c:pt idx="69">
                  <c:v>1027.6394</c:v>
                </c:pt>
                <c:pt idx="70">
                  <c:v>971.8622</c:v>
                </c:pt>
                <c:pt idx="71">
                  <c:v>1041.4677</c:v>
                </c:pt>
                <c:pt idx="72">
                  <c:v>1205.6701</c:v>
                </c:pt>
                <c:pt idx="73">
                  <c:v>1132.2202</c:v>
                </c:pt>
                <c:pt idx="74">
                  <c:v>1125.1942</c:v>
                </c:pt>
                <c:pt idx="75">
                  <c:v>1098.6848</c:v>
                </c:pt>
                <c:pt idx="76">
                  <c:v>1075.2929</c:v>
                </c:pt>
                <c:pt idx="77">
                  <c:v>1104.9435</c:v>
                </c:pt>
                <c:pt idx="78">
                  <c:v>1110.2567</c:v>
                </c:pt>
                <c:pt idx="79">
                  <c:v>1041.862</c:v>
                </c:pt>
                <c:pt idx="80">
                  <c:v>1101.0151</c:v>
                </c:pt>
                <c:pt idx="81">
                  <c:v>1146.6564</c:v>
                </c:pt>
                <c:pt idx="82">
                  <c:v>1144.6113</c:v>
                </c:pt>
                <c:pt idx="83">
                  <c:v>1106.3497</c:v>
                </c:pt>
                <c:pt idx="84">
                  <c:v>1122.2554</c:v>
                </c:pt>
                <c:pt idx="85">
                  <c:v>1123.7883</c:v>
                </c:pt>
                <c:pt idx="86">
                  <c:v>1118.835</c:v>
                </c:pt>
                <c:pt idx="87">
                  <c:v>1130.8038</c:v>
                </c:pt>
                <c:pt idx="88">
                  <c:v>1171.4035</c:v>
                </c:pt>
                <c:pt idx="89">
                  <c:v>1154.699</c:v>
                </c:pt>
                <c:pt idx="90">
                  <c:v>1185.7104</c:v>
                </c:pt>
                <c:pt idx="91">
                  <c:v>1150.9845</c:v>
                </c:pt>
                <c:pt idx="92">
                  <c:v>1097.4959</c:v>
                </c:pt>
                <c:pt idx="93">
                  <c:v>1139.5381</c:v>
                </c:pt>
                <c:pt idx="94">
                  <c:v>1136.9513</c:v>
                </c:pt>
                <c:pt idx="95">
                  <c:v>1115.1856</c:v>
                </c:pt>
                <c:pt idx="96">
                  <c:v>1109.7267</c:v>
                </c:pt>
                <c:pt idx="97">
                  <c:v>1074.6651</c:v>
                </c:pt>
                <c:pt idx="98">
                  <c:v>1073.1256</c:v>
                </c:pt>
                <c:pt idx="99">
                  <c:v>1042.103</c:v>
                </c:pt>
                <c:pt idx="100">
                  <c:v>1056.6255</c:v>
                </c:pt>
                <c:pt idx="101">
                  <c:v>1032.6872</c:v>
                </c:pt>
                <c:pt idx="102">
                  <c:v>1054.0689</c:v>
                </c:pt>
                <c:pt idx="103">
                  <c:v>1021.98</c:v>
                </c:pt>
                <c:pt idx="104">
                  <c:v>1051.1011</c:v>
                </c:pt>
              </c:numCache>
            </c:numRef>
          </c:xVal>
          <c:yVal>
            <c:numRef>
              <c:f>Sheet1!$B$2:$B$106</c:f>
              <c:numCache>
                <c:formatCode>General</c:formatCode>
                <c:ptCount val="105"/>
                <c:pt idx="0">
                  <c:v>0.28513040093421566</c:v>
                </c:pt>
                <c:pt idx="1">
                  <c:v>0.2717875962707742</c:v>
                </c:pt>
                <c:pt idx="2">
                  <c:v>0.28115015974440893</c:v>
                </c:pt>
                <c:pt idx="3">
                  <c:v>0.27319587628865977</c:v>
                </c:pt>
                <c:pt idx="4">
                  <c:v>0.2749187432286024</c:v>
                </c:pt>
                <c:pt idx="5">
                  <c:v>0.2919566898685228</c:v>
                </c:pt>
                <c:pt idx="6">
                  <c:v>0.3195701357466063</c:v>
                </c:pt>
                <c:pt idx="7">
                  <c:v>0.34022988505747126</c:v>
                </c:pt>
                <c:pt idx="8">
                  <c:v>0.33280356007628736</c:v>
                </c:pt>
                <c:pt idx="9">
                  <c:v>0.30428134556574926</c:v>
                </c:pt>
                <c:pt idx="10">
                  <c:v>0.28994340444057465</c:v>
                </c:pt>
                <c:pt idx="11">
                  <c:v>0.25115594787725937</c:v>
                </c:pt>
                <c:pt idx="12">
                  <c:v>0.2341509433962264</c:v>
                </c:pt>
                <c:pt idx="13">
                  <c:v>0.2084996009577015</c:v>
                </c:pt>
                <c:pt idx="14">
                  <c:v>0.19366922644690016</c:v>
                </c:pt>
                <c:pt idx="15">
                  <c:v>0.18372352285395763</c:v>
                </c:pt>
                <c:pt idx="16">
                  <c:v>0.16893550546752956</c:v>
                </c:pt>
                <c:pt idx="17">
                  <c:v>0.18946580129805293</c:v>
                </c:pt>
                <c:pt idx="18">
                  <c:v>0.17272727272727273</c:v>
                </c:pt>
                <c:pt idx="19">
                  <c:v>0.17930793428871025</c:v>
                </c:pt>
                <c:pt idx="20">
                  <c:v>0.1758905852417303</c:v>
                </c:pt>
                <c:pt idx="21">
                  <c:v>0.2126650863528615</c:v>
                </c:pt>
                <c:pt idx="22">
                  <c:v>0.20197884680996248</c:v>
                </c:pt>
                <c:pt idx="23">
                  <c:v>0.23082099596231495</c:v>
                </c:pt>
                <c:pt idx="24">
                  <c:v>0.23305844388669775</c:v>
                </c:pt>
                <c:pt idx="25">
                  <c:v>0.23717948717948717</c:v>
                </c:pt>
                <c:pt idx="26">
                  <c:v>0.2606865284974093</c:v>
                </c:pt>
                <c:pt idx="27">
                  <c:v>0.2421555252387449</c:v>
                </c:pt>
                <c:pt idx="28">
                  <c:v>0.24200136147038803</c:v>
                </c:pt>
                <c:pt idx="29">
                  <c:v>0.23310810810810811</c:v>
                </c:pt>
                <c:pt idx="30">
                  <c:v>0.23035328046142753</c:v>
                </c:pt>
                <c:pt idx="31">
                  <c:v>0.24128011506652283</c:v>
                </c:pt>
                <c:pt idx="32">
                  <c:v>0.25757575757575757</c:v>
                </c:pt>
                <c:pt idx="33">
                  <c:v>0.23502914679385267</c:v>
                </c:pt>
                <c:pt idx="34">
                  <c:v>0.2399218177376008</c:v>
                </c:pt>
                <c:pt idx="35">
                  <c:v>0.24694680190436763</c:v>
                </c:pt>
                <c:pt idx="36">
                  <c:v>0.2229647630619684</c:v>
                </c:pt>
                <c:pt idx="37">
                  <c:v>0.22576530612244897</c:v>
                </c:pt>
                <c:pt idx="38">
                  <c:v>0.20160280490859003</c:v>
                </c:pt>
                <c:pt idx="39">
                  <c:v>0.19645410351730055</c:v>
                </c:pt>
                <c:pt idx="40">
                  <c:v>0.18808857215576483</c:v>
                </c:pt>
                <c:pt idx="41">
                  <c:v>0.20339869281045753</c:v>
                </c:pt>
                <c:pt idx="42">
                  <c:v>0.20713970912296165</c:v>
                </c:pt>
                <c:pt idx="43">
                  <c:v>0.18303220738413198</c:v>
                </c:pt>
                <c:pt idx="44">
                  <c:v>0.1759392027530829</c:v>
                </c:pt>
                <c:pt idx="45">
                  <c:v>0.20915581688366233</c:v>
                </c:pt>
                <c:pt idx="46">
                  <c:v>0.2034956304619226</c:v>
                </c:pt>
                <c:pt idx="47">
                  <c:v>0.2068066419651434</c:v>
                </c:pt>
                <c:pt idx="48">
                  <c:v>0.19372711981794796</c:v>
                </c:pt>
                <c:pt idx="49">
                  <c:v>0.21048182586644126</c:v>
                </c:pt>
                <c:pt idx="50">
                  <c:v>0.20329239613274105</c:v>
                </c:pt>
                <c:pt idx="51">
                  <c:v>0.19863493174658733</c:v>
                </c:pt>
                <c:pt idx="52">
                  <c:v>0.20882254277088225</c:v>
                </c:pt>
                <c:pt idx="53">
                  <c:v>0.21807849405079027</c:v>
                </c:pt>
                <c:pt idx="54">
                  <c:v>0.22088271352676747</c:v>
                </c:pt>
                <c:pt idx="55">
                  <c:v>0.21893371173727955</c:v>
                </c:pt>
                <c:pt idx="56">
                  <c:v>0.23293439716312056</c:v>
                </c:pt>
                <c:pt idx="57">
                  <c:v>0.2237155863862996</c:v>
                </c:pt>
                <c:pt idx="58">
                  <c:v>0.23238180196253344</c:v>
                </c:pt>
                <c:pt idx="59">
                  <c:v>0.21449851042701093</c:v>
                </c:pt>
                <c:pt idx="60">
                  <c:v>0.22286100777815354</c:v>
                </c:pt>
                <c:pt idx="61">
                  <c:v>0.23924074422101108</c:v>
                </c:pt>
                <c:pt idx="62">
                  <c:v>0.2210283960092095</c:v>
                </c:pt>
                <c:pt idx="63">
                  <c:v>0.224212271973466</c:v>
                </c:pt>
                <c:pt idx="64">
                  <c:v>0.2240386112408532</c:v>
                </c:pt>
                <c:pt idx="65">
                  <c:v>0.20935711881521374</c:v>
                </c:pt>
                <c:pt idx="66">
                  <c:v>0.2210543337645537</c:v>
                </c:pt>
                <c:pt idx="67">
                  <c:v>0.2173421605037946</c:v>
                </c:pt>
                <c:pt idx="68">
                  <c:v>0.19710906701708278</c:v>
                </c:pt>
                <c:pt idx="69">
                  <c:v>0.18213241159266153</c:v>
                </c:pt>
                <c:pt idx="70">
                  <c:v>0.19678425725941925</c:v>
                </c:pt>
                <c:pt idx="71">
                  <c:v>0.19207397622192868</c:v>
                </c:pt>
                <c:pt idx="72">
                  <c:v>0.165771484375</c:v>
                </c:pt>
                <c:pt idx="73">
                  <c:v>0.1793913507741591</c:v>
                </c:pt>
                <c:pt idx="74">
                  <c:v>0.16470258136924804</c:v>
                </c:pt>
                <c:pt idx="75">
                  <c:v>0.18797845194216048</c:v>
                </c:pt>
                <c:pt idx="76">
                  <c:v>0.18991504521786792</c:v>
                </c:pt>
                <c:pt idx="77">
                  <c:v>0.18278560250391238</c:v>
                </c:pt>
                <c:pt idx="78">
                  <c:v>0.1871011084984884</c:v>
                </c:pt>
                <c:pt idx="79">
                  <c:v>0.1626691266912669</c:v>
                </c:pt>
                <c:pt idx="80">
                  <c:v>0.1622364802933089</c:v>
                </c:pt>
                <c:pt idx="81">
                  <c:v>0.16198163094906765</c:v>
                </c:pt>
                <c:pt idx="82">
                  <c:v>0.15863840719332048</c:v>
                </c:pt>
                <c:pt idx="83">
                  <c:v>0.15833896016205268</c:v>
                </c:pt>
                <c:pt idx="84">
                  <c:v>0.17563837129054521</c:v>
                </c:pt>
                <c:pt idx="85">
                  <c:v>0.17338577515568665</c:v>
                </c:pt>
                <c:pt idx="86">
                  <c:v>0.18540344514959203</c:v>
                </c:pt>
                <c:pt idx="87">
                  <c:v>0.20316222655403943</c:v>
                </c:pt>
                <c:pt idx="88">
                  <c:v>0.194207453973956</c:v>
                </c:pt>
                <c:pt idx="89">
                  <c:v>0.17954126021618771</c:v>
                </c:pt>
                <c:pt idx="90">
                  <c:v>0.1840929401251117</c:v>
                </c:pt>
                <c:pt idx="91">
                  <c:v>0.1729794214136594</c:v>
                </c:pt>
                <c:pt idx="92">
                  <c:v>0.17577081815974752</c:v>
                </c:pt>
                <c:pt idx="93">
                  <c:v>0.17348689046802254</c:v>
                </c:pt>
                <c:pt idx="94">
                  <c:v>0.1943256023418149</c:v>
                </c:pt>
                <c:pt idx="95">
                  <c:v>0.19321967470115617</c:v>
                </c:pt>
                <c:pt idx="96">
                  <c:v>0.16993652625504904</c:v>
                </c:pt>
                <c:pt idx="97">
                  <c:v>0.16584287200832465</c:v>
                </c:pt>
                <c:pt idx="98">
                  <c:v>0.17304357877702</c:v>
                </c:pt>
                <c:pt idx="99">
                  <c:v>0.1765262162446149</c:v>
                </c:pt>
                <c:pt idx="100">
                  <c:v>0.17941973537382433</c:v>
                </c:pt>
                <c:pt idx="101">
                  <c:v>0.20577027762656505</c:v>
                </c:pt>
                <c:pt idx="102">
                  <c:v>0.19974608548455353</c:v>
                </c:pt>
                <c:pt idx="103">
                  <c:v>0.19555160142348754</c:v>
                </c:pt>
                <c:pt idx="104">
                  <c:v>0.19310631229235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69.5079</c:v>
                </c:pt>
                <c:pt idx="1">
                  <c:v>1075.5365</c:v>
                </c:pt>
                <c:pt idx="2">
                  <c:v>1098.6795</c:v>
                </c:pt>
                <c:pt idx="3">
                  <c:v>1077.7947</c:v>
                </c:pt>
                <c:pt idx="4">
                  <c:v>1110.2057</c:v>
                </c:pt>
                <c:pt idx="5">
                  <c:v>1095.0205</c:v>
                </c:pt>
                <c:pt idx="6">
                  <c:v>1029.469</c:v>
                </c:pt>
                <c:pt idx="7">
                  <c:v>1115.0435</c:v>
                </c:pt>
                <c:pt idx="8">
                  <c:v>1121.8495</c:v>
                </c:pt>
                <c:pt idx="9">
                  <c:v>1084.8689</c:v>
                </c:pt>
                <c:pt idx="10">
                  <c:v>1144.6554</c:v>
                </c:pt>
                <c:pt idx="11">
                  <c:v>1048.5644</c:v>
                </c:pt>
                <c:pt idx="12">
                  <c:v>1058.3553</c:v>
                </c:pt>
                <c:pt idx="13">
                  <c:v>1108.8545</c:v>
                </c:pt>
                <c:pt idx="14">
                  <c:v>1098.4679</c:v>
                </c:pt>
                <c:pt idx="15">
                  <c:v>1109.0763</c:v>
                </c:pt>
                <c:pt idx="16">
                  <c:v>1139.4682</c:v>
                </c:pt>
                <c:pt idx="17">
                  <c:v>1031.4621</c:v>
                </c:pt>
                <c:pt idx="18">
                  <c:v>1084.3343</c:v>
                </c:pt>
                <c:pt idx="19">
                  <c:v>1207.4227</c:v>
                </c:pt>
                <c:pt idx="20">
                  <c:v>1168.4312</c:v>
                </c:pt>
                <c:pt idx="21">
                  <c:v>1111.7878</c:v>
                </c:pt>
                <c:pt idx="22">
                  <c:v>1145.5828</c:v>
                </c:pt>
                <c:pt idx="23">
                  <c:v>1181.0991</c:v>
                </c:pt>
                <c:pt idx="24">
                  <c:v>1152.9857</c:v>
                </c:pt>
                <c:pt idx="25">
                  <c:v>1143.3102</c:v>
                </c:pt>
                <c:pt idx="26">
                  <c:v>1094.3051</c:v>
                </c:pt>
                <c:pt idx="27">
                  <c:v>1094.5712</c:v>
                </c:pt>
                <c:pt idx="28">
                  <c:v>1121.7011</c:v>
                </c:pt>
                <c:pt idx="29">
                  <c:v>1161.7323</c:v>
                </c:pt>
                <c:pt idx="30">
                  <c:v>1169.0275</c:v>
                </c:pt>
                <c:pt idx="31">
                  <c:v>1125.2994</c:v>
                </c:pt>
                <c:pt idx="32">
                  <c:v>1139.0688</c:v>
                </c:pt>
                <c:pt idx="33">
                  <c:v>1163.1042</c:v>
                </c:pt>
                <c:pt idx="34">
                  <c:v>1157.0239</c:v>
                </c:pt>
                <c:pt idx="35">
                  <c:v>1184.4793</c:v>
                </c:pt>
                <c:pt idx="36">
                  <c:v>1212.6515</c:v>
                </c:pt>
                <c:pt idx="37">
                  <c:v>1190.791</c:v>
                </c:pt>
                <c:pt idx="38">
                  <c:v>1241.9055</c:v>
                </c:pt>
                <c:pt idx="39">
                  <c:v>1160.4921</c:v>
                </c:pt>
                <c:pt idx="40">
                  <c:v>1205.1169</c:v>
                </c:pt>
                <c:pt idx="41">
                  <c:v>1200.227</c:v>
                </c:pt>
                <c:pt idx="42">
                  <c:v>1171.3825</c:v>
                </c:pt>
                <c:pt idx="43">
                  <c:v>1253.1962</c:v>
                </c:pt>
                <c:pt idx="44">
                  <c:v>1191.2166</c:v>
                </c:pt>
                <c:pt idx="45">
                  <c:v>1129.9901</c:v>
                </c:pt>
                <c:pt idx="46">
                  <c:v>1112.0845</c:v>
                </c:pt>
                <c:pt idx="47">
                  <c:v>1088.9038</c:v>
                </c:pt>
                <c:pt idx="48">
                  <c:v>1056.8406</c:v>
                </c:pt>
                <c:pt idx="49">
                  <c:v>1089.7907</c:v>
                </c:pt>
                <c:pt idx="50">
                  <c:v>1082.3295</c:v>
                </c:pt>
                <c:pt idx="51">
                  <c:v>1041.2143</c:v>
                </c:pt>
              </c:numCache>
            </c:numRef>
          </c:xVal>
          <c:yVal>
            <c:numRef>
              <c:f>Sheet1!$B$109:$B$160</c:f>
              <c:numCache>
                <c:formatCode>General</c:formatCode>
                <c:ptCount val="52"/>
                <c:pt idx="0">
                  <c:v>0.1883008356545961</c:v>
                </c:pt>
                <c:pt idx="1">
                  <c:v>0.1962360321505587</c:v>
                </c:pt>
                <c:pt idx="2">
                  <c:v>0.2070623035681272</c:v>
                </c:pt>
                <c:pt idx="3">
                  <c:v>0.2307535225648356</c:v>
                </c:pt>
                <c:pt idx="4">
                  <c:v>0.2131081624447125</c:v>
                </c:pt>
                <c:pt idx="5">
                  <c:v>0.22560035250055077</c:v>
                </c:pt>
                <c:pt idx="6">
                  <c:v>0.23763998907402348</c:v>
                </c:pt>
                <c:pt idx="7">
                  <c:v>0.20937642239417387</c:v>
                </c:pt>
                <c:pt idx="8">
                  <c:v>0.2162423461166613</c:v>
                </c:pt>
                <c:pt idx="9">
                  <c:v>0.21928104575163399</c:v>
                </c:pt>
                <c:pt idx="10">
                  <c:v>0.22534102833158448</c:v>
                </c:pt>
                <c:pt idx="11">
                  <c:v>0.21299234646257234</c:v>
                </c:pt>
                <c:pt idx="12">
                  <c:v>0.21937639198218262</c:v>
                </c:pt>
                <c:pt idx="13">
                  <c:v>0.21815990357573323</c:v>
                </c:pt>
                <c:pt idx="14">
                  <c:v>0.22596475574392147</c:v>
                </c:pt>
                <c:pt idx="15">
                  <c:v>0.22016592214422465</c:v>
                </c:pt>
                <c:pt idx="16">
                  <c:v>0.22083775185577942</c:v>
                </c:pt>
                <c:pt idx="17">
                  <c:v>0.23083333333333333</c:v>
                </c:pt>
                <c:pt idx="18">
                  <c:v>0.22112211221122113</c:v>
                </c:pt>
                <c:pt idx="19">
                  <c:v>0.21683744115203546</c:v>
                </c:pt>
                <c:pt idx="20">
                  <c:v>0.20981713185755535</c:v>
                </c:pt>
                <c:pt idx="21">
                  <c:v>0.22101606600086843</c:v>
                </c:pt>
                <c:pt idx="22">
                  <c:v>0.23205187586845763</c:v>
                </c:pt>
                <c:pt idx="23">
                  <c:v>0.22917718324078748</c:v>
                </c:pt>
                <c:pt idx="24">
                  <c:v>0.23804878048780487</c:v>
                </c:pt>
                <c:pt idx="25">
                  <c:v>0.24257425742574257</c:v>
                </c:pt>
                <c:pt idx="26">
                  <c:v>0.22978017420157612</c:v>
                </c:pt>
                <c:pt idx="27">
                  <c:v>0.22506301764494058</c:v>
                </c:pt>
                <c:pt idx="28">
                  <c:v>0.224964234620887</c:v>
                </c:pt>
                <c:pt idx="29">
                  <c:v>0.23404255319148937</c:v>
                </c:pt>
                <c:pt idx="30">
                  <c:v>0.2341796134899583</c:v>
                </c:pt>
                <c:pt idx="31">
                  <c:v>0.21842863019333608</c:v>
                </c:pt>
                <c:pt idx="32">
                  <c:v>0.22503057480635957</c:v>
                </c:pt>
                <c:pt idx="33">
                  <c:v>0.23076923076923078</c:v>
                </c:pt>
                <c:pt idx="34">
                  <c:v>0.24257066924377868</c:v>
                </c:pt>
                <c:pt idx="35">
                  <c:v>0.24421965317919075</c:v>
                </c:pt>
                <c:pt idx="36">
                  <c:v>0.23065420560747663</c:v>
                </c:pt>
                <c:pt idx="37">
                  <c:v>0.24307387862796834</c:v>
                </c:pt>
                <c:pt idx="38">
                  <c:v>0.21852970795568982</c:v>
                </c:pt>
                <c:pt idx="39">
                  <c:v>0.23173341485784163</c:v>
                </c:pt>
                <c:pt idx="40">
                  <c:v>0.22205838985549986</c:v>
                </c:pt>
                <c:pt idx="41">
                  <c:v>0.21705426356589147</c:v>
                </c:pt>
                <c:pt idx="42">
                  <c:v>0.20890515401036902</c:v>
                </c:pt>
                <c:pt idx="43">
                  <c:v>0.20249617931737138</c:v>
                </c:pt>
                <c:pt idx="44">
                  <c:v>0.20190713101160862</c:v>
                </c:pt>
                <c:pt idx="45">
                  <c:v>0.22230950510604872</c:v>
                </c:pt>
                <c:pt idx="46">
                  <c:v>0.24022346368715083</c:v>
                </c:pt>
                <c:pt idx="47">
                  <c:v>0.2299059250701436</c:v>
                </c:pt>
                <c:pt idx="48">
                  <c:v>0.22239010989010988</c:v>
                </c:pt>
                <c:pt idx="49">
                  <c:v>0.2387263863497867</c:v>
                </c:pt>
                <c:pt idx="50">
                  <c:v>0.2258511480601742</c:v>
                </c:pt>
                <c:pt idx="51">
                  <c:v>0.22554303446023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137.881166326877</c:v>
                </c:pt>
              </c:numCache>
            </c:numRef>
          </c:xVal>
          <c:yVal>
            <c:numRef>
              <c:f>Sheet1!$B$163:$B$164</c:f>
              <c:numCache>
                <c:formatCode>General</c:formatCode>
                <c:ptCount val="2"/>
                <c:pt idx="0">
                  <c:v>0.29674922746839427</c:v>
                </c:pt>
                <c:pt idx="1">
                  <c:v>0.2967492274683942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137.881166326877</c:v>
                </c:pt>
                <c:pt idx="1">
                  <c:v>12137.881166326877</c:v>
                </c:pt>
              </c:numCache>
            </c:numRef>
          </c:xVal>
          <c:yVal>
            <c:numRef>
              <c:f>Sheet1!$B$167:$B$168</c:f>
              <c:numCache>
                <c:formatCode>General</c:formatCode>
                <c:ptCount val="2"/>
                <c:pt idx="0">
                  <c:v>0.296749227468394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307.241161667992</c:v>
                </c:pt>
              </c:numCache>
            </c:numRef>
          </c:xVal>
          <c:yVal>
            <c:numRef>
              <c:f>Sheet1!$B$171:$B$172</c:f>
              <c:numCache>
                <c:formatCode>General</c:formatCode>
                <c:ptCount val="2"/>
                <c:pt idx="0">
                  <c:v>0.23128313809110376</c:v>
                </c:pt>
                <c:pt idx="1">
                  <c:v>0.231283138091103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307.241161667992</c:v>
                </c:pt>
                <c:pt idx="1">
                  <c:v>2307.241161667992</c:v>
                </c:pt>
              </c:numCache>
            </c:numRef>
          </c:xVal>
          <c:yVal>
            <c:numRef>
              <c:f>Sheet1!$B$175:$B$176</c:f>
              <c:numCache>
                <c:formatCode>General</c:formatCode>
                <c:ptCount val="2"/>
                <c:pt idx="0">
                  <c:v>0.231283138091103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49.1051312967965</c:v>
                </c:pt>
              </c:numCache>
            </c:numRef>
          </c:xVal>
          <c:yVal>
            <c:numRef>
              <c:f>Sheet1!$B$179:$B$180</c:f>
              <c:numCache>
                <c:formatCode>General</c:formatCode>
                <c:ptCount val="2"/>
                <c:pt idx="0">
                  <c:v>0.22223877732632522</c:v>
                </c:pt>
                <c:pt idx="1">
                  <c:v>0.2222387773263252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49.1051312967965</c:v>
                </c:pt>
                <c:pt idx="1">
                  <c:v>949.1051312967965</c:v>
                </c:pt>
              </c:numCache>
            </c:numRef>
          </c:xVal>
          <c:yVal>
            <c:numRef>
              <c:f>Sheet1!$B$183:$B$184</c:f>
              <c:numCache>
                <c:formatCode>General</c:formatCode>
                <c:ptCount val="2"/>
                <c:pt idx="0">
                  <c:v>0.222238777326325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69.5079</c:v>
                </c:pt>
                <c:pt idx="1">
                  <c:v>1075.5365</c:v>
                </c:pt>
                <c:pt idx="2">
                  <c:v>1098.6795</c:v>
                </c:pt>
                <c:pt idx="3">
                  <c:v>1077.7947</c:v>
                </c:pt>
                <c:pt idx="4">
                  <c:v>1110.2057</c:v>
                </c:pt>
                <c:pt idx="5">
                  <c:v>1095.0205</c:v>
                </c:pt>
                <c:pt idx="6">
                  <c:v>1029.469</c:v>
                </c:pt>
                <c:pt idx="7">
                  <c:v>1115.0435</c:v>
                </c:pt>
                <c:pt idx="8">
                  <c:v>1121.8495</c:v>
                </c:pt>
                <c:pt idx="9">
                  <c:v>1084.8689</c:v>
                </c:pt>
                <c:pt idx="10">
                  <c:v>1144.6554</c:v>
                </c:pt>
                <c:pt idx="11">
                  <c:v>1048.5644</c:v>
                </c:pt>
                <c:pt idx="12">
                  <c:v>1058.3553</c:v>
                </c:pt>
                <c:pt idx="13">
                  <c:v>1108.8545</c:v>
                </c:pt>
                <c:pt idx="14">
                  <c:v>1098.4679</c:v>
                </c:pt>
                <c:pt idx="15">
                  <c:v>1109.0763</c:v>
                </c:pt>
                <c:pt idx="16">
                  <c:v>1139.4682</c:v>
                </c:pt>
                <c:pt idx="17">
                  <c:v>1031.4621</c:v>
                </c:pt>
                <c:pt idx="18">
                  <c:v>1084.3343</c:v>
                </c:pt>
                <c:pt idx="19">
                  <c:v>1207.4227</c:v>
                </c:pt>
                <c:pt idx="20">
                  <c:v>1168.4312</c:v>
                </c:pt>
                <c:pt idx="21">
                  <c:v>1111.7878</c:v>
                </c:pt>
                <c:pt idx="22">
                  <c:v>1145.5828</c:v>
                </c:pt>
                <c:pt idx="23">
                  <c:v>1181.0991</c:v>
                </c:pt>
                <c:pt idx="24">
                  <c:v>1152.9857</c:v>
                </c:pt>
                <c:pt idx="25">
                  <c:v>1143.3102</c:v>
                </c:pt>
                <c:pt idx="26">
                  <c:v>1094.3051</c:v>
                </c:pt>
                <c:pt idx="27">
                  <c:v>1094.5712</c:v>
                </c:pt>
                <c:pt idx="28">
                  <c:v>1121.7011</c:v>
                </c:pt>
                <c:pt idx="29">
                  <c:v>1161.7323</c:v>
                </c:pt>
                <c:pt idx="30">
                  <c:v>1169.0275</c:v>
                </c:pt>
                <c:pt idx="31">
                  <c:v>1125.2994</c:v>
                </c:pt>
                <c:pt idx="32">
                  <c:v>1139.0688</c:v>
                </c:pt>
                <c:pt idx="33">
                  <c:v>1163.1042</c:v>
                </c:pt>
                <c:pt idx="34">
                  <c:v>1157.0239</c:v>
                </c:pt>
                <c:pt idx="35">
                  <c:v>1184.4793</c:v>
                </c:pt>
                <c:pt idx="36">
                  <c:v>1212.6515</c:v>
                </c:pt>
                <c:pt idx="37">
                  <c:v>1190.791</c:v>
                </c:pt>
                <c:pt idx="38">
                  <c:v>1241.9055</c:v>
                </c:pt>
                <c:pt idx="39">
                  <c:v>1160.4921</c:v>
                </c:pt>
                <c:pt idx="40">
                  <c:v>1205.1169</c:v>
                </c:pt>
                <c:pt idx="41">
                  <c:v>1200.227</c:v>
                </c:pt>
                <c:pt idx="42">
                  <c:v>1171.3825</c:v>
                </c:pt>
                <c:pt idx="43">
                  <c:v>1253.1962</c:v>
                </c:pt>
                <c:pt idx="44">
                  <c:v>1191.2166</c:v>
                </c:pt>
                <c:pt idx="45">
                  <c:v>1129.9901</c:v>
                </c:pt>
                <c:pt idx="46">
                  <c:v>1112.0845</c:v>
                </c:pt>
                <c:pt idx="47">
                  <c:v>1088.9038</c:v>
                </c:pt>
                <c:pt idx="48">
                  <c:v>1056.8406</c:v>
                </c:pt>
                <c:pt idx="49">
                  <c:v>1089.7907</c:v>
                </c:pt>
                <c:pt idx="50">
                  <c:v>1082.3295</c:v>
                </c:pt>
                <c:pt idx="51">
                  <c:v>1041.2143</c:v>
                </c:pt>
                <c:pt idx="52">
                  <c:v>2307.241161667992</c:v>
                </c:pt>
                <c:pt idx="53">
                  <c:v>12137.881166326877</c:v>
                </c:pt>
                <c:pt idx="54">
                  <c:v>949.1051312967965</c:v>
                </c:pt>
              </c:numCache>
            </c:numRef>
          </c:xVal>
          <c:yVal>
            <c:numRef>
              <c:f>Sheet1!$B$187:$B$241</c:f>
              <c:numCache>
                <c:formatCode>General</c:formatCode>
                <c:ptCount val="55"/>
                <c:pt idx="0">
                  <c:v>0.22304058660969453</c:v>
                </c:pt>
                <c:pt idx="1">
                  <c:v>0.22308073342274362</c:v>
                </c:pt>
                <c:pt idx="2">
                  <c:v>0.22323485174115834</c:v>
                </c:pt>
                <c:pt idx="3">
                  <c:v>0.2230957716626712</c:v>
                </c:pt>
                <c:pt idx="4">
                  <c:v>0.2233116092298898</c:v>
                </c:pt>
                <c:pt idx="5">
                  <c:v>0.2232104850243507</c:v>
                </c:pt>
                <c:pt idx="6">
                  <c:v>0.2227739518631545</c:v>
                </c:pt>
                <c:pt idx="7">
                  <c:v>0.22334382603846373</c:v>
                </c:pt>
                <c:pt idx="8">
                  <c:v>0.223389149863168</c:v>
                </c:pt>
                <c:pt idx="9">
                  <c:v>0.2231428815364183</c:v>
                </c:pt>
                <c:pt idx="10">
                  <c:v>0.2235410233004032</c:v>
                </c:pt>
                <c:pt idx="11">
                  <c:v>0.22290111562487325</c:v>
                </c:pt>
                <c:pt idx="12">
                  <c:v>0.22296631706996534</c:v>
                </c:pt>
                <c:pt idx="13">
                  <c:v>0.22330261105887297</c:v>
                </c:pt>
                <c:pt idx="14">
                  <c:v>0.22323344261372557</c:v>
                </c:pt>
                <c:pt idx="15">
                  <c:v>0.22330408811210828</c:v>
                </c:pt>
                <c:pt idx="16">
                  <c:v>0.22350647970012316</c:v>
                </c:pt>
                <c:pt idx="17">
                  <c:v>0.22278722469815568</c:v>
                </c:pt>
                <c:pt idx="18">
                  <c:v>0.22313932142523893</c:v>
                </c:pt>
                <c:pt idx="19">
                  <c:v>0.2239590153812671</c:v>
                </c:pt>
                <c:pt idx="20">
                  <c:v>0.22369935568233143</c:v>
                </c:pt>
                <c:pt idx="21">
                  <c:v>0.22332214505461276</c:v>
                </c:pt>
                <c:pt idx="22">
                  <c:v>0.22354719922091904</c:v>
                </c:pt>
                <c:pt idx="23">
                  <c:v>0.22378371619937099</c:v>
                </c:pt>
                <c:pt idx="24">
                  <c:v>0.22359649803694948</c:v>
                </c:pt>
                <c:pt idx="25">
                  <c:v>0.22353206508574083</c:v>
                </c:pt>
                <c:pt idx="26">
                  <c:v>0.22320572089502458</c:v>
                </c:pt>
                <c:pt idx="27">
                  <c:v>0.2232074929593434</c:v>
                </c:pt>
                <c:pt idx="28">
                  <c:v>0.2233881616093352</c:v>
                </c:pt>
                <c:pt idx="29">
                  <c:v>0.22365474507855368</c:v>
                </c:pt>
                <c:pt idx="30">
                  <c:v>0.22370332667802217</c:v>
                </c:pt>
                <c:pt idx="31">
                  <c:v>0.2234121241010239</c:v>
                </c:pt>
                <c:pt idx="32">
                  <c:v>0.22350381993879687</c:v>
                </c:pt>
                <c:pt idx="33">
                  <c:v>0.22366388109899327</c:v>
                </c:pt>
                <c:pt idx="34">
                  <c:v>0.22362338999535686</c:v>
                </c:pt>
                <c:pt idx="35">
                  <c:v>0.2238062262775763</c:v>
                </c:pt>
                <c:pt idx="36">
                  <c:v>0.22399383601227116</c:v>
                </c:pt>
                <c:pt idx="37">
                  <c:v>0.22384825836461505</c:v>
                </c:pt>
                <c:pt idx="38">
                  <c:v>0.2241886498776691</c:v>
                </c:pt>
                <c:pt idx="39">
                  <c:v>0.22364648610009377</c:v>
                </c:pt>
                <c:pt idx="40">
                  <c:v>0.22394366015426106</c:v>
                </c:pt>
                <c:pt idx="41">
                  <c:v>0.22391109639134285</c:v>
                </c:pt>
                <c:pt idx="42">
                  <c:v>0.2237190095471345</c:v>
                </c:pt>
                <c:pt idx="43">
                  <c:v>0.22426383907948932</c:v>
                </c:pt>
                <c:pt idx="44">
                  <c:v>0.22385109260202235</c:v>
                </c:pt>
                <c:pt idx="45">
                  <c:v>0.22344336131297515</c:v>
                </c:pt>
                <c:pt idx="46">
                  <c:v>0.22332412089633916</c:v>
                </c:pt>
                <c:pt idx="47">
                  <c:v>0.22316975151883078</c:v>
                </c:pt>
                <c:pt idx="48">
                  <c:v>0.22295623008829044</c:v>
                </c:pt>
                <c:pt idx="49">
                  <c:v>0.22317565773395423</c:v>
                </c:pt>
                <c:pt idx="50">
                  <c:v>0.22312597067534662</c:v>
                </c:pt>
                <c:pt idx="51">
                  <c:v>0.22285216842476174</c:v>
                </c:pt>
                <c:pt idx="52">
                  <c:v>0.23128313809110376</c:v>
                </c:pt>
                <c:pt idx="53">
                  <c:v>0.29674922746839427</c:v>
                </c:pt>
                <c:pt idx="54">
                  <c:v>0.222238777326325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5.0"/>
          <c:min val="6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82758620689655"/>
          <c:min val="0.126671168129642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24910033539038</c:v>
                </c:pt>
                <c:pt idx="1">
                  <c:v>2.4023767005939565</c:v>
                </c:pt>
                <c:pt idx="2">
                  <c:v>2.6224146040835343</c:v>
                </c:pt>
                <c:pt idx="3">
                  <c:v>2.644570162784693</c:v>
                </c:pt>
                <c:pt idx="4">
                  <c:v>2.641033007176611</c:v>
                </c:pt>
                <c:pt idx="5">
                  <c:v>2.2983792073306604</c:v>
                </c:pt>
                <c:pt idx="6">
                  <c:v>2.029321326810179</c:v>
                </c:pt>
                <c:pt idx="7">
                  <c:v>2.043440013685856</c:v>
                </c:pt>
                <c:pt idx="8">
                  <c:v>2.1003698328923095</c:v>
                </c:pt>
                <c:pt idx="9">
                  <c:v>2.4353004174615887</c:v>
                </c:pt>
                <c:pt idx="10">
                  <c:v>2.229453020413295</c:v>
                </c:pt>
                <c:pt idx="11">
                  <c:v>2.1450391144964547</c:v>
                </c:pt>
                <c:pt idx="12">
                  <c:v>2.2786462362475843</c:v>
                </c:pt>
                <c:pt idx="13">
                  <c:v>2.131200704528523</c:v>
                </c:pt>
                <c:pt idx="14">
                  <c:v>2.161462496955497</c:v>
                </c:pt>
                <c:pt idx="15">
                  <c:v>2.2307934075269364</c:v>
                </c:pt>
                <c:pt idx="16">
                  <c:v>2.098810151486175</c:v>
                </c:pt>
                <c:pt idx="17">
                  <c:v>2.661451326274737</c:v>
                </c:pt>
                <c:pt idx="18">
                  <c:v>2.7500719544001972</c:v>
                </c:pt>
                <c:pt idx="19">
                  <c:v>2.623912540429208</c:v>
                </c:pt>
                <c:pt idx="20">
                  <c:v>2.680120148294955</c:v>
                </c:pt>
                <c:pt idx="21">
                  <c:v>2.8253918311192603</c:v>
                </c:pt>
                <c:pt idx="22">
                  <c:v>2.723213848444889</c:v>
                </c:pt>
                <c:pt idx="23">
                  <c:v>3.284611818078661</c:v>
                </c:pt>
                <c:pt idx="24">
                  <c:v>2.921499829680749</c:v>
                </c:pt>
                <c:pt idx="25">
                  <c:v>2.8859416943603855</c:v>
                </c:pt>
                <c:pt idx="26">
                  <c:v>2.3670937863957238</c:v>
                </c:pt>
                <c:pt idx="27">
                  <c:v>2.320153401975481</c:v>
                </c:pt>
                <c:pt idx="28">
                  <c:v>2.18103991054344</c:v>
                </c:pt>
                <c:pt idx="29">
                  <c:v>2.075854307607604</c:v>
                </c:pt>
                <c:pt idx="30">
                  <c:v>2.0835365508344923</c:v>
                </c:pt>
                <c:pt idx="31">
                  <c:v>2.0225702236990135</c:v>
                </c:pt>
                <c:pt idx="32">
                  <c:v>1.9745944935456898</c:v>
                </c:pt>
                <c:pt idx="33">
                  <c:v>1.8884714475514184</c:v>
                </c:pt>
                <c:pt idx="34">
                  <c:v>2.0604286529977744</c:v>
                </c:pt>
                <c:pt idx="35">
                  <c:v>2.127953658231581</c:v>
                </c:pt>
                <c:pt idx="36">
                  <c:v>2.4185479499997236</c:v>
                </c:pt>
                <c:pt idx="37">
                  <c:v>2.3857441727756146</c:v>
                </c:pt>
                <c:pt idx="38">
                  <c:v>2.6977704937089704</c:v>
                </c:pt>
                <c:pt idx="39">
                  <c:v>2.711208551052566</c:v>
                </c:pt>
                <c:pt idx="40">
                  <c:v>2.6606969262068523</c:v>
                </c:pt>
                <c:pt idx="41">
                  <c:v>2.713779720779885</c:v>
                </c:pt>
                <c:pt idx="42">
                  <c:v>2.745106610891416</c:v>
                </c:pt>
                <c:pt idx="43">
                  <c:v>2.9291553737652776</c:v>
                </c:pt>
                <c:pt idx="44">
                  <c:v>2.5052955284038467</c:v>
                </c:pt>
                <c:pt idx="45">
                  <c:v>2.402248404574942</c:v>
                </c:pt>
                <c:pt idx="46">
                  <c:v>2.4533993637695373</c:v>
                </c:pt>
                <c:pt idx="47">
                  <c:v>2.4691122919597164</c:v>
                </c:pt>
                <c:pt idx="48">
                  <c:v>2.4240972704659156</c:v>
                </c:pt>
                <c:pt idx="49">
                  <c:v>2.4103401338932</c:v>
                </c:pt>
                <c:pt idx="50">
                  <c:v>2.3121808697657236</c:v>
                </c:pt>
                <c:pt idx="51">
                  <c:v>2.355639272895925</c:v>
                </c:pt>
                <c:pt idx="52">
                  <c:v>2.32694013407081</c:v>
                </c:pt>
                <c:pt idx="53">
                  <c:v>2.6431805429637243</c:v>
                </c:pt>
                <c:pt idx="54">
                  <c:v>2.824238802802543</c:v>
                </c:pt>
                <c:pt idx="55">
                  <c:v>2.7765402851687995</c:v>
                </c:pt>
                <c:pt idx="56">
                  <c:v>2.7577851520952987</c:v>
                </c:pt>
                <c:pt idx="57">
                  <c:v>2.710288540623196</c:v>
                </c:pt>
                <c:pt idx="58">
                  <c:v>2.49244209900194</c:v>
                </c:pt>
                <c:pt idx="59">
                  <c:v>2.660868188451689</c:v>
                </c:pt>
                <c:pt idx="60">
                  <c:v>2.7498308360653443</c:v>
                </c:pt>
                <c:pt idx="61">
                  <c:v>2.549620554758267</c:v>
                </c:pt>
                <c:pt idx="62">
                  <c:v>2.519151331530562</c:v>
                </c:pt>
                <c:pt idx="63">
                  <c:v>2.610665186443474</c:v>
                </c:pt>
                <c:pt idx="64">
                  <c:v>2.6681514525097825</c:v>
                </c:pt>
                <c:pt idx="65">
                  <c:v>2.6369732400722796</c:v>
                </c:pt>
                <c:pt idx="66">
                  <c:v>2.529043458053817</c:v>
                </c:pt>
                <c:pt idx="67">
                  <c:v>2.716211240389365</c:v>
                </c:pt>
                <c:pt idx="68">
                  <c:v>2.7101164684468815</c:v>
                </c:pt>
                <c:pt idx="69">
                  <c:v>2.8907056651779537</c:v>
                </c:pt>
                <c:pt idx="70">
                  <c:v>2.844839772058374</c:v>
                </c:pt>
                <c:pt idx="71">
                  <c:v>2.8211809512340786</c:v>
                </c:pt>
                <c:pt idx="72">
                  <c:v>2.9273489657096086</c:v>
                </c:pt>
                <c:pt idx="73">
                  <c:v>2.7534957259089596</c:v>
                </c:pt>
                <c:pt idx="74">
                  <c:v>2.853962665360804</c:v>
                </c:pt>
                <c:pt idx="75">
                  <c:v>2.852901525659421</c:v>
                </c:pt>
                <c:pt idx="76">
                  <c:v>3.0374838535170228</c:v>
                </c:pt>
                <c:pt idx="77">
                  <c:v>3.252422586090757</c:v>
                </c:pt>
                <c:pt idx="78">
                  <c:v>3.0256961726717804</c:v>
                </c:pt>
                <c:pt idx="79">
                  <c:v>3.337804710904</c:v>
                </c:pt>
                <c:pt idx="80">
                  <c:v>2.914416035949419</c:v>
                </c:pt>
                <c:pt idx="81">
                  <c:v>3.332841797077354</c:v>
                </c:pt>
                <c:pt idx="82">
                  <c:v>2.917087452450982</c:v>
                </c:pt>
                <c:pt idx="83">
                  <c:v>3.019286197261504</c:v>
                </c:pt>
                <c:pt idx="84">
                  <c:v>2.770567112803257</c:v>
                </c:pt>
                <c:pt idx="85">
                  <c:v>2.77812391605966</c:v>
                </c:pt>
                <c:pt idx="86">
                  <c:v>2.8293241394179773</c:v>
                </c:pt>
                <c:pt idx="87">
                  <c:v>2.63768723948504</c:v>
                </c:pt>
                <c:pt idx="88">
                  <c:v>2.615625660737424</c:v>
                </c:pt>
                <c:pt idx="89">
                  <c:v>2.5471250728620203</c:v>
                </c:pt>
                <c:pt idx="90">
                  <c:v>2.6791056496509937</c:v>
                </c:pt>
                <c:pt idx="91">
                  <c:v>3.1037644496282395</c:v>
                </c:pt>
                <c:pt idx="92">
                  <c:v>2.8148984010867384</c:v>
                </c:pt>
                <c:pt idx="93">
                  <c:v>2.789383168357891</c:v>
                </c:pt>
                <c:pt idx="94">
                  <c:v>2.7487363321560534</c:v>
                </c:pt>
                <c:pt idx="95">
                  <c:v>2.7871328261120634</c:v>
                </c:pt>
                <c:pt idx="96">
                  <c:v>2.599168562380124</c:v>
                </c:pt>
                <c:pt idx="97">
                  <c:v>2.5200454458416797</c:v>
                </c:pt>
                <c:pt idx="98">
                  <c:v>2.6022401865506946</c:v>
                </c:pt>
                <c:pt idx="99">
                  <c:v>2.6082630196818064</c:v>
                </c:pt>
                <c:pt idx="100">
                  <c:v>2.270778730581866</c:v>
                </c:pt>
                <c:pt idx="101">
                  <c:v>2.4234693138315335</c:v>
                </c:pt>
                <c:pt idx="102">
                  <c:v>2.4934227692686104</c:v>
                </c:pt>
                <c:pt idx="103">
                  <c:v>2.5021752477206176</c:v>
                </c:pt>
                <c:pt idx="104">
                  <c:v>2.731123297904484</c:v>
                </c:pt>
              </c:numCache>
            </c:numRef>
          </c:xVal>
          <c:yVal>
            <c:numRef>
              <c:f>Sheet1!$B$2:$B$106</c:f>
              <c:numCache>
                <c:formatCode>General</c:formatCode>
                <c:ptCount val="105"/>
                <c:pt idx="0">
                  <c:v>0.1664025356576862</c:v>
                </c:pt>
                <c:pt idx="1">
                  <c:v>0.1872103799814643</c:v>
                </c:pt>
                <c:pt idx="2">
                  <c:v>0.18181818181818182</c:v>
                </c:pt>
                <c:pt idx="3">
                  <c:v>0.18710263396911897</c:v>
                </c:pt>
                <c:pt idx="4">
                  <c:v>0.18025751072961374</c:v>
                </c:pt>
                <c:pt idx="5">
                  <c:v>0.20294784580498867</c:v>
                </c:pt>
                <c:pt idx="6">
                  <c:v>0.2512755102040816</c:v>
                </c:pt>
                <c:pt idx="7">
                  <c:v>0.2811320754716981</c:v>
                </c:pt>
                <c:pt idx="8">
                  <c:v>0.24504950495049505</c:v>
                </c:pt>
                <c:pt idx="9">
                  <c:v>0.23684210526315788</c:v>
                </c:pt>
                <c:pt idx="10">
                  <c:v>0.23672230652503792</c:v>
                </c:pt>
                <c:pt idx="11">
                  <c:v>0.2507462686567164</c:v>
                </c:pt>
                <c:pt idx="12">
                  <c:v>0.21720733427362482</c:v>
                </c:pt>
                <c:pt idx="13">
                  <c:v>0.2162485065710872</c:v>
                </c:pt>
                <c:pt idx="14">
                  <c:v>0.2</c:v>
                </c:pt>
                <c:pt idx="15">
                  <c:v>0.21428571428571427</c:v>
                </c:pt>
                <c:pt idx="16">
                  <c:v>0.22438162544169613</c:v>
                </c:pt>
                <c:pt idx="17">
                  <c:v>0.19912472647702406</c:v>
                </c:pt>
                <c:pt idx="18">
                  <c:v>0.1848101265822785</c:v>
                </c:pt>
                <c:pt idx="19">
                  <c:v>0.18471337579617833</c:v>
                </c:pt>
                <c:pt idx="20">
                  <c:v>0.21364985163204747</c:v>
                </c:pt>
                <c:pt idx="21">
                  <c:v>0.2463768115942029</c:v>
                </c:pt>
                <c:pt idx="22">
                  <c:v>0.24568965517241378</c:v>
                </c:pt>
                <c:pt idx="23">
                  <c:v>0.17142857142857143</c:v>
                </c:pt>
                <c:pt idx="24">
                  <c:v>0.16363636363636364</c:v>
                </c:pt>
                <c:pt idx="25">
                  <c:v>0.19428571428571428</c:v>
                </c:pt>
                <c:pt idx="26">
                  <c:v>0.23846153846153847</c:v>
                </c:pt>
                <c:pt idx="27">
                  <c:v>0.18240343347639484</c:v>
                </c:pt>
                <c:pt idx="28">
                  <c:v>0.20359281437125748</c:v>
                </c:pt>
                <c:pt idx="29">
                  <c:v>0.2512908777969019</c:v>
                </c:pt>
                <c:pt idx="30">
                  <c:v>0.2784090909090909</c:v>
                </c:pt>
                <c:pt idx="31">
                  <c:v>0.2824858757062147</c:v>
                </c:pt>
                <c:pt idx="32">
                  <c:v>0.28703703703703703</c:v>
                </c:pt>
                <c:pt idx="33">
                  <c:v>0.35343035343035345</c:v>
                </c:pt>
                <c:pt idx="34">
                  <c:v>0.3016453382084095</c:v>
                </c:pt>
                <c:pt idx="35">
                  <c:v>0.2660377358490566</c:v>
                </c:pt>
                <c:pt idx="36">
                  <c:v>0.18673218673218672</c:v>
                </c:pt>
                <c:pt idx="37">
                  <c:v>0.1536643026004728</c:v>
                </c:pt>
                <c:pt idx="38">
                  <c:v>0.14055299539170507</c:v>
                </c:pt>
                <c:pt idx="39">
                  <c:v>0.15071283095723015</c:v>
                </c:pt>
                <c:pt idx="40">
                  <c:v>0.16996699669966997</c:v>
                </c:pt>
                <c:pt idx="41">
                  <c:v>0.13545816733067728</c:v>
                </c:pt>
                <c:pt idx="42">
                  <c:v>0.1554559043348281</c:v>
                </c:pt>
                <c:pt idx="43">
                  <c:v>0.17410071942446043</c:v>
                </c:pt>
                <c:pt idx="44">
                  <c:v>0.20656226696495153</c:v>
                </c:pt>
                <c:pt idx="45">
                  <c:v>0.24924471299093656</c:v>
                </c:pt>
                <c:pt idx="46">
                  <c:v>0.236457437661221</c:v>
                </c:pt>
                <c:pt idx="47">
                  <c:v>0.24910714285714286</c:v>
                </c:pt>
                <c:pt idx="48">
                  <c:v>0.2620650953984287</c:v>
                </c:pt>
                <c:pt idx="49">
                  <c:v>0.2822269807280514</c:v>
                </c:pt>
                <c:pt idx="50">
                  <c:v>0.2292849035187287</c:v>
                </c:pt>
                <c:pt idx="51">
                  <c:v>0.199442119944212</c:v>
                </c:pt>
                <c:pt idx="52">
                  <c:v>0.23137254901960785</c:v>
                </c:pt>
                <c:pt idx="53">
                  <c:v>0.18663303909205547</c:v>
                </c:pt>
                <c:pt idx="54">
                  <c:v>0.1844331641285956</c:v>
                </c:pt>
                <c:pt idx="55">
                  <c:v>0.16579406631762653</c:v>
                </c:pt>
                <c:pt idx="56">
                  <c:v>0.17523809523809525</c:v>
                </c:pt>
                <c:pt idx="57">
                  <c:v>0.17763157894736842</c:v>
                </c:pt>
                <c:pt idx="58">
                  <c:v>0.20374707259953162</c:v>
                </c:pt>
                <c:pt idx="59">
                  <c:v>0.22291407222914073</c:v>
                </c:pt>
                <c:pt idx="60">
                  <c:v>0.2496617050067659</c:v>
                </c:pt>
                <c:pt idx="61">
                  <c:v>0.22651222651222652</c:v>
                </c:pt>
                <c:pt idx="62">
                  <c:v>0.2653288740245262</c:v>
                </c:pt>
                <c:pt idx="63">
                  <c:v>0.24421052631578946</c:v>
                </c:pt>
                <c:pt idx="64">
                  <c:v>0.2562574493444577</c:v>
                </c:pt>
                <c:pt idx="65">
                  <c:v>0.24719101123595505</c:v>
                </c:pt>
                <c:pt idx="66">
                  <c:v>0.28892215568862273</c:v>
                </c:pt>
                <c:pt idx="67">
                  <c:v>0.2518740629685157</c:v>
                </c:pt>
                <c:pt idx="68">
                  <c:v>0.22040816326530613</c:v>
                </c:pt>
                <c:pt idx="69">
                  <c:v>0.17391304347826086</c:v>
                </c:pt>
                <c:pt idx="70">
                  <c:v>0.14705882352941177</c:v>
                </c:pt>
                <c:pt idx="71">
                  <c:v>0.17897727272727273</c:v>
                </c:pt>
                <c:pt idx="72">
                  <c:v>0.1983695652173913</c:v>
                </c:pt>
                <c:pt idx="73">
                  <c:v>0.21584699453551912</c:v>
                </c:pt>
                <c:pt idx="74">
                  <c:v>0.21444201312910285</c:v>
                </c:pt>
                <c:pt idx="75">
                  <c:v>0.2179176755447942</c:v>
                </c:pt>
                <c:pt idx="76">
                  <c:v>0.20958083832335328</c:v>
                </c:pt>
                <c:pt idx="77">
                  <c:v>0.215625</c:v>
                </c:pt>
                <c:pt idx="78">
                  <c:v>0.2007168458781362</c:v>
                </c:pt>
                <c:pt idx="79">
                  <c:v>0.15915915915915915</c:v>
                </c:pt>
                <c:pt idx="80">
                  <c:v>0.19148936170212766</c:v>
                </c:pt>
                <c:pt idx="81">
                  <c:v>0.18652849740932642</c:v>
                </c:pt>
                <c:pt idx="82">
                  <c:v>0.18088737201365188</c:v>
                </c:pt>
                <c:pt idx="83">
                  <c:v>0.20318725099601595</c:v>
                </c:pt>
                <c:pt idx="84">
                  <c:v>0.21052631578947367</c:v>
                </c:pt>
                <c:pt idx="85">
                  <c:v>0.24067796610169492</c:v>
                </c:pt>
                <c:pt idx="86">
                  <c:v>0.25384615384615383</c:v>
                </c:pt>
                <c:pt idx="87">
                  <c:v>0.2616580310880829</c:v>
                </c:pt>
                <c:pt idx="88">
                  <c:v>0.21818181818181817</c:v>
                </c:pt>
                <c:pt idx="89">
                  <c:v>0.20224719101123595</c:v>
                </c:pt>
                <c:pt idx="90">
                  <c:v>0.17993079584775087</c:v>
                </c:pt>
                <c:pt idx="91">
                  <c:v>0.1758957654723127</c:v>
                </c:pt>
                <c:pt idx="92">
                  <c:v>0.2188235294117647</c:v>
                </c:pt>
                <c:pt idx="93">
                  <c:v>0.17916666666666667</c:v>
                </c:pt>
                <c:pt idx="94">
                  <c:v>0.17761557177615572</c:v>
                </c:pt>
                <c:pt idx="95">
                  <c:v>0.2068345323741007</c:v>
                </c:pt>
                <c:pt idx="96">
                  <c:v>0.2116991643454039</c:v>
                </c:pt>
                <c:pt idx="97">
                  <c:v>0.2630368098159509</c:v>
                </c:pt>
                <c:pt idx="98">
                  <c:v>0.25963488843813387</c:v>
                </c:pt>
                <c:pt idx="99">
                  <c:v>0.2693194925028835</c:v>
                </c:pt>
                <c:pt idx="100">
                  <c:v>0.2813688212927757</c:v>
                </c:pt>
                <c:pt idx="101">
                  <c:v>0.2732615083251714</c:v>
                </c:pt>
                <c:pt idx="102">
                  <c:v>0.21646746347941567</c:v>
                </c:pt>
                <c:pt idx="103">
                  <c:v>0.21241050119331742</c:v>
                </c:pt>
                <c:pt idx="104">
                  <c:v>0.2311320754716981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692393700845284</c:v>
                </c:pt>
                <c:pt idx="1">
                  <c:v>2.5020448191753224</c:v>
                </c:pt>
                <c:pt idx="2">
                  <c:v>2.4794271124874196</c:v>
                </c:pt>
                <c:pt idx="3">
                  <c:v>2.383185487568905</c:v>
                </c:pt>
                <c:pt idx="4">
                  <c:v>2.1964837673691364</c:v>
                </c:pt>
                <c:pt idx="5">
                  <c:v>1.965326491936254</c:v>
                </c:pt>
                <c:pt idx="6">
                  <c:v>2.0450674524077765</c:v>
                </c:pt>
                <c:pt idx="7">
                  <c:v>1.9209235022907865</c:v>
                </c:pt>
                <c:pt idx="8">
                  <c:v>2.042673411075893</c:v>
                </c:pt>
                <c:pt idx="9">
                  <c:v>2.029383227358653</c:v>
                </c:pt>
                <c:pt idx="10">
                  <c:v>2.098166668312091</c:v>
                </c:pt>
                <c:pt idx="11">
                  <c:v>2.3313175550032454</c:v>
                </c:pt>
                <c:pt idx="12">
                  <c:v>2.2209536651144735</c:v>
                </c:pt>
                <c:pt idx="13">
                  <c:v>2.001738414006179</c:v>
                </c:pt>
                <c:pt idx="14">
                  <c:v>1.8576003487165824</c:v>
                </c:pt>
                <c:pt idx="15">
                  <c:v>1.9280144743087524</c:v>
                </c:pt>
                <c:pt idx="16">
                  <c:v>2.0610072430138384</c:v>
                </c:pt>
                <c:pt idx="17">
                  <c:v>2.042058300790787</c:v>
                </c:pt>
                <c:pt idx="18">
                  <c:v>1.3067558667381147</c:v>
                </c:pt>
                <c:pt idx="19">
                  <c:v>1.8498575294292592</c:v>
                </c:pt>
                <c:pt idx="20">
                  <c:v>2.1840711783256133</c:v>
                </c:pt>
                <c:pt idx="21">
                  <c:v>2.177549445968184</c:v>
                </c:pt>
                <c:pt idx="22">
                  <c:v>2.3134257906684295</c:v>
                </c:pt>
                <c:pt idx="23">
                  <c:v>2.249281745922299</c:v>
                </c:pt>
                <c:pt idx="24">
                  <c:v>2.5211307069500615</c:v>
                </c:pt>
                <c:pt idx="25">
                  <c:v>2.303552279345591</c:v>
                </c:pt>
                <c:pt idx="26">
                  <c:v>2.15326439154731</c:v>
                </c:pt>
                <c:pt idx="27">
                  <c:v>2.1458573933090777</c:v>
                </c:pt>
                <c:pt idx="28">
                  <c:v>2.1504463014915407</c:v>
                </c:pt>
                <c:pt idx="29">
                  <c:v>2.0296744456440496</c:v>
                </c:pt>
                <c:pt idx="30">
                  <c:v>1.7513445531255962</c:v>
                </c:pt>
                <c:pt idx="31">
                  <c:v>1.837149535137033</c:v>
                </c:pt>
                <c:pt idx="32">
                  <c:v>2.0342108775731313</c:v>
                </c:pt>
                <c:pt idx="33">
                  <c:v>2.102239045231261</c:v>
                </c:pt>
                <c:pt idx="34">
                  <c:v>2.0590311606073777</c:v>
                </c:pt>
                <c:pt idx="35">
                  <c:v>1.914911980033278</c:v>
                </c:pt>
                <c:pt idx="36">
                  <c:v>2.0281675226346163</c:v>
                </c:pt>
                <c:pt idx="37">
                  <c:v>2.278919049932132</c:v>
                </c:pt>
                <c:pt idx="38">
                  <c:v>2.3607328635798988</c:v>
                </c:pt>
                <c:pt idx="39">
                  <c:v>2.3279898495821016</c:v>
                </c:pt>
                <c:pt idx="40">
                  <c:v>2.4067421404792135</c:v>
                </c:pt>
                <c:pt idx="41">
                  <c:v>2.385027069054166</c:v>
                </c:pt>
                <c:pt idx="42">
                  <c:v>2.3517117711485147</c:v>
                </c:pt>
                <c:pt idx="43">
                  <c:v>2.3709929338581013</c:v>
                </c:pt>
                <c:pt idx="44">
                  <c:v>2.2508563037358043</c:v>
                </c:pt>
                <c:pt idx="45">
                  <c:v>2.1167363506506676</c:v>
                </c:pt>
                <c:pt idx="46">
                  <c:v>2.185895329194511</c:v>
                </c:pt>
                <c:pt idx="47">
                  <c:v>2.270714841104838</c:v>
                </c:pt>
                <c:pt idx="48">
                  <c:v>2.138854331877359</c:v>
                </c:pt>
                <c:pt idx="49">
                  <c:v>2.165150792424436</c:v>
                </c:pt>
                <c:pt idx="50">
                  <c:v>1.9295066170127715</c:v>
                </c:pt>
                <c:pt idx="51">
                  <c:v>1.8680840708587831</c:v>
                </c:pt>
              </c:numCache>
            </c:numRef>
          </c:xVal>
          <c:yVal>
            <c:numRef>
              <c:f>Sheet1!$B$109:$B$160</c:f>
              <c:numCache>
                <c:formatCode>General</c:formatCode>
                <c:ptCount val="52"/>
                <c:pt idx="0">
                  <c:v>0.2108843537414966</c:v>
                </c:pt>
                <c:pt idx="1">
                  <c:v>0.2225392296718973</c:v>
                </c:pt>
                <c:pt idx="2">
                  <c:v>0.22179487179487178</c:v>
                </c:pt>
                <c:pt idx="3">
                  <c:v>0.25202156334231807</c:v>
                </c:pt>
                <c:pt idx="4">
                  <c:v>0.23583662714097497</c:v>
                </c:pt>
                <c:pt idx="5">
                  <c:v>0.2608108108108108</c:v>
                </c:pt>
                <c:pt idx="6">
                  <c:v>0.2622549019607843</c:v>
                </c:pt>
                <c:pt idx="7">
                  <c:v>0.26262626262626265</c:v>
                </c:pt>
                <c:pt idx="8">
                  <c:v>0.2564841498559078</c:v>
                </c:pt>
                <c:pt idx="9">
                  <c:v>0.2727272727272727</c:v>
                </c:pt>
                <c:pt idx="10">
                  <c:v>0.257985257985258</c:v>
                </c:pt>
                <c:pt idx="11">
                  <c:v>0.2936857562408223</c:v>
                </c:pt>
                <c:pt idx="12">
                  <c:v>0.30103092783505153</c:v>
                </c:pt>
                <c:pt idx="13">
                  <c:v>0.30257510729613735</c:v>
                </c:pt>
                <c:pt idx="14">
                  <c:v>0.31543624161073824</c:v>
                </c:pt>
                <c:pt idx="15">
                  <c:v>0.3105022831050228</c:v>
                </c:pt>
                <c:pt idx="16">
                  <c:v>0.27089337175792505</c:v>
                </c:pt>
                <c:pt idx="17">
                  <c:v>0.21739130434782608</c:v>
                </c:pt>
                <c:pt idx="18">
                  <c:v>0.2981366459627329</c:v>
                </c:pt>
                <c:pt idx="19">
                  <c:v>0.2607260726072607</c:v>
                </c:pt>
                <c:pt idx="20">
                  <c:v>0.18796992481203006</c:v>
                </c:pt>
                <c:pt idx="21">
                  <c:v>0.22448979591836735</c:v>
                </c:pt>
                <c:pt idx="22">
                  <c:v>0.17277486910994763</c:v>
                </c:pt>
                <c:pt idx="23">
                  <c:v>0.18579234972677597</c:v>
                </c:pt>
                <c:pt idx="24">
                  <c:v>0.17889908256880735</c:v>
                </c:pt>
                <c:pt idx="25">
                  <c:v>0.19534883720930232</c:v>
                </c:pt>
                <c:pt idx="26">
                  <c:v>0.18181818181818182</c:v>
                </c:pt>
                <c:pt idx="27">
                  <c:v>0.17391304347826086</c:v>
                </c:pt>
                <c:pt idx="28">
                  <c:v>0.21448467966573817</c:v>
                </c:pt>
                <c:pt idx="29">
                  <c:v>0.2265625</c:v>
                </c:pt>
                <c:pt idx="30">
                  <c:v>0.24242424242424243</c:v>
                </c:pt>
                <c:pt idx="31">
                  <c:v>0.23448275862068965</c:v>
                </c:pt>
                <c:pt idx="32">
                  <c:v>0.2959770114942529</c:v>
                </c:pt>
                <c:pt idx="33">
                  <c:v>0.30679156908665106</c:v>
                </c:pt>
                <c:pt idx="34">
                  <c:v>0.3104166666666667</c:v>
                </c:pt>
                <c:pt idx="35">
                  <c:v>0.29</c:v>
                </c:pt>
                <c:pt idx="36">
                  <c:v>0.24311926605504589</c:v>
                </c:pt>
                <c:pt idx="37">
                  <c:v>0.20408163265306123</c:v>
                </c:pt>
                <c:pt idx="38">
                  <c:v>0.18548387096774194</c:v>
                </c:pt>
                <c:pt idx="39">
                  <c:v>0.2116991643454039</c:v>
                </c:pt>
                <c:pt idx="40">
                  <c:v>0.22629969418960244</c:v>
                </c:pt>
                <c:pt idx="41">
                  <c:v>0.187683284457478</c:v>
                </c:pt>
                <c:pt idx="42">
                  <c:v>0.2111111111111111</c:v>
                </c:pt>
                <c:pt idx="43">
                  <c:v>0.19148936170212766</c:v>
                </c:pt>
                <c:pt idx="44">
                  <c:v>0.18092566619915848</c:v>
                </c:pt>
                <c:pt idx="45">
                  <c:v>0.19367991845056065</c:v>
                </c:pt>
                <c:pt idx="46">
                  <c:v>0.19665271966527198</c:v>
                </c:pt>
                <c:pt idx="47">
                  <c:v>0.20084865629420084</c:v>
                </c:pt>
                <c:pt idx="48">
                  <c:v>0.19535374868004224</c:v>
                </c:pt>
                <c:pt idx="49">
                  <c:v>0.22517207472959685</c:v>
                </c:pt>
                <c:pt idx="50">
                  <c:v>0.27036770007209804</c:v>
                </c:pt>
                <c:pt idx="51">
                  <c:v>0.259643916913946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213537615769881</c:v>
                </c:pt>
              </c:numCache>
            </c:numRef>
          </c:xVal>
          <c:yVal>
            <c:numRef>
              <c:f>Sheet1!$B$163:$B$164</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213537615769881</c:v>
                </c:pt>
                <c:pt idx="1">
                  <c:v>1.8213537615769881</c:v>
                </c:pt>
              </c:numCache>
            </c:numRef>
          </c:xVal>
          <c:yVal>
            <c:numRef>
              <c:f>Sheet1!$B$167:$B$168</c:f>
              <c:numCache>
                <c:formatCode>General</c:formatCode>
                <c:ptCount val="2"/>
                <c:pt idx="0">
                  <c:v>0.27027307401588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213537615769881</c:v>
                </c:pt>
              </c:numCache>
            </c:numRef>
          </c:xVal>
          <c:yVal>
            <c:numRef>
              <c:f>Sheet1!$B$171:$B$172</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213537615769881</c:v>
                </c:pt>
                <c:pt idx="1">
                  <c:v>1.8213537615769881</c:v>
                </c:pt>
              </c:numCache>
            </c:numRef>
          </c:xVal>
          <c:yVal>
            <c:numRef>
              <c:f>Sheet1!$B$175:$B$176</c:f>
              <c:numCache>
                <c:formatCode>General</c:formatCode>
                <c:ptCount val="2"/>
                <c:pt idx="0">
                  <c:v>0.27027307401588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701360020060593</c:v>
                </c:pt>
              </c:numCache>
            </c:numRef>
          </c:xVal>
          <c:yVal>
            <c:numRef>
              <c:f>Sheet1!$B$179:$B$180</c:f>
              <c:numCache>
                <c:formatCode>General</c:formatCode>
                <c:ptCount val="2"/>
                <c:pt idx="0">
                  <c:v>0.2116097705238922</c:v>
                </c:pt>
                <c:pt idx="1">
                  <c:v>0.211609770523892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701360020060593</c:v>
                </c:pt>
                <c:pt idx="1">
                  <c:v>2.3701360020060593</c:v>
                </c:pt>
              </c:numCache>
            </c:numRef>
          </c:xVal>
          <c:yVal>
            <c:numRef>
              <c:f>Sheet1!$B$183:$B$184</c:f>
              <c:numCache>
                <c:formatCode>General</c:formatCode>
                <c:ptCount val="2"/>
                <c:pt idx="0">
                  <c:v>0.21160977052389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692393700845284</c:v>
                </c:pt>
                <c:pt idx="1">
                  <c:v>2.5020448191753224</c:v>
                </c:pt>
                <c:pt idx="2">
                  <c:v>2.4794271124874196</c:v>
                </c:pt>
                <c:pt idx="3">
                  <c:v>2.383185487568905</c:v>
                </c:pt>
                <c:pt idx="4">
                  <c:v>2.1964837673691364</c:v>
                </c:pt>
                <c:pt idx="5">
                  <c:v>1.965326491936254</c:v>
                </c:pt>
                <c:pt idx="6">
                  <c:v>2.0450674524077765</c:v>
                </c:pt>
                <c:pt idx="7">
                  <c:v>1.9209235022907865</c:v>
                </c:pt>
                <c:pt idx="8">
                  <c:v>2.042673411075893</c:v>
                </c:pt>
                <c:pt idx="9">
                  <c:v>2.029383227358653</c:v>
                </c:pt>
                <c:pt idx="10">
                  <c:v>2.098166668312091</c:v>
                </c:pt>
                <c:pt idx="11">
                  <c:v>2.3313175550032454</c:v>
                </c:pt>
                <c:pt idx="12">
                  <c:v>2.2209536651144735</c:v>
                </c:pt>
                <c:pt idx="13">
                  <c:v>2.001738414006179</c:v>
                </c:pt>
                <c:pt idx="14">
                  <c:v>1.8576003487165824</c:v>
                </c:pt>
                <c:pt idx="15">
                  <c:v>1.9280144743087524</c:v>
                </c:pt>
                <c:pt idx="16">
                  <c:v>2.0610072430138384</c:v>
                </c:pt>
                <c:pt idx="17">
                  <c:v>2.042058300790787</c:v>
                </c:pt>
                <c:pt idx="18">
                  <c:v>1.3067558667381147</c:v>
                </c:pt>
                <c:pt idx="19">
                  <c:v>1.8498575294292592</c:v>
                </c:pt>
                <c:pt idx="20">
                  <c:v>2.1840711783256133</c:v>
                </c:pt>
                <c:pt idx="21">
                  <c:v>2.177549445968184</c:v>
                </c:pt>
                <c:pt idx="22">
                  <c:v>2.3134257906684295</c:v>
                </c:pt>
                <c:pt idx="23">
                  <c:v>2.249281745922299</c:v>
                </c:pt>
                <c:pt idx="24">
                  <c:v>2.5211307069500615</c:v>
                </c:pt>
                <c:pt idx="25">
                  <c:v>2.303552279345591</c:v>
                </c:pt>
                <c:pt idx="26">
                  <c:v>2.15326439154731</c:v>
                </c:pt>
                <c:pt idx="27">
                  <c:v>2.1458573933090777</c:v>
                </c:pt>
                <c:pt idx="28">
                  <c:v>2.1504463014915407</c:v>
                </c:pt>
                <c:pt idx="29">
                  <c:v>2.0296744456440496</c:v>
                </c:pt>
                <c:pt idx="30">
                  <c:v>1.7513445531255962</c:v>
                </c:pt>
                <c:pt idx="31">
                  <c:v>1.837149535137033</c:v>
                </c:pt>
                <c:pt idx="32">
                  <c:v>2.0342108775731313</c:v>
                </c:pt>
                <c:pt idx="33">
                  <c:v>2.102239045231261</c:v>
                </c:pt>
                <c:pt idx="34">
                  <c:v>2.0590311606073777</c:v>
                </c:pt>
                <c:pt idx="35">
                  <c:v>1.914911980033278</c:v>
                </c:pt>
                <c:pt idx="36">
                  <c:v>2.0281675226346163</c:v>
                </c:pt>
                <c:pt idx="37">
                  <c:v>2.278919049932132</c:v>
                </c:pt>
                <c:pt idx="38">
                  <c:v>2.3607328635798988</c:v>
                </c:pt>
                <c:pt idx="39">
                  <c:v>2.3279898495821016</c:v>
                </c:pt>
                <c:pt idx="40">
                  <c:v>2.4067421404792135</c:v>
                </c:pt>
                <c:pt idx="41">
                  <c:v>2.385027069054166</c:v>
                </c:pt>
                <c:pt idx="42">
                  <c:v>2.3517117711485147</c:v>
                </c:pt>
                <c:pt idx="43">
                  <c:v>2.3709929338581013</c:v>
                </c:pt>
                <c:pt idx="44">
                  <c:v>2.2508563037358043</c:v>
                </c:pt>
                <c:pt idx="45">
                  <c:v>2.1167363506506676</c:v>
                </c:pt>
                <c:pt idx="46">
                  <c:v>2.185895329194511</c:v>
                </c:pt>
                <c:pt idx="47">
                  <c:v>2.270714841104838</c:v>
                </c:pt>
                <c:pt idx="48">
                  <c:v>2.138854331877359</c:v>
                </c:pt>
                <c:pt idx="49">
                  <c:v>2.165150792424436</c:v>
                </c:pt>
                <c:pt idx="50">
                  <c:v>1.9295066170127715</c:v>
                </c:pt>
                <c:pt idx="51">
                  <c:v>1.8680840708587831</c:v>
                </c:pt>
                <c:pt idx="52">
                  <c:v>1.8213537615769881</c:v>
                </c:pt>
                <c:pt idx="53">
                  <c:v>1.8213537615769881</c:v>
                </c:pt>
                <c:pt idx="54">
                  <c:v>2.3701360020060593</c:v>
                </c:pt>
              </c:numCache>
            </c:numRef>
          </c:xVal>
          <c:yVal>
            <c:numRef>
              <c:f>Sheet1!$B$187:$B$241</c:f>
              <c:numCache>
                <c:formatCode>General</c:formatCode>
                <c:ptCount val="55"/>
                <c:pt idx="0">
                  <c:v>0.1903261712245926</c:v>
                </c:pt>
                <c:pt idx="1">
                  <c:v>0.19750908284708357</c:v>
                </c:pt>
                <c:pt idx="2">
                  <c:v>0.19992685312822062</c:v>
                </c:pt>
                <c:pt idx="3">
                  <c:v>0.2102148166139607</c:v>
                </c:pt>
                <c:pt idx="4">
                  <c:v>0.23017271405975254</c:v>
                </c:pt>
                <c:pt idx="5">
                  <c:v>0.25488278738956344</c:v>
                </c:pt>
                <c:pt idx="6">
                  <c:v>0.2463586992900176</c:v>
                </c:pt>
                <c:pt idx="7">
                  <c:v>0.25962934415766703</c:v>
                </c:pt>
                <c:pt idx="8">
                  <c:v>0.24661461568613646</c:v>
                </c:pt>
                <c:pt idx="9">
                  <c:v>0.24803529956296738</c:v>
                </c:pt>
                <c:pt idx="10">
                  <c:v>0.24068253998984432</c:v>
                </c:pt>
                <c:pt idx="11">
                  <c:v>0.21575935513113695</c:v>
                </c:pt>
                <c:pt idx="12">
                  <c:v>0.22755694967800016</c:v>
                </c:pt>
                <c:pt idx="13">
                  <c:v>0.2509904536408537</c:v>
                </c:pt>
                <c:pt idx="14">
                  <c:v>0.266398414113883</c:v>
                </c:pt>
                <c:pt idx="15">
                  <c:v>0.2588713388635856</c:v>
                </c:pt>
                <c:pt idx="16">
                  <c:v>0.24465477976596184</c:v>
                </c:pt>
                <c:pt idx="17">
                  <c:v>0.24668036927413162</c:v>
                </c:pt>
                <c:pt idx="18">
                  <c:v>0.3252821655230477</c:v>
                </c:pt>
                <c:pt idx="19">
                  <c:v>0.26722610007795633</c:v>
                </c:pt>
                <c:pt idx="20">
                  <c:v>0.23149958549351504</c:v>
                </c:pt>
                <c:pt idx="21">
                  <c:v>0.23219674064248316</c:v>
                </c:pt>
                <c:pt idx="22">
                  <c:v>0.217671935247359</c:v>
                </c:pt>
                <c:pt idx="23">
                  <c:v>0.22452875619915194</c:v>
                </c:pt>
                <c:pt idx="24">
                  <c:v>0.19546885423824933</c:v>
                </c:pt>
                <c:pt idx="25">
                  <c:v>0.21872738629623112</c:v>
                </c:pt>
                <c:pt idx="26">
                  <c:v>0.23479274578415338</c:v>
                </c:pt>
                <c:pt idx="27">
                  <c:v>0.2355845334070078</c:v>
                </c:pt>
                <c:pt idx="28">
                  <c:v>0.23509399181587645</c:v>
                </c:pt>
                <c:pt idx="29">
                  <c:v>0.24800416913380977</c:v>
                </c:pt>
                <c:pt idx="30">
                  <c:v>0.27775686474388717</c:v>
                </c:pt>
                <c:pt idx="31">
                  <c:v>0.26858454951567223</c:v>
                </c:pt>
                <c:pt idx="32">
                  <c:v>0.24751923710900808</c:v>
                </c:pt>
                <c:pt idx="33">
                  <c:v>0.24024721416195993</c:v>
                </c:pt>
                <c:pt idx="34">
                  <c:v>0.244866017509087</c:v>
                </c:pt>
                <c:pt idx="35">
                  <c:v>0.2602719592582675</c:v>
                </c:pt>
                <c:pt idx="36">
                  <c:v>0.2481652550351544</c:v>
                </c:pt>
                <c:pt idx="37">
                  <c:v>0.22136061038150706</c:v>
                </c:pt>
                <c:pt idx="38">
                  <c:v>0.21261494001122794</c:v>
                </c:pt>
                <c:pt idx="39">
                  <c:v>0.2161150776357498</c:v>
                </c:pt>
                <c:pt idx="40">
                  <c:v>0.20769667557890753</c:v>
                </c:pt>
                <c:pt idx="41">
                  <c:v>0.21001795664726308</c:v>
                </c:pt>
                <c:pt idx="42">
                  <c:v>0.21357926983851572</c:v>
                </c:pt>
                <c:pt idx="43">
                  <c:v>0.21151816687930458</c:v>
                </c:pt>
                <c:pt idx="44">
                  <c:v>0.22436044032433952</c:v>
                </c:pt>
                <c:pt idx="45">
                  <c:v>0.23869749231423804</c:v>
                </c:pt>
                <c:pt idx="46">
                  <c:v>0.2313045888114911</c:v>
                </c:pt>
                <c:pt idx="47">
                  <c:v>0.22223761761113403</c:v>
                </c:pt>
                <c:pt idx="48">
                  <c:v>0.23633314130259264</c:v>
                </c:pt>
                <c:pt idx="49">
                  <c:v>0.2335221224098673</c:v>
                </c:pt>
                <c:pt idx="50">
                  <c:v>0.2587118329360053</c:v>
                </c:pt>
                <c:pt idx="51">
                  <c:v>0.2652777332163512</c:v>
                </c:pt>
                <c:pt idx="52">
                  <c:v>0.2702730740158804</c:v>
                </c:pt>
                <c:pt idx="53">
                  <c:v>0.2702730740158804</c:v>
                </c:pt>
                <c:pt idx="54">
                  <c:v>0.211609770523892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411642411642414"/>
          <c:min val="0.108366533864541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3.4524</c:v>
                </c:pt>
                <c:pt idx="1">
                  <c:v>934.8515</c:v>
                </c:pt>
                <c:pt idx="2">
                  <c:v>1025.2857</c:v>
                </c:pt>
                <c:pt idx="3">
                  <c:v>1033.4126</c:v>
                </c:pt>
                <c:pt idx="4">
                  <c:v>1029.6429</c:v>
                </c:pt>
                <c:pt idx="5">
                  <c:v>1014.933</c:v>
                </c:pt>
                <c:pt idx="6">
                  <c:v>944.6091</c:v>
                </c:pt>
                <c:pt idx="7">
                  <c:v>974.698</c:v>
                </c:pt>
                <c:pt idx="8">
                  <c:v>1018.0606</c:v>
                </c:pt>
                <c:pt idx="9">
                  <c:v>1014.1699</c:v>
                </c:pt>
                <c:pt idx="10">
                  <c:v>1016.0449</c:v>
                </c:pt>
                <c:pt idx="11">
                  <c:v>998.1429</c:v>
                </c:pt>
                <c:pt idx="12">
                  <c:v>1053.026</c:v>
                </c:pt>
                <c:pt idx="13">
                  <c:v>997.5249</c:v>
                </c:pt>
                <c:pt idx="14">
                  <c:v>1012.5745</c:v>
                </c:pt>
                <c:pt idx="15">
                  <c:v>1032.0063</c:v>
                </c:pt>
                <c:pt idx="16">
                  <c:v>993.1811</c:v>
                </c:pt>
                <c:pt idx="17">
                  <c:v>1040.5604</c:v>
                </c:pt>
                <c:pt idx="18">
                  <c:v>1112.1918</c:v>
                </c:pt>
                <c:pt idx="19">
                  <c:v>1188.3448</c:v>
                </c:pt>
                <c:pt idx="20">
                  <c:v>1189.4861</c:v>
                </c:pt>
                <c:pt idx="21">
                  <c:v>1197.902</c:v>
                </c:pt>
                <c:pt idx="22">
                  <c:v>1201.0702</c:v>
                </c:pt>
                <c:pt idx="23">
                  <c:v>1178.1111</c:v>
                </c:pt>
                <c:pt idx="24">
                  <c:v>1065.2063</c:v>
                </c:pt>
                <c:pt idx="25">
                  <c:v>1060.6765</c:v>
                </c:pt>
                <c:pt idx="26">
                  <c:v>1030.4409</c:v>
                </c:pt>
                <c:pt idx="27">
                  <c:v>1045.6588</c:v>
                </c:pt>
                <c:pt idx="28">
                  <c:v>992.7941</c:v>
                </c:pt>
                <c:pt idx="29">
                  <c:v>941.8288</c:v>
                </c:pt>
                <c:pt idx="30">
                  <c:v>963.9286</c:v>
                </c:pt>
                <c:pt idx="31">
                  <c:v>944.03</c:v>
                </c:pt>
                <c:pt idx="32">
                  <c:v>933.7419</c:v>
                </c:pt>
                <c:pt idx="33">
                  <c:v>911.1176</c:v>
                </c:pt>
                <c:pt idx="34">
                  <c:v>968.897</c:v>
                </c:pt>
                <c:pt idx="35">
                  <c:v>1002.2766</c:v>
                </c:pt>
                <c:pt idx="36">
                  <c:v>1136.0921</c:v>
                </c:pt>
                <c:pt idx="37">
                  <c:v>1120.8615</c:v>
                </c:pt>
                <c:pt idx="38">
                  <c:v>1271.7541</c:v>
                </c:pt>
                <c:pt idx="39">
                  <c:v>1262.9189</c:v>
                </c:pt>
                <c:pt idx="40">
                  <c:v>1253.8058</c:v>
                </c:pt>
                <c:pt idx="41">
                  <c:v>1276.7647</c:v>
                </c:pt>
                <c:pt idx="42">
                  <c:v>1296.7115</c:v>
                </c:pt>
                <c:pt idx="43">
                  <c:v>1373.9587</c:v>
                </c:pt>
                <c:pt idx="44">
                  <c:v>1183.9711</c:v>
                </c:pt>
                <c:pt idx="45">
                  <c:v>1128.9818</c:v>
                </c:pt>
                <c:pt idx="46">
                  <c:v>1126.4582</c:v>
                </c:pt>
                <c:pt idx="47">
                  <c:v>1113.2294</c:v>
                </c:pt>
                <c:pt idx="48">
                  <c:v>1127.4154</c:v>
                </c:pt>
                <c:pt idx="49">
                  <c:v>1122.8543</c:v>
                </c:pt>
                <c:pt idx="50">
                  <c:v>1091.0</c:v>
                </c:pt>
                <c:pt idx="51">
                  <c:v>1117.3916</c:v>
                </c:pt>
                <c:pt idx="52">
                  <c:v>1098.7076</c:v>
                </c:pt>
                <c:pt idx="53">
                  <c:v>1259.1824</c:v>
                </c:pt>
                <c:pt idx="54">
                  <c:v>1320.1009</c:v>
                </c:pt>
                <c:pt idx="55">
                  <c:v>1301.8842</c:v>
                </c:pt>
                <c:pt idx="56">
                  <c:v>1296.4348</c:v>
                </c:pt>
                <c:pt idx="57">
                  <c:v>1282.1852</c:v>
                </c:pt>
                <c:pt idx="58">
                  <c:v>1179.1437</c:v>
                </c:pt>
                <c:pt idx="59">
                  <c:v>1198.2709</c:v>
                </c:pt>
                <c:pt idx="60">
                  <c:v>1216.7182</c:v>
                </c:pt>
                <c:pt idx="61">
                  <c:v>1200.4432</c:v>
                </c:pt>
                <c:pt idx="62">
                  <c:v>1127.3109</c:v>
                </c:pt>
                <c:pt idx="63">
                  <c:v>1171.0948</c:v>
                </c:pt>
                <c:pt idx="64">
                  <c:v>1225.6698</c:v>
                </c:pt>
                <c:pt idx="65">
                  <c:v>1229.3295</c:v>
                </c:pt>
                <c:pt idx="66">
                  <c:v>1179.7358</c:v>
                </c:pt>
                <c:pt idx="67">
                  <c:v>1261.4286</c:v>
                </c:pt>
                <c:pt idx="68">
                  <c:v>1304.7685</c:v>
                </c:pt>
                <c:pt idx="69">
                  <c:v>1372.2333</c:v>
                </c:pt>
                <c:pt idx="70">
                  <c:v>1348.4</c:v>
                </c:pt>
                <c:pt idx="71">
                  <c:v>1330.6825</c:v>
                </c:pt>
                <c:pt idx="72">
                  <c:v>1410.5068</c:v>
                </c:pt>
                <c:pt idx="73">
                  <c:v>1323.5696</c:v>
                </c:pt>
                <c:pt idx="74">
                  <c:v>1345.102</c:v>
                </c:pt>
                <c:pt idx="75">
                  <c:v>1290.2444</c:v>
                </c:pt>
                <c:pt idx="76">
                  <c:v>1340.8286</c:v>
                </c:pt>
                <c:pt idx="77">
                  <c:v>1266.9565</c:v>
                </c:pt>
                <c:pt idx="78">
                  <c:v>1310.875</c:v>
                </c:pt>
                <c:pt idx="79">
                  <c:v>1363.7736</c:v>
                </c:pt>
                <c:pt idx="80">
                  <c:v>1293.746</c:v>
                </c:pt>
                <c:pt idx="81">
                  <c:v>1367.1667</c:v>
                </c:pt>
                <c:pt idx="82">
                  <c:v>1298.4528</c:v>
                </c:pt>
                <c:pt idx="83">
                  <c:v>1288.6863</c:v>
                </c:pt>
                <c:pt idx="84">
                  <c:v>1265.6042</c:v>
                </c:pt>
                <c:pt idx="85">
                  <c:v>1281.493</c:v>
                </c:pt>
                <c:pt idx="86">
                  <c:v>1280.7677</c:v>
                </c:pt>
                <c:pt idx="87">
                  <c:v>1259.9802</c:v>
                </c:pt>
                <c:pt idx="88">
                  <c:v>1206.15</c:v>
                </c:pt>
                <c:pt idx="89">
                  <c:v>1223.537</c:v>
                </c:pt>
                <c:pt idx="90">
                  <c:v>1362.9808</c:v>
                </c:pt>
                <c:pt idx="91">
                  <c:v>1413.8333</c:v>
                </c:pt>
                <c:pt idx="92">
                  <c:v>1353.5484</c:v>
                </c:pt>
                <c:pt idx="93">
                  <c:v>1399.0698</c:v>
                </c:pt>
                <c:pt idx="94">
                  <c:v>1402.137</c:v>
                </c:pt>
                <c:pt idx="95">
                  <c:v>1341.7826</c:v>
                </c:pt>
                <c:pt idx="96">
                  <c:v>1311.0921</c:v>
                </c:pt>
                <c:pt idx="97">
                  <c:v>1264.7405</c:v>
                </c:pt>
                <c:pt idx="98">
                  <c:v>1233.3359</c:v>
                </c:pt>
                <c:pt idx="99">
                  <c:v>1156.1178</c:v>
                </c:pt>
                <c:pt idx="100">
                  <c:v>1155.0861</c:v>
                </c:pt>
                <c:pt idx="101">
                  <c:v>1154.1111</c:v>
                </c:pt>
                <c:pt idx="102">
                  <c:v>1216.4724</c:v>
                </c:pt>
                <c:pt idx="103">
                  <c:v>1221.8427</c:v>
                </c:pt>
                <c:pt idx="104">
                  <c:v>1259.1224</c:v>
                </c:pt>
              </c:numCache>
            </c:numRef>
          </c:xVal>
          <c:yVal>
            <c:numRef>
              <c:f>Sheet1!$B$2:$B$106</c:f>
              <c:numCache>
                <c:formatCode>General</c:formatCode>
                <c:ptCount val="105"/>
                <c:pt idx="0">
                  <c:v>0.1664025356576862</c:v>
                </c:pt>
                <c:pt idx="1">
                  <c:v>0.1872103799814643</c:v>
                </c:pt>
                <c:pt idx="2">
                  <c:v>0.18181818181818182</c:v>
                </c:pt>
                <c:pt idx="3">
                  <c:v>0.18710263396911897</c:v>
                </c:pt>
                <c:pt idx="4">
                  <c:v>0.18025751072961374</c:v>
                </c:pt>
                <c:pt idx="5">
                  <c:v>0.20294784580498867</c:v>
                </c:pt>
                <c:pt idx="6">
                  <c:v>0.2512755102040816</c:v>
                </c:pt>
                <c:pt idx="7">
                  <c:v>0.2811320754716981</c:v>
                </c:pt>
                <c:pt idx="8">
                  <c:v>0.24504950495049505</c:v>
                </c:pt>
                <c:pt idx="9">
                  <c:v>0.23684210526315788</c:v>
                </c:pt>
                <c:pt idx="10">
                  <c:v>0.23672230652503792</c:v>
                </c:pt>
                <c:pt idx="11">
                  <c:v>0.2507462686567164</c:v>
                </c:pt>
                <c:pt idx="12">
                  <c:v>0.21720733427362482</c:v>
                </c:pt>
                <c:pt idx="13">
                  <c:v>0.2162485065710872</c:v>
                </c:pt>
                <c:pt idx="14">
                  <c:v>0.2</c:v>
                </c:pt>
                <c:pt idx="15">
                  <c:v>0.21428571428571427</c:v>
                </c:pt>
                <c:pt idx="16">
                  <c:v>0.22438162544169613</c:v>
                </c:pt>
                <c:pt idx="17">
                  <c:v>0.19912472647702406</c:v>
                </c:pt>
                <c:pt idx="18">
                  <c:v>0.1848101265822785</c:v>
                </c:pt>
                <c:pt idx="19">
                  <c:v>0.18471337579617833</c:v>
                </c:pt>
                <c:pt idx="20">
                  <c:v>0.21364985163204747</c:v>
                </c:pt>
                <c:pt idx="21">
                  <c:v>0.2463768115942029</c:v>
                </c:pt>
                <c:pt idx="22">
                  <c:v>0.24568965517241378</c:v>
                </c:pt>
                <c:pt idx="23">
                  <c:v>0.17142857142857143</c:v>
                </c:pt>
                <c:pt idx="24">
                  <c:v>0.16363636363636364</c:v>
                </c:pt>
                <c:pt idx="25">
                  <c:v>0.19428571428571428</c:v>
                </c:pt>
                <c:pt idx="26">
                  <c:v>0.23846153846153847</c:v>
                </c:pt>
                <c:pt idx="27">
                  <c:v>0.18240343347639484</c:v>
                </c:pt>
                <c:pt idx="28">
                  <c:v>0.20359281437125748</c:v>
                </c:pt>
                <c:pt idx="29">
                  <c:v>0.2512908777969019</c:v>
                </c:pt>
                <c:pt idx="30">
                  <c:v>0.2784090909090909</c:v>
                </c:pt>
                <c:pt idx="31">
                  <c:v>0.2824858757062147</c:v>
                </c:pt>
                <c:pt idx="32">
                  <c:v>0.28703703703703703</c:v>
                </c:pt>
                <c:pt idx="33">
                  <c:v>0.35343035343035345</c:v>
                </c:pt>
                <c:pt idx="34">
                  <c:v>0.3016453382084095</c:v>
                </c:pt>
                <c:pt idx="35">
                  <c:v>0.2660377358490566</c:v>
                </c:pt>
                <c:pt idx="36">
                  <c:v>0.18673218673218672</c:v>
                </c:pt>
                <c:pt idx="37">
                  <c:v>0.1536643026004728</c:v>
                </c:pt>
                <c:pt idx="38">
                  <c:v>0.14055299539170507</c:v>
                </c:pt>
                <c:pt idx="39">
                  <c:v>0.15071283095723015</c:v>
                </c:pt>
                <c:pt idx="40">
                  <c:v>0.16996699669966997</c:v>
                </c:pt>
                <c:pt idx="41">
                  <c:v>0.13545816733067728</c:v>
                </c:pt>
                <c:pt idx="42">
                  <c:v>0.1554559043348281</c:v>
                </c:pt>
                <c:pt idx="43">
                  <c:v>0.17410071942446043</c:v>
                </c:pt>
                <c:pt idx="44">
                  <c:v>0.20656226696495153</c:v>
                </c:pt>
                <c:pt idx="45">
                  <c:v>0.24924471299093656</c:v>
                </c:pt>
                <c:pt idx="46">
                  <c:v>0.236457437661221</c:v>
                </c:pt>
                <c:pt idx="47">
                  <c:v>0.24910714285714286</c:v>
                </c:pt>
                <c:pt idx="48">
                  <c:v>0.2620650953984287</c:v>
                </c:pt>
                <c:pt idx="49">
                  <c:v>0.2822269807280514</c:v>
                </c:pt>
                <c:pt idx="50">
                  <c:v>0.2292849035187287</c:v>
                </c:pt>
                <c:pt idx="51">
                  <c:v>0.199442119944212</c:v>
                </c:pt>
                <c:pt idx="52">
                  <c:v>0.23137254901960785</c:v>
                </c:pt>
                <c:pt idx="53">
                  <c:v>0.18663303909205547</c:v>
                </c:pt>
                <c:pt idx="54">
                  <c:v>0.1844331641285956</c:v>
                </c:pt>
                <c:pt idx="55">
                  <c:v>0.16579406631762653</c:v>
                </c:pt>
                <c:pt idx="56">
                  <c:v>0.17523809523809525</c:v>
                </c:pt>
                <c:pt idx="57">
                  <c:v>0.17763157894736842</c:v>
                </c:pt>
                <c:pt idx="58">
                  <c:v>0.20374707259953162</c:v>
                </c:pt>
                <c:pt idx="59">
                  <c:v>0.22291407222914073</c:v>
                </c:pt>
                <c:pt idx="60">
                  <c:v>0.2496617050067659</c:v>
                </c:pt>
                <c:pt idx="61">
                  <c:v>0.22651222651222652</c:v>
                </c:pt>
                <c:pt idx="62">
                  <c:v>0.2653288740245262</c:v>
                </c:pt>
                <c:pt idx="63">
                  <c:v>0.24421052631578946</c:v>
                </c:pt>
                <c:pt idx="64">
                  <c:v>0.2562574493444577</c:v>
                </c:pt>
                <c:pt idx="65">
                  <c:v>0.24719101123595505</c:v>
                </c:pt>
                <c:pt idx="66">
                  <c:v>0.28892215568862273</c:v>
                </c:pt>
                <c:pt idx="67">
                  <c:v>0.2518740629685157</c:v>
                </c:pt>
                <c:pt idx="68">
                  <c:v>0.22040816326530613</c:v>
                </c:pt>
                <c:pt idx="69">
                  <c:v>0.17391304347826086</c:v>
                </c:pt>
                <c:pt idx="70">
                  <c:v>0.14705882352941177</c:v>
                </c:pt>
                <c:pt idx="71">
                  <c:v>0.17897727272727273</c:v>
                </c:pt>
                <c:pt idx="72">
                  <c:v>0.1983695652173913</c:v>
                </c:pt>
                <c:pt idx="73">
                  <c:v>0.21584699453551912</c:v>
                </c:pt>
                <c:pt idx="74">
                  <c:v>0.21444201312910285</c:v>
                </c:pt>
                <c:pt idx="75">
                  <c:v>0.2179176755447942</c:v>
                </c:pt>
                <c:pt idx="76">
                  <c:v>0.20958083832335328</c:v>
                </c:pt>
                <c:pt idx="77">
                  <c:v>0.215625</c:v>
                </c:pt>
                <c:pt idx="78">
                  <c:v>0.2007168458781362</c:v>
                </c:pt>
                <c:pt idx="79">
                  <c:v>0.15915915915915915</c:v>
                </c:pt>
                <c:pt idx="80">
                  <c:v>0.19148936170212766</c:v>
                </c:pt>
                <c:pt idx="81">
                  <c:v>0.18652849740932642</c:v>
                </c:pt>
                <c:pt idx="82">
                  <c:v>0.18088737201365188</c:v>
                </c:pt>
                <c:pt idx="83">
                  <c:v>0.20318725099601595</c:v>
                </c:pt>
                <c:pt idx="84">
                  <c:v>0.21052631578947367</c:v>
                </c:pt>
                <c:pt idx="85">
                  <c:v>0.24067796610169492</c:v>
                </c:pt>
                <c:pt idx="86">
                  <c:v>0.25384615384615383</c:v>
                </c:pt>
                <c:pt idx="87">
                  <c:v>0.2616580310880829</c:v>
                </c:pt>
                <c:pt idx="88">
                  <c:v>0.21818181818181817</c:v>
                </c:pt>
                <c:pt idx="89">
                  <c:v>0.20224719101123595</c:v>
                </c:pt>
                <c:pt idx="90">
                  <c:v>0.17993079584775087</c:v>
                </c:pt>
                <c:pt idx="91">
                  <c:v>0.1758957654723127</c:v>
                </c:pt>
                <c:pt idx="92">
                  <c:v>0.2188235294117647</c:v>
                </c:pt>
                <c:pt idx="93">
                  <c:v>0.17916666666666667</c:v>
                </c:pt>
                <c:pt idx="94">
                  <c:v>0.17761557177615572</c:v>
                </c:pt>
                <c:pt idx="95">
                  <c:v>0.2068345323741007</c:v>
                </c:pt>
                <c:pt idx="96">
                  <c:v>0.2116991643454039</c:v>
                </c:pt>
                <c:pt idx="97">
                  <c:v>0.2630368098159509</c:v>
                </c:pt>
                <c:pt idx="98">
                  <c:v>0.25963488843813387</c:v>
                </c:pt>
                <c:pt idx="99">
                  <c:v>0.2693194925028835</c:v>
                </c:pt>
                <c:pt idx="100">
                  <c:v>0.2813688212927757</c:v>
                </c:pt>
                <c:pt idx="101">
                  <c:v>0.2732615083251714</c:v>
                </c:pt>
                <c:pt idx="102">
                  <c:v>0.21646746347941567</c:v>
                </c:pt>
                <c:pt idx="103">
                  <c:v>0.21241050119331742</c:v>
                </c:pt>
                <c:pt idx="104">
                  <c:v>0.2311320754716981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8.2968</c:v>
                </c:pt>
                <c:pt idx="1">
                  <c:v>1252.1731</c:v>
                </c:pt>
                <c:pt idx="2">
                  <c:v>1300.0462</c:v>
                </c:pt>
                <c:pt idx="3">
                  <c:v>1257.7433</c:v>
                </c:pt>
                <c:pt idx="4">
                  <c:v>1256.8603</c:v>
                </c:pt>
                <c:pt idx="5">
                  <c:v>1213.9637</c:v>
                </c:pt>
                <c:pt idx="6">
                  <c:v>1132.7056</c:v>
                </c:pt>
                <c:pt idx="7">
                  <c:v>1139.5385</c:v>
                </c:pt>
                <c:pt idx="8">
                  <c:v>1240.0674</c:v>
                </c:pt>
                <c:pt idx="9">
                  <c:v>1180.8981</c:v>
                </c:pt>
                <c:pt idx="10">
                  <c:v>1275.1524</c:v>
                </c:pt>
                <c:pt idx="11">
                  <c:v>1107.035</c:v>
                </c:pt>
                <c:pt idx="12">
                  <c:v>1147.3973</c:v>
                </c:pt>
                <c:pt idx="13">
                  <c:v>1166.2128</c:v>
                </c:pt>
                <c:pt idx="14">
                  <c:v>1107.156</c:v>
                </c:pt>
                <c:pt idx="15">
                  <c:v>1126.7868</c:v>
                </c:pt>
                <c:pt idx="16">
                  <c:v>1208.8298</c:v>
                </c:pt>
                <c:pt idx="17">
                  <c:v>1164.7</c:v>
                </c:pt>
                <c:pt idx="18">
                  <c:v>774.9896</c:v>
                </c:pt>
                <c:pt idx="19">
                  <c:v>1047.4304</c:v>
                </c:pt>
                <c:pt idx="20">
                  <c:v>1322.06</c:v>
                </c:pt>
                <c:pt idx="21">
                  <c:v>1240.5227</c:v>
                </c:pt>
                <c:pt idx="22">
                  <c:v>1324.7576</c:v>
                </c:pt>
                <c:pt idx="23">
                  <c:v>1313.0</c:v>
                </c:pt>
                <c:pt idx="24">
                  <c:v>1376.6667</c:v>
                </c:pt>
                <c:pt idx="25">
                  <c:v>1146.4524</c:v>
                </c:pt>
                <c:pt idx="26">
                  <c:v>1172.0526</c:v>
                </c:pt>
                <c:pt idx="27">
                  <c:v>1291.9231</c:v>
                </c:pt>
                <c:pt idx="28">
                  <c:v>1248.7532</c:v>
                </c:pt>
                <c:pt idx="29">
                  <c:v>1221.9655</c:v>
                </c:pt>
                <c:pt idx="30">
                  <c:v>1059.2969</c:v>
                </c:pt>
                <c:pt idx="31">
                  <c:v>1096.6471</c:v>
                </c:pt>
                <c:pt idx="32">
                  <c:v>1173.4854</c:v>
                </c:pt>
                <c:pt idx="33">
                  <c:v>1231.4046</c:v>
                </c:pt>
                <c:pt idx="34">
                  <c:v>1218.1879</c:v>
                </c:pt>
                <c:pt idx="35">
                  <c:v>1150.8621</c:v>
                </c:pt>
                <c:pt idx="36">
                  <c:v>1229.6226</c:v>
                </c:pt>
                <c:pt idx="37">
                  <c:v>1369.0</c:v>
                </c:pt>
                <c:pt idx="38">
                  <c:v>1409.913</c:v>
                </c:pt>
                <c:pt idx="39">
                  <c:v>1353.7105</c:v>
                </c:pt>
                <c:pt idx="40">
                  <c:v>1311.4865</c:v>
                </c:pt>
                <c:pt idx="41">
                  <c:v>1429.1719</c:v>
                </c:pt>
                <c:pt idx="42">
                  <c:v>1447.2105</c:v>
                </c:pt>
                <c:pt idx="43">
                  <c:v>1441.0556</c:v>
                </c:pt>
                <c:pt idx="44">
                  <c:v>1378.7519</c:v>
                </c:pt>
                <c:pt idx="45">
                  <c:v>1279.2947</c:v>
                </c:pt>
                <c:pt idx="46">
                  <c:v>1310.2908</c:v>
                </c:pt>
                <c:pt idx="47">
                  <c:v>1289.338</c:v>
                </c:pt>
                <c:pt idx="48">
                  <c:v>1260.9081</c:v>
                </c:pt>
                <c:pt idx="49">
                  <c:v>1289.1048</c:v>
                </c:pt>
                <c:pt idx="50">
                  <c:v>1146.344</c:v>
                </c:pt>
                <c:pt idx="51">
                  <c:v>1100.8229</c:v>
                </c:pt>
              </c:numCache>
            </c:numRef>
          </c:xVal>
          <c:yVal>
            <c:numRef>
              <c:f>Sheet1!$B$109:$B$160</c:f>
              <c:numCache>
                <c:formatCode>General</c:formatCode>
                <c:ptCount val="52"/>
                <c:pt idx="0">
                  <c:v>0.2108843537414966</c:v>
                </c:pt>
                <c:pt idx="1">
                  <c:v>0.2225392296718973</c:v>
                </c:pt>
                <c:pt idx="2">
                  <c:v>0.22179487179487178</c:v>
                </c:pt>
                <c:pt idx="3">
                  <c:v>0.25202156334231807</c:v>
                </c:pt>
                <c:pt idx="4">
                  <c:v>0.23583662714097497</c:v>
                </c:pt>
                <c:pt idx="5">
                  <c:v>0.2608108108108108</c:v>
                </c:pt>
                <c:pt idx="6">
                  <c:v>0.2622549019607843</c:v>
                </c:pt>
                <c:pt idx="7">
                  <c:v>0.26262626262626265</c:v>
                </c:pt>
                <c:pt idx="8">
                  <c:v>0.2564841498559078</c:v>
                </c:pt>
                <c:pt idx="9">
                  <c:v>0.2727272727272727</c:v>
                </c:pt>
                <c:pt idx="10">
                  <c:v>0.257985257985258</c:v>
                </c:pt>
                <c:pt idx="11">
                  <c:v>0.2936857562408223</c:v>
                </c:pt>
                <c:pt idx="12">
                  <c:v>0.30103092783505153</c:v>
                </c:pt>
                <c:pt idx="13">
                  <c:v>0.30257510729613735</c:v>
                </c:pt>
                <c:pt idx="14">
                  <c:v>0.31543624161073824</c:v>
                </c:pt>
                <c:pt idx="15">
                  <c:v>0.3105022831050228</c:v>
                </c:pt>
                <c:pt idx="16">
                  <c:v>0.27089337175792505</c:v>
                </c:pt>
                <c:pt idx="17">
                  <c:v>0.21739130434782608</c:v>
                </c:pt>
                <c:pt idx="18">
                  <c:v>0.2981366459627329</c:v>
                </c:pt>
                <c:pt idx="19">
                  <c:v>0.2607260726072607</c:v>
                </c:pt>
                <c:pt idx="20">
                  <c:v>0.18796992481203006</c:v>
                </c:pt>
                <c:pt idx="21">
                  <c:v>0.22448979591836735</c:v>
                </c:pt>
                <c:pt idx="22">
                  <c:v>0.17277486910994763</c:v>
                </c:pt>
                <c:pt idx="23">
                  <c:v>0.18579234972677597</c:v>
                </c:pt>
                <c:pt idx="24">
                  <c:v>0.17889908256880735</c:v>
                </c:pt>
                <c:pt idx="25">
                  <c:v>0.19534883720930232</c:v>
                </c:pt>
                <c:pt idx="26">
                  <c:v>0.18181818181818182</c:v>
                </c:pt>
                <c:pt idx="27">
                  <c:v>0.17391304347826086</c:v>
                </c:pt>
                <c:pt idx="28">
                  <c:v>0.21448467966573817</c:v>
                </c:pt>
                <c:pt idx="29">
                  <c:v>0.2265625</c:v>
                </c:pt>
                <c:pt idx="30">
                  <c:v>0.24242424242424243</c:v>
                </c:pt>
                <c:pt idx="31">
                  <c:v>0.23448275862068965</c:v>
                </c:pt>
                <c:pt idx="32">
                  <c:v>0.2959770114942529</c:v>
                </c:pt>
                <c:pt idx="33">
                  <c:v>0.30679156908665106</c:v>
                </c:pt>
                <c:pt idx="34">
                  <c:v>0.3104166666666667</c:v>
                </c:pt>
                <c:pt idx="35">
                  <c:v>0.29</c:v>
                </c:pt>
                <c:pt idx="36">
                  <c:v>0.24311926605504589</c:v>
                </c:pt>
                <c:pt idx="37">
                  <c:v>0.20408163265306123</c:v>
                </c:pt>
                <c:pt idx="38">
                  <c:v>0.18548387096774194</c:v>
                </c:pt>
                <c:pt idx="39">
                  <c:v>0.2116991643454039</c:v>
                </c:pt>
                <c:pt idx="40">
                  <c:v>0.22629969418960244</c:v>
                </c:pt>
                <c:pt idx="41">
                  <c:v>0.187683284457478</c:v>
                </c:pt>
                <c:pt idx="42">
                  <c:v>0.2111111111111111</c:v>
                </c:pt>
                <c:pt idx="43">
                  <c:v>0.19148936170212766</c:v>
                </c:pt>
                <c:pt idx="44">
                  <c:v>0.18092566619915848</c:v>
                </c:pt>
                <c:pt idx="45">
                  <c:v>0.19367991845056065</c:v>
                </c:pt>
                <c:pt idx="46">
                  <c:v>0.19665271966527198</c:v>
                </c:pt>
                <c:pt idx="47">
                  <c:v>0.20084865629420084</c:v>
                </c:pt>
                <c:pt idx="48">
                  <c:v>0.19535374868004224</c:v>
                </c:pt>
                <c:pt idx="49">
                  <c:v>0.22517207472959685</c:v>
                </c:pt>
                <c:pt idx="50">
                  <c:v>0.27036770007209804</c:v>
                </c:pt>
                <c:pt idx="51">
                  <c:v>0.259643916913946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88.0409119979493</c:v>
                </c:pt>
              </c:numCache>
            </c:numRef>
          </c:xVal>
          <c:yVal>
            <c:numRef>
              <c:f>Sheet1!$B$163:$B$164</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88.0409119979493</c:v>
                </c:pt>
                <c:pt idx="1">
                  <c:v>1088.0409119979493</c:v>
                </c:pt>
              </c:numCache>
            </c:numRef>
          </c:xVal>
          <c:yVal>
            <c:numRef>
              <c:f>Sheet1!$B$167:$B$168</c:f>
              <c:numCache>
                <c:formatCode>General</c:formatCode>
                <c:ptCount val="2"/>
                <c:pt idx="0">
                  <c:v>0.27027307401588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8.0409119979493</c:v>
                </c:pt>
              </c:numCache>
            </c:numRef>
          </c:xVal>
          <c:yVal>
            <c:numRef>
              <c:f>Sheet1!$B$171:$B$172</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8.0409119979493</c:v>
                </c:pt>
                <c:pt idx="1">
                  <c:v>1088.0409119979493</c:v>
                </c:pt>
              </c:numCache>
            </c:numRef>
          </c:xVal>
          <c:yVal>
            <c:numRef>
              <c:f>Sheet1!$B$175:$B$176</c:f>
              <c:numCache>
                <c:formatCode>General</c:formatCode>
                <c:ptCount val="2"/>
                <c:pt idx="0">
                  <c:v>0.27027307401588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4.8629486357377</c:v>
                </c:pt>
              </c:numCache>
            </c:numRef>
          </c:xVal>
          <c:yVal>
            <c:numRef>
              <c:f>Sheet1!$B$179:$B$180</c:f>
              <c:numCache>
                <c:formatCode>General</c:formatCode>
                <c:ptCount val="2"/>
                <c:pt idx="0">
                  <c:v>0.2116097705238922</c:v>
                </c:pt>
                <c:pt idx="1">
                  <c:v>0.211609770523892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4.8629486357377</c:v>
                </c:pt>
                <c:pt idx="1">
                  <c:v>1334.8629486357377</c:v>
                </c:pt>
              </c:numCache>
            </c:numRef>
          </c:xVal>
          <c:yVal>
            <c:numRef>
              <c:f>Sheet1!$B$183:$B$184</c:f>
              <c:numCache>
                <c:formatCode>General</c:formatCode>
                <c:ptCount val="2"/>
                <c:pt idx="0">
                  <c:v>0.21160977052389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8.2968</c:v>
                </c:pt>
                <c:pt idx="1">
                  <c:v>1252.1731</c:v>
                </c:pt>
                <c:pt idx="2">
                  <c:v>1300.0462</c:v>
                </c:pt>
                <c:pt idx="3">
                  <c:v>1257.7433</c:v>
                </c:pt>
                <c:pt idx="4">
                  <c:v>1256.8603</c:v>
                </c:pt>
                <c:pt idx="5">
                  <c:v>1213.9637</c:v>
                </c:pt>
                <c:pt idx="6">
                  <c:v>1132.7056</c:v>
                </c:pt>
                <c:pt idx="7">
                  <c:v>1139.5385</c:v>
                </c:pt>
                <c:pt idx="8">
                  <c:v>1240.0674</c:v>
                </c:pt>
                <c:pt idx="9">
                  <c:v>1180.8981</c:v>
                </c:pt>
                <c:pt idx="10">
                  <c:v>1275.1524</c:v>
                </c:pt>
                <c:pt idx="11">
                  <c:v>1107.035</c:v>
                </c:pt>
                <c:pt idx="12">
                  <c:v>1147.3973</c:v>
                </c:pt>
                <c:pt idx="13">
                  <c:v>1166.2128</c:v>
                </c:pt>
                <c:pt idx="14">
                  <c:v>1107.156</c:v>
                </c:pt>
                <c:pt idx="15">
                  <c:v>1126.7868</c:v>
                </c:pt>
                <c:pt idx="16">
                  <c:v>1208.8298</c:v>
                </c:pt>
                <c:pt idx="17">
                  <c:v>1164.7</c:v>
                </c:pt>
                <c:pt idx="18">
                  <c:v>774.9896</c:v>
                </c:pt>
                <c:pt idx="19">
                  <c:v>1047.4304</c:v>
                </c:pt>
                <c:pt idx="20">
                  <c:v>1322.06</c:v>
                </c:pt>
                <c:pt idx="21">
                  <c:v>1240.5227</c:v>
                </c:pt>
                <c:pt idx="22">
                  <c:v>1324.7576</c:v>
                </c:pt>
                <c:pt idx="23">
                  <c:v>1313.0</c:v>
                </c:pt>
                <c:pt idx="24">
                  <c:v>1376.6667</c:v>
                </c:pt>
                <c:pt idx="25">
                  <c:v>1146.4524</c:v>
                </c:pt>
                <c:pt idx="26">
                  <c:v>1172.0526</c:v>
                </c:pt>
                <c:pt idx="27">
                  <c:v>1291.9231</c:v>
                </c:pt>
                <c:pt idx="28">
                  <c:v>1248.7532</c:v>
                </c:pt>
                <c:pt idx="29">
                  <c:v>1221.9655</c:v>
                </c:pt>
                <c:pt idx="30">
                  <c:v>1059.2969</c:v>
                </c:pt>
                <c:pt idx="31">
                  <c:v>1096.6471</c:v>
                </c:pt>
                <c:pt idx="32">
                  <c:v>1173.4854</c:v>
                </c:pt>
                <c:pt idx="33">
                  <c:v>1231.4046</c:v>
                </c:pt>
                <c:pt idx="34">
                  <c:v>1218.1879</c:v>
                </c:pt>
                <c:pt idx="35">
                  <c:v>1150.8621</c:v>
                </c:pt>
                <c:pt idx="36">
                  <c:v>1229.6226</c:v>
                </c:pt>
                <c:pt idx="37">
                  <c:v>1369.0</c:v>
                </c:pt>
                <c:pt idx="38">
                  <c:v>1409.913</c:v>
                </c:pt>
                <c:pt idx="39">
                  <c:v>1353.7105</c:v>
                </c:pt>
                <c:pt idx="40">
                  <c:v>1311.4865</c:v>
                </c:pt>
                <c:pt idx="41">
                  <c:v>1429.1719</c:v>
                </c:pt>
                <c:pt idx="42">
                  <c:v>1447.2105</c:v>
                </c:pt>
                <c:pt idx="43">
                  <c:v>1441.0556</c:v>
                </c:pt>
                <c:pt idx="44">
                  <c:v>1378.7519</c:v>
                </c:pt>
                <c:pt idx="45">
                  <c:v>1279.2947</c:v>
                </c:pt>
                <c:pt idx="46">
                  <c:v>1310.2908</c:v>
                </c:pt>
                <c:pt idx="47">
                  <c:v>1289.338</c:v>
                </c:pt>
                <c:pt idx="48">
                  <c:v>1260.9081</c:v>
                </c:pt>
                <c:pt idx="49">
                  <c:v>1289.1048</c:v>
                </c:pt>
                <c:pt idx="50">
                  <c:v>1146.344</c:v>
                </c:pt>
                <c:pt idx="51">
                  <c:v>1100.8229</c:v>
                </c:pt>
                <c:pt idx="52">
                  <c:v>1088.0409119979493</c:v>
                </c:pt>
                <c:pt idx="53">
                  <c:v>1088.0409119979493</c:v>
                </c:pt>
                <c:pt idx="54">
                  <c:v>1334.8629486357377</c:v>
                </c:pt>
              </c:numCache>
            </c:numRef>
          </c:xVal>
          <c:yVal>
            <c:numRef>
              <c:f>Sheet1!$B$187:$B$241</c:f>
              <c:numCache>
                <c:formatCode>General</c:formatCode>
                <c:ptCount val="55"/>
                <c:pt idx="0">
                  <c:v>0.2298075914146679</c:v>
                </c:pt>
                <c:pt idx="1">
                  <c:v>0.23126303873407023</c:v>
                </c:pt>
                <c:pt idx="2">
                  <c:v>0.2198848237551394</c:v>
                </c:pt>
                <c:pt idx="3">
                  <c:v>0.22993914424894935</c:v>
                </c:pt>
                <c:pt idx="4">
                  <c:v>0.23014901083010653</c:v>
                </c:pt>
                <c:pt idx="5">
                  <c:v>0.24034443867299127</c:v>
                </c:pt>
                <c:pt idx="6">
                  <c:v>0.2596574167458434</c:v>
                </c:pt>
                <c:pt idx="7">
                  <c:v>0.2580334106729228</c:v>
                </c:pt>
                <c:pt idx="8">
                  <c:v>0.23414025489660084</c:v>
                </c:pt>
                <c:pt idx="9">
                  <c:v>0.24820328853246</c:v>
                </c:pt>
                <c:pt idx="10">
                  <c:v>0.22580144515718997</c:v>
                </c:pt>
                <c:pt idx="11">
                  <c:v>0.26575866369743295</c:v>
                </c:pt>
                <c:pt idx="12">
                  <c:v>0.2561655743331741</c:v>
                </c:pt>
                <c:pt idx="13">
                  <c:v>0.2516936098283463</c:v>
                </c:pt>
                <c:pt idx="14">
                  <c:v>0.26572990508325406</c:v>
                </c:pt>
                <c:pt idx="15">
                  <c:v>0.2610641645607394</c:v>
                </c:pt>
                <c:pt idx="16">
                  <c:v>0.24156463577491977</c:v>
                </c:pt>
                <c:pt idx="17">
                  <c:v>0.25205316380793247</c:v>
                </c:pt>
                <c:pt idx="18">
                  <c:v>0.34467738723873453</c:v>
                </c:pt>
                <c:pt idx="19">
                  <c:v>0.2799251570419873</c:v>
                </c:pt>
                <c:pt idx="20">
                  <c:v>0.21465270490544747</c:v>
                </c:pt>
                <c:pt idx="21">
                  <c:v>0.23403204169795883</c:v>
                </c:pt>
                <c:pt idx="22">
                  <c:v>0.21401155418140483</c:v>
                </c:pt>
                <c:pt idx="23">
                  <c:v>0.216806035851409</c:v>
                </c:pt>
                <c:pt idx="24">
                  <c:v>0.2016740849311825</c:v>
                </c:pt>
                <c:pt idx="25">
                  <c:v>0.2563901529657171</c:v>
                </c:pt>
                <c:pt idx="26">
                  <c:v>0.25030563829874075</c:v>
                </c:pt>
                <c:pt idx="27">
                  <c:v>0.22181547746453678</c:v>
                </c:pt>
                <c:pt idx="28">
                  <c:v>0.23207586174754635</c:v>
                </c:pt>
                <c:pt idx="29">
                  <c:v>0.23844261488012197</c:v>
                </c:pt>
                <c:pt idx="30">
                  <c:v>0.277104792619222</c:v>
                </c:pt>
                <c:pt idx="31">
                  <c:v>0.2682276026084213</c:v>
                </c:pt>
                <c:pt idx="32">
                  <c:v>0.2499650982789423</c:v>
                </c:pt>
                <c:pt idx="33">
                  <c:v>0.23619918153221625</c:v>
                </c:pt>
                <c:pt idx="34">
                  <c:v>0.2393404540612991</c:v>
                </c:pt>
                <c:pt idx="35">
                  <c:v>0.2553420797347671</c:v>
                </c:pt>
                <c:pt idx="36">
                  <c:v>0.23662271748648822</c:v>
                </c:pt>
                <c:pt idx="37">
                  <c:v>0.20349626399999088</c:v>
                </c:pt>
                <c:pt idx="38">
                  <c:v>0.19377228729004314</c:v>
                </c:pt>
                <c:pt idx="39">
                  <c:v>0.20713018822717405</c:v>
                </c:pt>
                <c:pt idx="40">
                  <c:v>0.21716575620314332</c:v>
                </c:pt>
                <c:pt idx="41">
                  <c:v>0.18919493791309178</c:v>
                </c:pt>
                <c:pt idx="42">
                  <c:v>0.18490762272525263</c:v>
                </c:pt>
                <c:pt idx="43">
                  <c:v>0.18637048548897217</c:v>
                </c:pt>
                <c:pt idx="44">
                  <c:v>0.20117848606931504</c:v>
                </c:pt>
                <c:pt idx="45">
                  <c:v>0.22481692608683057</c:v>
                </c:pt>
                <c:pt idx="46">
                  <c:v>0.21744994359962083</c:v>
                </c:pt>
                <c:pt idx="47">
                  <c:v>0.2224298898076279</c:v>
                </c:pt>
                <c:pt idx="48">
                  <c:v>0.2291869519997463</c:v>
                </c:pt>
                <c:pt idx="49">
                  <c:v>0.22248531550040912</c:v>
                </c:pt>
                <c:pt idx="50">
                  <c:v>0.25641591688122944</c:v>
                </c:pt>
                <c:pt idx="51">
                  <c:v>0.2672351214424008</c:v>
                </c:pt>
                <c:pt idx="52">
                  <c:v>0.2702730740158804</c:v>
                </c:pt>
                <c:pt idx="53">
                  <c:v>0.2702730740158804</c:v>
                </c:pt>
                <c:pt idx="54">
                  <c:v>0.211609770523892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7.0"/>
          <c:min val="62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411642411642414"/>
          <c:min val="0.108366533864541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390115215310686</c:v>
                </c:pt>
                <c:pt idx="1">
                  <c:v>1.9462339803143074</c:v>
                </c:pt>
                <c:pt idx="2">
                  <c:v>2.103809563284656</c:v>
                </c:pt>
                <c:pt idx="3">
                  <c:v>2.187502262303598</c:v>
                </c:pt>
                <c:pt idx="4">
                  <c:v>2.1395177142857142</c:v>
                </c:pt>
                <c:pt idx="5">
                  <c:v>2.0790113331009055</c:v>
                </c:pt>
                <c:pt idx="6">
                  <c:v>1.9211457207328595</c:v>
                </c:pt>
                <c:pt idx="7">
                  <c:v>2.0306208333333333</c:v>
                </c:pt>
                <c:pt idx="8">
                  <c:v>2.106150711145591</c:v>
                </c:pt>
                <c:pt idx="9">
                  <c:v>2.561035101010101</c:v>
                </c:pt>
                <c:pt idx="10">
                  <c:v>2.475086770368869</c:v>
                </c:pt>
                <c:pt idx="11">
                  <c:v>2.1261642437615706</c:v>
                </c:pt>
                <c:pt idx="12">
                  <c:v>2.1938041666666668</c:v>
                </c:pt>
                <c:pt idx="13">
                  <c:v>2.0493800959722828</c:v>
                </c:pt>
                <c:pt idx="14">
                  <c:v>2.0754202442400307</c:v>
                </c:pt>
                <c:pt idx="15">
                  <c:v>2.1278480412371135</c:v>
                </c:pt>
                <c:pt idx="16">
                  <c:v>2.038671660672532</c:v>
                </c:pt>
                <c:pt idx="17">
                  <c:v>2.14254014121207</c:v>
                </c:pt>
                <c:pt idx="18">
                  <c:v>2.2671765575232516</c:v>
                </c:pt>
                <c:pt idx="19">
                  <c:v>2.4093321963287404</c:v>
                </c:pt>
                <c:pt idx="20">
                  <c:v>2.4193408373437504</c:v>
                </c:pt>
                <c:pt idx="21">
                  <c:v>2.446495384364023</c:v>
                </c:pt>
                <c:pt idx="22">
                  <c:v>2.4716887788595505</c:v>
                </c:pt>
                <c:pt idx="23">
                  <c:v>2.165645404411765</c:v>
                </c:pt>
                <c:pt idx="24">
                  <c:v>1.9700370091789643</c:v>
                </c:pt>
                <c:pt idx="25">
                  <c:v>2.0421934957189425</c:v>
                </c:pt>
                <c:pt idx="26">
                  <c:v>1.8425736714112009</c:v>
                </c:pt>
                <c:pt idx="27">
                  <c:v>1.8897449331171645</c:v>
                </c:pt>
                <c:pt idx="28">
                  <c:v>1.8151645761433886</c:v>
                </c:pt>
                <c:pt idx="29">
                  <c:v>1.695510526947766</c:v>
                </c:pt>
                <c:pt idx="30">
                  <c:v>1.7172125722810314</c:v>
                </c:pt>
                <c:pt idx="31">
                  <c:v>1.6657785149632975</c:v>
                </c:pt>
                <c:pt idx="32">
                  <c:v>1.7065244169895462</c:v>
                </c:pt>
                <c:pt idx="33">
                  <c:v>1.7062127340823972</c:v>
                </c:pt>
                <c:pt idx="34">
                  <c:v>1.8206644647250572</c:v>
                </c:pt>
                <c:pt idx="35">
                  <c:v>1.8485367023238657</c:v>
                </c:pt>
                <c:pt idx="36">
                  <c:v>2.057671904007245</c:v>
                </c:pt>
                <c:pt idx="37">
                  <c:v>2.0649938088589046</c:v>
                </c:pt>
                <c:pt idx="38">
                  <c:v>2.3164919854280512</c:v>
                </c:pt>
                <c:pt idx="39">
                  <c:v>2.24875878527889</c:v>
                </c:pt>
                <c:pt idx="40">
                  <c:v>2.2975692020867506</c:v>
                </c:pt>
                <c:pt idx="41">
                  <c:v>2.327958168527462</c:v>
                </c:pt>
                <c:pt idx="42">
                  <c:v>2.3098846582052994</c:v>
                </c:pt>
                <c:pt idx="43">
                  <c:v>2.3813223495726836</c:v>
                </c:pt>
                <c:pt idx="44">
                  <c:v>2.0082038145948418</c:v>
                </c:pt>
                <c:pt idx="45">
                  <c:v>1.9505559778852801</c:v>
                </c:pt>
                <c:pt idx="46">
                  <c:v>2.179828072621834</c:v>
                </c:pt>
                <c:pt idx="47">
                  <c:v>2.249857316087308</c:v>
                </c:pt>
                <c:pt idx="48">
                  <c:v>2.2096015813898977</c:v>
                </c:pt>
                <c:pt idx="49">
                  <c:v>2.1683790007245607</c:v>
                </c:pt>
                <c:pt idx="50">
                  <c:v>2.009369074686462</c:v>
                </c:pt>
                <c:pt idx="51">
                  <c:v>2.015960013906512</c:v>
                </c:pt>
                <c:pt idx="52">
                  <c:v>1.9933861476314754</c:v>
                </c:pt>
                <c:pt idx="53">
                  <c:v>2.247202513218472</c:v>
                </c:pt>
                <c:pt idx="54">
                  <c:v>2.4093618088397837</c:v>
                </c:pt>
                <c:pt idx="55">
                  <c:v>2.3402669759497305</c:v>
                </c:pt>
                <c:pt idx="56">
                  <c:v>2.2141744693271455</c:v>
                </c:pt>
                <c:pt idx="57">
                  <c:v>2.1837910825968643</c:v>
                </c:pt>
                <c:pt idx="58">
                  <c:v>1.9595242210220192</c:v>
                </c:pt>
                <c:pt idx="59">
                  <c:v>2.2751977673925463</c:v>
                </c:pt>
                <c:pt idx="60">
                  <c:v>2.5161211740206673</c:v>
                </c:pt>
                <c:pt idx="61">
                  <c:v>2.298534057538256</c:v>
                </c:pt>
                <c:pt idx="62">
                  <c:v>2.202406271160811</c:v>
                </c:pt>
                <c:pt idx="63">
                  <c:v>2.2137897920604916</c:v>
                </c:pt>
                <c:pt idx="64">
                  <c:v>2.3241993858364647</c:v>
                </c:pt>
                <c:pt idx="65">
                  <c:v>2.3670284868402307</c:v>
                </c:pt>
                <c:pt idx="66">
                  <c:v>2.123832395697376</c:v>
                </c:pt>
                <c:pt idx="67">
                  <c:v>2.1098533974492995</c:v>
                </c:pt>
                <c:pt idx="68">
                  <c:v>2.176898458782749</c:v>
                </c:pt>
                <c:pt idx="69">
                  <c:v>2.2689695437666364</c:v>
                </c:pt>
                <c:pt idx="70">
                  <c:v>2.260449592091444</c:v>
                </c:pt>
                <c:pt idx="71">
                  <c:v>2.0513200565380654</c:v>
                </c:pt>
                <c:pt idx="72">
                  <c:v>2.215960272839088</c:v>
                </c:pt>
                <c:pt idx="73">
                  <c:v>2.043428642005805</c:v>
                </c:pt>
                <c:pt idx="74">
                  <c:v>2.132108417654865</c:v>
                </c:pt>
                <c:pt idx="75">
                  <c:v>2.0164268589067067</c:v>
                </c:pt>
                <c:pt idx="76">
                  <c:v>2.1235093347371508</c:v>
                </c:pt>
                <c:pt idx="77">
                  <c:v>1.9602216070253535</c:v>
                </c:pt>
                <c:pt idx="78">
                  <c:v>1.973652018443587</c:v>
                </c:pt>
                <c:pt idx="79">
                  <c:v>2.0110205706702056</c:v>
                </c:pt>
                <c:pt idx="80">
                  <c:v>1.928625361036057</c:v>
                </c:pt>
                <c:pt idx="81">
                  <c:v>2.0355901955774565</c:v>
                </c:pt>
                <c:pt idx="82">
                  <c:v>1.8805436960247324</c:v>
                </c:pt>
                <c:pt idx="83">
                  <c:v>1.8730905523255814</c:v>
                </c:pt>
                <c:pt idx="84">
                  <c:v>1.9079461260274435</c:v>
                </c:pt>
                <c:pt idx="85">
                  <c:v>1.8501496225544214</c:v>
                </c:pt>
                <c:pt idx="86">
                  <c:v>1.901139584392806</c:v>
                </c:pt>
                <c:pt idx="87">
                  <c:v>1.8675594927095112</c:v>
                </c:pt>
                <c:pt idx="88">
                  <c:v>1.7619282388386746</c:v>
                </c:pt>
                <c:pt idx="89">
                  <c:v>1.7554332855093258</c:v>
                </c:pt>
                <c:pt idx="90">
                  <c:v>2.0131091734970075</c:v>
                </c:pt>
                <c:pt idx="91">
                  <c:v>2.053497893972404</c:v>
                </c:pt>
                <c:pt idx="92">
                  <c:v>2.1687758399159374</c:v>
                </c:pt>
                <c:pt idx="93">
                  <c:v>2.0711124427678334</c:v>
                </c:pt>
                <c:pt idx="94">
                  <c:v>2.057176283515162</c:v>
                </c:pt>
                <c:pt idx="95">
                  <c:v>1.9745000997710855</c:v>
                </c:pt>
                <c:pt idx="96">
                  <c:v>1.927073972394951</c:v>
                </c:pt>
                <c:pt idx="97">
                  <c:v>1.8753182393361465</c:v>
                </c:pt>
                <c:pt idx="98">
                  <c:v>1.9957382446946916</c:v>
                </c:pt>
                <c:pt idx="99">
                  <c:v>1.907207635971616</c:v>
                </c:pt>
                <c:pt idx="100">
                  <c:v>1.8302258520492327</c:v>
                </c:pt>
                <c:pt idx="101">
                  <c:v>1.835741597638134</c:v>
                </c:pt>
                <c:pt idx="102">
                  <c:v>1.9393904803021853</c:v>
                </c:pt>
                <c:pt idx="103">
                  <c:v>1.9549830404987993</c:v>
                </c:pt>
                <c:pt idx="104">
                  <c:v>2.0013927322013765</c:v>
                </c:pt>
              </c:numCache>
            </c:numRef>
          </c:xVal>
          <c:yVal>
            <c:numRef>
              <c:f>Sheet1!$B$2:$B$106</c:f>
              <c:numCache>
                <c:formatCode>General</c:formatCode>
                <c:ptCount val="105"/>
                <c:pt idx="0">
                  <c:v>0.1664025356576862</c:v>
                </c:pt>
                <c:pt idx="1">
                  <c:v>0.1872103799814643</c:v>
                </c:pt>
                <c:pt idx="2">
                  <c:v>0.18181818181818182</c:v>
                </c:pt>
                <c:pt idx="3">
                  <c:v>0.18710263396911897</c:v>
                </c:pt>
                <c:pt idx="4">
                  <c:v>0.18025751072961374</c:v>
                </c:pt>
                <c:pt idx="5">
                  <c:v>0.20294784580498867</c:v>
                </c:pt>
                <c:pt idx="6">
                  <c:v>0.2512755102040816</c:v>
                </c:pt>
                <c:pt idx="7">
                  <c:v>0.2811320754716981</c:v>
                </c:pt>
                <c:pt idx="8">
                  <c:v>0.24504950495049505</c:v>
                </c:pt>
                <c:pt idx="9">
                  <c:v>0.23684210526315788</c:v>
                </c:pt>
                <c:pt idx="10">
                  <c:v>0.23672230652503792</c:v>
                </c:pt>
                <c:pt idx="11">
                  <c:v>0.2507462686567164</c:v>
                </c:pt>
                <c:pt idx="12">
                  <c:v>0.21720733427362482</c:v>
                </c:pt>
                <c:pt idx="13">
                  <c:v>0.2162485065710872</c:v>
                </c:pt>
                <c:pt idx="14">
                  <c:v>0.2</c:v>
                </c:pt>
                <c:pt idx="15">
                  <c:v>0.21428571428571427</c:v>
                </c:pt>
                <c:pt idx="16">
                  <c:v>0.22438162544169613</c:v>
                </c:pt>
                <c:pt idx="17">
                  <c:v>0.19912472647702406</c:v>
                </c:pt>
                <c:pt idx="18">
                  <c:v>0.1848101265822785</c:v>
                </c:pt>
                <c:pt idx="19">
                  <c:v>0.18471337579617833</c:v>
                </c:pt>
                <c:pt idx="20">
                  <c:v>0.21364985163204747</c:v>
                </c:pt>
                <c:pt idx="21">
                  <c:v>0.2463768115942029</c:v>
                </c:pt>
                <c:pt idx="22">
                  <c:v>0.24568965517241378</c:v>
                </c:pt>
                <c:pt idx="23">
                  <c:v>0.17142857142857143</c:v>
                </c:pt>
                <c:pt idx="24">
                  <c:v>0.16363636363636364</c:v>
                </c:pt>
                <c:pt idx="25">
                  <c:v>0.19428571428571428</c:v>
                </c:pt>
                <c:pt idx="26">
                  <c:v>0.23846153846153847</c:v>
                </c:pt>
                <c:pt idx="27">
                  <c:v>0.18240343347639484</c:v>
                </c:pt>
                <c:pt idx="28">
                  <c:v>0.20359281437125748</c:v>
                </c:pt>
                <c:pt idx="29">
                  <c:v>0.2512908777969019</c:v>
                </c:pt>
                <c:pt idx="30">
                  <c:v>0.2784090909090909</c:v>
                </c:pt>
                <c:pt idx="31">
                  <c:v>0.2824858757062147</c:v>
                </c:pt>
                <c:pt idx="32">
                  <c:v>0.28703703703703703</c:v>
                </c:pt>
                <c:pt idx="33">
                  <c:v>0.35343035343035345</c:v>
                </c:pt>
                <c:pt idx="34">
                  <c:v>0.3016453382084095</c:v>
                </c:pt>
                <c:pt idx="35">
                  <c:v>0.2660377358490566</c:v>
                </c:pt>
                <c:pt idx="36">
                  <c:v>0.18673218673218672</c:v>
                </c:pt>
                <c:pt idx="37">
                  <c:v>0.1536643026004728</c:v>
                </c:pt>
                <c:pt idx="38">
                  <c:v>0.14055299539170507</c:v>
                </c:pt>
                <c:pt idx="39">
                  <c:v>0.15071283095723015</c:v>
                </c:pt>
                <c:pt idx="40">
                  <c:v>0.16996699669966997</c:v>
                </c:pt>
                <c:pt idx="41">
                  <c:v>0.13545816733067728</c:v>
                </c:pt>
                <c:pt idx="42">
                  <c:v>0.1554559043348281</c:v>
                </c:pt>
                <c:pt idx="43">
                  <c:v>0.17410071942446043</c:v>
                </c:pt>
                <c:pt idx="44">
                  <c:v>0.20656226696495153</c:v>
                </c:pt>
                <c:pt idx="45">
                  <c:v>0.24924471299093656</c:v>
                </c:pt>
                <c:pt idx="46">
                  <c:v>0.236457437661221</c:v>
                </c:pt>
                <c:pt idx="47">
                  <c:v>0.24910714285714286</c:v>
                </c:pt>
                <c:pt idx="48">
                  <c:v>0.2620650953984287</c:v>
                </c:pt>
                <c:pt idx="49">
                  <c:v>0.2822269807280514</c:v>
                </c:pt>
                <c:pt idx="50">
                  <c:v>0.2292849035187287</c:v>
                </c:pt>
                <c:pt idx="51">
                  <c:v>0.199442119944212</c:v>
                </c:pt>
                <c:pt idx="52">
                  <c:v>0.23137254901960785</c:v>
                </c:pt>
                <c:pt idx="53">
                  <c:v>0.18663303909205547</c:v>
                </c:pt>
                <c:pt idx="54">
                  <c:v>0.1844331641285956</c:v>
                </c:pt>
                <c:pt idx="55">
                  <c:v>0.16579406631762653</c:v>
                </c:pt>
                <c:pt idx="56">
                  <c:v>0.17523809523809525</c:v>
                </c:pt>
                <c:pt idx="57">
                  <c:v>0.17763157894736842</c:v>
                </c:pt>
                <c:pt idx="58">
                  <c:v>0.20374707259953162</c:v>
                </c:pt>
                <c:pt idx="59">
                  <c:v>0.22291407222914073</c:v>
                </c:pt>
                <c:pt idx="60">
                  <c:v>0.2496617050067659</c:v>
                </c:pt>
                <c:pt idx="61">
                  <c:v>0.22651222651222652</c:v>
                </c:pt>
                <c:pt idx="62">
                  <c:v>0.2653288740245262</c:v>
                </c:pt>
                <c:pt idx="63">
                  <c:v>0.24421052631578946</c:v>
                </c:pt>
                <c:pt idx="64">
                  <c:v>0.2562574493444577</c:v>
                </c:pt>
                <c:pt idx="65">
                  <c:v>0.24719101123595505</c:v>
                </c:pt>
                <c:pt idx="66">
                  <c:v>0.28892215568862273</c:v>
                </c:pt>
                <c:pt idx="67">
                  <c:v>0.2518740629685157</c:v>
                </c:pt>
                <c:pt idx="68">
                  <c:v>0.22040816326530613</c:v>
                </c:pt>
                <c:pt idx="69">
                  <c:v>0.17391304347826086</c:v>
                </c:pt>
                <c:pt idx="70">
                  <c:v>0.14705882352941177</c:v>
                </c:pt>
                <c:pt idx="71">
                  <c:v>0.17897727272727273</c:v>
                </c:pt>
                <c:pt idx="72">
                  <c:v>0.1983695652173913</c:v>
                </c:pt>
                <c:pt idx="73">
                  <c:v>0.21584699453551912</c:v>
                </c:pt>
                <c:pt idx="74">
                  <c:v>0.21444201312910285</c:v>
                </c:pt>
                <c:pt idx="75">
                  <c:v>0.2179176755447942</c:v>
                </c:pt>
                <c:pt idx="76">
                  <c:v>0.20958083832335328</c:v>
                </c:pt>
                <c:pt idx="77">
                  <c:v>0.215625</c:v>
                </c:pt>
                <c:pt idx="78">
                  <c:v>0.2007168458781362</c:v>
                </c:pt>
                <c:pt idx="79">
                  <c:v>0.15915915915915915</c:v>
                </c:pt>
                <c:pt idx="80">
                  <c:v>0.19148936170212766</c:v>
                </c:pt>
                <c:pt idx="81">
                  <c:v>0.18652849740932642</c:v>
                </c:pt>
                <c:pt idx="82">
                  <c:v>0.18088737201365188</c:v>
                </c:pt>
                <c:pt idx="83">
                  <c:v>0.20318725099601595</c:v>
                </c:pt>
                <c:pt idx="84">
                  <c:v>0.21052631578947367</c:v>
                </c:pt>
                <c:pt idx="85">
                  <c:v>0.24067796610169492</c:v>
                </c:pt>
                <c:pt idx="86">
                  <c:v>0.25384615384615383</c:v>
                </c:pt>
                <c:pt idx="87">
                  <c:v>0.2616580310880829</c:v>
                </c:pt>
                <c:pt idx="88">
                  <c:v>0.21818181818181817</c:v>
                </c:pt>
                <c:pt idx="89">
                  <c:v>0.20224719101123595</c:v>
                </c:pt>
                <c:pt idx="90">
                  <c:v>0.17993079584775087</c:v>
                </c:pt>
                <c:pt idx="91">
                  <c:v>0.1758957654723127</c:v>
                </c:pt>
                <c:pt idx="92">
                  <c:v>0.2188235294117647</c:v>
                </c:pt>
                <c:pt idx="93">
                  <c:v>0.17916666666666667</c:v>
                </c:pt>
                <c:pt idx="94">
                  <c:v>0.17761557177615572</c:v>
                </c:pt>
                <c:pt idx="95">
                  <c:v>0.2068345323741007</c:v>
                </c:pt>
                <c:pt idx="96">
                  <c:v>0.2116991643454039</c:v>
                </c:pt>
                <c:pt idx="97">
                  <c:v>0.2630368098159509</c:v>
                </c:pt>
                <c:pt idx="98">
                  <c:v>0.25963488843813387</c:v>
                </c:pt>
                <c:pt idx="99">
                  <c:v>0.2693194925028835</c:v>
                </c:pt>
                <c:pt idx="100">
                  <c:v>0.2813688212927757</c:v>
                </c:pt>
                <c:pt idx="101">
                  <c:v>0.2732615083251714</c:v>
                </c:pt>
                <c:pt idx="102">
                  <c:v>0.21646746347941567</c:v>
                </c:pt>
                <c:pt idx="103">
                  <c:v>0.21241050119331742</c:v>
                </c:pt>
                <c:pt idx="104">
                  <c:v>0.2311320754716981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973703789362367</c:v>
                </c:pt>
                <c:pt idx="1">
                  <c:v>2.0019154659365697</c:v>
                </c:pt>
                <c:pt idx="2">
                  <c:v>2.0814963313329797</c:v>
                </c:pt>
                <c:pt idx="3">
                  <c:v>2.00258845190928</c:v>
                </c:pt>
                <c:pt idx="4">
                  <c:v>1.9984625869117794</c:v>
                </c:pt>
                <c:pt idx="5">
                  <c:v>1.946215355649428</c:v>
                </c:pt>
                <c:pt idx="6">
                  <c:v>1.8417477118914007</c:v>
                </c:pt>
                <c:pt idx="7">
                  <c:v>1.8191326055771655</c:v>
                </c:pt>
                <c:pt idx="8">
                  <c:v>1.9672368170569197</c:v>
                </c:pt>
                <c:pt idx="9">
                  <c:v>1.8690239292109017</c:v>
                </c:pt>
                <c:pt idx="10">
                  <c:v>2.006739951919536</c:v>
                </c:pt>
                <c:pt idx="11">
                  <c:v>1.8577975608409465</c:v>
                </c:pt>
                <c:pt idx="12">
                  <c:v>1.8495561312752715</c:v>
                </c:pt>
                <c:pt idx="13">
                  <c:v>1.8577663082437277</c:v>
                </c:pt>
                <c:pt idx="14">
                  <c:v>1.8030077161765465</c:v>
                </c:pt>
                <c:pt idx="15">
                  <c:v>1.8162104972007016</c:v>
                </c:pt>
                <c:pt idx="16">
                  <c:v>1.9017833656582388</c:v>
                </c:pt>
                <c:pt idx="17">
                  <c:v>1.859948898115618</c:v>
                </c:pt>
                <c:pt idx="18">
                  <c:v>1.2603239807907785</c:v>
                </c:pt>
                <c:pt idx="19">
                  <c:v>1.67588864</c:v>
                </c:pt>
                <c:pt idx="20">
                  <c:v>2.117210635922277</c:v>
                </c:pt>
                <c:pt idx="21">
                  <c:v>2.0331674760125864</c:v>
                </c:pt>
                <c:pt idx="22">
                  <c:v>2.194276181221079</c:v>
                </c:pt>
                <c:pt idx="23">
                  <c:v>2.1414882772680937</c:v>
                </c:pt>
                <c:pt idx="24">
                  <c:v>2.1782700949367086</c:v>
                </c:pt>
                <c:pt idx="25">
                  <c:v>1.83432384</c:v>
                </c:pt>
                <c:pt idx="26">
                  <c:v>1.844977235545323</c:v>
                </c:pt>
                <c:pt idx="27">
                  <c:v>2.097801529018122</c:v>
                </c:pt>
                <c:pt idx="28">
                  <c:v>2.0191114574155735</c:v>
                </c:pt>
                <c:pt idx="29">
                  <c:v>1.9707674678713096</c:v>
                </c:pt>
                <c:pt idx="30">
                  <c:v>1.7053145665006209</c:v>
                </c:pt>
                <c:pt idx="31">
                  <c:v>1.7462533439490444</c:v>
                </c:pt>
                <c:pt idx="32">
                  <c:v>1.8984047216266657</c:v>
                </c:pt>
                <c:pt idx="33">
                  <c:v>1.9418249459392847</c:v>
                </c:pt>
                <c:pt idx="34">
                  <c:v>1.956404445588627</c:v>
                </c:pt>
                <c:pt idx="35">
                  <c:v>1.855609958547704</c:v>
                </c:pt>
                <c:pt idx="36">
                  <c:v>1.9550263174840148</c:v>
                </c:pt>
                <c:pt idx="37">
                  <c:v>2.1980732098066498</c:v>
                </c:pt>
                <c:pt idx="38">
                  <c:v>2.2936069650567754</c:v>
                </c:pt>
                <c:pt idx="39">
                  <c:v>2.2178755417262757</c:v>
                </c:pt>
                <c:pt idx="40">
                  <c:v>2.117740648621468</c:v>
                </c:pt>
                <c:pt idx="41">
                  <c:v>2.2670273487361614</c:v>
                </c:pt>
                <c:pt idx="42">
                  <c:v>2.30081160572337</c:v>
                </c:pt>
                <c:pt idx="43">
                  <c:v>2.3049771830458754</c:v>
                </c:pt>
                <c:pt idx="44">
                  <c:v>2.243719790175263</c:v>
                </c:pt>
                <c:pt idx="45">
                  <c:v>2.0763389219807507</c:v>
                </c:pt>
                <c:pt idx="46">
                  <c:v>2.102070914549247</c:v>
                </c:pt>
                <c:pt idx="47">
                  <c:v>2.1299102913445727</c:v>
                </c:pt>
                <c:pt idx="48">
                  <c:v>2.0621042813942285</c:v>
                </c:pt>
                <c:pt idx="49">
                  <c:v>2.0650341567968784</c:v>
                </c:pt>
                <c:pt idx="50">
                  <c:v>1.836301369972731</c:v>
                </c:pt>
                <c:pt idx="51">
                  <c:v>1.7684930432902282</c:v>
                </c:pt>
              </c:numCache>
            </c:numRef>
          </c:xVal>
          <c:yVal>
            <c:numRef>
              <c:f>Sheet1!$B$109:$B$160</c:f>
              <c:numCache>
                <c:formatCode>General</c:formatCode>
                <c:ptCount val="52"/>
                <c:pt idx="0">
                  <c:v>0.2108843537414966</c:v>
                </c:pt>
                <c:pt idx="1">
                  <c:v>0.2225392296718973</c:v>
                </c:pt>
                <c:pt idx="2">
                  <c:v>0.22179487179487178</c:v>
                </c:pt>
                <c:pt idx="3">
                  <c:v>0.25202156334231807</c:v>
                </c:pt>
                <c:pt idx="4">
                  <c:v>0.23583662714097497</c:v>
                </c:pt>
                <c:pt idx="5">
                  <c:v>0.2608108108108108</c:v>
                </c:pt>
                <c:pt idx="6">
                  <c:v>0.2622549019607843</c:v>
                </c:pt>
                <c:pt idx="7">
                  <c:v>0.26262626262626265</c:v>
                </c:pt>
                <c:pt idx="8">
                  <c:v>0.2564841498559078</c:v>
                </c:pt>
                <c:pt idx="9">
                  <c:v>0.2727272727272727</c:v>
                </c:pt>
                <c:pt idx="10">
                  <c:v>0.257985257985258</c:v>
                </c:pt>
                <c:pt idx="11">
                  <c:v>0.2936857562408223</c:v>
                </c:pt>
                <c:pt idx="12">
                  <c:v>0.30103092783505153</c:v>
                </c:pt>
                <c:pt idx="13">
                  <c:v>0.30257510729613735</c:v>
                </c:pt>
                <c:pt idx="14">
                  <c:v>0.31543624161073824</c:v>
                </c:pt>
                <c:pt idx="15">
                  <c:v>0.3105022831050228</c:v>
                </c:pt>
                <c:pt idx="16">
                  <c:v>0.27089337175792505</c:v>
                </c:pt>
                <c:pt idx="17">
                  <c:v>0.21739130434782608</c:v>
                </c:pt>
                <c:pt idx="18">
                  <c:v>0.2981366459627329</c:v>
                </c:pt>
                <c:pt idx="19">
                  <c:v>0.2607260726072607</c:v>
                </c:pt>
                <c:pt idx="20">
                  <c:v>0.18796992481203006</c:v>
                </c:pt>
                <c:pt idx="21">
                  <c:v>0.22448979591836735</c:v>
                </c:pt>
                <c:pt idx="22">
                  <c:v>0.17277486910994763</c:v>
                </c:pt>
                <c:pt idx="23">
                  <c:v>0.18579234972677597</c:v>
                </c:pt>
                <c:pt idx="24">
                  <c:v>0.17889908256880735</c:v>
                </c:pt>
                <c:pt idx="25">
                  <c:v>0.19534883720930232</c:v>
                </c:pt>
                <c:pt idx="26">
                  <c:v>0.18181818181818182</c:v>
                </c:pt>
                <c:pt idx="27">
                  <c:v>0.17391304347826086</c:v>
                </c:pt>
                <c:pt idx="28">
                  <c:v>0.21448467966573817</c:v>
                </c:pt>
                <c:pt idx="29">
                  <c:v>0.2265625</c:v>
                </c:pt>
                <c:pt idx="30">
                  <c:v>0.24242424242424243</c:v>
                </c:pt>
                <c:pt idx="31">
                  <c:v>0.23448275862068965</c:v>
                </c:pt>
                <c:pt idx="32">
                  <c:v>0.2959770114942529</c:v>
                </c:pt>
                <c:pt idx="33">
                  <c:v>0.30679156908665106</c:v>
                </c:pt>
                <c:pt idx="34">
                  <c:v>0.3104166666666667</c:v>
                </c:pt>
                <c:pt idx="35">
                  <c:v>0.29</c:v>
                </c:pt>
                <c:pt idx="36">
                  <c:v>0.24311926605504589</c:v>
                </c:pt>
                <c:pt idx="37">
                  <c:v>0.20408163265306123</c:v>
                </c:pt>
                <c:pt idx="38">
                  <c:v>0.18548387096774194</c:v>
                </c:pt>
                <c:pt idx="39">
                  <c:v>0.2116991643454039</c:v>
                </c:pt>
                <c:pt idx="40">
                  <c:v>0.22629969418960244</c:v>
                </c:pt>
                <c:pt idx="41">
                  <c:v>0.187683284457478</c:v>
                </c:pt>
                <c:pt idx="42">
                  <c:v>0.2111111111111111</c:v>
                </c:pt>
                <c:pt idx="43">
                  <c:v>0.19148936170212766</c:v>
                </c:pt>
                <c:pt idx="44">
                  <c:v>0.18092566619915848</c:v>
                </c:pt>
                <c:pt idx="45">
                  <c:v>0.19367991845056065</c:v>
                </c:pt>
                <c:pt idx="46">
                  <c:v>0.19665271966527198</c:v>
                </c:pt>
                <c:pt idx="47">
                  <c:v>0.20084865629420084</c:v>
                </c:pt>
                <c:pt idx="48">
                  <c:v>0.19535374868004224</c:v>
                </c:pt>
                <c:pt idx="49">
                  <c:v>0.22517207472959685</c:v>
                </c:pt>
                <c:pt idx="50">
                  <c:v>0.27036770007209804</c:v>
                </c:pt>
                <c:pt idx="51">
                  <c:v>0.259643916913946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7527560783680682</c:v>
                </c:pt>
              </c:numCache>
            </c:numRef>
          </c:xVal>
          <c:yVal>
            <c:numRef>
              <c:f>Sheet1!$B$163:$B$164</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7527560783680682</c:v>
                </c:pt>
                <c:pt idx="1">
                  <c:v>1.7527560783680682</c:v>
                </c:pt>
              </c:numCache>
            </c:numRef>
          </c:xVal>
          <c:yVal>
            <c:numRef>
              <c:f>Sheet1!$B$167:$B$168</c:f>
              <c:numCache>
                <c:formatCode>General</c:formatCode>
                <c:ptCount val="2"/>
                <c:pt idx="0">
                  <c:v>0.27027307401588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527560783680682</c:v>
                </c:pt>
              </c:numCache>
            </c:numRef>
          </c:xVal>
          <c:yVal>
            <c:numRef>
              <c:f>Sheet1!$B$171:$B$172</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527560783680682</c:v>
                </c:pt>
                <c:pt idx="1">
                  <c:v>1.7527560783680682</c:v>
                </c:pt>
              </c:numCache>
            </c:numRef>
          </c:xVal>
          <c:yVal>
            <c:numRef>
              <c:f>Sheet1!$B$175:$B$176</c:f>
              <c:numCache>
                <c:formatCode>General</c:formatCode>
                <c:ptCount val="2"/>
                <c:pt idx="0">
                  <c:v>0.27027307401588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437743273141034</c:v>
                </c:pt>
              </c:numCache>
            </c:numRef>
          </c:xVal>
          <c:yVal>
            <c:numRef>
              <c:f>Sheet1!$B$179:$B$180</c:f>
              <c:numCache>
                <c:formatCode>General</c:formatCode>
                <c:ptCount val="2"/>
                <c:pt idx="0">
                  <c:v>0.2116097705238922</c:v>
                </c:pt>
                <c:pt idx="1">
                  <c:v>0.211609770523892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437743273141034</c:v>
                </c:pt>
                <c:pt idx="1">
                  <c:v>2.1437743273141034</c:v>
                </c:pt>
              </c:numCache>
            </c:numRef>
          </c:xVal>
          <c:yVal>
            <c:numRef>
              <c:f>Sheet1!$B$183:$B$184</c:f>
              <c:numCache>
                <c:formatCode>General</c:formatCode>
                <c:ptCount val="2"/>
                <c:pt idx="0">
                  <c:v>0.21160977052389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973703789362367</c:v>
                </c:pt>
                <c:pt idx="1">
                  <c:v>2.0019154659365697</c:v>
                </c:pt>
                <c:pt idx="2">
                  <c:v>2.0814963313329797</c:v>
                </c:pt>
                <c:pt idx="3">
                  <c:v>2.00258845190928</c:v>
                </c:pt>
                <c:pt idx="4">
                  <c:v>1.9984625869117794</c:v>
                </c:pt>
                <c:pt idx="5">
                  <c:v>1.946215355649428</c:v>
                </c:pt>
                <c:pt idx="6">
                  <c:v>1.8417477118914007</c:v>
                </c:pt>
                <c:pt idx="7">
                  <c:v>1.8191326055771655</c:v>
                </c:pt>
                <c:pt idx="8">
                  <c:v>1.9672368170569197</c:v>
                </c:pt>
                <c:pt idx="9">
                  <c:v>1.8690239292109017</c:v>
                </c:pt>
                <c:pt idx="10">
                  <c:v>2.006739951919536</c:v>
                </c:pt>
                <c:pt idx="11">
                  <c:v>1.8577975608409465</c:v>
                </c:pt>
                <c:pt idx="12">
                  <c:v>1.8495561312752715</c:v>
                </c:pt>
                <c:pt idx="13">
                  <c:v>1.8577663082437277</c:v>
                </c:pt>
                <c:pt idx="14">
                  <c:v>1.8030077161765465</c:v>
                </c:pt>
                <c:pt idx="15">
                  <c:v>1.8162104972007016</c:v>
                </c:pt>
                <c:pt idx="16">
                  <c:v>1.9017833656582388</c:v>
                </c:pt>
                <c:pt idx="17">
                  <c:v>1.859948898115618</c:v>
                </c:pt>
                <c:pt idx="18">
                  <c:v>1.2603239807907785</c:v>
                </c:pt>
                <c:pt idx="19">
                  <c:v>1.67588864</c:v>
                </c:pt>
                <c:pt idx="20">
                  <c:v>2.117210635922277</c:v>
                </c:pt>
                <c:pt idx="21">
                  <c:v>2.0331674760125864</c:v>
                </c:pt>
                <c:pt idx="22">
                  <c:v>2.194276181221079</c:v>
                </c:pt>
                <c:pt idx="23">
                  <c:v>2.1414882772680937</c:v>
                </c:pt>
                <c:pt idx="24">
                  <c:v>2.1782700949367086</c:v>
                </c:pt>
                <c:pt idx="25">
                  <c:v>1.83432384</c:v>
                </c:pt>
                <c:pt idx="26">
                  <c:v>1.844977235545323</c:v>
                </c:pt>
                <c:pt idx="27">
                  <c:v>2.097801529018122</c:v>
                </c:pt>
                <c:pt idx="28">
                  <c:v>2.0191114574155735</c:v>
                </c:pt>
                <c:pt idx="29">
                  <c:v>1.9707674678713096</c:v>
                </c:pt>
                <c:pt idx="30">
                  <c:v>1.7053145665006209</c:v>
                </c:pt>
                <c:pt idx="31">
                  <c:v>1.7462533439490444</c:v>
                </c:pt>
                <c:pt idx="32">
                  <c:v>1.8984047216266657</c:v>
                </c:pt>
                <c:pt idx="33">
                  <c:v>1.9418249459392847</c:v>
                </c:pt>
                <c:pt idx="34">
                  <c:v>1.956404445588627</c:v>
                </c:pt>
                <c:pt idx="35">
                  <c:v>1.855609958547704</c:v>
                </c:pt>
                <c:pt idx="36">
                  <c:v>1.9550263174840148</c:v>
                </c:pt>
                <c:pt idx="37">
                  <c:v>2.1980732098066498</c:v>
                </c:pt>
                <c:pt idx="38">
                  <c:v>2.2936069650567754</c:v>
                </c:pt>
                <c:pt idx="39">
                  <c:v>2.2178755417262757</c:v>
                </c:pt>
                <c:pt idx="40">
                  <c:v>2.117740648621468</c:v>
                </c:pt>
                <c:pt idx="41">
                  <c:v>2.2670273487361614</c:v>
                </c:pt>
                <c:pt idx="42">
                  <c:v>2.30081160572337</c:v>
                </c:pt>
                <c:pt idx="43">
                  <c:v>2.3049771830458754</c:v>
                </c:pt>
                <c:pt idx="44">
                  <c:v>2.243719790175263</c:v>
                </c:pt>
                <c:pt idx="45">
                  <c:v>2.0763389219807507</c:v>
                </c:pt>
                <c:pt idx="46">
                  <c:v>2.102070914549247</c:v>
                </c:pt>
                <c:pt idx="47">
                  <c:v>2.1299102913445727</c:v>
                </c:pt>
                <c:pt idx="48">
                  <c:v>2.0621042813942285</c:v>
                </c:pt>
                <c:pt idx="49">
                  <c:v>2.0650341567968784</c:v>
                </c:pt>
                <c:pt idx="50">
                  <c:v>1.836301369972731</c:v>
                </c:pt>
                <c:pt idx="51">
                  <c:v>1.7684930432902282</c:v>
                </c:pt>
                <c:pt idx="52">
                  <c:v>1.7527560783680682</c:v>
                </c:pt>
                <c:pt idx="53">
                  <c:v>1.7527560783680682</c:v>
                </c:pt>
                <c:pt idx="54">
                  <c:v>2.1437743273141034</c:v>
                </c:pt>
              </c:numCache>
            </c:numRef>
          </c:xVal>
          <c:yVal>
            <c:numRef>
              <c:f>Sheet1!$B$187:$B$241</c:f>
              <c:numCache>
                <c:formatCode>General</c:formatCode>
                <c:ptCount val="55"/>
                <c:pt idx="0">
                  <c:v>0.23357431892864322</c:v>
                </c:pt>
                <c:pt idx="1">
                  <c:v>0.23289243306061352</c:v>
                </c:pt>
                <c:pt idx="2">
                  <c:v>0.22095315280582173</c:v>
                </c:pt>
                <c:pt idx="3">
                  <c:v>0.2327914669791854</c:v>
                </c:pt>
                <c:pt idx="4">
                  <c:v>0.23341045821851442</c:v>
                </c:pt>
                <c:pt idx="5">
                  <c:v>0.24124895473989394</c:v>
                </c:pt>
                <c:pt idx="6">
                  <c:v>0.2569219242429512</c:v>
                </c:pt>
                <c:pt idx="7">
                  <c:v>0.26031480129866796</c:v>
                </c:pt>
                <c:pt idx="8">
                  <c:v>0.23809516748388532</c:v>
                </c:pt>
                <c:pt idx="9">
                  <c:v>0.2528297545832478</c:v>
                </c:pt>
                <c:pt idx="10">
                  <c:v>0.23216862979523023</c:v>
                </c:pt>
                <c:pt idx="11">
                  <c:v>0.2545140131992451</c:v>
                </c:pt>
                <c:pt idx="12">
                  <c:v>0.25575045033516447</c:v>
                </c:pt>
                <c:pt idx="13">
                  <c:v>0.25451870193334</c:v>
                </c:pt>
                <c:pt idx="14">
                  <c:v>0.2627339704377887</c:v>
                </c:pt>
                <c:pt idx="15">
                  <c:v>0.2607531965167608</c:v>
                </c:pt>
                <c:pt idx="16">
                  <c:v>0.247914953886051</c:v>
                </c:pt>
                <c:pt idx="17">
                  <c:v>0.2541912544743061</c:v>
                </c:pt>
                <c:pt idx="18">
                  <c:v>0.34415119522182885</c:v>
                </c:pt>
                <c:pt idx="19">
                  <c:v>0.2818052668938144</c:v>
                </c:pt>
                <c:pt idx="20">
                  <c:v>0.21559504204046864</c:v>
                </c:pt>
                <c:pt idx="21">
                  <c:v>0.2282037870530021</c:v>
                </c:pt>
                <c:pt idx="22">
                  <c:v>0.20403312776965127</c:v>
                </c:pt>
                <c:pt idx="23">
                  <c:v>0.21195273980475932</c:v>
                </c:pt>
                <c:pt idx="24">
                  <c:v>0.20643447323102015</c:v>
                </c:pt>
                <c:pt idx="25">
                  <c:v>0.25803570563557104</c:v>
                </c:pt>
                <c:pt idx="26">
                  <c:v>0.25643740842622076</c:v>
                </c:pt>
                <c:pt idx="27">
                  <c:v>0.21850693255170678</c:v>
                </c:pt>
                <c:pt idx="28">
                  <c:v>0.23031256966626418</c:v>
                </c:pt>
                <c:pt idx="29">
                  <c:v>0.23756547445598425</c:v>
                </c:pt>
                <c:pt idx="30">
                  <c:v>0.2773905827671994</c:v>
                </c:pt>
                <c:pt idx="31">
                  <c:v>0.27124865989653746</c:v>
                </c:pt>
                <c:pt idx="32">
                  <c:v>0.2484218417889809</c:v>
                </c:pt>
                <c:pt idx="33">
                  <c:v>0.2419076348346837</c:v>
                </c:pt>
                <c:pt idx="34">
                  <c:v>0.2397203159179936</c:v>
                </c:pt>
                <c:pt idx="35">
                  <c:v>0.25484221265692814</c:v>
                </c:pt>
                <c:pt idx="36">
                  <c:v>0.2399270723736568</c:v>
                </c:pt>
                <c:pt idx="37">
                  <c:v>0.2034634708779755</c:v>
                </c:pt>
                <c:pt idx="38">
                  <c:v>0.18913082606389447</c:v>
                </c:pt>
                <c:pt idx="39">
                  <c:v>0.20049258598863517</c:v>
                </c:pt>
                <c:pt idx="40">
                  <c:v>0.21551552581351235</c:v>
                </c:pt>
                <c:pt idx="41">
                  <c:v>0.19311848675011473</c:v>
                </c:pt>
                <c:pt idx="42">
                  <c:v>0.18804993527909253</c:v>
                </c:pt>
                <c:pt idx="43">
                  <c:v>0.18742498611790082</c:v>
                </c:pt>
                <c:pt idx="44">
                  <c:v>0.19661525035437294</c:v>
                </c:pt>
                <c:pt idx="45">
                  <c:v>0.22172690357289648</c:v>
                </c:pt>
                <c:pt idx="46">
                  <c:v>0.21786640935410206</c:v>
                </c:pt>
                <c:pt idx="47">
                  <c:v>0.21368975055525047</c:v>
                </c:pt>
                <c:pt idx="48">
                  <c:v>0.2238624843113335</c:v>
                </c:pt>
                <c:pt idx="49">
                  <c:v>0.22342292382943107</c:v>
                </c:pt>
                <c:pt idx="50">
                  <c:v>0.2577390227025685</c:v>
                </c:pt>
                <c:pt idx="51">
                  <c:v>0.2679121040310784</c:v>
                </c:pt>
                <c:pt idx="52">
                  <c:v>0.2702730740158804</c:v>
                </c:pt>
                <c:pt idx="53">
                  <c:v>0.2702730740158804</c:v>
                </c:pt>
                <c:pt idx="54">
                  <c:v>0.211609770523892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411642411642414"/>
          <c:min val="0.108366533864541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3.4524</c:v>
                </c:pt>
                <c:pt idx="1">
                  <c:v>934.8515</c:v>
                </c:pt>
                <c:pt idx="2">
                  <c:v>1025.2857</c:v>
                </c:pt>
                <c:pt idx="3">
                  <c:v>1033.4126</c:v>
                </c:pt>
                <c:pt idx="4">
                  <c:v>1029.6429</c:v>
                </c:pt>
                <c:pt idx="5">
                  <c:v>1014.933</c:v>
                </c:pt>
                <c:pt idx="6">
                  <c:v>944.6091</c:v>
                </c:pt>
                <c:pt idx="7">
                  <c:v>974.698</c:v>
                </c:pt>
                <c:pt idx="8">
                  <c:v>1018.0606</c:v>
                </c:pt>
                <c:pt idx="9">
                  <c:v>1014.1699</c:v>
                </c:pt>
                <c:pt idx="10">
                  <c:v>1016.0449</c:v>
                </c:pt>
                <c:pt idx="11">
                  <c:v>998.1429</c:v>
                </c:pt>
                <c:pt idx="12">
                  <c:v>1053.026</c:v>
                </c:pt>
                <c:pt idx="13">
                  <c:v>997.5249</c:v>
                </c:pt>
                <c:pt idx="14">
                  <c:v>1012.5745</c:v>
                </c:pt>
                <c:pt idx="15">
                  <c:v>1032.0063</c:v>
                </c:pt>
                <c:pt idx="16">
                  <c:v>993.1811</c:v>
                </c:pt>
                <c:pt idx="17">
                  <c:v>1040.5604</c:v>
                </c:pt>
                <c:pt idx="18">
                  <c:v>1112.1918</c:v>
                </c:pt>
                <c:pt idx="19">
                  <c:v>1188.3448</c:v>
                </c:pt>
                <c:pt idx="20">
                  <c:v>1189.4861</c:v>
                </c:pt>
                <c:pt idx="21">
                  <c:v>1197.902</c:v>
                </c:pt>
                <c:pt idx="22">
                  <c:v>1201.0702</c:v>
                </c:pt>
                <c:pt idx="23">
                  <c:v>1178.1111</c:v>
                </c:pt>
                <c:pt idx="24">
                  <c:v>1065.2063</c:v>
                </c:pt>
                <c:pt idx="25">
                  <c:v>1060.6765</c:v>
                </c:pt>
                <c:pt idx="26">
                  <c:v>1030.4409</c:v>
                </c:pt>
                <c:pt idx="27">
                  <c:v>1045.6588</c:v>
                </c:pt>
                <c:pt idx="28">
                  <c:v>992.7941</c:v>
                </c:pt>
                <c:pt idx="29">
                  <c:v>941.8288</c:v>
                </c:pt>
                <c:pt idx="30">
                  <c:v>963.9286</c:v>
                </c:pt>
                <c:pt idx="31">
                  <c:v>944.03</c:v>
                </c:pt>
                <c:pt idx="32">
                  <c:v>933.7419</c:v>
                </c:pt>
                <c:pt idx="33">
                  <c:v>911.1176</c:v>
                </c:pt>
                <c:pt idx="34">
                  <c:v>968.897</c:v>
                </c:pt>
                <c:pt idx="35">
                  <c:v>1002.2766</c:v>
                </c:pt>
                <c:pt idx="36">
                  <c:v>1136.0921</c:v>
                </c:pt>
                <c:pt idx="37">
                  <c:v>1120.8615</c:v>
                </c:pt>
                <c:pt idx="38">
                  <c:v>1271.7541</c:v>
                </c:pt>
                <c:pt idx="39">
                  <c:v>1262.9189</c:v>
                </c:pt>
                <c:pt idx="40">
                  <c:v>1253.8058</c:v>
                </c:pt>
                <c:pt idx="41">
                  <c:v>1276.7647</c:v>
                </c:pt>
                <c:pt idx="42">
                  <c:v>1296.7115</c:v>
                </c:pt>
                <c:pt idx="43">
                  <c:v>1373.9587</c:v>
                </c:pt>
                <c:pt idx="44">
                  <c:v>1183.9711</c:v>
                </c:pt>
                <c:pt idx="45">
                  <c:v>1128.9818</c:v>
                </c:pt>
                <c:pt idx="46">
                  <c:v>1126.4582</c:v>
                </c:pt>
                <c:pt idx="47">
                  <c:v>1113.2294</c:v>
                </c:pt>
                <c:pt idx="48">
                  <c:v>1127.4154</c:v>
                </c:pt>
                <c:pt idx="49">
                  <c:v>1122.8543</c:v>
                </c:pt>
                <c:pt idx="50">
                  <c:v>1091.0</c:v>
                </c:pt>
                <c:pt idx="51">
                  <c:v>1117.3916</c:v>
                </c:pt>
                <c:pt idx="52">
                  <c:v>1098.7076</c:v>
                </c:pt>
                <c:pt idx="53">
                  <c:v>1259.1824</c:v>
                </c:pt>
                <c:pt idx="54">
                  <c:v>1320.1009</c:v>
                </c:pt>
                <c:pt idx="55">
                  <c:v>1301.8842</c:v>
                </c:pt>
                <c:pt idx="56">
                  <c:v>1296.4348</c:v>
                </c:pt>
                <c:pt idx="57">
                  <c:v>1282.1852</c:v>
                </c:pt>
                <c:pt idx="58">
                  <c:v>1179.1437</c:v>
                </c:pt>
                <c:pt idx="59">
                  <c:v>1198.2709</c:v>
                </c:pt>
                <c:pt idx="60">
                  <c:v>1216.7182</c:v>
                </c:pt>
                <c:pt idx="61">
                  <c:v>1200.4432</c:v>
                </c:pt>
                <c:pt idx="62">
                  <c:v>1127.3109</c:v>
                </c:pt>
                <c:pt idx="63">
                  <c:v>1171.0948</c:v>
                </c:pt>
                <c:pt idx="64">
                  <c:v>1225.6698</c:v>
                </c:pt>
                <c:pt idx="65">
                  <c:v>1229.3295</c:v>
                </c:pt>
                <c:pt idx="66">
                  <c:v>1179.7358</c:v>
                </c:pt>
                <c:pt idx="67">
                  <c:v>1261.4286</c:v>
                </c:pt>
                <c:pt idx="68">
                  <c:v>1304.7685</c:v>
                </c:pt>
                <c:pt idx="69">
                  <c:v>1372.2333</c:v>
                </c:pt>
                <c:pt idx="70">
                  <c:v>1348.4</c:v>
                </c:pt>
                <c:pt idx="71">
                  <c:v>1330.6825</c:v>
                </c:pt>
                <c:pt idx="72">
                  <c:v>1410.5068</c:v>
                </c:pt>
                <c:pt idx="73">
                  <c:v>1323.5696</c:v>
                </c:pt>
                <c:pt idx="74">
                  <c:v>1345.102</c:v>
                </c:pt>
                <c:pt idx="75">
                  <c:v>1290.2444</c:v>
                </c:pt>
                <c:pt idx="76">
                  <c:v>1340.8286</c:v>
                </c:pt>
                <c:pt idx="77">
                  <c:v>1266.9565</c:v>
                </c:pt>
                <c:pt idx="78">
                  <c:v>1310.875</c:v>
                </c:pt>
                <c:pt idx="79">
                  <c:v>1363.7736</c:v>
                </c:pt>
                <c:pt idx="80">
                  <c:v>1293.746</c:v>
                </c:pt>
                <c:pt idx="81">
                  <c:v>1367.1667</c:v>
                </c:pt>
                <c:pt idx="82">
                  <c:v>1298.4528</c:v>
                </c:pt>
                <c:pt idx="83">
                  <c:v>1288.6863</c:v>
                </c:pt>
                <c:pt idx="84">
                  <c:v>1265.6042</c:v>
                </c:pt>
                <c:pt idx="85">
                  <c:v>1281.493</c:v>
                </c:pt>
                <c:pt idx="86">
                  <c:v>1280.7677</c:v>
                </c:pt>
                <c:pt idx="87">
                  <c:v>1259.9802</c:v>
                </c:pt>
                <c:pt idx="88">
                  <c:v>1206.15</c:v>
                </c:pt>
                <c:pt idx="89">
                  <c:v>1223.537</c:v>
                </c:pt>
                <c:pt idx="90">
                  <c:v>1362.9808</c:v>
                </c:pt>
                <c:pt idx="91">
                  <c:v>1413.8333</c:v>
                </c:pt>
                <c:pt idx="92">
                  <c:v>1353.5484</c:v>
                </c:pt>
                <c:pt idx="93">
                  <c:v>1399.0698</c:v>
                </c:pt>
                <c:pt idx="94">
                  <c:v>1402.137</c:v>
                </c:pt>
                <c:pt idx="95">
                  <c:v>1341.7826</c:v>
                </c:pt>
                <c:pt idx="96">
                  <c:v>1311.0921</c:v>
                </c:pt>
                <c:pt idx="97">
                  <c:v>1264.7405</c:v>
                </c:pt>
                <c:pt idx="98">
                  <c:v>1233.3359</c:v>
                </c:pt>
                <c:pt idx="99">
                  <c:v>1156.1178</c:v>
                </c:pt>
                <c:pt idx="100">
                  <c:v>1155.0861</c:v>
                </c:pt>
                <c:pt idx="101">
                  <c:v>1154.1111</c:v>
                </c:pt>
                <c:pt idx="102">
                  <c:v>1216.4724</c:v>
                </c:pt>
                <c:pt idx="103">
                  <c:v>1221.8427</c:v>
                </c:pt>
                <c:pt idx="104">
                  <c:v>1259.1224</c:v>
                </c:pt>
              </c:numCache>
            </c:numRef>
          </c:xVal>
          <c:yVal>
            <c:numRef>
              <c:f>Sheet1!$B$2:$B$106</c:f>
              <c:numCache>
                <c:formatCode>General</c:formatCode>
                <c:ptCount val="105"/>
                <c:pt idx="0">
                  <c:v>0.1664025356576862</c:v>
                </c:pt>
                <c:pt idx="1">
                  <c:v>0.1872103799814643</c:v>
                </c:pt>
                <c:pt idx="2">
                  <c:v>0.18181818181818182</c:v>
                </c:pt>
                <c:pt idx="3">
                  <c:v>0.18710263396911897</c:v>
                </c:pt>
                <c:pt idx="4">
                  <c:v>0.18025751072961374</c:v>
                </c:pt>
                <c:pt idx="5">
                  <c:v>0.20294784580498867</c:v>
                </c:pt>
                <c:pt idx="6">
                  <c:v>0.2512755102040816</c:v>
                </c:pt>
                <c:pt idx="7">
                  <c:v>0.2811320754716981</c:v>
                </c:pt>
                <c:pt idx="8">
                  <c:v>0.24504950495049505</c:v>
                </c:pt>
                <c:pt idx="9">
                  <c:v>0.23684210526315788</c:v>
                </c:pt>
                <c:pt idx="10">
                  <c:v>0.23672230652503792</c:v>
                </c:pt>
                <c:pt idx="11">
                  <c:v>0.2507462686567164</c:v>
                </c:pt>
                <c:pt idx="12">
                  <c:v>0.21720733427362482</c:v>
                </c:pt>
                <c:pt idx="13">
                  <c:v>0.2162485065710872</c:v>
                </c:pt>
                <c:pt idx="14">
                  <c:v>0.2</c:v>
                </c:pt>
                <c:pt idx="15">
                  <c:v>0.21428571428571427</c:v>
                </c:pt>
                <c:pt idx="16">
                  <c:v>0.22438162544169613</c:v>
                </c:pt>
                <c:pt idx="17">
                  <c:v>0.19912472647702406</c:v>
                </c:pt>
                <c:pt idx="18">
                  <c:v>0.1848101265822785</c:v>
                </c:pt>
                <c:pt idx="19">
                  <c:v>0.18471337579617833</c:v>
                </c:pt>
                <c:pt idx="20">
                  <c:v>0.21364985163204747</c:v>
                </c:pt>
                <c:pt idx="21">
                  <c:v>0.2463768115942029</c:v>
                </c:pt>
                <c:pt idx="22">
                  <c:v>0.24568965517241378</c:v>
                </c:pt>
                <c:pt idx="23">
                  <c:v>0.17142857142857143</c:v>
                </c:pt>
                <c:pt idx="24">
                  <c:v>0.16363636363636364</c:v>
                </c:pt>
                <c:pt idx="25">
                  <c:v>0.19428571428571428</c:v>
                </c:pt>
                <c:pt idx="26">
                  <c:v>0.23846153846153847</c:v>
                </c:pt>
                <c:pt idx="27">
                  <c:v>0.18240343347639484</c:v>
                </c:pt>
                <c:pt idx="28">
                  <c:v>0.20359281437125748</c:v>
                </c:pt>
                <c:pt idx="29">
                  <c:v>0.2512908777969019</c:v>
                </c:pt>
                <c:pt idx="30">
                  <c:v>0.2784090909090909</c:v>
                </c:pt>
                <c:pt idx="31">
                  <c:v>0.2824858757062147</c:v>
                </c:pt>
                <c:pt idx="32">
                  <c:v>0.28703703703703703</c:v>
                </c:pt>
                <c:pt idx="33">
                  <c:v>0.35343035343035345</c:v>
                </c:pt>
                <c:pt idx="34">
                  <c:v>0.3016453382084095</c:v>
                </c:pt>
                <c:pt idx="35">
                  <c:v>0.2660377358490566</c:v>
                </c:pt>
                <c:pt idx="36">
                  <c:v>0.18673218673218672</c:v>
                </c:pt>
                <c:pt idx="37">
                  <c:v>0.1536643026004728</c:v>
                </c:pt>
                <c:pt idx="38">
                  <c:v>0.14055299539170507</c:v>
                </c:pt>
                <c:pt idx="39">
                  <c:v>0.15071283095723015</c:v>
                </c:pt>
                <c:pt idx="40">
                  <c:v>0.16996699669966997</c:v>
                </c:pt>
                <c:pt idx="41">
                  <c:v>0.13545816733067728</c:v>
                </c:pt>
                <c:pt idx="42">
                  <c:v>0.1554559043348281</c:v>
                </c:pt>
                <c:pt idx="43">
                  <c:v>0.17410071942446043</c:v>
                </c:pt>
                <c:pt idx="44">
                  <c:v>0.20656226696495153</c:v>
                </c:pt>
                <c:pt idx="45">
                  <c:v>0.24924471299093656</c:v>
                </c:pt>
                <c:pt idx="46">
                  <c:v>0.236457437661221</c:v>
                </c:pt>
                <c:pt idx="47">
                  <c:v>0.24910714285714286</c:v>
                </c:pt>
                <c:pt idx="48">
                  <c:v>0.2620650953984287</c:v>
                </c:pt>
                <c:pt idx="49">
                  <c:v>0.2822269807280514</c:v>
                </c:pt>
                <c:pt idx="50">
                  <c:v>0.2292849035187287</c:v>
                </c:pt>
                <c:pt idx="51">
                  <c:v>0.199442119944212</c:v>
                </c:pt>
                <c:pt idx="52">
                  <c:v>0.23137254901960785</c:v>
                </c:pt>
                <c:pt idx="53">
                  <c:v>0.18663303909205547</c:v>
                </c:pt>
                <c:pt idx="54">
                  <c:v>0.1844331641285956</c:v>
                </c:pt>
                <c:pt idx="55">
                  <c:v>0.16579406631762653</c:v>
                </c:pt>
                <c:pt idx="56">
                  <c:v>0.17523809523809525</c:v>
                </c:pt>
                <c:pt idx="57">
                  <c:v>0.17763157894736842</c:v>
                </c:pt>
                <c:pt idx="58">
                  <c:v>0.20374707259953162</c:v>
                </c:pt>
                <c:pt idx="59">
                  <c:v>0.22291407222914073</c:v>
                </c:pt>
                <c:pt idx="60">
                  <c:v>0.2496617050067659</c:v>
                </c:pt>
                <c:pt idx="61">
                  <c:v>0.22651222651222652</c:v>
                </c:pt>
                <c:pt idx="62">
                  <c:v>0.2653288740245262</c:v>
                </c:pt>
                <c:pt idx="63">
                  <c:v>0.24421052631578946</c:v>
                </c:pt>
                <c:pt idx="64">
                  <c:v>0.2562574493444577</c:v>
                </c:pt>
                <c:pt idx="65">
                  <c:v>0.24719101123595505</c:v>
                </c:pt>
                <c:pt idx="66">
                  <c:v>0.28892215568862273</c:v>
                </c:pt>
                <c:pt idx="67">
                  <c:v>0.2518740629685157</c:v>
                </c:pt>
                <c:pt idx="68">
                  <c:v>0.22040816326530613</c:v>
                </c:pt>
                <c:pt idx="69">
                  <c:v>0.17391304347826086</c:v>
                </c:pt>
                <c:pt idx="70">
                  <c:v>0.14705882352941177</c:v>
                </c:pt>
                <c:pt idx="71">
                  <c:v>0.17897727272727273</c:v>
                </c:pt>
                <c:pt idx="72">
                  <c:v>0.1983695652173913</c:v>
                </c:pt>
                <c:pt idx="73">
                  <c:v>0.21584699453551912</c:v>
                </c:pt>
                <c:pt idx="74">
                  <c:v>0.21444201312910285</c:v>
                </c:pt>
                <c:pt idx="75">
                  <c:v>0.2179176755447942</c:v>
                </c:pt>
                <c:pt idx="76">
                  <c:v>0.20958083832335328</c:v>
                </c:pt>
                <c:pt idx="77">
                  <c:v>0.215625</c:v>
                </c:pt>
                <c:pt idx="78">
                  <c:v>0.2007168458781362</c:v>
                </c:pt>
                <c:pt idx="79">
                  <c:v>0.15915915915915915</c:v>
                </c:pt>
                <c:pt idx="80">
                  <c:v>0.19148936170212766</c:v>
                </c:pt>
                <c:pt idx="81">
                  <c:v>0.18652849740932642</c:v>
                </c:pt>
                <c:pt idx="82">
                  <c:v>0.18088737201365188</c:v>
                </c:pt>
                <c:pt idx="83">
                  <c:v>0.20318725099601595</c:v>
                </c:pt>
                <c:pt idx="84">
                  <c:v>0.21052631578947367</c:v>
                </c:pt>
                <c:pt idx="85">
                  <c:v>0.24067796610169492</c:v>
                </c:pt>
                <c:pt idx="86">
                  <c:v>0.25384615384615383</c:v>
                </c:pt>
                <c:pt idx="87">
                  <c:v>0.2616580310880829</c:v>
                </c:pt>
                <c:pt idx="88">
                  <c:v>0.21818181818181817</c:v>
                </c:pt>
                <c:pt idx="89">
                  <c:v>0.20224719101123595</c:v>
                </c:pt>
                <c:pt idx="90">
                  <c:v>0.17993079584775087</c:v>
                </c:pt>
                <c:pt idx="91">
                  <c:v>0.1758957654723127</c:v>
                </c:pt>
                <c:pt idx="92">
                  <c:v>0.2188235294117647</c:v>
                </c:pt>
                <c:pt idx="93">
                  <c:v>0.17916666666666667</c:v>
                </c:pt>
                <c:pt idx="94">
                  <c:v>0.17761557177615572</c:v>
                </c:pt>
                <c:pt idx="95">
                  <c:v>0.2068345323741007</c:v>
                </c:pt>
                <c:pt idx="96">
                  <c:v>0.2116991643454039</c:v>
                </c:pt>
                <c:pt idx="97">
                  <c:v>0.2630368098159509</c:v>
                </c:pt>
                <c:pt idx="98">
                  <c:v>0.25963488843813387</c:v>
                </c:pt>
                <c:pt idx="99">
                  <c:v>0.2693194925028835</c:v>
                </c:pt>
                <c:pt idx="100">
                  <c:v>0.2813688212927757</c:v>
                </c:pt>
                <c:pt idx="101">
                  <c:v>0.2732615083251714</c:v>
                </c:pt>
                <c:pt idx="102">
                  <c:v>0.21646746347941567</c:v>
                </c:pt>
                <c:pt idx="103">
                  <c:v>0.21241050119331742</c:v>
                </c:pt>
                <c:pt idx="104">
                  <c:v>0.2311320754716981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8.2968</c:v>
                </c:pt>
                <c:pt idx="1">
                  <c:v>1252.1731</c:v>
                </c:pt>
                <c:pt idx="2">
                  <c:v>1300.0462</c:v>
                </c:pt>
                <c:pt idx="3">
                  <c:v>1257.7433</c:v>
                </c:pt>
                <c:pt idx="4">
                  <c:v>1256.8603</c:v>
                </c:pt>
                <c:pt idx="5">
                  <c:v>1213.9637</c:v>
                </c:pt>
                <c:pt idx="6">
                  <c:v>1132.7056</c:v>
                </c:pt>
                <c:pt idx="7">
                  <c:v>1139.5385</c:v>
                </c:pt>
                <c:pt idx="8">
                  <c:v>1240.0674</c:v>
                </c:pt>
                <c:pt idx="9">
                  <c:v>1180.8981</c:v>
                </c:pt>
                <c:pt idx="10">
                  <c:v>1275.1524</c:v>
                </c:pt>
                <c:pt idx="11">
                  <c:v>1107.035</c:v>
                </c:pt>
                <c:pt idx="12">
                  <c:v>1147.3973</c:v>
                </c:pt>
                <c:pt idx="13">
                  <c:v>1166.2128</c:v>
                </c:pt>
                <c:pt idx="14">
                  <c:v>1107.156</c:v>
                </c:pt>
                <c:pt idx="15">
                  <c:v>1126.7868</c:v>
                </c:pt>
                <c:pt idx="16">
                  <c:v>1208.8298</c:v>
                </c:pt>
                <c:pt idx="17">
                  <c:v>1164.7</c:v>
                </c:pt>
                <c:pt idx="18">
                  <c:v>774.9896</c:v>
                </c:pt>
                <c:pt idx="19">
                  <c:v>1047.4304</c:v>
                </c:pt>
                <c:pt idx="20">
                  <c:v>1322.06</c:v>
                </c:pt>
                <c:pt idx="21">
                  <c:v>1240.5227</c:v>
                </c:pt>
                <c:pt idx="22">
                  <c:v>1324.7576</c:v>
                </c:pt>
                <c:pt idx="23">
                  <c:v>1313.0</c:v>
                </c:pt>
                <c:pt idx="24">
                  <c:v>1376.6667</c:v>
                </c:pt>
                <c:pt idx="25">
                  <c:v>1146.4524</c:v>
                </c:pt>
                <c:pt idx="26">
                  <c:v>1172.0526</c:v>
                </c:pt>
                <c:pt idx="27">
                  <c:v>1291.9231</c:v>
                </c:pt>
                <c:pt idx="28">
                  <c:v>1248.7532</c:v>
                </c:pt>
                <c:pt idx="29">
                  <c:v>1221.9655</c:v>
                </c:pt>
                <c:pt idx="30">
                  <c:v>1059.2969</c:v>
                </c:pt>
                <c:pt idx="31">
                  <c:v>1096.6471</c:v>
                </c:pt>
                <c:pt idx="32">
                  <c:v>1173.4854</c:v>
                </c:pt>
                <c:pt idx="33">
                  <c:v>1231.4046</c:v>
                </c:pt>
                <c:pt idx="34">
                  <c:v>1218.1879</c:v>
                </c:pt>
                <c:pt idx="35">
                  <c:v>1150.8621</c:v>
                </c:pt>
                <c:pt idx="36">
                  <c:v>1229.6226</c:v>
                </c:pt>
                <c:pt idx="37">
                  <c:v>1369.0</c:v>
                </c:pt>
                <c:pt idx="38">
                  <c:v>1409.913</c:v>
                </c:pt>
                <c:pt idx="39">
                  <c:v>1353.7105</c:v>
                </c:pt>
                <c:pt idx="40">
                  <c:v>1311.4865</c:v>
                </c:pt>
                <c:pt idx="41">
                  <c:v>1429.1719</c:v>
                </c:pt>
                <c:pt idx="42">
                  <c:v>1447.2105</c:v>
                </c:pt>
                <c:pt idx="43">
                  <c:v>1441.0556</c:v>
                </c:pt>
                <c:pt idx="44">
                  <c:v>1378.7519</c:v>
                </c:pt>
                <c:pt idx="45">
                  <c:v>1279.2947</c:v>
                </c:pt>
                <c:pt idx="46">
                  <c:v>1310.2908</c:v>
                </c:pt>
                <c:pt idx="47">
                  <c:v>1289.338</c:v>
                </c:pt>
                <c:pt idx="48">
                  <c:v>1260.9081</c:v>
                </c:pt>
                <c:pt idx="49">
                  <c:v>1289.1048</c:v>
                </c:pt>
                <c:pt idx="50">
                  <c:v>1146.344</c:v>
                </c:pt>
                <c:pt idx="51">
                  <c:v>1100.8229</c:v>
                </c:pt>
              </c:numCache>
            </c:numRef>
          </c:xVal>
          <c:yVal>
            <c:numRef>
              <c:f>Sheet1!$B$109:$B$160</c:f>
              <c:numCache>
                <c:formatCode>General</c:formatCode>
                <c:ptCount val="52"/>
                <c:pt idx="0">
                  <c:v>0.2108843537414966</c:v>
                </c:pt>
                <c:pt idx="1">
                  <c:v>0.2225392296718973</c:v>
                </c:pt>
                <c:pt idx="2">
                  <c:v>0.22179487179487178</c:v>
                </c:pt>
                <c:pt idx="3">
                  <c:v>0.25202156334231807</c:v>
                </c:pt>
                <c:pt idx="4">
                  <c:v>0.23583662714097497</c:v>
                </c:pt>
                <c:pt idx="5">
                  <c:v>0.2608108108108108</c:v>
                </c:pt>
                <c:pt idx="6">
                  <c:v>0.2622549019607843</c:v>
                </c:pt>
                <c:pt idx="7">
                  <c:v>0.26262626262626265</c:v>
                </c:pt>
                <c:pt idx="8">
                  <c:v>0.2564841498559078</c:v>
                </c:pt>
                <c:pt idx="9">
                  <c:v>0.2727272727272727</c:v>
                </c:pt>
                <c:pt idx="10">
                  <c:v>0.257985257985258</c:v>
                </c:pt>
                <c:pt idx="11">
                  <c:v>0.2936857562408223</c:v>
                </c:pt>
                <c:pt idx="12">
                  <c:v>0.30103092783505153</c:v>
                </c:pt>
                <c:pt idx="13">
                  <c:v>0.30257510729613735</c:v>
                </c:pt>
                <c:pt idx="14">
                  <c:v>0.31543624161073824</c:v>
                </c:pt>
                <c:pt idx="15">
                  <c:v>0.3105022831050228</c:v>
                </c:pt>
                <c:pt idx="16">
                  <c:v>0.27089337175792505</c:v>
                </c:pt>
                <c:pt idx="17">
                  <c:v>0.21739130434782608</c:v>
                </c:pt>
                <c:pt idx="18">
                  <c:v>0.2981366459627329</c:v>
                </c:pt>
                <c:pt idx="19">
                  <c:v>0.2607260726072607</c:v>
                </c:pt>
                <c:pt idx="20">
                  <c:v>0.18796992481203006</c:v>
                </c:pt>
                <c:pt idx="21">
                  <c:v>0.22448979591836735</c:v>
                </c:pt>
                <c:pt idx="22">
                  <c:v>0.17277486910994763</c:v>
                </c:pt>
                <c:pt idx="23">
                  <c:v>0.18579234972677597</c:v>
                </c:pt>
                <c:pt idx="24">
                  <c:v>0.17889908256880735</c:v>
                </c:pt>
                <c:pt idx="25">
                  <c:v>0.19534883720930232</c:v>
                </c:pt>
                <c:pt idx="26">
                  <c:v>0.18181818181818182</c:v>
                </c:pt>
                <c:pt idx="27">
                  <c:v>0.17391304347826086</c:v>
                </c:pt>
                <c:pt idx="28">
                  <c:v>0.21448467966573817</c:v>
                </c:pt>
                <c:pt idx="29">
                  <c:v>0.2265625</c:v>
                </c:pt>
                <c:pt idx="30">
                  <c:v>0.24242424242424243</c:v>
                </c:pt>
                <c:pt idx="31">
                  <c:v>0.23448275862068965</c:v>
                </c:pt>
                <c:pt idx="32">
                  <c:v>0.2959770114942529</c:v>
                </c:pt>
                <c:pt idx="33">
                  <c:v>0.30679156908665106</c:v>
                </c:pt>
                <c:pt idx="34">
                  <c:v>0.3104166666666667</c:v>
                </c:pt>
                <c:pt idx="35">
                  <c:v>0.29</c:v>
                </c:pt>
                <c:pt idx="36">
                  <c:v>0.24311926605504589</c:v>
                </c:pt>
                <c:pt idx="37">
                  <c:v>0.20408163265306123</c:v>
                </c:pt>
                <c:pt idx="38">
                  <c:v>0.18548387096774194</c:v>
                </c:pt>
                <c:pt idx="39">
                  <c:v>0.2116991643454039</c:v>
                </c:pt>
                <c:pt idx="40">
                  <c:v>0.22629969418960244</c:v>
                </c:pt>
                <c:pt idx="41">
                  <c:v>0.187683284457478</c:v>
                </c:pt>
                <c:pt idx="42">
                  <c:v>0.2111111111111111</c:v>
                </c:pt>
                <c:pt idx="43">
                  <c:v>0.19148936170212766</c:v>
                </c:pt>
                <c:pt idx="44">
                  <c:v>0.18092566619915848</c:v>
                </c:pt>
                <c:pt idx="45">
                  <c:v>0.19367991845056065</c:v>
                </c:pt>
                <c:pt idx="46">
                  <c:v>0.19665271966527198</c:v>
                </c:pt>
                <c:pt idx="47">
                  <c:v>0.20084865629420084</c:v>
                </c:pt>
                <c:pt idx="48">
                  <c:v>0.19535374868004224</c:v>
                </c:pt>
                <c:pt idx="49">
                  <c:v>0.22517207472959685</c:v>
                </c:pt>
                <c:pt idx="50">
                  <c:v>0.27036770007209804</c:v>
                </c:pt>
                <c:pt idx="51">
                  <c:v>0.259643916913946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88.0409119979493</c:v>
                </c:pt>
              </c:numCache>
            </c:numRef>
          </c:xVal>
          <c:yVal>
            <c:numRef>
              <c:f>Sheet1!$B$163:$B$164</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88.0409119979493</c:v>
                </c:pt>
                <c:pt idx="1">
                  <c:v>1088.0409119979493</c:v>
                </c:pt>
              </c:numCache>
            </c:numRef>
          </c:xVal>
          <c:yVal>
            <c:numRef>
              <c:f>Sheet1!$B$167:$B$168</c:f>
              <c:numCache>
                <c:formatCode>General</c:formatCode>
                <c:ptCount val="2"/>
                <c:pt idx="0">
                  <c:v>0.27027307401588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8.0409119979493</c:v>
                </c:pt>
              </c:numCache>
            </c:numRef>
          </c:xVal>
          <c:yVal>
            <c:numRef>
              <c:f>Sheet1!$B$171:$B$172</c:f>
              <c:numCache>
                <c:formatCode>General</c:formatCode>
                <c:ptCount val="2"/>
                <c:pt idx="0">
                  <c:v>0.2702730740158804</c:v>
                </c:pt>
                <c:pt idx="1">
                  <c:v>0.27027307401588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8.0409119979493</c:v>
                </c:pt>
                <c:pt idx="1">
                  <c:v>1088.0409119979493</c:v>
                </c:pt>
              </c:numCache>
            </c:numRef>
          </c:xVal>
          <c:yVal>
            <c:numRef>
              <c:f>Sheet1!$B$175:$B$176</c:f>
              <c:numCache>
                <c:formatCode>General</c:formatCode>
                <c:ptCount val="2"/>
                <c:pt idx="0">
                  <c:v>0.27027307401588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4.8629486357377</c:v>
                </c:pt>
              </c:numCache>
            </c:numRef>
          </c:xVal>
          <c:yVal>
            <c:numRef>
              <c:f>Sheet1!$B$179:$B$180</c:f>
              <c:numCache>
                <c:formatCode>General</c:formatCode>
                <c:ptCount val="2"/>
                <c:pt idx="0">
                  <c:v>0.2116097705238922</c:v>
                </c:pt>
                <c:pt idx="1">
                  <c:v>0.211609770523892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4.8629486357377</c:v>
                </c:pt>
                <c:pt idx="1">
                  <c:v>1334.8629486357377</c:v>
                </c:pt>
              </c:numCache>
            </c:numRef>
          </c:xVal>
          <c:yVal>
            <c:numRef>
              <c:f>Sheet1!$B$183:$B$184</c:f>
              <c:numCache>
                <c:formatCode>General</c:formatCode>
                <c:ptCount val="2"/>
                <c:pt idx="0">
                  <c:v>0.21160977052389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8.2968</c:v>
                </c:pt>
                <c:pt idx="1">
                  <c:v>1252.1731</c:v>
                </c:pt>
                <c:pt idx="2">
                  <c:v>1300.0462</c:v>
                </c:pt>
                <c:pt idx="3">
                  <c:v>1257.7433</c:v>
                </c:pt>
                <c:pt idx="4">
                  <c:v>1256.8603</c:v>
                </c:pt>
                <c:pt idx="5">
                  <c:v>1213.9637</c:v>
                </c:pt>
                <c:pt idx="6">
                  <c:v>1132.7056</c:v>
                </c:pt>
                <c:pt idx="7">
                  <c:v>1139.5385</c:v>
                </c:pt>
                <c:pt idx="8">
                  <c:v>1240.0674</c:v>
                </c:pt>
                <c:pt idx="9">
                  <c:v>1180.8981</c:v>
                </c:pt>
                <c:pt idx="10">
                  <c:v>1275.1524</c:v>
                </c:pt>
                <c:pt idx="11">
                  <c:v>1107.035</c:v>
                </c:pt>
                <c:pt idx="12">
                  <c:v>1147.3973</c:v>
                </c:pt>
                <c:pt idx="13">
                  <c:v>1166.2128</c:v>
                </c:pt>
                <c:pt idx="14">
                  <c:v>1107.156</c:v>
                </c:pt>
                <c:pt idx="15">
                  <c:v>1126.7868</c:v>
                </c:pt>
                <c:pt idx="16">
                  <c:v>1208.8298</c:v>
                </c:pt>
                <c:pt idx="17">
                  <c:v>1164.7</c:v>
                </c:pt>
                <c:pt idx="18">
                  <c:v>774.9896</c:v>
                </c:pt>
                <c:pt idx="19">
                  <c:v>1047.4304</c:v>
                </c:pt>
                <c:pt idx="20">
                  <c:v>1322.06</c:v>
                </c:pt>
                <c:pt idx="21">
                  <c:v>1240.5227</c:v>
                </c:pt>
                <c:pt idx="22">
                  <c:v>1324.7576</c:v>
                </c:pt>
                <c:pt idx="23">
                  <c:v>1313.0</c:v>
                </c:pt>
                <c:pt idx="24">
                  <c:v>1376.6667</c:v>
                </c:pt>
                <c:pt idx="25">
                  <c:v>1146.4524</c:v>
                </c:pt>
                <c:pt idx="26">
                  <c:v>1172.0526</c:v>
                </c:pt>
                <c:pt idx="27">
                  <c:v>1291.9231</c:v>
                </c:pt>
                <c:pt idx="28">
                  <c:v>1248.7532</c:v>
                </c:pt>
                <c:pt idx="29">
                  <c:v>1221.9655</c:v>
                </c:pt>
                <c:pt idx="30">
                  <c:v>1059.2969</c:v>
                </c:pt>
                <c:pt idx="31">
                  <c:v>1096.6471</c:v>
                </c:pt>
                <c:pt idx="32">
                  <c:v>1173.4854</c:v>
                </c:pt>
                <c:pt idx="33">
                  <c:v>1231.4046</c:v>
                </c:pt>
                <c:pt idx="34">
                  <c:v>1218.1879</c:v>
                </c:pt>
                <c:pt idx="35">
                  <c:v>1150.8621</c:v>
                </c:pt>
                <c:pt idx="36">
                  <c:v>1229.6226</c:v>
                </c:pt>
                <c:pt idx="37">
                  <c:v>1369.0</c:v>
                </c:pt>
                <c:pt idx="38">
                  <c:v>1409.913</c:v>
                </c:pt>
                <c:pt idx="39">
                  <c:v>1353.7105</c:v>
                </c:pt>
                <c:pt idx="40">
                  <c:v>1311.4865</c:v>
                </c:pt>
                <c:pt idx="41">
                  <c:v>1429.1719</c:v>
                </c:pt>
                <c:pt idx="42">
                  <c:v>1447.2105</c:v>
                </c:pt>
                <c:pt idx="43">
                  <c:v>1441.0556</c:v>
                </c:pt>
                <c:pt idx="44">
                  <c:v>1378.7519</c:v>
                </c:pt>
                <c:pt idx="45">
                  <c:v>1279.2947</c:v>
                </c:pt>
                <c:pt idx="46">
                  <c:v>1310.2908</c:v>
                </c:pt>
                <c:pt idx="47">
                  <c:v>1289.338</c:v>
                </c:pt>
                <c:pt idx="48">
                  <c:v>1260.9081</c:v>
                </c:pt>
                <c:pt idx="49">
                  <c:v>1289.1048</c:v>
                </c:pt>
                <c:pt idx="50">
                  <c:v>1146.344</c:v>
                </c:pt>
                <c:pt idx="51">
                  <c:v>1100.8229</c:v>
                </c:pt>
                <c:pt idx="52">
                  <c:v>1088.0409119979493</c:v>
                </c:pt>
                <c:pt idx="53">
                  <c:v>1088.0409119979493</c:v>
                </c:pt>
                <c:pt idx="54">
                  <c:v>1334.8629486357377</c:v>
                </c:pt>
              </c:numCache>
            </c:numRef>
          </c:xVal>
          <c:yVal>
            <c:numRef>
              <c:f>Sheet1!$B$187:$B$241</c:f>
              <c:numCache>
                <c:formatCode>General</c:formatCode>
                <c:ptCount val="55"/>
                <c:pt idx="0">
                  <c:v>0.2298075914146679</c:v>
                </c:pt>
                <c:pt idx="1">
                  <c:v>0.23126303873407023</c:v>
                </c:pt>
                <c:pt idx="2">
                  <c:v>0.2198848237551394</c:v>
                </c:pt>
                <c:pt idx="3">
                  <c:v>0.22993914424894935</c:v>
                </c:pt>
                <c:pt idx="4">
                  <c:v>0.23014901083010653</c:v>
                </c:pt>
                <c:pt idx="5">
                  <c:v>0.24034443867299127</c:v>
                </c:pt>
                <c:pt idx="6">
                  <c:v>0.2596574167458434</c:v>
                </c:pt>
                <c:pt idx="7">
                  <c:v>0.2580334106729228</c:v>
                </c:pt>
                <c:pt idx="8">
                  <c:v>0.23414025489660084</c:v>
                </c:pt>
                <c:pt idx="9">
                  <c:v>0.24820328853246</c:v>
                </c:pt>
                <c:pt idx="10">
                  <c:v>0.22580144515718997</c:v>
                </c:pt>
                <c:pt idx="11">
                  <c:v>0.26575866369743295</c:v>
                </c:pt>
                <c:pt idx="12">
                  <c:v>0.2561655743331741</c:v>
                </c:pt>
                <c:pt idx="13">
                  <c:v>0.2516936098283463</c:v>
                </c:pt>
                <c:pt idx="14">
                  <c:v>0.26572990508325406</c:v>
                </c:pt>
                <c:pt idx="15">
                  <c:v>0.2610641645607394</c:v>
                </c:pt>
                <c:pt idx="16">
                  <c:v>0.24156463577491977</c:v>
                </c:pt>
                <c:pt idx="17">
                  <c:v>0.25205316380793247</c:v>
                </c:pt>
                <c:pt idx="18">
                  <c:v>0.34467738723873453</c:v>
                </c:pt>
                <c:pt idx="19">
                  <c:v>0.2799251570419873</c:v>
                </c:pt>
                <c:pt idx="20">
                  <c:v>0.21465270490544747</c:v>
                </c:pt>
                <c:pt idx="21">
                  <c:v>0.23403204169795883</c:v>
                </c:pt>
                <c:pt idx="22">
                  <c:v>0.21401155418140483</c:v>
                </c:pt>
                <c:pt idx="23">
                  <c:v>0.216806035851409</c:v>
                </c:pt>
                <c:pt idx="24">
                  <c:v>0.2016740849311825</c:v>
                </c:pt>
                <c:pt idx="25">
                  <c:v>0.2563901529657171</c:v>
                </c:pt>
                <c:pt idx="26">
                  <c:v>0.25030563829874075</c:v>
                </c:pt>
                <c:pt idx="27">
                  <c:v>0.22181547746453678</c:v>
                </c:pt>
                <c:pt idx="28">
                  <c:v>0.23207586174754635</c:v>
                </c:pt>
                <c:pt idx="29">
                  <c:v>0.23844261488012197</c:v>
                </c:pt>
                <c:pt idx="30">
                  <c:v>0.277104792619222</c:v>
                </c:pt>
                <c:pt idx="31">
                  <c:v>0.2682276026084213</c:v>
                </c:pt>
                <c:pt idx="32">
                  <c:v>0.2499650982789423</c:v>
                </c:pt>
                <c:pt idx="33">
                  <c:v>0.23619918153221625</c:v>
                </c:pt>
                <c:pt idx="34">
                  <c:v>0.2393404540612991</c:v>
                </c:pt>
                <c:pt idx="35">
                  <c:v>0.2553420797347671</c:v>
                </c:pt>
                <c:pt idx="36">
                  <c:v>0.23662271748648822</c:v>
                </c:pt>
                <c:pt idx="37">
                  <c:v>0.20349626399999088</c:v>
                </c:pt>
                <c:pt idx="38">
                  <c:v>0.19377228729004314</c:v>
                </c:pt>
                <c:pt idx="39">
                  <c:v>0.20713018822717405</c:v>
                </c:pt>
                <c:pt idx="40">
                  <c:v>0.21716575620314332</c:v>
                </c:pt>
                <c:pt idx="41">
                  <c:v>0.18919493791309178</c:v>
                </c:pt>
                <c:pt idx="42">
                  <c:v>0.18490762272525263</c:v>
                </c:pt>
                <c:pt idx="43">
                  <c:v>0.18637048548897217</c:v>
                </c:pt>
                <c:pt idx="44">
                  <c:v>0.20117848606931504</c:v>
                </c:pt>
                <c:pt idx="45">
                  <c:v>0.22481692608683057</c:v>
                </c:pt>
                <c:pt idx="46">
                  <c:v>0.21744994359962083</c:v>
                </c:pt>
                <c:pt idx="47">
                  <c:v>0.2224298898076279</c:v>
                </c:pt>
                <c:pt idx="48">
                  <c:v>0.2291869519997463</c:v>
                </c:pt>
                <c:pt idx="49">
                  <c:v>0.22248531550040912</c:v>
                </c:pt>
                <c:pt idx="50">
                  <c:v>0.25641591688122944</c:v>
                </c:pt>
                <c:pt idx="51">
                  <c:v>0.2672351214424008</c:v>
                </c:pt>
                <c:pt idx="52">
                  <c:v>0.2702730740158804</c:v>
                </c:pt>
                <c:pt idx="53">
                  <c:v>0.2702730740158804</c:v>
                </c:pt>
                <c:pt idx="54">
                  <c:v>0.211609770523892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7.0"/>
          <c:min val="62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411642411642414"/>
          <c:min val="0.108366533864541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16045580042918</c:v>
                </c:pt>
                <c:pt idx="1">
                  <c:v>0.2077034997293131</c:v>
                </c:pt>
                <c:pt idx="2">
                  <c:v>0.18324815412309148</c:v>
                </c:pt>
                <c:pt idx="3">
                  <c:v>0.18002849230341478</c:v>
                </c:pt>
                <c:pt idx="4">
                  <c:v>0.1607809118927445</c:v>
                </c:pt>
                <c:pt idx="5">
                  <c:v>0.17369507237437337</c:v>
                </c:pt>
                <c:pt idx="6">
                  <c:v>0.19290863497211586</c:v>
                </c:pt>
                <c:pt idx="7">
                  <c:v>0.1815637130745266</c:v>
                </c:pt>
                <c:pt idx="8">
                  <c:v>0.1527405630953786</c:v>
                </c:pt>
                <c:pt idx="9">
                  <c:v>0.17300080505453538</c:v>
                </c:pt>
                <c:pt idx="10">
                  <c:v>0.17756602308469946</c:v>
                </c:pt>
                <c:pt idx="11">
                  <c:v>0.20110563219134653</c:v>
                </c:pt>
                <c:pt idx="12">
                  <c:v>0.19436781887317384</c:v>
                </c:pt>
                <c:pt idx="13">
                  <c:v>0.18388541953708354</c:v>
                </c:pt>
                <c:pt idx="14">
                  <c:v>0.18663058987426126</c:v>
                </c:pt>
                <c:pt idx="15">
                  <c:v>0.21429361111398193</c:v>
                </c:pt>
                <c:pt idx="16">
                  <c:v>0.19528815526389395</c:v>
                </c:pt>
                <c:pt idx="17">
                  <c:v>0.19831432493269724</c:v>
                </c:pt>
                <c:pt idx="18">
                  <c:v>0.1830098720646473</c:v>
                </c:pt>
                <c:pt idx="19">
                  <c:v>0.17984851305987798</c:v>
                </c:pt>
                <c:pt idx="20">
                  <c:v>0.17232685176001383</c:v>
                </c:pt>
                <c:pt idx="21">
                  <c:v>0.17046113058510043</c:v>
                </c:pt>
                <c:pt idx="22">
                  <c:v>0.15597339847266314</c:v>
                </c:pt>
                <c:pt idx="23">
                  <c:v>0.14009095260250384</c:v>
                </c:pt>
                <c:pt idx="24">
                  <c:v>0.1579794529742365</c:v>
                </c:pt>
                <c:pt idx="25">
                  <c:v>0.14429938669171102</c:v>
                </c:pt>
                <c:pt idx="26">
                  <c:v>0.12814411969478523</c:v>
                </c:pt>
                <c:pt idx="27">
                  <c:v>0.1305535322047959</c:v>
                </c:pt>
                <c:pt idx="28">
                  <c:v>0.12099737460676126</c:v>
                </c:pt>
                <c:pt idx="29">
                  <c:v>0.14472108018920687</c:v>
                </c:pt>
                <c:pt idx="30">
                  <c:v>0.1469072788753124</c:v>
                </c:pt>
                <c:pt idx="31">
                  <c:v>0.12810150724028435</c:v>
                </c:pt>
                <c:pt idx="32">
                  <c:v>0.1285288250511085</c:v>
                </c:pt>
                <c:pt idx="33">
                  <c:v>0.14072731466052116</c:v>
                </c:pt>
                <c:pt idx="34">
                  <c:v>0.1541661271218641</c:v>
                </c:pt>
                <c:pt idx="35">
                  <c:v>0.13438093194493686</c:v>
                </c:pt>
                <c:pt idx="36">
                  <c:v>0.12165549101046759</c:v>
                </c:pt>
                <c:pt idx="37">
                  <c:v>0.13634795272619368</c:v>
                </c:pt>
                <c:pt idx="38">
                  <c:v>0.14794189249700432</c:v>
                </c:pt>
                <c:pt idx="39">
                  <c:v>0.15712615251476658</c:v>
                </c:pt>
                <c:pt idx="40">
                  <c:v>0.16987183538647907</c:v>
                </c:pt>
                <c:pt idx="41">
                  <c:v>0.17409726737346587</c:v>
                </c:pt>
                <c:pt idx="42">
                  <c:v>0.16103193745068473</c:v>
                </c:pt>
                <c:pt idx="43">
                  <c:v>0.16100206044451898</c:v>
                </c:pt>
                <c:pt idx="44">
                  <c:v>0.1731618633631547</c:v>
                </c:pt>
                <c:pt idx="45">
                  <c:v>0.1944774710266843</c:v>
                </c:pt>
                <c:pt idx="46">
                  <c:v>0.17765487580693615</c:v>
                </c:pt>
                <c:pt idx="47">
                  <c:v>0.16861595882857552</c:v>
                </c:pt>
                <c:pt idx="48">
                  <c:v>0.22695996046720351</c:v>
                </c:pt>
                <c:pt idx="49">
                  <c:v>0.22026037997394013</c:v>
                </c:pt>
                <c:pt idx="50">
                  <c:v>0.17096790525320482</c:v>
                </c:pt>
                <c:pt idx="51">
                  <c:v>0.15923443641365054</c:v>
                </c:pt>
                <c:pt idx="52">
                  <c:v>0.1967396075385776</c:v>
                </c:pt>
                <c:pt idx="53">
                  <c:v>0.211166814700746</c:v>
                </c:pt>
                <c:pt idx="54">
                  <c:v>0.2023109342978984</c:v>
                </c:pt>
                <c:pt idx="55">
                  <c:v>0.1610198260738543</c:v>
                </c:pt>
                <c:pt idx="56">
                  <c:v>0.17188363871457346</c:v>
                </c:pt>
                <c:pt idx="57">
                  <c:v>0.1727124409448819</c:v>
                </c:pt>
                <c:pt idx="58">
                  <c:v>0.20781263344509499</c:v>
                </c:pt>
                <c:pt idx="59">
                  <c:v>0.22610724938608645</c:v>
                </c:pt>
                <c:pt idx="60">
                  <c:v>0.20086300503247786</c:v>
                </c:pt>
                <c:pt idx="61">
                  <c:v>0.2137791038005636</c:v>
                </c:pt>
                <c:pt idx="62">
                  <c:v>0.2505648916812971</c:v>
                </c:pt>
                <c:pt idx="63">
                  <c:v>0.22148447647938294</c:v>
                </c:pt>
                <c:pt idx="64">
                  <c:v>0.2323677333076729</c:v>
                </c:pt>
                <c:pt idx="65">
                  <c:v>0.19231503233406805</c:v>
                </c:pt>
                <c:pt idx="66">
                  <c:v>0.20164022488031494</c:v>
                </c:pt>
                <c:pt idx="67">
                  <c:v>0.2577335582663658</c:v>
                </c:pt>
                <c:pt idx="68">
                  <c:v>0.21323261737176755</c:v>
                </c:pt>
                <c:pt idx="69">
                  <c:v>0.17164907242436306</c:v>
                </c:pt>
                <c:pt idx="70">
                  <c:v>0.15183433979006583</c:v>
                </c:pt>
                <c:pt idx="71">
                  <c:v>0.1717395308223997</c:v>
                </c:pt>
                <c:pt idx="72">
                  <c:v>0.19440035006256895</c:v>
                </c:pt>
                <c:pt idx="73">
                  <c:v>0.1916285642314659</c:v>
                </c:pt>
                <c:pt idx="74">
                  <c:v>0.19614688687977208</c:v>
                </c:pt>
                <c:pt idx="75">
                  <c:v>0.17458185613661</c:v>
                </c:pt>
                <c:pt idx="76">
                  <c:v>0.1422987214192519</c:v>
                </c:pt>
                <c:pt idx="77">
                  <c:v>0.13274656191574624</c:v>
                </c:pt>
                <c:pt idx="78">
                  <c:v>0.15339690564835617</c:v>
                </c:pt>
                <c:pt idx="79">
                  <c:v>0.14719948699939686</c:v>
                </c:pt>
                <c:pt idx="80">
                  <c:v>0.1497322766144644</c:v>
                </c:pt>
                <c:pt idx="81">
                  <c:v>0.16600313712426001</c:v>
                </c:pt>
                <c:pt idx="82">
                  <c:v>0.17640142761051184</c:v>
                </c:pt>
                <c:pt idx="83">
                  <c:v>0.1609187350116793</c:v>
                </c:pt>
                <c:pt idx="84">
                  <c:v>0.1453175914078031</c:v>
                </c:pt>
                <c:pt idx="85">
                  <c:v>0.16951030449674837</c:v>
                </c:pt>
                <c:pt idx="86">
                  <c:v>0.16494048892159557</c:v>
                </c:pt>
                <c:pt idx="87">
                  <c:v>0.1491186171805941</c:v>
                </c:pt>
                <c:pt idx="88">
                  <c:v>0.13820120413660367</c:v>
                </c:pt>
                <c:pt idx="89">
                  <c:v>0.13099918472297287</c:v>
                </c:pt>
                <c:pt idx="90">
                  <c:v>0.13901946745614843</c:v>
                </c:pt>
                <c:pt idx="91">
                  <c:v>0.1686563377154728</c:v>
                </c:pt>
                <c:pt idx="92">
                  <c:v>0.1698051255740913</c:v>
                </c:pt>
                <c:pt idx="93">
                  <c:v>0.16169429354922954</c:v>
                </c:pt>
                <c:pt idx="94">
                  <c:v>0.1275973267923909</c:v>
                </c:pt>
                <c:pt idx="95">
                  <c:v>0.13094096144311887</c:v>
                </c:pt>
                <c:pt idx="96">
                  <c:v>0.16318286251928493</c:v>
                </c:pt>
                <c:pt idx="97">
                  <c:v>0.18970288362184357</c:v>
                </c:pt>
                <c:pt idx="98">
                  <c:v>0.19161398330100088</c:v>
                </c:pt>
                <c:pt idx="99">
                  <c:v>0.19369393445482005</c:v>
                </c:pt>
                <c:pt idx="100">
                  <c:v>0.2052244499455309</c:v>
                </c:pt>
                <c:pt idx="101">
                  <c:v>0.18483530904774906</c:v>
                </c:pt>
                <c:pt idx="102">
                  <c:v>0.1650050673787078</c:v>
                </c:pt>
                <c:pt idx="103">
                  <c:v>0.16454790545732048</c:v>
                </c:pt>
                <c:pt idx="104">
                  <c:v>0.19659654050776101</c:v>
                </c:pt>
              </c:numCache>
            </c:numRef>
          </c:xVal>
          <c:yVal>
            <c:numRef>
              <c:f>Sheet1!$B$2:$B$106</c:f>
              <c:numCache>
                <c:formatCode>General</c:formatCode>
                <c:ptCount val="105"/>
                <c:pt idx="0">
                  <c:v>0.2763496143958869</c:v>
                </c:pt>
                <c:pt idx="1">
                  <c:v>0.2771017699115044</c:v>
                </c:pt>
                <c:pt idx="2">
                  <c:v>0.2901921132457027</c:v>
                </c:pt>
                <c:pt idx="3">
                  <c:v>0.29375696767001114</c:v>
                </c:pt>
                <c:pt idx="4">
                  <c:v>0.30051635111876074</c:v>
                </c:pt>
                <c:pt idx="5">
                  <c:v>0.3011397720455909</c:v>
                </c:pt>
                <c:pt idx="6">
                  <c:v>0.34123350390519797</c:v>
                </c:pt>
                <c:pt idx="7">
                  <c:v>0.31893892658852563</c:v>
                </c:pt>
                <c:pt idx="8">
                  <c:v>0.3068072866730585</c:v>
                </c:pt>
                <c:pt idx="9">
                  <c:v>0.26763803680981596</c:v>
                </c:pt>
                <c:pt idx="10">
                  <c:v>0.2595764929812039</c:v>
                </c:pt>
                <c:pt idx="11">
                  <c:v>0.25406091370558376</c:v>
                </c:pt>
                <c:pt idx="12">
                  <c:v>0.23944337811900193</c:v>
                </c:pt>
                <c:pt idx="13">
                  <c:v>0.23940282591308984</c:v>
                </c:pt>
                <c:pt idx="14">
                  <c:v>0.2091168091168091</c:v>
                </c:pt>
                <c:pt idx="15">
                  <c:v>0.20359281437125748</c:v>
                </c:pt>
                <c:pt idx="16">
                  <c:v>0.2084026622296173</c:v>
                </c:pt>
                <c:pt idx="17">
                  <c:v>0.1836144578313253</c:v>
                </c:pt>
                <c:pt idx="18">
                  <c:v>0.16915720263000597</c:v>
                </c:pt>
                <c:pt idx="19">
                  <c:v>0.17733674775928296</c:v>
                </c:pt>
                <c:pt idx="20">
                  <c:v>0.17356608478802993</c:v>
                </c:pt>
                <c:pt idx="21">
                  <c:v>0.1704337202199145</c:v>
                </c:pt>
                <c:pt idx="22">
                  <c:v>0.22465753424657534</c:v>
                </c:pt>
                <c:pt idx="23">
                  <c:v>0.2275132275132275</c:v>
                </c:pt>
                <c:pt idx="24">
                  <c:v>0.22783882783882783</c:v>
                </c:pt>
                <c:pt idx="25">
                  <c:v>0.25326370757180156</c:v>
                </c:pt>
                <c:pt idx="26">
                  <c:v>0.25925925925925924</c:v>
                </c:pt>
                <c:pt idx="27">
                  <c:v>0.27073552425665104</c:v>
                </c:pt>
                <c:pt idx="28">
                  <c:v>0.2607573149741824</c:v>
                </c:pt>
                <c:pt idx="29">
                  <c:v>0.22470978441127695</c:v>
                </c:pt>
                <c:pt idx="30">
                  <c:v>0.23111612175873733</c:v>
                </c:pt>
                <c:pt idx="31">
                  <c:v>0.2635270541082164</c:v>
                </c:pt>
                <c:pt idx="32">
                  <c:v>0.25</c:v>
                </c:pt>
                <c:pt idx="33">
                  <c:v>0.2259287338893101</c:v>
                </c:pt>
                <c:pt idx="34">
                  <c:v>0.21399511798209928</c:v>
                </c:pt>
                <c:pt idx="35">
                  <c:v>0.228328173374613</c:v>
                </c:pt>
                <c:pt idx="36">
                  <c:v>0.19887278582930756</c:v>
                </c:pt>
                <c:pt idx="37">
                  <c:v>0.1868312757201646</c:v>
                </c:pt>
                <c:pt idx="38">
                  <c:v>0.19299674267100977</c:v>
                </c:pt>
                <c:pt idx="39">
                  <c:v>0.17234848484848486</c:v>
                </c:pt>
                <c:pt idx="40">
                  <c:v>0.1743827160493827</c:v>
                </c:pt>
                <c:pt idx="41">
                  <c:v>0.17061611374407584</c:v>
                </c:pt>
                <c:pt idx="42">
                  <c:v>0.16076923076923078</c:v>
                </c:pt>
                <c:pt idx="43">
                  <c:v>0.18378678511937813</c:v>
                </c:pt>
                <c:pt idx="44">
                  <c:v>0.21270452358036573</c:v>
                </c:pt>
                <c:pt idx="45">
                  <c:v>0.22380816443048815</c:v>
                </c:pt>
                <c:pt idx="46">
                  <c:v>0.217405801933978</c:v>
                </c:pt>
                <c:pt idx="47">
                  <c:v>0.21308523409363744</c:v>
                </c:pt>
                <c:pt idx="48">
                  <c:v>0.2291762540266912</c:v>
                </c:pt>
                <c:pt idx="49">
                  <c:v>0.2502284774264303</c:v>
                </c:pt>
                <c:pt idx="50">
                  <c:v>0.22380528346690412</c:v>
                </c:pt>
                <c:pt idx="51">
                  <c:v>0.21362229102167182</c:v>
                </c:pt>
                <c:pt idx="52">
                  <c:v>0.21911357340720222</c:v>
                </c:pt>
                <c:pt idx="53">
                  <c:v>0.19908256880733946</c:v>
                </c:pt>
                <c:pt idx="54">
                  <c:v>0.21287128712871287</c:v>
                </c:pt>
                <c:pt idx="55">
                  <c:v>0.22425307557117752</c:v>
                </c:pt>
                <c:pt idx="56">
                  <c:v>0.22661749916191753</c:v>
                </c:pt>
                <c:pt idx="57">
                  <c:v>0.22970903522205208</c:v>
                </c:pt>
                <c:pt idx="58">
                  <c:v>0.21794574542082076</c:v>
                </c:pt>
                <c:pt idx="59">
                  <c:v>0.24585887570105647</c:v>
                </c:pt>
                <c:pt idx="60">
                  <c:v>0.2824164293209414</c:v>
                </c:pt>
                <c:pt idx="61">
                  <c:v>0.25152728038761324</c:v>
                </c:pt>
                <c:pt idx="62">
                  <c:v>0.2596899224806202</c:v>
                </c:pt>
                <c:pt idx="63">
                  <c:v>0.2950267485635031</c:v>
                </c:pt>
                <c:pt idx="64">
                  <c:v>0.2656282025005124</c:v>
                </c:pt>
                <c:pt idx="65">
                  <c:v>0.2583795782463929</c:v>
                </c:pt>
                <c:pt idx="66">
                  <c:v>0.23076923076923078</c:v>
                </c:pt>
                <c:pt idx="67">
                  <c:v>0.21608165297485685</c:v>
                </c:pt>
                <c:pt idx="68">
                  <c:v>0.21866216975829117</c:v>
                </c:pt>
                <c:pt idx="69">
                  <c:v>0.22329705763804916</c:v>
                </c:pt>
                <c:pt idx="70">
                  <c:v>0.20741295394983153</c:v>
                </c:pt>
                <c:pt idx="71">
                  <c:v>0.2073806658644204</c:v>
                </c:pt>
                <c:pt idx="72">
                  <c:v>0.2083154736390913</c:v>
                </c:pt>
                <c:pt idx="73">
                  <c:v>0.20847215611613518</c:v>
                </c:pt>
                <c:pt idx="74">
                  <c:v>0.20411817367949867</c:v>
                </c:pt>
                <c:pt idx="75">
                  <c:v>0.21806853582554517</c:v>
                </c:pt>
                <c:pt idx="76">
                  <c:v>0.23455882352941176</c:v>
                </c:pt>
                <c:pt idx="77">
                  <c:v>0.2636180228648285</c:v>
                </c:pt>
                <c:pt idx="78">
                  <c:v>0.19580983078162773</c:v>
                </c:pt>
                <c:pt idx="79">
                  <c:v>0.1762360446570973</c:v>
                </c:pt>
                <c:pt idx="80">
                  <c:v>0.17540842648323302</c:v>
                </c:pt>
                <c:pt idx="81">
                  <c:v>0.1797676008202324</c:v>
                </c:pt>
                <c:pt idx="82">
                  <c:v>0.1670864819479429</c:v>
                </c:pt>
                <c:pt idx="83">
                  <c:v>0.1952191235059761</c:v>
                </c:pt>
                <c:pt idx="84">
                  <c:v>0.19027921406411583</c:v>
                </c:pt>
                <c:pt idx="85">
                  <c:v>0.16680707666385847</c:v>
                </c:pt>
                <c:pt idx="86">
                  <c:v>0.1627094972067039</c:v>
                </c:pt>
                <c:pt idx="87">
                  <c:v>0.20311341734618235</c:v>
                </c:pt>
                <c:pt idx="88">
                  <c:v>0.17216117216117216</c:v>
                </c:pt>
                <c:pt idx="89">
                  <c:v>0.17407407407407408</c:v>
                </c:pt>
                <c:pt idx="90">
                  <c:v>0.1744421906693712</c:v>
                </c:pt>
                <c:pt idx="91">
                  <c:v>0.14575971731448764</c:v>
                </c:pt>
                <c:pt idx="92">
                  <c:v>0.16739811912225705</c:v>
                </c:pt>
                <c:pt idx="93">
                  <c:v>0.1674326986211425</c:v>
                </c:pt>
                <c:pt idx="94">
                  <c:v>0.19095940959409594</c:v>
                </c:pt>
                <c:pt idx="95">
                  <c:v>0.19935344827586207</c:v>
                </c:pt>
                <c:pt idx="96">
                  <c:v>0.19062720225510923</c:v>
                </c:pt>
                <c:pt idx="97">
                  <c:v>0.1835868411743898</c:v>
                </c:pt>
                <c:pt idx="98">
                  <c:v>0.1891304347826087</c:v>
                </c:pt>
                <c:pt idx="99">
                  <c:v>0.19937694704049844</c:v>
                </c:pt>
                <c:pt idx="100">
                  <c:v>0.21478022862663018</c:v>
                </c:pt>
                <c:pt idx="101">
                  <c:v>0.20344920506601993</c:v>
                </c:pt>
                <c:pt idx="102">
                  <c:v>0.21443158611300203</c:v>
                </c:pt>
                <c:pt idx="103">
                  <c:v>0.19071407581545696</c:v>
                </c:pt>
                <c:pt idx="104">
                  <c:v>0.2009146341463414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079573907935576</c:v>
                </c:pt>
                <c:pt idx="1">
                  <c:v>0.22751512737783938</c:v>
                </c:pt>
                <c:pt idx="2">
                  <c:v>0.18918275867176776</c:v>
                </c:pt>
                <c:pt idx="3">
                  <c:v>0.19915642746434933</c:v>
                </c:pt>
                <c:pt idx="4">
                  <c:v>0.18897800100465792</c:v>
                </c:pt>
                <c:pt idx="5">
                  <c:v>0.20912809024217086</c:v>
                </c:pt>
                <c:pt idx="6">
                  <c:v>0.2059435811195407</c:v>
                </c:pt>
                <c:pt idx="7">
                  <c:v>0.1957498811471223</c:v>
                </c:pt>
                <c:pt idx="8">
                  <c:v>0.23125415357402412</c:v>
                </c:pt>
                <c:pt idx="9">
                  <c:v>0.22099503484762978</c:v>
                </c:pt>
                <c:pt idx="10">
                  <c:v>0.23127809630116328</c:v>
                </c:pt>
                <c:pt idx="11">
                  <c:v>0.2088009590286688</c:v>
                </c:pt>
                <c:pt idx="12">
                  <c:v>0.17604060725024723</c:v>
                </c:pt>
                <c:pt idx="13">
                  <c:v>0.19870438660558368</c:v>
                </c:pt>
                <c:pt idx="14">
                  <c:v>0.21907308714614668</c:v>
                </c:pt>
                <c:pt idx="15">
                  <c:v>0.20578684539371916</c:v>
                </c:pt>
                <c:pt idx="16">
                  <c:v>0.1838543287742562</c:v>
                </c:pt>
                <c:pt idx="17">
                  <c:v>0.17200874895590582</c:v>
                </c:pt>
                <c:pt idx="18">
                  <c:v>0.15865806680978758</c:v>
                </c:pt>
                <c:pt idx="19">
                  <c:v>0.16207797769665083</c:v>
                </c:pt>
                <c:pt idx="20">
                  <c:v>0.15227329417304228</c:v>
                </c:pt>
                <c:pt idx="21">
                  <c:v>0.1434458638755189</c:v>
                </c:pt>
                <c:pt idx="22">
                  <c:v>0.13563477301213064</c:v>
                </c:pt>
                <c:pt idx="23">
                  <c:v>0.14453351919906826</c:v>
                </c:pt>
                <c:pt idx="24">
                  <c:v>0.14943099458259118</c:v>
                </c:pt>
                <c:pt idx="25">
                  <c:v>0.1411201007275259</c:v>
                </c:pt>
                <c:pt idx="26">
                  <c:v>0.1512186433072895</c:v>
                </c:pt>
                <c:pt idx="27">
                  <c:v>0.16181618593405844</c:v>
                </c:pt>
                <c:pt idx="28">
                  <c:v>0.17694963174309053</c:v>
                </c:pt>
                <c:pt idx="29">
                  <c:v>0.15956005378757188</c:v>
                </c:pt>
                <c:pt idx="30">
                  <c:v>0.15538214287173593</c:v>
                </c:pt>
                <c:pt idx="31">
                  <c:v>0.1446948786875574</c:v>
                </c:pt>
                <c:pt idx="32">
                  <c:v>0.1501816548735788</c:v>
                </c:pt>
                <c:pt idx="33">
                  <c:v>0.16098012697074882</c:v>
                </c:pt>
                <c:pt idx="34">
                  <c:v>0.1576715232310131</c:v>
                </c:pt>
                <c:pt idx="35">
                  <c:v>0.13465873461811342</c:v>
                </c:pt>
                <c:pt idx="36">
                  <c:v>0.11075027831659293</c:v>
                </c:pt>
                <c:pt idx="37">
                  <c:v>0.11282333059198045</c:v>
                </c:pt>
                <c:pt idx="38">
                  <c:v>0.12066777063561918</c:v>
                </c:pt>
                <c:pt idx="39">
                  <c:v>0.12317770061504002</c:v>
                </c:pt>
                <c:pt idx="40">
                  <c:v>0.14885570865193978</c:v>
                </c:pt>
                <c:pt idx="41">
                  <c:v>0.1495883424171798</c:v>
                </c:pt>
                <c:pt idx="42">
                  <c:v>0.142434443400864</c:v>
                </c:pt>
                <c:pt idx="43">
                  <c:v>0.16778741811591133</c:v>
                </c:pt>
                <c:pt idx="44">
                  <c:v>0.17590810663409456</c:v>
                </c:pt>
                <c:pt idx="45">
                  <c:v>0.17576033906840335</c:v>
                </c:pt>
                <c:pt idx="46">
                  <c:v>0.15650055661422885</c:v>
                </c:pt>
                <c:pt idx="47">
                  <c:v>0.1560255175127074</c:v>
                </c:pt>
                <c:pt idx="48">
                  <c:v>0.17497839896677125</c:v>
                </c:pt>
                <c:pt idx="49">
                  <c:v>0.21278324074866348</c:v>
                </c:pt>
                <c:pt idx="50">
                  <c:v>0.20863682739086312</c:v>
                </c:pt>
                <c:pt idx="51">
                  <c:v>0.16487924845204974</c:v>
                </c:pt>
              </c:numCache>
            </c:numRef>
          </c:xVal>
          <c:yVal>
            <c:numRef>
              <c:f>Sheet1!$B$109:$B$160</c:f>
              <c:numCache>
                <c:formatCode>General</c:formatCode>
                <c:ptCount val="52"/>
                <c:pt idx="0">
                  <c:v>0.2095021480919889</c:v>
                </c:pt>
                <c:pt idx="1">
                  <c:v>0.21233230134158926</c:v>
                </c:pt>
                <c:pt idx="2">
                  <c:v>0.23939745075318655</c:v>
                </c:pt>
                <c:pt idx="3">
                  <c:v>0.24866367329484712</c:v>
                </c:pt>
                <c:pt idx="4">
                  <c:v>0.24545239782660053</c:v>
                </c:pt>
                <c:pt idx="5">
                  <c:v>0.2441430332922318</c:v>
                </c:pt>
                <c:pt idx="6">
                  <c:v>0.23597294070831676</c:v>
                </c:pt>
                <c:pt idx="7">
                  <c:v>0.22080107707842478</c:v>
                </c:pt>
                <c:pt idx="8">
                  <c:v>0.2025862068965517</c:v>
                </c:pt>
                <c:pt idx="9">
                  <c:v>0.21256605989430416</c:v>
                </c:pt>
                <c:pt idx="10">
                  <c:v>0.22034937174379404</c:v>
                </c:pt>
                <c:pt idx="11">
                  <c:v>0.23086984957488554</c:v>
                </c:pt>
                <c:pt idx="12">
                  <c:v>0.23366282262493135</c:v>
                </c:pt>
                <c:pt idx="13">
                  <c:v>0.23173391494002182</c:v>
                </c:pt>
                <c:pt idx="14">
                  <c:v>0.23053620115116633</c:v>
                </c:pt>
                <c:pt idx="15">
                  <c:v>0.2270323859881031</c:v>
                </c:pt>
                <c:pt idx="16">
                  <c:v>0.2159751841799147</c:v>
                </c:pt>
                <c:pt idx="17">
                  <c:v>0.2166000887705282</c:v>
                </c:pt>
                <c:pt idx="18">
                  <c:v>0.22637920101458464</c:v>
                </c:pt>
                <c:pt idx="19">
                  <c:v>0.22028985507246376</c:v>
                </c:pt>
                <c:pt idx="20">
                  <c:v>0.20966802562609202</c:v>
                </c:pt>
                <c:pt idx="21">
                  <c:v>0.23559612093553908</c:v>
                </c:pt>
                <c:pt idx="22">
                  <c:v>0.22744669218151994</c:v>
                </c:pt>
                <c:pt idx="23">
                  <c:v>0.2115135834411384</c:v>
                </c:pt>
                <c:pt idx="24">
                  <c:v>0.18905817174515235</c:v>
                </c:pt>
                <c:pt idx="25">
                  <c:v>0.2013942680092951</c:v>
                </c:pt>
                <c:pt idx="26">
                  <c:v>0.18384401114206128</c:v>
                </c:pt>
                <c:pt idx="27">
                  <c:v>0.19204801200300076</c:v>
                </c:pt>
                <c:pt idx="28">
                  <c:v>0.16722632639355273</c:v>
                </c:pt>
                <c:pt idx="29">
                  <c:v>0.16164817749603805</c:v>
                </c:pt>
                <c:pt idx="30">
                  <c:v>0.16824196597353497</c:v>
                </c:pt>
                <c:pt idx="31">
                  <c:v>0.17212121212121212</c:v>
                </c:pt>
                <c:pt idx="32">
                  <c:v>0.16404077849860982</c:v>
                </c:pt>
                <c:pt idx="33">
                  <c:v>0.16129032258064516</c:v>
                </c:pt>
                <c:pt idx="34">
                  <c:v>0.18246614397719174</c:v>
                </c:pt>
                <c:pt idx="35">
                  <c:v>0.16390584132519617</c:v>
                </c:pt>
                <c:pt idx="36">
                  <c:v>0.1485557083906465</c:v>
                </c:pt>
                <c:pt idx="37">
                  <c:v>0.16113744075829384</c:v>
                </c:pt>
                <c:pt idx="38">
                  <c:v>0.1673254281949934</c:v>
                </c:pt>
                <c:pt idx="39">
                  <c:v>0.15977961432506887</c:v>
                </c:pt>
                <c:pt idx="40">
                  <c:v>0.15676028739386022</c:v>
                </c:pt>
                <c:pt idx="41">
                  <c:v>0.16105417276720352</c:v>
                </c:pt>
                <c:pt idx="42">
                  <c:v>0.17169974115616912</c:v>
                </c:pt>
                <c:pt idx="43">
                  <c:v>0.15809217577706325</c:v>
                </c:pt>
                <c:pt idx="44">
                  <c:v>0.16887266088544045</c:v>
                </c:pt>
                <c:pt idx="45">
                  <c:v>0.18409622452388907</c:v>
                </c:pt>
                <c:pt idx="46">
                  <c:v>0.19273627734213786</c:v>
                </c:pt>
                <c:pt idx="47">
                  <c:v>0.20300214438884917</c:v>
                </c:pt>
                <c:pt idx="48">
                  <c:v>0.21645244215938303</c:v>
                </c:pt>
                <c:pt idx="49">
                  <c:v>0.2059767843912077</c:v>
                </c:pt>
                <c:pt idx="50">
                  <c:v>0.22750838670326318</c:v>
                </c:pt>
                <c:pt idx="51">
                  <c:v>0.2198421645997745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5085998243198413</c:v>
                </c:pt>
              </c:numCache>
            </c:numRef>
          </c:xVal>
          <c:yVal>
            <c:numRef>
              <c:f>Sheet1!$B$163:$B$164</c:f>
              <c:numCache>
                <c:formatCode>General</c:formatCode>
                <c:ptCount val="2"/>
                <c:pt idx="0">
                  <c:v>0.30067070061713763</c:v>
                </c:pt>
                <c:pt idx="1">
                  <c:v>0.3006707006171376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5085998243198413</c:v>
                </c:pt>
                <c:pt idx="1">
                  <c:v>0.35085998243198413</c:v>
                </c:pt>
              </c:numCache>
            </c:numRef>
          </c:xVal>
          <c:yVal>
            <c:numRef>
              <c:f>Sheet1!$B$167:$B$168</c:f>
              <c:numCache>
                <c:formatCode>General</c:formatCode>
                <c:ptCount val="2"/>
                <c:pt idx="0">
                  <c:v>0.300670700617137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238124384462685</c:v>
                </c:pt>
              </c:numCache>
            </c:numRef>
          </c:xVal>
          <c:yVal>
            <c:numRef>
              <c:f>Sheet1!$B$171:$B$172</c:f>
              <c:numCache>
                <c:formatCode>General</c:formatCode>
                <c:ptCount val="2"/>
                <c:pt idx="0">
                  <c:v>0.22876124769819306</c:v>
                </c:pt>
                <c:pt idx="1">
                  <c:v>0.2287612476981930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238124384462685</c:v>
                </c:pt>
                <c:pt idx="1">
                  <c:v>0.22238124384462685</c:v>
                </c:pt>
              </c:numCache>
            </c:numRef>
          </c:xVal>
          <c:yVal>
            <c:numRef>
              <c:f>Sheet1!$B$175:$B$176</c:f>
              <c:numCache>
                <c:formatCode>General</c:formatCode>
                <c:ptCount val="2"/>
                <c:pt idx="0">
                  <c:v>0.228761247698193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706288876112125</c:v>
                </c:pt>
              </c:numCache>
            </c:numRef>
          </c:xVal>
          <c:yVal>
            <c:numRef>
              <c:f>Sheet1!$B$179:$B$180</c:f>
              <c:numCache>
                <c:formatCode>General</c:formatCode>
                <c:ptCount val="2"/>
                <c:pt idx="0">
                  <c:v>0.18660562126256228</c:v>
                </c:pt>
                <c:pt idx="1">
                  <c:v>0.1866056212625622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706288876112125</c:v>
                </c:pt>
                <c:pt idx="1">
                  <c:v>0.14706288876112125</c:v>
                </c:pt>
              </c:numCache>
            </c:numRef>
          </c:xVal>
          <c:yVal>
            <c:numRef>
              <c:f>Sheet1!$B$183:$B$184</c:f>
              <c:numCache>
                <c:formatCode>General</c:formatCode>
                <c:ptCount val="2"/>
                <c:pt idx="0">
                  <c:v>0.186605621262562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079573907935576</c:v>
                </c:pt>
                <c:pt idx="1">
                  <c:v>0.22751512737783938</c:v>
                </c:pt>
                <c:pt idx="2">
                  <c:v>0.18918275867176776</c:v>
                </c:pt>
                <c:pt idx="3">
                  <c:v>0.19915642746434933</c:v>
                </c:pt>
                <c:pt idx="4">
                  <c:v>0.18897800100465792</c:v>
                </c:pt>
                <c:pt idx="5">
                  <c:v>0.20912809024217086</c:v>
                </c:pt>
                <c:pt idx="6">
                  <c:v>0.2059435811195407</c:v>
                </c:pt>
                <c:pt idx="7">
                  <c:v>0.1957498811471223</c:v>
                </c:pt>
                <c:pt idx="8">
                  <c:v>0.23125415357402412</c:v>
                </c:pt>
                <c:pt idx="9">
                  <c:v>0.22099503484762978</c:v>
                </c:pt>
                <c:pt idx="10">
                  <c:v>0.23127809630116328</c:v>
                </c:pt>
                <c:pt idx="11">
                  <c:v>0.2088009590286688</c:v>
                </c:pt>
                <c:pt idx="12">
                  <c:v>0.17604060725024723</c:v>
                </c:pt>
                <c:pt idx="13">
                  <c:v>0.19870438660558368</c:v>
                </c:pt>
                <c:pt idx="14">
                  <c:v>0.21907308714614668</c:v>
                </c:pt>
                <c:pt idx="15">
                  <c:v>0.20578684539371916</c:v>
                </c:pt>
                <c:pt idx="16">
                  <c:v>0.1838543287742562</c:v>
                </c:pt>
                <c:pt idx="17">
                  <c:v>0.17200874895590582</c:v>
                </c:pt>
                <c:pt idx="18">
                  <c:v>0.15865806680978758</c:v>
                </c:pt>
                <c:pt idx="19">
                  <c:v>0.16207797769665083</c:v>
                </c:pt>
                <c:pt idx="20">
                  <c:v>0.15227329417304228</c:v>
                </c:pt>
                <c:pt idx="21">
                  <c:v>0.1434458638755189</c:v>
                </c:pt>
                <c:pt idx="22">
                  <c:v>0.13563477301213064</c:v>
                </c:pt>
                <c:pt idx="23">
                  <c:v>0.14453351919906826</c:v>
                </c:pt>
                <c:pt idx="24">
                  <c:v>0.14943099458259118</c:v>
                </c:pt>
                <c:pt idx="25">
                  <c:v>0.1411201007275259</c:v>
                </c:pt>
                <c:pt idx="26">
                  <c:v>0.1512186433072895</c:v>
                </c:pt>
                <c:pt idx="27">
                  <c:v>0.16181618593405844</c:v>
                </c:pt>
                <c:pt idx="28">
                  <c:v>0.17694963174309053</c:v>
                </c:pt>
                <c:pt idx="29">
                  <c:v>0.15956005378757188</c:v>
                </c:pt>
                <c:pt idx="30">
                  <c:v>0.15538214287173593</c:v>
                </c:pt>
                <c:pt idx="31">
                  <c:v>0.1446948786875574</c:v>
                </c:pt>
                <c:pt idx="32">
                  <c:v>0.1501816548735788</c:v>
                </c:pt>
                <c:pt idx="33">
                  <c:v>0.16098012697074882</c:v>
                </c:pt>
                <c:pt idx="34">
                  <c:v>0.1576715232310131</c:v>
                </c:pt>
                <c:pt idx="35">
                  <c:v>0.13465873461811342</c:v>
                </c:pt>
                <c:pt idx="36">
                  <c:v>0.11075027831659293</c:v>
                </c:pt>
                <c:pt idx="37">
                  <c:v>0.11282333059198045</c:v>
                </c:pt>
                <c:pt idx="38">
                  <c:v>0.12066777063561918</c:v>
                </c:pt>
                <c:pt idx="39">
                  <c:v>0.12317770061504002</c:v>
                </c:pt>
                <c:pt idx="40">
                  <c:v>0.14885570865193978</c:v>
                </c:pt>
                <c:pt idx="41">
                  <c:v>0.1495883424171798</c:v>
                </c:pt>
                <c:pt idx="42">
                  <c:v>0.142434443400864</c:v>
                </c:pt>
                <c:pt idx="43">
                  <c:v>0.16778741811591133</c:v>
                </c:pt>
                <c:pt idx="44">
                  <c:v>0.17590810663409456</c:v>
                </c:pt>
                <c:pt idx="45">
                  <c:v>0.17576033906840335</c:v>
                </c:pt>
                <c:pt idx="46">
                  <c:v>0.15650055661422885</c:v>
                </c:pt>
                <c:pt idx="47">
                  <c:v>0.1560255175127074</c:v>
                </c:pt>
                <c:pt idx="48">
                  <c:v>0.17497839896677125</c:v>
                </c:pt>
                <c:pt idx="49">
                  <c:v>0.21278324074866348</c:v>
                </c:pt>
                <c:pt idx="50">
                  <c:v>0.20863682739086312</c:v>
                </c:pt>
                <c:pt idx="51">
                  <c:v>0.16487924845204974</c:v>
                </c:pt>
                <c:pt idx="52">
                  <c:v>0.22238124384462685</c:v>
                </c:pt>
                <c:pt idx="53">
                  <c:v>0.35085998243198413</c:v>
                </c:pt>
                <c:pt idx="54">
                  <c:v>0.14706288876112125</c:v>
                </c:pt>
              </c:numCache>
            </c:numRef>
          </c:xVal>
          <c:yVal>
            <c:numRef>
              <c:f>Sheet1!$B$187:$B$241</c:f>
              <c:numCache>
                <c:formatCode>General</c:formatCode>
                <c:ptCount val="55"/>
                <c:pt idx="0">
                  <c:v>0.22787384187895315</c:v>
                </c:pt>
                <c:pt idx="1">
                  <c:v>0.2316346784329747</c:v>
                </c:pt>
                <c:pt idx="2">
                  <c:v>0.2101800806291002</c:v>
                </c:pt>
                <c:pt idx="3">
                  <c:v>0.2157623355169908</c:v>
                </c:pt>
                <c:pt idx="4">
                  <c:v>0.21006547791751756</c:v>
                </c:pt>
                <c:pt idx="5">
                  <c:v>0.2213434676399358</c:v>
                </c:pt>
                <c:pt idx="6">
                  <c:v>0.21956110028996353</c:v>
                </c:pt>
                <c:pt idx="7">
                  <c:v>0.21385569411695649</c:v>
                </c:pt>
                <c:pt idx="8">
                  <c:v>0.23372740857006608</c:v>
                </c:pt>
                <c:pt idx="9">
                  <c:v>0.22798538756988396</c:v>
                </c:pt>
                <c:pt idx="10">
                  <c:v>0.23374080929635666</c:v>
                </c:pt>
                <c:pt idx="11">
                  <c:v>0.2211603725468932</c:v>
                </c:pt>
                <c:pt idx="12">
                  <c:v>0.20282442840764803</c:v>
                </c:pt>
                <c:pt idx="13">
                  <c:v>0.21550932858986607</c:v>
                </c:pt>
                <c:pt idx="14">
                  <c:v>0.22690967489343594</c:v>
                </c:pt>
                <c:pt idx="15">
                  <c:v>0.2194733754226384</c:v>
                </c:pt>
                <c:pt idx="16">
                  <c:v>0.20719776244120428</c:v>
                </c:pt>
                <c:pt idx="17">
                  <c:v>0.2005678003664592</c:v>
                </c:pt>
                <c:pt idx="18">
                  <c:v>0.19309543365599902</c:v>
                </c:pt>
                <c:pt idx="19">
                  <c:v>0.1950095551955615</c:v>
                </c:pt>
                <c:pt idx="20">
                  <c:v>0.18952188123504318</c:v>
                </c:pt>
                <c:pt idx="21">
                  <c:v>0.1845811751668293</c:v>
                </c:pt>
                <c:pt idx="22">
                  <c:v>0.18020931351203495</c:v>
                </c:pt>
                <c:pt idx="23">
                  <c:v>0.1851899350296733</c:v>
                </c:pt>
                <c:pt idx="24">
                  <c:v>0.18793104830168506</c:v>
                </c:pt>
                <c:pt idx="25">
                  <c:v>0.18327944729006077</c:v>
                </c:pt>
                <c:pt idx="26">
                  <c:v>0.18893159394229236</c:v>
                </c:pt>
                <c:pt idx="27">
                  <c:v>0.19486303054382775</c:v>
                </c:pt>
                <c:pt idx="28">
                  <c:v>0.20333320872950522</c:v>
                </c:pt>
                <c:pt idx="29">
                  <c:v>0.1936002750859947</c:v>
                </c:pt>
                <c:pt idx="30">
                  <c:v>0.1912619015029012</c:v>
                </c:pt>
                <c:pt idx="31">
                  <c:v>0.1852802478134702</c:v>
                </c:pt>
                <c:pt idx="32">
                  <c:v>0.1883511922994111</c:v>
                </c:pt>
                <c:pt idx="33">
                  <c:v>0.19439508897372354</c:v>
                </c:pt>
                <c:pt idx="34">
                  <c:v>0.19254326596031346</c:v>
                </c:pt>
                <c:pt idx="35">
                  <c:v>0.1796630255603211</c:v>
                </c:pt>
                <c:pt idx="36">
                  <c:v>0.16628148063170356</c:v>
                </c:pt>
                <c:pt idx="37">
                  <c:v>0.16744176642400319</c:v>
                </c:pt>
                <c:pt idx="38">
                  <c:v>0.17183229358978774</c:v>
                </c:pt>
                <c:pt idx="39">
                  <c:v>0.17323709950296448</c:v>
                </c:pt>
                <c:pt idx="40">
                  <c:v>0.18760906120094012</c:v>
                </c:pt>
                <c:pt idx="41">
                  <c:v>0.1880191157658247</c:v>
                </c:pt>
                <c:pt idx="42">
                  <c:v>0.18401508389131446</c:v>
                </c:pt>
                <c:pt idx="43">
                  <c:v>0.19820512468461884</c:v>
                </c:pt>
                <c:pt idx="44">
                  <c:v>0.20275026791289438</c:v>
                </c:pt>
                <c:pt idx="45">
                  <c:v>0.20266756251801854</c:v>
                </c:pt>
                <c:pt idx="46">
                  <c:v>0.1918878768295893</c:v>
                </c:pt>
                <c:pt idx="47">
                  <c:v>0.1916219978033698</c:v>
                </c:pt>
                <c:pt idx="48">
                  <c:v>0.2022299112339073</c:v>
                </c:pt>
                <c:pt idx="49">
                  <c:v>0.2233892526168763</c:v>
                </c:pt>
                <c:pt idx="50">
                  <c:v>0.22106850819321827</c:v>
                </c:pt>
                <c:pt idx="51">
                  <c:v>0.19657742432093908</c:v>
                </c:pt>
                <c:pt idx="52">
                  <c:v>0.22876124769819306</c:v>
                </c:pt>
                <c:pt idx="53">
                  <c:v>0.30067070061713763</c:v>
                </c:pt>
                <c:pt idx="54">
                  <c:v>0.186605621262562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4802046862375"/>
          <c:min val="0.116607773851590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9.8721</c:v>
                </c:pt>
                <c:pt idx="1">
                  <c:v>854.6028</c:v>
                </c:pt>
                <c:pt idx="2">
                  <c:v>864.5601</c:v>
                </c:pt>
                <c:pt idx="3">
                  <c:v>891.4639</c:v>
                </c:pt>
                <c:pt idx="4">
                  <c:v>892.6781</c:v>
                </c:pt>
                <c:pt idx="5">
                  <c:v>877.6783</c:v>
                </c:pt>
                <c:pt idx="6">
                  <c:v>829.8295</c:v>
                </c:pt>
                <c:pt idx="7">
                  <c:v>858.1277</c:v>
                </c:pt>
                <c:pt idx="8">
                  <c:v>849.5521</c:v>
                </c:pt>
                <c:pt idx="9">
                  <c:v>877.6886</c:v>
                </c:pt>
                <c:pt idx="10">
                  <c:v>880.7974</c:v>
                </c:pt>
                <c:pt idx="11">
                  <c:v>950.9131</c:v>
                </c:pt>
                <c:pt idx="12">
                  <c:v>910.1222</c:v>
                </c:pt>
                <c:pt idx="13">
                  <c:v>918.9599</c:v>
                </c:pt>
                <c:pt idx="14">
                  <c:v>945.8515</c:v>
                </c:pt>
                <c:pt idx="15">
                  <c:v>972.4619</c:v>
                </c:pt>
                <c:pt idx="16">
                  <c:v>993.2595</c:v>
                </c:pt>
                <c:pt idx="17">
                  <c:v>1019.958</c:v>
                </c:pt>
                <c:pt idx="18">
                  <c:v>1036.6926</c:v>
                </c:pt>
                <c:pt idx="19">
                  <c:v>1017.7834</c:v>
                </c:pt>
                <c:pt idx="20">
                  <c:v>1025.9511</c:v>
                </c:pt>
                <c:pt idx="21">
                  <c:v>1079.7599</c:v>
                </c:pt>
                <c:pt idx="22">
                  <c:v>1034.8018</c:v>
                </c:pt>
                <c:pt idx="23">
                  <c:v>1047.8411</c:v>
                </c:pt>
                <c:pt idx="24">
                  <c:v>1031.5145</c:v>
                </c:pt>
                <c:pt idx="25">
                  <c:v>958.4639</c:v>
                </c:pt>
                <c:pt idx="26">
                  <c:v>902.054</c:v>
                </c:pt>
                <c:pt idx="27">
                  <c:v>934.7832</c:v>
                </c:pt>
                <c:pt idx="28">
                  <c:v>880.5446</c:v>
                </c:pt>
                <c:pt idx="29">
                  <c:v>913.059</c:v>
                </c:pt>
                <c:pt idx="30">
                  <c:v>926.8341</c:v>
                </c:pt>
                <c:pt idx="31">
                  <c:v>851.8973</c:v>
                </c:pt>
                <c:pt idx="32">
                  <c:v>926.7059</c:v>
                </c:pt>
                <c:pt idx="33">
                  <c:v>872.6779</c:v>
                </c:pt>
                <c:pt idx="34">
                  <c:v>891.251</c:v>
                </c:pt>
                <c:pt idx="35">
                  <c:v>935.5017</c:v>
                </c:pt>
                <c:pt idx="36">
                  <c:v>998.83</c:v>
                </c:pt>
                <c:pt idx="37">
                  <c:v>1025.7709</c:v>
                </c:pt>
                <c:pt idx="38">
                  <c:v>1063.4177</c:v>
                </c:pt>
                <c:pt idx="39">
                  <c:v>1053.9451</c:v>
                </c:pt>
                <c:pt idx="40">
                  <c:v>1014.615</c:v>
                </c:pt>
                <c:pt idx="41">
                  <c:v>1046.8148</c:v>
                </c:pt>
                <c:pt idx="42">
                  <c:v>1145.8947</c:v>
                </c:pt>
                <c:pt idx="43">
                  <c:v>1094.9607</c:v>
                </c:pt>
                <c:pt idx="44">
                  <c:v>976.5158</c:v>
                </c:pt>
                <c:pt idx="45">
                  <c:v>940.3138</c:v>
                </c:pt>
                <c:pt idx="46">
                  <c:v>977.2837</c:v>
                </c:pt>
                <c:pt idx="47">
                  <c:v>977.3113</c:v>
                </c:pt>
                <c:pt idx="48">
                  <c:v>1010.6094</c:v>
                </c:pt>
                <c:pt idx="49">
                  <c:v>992.5625</c:v>
                </c:pt>
                <c:pt idx="50">
                  <c:v>984.0318</c:v>
                </c:pt>
                <c:pt idx="51">
                  <c:v>1029.3124</c:v>
                </c:pt>
                <c:pt idx="52">
                  <c:v>1050.8963</c:v>
                </c:pt>
                <c:pt idx="53">
                  <c:v>1118.5223</c:v>
                </c:pt>
                <c:pt idx="54">
                  <c:v>1107.0636</c:v>
                </c:pt>
                <c:pt idx="55">
                  <c:v>1092.5909</c:v>
                </c:pt>
                <c:pt idx="56">
                  <c:v>1088.9822</c:v>
                </c:pt>
                <c:pt idx="57">
                  <c:v>1041.8878</c:v>
                </c:pt>
                <c:pt idx="58">
                  <c:v>1100.3223</c:v>
                </c:pt>
                <c:pt idx="59">
                  <c:v>1048.278</c:v>
                </c:pt>
                <c:pt idx="60">
                  <c:v>1050.2118</c:v>
                </c:pt>
                <c:pt idx="61">
                  <c:v>1146.8853</c:v>
                </c:pt>
                <c:pt idx="62">
                  <c:v>1115.5048</c:v>
                </c:pt>
                <c:pt idx="63">
                  <c:v>1117.1108</c:v>
                </c:pt>
                <c:pt idx="64">
                  <c:v>1138.0941</c:v>
                </c:pt>
                <c:pt idx="65">
                  <c:v>1081.2895</c:v>
                </c:pt>
                <c:pt idx="66">
                  <c:v>1124.6466</c:v>
                </c:pt>
                <c:pt idx="67">
                  <c:v>1156.8387</c:v>
                </c:pt>
                <c:pt idx="68">
                  <c:v>1136.2841</c:v>
                </c:pt>
                <c:pt idx="69">
                  <c:v>1161.7437</c:v>
                </c:pt>
                <c:pt idx="70">
                  <c:v>1131.7563</c:v>
                </c:pt>
                <c:pt idx="71">
                  <c:v>1198.029</c:v>
                </c:pt>
                <c:pt idx="72">
                  <c:v>1228.7016</c:v>
                </c:pt>
                <c:pt idx="73">
                  <c:v>1259.3995</c:v>
                </c:pt>
                <c:pt idx="74">
                  <c:v>1242.4474</c:v>
                </c:pt>
                <c:pt idx="75">
                  <c:v>1200.8143</c:v>
                </c:pt>
                <c:pt idx="76">
                  <c:v>1095.5831</c:v>
                </c:pt>
                <c:pt idx="77">
                  <c:v>969.5918</c:v>
                </c:pt>
                <c:pt idx="78">
                  <c:v>1217.1152</c:v>
                </c:pt>
                <c:pt idx="79">
                  <c:v>1216.1131</c:v>
                </c:pt>
                <c:pt idx="80">
                  <c:v>1223.5196</c:v>
                </c:pt>
                <c:pt idx="81">
                  <c:v>1117.9924</c:v>
                </c:pt>
                <c:pt idx="82">
                  <c:v>1114.8844</c:v>
                </c:pt>
                <c:pt idx="83">
                  <c:v>1060.5561</c:v>
                </c:pt>
                <c:pt idx="84">
                  <c:v>1119.2283</c:v>
                </c:pt>
                <c:pt idx="85">
                  <c:v>1172.1515</c:v>
                </c:pt>
                <c:pt idx="86">
                  <c:v>1153.5966</c:v>
                </c:pt>
                <c:pt idx="87">
                  <c:v>1136.0255</c:v>
                </c:pt>
                <c:pt idx="88">
                  <c:v>1206.3298</c:v>
                </c:pt>
                <c:pt idx="89">
                  <c:v>1202.3085</c:v>
                </c:pt>
                <c:pt idx="90">
                  <c:v>1253.1047</c:v>
                </c:pt>
                <c:pt idx="91">
                  <c:v>1212.4242</c:v>
                </c:pt>
                <c:pt idx="92">
                  <c:v>1153.1011</c:v>
                </c:pt>
                <c:pt idx="93">
                  <c:v>1238.2549</c:v>
                </c:pt>
                <c:pt idx="94">
                  <c:v>1088.0338</c:v>
                </c:pt>
                <c:pt idx="95">
                  <c:v>1075.8784</c:v>
                </c:pt>
                <c:pt idx="96">
                  <c:v>1112.8262</c:v>
                </c:pt>
                <c:pt idx="97">
                  <c:v>1162.6358</c:v>
                </c:pt>
                <c:pt idx="98">
                  <c:v>1179.6831</c:v>
                </c:pt>
                <c:pt idx="99">
                  <c:v>1124.4974</c:v>
                </c:pt>
                <c:pt idx="100">
                  <c:v>1083.7856</c:v>
                </c:pt>
                <c:pt idx="101">
                  <c:v>1093.8278</c:v>
                </c:pt>
                <c:pt idx="102">
                  <c:v>1095.3603</c:v>
                </c:pt>
                <c:pt idx="103">
                  <c:v>1121.2743</c:v>
                </c:pt>
                <c:pt idx="104">
                  <c:v>1146.4704</c:v>
                </c:pt>
              </c:numCache>
            </c:numRef>
          </c:xVal>
          <c:yVal>
            <c:numRef>
              <c:f>Sheet1!$B$2:$B$106</c:f>
              <c:numCache>
                <c:formatCode>General</c:formatCode>
                <c:ptCount val="105"/>
                <c:pt idx="0">
                  <c:v>0.2763496143958869</c:v>
                </c:pt>
                <c:pt idx="1">
                  <c:v>0.2771017699115044</c:v>
                </c:pt>
                <c:pt idx="2">
                  <c:v>0.2901921132457027</c:v>
                </c:pt>
                <c:pt idx="3">
                  <c:v>0.29375696767001114</c:v>
                </c:pt>
                <c:pt idx="4">
                  <c:v>0.30051635111876074</c:v>
                </c:pt>
                <c:pt idx="5">
                  <c:v>0.3011397720455909</c:v>
                </c:pt>
                <c:pt idx="6">
                  <c:v>0.34123350390519797</c:v>
                </c:pt>
                <c:pt idx="7">
                  <c:v>0.31893892658852563</c:v>
                </c:pt>
                <c:pt idx="8">
                  <c:v>0.3068072866730585</c:v>
                </c:pt>
                <c:pt idx="9">
                  <c:v>0.26763803680981596</c:v>
                </c:pt>
                <c:pt idx="10">
                  <c:v>0.2595764929812039</c:v>
                </c:pt>
                <c:pt idx="11">
                  <c:v>0.25406091370558376</c:v>
                </c:pt>
                <c:pt idx="12">
                  <c:v>0.23944337811900193</c:v>
                </c:pt>
                <c:pt idx="13">
                  <c:v>0.23940282591308984</c:v>
                </c:pt>
                <c:pt idx="14">
                  <c:v>0.2091168091168091</c:v>
                </c:pt>
                <c:pt idx="15">
                  <c:v>0.20359281437125748</c:v>
                </c:pt>
                <c:pt idx="16">
                  <c:v>0.2084026622296173</c:v>
                </c:pt>
                <c:pt idx="17">
                  <c:v>0.1836144578313253</c:v>
                </c:pt>
                <c:pt idx="18">
                  <c:v>0.16915720263000597</c:v>
                </c:pt>
                <c:pt idx="19">
                  <c:v>0.17733674775928296</c:v>
                </c:pt>
                <c:pt idx="20">
                  <c:v>0.17356608478802993</c:v>
                </c:pt>
                <c:pt idx="21">
                  <c:v>0.1704337202199145</c:v>
                </c:pt>
                <c:pt idx="22">
                  <c:v>0.22465753424657534</c:v>
                </c:pt>
                <c:pt idx="23">
                  <c:v>0.2275132275132275</c:v>
                </c:pt>
                <c:pt idx="24">
                  <c:v>0.22783882783882783</c:v>
                </c:pt>
                <c:pt idx="25">
                  <c:v>0.25326370757180156</c:v>
                </c:pt>
                <c:pt idx="26">
                  <c:v>0.25925925925925924</c:v>
                </c:pt>
                <c:pt idx="27">
                  <c:v>0.27073552425665104</c:v>
                </c:pt>
                <c:pt idx="28">
                  <c:v>0.2607573149741824</c:v>
                </c:pt>
                <c:pt idx="29">
                  <c:v>0.22470978441127695</c:v>
                </c:pt>
                <c:pt idx="30">
                  <c:v>0.23111612175873733</c:v>
                </c:pt>
                <c:pt idx="31">
                  <c:v>0.2635270541082164</c:v>
                </c:pt>
                <c:pt idx="32">
                  <c:v>0.25</c:v>
                </c:pt>
                <c:pt idx="33">
                  <c:v>0.2259287338893101</c:v>
                </c:pt>
                <c:pt idx="34">
                  <c:v>0.21399511798209928</c:v>
                </c:pt>
                <c:pt idx="35">
                  <c:v>0.228328173374613</c:v>
                </c:pt>
                <c:pt idx="36">
                  <c:v>0.19887278582930756</c:v>
                </c:pt>
                <c:pt idx="37">
                  <c:v>0.1868312757201646</c:v>
                </c:pt>
                <c:pt idx="38">
                  <c:v>0.19299674267100977</c:v>
                </c:pt>
                <c:pt idx="39">
                  <c:v>0.17234848484848486</c:v>
                </c:pt>
                <c:pt idx="40">
                  <c:v>0.1743827160493827</c:v>
                </c:pt>
                <c:pt idx="41">
                  <c:v>0.17061611374407584</c:v>
                </c:pt>
                <c:pt idx="42">
                  <c:v>0.16076923076923078</c:v>
                </c:pt>
                <c:pt idx="43">
                  <c:v>0.18378678511937813</c:v>
                </c:pt>
                <c:pt idx="44">
                  <c:v>0.21270452358036573</c:v>
                </c:pt>
                <c:pt idx="45">
                  <c:v>0.22380816443048815</c:v>
                </c:pt>
                <c:pt idx="46">
                  <c:v>0.217405801933978</c:v>
                </c:pt>
                <c:pt idx="47">
                  <c:v>0.21308523409363744</c:v>
                </c:pt>
                <c:pt idx="48">
                  <c:v>0.2291762540266912</c:v>
                </c:pt>
                <c:pt idx="49">
                  <c:v>0.2502284774264303</c:v>
                </c:pt>
                <c:pt idx="50">
                  <c:v>0.22380528346690412</c:v>
                </c:pt>
                <c:pt idx="51">
                  <c:v>0.21362229102167182</c:v>
                </c:pt>
                <c:pt idx="52">
                  <c:v>0.21911357340720222</c:v>
                </c:pt>
                <c:pt idx="53">
                  <c:v>0.19908256880733946</c:v>
                </c:pt>
                <c:pt idx="54">
                  <c:v>0.21287128712871287</c:v>
                </c:pt>
                <c:pt idx="55">
                  <c:v>0.22425307557117752</c:v>
                </c:pt>
                <c:pt idx="56">
                  <c:v>0.22661749916191753</c:v>
                </c:pt>
                <c:pt idx="57">
                  <c:v>0.22970903522205208</c:v>
                </c:pt>
                <c:pt idx="58">
                  <c:v>0.21794574542082076</c:v>
                </c:pt>
                <c:pt idx="59">
                  <c:v>0.24585887570105647</c:v>
                </c:pt>
                <c:pt idx="60">
                  <c:v>0.2824164293209414</c:v>
                </c:pt>
                <c:pt idx="61">
                  <c:v>0.25152728038761324</c:v>
                </c:pt>
                <c:pt idx="62">
                  <c:v>0.2596899224806202</c:v>
                </c:pt>
                <c:pt idx="63">
                  <c:v>0.2950267485635031</c:v>
                </c:pt>
                <c:pt idx="64">
                  <c:v>0.2656282025005124</c:v>
                </c:pt>
                <c:pt idx="65">
                  <c:v>0.2583795782463929</c:v>
                </c:pt>
                <c:pt idx="66">
                  <c:v>0.23076923076923078</c:v>
                </c:pt>
                <c:pt idx="67">
                  <c:v>0.21608165297485685</c:v>
                </c:pt>
                <c:pt idx="68">
                  <c:v>0.21866216975829117</c:v>
                </c:pt>
                <c:pt idx="69">
                  <c:v>0.22329705763804916</c:v>
                </c:pt>
                <c:pt idx="70">
                  <c:v>0.20741295394983153</c:v>
                </c:pt>
                <c:pt idx="71">
                  <c:v>0.2073806658644204</c:v>
                </c:pt>
                <c:pt idx="72">
                  <c:v>0.2083154736390913</c:v>
                </c:pt>
                <c:pt idx="73">
                  <c:v>0.20847215611613518</c:v>
                </c:pt>
                <c:pt idx="74">
                  <c:v>0.20411817367949867</c:v>
                </c:pt>
                <c:pt idx="75">
                  <c:v>0.21806853582554517</c:v>
                </c:pt>
                <c:pt idx="76">
                  <c:v>0.23455882352941176</c:v>
                </c:pt>
                <c:pt idx="77">
                  <c:v>0.2636180228648285</c:v>
                </c:pt>
                <c:pt idx="78">
                  <c:v>0.19580983078162773</c:v>
                </c:pt>
                <c:pt idx="79">
                  <c:v>0.1762360446570973</c:v>
                </c:pt>
                <c:pt idx="80">
                  <c:v>0.17540842648323302</c:v>
                </c:pt>
                <c:pt idx="81">
                  <c:v>0.1797676008202324</c:v>
                </c:pt>
                <c:pt idx="82">
                  <c:v>0.1670864819479429</c:v>
                </c:pt>
                <c:pt idx="83">
                  <c:v>0.1952191235059761</c:v>
                </c:pt>
                <c:pt idx="84">
                  <c:v>0.19027921406411583</c:v>
                </c:pt>
                <c:pt idx="85">
                  <c:v>0.16680707666385847</c:v>
                </c:pt>
                <c:pt idx="86">
                  <c:v>0.1627094972067039</c:v>
                </c:pt>
                <c:pt idx="87">
                  <c:v>0.20311341734618235</c:v>
                </c:pt>
                <c:pt idx="88">
                  <c:v>0.17216117216117216</c:v>
                </c:pt>
                <c:pt idx="89">
                  <c:v>0.17407407407407408</c:v>
                </c:pt>
                <c:pt idx="90">
                  <c:v>0.1744421906693712</c:v>
                </c:pt>
                <c:pt idx="91">
                  <c:v>0.14575971731448764</c:v>
                </c:pt>
                <c:pt idx="92">
                  <c:v>0.16739811912225705</c:v>
                </c:pt>
                <c:pt idx="93">
                  <c:v>0.1674326986211425</c:v>
                </c:pt>
                <c:pt idx="94">
                  <c:v>0.19095940959409594</c:v>
                </c:pt>
                <c:pt idx="95">
                  <c:v>0.19935344827586207</c:v>
                </c:pt>
                <c:pt idx="96">
                  <c:v>0.19062720225510923</c:v>
                </c:pt>
                <c:pt idx="97">
                  <c:v>0.1835868411743898</c:v>
                </c:pt>
                <c:pt idx="98">
                  <c:v>0.1891304347826087</c:v>
                </c:pt>
                <c:pt idx="99">
                  <c:v>0.19937694704049844</c:v>
                </c:pt>
                <c:pt idx="100">
                  <c:v>0.21478022862663018</c:v>
                </c:pt>
                <c:pt idx="101">
                  <c:v>0.20344920506601993</c:v>
                </c:pt>
                <c:pt idx="102">
                  <c:v>0.21443158611300203</c:v>
                </c:pt>
                <c:pt idx="103">
                  <c:v>0.19071407581545696</c:v>
                </c:pt>
                <c:pt idx="104">
                  <c:v>0.2009146341463414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6.3932</c:v>
                </c:pt>
                <c:pt idx="1">
                  <c:v>1188.9162</c:v>
                </c:pt>
                <c:pt idx="2">
                  <c:v>1163.5024</c:v>
                </c:pt>
                <c:pt idx="3">
                  <c:v>1152.411</c:v>
                </c:pt>
                <c:pt idx="4">
                  <c:v>1158.7449</c:v>
                </c:pt>
                <c:pt idx="5">
                  <c:v>1159.8636</c:v>
                </c:pt>
                <c:pt idx="6">
                  <c:v>1107.6838</c:v>
                </c:pt>
                <c:pt idx="7">
                  <c:v>1186.4939</c:v>
                </c:pt>
                <c:pt idx="8">
                  <c:v>1233.9529</c:v>
                </c:pt>
                <c:pt idx="9">
                  <c:v>1217.8923</c:v>
                </c:pt>
                <c:pt idx="10">
                  <c:v>1240.4075</c:v>
                </c:pt>
                <c:pt idx="11">
                  <c:v>1072.9131</c:v>
                </c:pt>
                <c:pt idx="12">
                  <c:v>1072.2479</c:v>
                </c:pt>
                <c:pt idx="13">
                  <c:v>1196.3365</c:v>
                </c:pt>
                <c:pt idx="14">
                  <c:v>1200.3285</c:v>
                </c:pt>
                <c:pt idx="15">
                  <c:v>1212.5255</c:v>
                </c:pt>
                <c:pt idx="16">
                  <c:v>1267.9443</c:v>
                </c:pt>
                <c:pt idx="17">
                  <c:v>1227.7582</c:v>
                </c:pt>
                <c:pt idx="18">
                  <c:v>1262.4202</c:v>
                </c:pt>
                <c:pt idx="19">
                  <c:v>1252.8316</c:v>
                </c:pt>
                <c:pt idx="20">
                  <c:v>1227.4111</c:v>
                </c:pt>
                <c:pt idx="21">
                  <c:v>1147.0073</c:v>
                </c:pt>
                <c:pt idx="22">
                  <c:v>1096.7981</c:v>
                </c:pt>
                <c:pt idx="23">
                  <c:v>1139.7676</c:v>
                </c:pt>
                <c:pt idx="24">
                  <c:v>1207.7179</c:v>
                </c:pt>
                <c:pt idx="25">
                  <c:v>1166.1769</c:v>
                </c:pt>
                <c:pt idx="26">
                  <c:v>1200.6856</c:v>
                </c:pt>
                <c:pt idx="27">
                  <c:v>1195.3984</c:v>
                </c:pt>
                <c:pt idx="28">
                  <c:v>1218.0321</c:v>
                </c:pt>
                <c:pt idx="29">
                  <c:v>1226.1078</c:v>
                </c:pt>
                <c:pt idx="30">
                  <c:v>1209.2697</c:v>
                </c:pt>
                <c:pt idx="31">
                  <c:v>1230.162</c:v>
                </c:pt>
                <c:pt idx="32">
                  <c:v>1256.1017</c:v>
                </c:pt>
                <c:pt idx="33">
                  <c:v>1253.7282</c:v>
                </c:pt>
                <c:pt idx="34">
                  <c:v>1262.4961</c:v>
                </c:pt>
                <c:pt idx="35">
                  <c:v>1275.7394</c:v>
                </c:pt>
                <c:pt idx="36">
                  <c:v>1294.9907</c:v>
                </c:pt>
                <c:pt idx="37">
                  <c:v>1211.7721</c:v>
                </c:pt>
                <c:pt idx="38">
                  <c:v>1222.874</c:v>
                </c:pt>
                <c:pt idx="39">
                  <c:v>1112.7069</c:v>
                </c:pt>
                <c:pt idx="40">
                  <c:v>1221.5542</c:v>
                </c:pt>
                <c:pt idx="41">
                  <c:v>1255.0</c:v>
                </c:pt>
                <c:pt idx="42">
                  <c:v>1238.5829</c:v>
                </c:pt>
                <c:pt idx="43">
                  <c:v>1255.5458</c:v>
                </c:pt>
                <c:pt idx="44">
                  <c:v>1163.2703</c:v>
                </c:pt>
                <c:pt idx="45">
                  <c:v>1166.3612</c:v>
                </c:pt>
                <c:pt idx="46">
                  <c:v>1209.6852</c:v>
                </c:pt>
                <c:pt idx="47">
                  <c:v>1156.8292</c:v>
                </c:pt>
                <c:pt idx="48">
                  <c:v>1208.1235</c:v>
                </c:pt>
                <c:pt idx="49">
                  <c:v>1206.3429</c:v>
                </c:pt>
                <c:pt idx="50">
                  <c:v>1094.0214</c:v>
                </c:pt>
                <c:pt idx="51">
                  <c:v>1062.8103</c:v>
                </c:pt>
              </c:numCache>
            </c:numRef>
          </c:xVal>
          <c:yVal>
            <c:numRef>
              <c:f>Sheet1!$B$109:$B$160</c:f>
              <c:numCache>
                <c:formatCode>General</c:formatCode>
                <c:ptCount val="52"/>
                <c:pt idx="0">
                  <c:v>0.2095021480919889</c:v>
                </c:pt>
                <c:pt idx="1">
                  <c:v>0.21233230134158926</c:v>
                </c:pt>
                <c:pt idx="2">
                  <c:v>0.23939745075318655</c:v>
                </c:pt>
                <c:pt idx="3">
                  <c:v>0.24866367329484712</c:v>
                </c:pt>
                <c:pt idx="4">
                  <c:v>0.24545239782660053</c:v>
                </c:pt>
                <c:pt idx="5">
                  <c:v>0.2441430332922318</c:v>
                </c:pt>
                <c:pt idx="6">
                  <c:v>0.23597294070831676</c:v>
                </c:pt>
                <c:pt idx="7">
                  <c:v>0.22080107707842478</c:v>
                </c:pt>
                <c:pt idx="8">
                  <c:v>0.2025862068965517</c:v>
                </c:pt>
                <c:pt idx="9">
                  <c:v>0.21256605989430416</c:v>
                </c:pt>
                <c:pt idx="10">
                  <c:v>0.22034937174379404</c:v>
                </c:pt>
                <c:pt idx="11">
                  <c:v>0.23086984957488554</c:v>
                </c:pt>
                <c:pt idx="12">
                  <c:v>0.23366282262493135</c:v>
                </c:pt>
                <c:pt idx="13">
                  <c:v>0.23173391494002182</c:v>
                </c:pt>
                <c:pt idx="14">
                  <c:v>0.23053620115116633</c:v>
                </c:pt>
                <c:pt idx="15">
                  <c:v>0.2270323859881031</c:v>
                </c:pt>
                <c:pt idx="16">
                  <c:v>0.2159751841799147</c:v>
                </c:pt>
                <c:pt idx="17">
                  <c:v>0.2166000887705282</c:v>
                </c:pt>
                <c:pt idx="18">
                  <c:v>0.22637920101458464</c:v>
                </c:pt>
                <c:pt idx="19">
                  <c:v>0.22028985507246376</c:v>
                </c:pt>
                <c:pt idx="20">
                  <c:v>0.20966802562609202</c:v>
                </c:pt>
                <c:pt idx="21">
                  <c:v>0.23559612093553908</c:v>
                </c:pt>
                <c:pt idx="22">
                  <c:v>0.22744669218151994</c:v>
                </c:pt>
                <c:pt idx="23">
                  <c:v>0.2115135834411384</c:v>
                </c:pt>
                <c:pt idx="24">
                  <c:v>0.18905817174515235</c:v>
                </c:pt>
                <c:pt idx="25">
                  <c:v>0.2013942680092951</c:v>
                </c:pt>
                <c:pt idx="26">
                  <c:v>0.18384401114206128</c:v>
                </c:pt>
                <c:pt idx="27">
                  <c:v>0.19204801200300076</c:v>
                </c:pt>
                <c:pt idx="28">
                  <c:v>0.16722632639355273</c:v>
                </c:pt>
                <c:pt idx="29">
                  <c:v>0.16164817749603805</c:v>
                </c:pt>
                <c:pt idx="30">
                  <c:v>0.16824196597353497</c:v>
                </c:pt>
                <c:pt idx="31">
                  <c:v>0.17212121212121212</c:v>
                </c:pt>
                <c:pt idx="32">
                  <c:v>0.16404077849860982</c:v>
                </c:pt>
                <c:pt idx="33">
                  <c:v>0.16129032258064516</c:v>
                </c:pt>
                <c:pt idx="34">
                  <c:v>0.18246614397719174</c:v>
                </c:pt>
                <c:pt idx="35">
                  <c:v>0.16390584132519617</c:v>
                </c:pt>
                <c:pt idx="36">
                  <c:v>0.1485557083906465</c:v>
                </c:pt>
                <c:pt idx="37">
                  <c:v>0.16113744075829384</c:v>
                </c:pt>
                <c:pt idx="38">
                  <c:v>0.1673254281949934</c:v>
                </c:pt>
                <c:pt idx="39">
                  <c:v>0.15977961432506887</c:v>
                </c:pt>
                <c:pt idx="40">
                  <c:v>0.15676028739386022</c:v>
                </c:pt>
                <c:pt idx="41">
                  <c:v>0.16105417276720352</c:v>
                </c:pt>
                <c:pt idx="42">
                  <c:v>0.17169974115616912</c:v>
                </c:pt>
                <c:pt idx="43">
                  <c:v>0.15809217577706325</c:v>
                </c:pt>
                <c:pt idx="44">
                  <c:v>0.16887266088544045</c:v>
                </c:pt>
                <c:pt idx="45">
                  <c:v>0.18409622452388907</c:v>
                </c:pt>
                <c:pt idx="46">
                  <c:v>0.19273627734213786</c:v>
                </c:pt>
                <c:pt idx="47">
                  <c:v>0.20300214438884917</c:v>
                </c:pt>
                <c:pt idx="48">
                  <c:v>0.21645244215938303</c:v>
                </c:pt>
                <c:pt idx="49">
                  <c:v>0.2059767843912077</c:v>
                </c:pt>
                <c:pt idx="50">
                  <c:v>0.22750838670326318</c:v>
                </c:pt>
                <c:pt idx="51">
                  <c:v>0.2198421645997745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21.4456988737472</c:v>
                </c:pt>
              </c:numCache>
            </c:numRef>
          </c:xVal>
          <c:yVal>
            <c:numRef>
              <c:f>Sheet1!$B$163:$B$164</c:f>
              <c:numCache>
                <c:formatCode>General</c:formatCode>
                <c:ptCount val="2"/>
                <c:pt idx="0">
                  <c:v>0.30067070061713763</c:v>
                </c:pt>
                <c:pt idx="1">
                  <c:v>0.3006707006171376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21.4456988737472</c:v>
                </c:pt>
                <c:pt idx="1">
                  <c:v>821.4456988737472</c:v>
                </c:pt>
              </c:numCache>
            </c:numRef>
          </c:xVal>
          <c:yVal>
            <c:numRef>
              <c:f>Sheet1!$B$167:$B$168</c:f>
              <c:numCache>
                <c:formatCode>General</c:formatCode>
                <c:ptCount val="2"/>
                <c:pt idx="0">
                  <c:v>0.300670700617137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9.4634323923444</c:v>
                </c:pt>
              </c:numCache>
            </c:numRef>
          </c:xVal>
          <c:yVal>
            <c:numRef>
              <c:f>Sheet1!$B$171:$B$172</c:f>
              <c:numCache>
                <c:formatCode>General</c:formatCode>
                <c:ptCount val="2"/>
                <c:pt idx="0">
                  <c:v>0.22876124769819306</c:v>
                </c:pt>
                <c:pt idx="1">
                  <c:v>0.2287612476981930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9.4634323923444</c:v>
                </c:pt>
                <c:pt idx="1">
                  <c:v>1089.4634323923444</c:v>
                </c:pt>
              </c:numCache>
            </c:numRef>
          </c:xVal>
          <c:yVal>
            <c:numRef>
              <c:f>Sheet1!$B$175:$B$176</c:f>
              <c:numCache>
                <c:formatCode>General</c:formatCode>
                <c:ptCount val="2"/>
                <c:pt idx="0">
                  <c:v>0.228761247698193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6.5840193765046</c:v>
                </c:pt>
              </c:numCache>
            </c:numRef>
          </c:xVal>
          <c:yVal>
            <c:numRef>
              <c:f>Sheet1!$B$179:$B$180</c:f>
              <c:numCache>
                <c:formatCode>General</c:formatCode>
                <c:ptCount val="2"/>
                <c:pt idx="0">
                  <c:v>0.18660562126256228</c:v>
                </c:pt>
                <c:pt idx="1">
                  <c:v>0.1866056212625622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6.5840193765046</c:v>
                </c:pt>
                <c:pt idx="1">
                  <c:v>1246.5840193765046</c:v>
                </c:pt>
              </c:numCache>
            </c:numRef>
          </c:xVal>
          <c:yVal>
            <c:numRef>
              <c:f>Sheet1!$B$183:$B$184</c:f>
              <c:numCache>
                <c:formatCode>General</c:formatCode>
                <c:ptCount val="2"/>
                <c:pt idx="0">
                  <c:v>0.186605621262562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6.3932</c:v>
                </c:pt>
                <c:pt idx="1">
                  <c:v>1188.9162</c:v>
                </c:pt>
                <c:pt idx="2">
                  <c:v>1163.5024</c:v>
                </c:pt>
                <c:pt idx="3">
                  <c:v>1152.411</c:v>
                </c:pt>
                <c:pt idx="4">
                  <c:v>1158.7449</c:v>
                </c:pt>
                <c:pt idx="5">
                  <c:v>1159.8636</c:v>
                </c:pt>
                <c:pt idx="6">
                  <c:v>1107.6838</c:v>
                </c:pt>
                <c:pt idx="7">
                  <c:v>1186.4939</c:v>
                </c:pt>
                <c:pt idx="8">
                  <c:v>1233.9529</c:v>
                </c:pt>
                <c:pt idx="9">
                  <c:v>1217.8923</c:v>
                </c:pt>
                <c:pt idx="10">
                  <c:v>1240.4075</c:v>
                </c:pt>
                <c:pt idx="11">
                  <c:v>1072.9131</c:v>
                </c:pt>
                <c:pt idx="12">
                  <c:v>1072.2479</c:v>
                </c:pt>
                <c:pt idx="13">
                  <c:v>1196.3365</c:v>
                </c:pt>
                <c:pt idx="14">
                  <c:v>1200.3285</c:v>
                </c:pt>
                <c:pt idx="15">
                  <c:v>1212.5255</c:v>
                </c:pt>
                <c:pt idx="16">
                  <c:v>1267.9443</c:v>
                </c:pt>
                <c:pt idx="17">
                  <c:v>1227.7582</c:v>
                </c:pt>
                <c:pt idx="18">
                  <c:v>1262.4202</c:v>
                </c:pt>
                <c:pt idx="19">
                  <c:v>1252.8316</c:v>
                </c:pt>
                <c:pt idx="20">
                  <c:v>1227.4111</c:v>
                </c:pt>
                <c:pt idx="21">
                  <c:v>1147.0073</c:v>
                </c:pt>
                <c:pt idx="22">
                  <c:v>1096.7981</c:v>
                </c:pt>
                <c:pt idx="23">
                  <c:v>1139.7676</c:v>
                </c:pt>
                <c:pt idx="24">
                  <c:v>1207.7179</c:v>
                </c:pt>
                <c:pt idx="25">
                  <c:v>1166.1769</c:v>
                </c:pt>
                <c:pt idx="26">
                  <c:v>1200.6856</c:v>
                </c:pt>
                <c:pt idx="27">
                  <c:v>1195.3984</c:v>
                </c:pt>
                <c:pt idx="28">
                  <c:v>1218.0321</c:v>
                </c:pt>
                <c:pt idx="29">
                  <c:v>1226.1078</c:v>
                </c:pt>
                <c:pt idx="30">
                  <c:v>1209.2697</c:v>
                </c:pt>
                <c:pt idx="31">
                  <c:v>1230.162</c:v>
                </c:pt>
                <c:pt idx="32">
                  <c:v>1256.1017</c:v>
                </c:pt>
                <c:pt idx="33">
                  <c:v>1253.7282</c:v>
                </c:pt>
                <c:pt idx="34">
                  <c:v>1262.4961</c:v>
                </c:pt>
                <c:pt idx="35">
                  <c:v>1275.7394</c:v>
                </c:pt>
                <c:pt idx="36">
                  <c:v>1294.9907</c:v>
                </c:pt>
                <c:pt idx="37">
                  <c:v>1211.7721</c:v>
                </c:pt>
                <c:pt idx="38">
                  <c:v>1222.874</c:v>
                </c:pt>
                <c:pt idx="39">
                  <c:v>1112.7069</c:v>
                </c:pt>
                <c:pt idx="40">
                  <c:v>1221.5542</c:v>
                </c:pt>
                <c:pt idx="41">
                  <c:v>1255.0</c:v>
                </c:pt>
                <c:pt idx="42">
                  <c:v>1238.5829</c:v>
                </c:pt>
                <c:pt idx="43">
                  <c:v>1255.5458</c:v>
                </c:pt>
                <c:pt idx="44">
                  <c:v>1163.2703</c:v>
                </c:pt>
                <c:pt idx="45">
                  <c:v>1166.3612</c:v>
                </c:pt>
                <c:pt idx="46">
                  <c:v>1209.6852</c:v>
                </c:pt>
                <c:pt idx="47">
                  <c:v>1156.8292</c:v>
                </c:pt>
                <c:pt idx="48">
                  <c:v>1208.1235</c:v>
                </c:pt>
                <c:pt idx="49">
                  <c:v>1206.3429</c:v>
                </c:pt>
                <c:pt idx="50">
                  <c:v>1094.0214</c:v>
                </c:pt>
                <c:pt idx="51">
                  <c:v>1062.8103</c:v>
                </c:pt>
                <c:pt idx="52">
                  <c:v>1089.4634323923444</c:v>
                </c:pt>
                <c:pt idx="53">
                  <c:v>821.4456988737472</c:v>
                </c:pt>
                <c:pt idx="54">
                  <c:v>1246.5840193765046</c:v>
                </c:pt>
              </c:numCache>
            </c:numRef>
          </c:xVal>
          <c:yVal>
            <c:numRef>
              <c:f>Sheet1!$B$187:$B$241</c:f>
              <c:numCache>
                <c:formatCode>General</c:formatCode>
                <c:ptCount val="55"/>
                <c:pt idx="0">
                  <c:v>0.2027548843552865</c:v>
                </c:pt>
                <c:pt idx="1">
                  <c:v>0.2020779606781377</c:v>
                </c:pt>
                <c:pt idx="2">
                  <c:v>0.20889651119194036</c:v>
                </c:pt>
                <c:pt idx="3">
                  <c:v>0.21187234602060795</c:v>
                </c:pt>
                <c:pt idx="4">
                  <c:v>0.2101729536786766</c:v>
                </c:pt>
                <c:pt idx="5">
                  <c:v>0.20987280523728685</c:v>
                </c:pt>
                <c:pt idx="6">
                  <c:v>0.22387270301330314</c:v>
                </c:pt>
                <c:pt idx="7">
                  <c:v>0.20272786643444268</c:v>
                </c:pt>
                <c:pt idx="8">
                  <c:v>0.18999456449476565</c:v>
                </c:pt>
                <c:pt idx="9">
                  <c:v>0.19430364115319454</c:v>
                </c:pt>
                <c:pt idx="10">
                  <c:v>0.18826278820997583</c:v>
                </c:pt>
                <c:pt idx="11">
                  <c:v>0.23320172009655243</c:v>
                </c:pt>
                <c:pt idx="12">
                  <c:v>0.23338019398875987</c:v>
                </c:pt>
                <c:pt idx="13">
                  <c:v>0.20008708602037023</c:v>
                </c:pt>
                <c:pt idx="14">
                  <c:v>0.1990160280262449</c:v>
                </c:pt>
                <c:pt idx="15">
                  <c:v>0.19574355950060723</c:v>
                </c:pt>
                <c:pt idx="16">
                  <c:v>0.1808746344593174</c:v>
                </c:pt>
                <c:pt idx="17">
                  <c:v>0.191656609323475</c:v>
                </c:pt>
                <c:pt idx="18">
                  <c:v>0.18235675656987538</c:v>
                </c:pt>
                <c:pt idx="19">
                  <c:v>0.18492938850436175</c:v>
                </c:pt>
                <c:pt idx="20">
                  <c:v>0.19174973663553935</c:v>
                </c:pt>
                <c:pt idx="21">
                  <c:v>0.21332216467863768</c:v>
                </c:pt>
                <c:pt idx="22">
                  <c:v>0.22679334830554998</c:v>
                </c:pt>
                <c:pt idx="23">
                  <c:v>0.2152645841576128</c:v>
                </c:pt>
                <c:pt idx="24">
                  <c:v>0.1970334438724901</c:v>
                </c:pt>
                <c:pt idx="25">
                  <c:v>0.2081789398980306</c:v>
                </c:pt>
                <c:pt idx="26">
                  <c:v>0.19892021770317325</c:v>
                </c:pt>
                <c:pt idx="27">
                  <c:v>0.20033877928296762</c:v>
                </c:pt>
                <c:pt idx="28">
                  <c:v>0.19426613265931214</c:v>
                </c:pt>
                <c:pt idx="29">
                  <c:v>0.19209941346012438</c:v>
                </c:pt>
                <c:pt idx="30">
                  <c:v>0.196617094224373</c:v>
                </c:pt>
                <c:pt idx="31">
                  <c:v>0.19101166713753354</c:v>
                </c:pt>
                <c:pt idx="32">
                  <c:v>0.18405201707485547</c:v>
                </c:pt>
                <c:pt idx="33">
                  <c:v>0.18468882973744472</c:v>
                </c:pt>
                <c:pt idx="34">
                  <c:v>0.18233639251632977</c:v>
                </c:pt>
                <c:pt idx="35">
                  <c:v>0.17878320054899538</c:v>
                </c:pt>
                <c:pt idx="36">
                  <c:v>0.17361805556845833</c:v>
                </c:pt>
                <c:pt idx="37">
                  <c:v>0.19594569754989932</c:v>
                </c:pt>
                <c:pt idx="38">
                  <c:v>0.19296704555967403</c:v>
                </c:pt>
                <c:pt idx="39">
                  <c:v>0.22252499975421236</c:v>
                </c:pt>
                <c:pt idx="40">
                  <c:v>0.19332114935242117</c:v>
                </c:pt>
                <c:pt idx="41">
                  <c:v>0.18434760439753278</c:v>
                </c:pt>
                <c:pt idx="42">
                  <c:v>0.18875233039837286</c:v>
                </c:pt>
                <c:pt idx="43">
                  <c:v>0.18420116565675276</c:v>
                </c:pt>
                <c:pt idx="44">
                  <c:v>0.2089587838774205</c:v>
                </c:pt>
                <c:pt idx="45">
                  <c:v>0.2081294920051655</c:v>
                </c:pt>
                <c:pt idx="46">
                  <c:v>0.19650561511701858</c:v>
                </c:pt>
                <c:pt idx="47">
                  <c:v>0.2106869380973504</c:v>
                </c:pt>
                <c:pt idx="48">
                  <c:v>0.19692462094603297</c:v>
                </c:pt>
                <c:pt idx="49">
                  <c:v>0.1974023578859977</c:v>
                </c:pt>
                <c:pt idx="50">
                  <c:v>0.22753833997195466</c:v>
                </c:pt>
                <c:pt idx="51">
                  <c:v>0.23591231245703553</c:v>
                </c:pt>
                <c:pt idx="52">
                  <c:v>0.22876124769819306</c:v>
                </c:pt>
                <c:pt idx="53">
                  <c:v>0.30067070061713763</c:v>
                </c:pt>
                <c:pt idx="54">
                  <c:v>0.186605621262562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4.0"/>
          <c:min val="64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4802046862375"/>
          <c:min val="0.116607773851590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900059064975219</c:v>
                </c:pt>
                <c:pt idx="1">
                  <c:v>0.21977984133069794</c:v>
                </c:pt>
                <c:pt idx="2">
                  <c:v>0.20745894678868965</c:v>
                </c:pt>
                <c:pt idx="3">
                  <c:v>0.2050298382804097</c:v>
                </c:pt>
                <c:pt idx="4">
                  <c:v>0.1858122880839564</c:v>
                </c:pt>
                <c:pt idx="5">
                  <c:v>0.20176595477764592</c:v>
                </c:pt>
                <c:pt idx="6">
                  <c:v>0.24071159229258604</c:v>
                </c:pt>
                <c:pt idx="7">
                  <c:v>0.22199984800004535</c:v>
                </c:pt>
                <c:pt idx="8">
                  <c:v>0.1743424535462089</c:v>
                </c:pt>
                <c:pt idx="9">
                  <c:v>0.19278630689416867</c:v>
                </c:pt>
                <c:pt idx="10">
                  <c:v>0.19780203741082011</c:v>
                </c:pt>
                <c:pt idx="11">
                  <c:v>0.21863607466839913</c:v>
                </c:pt>
                <c:pt idx="12">
                  <c:v>0.210688615293237</c:v>
                </c:pt>
                <c:pt idx="13">
                  <c:v>0.18902044885087907</c:v>
                </c:pt>
                <c:pt idx="14">
                  <c:v>0.19204601557</c:v>
                </c:pt>
                <c:pt idx="15">
                  <c:v>0.21895406825971764</c:v>
                </c:pt>
                <c:pt idx="16">
                  <c:v>0.1932987419532514</c:v>
                </c:pt>
                <c:pt idx="17">
                  <c:v>0.19610631508781323</c:v>
                </c:pt>
                <c:pt idx="18">
                  <c:v>0.1842234443092147</c:v>
                </c:pt>
                <c:pt idx="19">
                  <c:v>0.18210745288101504</c:v>
                </c:pt>
                <c:pt idx="20">
                  <c:v>0.16844655811517173</c:v>
                </c:pt>
                <c:pt idx="21">
                  <c:v>0.1656685763663678</c:v>
                </c:pt>
                <c:pt idx="22">
                  <c:v>0.1597191802421418</c:v>
                </c:pt>
                <c:pt idx="23">
                  <c:v>0.13665503521522196</c:v>
                </c:pt>
                <c:pt idx="24">
                  <c:v>0.15968422870637292</c:v>
                </c:pt>
                <c:pt idx="25">
                  <c:v>0.15243427931605144</c:v>
                </c:pt>
                <c:pt idx="26">
                  <c:v>0.14243602162750052</c:v>
                </c:pt>
                <c:pt idx="27">
                  <c:v>0.14288312993333593</c:v>
                </c:pt>
                <c:pt idx="28">
                  <c:v>0.1406799639321042</c:v>
                </c:pt>
                <c:pt idx="29">
                  <c:v>0.12635782753427366</c:v>
                </c:pt>
                <c:pt idx="30">
                  <c:v>0.14720235065822834</c:v>
                </c:pt>
                <c:pt idx="31">
                  <c:v>0.1419336267281672</c:v>
                </c:pt>
                <c:pt idx="32">
                  <c:v>0.12807400483685272</c:v>
                </c:pt>
                <c:pt idx="33">
                  <c:v>0.11697672531872352</c:v>
                </c:pt>
                <c:pt idx="34">
                  <c:v>0.16357662453552588</c:v>
                </c:pt>
                <c:pt idx="35">
                  <c:v>0.14845474849925283</c:v>
                </c:pt>
                <c:pt idx="36">
                  <c:v>0.12702628320338177</c:v>
                </c:pt>
                <c:pt idx="37">
                  <c:v>0.14124025552368433</c:v>
                </c:pt>
                <c:pt idx="38">
                  <c:v>0.15691295678820574</c:v>
                </c:pt>
                <c:pt idx="39">
                  <c:v>0.17282655631125146</c:v>
                </c:pt>
                <c:pt idx="40">
                  <c:v>0.19112939242417304</c:v>
                </c:pt>
                <c:pt idx="41">
                  <c:v>0.20032070498484256</c:v>
                </c:pt>
                <c:pt idx="42">
                  <c:v>0.17912177196153295</c:v>
                </c:pt>
                <c:pt idx="43">
                  <c:v>0.18261335602519493</c:v>
                </c:pt>
                <c:pt idx="44">
                  <c:v>0.194148440175548</c:v>
                </c:pt>
                <c:pt idx="45">
                  <c:v>0.21077222265459486</c:v>
                </c:pt>
                <c:pt idx="46">
                  <c:v>0.18489816386542446</c:v>
                </c:pt>
                <c:pt idx="47">
                  <c:v>0.1763019661069796</c:v>
                </c:pt>
                <c:pt idx="48">
                  <c:v>0.238361324801431</c:v>
                </c:pt>
                <c:pt idx="49">
                  <c:v>0.22292049180857182</c:v>
                </c:pt>
                <c:pt idx="50">
                  <c:v>0.17630716115890394</c:v>
                </c:pt>
                <c:pt idx="51">
                  <c:v>0.15927086821975275</c:v>
                </c:pt>
                <c:pt idx="52">
                  <c:v>0.19950209670981098</c:v>
                </c:pt>
                <c:pt idx="53">
                  <c:v>0.20922957479440815</c:v>
                </c:pt>
                <c:pt idx="54">
                  <c:v>0.2096632259214752</c:v>
                </c:pt>
                <c:pt idx="55">
                  <c:v>0.17019862210034237</c:v>
                </c:pt>
                <c:pt idx="56">
                  <c:v>0.1815807965745193</c:v>
                </c:pt>
                <c:pt idx="57">
                  <c:v>0.18402425196850392</c:v>
                </c:pt>
                <c:pt idx="58">
                  <c:v>0.2172024842729083</c:v>
                </c:pt>
                <c:pt idx="59">
                  <c:v>0.23437268567104586</c:v>
                </c:pt>
                <c:pt idx="60">
                  <c:v>0.21289517970352442</c:v>
                </c:pt>
                <c:pt idx="61">
                  <c:v>0.21674943932826907</c:v>
                </c:pt>
                <c:pt idx="62">
                  <c:v>0.25528661007421066</c:v>
                </c:pt>
                <c:pt idx="63">
                  <c:v>0.2309747100323171</c:v>
                </c:pt>
                <c:pt idx="64">
                  <c:v>0.2329998723716518</c:v>
                </c:pt>
                <c:pt idx="65">
                  <c:v>0.19915723116879092</c:v>
                </c:pt>
                <c:pt idx="66">
                  <c:v>0.19700769412226607</c:v>
                </c:pt>
                <c:pt idx="67">
                  <c:v>0.25004982169680817</c:v>
                </c:pt>
                <c:pt idx="68">
                  <c:v>0.20455601328429834</c:v>
                </c:pt>
                <c:pt idx="69">
                  <c:v>0.15842684349259287</c:v>
                </c:pt>
                <c:pt idx="70">
                  <c:v>0.1433286321184637</c:v>
                </c:pt>
                <c:pt idx="71">
                  <c:v>0.1594153101483507</c:v>
                </c:pt>
                <c:pt idx="72">
                  <c:v>0.18021328824892313</c:v>
                </c:pt>
                <c:pt idx="73">
                  <c:v>0.1894569251332891</c:v>
                </c:pt>
                <c:pt idx="74">
                  <c:v>0.19128452728011938</c:v>
                </c:pt>
                <c:pt idx="75">
                  <c:v>0.17443237002166312</c:v>
                </c:pt>
                <c:pt idx="76">
                  <c:v>0.15869621344223087</c:v>
                </c:pt>
                <c:pt idx="77">
                  <c:v>0.17105906885878147</c:v>
                </c:pt>
                <c:pt idx="78">
                  <c:v>0.1503644085712548</c:v>
                </c:pt>
                <c:pt idx="79">
                  <c:v>0.0842991160609275</c:v>
                </c:pt>
                <c:pt idx="80">
                  <c:v>0.09806827285931004</c:v>
                </c:pt>
                <c:pt idx="81">
                  <c:v>0.14504385133340997</c:v>
                </c:pt>
                <c:pt idx="82">
                  <c:v>0.1479713188055888</c:v>
                </c:pt>
                <c:pt idx="83">
                  <c:v>0.15894903001405813</c:v>
                </c:pt>
                <c:pt idx="84">
                  <c:v>0.14061803909723392</c:v>
                </c:pt>
                <c:pt idx="85">
                  <c:v>0.13411921862899592</c:v>
                </c:pt>
                <c:pt idx="86">
                  <c:v>0.1421224720768841</c:v>
                </c:pt>
                <c:pt idx="87">
                  <c:v>0.14610035872460975</c:v>
                </c:pt>
                <c:pt idx="88">
                  <c:v>0.12067237881908012</c:v>
                </c:pt>
                <c:pt idx="89">
                  <c:v>0.12707355163790535</c:v>
                </c:pt>
                <c:pt idx="90">
                  <c:v>0.13602975580114546</c:v>
                </c:pt>
                <c:pt idx="91">
                  <c:v>0.18089362426666422</c:v>
                </c:pt>
                <c:pt idx="92">
                  <c:v>0.14935640222585725</c:v>
                </c:pt>
                <c:pt idx="93">
                  <c:v>0.15224736223557064</c:v>
                </c:pt>
                <c:pt idx="94">
                  <c:v>0.142239251557973</c:v>
                </c:pt>
                <c:pt idx="95">
                  <c:v>0.12957418979764074</c:v>
                </c:pt>
                <c:pt idx="96">
                  <c:v>0.15352908138877722</c:v>
                </c:pt>
                <c:pt idx="97">
                  <c:v>0.17543128950733383</c:v>
                </c:pt>
                <c:pt idx="98">
                  <c:v>0.17705546502701525</c:v>
                </c:pt>
                <c:pt idx="99">
                  <c:v>0.18738299425333138</c:v>
                </c:pt>
                <c:pt idx="100">
                  <c:v>0.2081842431807599</c:v>
                </c:pt>
                <c:pt idx="101">
                  <c:v>0.19187228931367636</c:v>
                </c:pt>
                <c:pt idx="102">
                  <c:v>0.1789730552354372</c:v>
                </c:pt>
                <c:pt idx="103">
                  <c:v>0.123236585468615</c:v>
                </c:pt>
                <c:pt idx="104">
                  <c:v>0.16880928132480646</c:v>
                </c:pt>
              </c:numCache>
            </c:numRef>
          </c:xVal>
          <c:yVal>
            <c:numRef>
              <c:f>Sheet1!$B$2:$B$106</c:f>
              <c:numCache>
                <c:formatCode>General</c:formatCode>
                <c:ptCount val="105"/>
                <c:pt idx="0">
                  <c:v>0.21433161953727506</c:v>
                </c:pt>
                <c:pt idx="1">
                  <c:v>0.21073008849557523</c:v>
                </c:pt>
                <c:pt idx="2">
                  <c:v>0.18427704752275026</c:v>
                </c:pt>
                <c:pt idx="3">
                  <c:v>0.1669453734671126</c:v>
                </c:pt>
                <c:pt idx="4">
                  <c:v>0.15903614457831325</c:v>
                </c:pt>
                <c:pt idx="5">
                  <c:v>0.14997000599880023</c:v>
                </c:pt>
                <c:pt idx="6">
                  <c:v>0.1457042822515486</c:v>
                </c:pt>
                <c:pt idx="7">
                  <c:v>0.13016656384947564</c:v>
                </c:pt>
                <c:pt idx="8">
                  <c:v>0.17545541706615533</c:v>
                </c:pt>
                <c:pt idx="9">
                  <c:v>0.19120654396728015</c:v>
                </c:pt>
                <c:pt idx="10">
                  <c:v>0.1986676183678325</c:v>
                </c:pt>
                <c:pt idx="11">
                  <c:v>0.2012690355329949</c:v>
                </c:pt>
                <c:pt idx="12">
                  <c:v>0.1967370441458733</c:v>
                </c:pt>
                <c:pt idx="13">
                  <c:v>0.23700346574246867</c:v>
                </c:pt>
                <c:pt idx="14">
                  <c:v>0.21481481481481482</c:v>
                </c:pt>
                <c:pt idx="15">
                  <c:v>0.20464952448045087</c:v>
                </c:pt>
                <c:pt idx="16">
                  <c:v>0.1975873544093178</c:v>
                </c:pt>
                <c:pt idx="17">
                  <c:v>0.19855421686746988</c:v>
                </c:pt>
                <c:pt idx="18">
                  <c:v>0.1781231320980275</c:v>
                </c:pt>
                <c:pt idx="19">
                  <c:v>0.16709346991037133</c:v>
                </c:pt>
                <c:pt idx="20">
                  <c:v>0.1825436408977556</c:v>
                </c:pt>
                <c:pt idx="21">
                  <c:v>0.1686010995723885</c:v>
                </c:pt>
                <c:pt idx="22">
                  <c:v>0.1678082191780822</c:v>
                </c:pt>
                <c:pt idx="23">
                  <c:v>0.1746031746031746</c:v>
                </c:pt>
                <c:pt idx="24">
                  <c:v>0.16336996336996337</c:v>
                </c:pt>
                <c:pt idx="25">
                  <c:v>0.1679721496953873</c:v>
                </c:pt>
                <c:pt idx="26">
                  <c:v>0.1646090534979424</c:v>
                </c:pt>
                <c:pt idx="27">
                  <c:v>0.1564945226917058</c:v>
                </c:pt>
                <c:pt idx="28">
                  <c:v>0.14629948364888123</c:v>
                </c:pt>
                <c:pt idx="29">
                  <c:v>0.18739635157545606</c:v>
                </c:pt>
                <c:pt idx="30">
                  <c:v>0.12965050732807215</c:v>
                </c:pt>
                <c:pt idx="31">
                  <c:v>0.12024048096192384</c:v>
                </c:pt>
                <c:pt idx="32">
                  <c:v>0.14019607843137255</c:v>
                </c:pt>
                <c:pt idx="33">
                  <c:v>0.1819560272934041</c:v>
                </c:pt>
                <c:pt idx="34">
                  <c:v>0.12937347436940602</c:v>
                </c:pt>
                <c:pt idx="35">
                  <c:v>0.13777089783281735</c:v>
                </c:pt>
                <c:pt idx="36">
                  <c:v>0.10869565217391304</c:v>
                </c:pt>
                <c:pt idx="37">
                  <c:v>0.11275720164609053</c:v>
                </c:pt>
                <c:pt idx="38">
                  <c:v>0.1001628664495114</c:v>
                </c:pt>
                <c:pt idx="39">
                  <c:v>0.09185606060606061</c:v>
                </c:pt>
                <c:pt idx="40">
                  <c:v>0.10725308641975309</c:v>
                </c:pt>
                <c:pt idx="41">
                  <c:v>0.09320695102685624</c:v>
                </c:pt>
                <c:pt idx="42">
                  <c:v>0.09538461538461539</c:v>
                </c:pt>
                <c:pt idx="43">
                  <c:v>0.11493614658523042</c:v>
                </c:pt>
                <c:pt idx="44">
                  <c:v>0.1315367340391402</c:v>
                </c:pt>
                <c:pt idx="45">
                  <c:v>0.14815872109620326</c:v>
                </c:pt>
                <c:pt idx="46">
                  <c:v>0.15738579526508836</c:v>
                </c:pt>
                <c:pt idx="47">
                  <c:v>0.16296518607442978</c:v>
                </c:pt>
                <c:pt idx="48">
                  <c:v>0.18775885872066267</c:v>
                </c:pt>
                <c:pt idx="49">
                  <c:v>0.2383476512520563</c:v>
                </c:pt>
                <c:pt idx="50">
                  <c:v>0.19887206886316414</c:v>
                </c:pt>
                <c:pt idx="51">
                  <c:v>0.17956656346749225</c:v>
                </c:pt>
                <c:pt idx="52">
                  <c:v>0.192797783933518</c:v>
                </c:pt>
                <c:pt idx="53">
                  <c:v>0.17339449541284405</c:v>
                </c:pt>
                <c:pt idx="54">
                  <c:v>0.17392739273927393</c:v>
                </c:pt>
                <c:pt idx="55">
                  <c:v>0.16063268892794377</c:v>
                </c:pt>
                <c:pt idx="56">
                  <c:v>0.1806905799530674</c:v>
                </c:pt>
                <c:pt idx="57">
                  <c:v>0.16768759571209801</c:v>
                </c:pt>
                <c:pt idx="58">
                  <c:v>0.1759795965685138</c:v>
                </c:pt>
                <c:pt idx="59">
                  <c:v>0.2012521194730664</c:v>
                </c:pt>
                <c:pt idx="60">
                  <c:v>0.21511017838405036</c:v>
                </c:pt>
                <c:pt idx="61">
                  <c:v>0.20202232989256372</c:v>
                </c:pt>
                <c:pt idx="62">
                  <c:v>0.22594619243046055</c:v>
                </c:pt>
                <c:pt idx="63">
                  <c:v>0.2334059837527244</c:v>
                </c:pt>
                <c:pt idx="64">
                  <c:v>0.22955523672883787</c:v>
                </c:pt>
                <c:pt idx="65">
                  <c:v>0.2051054384017758</c:v>
                </c:pt>
                <c:pt idx="66">
                  <c:v>0.19138090824837814</c:v>
                </c:pt>
                <c:pt idx="67">
                  <c:v>0.17699775952203137</c:v>
                </c:pt>
                <c:pt idx="68">
                  <c:v>0.16469926925238898</c:v>
                </c:pt>
                <c:pt idx="69">
                  <c:v>0.1539701733172108</c:v>
                </c:pt>
                <c:pt idx="70">
                  <c:v>0.14526394608760765</c:v>
                </c:pt>
                <c:pt idx="71">
                  <c:v>0.14039310068190936</c:v>
                </c:pt>
                <c:pt idx="72">
                  <c:v>0.14402057436776683</c:v>
                </c:pt>
                <c:pt idx="73">
                  <c:v>0.1270823417420276</c:v>
                </c:pt>
                <c:pt idx="74">
                  <c:v>0.12712623097582812</c:v>
                </c:pt>
                <c:pt idx="75">
                  <c:v>0.1252336448598131</c:v>
                </c:pt>
                <c:pt idx="76">
                  <c:v>0.1213235294117647</c:v>
                </c:pt>
                <c:pt idx="77">
                  <c:v>0.10490921318090114</c:v>
                </c:pt>
                <c:pt idx="78">
                  <c:v>0.11925866236905722</c:v>
                </c:pt>
                <c:pt idx="79">
                  <c:v>0.17145135566188197</c:v>
                </c:pt>
                <c:pt idx="80">
                  <c:v>0.14359415305245055</c:v>
                </c:pt>
                <c:pt idx="81">
                  <c:v>0.10868079289131921</c:v>
                </c:pt>
                <c:pt idx="82">
                  <c:v>0.09991603694374475</c:v>
                </c:pt>
                <c:pt idx="83">
                  <c:v>0.09362549800796813</c:v>
                </c:pt>
                <c:pt idx="84">
                  <c:v>0.09513960703205791</c:v>
                </c:pt>
                <c:pt idx="85">
                  <c:v>0.12299915754001685</c:v>
                </c:pt>
                <c:pt idx="86">
                  <c:v>0.09986033519553073</c:v>
                </c:pt>
                <c:pt idx="87">
                  <c:v>0.11712379540400296</c:v>
                </c:pt>
                <c:pt idx="88">
                  <c:v>0.10164835164835165</c:v>
                </c:pt>
                <c:pt idx="89">
                  <c:v>0.07962962962962963</c:v>
                </c:pt>
                <c:pt idx="90">
                  <c:v>0.07809330628803246</c:v>
                </c:pt>
                <c:pt idx="91">
                  <c:v>0.06713780918727916</c:v>
                </c:pt>
                <c:pt idx="92">
                  <c:v>0.10219435736677115</c:v>
                </c:pt>
                <c:pt idx="93">
                  <c:v>0.09520682862770848</c:v>
                </c:pt>
                <c:pt idx="94">
                  <c:v>0.09778597785977859</c:v>
                </c:pt>
                <c:pt idx="95">
                  <c:v>0.1271551724137931</c:v>
                </c:pt>
                <c:pt idx="96">
                  <c:v>0.13636363636363635</c:v>
                </c:pt>
                <c:pt idx="97">
                  <c:v>0.13795542978422357</c:v>
                </c:pt>
                <c:pt idx="98">
                  <c:v>0.14720496894409937</c:v>
                </c:pt>
                <c:pt idx="99">
                  <c:v>0.15654205607476634</c:v>
                </c:pt>
                <c:pt idx="100">
                  <c:v>0.17678312671067462</c:v>
                </c:pt>
                <c:pt idx="101">
                  <c:v>0.15198059822150364</c:v>
                </c:pt>
                <c:pt idx="102">
                  <c:v>0.13274336283185842</c:v>
                </c:pt>
                <c:pt idx="103">
                  <c:v>0.17837202468410226</c:v>
                </c:pt>
                <c:pt idx="104">
                  <c:v>0.172256097560975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136338316545295</c:v>
                </c:pt>
                <c:pt idx="1">
                  <c:v>0.22554881033350482</c:v>
                </c:pt>
                <c:pt idx="2">
                  <c:v>0.19090517186222258</c:v>
                </c:pt>
                <c:pt idx="3">
                  <c:v>0.20708595399796578</c:v>
                </c:pt>
                <c:pt idx="4">
                  <c:v>0.19538304203194215</c:v>
                </c:pt>
                <c:pt idx="5">
                  <c:v>0.21293980775081983</c:v>
                </c:pt>
                <c:pt idx="6">
                  <c:v>0.20815609863043935</c:v>
                </c:pt>
                <c:pt idx="7">
                  <c:v>0.20462243654602583</c:v>
                </c:pt>
                <c:pt idx="8">
                  <c:v>0.24324969315956527</c:v>
                </c:pt>
                <c:pt idx="9">
                  <c:v>0.2296103572874848</c:v>
                </c:pt>
                <c:pt idx="10">
                  <c:v>0.2355633715958541</c:v>
                </c:pt>
                <c:pt idx="11">
                  <c:v>0.20692739760718853</c:v>
                </c:pt>
                <c:pt idx="12">
                  <c:v>0.17508400178410055</c:v>
                </c:pt>
                <c:pt idx="13">
                  <c:v>0.20000374043823485</c:v>
                </c:pt>
                <c:pt idx="14">
                  <c:v>0.22712802513029687</c:v>
                </c:pt>
                <c:pt idx="15">
                  <c:v>0.21455939230530205</c:v>
                </c:pt>
                <c:pt idx="16">
                  <c:v>0.19121023150785368</c:v>
                </c:pt>
                <c:pt idx="17">
                  <c:v>0.18485118453028582</c:v>
                </c:pt>
                <c:pt idx="18">
                  <c:v>0.1708159640992099</c:v>
                </c:pt>
                <c:pt idx="19">
                  <c:v>0.16820333059514533</c:v>
                </c:pt>
                <c:pt idx="20">
                  <c:v>0.15073171779867658</c:v>
                </c:pt>
                <c:pt idx="21">
                  <c:v>0.13669614737626806</c:v>
                </c:pt>
                <c:pt idx="22">
                  <c:v>0.12099103979159893</c:v>
                </c:pt>
                <c:pt idx="23">
                  <c:v>0.12830901196294248</c:v>
                </c:pt>
                <c:pt idx="24">
                  <c:v>0.1319852928030153</c:v>
                </c:pt>
                <c:pt idx="25">
                  <c:v>0.12943092101397974</c:v>
                </c:pt>
                <c:pt idx="26">
                  <c:v>0.1506407385946155</c:v>
                </c:pt>
                <c:pt idx="27">
                  <c:v>0.1669847539818084</c:v>
                </c:pt>
                <c:pt idx="28">
                  <c:v>0.18054880571516557</c:v>
                </c:pt>
                <c:pt idx="29">
                  <c:v>0.15713175287335757</c:v>
                </c:pt>
                <c:pt idx="30">
                  <c:v>0.1504555073614279</c:v>
                </c:pt>
                <c:pt idx="31">
                  <c:v>0.14216573356641432</c:v>
                </c:pt>
                <c:pt idx="32">
                  <c:v>0.14731534245388242</c:v>
                </c:pt>
                <c:pt idx="33">
                  <c:v>0.1607037178420956</c:v>
                </c:pt>
                <c:pt idx="34">
                  <c:v>0.1552998739298317</c:v>
                </c:pt>
                <c:pt idx="35">
                  <c:v>0.13448676688674147</c:v>
                </c:pt>
                <c:pt idx="36">
                  <c:v>0.10385299222333327</c:v>
                </c:pt>
                <c:pt idx="37">
                  <c:v>0.10462846071748091</c:v>
                </c:pt>
                <c:pt idx="38">
                  <c:v>0.10080522015789233</c:v>
                </c:pt>
                <c:pt idx="39">
                  <c:v>0.11156054463047355</c:v>
                </c:pt>
                <c:pt idx="40">
                  <c:v>0.1300408407090004</c:v>
                </c:pt>
                <c:pt idx="41">
                  <c:v>0.13753577724052587</c:v>
                </c:pt>
                <c:pt idx="42">
                  <c:v>0.13480981755087276</c:v>
                </c:pt>
                <c:pt idx="43">
                  <c:v>0.14136009306269304</c:v>
                </c:pt>
                <c:pt idx="44">
                  <c:v>0.17188676551594706</c:v>
                </c:pt>
                <c:pt idx="45">
                  <c:v>0.17441995614073091</c:v>
                </c:pt>
                <c:pt idx="46">
                  <c:v>0.15858350010370537</c:v>
                </c:pt>
                <c:pt idx="47">
                  <c:v>0.1559094319549404</c:v>
                </c:pt>
                <c:pt idx="48">
                  <c:v>0.17807757531843646</c:v>
                </c:pt>
                <c:pt idx="49">
                  <c:v>0.2078708443370177</c:v>
                </c:pt>
                <c:pt idx="50">
                  <c:v>0.19829457414309107</c:v>
                </c:pt>
                <c:pt idx="51">
                  <c:v>0.15845390683782895</c:v>
                </c:pt>
              </c:numCache>
            </c:numRef>
          </c:xVal>
          <c:yVal>
            <c:numRef>
              <c:f>Sheet1!$B$109:$B$160</c:f>
              <c:numCache>
                <c:formatCode>General</c:formatCode>
                <c:ptCount val="52"/>
                <c:pt idx="0">
                  <c:v>0.1516300227445034</c:v>
                </c:pt>
                <c:pt idx="1">
                  <c:v>0.16021671826625386</c:v>
                </c:pt>
                <c:pt idx="2">
                  <c:v>0.17473928157589802</c:v>
                </c:pt>
                <c:pt idx="3">
                  <c:v>0.1870857387214026</c:v>
                </c:pt>
                <c:pt idx="4">
                  <c:v>0.18048665249232224</c:v>
                </c:pt>
                <c:pt idx="5">
                  <c:v>0.17903822441430334</c:v>
                </c:pt>
                <c:pt idx="6">
                  <c:v>0.1836450457620374</c:v>
                </c:pt>
                <c:pt idx="7">
                  <c:v>0.16526422080107708</c:v>
                </c:pt>
                <c:pt idx="8">
                  <c:v>0.16995073891625614</c:v>
                </c:pt>
                <c:pt idx="9">
                  <c:v>0.18761009982384028</c:v>
                </c:pt>
                <c:pt idx="10">
                  <c:v>0.19613852283174993</c:v>
                </c:pt>
                <c:pt idx="11">
                  <c:v>0.22345759755831698</c:v>
                </c:pt>
                <c:pt idx="12">
                  <c:v>0.21636463481603516</c:v>
                </c:pt>
                <c:pt idx="13">
                  <c:v>0.19138495092693567</c:v>
                </c:pt>
                <c:pt idx="14">
                  <c:v>0.18600424113904876</c:v>
                </c:pt>
                <c:pt idx="15">
                  <c:v>0.17713152676801058</c:v>
                </c:pt>
                <c:pt idx="16">
                  <c:v>0.1593640946103141</c:v>
                </c:pt>
                <c:pt idx="17">
                  <c:v>0.1411451398135819</c:v>
                </c:pt>
                <c:pt idx="18">
                  <c:v>0.1357006975269499</c:v>
                </c:pt>
                <c:pt idx="19">
                  <c:v>0.15188405797101448</c:v>
                </c:pt>
                <c:pt idx="20">
                  <c:v>0.15608619685497963</c:v>
                </c:pt>
                <c:pt idx="21">
                  <c:v>0.17455790074158586</c:v>
                </c:pt>
                <c:pt idx="22">
                  <c:v>0.1913613996719519</c:v>
                </c:pt>
                <c:pt idx="23">
                  <c:v>0.16882276843467012</c:v>
                </c:pt>
                <c:pt idx="24">
                  <c:v>0.16066481994459833</c:v>
                </c:pt>
                <c:pt idx="25">
                  <c:v>0.1533694810224632</c:v>
                </c:pt>
                <c:pt idx="26">
                  <c:v>0.1149025069637883</c:v>
                </c:pt>
                <c:pt idx="27">
                  <c:v>0.11627906976744186</c:v>
                </c:pt>
                <c:pt idx="28">
                  <c:v>0.11484217595701814</c:v>
                </c:pt>
                <c:pt idx="29">
                  <c:v>0.09904912836767037</c:v>
                </c:pt>
                <c:pt idx="30">
                  <c:v>0.10491493383742911</c:v>
                </c:pt>
                <c:pt idx="31">
                  <c:v>0.11757575757575757</c:v>
                </c:pt>
                <c:pt idx="32">
                  <c:v>0.10843373493975904</c:v>
                </c:pt>
                <c:pt idx="33">
                  <c:v>0.11497105045492143</c:v>
                </c:pt>
                <c:pt idx="34">
                  <c:v>0.11974340698503208</c:v>
                </c:pt>
                <c:pt idx="35">
                  <c:v>0.1028770706190061</c:v>
                </c:pt>
                <c:pt idx="36">
                  <c:v>0.11279229711141678</c:v>
                </c:pt>
                <c:pt idx="37">
                  <c:v>0.1066350710900474</c:v>
                </c:pt>
                <c:pt idx="38">
                  <c:v>0.13570487483530963</c:v>
                </c:pt>
                <c:pt idx="39">
                  <c:v>0.13682277318640956</c:v>
                </c:pt>
                <c:pt idx="40">
                  <c:v>0.12736773350751143</c:v>
                </c:pt>
                <c:pt idx="41">
                  <c:v>0.11859443631039532</c:v>
                </c:pt>
                <c:pt idx="42">
                  <c:v>0.11993097497842968</c:v>
                </c:pt>
                <c:pt idx="43">
                  <c:v>0.13612004287245444</c:v>
                </c:pt>
                <c:pt idx="44">
                  <c:v>0.12733911455956184</c:v>
                </c:pt>
                <c:pt idx="45">
                  <c:v>0.13899097895088539</c:v>
                </c:pt>
                <c:pt idx="46">
                  <c:v>0.11927362773421378</c:v>
                </c:pt>
                <c:pt idx="47">
                  <c:v>0.136168691922802</c:v>
                </c:pt>
                <c:pt idx="48">
                  <c:v>0.13161953727506426</c:v>
                </c:pt>
                <c:pt idx="49">
                  <c:v>0.1543591010125957</c:v>
                </c:pt>
                <c:pt idx="50">
                  <c:v>0.20555047270509302</c:v>
                </c:pt>
                <c:pt idx="51">
                  <c:v>0.1837655016910935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6091499010009583</c:v>
                </c:pt>
              </c:numCache>
            </c:numRef>
          </c:xVal>
          <c:yVal>
            <c:numRef>
              <c:f>Sheet1!$B$163:$B$164</c:f>
              <c:numCache>
                <c:formatCode>General</c:formatCode>
                <c:ptCount val="2"/>
                <c:pt idx="0">
                  <c:v>0.19514238160054198</c:v>
                </c:pt>
                <c:pt idx="1">
                  <c:v>0.195142381600541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6091499010009583</c:v>
                </c:pt>
                <c:pt idx="1">
                  <c:v>0.26091499010009583</c:v>
                </c:pt>
              </c:numCache>
            </c:numRef>
          </c:xVal>
          <c:yVal>
            <c:numRef>
              <c:f>Sheet1!$B$167:$B$168</c:f>
              <c:numCache>
                <c:formatCode>General</c:formatCode>
                <c:ptCount val="2"/>
                <c:pt idx="0">
                  <c:v>0.195142381600541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31684169011536</c:v>
                </c:pt>
              </c:numCache>
            </c:numRef>
          </c:xVal>
          <c:yVal>
            <c:numRef>
              <c:f>Sheet1!$B$171:$B$172</c:f>
              <c:numCache>
                <c:formatCode>General</c:formatCode>
                <c:ptCount val="2"/>
                <c:pt idx="0">
                  <c:v>0.17667920472172025</c:v>
                </c:pt>
                <c:pt idx="1">
                  <c:v>0.1766792047217202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31684169011536</c:v>
                </c:pt>
                <c:pt idx="1">
                  <c:v>0.2231684169011536</c:v>
                </c:pt>
              </c:numCache>
            </c:numRef>
          </c:xVal>
          <c:yVal>
            <c:numRef>
              <c:f>Sheet1!$B$175:$B$176</c:f>
              <c:numCache>
                <c:formatCode>General</c:formatCode>
                <c:ptCount val="2"/>
                <c:pt idx="0">
                  <c:v>0.176679204721720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068150633654914</c:v>
                </c:pt>
              </c:numCache>
            </c:numRef>
          </c:xVal>
          <c:yVal>
            <c:numRef>
              <c:f>Sheet1!$B$179:$B$180</c:f>
              <c:numCache>
                <c:formatCode>General</c:formatCode>
                <c:ptCount val="2"/>
                <c:pt idx="0">
                  <c:v>0.14122330666973154</c:v>
                </c:pt>
                <c:pt idx="1">
                  <c:v>0.141223306669731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068150633654914</c:v>
                </c:pt>
                <c:pt idx="1">
                  <c:v>0.15068150633654914</c:v>
                </c:pt>
              </c:numCache>
            </c:numRef>
          </c:xVal>
          <c:yVal>
            <c:numRef>
              <c:f>Sheet1!$B$183:$B$184</c:f>
              <c:numCache>
                <c:formatCode>General</c:formatCode>
                <c:ptCount val="2"/>
                <c:pt idx="0">
                  <c:v>0.141223306669731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136338316545295</c:v>
                </c:pt>
                <c:pt idx="1">
                  <c:v>0.22554881033350482</c:v>
                </c:pt>
                <c:pt idx="2">
                  <c:v>0.19090517186222258</c:v>
                </c:pt>
                <c:pt idx="3">
                  <c:v>0.20708595399796578</c:v>
                </c:pt>
                <c:pt idx="4">
                  <c:v>0.19538304203194215</c:v>
                </c:pt>
                <c:pt idx="5">
                  <c:v>0.21293980775081983</c:v>
                </c:pt>
                <c:pt idx="6">
                  <c:v>0.20815609863043935</c:v>
                </c:pt>
                <c:pt idx="7">
                  <c:v>0.20462243654602583</c:v>
                </c:pt>
                <c:pt idx="8">
                  <c:v>0.24324969315956527</c:v>
                </c:pt>
                <c:pt idx="9">
                  <c:v>0.2296103572874848</c:v>
                </c:pt>
                <c:pt idx="10">
                  <c:v>0.2355633715958541</c:v>
                </c:pt>
                <c:pt idx="11">
                  <c:v>0.20692739760718853</c:v>
                </c:pt>
                <c:pt idx="12">
                  <c:v>0.17508400178410055</c:v>
                </c:pt>
                <c:pt idx="13">
                  <c:v>0.20000374043823485</c:v>
                </c:pt>
                <c:pt idx="14">
                  <c:v>0.22712802513029687</c:v>
                </c:pt>
                <c:pt idx="15">
                  <c:v>0.21455939230530205</c:v>
                </c:pt>
                <c:pt idx="16">
                  <c:v>0.19121023150785368</c:v>
                </c:pt>
                <c:pt idx="17">
                  <c:v>0.18485118453028582</c:v>
                </c:pt>
                <c:pt idx="18">
                  <c:v>0.1708159640992099</c:v>
                </c:pt>
                <c:pt idx="19">
                  <c:v>0.16820333059514533</c:v>
                </c:pt>
                <c:pt idx="20">
                  <c:v>0.15073171779867658</c:v>
                </c:pt>
                <c:pt idx="21">
                  <c:v>0.13669614737626806</c:v>
                </c:pt>
                <c:pt idx="22">
                  <c:v>0.12099103979159893</c:v>
                </c:pt>
                <c:pt idx="23">
                  <c:v>0.12830901196294248</c:v>
                </c:pt>
                <c:pt idx="24">
                  <c:v>0.1319852928030153</c:v>
                </c:pt>
                <c:pt idx="25">
                  <c:v>0.12943092101397974</c:v>
                </c:pt>
                <c:pt idx="26">
                  <c:v>0.1506407385946155</c:v>
                </c:pt>
                <c:pt idx="27">
                  <c:v>0.1669847539818084</c:v>
                </c:pt>
                <c:pt idx="28">
                  <c:v>0.18054880571516557</c:v>
                </c:pt>
                <c:pt idx="29">
                  <c:v>0.15713175287335757</c:v>
                </c:pt>
                <c:pt idx="30">
                  <c:v>0.1504555073614279</c:v>
                </c:pt>
                <c:pt idx="31">
                  <c:v>0.14216573356641432</c:v>
                </c:pt>
                <c:pt idx="32">
                  <c:v>0.14731534245388242</c:v>
                </c:pt>
                <c:pt idx="33">
                  <c:v>0.1607037178420956</c:v>
                </c:pt>
                <c:pt idx="34">
                  <c:v>0.1552998739298317</c:v>
                </c:pt>
                <c:pt idx="35">
                  <c:v>0.13448676688674147</c:v>
                </c:pt>
                <c:pt idx="36">
                  <c:v>0.10385299222333327</c:v>
                </c:pt>
                <c:pt idx="37">
                  <c:v>0.10462846071748091</c:v>
                </c:pt>
                <c:pt idx="38">
                  <c:v>0.10080522015789233</c:v>
                </c:pt>
                <c:pt idx="39">
                  <c:v>0.11156054463047355</c:v>
                </c:pt>
                <c:pt idx="40">
                  <c:v>0.1300408407090004</c:v>
                </c:pt>
                <c:pt idx="41">
                  <c:v>0.13753577724052587</c:v>
                </c:pt>
                <c:pt idx="42">
                  <c:v>0.13480981755087276</c:v>
                </c:pt>
                <c:pt idx="43">
                  <c:v>0.14136009306269304</c:v>
                </c:pt>
                <c:pt idx="44">
                  <c:v>0.17188676551594706</c:v>
                </c:pt>
                <c:pt idx="45">
                  <c:v>0.17441995614073091</c:v>
                </c:pt>
                <c:pt idx="46">
                  <c:v>0.15858350010370537</c:v>
                </c:pt>
                <c:pt idx="47">
                  <c:v>0.1559094319549404</c:v>
                </c:pt>
                <c:pt idx="48">
                  <c:v>0.17807757531843646</c:v>
                </c:pt>
                <c:pt idx="49">
                  <c:v>0.2078708443370177</c:v>
                </c:pt>
                <c:pt idx="50">
                  <c:v>0.19829457414309107</c:v>
                </c:pt>
                <c:pt idx="51">
                  <c:v>0.15845390683782895</c:v>
                </c:pt>
                <c:pt idx="52">
                  <c:v>0.2231684169011536</c:v>
                </c:pt>
                <c:pt idx="53">
                  <c:v>0.26091499010009583</c:v>
                </c:pt>
                <c:pt idx="54">
                  <c:v>0.15068150633654914</c:v>
                </c:pt>
              </c:numCache>
            </c:numRef>
          </c:xVal>
          <c:yVal>
            <c:numRef>
              <c:f>Sheet1!$B$187:$B$241</c:f>
              <c:numCache>
                <c:formatCode>General</c:formatCode>
                <c:ptCount val="55"/>
                <c:pt idx="0">
                  <c:v>0.1757962992203696</c:v>
                </c:pt>
                <c:pt idx="1">
                  <c:v>0.1778435388918991</c:v>
                </c:pt>
                <c:pt idx="2">
                  <c:v>0.16089811654984762</c:v>
                </c:pt>
                <c:pt idx="3">
                  <c:v>0.16881270633354425</c:v>
                </c:pt>
                <c:pt idx="4">
                  <c:v>0.16308840038165912</c:v>
                </c:pt>
                <c:pt idx="5">
                  <c:v>0.1716760321430704</c:v>
                </c:pt>
                <c:pt idx="6">
                  <c:v>0.1693361517210539</c:v>
                </c:pt>
                <c:pt idx="7">
                  <c:v>0.16760771328107543</c:v>
                </c:pt>
                <c:pt idx="8">
                  <c:v>0.1865016634004839</c:v>
                </c:pt>
                <c:pt idx="9">
                  <c:v>0.17983018439261103</c:v>
                </c:pt>
                <c:pt idx="10">
                  <c:v>0.1827420131183153</c:v>
                </c:pt>
                <c:pt idx="11">
                  <c:v>0.16873515082478963</c:v>
                </c:pt>
                <c:pt idx="12">
                  <c:v>0.15315942567471208</c:v>
                </c:pt>
                <c:pt idx="13">
                  <c:v>0.16534854652868636</c:v>
                </c:pt>
                <c:pt idx="14">
                  <c:v>0.1786159884059027</c:v>
                </c:pt>
                <c:pt idx="15">
                  <c:v>0.1724682279257713</c:v>
                </c:pt>
                <c:pt idx="16">
                  <c:v>0.16104733195454654</c:v>
                </c:pt>
                <c:pt idx="17">
                  <c:v>0.1579368983660781</c:v>
                </c:pt>
                <c:pt idx="18">
                  <c:v>0.15107177829315266</c:v>
                </c:pt>
                <c:pt idx="19">
                  <c:v>0.149793847333676</c:v>
                </c:pt>
                <c:pt idx="20">
                  <c:v>0.141247866862301</c:v>
                </c:pt>
                <c:pt idx="21">
                  <c:v>0.13438257559630207</c:v>
                </c:pt>
                <c:pt idx="22">
                  <c:v>0.12670065496980143</c:v>
                </c:pt>
                <c:pt idx="23">
                  <c:v>0.13028013260560434</c:v>
                </c:pt>
                <c:pt idx="24">
                  <c:v>0.13207833089631404</c:v>
                </c:pt>
                <c:pt idx="25">
                  <c:v>0.13082889779130952</c:v>
                </c:pt>
                <c:pt idx="26">
                  <c:v>0.14120336573293962</c:v>
                </c:pt>
                <c:pt idx="27">
                  <c:v>0.14919779864247812</c:v>
                </c:pt>
                <c:pt idx="28">
                  <c:v>0.1558324535295999</c:v>
                </c:pt>
                <c:pt idx="29">
                  <c:v>0.14437834917103173</c:v>
                </c:pt>
                <c:pt idx="30">
                  <c:v>0.14111276262033917</c:v>
                </c:pt>
                <c:pt idx="31">
                  <c:v>0.13705794262234672</c:v>
                </c:pt>
                <c:pt idx="32">
                  <c:v>0.13957679749282648</c:v>
                </c:pt>
                <c:pt idx="33">
                  <c:v>0.1461255228992316</c:v>
                </c:pt>
                <c:pt idx="34">
                  <c:v>0.14348231273411738</c:v>
                </c:pt>
                <c:pt idx="35">
                  <c:v>0.13330188987270664</c:v>
                </c:pt>
                <c:pt idx="36">
                  <c:v>0.11831783298638977</c:v>
                </c:pt>
                <c:pt idx="37">
                  <c:v>0.118697141907916</c:v>
                </c:pt>
                <c:pt idx="38">
                  <c:v>0.11682706044833736</c:v>
                </c:pt>
                <c:pt idx="39">
                  <c:v>0.12208786802098218</c:v>
                </c:pt>
                <c:pt idx="40">
                  <c:v>0.1311272309711638</c:v>
                </c:pt>
                <c:pt idx="41">
                  <c:v>0.1347932681011509</c:v>
                </c:pt>
                <c:pt idx="42">
                  <c:v>0.13345990531747937</c:v>
                </c:pt>
                <c:pt idx="43">
                  <c:v>0.13666387550948453</c:v>
                </c:pt>
                <c:pt idx="44">
                  <c:v>0.15159554493695135</c:v>
                </c:pt>
                <c:pt idx="45">
                  <c:v>0.15283461758936548</c:v>
                </c:pt>
                <c:pt idx="46">
                  <c:v>0.1450884498139691</c:v>
                </c:pt>
                <c:pt idx="47">
                  <c:v>0.14378046900849417</c:v>
                </c:pt>
                <c:pt idx="48">
                  <c:v>0.1546236878044927</c:v>
                </c:pt>
                <c:pt idx="49">
                  <c:v>0.16919662381087436</c:v>
                </c:pt>
                <c:pt idx="50">
                  <c:v>0.16451253316513567</c:v>
                </c:pt>
                <c:pt idx="51">
                  <c:v>0.14502506118852831</c:v>
                </c:pt>
                <c:pt idx="52">
                  <c:v>0.17667920472172025</c:v>
                </c:pt>
                <c:pt idx="53">
                  <c:v>0.19514238160054198</c:v>
                </c:pt>
                <c:pt idx="54">
                  <c:v>0.141223306669731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0171815024675"/>
          <c:min val="0.0537102473498233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36.8756</c:v>
                </c:pt>
                <c:pt idx="1">
                  <c:v>904.2913</c:v>
                </c:pt>
                <c:pt idx="2">
                  <c:v>978.786</c:v>
                </c:pt>
                <c:pt idx="3">
                  <c:v>1015.2654</c:v>
                </c:pt>
                <c:pt idx="4">
                  <c:v>1031.6558</c:v>
                </c:pt>
                <c:pt idx="5">
                  <c:v>1019.52</c:v>
                </c:pt>
                <c:pt idx="6">
                  <c:v>1035.4621</c:v>
                </c:pt>
                <c:pt idx="7">
                  <c:v>1049.2417</c:v>
                </c:pt>
                <c:pt idx="8">
                  <c:v>969.7031</c:v>
                </c:pt>
                <c:pt idx="9">
                  <c:v>978.0668</c:v>
                </c:pt>
                <c:pt idx="10">
                  <c:v>981.176</c:v>
                </c:pt>
                <c:pt idx="11">
                  <c:v>1033.8045</c:v>
                </c:pt>
                <c:pt idx="12">
                  <c:v>986.5439</c:v>
                </c:pt>
                <c:pt idx="13">
                  <c:v>944.622</c:v>
                </c:pt>
                <c:pt idx="14">
                  <c:v>973.2971</c:v>
                </c:pt>
                <c:pt idx="15">
                  <c:v>993.611</c:v>
                </c:pt>
                <c:pt idx="16">
                  <c:v>983.1411</c:v>
                </c:pt>
                <c:pt idx="17">
                  <c:v>1008.6019</c:v>
                </c:pt>
                <c:pt idx="18">
                  <c:v>1043.5671</c:v>
                </c:pt>
                <c:pt idx="19">
                  <c:v>1030.567</c:v>
                </c:pt>
                <c:pt idx="20">
                  <c:v>1002.8497</c:v>
                </c:pt>
                <c:pt idx="21">
                  <c:v>1049.4022</c:v>
                </c:pt>
                <c:pt idx="22">
                  <c:v>1059.6531</c:v>
                </c:pt>
                <c:pt idx="23">
                  <c:v>1022.1414</c:v>
                </c:pt>
                <c:pt idx="24">
                  <c:v>1042.6457</c:v>
                </c:pt>
                <c:pt idx="25">
                  <c:v>1012.4974</c:v>
                </c:pt>
                <c:pt idx="26">
                  <c:v>1002.66</c:v>
                </c:pt>
                <c:pt idx="27">
                  <c:v>1023.065</c:v>
                </c:pt>
                <c:pt idx="28">
                  <c:v>1023.7824</c:v>
                </c:pt>
                <c:pt idx="29">
                  <c:v>797.2035</c:v>
                </c:pt>
                <c:pt idx="30">
                  <c:v>928.6957</c:v>
                </c:pt>
                <c:pt idx="31">
                  <c:v>943.8833</c:v>
                </c:pt>
                <c:pt idx="32">
                  <c:v>923.4266</c:v>
                </c:pt>
                <c:pt idx="33">
                  <c:v>725.3958</c:v>
                </c:pt>
                <c:pt idx="34">
                  <c:v>945.6541</c:v>
                </c:pt>
                <c:pt idx="35">
                  <c:v>1033.4775</c:v>
                </c:pt>
                <c:pt idx="36">
                  <c:v>1042.9259</c:v>
                </c:pt>
                <c:pt idx="37">
                  <c:v>1062.5766</c:v>
                </c:pt>
                <c:pt idx="38">
                  <c:v>1127.9024</c:v>
                </c:pt>
                <c:pt idx="39">
                  <c:v>1159.2577</c:v>
                </c:pt>
                <c:pt idx="40">
                  <c:v>1141.5827</c:v>
                </c:pt>
                <c:pt idx="41">
                  <c:v>1204.4915</c:v>
                </c:pt>
                <c:pt idx="42">
                  <c:v>1274.621</c:v>
                </c:pt>
                <c:pt idx="43">
                  <c:v>1241.9372</c:v>
                </c:pt>
                <c:pt idx="44">
                  <c:v>1094.8659</c:v>
                </c:pt>
                <c:pt idx="45">
                  <c:v>1019.1002</c:v>
                </c:pt>
                <c:pt idx="46">
                  <c:v>1017.1292</c:v>
                </c:pt>
                <c:pt idx="47">
                  <c:v>1021.86</c:v>
                </c:pt>
                <c:pt idx="48">
                  <c:v>1061.3775</c:v>
                </c:pt>
                <c:pt idx="49">
                  <c:v>1004.5498</c:v>
                </c:pt>
                <c:pt idx="50">
                  <c:v>1014.7627</c:v>
                </c:pt>
                <c:pt idx="51">
                  <c:v>1029.5479</c:v>
                </c:pt>
                <c:pt idx="52">
                  <c:v>1065.6523</c:v>
                </c:pt>
                <c:pt idx="53">
                  <c:v>1108.261</c:v>
                </c:pt>
                <c:pt idx="54">
                  <c:v>1147.296</c:v>
                </c:pt>
                <c:pt idx="55">
                  <c:v>1154.8731</c:v>
                </c:pt>
                <c:pt idx="56">
                  <c:v>1150.4193</c:v>
                </c:pt>
                <c:pt idx="57">
                  <c:v>1110.1263</c:v>
                </c:pt>
                <c:pt idx="58">
                  <c:v>1150.0395</c:v>
                </c:pt>
                <c:pt idx="59">
                  <c:v>1086.5982</c:v>
                </c:pt>
                <c:pt idx="60">
                  <c:v>1113.122</c:v>
                </c:pt>
                <c:pt idx="61">
                  <c:v>1162.8206</c:v>
                </c:pt>
                <c:pt idx="62">
                  <c:v>1136.5257</c:v>
                </c:pt>
                <c:pt idx="63">
                  <c:v>1164.9771</c:v>
                </c:pt>
                <c:pt idx="64">
                  <c:v>1141.1902</c:v>
                </c:pt>
                <c:pt idx="65">
                  <c:v>1119.7597</c:v>
                </c:pt>
                <c:pt idx="66">
                  <c:v>1098.8087</c:v>
                </c:pt>
                <c:pt idx="67">
                  <c:v>1122.3502</c:v>
                </c:pt>
                <c:pt idx="68">
                  <c:v>1090.0478</c:v>
                </c:pt>
                <c:pt idx="69">
                  <c:v>1072.2539</c:v>
                </c:pt>
                <c:pt idx="70">
                  <c:v>1068.3557</c:v>
                </c:pt>
                <c:pt idx="71">
                  <c:v>1112.0571</c:v>
                </c:pt>
                <c:pt idx="72">
                  <c:v>1139.0327</c:v>
                </c:pt>
                <c:pt idx="73">
                  <c:v>1245.1273</c:v>
                </c:pt>
                <c:pt idx="74">
                  <c:v>1211.6479</c:v>
                </c:pt>
                <c:pt idx="75">
                  <c:v>1199.7861</c:v>
                </c:pt>
                <c:pt idx="76">
                  <c:v>1221.8303</c:v>
                </c:pt>
                <c:pt idx="77">
                  <c:v>1249.4295</c:v>
                </c:pt>
                <c:pt idx="78">
                  <c:v>1193.0541</c:v>
                </c:pt>
                <c:pt idx="79">
                  <c:v>696.4512</c:v>
                </c:pt>
                <c:pt idx="80">
                  <c:v>801.3533</c:v>
                </c:pt>
                <c:pt idx="81">
                  <c:v>976.8365</c:v>
                </c:pt>
                <c:pt idx="82">
                  <c:v>935.2017</c:v>
                </c:pt>
                <c:pt idx="83">
                  <c:v>1047.5745</c:v>
                </c:pt>
                <c:pt idx="84">
                  <c:v>1083.0326</c:v>
                </c:pt>
                <c:pt idx="85">
                  <c:v>927.4247</c:v>
                </c:pt>
                <c:pt idx="86">
                  <c:v>994.007</c:v>
                </c:pt>
                <c:pt idx="87">
                  <c:v>1113.0316</c:v>
                </c:pt>
                <c:pt idx="88">
                  <c:v>1053.3243</c:v>
                </c:pt>
                <c:pt idx="89">
                  <c:v>1166.2791</c:v>
                </c:pt>
                <c:pt idx="90">
                  <c:v>1226.1558</c:v>
                </c:pt>
                <c:pt idx="91">
                  <c:v>1300.3947</c:v>
                </c:pt>
                <c:pt idx="92">
                  <c:v>1014.2393</c:v>
                </c:pt>
                <c:pt idx="93">
                  <c:v>1165.9103</c:v>
                </c:pt>
                <c:pt idx="94">
                  <c:v>1212.8868</c:v>
                </c:pt>
                <c:pt idx="95">
                  <c:v>1064.6483</c:v>
                </c:pt>
                <c:pt idx="96">
                  <c:v>1046.9922</c:v>
                </c:pt>
                <c:pt idx="97">
                  <c:v>1075.1692</c:v>
                </c:pt>
                <c:pt idx="98">
                  <c:v>1090.0527</c:v>
                </c:pt>
                <c:pt idx="99">
                  <c:v>1087.859</c:v>
                </c:pt>
                <c:pt idx="100">
                  <c:v>1099.4162</c:v>
                </c:pt>
                <c:pt idx="101">
                  <c:v>1135.4716</c:v>
                </c:pt>
                <c:pt idx="102">
                  <c:v>1188.0846</c:v>
                </c:pt>
                <c:pt idx="103">
                  <c:v>839.7677</c:v>
                </c:pt>
                <c:pt idx="104">
                  <c:v>984.4265</c:v>
                </c:pt>
              </c:numCache>
            </c:numRef>
          </c:xVal>
          <c:yVal>
            <c:numRef>
              <c:f>Sheet1!$B$2:$B$106</c:f>
              <c:numCache>
                <c:formatCode>General</c:formatCode>
                <c:ptCount val="105"/>
                <c:pt idx="0">
                  <c:v>0.21433161953727506</c:v>
                </c:pt>
                <c:pt idx="1">
                  <c:v>0.21073008849557523</c:v>
                </c:pt>
                <c:pt idx="2">
                  <c:v>0.18427704752275026</c:v>
                </c:pt>
                <c:pt idx="3">
                  <c:v>0.1669453734671126</c:v>
                </c:pt>
                <c:pt idx="4">
                  <c:v>0.15903614457831325</c:v>
                </c:pt>
                <c:pt idx="5">
                  <c:v>0.14997000599880023</c:v>
                </c:pt>
                <c:pt idx="6">
                  <c:v>0.1457042822515486</c:v>
                </c:pt>
                <c:pt idx="7">
                  <c:v>0.13016656384947564</c:v>
                </c:pt>
                <c:pt idx="8">
                  <c:v>0.17545541706615533</c:v>
                </c:pt>
                <c:pt idx="9">
                  <c:v>0.19120654396728015</c:v>
                </c:pt>
                <c:pt idx="10">
                  <c:v>0.1986676183678325</c:v>
                </c:pt>
                <c:pt idx="11">
                  <c:v>0.2012690355329949</c:v>
                </c:pt>
                <c:pt idx="12">
                  <c:v>0.1967370441458733</c:v>
                </c:pt>
                <c:pt idx="13">
                  <c:v>0.23700346574246867</c:v>
                </c:pt>
                <c:pt idx="14">
                  <c:v>0.21481481481481482</c:v>
                </c:pt>
                <c:pt idx="15">
                  <c:v>0.20464952448045087</c:v>
                </c:pt>
                <c:pt idx="16">
                  <c:v>0.1975873544093178</c:v>
                </c:pt>
                <c:pt idx="17">
                  <c:v>0.19855421686746988</c:v>
                </c:pt>
                <c:pt idx="18">
                  <c:v>0.1781231320980275</c:v>
                </c:pt>
                <c:pt idx="19">
                  <c:v>0.16709346991037133</c:v>
                </c:pt>
                <c:pt idx="20">
                  <c:v>0.1825436408977556</c:v>
                </c:pt>
                <c:pt idx="21">
                  <c:v>0.1686010995723885</c:v>
                </c:pt>
                <c:pt idx="22">
                  <c:v>0.1678082191780822</c:v>
                </c:pt>
                <c:pt idx="23">
                  <c:v>0.1746031746031746</c:v>
                </c:pt>
                <c:pt idx="24">
                  <c:v>0.16336996336996337</c:v>
                </c:pt>
                <c:pt idx="25">
                  <c:v>0.1679721496953873</c:v>
                </c:pt>
                <c:pt idx="26">
                  <c:v>0.1646090534979424</c:v>
                </c:pt>
                <c:pt idx="27">
                  <c:v>0.1564945226917058</c:v>
                </c:pt>
                <c:pt idx="28">
                  <c:v>0.14629948364888123</c:v>
                </c:pt>
                <c:pt idx="29">
                  <c:v>0.18739635157545606</c:v>
                </c:pt>
                <c:pt idx="30">
                  <c:v>0.12965050732807215</c:v>
                </c:pt>
                <c:pt idx="31">
                  <c:v>0.12024048096192384</c:v>
                </c:pt>
                <c:pt idx="32">
                  <c:v>0.14019607843137255</c:v>
                </c:pt>
                <c:pt idx="33">
                  <c:v>0.1819560272934041</c:v>
                </c:pt>
                <c:pt idx="34">
                  <c:v>0.12937347436940602</c:v>
                </c:pt>
                <c:pt idx="35">
                  <c:v>0.13777089783281735</c:v>
                </c:pt>
                <c:pt idx="36">
                  <c:v>0.10869565217391304</c:v>
                </c:pt>
                <c:pt idx="37">
                  <c:v>0.11275720164609053</c:v>
                </c:pt>
                <c:pt idx="38">
                  <c:v>0.1001628664495114</c:v>
                </c:pt>
                <c:pt idx="39">
                  <c:v>0.09185606060606061</c:v>
                </c:pt>
                <c:pt idx="40">
                  <c:v>0.10725308641975309</c:v>
                </c:pt>
                <c:pt idx="41">
                  <c:v>0.09320695102685624</c:v>
                </c:pt>
                <c:pt idx="42">
                  <c:v>0.09538461538461539</c:v>
                </c:pt>
                <c:pt idx="43">
                  <c:v>0.11493614658523042</c:v>
                </c:pt>
                <c:pt idx="44">
                  <c:v>0.1315367340391402</c:v>
                </c:pt>
                <c:pt idx="45">
                  <c:v>0.14815872109620326</c:v>
                </c:pt>
                <c:pt idx="46">
                  <c:v>0.15738579526508836</c:v>
                </c:pt>
                <c:pt idx="47">
                  <c:v>0.16296518607442978</c:v>
                </c:pt>
                <c:pt idx="48">
                  <c:v>0.18775885872066267</c:v>
                </c:pt>
                <c:pt idx="49">
                  <c:v>0.2383476512520563</c:v>
                </c:pt>
                <c:pt idx="50">
                  <c:v>0.19887206886316414</c:v>
                </c:pt>
                <c:pt idx="51">
                  <c:v>0.17956656346749225</c:v>
                </c:pt>
                <c:pt idx="52">
                  <c:v>0.192797783933518</c:v>
                </c:pt>
                <c:pt idx="53">
                  <c:v>0.17339449541284405</c:v>
                </c:pt>
                <c:pt idx="54">
                  <c:v>0.17392739273927393</c:v>
                </c:pt>
                <c:pt idx="55">
                  <c:v>0.16063268892794377</c:v>
                </c:pt>
                <c:pt idx="56">
                  <c:v>0.1806905799530674</c:v>
                </c:pt>
                <c:pt idx="57">
                  <c:v>0.16768759571209801</c:v>
                </c:pt>
                <c:pt idx="58">
                  <c:v>0.1759795965685138</c:v>
                </c:pt>
                <c:pt idx="59">
                  <c:v>0.2012521194730664</c:v>
                </c:pt>
                <c:pt idx="60">
                  <c:v>0.21511017838405036</c:v>
                </c:pt>
                <c:pt idx="61">
                  <c:v>0.20202232989256372</c:v>
                </c:pt>
                <c:pt idx="62">
                  <c:v>0.22594619243046055</c:v>
                </c:pt>
                <c:pt idx="63">
                  <c:v>0.2334059837527244</c:v>
                </c:pt>
                <c:pt idx="64">
                  <c:v>0.22955523672883787</c:v>
                </c:pt>
                <c:pt idx="65">
                  <c:v>0.2051054384017758</c:v>
                </c:pt>
                <c:pt idx="66">
                  <c:v>0.19138090824837814</c:v>
                </c:pt>
                <c:pt idx="67">
                  <c:v>0.17699775952203137</c:v>
                </c:pt>
                <c:pt idx="68">
                  <c:v>0.16469926925238898</c:v>
                </c:pt>
                <c:pt idx="69">
                  <c:v>0.1539701733172108</c:v>
                </c:pt>
                <c:pt idx="70">
                  <c:v>0.14526394608760765</c:v>
                </c:pt>
                <c:pt idx="71">
                  <c:v>0.14039310068190936</c:v>
                </c:pt>
                <c:pt idx="72">
                  <c:v>0.14402057436776683</c:v>
                </c:pt>
                <c:pt idx="73">
                  <c:v>0.1270823417420276</c:v>
                </c:pt>
                <c:pt idx="74">
                  <c:v>0.12712623097582812</c:v>
                </c:pt>
                <c:pt idx="75">
                  <c:v>0.1252336448598131</c:v>
                </c:pt>
                <c:pt idx="76">
                  <c:v>0.1213235294117647</c:v>
                </c:pt>
                <c:pt idx="77">
                  <c:v>0.10490921318090114</c:v>
                </c:pt>
                <c:pt idx="78">
                  <c:v>0.11925866236905722</c:v>
                </c:pt>
                <c:pt idx="79">
                  <c:v>0.17145135566188197</c:v>
                </c:pt>
                <c:pt idx="80">
                  <c:v>0.14359415305245055</c:v>
                </c:pt>
                <c:pt idx="81">
                  <c:v>0.10868079289131921</c:v>
                </c:pt>
                <c:pt idx="82">
                  <c:v>0.09991603694374475</c:v>
                </c:pt>
                <c:pt idx="83">
                  <c:v>0.09362549800796813</c:v>
                </c:pt>
                <c:pt idx="84">
                  <c:v>0.09513960703205791</c:v>
                </c:pt>
                <c:pt idx="85">
                  <c:v>0.12299915754001685</c:v>
                </c:pt>
                <c:pt idx="86">
                  <c:v>0.09986033519553073</c:v>
                </c:pt>
                <c:pt idx="87">
                  <c:v>0.11712379540400296</c:v>
                </c:pt>
                <c:pt idx="88">
                  <c:v>0.10164835164835165</c:v>
                </c:pt>
                <c:pt idx="89">
                  <c:v>0.07962962962962963</c:v>
                </c:pt>
                <c:pt idx="90">
                  <c:v>0.07809330628803246</c:v>
                </c:pt>
                <c:pt idx="91">
                  <c:v>0.06713780918727916</c:v>
                </c:pt>
                <c:pt idx="92">
                  <c:v>0.10219435736677115</c:v>
                </c:pt>
                <c:pt idx="93">
                  <c:v>0.09520682862770848</c:v>
                </c:pt>
                <c:pt idx="94">
                  <c:v>0.09778597785977859</c:v>
                </c:pt>
                <c:pt idx="95">
                  <c:v>0.1271551724137931</c:v>
                </c:pt>
                <c:pt idx="96">
                  <c:v>0.13636363636363635</c:v>
                </c:pt>
                <c:pt idx="97">
                  <c:v>0.13795542978422357</c:v>
                </c:pt>
                <c:pt idx="98">
                  <c:v>0.14720496894409937</c:v>
                </c:pt>
                <c:pt idx="99">
                  <c:v>0.15654205607476634</c:v>
                </c:pt>
                <c:pt idx="100">
                  <c:v>0.17678312671067462</c:v>
                </c:pt>
                <c:pt idx="101">
                  <c:v>0.15198059822150364</c:v>
                </c:pt>
                <c:pt idx="102">
                  <c:v>0.13274336283185842</c:v>
                </c:pt>
                <c:pt idx="103">
                  <c:v>0.17837202468410226</c:v>
                </c:pt>
                <c:pt idx="104">
                  <c:v>0.172256097560975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9.4433</c:v>
                </c:pt>
                <c:pt idx="1">
                  <c:v>1178.6409</c:v>
                </c:pt>
                <c:pt idx="2">
                  <c:v>1174.0955</c:v>
                </c:pt>
                <c:pt idx="3">
                  <c:v>1198.2949</c:v>
                </c:pt>
                <c:pt idx="4">
                  <c:v>1198.0183</c:v>
                </c:pt>
                <c:pt idx="5">
                  <c:v>1181.0041</c:v>
                </c:pt>
                <c:pt idx="6">
                  <c:v>1119.584</c:v>
                </c:pt>
                <c:pt idx="7">
                  <c:v>1240.2729</c:v>
                </c:pt>
                <c:pt idx="8">
                  <c:v>1297.9601</c:v>
                </c:pt>
                <c:pt idx="9">
                  <c:v>1265.3709</c:v>
                </c:pt>
                <c:pt idx="10">
                  <c:v>1263.3906</c:v>
                </c:pt>
                <c:pt idx="11">
                  <c:v>1063.2859</c:v>
                </c:pt>
                <c:pt idx="12">
                  <c:v>1066.4213</c:v>
                </c:pt>
                <c:pt idx="13">
                  <c:v>1204.1595</c:v>
                </c:pt>
                <c:pt idx="14">
                  <c:v>1244.4625</c:v>
                </c:pt>
                <c:pt idx="15">
                  <c:v>1264.2146</c:v>
                </c:pt>
                <c:pt idx="16">
                  <c:v>1318.674</c:v>
                </c:pt>
                <c:pt idx="17">
                  <c:v>1319.4245</c:v>
                </c:pt>
                <c:pt idx="18">
                  <c:v>1359.1589</c:v>
                </c:pt>
                <c:pt idx="19">
                  <c:v>1300.1794</c:v>
                </c:pt>
                <c:pt idx="20">
                  <c:v>1214.9851</c:v>
                </c:pt>
                <c:pt idx="21">
                  <c:v>1093.0359</c:v>
                </c:pt>
                <c:pt idx="22">
                  <c:v>978.3829</c:v>
                </c:pt>
                <c:pt idx="23">
                  <c:v>1011.8238</c:v>
                </c:pt>
                <c:pt idx="24">
                  <c:v>1066.7198</c:v>
                </c:pt>
                <c:pt idx="25">
                  <c:v>1069.5808</c:v>
                </c:pt>
                <c:pt idx="26">
                  <c:v>1196.097</c:v>
                </c:pt>
                <c:pt idx="27">
                  <c:v>1233.5806</c:v>
                </c:pt>
                <c:pt idx="28">
                  <c:v>1242.807</c:v>
                </c:pt>
                <c:pt idx="29">
                  <c:v>1207.448</c:v>
                </c:pt>
                <c:pt idx="30">
                  <c:v>1170.9279</c:v>
                </c:pt>
                <c:pt idx="31">
                  <c:v>1208.6598</c:v>
                </c:pt>
                <c:pt idx="32">
                  <c:v>1232.1282</c:v>
                </c:pt>
                <c:pt idx="33">
                  <c:v>1251.5755</c:v>
                </c:pt>
                <c:pt idx="34">
                  <c:v>1243.506</c:v>
                </c:pt>
                <c:pt idx="35">
                  <c:v>1274.1102</c:v>
                </c:pt>
                <c:pt idx="36">
                  <c:v>1214.3415</c:v>
                </c:pt>
                <c:pt idx="37">
                  <c:v>1123.7556</c:v>
                </c:pt>
                <c:pt idx="38">
                  <c:v>1021.5825</c:v>
                </c:pt>
                <c:pt idx="39">
                  <c:v>1007.7651</c:v>
                </c:pt>
                <c:pt idx="40">
                  <c:v>1067.1538</c:v>
                </c:pt>
                <c:pt idx="41">
                  <c:v>1153.8827</c:v>
                </c:pt>
                <c:pt idx="42">
                  <c:v>1172.2806</c:v>
                </c:pt>
                <c:pt idx="43">
                  <c:v>1057.7913</c:v>
                </c:pt>
                <c:pt idx="44">
                  <c:v>1136.6774</c:v>
                </c:pt>
                <c:pt idx="45">
                  <c:v>1157.4663</c:v>
                </c:pt>
                <c:pt idx="46">
                  <c:v>1225.7855</c:v>
                </c:pt>
                <c:pt idx="47">
                  <c:v>1155.9685</c:v>
                </c:pt>
                <c:pt idx="48">
                  <c:v>1229.5215</c:v>
                </c:pt>
                <c:pt idx="49">
                  <c:v>1178.4928</c:v>
                </c:pt>
                <c:pt idx="50">
                  <c:v>1039.7901</c:v>
                </c:pt>
                <c:pt idx="51">
                  <c:v>1021.3926</c:v>
                </c:pt>
              </c:numCache>
            </c:numRef>
          </c:xVal>
          <c:yVal>
            <c:numRef>
              <c:f>Sheet1!$B$109:$B$160</c:f>
              <c:numCache>
                <c:formatCode>General</c:formatCode>
                <c:ptCount val="52"/>
                <c:pt idx="0">
                  <c:v>0.1516300227445034</c:v>
                </c:pt>
                <c:pt idx="1">
                  <c:v>0.16021671826625386</c:v>
                </c:pt>
                <c:pt idx="2">
                  <c:v>0.17473928157589802</c:v>
                </c:pt>
                <c:pt idx="3">
                  <c:v>0.1870857387214026</c:v>
                </c:pt>
                <c:pt idx="4">
                  <c:v>0.18048665249232224</c:v>
                </c:pt>
                <c:pt idx="5">
                  <c:v>0.17903822441430334</c:v>
                </c:pt>
                <c:pt idx="6">
                  <c:v>0.1836450457620374</c:v>
                </c:pt>
                <c:pt idx="7">
                  <c:v>0.16526422080107708</c:v>
                </c:pt>
                <c:pt idx="8">
                  <c:v>0.16995073891625614</c:v>
                </c:pt>
                <c:pt idx="9">
                  <c:v>0.18761009982384028</c:v>
                </c:pt>
                <c:pt idx="10">
                  <c:v>0.19613852283174993</c:v>
                </c:pt>
                <c:pt idx="11">
                  <c:v>0.22345759755831698</c:v>
                </c:pt>
                <c:pt idx="12">
                  <c:v>0.21636463481603516</c:v>
                </c:pt>
                <c:pt idx="13">
                  <c:v>0.19138495092693567</c:v>
                </c:pt>
                <c:pt idx="14">
                  <c:v>0.18600424113904876</c:v>
                </c:pt>
                <c:pt idx="15">
                  <c:v>0.17713152676801058</c:v>
                </c:pt>
                <c:pt idx="16">
                  <c:v>0.1593640946103141</c:v>
                </c:pt>
                <c:pt idx="17">
                  <c:v>0.1411451398135819</c:v>
                </c:pt>
                <c:pt idx="18">
                  <c:v>0.1357006975269499</c:v>
                </c:pt>
                <c:pt idx="19">
                  <c:v>0.15188405797101448</c:v>
                </c:pt>
                <c:pt idx="20">
                  <c:v>0.15608619685497963</c:v>
                </c:pt>
                <c:pt idx="21">
                  <c:v>0.17455790074158586</c:v>
                </c:pt>
                <c:pt idx="22">
                  <c:v>0.1913613996719519</c:v>
                </c:pt>
                <c:pt idx="23">
                  <c:v>0.16882276843467012</c:v>
                </c:pt>
                <c:pt idx="24">
                  <c:v>0.16066481994459833</c:v>
                </c:pt>
                <c:pt idx="25">
                  <c:v>0.1533694810224632</c:v>
                </c:pt>
                <c:pt idx="26">
                  <c:v>0.1149025069637883</c:v>
                </c:pt>
                <c:pt idx="27">
                  <c:v>0.11627906976744186</c:v>
                </c:pt>
                <c:pt idx="28">
                  <c:v>0.11484217595701814</c:v>
                </c:pt>
                <c:pt idx="29">
                  <c:v>0.09904912836767037</c:v>
                </c:pt>
                <c:pt idx="30">
                  <c:v>0.10491493383742911</c:v>
                </c:pt>
                <c:pt idx="31">
                  <c:v>0.11757575757575757</c:v>
                </c:pt>
                <c:pt idx="32">
                  <c:v>0.10843373493975904</c:v>
                </c:pt>
                <c:pt idx="33">
                  <c:v>0.11497105045492143</c:v>
                </c:pt>
                <c:pt idx="34">
                  <c:v>0.11974340698503208</c:v>
                </c:pt>
                <c:pt idx="35">
                  <c:v>0.1028770706190061</c:v>
                </c:pt>
                <c:pt idx="36">
                  <c:v>0.11279229711141678</c:v>
                </c:pt>
                <c:pt idx="37">
                  <c:v>0.1066350710900474</c:v>
                </c:pt>
                <c:pt idx="38">
                  <c:v>0.13570487483530963</c:v>
                </c:pt>
                <c:pt idx="39">
                  <c:v>0.13682277318640956</c:v>
                </c:pt>
                <c:pt idx="40">
                  <c:v>0.12736773350751143</c:v>
                </c:pt>
                <c:pt idx="41">
                  <c:v>0.11859443631039532</c:v>
                </c:pt>
                <c:pt idx="42">
                  <c:v>0.11993097497842968</c:v>
                </c:pt>
                <c:pt idx="43">
                  <c:v>0.13612004287245444</c:v>
                </c:pt>
                <c:pt idx="44">
                  <c:v>0.12733911455956184</c:v>
                </c:pt>
                <c:pt idx="45">
                  <c:v>0.13899097895088539</c:v>
                </c:pt>
                <c:pt idx="46">
                  <c:v>0.11927362773421378</c:v>
                </c:pt>
                <c:pt idx="47">
                  <c:v>0.136168691922802</c:v>
                </c:pt>
                <c:pt idx="48">
                  <c:v>0.13161953727506426</c:v>
                </c:pt>
                <c:pt idx="49">
                  <c:v>0.1543591010125957</c:v>
                </c:pt>
                <c:pt idx="50">
                  <c:v>0.20555047270509302</c:v>
                </c:pt>
                <c:pt idx="51">
                  <c:v>0.1837655016910935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78.4235103811436</c:v>
                </c:pt>
              </c:numCache>
            </c:numRef>
          </c:xVal>
          <c:yVal>
            <c:numRef>
              <c:f>Sheet1!$B$163:$B$164</c:f>
              <c:numCache>
                <c:formatCode>General</c:formatCode>
                <c:ptCount val="2"/>
                <c:pt idx="0">
                  <c:v>0.19514238160054198</c:v>
                </c:pt>
                <c:pt idx="1">
                  <c:v>0.195142381600541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78.4235103811436</c:v>
                </c:pt>
                <c:pt idx="1">
                  <c:v>678.4235103811436</c:v>
                </c:pt>
              </c:numCache>
            </c:numRef>
          </c:xVal>
          <c:yVal>
            <c:numRef>
              <c:f>Sheet1!$B$167:$B$168</c:f>
              <c:numCache>
                <c:formatCode>General</c:formatCode>
                <c:ptCount val="2"/>
                <c:pt idx="0">
                  <c:v>0.195142381600541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83.990837283291</c:v>
                </c:pt>
              </c:numCache>
            </c:numRef>
          </c:xVal>
          <c:yVal>
            <c:numRef>
              <c:f>Sheet1!$B$171:$B$172</c:f>
              <c:numCache>
                <c:formatCode>General</c:formatCode>
                <c:ptCount val="2"/>
                <c:pt idx="0">
                  <c:v>0.17667920472172025</c:v>
                </c:pt>
                <c:pt idx="1">
                  <c:v>0.1766792047217202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83.990837283291</c:v>
                </c:pt>
                <c:pt idx="1">
                  <c:v>883.990837283291</c:v>
                </c:pt>
              </c:numCache>
            </c:numRef>
          </c:xVal>
          <c:yVal>
            <c:numRef>
              <c:f>Sheet1!$B$175:$B$176</c:f>
              <c:numCache>
                <c:formatCode>General</c:formatCode>
                <c:ptCount val="2"/>
                <c:pt idx="0">
                  <c:v>0.176679204721720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8.753571416156</c:v>
                </c:pt>
              </c:numCache>
            </c:numRef>
          </c:xVal>
          <c:yVal>
            <c:numRef>
              <c:f>Sheet1!$B$179:$B$180</c:f>
              <c:numCache>
                <c:formatCode>General</c:formatCode>
                <c:ptCount val="2"/>
                <c:pt idx="0">
                  <c:v>0.14122330666973154</c:v>
                </c:pt>
                <c:pt idx="1">
                  <c:v>0.141223306669731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8.753571416156</c:v>
                </c:pt>
                <c:pt idx="1">
                  <c:v>1278.753571416156</c:v>
                </c:pt>
              </c:numCache>
            </c:numRef>
          </c:xVal>
          <c:yVal>
            <c:numRef>
              <c:f>Sheet1!$B$183:$B$184</c:f>
              <c:numCache>
                <c:formatCode>General</c:formatCode>
                <c:ptCount val="2"/>
                <c:pt idx="0">
                  <c:v>0.141223306669731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9.4433</c:v>
                </c:pt>
                <c:pt idx="1">
                  <c:v>1178.6409</c:v>
                </c:pt>
                <c:pt idx="2">
                  <c:v>1174.0955</c:v>
                </c:pt>
                <c:pt idx="3">
                  <c:v>1198.2949</c:v>
                </c:pt>
                <c:pt idx="4">
                  <c:v>1198.0183</c:v>
                </c:pt>
                <c:pt idx="5">
                  <c:v>1181.0041</c:v>
                </c:pt>
                <c:pt idx="6">
                  <c:v>1119.584</c:v>
                </c:pt>
                <c:pt idx="7">
                  <c:v>1240.2729</c:v>
                </c:pt>
                <c:pt idx="8">
                  <c:v>1297.9601</c:v>
                </c:pt>
                <c:pt idx="9">
                  <c:v>1265.3709</c:v>
                </c:pt>
                <c:pt idx="10">
                  <c:v>1263.3906</c:v>
                </c:pt>
                <c:pt idx="11">
                  <c:v>1063.2859</c:v>
                </c:pt>
                <c:pt idx="12">
                  <c:v>1066.4213</c:v>
                </c:pt>
                <c:pt idx="13">
                  <c:v>1204.1595</c:v>
                </c:pt>
                <c:pt idx="14">
                  <c:v>1244.4625</c:v>
                </c:pt>
                <c:pt idx="15">
                  <c:v>1264.2146</c:v>
                </c:pt>
                <c:pt idx="16">
                  <c:v>1318.674</c:v>
                </c:pt>
                <c:pt idx="17">
                  <c:v>1319.4245</c:v>
                </c:pt>
                <c:pt idx="18">
                  <c:v>1359.1589</c:v>
                </c:pt>
                <c:pt idx="19">
                  <c:v>1300.1794</c:v>
                </c:pt>
                <c:pt idx="20">
                  <c:v>1214.9851</c:v>
                </c:pt>
                <c:pt idx="21">
                  <c:v>1093.0359</c:v>
                </c:pt>
                <c:pt idx="22">
                  <c:v>978.3829</c:v>
                </c:pt>
                <c:pt idx="23">
                  <c:v>1011.8238</c:v>
                </c:pt>
                <c:pt idx="24">
                  <c:v>1066.7198</c:v>
                </c:pt>
                <c:pt idx="25">
                  <c:v>1069.5808</c:v>
                </c:pt>
                <c:pt idx="26">
                  <c:v>1196.097</c:v>
                </c:pt>
                <c:pt idx="27">
                  <c:v>1233.5806</c:v>
                </c:pt>
                <c:pt idx="28">
                  <c:v>1242.807</c:v>
                </c:pt>
                <c:pt idx="29">
                  <c:v>1207.448</c:v>
                </c:pt>
                <c:pt idx="30">
                  <c:v>1170.9279</c:v>
                </c:pt>
                <c:pt idx="31">
                  <c:v>1208.6598</c:v>
                </c:pt>
                <c:pt idx="32">
                  <c:v>1232.1282</c:v>
                </c:pt>
                <c:pt idx="33">
                  <c:v>1251.5755</c:v>
                </c:pt>
                <c:pt idx="34">
                  <c:v>1243.506</c:v>
                </c:pt>
                <c:pt idx="35">
                  <c:v>1274.1102</c:v>
                </c:pt>
                <c:pt idx="36">
                  <c:v>1214.3415</c:v>
                </c:pt>
                <c:pt idx="37">
                  <c:v>1123.7556</c:v>
                </c:pt>
                <c:pt idx="38">
                  <c:v>1021.5825</c:v>
                </c:pt>
                <c:pt idx="39">
                  <c:v>1007.7651</c:v>
                </c:pt>
                <c:pt idx="40">
                  <c:v>1067.1538</c:v>
                </c:pt>
                <c:pt idx="41">
                  <c:v>1153.8827</c:v>
                </c:pt>
                <c:pt idx="42">
                  <c:v>1172.2806</c:v>
                </c:pt>
                <c:pt idx="43">
                  <c:v>1057.7913</c:v>
                </c:pt>
                <c:pt idx="44">
                  <c:v>1136.6774</c:v>
                </c:pt>
                <c:pt idx="45">
                  <c:v>1157.4663</c:v>
                </c:pt>
                <c:pt idx="46">
                  <c:v>1225.7855</c:v>
                </c:pt>
                <c:pt idx="47">
                  <c:v>1155.9685</c:v>
                </c:pt>
                <c:pt idx="48">
                  <c:v>1229.5215</c:v>
                </c:pt>
                <c:pt idx="49">
                  <c:v>1178.4928</c:v>
                </c:pt>
                <c:pt idx="50">
                  <c:v>1039.7901</c:v>
                </c:pt>
                <c:pt idx="51">
                  <c:v>1021.3926</c:v>
                </c:pt>
                <c:pt idx="52">
                  <c:v>883.990837283291</c:v>
                </c:pt>
                <c:pt idx="53">
                  <c:v>678.4235103811436</c:v>
                </c:pt>
                <c:pt idx="54">
                  <c:v>1278.753571416156</c:v>
                </c:pt>
              </c:numCache>
            </c:numRef>
          </c:xVal>
          <c:yVal>
            <c:numRef>
              <c:f>Sheet1!$B$187:$B$241</c:f>
              <c:numCache>
                <c:formatCode>General</c:formatCode>
                <c:ptCount val="55"/>
                <c:pt idx="0">
                  <c:v>0.14924477274170606</c:v>
                </c:pt>
                <c:pt idx="1">
                  <c:v>0.15021499804414784</c:v>
                </c:pt>
                <c:pt idx="2">
                  <c:v>0.15062324640467134</c:v>
                </c:pt>
                <c:pt idx="3">
                  <c:v>0.1484497599401903</c:v>
                </c:pt>
                <c:pt idx="4">
                  <c:v>0.14847460296754122</c:v>
                </c:pt>
                <c:pt idx="5">
                  <c:v>0.15000274554148818</c:v>
                </c:pt>
                <c:pt idx="6">
                  <c:v>0.15551923586757355</c:v>
                </c:pt>
                <c:pt idx="7">
                  <c:v>0.1446794757676082</c:v>
                </c:pt>
                <c:pt idx="8">
                  <c:v>0.1394982585318995</c:v>
                </c:pt>
                <c:pt idx="9">
                  <c:v>0.14242528089973777</c:v>
                </c:pt>
                <c:pt idx="10">
                  <c:v>0.14260314296431836</c:v>
                </c:pt>
                <c:pt idx="11">
                  <c:v>0.16057569009065337</c:v>
                </c:pt>
                <c:pt idx="12">
                  <c:v>0.16029408189124622</c:v>
                </c:pt>
                <c:pt idx="13">
                  <c:v>0.14792302668566354</c:v>
                </c:pt>
                <c:pt idx="14">
                  <c:v>0.14430318383923024</c:v>
                </c:pt>
                <c:pt idx="15">
                  <c:v>0.14252913481342483</c:v>
                </c:pt>
                <c:pt idx="16">
                  <c:v>0.1376378247493837</c:v>
                </c:pt>
                <c:pt idx="17">
                  <c:v>0.13757041805369732</c:v>
                </c:pt>
                <c:pt idx="18">
                  <c:v>0.13400164442400925</c:v>
                </c:pt>
                <c:pt idx="19">
                  <c:v>0.13929893051093112</c:v>
                </c:pt>
                <c:pt idx="20">
                  <c:v>0.14695071765858492</c:v>
                </c:pt>
                <c:pt idx="21">
                  <c:v>0.15790367250681617</c:v>
                </c:pt>
                <c:pt idx="22">
                  <c:v>0.16820131391991489</c:v>
                </c:pt>
                <c:pt idx="23">
                  <c:v>0.16519779550581937</c:v>
                </c:pt>
                <c:pt idx="24">
                  <c:v>0.16026727189969073</c:v>
                </c:pt>
                <c:pt idx="25">
                  <c:v>0.16001030913305686</c:v>
                </c:pt>
                <c:pt idx="26">
                  <c:v>0.1486471659048127</c:v>
                </c:pt>
                <c:pt idx="27">
                  <c:v>0.14528054949118177</c:v>
                </c:pt>
                <c:pt idx="28">
                  <c:v>0.1444518737588955</c:v>
                </c:pt>
                <c:pt idx="29">
                  <c:v>0.14762766769996777</c:v>
                </c:pt>
                <c:pt idx="30">
                  <c:v>0.1509077466701692</c:v>
                </c:pt>
                <c:pt idx="31">
                  <c:v>0.14751882901398145</c:v>
                </c:pt>
                <c:pt idx="32">
                  <c:v>0.14541099783870326</c:v>
                </c:pt>
                <c:pt idx="33">
                  <c:v>0.14366432464347112</c:v>
                </c:pt>
                <c:pt idx="34">
                  <c:v>0.14438909257264</c:v>
                </c:pt>
                <c:pt idx="35">
                  <c:v>0.14164035440325273</c:v>
                </c:pt>
                <c:pt idx="36">
                  <c:v>0.14700852305411294</c:v>
                </c:pt>
                <c:pt idx="37">
                  <c:v>0.15514456062210347</c:v>
                </c:pt>
                <c:pt idx="38">
                  <c:v>0.16432131086731877</c:v>
                </c:pt>
                <c:pt idx="39">
                  <c:v>0.16556233055682845</c:v>
                </c:pt>
                <c:pt idx="40">
                  <c:v>0.16022829187846768</c:v>
                </c:pt>
                <c:pt idx="41">
                  <c:v>0.1524386735313464</c:v>
                </c:pt>
                <c:pt idx="42">
                  <c:v>0.15078625294964293</c:v>
                </c:pt>
                <c:pt idx="43">
                  <c:v>0.16106919152985175</c:v>
                </c:pt>
                <c:pt idx="44">
                  <c:v>0.15398397988883195</c:v>
                </c:pt>
                <c:pt idx="45">
                  <c:v>0.15211680992753335</c:v>
                </c:pt>
                <c:pt idx="46">
                  <c:v>0.14598067198757736</c:v>
                </c:pt>
                <c:pt idx="47">
                  <c:v>0.1522513359086114</c:v>
                </c:pt>
                <c:pt idx="48">
                  <c:v>0.14564512046847766</c:v>
                </c:pt>
                <c:pt idx="49">
                  <c:v>0.1502282997518509</c:v>
                </c:pt>
                <c:pt idx="50">
                  <c:v>0.16268598221658015</c:v>
                </c:pt>
                <c:pt idx="51">
                  <c:v>0.1643383668719968</c:v>
                </c:pt>
                <c:pt idx="52">
                  <c:v>0.17667920472172025</c:v>
                </c:pt>
                <c:pt idx="53">
                  <c:v>0.19514238160054198</c:v>
                </c:pt>
                <c:pt idx="54">
                  <c:v>0.141223306669731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1.0"/>
          <c:min val="5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0171815024675"/>
          <c:min val="0.0537102473498233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1.106544483898537</c:v>
                </c:pt>
                <c:pt idx="3">
                  <c:v>1.0325614421592884</c:v>
                </c:pt>
                <c:pt idx="4">
                  <c:v>1.3844097878085924</c:v>
                </c:pt>
                <c:pt idx="5">
                  <c:v>0.8481720520646635</c:v>
                </c:pt>
                <c:pt idx="6">
                  <c:v>1.1372076258501844</c:v>
                </c:pt>
                <c:pt idx="7">
                  <c:v>1.8840854580620165</c:v>
                </c:pt>
                <c:pt idx="8">
                  <c:v>1.1819017490657593</c:v>
                </c:pt>
                <c:pt idx="9">
                  <c:v>1.2252493568008722</c:v>
                </c:pt>
                <c:pt idx="10">
                  <c:v>1.2918488525180398</c:v>
                </c:pt>
                <c:pt idx="11">
                  <c:v>1.2408006039286599</c:v>
                </c:pt>
                <c:pt idx="12">
                  <c:v>1.119372186564251</c:v>
                </c:pt>
                <c:pt idx="13">
                  <c:v>1.083387832838474</c:v>
                </c:pt>
                <c:pt idx="14">
                  <c:v>1.0330208203007178</c:v>
                </c:pt>
                <c:pt idx="15">
                  <c:v>1.4441188508570397</c:v>
                </c:pt>
                <c:pt idx="16">
                  <c:v>1.0485716603290267</c:v>
                </c:pt>
                <c:pt idx="17">
                  <c:v>0.7710201402515484</c:v>
                </c:pt>
                <c:pt idx="18">
                  <c:v>1.205333441487361</c:v>
                </c:pt>
                <c:pt idx="19">
                  <c:v>0.9039153409907849</c:v>
                </c:pt>
                <c:pt idx="20">
                  <c:v>1.0332539018283842</c:v>
                </c:pt>
                <c:pt idx="21">
                  <c:v>0.3142667562998336</c:v>
                </c:pt>
                <c:pt idx="22">
                  <c:v>0.5794788953837674</c:v>
                </c:pt>
                <c:pt idx="23">
                  <c:v>2.058030074327601</c:v>
                </c:pt>
                <c:pt idx="24">
                  <c:v>2.4039571660715184</c:v>
                </c:pt>
                <c:pt idx="25">
                  <c:v>2.9790467264319145</c:v>
                </c:pt>
                <c:pt idx="26">
                  <c:v>1.7420162538680533</c:v>
                </c:pt>
                <c:pt idx="27">
                  <c:v>2.6515102855360477</c:v>
                </c:pt>
                <c:pt idx="28">
                  <c:v>2.3805566821413455</c:v>
                </c:pt>
                <c:pt idx="29">
                  <c:v>1.60095442923793</c:v>
                </c:pt>
                <c:pt idx="30">
                  <c:v>1.2062409297383423</c:v>
                </c:pt>
                <c:pt idx="31">
                  <c:v>2.5013673878768623</c:v>
                </c:pt>
                <c:pt idx="32">
                  <c:v>0.0</c:v>
                </c:pt>
                <c:pt idx="33">
                  <c:v>2.2175419288836533</c:v>
                </c:pt>
                <c:pt idx="34">
                  <c:v>2.3303331951709976</c:v>
                </c:pt>
                <c:pt idx="35">
                  <c:v>2.3356803280404326</c:v>
                </c:pt>
                <c:pt idx="36">
                  <c:v>1.8409777367572673</c:v>
                </c:pt>
                <c:pt idx="37">
                  <c:v>1.5290451472240965</c:v>
                </c:pt>
                <c:pt idx="38">
                  <c:v>2.3290957777306263</c:v>
                </c:pt>
                <c:pt idx="39">
                  <c:v>1.7589098883822714</c:v>
                </c:pt>
                <c:pt idx="40">
                  <c:v>2.2988813773552597</c:v>
                </c:pt>
                <c:pt idx="41">
                  <c:v>3.6588976628179175</c:v>
                </c:pt>
                <c:pt idx="42">
                  <c:v>1.9052690676192603</c:v>
                </c:pt>
                <c:pt idx="43">
                  <c:v>1.930275414737202</c:v>
                </c:pt>
                <c:pt idx="44">
                  <c:v>1.1261266851018654</c:v>
                </c:pt>
                <c:pt idx="45">
                  <c:v>0.97030892214349</c:v>
                </c:pt>
                <c:pt idx="46">
                  <c:v>0.9929984194069109</c:v>
                </c:pt>
                <c:pt idx="47">
                  <c:v>1.4905739732489272</c:v>
                </c:pt>
                <c:pt idx="48">
                  <c:v>2.194230059684158</c:v>
                </c:pt>
                <c:pt idx="49">
                  <c:v>2.141977395425289</c:v>
                </c:pt>
                <c:pt idx="50">
                  <c:v>2.021296982327958</c:v>
                </c:pt>
                <c:pt idx="51">
                  <c:v>2.657201241271004</c:v>
                </c:pt>
                <c:pt idx="52">
                  <c:v>2.4798845196904082</c:v>
                </c:pt>
              </c:numCache>
            </c:numRef>
          </c:xVal>
          <c:yVal>
            <c:numRef>
              <c:f>Sheet1!$B$2:$B$54</c:f>
              <c:numCache>
                <c:formatCode>General</c:formatCode>
                <c:ptCount val="53"/>
                <c:pt idx="0">
                  <c:v>0.0</c:v>
                </c:pt>
                <c:pt idx="1">
                  <c:v>0.0</c:v>
                </c:pt>
                <c:pt idx="2">
                  <c:v>0.00033003300330033004</c:v>
                </c:pt>
                <c:pt idx="3">
                  <c:v>0.000351493848857645</c:v>
                </c:pt>
                <c:pt idx="4">
                  <c:v>0.00033523298692591353</c:v>
                </c:pt>
                <c:pt idx="5">
                  <c:v>0.00025523226135783564</c:v>
                </c:pt>
                <c:pt idx="6">
                  <c:v>0.00023185717597959656</c:v>
                </c:pt>
                <c:pt idx="7">
                  <c:v>0.00013042911177774878</c:v>
                </c:pt>
                <c:pt idx="8">
                  <c:v>0.000449707690001499</c:v>
                </c:pt>
                <c:pt idx="9">
                  <c:v>0.0006319780914261639</c:v>
                </c:pt>
                <c:pt idx="10">
                  <c:v>0.00045599635202918376</c:v>
                </c:pt>
                <c:pt idx="11">
                  <c:v>0.0005944125222904696</c:v>
                </c:pt>
                <c:pt idx="12">
                  <c:v>0.000819840131174421</c:v>
                </c:pt>
                <c:pt idx="13">
                  <c:v>0.0006659267480577136</c:v>
                </c:pt>
                <c:pt idx="14">
                  <c:v>0.0006950880444856349</c:v>
                </c:pt>
                <c:pt idx="15">
                  <c:v>0.0004978839930296241</c:v>
                </c:pt>
                <c:pt idx="16">
                  <c:v>0.0008431703204047217</c:v>
                </c:pt>
                <c:pt idx="17">
                  <c:v>0.0016122531237404273</c:v>
                </c:pt>
                <c:pt idx="18">
                  <c:v>0.00037439161362785476</c:v>
                </c:pt>
                <c:pt idx="19">
                  <c:v>0.0012033694344163659</c:v>
                </c:pt>
                <c:pt idx="20">
                  <c:v>0.0008572653236176596</c:v>
                </c:pt>
                <c:pt idx="21">
                  <c:v>0.0014278914802475012</c:v>
                </c:pt>
                <c:pt idx="22">
                  <c:v>0.0008952551477170994</c:v>
                </c:pt>
                <c:pt idx="23">
                  <c:v>0.0006230529595015577</c:v>
                </c:pt>
                <c:pt idx="24">
                  <c:v>0.0014705882352941176</c:v>
                </c:pt>
                <c:pt idx="25">
                  <c:v>0.0013449899125756557</c:v>
                </c:pt>
                <c:pt idx="26">
                  <c:v>0.0016116035455278</c:v>
                </c:pt>
                <c:pt idx="27">
                  <c:v>0.001594896331738437</c:v>
                </c:pt>
                <c:pt idx="28">
                  <c:v>0.0008598452278589854</c:v>
                </c:pt>
                <c:pt idx="29">
                  <c:v>0.002050580997949419</c:v>
                </c:pt>
                <c:pt idx="30">
                  <c:v>0.0033585222502099076</c:v>
                </c:pt>
                <c:pt idx="31">
                  <c:v>0.00199203187250996</c:v>
                </c:pt>
                <c:pt idx="32">
                  <c:v>0.0</c:v>
                </c:pt>
                <c:pt idx="33">
                  <c:v>0.0016849199663016006</c:v>
                </c:pt>
                <c:pt idx="34">
                  <c:v>0.002793296089385475</c:v>
                </c:pt>
                <c:pt idx="35">
                  <c:v>0.0029651593773165306</c:v>
                </c:pt>
                <c:pt idx="36">
                  <c:v>0.003663003663003663</c:v>
                </c:pt>
                <c:pt idx="37">
                  <c:v>0.006481481481481481</c:v>
                </c:pt>
                <c:pt idx="38">
                  <c:v>0.0030425963488843813</c:v>
                </c:pt>
                <c:pt idx="39">
                  <c:v>0.0035335689045936395</c:v>
                </c:pt>
                <c:pt idx="40">
                  <c:v>0.0025078369905956114</c:v>
                </c:pt>
                <c:pt idx="41">
                  <c:v>0.0013131976362442547</c:v>
                </c:pt>
                <c:pt idx="42">
                  <c:v>0.0036900369003690036</c:v>
                </c:pt>
                <c:pt idx="43">
                  <c:v>0.003771551724137931</c:v>
                </c:pt>
                <c:pt idx="44">
                  <c:v>0.007047216349541931</c:v>
                </c:pt>
                <c:pt idx="45">
                  <c:v>0.010965688008489564</c:v>
                </c:pt>
                <c:pt idx="46">
                  <c:v>0.009316770186335404</c:v>
                </c:pt>
                <c:pt idx="47">
                  <c:v>0.006490134994807892</c:v>
                </c:pt>
                <c:pt idx="48">
                  <c:v>0.0032200933827080985</c:v>
                </c:pt>
                <c:pt idx="49">
                  <c:v>0.004311506332524926</c:v>
                </c:pt>
                <c:pt idx="50">
                  <c:v>0.004765146358066712</c:v>
                </c:pt>
                <c:pt idx="51">
                  <c:v>0.0029385836027034967</c:v>
                </c:pt>
                <c:pt idx="52">
                  <c:v>0.00274390243902439</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622491906559286</c:v>
                </c:pt>
                <c:pt idx="1">
                  <c:v>1.640319589823394</c:v>
                </c:pt>
                <c:pt idx="2">
                  <c:v>2.784288983719077</c:v>
                </c:pt>
                <c:pt idx="3">
                  <c:v>1.8777633522761394</c:v>
                </c:pt>
                <c:pt idx="4">
                  <c:v>2.355501573966288</c:v>
                </c:pt>
                <c:pt idx="5">
                  <c:v>2.5611448978429614</c:v>
                </c:pt>
                <c:pt idx="6">
                  <c:v>2.9527250156914007</c:v>
                </c:pt>
                <c:pt idx="7">
                  <c:v>2.5210998353719662</c:v>
                </c:pt>
                <c:pt idx="8">
                  <c:v>2.5451471325559223</c:v>
                </c:pt>
                <c:pt idx="9">
                  <c:v>2.334547480053954</c:v>
                </c:pt>
                <c:pt idx="10">
                  <c:v>2.381963768232554</c:v>
                </c:pt>
                <c:pt idx="11">
                  <c:v>2.621184502297024</c:v>
                </c:pt>
                <c:pt idx="12">
                  <c:v>2.3339366894644202</c:v>
                </c:pt>
                <c:pt idx="13">
                  <c:v>2.036287823141119</c:v>
                </c:pt>
                <c:pt idx="14">
                  <c:v>1.8704604850047326</c:v>
                </c:pt>
                <c:pt idx="15">
                  <c:v>1.9886498171230993</c:v>
                </c:pt>
                <c:pt idx="16">
                  <c:v>2.142614622247492</c:v>
                </c:pt>
                <c:pt idx="17">
                  <c:v>1.8841943461863475</c:v>
                </c:pt>
                <c:pt idx="18">
                  <c:v>1.9205074368651611</c:v>
                </c:pt>
                <c:pt idx="19">
                  <c:v>2.9307712102922205</c:v>
                </c:pt>
                <c:pt idx="20">
                  <c:v>1.90942865129571</c:v>
                </c:pt>
                <c:pt idx="21">
                  <c:v>2.01635359066876</c:v>
                </c:pt>
                <c:pt idx="22">
                  <c:v>1.982069097867978</c:v>
                </c:pt>
                <c:pt idx="23">
                  <c:v>2.361384971606485</c:v>
                </c:pt>
                <c:pt idx="24">
                  <c:v>1.757909829206396</c:v>
                </c:pt>
                <c:pt idx="25">
                  <c:v>1.8264723635972404</c:v>
                </c:pt>
                <c:pt idx="26">
                  <c:v>2.048145165144234</c:v>
                </c:pt>
                <c:pt idx="27">
                  <c:v>2.206074291824301</c:v>
                </c:pt>
                <c:pt idx="28">
                  <c:v>1.8929788919631014</c:v>
                </c:pt>
                <c:pt idx="29">
                  <c:v>2.121557721463851</c:v>
                </c:pt>
                <c:pt idx="30">
                  <c:v>1.22179997660813</c:v>
                </c:pt>
                <c:pt idx="31">
                  <c:v>1.7833366586092785</c:v>
                </c:pt>
                <c:pt idx="32">
                  <c:v>2.199305007428314</c:v>
                </c:pt>
                <c:pt idx="33">
                  <c:v>2.0350016040725447</c:v>
                </c:pt>
                <c:pt idx="34">
                  <c:v>2.3101415316514404</c:v>
                </c:pt>
                <c:pt idx="35">
                  <c:v>1.9725266029366015</c:v>
                </c:pt>
                <c:pt idx="36">
                  <c:v>1.8961411342761563</c:v>
                </c:pt>
                <c:pt idx="37">
                  <c:v>1.6558336924996522</c:v>
                </c:pt>
                <c:pt idx="38">
                  <c:v>1.7542493566330617</c:v>
                </c:pt>
                <c:pt idx="39">
                  <c:v>1.9448508705155783</c:v>
                </c:pt>
                <c:pt idx="40">
                  <c:v>2.5181642317560087</c:v>
                </c:pt>
                <c:pt idx="41">
                  <c:v>2.5220221940437075</c:v>
                </c:pt>
                <c:pt idx="42">
                  <c:v>1.9449128602943448</c:v>
                </c:pt>
                <c:pt idx="43">
                  <c:v>2.1304002470417482</c:v>
                </c:pt>
                <c:pt idx="44">
                  <c:v>2.2836547380502275</c:v>
                </c:pt>
                <c:pt idx="45">
                  <c:v>2.1830046876048472</c:v>
                </c:pt>
                <c:pt idx="46">
                  <c:v>2.33753712869185</c:v>
                </c:pt>
                <c:pt idx="47">
                  <c:v>2.496880535008817</c:v>
                </c:pt>
                <c:pt idx="48">
                  <c:v>2.7987286624178225</c:v>
                </c:pt>
                <c:pt idx="49">
                  <c:v>2.609288645167992</c:v>
                </c:pt>
                <c:pt idx="50">
                  <c:v>2.570267654109272</c:v>
                </c:pt>
                <c:pt idx="51">
                  <c:v>2.500793907774321</c:v>
                </c:pt>
              </c:numCache>
            </c:numRef>
          </c:xVal>
          <c:yVal>
            <c:numRef>
              <c:f>Sheet1!$B$57:$B$108</c:f>
              <c:numCache>
                <c:formatCode>General</c:formatCode>
                <c:ptCount val="52"/>
                <c:pt idx="0">
                  <c:v>0.002274450341167551</c:v>
                </c:pt>
                <c:pt idx="1">
                  <c:v>0.003353973168214654</c:v>
                </c:pt>
                <c:pt idx="2">
                  <c:v>0.0025492468134414832</c:v>
                </c:pt>
                <c:pt idx="3">
                  <c:v>0.0029933718195424416</c:v>
                </c:pt>
                <c:pt idx="4">
                  <c:v>0.003071107961256792</c:v>
                </c:pt>
                <c:pt idx="5">
                  <c:v>0.0027127003699136867</c:v>
                </c:pt>
                <c:pt idx="6">
                  <c:v>0.0021886191802626344</c:v>
                </c:pt>
                <c:pt idx="7">
                  <c:v>0.0030292830696735107</c:v>
                </c:pt>
                <c:pt idx="8">
                  <c:v>0.002770935960591133</c:v>
                </c:pt>
                <c:pt idx="9">
                  <c:v>0.0035231943628890195</c:v>
                </c:pt>
                <c:pt idx="10">
                  <c:v>0.003371130861170702</c:v>
                </c:pt>
                <c:pt idx="11">
                  <c:v>0.0028340963592762155</c:v>
                </c:pt>
                <c:pt idx="12">
                  <c:v>0.003844041735310269</c:v>
                </c:pt>
                <c:pt idx="13">
                  <c:v>0.004907306434023991</c:v>
                </c:pt>
                <c:pt idx="14">
                  <c:v>0.006664647076643442</c:v>
                </c:pt>
                <c:pt idx="15">
                  <c:v>0.005287508261731659</c:v>
                </c:pt>
                <c:pt idx="16">
                  <c:v>0.005428460643660334</c:v>
                </c:pt>
                <c:pt idx="17">
                  <c:v>0.006213936972924989</c:v>
                </c:pt>
                <c:pt idx="18">
                  <c:v>0.0050729232720355105</c:v>
                </c:pt>
                <c:pt idx="19">
                  <c:v>0.002898550724637681</c:v>
                </c:pt>
                <c:pt idx="20">
                  <c:v>0.004659289458357601</c:v>
                </c:pt>
                <c:pt idx="21">
                  <c:v>0.00513405590416429</c:v>
                </c:pt>
                <c:pt idx="22">
                  <c:v>0.0032804811372334607</c:v>
                </c:pt>
                <c:pt idx="23">
                  <c:v>0.00258732212160414</c:v>
                </c:pt>
                <c:pt idx="24">
                  <c:v>0.004155124653739612</c:v>
                </c:pt>
                <c:pt idx="25">
                  <c:v>0.004647560030983733</c:v>
                </c:pt>
                <c:pt idx="26">
                  <c:v>0.003481894150417827</c:v>
                </c:pt>
                <c:pt idx="27">
                  <c:v>0.0037509377344336083</c:v>
                </c:pt>
                <c:pt idx="28">
                  <c:v>0.0033579583613163196</c:v>
                </c:pt>
                <c:pt idx="29">
                  <c:v>0.003169572107765452</c:v>
                </c:pt>
                <c:pt idx="30">
                  <c:v>0.005671077504725898</c:v>
                </c:pt>
                <c:pt idx="31">
                  <c:v>0.0048484848484848485</c:v>
                </c:pt>
                <c:pt idx="32">
                  <c:v>0.0037071362372567192</c:v>
                </c:pt>
                <c:pt idx="33">
                  <c:v>0.0041356492969396195</c:v>
                </c:pt>
                <c:pt idx="34">
                  <c:v>0.0042765502494654314</c:v>
                </c:pt>
                <c:pt idx="35">
                  <c:v>0.0052310374891020054</c:v>
                </c:pt>
                <c:pt idx="36">
                  <c:v>0.0068775790921595595</c:v>
                </c:pt>
                <c:pt idx="37">
                  <c:v>0.008293838862559242</c:v>
                </c:pt>
                <c:pt idx="38">
                  <c:v>0.006587615283267457</c:v>
                </c:pt>
                <c:pt idx="39">
                  <c:v>0.004591368227731864</c:v>
                </c:pt>
                <c:pt idx="40">
                  <c:v>0.0032658393207054214</c:v>
                </c:pt>
                <c:pt idx="41">
                  <c:v>0.0036603221083455345</c:v>
                </c:pt>
                <c:pt idx="42">
                  <c:v>0.004314063848144953</c:v>
                </c:pt>
                <c:pt idx="43">
                  <c:v>0.003215434083601286</c:v>
                </c:pt>
                <c:pt idx="44">
                  <c:v>0.003651300775901415</c:v>
                </c:pt>
                <c:pt idx="45">
                  <c:v>0.003341129301703976</c:v>
                </c:pt>
                <c:pt idx="46">
                  <c:v>0.0033016921172100704</c:v>
                </c:pt>
                <c:pt idx="47">
                  <c:v>0.0032165832737669764</c:v>
                </c:pt>
                <c:pt idx="48">
                  <c:v>0.002570694087403599</c:v>
                </c:pt>
                <c:pt idx="49">
                  <c:v>0.0029636947394418374</c:v>
                </c:pt>
                <c:pt idx="50">
                  <c:v>0.0028972247636474533</c:v>
                </c:pt>
                <c:pt idx="51">
                  <c:v>0.003382187147688838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800175861641476</c:v>
                </c:pt>
              </c:numCache>
            </c:numRef>
          </c:xVal>
          <c:yVal>
            <c:numRef>
              <c:f>Sheet1!$B$111:$B$112</c:f>
              <c:numCache>
                <c:formatCode>General</c:formatCode>
                <c:ptCount val="2"/>
                <c:pt idx="0">
                  <c:v>0.005003321274707142</c:v>
                </c:pt>
                <c:pt idx="1">
                  <c:v>0.00500332127470714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800175861641476</c:v>
                </c:pt>
                <c:pt idx="1">
                  <c:v>1.800175861641476</c:v>
                </c:pt>
              </c:numCache>
            </c:numRef>
          </c:xVal>
          <c:yVal>
            <c:numRef>
              <c:f>Sheet1!$B$115:$B$116</c:f>
              <c:numCache>
                <c:formatCode>General</c:formatCode>
                <c:ptCount val="2"/>
                <c:pt idx="0">
                  <c:v>0.0050033212747071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1.9550409663329813</c:v>
                </c:pt>
              </c:numCache>
            </c:numRef>
          </c:xVal>
          <c:yVal>
            <c:numRef>
              <c:f>Sheet1!$B$119:$B$120</c:f>
              <c:numCache>
                <c:formatCode>General</c:formatCode>
                <c:ptCount val="2"/>
                <c:pt idx="0">
                  <c:v>0.004603010928217362</c:v>
                </c:pt>
                <c:pt idx="1">
                  <c:v>0.004603010928217362</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1.9550409663329813</c:v>
                </c:pt>
                <c:pt idx="1">
                  <c:v>1.9550409663329813</c:v>
                </c:pt>
              </c:numCache>
            </c:numRef>
          </c:xVal>
          <c:yVal>
            <c:numRef>
              <c:f>Sheet1!$B$123:$B$124</c:f>
              <c:numCache>
                <c:formatCode>General</c:formatCode>
                <c:ptCount val="2"/>
                <c:pt idx="0">
                  <c:v>0.004603010928217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415336295329723</c:v>
                </c:pt>
              </c:numCache>
            </c:numRef>
          </c:xVal>
          <c:yVal>
            <c:numRef>
              <c:f>Sheet1!$B$127:$B$128</c:f>
              <c:numCache>
                <c:formatCode>General</c:formatCode>
                <c:ptCount val="2"/>
                <c:pt idx="0">
                  <c:v>0.003413194907330248</c:v>
                </c:pt>
                <c:pt idx="1">
                  <c:v>0.003413194907330248</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415336295329723</c:v>
                </c:pt>
                <c:pt idx="1">
                  <c:v>2.415336295329723</c:v>
                </c:pt>
              </c:numCache>
            </c:numRef>
          </c:xVal>
          <c:yVal>
            <c:numRef>
              <c:f>Sheet1!$B$131:$B$132</c:f>
              <c:numCache>
                <c:formatCode>General</c:formatCode>
                <c:ptCount val="2"/>
                <c:pt idx="0">
                  <c:v>0.0034131949073302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622491906559286</c:v>
                </c:pt>
                <c:pt idx="1">
                  <c:v>1.640319589823394</c:v>
                </c:pt>
                <c:pt idx="2">
                  <c:v>2.784288983719077</c:v>
                </c:pt>
                <c:pt idx="3">
                  <c:v>1.8777633522761394</c:v>
                </c:pt>
                <c:pt idx="4">
                  <c:v>2.355501573966288</c:v>
                </c:pt>
                <c:pt idx="5">
                  <c:v>2.5611448978429614</c:v>
                </c:pt>
                <c:pt idx="6">
                  <c:v>2.9527250156914007</c:v>
                </c:pt>
                <c:pt idx="7">
                  <c:v>2.5210998353719662</c:v>
                </c:pt>
                <c:pt idx="8">
                  <c:v>2.5451471325559223</c:v>
                </c:pt>
                <c:pt idx="9">
                  <c:v>2.334547480053954</c:v>
                </c:pt>
                <c:pt idx="10">
                  <c:v>2.381963768232554</c:v>
                </c:pt>
                <c:pt idx="11">
                  <c:v>2.621184502297024</c:v>
                </c:pt>
                <c:pt idx="12">
                  <c:v>2.3339366894644202</c:v>
                </c:pt>
                <c:pt idx="13">
                  <c:v>2.036287823141119</c:v>
                </c:pt>
                <c:pt idx="14">
                  <c:v>1.8704604850047326</c:v>
                </c:pt>
                <c:pt idx="15">
                  <c:v>1.9886498171230993</c:v>
                </c:pt>
                <c:pt idx="16">
                  <c:v>2.142614622247492</c:v>
                </c:pt>
                <c:pt idx="17">
                  <c:v>1.8841943461863475</c:v>
                </c:pt>
                <c:pt idx="18">
                  <c:v>1.9205074368651611</c:v>
                </c:pt>
                <c:pt idx="19">
                  <c:v>2.9307712102922205</c:v>
                </c:pt>
                <c:pt idx="20">
                  <c:v>1.90942865129571</c:v>
                </c:pt>
                <c:pt idx="21">
                  <c:v>2.01635359066876</c:v>
                </c:pt>
                <c:pt idx="22">
                  <c:v>1.982069097867978</c:v>
                </c:pt>
                <c:pt idx="23">
                  <c:v>2.361384971606485</c:v>
                </c:pt>
                <c:pt idx="24">
                  <c:v>1.757909829206396</c:v>
                </c:pt>
                <c:pt idx="25">
                  <c:v>1.8264723635972404</c:v>
                </c:pt>
                <c:pt idx="26">
                  <c:v>2.048145165144234</c:v>
                </c:pt>
                <c:pt idx="27">
                  <c:v>2.206074291824301</c:v>
                </c:pt>
                <c:pt idx="28">
                  <c:v>1.8929788919631014</c:v>
                </c:pt>
                <c:pt idx="29">
                  <c:v>2.121557721463851</c:v>
                </c:pt>
                <c:pt idx="30">
                  <c:v>1.22179997660813</c:v>
                </c:pt>
                <c:pt idx="31">
                  <c:v>1.7833366586092785</c:v>
                </c:pt>
                <c:pt idx="32">
                  <c:v>2.199305007428314</c:v>
                </c:pt>
                <c:pt idx="33">
                  <c:v>2.0350016040725447</c:v>
                </c:pt>
                <c:pt idx="34">
                  <c:v>2.3101415316514404</c:v>
                </c:pt>
                <c:pt idx="35">
                  <c:v>1.9725266029366015</c:v>
                </c:pt>
                <c:pt idx="36">
                  <c:v>1.8961411342761563</c:v>
                </c:pt>
                <c:pt idx="37">
                  <c:v>1.6558336924996522</c:v>
                </c:pt>
                <c:pt idx="38">
                  <c:v>1.7542493566330617</c:v>
                </c:pt>
                <c:pt idx="39">
                  <c:v>1.9448508705155783</c:v>
                </c:pt>
                <c:pt idx="40">
                  <c:v>2.5181642317560087</c:v>
                </c:pt>
                <c:pt idx="41">
                  <c:v>2.5220221940437075</c:v>
                </c:pt>
                <c:pt idx="42">
                  <c:v>1.9449128602943448</c:v>
                </c:pt>
                <c:pt idx="43">
                  <c:v>2.1304002470417482</c:v>
                </c:pt>
                <c:pt idx="44">
                  <c:v>2.2836547380502275</c:v>
                </c:pt>
                <c:pt idx="45">
                  <c:v>2.1830046876048472</c:v>
                </c:pt>
                <c:pt idx="46">
                  <c:v>2.33753712869185</c:v>
                </c:pt>
                <c:pt idx="47">
                  <c:v>2.496880535008817</c:v>
                </c:pt>
                <c:pt idx="48">
                  <c:v>2.7987286624178225</c:v>
                </c:pt>
                <c:pt idx="49">
                  <c:v>2.609288645167992</c:v>
                </c:pt>
                <c:pt idx="50">
                  <c:v>2.570267654109272</c:v>
                </c:pt>
                <c:pt idx="51">
                  <c:v>2.500793907774321</c:v>
                </c:pt>
                <c:pt idx="52">
                  <c:v>1.9550409663329813</c:v>
                </c:pt>
                <c:pt idx="53">
                  <c:v>1.800175861641476</c:v>
                </c:pt>
                <c:pt idx="54">
                  <c:v>2.415336295329723</c:v>
                </c:pt>
              </c:numCache>
            </c:numRef>
          </c:xVal>
          <c:yVal>
            <c:numRef>
              <c:f>Sheet1!$B$135:$B$189</c:f>
              <c:numCache>
                <c:formatCode>General</c:formatCode>
                <c:ptCount val="55"/>
                <c:pt idx="0">
                  <c:v>0.002877718986697254</c:v>
                </c:pt>
                <c:pt idx="1">
                  <c:v>0.0054165332741923375</c:v>
                </c:pt>
                <c:pt idx="2">
                  <c:v>0.0024594902052820274</c:v>
                </c:pt>
                <c:pt idx="3">
                  <c:v>0.004802765601942092</c:v>
                </c:pt>
                <c:pt idx="4">
                  <c:v>0.0035678614998388043</c:v>
                </c:pt>
                <c:pt idx="5">
                  <c:v>0.003036294686266652</c:v>
                </c:pt>
                <c:pt idx="6">
                  <c:v>0.002024100409404382</c:v>
                </c:pt>
                <c:pt idx="7">
                  <c:v>0.0031398070486216316</c:v>
                </c:pt>
                <c:pt idx="8">
                  <c:v>0.0030776472619671227</c:v>
                </c:pt>
                <c:pt idx="9">
                  <c:v>0.0036220256745967986</c:v>
                </c:pt>
                <c:pt idx="10">
                  <c:v>0.0034994594529302358</c:v>
                </c:pt>
                <c:pt idx="11">
                  <c:v>0.0028810984920691765</c:v>
                </c:pt>
                <c:pt idx="12">
                  <c:v>0.0036236045053670753</c:v>
                </c:pt>
                <c:pt idx="13">
                  <c:v>0.004392996170762093</c:v>
                </c:pt>
                <c:pt idx="14">
                  <c:v>0.004821642761736155</c:v>
                </c:pt>
                <c:pt idx="15">
                  <c:v>0.004516135510209437</c:v>
                </c:pt>
                <c:pt idx="16">
                  <c:v>0.004118152345381228</c:v>
                </c:pt>
                <c:pt idx="17">
                  <c:v>0.004786142144994852</c:v>
                </c:pt>
                <c:pt idx="18">
                  <c:v>0.004692276545376993</c:v>
                </c:pt>
                <c:pt idx="19">
                  <c:v>0.002080848735398295</c:v>
                </c:pt>
                <c:pt idx="20">
                  <c:v>0.0047209140650999</c:v>
                </c:pt>
                <c:pt idx="21">
                  <c:v>0.00444452410873052</c:v>
                </c:pt>
                <c:pt idx="22">
                  <c:v>0.004533145991753471</c:v>
                </c:pt>
                <c:pt idx="23">
                  <c:v>0.0035526535228540858</c:v>
                </c:pt>
                <c:pt idx="24">
                  <c:v>0.0051125746156876</c:v>
                </c:pt>
                <c:pt idx="25">
                  <c:v>0.004935347525357017</c:v>
                </c:pt>
                <c:pt idx="26">
                  <c:v>0.004362346162839584</c:v>
                </c:pt>
                <c:pt idx="27">
                  <c:v>0.0039541156350647</c:v>
                </c:pt>
                <c:pt idx="28">
                  <c:v>0.004763434998858525</c:v>
                </c:pt>
                <c:pt idx="29">
                  <c:v>0.00417258226531375</c:v>
                </c:pt>
                <c:pt idx="30">
                  <c:v>0.006498363372152173</c:v>
                </c:pt>
                <c:pt idx="31">
                  <c:v>0.005046848880321453</c:v>
                </c:pt>
                <c:pt idx="32">
                  <c:v>0.0039716135380780575</c:v>
                </c:pt>
                <c:pt idx="33">
                  <c:v>0.004396320914590139</c:v>
                </c:pt>
                <c:pt idx="34">
                  <c:v>0.0036851125377147615</c:v>
                </c:pt>
                <c:pt idx="35">
                  <c:v>0.004557812358395367</c:v>
                </c:pt>
                <c:pt idx="36">
                  <c:v>0.004755260928150051</c:v>
                </c:pt>
                <c:pt idx="37">
                  <c:v>0.005376430916529633</c:v>
                </c:pt>
                <c:pt idx="38">
                  <c:v>0.00512203656030751</c:v>
                </c:pt>
                <c:pt idx="39">
                  <c:v>0.004629351276454975</c:v>
                </c:pt>
                <c:pt idx="40">
                  <c:v>0.003147395281639015</c:v>
                </c:pt>
                <c:pt idx="41">
                  <c:v>0.0031374228464464025</c:v>
                </c:pt>
                <c:pt idx="42">
                  <c:v>0.004629191039261023</c:v>
                </c:pt>
                <c:pt idx="43">
                  <c:v>0.00414972524736265</c:v>
                </c:pt>
                <c:pt idx="44">
                  <c:v>0.0037535781713707497</c:v>
                </c:pt>
                <c:pt idx="45">
                  <c:v>0.004013748186095921</c:v>
                </c:pt>
                <c:pt idx="46">
                  <c:v>0.003614297740763656</c:v>
                </c:pt>
                <c:pt idx="47">
                  <c:v>0.0032024114457802136</c:v>
                </c:pt>
                <c:pt idx="48">
                  <c:v>0.0024221651229491773</c:v>
                </c:pt>
                <c:pt idx="49">
                  <c:v>0.0029118480576256116</c:v>
                </c:pt>
                <c:pt idx="50">
                  <c:v>0.0030127133008462023</c:v>
                </c:pt>
                <c:pt idx="51">
                  <c:v>0.0031922957802090497</c:v>
                </c:pt>
                <c:pt idx="52">
                  <c:v>0.004603010928217362</c:v>
                </c:pt>
                <c:pt idx="53">
                  <c:v>0.005003321274707142</c:v>
                </c:pt>
                <c:pt idx="54">
                  <c:v>0.0034131949073302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315882561018747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33003300330033004</c:v>
                </c:pt>
                <c:pt idx="3">
                  <c:v>0.000351493848857645</c:v>
                </c:pt>
                <c:pt idx="4">
                  <c:v>0.00033523298692591353</c:v>
                </c:pt>
                <c:pt idx="5">
                  <c:v>0.00025523226135783564</c:v>
                </c:pt>
                <c:pt idx="6">
                  <c:v>0.00023185717597959656</c:v>
                </c:pt>
                <c:pt idx="7">
                  <c:v>0.00013042911177774878</c:v>
                </c:pt>
                <c:pt idx="8">
                  <c:v>0.000449707690001499</c:v>
                </c:pt>
                <c:pt idx="9">
                  <c:v>0.0006319780914261639</c:v>
                </c:pt>
                <c:pt idx="10">
                  <c:v>0.00045599635202918376</c:v>
                </c:pt>
                <c:pt idx="11">
                  <c:v>0.0005944125222904696</c:v>
                </c:pt>
                <c:pt idx="12">
                  <c:v>0.000819840131174421</c:v>
                </c:pt>
                <c:pt idx="13">
                  <c:v>0.0006659267480577136</c:v>
                </c:pt>
                <c:pt idx="14">
                  <c:v>0.0006950880444856349</c:v>
                </c:pt>
                <c:pt idx="15">
                  <c:v>0.0004978839930296241</c:v>
                </c:pt>
                <c:pt idx="16">
                  <c:v>0.0008431703204047217</c:v>
                </c:pt>
                <c:pt idx="17">
                  <c:v>0.0016122531237404273</c:v>
                </c:pt>
                <c:pt idx="18">
                  <c:v>0.00037439161362785476</c:v>
                </c:pt>
                <c:pt idx="19">
                  <c:v>0.0012033694344163659</c:v>
                </c:pt>
                <c:pt idx="20">
                  <c:v>0.0008572653236176596</c:v>
                </c:pt>
                <c:pt idx="21">
                  <c:v>0.0014278914802475012</c:v>
                </c:pt>
                <c:pt idx="22">
                  <c:v>0.0008952551477170994</c:v>
                </c:pt>
                <c:pt idx="23">
                  <c:v>0.0006230529595015577</c:v>
                </c:pt>
                <c:pt idx="24">
                  <c:v>0.0014705882352941176</c:v>
                </c:pt>
                <c:pt idx="25">
                  <c:v>0.0013449899125756557</c:v>
                </c:pt>
                <c:pt idx="26">
                  <c:v>0.0016116035455278</c:v>
                </c:pt>
                <c:pt idx="27">
                  <c:v>0.001594896331738437</c:v>
                </c:pt>
                <c:pt idx="28">
                  <c:v>0.0008598452278589854</c:v>
                </c:pt>
                <c:pt idx="29">
                  <c:v>0.002050580997949419</c:v>
                </c:pt>
                <c:pt idx="30">
                  <c:v>0.0033585222502099076</c:v>
                </c:pt>
                <c:pt idx="31">
                  <c:v>0.00199203187250996</c:v>
                </c:pt>
                <c:pt idx="32">
                  <c:v>0.0</c:v>
                </c:pt>
                <c:pt idx="33">
                  <c:v>0.0016849199663016006</c:v>
                </c:pt>
                <c:pt idx="34">
                  <c:v>0.002793296089385475</c:v>
                </c:pt>
                <c:pt idx="35">
                  <c:v>0.0029651593773165306</c:v>
                </c:pt>
                <c:pt idx="36">
                  <c:v>0.003663003663003663</c:v>
                </c:pt>
                <c:pt idx="37">
                  <c:v>0.006481481481481481</c:v>
                </c:pt>
                <c:pt idx="38">
                  <c:v>0.0030425963488843813</c:v>
                </c:pt>
                <c:pt idx="39">
                  <c:v>0.0035335689045936395</c:v>
                </c:pt>
                <c:pt idx="40">
                  <c:v>0.0025078369905956114</c:v>
                </c:pt>
                <c:pt idx="41">
                  <c:v>0.0013131976362442547</c:v>
                </c:pt>
                <c:pt idx="42">
                  <c:v>0.0036900369003690036</c:v>
                </c:pt>
                <c:pt idx="43">
                  <c:v>0.003771551724137931</c:v>
                </c:pt>
                <c:pt idx="44">
                  <c:v>0.007047216349541931</c:v>
                </c:pt>
                <c:pt idx="45">
                  <c:v>0.010965688008489564</c:v>
                </c:pt>
                <c:pt idx="46">
                  <c:v>0.009316770186335404</c:v>
                </c:pt>
                <c:pt idx="47">
                  <c:v>0.006490134994807892</c:v>
                </c:pt>
                <c:pt idx="48">
                  <c:v>0.0032200933827080985</c:v>
                </c:pt>
                <c:pt idx="49">
                  <c:v>0.004311506332524926</c:v>
                </c:pt>
                <c:pt idx="50">
                  <c:v>0.004765146358066712</c:v>
                </c:pt>
                <c:pt idx="51">
                  <c:v>0.0029385836027034967</c:v>
                </c:pt>
                <c:pt idx="52">
                  <c:v>0.00274390243902439</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2274450341167551</c:v>
                </c:pt>
                <c:pt idx="1">
                  <c:v>0.003353973168214654</c:v>
                </c:pt>
                <c:pt idx="2">
                  <c:v>0.0025492468134414832</c:v>
                </c:pt>
                <c:pt idx="3">
                  <c:v>0.0029933718195424416</c:v>
                </c:pt>
                <c:pt idx="4">
                  <c:v>0.003071107961256792</c:v>
                </c:pt>
                <c:pt idx="5">
                  <c:v>0.0027127003699136867</c:v>
                </c:pt>
                <c:pt idx="6">
                  <c:v>0.0021886191802626344</c:v>
                </c:pt>
                <c:pt idx="7">
                  <c:v>0.0030292830696735107</c:v>
                </c:pt>
                <c:pt idx="8">
                  <c:v>0.002770935960591133</c:v>
                </c:pt>
                <c:pt idx="9">
                  <c:v>0.0035231943628890195</c:v>
                </c:pt>
                <c:pt idx="10">
                  <c:v>0.003371130861170702</c:v>
                </c:pt>
                <c:pt idx="11">
                  <c:v>0.0028340963592762155</c:v>
                </c:pt>
                <c:pt idx="12">
                  <c:v>0.003844041735310269</c:v>
                </c:pt>
                <c:pt idx="13">
                  <c:v>0.004907306434023991</c:v>
                </c:pt>
                <c:pt idx="14">
                  <c:v>0.006664647076643442</c:v>
                </c:pt>
                <c:pt idx="15">
                  <c:v>0.005287508261731659</c:v>
                </c:pt>
                <c:pt idx="16">
                  <c:v>0.005428460643660334</c:v>
                </c:pt>
                <c:pt idx="17">
                  <c:v>0.006213936972924989</c:v>
                </c:pt>
                <c:pt idx="18">
                  <c:v>0.0050729232720355105</c:v>
                </c:pt>
                <c:pt idx="19">
                  <c:v>0.002898550724637681</c:v>
                </c:pt>
                <c:pt idx="20">
                  <c:v>0.004659289458357601</c:v>
                </c:pt>
                <c:pt idx="21">
                  <c:v>0.00513405590416429</c:v>
                </c:pt>
                <c:pt idx="22">
                  <c:v>0.0032804811372334607</c:v>
                </c:pt>
                <c:pt idx="23">
                  <c:v>0.00258732212160414</c:v>
                </c:pt>
                <c:pt idx="24">
                  <c:v>0.004155124653739612</c:v>
                </c:pt>
                <c:pt idx="25">
                  <c:v>0.004647560030983733</c:v>
                </c:pt>
                <c:pt idx="26">
                  <c:v>0.003481894150417827</c:v>
                </c:pt>
                <c:pt idx="27">
                  <c:v>0.0037509377344336083</c:v>
                </c:pt>
                <c:pt idx="28">
                  <c:v>0.0033579583613163196</c:v>
                </c:pt>
                <c:pt idx="29">
                  <c:v>0.003169572107765452</c:v>
                </c:pt>
                <c:pt idx="30">
                  <c:v>0.005671077504725898</c:v>
                </c:pt>
                <c:pt idx="31">
                  <c:v>0.0048484848484848485</c:v>
                </c:pt>
                <c:pt idx="32">
                  <c:v>0.0037071362372567192</c:v>
                </c:pt>
                <c:pt idx="33">
                  <c:v>0.0041356492969396195</c:v>
                </c:pt>
                <c:pt idx="34">
                  <c:v>0.0042765502494654314</c:v>
                </c:pt>
                <c:pt idx="35">
                  <c:v>0.0052310374891020054</c:v>
                </c:pt>
                <c:pt idx="36">
                  <c:v>0.0068775790921595595</c:v>
                </c:pt>
                <c:pt idx="37">
                  <c:v>0.008293838862559242</c:v>
                </c:pt>
                <c:pt idx="38">
                  <c:v>0.006587615283267457</c:v>
                </c:pt>
                <c:pt idx="39">
                  <c:v>0.004591368227731864</c:v>
                </c:pt>
                <c:pt idx="40">
                  <c:v>0.0032658393207054214</c:v>
                </c:pt>
                <c:pt idx="41">
                  <c:v>0.0036603221083455345</c:v>
                </c:pt>
                <c:pt idx="42">
                  <c:v>0.004314063848144953</c:v>
                </c:pt>
                <c:pt idx="43">
                  <c:v>0.003215434083601286</c:v>
                </c:pt>
                <c:pt idx="44">
                  <c:v>0.003651300775901415</c:v>
                </c:pt>
                <c:pt idx="45">
                  <c:v>0.003341129301703976</c:v>
                </c:pt>
                <c:pt idx="46">
                  <c:v>0.0033016921172100704</c:v>
                </c:pt>
                <c:pt idx="47">
                  <c:v>0.0032165832737669764</c:v>
                </c:pt>
                <c:pt idx="48">
                  <c:v>0.002570694087403599</c:v>
                </c:pt>
                <c:pt idx="49">
                  <c:v>0.0029636947394418374</c:v>
                </c:pt>
                <c:pt idx="50">
                  <c:v>0.0028972247636474533</c:v>
                </c:pt>
                <c:pt idx="51">
                  <c:v>0.003382187147688838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19.8228678676255</c:v>
                </c:pt>
              </c:numCache>
            </c:numRef>
          </c:xVal>
          <c:yVal>
            <c:numRef>
              <c:f>Sheet1!$B$111:$B$112</c:f>
              <c:numCache>
                <c:formatCode>General</c:formatCode>
                <c:ptCount val="2"/>
                <c:pt idx="0">
                  <c:v>0.005003321274707142</c:v>
                </c:pt>
                <c:pt idx="1">
                  <c:v>0.00500332127470714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19.8228678676255</c:v>
                </c:pt>
                <c:pt idx="1">
                  <c:v>2819.8228678676255</c:v>
                </c:pt>
              </c:numCache>
            </c:numRef>
          </c:xVal>
          <c:yVal>
            <c:numRef>
              <c:f>Sheet1!$B$115:$B$116</c:f>
              <c:numCache>
                <c:formatCode>General</c:formatCode>
                <c:ptCount val="2"/>
                <c:pt idx="0">
                  <c:v>0.0050033212747071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373.0143807181416</c:v>
                </c:pt>
              </c:numCache>
            </c:numRef>
          </c:xVal>
          <c:yVal>
            <c:numRef>
              <c:f>Sheet1!$B$119:$B$120</c:f>
              <c:numCache>
                <c:formatCode>General</c:formatCode>
                <c:ptCount val="2"/>
                <c:pt idx="0">
                  <c:v>0.004603010928217362</c:v>
                </c:pt>
                <c:pt idx="1">
                  <c:v>0.004603010928217362</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373.0143807181416</c:v>
                </c:pt>
                <c:pt idx="1">
                  <c:v>3373.0143807181416</c:v>
                </c:pt>
              </c:numCache>
            </c:numRef>
          </c:xVal>
          <c:yVal>
            <c:numRef>
              <c:f>Sheet1!$B$123:$B$124</c:f>
              <c:numCache>
                <c:formatCode>General</c:formatCode>
                <c:ptCount val="2"/>
                <c:pt idx="0">
                  <c:v>0.004603010928217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17.229001648822</c:v>
                </c:pt>
              </c:numCache>
            </c:numRef>
          </c:xVal>
          <c:yVal>
            <c:numRef>
              <c:f>Sheet1!$B$127:$B$128</c:f>
              <c:numCache>
                <c:formatCode>General</c:formatCode>
                <c:ptCount val="2"/>
                <c:pt idx="0">
                  <c:v>0.003413194907330248</c:v>
                </c:pt>
                <c:pt idx="1">
                  <c:v>0.003413194907330248</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17.229001648822</c:v>
                </c:pt>
                <c:pt idx="1">
                  <c:v>5017.229001648822</c:v>
                </c:pt>
              </c:numCache>
            </c:numRef>
          </c:xVal>
          <c:yVal>
            <c:numRef>
              <c:f>Sheet1!$B$131:$B$132</c:f>
              <c:numCache>
                <c:formatCode>General</c:formatCode>
                <c:ptCount val="2"/>
                <c:pt idx="0">
                  <c:v>0.0034131949073302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373.0143807181416</c:v>
                </c:pt>
                <c:pt idx="53">
                  <c:v>2819.8228678676255</c:v>
                </c:pt>
                <c:pt idx="54">
                  <c:v>5017.229001648822</c:v>
                </c:pt>
              </c:numCache>
            </c:numRef>
          </c:xVal>
          <c:yVal>
            <c:numRef>
              <c:f>Sheet1!$B$135:$B$189</c:f>
              <c:numCache>
                <c:formatCode>General</c:formatCode>
                <c:ptCount val="55"/>
                <c:pt idx="0">
                  <c:v>0.0038272815022983822</c:v>
                </c:pt>
                <c:pt idx="1">
                  <c:v>0.004844048404208132</c:v>
                </c:pt>
                <c:pt idx="2">
                  <c:v>0.0034609233871656913</c:v>
                </c:pt>
                <c:pt idx="3">
                  <c:v>0.004690633188697274</c:v>
                </c:pt>
                <c:pt idx="4">
                  <c:v>0.003930093732323616</c:v>
                </c:pt>
                <c:pt idx="5">
                  <c:v>0.003685316915878181</c:v>
                </c:pt>
                <c:pt idx="6">
                  <c:v>0.0036416354545739564</c:v>
                </c:pt>
                <c:pt idx="7">
                  <c:v>0.004024191408170619</c:v>
                </c:pt>
                <c:pt idx="8">
                  <c:v>0.003924409773684461</c:v>
                </c:pt>
                <c:pt idx="9">
                  <c:v>0.004074042027328168</c:v>
                </c:pt>
                <c:pt idx="10">
                  <c:v>0.004023321595410837</c:v>
                </c:pt>
                <c:pt idx="11">
                  <c:v>0.0040723164403839275</c:v>
                </c:pt>
                <c:pt idx="12">
                  <c:v>0.004352590952357438</c:v>
                </c:pt>
                <c:pt idx="13">
                  <c:v>0.004384000238459374</c:v>
                </c:pt>
                <c:pt idx="14">
                  <c:v>0.00449490324679018</c:v>
                </c:pt>
                <c:pt idx="15">
                  <c:v>0.0043484364747907265</c:v>
                </c:pt>
                <c:pt idx="16">
                  <c:v>0.004179434750116616</c:v>
                </c:pt>
                <c:pt idx="17">
                  <c:v>0.00447659144491926</c:v>
                </c:pt>
                <c:pt idx="18">
                  <c:v>0.004345858514760173</c:v>
                </c:pt>
                <c:pt idx="19">
                  <c:v>0.002863829997827246</c:v>
                </c:pt>
                <c:pt idx="20">
                  <c:v>0.004161602213629061</c:v>
                </c:pt>
                <c:pt idx="21">
                  <c:v>0.0040257190801483034</c:v>
                </c:pt>
                <c:pt idx="22">
                  <c:v>0.004037860132162511</c:v>
                </c:pt>
                <c:pt idx="23">
                  <c:v>0.003439773405074187</c:v>
                </c:pt>
                <c:pt idx="24">
                  <c:v>0.004341788051554036</c:v>
                </c:pt>
                <c:pt idx="25">
                  <c:v>0.004347335966267367</c:v>
                </c:pt>
                <c:pt idx="26">
                  <c:v>0.0038649106732706663</c:v>
                </c:pt>
                <c:pt idx="27">
                  <c:v>0.003622781430822084</c:v>
                </c:pt>
                <c:pt idx="28">
                  <c:v>0.0041223810392694875</c:v>
                </c:pt>
                <c:pt idx="29">
                  <c:v>0.0035347508798840386</c:v>
                </c:pt>
                <c:pt idx="30">
                  <c:v>0.004943854787110583</c:v>
                </c:pt>
                <c:pt idx="31">
                  <c:v>0.004072413842045714</c:v>
                </c:pt>
                <c:pt idx="32">
                  <c:v>0.0033880332949872962</c:v>
                </c:pt>
                <c:pt idx="33">
                  <c:v>0.003566771857105646</c:v>
                </c:pt>
                <c:pt idx="34">
                  <c:v>0.0032905833665531946</c:v>
                </c:pt>
                <c:pt idx="35">
                  <c:v>0.0036761618109444148</c:v>
                </c:pt>
                <c:pt idx="36">
                  <c:v>0.0036028090246906412</c:v>
                </c:pt>
                <c:pt idx="37">
                  <c:v>0.004221767567460436</c:v>
                </c:pt>
                <c:pt idx="38">
                  <c:v>0.00402295319135426</c:v>
                </c:pt>
                <c:pt idx="39">
                  <c:v>0.004132511969915872</c:v>
                </c:pt>
                <c:pt idx="40">
                  <c:v>0.0032233333081932215</c:v>
                </c:pt>
                <c:pt idx="41">
                  <c:v>0.0032233333081932215</c:v>
                </c:pt>
                <c:pt idx="42">
                  <c:v>0.003907026399243492</c:v>
                </c:pt>
                <c:pt idx="43">
                  <c:v>0.0038517645605725473</c:v>
                </c:pt>
                <c:pt idx="44">
                  <c:v>0.0041042539097914926</c:v>
                </c:pt>
                <c:pt idx="45">
                  <c:v>0.004364799736879395</c:v>
                </c:pt>
                <c:pt idx="46">
                  <c:v>0.003956631777515609</c:v>
                </c:pt>
                <c:pt idx="47">
                  <c:v>0.003993798616231467</c:v>
                </c:pt>
                <c:pt idx="48">
                  <c:v>0.0038188149388296184</c:v>
                </c:pt>
                <c:pt idx="49">
                  <c:v>0.004153762827131098</c:v>
                </c:pt>
                <c:pt idx="50">
                  <c:v>0.004322859203642961</c:v>
                </c:pt>
                <c:pt idx="51">
                  <c:v>0.004233182087019717</c:v>
                </c:pt>
                <c:pt idx="52">
                  <c:v>0.004603010928217362</c:v>
                </c:pt>
                <c:pt idx="53">
                  <c:v>0.005003321274707142</c:v>
                </c:pt>
                <c:pt idx="54">
                  <c:v>0.0034131949073302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315882561018747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59188630026087</c:v>
                </c:pt>
                <c:pt idx="6">
                  <c:v>0.2871214728148658</c:v>
                </c:pt>
                <c:pt idx="7">
                  <c:v>0.29233259154359703</c:v>
                </c:pt>
                <c:pt idx="8">
                  <c:v>0.28802501752304954</c:v>
                </c:pt>
                <c:pt idx="9">
                  <c:v>0.27122449769656615</c:v>
                </c:pt>
                <c:pt idx="10">
                  <c:v>0.268189541249764</c:v>
                </c:pt>
                <c:pt idx="11">
                  <c:v>0.24338437377306635</c:v>
                </c:pt>
                <c:pt idx="12">
                  <c:v>0.23163717624647398</c:v>
                </c:pt>
                <c:pt idx="13">
                  <c:v>0.21940724804332504</c:v>
                </c:pt>
                <c:pt idx="14">
                  <c:v>0.2081917497899083</c:v>
                </c:pt>
                <c:pt idx="15">
                  <c:v>0.20032310177705978</c:v>
                </c:pt>
                <c:pt idx="16">
                  <c:v>0.19135243841126193</c:v>
                </c:pt>
                <c:pt idx="17">
                  <c:v>0.1893611187277214</c:v>
                </c:pt>
                <c:pt idx="18">
                  <c:v>0.17375971309025703</c:v>
                </c:pt>
                <c:pt idx="19">
                  <c:v>0.17545871559633028</c:v>
                </c:pt>
                <c:pt idx="20">
                  <c:v>0.17418820606849234</c:v>
                </c:pt>
                <c:pt idx="21">
                  <c:v>0.18668695321414985</c:v>
                </c:pt>
                <c:pt idx="22">
                  <c:v>0.20883505005077616</c:v>
                </c:pt>
                <c:pt idx="23">
                  <c:v>0.21617312072892939</c:v>
                </c:pt>
                <c:pt idx="24">
                  <c:v>0.21955173385959967</c:v>
                </c:pt>
                <c:pt idx="25">
                  <c:v>0.22786553260429324</c:v>
                </c:pt>
                <c:pt idx="26">
                  <c:v>0.248124210682713</c:v>
                </c:pt>
                <c:pt idx="27">
                  <c:v>0.2370037132247929</c:v>
                </c:pt>
                <c:pt idx="28">
                  <c:v>0.24446064139941692</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39264379907578</c:v>
                </c:pt>
                <c:pt idx="1">
                  <c:v>0.19980959181244792</c:v>
                </c:pt>
                <c:pt idx="2">
                  <c:v>0.21487342880151256</c:v>
                </c:pt>
                <c:pt idx="3">
                  <c:v>0.23045725360706337</c:v>
                </c:pt>
                <c:pt idx="4">
                  <c:v>0.21304999817124465</c:v>
                </c:pt>
                <c:pt idx="5">
                  <c:v>0.21920487456275622</c:v>
                </c:pt>
                <c:pt idx="6">
                  <c:v>0.23144147682639435</c:v>
                </c:pt>
                <c:pt idx="7">
                  <c:v>0.22823171821920257</c:v>
                </c:pt>
                <c:pt idx="8">
                  <c:v>0.21415770609318996</c:v>
                </c:pt>
                <c:pt idx="9">
                  <c:v>0.22384160593977726</c:v>
                </c:pt>
                <c:pt idx="10">
                  <c:v>0.22556691863050243</c:v>
                </c:pt>
                <c:pt idx="11">
                  <c:v>0.22960187948441171</c:v>
                </c:pt>
                <c:pt idx="12">
                  <c:v>0.2293176892608923</c:v>
                </c:pt>
                <c:pt idx="13">
                  <c:v>0.22594646732577767</c:v>
                </c:pt>
                <c:pt idx="14">
                  <c:v>0.22981667548034548</c:v>
                </c:pt>
                <c:pt idx="15">
                  <c:v>0.22243418542541016</c:v>
                </c:pt>
                <c:pt idx="16">
                  <c:v>0.2185996490632252</c:v>
                </c:pt>
                <c:pt idx="17">
                  <c:v>0.2288303426753886</c:v>
                </c:pt>
                <c:pt idx="18">
                  <c:v>0.22622338954935028</c:v>
                </c:pt>
                <c:pt idx="19">
                  <c:v>0.21929706436843524</c:v>
                </c:pt>
                <c:pt idx="20">
                  <c:v>0.2079446283478784</c:v>
                </c:pt>
                <c:pt idx="21">
                  <c:v>0.22280071813285457</c:v>
                </c:pt>
                <c:pt idx="22">
                  <c:v>0.21522564691336218</c:v>
                </c:pt>
                <c:pt idx="23">
                  <c:v>0.21599630143319465</c:v>
                </c:pt>
                <c:pt idx="24">
                  <c:v>0.21436473491617736</c:v>
                </c:pt>
                <c:pt idx="25">
                  <c:v>0.21877236936292055</c:v>
                </c:pt>
                <c:pt idx="26">
                  <c:v>0.2126831691365179</c:v>
                </c:pt>
                <c:pt idx="27">
                  <c:v>0.2159379197134756</c:v>
                </c:pt>
                <c:pt idx="28">
                  <c:v>0.20558855291576675</c:v>
                </c:pt>
                <c:pt idx="29">
                  <c:v>0.20860040567951318</c:v>
                </c:pt>
                <c:pt idx="30">
                  <c:v>0.2126890756302521</c:v>
                </c:pt>
                <c:pt idx="31">
                  <c:v>0.2061624146604384</c:v>
                </c:pt>
                <c:pt idx="32">
                  <c:v>0.20111818605373505</c:v>
                </c:pt>
                <c:pt idx="33">
                  <c:v>0.21381936887921654</c:v>
                </c:pt>
                <c:pt idx="34">
                  <c:v>0.23197430195206326</c:v>
                </c:pt>
                <c:pt idx="35">
                  <c:v>0.22070675759454433</c:v>
                </c:pt>
                <c:pt idx="36">
                  <c:v>0.21464275213172596</c:v>
                </c:pt>
                <c:pt idx="37">
                  <c:v>0.21891248788225962</c:v>
                </c:pt>
                <c:pt idx="38">
                  <c:v>0.21987066431510877</c:v>
                </c:pt>
                <c:pt idx="39">
                  <c:v>0.21826647564469914</c:v>
                </c:pt>
                <c:pt idx="40">
                  <c:v>0.20420127015144113</c:v>
                </c:pt>
                <c:pt idx="41">
                  <c:v>0.2056031641397495</c:v>
                </c:pt>
                <c:pt idx="42">
                  <c:v>0.20923467104281665</c:v>
                </c:pt>
                <c:pt idx="43">
                  <c:v>0.19402412280701756</c:v>
                </c:pt>
                <c:pt idx="44">
                  <c:v>0.19468152007905848</c:v>
                </c:pt>
                <c:pt idx="45">
                  <c:v>0.21423893109772071</c:v>
                </c:pt>
                <c:pt idx="46">
                  <c:v>0.23001549186676995</c:v>
                </c:pt>
                <c:pt idx="47">
                  <c:v>0.23053892215568864</c:v>
                </c:pt>
                <c:pt idx="48">
                  <c:v>0.21907957813998083</c:v>
                </c:pt>
                <c:pt idx="49">
                  <c:v>0.22517641829193755</c:v>
                </c:pt>
                <c:pt idx="50">
                  <c:v>0.22192789644742528</c:v>
                </c:pt>
                <c:pt idx="51">
                  <c:v>0.221749839727367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09816579346</c:v>
                </c:pt>
              </c:numCache>
            </c:numRef>
          </c:xVal>
          <c:yVal>
            <c:numRef>
              <c:f>Sheet1!$B$163:$B$164</c:f>
              <c:numCache>
                <c:formatCode>General</c:formatCode>
                <c:ptCount val="2"/>
                <c:pt idx="0">
                  <c:v>0.2650189013255837</c:v>
                </c:pt>
                <c:pt idx="1">
                  <c:v>0.26501890132558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09816579346</c:v>
                </c:pt>
                <c:pt idx="1">
                  <c:v>709.009816579346</c:v>
                </c:pt>
              </c:numCache>
            </c:numRef>
          </c:xVal>
          <c:yVal>
            <c:numRef>
              <c:f>Sheet1!$B$167:$B$168</c:f>
              <c:numCache>
                <c:formatCode>General</c:formatCode>
                <c:ptCount val="2"/>
                <c:pt idx="0">
                  <c:v>0.26501890132558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1767894258023</c:v>
                </c:pt>
              </c:numCache>
            </c:numRef>
          </c:xVal>
          <c:yVal>
            <c:numRef>
              <c:f>Sheet1!$B$171:$B$172</c:f>
              <c:numCache>
                <c:formatCode>General</c:formatCode>
                <c:ptCount val="2"/>
                <c:pt idx="0">
                  <c:v>0.2238631702834038</c:v>
                </c:pt>
                <c:pt idx="1">
                  <c:v>0.22386317028340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1767894258023</c:v>
                </c:pt>
                <c:pt idx="1">
                  <c:v>1121.1767894258023</c:v>
                </c:pt>
              </c:numCache>
            </c:numRef>
          </c:xVal>
          <c:yVal>
            <c:numRef>
              <c:f>Sheet1!$B$175:$B$176</c:f>
              <c:numCache>
                <c:formatCode>General</c:formatCode>
                <c:ptCount val="2"/>
                <c:pt idx="0">
                  <c:v>0.22386317028340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7636135762698</c:v>
                </c:pt>
              </c:numCache>
            </c:numRef>
          </c:xVal>
          <c:yVal>
            <c:numRef>
              <c:f>Sheet1!$B$179:$B$180</c:f>
              <c:numCache>
                <c:formatCode>General</c:formatCode>
                <c:ptCount val="2"/>
                <c:pt idx="0">
                  <c:v>0.21451833089166714</c:v>
                </c:pt>
                <c:pt idx="1">
                  <c:v>0.2145183308916671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7636135762698</c:v>
                </c:pt>
                <c:pt idx="1">
                  <c:v>1214.7636135762698</c:v>
                </c:pt>
              </c:numCache>
            </c:numRef>
          </c:xVal>
          <c:yVal>
            <c:numRef>
              <c:f>Sheet1!$B$183:$B$184</c:f>
              <c:numCache>
                <c:formatCode>General</c:formatCode>
                <c:ptCount val="2"/>
                <c:pt idx="0">
                  <c:v>0.2145183308916671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21.1767894258023</c:v>
                </c:pt>
                <c:pt idx="53">
                  <c:v>709.009816579346</c:v>
                </c:pt>
                <c:pt idx="54">
                  <c:v>1214.7636135762698</c:v>
                </c:pt>
              </c:numCache>
            </c:numRef>
          </c:xVal>
          <c:yVal>
            <c:numRef>
              <c:f>Sheet1!$B$187:$B$241</c:f>
              <c:numCache>
                <c:formatCode>General</c:formatCode>
                <c:ptCount val="55"/>
                <c:pt idx="0">
                  <c:v>0.21819161081819877</c:v>
                </c:pt>
                <c:pt idx="1">
                  <c:v>0.21787142512683086</c:v>
                </c:pt>
                <c:pt idx="2">
                  <c:v>0.21713723272631633</c:v>
                </c:pt>
                <c:pt idx="3">
                  <c:v>0.21921891901020907</c:v>
                </c:pt>
                <c:pt idx="4">
                  <c:v>0.21654470047684768</c:v>
                </c:pt>
                <c:pt idx="5">
                  <c:v>0.21706383145963995</c:v>
                </c:pt>
                <c:pt idx="6">
                  <c:v>0.22609021018958103</c:v>
                </c:pt>
                <c:pt idx="7">
                  <c:v>0.2224116893842777</c:v>
                </c:pt>
                <c:pt idx="8">
                  <c:v>0.21756426014716831</c:v>
                </c:pt>
                <c:pt idx="9">
                  <c:v>0.2216656145858112</c:v>
                </c:pt>
                <c:pt idx="10">
                  <c:v>0.2197786198945802</c:v>
                </c:pt>
                <c:pt idx="11">
                  <c:v>0.23305461343693795</c:v>
                </c:pt>
                <c:pt idx="12">
                  <c:v>0.22941331748841182</c:v>
                </c:pt>
                <c:pt idx="13">
                  <c:v>0.22281973492403157</c:v>
                </c:pt>
                <c:pt idx="14">
                  <c:v>0.2248428080348335</c:v>
                </c:pt>
                <c:pt idx="15">
                  <c:v>0.2220499552409113</c:v>
                </c:pt>
                <c:pt idx="16">
                  <c:v>0.21849630945139564</c:v>
                </c:pt>
                <c:pt idx="17">
                  <c:v>0.22361988961099205</c:v>
                </c:pt>
                <c:pt idx="18">
                  <c:v>0.22328353786728447</c:v>
                </c:pt>
                <c:pt idx="19">
                  <c:v>0.21280898439804108</c:v>
                </c:pt>
                <c:pt idx="20">
                  <c:v>0.21204694325140216</c:v>
                </c:pt>
                <c:pt idx="21">
                  <c:v>0.22026035627205304</c:v>
                </c:pt>
                <c:pt idx="22">
                  <c:v>0.21666090833177626</c:v>
                </c:pt>
                <c:pt idx="23">
                  <c:v>0.21436567838183246</c:v>
                </c:pt>
                <c:pt idx="24">
                  <c:v>0.21342581065945693</c:v>
                </c:pt>
                <c:pt idx="25">
                  <c:v>0.21796852129295263</c:v>
                </c:pt>
                <c:pt idx="26">
                  <c:v>0.217693179172343</c:v>
                </c:pt>
                <c:pt idx="27">
                  <c:v>0.21811986709611061</c:v>
                </c:pt>
                <c:pt idx="28">
                  <c:v>0.2143903817873225</c:v>
                </c:pt>
                <c:pt idx="29">
                  <c:v>0.21312861091774066</c:v>
                </c:pt>
                <c:pt idx="30">
                  <c:v>0.21457086442848372</c:v>
                </c:pt>
                <c:pt idx="31">
                  <c:v>0.21591941674394838</c:v>
                </c:pt>
                <c:pt idx="32">
                  <c:v>0.21399724416365457</c:v>
                </c:pt>
                <c:pt idx="33">
                  <c:v>0.21416961881562496</c:v>
                </c:pt>
                <c:pt idx="34">
                  <c:v>0.21293687494675434</c:v>
                </c:pt>
                <c:pt idx="35">
                  <c:v>0.20993942523347436</c:v>
                </c:pt>
                <c:pt idx="36">
                  <c:v>0.2065224769464481</c:v>
                </c:pt>
                <c:pt idx="37">
                  <c:v>0.20979939267139167</c:v>
                </c:pt>
                <c:pt idx="38">
                  <c:v>0.2075479278897029</c:v>
                </c:pt>
                <c:pt idx="39">
                  <c:v>0.2130468520316644</c:v>
                </c:pt>
                <c:pt idx="40">
                  <c:v>0.20962101690919507</c:v>
                </c:pt>
                <c:pt idx="41">
                  <c:v>0.20637777130685153</c:v>
                </c:pt>
                <c:pt idx="42">
                  <c:v>0.2073506900689086</c:v>
                </c:pt>
                <c:pt idx="43">
                  <c:v>0.20519711028480228</c:v>
                </c:pt>
                <c:pt idx="44">
                  <c:v>0.2133726494101323</c:v>
                </c:pt>
                <c:pt idx="45">
                  <c:v>0.21850054317974155</c:v>
                </c:pt>
                <c:pt idx="46">
                  <c:v>0.2192346457133808</c:v>
                </c:pt>
                <c:pt idx="47">
                  <c:v>0.22171710830533917</c:v>
                </c:pt>
                <c:pt idx="48">
                  <c:v>0.2216341911350928</c:v>
                </c:pt>
                <c:pt idx="49">
                  <c:v>0.21948233879203333</c:v>
                </c:pt>
                <c:pt idx="50">
                  <c:v>0.22375483970201798</c:v>
                </c:pt>
                <c:pt idx="51">
                  <c:v>0.2279627962251442</c:v>
                </c:pt>
                <c:pt idx="52">
                  <c:v>0.2238631702834038</c:v>
                </c:pt>
                <c:pt idx="53">
                  <c:v>0.2650189013255837</c:v>
                </c:pt>
                <c:pt idx="54">
                  <c:v>0.2145183308916671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079910985231644"/>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2439625984010859</c:v>
                </c:pt>
                <c:pt idx="3">
                  <c:v>0.19077300176185452</c:v>
                </c:pt>
                <c:pt idx="4">
                  <c:v>0.25471698113207547</c:v>
                </c:pt>
                <c:pt idx="5">
                  <c:v>0.15781207916778886</c:v>
                </c:pt>
                <c:pt idx="6">
                  <c:v>0.24645626934293594</c:v>
                </c:pt>
                <c:pt idx="7">
                  <c:v>0.41615683613130544</c:v>
                </c:pt>
                <c:pt idx="8">
                  <c:v>0.2468324398309918</c:v>
                </c:pt>
                <c:pt idx="9">
                  <c:v>0.27649565589516983</c:v>
                </c:pt>
                <c:pt idx="10">
                  <c:v>0.2968439230098683</c:v>
                </c:pt>
                <c:pt idx="11">
                  <c:v>0.2838823274612115</c:v>
                </c:pt>
                <c:pt idx="12">
                  <c:v>0.24628628240351508</c:v>
                </c:pt>
                <c:pt idx="13">
                  <c:v>0.18137729095481</c:v>
                </c:pt>
                <c:pt idx="14">
                  <c:v>0.193007704137569</c:v>
                </c:pt>
                <c:pt idx="15">
                  <c:v>0.2829744613111333</c:v>
                </c:pt>
                <c:pt idx="16">
                  <c:v>0.20541604999261812</c:v>
                </c:pt>
                <c:pt idx="17">
                  <c:v>0.12230100640439158</c:v>
                </c:pt>
                <c:pt idx="18">
                  <c:v>0.18802290536400057</c:v>
                </c:pt>
                <c:pt idx="19">
                  <c:v>0.15031774303159987</c:v>
                </c:pt>
                <c:pt idx="20">
                  <c:v>0.17963952780371487</c:v>
                </c:pt>
                <c:pt idx="21">
                  <c:v>0.05697604116356188</c:v>
                </c:pt>
                <c:pt idx="22">
                  <c:v>0.08970547878120283</c:v>
                </c:pt>
                <c:pt idx="23">
                  <c:v>0.40175109040232587</c:v>
                </c:pt>
                <c:pt idx="24">
                  <c:v>0.4087945720145751</c:v>
                </c:pt>
                <c:pt idx="25">
                  <c:v>0.5603311230372608</c:v>
                </c:pt>
                <c:pt idx="26">
                  <c:v>0.32806430425811617</c:v>
                </c:pt>
                <c:pt idx="27">
                  <c:v>0.49074394671883176</c:v>
                </c:pt>
                <c:pt idx="28">
                  <c:v>0.38181753942425084</c:v>
                </c:pt>
                <c:pt idx="29">
                  <c:v>0.34135672152282726</c:v>
                </c:pt>
                <c:pt idx="30">
                  <c:v>0.28037772577844017</c:v>
                </c:pt>
                <c:pt idx="31">
                  <c:v>0.5398877546266092</c:v>
                </c:pt>
                <c:pt idx="32">
                  <c:v>0.0</c:v>
                </c:pt>
                <c:pt idx="33">
                  <c:v>0.5026871692756548</c:v>
                </c:pt>
                <c:pt idx="34">
                  <c:v>0.5075683270153487</c:v>
                </c:pt>
                <c:pt idx="35">
                  <c:v>0.403801657417631</c:v>
                </c:pt>
                <c:pt idx="36">
                  <c:v>0.3469230828403524</c:v>
                </c:pt>
                <c:pt idx="37">
                  <c:v>0.27329968536623617</c:v>
                </c:pt>
                <c:pt idx="38">
                  <c:v>0.4280266978167284</c:v>
                </c:pt>
                <c:pt idx="39">
                  <c:v>0.35695203770925044</c:v>
                </c:pt>
                <c:pt idx="40">
                  <c:v>0.46184986321184046</c:v>
                </c:pt>
                <c:pt idx="41">
                  <c:v>0.7685959152196613</c:v>
                </c:pt>
                <c:pt idx="42">
                  <c:v>0.3221794735549747</c:v>
                </c:pt>
                <c:pt idx="43">
                  <c:v>0.3421686631721302</c:v>
                </c:pt>
                <c:pt idx="44">
                  <c:v>0.22551255192139766</c:v>
                </c:pt>
                <c:pt idx="45">
                  <c:v>0.19845408906646506</c:v>
                </c:pt>
                <c:pt idx="46">
                  <c:v>0.19849125204421864</c:v>
                </c:pt>
                <c:pt idx="47">
                  <c:v>0.2678838087752096</c:v>
                </c:pt>
                <c:pt idx="48">
                  <c:v>0.44520897007248234</c:v>
                </c:pt>
                <c:pt idx="49">
                  <c:v>0.4767243667934588</c:v>
                </c:pt>
                <c:pt idx="50">
                  <c:v>0.42920730418790654</c:v>
                </c:pt>
                <c:pt idx="51">
                  <c:v>0.5401611435596078</c:v>
                </c:pt>
                <c:pt idx="52">
                  <c:v>0.4599589813410331</c:v>
                </c:pt>
              </c:numCache>
            </c:numRef>
          </c:xVal>
          <c:yVal>
            <c:numRef>
              <c:f>Sheet1!$B$2:$B$54</c:f>
              <c:numCache>
                <c:formatCode>General</c:formatCode>
                <c:ptCount val="53"/>
                <c:pt idx="0">
                  <c:v>0.0</c:v>
                </c:pt>
                <c:pt idx="1">
                  <c:v>0.0</c:v>
                </c:pt>
                <c:pt idx="2">
                  <c:v>0.00033003300330033004</c:v>
                </c:pt>
                <c:pt idx="3">
                  <c:v>0.000351493848857645</c:v>
                </c:pt>
                <c:pt idx="4">
                  <c:v>0.00033523298692591353</c:v>
                </c:pt>
                <c:pt idx="5">
                  <c:v>0.00025523226135783564</c:v>
                </c:pt>
                <c:pt idx="6">
                  <c:v>0.00023185717597959656</c:v>
                </c:pt>
                <c:pt idx="7">
                  <c:v>0.00013042911177774878</c:v>
                </c:pt>
                <c:pt idx="8">
                  <c:v>0.000449707690001499</c:v>
                </c:pt>
                <c:pt idx="9">
                  <c:v>0.0006319780914261639</c:v>
                </c:pt>
                <c:pt idx="10">
                  <c:v>0.00045599635202918376</c:v>
                </c:pt>
                <c:pt idx="11">
                  <c:v>0.0005944125222904696</c:v>
                </c:pt>
                <c:pt idx="12">
                  <c:v>0.000819840131174421</c:v>
                </c:pt>
                <c:pt idx="13">
                  <c:v>0.0006659267480577136</c:v>
                </c:pt>
                <c:pt idx="14">
                  <c:v>0.0006950880444856349</c:v>
                </c:pt>
                <c:pt idx="15">
                  <c:v>0.0004978839930296241</c:v>
                </c:pt>
                <c:pt idx="16">
                  <c:v>0.0008431703204047217</c:v>
                </c:pt>
                <c:pt idx="17">
                  <c:v>0.0016122531237404273</c:v>
                </c:pt>
                <c:pt idx="18">
                  <c:v>0.00037439161362785476</c:v>
                </c:pt>
                <c:pt idx="19">
                  <c:v>0.0012033694344163659</c:v>
                </c:pt>
                <c:pt idx="20">
                  <c:v>0.0008572653236176596</c:v>
                </c:pt>
                <c:pt idx="21">
                  <c:v>0.0014278914802475012</c:v>
                </c:pt>
                <c:pt idx="22">
                  <c:v>0.0008952551477170994</c:v>
                </c:pt>
                <c:pt idx="23">
                  <c:v>0.0006230529595015577</c:v>
                </c:pt>
                <c:pt idx="24">
                  <c:v>0.0014705882352941176</c:v>
                </c:pt>
                <c:pt idx="25">
                  <c:v>0.0013449899125756557</c:v>
                </c:pt>
                <c:pt idx="26">
                  <c:v>0.0016116035455278</c:v>
                </c:pt>
                <c:pt idx="27">
                  <c:v>0.001594896331738437</c:v>
                </c:pt>
                <c:pt idx="28">
                  <c:v>0.0008598452278589854</c:v>
                </c:pt>
                <c:pt idx="29">
                  <c:v>0.002050580997949419</c:v>
                </c:pt>
                <c:pt idx="30">
                  <c:v>0.0033585222502099076</c:v>
                </c:pt>
                <c:pt idx="31">
                  <c:v>0.00199203187250996</c:v>
                </c:pt>
                <c:pt idx="32">
                  <c:v>0.0</c:v>
                </c:pt>
                <c:pt idx="33">
                  <c:v>0.0016849199663016006</c:v>
                </c:pt>
                <c:pt idx="34">
                  <c:v>0.002793296089385475</c:v>
                </c:pt>
                <c:pt idx="35">
                  <c:v>0.0029651593773165306</c:v>
                </c:pt>
                <c:pt idx="36">
                  <c:v>0.003663003663003663</c:v>
                </c:pt>
                <c:pt idx="37">
                  <c:v>0.006481481481481481</c:v>
                </c:pt>
                <c:pt idx="38">
                  <c:v>0.0030425963488843813</c:v>
                </c:pt>
                <c:pt idx="39">
                  <c:v>0.0035335689045936395</c:v>
                </c:pt>
                <c:pt idx="40">
                  <c:v>0.0025078369905956114</c:v>
                </c:pt>
                <c:pt idx="41">
                  <c:v>0.0013131976362442547</c:v>
                </c:pt>
                <c:pt idx="42">
                  <c:v>0.0036900369003690036</c:v>
                </c:pt>
                <c:pt idx="43">
                  <c:v>0.003771551724137931</c:v>
                </c:pt>
                <c:pt idx="44">
                  <c:v>0.007047216349541931</c:v>
                </c:pt>
                <c:pt idx="45">
                  <c:v>0.010965688008489564</c:v>
                </c:pt>
                <c:pt idx="46">
                  <c:v>0.009316770186335404</c:v>
                </c:pt>
                <c:pt idx="47">
                  <c:v>0.006490134994807892</c:v>
                </c:pt>
                <c:pt idx="48">
                  <c:v>0.0032200933827080985</c:v>
                </c:pt>
                <c:pt idx="49">
                  <c:v>0.004311506332524926</c:v>
                </c:pt>
                <c:pt idx="50">
                  <c:v>0.004765146358066712</c:v>
                </c:pt>
                <c:pt idx="51">
                  <c:v>0.0029385836027034967</c:v>
                </c:pt>
                <c:pt idx="52">
                  <c:v>0.00274390243902439</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5615336749218265</c:v>
                </c:pt>
                <c:pt idx="1">
                  <c:v>0.3957378450602362</c:v>
                </c:pt>
                <c:pt idx="2">
                  <c:v>0.52098754985148</c:v>
                </c:pt>
                <c:pt idx="3">
                  <c:v>0.3376626154535312</c:v>
                </c:pt>
                <c:pt idx="4">
                  <c:v>0.4473767326670908</c:v>
                </c:pt>
                <c:pt idx="5">
                  <c:v>0.5535980813741082</c:v>
                </c:pt>
                <c:pt idx="6">
                  <c:v>0.5710119096640818</c:v>
                </c:pt>
                <c:pt idx="7">
                  <c:v>0.4641538394269486</c:v>
                </c:pt>
                <c:pt idx="8">
                  <c:v>0.5945237663299382</c:v>
                </c:pt>
                <c:pt idx="9">
                  <c:v>0.5649874626198292</c:v>
                </c:pt>
                <c:pt idx="10">
                  <c:v>0.5617888156123823</c:v>
                </c:pt>
                <c:pt idx="11">
                  <c:v>0.5102004313461145</c:v>
                </c:pt>
                <c:pt idx="12">
                  <c:v>0.41199844956848614</c:v>
                </c:pt>
                <c:pt idx="13">
                  <c:v>0.4167192374589014</c:v>
                </c:pt>
                <c:pt idx="14">
                  <c:v>0.3634038213942511</c:v>
                </c:pt>
                <c:pt idx="15">
                  <c:v>0.3900641400352372</c:v>
                </c:pt>
                <c:pt idx="16">
                  <c:v>0.3723300486181739</c:v>
                </c:pt>
                <c:pt idx="17">
                  <c:v>0.3787682953520277</c:v>
                </c:pt>
                <c:pt idx="18">
                  <c:v>0.37041455174243343</c:v>
                </c:pt>
                <c:pt idx="19">
                  <c:v>0.5786201478131866</c:v>
                </c:pt>
                <c:pt idx="20">
                  <c:v>0.4079169521641536</c:v>
                </c:pt>
                <c:pt idx="21">
                  <c:v>0.44483272651831063</c:v>
                </c:pt>
                <c:pt idx="22">
                  <c:v>0.41119927456291294</c:v>
                </c:pt>
                <c:pt idx="23">
                  <c:v>0.5188123785164696</c:v>
                </c:pt>
                <c:pt idx="24">
                  <c:v>0.3781966147169288</c:v>
                </c:pt>
                <c:pt idx="25">
                  <c:v>0.34433963118480676</c:v>
                </c:pt>
                <c:pt idx="26">
                  <c:v>0.3835058038579339</c:v>
                </c:pt>
                <c:pt idx="27">
                  <c:v>0.4170798411998236</c:v>
                </c:pt>
                <c:pt idx="28">
                  <c:v>0.46363911503590194</c:v>
                </c:pt>
                <c:pt idx="29">
                  <c:v>0.5536950554212298</c:v>
                </c:pt>
                <c:pt idx="30">
                  <c:v>0.32211950102912296</c:v>
                </c:pt>
                <c:pt idx="31">
                  <c:v>0.40212859777295235</c:v>
                </c:pt>
                <c:pt idx="32">
                  <c:v>0.5572383189496468</c:v>
                </c:pt>
                <c:pt idx="33">
                  <c:v>0.511527814242395</c:v>
                </c:pt>
                <c:pt idx="34">
                  <c:v>0.5357812593550816</c:v>
                </c:pt>
                <c:pt idx="35">
                  <c:v>0.40706586873067246</c:v>
                </c:pt>
                <c:pt idx="36">
                  <c:v>0.390652662364602</c:v>
                </c:pt>
                <c:pt idx="37">
                  <c:v>0.35814648728074205</c:v>
                </c:pt>
                <c:pt idx="38">
                  <c:v>0.3333916032578268</c:v>
                </c:pt>
                <c:pt idx="39">
                  <c:v>0.32850616044993064</c:v>
                </c:pt>
                <c:pt idx="40">
                  <c:v>0.5078589430346871</c:v>
                </c:pt>
                <c:pt idx="41">
                  <c:v>0.49367193203619747</c:v>
                </c:pt>
                <c:pt idx="42">
                  <c:v>0.3798063313648849</c:v>
                </c:pt>
                <c:pt idx="43">
                  <c:v>0.47877613814332737</c:v>
                </c:pt>
                <c:pt idx="44">
                  <c:v>0.5153399994418127</c:v>
                </c:pt>
                <c:pt idx="45">
                  <c:v>0.46455024391585614</c:v>
                </c:pt>
                <c:pt idx="46">
                  <c:v>0.5224239161891092</c:v>
                </c:pt>
                <c:pt idx="47">
                  <c:v>0.5162856716868677</c:v>
                </c:pt>
                <c:pt idx="48">
                  <c:v>0.5453760603931145</c:v>
                </c:pt>
                <c:pt idx="49">
                  <c:v>0.5666118796032575</c:v>
                </c:pt>
                <c:pt idx="50">
                  <c:v>0.564543804852849</c:v>
                </c:pt>
                <c:pt idx="51">
                  <c:v>0.5232393088598829</c:v>
                </c:pt>
              </c:numCache>
            </c:numRef>
          </c:xVal>
          <c:yVal>
            <c:numRef>
              <c:f>Sheet1!$B$57:$B$108</c:f>
              <c:numCache>
                <c:formatCode>General</c:formatCode>
                <c:ptCount val="52"/>
                <c:pt idx="0">
                  <c:v>0.002274450341167551</c:v>
                </c:pt>
                <c:pt idx="1">
                  <c:v>0.003353973168214654</c:v>
                </c:pt>
                <c:pt idx="2">
                  <c:v>0.0025492468134414832</c:v>
                </c:pt>
                <c:pt idx="3">
                  <c:v>0.0029933718195424416</c:v>
                </c:pt>
                <c:pt idx="4">
                  <c:v>0.003071107961256792</c:v>
                </c:pt>
                <c:pt idx="5">
                  <c:v>0.0027127003699136867</c:v>
                </c:pt>
                <c:pt idx="6">
                  <c:v>0.0021886191802626344</c:v>
                </c:pt>
                <c:pt idx="7">
                  <c:v>0.0030292830696735107</c:v>
                </c:pt>
                <c:pt idx="8">
                  <c:v>0.002770935960591133</c:v>
                </c:pt>
                <c:pt idx="9">
                  <c:v>0.0035231943628890195</c:v>
                </c:pt>
                <c:pt idx="10">
                  <c:v>0.003371130861170702</c:v>
                </c:pt>
                <c:pt idx="11">
                  <c:v>0.0028340963592762155</c:v>
                </c:pt>
                <c:pt idx="12">
                  <c:v>0.003844041735310269</c:v>
                </c:pt>
                <c:pt idx="13">
                  <c:v>0.004907306434023991</c:v>
                </c:pt>
                <c:pt idx="14">
                  <c:v>0.006664647076643442</c:v>
                </c:pt>
                <c:pt idx="15">
                  <c:v>0.005287508261731659</c:v>
                </c:pt>
                <c:pt idx="16">
                  <c:v>0.005428460643660334</c:v>
                </c:pt>
                <c:pt idx="17">
                  <c:v>0.006213936972924989</c:v>
                </c:pt>
                <c:pt idx="18">
                  <c:v>0.0050729232720355105</c:v>
                </c:pt>
                <c:pt idx="19">
                  <c:v>0.002898550724637681</c:v>
                </c:pt>
                <c:pt idx="20">
                  <c:v>0.004659289458357601</c:v>
                </c:pt>
                <c:pt idx="21">
                  <c:v>0.00513405590416429</c:v>
                </c:pt>
                <c:pt idx="22">
                  <c:v>0.0032804811372334607</c:v>
                </c:pt>
                <c:pt idx="23">
                  <c:v>0.00258732212160414</c:v>
                </c:pt>
                <c:pt idx="24">
                  <c:v>0.004155124653739612</c:v>
                </c:pt>
                <c:pt idx="25">
                  <c:v>0.004647560030983733</c:v>
                </c:pt>
                <c:pt idx="26">
                  <c:v>0.003481894150417827</c:v>
                </c:pt>
                <c:pt idx="27">
                  <c:v>0.0037509377344336083</c:v>
                </c:pt>
                <c:pt idx="28">
                  <c:v>0.0033579583613163196</c:v>
                </c:pt>
                <c:pt idx="29">
                  <c:v>0.003169572107765452</c:v>
                </c:pt>
                <c:pt idx="30">
                  <c:v>0.005671077504725898</c:v>
                </c:pt>
                <c:pt idx="31">
                  <c:v>0.0048484848484848485</c:v>
                </c:pt>
                <c:pt idx="32">
                  <c:v>0.0037071362372567192</c:v>
                </c:pt>
                <c:pt idx="33">
                  <c:v>0.0041356492969396195</c:v>
                </c:pt>
                <c:pt idx="34">
                  <c:v>0.0042765502494654314</c:v>
                </c:pt>
                <c:pt idx="35">
                  <c:v>0.0052310374891020054</c:v>
                </c:pt>
                <c:pt idx="36">
                  <c:v>0.0068775790921595595</c:v>
                </c:pt>
                <c:pt idx="37">
                  <c:v>0.008293838862559242</c:v>
                </c:pt>
                <c:pt idx="38">
                  <c:v>0.006587615283267457</c:v>
                </c:pt>
                <c:pt idx="39">
                  <c:v>0.004591368227731864</c:v>
                </c:pt>
                <c:pt idx="40">
                  <c:v>0.0032658393207054214</c:v>
                </c:pt>
                <c:pt idx="41">
                  <c:v>0.0036603221083455345</c:v>
                </c:pt>
                <c:pt idx="42">
                  <c:v>0.004314063848144953</c:v>
                </c:pt>
                <c:pt idx="43">
                  <c:v>0.003215434083601286</c:v>
                </c:pt>
                <c:pt idx="44">
                  <c:v>0.003651300775901415</c:v>
                </c:pt>
                <c:pt idx="45">
                  <c:v>0.003341129301703976</c:v>
                </c:pt>
                <c:pt idx="46">
                  <c:v>0.0033016921172100704</c:v>
                </c:pt>
                <c:pt idx="47">
                  <c:v>0.0032165832737669764</c:v>
                </c:pt>
                <c:pt idx="48">
                  <c:v>0.002570694087403599</c:v>
                </c:pt>
                <c:pt idx="49">
                  <c:v>0.0029636947394418374</c:v>
                </c:pt>
                <c:pt idx="50">
                  <c:v>0.0028972247636474533</c:v>
                </c:pt>
                <c:pt idx="51">
                  <c:v>0.003382187147688838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36942250753881295</c:v>
                </c:pt>
              </c:numCache>
            </c:numRef>
          </c:xVal>
          <c:yVal>
            <c:numRef>
              <c:f>Sheet1!$B$111:$B$112</c:f>
              <c:numCache>
                <c:formatCode>General</c:formatCode>
                <c:ptCount val="2"/>
                <c:pt idx="0">
                  <c:v>0.005003321274707142</c:v>
                </c:pt>
                <c:pt idx="1">
                  <c:v>0.00500332127470714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36942250753881295</c:v>
                </c:pt>
                <c:pt idx="1">
                  <c:v>0.36942250753881295</c:v>
                </c:pt>
              </c:numCache>
            </c:numRef>
          </c:xVal>
          <c:yVal>
            <c:numRef>
              <c:f>Sheet1!$B$115:$B$116</c:f>
              <c:numCache>
                <c:formatCode>General</c:formatCode>
                <c:ptCount val="2"/>
                <c:pt idx="0">
                  <c:v>0.0050033212747071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40498105788091954</c:v>
                </c:pt>
              </c:numCache>
            </c:numRef>
          </c:xVal>
          <c:yVal>
            <c:numRef>
              <c:f>Sheet1!$B$119:$B$120</c:f>
              <c:numCache>
                <c:formatCode>General</c:formatCode>
                <c:ptCount val="2"/>
                <c:pt idx="0">
                  <c:v>0.004603010928217362</c:v>
                </c:pt>
                <c:pt idx="1">
                  <c:v>0.004603010928217362</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40498105788091954</c:v>
                </c:pt>
                <c:pt idx="1">
                  <c:v>0.40498105788091954</c:v>
                </c:pt>
              </c:numCache>
            </c:numRef>
          </c:xVal>
          <c:yVal>
            <c:numRef>
              <c:f>Sheet1!$B$123:$B$124</c:f>
              <c:numCache>
                <c:formatCode>General</c:formatCode>
                <c:ptCount val="2"/>
                <c:pt idx="0">
                  <c:v>0.004603010928217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5106693900650577</c:v>
                </c:pt>
              </c:numCache>
            </c:numRef>
          </c:xVal>
          <c:yVal>
            <c:numRef>
              <c:f>Sheet1!$B$127:$B$128</c:f>
              <c:numCache>
                <c:formatCode>General</c:formatCode>
                <c:ptCount val="2"/>
                <c:pt idx="0">
                  <c:v>0.003413194907330248</c:v>
                </c:pt>
                <c:pt idx="1">
                  <c:v>0.003413194907330248</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5106693900650577</c:v>
                </c:pt>
                <c:pt idx="1">
                  <c:v>0.5106693900650577</c:v>
                </c:pt>
              </c:numCache>
            </c:numRef>
          </c:xVal>
          <c:yVal>
            <c:numRef>
              <c:f>Sheet1!$B$131:$B$132</c:f>
              <c:numCache>
                <c:formatCode>General</c:formatCode>
                <c:ptCount val="2"/>
                <c:pt idx="0">
                  <c:v>0.00341319490733024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5615336749218265</c:v>
                </c:pt>
                <c:pt idx="1">
                  <c:v>0.3957378450602362</c:v>
                </c:pt>
                <c:pt idx="2">
                  <c:v>0.52098754985148</c:v>
                </c:pt>
                <c:pt idx="3">
                  <c:v>0.3376626154535312</c:v>
                </c:pt>
                <c:pt idx="4">
                  <c:v>0.4473767326670908</c:v>
                </c:pt>
                <c:pt idx="5">
                  <c:v>0.5535980813741082</c:v>
                </c:pt>
                <c:pt idx="6">
                  <c:v>0.5710119096640818</c:v>
                </c:pt>
                <c:pt idx="7">
                  <c:v>0.4641538394269486</c:v>
                </c:pt>
                <c:pt idx="8">
                  <c:v>0.5945237663299382</c:v>
                </c:pt>
                <c:pt idx="9">
                  <c:v>0.5649874626198292</c:v>
                </c:pt>
                <c:pt idx="10">
                  <c:v>0.5617888156123823</c:v>
                </c:pt>
                <c:pt idx="11">
                  <c:v>0.5102004313461145</c:v>
                </c:pt>
                <c:pt idx="12">
                  <c:v>0.41199844956848614</c:v>
                </c:pt>
                <c:pt idx="13">
                  <c:v>0.4167192374589014</c:v>
                </c:pt>
                <c:pt idx="14">
                  <c:v>0.3634038213942511</c:v>
                </c:pt>
                <c:pt idx="15">
                  <c:v>0.3900641400352372</c:v>
                </c:pt>
                <c:pt idx="16">
                  <c:v>0.3723300486181739</c:v>
                </c:pt>
                <c:pt idx="17">
                  <c:v>0.3787682953520277</c:v>
                </c:pt>
                <c:pt idx="18">
                  <c:v>0.37041455174243343</c:v>
                </c:pt>
                <c:pt idx="19">
                  <c:v>0.5786201478131866</c:v>
                </c:pt>
                <c:pt idx="20">
                  <c:v>0.4079169521641536</c:v>
                </c:pt>
                <c:pt idx="21">
                  <c:v>0.44483272651831063</c:v>
                </c:pt>
                <c:pt idx="22">
                  <c:v>0.41119927456291294</c:v>
                </c:pt>
                <c:pt idx="23">
                  <c:v>0.5188123785164696</c:v>
                </c:pt>
                <c:pt idx="24">
                  <c:v>0.3781966147169288</c:v>
                </c:pt>
                <c:pt idx="25">
                  <c:v>0.34433963118480676</c:v>
                </c:pt>
                <c:pt idx="26">
                  <c:v>0.3835058038579339</c:v>
                </c:pt>
                <c:pt idx="27">
                  <c:v>0.4170798411998236</c:v>
                </c:pt>
                <c:pt idx="28">
                  <c:v>0.46363911503590194</c:v>
                </c:pt>
                <c:pt idx="29">
                  <c:v>0.5536950554212298</c:v>
                </c:pt>
                <c:pt idx="30">
                  <c:v>0.32211950102912296</c:v>
                </c:pt>
                <c:pt idx="31">
                  <c:v>0.40212859777295235</c:v>
                </c:pt>
                <c:pt idx="32">
                  <c:v>0.5572383189496468</c:v>
                </c:pt>
                <c:pt idx="33">
                  <c:v>0.511527814242395</c:v>
                </c:pt>
                <c:pt idx="34">
                  <c:v>0.5357812593550816</c:v>
                </c:pt>
                <c:pt idx="35">
                  <c:v>0.40706586873067246</c:v>
                </c:pt>
                <c:pt idx="36">
                  <c:v>0.390652662364602</c:v>
                </c:pt>
                <c:pt idx="37">
                  <c:v>0.35814648728074205</c:v>
                </c:pt>
                <c:pt idx="38">
                  <c:v>0.3333916032578268</c:v>
                </c:pt>
                <c:pt idx="39">
                  <c:v>0.32850616044993064</c:v>
                </c:pt>
                <c:pt idx="40">
                  <c:v>0.5078589430346871</c:v>
                </c:pt>
                <c:pt idx="41">
                  <c:v>0.49367193203619747</c:v>
                </c:pt>
                <c:pt idx="42">
                  <c:v>0.3798063313648849</c:v>
                </c:pt>
                <c:pt idx="43">
                  <c:v>0.47877613814332737</c:v>
                </c:pt>
                <c:pt idx="44">
                  <c:v>0.5153399994418127</c:v>
                </c:pt>
                <c:pt idx="45">
                  <c:v>0.46455024391585614</c:v>
                </c:pt>
                <c:pt idx="46">
                  <c:v>0.5224239161891092</c:v>
                </c:pt>
                <c:pt idx="47">
                  <c:v>0.5162856716868677</c:v>
                </c:pt>
                <c:pt idx="48">
                  <c:v>0.5453760603931145</c:v>
                </c:pt>
                <c:pt idx="49">
                  <c:v>0.5666118796032575</c:v>
                </c:pt>
                <c:pt idx="50">
                  <c:v>0.564543804852849</c:v>
                </c:pt>
                <c:pt idx="51">
                  <c:v>0.5232393088598829</c:v>
                </c:pt>
                <c:pt idx="52">
                  <c:v>0.40498105788091954</c:v>
                </c:pt>
                <c:pt idx="53">
                  <c:v>0.36942250753881295</c:v>
                </c:pt>
                <c:pt idx="54">
                  <c:v>0.5106693900650577</c:v>
                </c:pt>
              </c:numCache>
            </c:numRef>
          </c:xVal>
          <c:yVal>
            <c:numRef>
              <c:f>Sheet1!$B$135:$B$189</c:f>
              <c:numCache>
                <c:formatCode>General</c:formatCode>
                <c:ptCount val="55"/>
                <c:pt idx="0">
                  <c:v>0.002840575964795435</c:v>
                </c:pt>
                <c:pt idx="1">
                  <c:v>0.0047070689871463</c:v>
                </c:pt>
                <c:pt idx="2">
                  <c:v>0.003297035331658556</c:v>
                </c:pt>
                <c:pt idx="3">
                  <c:v>0.005360867161218779</c:v>
                </c:pt>
                <c:pt idx="4">
                  <c:v>0.0041257297370540765</c:v>
                </c:pt>
                <c:pt idx="5">
                  <c:v>0.002929913133271831</c:v>
                </c:pt>
                <c:pt idx="6">
                  <c:v>0.002733872080714684</c:v>
                </c:pt>
                <c:pt idx="7">
                  <c:v>0.003936856755576485</c:v>
                </c:pt>
                <c:pt idx="8">
                  <c:v>0.0024691807646184316</c:v>
                </c:pt>
                <c:pt idx="9">
                  <c:v>0.0028016939817902837</c:v>
                </c:pt>
                <c:pt idx="10">
                  <c:v>0.0028377036469630886</c:v>
                </c:pt>
                <c:pt idx="11">
                  <c:v>0.0034184743415440573</c:v>
                </c:pt>
                <c:pt idx="12">
                  <c:v>0.00452401067452654</c:v>
                </c:pt>
                <c:pt idx="13">
                  <c:v>0.004470865081752497</c:v>
                </c:pt>
                <c:pt idx="14">
                  <c:v>0.005071078320839863</c:v>
                </c:pt>
                <c:pt idx="15">
                  <c:v>0.0047709423116375025</c:v>
                </c:pt>
                <c:pt idx="16">
                  <c:v>0.004970588816108176</c:v>
                </c:pt>
                <c:pt idx="17">
                  <c:v>0.004898108449051035</c:v>
                </c:pt>
                <c:pt idx="18">
                  <c:v>0.004992153059044136</c:v>
                </c:pt>
                <c:pt idx="19">
                  <c:v>0.0026482202073862485</c:v>
                </c:pt>
                <c:pt idx="20">
                  <c:v>0.004569959275479227</c:v>
                </c:pt>
                <c:pt idx="21">
                  <c:v>0.004154369599283904</c:v>
                </c:pt>
                <c:pt idx="22">
                  <c:v>0.0045330076111369765</c:v>
                </c:pt>
                <c:pt idx="23">
                  <c:v>0.003321522932598844</c:v>
                </c:pt>
                <c:pt idx="24">
                  <c:v>0.0049045443040258915</c:v>
                </c:pt>
                <c:pt idx="25">
                  <c:v>0.005285698785253251</c:v>
                </c:pt>
                <c:pt idx="26">
                  <c:v>0.004844774619261807</c:v>
                </c:pt>
                <c:pt idx="27">
                  <c:v>0.004466805484072466</c:v>
                </c:pt>
                <c:pt idx="28">
                  <c:v>0.003942651409670767</c:v>
                </c:pt>
                <c:pt idx="29">
                  <c:v>0.002928821420757393</c:v>
                </c:pt>
                <c:pt idx="30">
                  <c:v>0.005535848128128369</c:v>
                </c:pt>
                <c:pt idx="31">
                  <c:v>0.004635123297343289</c:v>
                </c:pt>
                <c:pt idx="32">
                  <c:v>0.002888932138513914</c:v>
                </c:pt>
                <c:pt idx="33">
                  <c:v>0.0034035309565628802</c:v>
                </c:pt>
                <c:pt idx="34">
                  <c:v>0.003130491000681055</c:v>
                </c:pt>
                <c:pt idx="35">
                  <c:v>0.00457954058576524</c:v>
                </c:pt>
                <c:pt idx="36">
                  <c:v>0.004764316856569217</c:v>
                </c:pt>
                <c:pt idx="37">
                  <c:v>0.005130264233098474</c:v>
                </c:pt>
                <c:pt idx="38">
                  <c:v>0.005408949278050745</c:v>
                </c:pt>
                <c:pt idx="39">
                  <c:v>0.005463948519706248</c:v>
                </c:pt>
                <c:pt idx="40">
                  <c:v>0.0034448343024601055</c:v>
                </c:pt>
                <c:pt idx="41">
                  <c:v>0.003604548554976601</c:v>
                </c:pt>
                <c:pt idx="42">
                  <c:v>0.004886422467705398</c:v>
                </c:pt>
                <c:pt idx="43">
                  <c:v>0.0037722421295775365</c:v>
                </c:pt>
                <c:pt idx="44">
                  <c:v>0.0033606142132372938</c:v>
                </c:pt>
                <c:pt idx="45">
                  <c:v>0.0039323941209421145</c:v>
                </c:pt>
                <c:pt idx="46">
                  <c:v>0.0032808650350415495</c:v>
                </c:pt>
                <c:pt idx="47">
                  <c:v>0.0033499680428945335</c:v>
                </c:pt>
                <c:pt idx="48">
                  <c:v>0.003022474838855491</c:v>
                </c:pt>
                <c:pt idx="49">
                  <c:v>0.0027834066523231412</c:v>
                </c:pt>
                <c:pt idx="50">
                  <c:v>0.0028066885834462573</c:v>
                </c:pt>
                <c:pt idx="51">
                  <c:v>0.003271685523519784</c:v>
                </c:pt>
                <c:pt idx="52">
                  <c:v>0.004603010928217362</c:v>
                </c:pt>
                <c:pt idx="53">
                  <c:v>0.005003321274707142</c:v>
                </c:pt>
                <c:pt idx="54">
                  <c:v>0.00341319490733024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315882561018747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33003300330033004</c:v>
                </c:pt>
                <c:pt idx="3">
                  <c:v>0.000351493848857645</c:v>
                </c:pt>
                <c:pt idx="4">
                  <c:v>0.00033523298692591353</c:v>
                </c:pt>
                <c:pt idx="5">
                  <c:v>0.00025523226135783564</c:v>
                </c:pt>
                <c:pt idx="6">
                  <c:v>0.00023185717597959656</c:v>
                </c:pt>
                <c:pt idx="7">
                  <c:v>0.00013042911177774878</c:v>
                </c:pt>
                <c:pt idx="8">
                  <c:v>0.000449707690001499</c:v>
                </c:pt>
                <c:pt idx="9">
                  <c:v>0.0006319780914261639</c:v>
                </c:pt>
                <c:pt idx="10">
                  <c:v>0.00045599635202918376</c:v>
                </c:pt>
                <c:pt idx="11">
                  <c:v>0.0005944125222904696</c:v>
                </c:pt>
                <c:pt idx="12">
                  <c:v>0.000819840131174421</c:v>
                </c:pt>
                <c:pt idx="13">
                  <c:v>0.0006659267480577136</c:v>
                </c:pt>
                <c:pt idx="14">
                  <c:v>0.0006950880444856349</c:v>
                </c:pt>
                <c:pt idx="15">
                  <c:v>0.0004978839930296241</c:v>
                </c:pt>
                <c:pt idx="16">
                  <c:v>0.0008431703204047217</c:v>
                </c:pt>
                <c:pt idx="17">
                  <c:v>0.0016122531237404273</c:v>
                </c:pt>
                <c:pt idx="18">
                  <c:v>0.00037439161362785476</c:v>
                </c:pt>
                <c:pt idx="19">
                  <c:v>0.0012033694344163659</c:v>
                </c:pt>
                <c:pt idx="20">
                  <c:v>0.0008572653236176596</c:v>
                </c:pt>
                <c:pt idx="21">
                  <c:v>0.0014278914802475012</c:v>
                </c:pt>
                <c:pt idx="22">
                  <c:v>0.0008952551477170994</c:v>
                </c:pt>
                <c:pt idx="23">
                  <c:v>0.0006230529595015577</c:v>
                </c:pt>
                <c:pt idx="24">
                  <c:v>0.0014705882352941176</c:v>
                </c:pt>
                <c:pt idx="25">
                  <c:v>0.0013449899125756557</c:v>
                </c:pt>
                <c:pt idx="26">
                  <c:v>0.0016116035455278</c:v>
                </c:pt>
                <c:pt idx="27">
                  <c:v>0.001594896331738437</c:v>
                </c:pt>
                <c:pt idx="28">
                  <c:v>0.0008598452278589854</c:v>
                </c:pt>
                <c:pt idx="29">
                  <c:v>0.002050580997949419</c:v>
                </c:pt>
                <c:pt idx="30">
                  <c:v>0.0033585222502099076</c:v>
                </c:pt>
                <c:pt idx="31">
                  <c:v>0.00199203187250996</c:v>
                </c:pt>
                <c:pt idx="32">
                  <c:v>0.0</c:v>
                </c:pt>
                <c:pt idx="33">
                  <c:v>0.0016849199663016006</c:v>
                </c:pt>
                <c:pt idx="34">
                  <c:v>0.002793296089385475</c:v>
                </c:pt>
                <c:pt idx="35">
                  <c:v>0.0029651593773165306</c:v>
                </c:pt>
                <c:pt idx="36">
                  <c:v>0.003663003663003663</c:v>
                </c:pt>
                <c:pt idx="37">
                  <c:v>0.006481481481481481</c:v>
                </c:pt>
                <c:pt idx="38">
                  <c:v>0.0030425963488843813</c:v>
                </c:pt>
                <c:pt idx="39">
                  <c:v>0.0035335689045936395</c:v>
                </c:pt>
                <c:pt idx="40">
                  <c:v>0.0025078369905956114</c:v>
                </c:pt>
                <c:pt idx="41">
                  <c:v>0.0013131976362442547</c:v>
                </c:pt>
                <c:pt idx="42">
                  <c:v>0.0036900369003690036</c:v>
                </c:pt>
                <c:pt idx="43">
                  <c:v>0.003771551724137931</c:v>
                </c:pt>
                <c:pt idx="44">
                  <c:v>0.007047216349541931</c:v>
                </c:pt>
                <c:pt idx="45">
                  <c:v>0.010965688008489564</c:v>
                </c:pt>
                <c:pt idx="46">
                  <c:v>0.009316770186335404</c:v>
                </c:pt>
                <c:pt idx="47">
                  <c:v>0.006490134994807892</c:v>
                </c:pt>
                <c:pt idx="48">
                  <c:v>0.0032200933827080985</c:v>
                </c:pt>
                <c:pt idx="49">
                  <c:v>0.004311506332524926</c:v>
                </c:pt>
                <c:pt idx="50">
                  <c:v>0.004765146358066712</c:v>
                </c:pt>
                <c:pt idx="51">
                  <c:v>0.0029385836027034967</c:v>
                </c:pt>
                <c:pt idx="52">
                  <c:v>0.00274390243902439</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2274450341167551</c:v>
                </c:pt>
                <c:pt idx="1">
                  <c:v>0.003353973168214654</c:v>
                </c:pt>
                <c:pt idx="2">
                  <c:v>0.0025492468134414832</c:v>
                </c:pt>
                <c:pt idx="3">
                  <c:v>0.0029933718195424416</c:v>
                </c:pt>
                <c:pt idx="4">
                  <c:v>0.003071107961256792</c:v>
                </c:pt>
                <c:pt idx="5">
                  <c:v>0.0027127003699136867</c:v>
                </c:pt>
                <c:pt idx="6">
                  <c:v>0.0021886191802626344</c:v>
                </c:pt>
                <c:pt idx="7">
                  <c:v>0.0030292830696735107</c:v>
                </c:pt>
                <c:pt idx="8">
                  <c:v>0.002770935960591133</c:v>
                </c:pt>
                <c:pt idx="9">
                  <c:v>0.0035231943628890195</c:v>
                </c:pt>
                <c:pt idx="10">
                  <c:v>0.003371130861170702</c:v>
                </c:pt>
                <c:pt idx="11">
                  <c:v>0.0028340963592762155</c:v>
                </c:pt>
                <c:pt idx="12">
                  <c:v>0.003844041735310269</c:v>
                </c:pt>
                <c:pt idx="13">
                  <c:v>0.004907306434023991</c:v>
                </c:pt>
                <c:pt idx="14">
                  <c:v>0.006664647076643442</c:v>
                </c:pt>
                <c:pt idx="15">
                  <c:v>0.005287508261731659</c:v>
                </c:pt>
                <c:pt idx="16">
                  <c:v>0.005428460643660334</c:v>
                </c:pt>
                <c:pt idx="17">
                  <c:v>0.006213936972924989</c:v>
                </c:pt>
                <c:pt idx="18">
                  <c:v>0.0050729232720355105</c:v>
                </c:pt>
                <c:pt idx="19">
                  <c:v>0.002898550724637681</c:v>
                </c:pt>
                <c:pt idx="20">
                  <c:v>0.004659289458357601</c:v>
                </c:pt>
                <c:pt idx="21">
                  <c:v>0.00513405590416429</c:v>
                </c:pt>
                <c:pt idx="22">
                  <c:v>0.0032804811372334607</c:v>
                </c:pt>
                <c:pt idx="23">
                  <c:v>0.00258732212160414</c:v>
                </c:pt>
                <c:pt idx="24">
                  <c:v>0.004155124653739612</c:v>
                </c:pt>
                <c:pt idx="25">
                  <c:v>0.004647560030983733</c:v>
                </c:pt>
                <c:pt idx="26">
                  <c:v>0.003481894150417827</c:v>
                </c:pt>
                <c:pt idx="27">
                  <c:v>0.0037509377344336083</c:v>
                </c:pt>
                <c:pt idx="28">
                  <c:v>0.0033579583613163196</c:v>
                </c:pt>
                <c:pt idx="29">
                  <c:v>0.003169572107765452</c:v>
                </c:pt>
                <c:pt idx="30">
                  <c:v>0.005671077504725898</c:v>
                </c:pt>
                <c:pt idx="31">
                  <c:v>0.0048484848484848485</c:v>
                </c:pt>
                <c:pt idx="32">
                  <c:v>0.0037071362372567192</c:v>
                </c:pt>
                <c:pt idx="33">
                  <c:v>0.0041356492969396195</c:v>
                </c:pt>
                <c:pt idx="34">
                  <c:v>0.0042765502494654314</c:v>
                </c:pt>
                <c:pt idx="35">
                  <c:v>0.0052310374891020054</c:v>
                </c:pt>
                <c:pt idx="36">
                  <c:v>0.0068775790921595595</c:v>
                </c:pt>
                <c:pt idx="37">
                  <c:v>0.008293838862559242</c:v>
                </c:pt>
                <c:pt idx="38">
                  <c:v>0.006587615283267457</c:v>
                </c:pt>
                <c:pt idx="39">
                  <c:v>0.004591368227731864</c:v>
                </c:pt>
                <c:pt idx="40">
                  <c:v>0.0032658393207054214</c:v>
                </c:pt>
                <c:pt idx="41">
                  <c:v>0.0036603221083455345</c:v>
                </c:pt>
                <c:pt idx="42">
                  <c:v>0.004314063848144953</c:v>
                </c:pt>
                <c:pt idx="43">
                  <c:v>0.003215434083601286</c:v>
                </c:pt>
                <c:pt idx="44">
                  <c:v>0.003651300775901415</c:v>
                </c:pt>
                <c:pt idx="45">
                  <c:v>0.003341129301703976</c:v>
                </c:pt>
                <c:pt idx="46">
                  <c:v>0.0033016921172100704</c:v>
                </c:pt>
                <c:pt idx="47">
                  <c:v>0.0032165832737669764</c:v>
                </c:pt>
                <c:pt idx="48">
                  <c:v>0.002570694087403599</c:v>
                </c:pt>
                <c:pt idx="49">
                  <c:v>0.0029636947394418374</c:v>
                </c:pt>
                <c:pt idx="50">
                  <c:v>0.0028972247636474533</c:v>
                </c:pt>
                <c:pt idx="51">
                  <c:v>0.003382187147688838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19.8228678676255</c:v>
                </c:pt>
              </c:numCache>
            </c:numRef>
          </c:xVal>
          <c:yVal>
            <c:numRef>
              <c:f>Sheet1!$B$111:$B$112</c:f>
              <c:numCache>
                <c:formatCode>General</c:formatCode>
                <c:ptCount val="2"/>
                <c:pt idx="0">
                  <c:v>0.005003321274707142</c:v>
                </c:pt>
                <c:pt idx="1">
                  <c:v>0.00500332127470714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19.8228678676255</c:v>
                </c:pt>
                <c:pt idx="1">
                  <c:v>2819.8228678676255</c:v>
                </c:pt>
              </c:numCache>
            </c:numRef>
          </c:xVal>
          <c:yVal>
            <c:numRef>
              <c:f>Sheet1!$B$115:$B$116</c:f>
              <c:numCache>
                <c:formatCode>General</c:formatCode>
                <c:ptCount val="2"/>
                <c:pt idx="0">
                  <c:v>0.0050033212747071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373.0143807181416</c:v>
                </c:pt>
              </c:numCache>
            </c:numRef>
          </c:xVal>
          <c:yVal>
            <c:numRef>
              <c:f>Sheet1!$B$119:$B$120</c:f>
              <c:numCache>
                <c:formatCode>General</c:formatCode>
                <c:ptCount val="2"/>
                <c:pt idx="0">
                  <c:v>0.004603010928217362</c:v>
                </c:pt>
                <c:pt idx="1">
                  <c:v>0.004603010928217362</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373.0143807181416</c:v>
                </c:pt>
                <c:pt idx="1">
                  <c:v>3373.0143807181416</c:v>
                </c:pt>
              </c:numCache>
            </c:numRef>
          </c:xVal>
          <c:yVal>
            <c:numRef>
              <c:f>Sheet1!$B$123:$B$124</c:f>
              <c:numCache>
                <c:formatCode>General</c:formatCode>
                <c:ptCount val="2"/>
                <c:pt idx="0">
                  <c:v>0.004603010928217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17.229001648822</c:v>
                </c:pt>
              </c:numCache>
            </c:numRef>
          </c:xVal>
          <c:yVal>
            <c:numRef>
              <c:f>Sheet1!$B$127:$B$128</c:f>
              <c:numCache>
                <c:formatCode>General</c:formatCode>
                <c:ptCount val="2"/>
                <c:pt idx="0">
                  <c:v>0.003413194907330248</c:v>
                </c:pt>
                <c:pt idx="1">
                  <c:v>0.003413194907330248</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17.229001648822</c:v>
                </c:pt>
                <c:pt idx="1">
                  <c:v>5017.229001648822</c:v>
                </c:pt>
              </c:numCache>
            </c:numRef>
          </c:xVal>
          <c:yVal>
            <c:numRef>
              <c:f>Sheet1!$B$131:$B$132</c:f>
              <c:numCache>
                <c:formatCode>General</c:formatCode>
                <c:ptCount val="2"/>
                <c:pt idx="0">
                  <c:v>0.00341319490733024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373.0143807181416</c:v>
                </c:pt>
                <c:pt idx="53">
                  <c:v>2819.8228678676255</c:v>
                </c:pt>
                <c:pt idx="54">
                  <c:v>5017.229001648822</c:v>
                </c:pt>
              </c:numCache>
            </c:numRef>
          </c:xVal>
          <c:yVal>
            <c:numRef>
              <c:f>Sheet1!$B$135:$B$189</c:f>
              <c:numCache>
                <c:formatCode>General</c:formatCode>
                <c:ptCount val="55"/>
                <c:pt idx="0">
                  <c:v>0.0038272815022983822</c:v>
                </c:pt>
                <c:pt idx="1">
                  <c:v>0.004844048404208132</c:v>
                </c:pt>
                <c:pt idx="2">
                  <c:v>0.0034609233871656913</c:v>
                </c:pt>
                <c:pt idx="3">
                  <c:v>0.004690633188697274</c:v>
                </c:pt>
                <c:pt idx="4">
                  <c:v>0.003930093732323616</c:v>
                </c:pt>
                <c:pt idx="5">
                  <c:v>0.003685316915878181</c:v>
                </c:pt>
                <c:pt idx="6">
                  <c:v>0.0036416354545739564</c:v>
                </c:pt>
                <c:pt idx="7">
                  <c:v>0.004024191408170619</c:v>
                </c:pt>
                <c:pt idx="8">
                  <c:v>0.003924409773684461</c:v>
                </c:pt>
                <c:pt idx="9">
                  <c:v>0.004074042027328168</c:v>
                </c:pt>
                <c:pt idx="10">
                  <c:v>0.004023321595410837</c:v>
                </c:pt>
                <c:pt idx="11">
                  <c:v>0.0040723164403839275</c:v>
                </c:pt>
                <c:pt idx="12">
                  <c:v>0.004352590952357438</c:v>
                </c:pt>
                <c:pt idx="13">
                  <c:v>0.004384000238459374</c:v>
                </c:pt>
                <c:pt idx="14">
                  <c:v>0.00449490324679018</c:v>
                </c:pt>
                <c:pt idx="15">
                  <c:v>0.0043484364747907265</c:v>
                </c:pt>
                <c:pt idx="16">
                  <c:v>0.004179434750116616</c:v>
                </c:pt>
                <c:pt idx="17">
                  <c:v>0.00447659144491926</c:v>
                </c:pt>
                <c:pt idx="18">
                  <c:v>0.004345858514760173</c:v>
                </c:pt>
                <c:pt idx="19">
                  <c:v>0.002863829997827246</c:v>
                </c:pt>
                <c:pt idx="20">
                  <c:v>0.004161602213629061</c:v>
                </c:pt>
                <c:pt idx="21">
                  <c:v>0.0040257190801483034</c:v>
                </c:pt>
                <c:pt idx="22">
                  <c:v>0.004037860132162511</c:v>
                </c:pt>
                <c:pt idx="23">
                  <c:v>0.003439773405074187</c:v>
                </c:pt>
                <c:pt idx="24">
                  <c:v>0.004341788051554036</c:v>
                </c:pt>
                <c:pt idx="25">
                  <c:v>0.004347335966267367</c:v>
                </c:pt>
                <c:pt idx="26">
                  <c:v>0.0038649106732706663</c:v>
                </c:pt>
                <c:pt idx="27">
                  <c:v>0.003622781430822084</c:v>
                </c:pt>
                <c:pt idx="28">
                  <c:v>0.0041223810392694875</c:v>
                </c:pt>
                <c:pt idx="29">
                  <c:v>0.0035347508798840386</c:v>
                </c:pt>
                <c:pt idx="30">
                  <c:v>0.004943854787110583</c:v>
                </c:pt>
                <c:pt idx="31">
                  <c:v>0.004072413842045714</c:v>
                </c:pt>
                <c:pt idx="32">
                  <c:v>0.0033880332949872962</c:v>
                </c:pt>
                <c:pt idx="33">
                  <c:v>0.003566771857105646</c:v>
                </c:pt>
                <c:pt idx="34">
                  <c:v>0.0032905833665531946</c:v>
                </c:pt>
                <c:pt idx="35">
                  <c:v>0.0036761618109444148</c:v>
                </c:pt>
                <c:pt idx="36">
                  <c:v>0.0036028090246906412</c:v>
                </c:pt>
                <c:pt idx="37">
                  <c:v>0.004221767567460436</c:v>
                </c:pt>
                <c:pt idx="38">
                  <c:v>0.00402295319135426</c:v>
                </c:pt>
                <c:pt idx="39">
                  <c:v>0.004132511969915872</c:v>
                </c:pt>
                <c:pt idx="40">
                  <c:v>0.0032233333081932215</c:v>
                </c:pt>
                <c:pt idx="41">
                  <c:v>0.0032233333081932215</c:v>
                </c:pt>
                <c:pt idx="42">
                  <c:v>0.003907026399243492</c:v>
                </c:pt>
                <c:pt idx="43">
                  <c:v>0.0038517645605725473</c:v>
                </c:pt>
                <c:pt idx="44">
                  <c:v>0.0041042539097914926</c:v>
                </c:pt>
                <c:pt idx="45">
                  <c:v>0.004364799736879395</c:v>
                </c:pt>
                <c:pt idx="46">
                  <c:v>0.003956631777515609</c:v>
                </c:pt>
                <c:pt idx="47">
                  <c:v>0.003993798616231467</c:v>
                </c:pt>
                <c:pt idx="48">
                  <c:v>0.0038188149388296184</c:v>
                </c:pt>
                <c:pt idx="49">
                  <c:v>0.004153762827131098</c:v>
                </c:pt>
                <c:pt idx="50">
                  <c:v>0.004322859203642961</c:v>
                </c:pt>
                <c:pt idx="51">
                  <c:v>0.004233182087019717</c:v>
                </c:pt>
                <c:pt idx="52">
                  <c:v>0.004603010928217362</c:v>
                </c:pt>
                <c:pt idx="53">
                  <c:v>0.005003321274707142</c:v>
                </c:pt>
                <c:pt idx="54">
                  <c:v>0.0034131949073302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315882561018747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7</c:f>
              <c:numCache>
                <c:formatCode>General</c:formatCode>
                <c:ptCount val="76"/>
                <c:pt idx="0">
                  <c:v>0.14441960721698865</c:v>
                </c:pt>
                <c:pt idx="1">
                  <c:v>0.20156840400471143</c:v>
                </c:pt>
                <c:pt idx="2">
                  <c:v>0.1629930448503975</c:v>
                </c:pt>
                <c:pt idx="3">
                  <c:v>0.11755649929822974</c:v>
                </c:pt>
                <c:pt idx="4">
                  <c:v>0.21297042594085186</c:v>
                </c:pt>
                <c:pt idx="5">
                  <c:v>0.19527611443779108</c:v>
                </c:pt>
                <c:pt idx="6">
                  <c:v>0.1925696963776162</c:v>
                </c:pt>
                <c:pt idx="7">
                  <c:v>0.20543709240126035</c:v>
                </c:pt>
                <c:pt idx="8">
                  <c:v>0.19404890883764123</c:v>
                </c:pt>
                <c:pt idx="9">
                  <c:v>0.26769804660726526</c:v>
                </c:pt>
                <c:pt idx="10">
                  <c:v>0.20871097085188736</c:v>
                </c:pt>
                <c:pt idx="11">
                  <c:v>0.2273441170927822</c:v>
                </c:pt>
                <c:pt idx="12">
                  <c:v>0.29698684132675857</c:v>
                </c:pt>
                <c:pt idx="13">
                  <c:v>0.15186208844415752</c:v>
                </c:pt>
                <c:pt idx="14">
                  <c:v>0.24834528405956977</c:v>
                </c:pt>
                <c:pt idx="15">
                  <c:v>0.2700747149036571</c:v>
                </c:pt>
                <c:pt idx="16">
                  <c:v>0.25773442602911517</c:v>
                </c:pt>
                <c:pt idx="17">
                  <c:v>0.19297017224478363</c:v>
                </c:pt>
                <c:pt idx="18">
                  <c:v>0.22742694538688848</c:v>
                </c:pt>
                <c:pt idx="19">
                  <c:v>0.0</c:v>
                </c:pt>
                <c:pt idx="20">
                  <c:v>0.15893950608976515</c:v>
                </c:pt>
                <c:pt idx="21">
                  <c:v>0.19519733713742274</c:v>
                </c:pt>
                <c:pt idx="22">
                  <c:v>0.15331544653123802</c:v>
                </c:pt>
                <c:pt idx="23">
                  <c:v>0.1277489498393872</c:v>
                </c:pt>
                <c:pt idx="24">
                  <c:v>0.2110030191211003</c:v>
                </c:pt>
                <c:pt idx="25">
                  <c:v>0.09069821387149153</c:v>
                </c:pt>
                <c:pt idx="26">
                  <c:v>0.0</c:v>
                </c:pt>
                <c:pt idx="27">
                  <c:v>0.07717041800643087</c:v>
                </c:pt>
                <c:pt idx="28">
                  <c:v>0.1351875808538163</c:v>
                </c:pt>
                <c:pt idx="29">
                  <c:v>0.09607925258329748</c:v>
                </c:pt>
                <c:pt idx="30">
                  <c:v>0.11427362183895884</c:v>
                </c:pt>
                <c:pt idx="31">
                  <c:v>0.0</c:v>
                </c:pt>
                <c:pt idx="32">
                  <c:v>0.2454608938547486</c:v>
                </c:pt>
                <c:pt idx="33">
                  <c:v>0.0</c:v>
                </c:pt>
                <c:pt idx="34">
                  <c:v>0.18647990255785626</c:v>
                </c:pt>
                <c:pt idx="35">
                  <c:v>0.1280168776371308</c:v>
                </c:pt>
                <c:pt idx="36">
                  <c:v>0.1322712346953828</c:v>
                </c:pt>
                <c:pt idx="37">
                  <c:v>0.10839194069568524</c:v>
                </c:pt>
                <c:pt idx="38">
                  <c:v>0.2086109573879358</c:v>
                </c:pt>
                <c:pt idx="39">
                  <c:v>0.20212308133696744</c:v>
                </c:pt>
                <c:pt idx="40">
                  <c:v>0.171628486299028</c:v>
                </c:pt>
                <c:pt idx="41">
                  <c:v>0.12515729551582944</c:v>
                </c:pt>
                <c:pt idx="42">
                  <c:v>0.2200071644135751</c:v>
                </c:pt>
                <c:pt idx="43">
                  <c:v>0.2601918547491027</c:v>
                </c:pt>
                <c:pt idx="44">
                  <c:v>0.16238887412094116</c:v>
                </c:pt>
                <c:pt idx="45">
                  <c:v>0.25112281050702484</c:v>
                </c:pt>
                <c:pt idx="46">
                  <c:v>0.1836657224261339</c:v>
                </c:pt>
                <c:pt idx="47">
                  <c:v>0.2636291878863274</c:v>
                </c:pt>
                <c:pt idx="48">
                  <c:v>0.32538187905419547</c:v>
                </c:pt>
                <c:pt idx="49">
                  <c:v>0.14093529788597053</c:v>
                </c:pt>
                <c:pt idx="50">
                  <c:v>0.16430409356725145</c:v>
                </c:pt>
                <c:pt idx="51">
                  <c:v>0.22024510959226962</c:v>
                </c:pt>
                <c:pt idx="52">
                  <c:v>0.3032136744051425</c:v>
                </c:pt>
                <c:pt idx="53">
                  <c:v>0.22365049359378283</c:v>
                </c:pt>
                <c:pt idx="54">
                  <c:v>0.23212878416482724</c:v>
                </c:pt>
                <c:pt idx="55">
                  <c:v>0.2486818677473068</c:v>
                </c:pt>
                <c:pt idx="56">
                  <c:v>0.2610719825992828</c:v>
                </c:pt>
                <c:pt idx="57">
                  <c:v>0.23680509925913495</c:v>
                </c:pt>
                <c:pt idx="58">
                  <c:v>0.30462975944253967</c:v>
                </c:pt>
                <c:pt idx="59">
                  <c:v>0.21152439846557658</c:v>
                </c:pt>
                <c:pt idx="60">
                  <c:v>0.37328390414924345</c:v>
                </c:pt>
                <c:pt idx="61">
                  <c:v>0.29225652396384105</c:v>
                </c:pt>
                <c:pt idx="62">
                  <c:v>0.28110577973843287</c:v>
                </c:pt>
                <c:pt idx="63">
                  <c:v>0.18123260003275288</c:v>
                </c:pt>
                <c:pt idx="64">
                  <c:v>0.19053266133017097</c:v>
                </c:pt>
                <c:pt idx="65">
                  <c:v>0.35313441007391183</c:v>
                </c:pt>
                <c:pt idx="66">
                  <c:v>0.18777556842742285</c:v>
                </c:pt>
                <c:pt idx="67">
                  <c:v>0.11402231926249394</c:v>
                </c:pt>
                <c:pt idx="68">
                  <c:v>0.16684071808642895</c:v>
                </c:pt>
                <c:pt idx="69">
                  <c:v>0.17436040044493883</c:v>
                </c:pt>
                <c:pt idx="70">
                  <c:v>0.1499222024585667</c:v>
                </c:pt>
                <c:pt idx="71">
                  <c:v>0.2898666400611926</c:v>
                </c:pt>
                <c:pt idx="72">
                  <c:v>0.17477207937000763</c:v>
                </c:pt>
                <c:pt idx="73">
                  <c:v>0.15659004352557127</c:v>
                </c:pt>
                <c:pt idx="74">
                  <c:v>0.14469250210614995</c:v>
                </c:pt>
                <c:pt idx="75">
                  <c:v>0.0</c:v>
                </c:pt>
              </c:numCache>
            </c:numRef>
          </c:xVal>
          <c:yVal>
            <c:numRef>
              <c:f>Sheet1!$B$2:$B$77</c:f>
              <c:numCache>
                <c:formatCode>General</c:formatCode>
                <c:ptCount val="76"/>
                <c:pt idx="0">
                  <c:v>0.34782608695652173</c:v>
                </c:pt>
                <c:pt idx="1">
                  <c:v>0.35185185185185186</c:v>
                </c:pt>
                <c:pt idx="2">
                  <c:v>0.38596491228070173</c:v>
                </c:pt>
                <c:pt idx="3">
                  <c:v>0.34</c:v>
                </c:pt>
                <c:pt idx="4">
                  <c:v>0.36585365853658536</c:v>
                </c:pt>
                <c:pt idx="5">
                  <c:v>0.2702702702702703</c:v>
                </c:pt>
                <c:pt idx="6">
                  <c:v>0.21739130434782608</c:v>
                </c:pt>
                <c:pt idx="7">
                  <c:v>0.23255813953488372</c:v>
                </c:pt>
                <c:pt idx="8">
                  <c:v>0.25</c:v>
                </c:pt>
                <c:pt idx="9">
                  <c:v>0.17073170731707318</c:v>
                </c:pt>
                <c:pt idx="10">
                  <c:v>0.18181818181818182</c:v>
                </c:pt>
                <c:pt idx="11">
                  <c:v>0.21568627450980393</c:v>
                </c:pt>
                <c:pt idx="12">
                  <c:v>0.10638297872340426</c:v>
                </c:pt>
                <c:pt idx="13">
                  <c:v>0.12903225806451613</c:v>
                </c:pt>
                <c:pt idx="14">
                  <c:v>0.12121212121212122</c:v>
                </c:pt>
                <c:pt idx="15">
                  <c:v>0.11764705882352941</c:v>
                </c:pt>
                <c:pt idx="16">
                  <c:v>0.09090909090909091</c:v>
                </c:pt>
                <c:pt idx="17">
                  <c:v>0.13333333333333333</c:v>
                </c:pt>
                <c:pt idx="18">
                  <c:v>0.15384615384615385</c:v>
                </c:pt>
                <c:pt idx="19">
                  <c:v>0.16666666666666666</c:v>
                </c:pt>
                <c:pt idx="20">
                  <c:v>0.09090909090909091</c:v>
                </c:pt>
                <c:pt idx="21">
                  <c:v>0.1111111111111111</c:v>
                </c:pt>
                <c:pt idx="22">
                  <c:v>0.14285714285714285</c:v>
                </c:pt>
                <c:pt idx="23">
                  <c:v>0.14285714285714285</c:v>
                </c:pt>
                <c:pt idx="24">
                  <c:v>0.14285714285714285</c:v>
                </c:pt>
                <c:pt idx="25">
                  <c:v>0.25</c:v>
                </c:pt>
                <c:pt idx="26">
                  <c:v>0.16666666666666666</c:v>
                </c:pt>
                <c:pt idx="27">
                  <c:v>0.14285714285714285</c:v>
                </c:pt>
                <c:pt idx="28">
                  <c:v>0.14285714285714285</c:v>
                </c:pt>
                <c:pt idx="29">
                  <c:v>0.18181818181818182</c:v>
                </c:pt>
                <c:pt idx="30">
                  <c:v>0.1</c:v>
                </c:pt>
                <c:pt idx="31">
                  <c:v>0.16666666666666666</c:v>
                </c:pt>
                <c:pt idx="32">
                  <c:v>0.16666666666666666</c:v>
                </c:pt>
                <c:pt idx="33">
                  <c:v>0.2857142857142857</c:v>
                </c:pt>
                <c:pt idx="34">
                  <c:v>0.2857142857142857</c:v>
                </c:pt>
                <c:pt idx="35">
                  <c:v>0.2857142857142857</c:v>
                </c:pt>
                <c:pt idx="36">
                  <c:v>0.375</c:v>
                </c:pt>
                <c:pt idx="37">
                  <c:v>0.16666666666666666</c:v>
                </c:pt>
                <c:pt idx="38">
                  <c:v>0.19230769230769232</c:v>
                </c:pt>
                <c:pt idx="39">
                  <c:v>0.20689655172413793</c:v>
                </c:pt>
                <c:pt idx="40">
                  <c:v>0.19047619047619047</c:v>
                </c:pt>
                <c:pt idx="41">
                  <c:v>0.2</c:v>
                </c:pt>
                <c:pt idx="42">
                  <c:v>0.15</c:v>
                </c:pt>
                <c:pt idx="43">
                  <c:v>0.09803921568627451</c:v>
                </c:pt>
                <c:pt idx="44">
                  <c:v>0.1111111111111111</c:v>
                </c:pt>
                <c:pt idx="45">
                  <c:v>0.045454545454545456</c:v>
                </c:pt>
                <c:pt idx="46">
                  <c:v>0.17647058823529413</c:v>
                </c:pt>
                <c:pt idx="47">
                  <c:v>0.07692307692307693</c:v>
                </c:pt>
                <c:pt idx="48">
                  <c:v>0.07692307692307693</c:v>
                </c:pt>
                <c:pt idx="49">
                  <c:v>0.06666666666666667</c:v>
                </c:pt>
                <c:pt idx="50">
                  <c:v>0.07692307692307693</c:v>
                </c:pt>
                <c:pt idx="51">
                  <c:v>0.0425531914893617</c:v>
                </c:pt>
                <c:pt idx="52">
                  <c:v>0.07272727272727272</c:v>
                </c:pt>
                <c:pt idx="53">
                  <c:v>0.08849557522123894</c:v>
                </c:pt>
                <c:pt idx="54">
                  <c:v>0.11214953271028037</c:v>
                </c:pt>
                <c:pt idx="55">
                  <c:v>0.08450704225352113</c:v>
                </c:pt>
                <c:pt idx="56">
                  <c:v>0.08571428571428572</c:v>
                </c:pt>
                <c:pt idx="57">
                  <c:v>0.10666666666666667</c:v>
                </c:pt>
                <c:pt idx="58">
                  <c:v>0.08450704225352113</c:v>
                </c:pt>
                <c:pt idx="59">
                  <c:v>0.0625</c:v>
                </c:pt>
                <c:pt idx="60">
                  <c:v>0.022727272727272728</c:v>
                </c:pt>
                <c:pt idx="61">
                  <c:v>0.08333333333333333</c:v>
                </c:pt>
                <c:pt idx="62">
                  <c:v>0.05714285714285714</c:v>
                </c:pt>
                <c:pt idx="63">
                  <c:v>0.041666666666666664</c:v>
                </c:pt>
                <c:pt idx="64">
                  <c:v>0.038461538461538464</c:v>
                </c:pt>
                <c:pt idx="65">
                  <c:v>0.043478260869565216</c:v>
                </c:pt>
                <c:pt idx="66">
                  <c:v>0.047619047619047616</c:v>
                </c:pt>
                <c:pt idx="67">
                  <c:v>0.1111111111111111</c:v>
                </c:pt>
                <c:pt idx="68">
                  <c:v>0.047619047619047616</c:v>
                </c:pt>
                <c:pt idx="69">
                  <c:v>0.038461538461538464</c:v>
                </c:pt>
                <c:pt idx="70">
                  <c:v>0.03571428571428571</c:v>
                </c:pt>
                <c:pt idx="71">
                  <c:v>0.03389830508474576</c:v>
                </c:pt>
                <c:pt idx="72">
                  <c:v>0.03333333333333333</c:v>
                </c:pt>
                <c:pt idx="73">
                  <c:v>0.047619047619047616</c:v>
                </c:pt>
                <c:pt idx="74">
                  <c:v>0.04</c:v>
                </c:pt>
                <c:pt idx="75">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7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0:$A$146</c:f>
              <c:numCache>
                <c:formatCode>General</c:formatCode>
                <c:ptCount val="6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2433184010092285</c:v>
                </c:pt>
                <c:pt idx="22">
                  <c:v>0.21518052776983898</c:v>
                </c:pt>
                <c:pt idx="23">
                  <c:v>0.14775554083300207</c:v>
                </c:pt>
                <c:pt idx="24">
                  <c:v>0.171793273327749</c:v>
                </c:pt>
                <c:pt idx="25">
                  <c:v>0.2745622919982636</c:v>
                </c:pt>
                <c:pt idx="26">
                  <c:v>0.3027584791721631</c:v>
                </c:pt>
                <c:pt idx="27">
                  <c:v>0.15466602939419286</c:v>
                </c:pt>
                <c:pt idx="28">
                  <c:v>0.13827465122900257</c:v>
                </c:pt>
                <c:pt idx="29">
                  <c:v>0.2518656723179042</c:v>
                </c:pt>
                <c:pt idx="30">
                  <c:v>0.24694997252445494</c:v>
                </c:pt>
                <c:pt idx="31">
                  <c:v>0.16810109093002504</c:v>
                </c:pt>
                <c:pt idx="32">
                  <c:v>0.24014288355439914</c:v>
                </c:pt>
                <c:pt idx="33">
                  <c:v>0.212035889120954</c:v>
                </c:pt>
                <c:pt idx="34">
                  <c:v>0.196799917946614</c:v>
                </c:pt>
                <c:pt idx="35">
                  <c:v>0.3064582718961958</c:v>
                </c:pt>
                <c:pt idx="36">
                  <c:v>0.37534017362016003</c:v>
                </c:pt>
                <c:pt idx="37">
                  <c:v>0.0</c:v>
                </c:pt>
                <c:pt idx="38">
                  <c:v>0.11106639839034205</c:v>
                </c:pt>
                <c:pt idx="39">
                  <c:v>0.0</c:v>
                </c:pt>
                <c:pt idx="40">
                  <c:v>0.16466294547015886</c:v>
                </c:pt>
                <c:pt idx="41">
                  <c:v>0.13863506567675615</c:v>
                </c:pt>
                <c:pt idx="42">
                  <c:v>0.26204532470005715</c:v>
                </c:pt>
                <c:pt idx="43">
                  <c:v>0.11836734693877551</c:v>
                </c:pt>
                <c:pt idx="44">
                  <c:v>0.0</c:v>
                </c:pt>
                <c:pt idx="45">
                  <c:v>0.25732155011097435</c:v>
                </c:pt>
                <c:pt idx="46">
                  <c:v>0.0</c:v>
                </c:pt>
                <c:pt idx="47">
                  <c:v>0.0</c:v>
                </c:pt>
                <c:pt idx="48">
                  <c:v>0.16964556195092395</c:v>
                </c:pt>
                <c:pt idx="49">
                  <c:v>0.087143928035982</c:v>
                </c:pt>
                <c:pt idx="50">
                  <c:v>0.0</c:v>
                </c:pt>
                <c:pt idx="51">
                  <c:v>0.10830656264341441</c:v>
                </c:pt>
                <c:pt idx="52">
                  <c:v>0.10005053057099546</c:v>
                </c:pt>
                <c:pt idx="53">
                  <c:v>0.06321996708721887</c:v>
                </c:pt>
                <c:pt idx="54">
                  <c:v>0.0</c:v>
                </c:pt>
                <c:pt idx="55">
                  <c:v>0.0</c:v>
                </c:pt>
                <c:pt idx="56">
                  <c:v>0.0</c:v>
                </c:pt>
                <c:pt idx="57">
                  <c:v>0.0</c:v>
                </c:pt>
                <c:pt idx="58">
                  <c:v>0.037659033078880404</c:v>
                </c:pt>
                <c:pt idx="59">
                  <c:v>0.10242063009366258</c:v>
                </c:pt>
                <c:pt idx="60">
                  <c:v>0.14862598374403302</c:v>
                </c:pt>
                <c:pt idx="61">
                  <c:v>0.07583741061347385</c:v>
                </c:pt>
                <c:pt idx="62">
                  <c:v>0.1040339702760085</c:v>
                </c:pt>
                <c:pt idx="63">
                  <c:v>0.12955043287785542</c:v>
                </c:pt>
                <c:pt idx="64">
                  <c:v>0.0</c:v>
                </c:pt>
                <c:pt idx="65">
                  <c:v>0.20621782660726623</c:v>
                </c:pt>
                <c:pt idx="66">
                  <c:v>0.2456649568543993</c:v>
                </c:pt>
              </c:numCache>
            </c:numRef>
          </c:xVal>
          <c:yVal>
            <c:numRef>
              <c:f>Sheet1!$B$80:$B$146</c:f>
              <c:numCache>
                <c:formatCode>General</c:formatCode>
                <c:ptCount val="6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3225806451612903</c:v>
                </c:pt>
                <c:pt idx="22">
                  <c:v>0.05714285714285714</c:v>
                </c:pt>
                <c:pt idx="23">
                  <c:v>0.08108108108108109</c:v>
                </c:pt>
                <c:pt idx="24">
                  <c:v>0.06818181818181818</c:v>
                </c:pt>
                <c:pt idx="25">
                  <c:v>0.044444444444444446</c:v>
                </c:pt>
                <c:pt idx="26">
                  <c:v>0.027777777777777776</c:v>
                </c:pt>
                <c:pt idx="27">
                  <c:v>0.06666666666666667</c:v>
                </c:pt>
                <c:pt idx="28">
                  <c:v>0.09523809523809523</c:v>
                </c:pt>
                <c:pt idx="29">
                  <c:v>0.06666666666666667</c:v>
                </c:pt>
                <c:pt idx="30">
                  <c:v>0.07894736842105263</c:v>
                </c:pt>
                <c:pt idx="31">
                  <c:v>0.13333333333333333</c:v>
                </c:pt>
                <c:pt idx="32">
                  <c:v>0.05555555555555555</c:v>
                </c:pt>
                <c:pt idx="33">
                  <c:v>0.08</c:v>
                </c:pt>
                <c:pt idx="34">
                  <c:v>0.05555555555555555</c:v>
                </c:pt>
                <c:pt idx="35">
                  <c:v>0.034482758620689655</c:v>
                </c:pt>
                <c:pt idx="36">
                  <c:v>0.03125</c:v>
                </c:pt>
                <c:pt idx="37">
                  <c:v>0.0</c:v>
                </c:pt>
                <c:pt idx="38">
                  <c:v>0.05263157894736842</c:v>
                </c:pt>
                <c:pt idx="39">
                  <c:v>0.0</c:v>
                </c:pt>
                <c:pt idx="40">
                  <c:v>0.07142857142857142</c:v>
                </c:pt>
                <c:pt idx="41">
                  <c:v>0.07692307692307693</c:v>
                </c:pt>
                <c:pt idx="42">
                  <c:v>0.06666666666666667</c:v>
                </c:pt>
                <c:pt idx="43">
                  <c:v>0.08333333333333333</c:v>
                </c:pt>
                <c:pt idx="44">
                  <c:v>0.0</c:v>
                </c:pt>
                <c:pt idx="45">
                  <c:v>0.09090909090909091</c:v>
                </c:pt>
                <c:pt idx="46">
                  <c:v>0.0</c:v>
                </c:pt>
                <c:pt idx="47">
                  <c:v>0.0</c:v>
                </c:pt>
                <c:pt idx="48">
                  <c:v>0.14285714285714285</c:v>
                </c:pt>
                <c:pt idx="49">
                  <c:v>0.2</c:v>
                </c:pt>
                <c:pt idx="50">
                  <c:v>0.0</c:v>
                </c:pt>
                <c:pt idx="51">
                  <c:v>0.14285714285714285</c:v>
                </c:pt>
                <c:pt idx="52">
                  <c:v>0.1111111111111111</c:v>
                </c:pt>
                <c:pt idx="53">
                  <c:v>0.16666666666666666</c:v>
                </c:pt>
                <c:pt idx="54">
                  <c:v>0.0</c:v>
                </c:pt>
                <c:pt idx="55">
                  <c:v>0.0</c:v>
                </c:pt>
                <c:pt idx="56">
                  <c:v>0.0</c:v>
                </c:pt>
                <c:pt idx="57">
                  <c:v>0.0</c:v>
                </c:pt>
                <c:pt idx="58">
                  <c:v>0.07692307692307693</c:v>
                </c:pt>
                <c:pt idx="59">
                  <c:v>0.024390243902439025</c:v>
                </c:pt>
                <c:pt idx="60">
                  <c:v>0.03125</c:v>
                </c:pt>
                <c:pt idx="61">
                  <c:v>0.1111111111111111</c:v>
                </c:pt>
                <c:pt idx="62">
                  <c:v>0.05263157894736842</c:v>
                </c:pt>
                <c:pt idx="63">
                  <c:v>0.041666666666666664</c:v>
                </c:pt>
                <c:pt idx="64">
                  <c:v>0.0</c:v>
                </c:pt>
                <c:pt idx="65">
                  <c:v>0.06944444444444445</c:v>
                </c:pt>
                <c:pt idx="66">
                  <c:v>0.03225806451612903</c:v>
                </c:pt>
              </c:numCache>
            </c:numRef>
          </c:yVal>
          <c:smooth val="0"/>
          <c:extLst>
            <c:ext xmlns:c16="http://schemas.microsoft.com/office/drawing/2014/chart" uri="{C3380CC4-5D6E-409C-BE32-E72D297353CC}">
              <c16:uniqueId val="{00000002-096C-4121-9522-6AB7243CCAAE}"/>
            </c:ext>
          </c:extLst>
        </c:ser>
        <c:ser>
          <c:idx val="2"/>
          <c:order val="2"/>
          <c:tx>
            <c:strRef>
              <c:f>Sheet1!$B$14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9:$A$150</c:f>
              <c:numCache>
                <c:formatCode>General</c:formatCode>
                <c:ptCount val="2"/>
                <c:pt idx="0">
                  <c:v>0</c:v>
                </c:pt>
                <c:pt idx="1">
                  <c:v>1.262598862141358</c:v>
                </c:pt>
              </c:numCache>
            </c:numRef>
          </c:xVal>
          <c:yVal>
            <c:numRef>
              <c:f>Sheet1!$B$149:$B$150</c:f>
              <c:numCache>
                <c:formatCode>General</c:formatCode>
                <c:ptCount val="2"/>
                <c:pt idx="0">
                  <c:v>0.3068573581976268</c:v>
                </c:pt>
                <c:pt idx="1">
                  <c:v>0.3068573581976268</c:v>
                </c:pt>
              </c:numCache>
            </c:numRef>
          </c:yVal>
          <c:smooth val="0"/>
          <c:extLst>
            <c:ext xmlns:c16="http://schemas.microsoft.com/office/drawing/2014/chart" uri="{C3380CC4-5D6E-409C-BE32-E72D297353CC}">
              <c16:uniqueId val="{00000005-096C-4121-9522-6AB7243CCAAE}"/>
            </c:ext>
          </c:extLst>
        </c:ser>
        <c:ser>
          <c:idx val="3"/>
          <c:order val="3"/>
          <c:tx>
            <c:strRef>
              <c:f>Sheet1!$B$15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1.262598862141358</c:v>
                </c:pt>
                <c:pt idx="1">
                  <c:v>1.262598862141358</c:v>
                </c:pt>
              </c:numCache>
            </c:numRef>
          </c:xVal>
          <c:yVal>
            <c:numRef>
              <c:f>Sheet1!$B$153:$B$154</c:f>
              <c:numCache>
                <c:formatCode>General</c:formatCode>
                <c:ptCount val="2"/>
                <c:pt idx="0">
                  <c:v>0.30685735819762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7:$A$158</c:f>
              <c:numCache>
                <c:formatCode>General</c:formatCode>
                <c:ptCount val="2"/>
                <c:pt idx="0">
                  <c:v>0</c:v>
                </c:pt>
                <c:pt idx="1">
                  <c:v>0.35958170174585175</c:v>
                </c:pt>
              </c:numCache>
            </c:numRef>
          </c:xVal>
          <c:yVal>
            <c:numRef>
              <c:f>Sheet1!$B$157:$B$158</c:f>
              <c:numCache>
                <c:formatCode>General</c:formatCode>
                <c:ptCount val="2"/>
                <c:pt idx="0">
                  <c:v>0.10040010494555948</c:v>
                </c:pt>
                <c:pt idx="1">
                  <c:v>0.10040010494555948</c:v>
                </c:pt>
              </c:numCache>
            </c:numRef>
          </c:yVal>
          <c:smooth val="0"/>
          <c:extLst>
            <c:ext xmlns:c16="http://schemas.microsoft.com/office/drawing/2014/chart" uri="{C3380CC4-5D6E-409C-BE32-E72D297353CC}">
              <c16:uniqueId val="{0000000D-096C-4121-9522-6AB7243CCAAE}"/>
            </c:ext>
          </c:extLst>
        </c:ser>
        <c:ser>
          <c:idx val="5"/>
          <c:order val="5"/>
          <c:tx>
            <c:strRef>
              <c:f>Sheet1!$B$16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0.35958170174585175</c:v>
                </c:pt>
                <c:pt idx="1">
                  <c:v>0.35958170174585175</c:v>
                </c:pt>
              </c:numCache>
            </c:numRef>
          </c:xVal>
          <c:yVal>
            <c:numRef>
              <c:f>Sheet1!$B$161:$B$162</c:f>
              <c:numCache>
                <c:formatCode>General</c:formatCode>
                <c:ptCount val="2"/>
                <c:pt idx="0">
                  <c:v>0.100400104945559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5:$A$166</c:f>
              <c:numCache>
                <c:formatCode>General</c:formatCode>
                <c:ptCount val="2"/>
                <c:pt idx="0">
                  <c:v>0</c:v>
                </c:pt>
                <c:pt idx="1">
                  <c:v>0.09527034848860481</c:v>
                </c:pt>
              </c:numCache>
            </c:numRef>
          </c:xVal>
          <c:yVal>
            <c:numRef>
              <c:f>Sheet1!$B$165:$B$166</c:f>
              <c:numCache>
                <c:formatCode>General</c:formatCode>
                <c:ptCount val="2"/>
                <c:pt idx="0">
                  <c:v>0.03997047150102142</c:v>
                </c:pt>
                <c:pt idx="1">
                  <c:v>0.03997047150102142</c:v>
                </c:pt>
              </c:numCache>
            </c:numRef>
          </c:yVal>
          <c:smooth val="0"/>
          <c:extLst>
            <c:ext xmlns:c16="http://schemas.microsoft.com/office/drawing/2014/chart" uri="{C3380CC4-5D6E-409C-BE32-E72D297353CC}">
              <c16:uniqueId val="{00000015-096C-4121-9522-6AB7243CCAAE}"/>
            </c:ext>
          </c:extLst>
        </c:ser>
        <c:ser>
          <c:idx val="7"/>
          <c:order val="7"/>
          <c:tx>
            <c:strRef>
              <c:f>Sheet1!$B$16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0.09527034848860481</c:v>
                </c:pt>
                <c:pt idx="1">
                  <c:v>0.09527034848860481</c:v>
                </c:pt>
              </c:numCache>
            </c:numRef>
          </c:xVal>
          <c:yVal>
            <c:numRef>
              <c:f>Sheet1!$B$169:$B$170</c:f>
              <c:numCache>
                <c:formatCode>General</c:formatCode>
                <c:ptCount val="2"/>
                <c:pt idx="0">
                  <c:v>0.039970471501021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3:$A$242</c:f>
              <c:numCache>
                <c:formatCode>General</c:formatCode>
                <c:ptCount val="7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2433184010092285</c:v>
                </c:pt>
                <c:pt idx="22">
                  <c:v>0.21518052776983898</c:v>
                </c:pt>
                <c:pt idx="23">
                  <c:v>0.14775554083300207</c:v>
                </c:pt>
                <c:pt idx="24">
                  <c:v>0.171793273327749</c:v>
                </c:pt>
                <c:pt idx="25">
                  <c:v>0.2745622919982636</c:v>
                </c:pt>
                <c:pt idx="26">
                  <c:v>0.3027584791721631</c:v>
                </c:pt>
                <c:pt idx="27">
                  <c:v>0.15466602939419286</c:v>
                </c:pt>
                <c:pt idx="28">
                  <c:v>0.13827465122900257</c:v>
                </c:pt>
                <c:pt idx="29">
                  <c:v>0.2518656723179042</c:v>
                </c:pt>
                <c:pt idx="30">
                  <c:v>0.24694997252445494</c:v>
                </c:pt>
                <c:pt idx="31">
                  <c:v>0.16810109093002504</c:v>
                </c:pt>
                <c:pt idx="32">
                  <c:v>0.24014288355439914</c:v>
                </c:pt>
                <c:pt idx="33">
                  <c:v>0.212035889120954</c:v>
                </c:pt>
                <c:pt idx="34">
                  <c:v>0.196799917946614</c:v>
                </c:pt>
                <c:pt idx="35">
                  <c:v>0.3064582718961958</c:v>
                </c:pt>
                <c:pt idx="36">
                  <c:v>0.37534017362016003</c:v>
                </c:pt>
                <c:pt idx="37">
                  <c:v>0.0</c:v>
                </c:pt>
                <c:pt idx="38">
                  <c:v>0.11106639839034205</c:v>
                </c:pt>
                <c:pt idx="39">
                  <c:v>0.0</c:v>
                </c:pt>
                <c:pt idx="40">
                  <c:v>0.16466294547015886</c:v>
                </c:pt>
                <c:pt idx="41">
                  <c:v>0.13863506567675615</c:v>
                </c:pt>
                <c:pt idx="42">
                  <c:v>0.26204532470005715</c:v>
                </c:pt>
                <c:pt idx="43">
                  <c:v>0.11836734693877551</c:v>
                </c:pt>
                <c:pt idx="44">
                  <c:v>0.0</c:v>
                </c:pt>
                <c:pt idx="45">
                  <c:v>0.25732155011097435</c:v>
                </c:pt>
                <c:pt idx="46">
                  <c:v>0.0</c:v>
                </c:pt>
                <c:pt idx="47">
                  <c:v>0.0</c:v>
                </c:pt>
                <c:pt idx="48">
                  <c:v>0.16964556195092395</c:v>
                </c:pt>
                <c:pt idx="49">
                  <c:v>0.087143928035982</c:v>
                </c:pt>
                <c:pt idx="50">
                  <c:v>0.0</c:v>
                </c:pt>
                <c:pt idx="51">
                  <c:v>0.10830656264341441</c:v>
                </c:pt>
                <c:pt idx="52">
                  <c:v>0.10005053057099546</c:v>
                </c:pt>
                <c:pt idx="53">
                  <c:v>0.06321996708721887</c:v>
                </c:pt>
                <c:pt idx="54">
                  <c:v>0.0</c:v>
                </c:pt>
                <c:pt idx="55">
                  <c:v>0.0</c:v>
                </c:pt>
                <c:pt idx="56">
                  <c:v>0.0</c:v>
                </c:pt>
                <c:pt idx="57">
                  <c:v>0.0</c:v>
                </c:pt>
                <c:pt idx="58">
                  <c:v>0.037659033078880404</c:v>
                </c:pt>
                <c:pt idx="59">
                  <c:v>0.10242063009366258</c:v>
                </c:pt>
                <c:pt idx="60">
                  <c:v>0.14862598374403302</c:v>
                </c:pt>
                <c:pt idx="61">
                  <c:v>0.07583741061347385</c:v>
                </c:pt>
                <c:pt idx="62">
                  <c:v>0.1040339702760085</c:v>
                </c:pt>
                <c:pt idx="63">
                  <c:v>0.12955043287785542</c:v>
                </c:pt>
                <c:pt idx="64">
                  <c:v>0.0</c:v>
                </c:pt>
                <c:pt idx="65">
                  <c:v>0.20621782660726623</c:v>
                </c:pt>
                <c:pt idx="66">
                  <c:v>0.2456649568543993</c:v>
                </c:pt>
                <c:pt idx="67">
                  <c:v>0.35958170174585175</c:v>
                </c:pt>
                <c:pt idx="68">
                  <c:v>1.262598862141358</c:v>
                </c:pt>
                <c:pt idx="69">
                  <c:v>0.09527034848860481</c:v>
                </c:pt>
              </c:numCache>
            </c:numRef>
          </c:xVal>
          <c:yVal>
            <c:numRef>
              <c:f>Sheet1!$B$173:$B$242</c:f>
              <c:numCache>
                <c:formatCode>General</c:formatCode>
                <c:ptCount val="70"/>
                <c:pt idx="0">
                  <c:v>0.018188765318705023</c:v>
                </c:pt>
                <c:pt idx="1">
                  <c:v>0.018188765318705023</c:v>
                </c:pt>
                <c:pt idx="2">
                  <c:v>0.018188765318705023</c:v>
                </c:pt>
                <c:pt idx="3">
                  <c:v>0.018188765318705023</c:v>
                </c:pt>
                <c:pt idx="4">
                  <c:v>0.018188765318705023</c:v>
                </c:pt>
                <c:pt idx="5">
                  <c:v>0.018188765318705023</c:v>
                </c:pt>
                <c:pt idx="6">
                  <c:v>0.018188765318705023</c:v>
                </c:pt>
                <c:pt idx="7">
                  <c:v>0.018188765318705023</c:v>
                </c:pt>
                <c:pt idx="8">
                  <c:v>0.018188765318705023</c:v>
                </c:pt>
                <c:pt idx="9">
                  <c:v>0.018188765318705023</c:v>
                </c:pt>
                <c:pt idx="10">
                  <c:v>0.018188765318705023</c:v>
                </c:pt>
                <c:pt idx="11">
                  <c:v>0.018188765318705023</c:v>
                </c:pt>
                <c:pt idx="12">
                  <c:v>0.018188765318705023</c:v>
                </c:pt>
                <c:pt idx="13">
                  <c:v>0.018188765318705023</c:v>
                </c:pt>
                <c:pt idx="14">
                  <c:v>0.018188765318705023</c:v>
                </c:pt>
                <c:pt idx="15">
                  <c:v>0.018188765318705023</c:v>
                </c:pt>
                <c:pt idx="16">
                  <c:v>0.018188765318705023</c:v>
                </c:pt>
                <c:pt idx="17">
                  <c:v>0.018188765318705023</c:v>
                </c:pt>
                <c:pt idx="18">
                  <c:v>0.018188765318705023</c:v>
                </c:pt>
                <c:pt idx="19">
                  <c:v>0.018188765318705023</c:v>
                </c:pt>
                <c:pt idx="20">
                  <c:v>0.018188765318705023</c:v>
                </c:pt>
                <c:pt idx="21">
                  <c:v>0.07381876986485159</c:v>
                </c:pt>
                <c:pt idx="22">
                  <c:v>0.0673855941998234</c:v>
                </c:pt>
                <c:pt idx="23">
                  <c:v>0.05197018659290819</c:v>
                </c:pt>
                <c:pt idx="24">
                  <c:v>0.057465945082259384</c:v>
                </c:pt>
                <c:pt idx="25">
                  <c:v>0.08096207588096094</c:v>
                </c:pt>
                <c:pt idx="26">
                  <c:v>0.08740858388924155</c:v>
                </c:pt>
                <c:pt idx="27">
                  <c:v>0.0535501349588378</c:v>
                </c:pt>
                <c:pt idx="28">
                  <c:v>0.049802566184487036</c:v>
                </c:pt>
                <c:pt idx="29">
                  <c:v>0.07577293666763582</c:v>
                </c:pt>
                <c:pt idx="30">
                  <c:v>0.07464905782936126</c:v>
                </c:pt>
                <c:pt idx="31">
                  <c:v>0.056621799622159984</c:v>
                </c:pt>
                <c:pt idx="32">
                  <c:v>0.07309274976232007</c:v>
                </c:pt>
                <c:pt idx="33">
                  <c:v>0.0666666339337364</c:v>
                </c:pt>
                <c:pt idx="34">
                  <c:v>0.0631832264225168</c:v>
                </c:pt>
                <c:pt idx="35">
                  <c:v>0.08825446930195202</c:v>
                </c:pt>
                <c:pt idx="36">
                  <c:v>0.10400297204632938</c:v>
                </c:pt>
                <c:pt idx="37">
                  <c:v>0.018188765318705023</c:v>
                </c:pt>
                <c:pt idx="38">
                  <c:v>0.04358193008450714</c:v>
                </c:pt>
                <c:pt idx="39">
                  <c:v>0.018188765318705023</c:v>
                </c:pt>
                <c:pt idx="40">
                  <c:v>0.05583573475090754</c:v>
                </c:pt>
                <c:pt idx="41">
                  <c:v>0.049884967915239276</c:v>
                </c:pt>
                <c:pt idx="42">
                  <c:v>0.0781003155504022</c:v>
                </c:pt>
                <c:pt idx="43">
                  <c:v>0.04525114950751795</c:v>
                </c:pt>
                <c:pt idx="44">
                  <c:v>0.018188765318705023</c:v>
                </c:pt>
                <c:pt idx="45">
                  <c:v>0.0770203166650911</c:v>
                </c:pt>
                <c:pt idx="46">
                  <c:v>0.018188765318705023</c:v>
                </c:pt>
                <c:pt idx="47">
                  <c:v>0.018188765318705023</c:v>
                </c:pt>
                <c:pt idx="48">
                  <c:v>0.05697491278399906</c:v>
                </c:pt>
                <c:pt idx="49">
                  <c:v>0.03811252403445822</c:v>
                </c:pt>
                <c:pt idx="50">
                  <c:v>0.018188765318705023</c:v>
                </c:pt>
                <c:pt idx="51">
                  <c:v>0.04295094749333691</c:v>
                </c:pt>
                <c:pt idx="52">
                  <c:v>0.04106336685900429</c:v>
                </c:pt>
                <c:pt idx="53">
                  <c:v>0.03264277718908483</c:v>
                </c:pt>
                <c:pt idx="54">
                  <c:v>0.018188765318705023</c:v>
                </c:pt>
                <c:pt idx="55">
                  <c:v>0.018188765318705023</c:v>
                </c:pt>
                <c:pt idx="56">
                  <c:v>0.018188765318705023</c:v>
                </c:pt>
                <c:pt idx="57">
                  <c:v>0.018188765318705023</c:v>
                </c:pt>
                <c:pt idx="58">
                  <c:v>0.026798768395710874</c:v>
                </c:pt>
                <c:pt idx="59">
                  <c:v>0.041605243867376504</c:v>
                </c:pt>
                <c:pt idx="60">
                  <c:v>0.052169196379660714</c:v>
                </c:pt>
                <c:pt idx="61">
                  <c:v>0.03552750944860551</c:v>
                </c:pt>
                <c:pt idx="62">
                  <c:v>0.041974102619144235</c:v>
                </c:pt>
                <c:pt idx="63">
                  <c:v>0.04780794389318946</c:v>
                </c:pt>
                <c:pt idx="64">
                  <c:v>0.018188765318705023</c:v>
                </c:pt>
                <c:pt idx="65">
                  <c:v>0.06533644746718166</c:v>
                </c:pt>
                <c:pt idx="66">
                  <c:v>0.0743552640707694</c:v>
                </c:pt>
                <c:pt idx="67">
                  <c:v>0.10040010494555948</c:v>
                </c:pt>
                <c:pt idx="68">
                  <c:v>0.3068573581976268</c:v>
                </c:pt>
                <c:pt idx="69">
                  <c:v>0.039970471501021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31578947368420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6</c:f>
              <c:numCache>
                <c:formatCode>General</c:formatCode>
                <c:ptCount val="75"/>
                <c:pt idx="0">
                  <c:v>678.375</c:v>
                </c:pt>
                <c:pt idx="1">
                  <c:v>684.5263</c:v>
                </c:pt>
                <c:pt idx="2">
                  <c:v>671.4091</c:v>
                </c:pt>
                <c:pt idx="3">
                  <c:v>649.1176</c:v>
                </c:pt>
                <c:pt idx="4">
                  <c:v>687.0</c:v>
                </c:pt>
                <c:pt idx="5">
                  <c:v>704.4</c:v>
                </c:pt>
                <c:pt idx="6">
                  <c:v>663.1</c:v>
                </c:pt>
                <c:pt idx="7">
                  <c:v>700.9</c:v>
                </c:pt>
                <c:pt idx="8">
                  <c:v>626.875</c:v>
                </c:pt>
                <c:pt idx="9">
                  <c:v>781.1429</c:v>
                </c:pt>
                <c:pt idx="10">
                  <c:v>663.625</c:v>
                </c:pt>
                <c:pt idx="11">
                  <c:v>723.8182</c:v>
                </c:pt>
                <c:pt idx="12">
                  <c:v>925.6</c:v>
                </c:pt>
                <c:pt idx="13">
                  <c:v>752.75</c:v>
                </c:pt>
                <c:pt idx="14">
                  <c:v>900.5</c:v>
                </c:pt>
                <c:pt idx="15">
                  <c:v>858.5</c:v>
                </c:pt>
                <c:pt idx="16">
                  <c:v>770.0</c:v>
                </c:pt>
                <c:pt idx="17">
                  <c:v>689.0</c:v>
                </c:pt>
                <c:pt idx="18">
                  <c:v>1039.0</c:v>
                </c:pt>
                <c:pt idx="19">
                  <c:v>943.5</c:v>
                </c:pt>
                <c:pt idx="20">
                  <c:v>1181.0</c:v>
                </c:pt>
                <c:pt idx="21">
                  <c:v>821.0</c:v>
                </c:pt>
                <c:pt idx="22">
                  <c:v>800.0</c:v>
                </c:pt>
                <c:pt idx="23">
                  <c:v>517.0</c:v>
                </c:pt>
                <c:pt idx="24">
                  <c:v>629.0</c:v>
                </c:pt>
                <c:pt idx="25">
                  <c:v>391.0</c:v>
                </c:pt>
                <c:pt idx="26">
                  <c:v>751.0</c:v>
                </c:pt>
                <c:pt idx="27">
                  <c:v>360.0</c:v>
                </c:pt>
                <c:pt idx="28">
                  <c:v>627.0</c:v>
                </c:pt>
                <c:pt idx="29">
                  <c:v>305.5</c:v>
                </c:pt>
                <c:pt idx="30">
                  <c:v>540.0</c:v>
                </c:pt>
                <c:pt idx="31">
                  <c:v>675.0</c:v>
                </c:pt>
                <c:pt idx="32">
                  <c:v>703.0</c:v>
                </c:pt>
                <c:pt idx="33">
                  <c:v>587.5</c:v>
                </c:pt>
                <c:pt idx="34">
                  <c:v>765.5</c:v>
                </c:pt>
                <c:pt idx="35">
                  <c:v>758.5</c:v>
                </c:pt>
                <c:pt idx="36">
                  <c:v>896.6667</c:v>
                </c:pt>
                <c:pt idx="37">
                  <c:v>1140.5</c:v>
                </c:pt>
                <c:pt idx="38">
                  <c:v>942.4</c:v>
                </c:pt>
                <c:pt idx="39">
                  <c:v>704.5</c:v>
                </c:pt>
                <c:pt idx="40">
                  <c:v>702.75</c:v>
                </c:pt>
                <c:pt idx="41">
                  <c:v>626.6</c:v>
                </c:pt>
                <c:pt idx="42">
                  <c:v>819.6667</c:v>
                </c:pt>
                <c:pt idx="43">
                  <c:v>906.4</c:v>
                </c:pt>
                <c:pt idx="44">
                  <c:v>755.0</c:v>
                </c:pt>
                <c:pt idx="45">
                  <c:v>1081.0</c:v>
                </c:pt>
                <c:pt idx="46">
                  <c:v>807.3333</c:v>
                </c:pt>
                <c:pt idx="47">
                  <c:v>847.6667</c:v>
                </c:pt>
                <c:pt idx="48">
                  <c:v>1244.0</c:v>
                </c:pt>
                <c:pt idx="49">
                  <c:v>660.0</c:v>
                </c:pt>
                <c:pt idx="50">
                  <c:v>878.0</c:v>
                </c:pt>
                <c:pt idx="51">
                  <c:v>934.5</c:v>
                </c:pt>
                <c:pt idx="52">
                  <c:v>978.25</c:v>
                </c:pt>
                <c:pt idx="53">
                  <c:v>798.6</c:v>
                </c:pt>
                <c:pt idx="54">
                  <c:v>843.5833</c:v>
                </c:pt>
                <c:pt idx="55">
                  <c:v>893.0</c:v>
                </c:pt>
                <c:pt idx="56">
                  <c:v>813.1667</c:v>
                </c:pt>
                <c:pt idx="57">
                  <c:v>824.625</c:v>
                </c:pt>
                <c:pt idx="58">
                  <c:v>877.8333</c:v>
                </c:pt>
                <c:pt idx="59">
                  <c:v>932.0</c:v>
                </c:pt>
                <c:pt idx="60">
                  <c:v>1432.0</c:v>
                </c:pt>
                <c:pt idx="61">
                  <c:v>856.75</c:v>
                </c:pt>
                <c:pt idx="62">
                  <c:v>1035.5</c:v>
                </c:pt>
                <c:pt idx="63">
                  <c:v>830.0</c:v>
                </c:pt>
                <c:pt idx="64">
                  <c:v>964.0</c:v>
                </c:pt>
                <c:pt idx="65">
                  <c:v>1290.0</c:v>
                </c:pt>
                <c:pt idx="66">
                  <c:v>1086.0</c:v>
                </c:pt>
                <c:pt idx="67">
                  <c:v>470.0</c:v>
                </c:pt>
                <c:pt idx="68">
                  <c:v>671.0</c:v>
                </c:pt>
                <c:pt idx="69">
                  <c:v>627.0</c:v>
                </c:pt>
                <c:pt idx="70">
                  <c:v>819.0</c:v>
                </c:pt>
                <c:pt idx="71">
                  <c:v>1089.5</c:v>
                </c:pt>
                <c:pt idx="72">
                  <c:v>774.0</c:v>
                </c:pt>
                <c:pt idx="73">
                  <c:v>921.0</c:v>
                </c:pt>
                <c:pt idx="74">
                  <c:v>687.0</c:v>
                </c:pt>
              </c:numCache>
            </c:numRef>
          </c:xVal>
          <c:yVal>
            <c:numRef>
              <c:f>Sheet1!$B$2:$B$76</c:f>
              <c:numCache>
                <c:formatCode>General</c:formatCode>
                <c:ptCount val="75"/>
                <c:pt idx="0">
                  <c:v>0.34782608695652173</c:v>
                </c:pt>
                <c:pt idx="1">
                  <c:v>0.35185185185185186</c:v>
                </c:pt>
                <c:pt idx="2">
                  <c:v>0.38596491228070173</c:v>
                </c:pt>
                <c:pt idx="3">
                  <c:v>0.34</c:v>
                </c:pt>
                <c:pt idx="4">
                  <c:v>0.36585365853658536</c:v>
                </c:pt>
                <c:pt idx="5">
                  <c:v>0.2702702702702703</c:v>
                </c:pt>
                <c:pt idx="6">
                  <c:v>0.21739130434782608</c:v>
                </c:pt>
                <c:pt idx="7">
                  <c:v>0.23255813953488372</c:v>
                </c:pt>
                <c:pt idx="8">
                  <c:v>0.25</c:v>
                </c:pt>
                <c:pt idx="9">
                  <c:v>0.17073170731707318</c:v>
                </c:pt>
                <c:pt idx="10">
                  <c:v>0.18181818181818182</c:v>
                </c:pt>
                <c:pt idx="11">
                  <c:v>0.21568627450980393</c:v>
                </c:pt>
                <c:pt idx="12">
                  <c:v>0.10638297872340426</c:v>
                </c:pt>
                <c:pt idx="13">
                  <c:v>0.12903225806451613</c:v>
                </c:pt>
                <c:pt idx="14">
                  <c:v>0.12121212121212122</c:v>
                </c:pt>
                <c:pt idx="15">
                  <c:v>0.11764705882352941</c:v>
                </c:pt>
                <c:pt idx="16">
                  <c:v>0.09090909090909091</c:v>
                </c:pt>
                <c:pt idx="17">
                  <c:v>0.13333333333333333</c:v>
                </c:pt>
                <c:pt idx="18">
                  <c:v>0.15384615384615385</c:v>
                </c:pt>
                <c:pt idx="19">
                  <c:v>0.16666666666666666</c:v>
                </c:pt>
                <c:pt idx="20">
                  <c:v>0.09090909090909091</c:v>
                </c:pt>
                <c:pt idx="21">
                  <c:v>0.1111111111111111</c:v>
                </c:pt>
                <c:pt idx="22">
                  <c:v>0.14285714285714285</c:v>
                </c:pt>
                <c:pt idx="23">
                  <c:v>0.14285714285714285</c:v>
                </c:pt>
                <c:pt idx="24">
                  <c:v>0.14285714285714285</c:v>
                </c:pt>
                <c:pt idx="25">
                  <c:v>0.25</c:v>
                </c:pt>
                <c:pt idx="26">
                  <c:v>0.16666666666666666</c:v>
                </c:pt>
                <c:pt idx="27">
                  <c:v>0.14285714285714285</c:v>
                </c:pt>
                <c:pt idx="28">
                  <c:v>0.14285714285714285</c:v>
                </c:pt>
                <c:pt idx="29">
                  <c:v>0.18181818181818182</c:v>
                </c:pt>
                <c:pt idx="30">
                  <c:v>0.1</c:v>
                </c:pt>
                <c:pt idx="31">
                  <c:v>0.16666666666666666</c:v>
                </c:pt>
                <c:pt idx="32">
                  <c:v>0.16666666666666666</c:v>
                </c:pt>
                <c:pt idx="33">
                  <c:v>0.2857142857142857</c:v>
                </c:pt>
                <c:pt idx="34">
                  <c:v>0.2857142857142857</c:v>
                </c:pt>
                <c:pt idx="35">
                  <c:v>0.2857142857142857</c:v>
                </c:pt>
                <c:pt idx="36">
                  <c:v>0.375</c:v>
                </c:pt>
                <c:pt idx="37">
                  <c:v>0.16666666666666666</c:v>
                </c:pt>
                <c:pt idx="38">
                  <c:v>0.19230769230769232</c:v>
                </c:pt>
                <c:pt idx="39">
                  <c:v>0.20689655172413793</c:v>
                </c:pt>
                <c:pt idx="40">
                  <c:v>0.19047619047619047</c:v>
                </c:pt>
                <c:pt idx="41">
                  <c:v>0.2</c:v>
                </c:pt>
                <c:pt idx="42">
                  <c:v>0.15</c:v>
                </c:pt>
                <c:pt idx="43">
                  <c:v>0.09803921568627451</c:v>
                </c:pt>
                <c:pt idx="44">
                  <c:v>0.1111111111111111</c:v>
                </c:pt>
                <c:pt idx="45">
                  <c:v>0.045454545454545456</c:v>
                </c:pt>
                <c:pt idx="46">
                  <c:v>0.17647058823529413</c:v>
                </c:pt>
                <c:pt idx="47">
                  <c:v>0.07692307692307693</c:v>
                </c:pt>
                <c:pt idx="48">
                  <c:v>0.07692307692307693</c:v>
                </c:pt>
                <c:pt idx="49">
                  <c:v>0.06666666666666667</c:v>
                </c:pt>
                <c:pt idx="50">
                  <c:v>0.07692307692307693</c:v>
                </c:pt>
                <c:pt idx="51">
                  <c:v>0.0425531914893617</c:v>
                </c:pt>
                <c:pt idx="52">
                  <c:v>0.07272727272727272</c:v>
                </c:pt>
                <c:pt idx="53">
                  <c:v>0.08849557522123894</c:v>
                </c:pt>
                <c:pt idx="54">
                  <c:v>0.11214953271028037</c:v>
                </c:pt>
                <c:pt idx="55">
                  <c:v>0.08450704225352113</c:v>
                </c:pt>
                <c:pt idx="56">
                  <c:v>0.08571428571428572</c:v>
                </c:pt>
                <c:pt idx="57">
                  <c:v>0.10666666666666667</c:v>
                </c:pt>
                <c:pt idx="58">
                  <c:v>0.08450704225352113</c:v>
                </c:pt>
                <c:pt idx="59">
                  <c:v>0.0625</c:v>
                </c:pt>
                <c:pt idx="60">
                  <c:v>0.022727272727272728</c:v>
                </c:pt>
                <c:pt idx="61">
                  <c:v>0.08333333333333333</c:v>
                </c:pt>
                <c:pt idx="62">
                  <c:v>0.05714285714285714</c:v>
                </c:pt>
                <c:pt idx="63">
                  <c:v>0.041666666666666664</c:v>
                </c:pt>
                <c:pt idx="64">
                  <c:v>0.038461538461538464</c:v>
                </c:pt>
                <c:pt idx="65">
                  <c:v>0.043478260869565216</c:v>
                </c:pt>
                <c:pt idx="66">
                  <c:v>0.047619047619047616</c:v>
                </c:pt>
                <c:pt idx="67">
                  <c:v>0.1111111111111111</c:v>
                </c:pt>
                <c:pt idx="68">
                  <c:v>0.047619047619047616</c:v>
                </c:pt>
                <c:pt idx="69">
                  <c:v>0.038461538461538464</c:v>
                </c:pt>
                <c:pt idx="70">
                  <c:v>0.03571428571428571</c:v>
                </c:pt>
                <c:pt idx="71">
                  <c:v>0.03389830508474576</c:v>
                </c:pt>
                <c:pt idx="72">
                  <c:v>0.03333333333333333</c:v>
                </c:pt>
                <c:pt idx="73">
                  <c:v>0.047619047619047616</c:v>
                </c:pt>
                <c:pt idx="74">
                  <c:v>0.04</c:v>
                </c:pt>
              </c:numCache>
            </c:numRef>
          </c:yVal>
          <c:smooth val="0"/>
          <c:extLst>
            <c:ext xmlns:c16="http://schemas.microsoft.com/office/drawing/2014/chart" uri="{C3380CC4-5D6E-409C-BE32-E72D297353CC}">
              <c16:uniqueId val="{00000000-F32D-48B7-BC20-E66FC6253BAD}"/>
            </c:ext>
          </c:extLst>
        </c:ser>
        <c:ser>
          <c:idx val="1"/>
          <c:order val="1"/>
          <c:tx>
            <c:strRef>
              <c:f>Sheet1!$B$7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9:$A$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125.0</c:v>
                </c:pt>
                <c:pt idx="22">
                  <c:v>903.5</c:v>
                </c:pt>
                <c:pt idx="23">
                  <c:v>836.3333</c:v>
                </c:pt>
                <c:pt idx="24">
                  <c:v>861.3333</c:v>
                </c:pt>
                <c:pt idx="25">
                  <c:v>1138.5</c:v>
                </c:pt>
                <c:pt idx="26">
                  <c:v>1291.0</c:v>
                </c:pt>
                <c:pt idx="27">
                  <c:v>809.0</c:v>
                </c:pt>
                <c:pt idx="28">
                  <c:v>728.5</c:v>
                </c:pt>
                <c:pt idx="29">
                  <c:v>1042.5</c:v>
                </c:pt>
                <c:pt idx="30">
                  <c:v>959.3333</c:v>
                </c:pt>
                <c:pt idx="31">
                  <c:v>730.0</c:v>
                </c:pt>
                <c:pt idx="32">
                  <c:v>986.0</c:v>
                </c:pt>
                <c:pt idx="33">
                  <c:v>979.0</c:v>
                </c:pt>
                <c:pt idx="34">
                  <c:v>767.5</c:v>
                </c:pt>
                <c:pt idx="35">
                  <c:v>1299.0</c:v>
                </c:pt>
                <c:pt idx="36">
                  <c:v>1304.0</c:v>
                </c:pt>
                <c:pt idx="37">
                  <c:v>0.0</c:v>
                </c:pt>
                <c:pt idx="38">
                  <c:v>552.0</c:v>
                </c:pt>
                <c:pt idx="39">
                  <c:v>0.0</c:v>
                </c:pt>
                <c:pt idx="40">
                  <c:v>767.0</c:v>
                </c:pt>
                <c:pt idx="41">
                  <c:v>971.0</c:v>
                </c:pt>
                <c:pt idx="42">
                  <c:v>1376.0</c:v>
                </c:pt>
                <c:pt idx="43">
                  <c:v>551.0</c:v>
                </c:pt>
                <c:pt idx="44">
                  <c:v>0.0</c:v>
                </c:pt>
                <c:pt idx="45">
                  <c:v>864.0</c:v>
                </c:pt>
                <c:pt idx="46">
                  <c:v>0.0</c:v>
                </c:pt>
                <c:pt idx="47">
                  <c:v>0.0</c:v>
                </c:pt>
                <c:pt idx="48">
                  <c:v>560.0</c:v>
                </c:pt>
                <c:pt idx="49">
                  <c:v>465.0</c:v>
                </c:pt>
                <c:pt idx="50">
                  <c:v>396.0</c:v>
                </c:pt>
                <c:pt idx="51">
                  <c:v>0.0</c:v>
                </c:pt>
                <c:pt idx="52">
                  <c:v>472.0</c:v>
                </c:pt>
                <c:pt idx="53">
                  <c:v>396.0</c:v>
                </c:pt>
                <c:pt idx="54">
                  <c:v>461.0</c:v>
                </c:pt>
                <c:pt idx="55">
                  <c:v>0.0</c:v>
                </c:pt>
                <c:pt idx="56">
                  <c:v>0.0</c:v>
                </c:pt>
                <c:pt idx="57">
                  <c:v>0.0</c:v>
                </c:pt>
                <c:pt idx="58">
                  <c:v>0.0</c:v>
                </c:pt>
                <c:pt idx="59">
                  <c:v>148.0</c:v>
                </c:pt>
                <c:pt idx="60">
                  <c:v>421.0</c:v>
                </c:pt>
                <c:pt idx="61">
                  <c:v>720.0</c:v>
                </c:pt>
                <c:pt idx="62">
                  <c:v>403.0</c:v>
                </c:pt>
                <c:pt idx="63">
                  <c:v>686.0</c:v>
                </c:pt>
                <c:pt idx="64">
                  <c:v>621.0</c:v>
                </c:pt>
                <c:pt idx="65">
                  <c:v>0.0</c:v>
                </c:pt>
                <c:pt idx="66">
                  <c:v>832.6</c:v>
                </c:pt>
                <c:pt idx="67">
                  <c:v>931.0</c:v>
                </c:pt>
              </c:numCache>
            </c:numRef>
          </c:xVal>
          <c:yVal>
            <c:numRef>
              <c:f>Sheet1!$B$79:$B$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3225806451612903</c:v>
                </c:pt>
                <c:pt idx="22">
                  <c:v>0.05714285714285714</c:v>
                </c:pt>
                <c:pt idx="23">
                  <c:v>0.08108108108108109</c:v>
                </c:pt>
                <c:pt idx="24">
                  <c:v>0.06818181818181818</c:v>
                </c:pt>
                <c:pt idx="25">
                  <c:v>0.044444444444444446</c:v>
                </c:pt>
                <c:pt idx="26">
                  <c:v>0.027777777777777776</c:v>
                </c:pt>
                <c:pt idx="27">
                  <c:v>0.06666666666666667</c:v>
                </c:pt>
                <c:pt idx="28">
                  <c:v>0.09523809523809523</c:v>
                </c:pt>
                <c:pt idx="29">
                  <c:v>0.06666666666666667</c:v>
                </c:pt>
                <c:pt idx="30">
                  <c:v>0.07894736842105263</c:v>
                </c:pt>
                <c:pt idx="31">
                  <c:v>0.13333333333333333</c:v>
                </c:pt>
                <c:pt idx="32">
                  <c:v>0.05555555555555555</c:v>
                </c:pt>
                <c:pt idx="33">
                  <c:v>0.08</c:v>
                </c:pt>
                <c:pt idx="34">
                  <c:v>0.05555555555555555</c:v>
                </c:pt>
                <c:pt idx="35">
                  <c:v>0.034482758620689655</c:v>
                </c:pt>
                <c:pt idx="36">
                  <c:v>0.03125</c:v>
                </c:pt>
                <c:pt idx="37">
                  <c:v>0.0</c:v>
                </c:pt>
                <c:pt idx="38">
                  <c:v>0.05263157894736842</c:v>
                </c:pt>
                <c:pt idx="39">
                  <c:v>0.0</c:v>
                </c:pt>
                <c:pt idx="40">
                  <c:v>0.07142857142857142</c:v>
                </c:pt>
                <c:pt idx="41">
                  <c:v>0.07692307692307693</c:v>
                </c:pt>
                <c:pt idx="42">
                  <c:v>0.06666666666666667</c:v>
                </c:pt>
                <c:pt idx="43">
                  <c:v>0.08333333333333333</c:v>
                </c:pt>
                <c:pt idx="44">
                  <c:v>0.0</c:v>
                </c:pt>
                <c:pt idx="45">
                  <c:v>0.09090909090909091</c:v>
                </c:pt>
                <c:pt idx="46">
                  <c:v>0.0</c:v>
                </c:pt>
                <c:pt idx="47">
                  <c:v>0.0</c:v>
                </c:pt>
                <c:pt idx="48">
                  <c:v>0.14285714285714285</c:v>
                </c:pt>
                <c:pt idx="49">
                  <c:v>0.2</c:v>
                </c:pt>
                <c:pt idx="50">
                  <c:v>0.3333333333333333</c:v>
                </c:pt>
                <c:pt idx="51">
                  <c:v>0.0</c:v>
                </c:pt>
                <c:pt idx="52">
                  <c:v>0.14285714285714285</c:v>
                </c:pt>
                <c:pt idx="53">
                  <c:v>0.1111111111111111</c:v>
                </c:pt>
                <c:pt idx="54">
                  <c:v>0.16666666666666666</c:v>
                </c:pt>
                <c:pt idx="55">
                  <c:v>0.0</c:v>
                </c:pt>
                <c:pt idx="56">
                  <c:v>0.0</c:v>
                </c:pt>
                <c:pt idx="57">
                  <c:v>0.0</c:v>
                </c:pt>
                <c:pt idx="58">
                  <c:v>0.0</c:v>
                </c:pt>
                <c:pt idx="59">
                  <c:v>0.07692307692307693</c:v>
                </c:pt>
                <c:pt idx="60">
                  <c:v>0.024390243902439025</c:v>
                </c:pt>
                <c:pt idx="61">
                  <c:v>0.03125</c:v>
                </c:pt>
                <c:pt idx="62">
                  <c:v>0.1111111111111111</c:v>
                </c:pt>
                <c:pt idx="63">
                  <c:v>0.05263157894736842</c:v>
                </c:pt>
                <c:pt idx="64">
                  <c:v>0.041666666666666664</c:v>
                </c:pt>
                <c:pt idx="65">
                  <c:v>0.0</c:v>
                </c:pt>
                <c:pt idx="66">
                  <c:v>0.06944444444444445</c:v>
                </c:pt>
                <c:pt idx="67">
                  <c:v>0.03225806451612903</c:v>
                </c:pt>
              </c:numCache>
            </c:numRef>
          </c:yVal>
          <c:smooth val="0"/>
          <c:extLst>
            <c:ext xmlns:c16="http://schemas.microsoft.com/office/drawing/2014/chart" uri="{C3380CC4-5D6E-409C-BE32-E72D297353CC}">
              <c16:uniqueId val="{00000002-F32D-48B7-BC20-E66FC6253BAD}"/>
            </c:ext>
          </c:extLst>
        </c:ser>
        <c:ser>
          <c:idx val="2"/>
          <c:order val="2"/>
          <c:tx>
            <c:strRef>
              <c:f>Sheet1!$B$148</c:f>
              <c:strCache>
                <c:ptCount val="1"/>
                <c:pt idx="0">
                  <c:v>Custom Linep3yQ</c:v>
                </c:pt>
              </c:strCache>
            </c:strRef>
          </c:tx>
          <c:spPr>
            <a:ln w="19050" cap="rnd">
              <a:solidFill>
                <a:srgbClr val="C00000"/>
              </a:solidFill>
              <a:prstDash val="sysDot"/>
              <a:round/>
            </a:ln>
            <a:effectLst/>
          </c:spPr>
          <c:marker>
            <c:symbol val="none"/>
          </c:marker>
          <c:xVal>
            <c:numRef>
              <c:f>Sheet1!$A$149:$A$150</c:f>
              <c:numCache>
                <c:formatCode>General</c:formatCode>
                <c:ptCount val="2"/>
                <c:pt idx="0">
                  <c:v>0</c:v>
                </c:pt>
                <c:pt idx="1">
                  <c:v>4963.863061775178</c:v>
                </c:pt>
              </c:numCache>
            </c:numRef>
          </c:xVal>
          <c:yVal>
            <c:numRef>
              <c:f>Sheet1!$B$149:$B$150</c:f>
              <c:numCache>
                <c:formatCode>General</c:formatCode>
                <c:ptCount val="2"/>
                <c:pt idx="0">
                  <c:v>0.3068573581976268</c:v>
                </c:pt>
                <c:pt idx="1">
                  <c:v>0.3068573581976268</c:v>
                </c:pt>
              </c:numCache>
            </c:numRef>
          </c:yVal>
          <c:smooth val="0"/>
          <c:extLst>
            <c:ext xmlns:c16="http://schemas.microsoft.com/office/drawing/2014/chart" uri="{C3380CC4-5D6E-409C-BE32-E72D297353CC}">
              <c16:uniqueId val="{00000003-F32D-48B7-BC20-E66FC6253BAD}"/>
            </c:ext>
          </c:extLst>
        </c:ser>
        <c:ser>
          <c:idx val="3"/>
          <c:order val="3"/>
          <c:tx>
            <c:strRef>
              <c:f>Sheet1!$B$15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4963.863061775178</c:v>
                </c:pt>
                <c:pt idx="1">
                  <c:v>4963.863061775178</c:v>
                </c:pt>
              </c:numCache>
            </c:numRef>
          </c:xVal>
          <c:yVal>
            <c:numRef>
              <c:f>Sheet1!$B$153:$B$154</c:f>
              <c:numCache>
                <c:formatCode>General</c:formatCode>
                <c:ptCount val="2"/>
                <c:pt idx="0">
                  <c:v>0.30685735819762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7:$A$158</c:f>
              <c:numCache>
                <c:formatCode>General</c:formatCode>
                <c:ptCount val="2"/>
                <c:pt idx="0">
                  <c:v>0</c:v>
                </c:pt>
                <c:pt idx="1">
                  <c:v>1393.5814541629181</c:v>
                </c:pt>
              </c:numCache>
            </c:numRef>
          </c:xVal>
          <c:yVal>
            <c:numRef>
              <c:f>Sheet1!$B$157:$B$158</c:f>
              <c:numCache>
                <c:formatCode>General</c:formatCode>
                <c:ptCount val="2"/>
                <c:pt idx="0">
                  <c:v>0.10040010494555948</c:v>
                </c:pt>
                <c:pt idx="1">
                  <c:v>0.10040010494555948</c:v>
                </c:pt>
              </c:numCache>
            </c:numRef>
          </c:yVal>
          <c:smooth val="0"/>
          <c:extLst>
            <c:ext xmlns:c16="http://schemas.microsoft.com/office/drawing/2014/chart" uri="{C3380CC4-5D6E-409C-BE32-E72D297353CC}">
              <c16:uniqueId val="{0000000A-F32D-48B7-BC20-E66FC6253BAD}"/>
            </c:ext>
          </c:extLst>
        </c:ser>
        <c:ser>
          <c:idx val="5"/>
          <c:order val="5"/>
          <c:tx>
            <c:strRef>
              <c:f>Sheet1!$B$16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1393.5814541629181</c:v>
                </c:pt>
                <c:pt idx="1">
                  <c:v>1393.5814541629181</c:v>
                </c:pt>
              </c:numCache>
            </c:numRef>
          </c:xVal>
          <c:yVal>
            <c:numRef>
              <c:f>Sheet1!$B$161:$B$162</c:f>
              <c:numCache>
                <c:formatCode>General</c:formatCode>
                <c:ptCount val="2"/>
                <c:pt idx="0">
                  <c:v>0.100400104945559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5:$A$166</c:f>
              <c:numCache>
                <c:formatCode>General</c:formatCode>
                <c:ptCount val="2"/>
                <c:pt idx="0">
                  <c:v>0</c:v>
                </c:pt>
                <c:pt idx="1">
                  <c:v>348.56702408924565</c:v>
                </c:pt>
              </c:numCache>
            </c:numRef>
          </c:xVal>
          <c:yVal>
            <c:numRef>
              <c:f>Sheet1!$B$165:$B$166</c:f>
              <c:numCache>
                <c:formatCode>General</c:formatCode>
                <c:ptCount val="2"/>
                <c:pt idx="0">
                  <c:v>0.03997047150102142</c:v>
                </c:pt>
                <c:pt idx="1">
                  <c:v>0.03997047150102142</c:v>
                </c:pt>
              </c:numCache>
            </c:numRef>
          </c:yVal>
          <c:smooth val="0"/>
          <c:extLst>
            <c:ext xmlns:c16="http://schemas.microsoft.com/office/drawing/2014/chart" uri="{C3380CC4-5D6E-409C-BE32-E72D297353CC}">
              <c16:uniqueId val="{00000011-F32D-48B7-BC20-E66FC6253BAD}"/>
            </c:ext>
          </c:extLst>
        </c:ser>
        <c:ser>
          <c:idx val="7"/>
          <c:order val="7"/>
          <c:tx>
            <c:strRef>
              <c:f>Sheet1!$B$16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48.56702408924565</c:v>
                </c:pt>
                <c:pt idx="1">
                  <c:v>348.56702408924565</c:v>
                </c:pt>
              </c:numCache>
            </c:numRef>
          </c:xVal>
          <c:yVal>
            <c:numRef>
              <c:f>Sheet1!$B$169:$B$170</c:f>
              <c:numCache>
                <c:formatCode>General</c:formatCode>
                <c:ptCount val="2"/>
                <c:pt idx="0">
                  <c:v>0.039970471501021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3:$A$243</c:f>
              <c:numCache>
                <c:formatCode>General</c:formatCode>
                <c:ptCount val="71"/>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125.0</c:v>
                </c:pt>
                <c:pt idx="22">
                  <c:v>903.5</c:v>
                </c:pt>
                <c:pt idx="23">
                  <c:v>836.3333</c:v>
                </c:pt>
                <c:pt idx="24">
                  <c:v>861.3333</c:v>
                </c:pt>
                <c:pt idx="25">
                  <c:v>1138.5</c:v>
                </c:pt>
                <c:pt idx="26">
                  <c:v>1291.0</c:v>
                </c:pt>
                <c:pt idx="27">
                  <c:v>809.0</c:v>
                </c:pt>
                <c:pt idx="28">
                  <c:v>728.5</c:v>
                </c:pt>
                <c:pt idx="29">
                  <c:v>1042.5</c:v>
                </c:pt>
                <c:pt idx="30">
                  <c:v>959.3333</c:v>
                </c:pt>
                <c:pt idx="31">
                  <c:v>730.0</c:v>
                </c:pt>
                <c:pt idx="32">
                  <c:v>986.0</c:v>
                </c:pt>
                <c:pt idx="33">
                  <c:v>979.0</c:v>
                </c:pt>
                <c:pt idx="34">
                  <c:v>767.5</c:v>
                </c:pt>
                <c:pt idx="35">
                  <c:v>1299.0</c:v>
                </c:pt>
                <c:pt idx="36">
                  <c:v>1304.0</c:v>
                </c:pt>
                <c:pt idx="37">
                  <c:v>0.0</c:v>
                </c:pt>
                <c:pt idx="38">
                  <c:v>552.0</c:v>
                </c:pt>
                <c:pt idx="39">
                  <c:v>0.0</c:v>
                </c:pt>
                <c:pt idx="40">
                  <c:v>767.0</c:v>
                </c:pt>
                <c:pt idx="41">
                  <c:v>971.0</c:v>
                </c:pt>
                <c:pt idx="42">
                  <c:v>1376.0</c:v>
                </c:pt>
                <c:pt idx="43">
                  <c:v>551.0</c:v>
                </c:pt>
                <c:pt idx="44">
                  <c:v>0.0</c:v>
                </c:pt>
                <c:pt idx="45">
                  <c:v>864.0</c:v>
                </c:pt>
                <c:pt idx="46">
                  <c:v>0.0</c:v>
                </c:pt>
                <c:pt idx="47">
                  <c:v>0.0</c:v>
                </c:pt>
                <c:pt idx="48">
                  <c:v>560.0</c:v>
                </c:pt>
                <c:pt idx="49">
                  <c:v>465.0</c:v>
                </c:pt>
                <c:pt idx="50">
                  <c:v>396.0</c:v>
                </c:pt>
                <c:pt idx="51">
                  <c:v>0.0</c:v>
                </c:pt>
                <c:pt idx="52">
                  <c:v>472.0</c:v>
                </c:pt>
                <c:pt idx="53">
                  <c:v>396.0</c:v>
                </c:pt>
                <c:pt idx="54">
                  <c:v>461.0</c:v>
                </c:pt>
                <c:pt idx="55">
                  <c:v>0.0</c:v>
                </c:pt>
                <c:pt idx="56">
                  <c:v>0.0</c:v>
                </c:pt>
                <c:pt idx="57">
                  <c:v>0.0</c:v>
                </c:pt>
                <c:pt idx="58">
                  <c:v>0.0</c:v>
                </c:pt>
                <c:pt idx="59">
                  <c:v>148.0</c:v>
                </c:pt>
                <c:pt idx="60">
                  <c:v>421.0</c:v>
                </c:pt>
                <c:pt idx="61">
                  <c:v>720.0</c:v>
                </c:pt>
                <c:pt idx="62">
                  <c:v>403.0</c:v>
                </c:pt>
                <c:pt idx="63">
                  <c:v>686.0</c:v>
                </c:pt>
                <c:pt idx="64">
                  <c:v>621.0</c:v>
                </c:pt>
                <c:pt idx="65">
                  <c:v>0.0</c:v>
                </c:pt>
                <c:pt idx="66">
                  <c:v>832.6</c:v>
                </c:pt>
                <c:pt idx="67">
                  <c:v>931.0</c:v>
                </c:pt>
                <c:pt idx="68">
                  <c:v>1393.5814541629181</c:v>
                </c:pt>
                <c:pt idx="69">
                  <c:v>4963.863061775178</c:v>
                </c:pt>
                <c:pt idx="70">
                  <c:v>348.56702408924565</c:v>
                </c:pt>
              </c:numCache>
            </c:numRef>
          </c:xVal>
          <c:yVal>
            <c:numRef>
              <c:f>Sheet1!$B$173:$B$243</c:f>
              <c:numCache>
                <c:formatCode>General</c:formatCode>
                <c:ptCount val="71"/>
                <c:pt idx="0">
                  <c:v>0.019814024957903725</c:v>
                </c:pt>
                <c:pt idx="1">
                  <c:v>0.019814024957903725</c:v>
                </c:pt>
                <c:pt idx="2">
                  <c:v>0.019814024957903725</c:v>
                </c:pt>
                <c:pt idx="3">
                  <c:v>0.019814024957903725</c:v>
                </c:pt>
                <c:pt idx="4">
                  <c:v>0.019814024957903725</c:v>
                </c:pt>
                <c:pt idx="5">
                  <c:v>0.019814024957903725</c:v>
                </c:pt>
                <c:pt idx="6">
                  <c:v>0.019814024957903725</c:v>
                </c:pt>
                <c:pt idx="7">
                  <c:v>0.019814024957903725</c:v>
                </c:pt>
                <c:pt idx="8">
                  <c:v>0.019814024957903725</c:v>
                </c:pt>
                <c:pt idx="9">
                  <c:v>0.019814024957903725</c:v>
                </c:pt>
                <c:pt idx="10">
                  <c:v>0.019814024957903725</c:v>
                </c:pt>
                <c:pt idx="11">
                  <c:v>0.019814024957903725</c:v>
                </c:pt>
                <c:pt idx="12">
                  <c:v>0.019814024957903725</c:v>
                </c:pt>
                <c:pt idx="13">
                  <c:v>0.019814024957903725</c:v>
                </c:pt>
                <c:pt idx="14">
                  <c:v>0.019814024957903725</c:v>
                </c:pt>
                <c:pt idx="15">
                  <c:v>0.019814024957903725</c:v>
                </c:pt>
                <c:pt idx="16">
                  <c:v>0.019814024957903725</c:v>
                </c:pt>
                <c:pt idx="17">
                  <c:v>0.019814024957903725</c:v>
                </c:pt>
                <c:pt idx="18">
                  <c:v>0.019814024957903725</c:v>
                </c:pt>
                <c:pt idx="19">
                  <c:v>0.019814024957903725</c:v>
                </c:pt>
                <c:pt idx="20">
                  <c:v>0.019814024957903725</c:v>
                </c:pt>
                <c:pt idx="21">
                  <c:v>0.08486895211361062</c:v>
                </c:pt>
                <c:pt idx="22">
                  <c:v>0.07206035978917588</c:v>
                </c:pt>
                <c:pt idx="23">
                  <c:v>0.06817633776625213</c:v>
                </c:pt>
                <c:pt idx="24">
                  <c:v>0.06962200281415673</c:v>
                </c:pt>
                <c:pt idx="25">
                  <c:v>0.0856496112394791</c:v>
                </c:pt>
                <c:pt idx="26">
                  <c:v>0.09446816803169715</c:v>
                </c:pt>
                <c:pt idx="27">
                  <c:v>0.0665957459080965</c:v>
                </c:pt>
                <c:pt idx="28">
                  <c:v>0.0619407044538437</c:v>
                </c:pt>
                <c:pt idx="29">
                  <c:v>0.08009825745552544</c:v>
                </c:pt>
                <c:pt idx="30">
                  <c:v>0.07528900980194275</c:v>
                </c:pt>
                <c:pt idx="31">
                  <c:v>0.062027444356717976</c:v>
                </c:pt>
                <c:pt idx="32">
                  <c:v>0.07683105444726106</c:v>
                </c:pt>
                <c:pt idx="33">
                  <c:v>0.07642626823384777</c:v>
                </c:pt>
                <c:pt idx="34">
                  <c:v>0.06419594192857488</c:v>
                </c:pt>
                <c:pt idx="35">
                  <c:v>0.09493078084702662</c:v>
                </c:pt>
                <c:pt idx="36">
                  <c:v>0.09521991385660754</c:v>
                </c:pt>
                <c:pt idx="37">
                  <c:v>0.019814024957903725</c:v>
                </c:pt>
                <c:pt idx="38">
                  <c:v>0.051734309215637236</c:v>
                </c:pt>
                <c:pt idx="39">
                  <c:v>0.019814024957903725</c:v>
                </c:pt>
                <c:pt idx="40">
                  <c:v>0.06416702862761678</c:v>
                </c:pt>
                <c:pt idx="41">
                  <c:v>0.0759636554185183</c:v>
                </c:pt>
                <c:pt idx="42">
                  <c:v>0.09938342919457278</c:v>
                </c:pt>
                <c:pt idx="43">
                  <c:v>0.051676482613721056</c:v>
                </c:pt>
                <c:pt idx="44">
                  <c:v>0.019814024957903725</c:v>
                </c:pt>
                <c:pt idx="45">
                  <c:v>0.06977620901348662</c:v>
                </c:pt>
                <c:pt idx="46">
                  <c:v>0.019814024957903725</c:v>
                </c:pt>
                <c:pt idx="47">
                  <c:v>0.019814024957903725</c:v>
                </c:pt>
                <c:pt idx="48">
                  <c:v>0.05219692203096671</c:v>
                </c:pt>
                <c:pt idx="49">
                  <c:v>0.04670339484892924</c:v>
                </c:pt>
                <c:pt idx="50">
                  <c:v>0.04271335931671255</c:v>
                </c:pt>
                <c:pt idx="51">
                  <c:v>0.019814024957903725</c:v>
                </c:pt>
                <c:pt idx="52">
                  <c:v>0.04710818106234253</c:v>
                </c:pt>
                <c:pt idx="53">
                  <c:v>0.04271335931671255</c:v>
                </c:pt>
                <c:pt idx="54">
                  <c:v>0.046472088441264506</c:v>
                </c:pt>
                <c:pt idx="55">
                  <c:v>0.019814024957903725</c:v>
                </c:pt>
                <c:pt idx="56">
                  <c:v>0.019814024957903725</c:v>
                </c:pt>
                <c:pt idx="57">
                  <c:v>0.019814024957903725</c:v>
                </c:pt>
                <c:pt idx="58">
                  <c:v>0.019814024957903725</c:v>
                </c:pt>
                <c:pt idx="59">
                  <c:v>0.02837236204149894</c:v>
                </c:pt>
                <c:pt idx="60">
                  <c:v>0.04415902436461715</c:v>
                </c:pt>
                <c:pt idx="61">
                  <c:v>0.06144917833755614</c:v>
                </c:pt>
                <c:pt idx="62">
                  <c:v>0.04311814553012584</c:v>
                </c:pt>
                <c:pt idx="63">
                  <c:v>0.05948307387240588</c:v>
                </c:pt>
                <c:pt idx="64">
                  <c:v>0.05572434474785393</c:v>
                </c:pt>
                <c:pt idx="65">
                  <c:v>0.019814024957903725</c:v>
                </c:pt>
                <c:pt idx="66">
                  <c:v>0.06796045371331845</c:v>
                </c:pt>
                <c:pt idx="67">
                  <c:v>0.07365059134187094</c:v>
                </c:pt>
                <c:pt idx="68">
                  <c:v>0.10040010494555948</c:v>
                </c:pt>
                <c:pt idx="69">
                  <c:v>0.3068573581976268</c:v>
                </c:pt>
                <c:pt idx="70">
                  <c:v>0.039970471501021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95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31578947368420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6</c:f>
              <c:numCache>
                <c:formatCode>General</c:formatCode>
                <c:ptCount val="75"/>
                <c:pt idx="0">
                  <c:v>0.922600561931233</c:v>
                </c:pt>
                <c:pt idx="1">
                  <c:v>0.8453260882182743</c:v>
                </c:pt>
                <c:pt idx="2">
                  <c:v>0.8959666567205129</c:v>
                </c:pt>
                <c:pt idx="3">
                  <c:v>0.8083656288916563</c:v>
                </c:pt>
                <c:pt idx="4">
                  <c:v>0.8414305200689753</c:v>
                </c:pt>
                <c:pt idx="5">
                  <c:v>0.7959964227622432</c:v>
                </c:pt>
                <c:pt idx="6">
                  <c:v>0.8092068235502007</c:v>
                </c:pt>
                <c:pt idx="7">
                  <c:v>0.8416860476217295</c:v>
                </c:pt>
                <c:pt idx="8">
                  <c:v>0.6652605327390428</c:v>
                </c:pt>
                <c:pt idx="9">
                  <c:v>1.011351869234504</c:v>
                </c:pt>
                <c:pt idx="10">
                  <c:v>0.9450823319982199</c:v>
                </c:pt>
                <c:pt idx="11">
                  <c:v>0.897694763425923</c:v>
                </c:pt>
                <c:pt idx="12">
                  <c:v>1.1815164666836866</c:v>
                </c:pt>
                <c:pt idx="13">
                  <c:v>0.9203345457337496</c:v>
                </c:pt>
                <c:pt idx="14">
                  <c:v>0.9224071702944943</c:v>
                </c:pt>
                <c:pt idx="15">
                  <c:v>1.108522192071968</c:v>
                </c:pt>
                <c:pt idx="16">
                  <c:v>0.9337577686827345</c:v>
                </c:pt>
                <c:pt idx="17">
                  <c:v>0.9223560910307899</c:v>
                </c:pt>
                <c:pt idx="18">
                  <c:v>1.366334722286879</c:v>
                </c:pt>
                <c:pt idx="19">
                  <c:v>1.2982456140350878</c:v>
                </c:pt>
                <c:pt idx="20">
                  <c:v>1.6716206652512384</c:v>
                </c:pt>
                <c:pt idx="21">
                  <c:v>1.1384330419027944</c:v>
                </c:pt>
                <c:pt idx="22">
                  <c:v>1.1544011544011543</c:v>
                </c:pt>
                <c:pt idx="23">
                  <c:v>0.6106298972192954</c:v>
                </c:pt>
                <c:pt idx="24">
                  <c:v>0.8309114927344782</c:v>
                </c:pt>
                <c:pt idx="25">
                  <c:v>0.4227027027027027</c:v>
                </c:pt>
                <c:pt idx="26">
                  <c:v>1.1832982571797135</c:v>
                </c:pt>
                <c:pt idx="27">
                  <c:v>0.5367126351099516</c:v>
                </c:pt>
                <c:pt idx="28">
                  <c:v>1.0600169061707523</c:v>
                </c:pt>
                <c:pt idx="29">
                  <c:v>0.4080587529804651</c:v>
                </c:pt>
                <c:pt idx="30">
                  <c:v>0.9453781512605042</c:v>
                </c:pt>
                <c:pt idx="31">
                  <c:v>0.9743774810537712</c:v>
                </c:pt>
                <c:pt idx="32">
                  <c:v>1.0933125972006221</c:v>
                </c:pt>
                <c:pt idx="33">
                  <c:v>0.9299564701226751</c:v>
                </c:pt>
                <c:pt idx="34">
                  <c:v>1.265289256198347</c:v>
                </c:pt>
                <c:pt idx="35">
                  <c:v>1.191361194169571</c:v>
                </c:pt>
                <c:pt idx="36">
                  <c:v>1.1097360148514852</c:v>
                </c:pt>
                <c:pt idx="37">
                  <c:v>1.748849830305597</c:v>
                </c:pt>
                <c:pt idx="38">
                  <c:v>1.3882951282095852</c:v>
                </c:pt>
                <c:pt idx="39">
                  <c:v>1.0349640076391948</c:v>
                </c:pt>
                <c:pt idx="40">
                  <c:v>1.052721301416691</c:v>
                </c:pt>
                <c:pt idx="41">
                  <c:v>0.9488188976377954</c:v>
                </c:pt>
                <c:pt idx="42">
                  <c:v>1.2190942878419817</c:v>
                </c:pt>
                <c:pt idx="43">
                  <c:v>1.3666774072875087</c:v>
                </c:pt>
                <c:pt idx="44">
                  <c:v>1.1045351041006048</c:v>
                </c:pt>
                <c:pt idx="45">
                  <c:v>1.5521698501703798</c:v>
                </c:pt>
                <c:pt idx="46">
                  <c:v>1.2338740626161055</c:v>
                </c:pt>
                <c:pt idx="47">
                  <c:v>0.8934825178540146</c:v>
                </c:pt>
                <c:pt idx="48">
                  <c:v>1.377160850062498</c:v>
                </c:pt>
                <c:pt idx="49">
                  <c:v>0.6226415094339622</c:v>
                </c:pt>
                <c:pt idx="50">
                  <c:v>0.8332920483628279</c:v>
                </c:pt>
                <c:pt idx="51">
                  <c:v>0.8897078368931801</c:v>
                </c:pt>
                <c:pt idx="52">
                  <c:v>0.9181750893490188</c:v>
                </c:pt>
                <c:pt idx="53">
                  <c:v>0.8085333987773591</c:v>
                </c:pt>
                <c:pt idx="54">
                  <c:v>0.8971369004199803</c:v>
                </c:pt>
                <c:pt idx="55">
                  <c:v>0.8425076726692586</c:v>
                </c:pt>
                <c:pt idx="56">
                  <c:v>0.711613541268581</c:v>
                </c:pt>
                <c:pt idx="57">
                  <c:v>0.7997232959820408</c:v>
                </c:pt>
                <c:pt idx="58">
                  <c:v>0.842488869933022</c:v>
                </c:pt>
                <c:pt idx="59">
                  <c:v>0.7698661820584835</c:v>
                </c:pt>
                <c:pt idx="60">
                  <c:v>1.157283003375678</c:v>
                </c:pt>
                <c:pt idx="61">
                  <c:v>0.7441485646249274</c:v>
                </c:pt>
                <c:pt idx="62">
                  <c:v>0.911346532764294</c:v>
                </c:pt>
                <c:pt idx="63">
                  <c:v>0.7591107465753587</c:v>
                </c:pt>
                <c:pt idx="64">
                  <c:v>0.9054643552779132</c:v>
                </c:pt>
                <c:pt idx="65">
                  <c:v>1.276911655530809</c:v>
                </c:pt>
                <c:pt idx="66">
                  <c:v>1.0801491560663354</c:v>
                </c:pt>
                <c:pt idx="67">
                  <c:v>0.45377745594979485</c:v>
                </c:pt>
                <c:pt idx="68">
                  <c:v>0.6009852216748769</c:v>
                </c:pt>
                <c:pt idx="69">
                  <c:v>0.6157119677810792</c:v>
                </c:pt>
                <c:pt idx="70">
                  <c:v>0.8794630872483221</c:v>
                </c:pt>
                <c:pt idx="71">
                  <c:v>1.0744071580071783</c:v>
                </c:pt>
                <c:pt idx="72">
                  <c:v>0.7546122750458398</c:v>
                </c:pt>
                <c:pt idx="73">
                  <c:v>0.8567441860465116</c:v>
                </c:pt>
                <c:pt idx="74">
                  <c:v>0.7479956818764566</c:v>
                </c:pt>
              </c:numCache>
            </c:numRef>
          </c:xVal>
          <c:yVal>
            <c:numRef>
              <c:f>Sheet1!$B$2:$B$76</c:f>
              <c:numCache>
                <c:formatCode>General</c:formatCode>
                <c:ptCount val="75"/>
                <c:pt idx="0">
                  <c:v>0.34782608695652173</c:v>
                </c:pt>
                <c:pt idx="1">
                  <c:v>0.35185185185185186</c:v>
                </c:pt>
                <c:pt idx="2">
                  <c:v>0.38596491228070173</c:v>
                </c:pt>
                <c:pt idx="3">
                  <c:v>0.34</c:v>
                </c:pt>
                <c:pt idx="4">
                  <c:v>0.36585365853658536</c:v>
                </c:pt>
                <c:pt idx="5">
                  <c:v>0.2702702702702703</c:v>
                </c:pt>
                <c:pt idx="6">
                  <c:v>0.21739130434782608</c:v>
                </c:pt>
                <c:pt idx="7">
                  <c:v>0.23255813953488372</c:v>
                </c:pt>
                <c:pt idx="8">
                  <c:v>0.25</c:v>
                </c:pt>
                <c:pt idx="9">
                  <c:v>0.17073170731707318</c:v>
                </c:pt>
                <c:pt idx="10">
                  <c:v>0.18181818181818182</c:v>
                </c:pt>
                <c:pt idx="11">
                  <c:v>0.21568627450980393</c:v>
                </c:pt>
                <c:pt idx="12">
                  <c:v>0.10638297872340426</c:v>
                </c:pt>
                <c:pt idx="13">
                  <c:v>0.12903225806451613</c:v>
                </c:pt>
                <c:pt idx="14">
                  <c:v>0.12121212121212122</c:v>
                </c:pt>
                <c:pt idx="15">
                  <c:v>0.11764705882352941</c:v>
                </c:pt>
                <c:pt idx="16">
                  <c:v>0.09090909090909091</c:v>
                </c:pt>
                <c:pt idx="17">
                  <c:v>0.13333333333333333</c:v>
                </c:pt>
                <c:pt idx="18">
                  <c:v>0.15384615384615385</c:v>
                </c:pt>
                <c:pt idx="19">
                  <c:v>0.16666666666666666</c:v>
                </c:pt>
                <c:pt idx="20">
                  <c:v>0.09090909090909091</c:v>
                </c:pt>
                <c:pt idx="21">
                  <c:v>0.1111111111111111</c:v>
                </c:pt>
                <c:pt idx="22">
                  <c:v>0.14285714285714285</c:v>
                </c:pt>
                <c:pt idx="23">
                  <c:v>0.14285714285714285</c:v>
                </c:pt>
                <c:pt idx="24">
                  <c:v>0.14285714285714285</c:v>
                </c:pt>
                <c:pt idx="25">
                  <c:v>0.25</c:v>
                </c:pt>
                <c:pt idx="26">
                  <c:v>0.16666666666666666</c:v>
                </c:pt>
                <c:pt idx="27">
                  <c:v>0.14285714285714285</c:v>
                </c:pt>
                <c:pt idx="28">
                  <c:v>0.14285714285714285</c:v>
                </c:pt>
                <c:pt idx="29">
                  <c:v>0.18181818181818182</c:v>
                </c:pt>
                <c:pt idx="30">
                  <c:v>0.1</c:v>
                </c:pt>
                <c:pt idx="31">
                  <c:v>0.16666666666666666</c:v>
                </c:pt>
                <c:pt idx="32">
                  <c:v>0.16666666666666666</c:v>
                </c:pt>
                <c:pt idx="33">
                  <c:v>0.2857142857142857</c:v>
                </c:pt>
                <c:pt idx="34">
                  <c:v>0.2857142857142857</c:v>
                </c:pt>
                <c:pt idx="35">
                  <c:v>0.2857142857142857</c:v>
                </c:pt>
                <c:pt idx="36">
                  <c:v>0.375</c:v>
                </c:pt>
                <c:pt idx="37">
                  <c:v>0.16666666666666666</c:v>
                </c:pt>
                <c:pt idx="38">
                  <c:v>0.19230769230769232</c:v>
                </c:pt>
                <c:pt idx="39">
                  <c:v>0.20689655172413793</c:v>
                </c:pt>
                <c:pt idx="40">
                  <c:v>0.19047619047619047</c:v>
                </c:pt>
                <c:pt idx="41">
                  <c:v>0.2</c:v>
                </c:pt>
                <c:pt idx="42">
                  <c:v>0.15</c:v>
                </c:pt>
                <c:pt idx="43">
                  <c:v>0.09803921568627451</c:v>
                </c:pt>
                <c:pt idx="44">
                  <c:v>0.1111111111111111</c:v>
                </c:pt>
                <c:pt idx="45">
                  <c:v>0.045454545454545456</c:v>
                </c:pt>
                <c:pt idx="46">
                  <c:v>0.17647058823529413</c:v>
                </c:pt>
                <c:pt idx="47">
                  <c:v>0.07692307692307693</c:v>
                </c:pt>
                <c:pt idx="48">
                  <c:v>0.07692307692307693</c:v>
                </c:pt>
                <c:pt idx="49">
                  <c:v>0.06666666666666667</c:v>
                </c:pt>
                <c:pt idx="50">
                  <c:v>0.07692307692307693</c:v>
                </c:pt>
                <c:pt idx="51">
                  <c:v>0.0425531914893617</c:v>
                </c:pt>
                <c:pt idx="52">
                  <c:v>0.07272727272727272</c:v>
                </c:pt>
                <c:pt idx="53">
                  <c:v>0.08849557522123894</c:v>
                </c:pt>
                <c:pt idx="54">
                  <c:v>0.11214953271028037</c:v>
                </c:pt>
                <c:pt idx="55">
                  <c:v>0.08450704225352113</c:v>
                </c:pt>
                <c:pt idx="56">
                  <c:v>0.08571428571428572</c:v>
                </c:pt>
                <c:pt idx="57">
                  <c:v>0.10666666666666667</c:v>
                </c:pt>
                <c:pt idx="58">
                  <c:v>0.08450704225352113</c:v>
                </c:pt>
                <c:pt idx="59">
                  <c:v>0.0625</c:v>
                </c:pt>
                <c:pt idx="60">
                  <c:v>0.022727272727272728</c:v>
                </c:pt>
                <c:pt idx="61">
                  <c:v>0.08333333333333333</c:v>
                </c:pt>
                <c:pt idx="62">
                  <c:v>0.05714285714285714</c:v>
                </c:pt>
                <c:pt idx="63">
                  <c:v>0.041666666666666664</c:v>
                </c:pt>
                <c:pt idx="64">
                  <c:v>0.038461538461538464</c:v>
                </c:pt>
                <c:pt idx="65">
                  <c:v>0.043478260869565216</c:v>
                </c:pt>
                <c:pt idx="66">
                  <c:v>0.047619047619047616</c:v>
                </c:pt>
                <c:pt idx="67">
                  <c:v>0.1111111111111111</c:v>
                </c:pt>
                <c:pt idx="68">
                  <c:v>0.047619047619047616</c:v>
                </c:pt>
                <c:pt idx="69">
                  <c:v>0.038461538461538464</c:v>
                </c:pt>
                <c:pt idx="70">
                  <c:v>0.03571428571428571</c:v>
                </c:pt>
                <c:pt idx="71">
                  <c:v>0.03389830508474576</c:v>
                </c:pt>
                <c:pt idx="72">
                  <c:v>0.03333333333333333</c:v>
                </c:pt>
                <c:pt idx="73">
                  <c:v>0.047619047619047616</c:v>
                </c:pt>
                <c:pt idx="74">
                  <c:v>0.04</c:v>
                </c:pt>
              </c:numCache>
            </c:numRef>
          </c:yVal>
          <c:smooth val="0"/>
          <c:extLst>
            <c:ext xmlns:c16="http://schemas.microsoft.com/office/drawing/2014/chart" uri="{C3380CC4-5D6E-409C-BE32-E72D297353CC}">
              <c16:uniqueId val="{00000000-096C-4121-9522-6AB7243CCAAE}"/>
            </c:ext>
          </c:extLst>
        </c:ser>
        <c:ser>
          <c:idx val="1"/>
          <c:order val="1"/>
          <c:tx>
            <c:strRef>
              <c:f>Sheet1!$B$7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9:$A$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206989078304516</c:v>
                </c:pt>
                <c:pt idx="22">
                  <c:v>0.9605862989242496</c:v>
                </c:pt>
                <c:pt idx="23">
                  <c:v>0.841663809404099</c:v>
                </c:pt>
                <c:pt idx="24">
                  <c:v>0.8886442709730975</c:v>
                </c:pt>
                <c:pt idx="25">
                  <c:v>1.2602831801510879</c:v>
                </c:pt>
                <c:pt idx="26">
                  <c:v>1.3110401666757556</c:v>
                </c:pt>
                <c:pt idx="27">
                  <c:v>0.9078076960323193</c:v>
                </c:pt>
                <c:pt idx="28">
                  <c:v>0.7529715762273902</c:v>
                </c:pt>
                <c:pt idx="29">
                  <c:v>1.1138902271598812</c:v>
                </c:pt>
                <c:pt idx="30">
                  <c:v>0.9690235353535354</c:v>
                </c:pt>
                <c:pt idx="31">
                  <c:v>0.7378954816536946</c:v>
                </c:pt>
                <c:pt idx="32">
                  <c:v>1.1920690413504087</c:v>
                </c:pt>
                <c:pt idx="33">
                  <c:v>1.0432333370913889</c:v>
                </c:pt>
                <c:pt idx="34">
                  <c:v>0.8357532063794267</c:v>
                </c:pt>
                <c:pt idx="35">
                  <c:v>1.4430660454335846</c:v>
                </c:pt>
                <c:pt idx="36">
                  <c:v>1.4311695783394678</c:v>
                </c:pt>
                <c:pt idx="37">
                  <c:v>0.0</c:v>
                </c:pt>
                <c:pt idx="38">
                  <c:v>0.6121996076820847</c:v>
                </c:pt>
                <c:pt idx="39">
                  <c:v>0.0</c:v>
                </c:pt>
                <c:pt idx="40">
                  <c:v>0.8686296715741789</c:v>
                </c:pt>
                <c:pt idx="41">
                  <c:v>1.1295075172738458</c:v>
                </c:pt>
                <c:pt idx="42">
                  <c:v>1.8061694074018555</c:v>
                </c:pt>
                <c:pt idx="43">
                  <c:v>0.611373092926491</c:v>
                </c:pt>
                <c:pt idx="44">
                  <c:v>0.0</c:v>
                </c:pt>
                <c:pt idx="45">
                  <c:v>0.9632107023411371</c:v>
                </c:pt>
                <c:pt idx="46">
                  <c:v>0.0</c:v>
                </c:pt>
                <c:pt idx="47">
                  <c:v>0.0</c:v>
                </c:pt>
                <c:pt idx="48">
                  <c:v>0.4020100502512563</c:v>
                </c:pt>
                <c:pt idx="49">
                  <c:v>0.4411764705882353</c:v>
                </c:pt>
                <c:pt idx="50">
                  <c:v>0.4925373134328358</c:v>
                </c:pt>
                <c:pt idx="51">
                  <c:v>0.0</c:v>
                </c:pt>
                <c:pt idx="52">
                  <c:v>0.4755667506297229</c:v>
                </c:pt>
                <c:pt idx="53">
                  <c:v>0.34484761523505414</c:v>
                </c:pt>
                <c:pt idx="54">
                  <c:v>0.19120696806304438</c:v>
                </c:pt>
                <c:pt idx="55">
                  <c:v>0.0</c:v>
                </c:pt>
                <c:pt idx="56">
                  <c:v>0.0</c:v>
                </c:pt>
                <c:pt idx="57">
                  <c:v>0.0</c:v>
                </c:pt>
                <c:pt idx="58">
                  <c:v>0.0</c:v>
                </c:pt>
                <c:pt idx="59">
                  <c:v>0.1666197579510273</c:v>
                </c:pt>
                <c:pt idx="60">
                  <c:v>0.5027465966085503</c:v>
                </c:pt>
                <c:pt idx="61">
                  <c:v>0.7372516895351219</c:v>
                </c:pt>
                <c:pt idx="62">
                  <c:v>0.4645150819863356</c:v>
                </c:pt>
                <c:pt idx="63">
                  <c:v>0.7175732217573222</c:v>
                </c:pt>
                <c:pt idx="64">
                  <c:v>0.5748403221327409</c:v>
                </c:pt>
                <c:pt idx="65">
                  <c:v>0.0</c:v>
                </c:pt>
                <c:pt idx="66">
                  <c:v>0.872593855979254</c:v>
                </c:pt>
                <c:pt idx="67">
                  <c:v>0.9730351170568562</c:v>
                </c:pt>
              </c:numCache>
            </c:numRef>
          </c:xVal>
          <c:yVal>
            <c:numRef>
              <c:f>Sheet1!$B$79:$B$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3225806451612903</c:v>
                </c:pt>
                <c:pt idx="22">
                  <c:v>0.05714285714285714</c:v>
                </c:pt>
                <c:pt idx="23">
                  <c:v>0.08108108108108109</c:v>
                </c:pt>
                <c:pt idx="24">
                  <c:v>0.06818181818181818</c:v>
                </c:pt>
                <c:pt idx="25">
                  <c:v>0.044444444444444446</c:v>
                </c:pt>
                <c:pt idx="26">
                  <c:v>0.027777777777777776</c:v>
                </c:pt>
                <c:pt idx="27">
                  <c:v>0.06666666666666667</c:v>
                </c:pt>
                <c:pt idx="28">
                  <c:v>0.09523809523809523</c:v>
                </c:pt>
                <c:pt idx="29">
                  <c:v>0.06666666666666667</c:v>
                </c:pt>
                <c:pt idx="30">
                  <c:v>0.07894736842105263</c:v>
                </c:pt>
                <c:pt idx="31">
                  <c:v>0.13333333333333333</c:v>
                </c:pt>
                <c:pt idx="32">
                  <c:v>0.05555555555555555</c:v>
                </c:pt>
                <c:pt idx="33">
                  <c:v>0.08</c:v>
                </c:pt>
                <c:pt idx="34">
                  <c:v>0.05555555555555555</c:v>
                </c:pt>
                <c:pt idx="35">
                  <c:v>0.034482758620689655</c:v>
                </c:pt>
                <c:pt idx="36">
                  <c:v>0.03125</c:v>
                </c:pt>
                <c:pt idx="37">
                  <c:v>0.0</c:v>
                </c:pt>
                <c:pt idx="38">
                  <c:v>0.05263157894736842</c:v>
                </c:pt>
                <c:pt idx="39">
                  <c:v>0.0</c:v>
                </c:pt>
                <c:pt idx="40">
                  <c:v>0.07142857142857142</c:v>
                </c:pt>
                <c:pt idx="41">
                  <c:v>0.07692307692307693</c:v>
                </c:pt>
                <c:pt idx="42">
                  <c:v>0.06666666666666667</c:v>
                </c:pt>
                <c:pt idx="43">
                  <c:v>0.08333333333333333</c:v>
                </c:pt>
                <c:pt idx="44">
                  <c:v>0.0</c:v>
                </c:pt>
                <c:pt idx="45">
                  <c:v>0.09090909090909091</c:v>
                </c:pt>
                <c:pt idx="46">
                  <c:v>0.0</c:v>
                </c:pt>
                <c:pt idx="47">
                  <c:v>0.0</c:v>
                </c:pt>
                <c:pt idx="48">
                  <c:v>0.14285714285714285</c:v>
                </c:pt>
                <c:pt idx="49">
                  <c:v>0.2</c:v>
                </c:pt>
                <c:pt idx="50">
                  <c:v>0.3333333333333333</c:v>
                </c:pt>
                <c:pt idx="51">
                  <c:v>0.0</c:v>
                </c:pt>
                <c:pt idx="52">
                  <c:v>0.14285714285714285</c:v>
                </c:pt>
                <c:pt idx="53">
                  <c:v>0.1111111111111111</c:v>
                </c:pt>
                <c:pt idx="54">
                  <c:v>0.16666666666666666</c:v>
                </c:pt>
                <c:pt idx="55">
                  <c:v>0.0</c:v>
                </c:pt>
                <c:pt idx="56">
                  <c:v>0.0</c:v>
                </c:pt>
                <c:pt idx="57">
                  <c:v>0.0</c:v>
                </c:pt>
                <c:pt idx="58">
                  <c:v>0.0</c:v>
                </c:pt>
                <c:pt idx="59">
                  <c:v>0.07692307692307693</c:v>
                </c:pt>
                <c:pt idx="60">
                  <c:v>0.024390243902439025</c:v>
                </c:pt>
                <c:pt idx="61">
                  <c:v>0.03125</c:v>
                </c:pt>
                <c:pt idx="62">
                  <c:v>0.1111111111111111</c:v>
                </c:pt>
                <c:pt idx="63">
                  <c:v>0.05263157894736842</c:v>
                </c:pt>
                <c:pt idx="64">
                  <c:v>0.041666666666666664</c:v>
                </c:pt>
                <c:pt idx="65">
                  <c:v>0.0</c:v>
                </c:pt>
                <c:pt idx="66">
                  <c:v>0.06944444444444445</c:v>
                </c:pt>
                <c:pt idx="67">
                  <c:v>0.03225806451612903</c:v>
                </c:pt>
              </c:numCache>
            </c:numRef>
          </c:yVal>
          <c:smooth val="0"/>
          <c:extLst>
            <c:ext xmlns:c16="http://schemas.microsoft.com/office/drawing/2014/chart" uri="{C3380CC4-5D6E-409C-BE32-E72D297353CC}">
              <c16:uniqueId val="{00000002-096C-4121-9522-6AB7243CCAAE}"/>
            </c:ext>
          </c:extLst>
        </c:ser>
        <c:ser>
          <c:idx val="2"/>
          <c:order val="2"/>
          <c:tx>
            <c:strRef>
              <c:f>Sheet1!$B$14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9:$A$150</c:f>
              <c:numCache>
                <c:formatCode>General</c:formatCode>
                <c:ptCount val="2"/>
                <c:pt idx="0">
                  <c:v>0</c:v>
                </c:pt>
                <c:pt idx="1">
                  <c:v>5.942992814926798</c:v>
                </c:pt>
              </c:numCache>
            </c:numRef>
          </c:xVal>
          <c:yVal>
            <c:numRef>
              <c:f>Sheet1!$B$149:$B$150</c:f>
              <c:numCache>
                <c:formatCode>General</c:formatCode>
                <c:ptCount val="2"/>
                <c:pt idx="0">
                  <c:v>0.3068573581976268</c:v>
                </c:pt>
                <c:pt idx="1">
                  <c:v>0.3068573581976268</c:v>
                </c:pt>
              </c:numCache>
            </c:numRef>
          </c:yVal>
          <c:smooth val="0"/>
          <c:extLst>
            <c:ext xmlns:c16="http://schemas.microsoft.com/office/drawing/2014/chart" uri="{C3380CC4-5D6E-409C-BE32-E72D297353CC}">
              <c16:uniqueId val="{00000005-096C-4121-9522-6AB7243CCAAE}"/>
            </c:ext>
          </c:extLst>
        </c:ser>
        <c:ser>
          <c:idx val="3"/>
          <c:order val="3"/>
          <c:tx>
            <c:strRef>
              <c:f>Sheet1!$B$15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5.942992814926798</c:v>
                </c:pt>
                <c:pt idx="1">
                  <c:v>5.942992814926798</c:v>
                </c:pt>
              </c:numCache>
            </c:numRef>
          </c:xVal>
          <c:yVal>
            <c:numRef>
              <c:f>Sheet1!$B$153:$B$154</c:f>
              <c:numCache>
                <c:formatCode>General</c:formatCode>
                <c:ptCount val="2"/>
                <c:pt idx="0">
                  <c:v>0.30685735819762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7:$A$158</c:f>
              <c:numCache>
                <c:formatCode>General</c:formatCode>
                <c:ptCount val="2"/>
                <c:pt idx="0">
                  <c:v>0</c:v>
                </c:pt>
                <c:pt idx="1">
                  <c:v>1.6257046802438344</c:v>
                </c:pt>
              </c:numCache>
            </c:numRef>
          </c:xVal>
          <c:yVal>
            <c:numRef>
              <c:f>Sheet1!$B$157:$B$158</c:f>
              <c:numCache>
                <c:formatCode>General</c:formatCode>
                <c:ptCount val="2"/>
                <c:pt idx="0">
                  <c:v>0.10040010494555948</c:v>
                </c:pt>
                <c:pt idx="1">
                  <c:v>0.10040010494555948</c:v>
                </c:pt>
              </c:numCache>
            </c:numRef>
          </c:yVal>
          <c:smooth val="0"/>
          <c:extLst>
            <c:ext xmlns:c16="http://schemas.microsoft.com/office/drawing/2014/chart" uri="{C3380CC4-5D6E-409C-BE32-E72D297353CC}">
              <c16:uniqueId val="{0000000D-096C-4121-9522-6AB7243CCAAE}"/>
            </c:ext>
          </c:extLst>
        </c:ser>
        <c:ser>
          <c:idx val="5"/>
          <c:order val="5"/>
          <c:tx>
            <c:strRef>
              <c:f>Sheet1!$B$16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6257046802438344</c:v>
                </c:pt>
                <c:pt idx="1">
                  <c:v>1.6257046802438344</c:v>
                </c:pt>
              </c:numCache>
            </c:numRef>
          </c:xVal>
          <c:yVal>
            <c:numRef>
              <c:f>Sheet1!$B$161:$B$162</c:f>
              <c:numCache>
                <c:formatCode>General</c:formatCode>
                <c:ptCount val="2"/>
                <c:pt idx="0">
                  <c:v>0.100400104945559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5:$A$166</c:f>
              <c:numCache>
                <c:formatCode>General</c:formatCode>
                <c:ptCount val="2"/>
                <c:pt idx="0">
                  <c:v>0</c:v>
                </c:pt>
                <c:pt idx="1">
                  <c:v>0.36204290356206664</c:v>
                </c:pt>
              </c:numCache>
            </c:numRef>
          </c:xVal>
          <c:yVal>
            <c:numRef>
              <c:f>Sheet1!$B$165:$B$166</c:f>
              <c:numCache>
                <c:formatCode>General</c:formatCode>
                <c:ptCount val="2"/>
                <c:pt idx="0">
                  <c:v>0.03997047150102142</c:v>
                </c:pt>
                <c:pt idx="1">
                  <c:v>0.03997047150102142</c:v>
                </c:pt>
              </c:numCache>
            </c:numRef>
          </c:yVal>
          <c:smooth val="0"/>
          <c:extLst>
            <c:ext xmlns:c16="http://schemas.microsoft.com/office/drawing/2014/chart" uri="{C3380CC4-5D6E-409C-BE32-E72D297353CC}">
              <c16:uniqueId val="{00000015-096C-4121-9522-6AB7243CCAAE}"/>
            </c:ext>
          </c:extLst>
        </c:ser>
        <c:ser>
          <c:idx val="7"/>
          <c:order val="7"/>
          <c:tx>
            <c:strRef>
              <c:f>Sheet1!$B$16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0.36204290356206664</c:v>
                </c:pt>
                <c:pt idx="1">
                  <c:v>0.36204290356206664</c:v>
                </c:pt>
              </c:numCache>
            </c:numRef>
          </c:xVal>
          <c:yVal>
            <c:numRef>
              <c:f>Sheet1!$B$169:$B$170</c:f>
              <c:numCache>
                <c:formatCode>General</c:formatCode>
                <c:ptCount val="2"/>
                <c:pt idx="0">
                  <c:v>0.039970471501021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3:$A$243</c:f>
              <c:numCache>
                <c:formatCode>General</c:formatCode>
                <c:ptCount val="71"/>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206989078304516</c:v>
                </c:pt>
                <c:pt idx="22">
                  <c:v>0.9605862989242496</c:v>
                </c:pt>
                <c:pt idx="23">
                  <c:v>0.841663809404099</c:v>
                </c:pt>
                <c:pt idx="24">
                  <c:v>0.8886442709730975</c:v>
                </c:pt>
                <c:pt idx="25">
                  <c:v>1.2602831801510879</c:v>
                </c:pt>
                <c:pt idx="26">
                  <c:v>1.3110401666757556</c:v>
                </c:pt>
                <c:pt idx="27">
                  <c:v>0.9078076960323193</c:v>
                </c:pt>
                <c:pt idx="28">
                  <c:v>0.7529715762273902</c:v>
                </c:pt>
                <c:pt idx="29">
                  <c:v>1.1138902271598812</c:v>
                </c:pt>
                <c:pt idx="30">
                  <c:v>0.9690235353535354</c:v>
                </c:pt>
                <c:pt idx="31">
                  <c:v>0.7378954816536946</c:v>
                </c:pt>
                <c:pt idx="32">
                  <c:v>1.1920690413504087</c:v>
                </c:pt>
                <c:pt idx="33">
                  <c:v>1.0432333370913889</c:v>
                </c:pt>
                <c:pt idx="34">
                  <c:v>0.8357532063794267</c:v>
                </c:pt>
                <c:pt idx="35">
                  <c:v>1.4430660454335846</c:v>
                </c:pt>
                <c:pt idx="36">
                  <c:v>1.4311695783394678</c:v>
                </c:pt>
                <c:pt idx="37">
                  <c:v>0.0</c:v>
                </c:pt>
                <c:pt idx="38">
                  <c:v>0.6121996076820847</c:v>
                </c:pt>
                <c:pt idx="39">
                  <c:v>0.0</c:v>
                </c:pt>
                <c:pt idx="40">
                  <c:v>0.8686296715741789</c:v>
                </c:pt>
                <c:pt idx="41">
                  <c:v>1.1295075172738458</c:v>
                </c:pt>
                <c:pt idx="42">
                  <c:v>1.8061694074018555</c:v>
                </c:pt>
                <c:pt idx="43">
                  <c:v>0.611373092926491</c:v>
                </c:pt>
                <c:pt idx="44">
                  <c:v>0.0</c:v>
                </c:pt>
                <c:pt idx="45">
                  <c:v>0.9632107023411371</c:v>
                </c:pt>
                <c:pt idx="46">
                  <c:v>0.0</c:v>
                </c:pt>
                <c:pt idx="47">
                  <c:v>0.0</c:v>
                </c:pt>
                <c:pt idx="48">
                  <c:v>0.4020100502512563</c:v>
                </c:pt>
                <c:pt idx="49">
                  <c:v>0.4411764705882353</c:v>
                </c:pt>
                <c:pt idx="50">
                  <c:v>0.4925373134328358</c:v>
                </c:pt>
                <c:pt idx="51">
                  <c:v>0.0</c:v>
                </c:pt>
                <c:pt idx="52">
                  <c:v>0.4755667506297229</c:v>
                </c:pt>
                <c:pt idx="53">
                  <c:v>0.34484761523505414</c:v>
                </c:pt>
                <c:pt idx="54">
                  <c:v>0.19120696806304438</c:v>
                </c:pt>
                <c:pt idx="55">
                  <c:v>0.0</c:v>
                </c:pt>
                <c:pt idx="56">
                  <c:v>0.0</c:v>
                </c:pt>
                <c:pt idx="57">
                  <c:v>0.0</c:v>
                </c:pt>
                <c:pt idx="58">
                  <c:v>0.0</c:v>
                </c:pt>
                <c:pt idx="59">
                  <c:v>0.1666197579510273</c:v>
                </c:pt>
                <c:pt idx="60">
                  <c:v>0.5027465966085503</c:v>
                </c:pt>
                <c:pt idx="61">
                  <c:v>0.7372516895351219</c:v>
                </c:pt>
                <c:pt idx="62">
                  <c:v>0.4645150819863356</c:v>
                </c:pt>
                <c:pt idx="63">
                  <c:v>0.7175732217573222</c:v>
                </c:pt>
                <c:pt idx="64">
                  <c:v>0.5748403221327409</c:v>
                </c:pt>
                <c:pt idx="65">
                  <c:v>0.0</c:v>
                </c:pt>
                <c:pt idx="66">
                  <c:v>0.872593855979254</c:v>
                </c:pt>
                <c:pt idx="67">
                  <c:v>0.9730351170568562</c:v>
                </c:pt>
                <c:pt idx="68">
                  <c:v>1.6257046802438344</c:v>
                </c:pt>
                <c:pt idx="69">
                  <c:v>5.942992814926798</c:v>
                </c:pt>
                <c:pt idx="70">
                  <c:v>0.36204290356206664</c:v>
                </c:pt>
              </c:numCache>
            </c:numRef>
          </c:xVal>
          <c:yVal>
            <c:numRef>
              <c:f>Sheet1!$B$173:$B$243</c:f>
              <c:numCache>
                <c:formatCode>General</c:formatCode>
                <c:ptCount val="71"/>
                <c:pt idx="0">
                  <c:v>0.02265719958193134</c:v>
                </c:pt>
                <c:pt idx="1">
                  <c:v>0.02265719958193134</c:v>
                </c:pt>
                <c:pt idx="2">
                  <c:v>0.02265719958193134</c:v>
                </c:pt>
                <c:pt idx="3">
                  <c:v>0.02265719958193134</c:v>
                </c:pt>
                <c:pt idx="4">
                  <c:v>0.02265719958193134</c:v>
                </c:pt>
                <c:pt idx="5">
                  <c:v>0.02265719958193134</c:v>
                </c:pt>
                <c:pt idx="6">
                  <c:v>0.02265719958193134</c:v>
                </c:pt>
                <c:pt idx="7">
                  <c:v>0.02265719958193134</c:v>
                </c:pt>
                <c:pt idx="8">
                  <c:v>0.02265719958193134</c:v>
                </c:pt>
                <c:pt idx="9">
                  <c:v>0.02265719958193134</c:v>
                </c:pt>
                <c:pt idx="10">
                  <c:v>0.02265719958193134</c:v>
                </c:pt>
                <c:pt idx="11">
                  <c:v>0.02265719958193134</c:v>
                </c:pt>
                <c:pt idx="12">
                  <c:v>0.02265719958193134</c:v>
                </c:pt>
                <c:pt idx="13">
                  <c:v>0.02265719958193134</c:v>
                </c:pt>
                <c:pt idx="14">
                  <c:v>0.02265719958193134</c:v>
                </c:pt>
                <c:pt idx="15">
                  <c:v>0.02265719958193134</c:v>
                </c:pt>
                <c:pt idx="16">
                  <c:v>0.02265719958193134</c:v>
                </c:pt>
                <c:pt idx="17">
                  <c:v>0.02265719958193134</c:v>
                </c:pt>
                <c:pt idx="18">
                  <c:v>0.02265719958193134</c:v>
                </c:pt>
                <c:pt idx="19">
                  <c:v>0.02265719958193134</c:v>
                </c:pt>
                <c:pt idx="20">
                  <c:v>0.02265719958193134</c:v>
                </c:pt>
                <c:pt idx="21">
                  <c:v>0.08037668506405884</c:v>
                </c:pt>
                <c:pt idx="22">
                  <c:v>0.06859344534562374</c:v>
                </c:pt>
                <c:pt idx="23">
                  <c:v>0.0629064469868656</c:v>
                </c:pt>
                <c:pt idx="24">
                  <c:v>0.06515310200489163</c:v>
                </c:pt>
                <c:pt idx="25">
                  <c:v>0.08292526499167287</c:v>
                </c:pt>
                <c:pt idx="26">
                  <c:v>0.08535251739974144</c:v>
                </c:pt>
                <c:pt idx="27">
                  <c:v>0.06606951711947356</c:v>
                </c:pt>
                <c:pt idx="28">
                  <c:v>0.058665091238716105</c:v>
                </c:pt>
                <c:pt idx="29">
                  <c:v>0.07592460021620427</c:v>
                </c:pt>
                <c:pt idx="30">
                  <c:v>0.06899692285369989</c:v>
                </c:pt>
                <c:pt idx="31">
                  <c:v>0.05794413656106817</c:v>
                </c:pt>
                <c:pt idx="32">
                  <c:v>0.07966319322569432</c:v>
                </c:pt>
                <c:pt idx="33">
                  <c:v>0.07254571351886194</c:v>
                </c:pt>
                <c:pt idx="34">
                  <c:v>0.0626237957420404</c:v>
                </c:pt>
                <c:pt idx="35">
                  <c:v>0.09166613359495364</c:v>
                </c:pt>
                <c:pt idx="36">
                  <c:v>0.091097232043092</c:v>
                </c:pt>
                <c:pt idx="37">
                  <c:v>0.02265719958193134</c:v>
                </c:pt>
                <c:pt idx="38">
                  <c:v>0.05193322784343581</c:v>
                </c:pt>
                <c:pt idx="39">
                  <c:v>0.02265719958193134</c:v>
                </c:pt>
                <c:pt idx="40">
                  <c:v>0.06419598283935679</c:v>
                </c:pt>
                <c:pt idx="41">
                  <c:v>0.0766714354330311</c:v>
                </c:pt>
                <c:pt idx="42">
                  <c:v>0.10903011774887793</c:v>
                </c:pt>
                <c:pt idx="43">
                  <c:v>0.05189370303969586</c:v>
                </c:pt>
                <c:pt idx="44">
                  <c:v>0.02265719958193134</c:v>
                </c:pt>
                <c:pt idx="45">
                  <c:v>0.06871894707355411</c:v>
                </c:pt>
                <c:pt idx="46">
                  <c:v>0.02265719958193134</c:v>
                </c:pt>
                <c:pt idx="47">
                  <c:v>0.02265719958193134</c:v>
                </c:pt>
                <c:pt idx="48">
                  <c:v>0.041881742435079305</c:v>
                </c:pt>
                <c:pt idx="49">
                  <c:v>0.0437547217939338</c:v>
                </c:pt>
                <c:pt idx="50">
                  <c:v>0.046210851245480355</c:v>
                </c:pt>
                <c:pt idx="51">
                  <c:v>0.02265719958193134</c:v>
                </c:pt>
                <c:pt idx="52">
                  <c:v>0.04539930110725228</c:v>
                </c:pt>
                <c:pt idx="53">
                  <c:v>0.03914817475220064</c:v>
                </c:pt>
                <c:pt idx="54">
                  <c:v>0.03180091762841071</c:v>
                </c:pt>
                <c:pt idx="55">
                  <c:v>0.02265719958193134</c:v>
                </c:pt>
                <c:pt idx="56">
                  <c:v>0.02265719958193134</c:v>
                </c:pt>
                <c:pt idx="57">
                  <c:v>0.02265719958193134</c:v>
                </c:pt>
                <c:pt idx="58">
                  <c:v>0.02265719958193134</c:v>
                </c:pt>
                <c:pt idx="59">
                  <c:v>0.03062513141574662</c:v>
                </c:pt>
                <c:pt idx="60">
                  <c:v>0.046699069890235076</c:v>
                </c:pt>
                <c:pt idx="61">
                  <c:v>0.057913349745752775</c:v>
                </c:pt>
                <c:pt idx="62">
                  <c:v>0.04487079870463622</c:v>
                </c:pt>
                <c:pt idx="63">
                  <c:v>0.05697230474739475</c:v>
                </c:pt>
                <c:pt idx="64">
                  <c:v>0.05014666756824501</c:v>
                </c:pt>
                <c:pt idx="65">
                  <c:v>0.02265719958193134</c:v>
                </c:pt>
                <c:pt idx="66">
                  <c:v>0.06438555430137749</c:v>
                </c:pt>
                <c:pt idx="67">
                  <c:v>0.06918876090430633</c:v>
                </c:pt>
                <c:pt idx="68">
                  <c:v>0.10040010494555948</c:v>
                </c:pt>
                <c:pt idx="69">
                  <c:v>0.3068573581976268</c:v>
                </c:pt>
                <c:pt idx="70">
                  <c:v>0.039970471501021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31578947368420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6</c:f>
              <c:numCache>
                <c:formatCode>General</c:formatCode>
                <c:ptCount val="75"/>
                <c:pt idx="0">
                  <c:v>678.375</c:v>
                </c:pt>
                <c:pt idx="1">
                  <c:v>684.5263</c:v>
                </c:pt>
                <c:pt idx="2">
                  <c:v>671.4091</c:v>
                </c:pt>
                <c:pt idx="3">
                  <c:v>649.1176</c:v>
                </c:pt>
                <c:pt idx="4">
                  <c:v>687.0</c:v>
                </c:pt>
                <c:pt idx="5">
                  <c:v>704.4</c:v>
                </c:pt>
                <c:pt idx="6">
                  <c:v>663.1</c:v>
                </c:pt>
                <c:pt idx="7">
                  <c:v>700.9</c:v>
                </c:pt>
                <c:pt idx="8">
                  <c:v>626.875</c:v>
                </c:pt>
                <c:pt idx="9">
                  <c:v>781.1429</c:v>
                </c:pt>
                <c:pt idx="10">
                  <c:v>663.625</c:v>
                </c:pt>
                <c:pt idx="11">
                  <c:v>723.8182</c:v>
                </c:pt>
                <c:pt idx="12">
                  <c:v>925.6</c:v>
                </c:pt>
                <c:pt idx="13">
                  <c:v>752.75</c:v>
                </c:pt>
                <c:pt idx="14">
                  <c:v>900.5</c:v>
                </c:pt>
                <c:pt idx="15">
                  <c:v>858.5</c:v>
                </c:pt>
                <c:pt idx="16">
                  <c:v>770.0</c:v>
                </c:pt>
                <c:pt idx="17">
                  <c:v>689.0</c:v>
                </c:pt>
                <c:pt idx="18">
                  <c:v>1039.0</c:v>
                </c:pt>
                <c:pt idx="19">
                  <c:v>943.5</c:v>
                </c:pt>
                <c:pt idx="20">
                  <c:v>1181.0</c:v>
                </c:pt>
                <c:pt idx="21">
                  <c:v>821.0</c:v>
                </c:pt>
                <c:pt idx="22">
                  <c:v>800.0</c:v>
                </c:pt>
                <c:pt idx="23">
                  <c:v>517.0</c:v>
                </c:pt>
                <c:pt idx="24">
                  <c:v>629.0</c:v>
                </c:pt>
                <c:pt idx="25">
                  <c:v>391.0</c:v>
                </c:pt>
                <c:pt idx="26">
                  <c:v>751.0</c:v>
                </c:pt>
                <c:pt idx="27">
                  <c:v>360.0</c:v>
                </c:pt>
                <c:pt idx="28">
                  <c:v>627.0</c:v>
                </c:pt>
                <c:pt idx="29">
                  <c:v>305.5</c:v>
                </c:pt>
                <c:pt idx="30">
                  <c:v>540.0</c:v>
                </c:pt>
                <c:pt idx="31">
                  <c:v>675.0</c:v>
                </c:pt>
                <c:pt idx="32">
                  <c:v>703.0</c:v>
                </c:pt>
                <c:pt idx="33">
                  <c:v>587.5</c:v>
                </c:pt>
                <c:pt idx="34">
                  <c:v>765.5</c:v>
                </c:pt>
                <c:pt idx="35">
                  <c:v>758.5</c:v>
                </c:pt>
                <c:pt idx="36">
                  <c:v>896.6667</c:v>
                </c:pt>
                <c:pt idx="37">
                  <c:v>1140.5</c:v>
                </c:pt>
                <c:pt idx="38">
                  <c:v>942.4</c:v>
                </c:pt>
                <c:pt idx="39">
                  <c:v>704.5</c:v>
                </c:pt>
                <c:pt idx="40">
                  <c:v>702.75</c:v>
                </c:pt>
                <c:pt idx="41">
                  <c:v>626.6</c:v>
                </c:pt>
                <c:pt idx="42">
                  <c:v>819.6667</c:v>
                </c:pt>
                <c:pt idx="43">
                  <c:v>906.4</c:v>
                </c:pt>
                <c:pt idx="44">
                  <c:v>755.0</c:v>
                </c:pt>
                <c:pt idx="45">
                  <c:v>1081.0</c:v>
                </c:pt>
                <c:pt idx="46">
                  <c:v>807.3333</c:v>
                </c:pt>
                <c:pt idx="47">
                  <c:v>847.6667</c:v>
                </c:pt>
                <c:pt idx="48">
                  <c:v>1244.0</c:v>
                </c:pt>
                <c:pt idx="49">
                  <c:v>660.0</c:v>
                </c:pt>
                <c:pt idx="50">
                  <c:v>878.0</c:v>
                </c:pt>
                <c:pt idx="51">
                  <c:v>934.5</c:v>
                </c:pt>
                <c:pt idx="52">
                  <c:v>978.25</c:v>
                </c:pt>
                <c:pt idx="53">
                  <c:v>798.6</c:v>
                </c:pt>
                <c:pt idx="54">
                  <c:v>843.5833</c:v>
                </c:pt>
                <c:pt idx="55">
                  <c:v>893.0</c:v>
                </c:pt>
                <c:pt idx="56">
                  <c:v>813.1667</c:v>
                </c:pt>
                <c:pt idx="57">
                  <c:v>824.625</c:v>
                </c:pt>
                <c:pt idx="58">
                  <c:v>877.8333</c:v>
                </c:pt>
                <c:pt idx="59">
                  <c:v>932.0</c:v>
                </c:pt>
                <c:pt idx="60">
                  <c:v>1432.0</c:v>
                </c:pt>
                <c:pt idx="61">
                  <c:v>856.75</c:v>
                </c:pt>
                <c:pt idx="62">
                  <c:v>1035.5</c:v>
                </c:pt>
                <c:pt idx="63">
                  <c:v>830.0</c:v>
                </c:pt>
                <c:pt idx="64">
                  <c:v>964.0</c:v>
                </c:pt>
                <c:pt idx="65">
                  <c:v>1290.0</c:v>
                </c:pt>
                <c:pt idx="66">
                  <c:v>1086.0</c:v>
                </c:pt>
                <c:pt idx="67">
                  <c:v>470.0</c:v>
                </c:pt>
                <c:pt idx="68">
                  <c:v>671.0</c:v>
                </c:pt>
                <c:pt idx="69">
                  <c:v>627.0</c:v>
                </c:pt>
                <c:pt idx="70">
                  <c:v>819.0</c:v>
                </c:pt>
                <c:pt idx="71">
                  <c:v>1089.5</c:v>
                </c:pt>
                <c:pt idx="72">
                  <c:v>774.0</c:v>
                </c:pt>
                <c:pt idx="73">
                  <c:v>921.0</c:v>
                </c:pt>
                <c:pt idx="74">
                  <c:v>687.0</c:v>
                </c:pt>
              </c:numCache>
            </c:numRef>
          </c:xVal>
          <c:yVal>
            <c:numRef>
              <c:f>Sheet1!$B$2:$B$76</c:f>
              <c:numCache>
                <c:formatCode>General</c:formatCode>
                <c:ptCount val="75"/>
                <c:pt idx="0">
                  <c:v>0.34782608695652173</c:v>
                </c:pt>
                <c:pt idx="1">
                  <c:v>0.35185185185185186</c:v>
                </c:pt>
                <c:pt idx="2">
                  <c:v>0.38596491228070173</c:v>
                </c:pt>
                <c:pt idx="3">
                  <c:v>0.34</c:v>
                </c:pt>
                <c:pt idx="4">
                  <c:v>0.36585365853658536</c:v>
                </c:pt>
                <c:pt idx="5">
                  <c:v>0.2702702702702703</c:v>
                </c:pt>
                <c:pt idx="6">
                  <c:v>0.21739130434782608</c:v>
                </c:pt>
                <c:pt idx="7">
                  <c:v>0.23255813953488372</c:v>
                </c:pt>
                <c:pt idx="8">
                  <c:v>0.25</c:v>
                </c:pt>
                <c:pt idx="9">
                  <c:v>0.17073170731707318</c:v>
                </c:pt>
                <c:pt idx="10">
                  <c:v>0.18181818181818182</c:v>
                </c:pt>
                <c:pt idx="11">
                  <c:v>0.21568627450980393</c:v>
                </c:pt>
                <c:pt idx="12">
                  <c:v>0.10638297872340426</c:v>
                </c:pt>
                <c:pt idx="13">
                  <c:v>0.12903225806451613</c:v>
                </c:pt>
                <c:pt idx="14">
                  <c:v>0.12121212121212122</c:v>
                </c:pt>
                <c:pt idx="15">
                  <c:v>0.11764705882352941</c:v>
                </c:pt>
                <c:pt idx="16">
                  <c:v>0.09090909090909091</c:v>
                </c:pt>
                <c:pt idx="17">
                  <c:v>0.13333333333333333</c:v>
                </c:pt>
                <c:pt idx="18">
                  <c:v>0.15384615384615385</c:v>
                </c:pt>
                <c:pt idx="19">
                  <c:v>0.16666666666666666</c:v>
                </c:pt>
                <c:pt idx="20">
                  <c:v>0.09090909090909091</c:v>
                </c:pt>
                <c:pt idx="21">
                  <c:v>0.1111111111111111</c:v>
                </c:pt>
                <c:pt idx="22">
                  <c:v>0.14285714285714285</c:v>
                </c:pt>
                <c:pt idx="23">
                  <c:v>0.14285714285714285</c:v>
                </c:pt>
                <c:pt idx="24">
                  <c:v>0.14285714285714285</c:v>
                </c:pt>
                <c:pt idx="25">
                  <c:v>0.25</c:v>
                </c:pt>
                <c:pt idx="26">
                  <c:v>0.16666666666666666</c:v>
                </c:pt>
                <c:pt idx="27">
                  <c:v>0.14285714285714285</c:v>
                </c:pt>
                <c:pt idx="28">
                  <c:v>0.14285714285714285</c:v>
                </c:pt>
                <c:pt idx="29">
                  <c:v>0.18181818181818182</c:v>
                </c:pt>
                <c:pt idx="30">
                  <c:v>0.1</c:v>
                </c:pt>
                <c:pt idx="31">
                  <c:v>0.16666666666666666</c:v>
                </c:pt>
                <c:pt idx="32">
                  <c:v>0.16666666666666666</c:v>
                </c:pt>
                <c:pt idx="33">
                  <c:v>0.2857142857142857</c:v>
                </c:pt>
                <c:pt idx="34">
                  <c:v>0.2857142857142857</c:v>
                </c:pt>
                <c:pt idx="35">
                  <c:v>0.2857142857142857</c:v>
                </c:pt>
                <c:pt idx="36">
                  <c:v>0.375</c:v>
                </c:pt>
                <c:pt idx="37">
                  <c:v>0.16666666666666666</c:v>
                </c:pt>
                <c:pt idx="38">
                  <c:v>0.19230769230769232</c:v>
                </c:pt>
                <c:pt idx="39">
                  <c:v>0.20689655172413793</c:v>
                </c:pt>
                <c:pt idx="40">
                  <c:v>0.19047619047619047</c:v>
                </c:pt>
                <c:pt idx="41">
                  <c:v>0.2</c:v>
                </c:pt>
                <c:pt idx="42">
                  <c:v>0.15</c:v>
                </c:pt>
                <c:pt idx="43">
                  <c:v>0.09803921568627451</c:v>
                </c:pt>
                <c:pt idx="44">
                  <c:v>0.1111111111111111</c:v>
                </c:pt>
                <c:pt idx="45">
                  <c:v>0.045454545454545456</c:v>
                </c:pt>
                <c:pt idx="46">
                  <c:v>0.17647058823529413</c:v>
                </c:pt>
                <c:pt idx="47">
                  <c:v>0.07692307692307693</c:v>
                </c:pt>
                <c:pt idx="48">
                  <c:v>0.07692307692307693</c:v>
                </c:pt>
                <c:pt idx="49">
                  <c:v>0.06666666666666667</c:v>
                </c:pt>
                <c:pt idx="50">
                  <c:v>0.07692307692307693</c:v>
                </c:pt>
                <c:pt idx="51">
                  <c:v>0.0425531914893617</c:v>
                </c:pt>
                <c:pt idx="52">
                  <c:v>0.07272727272727272</c:v>
                </c:pt>
                <c:pt idx="53">
                  <c:v>0.08849557522123894</c:v>
                </c:pt>
                <c:pt idx="54">
                  <c:v>0.11214953271028037</c:v>
                </c:pt>
                <c:pt idx="55">
                  <c:v>0.08450704225352113</c:v>
                </c:pt>
                <c:pt idx="56">
                  <c:v>0.08571428571428572</c:v>
                </c:pt>
                <c:pt idx="57">
                  <c:v>0.10666666666666667</c:v>
                </c:pt>
                <c:pt idx="58">
                  <c:v>0.08450704225352113</c:v>
                </c:pt>
                <c:pt idx="59">
                  <c:v>0.0625</c:v>
                </c:pt>
                <c:pt idx="60">
                  <c:v>0.022727272727272728</c:v>
                </c:pt>
                <c:pt idx="61">
                  <c:v>0.08333333333333333</c:v>
                </c:pt>
                <c:pt idx="62">
                  <c:v>0.05714285714285714</c:v>
                </c:pt>
                <c:pt idx="63">
                  <c:v>0.041666666666666664</c:v>
                </c:pt>
                <c:pt idx="64">
                  <c:v>0.038461538461538464</c:v>
                </c:pt>
                <c:pt idx="65">
                  <c:v>0.043478260869565216</c:v>
                </c:pt>
                <c:pt idx="66">
                  <c:v>0.047619047619047616</c:v>
                </c:pt>
                <c:pt idx="67">
                  <c:v>0.1111111111111111</c:v>
                </c:pt>
                <c:pt idx="68">
                  <c:v>0.047619047619047616</c:v>
                </c:pt>
                <c:pt idx="69">
                  <c:v>0.038461538461538464</c:v>
                </c:pt>
                <c:pt idx="70">
                  <c:v>0.03571428571428571</c:v>
                </c:pt>
                <c:pt idx="71">
                  <c:v>0.03389830508474576</c:v>
                </c:pt>
                <c:pt idx="72">
                  <c:v>0.03333333333333333</c:v>
                </c:pt>
                <c:pt idx="73">
                  <c:v>0.047619047619047616</c:v>
                </c:pt>
                <c:pt idx="74">
                  <c:v>0.04</c:v>
                </c:pt>
              </c:numCache>
            </c:numRef>
          </c:yVal>
          <c:smooth val="0"/>
          <c:extLst>
            <c:ext xmlns:c16="http://schemas.microsoft.com/office/drawing/2014/chart" uri="{C3380CC4-5D6E-409C-BE32-E72D297353CC}">
              <c16:uniqueId val="{00000000-F32D-48B7-BC20-E66FC6253BAD}"/>
            </c:ext>
          </c:extLst>
        </c:ser>
        <c:ser>
          <c:idx val="1"/>
          <c:order val="1"/>
          <c:tx>
            <c:strRef>
              <c:f>Sheet1!$B$7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9:$A$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125.0</c:v>
                </c:pt>
                <c:pt idx="22">
                  <c:v>903.5</c:v>
                </c:pt>
                <c:pt idx="23">
                  <c:v>836.3333</c:v>
                </c:pt>
                <c:pt idx="24">
                  <c:v>861.3333</c:v>
                </c:pt>
                <c:pt idx="25">
                  <c:v>1138.5</c:v>
                </c:pt>
                <c:pt idx="26">
                  <c:v>1291.0</c:v>
                </c:pt>
                <c:pt idx="27">
                  <c:v>809.0</c:v>
                </c:pt>
                <c:pt idx="28">
                  <c:v>728.5</c:v>
                </c:pt>
                <c:pt idx="29">
                  <c:v>1042.5</c:v>
                </c:pt>
                <c:pt idx="30">
                  <c:v>959.3333</c:v>
                </c:pt>
                <c:pt idx="31">
                  <c:v>730.0</c:v>
                </c:pt>
                <c:pt idx="32">
                  <c:v>986.0</c:v>
                </c:pt>
                <c:pt idx="33">
                  <c:v>979.0</c:v>
                </c:pt>
                <c:pt idx="34">
                  <c:v>767.5</c:v>
                </c:pt>
                <c:pt idx="35">
                  <c:v>1299.0</c:v>
                </c:pt>
                <c:pt idx="36">
                  <c:v>1304.0</c:v>
                </c:pt>
                <c:pt idx="37">
                  <c:v>0.0</c:v>
                </c:pt>
                <c:pt idx="38">
                  <c:v>552.0</c:v>
                </c:pt>
                <c:pt idx="39">
                  <c:v>0.0</c:v>
                </c:pt>
                <c:pt idx="40">
                  <c:v>767.0</c:v>
                </c:pt>
                <c:pt idx="41">
                  <c:v>971.0</c:v>
                </c:pt>
                <c:pt idx="42">
                  <c:v>1376.0</c:v>
                </c:pt>
                <c:pt idx="43">
                  <c:v>551.0</c:v>
                </c:pt>
                <c:pt idx="44">
                  <c:v>0.0</c:v>
                </c:pt>
                <c:pt idx="45">
                  <c:v>864.0</c:v>
                </c:pt>
                <c:pt idx="46">
                  <c:v>0.0</c:v>
                </c:pt>
                <c:pt idx="47">
                  <c:v>0.0</c:v>
                </c:pt>
                <c:pt idx="48">
                  <c:v>560.0</c:v>
                </c:pt>
                <c:pt idx="49">
                  <c:v>465.0</c:v>
                </c:pt>
                <c:pt idx="50">
                  <c:v>396.0</c:v>
                </c:pt>
                <c:pt idx="51">
                  <c:v>0.0</c:v>
                </c:pt>
                <c:pt idx="52">
                  <c:v>472.0</c:v>
                </c:pt>
                <c:pt idx="53">
                  <c:v>396.0</c:v>
                </c:pt>
                <c:pt idx="54">
                  <c:v>461.0</c:v>
                </c:pt>
                <c:pt idx="55">
                  <c:v>0.0</c:v>
                </c:pt>
                <c:pt idx="56">
                  <c:v>0.0</c:v>
                </c:pt>
                <c:pt idx="57">
                  <c:v>0.0</c:v>
                </c:pt>
                <c:pt idx="58">
                  <c:v>0.0</c:v>
                </c:pt>
                <c:pt idx="59">
                  <c:v>148.0</c:v>
                </c:pt>
                <c:pt idx="60">
                  <c:v>421.0</c:v>
                </c:pt>
                <c:pt idx="61">
                  <c:v>720.0</c:v>
                </c:pt>
                <c:pt idx="62">
                  <c:v>403.0</c:v>
                </c:pt>
                <c:pt idx="63">
                  <c:v>686.0</c:v>
                </c:pt>
                <c:pt idx="64">
                  <c:v>621.0</c:v>
                </c:pt>
                <c:pt idx="65">
                  <c:v>0.0</c:v>
                </c:pt>
                <c:pt idx="66">
                  <c:v>832.6</c:v>
                </c:pt>
                <c:pt idx="67">
                  <c:v>931.0</c:v>
                </c:pt>
              </c:numCache>
            </c:numRef>
          </c:xVal>
          <c:yVal>
            <c:numRef>
              <c:f>Sheet1!$B$79:$B$146</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3225806451612903</c:v>
                </c:pt>
                <c:pt idx="22">
                  <c:v>0.05714285714285714</c:v>
                </c:pt>
                <c:pt idx="23">
                  <c:v>0.08108108108108109</c:v>
                </c:pt>
                <c:pt idx="24">
                  <c:v>0.06818181818181818</c:v>
                </c:pt>
                <c:pt idx="25">
                  <c:v>0.044444444444444446</c:v>
                </c:pt>
                <c:pt idx="26">
                  <c:v>0.027777777777777776</c:v>
                </c:pt>
                <c:pt idx="27">
                  <c:v>0.06666666666666667</c:v>
                </c:pt>
                <c:pt idx="28">
                  <c:v>0.09523809523809523</c:v>
                </c:pt>
                <c:pt idx="29">
                  <c:v>0.06666666666666667</c:v>
                </c:pt>
                <c:pt idx="30">
                  <c:v>0.07894736842105263</c:v>
                </c:pt>
                <c:pt idx="31">
                  <c:v>0.13333333333333333</c:v>
                </c:pt>
                <c:pt idx="32">
                  <c:v>0.05555555555555555</c:v>
                </c:pt>
                <c:pt idx="33">
                  <c:v>0.08</c:v>
                </c:pt>
                <c:pt idx="34">
                  <c:v>0.05555555555555555</c:v>
                </c:pt>
                <c:pt idx="35">
                  <c:v>0.034482758620689655</c:v>
                </c:pt>
                <c:pt idx="36">
                  <c:v>0.03125</c:v>
                </c:pt>
                <c:pt idx="37">
                  <c:v>0.0</c:v>
                </c:pt>
                <c:pt idx="38">
                  <c:v>0.05263157894736842</c:v>
                </c:pt>
                <c:pt idx="39">
                  <c:v>0.0</c:v>
                </c:pt>
                <c:pt idx="40">
                  <c:v>0.07142857142857142</c:v>
                </c:pt>
                <c:pt idx="41">
                  <c:v>0.07692307692307693</c:v>
                </c:pt>
                <c:pt idx="42">
                  <c:v>0.06666666666666667</c:v>
                </c:pt>
                <c:pt idx="43">
                  <c:v>0.08333333333333333</c:v>
                </c:pt>
                <c:pt idx="44">
                  <c:v>0.0</c:v>
                </c:pt>
                <c:pt idx="45">
                  <c:v>0.09090909090909091</c:v>
                </c:pt>
                <c:pt idx="46">
                  <c:v>0.0</c:v>
                </c:pt>
                <c:pt idx="47">
                  <c:v>0.0</c:v>
                </c:pt>
                <c:pt idx="48">
                  <c:v>0.14285714285714285</c:v>
                </c:pt>
                <c:pt idx="49">
                  <c:v>0.2</c:v>
                </c:pt>
                <c:pt idx="50">
                  <c:v>0.3333333333333333</c:v>
                </c:pt>
                <c:pt idx="51">
                  <c:v>0.0</c:v>
                </c:pt>
                <c:pt idx="52">
                  <c:v>0.14285714285714285</c:v>
                </c:pt>
                <c:pt idx="53">
                  <c:v>0.1111111111111111</c:v>
                </c:pt>
                <c:pt idx="54">
                  <c:v>0.16666666666666666</c:v>
                </c:pt>
                <c:pt idx="55">
                  <c:v>0.0</c:v>
                </c:pt>
                <c:pt idx="56">
                  <c:v>0.0</c:v>
                </c:pt>
                <c:pt idx="57">
                  <c:v>0.0</c:v>
                </c:pt>
                <c:pt idx="58">
                  <c:v>0.0</c:v>
                </c:pt>
                <c:pt idx="59">
                  <c:v>0.07692307692307693</c:v>
                </c:pt>
                <c:pt idx="60">
                  <c:v>0.024390243902439025</c:v>
                </c:pt>
                <c:pt idx="61">
                  <c:v>0.03125</c:v>
                </c:pt>
                <c:pt idx="62">
                  <c:v>0.1111111111111111</c:v>
                </c:pt>
                <c:pt idx="63">
                  <c:v>0.05263157894736842</c:v>
                </c:pt>
                <c:pt idx="64">
                  <c:v>0.041666666666666664</c:v>
                </c:pt>
                <c:pt idx="65">
                  <c:v>0.0</c:v>
                </c:pt>
                <c:pt idx="66">
                  <c:v>0.06944444444444445</c:v>
                </c:pt>
                <c:pt idx="67">
                  <c:v>0.03225806451612903</c:v>
                </c:pt>
              </c:numCache>
            </c:numRef>
          </c:yVal>
          <c:smooth val="0"/>
          <c:extLst>
            <c:ext xmlns:c16="http://schemas.microsoft.com/office/drawing/2014/chart" uri="{C3380CC4-5D6E-409C-BE32-E72D297353CC}">
              <c16:uniqueId val="{00000002-F32D-48B7-BC20-E66FC6253BAD}"/>
            </c:ext>
          </c:extLst>
        </c:ser>
        <c:ser>
          <c:idx val="2"/>
          <c:order val="2"/>
          <c:tx>
            <c:strRef>
              <c:f>Sheet1!$B$148</c:f>
              <c:strCache>
                <c:ptCount val="1"/>
                <c:pt idx="0">
                  <c:v>Custom Linep3yQ</c:v>
                </c:pt>
              </c:strCache>
            </c:strRef>
          </c:tx>
          <c:spPr>
            <a:ln w="19050" cap="rnd">
              <a:solidFill>
                <a:srgbClr val="C00000"/>
              </a:solidFill>
              <a:prstDash val="sysDot"/>
              <a:round/>
            </a:ln>
            <a:effectLst/>
          </c:spPr>
          <c:marker>
            <c:symbol val="none"/>
          </c:marker>
          <c:xVal>
            <c:numRef>
              <c:f>Sheet1!$A$149:$A$150</c:f>
              <c:numCache>
                <c:formatCode>General</c:formatCode>
                <c:ptCount val="2"/>
                <c:pt idx="0">
                  <c:v>0</c:v>
                </c:pt>
                <c:pt idx="1">
                  <c:v>4963.863061775178</c:v>
                </c:pt>
              </c:numCache>
            </c:numRef>
          </c:xVal>
          <c:yVal>
            <c:numRef>
              <c:f>Sheet1!$B$149:$B$150</c:f>
              <c:numCache>
                <c:formatCode>General</c:formatCode>
                <c:ptCount val="2"/>
                <c:pt idx="0">
                  <c:v>0.3068573581976268</c:v>
                </c:pt>
                <c:pt idx="1">
                  <c:v>0.3068573581976268</c:v>
                </c:pt>
              </c:numCache>
            </c:numRef>
          </c:yVal>
          <c:smooth val="0"/>
          <c:extLst>
            <c:ext xmlns:c16="http://schemas.microsoft.com/office/drawing/2014/chart" uri="{C3380CC4-5D6E-409C-BE32-E72D297353CC}">
              <c16:uniqueId val="{00000003-F32D-48B7-BC20-E66FC6253BAD}"/>
            </c:ext>
          </c:extLst>
        </c:ser>
        <c:ser>
          <c:idx val="3"/>
          <c:order val="3"/>
          <c:tx>
            <c:strRef>
              <c:f>Sheet1!$B$15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4963.863061775178</c:v>
                </c:pt>
                <c:pt idx="1">
                  <c:v>4963.863061775178</c:v>
                </c:pt>
              </c:numCache>
            </c:numRef>
          </c:xVal>
          <c:yVal>
            <c:numRef>
              <c:f>Sheet1!$B$153:$B$154</c:f>
              <c:numCache>
                <c:formatCode>General</c:formatCode>
                <c:ptCount val="2"/>
                <c:pt idx="0">
                  <c:v>0.30685735819762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7:$A$158</c:f>
              <c:numCache>
                <c:formatCode>General</c:formatCode>
                <c:ptCount val="2"/>
                <c:pt idx="0">
                  <c:v>0</c:v>
                </c:pt>
                <c:pt idx="1">
                  <c:v>1393.5814541629181</c:v>
                </c:pt>
              </c:numCache>
            </c:numRef>
          </c:xVal>
          <c:yVal>
            <c:numRef>
              <c:f>Sheet1!$B$157:$B$158</c:f>
              <c:numCache>
                <c:formatCode>General</c:formatCode>
                <c:ptCount val="2"/>
                <c:pt idx="0">
                  <c:v>0.10040010494555948</c:v>
                </c:pt>
                <c:pt idx="1">
                  <c:v>0.10040010494555948</c:v>
                </c:pt>
              </c:numCache>
            </c:numRef>
          </c:yVal>
          <c:smooth val="0"/>
          <c:extLst>
            <c:ext xmlns:c16="http://schemas.microsoft.com/office/drawing/2014/chart" uri="{C3380CC4-5D6E-409C-BE32-E72D297353CC}">
              <c16:uniqueId val="{0000000A-F32D-48B7-BC20-E66FC6253BAD}"/>
            </c:ext>
          </c:extLst>
        </c:ser>
        <c:ser>
          <c:idx val="5"/>
          <c:order val="5"/>
          <c:tx>
            <c:strRef>
              <c:f>Sheet1!$B$16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1393.5814541629181</c:v>
                </c:pt>
                <c:pt idx="1">
                  <c:v>1393.5814541629181</c:v>
                </c:pt>
              </c:numCache>
            </c:numRef>
          </c:xVal>
          <c:yVal>
            <c:numRef>
              <c:f>Sheet1!$B$161:$B$162</c:f>
              <c:numCache>
                <c:formatCode>General</c:formatCode>
                <c:ptCount val="2"/>
                <c:pt idx="0">
                  <c:v>0.100400104945559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5:$A$166</c:f>
              <c:numCache>
                <c:formatCode>General</c:formatCode>
                <c:ptCount val="2"/>
                <c:pt idx="0">
                  <c:v>0</c:v>
                </c:pt>
                <c:pt idx="1">
                  <c:v>348.56702408924565</c:v>
                </c:pt>
              </c:numCache>
            </c:numRef>
          </c:xVal>
          <c:yVal>
            <c:numRef>
              <c:f>Sheet1!$B$165:$B$166</c:f>
              <c:numCache>
                <c:formatCode>General</c:formatCode>
                <c:ptCount val="2"/>
                <c:pt idx="0">
                  <c:v>0.03997047150102142</c:v>
                </c:pt>
                <c:pt idx="1">
                  <c:v>0.03997047150102142</c:v>
                </c:pt>
              </c:numCache>
            </c:numRef>
          </c:yVal>
          <c:smooth val="0"/>
          <c:extLst>
            <c:ext xmlns:c16="http://schemas.microsoft.com/office/drawing/2014/chart" uri="{C3380CC4-5D6E-409C-BE32-E72D297353CC}">
              <c16:uniqueId val="{00000011-F32D-48B7-BC20-E66FC6253BAD}"/>
            </c:ext>
          </c:extLst>
        </c:ser>
        <c:ser>
          <c:idx val="7"/>
          <c:order val="7"/>
          <c:tx>
            <c:strRef>
              <c:f>Sheet1!$B$16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48.56702408924565</c:v>
                </c:pt>
                <c:pt idx="1">
                  <c:v>348.56702408924565</c:v>
                </c:pt>
              </c:numCache>
            </c:numRef>
          </c:xVal>
          <c:yVal>
            <c:numRef>
              <c:f>Sheet1!$B$169:$B$170</c:f>
              <c:numCache>
                <c:formatCode>General</c:formatCode>
                <c:ptCount val="2"/>
                <c:pt idx="0">
                  <c:v>0.039970471501021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3:$A$243</c:f>
              <c:numCache>
                <c:formatCode>General</c:formatCode>
                <c:ptCount val="71"/>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1125.0</c:v>
                </c:pt>
                <c:pt idx="22">
                  <c:v>903.5</c:v>
                </c:pt>
                <c:pt idx="23">
                  <c:v>836.3333</c:v>
                </c:pt>
                <c:pt idx="24">
                  <c:v>861.3333</c:v>
                </c:pt>
                <c:pt idx="25">
                  <c:v>1138.5</c:v>
                </c:pt>
                <c:pt idx="26">
                  <c:v>1291.0</c:v>
                </c:pt>
                <c:pt idx="27">
                  <c:v>809.0</c:v>
                </c:pt>
                <c:pt idx="28">
                  <c:v>728.5</c:v>
                </c:pt>
                <c:pt idx="29">
                  <c:v>1042.5</c:v>
                </c:pt>
                <c:pt idx="30">
                  <c:v>959.3333</c:v>
                </c:pt>
                <c:pt idx="31">
                  <c:v>730.0</c:v>
                </c:pt>
                <c:pt idx="32">
                  <c:v>986.0</c:v>
                </c:pt>
                <c:pt idx="33">
                  <c:v>979.0</c:v>
                </c:pt>
                <c:pt idx="34">
                  <c:v>767.5</c:v>
                </c:pt>
                <c:pt idx="35">
                  <c:v>1299.0</c:v>
                </c:pt>
                <c:pt idx="36">
                  <c:v>1304.0</c:v>
                </c:pt>
                <c:pt idx="37">
                  <c:v>0.0</c:v>
                </c:pt>
                <c:pt idx="38">
                  <c:v>552.0</c:v>
                </c:pt>
                <c:pt idx="39">
                  <c:v>0.0</c:v>
                </c:pt>
                <c:pt idx="40">
                  <c:v>767.0</c:v>
                </c:pt>
                <c:pt idx="41">
                  <c:v>971.0</c:v>
                </c:pt>
                <c:pt idx="42">
                  <c:v>1376.0</c:v>
                </c:pt>
                <c:pt idx="43">
                  <c:v>551.0</c:v>
                </c:pt>
                <c:pt idx="44">
                  <c:v>0.0</c:v>
                </c:pt>
                <c:pt idx="45">
                  <c:v>864.0</c:v>
                </c:pt>
                <c:pt idx="46">
                  <c:v>0.0</c:v>
                </c:pt>
                <c:pt idx="47">
                  <c:v>0.0</c:v>
                </c:pt>
                <c:pt idx="48">
                  <c:v>560.0</c:v>
                </c:pt>
                <c:pt idx="49">
                  <c:v>465.0</c:v>
                </c:pt>
                <c:pt idx="50">
                  <c:v>396.0</c:v>
                </c:pt>
                <c:pt idx="51">
                  <c:v>0.0</c:v>
                </c:pt>
                <c:pt idx="52">
                  <c:v>472.0</c:v>
                </c:pt>
                <c:pt idx="53">
                  <c:v>396.0</c:v>
                </c:pt>
                <c:pt idx="54">
                  <c:v>461.0</c:v>
                </c:pt>
                <c:pt idx="55">
                  <c:v>0.0</c:v>
                </c:pt>
                <c:pt idx="56">
                  <c:v>0.0</c:v>
                </c:pt>
                <c:pt idx="57">
                  <c:v>0.0</c:v>
                </c:pt>
                <c:pt idx="58">
                  <c:v>0.0</c:v>
                </c:pt>
                <c:pt idx="59">
                  <c:v>148.0</c:v>
                </c:pt>
                <c:pt idx="60">
                  <c:v>421.0</c:v>
                </c:pt>
                <c:pt idx="61">
                  <c:v>720.0</c:v>
                </c:pt>
                <c:pt idx="62">
                  <c:v>403.0</c:v>
                </c:pt>
                <c:pt idx="63">
                  <c:v>686.0</c:v>
                </c:pt>
                <c:pt idx="64">
                  <c:v>621.0</c:v>
                </c:pt>
                <c:pt idx="65">
                  <c:v>0.0</c:v>
                </c:pt>
                <c:pt idx="66">
                  <c:v>832.6</c:v>
                </c:pt>
                <c:pt idx="67">
                  <c:v>931.0</c:v>
                </c:pt>
                <c:pt idx="68">
                  <c:v>1393.5814541629181</c:v>
                </c:pt>
                <c:pt idx="69">
                  <c:v>4963.863061775178</c:v>
                </c:pt>
                <c:pt idx="70">
                  <c:v>348.56702408924565</c:v>
                </c:pt>
              </c:numCache>
            </c:numRef>
          </c:xVal>
          <c:yVal>
            <c:numRef>
              <c:f>Sheet1!$B$173:$B$243</c:f>
              <c:numCache>
                <c:formatCode>General</c:formatCode>
                <c:ptCount val="71"/>
                <c:pt idx="0">
                  <c:v>0.019814024957903725</c:v>
                </c:pt>
                <c:pt idx="1">
                  <c:v>0.019814024957903725</c:v>
                </c:pt>
                <c:pt idx="2">
                  <c:v>0.019814024957903725</c:v>
                </c:pt>
                <c:pt idx="3">
                  <c:v>0.019814024957903725</c:v>
                </c:pt>
                <c:pt idx="4">
                  <c:v>0.019814024957903725</c:v>
                </c:pt>
                <c:pt idx="5">
                  <c:v>0.019814024957903725</c:v>
                </c:pt>
                <c:pt idx="6">
                  <c:v>0.019814024957903725</c:v>
                </c:pt>
                <c:pt idx="7">
                  <c:v>0.019814024957903725</c:v>
                </c:pt>
                <c:pt idx="8">
                  <c:v>0.019814024957903725</c:v>
                </c:pt>
                <c:pt idx="9">
                  <c:v>0.019814024957903725</c:v>
                </c:pt>
                <c:pt idx="10">
                  <c:v>0.019814024957903725</c:v>
                </c:pt>
                <c:pt idx="11">
                  <c:v>0.019814024957903725</c:v>
                </c:pt>
                <c:pt idx="12">
                  <c:v>0.019814024957903725</c:v>
                </c:pt>
                <c:pt idx="13">
                  <c:v>0.019814024957903725</c:v>
                </c:pt>
                <c:pt idx="14">
                  <c:v>0.019814024957903725</c:v>
                </c:pt>
                <c:pt idx="15">
                  <c:v>0.019814024957903725</c:v>
                </c:pt>
                <c:pt idx="16">
                  <c:v>0.019814024957903725</c:v>
                </c:pt>
                <c:pt idx="17">
                  <c:v>0.019814024957903725</c:v>
                </c:pt>
                <c:pt idx="18">
                  <c:v>0.019814024957903725</c:v>
                </c:pt>
                <c:pt idx="19">
                  <c:v>0.019814024957903725</c:v>
                </c:pt>
                <c:pt idx="20">
                  <c:v>0.019814024957903725</c:v>
                </c:pt>
                <c:pt idx="21">
                  <c:v>0.08486895211361062</c:v>
                </c:pt>
                <c:pt idx="22">
                  <c:v>0.07206035978917588</c:v>
                </c:pt>
                <c:pt idx="23">
                  <c:v>0.06817633776625213</c:v>
                </c:pt>
                <c:pt idx="24">
                  <c:v>0.06962200281415673</c:v>
                </c:pt>
                <c:pt idx="25">
                  <c:v>0.0856496112394791</c:v>
                </c:pt>
                <c:pt idx="26">
                  <c:v>0.09446816803169715</c:v>
                </c:pt>
                <c:pt idx="27">
                  <c:v>0.0665957459080965</c:v>
                </c:pt>
                <c:pt idx="28">
                  <c:v>0.0619407044538437</c:v>
                </c:pt>
                <c:pt idx="29">
                  <c:v>0.08009825745552544</c:v>
                </c:pt>
                <c:pt idx="30">
                  <c:v>0.07528900980194275</c:v>
                </c:pt>
                <c:pt idx="31">
                  <c:v>0.062027444356717976</c:v>
                </c:pt>
                <c:pt idx="32">
                  <c:v>0.07683105444726106</c:v>
                </c:pt>
                <c:pt idx="33">
                  <c:v>0.07642626823384777</c:v>
                </c:pt>
                <c:pt idx="34">
                  <c:v>0.06419594192857488</c:v>
                </c:pt>
                <c:pt idx="35">
                  <c:v>0.09493078084702662</c:v>
                </c:pt>
                <c:pt idx="36">
                  <c:v>0.09521991385660754</c:v>
                </c:pt>
                <c:pt idx="37">
                  <c:v>0.019814024957903725</c:v>
                </c:pt>
                <c:pt idx="38">
                  <c:v>0.051734309215637236</c:v>
                </c:pt>
                <c:pt idx="39">
                  <c:v>0.019814024957903725</c:v>
                </c:pt>
                <c:pt idx="40">
                  <c:v>0.06416702862761678</c:v>
                </c:pt>
                <c:pt idx="41">
                  <c:v>0.0759636554185183</c:v>
                </c:pt>
                <c:pt idx="42">
                  <c:v>0.09938342919457278</c:v>
                </c:pt>
                <c:pt idx="43">
                  <c:v>0.051676482613721056</c:v>
                </c:pt>
                <c:pt idx="44">
                  <c:v>0.019814024957903725</c:v>
                </c:pt>
                <c:pt idx="45">
                  <c:v>0.06977620901348662</c:v>
                </c:pt>
                <c:pt idx="46">
                  <c:v>0.019814024957903725</c:v>
                </c:pt>
                <c:pt idx="47">
                  <c:v>0.019814024957903725</c:v>
                </c:pt>
                <c:pt idx="48">
                  <c:v>0.05219692203096671</c:v>
                </c:pt>
                <c:pt idx="49">
                  <c:v>0.04670339484892924</c:v>
                </c:pt>
                <c:pt idx="50">
                  <c:v>0.04271335931671255</c:v>
                </c:pt>
                <c:pt idx="51">
                  <c:v>0.019814024957903725</c:v>
                </c:pt>
                <c:pt idx="52">
                  <c:v>0.04710818106234253</c:v>
                </c:pt>
                <c:pt idx="53">
                  <c:v>0.04271335931671255</c:v>
                </c:pt>
                <c:pt idx="54">
                  <c:v>0.046472088441264506</c:v>
                </c:pt>
                <c:pt idx="55">
                  <c:v>0.019814024957903725</c:v>
                </c:pt>
                <c:pt idx="56">
                  <c:v>0.019814024957903725</c:v>
                </c:pt>
                <c:pt idx="57">
                  <c:v>0.019814024957903725</c:v>
                </c:pt>
                <c:pt idx="58">
                  <c:v>0.019814024957903725</c:v>
                </c:pt>
                <c:pt idx="59">
                  <c:v>0.02837236204149894</c:v>
                </c:pt>
                <c:pt idx="60">
                  <c:v>0.04415902436461715</c:v>
                </c:pt>
                <c:pt idx="61">
                  <c:v>0.06144917833755614</c:v>
                </c:pt>
                <c:pt idx="62">
                  <c:v>0.04311814553012584</c:v>
                </c:pt>
                <c:pt idx="63">
                  <c:v>0.05948307387240588</c:v>
                </c:pt>
                <c:pt idx="64">
                  <c:v>0.05572434474785393</c:v>
                </c:pt>
                <c:pt idx="65">
                  <c:v>0.019814024957903725</c:v>
                </c:pt>
                <c:pt idx="66">
                  <c:v>0.06796045371331845</c:v>
                </c:pt>
                <c:pt idx="67">
                  <c:v>0.07365059134187094</c:v>
                </c:pt>
                <c:pt idx="68">
                  <c:v>0.10040010494555948</c:v>
                </c:pt>
                <c:pt idx="69">
                  <c:v>0.3068573581976268</c:v>
                </c:pt>
                <c:pt idx="70">
                  <c:v>0.039970471501021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95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31578947368420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2</c:f>
              <c:numCache>
                <c:formatCode>General</c:formatCode>
                <c:ptCount val="111"/>
                <c:pt idx="0">
                  <c:v>0.19835591037309064</c:v>
                </c:pt>
                <c:pt idx="1">
                  <c:v>0.30185244405182565</c:v>
                </c:pt>
                <c:pt idx="2">
                  <c:v>0.28760089822176366</c:v>
                </c:pt>
                <c:pt idx="3">
                  <c:v>0.2088830533798162</c:v>
                </c:pt>
                <c:pt idx="4">
                  <c:v>0.3680740591481183</c:v>
                </c:pt>
                <c:pt idx="5">
                  <c:v>0.32753936571301845</c:v>
                </c:pt>
                <c:pt idx="6">
                  <c:v>0.32987470685467385</c:v>
                </c:pt>
                <c:pt idx="7">
                  <c:v>0.33164798124129846</c:v>
                </c:pt>
                <c:pt idx="8">
                  <c:v>0.3528349481504411</c:v>
                </c:pt>
                <c:pt idx="9">
                  <c:v>0.39235397532556543</c:v>
                </c:pt>
                <c:pt idx="10">
                  <c:v>0.35287053576314575</c:v>
                </c:pt>
                <c:pt idx="11">
                  <c:v>0.3694623091902758</c:v>
                </c:pt>
                <c:pt idx="12">
                  <c:v>0.37552503718431834</c:v>
                </c:pt>
                <c:pt idx="13">
                  <c:v>0.24442089654615878</c:v>
                </c:pt>
                <c:pt idx="14">
                  <c:v>0.34134784886927744</c:v>
                </c:pt>
                <c:pt idx="15">
                  <c:v>0.38974439638222574</c:v>
                </c:pt>
                <c:pt idx="16">
                  <c:v>0.42081002649844623</c:v>
                </c:pt>
                <c:pt idx="17">
                  <c:v>0.3815525276571909</c:v>
                </c:pt>
                <c:pt idx="18">
                  <c:v>0.3417970887599869</c:v>
                </c:pt>
                <c:pt idx="19">
                  <c:v>0.18695981804397271</c:v>
                </c:pt>
                <c:pt idx="20">
                  <c:v>0.0</c:v>
                </c:pt>
                <c:pt idx="21">
                  <c:v>0.20072673440549088</c:v>
                </c:pt>
                <c:pt idx="22">
                  <c:v>0.29719448407037563</c:v>
                </c:pt>
                <c:pt idx="23">
                  <c:v>0.32886163280950553</c:v>
                </c:pt>
                <c:pt idx="24">
                  <c:v>0.26542459835290944</c:v>
                </c:pt>
                <c:pt idx="25">
                  <c:v>0.32752656288608845</c:v>
                </c:pt>
                <c:pt idx="26">
                  <c:v>0.0</c:v>
                </c:pt>
                <c:pt idx="27">
                  <c:v>0.3312308868501529</c:v>
                </c:pt>
                <c:pt idx="28">
                  <c:v>0.3587722240858772</c:v>
                </c:pt>
                <c:pt idx="29">
                  <c:v>0.23490082460441275</c:v>
                </c:pt>
                <c:pt idx="30">
                  <c:v>0.3586800573888092</c:v>
                </c:pt>
                <c:pt idx="31">
                  <c:v>0.4560426815124101</c:v>
                </c:pt>
                <c:pt idx="32">
                  <c:v>0.0</c:v>
                </c:pt>
                <c:pt idx="33">
                  <c:v>0.24951768488745982</c:v>
                </c:pt>
                <c:pt idx="34">
                  <c:v>0.22236595515308322</c:v>
                </c:pt>
                <c:pt idx="35">
                  <c:v>0.32141733597423905</c:v>
                </c:pt>
                <c:pt idx="36">
                  <c:v>0.2494974076817268</c:v>
                </c:pt>
                <c:pt idx="37">
                  <c:v>0.0</c:v>
                </c:pt>
                <c:pt idx="38">
                  <c:v>0.4724162011173184</c:v>
                </c:pt>
                <c:pt idx="39">
                  <c:v>0.0</c:v>
                </c:pt>
                <c:pt idx="40">
                  <c:v>0.18270401948842874</c:v>
                </c:pt>
                <c:pt idx="41">
                  <c:v>0.20810126582278482</c:v>
                </c:pt>
                <c:pt idx="42">
                  <c:v>0.23425283965186605</c:v>
                </c:pt>
                <c:pt idx="43">
                  <c:v>0.17548945067477667</c:v>
                </c:pt>
                <c:pt idx="44">
                  <c:v>0.3308614720531267</c:v>
                </c:pt>
                <c:pt idx="45">
                  <c:v>0.4019987663176015</c:v>
                </c:pt>
                <c:pt idx="46">
                  <c:v>0.3885605431543985</c:v>
                </c:pt>
                <c:pt idx="47">
                  <c:v>0.32640900828922403</c:v>
                </c:pt>
                <c:pt idx="48">
                  <c:v>0.40702962854882996</c:v>
                </c:pt>
                <c:pt idx="49">
                  <c:v>0.3962495743965704</c:v>
                </c:pt>
                <c:pt idx="50">
                  <c:v>0.35369127010102713</c:v>
                </c:pt>
                <c:pt idx="51">
                  <c:v>0.34617469919331967</c:v>
                </c:pt>
                <c:pt idx="52">
                  <c:v>0.34650286383178236</c:v>
                </c:pt>
                <c:pt idx="53">
                  <c:v>0.47195117210278736</c:v>
                </c:pt>
                <c:pt idx="54">
                  <c:v>0.42669316279556396</c:v>
                </c:pt>
                <c:pt idx="55">
                  <c:v>0.35009609224855864</c:v>
                </c:pt>
                <c:pt idx="56">
                  <c:v>0.29386354152046784</c:v>
                </c:pt>
                <c:pt idx="57">
                  <c:v>0.3512189959934009</c:v>
                </c:pt>
                <c:pt idx="58">
                  <c:v>0.46738426668024685</c:v>
                </c:pt>
                <c:pt idx="59">
                  <c:v>0.4385848631239936</c:v>
                </c:pt>
                <c:pt idx="60">
                  <c:v>0.40122727453839135</c:v>
                </c:pt>
                <c:pt idx="61">
                  <c:v>0.43318821878423636</c:v>
                </c:pt>
                <c:pt idx="62">
                  <c:v>0.4982329082189095</c:v>
                </c:pt>
                <c:pt idx="63">
                  <c:v>0.47364781739715783</c:v>
                </c:pt>
                <c:pt idx="64">
                  <c:v>0.5669611054816008</c:v>
                </c:pt>
                <c:pt idx="65">
                  <c:v>0.3269890312116733</c:v>
                </c:pt>
                <c:pt idx="66">
                  <c:v>0.38120435255288393</c:v>
                </c:pt>
                <c:pt idx="67">
                  <c:v>0.489396793450452</c:v>
                </c:pt>
                <c:pt idx="68">
                  <c:v>0.3780743789876538</c:v>
                </c:pt>
                <c:pt idx="69">
                  <c:v>0.31759375511763743</c:v>
                </c:pt>
                <c:pt idx="70">
                  <c:v>0.3132720624567645</c:v>
                </c:pt>
                <c:pt idx="71">
                  <c:v>0.24482019351280893</c:v>
                </c:pt>
                <c:pt idx="72">
                  <c:v>0.3989415001368738</c:v>
                </c:pt>
                <c:pt idx="73">
                  <c:v>0.23986340451283825</c:v>
                </c:pt>
                <c:pt idx="74">
                  <c:v>0.27209922006964843</c:v>
                </c:pt>
                <c:pt idx="75">
                  <c:v>0.25976604421549687</c:v>
                </c:pt>
                <c:pt idx="76">
                  <c:v>0.4221778791334094</c:v>
                </c:pt>
                <c:pt idx="77">
                  <c:v>0.34991465496220436</c:v>
                </c:pt>
                <c:pt idx="78">
                  <c:v>0.2003455635735339</c:v>
                </c:pt>
                <c:pt idx="79">
                  <c:v>0.0</c:v>
                </c:pt>
                <c:pt idx="80">
                  <c:v>0.30554317134789716</c:v>
                </c:pt>
                <c:pt idx="81">
                  <c:v>0.5537673738112655</c:v>
                </c:pt>
                <c:pt idx="82">
                  <c:v>0.055041043990738794</c:v>
                </c:pt>
                <c:pt idx="83">
                  <c:v>0.3439774983454666</c:v>
                </c:pt>
                <c:pt idx="84">
                  <c:v>0.08246064018968584</c:v>
                </c:pt>
                <c:pt idx="85">
                  <c:v>0.4677022454629345</c:v>
                </c:pt>
                <c:pt idx="86">
                  <c:v>0.1672394746532466</c:v>
                </c:pt>
                <c:pt idx="87">
                  <c:v>0.5187311421744562</c:v>
                </c:pt>
                <c:pt idx="88">
                  <c:v>0.0</c:v>
                </c:pt>
                <c:pt idx="89">
                  <c:v>0.2748222280747959</c:v>
                </c:pt>
                <c:pt idx="90">
                  <c:v>0.10310021629416005</c:v>
                </c:pt>
                <c:pt idx="91">
                  <c:v>0.3156234837457545</c:v>
                </c:pt>
                <c:pt idx="92">
                  <c:v>0.4228097459823743</c:v>
                </c:pt>
                <c:pt idx="93">
                  <c:v>0.23101551596749034</c:v>
                </c:pt>
                <c:pt idx="94">
                  <c:v>0.0</c:v>
                </c:pt>
                <c:pt idx="95">
                  <c:v>0.09343942262186465</c:v>
                </c:pt>
                <c:pt idx="96">
                  <c:v>0.2482137117628508</c:v>
                </c:pt>
                <c:pt idx="97">
                  <c:v>0.3635685513948978</c:v>
                </c:pt>
                <c:pt idx="98">
                  <c:v>0.24243604004449387</c:v>
                </c:pt>
                <c:pt idx="99">
                  <c:v>0.23199194088532776</c:v>
                </c:pt>
                <c:pt idx="100">
                  <c:v>0.32899767867238683</c:v>
                </c:pt>
                <c:pt idx="101">
                  <c:v>0.3643568827796438</c:v>
                </c:pt>
                <c:pt idx="102">
                  <c:v>0.11925146771037182</c:v>
                </c:pt>
                <c:pt idx="103">
                  <c:v>0.28567056583242656</c:v>
                </c:pt>
                <c:pt idx="104">
                  <c:v>0.35148633108677335</c:v>
                </c:pt>
                <c:pt idx="105">
                  <c:v>0.0</c:v>
                </c:pt>
                <c:pt idx="106">
                  <c:v>0.0</c:v>
                </c:pt>
                <c:pt idx="107">
                  <c:v>0.0</c:v>
                </c:pt>
                <c:pt idx="108">
                  <c:v>0.0</c:v>
                </c:pt>
                <c:pt idx="109">
                  <c:v>0.0</c:v>
                </c:pt>
                <c:pt idx="110">
                  <c:v>0.0</c:v>
                </c:pt>
              </c:numCache>
            </c:numRef>
          </c:xVal>
          <c:yVal>
            <c:numRef>
              <c:f>Sheet1!$B$2:$B$112</c:f>
              <c:numCache>
                <c:formatCode>General</c:formatCode>
                <c:ptCount val="111"/>
                <c:pt idx="0">
                  <c:v>0.2391304347826087</c:v>
                </c:pt>
                <c:pt idx="1">
                  <c:v>0.2037037037037037</c:v>
                </c:pt>
                <c:pt idx="2">
                  <c:v>0.17543859649122806</c:v>
                </c:pt>
                <c:pt idx="3">
                  <c:v>0.2</c:v>
                </c:pt>
                <c:pt idx="4">
                  <c:v>0.14634146341463414</c:v>
                </c:pt>
                <c:pt idx="5">
                  <c:v>0.21621621621621623</c:v>
                </c:pt>
                <c:pt idx="6">
                  <c:v>0.21739130434782608</c:v>
                </c:pt>
                <c:pt idx="7">
                  <c:v>0.23255813953488372</c:v>
                </c:pt>
                <c:pt idx="8">
                  <c:v>0.1875</c:v>
                </c:pt>
                <c:pt idx="9">
                  <c:v>0.21951219512195122</c:v>
                </c:pt>
                <c:pt idx="10">
                  <c:v>0.20454545454545456</c:v>
                </c:pt>
                <c:pt idx="11">
                  <c:v>0.3333333333333333</c:v>
                </c:pt>
                <c:pt idx="12">
                  <c:v>0.3404255319148936</c:v>
                </c:pt>
                <c:pt idx="13">
                  <c:v>0.3548387096774194</c:v>
                </c:pt>
                <c:pt idx="14">
                  <c:v>0.3333333333333333</c:v>
                </c:pt>
                <c:pt idx="15">
                  <c:v>0.29411764705882354</c:v>
                </c:pt>
                <c:pt idx="16">
                  <c:v>0.22727272727272727</c:v>
                </c:pt>
                <c:pt idx="17">
                  <c:v>0.2</c:v>
                </c:pt>
                <c:pt idx="18">
                  <c:v>0.15384615384615385</c:v>
                </c:pt>
                <c:pt idx="19">
                  <c:v>0.25</c:v>
                </c:pt>
                <c:pt idx="20">
                  <c:v>0.16666666666666666</c:v>
                </c:pt>
                <c:pt idx="21">
                  <c:v>0.18181818181818182</c:v>
                </c:pt>
                <c:pt idx="22">
                  <c:v>0.1111111111111111</c:v>
                </c:pt>
                <c:pt idx="23">
                  <c:v>0.14285714285714285</c:v>
                </c:pt>
                <c:pt idx="24">
                  <c:v>0.16666666666666666</c:v>
                </c:pt>
                <c:pt idx="25">
                  <c:v>0.2857142857142857</c:v>
                </c:pt>
                <c:pt idx="26">
                  <c:v>0.4</c:v>
                </c:pt>
                <c:pt idx="27">
                  <c:v>0.16666666666666666</c:v>
                </c:pt>
                <c:pt idx="28">
                  <c:v>0.2857142857142857</c:v>
                </c:pt>
                <c:pt idx="29">
                  <c:v>0.4</c:v>
                </c:pt>
                <c:pt idx="30">
                  <c:v>0.25</c:v>
                </c:pt>
                <c:pt idx="31">
                  <c:v>0.25</c:v>
                </c:pt>
                <c:pt idx="32">
                  <c:v>0.3333333333333333</c:v>
                </c:pt>
                <c:pt idx="33">
                  <c:v>0.14285714285714285</c:v>
                </c:pt>
                <c:pt idx="34">
                  <c:v>0.42857142857142855</c:v>
                </c:pt>
                <c:pt idx="35">
                  <c:v>0.2727272727272727</c:v>
                </c:pt>
                <c:pt idx="36">
                  <c:v>0.2</c:v>
                </c:pt>
                <c:pt idx="37">
                  <c:v>0.16666666666666666</c:v>
                </c:pt>
                <c:pt idx="38">
                  <c:v>0.16666666666666666</c:v>
                </c:pt>
                <c:pt idx="39">
                  <c:v>0.14285714285714285</c:v>
                </c:pt>
                <c:pt idx="40">
                  <c:v>0.14285714285714285</c:v>
                </c:pt>
                <c:pt idx="41">
                  <c:v>0.14285714285714285</c:v>
                </c:pt>
                <c:pt idx="42">
                  <c:v>0.125</c:v>
                </c:pt>
                <c:pt idx="43">
                  <c:v>0.16666666666666666</c:v>
                </c:pt>
                <c:pt idx="44">
                  <c:v>0.23076923076923078</c:v>
                </c:pt>
                <c:pt idx="45">
                  <c:v>0.20689655172413793</c:v>
                </c:pt>
                <c:pt idx="46">
                  <c:v>0.14285714285714285</c:v>
                </c:pt>
                <c:pt idx="47">
                  <c:v>0.24</c:v>
                </c:pt>
                <c:pt idx="48">
                  <c:v>0.225</c:v>
                </c:pt>
                <c:pt idx="49">
                  <c:v>0.37254901960784315</c:v>
                </c:pt>
                <c:pt idx="50">
                  <c:v>0.25925925925925924</c:v>
                </c:pt>
                <c:pt idx="51">
                  <c:v>0.2727272727272727</c:v>
                </c:pt>
                <c:pt idx="52">
                  <c:v>0.2647058823529412</c:v>
                </c:pt>
                <c:pt idx="53">
                  <c:v>0.2564102564102564</c:v>
                </c:pt>
                <c:pt idx="54">
                  <c:v>0.23076923076923078</c:v>
                </c:pt>
                <c:pt idx="55">
                  <c:v>0.26666666666666666</c:v>
                </c:pt>
                <c:pt idx="56">
                  <c:v>0.23076923076923078</c:v>
                </c:pt>
                <c:pt idx="57">
                  <c:v>0.19148936170212766</c:v>
                </c:pt>
                <c:pt idx="58">
                  <c:v>0.2</c:v>
                </c:pt>
                <c:pt idx="59">
                  <c:v>0.23008849557522124</c:v>
                </c:pt>
                <c:pt idx="60">
                  <c:v>0.2616822429906542</c:v>
                </c:pt>
                <c:pt idx="61">
                  <c:v>0.28169014084507044</c:v>
                </c:pt>
                <c:pt idx="62">
                  <c:v>0.3</c:v>
                </c:pt>
                <c:pt idx="63">
                  <c:v>0.28</c:v>
                </c:pt>
                <c:pt idx="64">
                  <c:v>0.2535211267605634</c:v>
                </c:pt>
                <c:pt idx="65">
                  <c:v>0.3333333333333333</c:v>
                </c:pt>
                <c:pt idx="66">
                  <c:v>0.29545454545454547</c:v>
                </c:pt>
                <c:pt idx="67">
                  <c:v>0.25</c:v>
                </c:pt>
                <c:pt idx="68">
                  <c:v>0.2857142857142857</c:v>
                </c:pt>
                <c:pt idx="69">
                  <c:v>0.25</c:v>
                </c:pt>
                <c:pt idx="70">
                  <c:v>0.15384615384615385</c:v>
                </c:pt>
                <c:pt idx="71">
                  <c:v>0.3181818181818182</c:v>
                </c:pt>
                <c:pt idx="72">
                  <c:v>0.2608695652173913</c:v>
                </c:pt>
                <c:pt idx="73">
                  <c:v>0.19047619047619047</c:v>
                </c:pt>
                <c:pt idx="74">
                  <c:v>0.15789473684210525</c:v>
                </c:pt>
                <c:pt idx="75">
                  <c:v>0.26666666666666666</c:v>
                </c:pt>
                <c:pt idx="76">
                  <c:v>0.18181818181818182</c:v>
                </c:pt>
                <c:pt idx="77">
                  <c:v>0.2222222222222222</c:v>
                </c:pt>
                <c:pt idx="78">
                  <c:v>0.45454545454545453</c:v>
                </c:pt>
                <c:pt idx="79">
                  <c:v>0.16666666666666666</c:v>
                </c:pt>
                <c:pt idx="80">
                  <c:v>0.16666666666666666</c:v>
                </c:pt>
                <c:pt idx="81">
                  <c:v>0.18181818181818182</c:v>
                </c:pt>
                <c:pt idx="82">
                  <c:v>0.5</c:v>
                </c:pt>
                <c:pt idx="83">
                  <c:v>0.16666666666666666</c:v>
                </c:pt>
                <c:pt idx="84">
                  <c:v>0.375</c:v>
                </c:pt>
                <c:pt idx="85">
                  <c:v>0.25</c:v>
                </c:pt>
                <c:pt idx="86">
                  <c:v>0.4444444444444444</c:v>
                </c:pt>
                <c:pt idx="87">
                  <c:v>0.125</c:v>
                </c:pt>
                <c:pt idx="88">
                  <c:v>0.42857142857142855</c:v>
                </c:pt>
                <c:pt idx="89">
                  <c:v>0.16666666666666666</c:v>
                </c:pt>
                <c:pt idx="90">
                  <c:v>0.375</c:v>
                </c:pt>
                <c:pt idx="91">
                  <c:v>0.2222222222222222</c:v>
                </c:pt>
                <c:pt idx="92">
                  <c:v>0.125</c:v>
                </c:pt>
                <c:pt idx="93">
                  <c:v>0.1111111111111111</c:v>
                </c:pt>
                <c:pt idx="94">
                  <c:v>0.2857142857142857</c:v>
                </c:pt>
                <c:pt idx="95">
                  <c:v>0.26666666666666666</c:v>
                </c:pt>
                <c:pt idx="96">
                  <c:v>0.2692307692307692</c:v>
                </c:pt>
                <c:pt idx="97">
                  <c:v>0.23809523809523808</c:v>
                </c:pt>
                <c:pt idx="98">
                  <c:v>0.38461538461538464</c:v>
                </c:pt>
                <c:pt idx="99">
                  <c:v>0.32142857142857145</c:v>
                </c:pt>
                <c:pt idx="100">
                  <c:v>0.3220338983050847</c:v>
                </c:pt>
                <c:pt idx="101">
                  <c:v>0.16666666666666666</c:v>
                </c:pt>
                <c:pt idx="102">
                  <c:v>0.2916666666666667</c:v>
                </c:pt>
                <c:pt idx="103">
                  <c:v>0.23809523809523808</c:v>
                </c:pt>
                <c:pt idx="104">
                  <c:v>0.28</c:v>
                </c:pt>
                <c:pt idx="105">
                  <c:v>0.3333333333333333</c:v>
                </c:pt>
                <c:pt idx="106">
                  <c:v>0.2</c:v>
                </c:pt>
                <c:pt idx="107">
                  <c:v>0.1</c:v>
                </c:pt>
                <c:pt idx="108">
                  <c:v>0.125</c:v>
                </c:pt>
                <c:pt idx="109">
                  <c:v>0.3333333333333333</c:v>
                </c:pt>
                <c:pt idx="110">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11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5:$A$160</c:f>
              <c:numCache>
                <c:formatCode>General</c:formatCode>
                <c:ptCount val="46"/>
                <c:pt idx="0">
                  <c:v>0.265865906169417</c:v>
                </c:pt>
                <c:pt idx="1">
                  <c:v>0.3424192626464704</c:v>
                </c:pt>
                <c:pt idx="2">
                  <c:v>0.24072846605715295</c:v>
                </c:pt>
                <c:pt idx="3">
                  <c:v>0.24315854204787457</c:v>
                </c:pt>
                <c:pt idx="4">
                  <c:v>0.2858004147976655</c:v>
                </c:pt>
                <c:pt idx="5">
                  <c:v>0.3725969571717527</c:v>
                </c:pt>
                <c:pt idx="6">
                  <c:v>0.27486051858047555</c:v>
                </c:pt>
                <c:pt idx="7">
                  <c:v>0.28186390813324474</c:v>
                </c:pt>
                <c:pt idx="8">
                  <c:v>0.37890582352331637</c:v>
                </c:pt>
                <c:pt idx="9">
                  <c:v>0.37531591985877616</c:v>
                </c:pt>
                <c:pt idx="10">
                  <c:v>0.3975212457902766</c:v>
                </c:pt>
                <c:pt idx="11">
                  <c:v>0.35704814126850826</c:v>
                </c:pt>
                <c:pt idx="12">
                  <c:v>0.29733909686875837</c:v>
                </c:pt>
                <c:pt idx="13">
                  <c:v>0.38599279468704323</c:v>
                </c:pt>
                <c:pt idx="14">
                  <c:v>0.35195123562370983</c:v>
                </c:pt>
                <c:pt idx="15">
                  <c:v>0.4291657966776523</c:v>
                </c:pt>
                <c:pt idx="16">
                  <c:v>0.4219744483159117</c:v>
                </c:pt>
                <c:pt idx="17">
                  <c:v>0.3187122736418511</c:v>
                </c:pt>
                <c:pt idx="18">
                  <c:v>0.4501675863529242</c:v>
                </c:pt>
                <c:pt idx="19">
                  <c:v>0.3172320094461142</c:v>
                </c:pt>
                <c:pt idx="20">
                  <c:v>0.24129069103369502</c:v>
                </c:pt>
                <c:pt idx="21">
                  <c:v>0.33165111407350983</c:v>
                </c:pt>
                <c:pt idx="22">
                  <c:v>0.42738990332975296</c:v>
                </c:pt>
                <c:pt idx="23">
                  <c:v>0.26798427372223993</c:v>
                </c:pt>
                <c:pt idx="24">
                  <c:v>0.639729964859228</c:v>
                </c:pt>
                <c:pt idx="25">
                  <c:v>0.0918706557872469</c:v>
                </c:pt>
                <c:pt idx="26">
                  <c:v>0.4686988543371522</c:v>
                </c:pt>
                <c:pt idx="27">
                  <c:v>0.38432059485128717</c:v>
                </c:pt>
                <c:pt idx="28">
                  <c:v>0.1440725715573586</c:v>
                </c:pt>
                <c:pt idx="29">
                  <c:v>0.6416237503786731</c:v>
                </c:pt>
                <c:pt idx="30">
                  <c:v>0.309407796101949</c:v>
                </c:pt>
                <c:pt idx="31">
                  <c:v>0.31413492427719136</c:v>
                </c:pt>
                <c:pt idx="32">
                  <c:v>0.30722587165234966</c:v>
                </c:pt>
                <c:pt idx="33">
                  <c:v>0.1839687328579265</c:v>
                </c:pt>
                <c:pt idx="34">
                  <c:v>0.20928371348539415</c:v>
                </c:pt>
                <c:pt idx="35">
                  <c:v>0.249087432643838</c:v>
                </c:pt>
                <c:pt idx="36">
                  <c:v>0.4302798982188295</c:v>
                </c:pt>
                <c:pt idx="37">
                  <c:v>0.3372229656042397</c:v>
                </c:pt>
                <c:pt idx="38">
                  <c:v>0.24832745408101203</c:v>
                </c:pt>
                <c:pt idx="39">
                  <c:v>0.2589158973035737</c:v>
                </c:pt>
                <c:pt idx="40">
                  <c:v>0.29764145652992097</c:v>
                </c:pt>
                <c:pt idx="41">
                  <c:v>0.2435244161358811</c:v>
                </c:pt>
                <c:pt idx="42">
                  <c:v>0.2787107541462397</c:v>
                </c:pt>
                <c:pt idx="43">
                  <c:v>0.2805495490744159</c:v>
                </c:pt>
                <c:pt idx="44">
                  <c:v>0.2690698300471361</c:v>
                </c:pt>
                <c:pt idx="45">
                  <c:v>0.29558956462760266</c:v>
                </c:pt>
              </c:numCache>
            </c:numRef>
          </c:xVal>
          <c:yVal>
            <c:numRef>
              <c:f>Sheet1!$B$115:$B$160</c:f>
              <c:numCache>
                <c:formatCode>General</c:formatCode>
                <c:ptCount val="46"/>
                <c:pt idx="0">
                  <c:v>0.25806451612903225</c:v>
                </c:pt>
                <c:pt idx="1">
                  <c:v>0.22857142857142856</c:v>
                </c:pt>
                <c:pt idx="2">
                  <c:v>0.32432432432432434</c:v>
                </c:pt>
                <c:pt idx="3">
                  <c:v>0.3181818181818182</c:v>
                </c:pt>
                <c:pt idx="4">
                  <c:v>0.2222222222222222</c:v>
                </c:pt>
                <c:pt idx="5">
                  <c:v>0.2777777777777778</c:v>
                </c:pt>
                <c:pt idx="6">
                  <c:v>0.28888888888888886</c:v>
                </c:pt>
                <c:pt idx="7">
                  <c:v>0.23809523809523808</c:v>
                </c:pt>
                <c:pt idx="8">
                  <c:v>0.2</c:v>
                </c:pt>
                <c:pt idx="9">
                  <c:v>0.23684210526315788</c:v>
                </c:pt>
                <c:pt idx="10">
                  <c:v>0.23333333333333334</c:v>
                </c:pt>
                <c:pt idx="11">
                  <c:v>0.25</c:v>
                </c:pt>
                <c:pt idx="12">
                  <c:v>0.28</c:v>
                </c:pt>
                <c:pt idx="13">
                  <c:v>0.25</c:v>
                </c:pt>
                <c:pt idx="14">
                  <c:v>0.20689655172413793</c:v>
                </c:pt>
                <c:pt idx="15">
                  <c:v>0.25</c:v>
                </c:pt>
                <c:pt idx="16">
                  <c:v>0.22727272727272727</c:v>
                </c:pt>
                <c:pt idx="17">
                  <c:v>0.2631578947368421</c:v>
                </c:pt>
                <c:pt idx="18">
                  <c:v>0.3333333333333333</c:v>
                </c:pt>
                <c:pt idx="19">
                  <c:v>0.21428571428571427</c:v>
                </c:pt>
                <c:pt idx="20">
                  <c:v>0.15384615384615385</c:v>
                </c:pt>
                <c:pt idx="21">
                  <c:v>0.13333333333333333</c:v>
                </c:pt>
                <c:pt idx="22">
                  <c:v>0.16666666666666666</c:v>
                </c:pt>
                <c:pt idx="23">
                  <c:v>0.25</c:v>
                </c:pt>
                <c:pt idx="24">
                  <c:v>0.09090909090909091</c:v>
                </c:pt>
                <c:pt idx="25">
                  <c:v>0.25</c:v>
                </c:pt>
                <c:pt idx="26">
                  <c:v>0.16666666666666666</c:v>
                </c:pt>
                <c:pt idx="27">
                  <c:v>0.3333333333333333</c:v>
                </c:pt>
                <c:pt idx="28">
                  <c:v>0.3333333333333333</c:v>
                </c:pt>
                <c:pt idx="29">
                  <c:v>0.14285714285714285</c:v>
                </c:pt>
                <c:pt idx="30">
                  <c:v>0.2</c:v>
                </c:pt>
                <c:pt idx="31">
                  <c:v>0.14285714285714285</c:v>
                </c:pt>
                <c:pt idx="32">
                  <c:v>0.2222222222222222</c:v>
                </c:pt>
                <c:pt idx="33">
                  <c:v>0.3333333333333333</c:v>
                </c:pt>
                <c:pt idx="34">
                  <c:v>0.18181818181818182</c:v>
                </c:pt>
                <c:pt idx="35">
                  <c:v>0.18181818181818182</c:v>
                </c:pt>
                <c:pt idx="36">
                  <c:v>0.07692307692307693</c:v>
                </c:pt>
                <c:pt idx="37">
                  <c:v>0.14285714285714285</c:v>
                </c:pt>
                <c:pt idx="38">
                  <c:v>0.0975609756097561</c:v>
                </c:pt>
                <c:pt idx="39">
                  <c:v>0.21875</c:v>
                </c:pt>
                <c:pt idx="40">
                  <c:v>0.16666666666666666</c:v>
                </c:pt>
                <c:pt idx="41">
                  <c:v>0.2631578947368421</c:v>
                </c:pt>
                <c:pt idx="42">
                  <c:v>0.16666666666666666</c:v>
                </c:pt>
                <c:pt idx="43">
                  <c:v>0.22857142857142856</c:v>
                </c:pt>
                <c:pt idx="44">
                  <c:v>0.3055555555555556</c:v>
                </c:pt>
                <c:pt idx="45">
                  <c:v>0.32258064516129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4035626167827883</c:v>
                </c:pt>
              </c:numCache>
            </c:numRef>
          </c:xVal>
          <c:yVal>
            <c:numRef>
              <c:f>Sheet1!$B$163:$B$164</c:f>
              <c:numCache>
                <c:formatCode>General</c:formatCode>
                <c:ptCount val="2"/>
                <c:pt idx="0">
                  <c:v>0.2704889417405715</c:v>
                </c:pt>
                <c:pt idx="1">
                  <c:v>0.270488941740571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4035626167827883</c:v>
                </c:pt>
                <c:pt idx="1">
                  <c:v>0.14035626167827883</c:v>
                </c:pt>
              </c:numCache>
            </c:numRef>
          </c:xVal>
          <c:yVal>
            <c:numRef>
              <c:f>Sheet1!$B$167:$B$168</c:f>
              <c:numCache>
                <c:formatCode>General</c:formatCode>
                <c:ptCount val="2"/>
                <c:pt idx="0">
                  <c:v>0.2704889417405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7601905373839408</c:v>
                </c:pt>
              </c:numCache>
            </c:numRef>
          </c:xVal>
          <c:yVal>
            <c:numRef>
              <c:f>Sheet1!$B$171:$B$172</c:f>
              <c:numCache>
                <c:formatCode>General</c:formatCode>
                <c:ptCount val="2"/>
                <c:pt idx="0">
                  <c:v>0.2617918015767478</c:v>
                </c:pt>
                <c:pt idx="1">
                  <c:v>0.26179180157674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7601905373839408</c:v>
                </c:pt>
                <c:pt idx="1">
                  <c:v>0.17601905373839408</c:v>
                </c:pt>
              </c:numCache>
            </c:numRef>
          </c:xVal>
          <c:yVal>
            <c:numRef>
              <c:f>Sheet1!$B$175:$B$176</c:f>
              <c:numCache>
                <c:formatCode>General</c:formatCode>
                <c:ptCount val="2"/>
                <c:pt idx="0">
                  <c:v>0.26179180157674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21890910631123</c:v>
                </c:pt>
              </c:numCache>
            </c:numRef>
          </c:xVal>
          <c:yVal>
            <c:numRef>
              <c:f>Sheet1!$B$179:$B$180</c:f>
              <c:numCache>
                <c:formatCode>General</c:formatCode>
                <c:ptCount val="2"/>
                <c:pt idx="0">
                  <c:v>0.2066353653629325</c:v>
                </c:pt>
                <c:pt idx="1">
                  <c:v>0.20663536536293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21890910631123</c:v>
                </c:pt>
                <c:pt idx="1">
                  <c:v>0.4021890910631123</c:v>
                </c:pt>
              </c:numCache>
            </c:numRef>
          </c:xVal>
          <c:yVal>
            <c:numRef>
              <c:f>Sheet1!$B$183:$B$184</c:f>
              <c:numCache>
                <c:formatCode>General</c:formatCode>
                <c:ptCount val="2"/>
                <c:pt idx="0">
                  <c:v>0.20663536536293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35</c:f>
              <c:numCache>
                <c:formatCode>General</c:formatCode>
                <c:ptCount val="49"/>
                <c:pt idx="0">
                  <c:v>0.265865906169417</c:v>
                </c:pt>
                <c:pt idx="1">
                  <c:v>0.3424192626464704</c:v>
                </c:pt>
                <c:pt idx="2">
                  <c:v>0.24072846605715295</c:v>
                </c:pt>
                <c:pt idx="3">
                  <c:v>0.24315854204787457</c:v>
                </c:pt>
                <c:pt idx="4">
                  <c:v>0.2858004147976655</c:v>
                </c:pt>
                <c:pt idx="5">
                  <c:v>0.3725969571717527</c:v>
                </c:pt>
                <c:pt idx="6">
                  <c:v>0.27486051858047555</c:v>
                </c:pt>
                <c:pt idx="7">
                  <c:v>0.28186390813324474</c:v>
                </c:pt>
                <c:pt idx="8">
                  <c:v>0.37890582352331637</c:v>
                </c:pt>
                <c:pt idx="9">
                  <c:v>0.37531591985877616</c:v>
                </c:pt>
                <c:pt idx="10">
                  <c:v>0.3975212457902766</c:v>
                </c:pt>
                <c:pt idx="11">
                  <c:v>0.35704814126850826</c:v>
                </c:pt>
                <c:pt idx="12">
                  <c:v>0.29733909686875837</c:v>
                </c:pt>
                <c:pt idx="13">
                  <c:v>0.38599279468704323</c:v>
                </c:pt>
                <c:pt idx="14">
                  <c:v>0.35195123562370983</c:v>
                </c:pt>
                <c:pt idx="15">
                  <c:v>0.4291657966776523</c:v>
                </c:pt>
                <c:pt idx="16">
                  <c:v>0.4219744483159117</c:v>
                </c:pt>
                <c:pt idx="17">
                  <c:v>0.3187122736418511</c:v>
                </c:pt>
                <c:pt idx="18">
                  <c:v>0.4501675863529242</c:v>
                </c:pt>
                <c:pt idx="19">
                  <c:v>0.3172320094461142</c:v>
                </c:pt>
                <c:pt idx="20">
                  <c:v>0.24129069103369502</c:v>
                </c:pt>
                <c:pt idx="21">
                  <c:v>0.33165111407350983</c:v>
                </c:pt>
                <c:pt idx="22">
                  <c:v>0.42738990332975296</c:v>
                </c:pt>
                <c:pt idx="23">
                  <c:v>0.26798427372223993</c:v>
                </c:pt>
                <c:pt idx="24">
                  <c:v>0.639729964859228</c:v>
                </c:pt>
                <c:pt idx="25">
                  <c:v>0.0918706557872469</c:v>
                </c:pt>
                <c:pt idx="26">
                  <c:v>0.4686988543371522</c:v>
                </c:pt>
                <c:pt idx="27">
                  <c:v>0.38432059485128717</c:v>
                </c:pt>
                <c:pt idx="28">
                  <c:v>0.1440725715573586</c:v>
                </c:pt>
                <c:pt idx="29">
                  <c:v>0.6416237503786731</c:v>
                </c:pt>
                <c:pt idx="30">
                  <c:v>0.309407796101949</c:v>
                </c:pt>
                <c:pt idx="31">
                  <c:v>0.31413492427719136</c:v>
                </c:pt>
                <c:pt idx="32">
                  <c:v>0.30722587165234966</c:v>
                </c:pt>
                <c:pt idx="33">
                  <c:v>0.1839687328579265</c:v>
                </c:pt>
                <c:pt idx="34">
                  <c:v>0.20928371348539415</c:v>
                </c:pt>
                <c:pt idx="35">
                  <c:v>0.249087432643838</c:v>
                </c:pt>
                <c:pt idx="36">
                  <c:v>0.4302798982188295</c:v>
                </c:pt>
                <c:pt idx="37">
                  <c:v>0.3372229656042397</c:v>
                </c:pt>
                <c:pt idx="38">
                  <c:v>0.24832745408101203</c:v>
                </c:pt>
                <c:pt idx="39">
                  <c:v>0.2589158973035737</c:v>
                </c:pt>
                <c:pt idx="40">
                  <c:v>0.29764145652992097</c:v>
                </c:pt>
                <c:pt idx="41">
                  <c:v>0.2435244161358811</c:v>
                </c:pt>
                <c:pt idx="42">
                  <c:v>0.2787107541462397</c:v>
                </c:pt>
                <c:pt idx="43">
                  <c:v>0.2805495490744159</c:v>
                </c:pt>
                <c:pt idx="44">
                  <c:v>0.2690698300471361</c:v>
                </c:pt>
                <c:pt idx="45">
                  <c:v>0.29558956462760266</c:v>
                </c:pt>
                <c:pt idx="46">
                  <c:v>0.17601905373839408</c:v>
                </c:pt>
                <c:pt idx="47">
                  <c:v>0.14035626167827883</c:v>
                </c:pt>
                <c:pt idx="48">
                  <c:v>0.4021890910631123</c:v>
                </c:pt>
              </c:numCache>
            </c:numRef>
          </c:xVal>
          <c:yVal>
            <c:numRef>
              <c:f>Sheet1!$B$187:$B$235</c:f>
              <c:numCache>
                <c:formatCode>General</c:formatCode>
                <c:ptCount val="49"/>
                <c:pt idx="0">
                  <c:v>0.2398807109489081</c:v>
                </c:pt>
                <c:pt idx="1">
                  <c:v>0.22121152570480862</c:v>
                </c:pt>
                <c:pt idx="2">
                  <c:v>0.2460110172818379</c:v>
                </c:pt>
                <c:pt idx="3">
                  <c:v>0.24541839089789066</c:v>
                </c:pt>
                <c:pt idx="4">
                  <c:v>0.23501925155042405</c:v>
                </c:pt>
                <c:pt idx="5">
                  <c:v>0.21385204474591404</c:v>
                </c:pt>
                <c:pt idx="6">
                  <c:v>0.23768718093234686</c:v>
                </c:pt>
                <c:pt idx="7">
                  <c:v>0.2359792535087279</c:v>
                </c:pt>
                <c:pt idx="8">
                  <c:v>0.2123134917677319</c:v>
                </c:pt>
                <c:pt idx="9">
                  <c:v>0.21318896711729235</c:v>
                </c:pt>
                <c:pt idx="10">
                  <c:v>0.20777371999687316</c:v>
                </c:pt>
                <c:pt idx="11">
                  <c:v>0.2176439584879468</c:v>
                </c:pt>
                <c:pt idx="12">
                  <c:v>0.2322052953377716</c:v>
                </c:pt>
                <c:pt idx="13">
                  <c:v>0.2105851811675969</c:v>
                </c:pt>
                <c:pt idx="14">
                  <c:v>0.2188869487372765</c:v>
                </c:pt>
                <c:pt idx="15">
                  <c:v>0.20005651451209688</c:v>
                </c:pt>
                <c:pt idx="16">
                  <c:v>0.20181027974067217</c:v>
                </c:pt>
                <c:pt idx="17">
                  <c:v>0.22699298571746962</c:v>
                </c:pt>
                <c:pt idx="18">
                  <c:v>0.1949347756367702</c:v>
                </c:pt>
                <c:pt idx="19">
                  <c:v>0.22735398003244395</c:v>
                </c:pt>
                <c:pt idx="20">
                  <c:v>0.24587390660872105</c:v>
                </c:pt>
                <c:pt idx="21">
                  <c:v>0.22383757072355112</c:v>
                </c:pt>
                <c:pt idx="22">
                  <c:v>0.2004896043648669</c:v>
                </c:pt>
                <c:pt idx="23">
                  <c:v>0.2393641013829958</c:v>
                </c:pt>
                <c:pt idx="24">
                  <c:v>0.14870590570201972</c:v>
                </c:pt>
                <c:pt idx="25">
                  <c:v>0.28231320131204307</c:v>
                </c:pt>
                <c:pt idx="26">
                  <c:v>0.19041552670077738</c:v>
                </c:pt>
                <c:pt idx="27">
                  <c:v>0.21099298312345546</c:v>
                </c:pt>
                <c:pt idx="28">
                  <c:v>0.26958263951229733</c:v>
                </c:pt>
                <c:pt idx="29">
                  <c:v>0.14824406530334677</c:v>
                </c:pt>
                <c:pt idx="30">
                  <c:v>0.22926208302144035</c:v>
                </c:pt>
                <c:pt idx="31">
                  <c:v>0.22810927097455574</c:v>
                </c:pt>
                <c:pt idx="32">
                  <c:v>0.22979419230590278</c:v>
                </c:pt>
                <c:pt idx="33">
                  <c:v>0.25985310105539067</c:v>
                </c:pt>
                <c:pt idx="34">
                  <c:v>0.25367949764289177</c:v>
                </c:pt>
                <c:pt idx="35">
                  <c:v>0.24397250319391756</c:v>
                </c:pt>
                <c:pt idx="36">
                  <c:v>0.19978481684905308</c:v>
                </c:pt>
                <c:pt idx="37">
                  <c:v>0.22247875468769257</c:v>
                </c:pt>
                <c:pt idx="38">
                  <c:v>0.2441578403394573</c:v>
                </c:pt>
                <c:pt idx="39">
                  <c:v>0.24157562034198551</c:v>
                </c:pt>
                <c:pt idx="40">
                  <c:v>0.232131558420354</c:v>
                </c:pt>
                <c:pt idx="41">
                  <c:v>0.245329164619131</c:v>
                </c:pt>
                <c:pt idx="42">
                  <c:v>0.23674821804007684</c:v>
                </c:pt>
                <c:pt idx="43">
                  <c:v>0.2362997882818033</c:v>
                </c:pt>
                <c:pt idx="44">
                  <c:v>0.2390993650859209</c:v>
                </c:pt>
                <c:pt idx="45">
                  <c:v>0.2326319564667379</c:v>
                </c:pt>
                <c:pt idx="46">
                  <c:v>0.2617918015767478</c:v>
                </c:pt>
                <c:pt idx="47">
                  <c:v>0.2704889417405715</c:v>
                </c:pt>
                <c:pt idx="48">
                  <c:v>0.20663536536293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61538461538461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45348986878373</c:v>
                </c:pt>
                <c:pt idx="1">
                  <c:v>0.7173627425982121</c:v>
                </c:pt>
                <c:pt idx="2">
                  <c:v>0.6697448426443169</c:v>
                </c:pt>
                <c:pt idx="3">
                  <c:v>0.6827892854391654</c:v>
                </c:pt>
                <c:pt idx="4">
                  <c:v>0.6597655016451557</c:v>
                </c:pt>
                <c:pt idx="5">
                  <c:v>0.6263826836810553</c:v>
                </c:pt>
                <c:pt idx="6">
                  <c:v>0.6107129241915827</c:v>
                </c:pt>
                <c:pt idx="7">
                  <c:v>0.6365998370161408</c:v>
                </c:pt>
                <c:pt idx="8">
                  <c:v>0.6764333058343635</c:v>
                </c:pt>
                <c:pt idx="9">
                  <c:v>0.6648917672512307</c:v>
                </c:pt>
                <c:pt idx="10">
                  <c:v>0.6902497512223422</c:v>
                </c:pt>
                <c:pt idx="11">
                  <c:v>0.7322271173817576</c:v>
                </c:pt>
                <c:pt idx="12">
                  <c:v>0.7662436882270369</c:v>
                </c:pt>
                <c:pt idx="13">
                  <c:v>0.7396492146538483</c:v>
                </c:pt>
                <c:pt idx="14">
                  <c:v>0.7783195448675301</c:v>
                </c:pt>
                <c:pt idx="15">
                  <c:v>0.8058820537369777</c:v>
                </c:pt>
                <c:pt idx="16">
                  <c:v>0.7939555321604025</c:v>
                </c:pt>
                <c:pt idx="17">
                  <c:v>0.7593890365467802</c:v>
                </c:pt>
                <c:pt idx="18">
                  <c:v>0.7629852801224422</c:v>
                </c:pt>
                <c:pt idx="19">
                  <c:v>0.8031156326971928</c:v>
                </c:pt>
                <c:pt idx="20">
                  <c:v>0.8688467080144194</c:v>
                </c:pt>
                <c:pt idx="21">
                  <c:v>0.8544452128445249</c:v>
                </c:pt>
                <c:pt idx="22">
                  <c:v>0.842155318170253</c:v>
                </c:pt>
                <c:pt idx="23">
                  <c:v>0.771208763693173</c:v>
                </c:pt>
                <c:pt idx="24">
                  <c:v>0.6928844824711198</c:v>
                </c:pt>
                <c:pt idx="25">
                  <c:v>0.6916735704359924</c:v>
                </c:pt>
                <c:pt idx="26">
                  <c:v>0.6911249301114486</c:v>
                </c:pt>
                <c:pt idx="27">
                  <c:v>0.7300287769397565</c:v>
                </c:pt>
                <c:pt idx="28">
                  <c:v>0.7654834743267959</c:v>
                </c:pt>
                <c:pt idx="29">
                  <c:v>0.695666836230114</c:v>
                </c:pt>
                <c:pt idx="30">
                  <c:v>0.7256870198706598</c:v>
                </c:pt>
                <c:pt idx="31">
                  <c:v>0.7048829832638582</c:v>
                </c:pt>
                <c:pt idx="32">
                  <c:v>0.7058351418155513</c:v>
                </c:pt>
                <c:pt idx="33">
                  <c:v>0.71738520545857</c:v>
                </c:pt>
                <c:pt idx="34">
                  <c:v>0.764837175138829</c:v>
                </c:pt>
                <c:pt idx="35">
                  <c:v>0.8129665266287376</c:v>
                </c:pt>
                <c:pt idx="36">
                  <c:v>0.8905371724969917</c:v>
                </c:pt>
                <c:pt idx="37">
                  <c:v>0.8608677092940735</c:v>
                </c:pt>
                <c:pt idx="38">
                  <c:v>0.876505971321476</c:v>
                </c:pt>
                <c:pt idx="39">
                  <c:v>0.9420622681467666</c:v>
                </c:pt>
                <c:pt idx="40">
                  <c:v>0.9227927349900056</c:v>
                </c:pt>
                <c:pt idx="41">
                  <c:v>0.9386359890224105</c:v>
                </c:pt>
                <c:pt idx="42">
                  <c:v>0.930614531778437</c:v>
                </c:pt>
                <c:pt idx="43">
                  <c:v>0.9330606696545038</c:v>
                </c:pt>
                <c:pt idx="44">
                  <c:v>0.823926872928317</c:v>
                </c:pt>
                <c:pt idx="45">
                  <c:v>0.8118530317784464</c:v>
                </c:pt>
                <c:pt idx="46">
                  <c:v>0.8110863380237088</c:v>
                </c:pt>
                <c:pt idx="47">
                  <c:v>0.7888298349443155</c:v>
                </c:pt>
                <c:pt idx="48">
                  <c:v>0.7879111612957576</c:v>
                </c:pt>
                <c:pt idx="49">
                  <c:v>0.7874625013680222</c:v>
                </c:pt>
                <c:pt idx="50">
                  <c:v>0.7687009205226876</c:v>
                </c:pt>
                <c:pt idx="51">
                  <c:v>0.800879391843378</c:v>
                </c:pt>
                <c:pt idx="52">
                  <c:v>0.7829253303491374</c:v>
                </c:pt>
                <c:pt idx="53">
                  <c:v>0.7041863630675839</c:v>
                </c:pt>
                <c:pt idx="54">
                  <c:v>0.6841034154647638</c:v>
                </c:pt>
                <c:pt idx="55">
                  <c:v>0.6487596345165266</c:v>
                </c:pt>
                <c:pt idx="56">
                  <c:v>0.6707820986654256</c:v>
                </c:pt>
                <c:pt idx="57">
                  <c:v>0.6577236425870251</c:v>
                </c:pt>
                <c:pt idx="58">
                  <c:v>0.6419570088024361</c:v>
                </c:pt>
                <c:pt idx="59">
                  <c:v>0.6536758260461961</c:v>
                </c:pt>
                <c:pt idx="60">
                  <c:v>0.6583675532324073</c:v>
                </c:pt>
                <c:pt idx="61">
                  <c:v>0.6860716002329129</c:v>
                </c:pt>
                <c:pt idx="62">
                  <c:v>0.7423757555424761</c:v>
                </c:pt>
                <c:pt idx="63">
                  <c:v>0.79212486590644</c:v>
                </c:pt>
                <c:pt idx="64">
                  <c:v>0.8092367137782239</c:v>
                </c:pt>
                <c:pt idx="65">
                  <c:v>0.7668219881931888</c:v>
                </c:pt>
                <c:pt idx="66">
                  <c:v>0.6860429213341978</c:v>
                </c:pt>
                <c:pt idx="67">
                  <c:v>0.7033027075734639</c:v>
                </c:pt>
                <c:pt idx="68">
                  <c:v>0.7419232725270088</c:v>
                </c:pt>
                <c:pt idx="69">
                  <c:v>0.6998080646365186</c:v>
                </c:pt>
                <c:pt idx="70">
                  <c:v>0.6266529671313472</c:v>
                </c:pt>
                <c:pt idx="71">
                  <c:v>0.6660585136093351</c:v>
                </c:pt>
                <c:pt idx="72">
                  <c:v>0.7271615684813437</c:v>
                </c:pt>
                <c:pt idx="73">
                  <c:v>0.6779539054988815</c:v>
                </c:pt>
                <c:pt idx="74">
                  <c:v>0.682081870815011</c:v>
                </c:pt>
                <c:pt idx="75">
                  <c:v>0.6725142629687763</c:v>
                </c:pt>
                <c:pt idx="76">
                  <c:v>0.6682682698444244</c:v>
                </c:pt>
                <c:pt idx="77">
                  <c:v>0.7063888878864537</c:v>
                </c:pt>
                <c:pt idx="78">
                  <c:v>0.6833349830400042</c:v>
                </c:pt>
                <c:pt idx="79">
                  <c:v>0.3969673290213862</c:v>
                </c:pt>
                <c:pt idx="80">
                  <c:v>0.49126373659748873</c:v>
                </c:pt>
                <c:pt idx="81">
                  <c:v>0.600707191268016</c:v>
                </c:pt>
                <c:pt idx="82">
                  <c:v>0.6213445917260523</c:v>
                </c:pt>
                <c:pt idx="83">
                  <c:v>0.5419311492462965</c:v>
                </c:pt>
                <c:pt idx="84">
                  <c:v>0.6472684571415362</c:v>
                </c:pt>
                <c:pt idx="85">
                  <c:v>0.5364809228924468</c:v>
                </c:pt>
                <c:pt idx="86">
                  <c:v>0.724769462749052</c:v>
                </c:pt>
                <c:pt idx="87">
                  <c:v>0.7615683578214157</c:v>
                </c:pt>
                <c:pt idx="88">
                  <c:v>0.7677732862754784</c:v>
                </c:pt>
                <c:pt idx="89">
                  <c:v>0.7290367369535702</c:v>
                </c:pt>
                <c:pt idx="90">
                  <c:v>0.7156293327751446</c:v>
                </c:pt>
                <c:pt idx="91">
                  <c:v>0.8004177004659081</c:v>
                </c:pt>
                <c:pt idx="92">
                  <c:v>0.8000083894440965</c:v>
                </c:pt>
                <c:pt idx="93">
                  <c:v>0.817212702285377</c:v>
                </c:pt>
                <c:pt idx="94">
                  <c:v>0.8940939569874887</c:v>
                </c:pt>
                <c:pt idx="95">
                  <c:v>0.8902546058810205</c:v>
                </c:pt>
                <c:pt idx="96">
                  <c:v>0.8117334388286341</c:v>
                </c:pt>
                <c:pt idx="97">
                  <c:v>0.9149997098436312</c:v>
                </c:pt>
                <c:pt idx="98">
                  <c:v>0.9607909720515354</c:v>
                </c:pt>
                <c:pt idx="99">
                  <c:v>0.9103123884043879</c:v>
                </c:pt>
                <c:pt idx="100">
                  <c:v>0.8911535552446803</c:v>
                </c:pt>
                <c:pt idx="101">
                  <c:v>0.8251318612141622</c:v>
                </c:pt>
                <c:pt idx="102">
                  <c:v>0.8356877313461424</c:v>
                </c:pt>
                <c:pt idx="103">
                  <c:v>0.7086858498712052</c:v>
                </c:pt>
                <c:pt idx="104">
                  <c:v>0.7347796957962598</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00964648955991</c:v>
                </c:pt>
                <c:pt idx="1">
                  <c:v>0.7552954824779156</c:v>
                </c:pt>
                <c:pt idx="2">
                  <c:v>0.7126755158830053</c:v>
                </c:pt>
                <c:pt idx="3">
                  <c:v>0.6897677493317762</c:v>
                </c:pt>
                <c:pt idx="4">
                  <c:v>0.7314998851502215</c:v>
                </c:pt>
                <c:pt idx="5">
                  <c:v>0.7218542806265251</c:v>
                </c:pt>
                <c:pt idx="6">
                  <c:v>0.7112227294784064</c:v>
                </c:pt>
                <c:pt idx="7">
                  <c:v>0.7086529467929832</c:v>
                </c:pt>
                <c:pt idx="8">
                  <c:v>0.7883068749318067</c:v>
                </c:pt>
                <c:pt idx="9">
                  <c:v>0.7486164515945654</c:v>
                </c:pt>
                <c:pt idx="10">
                  <c:v>0.7788184687585057</c:v>
                </c:pt>
                <c:pt idx="11">
                  <c:v>0.7570272021388667</c:v>
                </c:pt>
                <c:pt idx="12">
                  <c:v>0.7791112400175518</c:v>
                </c:pt>
                <c:pt idx="13">
                  <c:v>0.7279906599433903</c:v>
                </c:pt>
                <c:pt idx="14">
                  <c:v>0.7344106621594214</c:v>
                </c:pt>
                <c:pt idx="15">
                  <c:v>0.7541826402028599</c:v>
                </c:pt>
                <c:pt idx="16">
                  <c:v>0.7918354570747789</c:v>
                </c:pt>
                <c:pt idx="17">
                  <c:v>0.773643167836247</c:v>
                </c:pt>
                <c:pt idx="18">
                  <c:v>0.8202882232257421</c:v>
                </c:pt>
                <c:pt idx="19">
                  <c:v>0.8374940592750155</c:v>
                </c:pt>
                <c:pt idx="20">
                  <c:v>0.7805732931028733</c:v>
                </c:pt>
                <c:pt idx="21">
                  <c:v>0.7504925516660116</c:v>
                </c:pt>
                <c:pt idx="22">
                  <c:v>0.7361049851917236</c:v>
                </c:pt>
                <c:pt idx="23">
                  <c:v>0.6812877790962577</c:v>
                </c:pt>
                <c:pt idx="24">
                  <c:v>0.6304047688053849</c:v>
                </c:pt>
                <c:pt idx="25">
                  <c:v>0.6151374241090188</c:v>
                </c:pt>
                <c:pt idx="26">
                  <c:v>0.6722577812843935</c:v>
                </c:pt>
                <c:pt idx="27">
                  <c:v>0.7029744570730796</c:v>
                </c:pt>
                <c:pt idx="28">
                  <c:v>0.6996991686239094</c:v>
                </c:pt>
                <c:pt idx="29">
                  <c:v>0.6646747432542172</c:v>
                </c:pt>
                <c:pt idx="30">
                  <c:v>0.6349164999284438</c:v>
                </c:pt>
                <c:pt idx="31">
                  <c:v>0.5400782741314913</c:v>
                </c:pt>
                <c:pt idx="32">
                  <c:v>0.616229078648546</c:v>
                </c:pt>
                <c:pt idx="33">
                  <c:v>0.7210707521308334</c:v>
                </c:pt>
                <c:pt idx="34">
                  <c:v>0.7656110685276877</c:v>
                </c:pt>
                <c:pt idx="35">
                  <c:v>0.6875993816354695</c:v>
                </c:pt>
                <c:pt idx="36">
                  <c:v>0.6715453988898036</c:v>
                </c:pt>
                <c:pt idx="37">
                  <c:v>0.7066361590238608</c:v>
                </c:pt>
                <c:pt idx="38">
                  <c:v>0.6737371918316771</c:v>
                </c:pt>
                <c:pt idx="39">
                  <c:v>0.6878122732569513</c:v>
                </c:pt>
                <c:pt idx="40">
                  <c:v>0.7462622822621783</c:v>
                </c:pt>
                <c:pt idx="41">
                  <c:v>0.7466174410496758</c:v>
                </c:pt>
                <c:pt idx="42">
                  <c:v>0.7023379781943129</c:v>
                </c:pt>
                <c:pt idx="43">
                  <c:v>0.8008408017463783</c:v>
                </c:pt>
                <c:pt idx="44">
                  <c:v>0.8156301258298497</c:v>
                </c:pt>
                <c:pt idx="45">
                  <c:v>0.7815646996129577</c:v>
                </c:pt>
                <c:pt idx="46">
                  <c:v>0.7432483483537938</c:v>
                </c:pt>
                <c:pt idx="47">
                  <c:v>0.7276922582770342</c:v>
                </c:pt>
                <c:pt idx="48">
                  <c:v>0.7185805716341908</c:v>
                </c:pt>
                <c:pt idx="49">
                  <c:v>0.7751540635680894</c:v>
                </c:pt>
                <c:pt idx="50">
                  <c:v>0.7782319706439909</c:v>
                </c:pt>
                <c:pt idx="51">
                  <c:v>0.7594765999678723</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08747558507286</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08747558507286</c:v>
                </c:pt>
                <c:pt idx="1">
                  <c:v>0.2908747558507286</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958851063901798</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958851063901798</c:v>
                </c:pt>
                <c:pt idx="1">
                  <c:v>0.6958851063901798</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302410400457167</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302410400457167</c:v>
                </c:pt>
                <c:pt idx="1">
                  <c:v>0.7302410400457167</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00964648955991</c:v>
                </c:pt>
                <c:pt idx="1">
                  <c:v>0.7552954824779156</c:v>
                </c:pt>
                <c:pt idx="2">
                  <c:v>0.7126755158830053</c:v>
                </c:pt>
                <c:pt idx="3">
                  <c:v>0.6897677493317762</c:v>
                </c:pt>
                <c:pt idx="4">
                  <c:v>0.7314998851502215</c:v>
                </c:pt>
                <c:pt idx="5">
                  <c:v>0.7218542806265251</c:v>
                </c:pt>
                <c:pt idx="6">
                  <c:v>0.7112227294784064</c:v>
                </c:pt>
                <c:pt idx="7">
                  <c:v>0.7086529467929832</c:v>
                </c:pt>
                <c:pt idx="8">
                  <c:v>0.7883068749318067</c:v>
                </c:pt>
                <c:pt idx="9">
                  <c:v>0.7486164515945654</c:v>
                </c:pt>
                <c:pt idx="10">
                  <c:v>0.7788184687585057</c:v>
                </c:pt>
                <c:pt idx="11">
                  <c:v>0.7570272021388667</c:v>
                </c:pt>
                <c:pt idx="12">
                  <c:v>0.7791112400175518</c:v>
                </c:pt>
                <c:pt idx="13">
                  <c:v>0.7279906599433903</c:v>
                </c:pt>
                <c:pt idx="14">
                  <c:v>0.7344106621594214</c:v>
                </c:pt>
                <c:pt idx="15">
                  <c:v>0.7541826402028599</c:v>
                </c:pt>
                <c:pt idx="16">
                  <c:v>0.7918354570747789</c:v>
                </c:pt>
                <c:pt idx="17">
                  <c:v>0.773643167836247</c:v>
                </c:pt>
                <c:pt idx="18">
                  <c:v>0.8202882232257421</c:v>
                </c:pt>
                <c:pt idx="19">
                  <c:v>0.8374940592750155</c:v>
                </c:pt>
                <c:pt idx="20">
                  <c:v>0.7805732931028733</c:v>
                </c:pt>
                <c:pt idx="21">
                  <c:v>0.7504925516660116</c:v>
                </c:pt>
                <c:pt idx="22">
                  <c:v>0.7361049851917236</c:v>
                </c:pt>
                <c:pt idx="23">
                  <c:v>0.6812877790962577</c:v>
                </c:pt>
                <c:pt idx="24">
                  <c:v>0.6304047688053849</c:v>
                </c:pt>
                <c:pt idx="25">
                  <c:v>0.6151374241090188</c:v>
                </c:pt>
                <c:pt idx="26">
                  <c:v>0.6722577812843935</c:v>
                </c:pt>
                <c:pt idx="27">
                  <c:v>0.7029744570730796</c:v>
                </c:pt>
                <c:pt idx="28">
                  <c:v>0.6996991686239094</c:v>
                </c:pt>
                <c:pt idx="29">
                  <c:v>0.6646747432542172</c:v>
                </c:pt>
                <c:pt idx="30">
                  <c:v>0.6349164999284438</c:v>
                </c:pt>
                <c:pt idx="31">
                  <c:v>0.5400782741314913</c:v>
                </c:pt>
                <c:pt idx="32">
                  <c:v>0.616229078648546</c:v>
                </c:pt>
                <c:pt idx="33">
                  <c:v>0.7210707521308334</c:v>
                </c:pt>
                <c:pt idx="34">
                  <c:v>0.7656110685276877</c:v>
                </c:pt>
                <c:pt idx="35">
                  <c:v>0.6875993816354695</c:v>
                </c:pt>
                <c:pt idx="36">
                  <c:v>0.6715453988898036</c:v>
                </c:pt>
                <c:pt idx="37">
                  <c:v>0.7066361590238608</c:v>
                </c:pt>
                <c:pt idx="38">
                  <c:v>0.6737371918316771</c:v>
                </c:pt>
                <c:pt idx="39">
                  <c:v>0.6878122732569513</c:v>
                </c:pt>
                <c:pt idx="40">
                  <c:v>0.7462622822621783</c:v>
                </c:pt>
                <c:pt idx="41">
                  <c:v>0.7466174410496758</c:v>
                </c:pt>
                <c:pt idx="42">
                  <c:v>0.7023379781943129</c:v>
                </c:pt>
                <c:pt idx="43">
                  <c:v>0.8008408017463783</c:v>
                </c:pt>
                <c:pt idx="44">
                  <c:v>0.8156301258298497</c:v>
                </c:pt>
                <c:pt idx="45">
                  <c:v>0.7815646996129577</c:v>
                </c:pt>
                <c:pt idx="46">
                  <c:v>0.7432483483537938</c:v>
                </c:pt>
                <c:pt idx="47">
                  <c:v>0.7276922582770342</c:v>
                </c:pt>
                <c:pt idx="48">
                  <c:v>0.7185805716341908</c:v>
                </c:pt>
                <c:pt idx="49">
                  <c:v>0.7751540635680894</c:v>
                </c:pt>
                <c:pt idx="50">
                  <c:v>0.7782319706439909</c:v>
                </c:pt>
                <c:pt idx="51">
                  <c:v>0.7594765999678723</c:v>
                </c:pt>
                <c:pt idx="52">
                  <c:v>0.6958851063901798</c:v>
                </c:pt>
                <c:pt idx="53">
                  <c:v>0.2908747558507286</c:v>
                </c:pt>
                <c:pt idx="54">
                  <c:v>0.7302410400457167</c:v>
                </c:pt>
              </c:numCache>
            </c:numRef>
          </c:xVal>
          <c:yVal>
            <c:numRef>
              <c:f>Sheet1!$B$187:$B$241</c:f>
              <c:numCache>
                <c:formatCode>General</c:formatCode>
                <c:ptCount val="55"/>
                <c:pt idx="0">
                  <c:v>0.15052682489426117</c:v>
                </c:pt>
                <c:pt idx="1">
                  <c:v>0.1487408055578569</c:v>
                </c:pt>
                <c:pt idx="2">
                  <c:v>0.15374902954622682</c:v>
                </c:pt>
                <c:pt idx="3">
                  <c:v>0.15644089524035773</c:v>
                </c:pt>
                <c:pt idx="4">
                  <c:v>0.15153699924066427</c:v>
                </c:pt>
                <c:pt idx="5">
                  <c:v>0.1526704433002773</c:v>
                </c:pt>
                <c:pt idx="6">
                  <c:v>0.1539197448307001</c:v>
                </c:pt>
                <c:pt idx="7">
                  <c:v>0.1542217170826345</c:v>
                </c:pt>
                <c:pt idx="8">
                  <c:v>0.14486167423078505</c:v>
                </c:pt>
                <c:pt idx="9">
                  <c:v>0.14952565090996595</c:v>
                </c:pt>
                <c:pt idx="10">
                  <c:v>0.14597664609034064</c:v>
                </c:pt>
                <c:pt idx="11">
                  <c:v>0.14853731314244656</c:v>
                </c:pt>
                <c:pt idx="12">
                  <c:v>0.1459422428713847</c:v>
                </c:pt>
                <c:pt idx="13">
                  <c:v>0.15194936431894998</c:v>
                </c:pt>
                <c:pt idx="14">
                  <c:v>0.15119495713207165</c:v>
                </c:pt>
                <c:pt idx="15">
                  <c:v>0.1488715743928065</c:v>
                </c:pt>
                <c:pt idx="16">
                  <c:v>0.14444703454086383</c:v>
                </c:pt>
                <c:pt idx="17">
                  <c:v>0.1465847898383694</c:v>
                </c:pt>
                <c:pt idx="18">
                  <c:v>0.14110358222596336</c:v>
                </c:pt>
                <c:pt idx="19">
                  <c:v>0.13908174392512757</c:v>
                </c:pt>
                <c:pt idx="20">
                  <c:v>0.14577043866975842</c:v>
                </c:pt>
                <c:pt idx="21">
                  <c:v>0.14930519251609378</c:v>
                </c:pt>
                <c:pt idx="22">
                  <c:v>0.15099585915212538</c:v>
                </c:pt>
                <c:pt idx="23">
                  <c:v>0.15743736693536978</c:v>
                </c:pt>
                <c:pt idx="24">
                  <c:v>0.16341657182685498</c:v>
                </c:pt>
                <c:pt idx="25">
                  <c:v>0.16521062020502014</c:v>
                </c:pt>
                <c:pt idx="26">
                  <c:v>0.15849847174772566</c:v>
                </c:pt>
                <c:pt idx="27">
                  <c:v>0.15488898997618783</c:v>
                </c:pt>
                <c:pt idx="28">
                  <c:v>0.15527386541111893</c:v>
                </c:pt>
                <c:pt idx="29">
                  <c:v>0.15938954595546534</c:v>
                </c:pt>
                <c:pt idx="30">
                  <c:v>0.16288640341414024</c:v>
                </c:pt>
                <c:pt idx="31">
                  <c:v>0.17403073588077952</c:v>
                </c:pt>
                <c:pt idx="32">
                  <c:v>0.16508234111686793</c:v>
                </c:pt>
                <c:pt idx="33">
                  <c:v>0.15276251484610912</c:v>
                </c:pt>
                <c:pt idx="34">
                  <c:v>0.14752863272816885</c:v>
                </c:pt>
                <c:pt idx="35">
                  <c:v>0.15669569767170327</c:v>
                </c:pt>
                <c:pt idx="36">
                  <c:v>0.15858218299582183</c:v>
                </c:pt>
                <c:pt idx="37">
                  <c:v>0.15445870752846874</c:v>
                </c:pt>
                <c:pt idx="38">
                  <c:v>0.1583246278904093</c:v>
                </c:pt>
                <c:pt idx="39">
                  <c:v>0.15667068101845807</c:v>
                </c:pt>
                <c:pt idx="40">
                  <c:v>0.14980228668106377</c:v>
                </c:pt>
                <c:pt idx="41">
                  <c:v>0.1497605523743213</c:v>
                </c:pt>
                <c:pt idx="42">
                  <c:v>0.15496378188813437</c:v>
                </c:pt>
                <c:pt idx="43">
                  <c:v>0.14338882669108977</c:v>
                </c:pt>
                <c:pt idx="44">
                  <c:v>0.14165094997357341</c:v>
                </c:pt>
                <c:pt idx="45">
                  <c:v>0.14565393961397022</c:v>
                </c:pt>
                <c:pt idx="46">
                  <c:v>0.15015645064000818</c:v>
                </c:pt>
                <c:pt idx="47">
                  <c:v>0.15198442916068997</c:v>
                </c:pt>
                <c:pt idx="48">
                  <c:v>0.15305513313502506</c:v>
                </c:pt>
                <c:pt idx="49">
                  <c:v>0.14640724619268664</c:v>
                </c:pt>
                <c:pt idx="50">
                  <c:v>0.14604556481930553</c:v>
                </c:pt>
                <c:pt idx="51">
                  <c:v>0.1482494871786</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31.7273</c:v>
                </c:pt>
                <c:pt idx="1">
                  <c:v>1025.0909</c:v>
                </c:pt>
                <c:pt idx="2">
                  <c:v>1184.7</c:v>
                </c:pt>
                <c:pt idx="3">
                  <c:v>1153.4</c:v>
                </c:pt>
                <c:pt idx="4">
                  <c:v>1187.3333</c:v>
                </c:pt>
                <c:pt idx="5">
                  <c:v>1181.5</c:v>
                </c:pt>
                <c:pt idx="6">
                  <c:v>1135.9</c:v>
                </c:pt>
                <c:pt idx="7">
                  <c:v>1131.5</c:v>
                </c:pt>
                <c:pt idx="8">
                  <c:v>1139.8333</c:v>
                </c:pt>
                <c:pt idx="9">
                  <c:v>1144.8889</c:v>
                </c:pt>
                <c:pt idx="10">
                  <c:v>1122.0</c:v>
                </c:pt>
                <c:pt idx="11">
                  <c:v>1176.2941</c:v>
                </c:pt>
                <c:pt idx="12">
                  <c:v>1170.375</c:v>
                </c:pt>
                <c:pt idx="13">
                  <c:v>1211.5455</c:v>
                </c:pt>
                <c:pt idx="14">
                  <c:v>1237.7273</c:v>
                </c:pt>
                <c:pt idx="15">
                  <c:v>1238.9</c:v>
                </c:pt>
                <c:pt idx="16">
                  <c:v>1257.2</c:v>
                </c:pt>
                <c:pt idx="17">
                  <c:v>1362.3333</c:v>
                </c:pt>
                <c:pt idx="18">
                  <c:v>1561.5</c:v>
                </c:pt>
                <c:pt idx="19">
                  <c:v>1233.0</c:v>
                </c:pt>
                <c:pt idx="20">
                  <c:v>1476.0</c:v>
                </c:pt>
                <c:pt idx="21">
                  <c:v>1491.5</c:v>
                </c:pt>
                <c:pt idx="22">
                  <c:v>1250.0</c:v>
                </c:pt>
                <c:pt idx="23">
                  <c:v>1716.0</c:v>
                </c:pt>
                <c:pt idx="24">
                  <c:v>1966.0</c:v>
                </c:pt>
                <c:pt idx="25">
                  <c:v>1325.5</c:v>
                </c:pt>
                <c:pt idx="26">
                  <c:v>1116.5</c:v>
                </c:pt>
                <c:pt idx="27">
                  <c:v>1733.0</c:v>
                </c:pt>
                <c:pt idx="28">
                  <c:v>1069.5</c:v>
                </c:pt>
                <c:pt idx="29">
                  <c:v>1054.0</c:v>
                </c:pt>
                <c:pt idx="30">
                  <c:v>2000.0</c:v>
                </c:pt>
                <c:pt idx="31">
                  <c:v>1966.0</c:v>
                </c:pt>
                <c:pt idx="32">
                  <c:v>1071.0</c:v>
                </c:pt>
                <c:pt idx="33">
                  <c:v>1164.0</c:v>
                </c:pt>
                <c:pt idx="34">
                  <c:v>1031.3333</c:v>
                </c:pt>
                <c:pt idx="35">
                  <c:v>1022.0</c:v>
                </c:pt>
                <c:pt idx="36">
                  <c:v>1179.0</c:v>
                </c:pt>
                <c:pt idx="37">
                  <c:v>1329.0</c:v>
                </c:pt>
                <c:pt idx="38">
                  <c:v>1353.0</c:v>
                </c:pt>
                <c:pt idx="39">
                  <c:v>966.0</c:v>
                </c:pt>
                <c:pt idx="40">
                  <c:v>750.0</c:v>
                </c:pt>
                <c:pt idx="41">
                  <c:v>1233.0</c:v>
                </c:pt>
                <c:pt idx="42">
                  <c:v>1588.0</c:v>
                </c:pt>
                <c:pt idx="43">
                  <c:v>1846.5</c:v>
                </c:pt>
                <c:pt idx="44">
                  <c:v>1494.6667</c:v>
                </c:pt>
                <c:pt idx="45">
                  <c:v>1401.1667</c:v>
                </c:pt>
                <c:pt idx="46">
                  <c:v>1591.0</c:v>
                </c:pt>
                <c:pt idx="47">
                  <c:v>1634.1667</c:v>
                </c:pt>
                <c:pt idx="48">
                  <c:v>1516.4444</c:v>
                </c:pt>
                <c:pt idx="49">
                  <c:v>1380.3684</c:v>
                </c:pt>
                <c:pt idx="50">
                  <c:v>1644.4286</c:v>
                </c:pt>
                <c:pt idx="51">
                  <c:v>1490.1667</c:v>
                </c:pt>
                <c:pt idx="52">
                  <c:v>1523.1111</c:v>
                </c:pt>
                <c:pt idx="53">
                  <c:v>1517.5</c:v>
                </c:pt>
                <c:pt idx="54">
                  <c:v>1631.3333</c:v>
                </c:pt>
                <c:pt idx="55">
                  <c:v>1639.5</c:v>
                </c:pt>
                <c:pt idx="56">
                  <c:v>1570.3333</c:v>
                </c:pt>
                <c:pt idx="57">
                  <c:v>1490.2222</c:v>
                </c:pt>
                <c:pt idx="58">
                  <c:v>1507.9091</c:v>
                </c:pt>
                <c:pt idx="59">
                  <c:v>1566.0769</c:v>
                </c:pt>
                <c:pt idx="60">
                  <c:v>1458.1071</c:v>
                </c:pt>
                <c:pt idx="61">
                  <c:v>1555.55</c:v>
                </c:pt>
                <c:pt idx="62">
                  <c:v>1551.8571</c:v>
                </c:pt>
                <c:pt idx="63">
                  <c:v>1649.381</c:v>
                </c:pt>
                <c:pt idx="64">
                  <c:v>1633.7778</c:v>
                </c:pt>
                <c:pt idx="65">
                  <c:v>1440.75</c:v>
                </c:pt>
                <c:pt idx="66">
                  <c:v>1462.3846</c:v>
                </c:pt>
                <c:pt idx="67">
                  <c:v>1434.6667</c:v>
                </c:pt>
                <c:pt idx="68">
                  <c:v>1392.7</c:v>
                </c:pt>
                <c:pt idx="69">
                  <c:v>1454.5</c:v>
                </c:pt>
                <c:pt idx="70">
                  <c:v>1585.0</c:v>
                </c:pt>
                <c:pt idx="71">
                  <c:v>1220.8571</c:v>
                </c:pt>
                <c:pt idx="72">
                  <c:v>1457.3333</c:v>
                </c:pt>
                <c:pt idx="73">
                  <c:v>1387.25</c:v>
                </c:pt>
                <c:pt idx="74">
                  <c:v>1601.6667</c:v>
                </c:pt>
                <c:pt idx="75">
                  <c:v>1210.25</c:v>
                </c:pt>
                <c:pt idx="76">
                  <c:v>1481.0</c:v>
                </c:pt>
                <c:pt idx="77">
                  <c:v>1435.0</c:v>
                </c:pt>
                <c:pt idx="78">
                  <c:v>985.6</c:v>
                </c:pt>
                <c:pt idx="79">
                  <c:v>1756.0</c:v>
                </c:pt>
                <c:pt idx="80">
                  <c:v>2056.0</c:v>
                </c:pt>
                <c:pt idx="81">
                  <c:v>1514.0</c:v>
                </c:pt>
                <c:pt idx="82">
                  <c:v>261.5</c:v>
                </c:pt>
                <c:pt idx="83">
                  <c:v>2079.0</c:v>
                </c:pt>
                <c:pt idx="84">
                  <c:v>417.3333</c:v>
                </c:pt>
                <c:pt idx="85">
                  <c:v>1520.5</c:v>
                </c:pt>
                <c:pt idx="86">
                  <c:v>681.25</c:v>
                </c:pt>
                <c:pt idx="87">
                  <c:v>1777.0</c:v>
                </c:pt>
                <c:pt idx="88">
                  <c:v>630.3333</c:v>
                </c:pt>
                <c:pt idx="89">
                  <c:v>2087.0</c:v>
                </c:pt>
                <c:pt idx="90">
                  <c:v>429.0</c:v>
                </c:pt>
                <c:pt idx="91">
                  <c:v>1301.0</c:v>
                </c:pt>
                <c:pt idx="92">
                  <c:v>2039.0</c:v>
                </c:pt>
                <c:pt idx="93">
                  <c:v>1407.0</c:v>
                </c:pt>
                <c:pt idx="94">
                  <c:v>782.0</c:v>
                </c:pt>
                <c:pt idx="95">
                  <c:v>789.75</c:v>
                </c:pt>
                <c:pt idx="96">
                  <c:v>983.8571</c:v>
                </c:pt>
                <c:pt idx="97">
                  <c:v>1462.2</c:v>
                </c:pt>
                <c:pt idx="98">
                  <c:v>871.8</c:v>
                </c:pt>
                <c:pt idx="99">
                  <c:v>1267.3333</c:v>
                </c:pt>
                <c:pt idx="100">
                  <c:v>1236.5789</c:v>
                </c:pt>
                <c:pt idx="101">
                  <c:v>1613.6</c:v>
                </c:pt>
                <c:pt idx="102">
                  <c:v>975.0</c:v>
                </c:pt>
                <c:pt idx="103">
                  <c:v>1680.2</c:v>
                </c:pt>
                <c:pt idx="104">
                  <c:v>1668.8571</c:v>
                </c:pt>
              </c:numCache>
            </c:numRef>
          </c:xVal>
          <c:yVal>
            <c:numRef>
              <c:f>Sheet1!$B$2:$B$106</c:f>
              <c:numCache>
                <c:formatCode>General</c:formatCode>
                <c:ptCount val="105"/>
                <c:pt idx="0">
                  <c:v>0.2391304347826087</c:v>
                </c:pt>
                <c:pt idx="1">
                  <c:v>0.2037037037037037</c:v>
                </c:pt>
                <c:pt idx="2">
                  <c:v>0.17543859649122806</c:v>
                </c:pt>
                <c:pt idx="3">
                  <c:v>0.2</c:v>
                </c:pt>
                <c:pt idx="4">
                  <c:v>0.14634146341463414</c:v>
                </c:pt>
                <c:pt idx="5">
                  <c:v>0.21621621621621623</c:v>
                </c:pt>
                <c:pt idx="6">
                  <c:v>0.21739130434782608</c:v>
                </c:pt>
                <c:pt idx="7">
                  <c:v>0.23255813953488372</c:v>
                </c:pt>
                <c:pt idx="8">
                  <c:v>0.1875</c:v>
                </c:pt>
                <c:pt idx="9">
                  <c:v>0.21951219512195122</c:v>
                </c:pt>
                <c:pt idx="10">
                  <c:v>0.20454545454545456</c:v>
                </c:pt>
                <c:pt idx="11">
                  <c:v>0.3333333333333333</c:v>
                </c:pt>
                <c:pt idx="12">
                  <c:v>0.3404255319148936</c:v>
                </c:pt>
                <c:pt idx="13">
                  <c:v>0.3548387096774194</c:v>
                </c:pt>
                <c:pt idx="14">
                  <c:v>0.3333333333333333</c:v>
                </c:pt>
                <c:pt idx="15">
                  <c:v>0.29411764705882354</c:v>
                </c:pt>
                <c:pt idx="16">
                  <c:v>0.22727272727272727</c:v>
                </c:pt>
                <c:pt idx="17">
                  <c:v>0.2</c:v>
                </c:pt>
                <c:pt idx="18">
                  <c:v>0.15384615384615385</c:v>
                </c:pt>
                <c:pt idx="19">
                  <c:v>0.25</c:v>
                </c:pt>
                <c:pt idx="20">
                  <c:v>0.16666666666666666</c:v>
                </c:pt>
                <c:pt idx="21">
                  <c:v>0.18181818181818182</c:v>
                </c:pt>
                <c:pt idx="22">
                  <c:v>0.1111111111111111</c:v>
                </c:pt>
                <c:pt idx="23">
                  <c:v>0.14285714285714285</c:v>
                </c:pt>
                <c:pt idx="24">
                  <c:v>0.16666666666666666</c:v>
                </c:pt>
                <c:pt idx="25">
                  <c:v>0.2857142857142857</c:v>
                </c:pt>
                <c:pt idx="26">
                  <c:v>0.4</c:v>
                </c:pt>
                <c:pt idx="27">
                  <c:v>0.16666666666666666</c:v>
                </c:pt>
                <c:pt idx="28">
                  <c:v>0.2857142857142857</c:v>
                </c:pt>
                <c:pt idx="29">
                  <c:v>0.4</c:v>
                </c:pt>
                <c:pt idx="30">
                  <c:v>0.25</c:v>
                </c:pt>
                <c:pt idx="31">
                  <c:v>0.25</c:v>
                </c:pt>
                <c:pt idx="32">
                  <c:v>0.3333333333333333</c:v>
                </c:pt>
                <c:pt idx="33">
                  <c:v>0.14285714285714285</c:v>
                </c:pt>
                <c:pt idx="34">
                  <c:v>0.42857142857142855</c:v>
                </c:pt>
                <c:pt idx="35">
                  <c:v>0.2727272727272727</c:v>
                </c:pt>
                <c:pt idx="36">
                  <c:v>0.2</c:v>
                </c:pt>
                <c:pt idx="37">
                  <c:v>0.16666666666666666</c:v>
                </c:pt>
                <c:pt idx="38">
                  <c:v>0.16666666666666666</c:v>
                </c:pt>
                <c:pt idx="39">
                  <c:v>0.14285714285714285</c:v>
                </c:pt>
                <c:pt idx="40">
                  <c:v>0.14285714285714285</c:v>
                </c:pt>
                <c:pt idx="41">
                  <c:v>0.14285714285714285</c:v>
                </c:pt>
                <c:pt idx="42">
                  <c:v>0.125</c:v>
                </c:pt>
                <c:pt idx="43">
                  <c:v>0.16666666666666666</c:v>
                </c:pt>
                <c:pt idx="44">
                  <c:v>0.23076923076923078</c:v>
                </c:pt>
                <c:pt idx="45">
                  <c:v>0.20689655172413793</c:v>
                </c:pt>
                <c:pt idx="46">
                  <c:v>0.14285714285714285</c:v>
                </c:pt>
                <c:pt idx="47">
                  <c:v>0.24</c:v>
                </c:pt>
                <c:pt idx="48">
                  <c:v>0.225</c:v>
                </c:pt>
                <c:pt idx="49">
                  <c:v>0.37254901960784315</c:v>
                </c:pt>
                <c:pt idx="50">
                  <c:v>0.25925925925925924</c:v>
                </c:pt>
                <c:pt idx="51">
                  <c:v>0.2727272727272727</c:v>
                </c:pt>
                <c:pt idx="52">
                  <c:v>0.2647058823529412</c:v>
                </c:pt>
                <c:pt idx="53">
                  <c:v>0.2564102564102564</c:v>
                </c:pt>
                <c:pt idx="54">
                  <c:v>0.23076923076923078</c:v>
                </c:pt>
                <c:pt idx="55">
                  <c:v>0.26666666666666666</c:v>
                </c:pt>
                <c:pt idx="56">
                  <c:v>0.23076923076923078</c:v>
                </c:pt>
                <c:pt idx="57">
                  <c:v>0.19148936170212766</c:v>
                </c:pt>
                <c:pt idx="58">
                  <c:v>0.2</c:v>
                </c:pt>
                <c:pt idx="59">
                  <c:v>0.23008849557522124</c:v>
                </c:pt>
                <c:pt idx="60">
                  <c:v>0.2616822429906542</c:v>
                </c:pt>
                <c:pt idx="61">
                  <c:v>0.28169014084507044</c:v>
                </c:pt>
                <c:pt idx="62">
                  <c:v>0.3</c:v>
                </c:pt>
                <c:pt idx="63">
                  <c:v>0.28</c:v>
                </c:pt>
                <c:pt idx="64">
                  <c:v>0.2535211267605634</c:v>
                </c:pt>
                <c:pt idx="65">
                  <c:v>0.3333333333333333</c:v>
                </c:pt>
                <c:pt idx="66">
                  <c:v>0.29545454545454547</c:v>
                </c:pt>
                <c:pt idx="67">
                  <c:v>0.25</c:v>
                </c:pt>
                <c:pt idx="68">
                  <c:v>0.2857142857142857</c:v>
                </c:pt>
                <c:pt idx="69">
                  <c:v>0.25</c:v>
                </c:pt>
                <c:pt idx="70">
                  <c:v>0.15384615384615385</c:v>
                </c:pt>
                <c:pt idx="71">
                  <c:v>0.3181818181818182</c:v>
                </c:pt>
                <c:pt idx="72">
                  <c:v>0.2608695652173913</c:v>
                </c:pt>
                <c:pt idx="73">
                  <c:v>0.19047619047619047</c:v>
                </c:pt>
                <c:pt idx="74">
                  <c:v>0.15789473684210525</c:v>
                </c:pt>
                <c:pt idx="75">
                  <c:v>0.26666666666666666</c:v>
                </c:pt>
                <c:pt idx="76">
                  <c:v>0.18181818181818182</c:v>
                </c:pt>
                <c:pt idx="77">
                  <c:v>0.2222222222222222</c:v>
                </c:pt>
                <c:pt idx="78">
                  <c:v>0.45454545454545453</c:v>
                </c:pt>
                <c:pt idx="79">
                  <c:v>0.16666666666666666</c:v>
                </c:pt>
                <c:pt idx="80">
                  <c:v>0.16666666666666666</c:v>
                </c:pt>
                <c:pt idx="81">
                  <c:v>0.18181818181818182</c:v>
                </c:pt>
                <c:pt idx="82">
                  <c:v>0.5</c:v>
                </c:pt>
                <c:pt idx="83">
                  <c:v>0.16666666666666666</c:v>
                </c:pt>
                <c:pt idx="84">
                  <c:v>0.375</c:v>
                </c:pt>
                <c:pt idx="85">
                  <c:v>0.25</c:v>
                </c:pt>
                <c:pt idx="86">
                  <c:v>0.4444444444444444</c:v>
                </c:pt>
                <c:pt idx="87">
                  <c:v>0.125</c:v>
                </c:pt>
                <c:pt idx="88">
                  <c:v>0.42857142857142855</c:v>
                </c:pt>
                <c:pt idx="89">
                  <c:v>0.16666666666666666</c:v>
                </c:pt>
                <c:pt idx="90">
                  <c:v>0.375</c:v>
                </c:pt>
                <c:pt idx="91">
                  <c:v>0.2222222222222222</c:v>
                </c:pt>
                <c:pt idx="92">
                  <c:v>0.125</c:v>
                </c:pt>
                <c:pt idx="93">
                  <c:v>0.1111111111111111</c:v>
                </c:pt>
                <c:pt idx="94">
                  <c:v>0.2857142857142857</c:v>
                </c:pt>
                <c:pt idx="95">
                  <c:v>0.26666666666666666</c:v>
                </c:pt>
                <c:pt idx="96">
                  <c:v>0.2692307692307692</c:v>
                </c:pt>
                <c:pt idx="97">
                  <c:v>0.23809523809523808</c:v>
                </c:pt>
                <c:pt idx="98">
                  <c:v>0.38461538461538464</c:v>
                </c:pt>
                <c:pt idx="99">
                  <c:v>0.32142857142857145</c:v>
                </c:pt>
                <c:pt idx="100">
                  <c:v>0.3220338983050847</c:v>
                </c:pt>
                <c:pt idx="101">
                  <c:v>0.16666666666666666</c:v>
                </c:pt>
                <c:pt idx="102">
                  <c:v>0.2916666666666667</c:v>
                </c:pt>
                <c:pt idx="103">
                  <c:v>0.23809523809523808</c:v>
                </c:pt>
                <c:pt idx="104">
                  <c:v>0.2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9.25</c:v>
                </c:pt>
                <c:pt idx="1">
                  <c:v>1437.75</c:v>
                </c:pt>
                <c:pt idx="2">
                  <c:v>1362.5833</c:v>
                </c:pt>
                <c:pt idx="3">
                  <c:v>1219.1429</c:v>
                </c:pt>
                <c:pt idx="4">
                  <c:v>1185.1</c:v>
                </c:pt>
                <c:pt idx="5">
                  <c:v>1588.8</c:v>
                </c:pt>
                <c:pt idx="6">
                  <c:v>1437.6923</c:v>
                </c:pt>
                <c:pt idx="7">
                  <c:v>1485.0</c:v>
                </c:pt>
                <c:pt idx="8">
                  <c:v>1568.3333</c:v>
                </c:pt>
                <c:pt idx="9">
                  <c:v>1458.0</c:v>
                </c:pt>
                <c:pt idx="10">
                  <c:v>1726.2857</c:v>
                </c:pt>
                <c:pt idx="11">
                  <c:v>1466.0</c:v>
                </c:pt>
                <c:pt idx="12">
                  <c:v>1372.8571</c:v>
                </c:pt>
                <c:pt idx="13">
                  <c:v>1505.3333</c:v>
                </c:pt>
                <c:pt idx="14">
                  <c:v>1491.8333</c:v>
                </c:pt>
                <c:pt idx="15">
                  <c:v>1491.0</c:v>
                </c:pt>
                <c:pt idx="16">
                  <c:v>1816.6</c:v>
                </c:pt>
                <c:pt idx="17">
                  <c:v>1584.0</c:v>
                </c:pt>
                <c:pt idx="18">
                  <c:v>1611.75</c:v>
                </c:pt>
                <c:pt idx="19">
                  <c:v>1477.6667</c:v>
                </c:pt>
                <c:pt idx="20">
                  <c:v>1690.0</c:v>
                </c:pt>
                <c:pt idx="21">
                  <c:v>1741.5</c:v>
                </c:pt>
                <c:pt idx="22">
                  <c:v>1989.5</c:v>
                </c:pt>
                <c:pt idx="23">
                  <c:v>1261.0</c:v>
                </c:pt>
                <c:pt idx="24">
                  <c:v>2148.0</c:v>
                </c:pt>
                <c:pt idx="25">
                  <c:v>912.0</c:v>
                </c:pt>
                <c:pt idx="26">
                  <c:v>2291.0</c:v>
                </c:pt>
                <c:pt idx="27">
                  <c:v>1537.6667</c:v>
                </c:pt>
                <c:pt idx="28">
                  <c:v>1278.5</c:v>
                </c:pt>
                <c:pt idx="29">
                  <c:v>2118.0</c:v>
                </c:pt>
                <c:pt idx="30">
                  <c:v>1651.0</c:v>
                </c:pt>
                <c:pt idx="31">
                  <c:v>876.0</c:v>
                </c:pt>
                <c:pt idx="32">
                  <c:v>1566.0</c:v>
                </c:pt>
                <c:pt idx="33">
                  <c:v>1369.0</c:v>
                </c:pt>
                <c:pt idx="34">
                  <c:v>1216.0</c:v>
                </c:pt>
                <c:pt idx="35">
                  <c:v>1341.5</c:v>
                </c:pt>
                <c:pt idx="36">
                  <c:v>848.0</c:v>
                </c:pt>
                <c:pt idx="37">
                  <c:v>2064.0</c:v>
                </c:pt>
                <c:pt idx="38">
                  <c:v>996.0</c:v>
                </c:pt>
                <c:pt idx="39">
                  <c:v>1262.5</c:v>
                </c:pt>
                <c:pt idx="40">
                  <c:v>1307.5</c:v>
                </c:pt>
                <c:pt idx="41">
                  <c:v>1433.0</c:v>
                </c:pt>
                <c:pt idx="42">
                  <c:v>1691.0</c:v>
                </c:pt>
                <c:pt idx="43">
                  <c:v>1339.0</c:v>
                </c:pt>
                <c:pt idx="44">
                  <c:v>1020.75</c:v>
                </c:pt>
                <c:pt idx="45">
                  <c:v>1254.2857</c:v>
                </c:pt>
                <c:pt idx="46">
                  <c:v>1581.6667</c:v>
                </c:pt>
                <c:pt idx="47">
                  <c:v>1605.8</c:v>
                </c:pt>
                <c:pt idx="48">
                  <c:v>1336.0</c:v>
                </c:pt>
                <c:pt idx="49">
                  <c:v>1329.875</c:v>
                </c:pt>
                <c:pt idx="50">
                  <c:v>1086.3636</c:v>
                </c:pt>
                <c:pt idx="51">
                  <c:v>1120.2</c:v>
                </c:pt>
              </c:numCache>
            </c:numRef>
          </c:xVal>
          <c:yVal>
            <c:numRef>
              <c:f>Sheet1!$B$109:$B$160</c:f>
              <c:numCache>
                <c:formatCode>General</c:formatCode>
                <c:ptCount val="52"/>
                <c:pt idx="0">
                  <c:v>0.25806451612903225</c:v>
                </c:pt>
                <c:pt idx="1">
                  <c:v>0.22857142857142856</c:v>
                </c:pt>
                <c:pt idx="2">
                  <c:v>0.32432432432432434</c:v>
                </c:pt>
                <c:pt idx="3">
                  <c:v>0.3181818181818182</c:v>
                </c:pt>
                <c:pt idx="4">
                  <c:v>0.2222222222222222</c:v>
                </c:pt>
                <c:pt idx="5">
                  <c:v>0.2777777777777778</c:v>
                </c:pt>
                <c:pt idx="6">
                  <c:v>0.28888888888888886</c:v>
                </c:pt>
                <c:pt idx="7">
                  <c:v>0.23809523809523808</c:v>
                </c:pt>
                <c:pt idx="8">
                  <c:v>0.2</c:v>
                </c:pt>
                <c:pt idx="9">
                  <c:v>0.23684210526315788</c:v>
                </c:pt>
                <c:pt idx="10">
                  <c:v>0.23333333333333334</c:v>
                </c:pt>
                <c:pt idx="11">
                  <c:v>0.25</c:v>
                </c:pt>
                <c:pt idx="12">
                  <c:v>0.28</c:v>
                </c:pt>
                <c:pt idx="13">
                  <c:v>0.25</c:v>
                </c:pt>
                <c:pt idx="14">
                  <c:v>0.20689655172413793</c:v>
                </c:pt>
                <c:pt idx="15">
                  <c:v>0.25</c:v>
                </c:pt>
                <c:pt idx="16">
                  <c:v>0.22727272727272727</c:v>
                </c:pt>
                <c:pt idx="17">
                  <c:v>0.2631578947368421</c:v>
                </c:pt>
                <c:pt idx="18">
                  <c:v>0.3333333333333333</c:v>
                </c:pt>
                <c:pt idx="19">
                  <c:v>0.21428571428571427</c:v>
                </c:pt>
                <c:pt idx="20">
                  <c:v>0.15384615384615385</c:v>
                </c:pt>
                <c:pt idx="21">
                  <c:v>0.13333333333333333</c:v>
                </c:pt>
                <c:pt idx="22">
                  <c:v>0.16666666666666666</c:v>
                </c:pt>
                <c:pt idx="23">
                  <c:v>0.25</c:v>
                </c:pt>
                <c:pt idx="24">
                  <c:v>0.09090909090909091</c:v>
                </c:pt>
                <c:pt idx="25">
                  <c:v>0.25</c:v>
                </c:pt>
                <c:pt idx="26">
                  <c:v>0.16666666666666666</c:v>
                </c:pt>
                <c:pt idx="27">
                  <c:v>0.3333333333333333</c:v>
                </c:pt>
                <c:pt idx="28">
                  <c:v>0.3333333333333333</c:v>
                </c:pt>
                <c:pt idx="29">
                  <c:v>0.14285714285714285</c:v>
                </c:pt>
                <c:pt idx="30">
                  <c:v>0.2</c:v>
                </c:pt>
                <c:pt idx="31">
                  <c:v>0.3333333333333333</c:v>
                </c:pt>
                <c:pt idx="32">
                  <c:v>0.2</c:v>
                </c:pt>
                <c:pt idx="33">
                  <c:v>0.14285714285714285</c:v>
                </c:pt>
                <c:pt idx="34">
                  <c:v>0.2222222222222222</c:v>
                </c:pt>
                <c:pt idx="35">
                  <c:v>0.3333333333333333</c:v>
                </c:pt>
                <c:pt idx="36">
                  <c:v>0.1</c:v>
                </c:pt>
                <c:pt idx="37">
                  <c:v>0.125</c:v>
                </c:pt>
                <c:pt idx="38">
                  <c:v>0.3333333333333333</c:v>
                </c:pt>
                <c:pt idx="39">
                  <c:v>0.3333333333333333</c:v>
                </c:pt>
                <c:pt idx="40">
                  <c:v>0.18181818181818182</c:v>
                </c:pt>
                <c:pt idx="41">
                  <c:v>0.18181818181818182</c:v>
                </c:pt>
                <c:pt idx="42">
                  <c:v>0.07692307692307693</c:v>
                </c:pt>
                <c:pt idx="43">
                  <c:v>0.14285714285714285</c:v>
                </c:pt>
                <c:pt idx="44">
                  <c:v>0.0975609756097561</c:v>
                </c:pt>
                <c:pt idx="45">
                  <c:v>0.21875</c:v>
                </c:pt>
                <c:pt idx="46">
                  <c:v>0.16666666666666666</c:v>
                </c:pt>
                <c:pt idx="47">
                  <c:v>0.2631578947368421</c:v>
                </c:pt>
                <c:pt idx="48">
                  <c:v>0.16666666666666666</c:v>
                </c:pt>
                <c:pt idx="49">
                  <c:v>0.22857142857142856</c:v>
                </c:pt>
                <c:pt idx="50">
                  <c:v>0.3055555555555556</c:v>
                </c:pt>
                <c:pt idx="51">
                  <c:v>0.32258064516129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86.6636537490775</c:v>
                </c:pt>
              </c:numCache>
            </c:numRef>
          </c:xVal>
          <c:yVal>
            <c:numRef>
              <c:f>Sheet1!$B$163:$B$164</c:f>
              <c:numCache>
                <c:formatCode>General</c:formatCode>
                <c:ptCount val="2"/>
                <c:pt idx="0">
                  <c:v>0.2704889417405715</c:v>
                </c:pt>
                <c:pt idx="1">
                  <c:v>0.270488941740571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86.6636537490775</c:v>
                </c:pt>
                <c:pt idx="1">
                  <c:v>986.6636537490775</c:v>
                </c:pt>
              </c:numCache>
            </c:numRef>
          </c:xVal>
          <c:yVal>
            <c:numRef>
              <c:f>Sheet1!$B$167:$B$168</c:f>
              <c:numCache>
                <c:formatCode>General</c:formatCode>
                <c:ptCount val="2"/>
                <c:pt idx="0">
                  <c:v>0.2704889417405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0.5491807294406</c:v>
                </c:pt>
              </c:numCache>
            </c:numRef>
          </c:xVal>
          <c:yVal>
            <c:numRef>
              <c:f>Sheet1!$B$171:$B$172</c:f>
              <c:numCache>
                <c:formatCode>General</c:formatCode>
                <c:ptCount val="2"/>
                <c:pt idx="0">
                  <c:v>0.2617918015767478</c:v>
                </c:pt>
                <c:pt idx="1">
                  <c:v>0.26179180157674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0.5491807294406</c:v>
                </c:pt>
                <c:pt idx="1">
                  <c:v>1080.5491807294406</c:v>
                </c:pt>
              </c:numCache>
            </c:numRef>
          </c:xVal>
          <c:yVal>
            <c:numRef>
              <c:f>Sheet1!$B$175:$B$176</c:f>
              <c:numCache>
                <c:formatCode>General</c:formatCode>
                <c:ptCount val="2"/>
                <c:pt idx="0">
                  <c:v>0.26179180157674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675.9622685663708</c:v>
                </c:pt>
              </c:numCache>
            </c:numRef>
          </c:xVal>
          <c:yVal>
            <c:numRef>
              <c:f>Sheet1!$B$179:$B$180</c:f>
              <c:numCache>
                <c:formatCode>General</c:formatCode>
                <c:ptCount val="2"/>
                <c:pt idx="0">
                  <c:v>0.2066353653629325</c:v>
                </c:pt>
                <c:pt idx="1">
                  <c:v>0.20663536536293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675.9622685663708</c:v>
                </c:pt>
                <c:pt idx="1">
                  <c:v>1675.9622685663708</c:v>
                </c:pt>
              </c:numCache>
            </c:numRef>
          </c:xVal>
          <c:yVal>
            <c:numRef>
              <c:f>Sheet1!$B$183:$B$184</c:f>
              <c:numCache>
                <c:formatCode>General</c:formatCode>
                <c:ptCount val="2"/>
                <c:pt idx="0">
                  <c:v>0.20663536536293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9.25</c:v>
                </c:pt>
                <c:pt idx="1">
                  <c:v>1437.75</c:v>
                </c:pt>
                <c:pt idx="2">
                  <c:v>1362.5833</c:v>
                </c:pt>
                <c:pt idx="3">
                  <c:v>1219.1429</c:v>
                </c:pt>
                <c:pt idx="4">
                  <c:v>1185.1</c:v>
                </c:pt>
                <c:pt idx="5">
                  <c:v>1588.8</c:v>
                </c:pt>
                <c:pt idx="6">
                  <c:v>1437.6923</c:v>
                </c:pt>
                <c:pt idx="7">
                  <c:v>1485.0</c:v>
                </c:pt>
                <c:pt idx="8">
                  <c:v>1568.3333</c:v>
                </c:pt>
                <c:pt idx="9">
                  <c:v>1458.0</c:v>
                </c:pt>
                <c:pt idx="10">
                  <c:v>1726.2857</c:v>
                </c:pt>
                <c:pt idx="11">
                  <c:v>1466.0</c:v>
                </c:pt>
                <c:pt idx="12">
                  <c:v>1372.8571</c:v>
                </c:pt>
                <c:pt idx="13">
                  <c:v>1505.3333</c:v>
                </c:pt>
                <c:pt idx="14">
                  <c:v>1491.8333</c:v>
                </c:pt>
                <c:pt idx="15">
                  <c:v>1491.0</c:v>
                </c:pt>
                <c:pt idx="16">
                  <c:v>1816.6</c:v>
                </c:pt>
                <c:pt idx="17">
                  <c:v>1584.0</c:v>
                </c:pt>
                <c:pt idx="18">
                  <c:v>1611.75</c:v>
                </c:pt>
                <c:pt idx="19">
                  <c:v>1477.6667</c:v>
                </c:pt>
                <c:pt idx="20">
                  <c:v>1690.0</c:v>
                </c:pt>
                <c:pt idx="21">
                  <c:v>1741.5</c:v>
                </c:pt>
                <c:pt idx="22">
                  <c:v>1989.5</c:v>
                </c:pt>
                <c:pt idx="23">
                  <c:v>1261.0</c:v>
                </c:pt>
                <c:pt idx="24">
                  <c:v>2148.0</c:v>
                </c:pt>
                <c:pt idx="25">
                  <c:v>912.0</c:v>
                </c:pt>
                <c:pt idx="26">
                  <c:v>2291.0</c:v>
                </c:pt>
                <c:pt idx="27">
                  <c:v>1537.6667</c:v>
                </c:pt>
                <c:pt idx="28">
                  <c:v>1278.5</c:v>
                </c:pt>
                <c:pt idx="29">
                  <c:v>2118.0</c:v>
                </c:pt>
                <c:pt idx="30">
                  <c:v>1651.0</c:v>
                </c:pt>
                <c:pt idx="31">
                  <c:v>876.0</c:v>
                </c:pt>
                <c:pt idx="32">
                  <c:v>1566.0</c:v>
                </c:pt>
                <c:pt idx="33">
                  <c:v>1369.0</c:v>
                </c:pt>
                <c:pt idx="34">
                  <c:v>1216.0</c:v>
                </c:pt>
                <c:pt idx="35">
                  <c:v>1341.5</c:v>
                </c:pt>
                <c:pt idx="36">
                  <c:v>848.0</c:v>
                </c:pt>
                <c:pt idx="37">
                  <c:v>2064.0</c:v>
                </c:pt>
                <c:pt idx="38">
                  <c:v>996.0</c:v>
                </c:pt>
                <c:pt idx="39">
                  <c:v>1262.5</c:v>
                </c:pt>
                <c:pt idx="40">
                  <c:v>1307.5</c:v>
                </c:pt>
                <c:pt idx="41">
                  <c:v>1433.0</c:v>
                </c:pt>
                <c:pt idx="42">
                  <c:v>1691.0</c:v>
                </c:pt>
                <c:pt idx="43">
                  <c:v>1339.0</c:v>
                </c:pt>
                <c:pt idx="44">
                  <c:v>1020.75</c:v>
                </c:pt>
                <c:pt idx="45">
                  <c:v>1254.2857</c:v>
                </c:pt>
                <c:pt idx="46">
                  <c:v>1581.6667</c:v>
                </c:pt>
                <c:pt idx="47">
                  <c:v>1605.8</c:v>
                </c:pt>
                <c:pt idx="48">
                  <c:v>1336.0</c:v>
                </c:pt>
                <c:pt idx="49">
                  <c:v>1329.875</c:v>
                </c:pt>
                <c:pt idx="50">
                  <c:v>1086.3636</c:v>
                </c:pt>
                <c:pt idx="51">
                  <c:v>1120.2</c:v>
                </c:pt>
                <c:pt idx="52">
                  <c:v>1080.5491807294406</c:v>
                </c:pt>
                <c:pt idx="53">
                  <c:v>986.6636537490775</c:v>
                </c:pt>
                <c:pt idx="54">
                  <c:v>1675.9622685663708</c:v>
                </c:pt>
              </c:numCache>
            </c:numRef>
          </c:xVal>
          <c:yVal>
            <c:numRef>
              <c:f>Sheet1!$B$187:$B$241</c:f>
              <c:numCache>
                <c:formatCode>General</c:formatCode>
                <c:ptCount val="55"/>
                <c:pt idx="0">
                  <c:v>0.24801681506639928</c:v>
                </c:pt>
                <c:pt idx="1">
                  <c:v>0.22870229681763327</c:v>
                </c:pt>
                <c:pt idx="2">
                  <c:v>0.23566540760348229</c:v>
                </c:pt>
                <c:pt idx="3">
                  <c:v>0.24895309212823188</c:v>
                </c:pt>
                <c:pt idx="4">
                  <c:v>0.2521066758850229</c:v>
                </c:pt>
                <c:pt idx="5">
                  <c:v>0.21470969258993017</c:v>
                </c:pt>
                <c:pt idx="6">
                  <c:v>0.22870764189054912</c:v>
                </c:pt>
                <c:pt idx="7">
                  <c:v>0.22432526570370429</c:v>
                </c:pt>
                <c:pt idx="8">
                  <c:v>0.21660563719732592</c:v>
                </c:pt>
                <c:pt idx="9">
                  <c:v>0.22682642634023514</c:v>
                </c:pt>
                <c:pt idx="10">
                  <c:v>0.20197362514823056</c:v>
                </c:pt>
                <c:pt idx="11">
                  <c:v>0.22608534170718897</c:v>
                </c:pt>
                <c:pt idx="12">
                  <c:v>0.23471368819060856</c:v>
                </c:pt>
                <c:pt idx="13">
                  <c:v>0.22244167868256456</c:v>
                </c:pt>
                <c:pt idx="14">
                  <c:v>0.22369225900082998</c:v>
                </c:pt>
                <c:pt idx="15">
                  <c:v>0.22376945222891967</c:v>
                </c:pt>
                <c:pt idx="16">
                  <c:v>0.19360730766394027</c:v>
                </c:pt>
                <c:pt idx="17">
                  <c:v>0.21515434336975786</c:v>
                </c:pt>
                <c:pt idx="18">
                  <c:v>0.21258370604887894</c:v>
                </c:pt>
                <c:pt idx="19">
                  <c:v>0.225004590196144</c:v>
                </c:pt>
                <c:pt idx="20">
                  <c:v>0.20533497198189601</c:v>
                </c:pt>
                <c:pt idx="21">
                  <c:v>0.20056423965666126</c:v>
                </c:pt>
                <c:pt idx="22">
                  <c:v>0.17759061603222978</c:v>
                </c:pt>
                <c:pt idx="23">
                  <c:v>0.24507563542899724</c:v>
                </c:pt>
                <c:pt idx="24">
                  <c:v>0.1629078767400024</c:v>
                </c:pt>
                <c:pt idx="25">
                  <c:v>0.2774054525456367</c:v>
                </c:pt>
                <c:pt idx="26">
                  <c:v>0.149660988924302</c:v>
                </c:pt>
                <c:pt idx="27">
                  <c:v>0.21944645544829766</c:v>
                </c:pt>
                <c:pt idx="28">
                  <c:v>0.24345451279420874</c:v>
                </c:pt>
                <c:pt idx="29">
                  <c:v>0.16568694411392557</c:v>
                </c:pt>
                <c:pt idx="30">
                  <c:v>0.20894775956799613</c:v>
                </c:pt>
                <c:pt idx="31">
                  <c:v>0.2807403333943445</c:v>
                </c:pt>
                <c:pt idx="32">
                  <c:v>0.21682178379411177</c:v>
                </c:pt>
                <c:pt idx="33">
                  <c:v>0.23507099288287386</c:v>
                </c:pt>
                <c:pt idx="34">
                  <c:v>0.24924423648988198</c:v>
                </c:pt>
                <c:pt idx="35">
                  <c:v>0.2376184713089701</c:v>
                </c:pt>
                <c:pt idx="36">
                  <c:v>0.28333412961000615</c:v>
                </c:pt>
                <c:pt idx="37">
                  <c:v>0.17068926538698725</c:v>
                </c:pt>
                <c:pt idx="38">
                  <c:v>0.26962406389865184</c:v>
                </c:pt>
                <c:pt idx="39">
                  <c:v>0.2449366820603011</c:v>
                </c:pt>
                <c:pt idx="40">
                  <c:v>0.24076808099941635</c:v>
                </c:pt>
                <c:pt idx="41">
                  <c:v>0.22914231581850444</c:v>
                </c:pt>
                <c:pt idx="42">
                  <c:v>0.20524233640276524</c:v>
                </c:pt>
                <c:pt idx="43">
                  <c:v>0.23785006025679703</c:v>
                </c:pt>
                <c:pt idx="44">
                  <c:v>0.26733133331516523</c:v>
                </c:pt>
                <c:pt idx="45">
                  <c:v>0.24569761849795502</c:v>
                </c:pt>
                <c:pt idx="46">
                  <c:v>0.21537048996654368</c:v>
                </c:pt>
                <c:pt idx="47">
                  <c:v>0.21313488774470704</c:v>
                </c:pt>
                <c:pt idx="48">
                  <c:v>0.23812796699418934</c:v>
                </c:pt>
                <c:pt idx="49">
                  <c:v>0.2386953599163653</c:v>
                </c:pt>
                <c:pt idx="50">
                  <c:v>0.2612531794803104</c:v>
                </c:pt>
                <c:pt idx="51">
                  <c:v>0.25811872497060995</c:v>
                </c:pt>
                <c:pt idx="52">
                  <c:v>0.2617918015767478</c:v>
                </c:pt>
                <c:pt idx="53">
                  <c:v>0.2704889417405715</c:v>
                </c:pt>
                <c:pt idx="54">
                  <c:v>0.20663536536293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49.0"/>
          <c:min val="2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61538461538461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4</c:f>
              <c:numCache>
                <c:formatCode>General</c:formatCode>
                <c:ptCount val="93"/>
                <c:pt idx="0">
                  <c:v>0.6428228804470532</c:v>
                </c:pt>
                <c:pt idx="1">
                  <c:v>0.46747173135769154</c:v>
                </c:pt>
                <c:pt idx="2">
                  <c:v>0.4951634730460028</c:v>
                </c:pt>
                <c:pt idx="3">
                  <c:v>0.5215406628800396</c:v>
                </c:pt>
                <c:pt idx="4">
                  <c:v>0.49089324209534796</c:v>
                </c:pt>
                <c:pt idx="5">
                  <c:v>0.5546719133885131</c:v>
                </c:pt>
                <c:pt idx="6">
                  <c:v>0.5884835881847984</c:v>
                </c:pt>
                <c:pt idx="7">
                  <c:v>0.642648211050597</c:v>
                </c:pt>
                <c:pt idx="8">
                  <c:v>0.6110848039487158</c:v>
                </c:pt>
                <c:pt idx="9">
                  <c:v>0.652150763474327</c:v>
                </c:pt>
                <c:pt idx="10">
                  <c:v>0.667593286756449</c:v>
                </c:pt>
                <c:pt idx="11">
                  <c:v>0.5955054162730462</c:v>
                </c:pt>
                <c:pt idx="12">
                  <c:v>0.5889984242754587</c:v>
                </c:pt>
                <c:pt idx="13">
                  <c:v>0.624724927202315</c:v>
                </c:pt>
                <c:pt idx="14">
                  <c:v>0.599367606500771</c:v>
                </c:pt>
                <c:pt idx="15">
                  <c:v>0.6742392963938364</c:v>
                </c:pt>
                <c:pt idx="16">
                  <c:v>0.620519576437159</c:v>
                </c:pt>
                <c:pt idx="17">
                  <c:v>0.5423511935403215</c:v>
                </c:pt>
                <c:pt idx="18">
                  <c:v>0.47702414813060073</c:v>
                </c:pt>
                <c:pt idx="19">
                  <c:v>0.5997942397957405</c:v>
                </c:pt>
                <c:pt idx="20">
                  <c:v>0.8086716342664736</c:v>
                </c:pt>
                <c:pt idx="21">
                  <c:v>0.7186548065831292</c:v>
                </c:pt>
                <c:pt idx="22">
                  <c:v>0.5380014240481326</c:v>
                </c:pt>
                <c:pt idx="23">
                  <c:v>0.5312701259218621</c:v>
                </c:pt>
                <c:pt idx="24">
                  <c:v>0.7258758402971182</c:v>
                </c:pt>
                <c:pt idx="25">
                  <c:v>0.5439136070078483</c:v>
                </c:pt>
                <c:pt idx="26">
                  <c:v>0.5706610679090827</c:v>
                </c:pt>
                <c:pt idx="27">
                  <c:v>0.5464232320644482</c:v>
                </c:pt>
                <c:pt idx="28">
                  <c:v>0.4944478139909185</c:v>
                </c:pt>
                <c:pt idx="29">
                  <c:v>0.5392609182293593</c:v>
                </c:pt>
                <c:pt idx="30">
                  <c:v>0.5777871410655597</c:v>
                </c:pt>
                <c:pt idx="31">
                  <c:v>0.4775476487353046</c:v>
                </c:pt>
                <c:pt idx="32">
                  <c:v>0.6161730696201896</c:v>
                </c:pt>
                <c:pt idx="33">
                  <c:v>0.505966218189366</c:v>
                </c:pt>
                <c:pt idx="34">
                  <c:v>0.4913561236323577</c:v>
                </c:pt>
                <c:pt idx="35">
                  <c:v>0.5598869898854725</c:v>
                </c:pt>
                <c:pt idx="36">
                  <c:v>0.7728152206217035</c:v>
                </c:pt>
                <c:pt idx="37">
                  <c:v>0.6013817122048658</c:v>
                </c:pt>
                <c:pt idx="38">
                  <c:v>1.1857983346089325</c:v>
                </c:pt>
                <c:pt idx="39">
                  <c:v>0.6953529511272283</c:v>
                </c:pt>
                <c:pt idx="40">
                  <c:v>0.6154842603688141</c:v>
                </c:pt>
                <c:pt idx="41">
                  <c:v>1.0591742024949742</c:v>
                </c:pt>
                <c:pt idx="42">
                  <c:v>1.165135796089821</c:v>
                </c:pt>
                <c:pt idx="43">
                  <c:v>0.8187609534955517</c:v>
                </c:pt>
                <c:pt idx="44">
                  <c:v>0.9584539233139392</c:v>
                </c:pt>
                <c:pt idx="45">
                  <c:v>0.8393520691711801</c:v>
                </c:pt>
                <c:pt idx="46">
                  <c:v>0.9972773883704632</c:v>
                </c:pt>
                <c:pt idx="47">
                  <c:v>0.8894370852772508</c:v>
                </c:pt>
                <c:pt idx="48">
                  <c:v>0.8963835189309577</c:v>
                </c:pt>
                <c:pt idx="49">
                  <c:v>0.9102767849378058</c:v>
                </c:pt>
                <c:pt idx="50">
                  <c:v>0.8715331332281431</c:v>
                </c:pt>
                <c:pt idx="51">
                  <c:v>0.7929559489478045</c:v>
                </c:pt>
                <c:pt idx="52">
                  <c:v>0.8338920605609842</c:v>
                </c:pt>
                <c:pt idx="53">
                  <c:v>0.7530922812787539</c:v>
                </c:pt>
                <c:pt idx="54">
                  <c:v>0.7958622453060289</c:v>
                </c:pt>
                <c:pt idx="55">
                  <c:v>0.7533191783291452</c:v>
                </c:pt>
                <c:pt idx="56">
                  <c:v>0.7797088235294118</c:v>
                </c:pt>
                <c:pt idx="57">
                  <c:v>0.7758672330549786</c:v>
                </c:pt>
                <c:pt idx="58">
                  <c:v>0.773626616557975</c:v>
                </c:pt>
                <c:pt idx="59">
                  <c:v>0.7524549577513069</c:v>
                </c:pt>
                <c:pt idx="60">
                  <c:v>0.768014911153684</c:v>
                </c:pt>
                <c:pt idx="61">
                  <c:v>0.8037362065398014</c:v>
                </c:pt>
                <c:pt idx="62">
                  <c:v>0.8074654414688484</c:v>
                </c:pt>
                <c:pt idx="63">
                  <c:v>0.813537527269123</c:v>
                </c:pt>
                <c:pt idx="64">
                  <c:v>0.8204047618019543</c:v>
                </c:pt>
                <c:pt idx="65">
                  <c:v>0.8242652764730308</c:v>
                </c:pt>
                <c:pt idx="66">
                  <c:v>0.8743212811357288</c:v>
                </c:pt>
                <c:pt idx="67">
                  <c:v>0.8883123136559556</c:v>
                </c:pt>
                <c:pt idx="68">
                  <c:v>0.6968135234539641</c:v>
                </c:pt>
                <c:pt idx="69">
                  <c:v>1.0415270300107384</c:v>
                </c:pt>
                <c:pt idx="70">
                  <c:v>0.6869652030979039</c:v>
                </c:pt>
                <c:pt idx="71">
                  <c:v>0.640641846371133</c:v>
                </c:pt>
                <c:pt idx="72">
                  <c:v>0.8141020765341545</c:v>
                </c:pt>
                <c:pt idx="73">
                  <c:v>1.0458464993474705</c:v>
                </c:pt>
                <c:pt idx="74">
                  <c:v>0.5354116944916564</c:v>
                </c:pt>
                <c:pt idx="75">
                  <c:v>0.3325135268076734</c:v>
                </c:pt>
                <c:pt idx="76">
                  <c:v>0.3454161068416302</c:v>
                </c:pt>
                <c:pt idx="77">
                  <c:v>0.5861493540922619</c:v>
                </c:pt>
                <c:pt idx="78">
                  <c:v>0.5585328328128183</c:v>
                </c:pt>
                <c:pt idx="79">
                  <c:v>0.32742741250713303</c:v>
                </c:pt>
                <c:pt idx="80">
                  <c:v>0.4612818380852982</c:v>
                </c:pt>
                <c:pt idx="81">
                  <c:v>0.5809901285383119</c:v>
                </c:pt>
                <c:pt idx="82">
                  <c:v>0.4488278461988641</c:v>
                </c:pt>
                <c:pt idx="83">
                  <c:v>0.5583363348041036</c:v>
                </c:pt>
                <c:pt idx="84">
                  <c:v>0.520632198784151</c:v>
                </c:pt>
                <c:pt idx="85">
                  <c:v>0.5629285218515078</c:v>
                </c:pt>
                <c:pt idx="86">
                  <c:v>0.45039163085894757</c:v>
                </c:pt>
                <c:pt idx="87">
                  <c:v>0.7488997458738577</c:v>
                </c:pt>
                <c:pt idx="88">
                  <c:v>0.7745994479866382</c:v>
                </c:pt>
                <c:pt idx="89">
                  <c:v>0.5213064367776692</c:v>
                </c:pt>
                <c:pt idx="90">
                  <c:v>0.46299274861341344</c:v>
                </c:pt>
                <c:pt idx="91">
                  <c:v>0.48262382516171914</c:v>
                </c:pt>
                <c:pt idx="92">
                  <c:v>0.5490414864193931</c:v>
                </c:pt>
              </c:numCache>
            </c:numRef>
          </c:xVal>
          <c:yVal>
            <c:numRef>
              <c:f>Sheet1!$B$2:$B$94</c:f>
              <c:numCache>
                <c:formatCode>General</c:formatCode>
                <c:ptCount val="93"/>
                <c:pt idx="0">
                  <c:v>0.01569506726457399</c:v>
                </c:pt>
                <c:pt idx="1">
                  <c:v>0.02119071644803229</c:v>
                </c:pt>
                <c:pt idx="2">
                  <c:v>0.02097902097902098</c:v>
                </c:pt>
                <c:pt idx="3">
                  <c:v>0.026347305389221556</c:v>
                </c:pt>
                <c:pt idx="4">
                  <c:v>0.018867924528301886</c:v>
                </c:pt>
                <c:pt idx="5">
                  <c:v>0.017456359102244388</c:v>
                </c:pt>
                <c:pt idx="6">
                  <c:v>0.025157232704402517</c:v>
                </c:pt>
                <c:pt idx="7">
                  <c:v>0.02014388489208633</c:v>
                </c:pt>
                <c:pt idx="8">
                  <c:v>0.020958083832335328</c:v>
                </c:pt>
                <c:pt idx="9">
                  <c:v>0.020671834625323</c:v>
                </c:pt>
                <c:pt idx="10">
                  <c:v>0.018046709129511677</c:v>
                </c:pt>
                <c:pt idx="11">
                  <c:v>0.02720348204570185</c:v>
                </c:pt>
                <c:pt idx="12">
                  <c:v>0.023138832997987926</c:v>
                </c:pt>
                <c:pt idx="13">
                  <c:v>0.013318534961154272</c:v>
                </c:pt>
                <c:pt idx="14">
                  <c:v>0.012004801920768308</c:v>
                </c:pt>
                <c:pt idx="15">
                  <c:v>0.009693053311793215</c:v>
                </c:pt>
                <c:pt idx="16">
                  <c:v>0.008298755186721992</c:v>
                </c:pt>
                <c:pt idx="17">
                  <c:v>0.004618937644341801</c:v>
                </c:pt>
                <c:pt idx="18">
                  <c:v>0.0035714285714285713</c:v>
                </c:pt>
                <c:pt idx="19">
                  <c:v>0.00909090909090909</c:v>
                </c:pt>
                <c:pt idx="20">
                  <c:v>0.003816793893129771</c:v>
                </c:pt>
                <c:pt idx="21">
                  <c:v>0.004761904761904762</c:v>
                </c:pt>
                <c:pt idx="22">
                  <c:v>0.02197802197802198</c:v>
                </c:pt>
                <c:pt idx="23">
                  <c:v>0.015748031496062992</c:v>
                </c:pt>
                <c:pt idx="24">
                  <c:v>0.02304147465437788</c:v>
                </c:pt>
                <c:pt idx="25">
                  <c:v>0.018072289156626505</c:v>
                </c:pt>
                <c:pt idx="26">
                  <c:v>0.013245033112582781</c:v>
                </c:pt>
                <c:pt idx="27">
                  <c:v>0.023952095808383235</c:v>
                </c:pt>
                <c:pt idx="28">
                  <c:v>0.024844720496894408</c:v>
                </c:pt>
                <c:pt idx="29">
                  <c:v>0.02158273381294964</c:v>
                </c:pt>
                <c:pt idx="30">
                  <c:v>0.018518518518518517</c:v>
                </c:pt>
                <c:pt idx="31">
                  <c:v>0.025423728813559324</c:v>
                </c:pt>
                <c:pt idx="32">
                  <c:v>0.017241379310344827</c:v>
                </c:pt>
                <c:pt idx="33">
                  <c:v>0.023952095808383235</c:v>
                </c:pt>
                <c:pt idx="34">
                  <c:v>0.014705882352941176</c:v>
                </c:pt>
                <c:pt idx="35">
                  <c:v>0.020134228187919462</c:v>
                </c:pt>
                <c:pt idx="36">
                  <c:v>0.007936507936507936</c:v>
                </c:pt>
                <c:pt idx="37">
                  <c:v>0.007142857142857143</c:v>
                </c:pt>
                <c:pt idx="38">
                  <c:v>0.006802721088435374</c:v>
                </c:pt>
                <c:pt idx="39">
                  <c:v>0.007633587786259542</c:v>
                </c:pt>
                <c:pt idx="40">
                  <c:v>0.006211180124223602</c:v>
                </c:pt>
                <c:pt idx="41">
                  <c:v>0.011111111111111112</c:v>
                </c:pt>
                <c:pt idx="42">
                  <c:v>0.0033003300330033004</c:v>
                </c:pt>
                <c:pt idx="43">
                  <c:v>0.0054249547920434</c:v>
                </c:pt>
                <c:pt idx="44">
                  <c:v>0.006611570247933884</c:v>
                </c:pt>
                <c:pt idx="45">
                  <c:v>0.003883495145631068</c:v>
                </c:pt>
                <c:pt idx="46">
                  <c:v>0.006359300476947536</c:v>
                </c:pt>
                <c:pt idx="47">
                  <c:v>0.006322444678609062</c:v>
                </c:pt>
                <c:pt idx="48">
                  <c:v>0.005700325732899023</c:v>
                </c:pt>
                <c:pt idx="49">
                  <c:v>0.004464285714285714</c:v>
                </c:pt>
                <c:pt idx="50">
                  <c:v>0.011235955056179775</c:v>
                </c:pt>
                <c:pt idx="51">
                  <c:v>0.008323424494649227</c:v>
                </c:pt>
                <c:pt idx="52">
                  <c:v>0.010248901903367497</c:v>
                </c:pt>
                <c:pt idx="53">
                  <c:v>0.011450381679389313</c:v>
                </c:pt>
                <c:pt idx="54">
                  <c:v>0.00808080808080808</c:v>
                </c:pt>
                <c:pt idx="55">
                  <c:v>0.012131715771230503</c:v>
                </c:pt>
                <c:pt idx="56">
                  <c:v>0.012552301255230125</c:v>
                </c:pt>
                <c:pt idx="57">
                  <c:v>0.01079913606911447</c:v>
                </c:pt>
                <c:pt idx="58">
                  <c:v>0.009282178217821782</c:v>
                </c:pt>
                <c:pt idx="59">
                  <c:v>0.013778100072516316</c:v>
                </c:pt>
                <c:pt idx="60">
                  <c:v>0.01748971193415638</c:v>
                </c:pt>
                <c:pt idx="61">
                  <c:v>0.018660812294182216</c:v>
                </c:pt>
                <c:pt idx="62">
                  <c:v>0.015037593984962405</c:v>
                </c:pt>
                <c:pt idx="63">
                  <c:v>0.01842870999030068</c:v>
                </c:pt>
                <c:pt idx="64">
                  <c:v>0.011904761904761904</c:v>
                </c:pt>
                <c:pt idx="65">
                  <c:v>0.010165184243964422</c:v>
                </c:pt>
                <c:pt idx="66">
                  <c:v>0.007183908045977011</c:v>
                </c:pt>
                <c:pt idx="67">
                  <c:v>0.008445945945945946</c:v>
                </c:pt>
                <c:pt idx="68">
                  <c:v>0.005509641873278237</c:v>
                </c:pt>
                <c:pt idx="69">
                  <c:v>0.0027397260273972603</c:v>
                </c:pt>
                <c:pt idx="70">
                  <c:v>0.005988023952095809</c:v>
                </c:pt>
                <c:pt idx="71">
                  <c:v>0.0070921985815602835</c:v>
                </c:pt>
                <c:pt idx="72">
                  <c:v>0.0072992700729927005</c:v>
                </c:pt>
                <c:pt idx="73">
                  <c:v>0.003676470588235294</c:v>
                </c:pt>
                <c:pt idx="74">
                  <c:v>0.00546448087431694</c:v>
                </c:pt>
                <c:pt idx="75">
                  <c:v>0.007575757575757576</c:v>
                </c:pt>
                <c:pt idx="76">
                  <c:v>0.00819672131147541</c:v>
                </c:pt>
                <c:pt idx="77">
                  <c:v>0.00819672131147541</c:v>
                </c:pt>
                <c:pt idx="78">
                  <c:v>0.011627906976744186</c:v>
                </c:pt>
                <c:pt idx="79">
                  <c:v>0.012987012987012988</c:v>
                </c:pt>
                <c:pt idx="80">
                  <c:v>0.011764705882352941</c:v>
                </c:pt>
                <c:pt idx="81">
                  <c:v>0.006944444444444444</c:v>
                </c:pt>
                <c:pt idx="82">
                  <c:v>0.013793103448275862</c:v>
                </c:pt>
                <c:pt idx="83">
                  <c:v>0.005</c:v>
                </c:pt>
                <c:pt idx="84">
                  <c:v>0.0058997050147492625</c:v>
                </c:pt>
                <c:pt idx="85">
                  <c:v>0.005405405405405406</c:v>
                </c:pt>
                <c:pt idx="86">
                  <c:v>0.008264462809917356</c:v>
                </c:pt>
                <c:pt idx="87">
                  <c:v>0.004608294930875576</c:v>
                </c:pt>
                <c:pt idx="88">
                  <c:v>0.0023328149300155523</c:v>
                </c:pt>
                <c:pt idx="89">
                  <c:v>0.0016</c:v>
                </c:pt>
                <c:pt idx="90">
                  <c:v>0.004291845493562232</c:v>
                </c:pt>
                <c:pt idx="91">
                  <c:v>0.0036036036036036037</c:v>
                </c:pt>
                <c:pt idx="92">
                  <c:v>0.0017482517482517483</c:v>
                </c:pt>
              </c:numCache>
            </c:numRef>
          </c:yVal>
          <c:smooth val="0"/>
          <c:extLst>
            <c:ext xmlns:c16="http://schemas.microsoft.com/office/drawing/2014/chart" uri="{C3380CC4-5D6E-409C-BE32-E72D297353CC}">
              <c16:uniqueId val="{00000000-096C-4121-9522-6AB7243CCAAE}"/>
            </c:ext>
          </c:extLst>
        </c:ser>
        <c:ser>
          <c:idx val="1"/>
          <c:order val="1"/>
          <c:tx>
            <c:strRef>
              <c:f>Sheet1!$B$9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7:$A$146</c:f>
              <c:numCache>
                <c:formatCode>General</c:formatCode>
                <c:ptCount val="50"/>
                <c:pt idx="0">
                  <c:v>0.0</c:v>
                </c:pt>
                <c:pt idx="1">
                  <c:v>0.0</c:v>
                </c:pt>
                <c:pt idx="2">
                  <c:v>0.0</c:v>
                </c:pt>
                <c:pt idx="3">
                  <c:v>0.0</c:v>
                </c:pt>
                <c:pt idx="4">
                  <c:v>0.0</c:v>
                </c:pt>
                <c:pt idx="5">
                  <c:v>0.0</c:v>
                </c:pt>
                <c:pt idx="6">
                  <c:v>0.0</c:v>
                </c:pt>
                <c:pt idx="7">
                  <c:v>0.0</c:v>
                </c:pt>
                <c:pt idx="8">
                  <c:v>0.0</c:v>
                </c:pt>
                <c:pt idx="9">
                  <c:v>0.0</c:v>
                </c:pt>
                <c:pt idx="10">
                  <c:v>0.41641944335100917</c:v>
                </c:pt>
                <c:pt idx="11">
                  <c:v>0.42674829329353886</c:v>
                </c:pt>
                <c:pt idx="12">
                  <c:v>0.3940957994443199</c:v>
                </c:pt>
                <c:pt idx="13">
                  <c:v>0.40170500902332223</c:v>
                </c:pt>
                <c:pt idx="14">
                  <c:v>0.43904758149078266</c:v>
                </c:pt>
                <c:pt idx="15">
                  <c:v>0.3682701756163889</c:v>
                </c:pt>
                <c:pt idx="16">
                  <c:v>0.43620831526490067</c:v>
                </c:pt>
                <c:pt idx="17">
                  <c:v>0.49204609189167764</c:v>
                </c:pt>
                <c:pt idx="18">
                  <c:v>0.47372383106491395</c:v>
                </c:pt>
                <c:pt idx="19">
                  <c:v>0.5125408391530705</c:v>
                </c:pt>
                <c:pt idx="20">
                  <c:v>0.41065495778772165</c:v>
                </c:pt>
                <c:pt idx="21">
                  <c:v>0.0</c:v>
                </c:pt>
                <c:pt idx="22">
                  <c:v>0.0</c:v>
                </c:pt>
                <c:pt idx="23">
                  <c:v>0.5986974055020292</c:v>
                </c:pt>
                <c:pt idx="24">
                  <c:v>0.300916755196334</c:v>
                </c:pt>
                <c:pt idx="25">
                  <c:v>0.5062669608100826</c:v>
                </c:pt>
                <c:pt idx="26">
                  <c:v>0.6182614155492746</c:v>
                </c:pt>
                <c:pt idx="27">
                  <c:v>0.5327877939309182</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297172299775064</c:v>
                </c:pt>
                <c:pt idx="44">
                  <c:v>0.3192447111486359</c:v>
                </c:pt>
                <c:pt idx="45">
                  <c:v>0.2682668527472453</c:v>
                </c:pt>
                <c:pt idx="46">
                  <c:v>0.0</c:v>
                </c:pt>
                <c:pt idx="47">
                  <c:v>0.21795320552840347</c:v>
                </c:pt>
                <c:pt idx="48">
                  <c:v>0.26749971505465137</c:v>
                </c:pt>
                <c:pt idx="49">
                  <c:v>0.41103852368423205</c:v>
                </c:pt>
              </c:numCache>
            </c:numRef>
          </c:xVal>
          <c:yVal>
            <c:numRef>
              <c:f>Sheet1!$B$97:$B$146</c:f>
              <c:numCache>
                <c:formatCode>General</c:formatCode>
                <c:ptCount val="50"/>
                <c:pt idx="0">
                  <c:v>0.0</c:v>
                </c:pt>
                <c:pt idx="1">
                  <c:v>0.0</c:v>
                </c:pt>
                <c:pt idx="2">
                  <c:v>0.0</c:v>
                </c:pt>
                <c:pt idx="3">
                  <c:v>0.0</c:v>
                </c:pt>
                <c:pt idx="4">
                  <c:v>0.0</c:v>
                </c:pt>
                <c:pt idx="5">
                  <c:v>0.0</c:v>
                </c:pt>
                <c:pt idx="6">
                  <c:v>0.0</c:v>
                </c:pt>
                <c:pt idx="7">
                  <c:v>0.0</c:v>
                </c:pt>
                <c:pt idx="8">
                  <c:v>0.0</c:v>
                </c:pt>
                <c:pt idx="9">
                  <c:v>0.0</c:v>
                </c:pt>
                <c:pt idx="10">
                  <c:v>0.004373177842565598</c:v>
                </c:pt>
                <c:pt idx="11">
                  <c:v>0.004559270516717325</c:v>
                </c:pt>
                <c:pt idx="12">
                  <c:v>0.006963788300835654</c:v>
                </c:pt>
                <c:pt idx="13">
                  <c:v>0.002484472049689441</c:v>
                </c:pt>
                <c:pt idx="14">
                  <c:v>0.006069802731411229</c:v>
                </c:pt>
                <c:pt idx="15">
                  <c:v>0.0047694753577106515</c:v>
                </c:pt>
                <c:pt idx="16">
                  <c:v>0.0038119440914866584</c:v>
                </c:pt>
                <c:pt idx="17">
                  <c:v>0.004842615012106538</c:v>
                </c:pt>
                <c:pt idx="18">
                  <c:v>0.0039447731755424065</c:v>
                </c:pt>
                <c:pt idx="19">
                  <c:v>0.001838235294117647</c:v>
                </c:pt>
                <c:pt idx="20">
                  <c:v>0.0019047619047619048</c:v>
                </c:pt>
                <c:pt idx="21">
                  <c:v>0.0</c:v>
                </c:pt>
                <c:pt idx="22">
                  <c:v>0.0</c:v>
                </c:pt>
                <c:pt idx="23">
                  <c:v>0.0017667844522968198</c:v>
                </c:pt>
                <c:pt idx="24">
                  <c:v>0.00199203187250996</c:v>
                </c:pt>
                <c:pt idx="25">
                  <c:v>0.0022222222222222222</c:v>
                </c:pt>
                <c:pt idx="26">
                  <c:v>0.0027624309392265192</c:v>
                </c:pt>
                <c:pt idx="27">
                  <c:v>0.0035714285714285713</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08547008547008548</c:v>
                </c:pt>
                <c:pt idx="44">
                  <c:v>0.002932551319648094</c:v>
                </c:pt>
                <c:pt idx="45">
                  <c:v>0.002457002457002457</c:v>
                </c:pt>
                <c:pt idx="46">
                  <c:v>0.0</c:v>
                </c:pt>
                <c:pt idx="47">
                  <c:v>0.0015105740181268882</c:v>
                </c:pt>
                <c:pt idx="48">
                  <c:v>0.001516300227445034</c:v>
                </c:pt>
                <c:pt idx="49">
                  <c:v>0.001718213058419244</c:v>
                </c:pt>
              </c:numCache>
            </c:numRef>
          </c:yVal>
          <c:smooth val="0"/>
          <c:extLst>
            <c:ext xmlns:c16="http://schemas.microsoft.com/office/drawing/2014/chart" uri="{C3380CC4-5D6E-409C-BE32-E72D297353CC}">
              <c16:uniqueId val="{00000002-096C-4121-9522-6AB7243CCAAE}"/>
            </c:ext>
          </c:extLst>
        </c:ser>
        <c:ser>
          <c:idx val="2"/>
          <c:order val="2"/>
          <c:tx>
            <c:strRef>
              <c:f>Sheet1!$B$14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9:$A$150</c:f>
              <c:numCache>
                <c:formatCode>General</c:formatCode>
                <c:ptCount val="2"/>
                <c:pt idx="0">
                  <c:v>0</c:v>
                </c:pt>
                <c:pt idx="1">
                  <c:v>2.751156714315521</c:v>
                </c:pt>
              </c:numCache>
            </c:numRef>
          </c:xVal>
          <c:yVal>
            <c:numRef>
              <c:f>Sheet1!$B$149:$B$150</c:f>
              <c:numCache>
                <c:formatCode>General</c:formatCode>
                <c:ptCount val="2"/>
                <c:pt idx="0">
                  <c:v>0.02075506612669103</c:v>
                </c:pt>
                <c:pt idx="1">
                  <c:v>0.02075506612669103</c:v>
                </c:pt>
              </c:numCache>
            </c:numRef>
          </c:yVal>
          <c:smooth val="0"/>
          <c:extLst>
            <c:ext xmlns:c16="http://schemas.microsoft.com/office/drawing/2014/chart" uri="{C3380CC4-5D6E-409C-BE32-E72D297353CC}">
              <c16:uniqueId val="{00000005-096C-4121-9522-6AB7243CCAAE}"/>
            </c:ext>
          </c:extLst>
        </c:ser>
        <c:ser>
          <c:idx val="3"/>
          <c:order val="3"/>
          <c:tx>
            <c:strRef>
              <c:f>Sheet1!$B$15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2.751156714315521</c:v>
                </c:pt>
                <c:pt idx="1">
                  <c:v>2.751156714315521</c:v>
                </c:pt>
              </c:numCache>
            </c:numRef>
          </c:xVal>
          <c:yVal>
            <c:numRef>
              <c:f>Sheet1!$B$153:$B$154</c:f>
              <c:numCache>
                <c:formatCode>General</c:formatCode>
                <c:ptCount val="2"/>
                <c:pt idx="0">
                  <c:v>0.020755066126691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7:$A$158</c:f>
              <c:numCache>
                <c:formatCode>General</c:formatCode>
                <c:ptCount val="2"/>
                <c:pt idx="0">
                  <c:v>0</c:v>
                </c:pt>
                <c:pt idx="1">
                  <c:v>0.5985165555315068</c:v>
                </c:pt>
              </c:numCache>
            </c:numRef>
          </c:xVal>
          <c:yVal>
            <c:numRef>
              <c:f>Sheet1!$B$157:$B$158</c:f>
              <c:numCache>
                <c:formatCode>General</c:formatCode>
                <c:ptCount val="2"/>
                <c:pt idx="0">
                  <c:v>0.004646591008673945</c:v>
                </c:pt>
                <c:pt idx="1">
                  <c:v>0.004646591008673945</c:v>
                </c:pt>
              </c:numCache>
            </c:numRef>
          </c:yVal>
          <c:smooth val="0"/>
          <c:extLst>
            <c:ext xmlns:c16="http://schemas.microsoft.com/office/drawing/2014/chart" uri="{C3380CC4-5D6E-409C-BE32-E72D297353CC}">
              <c16:uniqueId val="{0000000D-096C-4121-9522-6AB7243CCAAE}"/>
            </c:ext>
          </c:extLst>
        </c:ser>
        <c:ser>
          <c:idx val="5"/>
          <c:order val="5"/>
          <c:tx>
            <c:strRef>
              <c:f>Sheet1!$B$16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0.5985165555315068</c:v>
                </c:pt>
                <c:pt idx="1">
                  <c:v>0.5985165555315068</c:v>
                </c:pt>
              </c:numCache>
            </c:numRef>
          </c:xVal>
          <c:yVal>
            <c:numRef>
              <c:f>Sheet1!$B$161:$B$162</c:f>
              <c:numCache>
                <c:formatCode>General</c:formatCode>
                <c:ptCount val="2"/>
                <c:pt idx="0">
                  <c:v>0.0046465910086739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5:$A$166</c:f>
              <c:numCache>
                <c:formatCode>General</c:formatCode>
                <c:ptCount val="2"/>
                <c:pt idx="0">
                  <c:v>0</c:v>
                </c:pt>
                <c:pt idx="1">
                  <c:v>0.20452884668092136</c:v>
                </c:pt>
              </c:numCache>
            </c:numRef>
          </c:xVal>
          <c:yVal>
            <c:numRef>
              <c:f>Sheet1!$B$165:$B$166</c:f>
              <c:numCache>
                <c:formatCode>General</c:formatCode>
                <c:ptCount val="2"/>
                <c:pt idx="0">
                  <c:v>0.0016983317843318425</c:v>
                </c:pt>
                <c:pt idx="1">
                  <c:v>0.0016983317843318425</c:v>
                </c:pt>
              </c:numCache>
            </c:numRef>
          </c:yVal>
          <c:smooth val="0"/>
          <c:extLst>
            <c:ext xmlns:c16="http://schemas.microsoft.com/office/drawing/2014/chart" uri="{C3380CC4-5D6E-409C-BE32-E72D297353CC}">
              <c16:uniqueId val="{00000015-096C-4121-9522-6AB7243CCAAE}"/>
            </c:ext>
          </c:extLst>
        </c:ser>
        <c:ser>
          <c:idx val="7"/>
          <c:order val="7"/>
          <c:tx>
            <c:strRef>
              <c:f>Sheet1!$B$16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0.20452884668092136</c:v>
                </c:pt>
                <c:pt idx="1">
                  <c:v>0.20452884668092136</c:v>
                </c:pt>
              </c:numCache>
            </c:numRef>
          </c:xVal>
          <c:yVal>
            <c:numRef>
              <c:f>Sheet1!$B$169:$B$170</c:f>
              <c:numCache>
                <c:formatCode>General</c:formatCode>
                <c:ptCount val="2"/>
                <c:pt idx="0">
                  <c:v>0.00169833178433184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3:$A$225</c:f>
              <c:numCache>
                <c:formatCode>General</c:formatCode>
                <c:ptCount val="53"/>
                <c:pt idx="0">
                  <c:v>0.0</c:v>
                </c:pt>
                <c:pt idx="1">
                  <c:v>0.0</c:v>
                </c:pt>
                <c:pt idx="2">
                  <c:v>0.0</c:v>
                </c:pt>
                <c:pt idx="3">
                  <c:v>0.0</c:v>
                </c:pt>
                <c:pt idx="4">
                  <c:v>0.0</c:v>
                </c:pt>
                <c:pt idx="5">
                  <c:v>0.0</c:v>
                </c:pt>
                <c:pt idx="6">
                  <c:v>0.0</c:v>
                </c:pt>
                <c:pt idx="7">
                  <c:v>0.0</c:v>
                </c:pt>
                <c:pt idx="8">
                  <c:v>0.0</c:v>
                </c:pt>
                <c:pt idx="9">
                  <c:v>0.0</c:v>
                </c:pt>
                <c:pt idx="10">
                  <c:v>0.41641944335100917</c:v>
                </c:pt>
                <c:pt idx="11">
                  <c:v>0.42674829329353886</c:v>
                </c:pt>
                <c:pt idx="12">
                  <c:v>0.3940957994443199</c:v>
                </c:pt>
                <c:pt idx="13">
                  <c:v>0.40170500902332223</c:v>
                </c:pt>
                <c:pt idx="14">
                  <c:v>0.43904758149078266</c:v>
                </c:pt>
                <c:pt idx="15">
                  <c:v>0.3682701756163889</c:v>
                </c:pt>
                <c:pt idx="16">
                  <c:v>0.43620831526490067</c:v>
                </c:pt>
                <c:pt idx="17">
                  <c:v>0.49204609189167764</c:v>
                </c:pt>
                <c:pt idx="18">
                  <c:v>0.47372383106491395</c:v>
                </c:pt>
                <c:pt idx="19">
                  <c:v>0.5125408391530705</c:v>
                </c:pt>
                <c:pt idx="20">
                  <c:v>0.41065495778772165</c:v>
                </c:pt>
                <c:pt idx="21">
                  <c:v>0.0</c:v>
                </c:pt>
                <c:pt idx="22">
                  <c:v>0.0</c:v>
                </c:pt>
                <c:pt idx="23">
                  <c:v>0.5986974055020292</c:v>
                </c:pt>
                <c:pt idx="24">
                  <c:v>0.300916755196334</c:v>
                </c:pt>
                <c:pt idx="25">
                  <c:v>0.5062669608100826</c:v>
                </c:pt>
                <c:pt idx="26">
                  <c:v>0.6182614155492746</c:v>
                </c:pt>
                <c:pt idx="27">
                  <c:v>0.5327877939309182</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297172299775064</c:v>
                </c:pt>
                <c:pt idx="44">
                  <c:v>0.3192447111486359</c:v>
                </c:pt>
                <c:pt idx="45">
                  <c:v>0.2682668527472453</c:v>
                </c:pt>
                <c:pt idx="46">
                  <c:v>0.0</c:v>
                </c:pt>
                <c:pt idx="47">
                  <c:v>0.21795320552840347</c:v>
                </c:pt>
                <c:pt idx="48">
                  <c:v>0.26749971505465137</c:v>
                </c:pt>
                <c:pt idx="49">
                  <c:v>0.41103852368423205</c:v>
                </c:pt>
                <c:pt idx="50">
                  <c:v>0.5985165555315068</c:v>
                </c:pt>
                <c:pt idx="51">
                  <c:v>2.751156714315521</c:v>
                </c:pt>
                <c:pt idx="52">
                  <c:v>0.20452884668092136</c:v>
                </c:pt>
              </c:numCache>
            </c:numRef>
          </c:xVal>
          <c:yVal>
            <c:numRef>
              <c:f>Sheet1!$B$173:$B$225</c:f>
              <c:numCache>
                <c:formatCode>General</c:formatCode>
                <c:ptCount val="53"/>
                <c:pt idx="0">
                  <c:v>0.0001678168841836274</c:v>
                </c:pt>
                <c:pt idx="1">
                  <c:v>0.0001678168841836274</c:v>
                </c:pt>
                <c:pt idx="2">
                  <c:v>0.0001678168841836274</c:v>
                </c:pt>
                <c:pt idx="3">
                  <c:v>0.0001678168841836274</c:v>
                </c:pt>
                <c:pt idx="4">
                  <c:v>0.0001678168841836274</c:v>
                </c:pt>
                <c:pt idx="5">
                  <c:v>0.0001678168841836274</c:v>
                </c:pt>
                <c:pt idx="6">
                  <c:v>0.0001678168841836274</c:v>
                </c:pt>
                <c:pt idx="7">
                  <c:v>0.0001678168841836274</c:v>
                </c:pt>
                <c:pt idx="8">
                  <c:v>0.0001678168841836274</c:v>
                </c:pt>
                <c:pt idx="9">
                  <c:v>0.0001678168841836274</c:v>
                </c:pt>
                <c:pt idx="10">
                  <c:v>0.003283935578943746</c:v>
                </c:pt>
                <c:pt idx="11">
                  <c:v>0.003361227652873537</c:v>
                </c:pt>
                <c:pt idx="12">
                  <c:v>0.003116884963936401</c:v>
                </c:pt>
                <c:pt idx="13">
                  <c:v>0.003173825629412221</c:v>
                </c:pt>
                <c:pt idx="14">
                  <c:v>0.003453264762320821</c:v>
                </c:pt>
                <c:pt idx="15">
                  <c:v>0.0029236285958704573</c:v>
                </c:pt>
                <c:pt idx="16">
                  <c:v>0.003432018178600632</c:v>
                </c:pt>
                <c:pt idx="17">
                  <c:v>0.0038498592338125355</c:v>
                </c:pt>
                <c:pt idx="18">
                  <c:v>0.003712751468062935</c:v>
                </c:pt>
                <c:pt idx="19">
                  <c:v>0.004003223986840596</c:v>
                </c:pt>
                <c:pt idx="20">
                  <c:v>0.0032407992136364856</c:v>
                </c:pt>
                <c:pt idx="21">
                  <c:v>0.0001678168841836274</c:v>
                </c:pt>
                <c:pt idx="22">
                  <c:v>0.0001678168841836274</c:v>
                </c:pt>
                <c:pt idx="23">
                  <c:v>0.004647944331586911</c:v>
                </c:pt>
                <c:pt idx="24">
                  <c:v>0.002419614540143339</c:v>
                </c:pt>
                <c:pt idx="25">
                  <c:v>0.003956275771752676</c:v>
                </c:pt>
                <c:pt idx="26">
                  <c:v>0.004794344261816174</c:v>
                </c:pt>
                <c:pt idx="27">
                  <c:v>0.00415473447777133</c:v>
                </c:pt>
                <c:pt idx="28">
                  <c:v>0.0001678168841836274</c:v>
                </c:pt>
                <c:pt idx="29">
                  <c:v>0.0001678168841836274</c:v>
                </c:pt>
                <c:pt idx="30">
                  <c:v>0.0001678168841836274</c:v>
                </c:pt>
                <c:pt idx="31">
                  <c:v>0.0001678168841836274</c:v>
                </c:pt>
                <c:pt idx="32">
                  <c:v>0.0001678168841836274</c:v>
                </c:pt>
                <c:pt idx="33">
                  <c:v>0.0001678168841836274</c:v>
                </c:pt>
                <c:pt idx="34">
                  <c:v>0.0001678168841836274</c:v>
                </c:pt>
                <c:pt idx="35">
                  <c:v>0.0001678168841836274</c:v>
                </c:pt>
                <c:pt idx="36">
                  <c:v>0.0001678168841836274</c:v>
                </c:pt>
                <c:pt idx="37">
                  <c:v>0.0001678168841836274</c:v>
                </c:pt>
                <c:pt idx="38">
                  <c:v>0.0001678168841836274</c:v>
                </c:pt>
                <c:pt idx="39">
                  <c:v>0.0001678168841836274</c:v>
                </c:pt>
                <c:pt idx="40">
                  <c:v>0.0001678168841836274</c:v>
                </c:pt>
                <c:pt idx="41">
                  <c:v>0.0001678168841836274</c:v>
                </c:pt>
                <c:pt idx="42">
                  <c:v>0.0001678168841836274</c:v>
                </c:pt>
                <c:pt idx="43">
                  <c:v>0.0023915943126390244</c:v>
                </c:pt>
                <c:pt idx="44">
                  <c:v>0.002556764923228518</c:v>
                </c:pt>
                <c:pt idx="45">
                  <c:v>0.0021752912429769777</c:v>
                </c:pt>
                <c:pt idx="46">
                  <c:v>0.0001678168841836274</c:v>
                </c:pt>
                <c:pt idx="47">
                  <c:v>0.0017987879379474804</c:v>
                </c:pt>
                <c:pt idx="48">
                  <c:v>0.002169550655827371</c:v>
                </c:pt>
                <c:pt idx="49">
                  <c:v>0.0032436694851376677</c:v>
                </c:pt>
                <c:pt idx="50">
                  <c:v>0.004646591008673945</c:v>
                </c:pt>
                <c:pt idx="51">
                  <c:v>0.02075506612669103</c:v>
                </c:pt>
                <c:pt idx="52">
                  <c:v>0.00169833178433184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41784548422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4</c:f>
              <c:numCache>
                <c:formatCode>General</c:formatCode>
                <c:ptCount val="93"/>
                <c:pt idx="0">
                  <c:v>669.9286</c:v>
                </c:pt>
                <c:pt idx="1">
                  <c:v>608.5238</c:v>
                </c:pt>
                <c:pt idx="2">
                  <c:v>680.2381</c:v>
                </c:pt>
                <c:pt idx="3">
                  <c:v>740.1364</c:v>
                </c:pt>
                <c:pt idx="4">
                  <c:v>695.2143</c:v>
                </c:pt>
                <c:pt idx="5">
                  <c:v>754.5714</c:v>
                </c:pt>
                <c:pt idx="6">
                  <c:v>831.35</c:v>
                </c:pt>
                <c:pt idx="7">
                  <c:v>855.0714</c:v>
                </c:pt>
                <c:pt idx="8">
                  <c:v>829.7857</c:v>
                </c:pt>
                <c:pt idx="9">
                  <c:v>830.4375</c:v>
                </c:pt>
                <c:pt idx="10">
                  <c:v>847.1176</c:v>
                </c:pt>
                <c:pt idx="11">
                  <c:v>776.24</c:v>
                </c:pt>
                <c:pt idx="12">
                  <c:v>753.6087</c:v>
                </c:pt>
                <c:pt idx="13">
                  <c:v>786.9167</c:v>
                </c:pt>
                <c:pt idx="14">
                  <c:v>755.7</c:v>
                </c:pt>
                <c:pt idx="15">
                  <c:v>882.0</c:v>
                </c:pt>
                <c:pt idx="16">
                  <c:v>860.5</c:v>
                </c:pt>
                <c:pt idx="17">
                  <c:v>708.0</c:v>
                </c:pt>
                <c:pt idx="18">
                  <c:v>588.0</c:v>
                </c:pt>
                <c:pt idx="19">
                  <c:v>721.0</c:v>
                </c:pt>
                <c:pt idx="20">
                  <c:v>1016.0</c:v>
                </c:pt>
                <c:pt idx="21">
                  <c:v>1030.0</c:v>
                </c:pt>
                <c:pt idx="22">
                  <c:v>820.5</c:v>
                </c:pt>
                <c:pt idx="23">
                  <c:v>710.5</c:v>
                </c:pt>
                <c:pt idx="24">
                  <c:v>768.8</c:v>
                </c:pt>
                <c:pt idx="25">
                  <c:v>750.6667</c:v>
                </c:pt>
                <c:pt idx="26">
                  <c:v>824.0</c:v>
                </c:pt>
                <c:pt idx="27">
                  <c:v>820.5</c:v>
                </c:pt>
                <c:pt idx="28">
                  <c:v>769.0</c:v>
                </c:pt>
                <c:pt idx="29">
                  <c:v>814.6667</c:v>
                </c:pt>
                <c:pt idx="30">
                  <c:v>913.0</c:v>
                </c:pt>
                <c:pt idx="31">
                  <c:v>750.6667</c:v>
                </c:pt>
                <c:pt idx="32">
                  <c:v>920.0</c:v>
                </c:pt>
                <c:pt idx="33">
                  <c:v>762.0</c:v>
                </c:pt>
                <c:pt idx="34">
                  <c:v>714.0</c:v>
                </c:pt>
                <c:pt idx="35">
                  <c:v>814.6667</c:v>
                </c:pt>
                <c:pt idx="36">
                  <c:v>1043.0</c:v>
                </c:pt>
                <c:pt idx="37">
                  <c:v>837.0</c:v>
                </c:pt>
                <c:pt idx="38">
                  <c:v>1655.0</c:v>
                </c:pt>
                <c:pt idx="39">
                  <c:v>818.0</c:v>
                </c:pt>
                <c:pt idx="40">
                  <c:v>837.0</c:v>
                </c:pt>
                <c:pt idx="41">
                  <c:v>1395.0</c:v>
                </c:pt>
                <c:pt idx="42">
                  <c:v>1674.0</c:v>
                </c:pt>
                <c:pt idx="43">
                  <c:v>1116.0</c:v>
                </c:pt>
                <c:pt idx="44">
                  <c:v>1239.0</c:v>
                </c:pt>
                <c:pt idx="45">
                  <c:v>1097.0</c:v>
                </c:pt>
                <c:pt idx="46">
                  <c:v>1236.5</c:v>
                </c:pt>
                <c:pt idx="47">
                  <c:v>1159.3333</c:v>
                </c:pt>
                <c:pt idx="48">
                  <c:v>1207.4286</c:v>
                </c:pt>
                <c:pt idx="49">
                  <c:v>1202.6667</c:v>
                </c:pt>
                <c:pt idx="50">
                  <c:v>1179.0</c:v>
                </c:pt>
                <c:pt idx="51">
                  <c:v>1097.0</c:v>
                </c:pt>
                <c:pt idx="52">
                  <c:v>1219.2857</c:v>
                </c:pt>
                <c:pt idx="53">
                  <c:v>1156.1667</c:v>
                </c:pt>
                <c:pt idx="54">
                  <c:v>1157.25</c:v>
                </c:pt>
                <c:pt idx="55">
                  <c:v>1165.8571</c:v>
                </c:pt>
                <c:pt idx="56">
                  <c:v>1166.4444</c:v>
                </c:pt>
                <c:pt idx="57">
                  <c:v>1186.4</c:v>
                </c:pt>
                <c:pt idx="58">
                  <c:v>1166.7333</c:v>
                </c:pt>
                <c:pt idx="59">
                  <c:v>1140.5789</c:v>
                </c:pt>
                <c:pt idx="60">
                  <c:v>1110.0588</c:v>
                </c:pt>
                <c:pt idx="61">
                  <c:v>1130.3529</c:v>
                </c:pt>
                <c:pt idx="62">
                  <c:v>1162.5625</c:v>
                </c:pt>
                <c:pt idx="63">
                  <c:v>1122.7895</c:v>
                </c:pt>
                <c:pt idx="64">
                  <c:v>1102.0</c:v>
                </c:pt>
                <c:pt idx="65">
                  <c:v>1146.0</c:v>
                </c:pt>
                <c:pt idx="66">
                  <c:v>1223.8</c:v>
                </c:pt>
                <c:pt idx="67">
                  <c:v>1219.8</c:v>
                </c:pt>
                <c:pt idx="68">
                  <c:v>957.0</c:v>
                </c:pt>
                <c:pt idx="69">
                  <c:v>1376.0</c:v>
                </c:pt>
                <c:pt idx="70">
                  <c:v>966.5</c:v>
                </c:pt>
                <c:pt idx="71">
                  <c:v>976.5</c:v>
                </c:pt>
                <c:pt idx="72">
                  <c:v>1255.5</c:v>
                </c:pt>
                <c:pt idx="73">
                  <c:v>1674.0</c:v>
                </c:pt>
                <c:pt idx="74">
                  <c:v>837.0</c:v>
                </c:pt>
                <c:pt idx="75">
                  <c:v>507.0</c:v>
                </c:pt>
                <c:pt idx="76">
                  <c:v>507.0</c:v>
                </c:pt>
                <c:pt idx="77">
                  <c:v>833.0</c:v>
                </c:pt>
                <c:pt idx="78">
                  <c:v>833.0</c:v>
                </c:pt>
                <c:pt idx="79">
                  <c:v>507.0</c:v>
                </c:pt>
                <c:pt idx="80">
                  <c:v>676.0</c:v>
                </c:pt>
                <c:pt idx="81">
                  <c:v>833.0</c:v>
                </c:pt>
                <c:pt idx="82">
                  <c:v>664.0</c:v>
                </c:pt>
                <c:pt idx="83">
                  <c:v>845.0</c:v>
                </c:pt>
                <c:pt idx="84">
                  <c:v>760.5</c:v>
                </c:pt>
                <c:pt idx="85">
                  <c:v>752.0</c:v>
                </c:pt>
                <c:pt idx="86">
                  <c:v>627.75</c:v>
                </c:pt>
                <c:pt idx="87">
                  <c:v>989.0</c:v>
                </c:pt>
                <c:pt idx="88">
                  <c:v>1079.3333</c:v>
                </c:pt>
                <c:pt idx="89">
                  <c:v>730.0</c:v>
                </c:pt>
                <c:pt idx="90">
                  <c:v>634.0</c:v>
                </c:pt>
                <c:pt idx="91">
                  <c:v>660.5</c:v>
                </c:pt>
                <c:pt idx="92">
                  <c:v>793.0</c:v>
                </c:pt>
              </c:numCache>
            </c:numRef>
          </c:xVal>
          <c:yVal>
            <c:numRef>
              <c:f>Sheet1!$B$2:$B$94</c:f>
              <c:numCache>
                <c:formatCode>General</c:formatCode>
                <c:ptCount val="93"/>
                <c:pt idx="0">
                  <c:v>0.01569506726457399</c:v>
                </c:pt>
                <c:pt idx="1">
                  <c:v>0.02119071644803229</c:v>
                </c:pt>
                <c:pt idx="2">
                  <c:v>0.02097902097902098</c:v>
                </c:pt>
                <c:pt idx="3">
                  <c:v>0.026347305389221556</c:v>
                </c:pt>
                <c:pt idx="4">
                  <c:v>0.018867924528301886</c:v>
                </c:pt>
                <c:pt idx="5">
                  <c:v>0.017456359102244388</c:v>
                </c:pt>
                <c:pt idx="6">
                  <c:v>0.025157232704402517</c:v>
                </c:pt>
                <c:pt idx="7">
                  <c:v>0.02014388489208633</c:v>
                </c:pt>
                <c:pt idx="8">
                  <c:v>0.020958083832335328</c:v>
                </c:pt>
                <c:pt idx="9">
                  <c:v>0.020671834625323</c:v>
                </c:pt>
                <c:pt idx="10">
                  <c:v>0.018046709129511677</c:v>
                </c:pt>
                <c:pt idx="11">
                  <c:v>0.02720348204570185</c:v>
                </c:pt>
                <c:pt idx="12">
                  <c:v>0.023138832997987926</c:v>
                </c:pt>
                <c:pt idx="13">
                  <c:v>0.013318534961154272</c:v>
                </c:pt>
                <c:pt idx="14">
                  <c:v>0.012004801920768308</c:v>
                </c:pt>
                <c:pt idx="15">
                  <c:v>0.009693053311793215</c:v>
                </c:pt>
                <c:pt idx="16">
                  <c:v>0.008298755186721992</c:v>
                </c:pt>
                <c:pt idx="17">
                  <c:v>0.004618937644341801</c:v>
                </c:pt>
                <c:pt idx="18">
                  <c:v>0.0035714285714285713</c:v>
                </c:pt>
                <c:pt idx="19">
                  <c:v>0.00909090909090909</c:v>
                </c:pt>
                <c:pt idx="20">
                  <c:v>0.003816793893129771</c:v>
                </c:pt>
                <c:pt idx="21">
                  <c:v>0.004761904761904762</c:v>
                </c:pt>
                <c:pt idx="22">
                  <c:v>0.02197802197802198</c:v>
                </c:pt>
                <c:pt idx="23">
                  <c:v>0.015748031496062992</c:v>
                </c:pt>
                <c:pt idx="24">
                  <c:v>0.02304147465437788</c:v>
                </c:pt>
                <c:pt idx="25">
                  <c:v>0.018072289156626505</c:v>
                </c:pt>
                <c:pt idx="26">
                  <c:v>0.013245033112582781</c:v>
                </c:pt>
                <c:pt idx="27">
                  <c:v>0.023952095808383235</c:v>
                </c:pt>
                <c:pt idx="28">
                  <c:v>0.024844720496894408</c:v>
                </c:pt>
                <c:pt idx="29">
                  <c:v>0.02158273381294964</c:v>
                </c:pt>
                <c:pt idx="30">
                  <c:v>0.018518518518518517</c:v>
                </c:pt>
                <c:pt idx="31">
                  <c:v>0.025423728813559324</c:v>
                </c:pt>
                <c:pt idx="32">
                  <c:v>0.017241379310344827</c:v>
                </c:pt>
                <c:pt idx="33">
                  <c:v>0.023952095808383235</c:v>
                </c:pt>
                <c:pt idx="34">
                  <c:v>0.014705882352941176</c:v>
                </c:pt>
                <c:pt idx="35">
                  <c:v>0.020134228187919462</c:v>
                </c:pt>
                <c:pt idx="36">
                  <c:v>0.007936507936507936</c:v>
                </c:pt>
                <c:pt idx="37">
                  <c:v>0.007142857142857143</c:v>
                </c:pt>
                <c:pt idx="38">
                  <c:v>0.006802721088435374</c:v>
                </c:pt>
                <c:pt idx="39">
                  <c:v>0.007633587786259542</c:v>
                </c:pt>
                <c:pt idx="40">
                  <c:v>0.006211180124223602</c:v>
                </c:pt>
                <c:pt idx="41">
                  <c:v>0.011111111111111112</c:v>
                </c:pt>
                <c:pt idx="42">
                  <c:v>0.0033003300330033004</c:v>
                </c:pt>
                <c:pt idx="43">
                  <c:v>0.0054249547920434</c:v>
                </c:pt>
                <c:pt idx="44">
                  <c:v>0.006611570247933884</c:v>
                </c:pt>
                <c:pt idx="45">
                  <c:v>0.003883495145631068</c:v>
                </c:pt>
                <c:pt idx="46">
                  <c:v>0.006359300476947536</c:v>
                </c:pt>
                <c:pt idx="47">
                  <c:v>0.006322444678609062</c:v>
                </c:pt>
                <c:pt idx="48">
                  <c:v>0.005700325732899023</c:v>
                </c:pt>
                <c:pt idx="49">
                  <c:v>0.004464285714285714</c:v>
                </c:pt>
                <c:pt idx="50">
                  <c:v>0.011235955056179775</c:v>
                </c:pt>
                <c:pt idx="51">
                  <c:v>0.008323424494649227</c:v>
                </c:pt>
                <c:pt idx="52">
                  <c:v>0.010248901903367497</c:v>
                </c:pt>
                <c:pt idx="53">
                  <c:v>0.011450381679389313</c:v>
                </c:pt>
                <c:pt idx="54">
                  <c:v>0.00808080808080808</c:v>
                </c:pt>
                <c:pt idx="55">
                  <c:v>0.012131715771230503</c:v>
                </c:pt>
                <c:pt idx="56">
                  <c:v>0.012552301255230125</c:v>
                </c:pt>
                <c:pt idx="57">
                  <c:v>0.01079913606911447</c:v>
                </c:pt>
                <c:pt idx="58">
                  <c:v>0.009282178217821782</c:v>
                </c:pt>
                <c:pt idx="59">
                  <c:v>0.013778100072516316</c:v>
                </c:pt>
                <c:pt idx="60">
                  <c:v>0.01748971193415638</c:v>
                </c:pt>
                <c:pt idx="61">
                  <c:v>0.018660812294182216</c:v>
                </c:pt>
                <c:pt idx="62">
                  <c:v>0.015037593984962405</c:v>
                </c:pt>
                <c:pt idx="63">
                  <c:v>0.01842870999030068</c:v>
                </c:pt>
                <c:pt idx="64">
                  <c:v>0.011904761904761904</c:v>
                </c:pt>
                <c:pt idx="65">
                  <c:v>0.010165184243964422</c:v>
                </c:pt>
                <c:pt idx="66">
                  <c:v>0.007183908045977011</c:v>
                </c:pt>
                <c:pt idx="67">
                  <c:v>0.008445945945945946</c:v>
                </c:pt>
                <c:pt idx="68">
                  <c:v>0.005509641873278237</c:v>
                </c:pt>
                <c:pt idx="69">
                  <c:v>0.0027397260273972603</c:v>
                </c:pt>
                <c:pt idx="70">
                  <c:v>0.005988023952095809</c:v>
                </c:pt>
                <c:pt idx="71">
                  <c:v>0.0070921985815602835</c:v>
                </c:pt>
                <c:pt idx="72">
                  <c:v>0.0072992700729927005</c:v>
                </c:pt>
                <c:pt idx="73">
                  <c:v>0.003676470588235294</c:v>
                </c:pt>
                <c:pt idx="74">
                  <c:v>0.00546448087431694</c:v>
                </c:pt>
                <c:pt idx="75">
                  <c:v>0.007575757575757576</c:v>
                </c:pt>
                <c:pt idx="76">
                  <c:v>0.00819672131147541</c:v>
                </c:pt>
                <c:pt idx="77">
                  <c:v>0.00819672131147541</c:v>
                </c:pt>
                <c:pt idx="78">
                  <c:v>0.011627906976744186</c:v>
                </c:pt>
                <c:pt idx="79">
                  <c:v>0.012987012987012988</c:v>
                </c:pt>
                <c:pt idx="80">
                  <c:v>0.011764705882352941</c:v>
                </c:pt>
                <c:pt idx="81">
                  <c:v>0.006944444444444444</c:v>
                </c:pt>
                <c:pt idx="82">
                  <c:v>0.013793103448275862</c:v>
                </c:pt>
                <c:pt idx="83">
                  <c:v>0.005</c:v>
                </c:pt>
                <c:pt idx="84">
                  <c:v>0.0058997050147492625</c:v>
                </c:pt>
                <c:pt idx="85">
                  <c:v>0.005405405405405406</c:v>
                </c:pt>
                <c:pt idx="86">
                  <c:v>0.008264462809917356</c:v>
                </c:pt>
                <c:pt idx="87">
                  <c:v>0.004608294930875576</c:v>
                </c:pt>
                <c:pt idx="88">
                  <c:v>0.0023328149300155523</c:v>
                </c:pt>
                <c:pt idx="89">
                  <c:v>0.0016</c:v>
                </c:pt>
                <c:pt idx="90">
                  <c:v>0.004291845493562232</c:v>
                </c:pt>
                <c:pt idx="91">
                  <c:v>0.0036036036036036037</c:v>
                </c:pt>
                <c:pt idx="92">
                  <c:v>0.0017482517482517483</c:v>
                </c:pt>
              </c:numCache>
            </c:numRef>
          </c:yVal>
          <c:smooth val="0"/>
          <c:extLst>
            <c:ext xmlns:c16="http://schemas.microsoft.com/office/drawing/2014/chart" uri="{C3380CC4-5D6E-409C-BE32-E72D297353CC}">
              <c16:uniqueId val="{00000000-F32D-48B7-BC20-E66FC6253BAD}"/>
            </c:ext>
          </c:extLst>
        </c:ser>
        <c:ser>
          <c:idx val="1"/>
          <c:order val="1"/>
          <c:tx>
            <c:strRef>
              <c:f>Sheet1!$B$9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7:$A$146</c:f>
              <c:numCache>
                <c:formatCode>General</c:formatCode>
                <c:ptCount val="50"/>
                <c:pt idx="0">
                  <c:v>0.0</c:v>
                </c:pt>
                <c:pt idx="1">
                  <c:v>0.0</c:v>
                </c:pt>
                <c:pt idx="2">
                  <c:v>0.0</c:v>
                </c:pt>
                <c:pt idx="3">
                  <c:v>0.0</c:v>
                </c:pt>
                <c:pt idx="4">
                  <c:v>0.0</c:v>
                </c:pt>
                <c:pt idx="5">
                  <c:v>0.0</c:v>
                </c:pt>
                <c:pt idx="6">
                  <c:v>0.0</c:v>
                </c:pt>
                <c:pt idx="7">
                  <c:v>0.0</c:v>
                </c:pt>
                <c:pt idx="8">
                  <c:v>0.0</c:v>
                </c:pt>
                <c:pt idx="9">
                  <c:v>0.0</c:v>
                </c:pt>
                <c:pt idx="10">
                  <c:v>640.3333</c:v>
                </c:pt>
                <c:pt idx="11">
                  <c:v>707.0</c:v>
                </c:pt>
                <c:pt idx="12">
                  <c:v>625.2</c:v>
                </c:pt>
                <c:pt idx="13">
                  <c:v>641.0</c:v>
                </c:pt>
                <c:pt idx="14">
                  <c:v>717.0</c:v>
                </c:pt>
                <c:pt idx="15">
                  <c:v>592.3333</c:v>
                </c:pt>
                <c:pt idx="16">
                  <c:v>646.0</c:v>
                </c:pt>
                <c:pt idx="17">
                  <c:v>725.0</c:v>
                </c:pt>
                <c:pt idx="18">
                  <c:v>715.0</c:v>
                </c:pt>
                <c:pt idx="19">
                  <c:v>812.0</c:v>
                </c:pt>
                <c:pt idx="20">
                  <c:v>646.0</c:v>
                </c:pt>
                <c:pt idx="21">
                  <c:v>0.0</c:v>
                </c:pt>
                <c:pt idx="22">
                  <c:v>0.0</c:v>
                </c:pt>
                <c:pt idx="23">
                  <c:v>952.0</c:v>
                </c:pt>
                <c:pt idx="24">
                  <c:v>477.0</c:v>
                </c:pt>
                <c:pt idx="25">
                  <c:v>803.0</c:v>
                </c:pt>
                <c:pt idx="26">
                  <c:v>964.0</c:v>
                </c:pt>
                <c:pt idx="27">
                  <c:v>805.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389.75</c:v>
                </c:pt>
                <c:pt idx="44">
                  <c:v>434.0</c:v>
                </c:pt>
                <c:pt idx="45">
                  <c:v>348.0</c:v>
                </c:pt>
                <c:pt idx="46">
                  <c:v>0.0</c:v>
                </c:pt>
                <c:pt idx="47">
                  <c:v>267.0</c:v>
                </c:pt>
                <c:pt idx="48">
                  <c:v>345.0</c:v>
                </c:pt>
                <c:pt idx="49">
                  <c:v>513.0</c:v>
                </c:pt>
              </c:numCache>
            </c:numRef>
          </c:xVal>
          <c:yVal>
            <c:numRef>
              <c:f>Sheet1!$B$97:$B$146</c:f>
              <c:numCache>
                <c:formatCode>General</c:formatCode>
                <c:ptCount val="50"/>
                <c:pt idx="0">
                  <c:v>0.0</c:v>
                </c:pt>
                <c:pt idx="1">
                  <c:v>0.0</c:v>
                </c:pt>
                <c:pt idx="2">
                  <c:v>0.0</c:v>
                </c:pt>
                <c:pt idx="3">
                  <c:v>0.0</c:v>
                </c:pt>
                <c:pt idx="4">
                  <c:v>0.0</c:v>
                </c:pt>
                <c:pt idx="5">
                  <c:v>0.0</c:v>
                </c:pt>
                <c:pt idx="6">
                  <c:v>0.0</c:v>
                </c:pt>
                <c:pt idx="7">
                  <c:v>0.0</c:v>
                </c:pt>
                <c:pt idx="8">
                  <c:v>0.0</c:v>
                </c:pt>
                <c:pt idx="9">
                  <c:v>0.0</c:v>
                </c:pt>
                <c:pt idx="10">
                  <c:v>0.004373177842565598</c:v>
                </c:pt>
                <c:pt idx="11">
                  <c:v>0.004559270516717325</c:v>
                </c:pt>
                <c:pt idx="12">
                  <c:v>0.006963788300835654</c:v>
                </c:pt>
                <c:pt idx="13">
                  <c:v>0.002484472049689441</c:v>
                </c:pt>
                <c:pt idx="14">
                  <c:v>0.006069802731411229</c:v>
                </c:pt>
                <c:pt idx="15">
                  <c:v>0.0047694753577106515</c:v>
                </c:pt>
                <c:pt idx="16">
                  <c:v>0.0038119440914866584</c:v>
                </c:pt>
                <c:pt idx="17">
                  <c:v>0.004842615012106538</c:v>
                </c:pt>
                <c:pt idx="18">
                  <c:v>0.0039447731755424065</c:v>
                </c:pt>
                <c:pt idx="19">
                  <c:v>0.001838235294117647</c:v>
                </c:pt>
                <c:pt idx="20">
                  <c:v>0.0019047619047619048</c:v>
                </c:pt>
                <c:pt idx="21">
                  <c:v>0.0</c:v>
                </c:pt>
                <c:pt idx="22">
                  <c:v>0.0</c:v>
                </c:pt>
                <c:pt idx="23">
                  <c:v>0.0017667844522968198</c:v>
                </c:pt>
                <c:pt idx="24">
                  <c:v>0.00199203187250996</c:v>
                </c:pt>
                <c:pt idx="25">
                  <c:v>0.0022222222222222222</c:v>
                </c:pt>
                <c:pt idx="26">
                  <c:v>0.0027624309392265192</c:v>
                </c:pt>
                <c:pt idx="27">
                  <c:v>0.0035714285714285713</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08547008547008548</c:v>
                </c:pt>
                <c:pt idx="44">
                  <c:v>0.002932551319648094</c:v>
                </c:pt>
                <c:pt idx="45">
                  <c:v>0.002457002457002457</c:v>
                </c:pt>
                <c:pt idx="46">
                  <c:v>0.0</c:v>
                </c:pt>
                <c:pt idx="47">
                  <c:v>0.0015105740181268882</c:v>
                </c:pt>
                <c:pt idx="48">
                  <c:v>0.001516300227445034</c:v>
                </c:pt>
                <c:pt idx="49">
                  <c:v>0.001718213058419244</c:v>
                </c:pt>
              </c:numCache>
            </c:numRef>
          </c:yVal>
          <c:smooth val="0"/>
          <c:extLst>
            <c:ext xmlns:c16="http://schemas.microsoft.com/office/drawing/2014/chart" uri="{C3380CC4-5D6E-409C-BE32-E72D297353CC}">
              <c16:uniqueId val="{00000002-F32D-48B7-BC20-E66FC6253BAD}"/>
            </c:ext>
          </c:extLst>
        </c:ser>
        <c:ser>
          <c:idx val="2"/>
          <c:order val="2"/>
          <c:tx>
            <c:strRef>
              <c:f>Sheet1!$B$148</c:f>
              <c:strCache>
                <c:ptCount val="1"/>
                <c:pt idx="0">
                  <c:v>Custom Linep3yQ</c:v>
                </c:pt>
              </c:strCache>
            </c:strRef>
          </c:tx>
          <c:spPr>
            <a:ln w="19050" cap="rnd">
              <a:solidFill>
                <a:srgbClr val="C00000"/>
              </a:solidFill>
              <a:prstDash val="sysDot"/>
              <a:round/>
            </a:ln>
            <a:effectLst/>
          </c:spPr>
          <c:marker>
            <c:symbol val="none"/>
          </c:marker>
          <c:xVal>
            <c:numRef>
              <c:f>Sheet1!$A$149:$A$150</c:f>
              <c:numCache>
                <c:formatCode>General</c:formatCode>
                <c:ptCount val="2"/>
                <c:pt idx="0">
                  <c:v>0</c:v>
                </c:pt>
                <c:pt idx="1">
                  <c:v>4282.842279517169</c:v>
                </c:pt>
              </c:numCache>
            </c:numRef>
          </c:xVal>
          <c:yVal>
            <c:numRef>
              <c:f>Sheet1!$B$149:$B$150</c:f>
              <c:numCache>
                <c:formatCode>General</c:formatCode>
                <c:ptCount val="2"/>
                <c:pt idx="0">
                  <c:v>0.02075506612669103</c:v>
                </c:pt>
                <c:pt idx="1">
                  <c:v>0.02075506612669103</c:v>
                </c:pt>
              </c:numCache>
            </c:numRef>
          </c:yVal>
          <c:smooth val="0"/>
          <c:extLst>
            <c:ext xmlns:c16="http://schemas.microsoft.com/office/drawing/2014/chart" uri="{C3380CC4-5D6E-409C-BE32-E72D297353CC}">
              <c16:uniqueId val="{00000003-F32D-48B7-BC20-E66FC6253BAD}"/>
            </c:ext>
          </c:extLst>
        </c:ser>
        <c:ser>
          <c:idx val="3"/>
          <c:order val="3"/>
          <c:tx>
            <c:strRef>
              <c:f>Sheet1!$B$15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4282.842279517169</c:v>
                </c:pt>
                <c:pt idx="1">
                  <c:v>4282.842279517169</c:v>
                </c:pt>
              </c:numCache>
            </c:numRef>
          </c:xVal>
          <c:yVal>
            <c:numRef>
              <c:f>Sheet1!$B$153:$B$154</c:f>
              <c:numCache>
                <c:formatCode>General</c:formatCode>
                <c:ptCount val="2"/>
                <c:pt idx="0">
                  <c:v>0.020755066126691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7:$A$158</c:f>
              <c:numCache>
                <c:formatCode>General</c:formatCode>
                <c:ptCount val="2"/>
                <c:pt idx="0">
                  <c:v>0</c:v>
                </c:pt>
                <c:pt idx="1">
                  <c:v>924.7538549490346</c:v>
                </c:pt>
              </c:numCache>
            </c:numRef>
          </c:xVal>
          <c:yVal>
            <c:numRef>
              <c:f>Sheet1!$B$157:$B$158</c:f>
              <c:numCache>
                <c:formatCode>General</c:formatCode>
                <c:ptCount val="2"/>
                <c:pt idx="0">
                  <c:v>0.004646591008673945</c:v>
                </c:pt>
                <c:pt idx="1">
                  <c:v>0.004646591008673945</c:v>
                </c:pt>
              </c:numCache>
            </c:numRef>
          </c:yVal>
          <c:smooth val="0"/>
          <c:extLst>
            <c:ext xmlns:c16="http://schemas.microsoft.com/office/drawing/2014/chart" uri="{C3380CC4-5D6E-409C-BE32-E72D297353CC}">
              <c16:uniqueId val="{0000000A-F32D-48B7-BC20-E66FC6253BAD}"/>
            </c:ext>
          </c:extLst>
        </c:ser>
        <c:ser>
          <c:idx val="5"/>
          <c:order val="5"/>
          <c:tx>
            <c:strRef>
              <c:f>Sheet1!$B$16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924.7538549490346</c:v>
                </c:pt>
                <c:pt idx="1">
                  <c:v>924.7538549490346</c:v>
                </c:pt>
              </c:numCache>
            </c:numRef>
          </c:xVal>
          <c:yVal>
            <c:numRef>
              <c:f>Sheet1!$B$161:$B$162</c:f>
              <c:numCache>
                <c:formatCode>General</c:formatCode>
                <c:ptCount val="2"/>
                <c:pt idx="0">
                  <c:v>0.0046465910086739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5:$A$166</c:f>
              <c:numCache>
                <c:formatCode>General</c:formatCode>
                <c:ptCount val="2"/>
                <c:pt idx="0">
                  <c:v>0</c:v>
                </c:pt>
                <c:pt idx="1">
                  <c:v>310.13856074183394</c:v>
                </c:pt>
              </c:numCache>
            </c:numRef>
          </c:xVal>
          <c:yVal>
            <c:numRef>
              <c:f>Sheet1!$B$165:$B$166</c:f>
              <c:numCache>
                <c:formatCode>General</c:formatCode>
                <c:ptCount val="2"/>
                <c:pt idx="0">
                  <c:v>0.0016983317843318425</c:v>
                </c:pt>
                <c:pt idx="1">
                  <c:v>0.0016983317843318425</c:v>
                </c:pt>
              </c:numCache>
            </c:numRef>
          </c:yVal>
          <c:smooth val="0"/>
          <c:extLst>
            <c:ext xmlns:c16="http://schemas.microsoft.com/office/drawing/2014/chart" uri="{C3380CC4-5D6E-409C-BE32-E72D297353CC}">
              <c16:uniqueId val="{00000011-F32D-48B7-BC20-E66FC6253BAD}"/>
            </c:ext>
          </c:extLst>
        </c:ser>
        <c:ser>
          <c:idx val="7"/>
          <c:order val="7"/>
          <c:tx>
            <c:strRef>
              <c:f>Sheet1!$B$16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10.13856074183394</c:v>
                </c:pt>
                <c:pt idx="1">
                  <c:v>310.13856074183394</c:v>
                </c:pt>
              </c:numCache>
            </c:numRef>
          </c:xVal>
          <c:yVal>
            <c:numRef>
              <c:f>Sheet1!$B$169:$B$170</c:f>
              <c:numCache>
                <c:formatCode>General</c:formatCode>
                <c:ptCount val="2"/>
                <c:pt idx="0">
                  <c:v>0.00169833178433184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3:$A$225</c:f>
              <c:numCache>
                <c:formatCode>General</c:formatCode>
                <c:ptCount val="53"/>
                <c:pt idx="0">
                  <c:v>0.0</c:v>
                </c:pt>
                <c:pt idx="1">
                  <c:v>0.0</c:v>
                </c:pt>
                <c:pt idx="2">
                  <c:v>0.0</c:v>
                </c:pt>
                <c:pt idx="3">
                  <c:v>0.0</c:v>
                </c:pt>
                <c:pt idx="4">
                  <c:v>0.0</c:v>
                </c:pt>
                <c:pt idx="5">
                  <c:v>0.0</c:v>
                </c:pt>
                <c:pt idx="6">
                  <c:v>0.0</c:v>
                </c:pt>
                <c:pt idx="7">
                  <c:v>0.0</c:v>
                </c:pt>
                <c:pt idx="8">
                  <c:v>0.0</c:v>
                </c:pt>
                <c:pt idx="9">
                  <c:v>0.0</c:v>
                </c:pt>
                <c:pt idx="10">
                  <c:v>640.3333</c:v>
                </c:pt>
                <c:pt idx="11">
                  <c:v>707.0</c:v>
                </c:pt>
                <c:pt idx="12">
                  <c:v>625.2</c:v>
                </c:pt>
                <c:pt idx="13">
                  <c:v>641.0</c:v>
                </c:pt>
                <c:pt idx="14">
                  <c:v>717.0</c:v>
                </c:pt>
                <c:pt idx="15">
                  <c:v>592.3333</c:v>
                </c:pt>
                <c:pt idx="16">
                  <c:v>646.0</c:v>
                </c:pt>
                <c:pt idx="17">
                  <c:v>725.0</c:v>
                </c:pt>
                <c:pt idx="18">
                  <c:v>715.0</c:v>
                </c:pt>
                <c:pt idx="19">
                  <c:v>812.0</c:v>
                </c:pt>
                <c:pt idx="20">
                  <c:v>646.0</c:v>
                </c:pt>
                <c:pt idx="21">
                  <c:v>0.0</c:v>
                </c:pt>
                <c:pt idx="22">
                  <c:v>0.0</c:v>
                </c:pt>
                <c:pt idx="23">
                  <c:v>952.0</c:v>
                </c:pt>
                <c:pt idx="24">
                  <c:v>477.0</c:v>
                </c:pt>
                <c:pt idx="25">
                  <c:v>803.0</c:v>
                </c:pt>
                <c:pt idx="26">
                  <c:v>964.0</c:v>
                </c:pt>
                <c:pt idx="27">
                  <c:v>805.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389.75</c:v>
                </c:pt>
                <c:pt idx="44">
                  <c:v>434.0</c:v>
                </c:pt>
                <c:pt idx="45">
                  <c:v>348.0</c:v>
                </c:pt>
                <c:pt idx="46">
                  <c:v>0.0</c:v>
                </c:pt>
                <c:pt idx="47">
                  <c:v>267.0</c:v>
                </c:pt>
                <c:pt idx="48">
                  <c:v>345.0</c:v>
                </c:pt>
                <c:pt idx="49">
                  <c:v>513.0</c:v>
                </c:pt>
                <c:pt idx="50">
                  <c:v>924.7538549490346</c:v>
                </c:pt>
                <c:pt idx="51">
                  <c:v>4282.842279517169</c:v>
                </c:pt>
                <c:pt idx="52">
                  <c:v>310.13856074183394</c:v>
                </c:pt>
              </c:numCache>
            </c:numRef>
          </c:xVal>
          <c:yVal>
            <c:numRef>
              <c:f>Sheet1!$B$173:$B$225</c:f>
              <c:numCache>
                <c:formatCode>General</c:formatCode>
                <c:ptCount val="53"/>
                <c:pt idx="0">
                  <c:v>0.0002106225113129365</c:v>
                </c:pt>
                <c:pt idx="1">
                  <c:v>0.0002106225113129365</c:v>
                </c:pt>
                <c:pt idx="2">
                  <c:v>0.0002106225113129365</c:v>
                </c:pt>
                <c:pt idx="3">
                  <c:v>0.0002106225113129365</c:v>
                </c:pt>
                <c:pt idx="4">
                  <c:v>0.0002106225113129365</c:v>
                </c:pt>
                <c:pt idx="5">
                  <c:v>0.0002106225113129365</c:v>
                </c:pt>
                <c:pt idx="6">
                  <c:v>0.0002106225113129365</c:v>
                </c:pt>
                <c:pt idx="7">
                  <c:v>0.0002106225113129365</c:v>
                </c:pt>
                <c:pt idx="8">
                  <c:v>0.0002106225113129365</c:v>
                </c:pt>
                <c:pt idx="9">
                  <c:v>0.0002106225113129365</c:v>
                </c:pt>
                <c:pt idx="10">
                  <c:v>0.0032822489029301553</c:v>
                </c:pt>
                <c:pt idx="11">
                  <c:v>0.0036020436022875485</c:v>
                </c:pt>
                <c:pt idx="12">
                  <c:v>0.003209655702369977</c:v>
                </c:pt>
                <c:pt idx="13">
                  <c:v>0.0032854470082220263</c:v>
                </c:pt>
                <c:pt idx="14">
                  <c:v>0.003650012783206567</c:v>
                </c:pt>
                <c:pt idx="15">
                  <c:v>0.0030519968345188663</c:v>
                </c:pt>
                <c:pt idx="16">
                  <c:v>0.0033094315986815356</c:v>
                </c:pt>
                <c:pt idx="17">
                  <c:v>0.003688388127941782</c:v>
                </c:pt>
                <c:pt idx="18">
                  <c:v>0.0036404189470227635</c:v>
                </c:pt>
                <c:pt idx="19">
                  <c:v>0.004105720001937243</c:v>
                </c:pt>
                <c:pt idx="20">
                  <c:v>0.0033094315986815356</c:v>
                </c:pt>
                <c:pt idx="21">
                  <c:v>0.0002106225113129365</c:v>
                </c:pt>
                <c:pt idx="22">
                  <c:v>0.0002106225113129365</c:v>
                </c:pt>
                <c:pt idx="23">
                  <c:v>0.004777288534803503</c:v>
                </c:pt>
                <c:pt idx="24">
                  <c:v>0.0024987524411501216</c:v>
                </c:pt>
                <c:pt idx="25">
                  <c:v>0.004062547739110127</c:v>
                </c:pt>
                <c:pt idx="26">
                  <c:v>0.004834851551906325</c:v>
                </c:pt>
                <c:pt idx="27">
                  <c:v>0.00407214157529393</c:v>
                </c:pt>
                <c:pt idx="28">
                  <c:v>0.0002106225113129365</c:v>
                </c:pt>
                <c:pt idx="29">
                  <c:v>0.0002106225113129365</c:v>
                </c:pt>
                <c:pt idx="30">
                  <c:v>0.0002106225113129365</c:v>
                </c:pt>
                <c:pt idx="31">
                  <c:v>0.0002106225113129365</c:v>
                </c:pt>
                <c:pt idx="32">
                  <c:v>0.0002106225113129365</c:v>
                </c:pt>
                <c:pt idx="33">
                  <c:v>0.0002106225113129365</c:v>
                </c:pt>
                <c:pt idx="34">
                  <c:v>0.0002106225113129365</c:v>
                </c:pt>
                <c:pt idx="35">
                  <c:v>0.0002106225113129365</c:v>
                </c:pt>
                <c:pt idx="36">
                  <c:v>0.0002106225113129365</c:v>
                </c:pt>
                <c:pt idx="37">
                  <c:v>0.0002106225113129365</c:v>
                </c:pt>
                <c:pt idx="38">
                  <c:v>0.0002106225113129365</c:v>
                </c:pt>
                <c:pt idx="39">
                  <c:v>0.0002106225113129365</c:v>
                </c:pt>
                <c:pt idx="40">
                  <c:v>0.0002106225113129365</c:v>
                </c:pt>
                <c:pt idx="41">
                  <c:v>0.0002106225113129365</c:v>
                </c:pt>
                <c:pt idx="42">
                  <c:v>0.0002106225113129365</c:v>
                </c:pt>
                <c:pt idx="43">
                  <c:v>0.002080221337631685</c:v>
                </c:pt>
                <c:pt idx="44">
                  <c:v>0.002292484963198342</c:v>
                </c:pt>
                <c:pt idx="45">
                  <c:v>0.0018799500072947824</c:v>
                </c:pt>
                <c:pt idx="46">
                  <c:v>0.0002106225113129365</c:v>
                </c:pt>
                <c:pt idx="47">
                  <c:v>0.001491399641850732</c:v>
                </c:pt>
                <c:pt idx="48">
                  <c:v>0.0018655592530190768</c:v>
                </c:pt>
                <c:pt idx="49">
                  <c:v>0.0026714414924585888</c:v>
                </c:pt>
                <c:pt idx="50">
                  <c:v>0.004646591008673945</c:v>
                </c:pt>
                <c:pt idx="51">
                  <c:v>0.020755066126691032</c:v>
                </c:pt>
                <c:pt idx="52">
                  <c:v>0.00169833178433184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13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41784548422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4</c:f>
              <c:numCache>
                <c:formatCode>General</c:formatCode>
                <c:ptCount val="93"/>
                <c:pt idx="0">
                  <c:v>1.39142508329709</c:v>
                </c:pt>
                <c:pt idx="1">
                  <c:v>1.2555845017618763</c:v>
                </c:pt>
                <c:pt idx="2">
                  <c:v>1.4080240456006992</c:v>
                </c:pt>
                <c:pt idx="3">
                  <c:v>1.5182923589607358</c:v>
                </c:pt>
                <c:pt idx="4">
                  <c:v>1.4242091315493937</c:v>
                </c:pt>
                <c:pt idx="5">
                  <c:v>1.5452835833916472</c:v>
                </c:pt>
                <c:pt idx="6">
                  <c:v>1.7051077344638503</c:v>
                </c:pt>
                <c:pt idx="7">
                  <c:v>1.7528650287732856</c:v>
                </c:pt>
                <c:pt idx="8">
                  <c:v>1.7160141957228778</c:v>
                </c:pt>
                <c:pt idx="9">
                  <c:v>1.9846177560779759</c:v>
                </c:pt>
                <c:pt idx="10">
                  <c:v>2.0780120184164312</c:v>
                </c:pt>
                <c:pt idx="11">
                  <c:v>1.6438191392354453</c:v>
                </c:pt>
                <c:pt idx="12">
                  <c:v>1.5567973478561128</c:v>
                </c:pt>
                <c:pt idx="13">
                  <c:v>1.6426087722506246</c:v>
                </c:pt>
                <c:pt idx="14">
                  <c:v>1.5550675405939094</c:v>
                </c:pt>
                <c:pt idx="15">
                  <c:v>1.811683509982746</c:v>
                </c:pt>
                <c:pt idx="16">
                  <c:v>1.7545444332005888</c:v>
                </c:pt>
                <c:pt idx="17">
                  <c:v>1.4449979294485884</c:v>
                </c:pt>
                <c:pt idx="18">
                  <c:v>1.2109095537056922</c:v>
                </c:pt>
                <c:pt idx="19">
                  <c:v>1.4639142101604175</c:v>
                </c:pt>
                <c:pt idx="20">
                  <c:v>2.0877062663037838</c:v>
                </c:pt>
                <c:pt idx="21">
                  <c:v>2.1166517610542654</c:v>
                </c:pt>
                <c:pt idx="22">
                  <c:v>1.7033865317244063</c:v>
                </c:pt>
                <c:pt idx="23">
                  <c:v>1.4443725476922464</c:v>
                </c:pt>
                <c:pt idx="24">
                  <c:v>1.600128210064698</c:v>
                </c:pt>
                <c:pt idx="25">
                  <c:v>1.5189532577903684</c:v>
                </c:pt>
                <c:pt idx="26">
                  <c:v>1.7128883205130017</c:v>
                </c:pt>
                <c:pt idx="27">
                  <c:v>1.7247275907857296</c:v>
                </c:pt>
                <c:pt idx="28">
                  <c:v>1.5962636222106903</c:v>
                </c:pt>
                <c:pt idx="29">
                  <c:v>1.7453477094561778</c:v>
                </c:pt>
                <c:pt idx="30">
                  <c:v>1.9168281344181501</c:v>
                </c:pt>
                <c:pt idx="31">
                  <c:v>1.5733368460941286</c:v>
                </c:pt>
                <c:pt idx="32">
                  <c:v>1.9260291747362754</c:v>
                </c:pt>
                <c:pt idx="33">
                  <c:v>1.5764158262218775</c:v>
                </c:pt>
                <c:pt idx="34">
                  <c:v>1.4825581395348837</c:v>
                </c:pt>
                <c:pt idx="35">
                  <c:v>1.811791291437218</c:v>
                </c:pt>
                <c:pt idx="36">
                  <c:v>2.080306616851002</c:v>
                </c:pt>
                <c:pt idx="37">
                  <c:v>1.7663817663817662</c:v>
                </c:pt>
                <c:pt idx="38">
                  <c:v>3.4880569352056012</c:v>
                </c:pt>
                <c:pt idx="39">
                  <c:v>1.6487780297304107</c:v>
                </c:pt>
                <c:pt idx="40">
                  <c:v>1.680722891566265</c:v>
                </c:pt>
                <c:pt idx="41">
                  <c:v>2.8046328916488887</c:v>
                </c:pt>
                <c:pt idx="42">
                  <c:v>3.450008470450904</c:v>
                </c:pt>
                <c:pt idx="43">
                  <c:v>2.222949483472988</c:v>
                </c:pt>
                <c:pt idx="44">
                  <c:v>2.4706330663228386</c:v>
                </c:pt>
                <c:pt idx="45">
                  <c:v>2.56844664467683</c:v>
                </c:pt>
                <c:pt idx="46">
                  <c:v>2.8317141912965496</c:v>
                </c:pt>
                <c:pt idx="47">
                  <c:v>2.4057619175486296</c:v>
                </c:pt>
                <c:pt idx="48">
                  <c:v>2.545422616790158</c:v>
                </c:pt>
                <c:pt idx="49">
                  <c:v>2.3150060316556536</c:v>
                </c:pt>
                <c:pt idx="50">
                  <c:v>2.302619244037798</c:v>
                </c:pt>
                <c:pt idx="51">
                  <c:v>2.1187831965234185</c:v>
                </c:pt>
                <c:pt idx="52">
                  <c:v>2.293296135093334</c:v>
                </c:pt>
                <c:pt idx="53">
                  <c:v>2.230671634404731</c:v>
                </c:pt>
                <c:pt idx="54">
                  <c:v>2.1938896027547936</c:v>
                </c:pt>
                <c:pt idx="55">
                  <c:v>2.1203010978358816</c:v>
                </c:pt>
                <c:pt idx="56">
                  <c:v>2.1530230974185565</c:v>
                </c:pt>
                <c:pt idx="57">
                  <c:v>2.1818999044223384</c:v>
                </c:pt>
                <c:pt idx="58">
                  <c:v>2.3822644280921543</c:v>
                </c:pt>
                <c:pt idx="59">
                  <c:v>2.186398418004325</c:v>
                </c:pt>
                <c:pt idx="60">
                  <c:v>2.040941320529403</c:v>
                </c:pt>
                <c:pt idx="61">
                  <c:v>2.3937058414446866</c:v>
                </c:pt>
                <c:pt idx="62">
                  <c:v>2.2706298828125</c:v>
                </c:pt>
                <c:pt idx="63">
                  <c:v>2.071964533422551</c:v>
                </c:pt>
                <c:pt idx="64">
                  <c:v>2.049041255084253</c:v>
                </c:pt>
                <c:pt idx="65">
                  <c:v>2.0201924048169424</c:v>
                </c:pt>
                <c:pt idx="66">
                  <c:v>2.106071088073628</c:v>
                </c:pt>
                <c:pt idx="67">
                  <c:v>2.1459929677298817</c:v>
                </c:pt>
                <c:pt idx="68">
                  <c:v>1.6949404698651276</c:v>
                </c:pt>
                <c:pt idx="69">
                  <c:v>2.450119327577571</c:v>
                </c:pt>
                <c:pt idx="70">
                  <c:v>1.4595021746053871</c:v>
                </c:pt>
                <c:pt idx="71">
                  <c:v>1.4475092242580905</c:v>
                </c:pt>
                <c:pt idx="72">
                  <c:v>1.9234009957870548</c:v>
                </c:pt>
                <c:pt idx="73">
                  <c:v>2.5210843373493974</c:v>
                </c:pt>
                <c:pt idx="74">
                  <c:v>1.3102009553979106</c:v>
                </c:pt>
                <c:pt idx="75">
                  <c:v>0.8029775102945835</c:v>
                </c:pt>
                <c:pt idx="76">
                  <c:v>0.8049038489168486</c:v>
                </c:pt>
                <c:pt idx="77">
                  <c:v>1.2229766929711874</c:v>
                </c:pt>
                <c:pt idx="78">
                  <c:v>1.2634886514298733</c:v>
                </c:pt>
                <c:pt idx="79">
                  <c:v>0.800225515230012</c:v>
                </c:pt>
                <c:pt idx="80">
                  <c:v>1.1394858828487147</c:v>
                </c:pt>
                <c:pt idx="81">
                  <c:v>1.3891049811503624</c:v>
                </c:pt>
                <c:pt idx="82">
                  <c:v>0.9984962406015038</c:v>
                </c:pt>
                <c:pt idx="83">
                  <c:v>1.3131313131313131</c:v>
                </c:pt>
                <c:pt idx="84">
                  <c:v>1.1368392729012198</c:v>
                </c:pt>
                <c:pt idx="85">
                  <c:v>1.134808796035775</c:v>
                </c:pt>
                <c:pt idx="86">
                  <c:v>1.0444005407091608</c:v>
                </c:pt>
                <c:pt idx="87">
                  <c:v>1.7419638925583443</c:v>
                </c:pt>
                <c:pt idx="88">
                  <c:v>1.791011665526404</c:v>
                </c:pt>
                <c:pt idx="89">
                  <c:v>1.2244408456692952</c:v>
                </c:pt>
                <c:pt idx="90">
                  <c:v>1.0284222494125097</c:v>
                </c:pt>
                <c:pt idx="91">
                  <c:v>1.077943737048967</c:v>
                </c:pt>
                <c:pt idx="92">
                  <c:v>1.2873694285962902</c:v>
                </c:pt>
              </c:numCache>
            </c:numRef>
          </c:xVal>
          <c:yVal>
            <c:numRef>
              <c:f>Sheet1!$B$2:$B$94</c:f>
              <c:numCache>
                <c:formatCode>General</c:formatCode>
                <c:ptCount val="93"/>
                <c:pt idx="0">
                  <c:v>0.01569506726457399</c:v>
                </c:pt>
                <c:pt idx="1">
                  <c:v>0.02119071644803229</c:v>
                </c:pt>
                <c:pt idx="2">
                  <c:v>0.02097902097902098</c:v>
                </c:pt>
                <c:pt idx="3">
                  <c:v>0.026347305389221556</c:v>
                </c:pt>
                <c:pt idx="4">
                  <c:v>0.018867924528301886</c:v>
                </c:pt>
                <c:pt idx="5">
                  <c:v>0.017456359102244388</c:v>
                </c:pt>
                <c:pt idx="6">
                  <c:v>0.025157232704402517</c:v>
                </c:pt>
                <c:pt idx="7">
                  <c:v>0.02014388489208633</c:v>
                </c:pt>
                <c:pt idx="8">
                  <c:v>0.020958083832335328</c:v>
                </c:pt>
                <c:pt idx="9">
                  <c:v>0.020671834625323</c:v>
                </c:pt>
                <c:pt idx="10">
                  <c:v>0.018046709129511677</c:v>
                </c:pt>
                <c:pt idx="11">
                  <c:v>0.02720348204570185</c:v>
                </c:pt>
                <c:pt idx="12">
                  <c:v>0.023138832997987926</c:v>
                </c:pt>
                <c:pt idx="13">
                  <c:v>0.013318534961154272</c:v>
                </c:pt>
                <c:pt idx="14">
                  <c:v>0.012004801920768308</c:v>
                </c:pt>
                <c:pt idx="15">
                  <c:v>0.009693053311793215</c:v>
                </c:pt>
                <c:pt idx="16">
                  <c:v>0.008298755186721992</c:v>
                </c:pt>
                <c:pt idx="17">
                  <c:v>0.004618937644341801</c:v>
                </c:pt>
                <c:pt idx="18">
                  <c:v>0.0035714285714285713</c:v>
                </c:pt>
                <c:pt idx="19">
                  <c:v>0.00909090909090909</c:v>
                </c:pt>
                <c:pt idx="20">
                  <c:v>0.003816793893129771</c:v>
                </c:pt>
                <c:pt idx="21">
                  <c:v>0.004761904761904762</c:v>
                </c:pt>
                <c:pt idx="22">
                  <c:v>0.02197802197802198</c:v>
                </c:pt>
                <c:pt idx="23">
                  <c:v>0.015748031496062992</c:v>
                </c:pt>
                <c:pt idx="24">
                  <c:v>0.02304147465437788</c:v>
                </c:pt>
                <c:pt idx="25">
                  <c:v>0.018072289156626505</c:v>
                </c:pt>
                <c:pt idx="26">
                  <c:v>0.013245033112582781</c:v>
                </c:pt>
                <c:pt idx="27">
                  <c:v>0.023952095808383235</c:v>
                </c:pt>
                <c:pt idx="28">
                  <c:v>0.024844720496894408</c:v>
                </c:pt>
                <c:pt idx="29">
                  <c:v>0.02158273381294964</c:v>
                </c:pt>
                <c:pt idx="30">
                  <c:v>0.018518518518518517</c:v>
                </c:pt>
                <c:pt idx="31">
                  <c:v>0.025423728813559324</c:v>
                </c:pt>
                <c:pt idx="32">
                  <c:v>0.017241379310344827</c:v>
                </c:pt>
                <c:pt idx="33">
                  <c:v>0.023952095808383235</c:v>
                </c:pt>
                <c:pt idx="34">
                  <c:v>0.014705882352941176</c:v>
                </c:pt>
                <c:pt idx="35">
                  <c:v>0.020134228187919462</c:v>
                </c:pt>
                <c:pt idx="36">
                  <c:v>0.007936507936507936</c:v>
                </c:pt>
                <c:pt idx="37">
                  <c:v>0.007142857142857143</c:v>
                </c:pt>
                <c:pt idx="38">
                  <c:v>0.006802721088435374</c:v>
                </c:pt>
                <c:pt idx="39">
                  <c:v>0.007633587786259542</c:v>
                </c:pt>
                <c:pt idx="40">
                  <c:v>0.006211180124223602</c:v>
                </c:pt>
                <c:pt idx="41">
                  <c:v>0.011111111111111112</c:v>
                </c:pt>
                <c:pt idx="42">
                  <c:v>0.0033003300330033004</c:v>
                </c:pt>
                <c:pt idx="43">
                  <c:v>0.0054249547920434</c:v>
                </c:pt>
                <c:pt idx="44">
                  <c:v>0.006611570247933884</c:v>
                </c:pt>
                <c:pt idx="45">
                  <c:v>0.003883495145631068</c:v>
                </c:pt>
                <c:pt idx="46">
                  <c:v>0.006359300476947536</c:v>
                </c:pt>
                <c:pt idx="47">
                  <c:v>0.006322444678609062</c:v>
                </c:pt>
                <c:pt idx="48">
                  <c:v>0.005700325732899023</c:v>
                </c:pt>
                <c:pt idx="49">
                  <c:v>0.004464285714285714</c:v>
                </c:pt>
                <c:pt idx="50">
                  <c:v>0.011235955056179775</c:v>
                </c:pt>
                <c:pt idx="51">
                  <c:v>0.008323424494649227</c:v>
                </c:pt>
                <c:pt idx="52">
                  <c:v>0.010248901903367497</c:v>
                </c:pt>
                <c:pt idx="53">
                  <c:v>0.011450381679389313</c:v>
                </c:pt>
                <c:pt idx="54">
                  <c:v>0.00808080808080808</c:v>
                </c:pt>
                <c:pt idx="55">
                  <c:v>0.012131715771230503</c:v>
                </c:pt>
                <c:pt idx="56">
                  <c:v>0.012552301255230125</c:v>
                </c:pt>
                <c:pt idx="57">
                  <c:v>0.01079913606911447</c:v>
                </c:pt>
                <c:pt idx="58">
                  <c:v>0.009282178217821782</c:v>
                </c:pt>
                <c:pt idx="59">
                  <c:v>0.013778100072516316</c:v>
                </c:pt>
                <c:pt idx="60">
                  <c:v>0.01748971193415638</c:v>
                </c:pt>
                <c:pt idx="61">
                  <c:v>0.018660812294182216</c:v>
                </c:pt>
                <c:pt idx="62">
                  <c:v>0.015037593984962405</c:v>
                </c:pt>
                <c:pt idx="63">
                  <c:v>0.01842870999030068</c:v>
                </c:pt>
                <c:pt idx="64">
                  <c:v>0.011904761904761904</c:v>
                </c:pt>
                <c:pt idx="65">
                  <c:v>0.010165184243964422</c:v>
                </c:pt>
                <c:pt idx="66">
                  <c:v>0.007183908045977011</c:v>
                </c:pt>
                <c:pt idx="67">
                  <c:v>0.008445945945945946</c:v>
                </c:pt>
                <c:pt idx="68">
                  <c:v>0.005509641873278237</c:v>
                </c:pt>
                <c:pt idx="69">
                  <c:v>0.0027397260273972603</c:v>
                </c:pt>
                <c:pt idx="70">
                  <c:v>0.005988023952095809</c:v>
                </c:pt>
                <c:pt idx="71">
                  <c:v>0.0070921985815602835</c:v>
                </c:pt>
                <c:pt idx="72">
                  <c:v>0.0072992700729927005</c:v>
                </c:pt>
                <c:pt idx="73">
                  <c:v>0.003676470588235294</c:v>
                </c:pt>
                <c:pt idx="74">
                  <c:v>0.00546448087431694</c:v>
                </c:pt>
                <c:pt idx="75">
                  <c:v>0.007575757575757576</c:v>
                </c:pt>
                <c:pt idx="76">
                  <c:v>0.00819672131147541</c:v>
                </c:pt>
                <c:pt idx="77">
                  <c:v>0.00819672131147541</c:v>
                </c:pt>
                <c:pt idx="78">
                  <c:v>0.011627906976744186</c:v>
                </c:pt>
                <c:pt idx="79">
                  <c:v>0.012987012987012988</c:v>
                </c:pt>
                <c:pt idx="80">
                  <c:v>0.011764705882352941</c:v>
                </c:pt>
                <c:pt idx="81">
                  <c:v>0.006944444444444444</c:v>
                </c:pt>
                <c:pt idx="82">
                  <c:v>0.013793103448275862</c:v>
                </c:pt>
                <c:pt idx="83">
                  <c:v>0.005</c:v>
                </c:pt>
                <c:pt idx="84">
                  <c:v>0.0058997050147492625</c:v>
                </c:pt>
                <c:pt idx="85">
                  <c:v>0.005405405405405406</c:v>
                </c:pt>
                <c:pt idx="86">
                  <c:v>0.008264462809917356</c:v>
                </c:pt>
                <c:pt idx="87">
                  <c:v>0.004608294930875576</c:v>
                </c:pt>
                <c:pt idx="88">
                  <c:v>0.0023328149300155523</c:v>
                </c:pt>
                <c:pt idx="89">
                  <c:v>0.0016</c:v>
                </c:pt>
                <c:pt idx="90">
                  <c:v>0.004291845493562232</c:v>
                </c:pt>
                <c:pt idx="91">
                  <c:v>0.0036036036036036037</c:v>
                </c:pt>
                <c:pt idx="92">
                  <c:v>0.0017482517482517483</c:v>
                </c:pt>
              </c:numCache>
            </c:numRef>
          </c:yVal>
          <c:smooth val="0"/>
          <c:extLst>
            <c:ext xmlns:c16="http://schemas.microsoft.com/office/drawing/2014/chart" uri="{C3380CC4-5D6E-409C-BE32-E72D297353CC}">
              <c16:uniqueId val="{00000000-096C-4121-9522-6AB7243CCAAE}"/>
            </c:ext>
          </c:extLst>
        </c:ser>
        <c:ser>
          <c:idx val="1"/>
          <c:order val="1"/>
          <c:tx>
            <c:strRef>
              <c:f>Sheet1!$B$9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7:$A$146</c:f>
              <c:numCache>
                <c:formatCode>General</c:formatCode>
                <c:ptCount val="50"/>
                <c:pt idx="0">
                  <c:v>0.0</c:v>
                </c:pt>
                <c:pt idx="1">
                  <c:v>0.0</c:v>
                </c:pt>
                <c:pt idx="2">
                  <c:v>0.0</c:v>
                </c:pt>
                <c:pt idx="3">
                  <c:v>0.0</c:v>
                </c:pt>
                <c:pt idx="4">
                  <c:v>0.0</c:v>
                </c:pt>
                <c:pt idx="5">
                  <c:v>0.0</c:v>
                </c:pt>
                <c:pt idx="6">
                  <c:v>0.0</c:v>
                </c:pt>
                <c:pt idx="7">
                  <c:v>0.0</c:v>
                </c:pt>
                <c:pt idx="8">
                  <c:v>0.0</c:v>
                </c:pt>
                <c:pt idx="9">
                  <c:v>0.0</c:v>
                </c:pt>
                <c:pt idx="10">
                  <c:v>1.0234415544250637</c:v>
                </c:pt>
                <c:pt idx="11">
                  <c:v>1.1378519736662107</c:v>
                </c:pt>
                <c:pt idx="12">
                  <c:v>0.9906774589028106</c:v>
                </c:pt>
                <c:pt idx="13">
                  <c:v>1.0390775844056015</c:v>
                </c:pt>
                <c:pt idx="14">
                  <c:v>1.1516462759421575</c:v>
                </c:pt>
                <c:pt idx="15">
                  <c:v>0.961307557955164</c:v>
                </c:pt>
                <c:pt idx="16">
                  <c:v>1.046656580310478</c:v>
                </c:pt>
                <c:pt idx="17">
                  <c:v>1.1481899932945705</c:v>
                </c:pt>
                <c:pt idx="18">
                  <c:v>1.1463581963729228</c:v>
                </c:pt>
                <c:pt idx="19">
                  <c:v>1.3130810525153183</c:v>
                </c:pt>
                <c:pt idx="20">
                  <c:v>1.0602805607406995</c:v>
                </c:pt>
                <c:pt idx="21">
                  <c:v>0.0</c:v>
                </c:pt>
                <c:pt idx="22">
                  <c:v>0.0</c:v>
                </c:pt>
                <c:pt idx="23">
                  <c:v>1.5291880557562525</c:v>
                </c:pt>
                <c:pt idx="24">
                  <c:v>0.7862128916168443</c:v>
                </c:pt>
                <c:pt idx="25">
                  <c:v>1.290927672200186</c:v>
                </c:pt>
                <c:pt idx="26">
                  <c:v>1.5595551061678463</c:v>
                </c:pt>
                <c:pt idx="27">
                  <c:v>1.3084805468766</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6378213756485609</c:v>
                </c:pt>
                <c:pt idx="44">
                  <c:v>0.6983779608650875</c:v>
                </c:pt>
                <c:pt idx="45">
                  <c:v>0.5721625178307543</c:v>
                </c:pt>
                <c:pt idx="46">
                  <c:v>0.0</c:v>
                </c:pt>
                <c:pt idx="47">
                  <c:v>0.43911332001740006</c:v>
                </c:pt>
                <c:pt idx="48">
                  <c:v>0.5583185581204765</c:v>
                </c:pt>
                <c:pt idx="49">
                  <c:v>0.8186480689400614</c:v>
                </c:pt>
              </c:numCache>
            </c:numRef>
          </c:xVal>
          <c:yVal>
            <c:numRef>
              <c:f>Sheet1!$B$97:$B$146</c:f>
              <c:numCache>
                <c:formatCode>General</c:formatCode>
                <c:ptCount val="50"/>
                <c:pt idx="0">
                  <c:v>0.0</c:v>
                </c:pt>
                <c:pt idx="1">
                  <c:v>0.0</c:v>
                </c:pt>
                <c:pt idx="2">
                  <c:v>0.0</c:v>
                </c:pt>
                <c:pt idx="3">
                  <c:v>0.0</c:v>
                </c:pt>
                <c:pt idx="4">
                  <c:v>0.0</c:v>
                </c:pt>
                <c:pt idx="5">
                  <c:v>0.0</c:v>
                </c:pt>
                <c:pt idx="6">
                  <c:v>0.0</c:v>
                </c:pt>
                <c:pt idx="7">
                  <c:v>0.0</c:v>
                </c:pt>
                <c:pt idx="8">
                  <c:v>0.0</c:v>
                </c:pt>
                <c:pt idx="9">
                  <c:v>0.0</c:v>
                </c:pt>
                <c:pt idx="10">
                  <c:v>0.004373177842565598</c:v>
                </c:pt>
                <c:pt idx="11">
                  <c:v>0.004559270516717325</c:v>
                </c:pt>
                <c:pt idx="12">
                  <c:v>0.006963788300835654</c:v>
                </c:pt>
                <c:pt idx="13">
                  <c:v>0.002484472049689441</c:v>
                </c:pt>
                <c:pt idx="14">
                  <c:v>0.006069802731411229</c:v>
                </c:pt>
                <c:pt idx="15">
                  <c:v>0.0047694753577106515</c:v>
                </c:pt>
                <c:pt idx="16">
                  <c:v>0.0038119440914866584</c:v>
                </c:pt>
                <c:pt idx="17">
                  <c:v>0.004842615012106538</c:v>
                </c:pt>
                <c:pt idx="18">
                  <c:v>0.0039447731755424065</c:v>
                </c:pt>
                <c:pt idx="19">
                  <c:v>0.001838235294117647</c:v>
                </c:pt>
                <c:pt idx="20">
                  <c:v>0.0019047619047619048</c:v>
                </c:pt>
                <c:pt idx="21">
                  <c:v>0.0</c:v>
                </c:pt>
                <c:pt idx="22">
                  <c:v>0.0</c:v>
                </c:pt>
                <c:pt idx="23">
                  <c:v>0.0017667844522968198</c:v>
                </c:pt>
                <c:pt idx="24">
                  <c:v>0.00199203187250996</c:v>
                </c:pt>
                <c:pt idx="25">
                  <c:v>0.0022222222222222222</c:v>
                </c:pt>
                <c:pt idx="26">
                  <c:v>0.0027624309392265192</c:v>
                </c:pt>
                <c:pt idx="27">
                  <c:v>0.0035714285714285713</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08547008547008548</c:v>
                </c:pt>
                <c:pt idx="44">
                  <c:v>0.002932551319648094</c:v>
                </c:pt>
                <c:pt idx="45">
                  <c:v>0.002457002457002457</c:v>
                </c:pt>
                <c:pt idx="46">
                  <c:v>0.0</c:v>
                </c:pt>
                <c:pt idx="47">
                  <c:v>0.0015105740181268882</c:v>
                </c:pt>
                <c:pt idx="48">
                  <c:v>0.001516300227445034</c:v>
                </c:pt>
                <c:pt idx="49">
                  <c:v>0.001718213058419244</c:v>
                </c:pt>
              </c:numCache>
            </c:numRef>
          </c:yVal>
          <c:smooth val="0"/>
          <c:extLst>
            <c:ext xmlns:c16="http://schemas.microsoft.com/office/drawing/2014/chart" uri="{C3380CC4-5D6E-409C-BE32-E72D297353CC}">
              <c16:uniqueId val="{00000002-096C-4121-9522-6AB7243CCAAE}"/>
            </c:ext>
          </c:extLst>
        </c:ser>
        <c:ser>
          <c:idx val="2"/>
          <c:order val="2"/>
          <c:tx>
            <c:strRef>
              <c:f>Sheet1!$B$14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9:$A$150</c:f>
              <c:numCache>
                <c:formatCode>General</c:formatCode>
                <c:ptCount val="2"/>
                <c:pt idx="0">
                  <c:v>0</c:v>
                </c:pt>
                <c:pt idx="1">
                  <c:v>6.914656069883296</c:v>
                </c:pt>
              </c:numCache>
            </c:numRef>
          </c:xVal>
          <c:yVal>
            <c:numRef>
              <c:f>Sheet1!$B$149:$B$150</c:f>
              <c:numCache>
                <c:formatCode>General</c:formatCode>
                <c:ptCount val="2"/>
                <c:pt idx="0">
                  <c:v>0.02075506612669103</c:v>
                </c:pt>
                <c:pt idx="1">
                  <c:v>0.02075506612669103</c:v>
                </c:pt>
              </c:numCache>
            </c:numRef>
          </c:yVal>
          <c:smooth val="0"/>
          <c:extLst>
            <c:ext xmlns:c16="http://schemas.microsoft.com/office/drawing/2014/chart" uri="{C3380CC4-5D6E-409C-BE32-E72D297353CC}">
              <c16:uniqueId val="{00000005-096C-4121-9522-6AB7243CCAAE}"/>
            </c:ext>
          </c:extLst>
        </c:ser>
        <c:ser>
          <c:idx val="3"/>
          <c:order val="3"/>
          <c:tx>
            <c:strRef>
              <c:f>Sheet1!$B$15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6.914656069883296</c:v>
                </c:pt>
                <c:pt idx="1">
                  <c:v>6.914656069883296</c:v>
                </c:pt>
              </c:numCache>
            </c:numRef>
          </c:xVal>
          <c:yVal>
            <c:numRef>
              <c:f>Sheet1!$B$153:$B$154</c:f>
              <c:numCache>
                <c:formatCode>General</c:formatCode>
                <c:ptCount val="2"/>
                <c:pt idx="0">
                  <c:v>0.020755066126691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7:$A$158</c:f>
              <c:numCache>
                <c:formatCode>General</c:formatCode>
                <c:ptCount val="2"/>
                <c:pt idx="0">
                  <c:v>0</c:v>
                </c:pt>
                <c:pt idx="1">
                  <c:v>1.4929224406866557</c:v>
                </c:pt>
              </c:numCache>
            </c:numRef>
          </c:xVal>
          <c:yVal>
            <c:numRef>
              <c:f>Sheet1!$B$157:$B$158</c:f>
              <c:numCache>
                <c:formatCode>General</c:formatCode>
                <c:ptCount val="2"/>
                <c:pt idx="0">
                  <c:v>0.004646591008673945</c:v>
                </c:pt>
                <c:pt idx="1">
                  <c:v>0.004646591008673945</c:v>
                </c:pt>
              </c:numCache>
            </c:numRef>
          </c:yVal>
          <c:smooth val="0"/>
          <c:extLst>
            <c:ext xmlns:c16="http://schemas.microsoft.com/office/drawing/2014/chart" uri="{C3380CC4-5D6E-409C-BE32-E72D297353CC}">
              <c16:uniqueId val="{0000000D-096C-4121-9522-6AB7243CCAAE}"/>
            </c:ext>
          </c:extLst>
        </c:ser>
        <c:ser>
          <c:idx val="5"/>
          <c:order val="5"/>
          <c:tx>
            <c:strRef>
              <c:f>Sheet1!$B$16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1.4929224406866557</c:v>
                </c:pt>
                <c:pt idx="1">
                  <c:v>1.4929224406866557</c:v>
                </c:pt>
              </c:numCache>
            </c:numRef>
          </c:xVal>
          <c:yVal>
            <c:numRef>
              <c:f>Sheet1!$B$161:$B$162</c:f>
              <c:numCache>
                <c:formatCode>General</c:formatCode>
                <c:ptCount val="2"/>
                <c:pt idx="0">
                  <c:v>0.0046465910086739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5:$A$166</c:f>
              <c:numCache>
                <c:formatCode>General</c:formatCode>
                <c:ptCount val="2"/>
                <c:pt idx="0">
                  <c:v>0</c:v>
                </c:pt>
                <c:pt idx="1">
                  <c:v>0.5006077698630863</c:v>
                </c:pt>
              </c:numCache>
            </c:numRef>
          </c:xVal>
          <c:yVal>
            <c:numRef>
              <c:f>Sheet1!$B$165:$B$166</c:f>
              <c:numCache>
                <c:formatCode>General</c:formatCode>
                <c:ptCount val="2"/>
                <c:pt idx="0">
                  <c:v>0.0016983317843318425</c:v>
                </c:pt>
                <c:pt idx="1">
                  <c:v>0.0016983317843318425</c:v>
                </c:pt>
              </c:numCache>
            </c:numRef>
          </c:yVal>
          <c:smooth val="0"/>
          <c:extLst>
            <c:ext xmlns:c16="http://schemas.microsoft.com/office/drawing/2014/chart" uri="{C3380CC4-5D6E-409C-BE32-E72D297353CC}">
              <c16:uniqueId val="{00000015-096C-4121-9522-6AB7243CCAAE}"/>
            </c:ext>
          </c:extLst>
        </c:ser>
        <c:ser>
          <c:idx val="7"/>
          <c:order val="7"/>
          <c:tx>
            <c:strRef>
              <c:f>Sheet1!$B$16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9:$A$170</c:f>
              <c:numCache>
                <c:formatCode>General</c:formatCode>
                <c:ptCount val="2"/>
                <c:pt idx="0">
                  <c:v>0.5006077698630863</c:v>
                </c:pt>
                <c:pt idx="1">
                  <c:v>0.5006077698630863</c:v>
                </c:pt>
              </c:numCache>
            </c:numRef>
          </c:xVal>
          <c:yVal>
            <c:numRef>
              <c:f>Sheet1!$B$169:$B$170</c:f>
              <c:numCache>
                <c:formatCode>General</c:formatCode>
                <c:ptCount val="2"/>
                <c:pt idx="0">
                  <c:v>0.00169833178433184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3:$A$225</c:f>
              <c:numCache>
                <c:formatCode>General</c:formatCode>
                <c:ptCount val="53"/>
                <c:pt idx="0">
                  <c:v>0.0</c:v>
                </c:pt>
                <c:pt idx="1">
                  <c:v>0.0</c:v>
                </c:pt>
                <c:pt idx="2">
                  <c:v>0.0</c:v>
                </c:pt>
                <c:pt idx="3">
                  <c:v>0.0</c:v>
                </c:pt>
                <c:pt idx="4">
                  <c:v>0.0</c:v>
                </c:pt>
                <c:pt idx="5">
                  <c:v>0.0</c:v>
                </c:pt>
                <c:pt idx="6">
                  <c:v>0.0</c:v>
                </c:pt>
                <c:pt idx="7">
                  <c:v>0.0</c:v>
                </c:pt>
                <c:pt idx="8">
                  <c:v>0.0</c:v>
                </c:pt>
                <c:pt idx="9">
                  <c:v>0.0</c:v>
                </c:pt>
                <c:pt idx="10">
                  <c:v>1.0234415544250637</c:v>
                </c:pt>
                <c:pt idx="11">
                  <c:v>1.1378519736662107</c:v>
                </c:pt>
                <c:pt idx="12">
                  <c:v>0.9906774589028106</c:v>
                </c:pt>
                <c:pt idx="13">
                  <c:v>1.0390775844056015</c:v>
                </c:pt>
                <c:pt idx="14">
                  <c:v>1.1516462759421575</c:v>
                </c:pt>
                <c:pt idx="15">
                  <c:v>0.961307557955164</c:v>
                </c:pt>
                <c:pt idx="16">
                  <c:v>1.046656580310478</c:v>
                </c:pt>
                <c:pt idx="17">
                  <c:v>1.1481899932945705</c:v>
                </c:pt>
                <c:pt idx="18">
                  <c:v>1.1463581963729228</c:v>
                </c:pt>
                <c:pt idx="19">
                  <c:v>1.3130810525153183</c:v>
                </c:pt>
                <c:pt idx="20">
                  <c:v>1.0602805607406995</c:v>
                </c:pt>
                <c:pt idx="21">
                  <c:v>0.0</c:v>
                </c:pt>
                <c:pt idx="22">
                  <c:v>0.0</c:v>
                </c:pt>
                <c:pt idx="23">
                  <c:v>1.5291880557562525</c:v>
                </c:pt>
                <c:pt idx="24">
                  <c:v>0.7862128916168443</c:v>
                </c:pt>
                <c:pt idx="25">
                  <c:v>1.290927672200186</c:v>
                </c:pt>
                <c:pt idx="26">
                  <c:v>1.5595551061678463</c:v>
                </c:pt>
                <c:pt idx="27">
                  <c:v>1.3084805468766</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6378213756485609</c:v>
                </c:pt>
                <c:pt idx="44">
                  <c:v>0.6983779608650875</c:v>
                </c:pt>
                <c:pt idx="45">
                  <c:v>0.5721625178307543</c:v>
                </c:pt>
                <c:pt idx="46">
                  <c:v>0.0</c:v>
                </c:pt>
                <c:pt idx="47">
                  <c:v>0.43911332001740006</c:v>
                </c:pt>
                <c:pt idx="48">
                  <c:v>0.5583185581204765</c:v>
                </c:pt>
                <c:pt idx="49">
                  <c:v>0.8186480689400614</c:v>
                </c:pt>
                <c:pt idx="50">
                  <c:v>1.4929224406866557</c:v>
                </c:pt>
                <c:pt idx="51">
                  <c:v>6.914656069883296</c:v>
                </c:pt>
                <c:pt idx="52">
                  <c:v>0.5006077698630863</c:v>
                </c:pt>
              </c:numCache>
            </c:numRef>
          </c:xVal>
          <c:yVal>
            <c:numRef>
              <c:f>Sheet1!$B$173:$B$225</c:f>
              <c:numCache>
                <c:formatCode>General</c:formatCode>
                <c:ptCount val="53"/>
                <c:pt idx="0">
                  <c:v>0.000210979517282082</c:v>
                </c:pt>
                <c:pt idx="1">
                  <c:v>0.000210979517282082</c:v>
                </c:pt>
                <c:pt idx="2">
                  <c:v>0.000210979517282082</c:v>
                </c:pt>
                <c:pt idx="3">
                  <c:v>0.000210979517282082</c:v>
                </c:pt>
                <c:pt idx="4">
                  <c:v>0.000210979517282082</c:v>
                </c:pt>
                <c:pt idx="5">
                  <c:v>0.000210979517282082</c:v>
                </c:pt>
                <c:pt idx="6">
                  <c:v>0.000210979517282082</c:v>
                </c:pt>
                <c:pt idx="7">
                  <c:v>0.000210979517282082</c:v>
                </c:pt>
                <c:pt idx="8">
                  <c:v>0.000210979517282082</c:v>
                </c:pt>
                <c:pt idx="9">
                  <c:v>0.000210979517282082</c:v>
                </c:pt>
                <c:pt idx="10">
                  <c:v>0.0032517196092374427</c:v>
                </c:pt>
                <c:pt idx="11">
                  <c:v>0.003591643610974319</c:v>
                </c:pt>
                <c:pt idx="12">
                  <c:v>0.0031543744326610066</c:v>
                </c:pt>
                <c:pt idx="13">
                  <c:v>0.0032981757092807396</c:v>
                </c:pt>
                <c:pt idx="14">
                  <c:v>0.003632627766629974</c:v>
                </c:pt>
                <c:pt idx="15">
                  <c:v>0.0030671137240038957</c:v>
                </c:pt>
                <c:pt idx="16">
                  <c:v>0.0033206936113583715</c:v>
                </c:pt>
                <c:pt idx="17">
                  <c:v>0.003622358829268376</c:v>
                </c:pt>
                <c:pt idx="18">
                  <c:v>0.003616916390160944</c:v>
                </c:pt>
                <c:pt idx="19">
                  <c:v>0.004112265509732586</c:v>
                </c:pt>
                <c:pt idx="20">
                  <c:v>0.0033611717249615097</c:v>
                </c:pt>
                <c:pt idx="21">
                  <c:v>0.000210979517282082</c:v>
                </c:pt>
                <c:pt idx="22">
                  <c:v>0.000210979517282082</c:v>
                </c:pt>
                <c:pt idx="23">
                  <c:v>0.004754339525650561</c:v>
                </c:pt>
                <c:pt idx="24">
                  <c:v>0.002546891177322595</c:v>
                </c:pt>
                <c:pt idx="25">
                  <c:v>0.004046445755389701</c:v>
                </c:pt>
                <c:pt idx="26">
                  <c:v>0.004844562858152274</c:v>
                </c:pt>
                <c:pt idx="27">
                  <c:v>0.004098596979391568</c:v>
                </c:pt>
                <c:pt idx="28">
                  <c:v>0.000210979517282082</c:v>
                </c:pt>
                <c:pt idx="29">
                  <c:v>0.000210979517282082</c:v>
                </c:pt>
                <c:pt idx="30">
                  <c:v>0.000210979517282082</c:v>
                </c:pt>
                <c:pt idx="31">
                  <c:v>0.000210979517282082</c:v>
                </c:pt>
                <c:pt idx="32">
                  <c:v>0.000210979517282082</c:v>
                </c:pt>
                <c:pt idx="33">
                  <c:v>0.000210979517282082</c:v>
                </c:pt>
                <c:pt idx="34">
                  <c:v>0.000210979517282082</c:v>
                </c:pt>
                <c:pt idx="35">
                  <c:v>0.000210979517282082</c:v>
                </c:pt>
                <c:pt idx="36">
                  <c:v>0.000210979517282082</c:v>
                </c:pt>
                <c:pt idx="37">
                  <c:v>0.000210979517282082</c:v>
                </c:pt>
                <c:pt idx="38">
                  <c:v>0.000210979517282082</c:v>
                </c:pt>
                <c:pt idx="39">
                  <c:v>0.000210979517282082</c:v>
                </c:pt>
                <c:pt idx="40">
                  <c:v>0.000210979517282082</c:v>
                </c:pt>
                <c:pt idx="41">
                  <c:v>0.000210979517282082</c:v>
                </c:pt>
                <c:pt idx="42">
                  <c:v>0.000210979517282082</c:v>
                </c:pt>
                <c:pt idx="43">
                  <c:v>0.002106006175184613</c:v>
                </c:pt>
                <c:pt idx="44">
                  <c:v>0.0022859254248023854</c:v>
                </c:pt>
                <c:pt idx="45">
                  <c:v>0.0019109275988894003</c:v>
                </c:pt>
                <c:pt idx="46">
                  <c:v>0.000210979517282082</c:v>
                </c:pt>
                <c:pt idx="47">
                  <c:v>0.0015156260516302222</c:v>
                </c:pt>
                <c:pt idx="48">
                  <c:v>0.001869795906375601</c:v>
                </c:pt>
                <c:pt idx="49">
                  <c:v>0.0026432591073230456</c:v>
                </c:pt>
                <c:pt idx="50">
                  <c:v>0.004646591008673945</c:v>
                </c:pt>
                <c:pt idx="51">
                  <c:v>0.02075506612669103</c:v>
                </c:pt>
                <c:pt idx="52">
                  <c:v>0.00169833178433184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41784548422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0.8238</c:v>
                </c:pt>
                <c:pt idx="1">
                  <c:v>847.6719</c:v>
                </c:pt>
                <c:pt idx="2">
                  <c:v>848.1064</c:v>
                </c:pt>
                <c:pt idx="3">
                  <c:v>857.9881</c:v>
                </c:pt>
                <c:pt idx="4">
                  <c:v>841.9736</c:v>
                </c:pt>
                <c:pt idx="5">
                  <c:v>844.3321</c:v>
                </c:pt>
                <c:pt idx="6">
                  <c:v>829.9803</c:v>
                </c:pt>
                <c:pt idx="7">
                  <c:v>866.6427</c:v>
                </c:pt>
                <c:pt idx="8">
                  <c:v>878.4123</c:v>
                </c:pt>
                <c:pt idx="9">
                  <c:v>863.4343</c:v>
                </c:pt>
                <c:pt idx="10">
                  <c:v>864.9706</c:v>
                </c:pt>
                <c:pt idx="11">
                  <c:v>883.0815</c:v>
                </c:pt>
                <c:pt idx="12">
                  <c:v>876.7748</c:v>
                </c:pt>
                <c:pt idx="13">
                  <c:v>862.3852</c:v>
                </c:pt>
                <c:pt idx="14">
                  <c:v>884.3104</c:v>
                </c:pt>
                <c:pt idx="15">
                  <c:v>885.6593</c:v>
                </c:pt>
                <c:pt idx="16">
                  <c:v>872.4008</c:v>
                </c:pt>
                <c:pt idx="17">
                  <c:v>915.1496</c:v>
                </c:pt>
                <c:pt idx="18">
                  <c:v>933.2134</c:v>
                </c:pt>
                <c:pt idx="19">
                  <c:v>994.5115</c:v>
                </c:pt>
                <c:pt idx="20">
                  <c:v>1016.9246</c:v>
                </c:pt>
                <c:pt idx="21">
                  <c:v>1033.1526</c:v>
                </c:pt>
                <c:pt idx="22">
                  <c:v>1007.8818</c:v>
                </c:pt>
                <c:pt idx="23">
                  <c:v>987.4493</c:v>
                </c:pt>
                <c:pt idx="24">
                  <c:v>969.8275</c:v>
                </c:pt>
                <c:pt idx="25">
                  <c:v>957.9625</c:v>
                </c:pt>
                <c:pt idx="26">
                  <c:v>970.6012</c:v>
                </c:pt>
                <c:pt idx="27">
                  <c:v>978.1092</c:v>
                </c:pt>
                <c:pt idx="28">
                  <c:v>1048.3176</c:v>
                </c:pt>
                <c:pt idx="29">
                  <c:v>942.9357</c:v>
                </c:pt>
                <c:pt idx="30">
                  <c:v>973.5095</c:v>
                </c:pt>
                <c:pt idx="31">
                  <c:v>949.8024</c:v>
                </c:pt>
                <c:pt idx="32">
                  <c:v>934.3252</c:v>
                </c:pt>
                <c:pt idx="33">
                  <c:v>911.0866</c:v>
                </c:pt>
                <c:pt idx="34">
                  <c:v>973.8066</c:v>
                </c:pt>
                <c:pt idx="35">
                  <c:v>993.6598</c:v>
                </c:pt>
                <c:pt idx="36">
                  <c:v>1058.4175</c:v>
                </c:pt>
                <c:pt idx="37">
                  <c:v>1088.2295</c:v>
                </c:pt>
                <c:pt idx="38">
                  <c:v>1085.548</c:v>
                </c:pt>
                <c:pt idx="39">
                  <c:v>1142.2879</c:v>
                </c:pt>
                <c:pt idx="40">
                  <c:v>1121.8299</c:v>
                </c:pt>
                <c:pt idx="41">
                  <c:v>1151.4411</c:v>
                </c:pt>
                <c:pt idx="42">
                  <c:v>1169.9832</c:v>
                </c:pt>
                <c:pt idx="43">
                  <c:v>1182.3993</c:v>
                </c:pt>
                <c:pt idx="44">
                  <c:v>1025.9151</c:v>
                </c:pt>
                <c:pt idx="45">
                  <c:v>995.7923</c:v>
                </c:pt>
                <c:pt idx="46">
                  <c:v>991.2042</c:v>
                </c:pt>
                <c:pt idx="47">
                  <c:v>967.4004</c:v>
                </c:pt>
                <c:pt idx="48">
                  <c:v>972.7173</c:v>
                </c:pt>
                <c:pt idx="49">
                  <c:v>956.2506</c:v>
                </c:pt>
                <c:pt idx="50">
                  <c:v>951.9882</c:v>
                </c:pt>
                <c:pt idx="51">
                  <c:v>1007.7841</c:v>
                </c:pt>
                <c:pt idx="52">
                  <c:v>985.4137</c:v>
                </c:pt>
                <c:pt idx="53">
                  <c:v>983.1362</c:v>
                </c:pt>
                <c:pt idx="54">
                  <c:v>1017.8995</c:v>
                </c:pt>
                <c:pt idx="55">
                  <c:v>990.1993</c:v>
                </c:pt>
                <c:pt idx="56">
                  <c:v>1021.4268</c:v>
                </c:pt>
                <c:pt idx="57">
                  <c:v>997.4431</c:v>
                </c:pt>
                <c:pt idx="58">
                  <c:v>1014.0697</c:v>
                </c:pt>
                <c:pt idx="59">
                  <c:v>1014.0964</c:v>
                </c:pt>
                <c:pt idx="60">
                  <c:v>1023.5959</c:v>
                </c:pt>
                <c:pt idx="61">
                  <c:v>1000.4482</c:v>
                </c:pt>
                <c:pt idx="62">
                  <c:v>1013.4628</c:v>
                </c:pt>
                <c:pt idx="63">
                  <c:v>1052.7467</c:v>
                </c:pt>
                <c:pt idx="64">
                  <c:v>1036.7312</c:v>
                </c:pt>
                <c:pt idx="65">
                  <c:v>1007.2956</c:v>
                </c:pt>
                <c:pt idx="66">
                  <c:v>926.0844</c:v>
                </c:pt>
                <c:pt idx="67">
                  <c:v>927.1577</c:v>
                </c:pt>
                <c:pt idx="68">
                  <c:v>960.9388</c:v>
                </c:pt>
                <c:pt idx="69">
                  <c:v>918.8074</c:v>
                </c:pt>
                <c:pt idx="70">
                  <c:v>851.3011</c:v>
                </c:pt>
                <c:pt idx="71">
                  <c:v>923.9236</c:v>
                </c:pt>
                <c:pt idx="72">
                  <c:v>985.2315</c:v>
                </c:pt>
                <c:pt idx="73">
                  <c:v>950.2606</c:v>
                </c:pt>
                <c:pt idx="74">
                  <c:v>960.2854</c:v>
                </c:pt>
                <c:pt idx="75">
                  <c:v>931.104</c:v>
                </c:pt>
                <c:pt idx="76">
                  <c:v>942.1913</c:v>
                </c:pt>
                <c:pt idx="77">
                  <c:v>978.7124</c:v>
                </c:pt>
                <c:pt idx="78">
                  <c:v>968.5752</c:v>
                </c:pt>
                <c:pt idx="79">
                  <c:v>558.9587</c:v>
                </c:pt>
                <c:pt idx="80">
                  <c:v>671.2695</c:v>
                </c:pt>
                <c:pt idx="81">
                  <c:v>826.4073</c:v>
                </c:pt>
                <c:pt idx="82">
                  <c:v>855.0098</c:v>
                </c:pt>
                <c:pt idx="83">
                  <c:v>759.2573</c:v>
                </c:pt>
                <c:pt idx="84">
                  <c:v>912.8451</c:v>
                </c:pt>
                <c:pt idx="85">
                  <c:v>782.7791</c:v>
                </c:pt>
                <c:pt idx="86">
                  <c:v>1020.966</c:v>
                </c:pt>
                <c:pt idx="87">
                  <c:v>1070.2081</c:v>
                </c:pt>
                <c:pt idx="88">
                  <c:v>1050.6106</c:v>
                </c:pt>
                <c:pt idx="89">
                  <c:v>995.5332</c:v>
                </c:pt>
                <c:pt idx="90">
                  <c:v>1024.9614</c:v>
                </c:pt>
                <c:pt idx="91">
                  <c:v>1077.238</c:v>
                </c:pt>
                <c:pt idx="92">
                  <c:v>1048.9482</c:v>
                </c:pt>
                <c:pt idx="93">
                  <c:v>1081.0924</c:v>
                </c:pt>
                <c:pt idx="94">
                  <c:v>1154.6172</c:v>
                </c:pt>
                <c:pt idx="95">
                  <c:v>1118.0899</c:v>
                </c:pt>
                <c:pt idx="96">
                  <c:v>988.1788</c:v>
                </c:pt>
                <c:pt idx="97">
                  <c:v>1078.4871</c:v>
                </c:pt>
                <c:pt idx="98">
                  <c:v>1115.6307</c:v>
                </c:pt>
                <c:pt idx="99">
                  <c:v>1061.716</c:v>
                </c:pt>
                <c:pt idx="100">
                  <c:v>1065.0996</c:v>
                </c:pt>
                <c:pt idx="101">
                  <c:v>1080.058</c:v>
                </c:pt>
                <c:pt idx="102">
                  <c:v>1123.0362</c:v>
                </c:pt>
                <c:pt idx="103">
                  <c:v>926.1989</c:v>
                </c:pt>
                <c:pt idx="104">
                  <c:v>1004.0658</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2.43608861454302</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2.43608861454302</c:v>
                </c:pt>
                <c:pt idx="1">
                  <c:v>212.43608861454302</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2529136159376</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2529136159376</c:v>
                </c:pt>
                <c:pt idx="1">
                  <c:v>1070.2529136159376</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3.0191969691834</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3.0191969691834</c:v>
                </c:pt>
                <c:pt idx="1">
                  <c:v>1143.0191969691834</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pt idx="52">
                  <c:v>1070.2529136159376</c:v>
                </c:pt>
                <c:pt idx="53">
                  <c:v>212.43608861454302</c:v>
                </c:pt>
                <c:pt idx="54">
                  <c:v>1143.0191969691834</c:v>
                </c:pt>
              </c:numCache>
            </c:numRef>
          </c:xVal>
          <c:yVal>
            <c:numRef>
              <c:f>Sheet1!$B$187:$B$241</c:f>
              <c:numCache>
                <c:formatCode>General</c:formatCode>
                <c:ptCount val="55"/>
                <c:pt idx="0">
                  <c:v>0.15786473490544622</c:v>
                </c:pt>
                <c:pt idx="1">
                  <c:v>0.1553344472437175</c:v>
                </c:pt>
                <c:pt idx="2">
                  <c:v>0.15698453305410617</c:v>
                </c:pt>
                <c:pt idx="3">
                  <c:v>0.15550871223048457</c:v>
                </c:pt>
                <c:pt idx="4">
                  <c:v>0.1537912506162341</c:v>
                </c:pt>
                <c:pt idx="5">
                  <c:v>0.15323839619403218</c:v>
                </c:pt>
                <c:pt idx="6">
                  <c:v>0.15533227239892883</c:v>
                </c:pt>
                <c:pt idx="7">
                  <c:v>0.15210298851250115</c:v>
                </c:pt>
                <c:pt idx="8">
                  <c:v>0.14831965736808184</c:v>
                </c:pt>
                <c:pt idx="9">
                  <c:v>0.15117113964550316</c:v>
                </c:pt>
                <c:pt idx="10">
                  <c:v>0.14823446115232908</c:v>
                </c:pt>
                <c:pt idx="11">
                  <c:v>0.1535824044877122</c:v>
                </c:pt>
                <c:pt idx="12">
                  <c:v>0.1531471525782292</c:v>
                </c:pt>
                <c:pt idx="13">
                  <c:v>0.15148443380461646</c:v>
                </c:pt>
                <c:pt idx="14">
                  <c:v>0.1510536480942531</c:v>
                </c:pt>
                <c:pt idx="15">
                  <c:v>0.14904988924625096</c:v>
                </c:pt>
                <c:pt idx="16">
                  <c:v>0.14648378877046359</c:v>
                </c:pt>
                <c:pt idx="17">
                  <c:v>0.15001011096082378</c:v>
                </c:pt>
                <c:pt idx="18">
                  <c:v>0.14765007148069115</c:v>
                </c:pt>
                <c:pt idx="19">
                  <c:v>0.14057230542343205</c:v>
                </c:pt>
                <c:pt idx="20">
                  <c:v>0.14329435114748582</c:v>
                </c:pt>
                <c:pt idx="21">
                  <c:v>0.14762670854343307</c:v>
                </c:pt>
                <c:pt idx="22">
                  <c:v>0.14868350557238524</c:v>
                </c:pt>
                <c:pt idx="23">
                  <c:v>0.15055259603376536</c:v>
                </c:pt>
                <c:pt idx="24">
                  <c:v>0.1550516508443068</c:v>
                </c:pt>
                <c:pt idx="25">
                  <c:v>0.15763706971181407</c:v>
                </c:pt>
                <c:pt idx="26">
                  <c:v>0.15435547858898913</c:v>
                </c:pt>
                <c:pt idx="27">
                  <c:v>0.1533072144969885</c:v>
                </c:pt>
                <c:pt idx="28">
                  <c:v>0.15155254195417242</c:v>
                </c:pt>
                <c:pt idx="29">
                  <c:v>0.15150247613944506</c:v>
                </c:pt>
                <c:pt idx="30">
                  <c:v>0.15538695421075868</c:v>
                </c:pt>
                <c:pt idx="31">
                  <c:v>0.16437998179657</c:v>
                </c:pt>
                <c:pt idx="32">
                  <c:v>0.1568060903680384</c:v>
                </c:pt>
                <c:pt idx="33">
                  <c:v>0.1490354808995259</c:v>
                </c:pt>
                <c:pt idx="34">
                  <c:v>0.14692736833818085</c:v>
                </c:pt>
                <c:pt idx="35">
                  <c:v>0.15208764254136464</c:v>
                </c:pt>
                <c:pt idx="36">
                  <c:v>0.14869861852443725</c:v>
                </c:pt>
                <c:pt idx="37">
                  <c:v>0.14369640893357416</c:v>
                </c:pt>
                <c:pt idx="38">
                  <c:v>0.14604405401764065</c:v>
                </c:pt>
                <c:pt idx="39">
                  <c:v>0.15167853870200687</c:v>
                </c:pt>
                <c:pt idx="40">
                  <c:v>0.14947014471322423</c:v>
                </c:pt>
                <c:pt idx="41">
                  <c:v>0.14939689904766235</c:v>
                </c:pt>
                <c:pt idx="42">
                  <c:v>0.15326325711111918</c:v>
                </c:pt>
                <c:pt idx="43">
                  <c:v>0.14513515753046613</c:v>
                </c:pt>
                <c:pt idx="44">
                  <c:v>0.15013608551636448</c:v>
                </c:pt>
                <c:pt idx="45">
                  <c:v>0.1542034058959842</c:v>
                </c:pt>
                <c:pt idx="46">
                  <c:v>0.15506582062387392</c:v>
                </c:pt>
                <c:pt idx="47">
                  <c:v>0.15702972766035272</c:v>
                </c:pt>
                <c:pt idx="48">
                  <c:v>0.16090011917320082</c:v>
                </c:pt>
                <c:pt idx="49">
                  <c:v>0.15658603713116664</c:v>
                </c:pt>
                <c:pt idx="50">
                  <c:v>0.1579180352469894</c:v>
                </c:pt>
                <c:pt idx="51">
                  <c:v>0.1598853099640466</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2.0"/>
          <c:min val="1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4</c:f>
              <c:numCache>
                <c:formatCode>General</c:formatCode>
                <c:ptCount val="93"/>
                <c:pt idx="0">
                  <c:v>669.9286</c:v>
                </c:pt>
                <c:pt idx="1">
                  <c:v>608.5238</c:v>
                </c:pt>
                <c:pt idx="2">
                  <c:v>680.2381</c:v>
                </c:pt>
                <c:pt idx="3">
                  <c:v>740.1364</c:v>
                </c:pt>
                <c:pt idx="4">
                  <c:v>695.2143</c:v>
                </c:pt>
                <c:pt idx="5">
                  <c:v>754.5714</c:v>
                </c:pt>
                <c:pt idx="6">
                  <c:v>831.35</c:v>
                </c:pt>
                <c:pt idx="7">
                  <c:v>855.0714</c:v>
                </c:pt>
                <c:pt idx="8">
                  <c:v>829.7857</c:v>
                </c:pt>
                <c:pt idx="9">
                  <c:v>830.4375</c:v>
                </c:pt>
                <c:pt idx="10">
                  <c:v>847.1176</c:v>
                </c:pt>
                <c:pt idx="11">
                  <c:v>776.24</c:v>
                </c:pt>
                <c:pt idx="12">
                  <c:v>753.6087</c:v>
                </c:pt>
                <c:pt idx="13">
                  <c:v>786.9167</c:v>
                </c:pt>
                <c:pt idx="14">
                  <c:v>755.7</c:v>
                </c:pt>
                <c:pt idx="15">
                  <c:v>882.0</c:v>
                </c:pt>
                <c:pt idx="16">
                  <c:v>860.5</c:v>
                </c:pt>
                <c:pt idx="17">
                  <c:v>708.0</c:v>
                </c:pt>
                <c:pt idx="18">
                  <c:v>588.0</c:v>
                </c:pt>
                <c:pt idx="19">
                  <c:v>721.0</c:v>
                </c:pt>
                <c:pt idx="20">
                  <c:v>1016.0</c:v>
                </c:pt>
                <c:pt idx="21">
                  <c:v>1030.0</c:v>
                </c:pt>
                <c:pt idx="22">
                  <c:v>820.5</c:v>
                </c:pt>
                <c:pt idx="23">
                  <c:v>710.5</c:v>
                </c:pt>
                <c:pt idx="24">
                  <c:v>768.8</c:v>
                </c:pt>
                <c:pt idx="25">
                  <c:v>750.6667</c:v>
                </c:pt>
                <c:pt idx="26">
                  <c:v>824.0</c:v>
                </c:pt>
                <c:pt idx="27">
                  <c:v>820.5</c:v>
                </c:pt>
                <c:pt idx="28">
                  <c:v>769.0</c:v>
                </c:pt>
                <c:pt idx="29">
                  <c:v>814.6667</c:v>
                </c:pt>
                <c:pt idx="30">
                  <c:v>913.0</c:v>
                </c:pt>
                <c:pt idx="31">
                  <c:v>750.6667</c:v>
                </c:pt>
                <c:pt idx="32">
                  <c:v>920.0</c:v>
                </c:pt>
                <c:pt idx="33">
                  <c:v>762.0</c:v>
                </c:pt>
                <c:pt idx="34">
                  <c:v>714.0</c:v>
                </c:pt>
                <c:pt idx="35">
                  <c:v>814.6667</c:v>
                </c:pt>
                <c:pt idx="36">
                  <c:v>1043.0</c:v>
                </c:pt>
                <c:pt idx="37">
                  <c:v>837.0</c:v>
                </c:pt>
                <c:pt idx="38">
                  <c:v>1655.0</c:v>
                </c:pt>
                <c:pt idx="39">
                  <c:v>818.0</c:v>
                </c:pt>
                <c:pt idx="40">
                  <c:v>837.0</c:v>
                </c:pt>
                <c:pt idx="41">
                  <c:v>1395.0</c:v>
                </c:pt>
                <c:pt idx="42">
                  <c:v>1674.0</c:v>
                </c:pt>
                <c:pt idx="43">
                  <c:v>1116.0</c:v>
                </c:pt>
                <c:pt idx="44">
                  <c:v>1239.0</c:v>
                </c:pt>
                <c:pt idx="45">
                  <c:v>1097.0</c:v>
                </c:pt>
                <c:pt idx="46">
                  <c:v>1236.5</c:v>
                </c:pt>
                <c:pt idx="47">
                  <c:v>1159.3333</c:v>
                </c:pt>
                <c:pt idx="48">
                  <c:v>1207.4286</c:v>
                </c:pt>
                <c:pt idx="49">
                  <c:v>1202.6667</c:v>
                </c:pt>
                <c:pt idx="50">
                  <c:v>1179.0</c:v>
                </c:pt>
                <c:pt idx="51">
                  <c:v>1097.0</c:v>
                </c:pt>
                <c:pt idx="52">
                  <c:v>1219.2857</c:v>
                </c:pt>
                <c:pt idx="53">
                  <c:v>1156.1667</c:v>
                </c:pt>
                <c:pt idx="54">
                  <c:v>1157.25</c:v>
                </c:pt>
                <c:pt idx="55">
                  <c:v>1165.8571</c:v>
                </c:pt>
                <c:pt idx="56">
                  <c:v>1166.4444</c:v>
                </c:pt>
                <c:pt idx="57">
                  <c:v>1186.4</c:v>
                </c:pt>
                <c:pt idx="58">
                  <c:v>1166.7333</c:v>
                </c:pt>
                <c:pt idx="59">
                  <c:v>1140.5789</c:v>
                </c:pt>
                <c:pt idx="60">
                  <c:v>1110.0588</c:v>
                </c:pt>
                <c:pt idx="61">
                  <c:v>1130.3529</c:v>
                </c:pt>
                <c:pt idx="62">
                  <c:v>1162.5625</c:v>
                </c:pt>
                <c:pt idx="63">
                  <c:v>1122.7895</c:v>
                </c:pt>
                <c:pt idx="64">
                  <c:v>1102.0</c:v>
                </c:pt>
                <c:pt idx="65">
                  <c:v>1146.0</c:v>
                </c:pt>
                <c:pt idx="66">
                  <c:v>1223.8</c:v>
                </c:pt>
                <c:pt idx="67">
                  <c:v>1219.8</c:v>
                </c:pt>
                <c:pt idx="68">
                  <c:v>957.0</c:v>
                </c:pt>
                <c:pt idx="69">
                  <c:v>1376.0</c:v>
                </c:pt>
                <c:pt idx="70">
                  <c:v>966.5</c:v>
                </c:pt>
                <c:pt idx="71">
                  <c:v>976.5</c:v>
                </c:pt>
                <c:pt idx="72">
                  <c:v>1255.5</c:v>
                </c:pt>
                <c:pt idx="73">
                  <c:v>1674.0</c:v>
                </c:pt>
                <c:pt idx="74">
                  <c:v>837.0</c:v>
                </c:pt>
                <c:pt idx="75">
                  <c:v>507.0</c:v>
                </c:pt>
                <c:pt idx="76">
                  <c:v>507.0</c:v>
                </c:pt>
                <c:pt idx="77">
                  <c:v>833.0</c:v>
                </c:pt>
                <c:pt idx="78">
                  <c:v>833.0</c:v>
                </c:pt>
                <c:pt idx="79">
                  <c:v>507.0</c:v>
                </c:pt>
                <c:pt idx="80">
                  <c:v>676.0</c:v>
                </c:pt>
                <c:pt idx="81">
                  <c:v>833.0</c:v>
                </c:pt>
                <c:pt idx="82">
                  <c:v>664.0</c:v>
                </c:pt>
                <c:pt idx="83">
                  <c:v>845.0</c:v>
                </c:pt>
                <c:pt idx="84">
                  <c:v>760.5</c:v>
                </c:pt>
                <c:pt idx="85">
                  <c:v>752.0</c:v>
                </c:pt>
                <c:pt idx="86">
                  <c:v>627.75</c:v>
                </c:pt>
                <c:pt idx="87">
                  <c:v>989.0</c:v>
                </c:pt>
                <c:pt idx="88">
                  <c:v>1079.3333</c:v>
                </c:pt>
                <c:pt idx="89">
                  <c:v>730.0</c:v>
                </c:pt>
                <c:pt idx="90">
                  <c:v>634.0</c:v>
                </c:pt>
                <c:pt idx="91">
                  <c:v>660.5</c:v>
                </c:pt>
                <c:pt idx="92">
                  <c:v>793.0</c:v>
                </c:pt>
              </c:numCache>
            </c:numRef>
          </c:xVal>
          <c:yVal>
            <c:numRef>
              <c:f>Sheet1!$B$2:$B$94</c:f>
              <c:numCache>
                <c:formatCode>General</c:formatCode>
                <c:ptCount val="93"/>
                <c:pt idx="0">
                  <c:v>0.01569506726457399</c:v>
                </c:pt>
                <c:pt idx="1">
                  <c:v>0.02119071644803229</c:v>
                </c:pt>
                <c:pt idx="2">
                  <c:v>0.02097902097902098</c:v>
                </c:pt>
                <c:pt idx="3">
                  <c:v>0.026347305389221556</c:v>
                </c:pt>
                <c:pt idx="4">
                  <c:v>0.018867924528301886</c:v>
                </c:pt>
                <c:pt idx="5">
                  <c:v>0.017456359102244388</c:v>
                </c:pt>
                <c:pt idx="6">
                  <c:v>0.025157232704402517</c:v>
                </c:pt>
                <c:pt idx="7">
                  <c:v>0.02014388489208633</c:v>
                </c:pt>
                <c:pt idx="8">
                  <c:v>0.020958083832335328</c:v>
                </c:pt>
                <c:pt idx="9">
                  <c:v>0.020671834625323</c:v>
                </c:pt>
                <c:pt idx="10">
                  <c:v>0.018046709129511677</c:v>
                </c:pt>
                <c:pt idx="11">
                  <c:v>0.02720348204570185</c:v>
                </c:pt>
                <c:pt idx="12">
                  <c:v>0.023138832997987926</c:v>
                </c:pt>
                <c:pt idx="13">
                  <c:v>0.013318534961154272</c:v>
                </c:pt>
                <c:pt idx="14">
                  <c:v>0.012004801920768308</c:v>
                </c:pt>
                <c:pt idx="15">
                  <c:v>0.009693053311793215</c:v>
                </c:pt>
                <c:pt idx="16">
                  <c:v>0.008298755186721992</c:v>
                </c:pt>
                <c:pt idx="17">
                  <c:v>0.004618937644341801</c:v>
                </c:pt>
                <c:pt idx="18">
                  <c:v>0.0035714285714285713</c:v>
                </c:pt>
                <c:pt idx="19">
                  <c:v>0.00909090909090909</c:v>
                </c:pt>
                <c:pt idx="20">
                  <c:v>0.003816793893129771</c:v>
                </c:pt>
                <c:pt idx="21">
                  <c:v>0.004761904761904762</c:v>
                </c:pt>
                <c:pt idx="22">
                  <c:v>0.02197802197802198</c:v>
                </c:pt>
                <c:pt idx="23">
                  <c:v>0.015748031496062992</c:v>
                </c:pt>
                <c:pt idx="24">
                  <c:v>0.02304147465437788</c:v>
                </c:pt>
                <c:pt idx="25">
                  <c:v>0.018072289156626505</c:v>
                </c:pt>
                <c:pt idx="26">
                  <c:v>0.013245033112582781</c:v>
                </c:pt>
                <c:pt idx="27">
                  <c:v>0.023952095808383235</c:v>
                </c:pt>
                <c:pt idx="28">
                  <c:v>0.024844720496894408</c:v>
                </c:pt>
                <c:pt idx="29">
                  <c:v>0.02158273381294964</c:v>
                </c:pt>
                <c:pt idx="30">
                  <c:v>0.018518518518518517</c:v>
                </c:pt>
                <c:pt idx="31">
                  <c:v>0.025423728813559324</c:v>
                </c:pt>
                <c:pt idx="32">
                  <c:v>0.017241379310344827</c:v>
                </c:pt>
                <c:pt idx="33">
                  <c:v>0.023952095808383235</c:v>
                </c:pt>
                <c:pt idx="34">
                  <c:v>0.014705882352941176</c:v>
                </c:pt>
                <c:pt idx="35">
                  <c:v>0.020134228187919462</c:v>
                </c:pt>
                <c:pt idx="36">
                  <c:v>0.007936507936507936</c:v>
                </c:pt>
                <c:pt idx="37">
                  <c:v>0.007142857142857143</c:v>
                </c:pt>
                <c:pt idx="38">
                  <c:v>0.006802721088435374</c:v>
                </c:pt>
                <c:pt idx="39">
                  <c:v>0.007633587786259542</c:v>
                </c:pt>
                <c:pt idx="40">
                  <c:v>0.006211180124223602</c:v>
                </c:pt>
                <c:pt idx="41">
                  <c:v>0.011111111111111112</c:v>
                </c:pt>
                <c:pt idx="42">
                  <c:v>0.0033003300330033004</c:v>
                </c:pt>
                <c:pt idx="43">
                  <c:v>0.0054249547920434</c:v>
                </c:pt>
                <c:pt idx="44">
                  <c:v>0.006611570247933884</c:v>
                </c:pt>
                <c:pt idx="45">
                  <c:v>0.003883495145631068</c:v>
                </c:pt>
                <c:pt idx="46">
                  <c:v>0.006359300476947536</c:v>
                </c:pt>
                <c:pt idx="47">
                  <c:v>0.006322444678609062</c:v>
                </c:pt>
                <c:pt idx="48">
                  <c:v>0.005700325732899023</c:v>
                </c:pt>
                <c:pt idx="49">
                  <c:v>0.004464285714285714</c:v>
                </c:pt>
                <c:pt idx="50">
                  <c:v>0.011235955056179775</c:v>
                </c:pt>
                <c:pt idx="51">
                  <c:v>0.008323424494649227</c:v>
                </c:pt>
                <c:pt idx="52">
                  <c:v>0.010248901903367497</c:v>
                </c:pt>
                <c:pt idx="53">
                  <c:v>0.011450381679389313</c:v>
                </c:pt>
                <c:pt idx="54">
                  <c:v>0.00808080808080808</c:v>
                </c:pt>
                <c:pt idx="55">
                  <c:v>0.012131715771230503</c:v>
                </c:pt>
                <c:pt idx="56">
                  <c:v>0.012552301255230125</c:v>
                </c:pt>
                <c:pt idx="57">
                  <c:v>0.01079913606911447</c:v>
                </c:pt>
                <c:pt idx="58">
                  <c:v>0.009282178217821782</c:v>
                </c:pt>
                <c:pt idx="59">
                  <c:v>0.013778100072516316</c:v>
                </c:pt>
                <c:pt idx="60">
                  <c:v>0.01748971193415638</c:v>
                </c:pt>
                <c:pt idx="61">
                  <c:v>0.018660812294182216</c:v>
                </c:pt>
                <c:pt idx="62">
                  <c:v>0.015037593984962405</c:v>
                </c:pt>
                <c:pt idx="63">
                  <c:v>0.01842870999030068</c:v>
                </c:pt>
                <c:pt idx="64">
                  <c:v>0.011904761904761904</c:v>
                </c:pt>
                <c:pt idx="65">
                  <c:v>0.010165184243964422</c:v>
                </c:pt>
                <c:pt idx="66">
                  <c:v>0.007183908045977011</c:v>
                </c:pt>
                <c:pt idx="67">
                  <c:v>0.008445945945945946</c:v>
                </c:pt>
                <c:pt idx="68">
                  <c:v>0.005509641873278237</c:v>
                </c:pt>
                <c:pt idx="69">
                  <c:v>0.0027397260273972603</c:v>
                </c:pt>
                <c:pt idx="70">
                  <c:v>0.005988023952095809</c:v>
                </c:pt>
                <c:pt idx="71">
                  <c:v>0.0070921985815602835</c:v>
                </c:pt>
                <c:pt idx="72">
                  <c:v>0.0072992700729927005</c:v>
                </c:pt>
                <c:pt idx="73">
                  <c:v>0.003676470588235294</c:v>
                </c:pt>
                <c:pt idx="74">
                  <c:v>0.00546448087431694</c:v>
                </c:pt>
                <c:pt idx="75">
                  <c:v>0.007575757575757576</c:v>
                </c:pt>
                <c:pt idx="76">
                  <c:v>0.00819672131147541</c:v>
                </c:pt>
                <c:pt idx="77">
                  <c:v>0.00819672131147541</c:v>
                </c:pt>
                <c:pt idx="78">
                  <c:v>0.011627906976744186</c:v>
                </c:pt>
                <c:pt idx="79">
                  <c:v>0.012987012987012988</c:v>
                </c:pt>
                <c:pt idx="80">
                  <c:v>0.011764705882352941</c:v>
                </c:pt>
                <c:pt idx="81">
                  <c:v>0.006944444444444444</c:v>
                </c:pt>
                <c:pt idx="82">
                  <c:v>0.013793103448275862</c:v>
                </c:pt>
                <c:pt idx="83">
                  <c:v>0.005</c:v>
                </c:pt>
                <c:pt idx="84">
                  <c:v>0.0058997050147492625</c:v>
                </c:pt>
                <c:pt idx="85">
                  <c:v>0.005405405405405406</c:v>
                </c:pt>
                <c:pt idx="86">
                  <c:v>0.008264462809917356</c:v>
                </c:pt>
                <c:pt idx="87">
                  <c:v>0.004608294930875576</c:v>
                </c:pt>
                <c:pt idx="88">
                  <c:v>0.0023328149300155523</c:v>
                </c:pt>
                <c:pt idx="89">
                  <c:v>0.0016</c:v>
                </c:pt>
                <c:pt idx="90">
                  <c:v>0.004291845493562232</c:v>
                </c:pt>
                <c:pt idx="91">
                  <c:v>0.0036036036036036037</c:v>
                </c:pt>
                <c:pt idx="92">
                  <c:v>0.0017482517482517483</c:v>
                </c:pt>
              </c:numCache>
            </c:numRef>
          </c:yVal>
          <c:smooth val="0"/>
          <c:extLst>
            <c:ext xmlns:c16="http://schemas.microsoft.com/office/drawing/2014/chart" uri="{C3380CC4-5D6E-409C-BE32-E72D297353CC}">
              <c16:uniqueId val="{00000000-F32D-48B7-BC20-E66FC6253BAD}"/>
            </c:ext>
          </c:extLst>
        </c:ser>
        <c:ser>
          <c:idx val="1"/>
          <c:order val="1"/>
          <c:tx>
            <c:strRef>
              <c:f>Sheet1!$B$9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7:$A$146</c:f>
              <c:numCache>
                <c:formatCode>General</c:formatCode>
                <c:ptCount val="50"/>
                <c:pt idx="0">
                  <c:v>0.0</c:v>
                </c:pt>
                <c:pt idx="1">
                  <c:v>0.0</c:v>
                </c:pt>
                <c:pt idx="2">
                  <c:v>0.0</c:v>
                </c:pt>
                <c:pt idx="3">
                  <c:v>0.0</c:v>
                </c:pt>
                <c:pt idx="4">
                  <c:v>0.0</c:v>
                </c:pt>
                <c:pt idx="5">
                  <c:v>0.0</c:v>
                </c:pt>
                <c:pt idx="6">
                  <c:v>0.0</c:v>
                </c:pt>
                <c:pt idx="7">
                  <c:v>0.0</c:v>
                </c:pt>
                <c:pt idx="8">
                  <c:v>0.0</c:v>
                </c:pt>
                <c:pt idx="9">
                  <c:v>0.0</c:v>
                </c:pt>
                <c:pt idx="10">
                  <c:v>640.3333</c:v>
                </c:pt>
                <c:pt idx="11">
                  <c:v>707.0</c:v>
                </c:pt>
                <c:pt idx="12">
                  <c:v>625.2</c:v>
                </c:pt>
                <c:pt idx="13">
                  <c:v>641.0</c:v>
                </c:pt>
                <c:pt idx="14">
                  <c:v>717.0</c:v>
                </c:pt>
                <c:pt idx="15">
                  <c:v>592.3333</c:v>
                </c:pt>
                <c:pt idx="16">
                  <c:v>646.0</c:v>
                </c:pt>
                <c:pt idx="17">
                  <c:v>725.0</c:v>
                </c:pt>
                <c:pt idx="18">
                  <c:v>715.0</c:v>
                </c:pt>
                <c:pt idx="19">
                  <c:v>812.0</c:v>
                </c:pt>
                <c:pt idx="20">
                  <c:v>646.0</c:v>
                </c:pt>
                <c:pt idx="21">
                  <c:v>0.0</c:v>
                </c:pt>
                <c:pt idx="22">
                  <c:v>0.0</c:v>
                </c:pt>
                <c:pt idx="23">
                  <c:v>952.0</c:v>
                </c:pt>
                <c:pt idx="24">
                  <c:v>477.0</c:v>
                </c:pt>
                <c:pt idx="25">
                  <c:v>803.0</c:v>
                </c:pt>
                <c:pt idx="26">
                  <c:v>964.0</c:v>
                </c:pt>
                <c:pt idx="27">
                  <c:v>805.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389.75</c:v>
                </c:pt>
                <c:pt idx="44">
                  <c:v>434.0</c:v>
                </c:pt>
                <c:pt idx="45">
                  <c:v>348.0</c:v>
                </c:pt>
                <c:pt idx="46">
                  <c:v>0.0</c:v>
                </c:pt>
                <c:pt idx="47">
                  <c:v>267.0</c:v>
                </c:pt>
                <c:pt idx="48">
                  <c:v>345.0</c:v>
                </c:pt>
                <c:pt idx="49">
                  <c:v>513.0</c:v>
                </c:pt>
              </c:numCache>
            </c:numRef>
          </c:xVal>
          <c:yVal>
            <c:numRef>
              <c:f>Sheet1!$B$97:$B$146</c:f>
              <c:numCache>
                <c:formatCode>General</c:formatCode>
                <c:ptCount val="50"/>
                <c:pt idx="0">
                  <c:v>0.0</c:v>
                </c:pt>
                <c:pt idx="1">
                  <c:v>0.0</c:v>
                </c:pt>
                <c:pt idx="2">
                  <c:v>0.0</c:v>
                </c:pt>
                <c:pt idx="3">
                  <c:v>0.0</c:v>
                </c:pt>
                <c:pt idx="4">
                  <c:v>0.0</c:v>
                </c:pt>
                <c:pt idx="5">
                  <c:v>0.0</c:v>
                </c:pt>
                <c:pt idx="6">
                  <c:v>0.0</c:v>
                </c:pt>
                <c:pt idx="7">
                  <c:v>0.0</c:v>
                </c:pt>
                <c:pt idx="8">
                  <c:v>0.0</c:v>
                </c:pt>
                <c:pt idx="9">
                  <c:v>0.0</c:v>
                </c:pt>
                <c:pt idx="10">
                  <c:v>0.004373177842565598</c:v>
                </c:pt>
                <c:pt idx="11">
                  <c:v>0.004559270516717325</c:v>
                </c:pt>
                <c:pt idx="12">
                  <c:v>0.006963788300835654</c:v>
                </c:pt>
                <c:pt idx="13">
                  <c:v>0.002484472049689441</c:v>
                </c:pt>
                <c:pt idx="14">
                  <c:v>0.006069802731411229</c:v>
                </c:pt>
                <c:pt idx="15">
                  <c:v>0.0047694753577106515</c:v>
                </c:pt>
                <c:pt idx="16">
                  <c:v>0.0038119440914866584</c:v>
                </c:pt>
                <c:pt idx="17">
                  <c:v>0.004842615012106538</c:v>
                </c:pt>
                <c:pt idx="18">
                  <c:v>0.0039447731755424065</c:v>
                </c:pt>
                <c:pt idx="19">
                  <c:v>0.001838235294117647</c:v>
                </c:pt>
                <c:pt idx="20">
                  <c:v>0.0019047619047619048</c:v>
                </c:pt>
                <c:pt idx="21">
                  <c:v>0.0</c:v>
                </c:pt>
                <c:pt idx="22">
                  <c:v>0.0</c:v>
                </c:pt>
                <c:pt idx="23">
                  <c:v>0.0017667844522968198</c:v>
                </c:pt>
                <c:pt idx="24">
                  <c:v>0.00199203187250996</c:v>
                </c:pt>
                <c:pt idx="25">
                  <c:v>0.0022222222222222222</c:v>
                </c:pt>
                <c:pt idx="26">
                  <c:v>0.0027624309392265192</c:v>
                </c:pt>
                <c:pt idx="27">
                  <c:v>0.0035714285714285713</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08547008547008548</c:v>
                </c:pt>
                <c:pt idx="44">
                  <c:v>0.002932551319648094</c:v>
                </c:pt>
                <c:pt idx="45">
                  <c:v>0.002457002457002457</c:v>
                </c:pt>
                <c:pt idx="46">
                  <c:v>0.0</c:v>
                </c:pt>
                <c:pt idx="47">
                  <c:v>0.0015105740181268882</c:v>
                </c:pt>
                <c:pt idx="48">
                  <c:v>0.001516300227445034</c:v>
                </c:pt>
                <c:pt idx="49">
                  <c:v>0.001718213058419244</c:v>
                </c:pt>
              </c:numCache>
            </c:numRef>
          </c:yVal>
          <c:smooth val="0"/>
          <c:extLst>
            <c:ext xmlns:c16="http://schemas.microsoft.com/office/drawing/2014/chart" uri="{C3380CC4-5D6E-409C-BE32-E72D297353CC}">
              <c16:uniqueId val="{00000002-F32D-48B7-BC20-E66FC6253BAD}"/>
            </c:ext>
          </c:extLst>
        </c:ser>
        <c:ser>
          <c:idx val="2"/>
          <c:order val="2"/>
          <c:tx>
            <c:strRef>
              <c:f>Sheet1!$B$148</c:f>
              <c:strCache>
                <c:ptCount val="1"/>
                <c:pt idx="0">
                  <c:v>Custom Linep3yQ</c:v>
                </c:pt>
              </c:strCache>
            </c:strRef>
          </c:tx>
          <c:spPr>
            <a:ln w="19050" cap="rnd">
              <a:solidFill>
                <a:srgbClr val="C00000"/>
              </a:solidFill>
              <a:prstDash val="sysDot"/>
              <a:round/>
            </a:ln>
            <a:effectLst/>
          </c:spPr>
          <c:marker>
            <c:symbol val="none"/>
          </c:marker>
          <c:xVal>
            <c:numRef>
              <c:f>Sheet1!$A$149:$A$150</c:f>
              <c:numCache>
                <c:formatCode>General</c:formatCode>
                <c:ptCount val="2"/>
                <c:pt idx="0">
                  <c:v>0</c:v>
                </c:pt>
                <c:pt idx="1">
                  <c:v>4282.842279517169</c:v>
                </c:pt>
              </c:numCache>
            </c:numRef>
          </c:xVal>
          <c:yVal>
            <c:numRef>
              <c:f>Sheet1!$B$149:$B$150</c:f>
              <c:numCache>
                <c:formatCode>General</c:formatCode>
                <c:ptCount val="2"/>
                <c:pt idx="0">
                  <c:v>0.02075506612669103</c:v>
                </c:pt>
                <c:pt idx="1">
                  <c:v>0.02075506612669103</c:v>
                </c:pt>
              </c:numCache>
            </c:numRef>
          </c:yVal>
          <c:smooth val="0"/>
          <c:extLst>
            <c:ext xmlns:c16="http://schemas.microsoft.com/office/drawing/2014/chart" uri="{C3380CC4-5D6E-409C-BE32-E72D297353CC}">
              <c16:uniqueId val="{00000003-F32D-48B7-BC20-E66FC6253BAD}"/>
            </c:ext>
          </c:extLst>
        </c:ser>
        <c:ser>
          <c:idx val="3"/>
          <c:order val="3"/>
          <c:tx>
            <c:strRef>
              <c:f>Sheet1!$B$15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4282.842279517169</c:v>
                </c:pt>
                <c:pt idx="1">
                  <c:v>4282.842279517169</c:v>
                </c:pt>
              </c:numCache>
            </c:numRef>
          </c:xVal>
          <c:yVal>
            <c:numRef>
              <c:f>Sheet1!$B$153:$B$154</c:f>
              <c:numCache>
                <c:formatCode>General</c:formatCode>
                <c:ptCount val="2"/>
                <c:pt idx="0">
                  <c:v>0.020755066126691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7:$A$158</c:f>
              <c:numCache>
                <c:formatCode>General</c:formatCode>
                <c:ptCount val="2"/>
                <c:pt idx="0">
                  <c:v>0</c:v>
                </c:pt>
                <c:pt idx="1">
                  <c:v>924.7538549490346</c:v>
                </c:pt>
              </c:numCache>
            </c:numRef>
          </c:xVal>
          <c:yVal>
            <c:numRef>
              <c:f>Sheet1!$B$157:$B$158</c:f>
              <c:numCache>
                <c:formatCode>General</c:formatCode>
                <c:ptCount val="2"/>
                <c:pt idx="0">
                  <c:v>0.004646591008673945</c:v>
                </c:pt>
                <c:pt idx="1">
                  <c:v>0.004646591008673945</c:v>
                </c:pt>
              </c:numCache>
            </c:numRef>
          </c:yVal>
          <c:smooth val="0"/>
          <c:extLst>
            <c:ext xmlns:c16="http://schemas.microsoft.com/office/drawing/2014/chart" uri="{C3380CC4-5D6E-409C-BE32-E72D297353CC}">
              <c16:uniqueId val="{0000000A-F32D-48B7-BC20-E66FC6253BAD}"/>
            </c:ext>
          </c:extLst>
        </c:ser>
        <c:ser>
          <c:idx val="5"/>
          <c:order val="5"/>
          <c:tx>
            <c:strRef>
              <c:f>Sheet1!$B$16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924.7538549490346</c:v>
                </c:pt>
                <c:pt idx="1">
                  <c:v>924.7538549490346</c:v>
                </c:pt>
              </c:numCache>
            </c:numRef>
          </c:xVal>
          <c:yVal>
            <c:numRef>
              <c:f>Sheet1!$B$161:$B$162</c:f>
              <c:numCache>
                <c:formatCode>General</c:formatCode>
                <c:ptCount val="2"/>
                <c:pt idx="0">
                  <c:v>0.0046465910086739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5:$A$166</c:f>
              <c:numCache>
                <c:formatCode>General</c:formatCode>
                <c:ptCount val="2"/>
                <c:pt idx="0">
                  <c:v>0</c:v>
                </c:pt>
                <c:pt idx="1">
                  <c:v>310.13856074183394</c:v>
                </c:pt>
              </c:numCache>
            </c:numRef>
          </c:xVal>
          <c:yVal>
            <c:numRef>
              <c:f>Sheet1!$B$165:$B$166</c:f>
              <c:numCache>
                <c:formatCode>General</c:formatCode>
                <c:ptCount val="2"/>
                <c:pt idx="0">
                  <c:v>0.0016983317843318425</c:v>
                </c:pt>
                <c:pt idx="1">
                  <c:v>0.0016983317843318425</c:v>
                </c:pt>
              </c:numCache>
            </c:numRef>
          </c:yVal>
          <c:smooth val="0"/>
          <c:extLst>
            <c:ext xmlns:c16="http://schemas.microsoft.com/office/drawing/2014/chart" uri="{C3380CC4-5D6E-409C-BE32-E72D297353CC}">
              <c16:uniqueId val="{00000011-F32D-48B7-BC20-E66FC6253BAD}"/>
            </c:ext>
          </c:extLst>
        </c:ser>
        <c:ser>
          <c:idx val="7"/>
          <c:order val="7"/>
          <c:tx>
            <c:strRef>
              <c:f>Sheet1!$B$16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9:$A$170</c:f>
              <c:numCache>
                <c:formatCode>General</c:formatCode>
                <c:ptCount val="2"/>
                <c:pt idx="0">
                  <c:v>310.13856074183394</c:v>
                </c:pt>
                <c:pt idx="1">
                  <c:v>310.13856074183394</c:v>
                </c:pt>
              </c:numCache>
            </c:numRef>
          </c:xVal>
          <c:yVal>
            <c:numRef>
              <c:f>Sheet1!$B$169:$B$170</c:f>
              <c:numCache>
                <c:formatCode>General</c:formatCode>
                <c:ptCount val="2"/>
                <c:pt idx="0">
                  <c:v>0.00169833178433184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3:$A$225</c:f>
              <c:numCache>
                <c:formatCode>General</c:formatCode>
                <c:ptCount val="53"/>
                <c:pt idx="0">
                  <c:v>0.0</c:v>
                </c:pt>
                <c:pt idx="1">
                  <c:v>0.0</c:v>
                </c:pt>
                <c:pt idx="2">
                  <c:v>0.0</c:v>
                </c:pt>
                <c:pt idx="3">
                  <c:v>0.0</c:v>
                </c:pt>
                <c:pt idx="4">
                  <c:v>0.0</c:v>
                </c:pt>
                <c:pt idx="5">
                  <c:v>0.0</c:v>
                </c:pt>
                <c:pt idx="6">
                  <c:v>0.0</c:v>
                </c:pt>
                <c:pt idx="7">
                  <c:v>0.0</c:v>
                </c:pt>
                <c:pt idx="8">
                  <c:v>0.0</c:v>
                </c:pt>
                <c:pt idx="9">
                  <c:v>0.0</c:v>
                </c:pt>
                <c:pt idx="10">
                  <c:v>640.3333</c:v>
                </c:pt>
                <c:pt idx="11">
                  <c:v>707.0</c:v>
                </c:pt>
                <c:pt idx="12">
                  <c:v>625.2</c:v>
                </c:pt>
                <c:pt idx="13">
                  <c:v>641.0</c:v>
                </c:pt>
                <c:pt idx="14">
                  <c:v>717.0</c:v>
                </c:pt>
                <c:pt idx="15">
                  <c:v>592.3333</c:v>
                </c:pt>
                <c:pt idx="16">
                  <c:v>646.0</c:v>
                </c:pt>
                <c:pt idx="17">
                  <c:v>725.0</c:v>
                </c:pt>
                <c:pt idx="18">
                  <c:v>715.0</c:v>
                </c:pt>
                <c:pt idx="19">
                  <c:v>812.0</c:v>
                </c:pt>
                <c:pt idx="20">
                  <c:v>646.0</c:v>
                </c:pt>
                <c:pt idx="21">
                  <c:v>0.0</c:v>
                </c:pt>
                <c:pt idx="22">
                  <c:v>0.0</c:v>
                </c:pt>
                <c:pt idx="23">
                  <c:v>952.0</c:v>
                </c:pt>
                <c:pt idx="24">
                  <c:v>477.0</c:v>
                </c:pt>
                <c:pt idx="25">
                  <c:v>803.0</c:v>
                </c:pt>
                <c:pt idx="26">
                  <c:v>964.0</c:v>
                </c:pt>
                <c:pt idx="27">
                  <c:v>805.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389.75</c:v>
                </c:pt>
                <c:pt idx="44">
                  <c:v>434.0</c:v>
                </c:pt>
                <c:pt idx="45">
                  <c:v>348.0</c:v>
                </c:pt>
                <c:pt idx="46">
                  <c:v>0.0</c:v>
                </c:pt>
                <c:pt idx="47">
                  <c:v>267.0</c:v>
                </c:pt>
                <c:pt idx="48">
                  <c:v>345.0</c:v>
                </c:pt>
                <c:pt idx="49">
                  <c:v>513.0</c:v>
                </c:pt>
                <c:pt idx="50">
                  <c:v>924.7538549490346</c:v>
                </c:pt>
                <c:pt idx="51">
                  <c:v>4282.842279517169</c:v>
                </c:pt>
                <c:pt idx="52">
                  <c:v>310.13856074183394</c:v>
                </c:pt>
              </c:numCache>
            </c:numRef>
          </c:xVal>
          <c:yVal>
            <c:numRef>
              <c:f>Sheet1!$B$173:$B$225</c:f>
              <c:numCache>
                <c:formatCode>General</c:formatCode>
                <c:ptCount val="53"/>
                <c:pt idx="0">
                  <c:v>0.0002106225113129365</c:v>
                </c:pt>
                <c:pt idx="1">
                  <c:v>0.0002106225113129365</c:v>
                </c:pt>
                <c:pt idx="2">
                  <c:v>0.0002106225113129365</c:v>
                </c:pt>
                <c:pt idx="3">
                  <c:v>0.0002106225113129365</c:v>
                </c:pt>
                <c:pt idx="4">
                  <c:v>0.0002106225113129365</c:v>
                </c:pt>
                <c:pt idx="5">
                  <c:v>0.0002106225113129365</c:v>
                </c:pt>
                <c:pt idx="6">
                  <c:v>0.0002106225113129365</c:v>
                </c:pt>
                <c:pt idx="7">
                  <c:v>0.0002106225113129365</c:v>
                </c:pt>
                <c:pt idx="8">
                  <c:v>0.0002106225113129365</c:v>
                </c:pt>
                <c:pt idx="9">
                  <c:v>0.0002106225113129365</c:v>
                </c:pt>
                <c:pt idx="10">
                  <c:v>0.0032822489029301553</c:v>
                </c:pt>
                <c:pt idx="11">
                  <c:v>0.0036020436022875485</c:v>
                </c:pt>
                <c:pt idx="12">
                  <c:v>0.003209655702369977</c:v>
                </c:pt>
                <c:pt idx="13">
                  <c:v>0.0032854470082220263</c:v>
                </c:pt>
                <c:pt idx="14">
                  <c:v>0.003650012783206567</c:v>
                </c:pt>
                <c:pt idx="15">
                  <c:v>0.0030519968345188663</c:v>
                </c:pt>
                <c:pt idx="16">
                  <c:v>0.0033094315986815356</c:v>
                </c:pt>
                <c:pt idx="17">
                  <c:v>0.003688388127941782</c:v>
                </c:pt>
                <c:pt idx="18">
                  <c:v>0.0036404189470227635</c:v>
                </c:pt>
                <c:pt idx="19">
                  <c:v>0.004105720001937243</c:v>
                </c:pt>
                <c:pt idx="20">
                  <c:v>0.0033094315986815356</c:v>
                </c:pt>
                <c:pt idx="21">
                  <c:v>0.0002106225113129365</c:v>
                </c:pt>
                <c:pt idx="22">
                  <c:v>0.0002106225113129365</c:v>
                </c:pt>
                <c:pt idx="23">
                  <c:v>0.004777288534803503</c:v>
                </c:pt>
                <c:pt idx="24">
                  <c:v>0.0024987524411501216</c:v>
                </c:pt>
                <c:pt idx="25">
                  <c:v>0.004062547739110127</c:v>
                </c:pt>
                <c:pt idx="26">
                  <c:v>0.004834851551906325</c:v>
                </c:pt>
                <c:pt idx="27">
                  <c:v>0.00407214157529393</c:v>
                </c:pt>
                <c:pt idx="28">
                  <c:v>0.0002106225113129365</c:v>
                </c:pt>
                <c:pt idx="29">
                  <c:v>0.0002106225113129365</c:v>
                </c:pt>
                <c:pt idx="30">
                  <c:v>0.0002106225113129365</c:v>
                </c:pt>
                <c:pt idx="31">
                  <c:v>0.0002106225113129365</c:v>
                </c:pt>
                <c:pt idx="32">
                  <c:v>0.0002106225113129365</c:v>
                </c:pt>
                <c:pt idx="33">
                  <c:v>0.0002106225113129365</c:v>
                </c:pt>
                <c:pt idx="34">
                  <c:v>0.0002106225113129365</c:v>
                </c:pt>
                <c:pt idx="35">
                  <c:v>0.0002106225113129365</c:v>
                </c:pt>
                <c:pt idx="36">
                  <c:v>0.0002106225113129365</c:v>
                </c:pt>
                <c:pt idx="37">
                  <c:v>0.0002106225113129365</c:v>
                </c:pt>
                <c:pt idx="38">
                  <c:v>0.0002106225113129365</c:v>
                </c:pt>
                <c:pt idx="39">
                  <c:v>0.0002106225113129365</c:v>
                </c:pt>
                <c:pt idx="40">
                  <c:v>0.0002106225113129365</c:v>
                </c:pt>
                <c:pt idx="41">
                  <c:v>0.0002106225113129365</c:v>
                </c:pt>
                <c:pt idx="42">
                  <c:v>0.0002106225113129365</c:v>
                </c:pt>
                <c:pt idx="43">
                  <c:v>0.002080221337631685</c:v>
                </c:pt>
                <c:pt idx="44">
                  <c:v>0.002292484963198342</c:v>
                </c:pt>
                <c:pt idx="45">
                  <c:v>0.0018799500072947824</c:v>
                </c:pt>
                <c:pt idx="46">
                  <c:v>0.0002106225113129365</c:v>
                </c:pt>
                <c:pt idx="47">
                  <c:v>0.001491399641850732</c:v>
                </c:pt>
                <c:pt idx="48">
                  <c:v>0.0018655592530190768</c:v>
                </c:pt>
                <c:pt idx="49">
                  <c:v>0.0026714414924585888</c:v>
                </c:pt>
                <c:pt idx="50">
                  <c:v>0.004646591008673945</c:v>
                </c:pt>
                <c:pt idx="51">
                  <c:v>0.020755066126691032</c:v>
                </c:pt>
                <c:pt idx="52">
                  <c:v>0.00169833178433184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13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26441784548422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5798440546033694</c:v>
                </c:pt>
                <c:pt idx="1">
                  <c:v>2.722405136535717</c:v>
                </c:pt>
                <c:pt idx="2">
                  <c:v>2.8197845721022006</c:v>
                </c:pt>
                <c:pt idx="3">
                  <c:v>2.903670525145146</c:v>
                </c:pt>
                <c:pt idx="4">
                  <c:v>2.925005545726545</c:v>
                </c:pt>
                <c:pt idx="5">
                  <c:v>2.3460485393273456</c:v>
                </c:pt>
                <c:pt idx="6">
                  <c:v>2.200432773885725</c:v>
                </c:pt>
                <c:pt idx="7">
                  <c:v>2.1517671078794596</c:v>
                </c:pt>
                <c:pt idx="8">
                  <c:v>2.037108370889668</c:v>
                </c:pt>
                <c:pt idx="9">
                  <c:v>2.242513369561228</c:v>
                </c:pt>
                <c:pt idx="10">
                  <c:v>2.3147900059569744</c:v>
                </c:pt>
                <c:pt idx="11">
                  <c:v>2.4338217882896744</c:v>
                </c:pt>
                <c:pt idx="12">
                  <c:v>2.3323519104234385</c:v>
                </c:pt>
                <c:pt idx="13">
                  <c:v>2.154616439808377</c:v>
                </c:pt>
                <c:pt idx="14">
                  <c:v>2.1752414398216993</c:v>
                </c:pt>
                <c:pt idx="15">
                  <c:v>2.2182862768180205</c:v>
                </c:pt>
                <c:pt idx="16">
                  <c:v>2.331756606993374</c:v>
                </c:pt>
                <c:pt idx="17">
                  <c:v>2.69731063144083</c:v>
                </c:pt>
                <c:pt idx="18">
                  <c:v>3.0050246369643903</c:v>
                </c:pt>
                <c:pt idx="19">
                  <c:v>2.967986262701748</c:v>
                </c:pt>
                <c:pt idx="20">
                  <c:v>2.8128600541636786</c:v>
                </c:pt>
                <c:pt idx="21">
                  <c:v>2.776279011392547</c:v>
                </c:pt>
                <c:pt idx="22">
                  <c:v>2.981656712804894</c:v>
                </c:pt>
                <c:pt idx="23">
                  <c:v>3.0515295272370357</c:v>
                </c:pt>
                <c:pt idx="24">
                  <c:v>2.9626389193984903</c:v>
                </c:pt>
                <c:pt idx="25">
                  <c:v>2.6961627094461162</c:v>
                </c:pt>
                <c:pt idx="26">
                  <c:v>2.310371898016997</c:v>
                </c:pt>
                <c:pt idx="27">
                  <c:v>2.215127643243888</c:v>
                </c:pt>
                <c:pt idx="28">
                  <c:v>2.336935637149221</c:v>
                </c:pt>
                <c:pt idx="29">
                  <c:v>1.855990324017854</c:v>
                </c:pt>
                <c:pt idx="30">
                  <c:v>2.0985362437060227</c:v>
                </c:pt>
                <c:pt idx="31">
                  <c:v>2.0187189343252268</c:v>
                </c:pt>
                <c:pt idx="32">
                  <c:v>2.1888945543706324</c:v>
                </c:pt>
                <c:pt idx="33">
                  <c:v>1.1896717487170771</c:v>
                </c:pt>
                <c:pt idx="34">
                  <c:v>2.0471136942322596</c:v>
                </c:pt>
                <c:pt idx="35">
                  <c:v>1.6752877199081118</c:v>
                </c:pt>
                <c:pt idx="36">
                  <c:v>2.5678576435281655</c:v>
                </c:pt>
                <c:pt idx="37">
                  <c:v>1.9407540690018437</c:v>
                </c:pt>
                <c:pt idx="38">
                  <c:v>2.247999352576207</c:v>
                </c:pt>
                <c:pt idx="39">
                  <c:v>2.1724899205704755</c:v>
                </c:pt>
                <c:pt idx="40">
                  <c:v>2.10727410327826</c:v>
                </c:pt>
                <c:pt idx="41">
                  <c:v>1.9761399745114698</c:v>
                </c:pt>
                <c:pt idx="42">
                  <c:v>2.2856116006856007</c:v>
                </c:pt>
                <c:pt idx="43">
                  <c:v>2.08357967175517</c:v>
                </c:pt>
                <c:pt idx="44">
                  <c:v>2.2719243084571685</c:v>
                </c:pt>
                <c:pt idx="45">
                  <c:v>2.207544125157508</c:v>
                </c:pt>
                <c:pt idx="46">
                  <c:v>2.2600422851603574</c:v>
                </c:pt>
                <c:pt idx="47">
                  <c:v>2.22957143376576</c:v>
                </c:pt>
                <c:pt idx="48">
                  <c:v>2.3365599043616436</c:v>
                </c:pt>
                <c:pt idx="49">
                  <c:v>2.2465409879807767</c:v>
                </c:pt>
                <c:pt idx="50">
                  <c:v>2.2630453388985945</c:v>
                </c:pt>
                <c:pt idx="51">
                  <c:v>2.3168516053355233</c:v>
                </c:pt>
                <c:pt idx="52">
                  <c:v>2.254562618065001</c:v>
                </c:pt>
                <c:pt idx="53">
                  <c:v>2.3729679156367167</c:v>
                </c:pt>
                <c:pt idx="54">
                  <c:v>2.394546393893177</c:v>
                </c:pt>
                <c:pt idx="55">
                  <c:v>2.4628223732641894</c:v>
                </c:pt>
                <c:pt idx="56">
                  <c:v>2.4194495158175706</c:v>
                </c:pt>
                <c:pt idx="57">
                  <c:v>2.3170217475690777</c:v>
                </c:pt>
                <c:pt idx="58">
                  <c:v>2.385153176845576</c:v>
                </c:pt>
                <c:pt idx="59">
                  <c:v>2.438263659349663</c:v>
                </c:pt>
                <c:pt idx="60">
                  <c:v>2.479425683505409</c:v>
                </c:pt>
                <c:pt idx="61">
                  <c:v>2.5538093809595233</c:v>
                </c:pt>
                <c:pt idx="62">
                  <c:v>2.4783427421505215</c:v>
                </c:pt>
                <c:pt idx="63">
                  <c:v>2.5247100457079616</c:v>
                </c:pt>
                <c:pt idx="64">
                  <c:v>2.506055311470717</c:v>
                </c:pt>
                <c:pt idx="65">
                  <c:v>2.3747737501262134</c:v>
                </c:pt>
                <c:pt idx="66">
                  <c:v>2.4635161848203238</c:v>
                </c:pt>
                <c:pt idx="67">
                  <c:v>2.4716303124559484</c:v>
                </c:pt>
                <c:pt idx="68">
                  <c:v>2.2449794818669084</c:v>
                </c:pt>
                <c:pt idx="69">
                  <c:v>2.4062457880663763</c:v>
                </c:pt>
                <c:pt idx="70">
                  <c:v>2.2891533537447804</c:v>
                </c:pt>
                <c:pt idx="71">
                  <c:v>2.452341158977668</c:v>
                </c:pt>
                <c:pt idx="72">
                  <c:v>2.7599185011566094</c:v>
                </c:pt>
                <c:pt idx="73">
                  <c:v>2.7059963547141845</c:v>
                </c:pt>
                <c:pt idx="74">
                  <c:v>2.378946843505842</c:v>
                </c:pt>
                <c:pt idx="75">
                  <c:v>2.0832740835329946</c:v>
                </c:pt>
                <c:pt idx="76">
                  <c:v>2.290106182728131</c:v>
                </c:pt>
                <c:pt idx="77">
                  <c:v>1.6149392887356822</c:v>
                </c:pt>
                <c:pt idx="78">
                  <c:v>2.0264515323403205</c:v>
                </c:pt>
                <c:pt idx="79">
                  <c:v>2.749097576902289</c:v>
                </c:pt>
                <c:pt idx="80">
                  <c:v>3.049775602970955</c:v>
                </c:pt>
                <c:pt idx="81">
                  <c:v>2.47313750000576</c:v>
                </c:pt>
                <c:pt idx="82">
                  <c:v>2.553448880556102</c:v>
                </c:pt>
                <c:pt idx="83">
                  <c:v>2.2435874781369924</c:v>
                </c:pt>
                <c:pt idx="84">
                  <c:v>2.6824646963447365</c:v>
                </c:pt>
                <c:pt idx="85">
                  <c:v>2.5334189021749625</c:v>
                </c:pt>
                <c:pt idx="86">
                  <c:v>2.597535146223642</c:v>
                </c:pt>
                <c:pt idx="87">
                  <c:v>2.534170603052114</c:v>
                </c:pt>
                <c:pt idx="88">
                  <c:v>1.9379867643386333</c:v>
                </c:pt>
                <c:pt idx="89">
                  <c:v>1.7277901654067693</c:v>
                </c:pt>
                <c:pt idx="90">
                  <c:v>2.4807399526331495</c:v>
                </c:pt>
                <c:pt idx="91">
                  <c:v>2.5460158703582794</c:v>
                </c:pt>
                <c:pt idx="92">
                  <c:v>2.465914444899511</c:v>
                </c:pt>
                <c:pt idx="93">
                  <c:v>2.5033096243251935</c:v>
                </c:pt>
                <c:pt idx="94">
                  <c:v>2.9871266273006665</c:v>
                </c:pt>
                <c:pt idx="95">
                  <c:v>2.3414429898139315</c:v>
                </c:pt>
                <c:pt idx="96">
                  <c:v>2.346144257969154</c:v>
                </c:pt>
                <c:pt idx="97">
                  <c:v>2.5717044399222804</c:v>
                </c:pt>
                <c:pt idx="98">
                  <c:v>2.5536307173242943</c:v>
                </c:pt>
                <c:pt idx="99">
                  <c:v>2.8609394723927597</c:v>
                </c:pt>
                <c:pt idx="100">
                  <c:v>2.2425089488346672</c:v>
                </c:pt>
                <c:pt idx="101">
                  <c:v>2.3919970595649938</c:v>
                </c:pt>
                <c:pt idx="102">
                  <c:v>2.4883506627787724</c:v>
                </c:pt>
                <c:pt idx="103">
                  <c:v>2.610244613918059</c:v>
                </c:pt>
                <c:pt idx="104">
                  <c:v>2.387170935250813</c:v>
                </c:pt>
              </c:numCache>
            </c:numRef>
          </c:xVal>
          <c:yVal>
            <c:numRef>
              <c:f>Sheet1!$B$2:$B$106</c:f>
              <c:numCache>
                <c:formatCode>General</c:formatCode>
                <c:ptCount val="105"/>
                <c:pt idx="0">
                  <c:v>0.25672645739910316</c:v>
                </c:pt>
                <c:pt idx="1">
                  <c:v>0.28355196770938446</c:v>
                </c:pt>
                <c:pt idx="2">
                  <c:v>0.27372627372627373</c:v>
                </c:pt>
                <c:pt idx="3">
                  <c:v>0.2970059880239521</c:v>
                </c:pt>
                <c:pt idx="4">
                  <c:v>0.2574123989218329</c:v>
                </c:pt>
                <c:pt idx="5">
                  <c:v>0.2817955112219451</c:v>
                </c:pt>
                <c:pt idx="6">
                  <c:v>0.31572327044025156</c:v>
                </c:pt>
                <c:pt idx="7">
                  <c:v>0.30071942446043165</c:v>
                </c:pt>
                <c:pt idx="8">
                  <c:v>0.3338323353293413</c:v>
                </c:pt>
                <c:pt idx="9">
                  <c:v>0.30361757105943155</c:v>
                </c:pt>
                <c:pt idx="10">
                  <c:v>0.291932059447983</c:v>
                </c:pt>
                <c:pt idx="11">
                  <c:v>0.30794341675734493</c:v>
                </c:pt>
                <c:pt idx="12">
                  <c:v>0.30885311871227367</c:v>
                </c:pt>
                <c:pt idx="13">
                  <c:v>0.3129855715871254</c:v>
                </c:pt>
                <c:pt idx="14">
                  <c:v>0.28691476590636256</c:v>
                </c:pt>
                <c:pt idx="15">
                  <c:v>0.2875605815831987</c:v>
                </c:pt>
                <c:pt idx="16">
                  <c:v>0.24066390041493776</c:v>
                </c:pt>
                <c:pt idx="17">
                  <c:v>0.20092378752886836</c:v>
                </c:pt>
                <c:pt idx="18">
                  <c:v>0.18571428571428572</c:v>
                </c:pt>
                <c:pt idx="19">
                  <c:v>0.18181818181818182</c:v>
                </c:pt>
                <c:pt idx="20">
                  <c:v>0.17557251908396945</c:v>
                </c:pt>
                <c:pt idx="21">
                  <c:v>0.22857142857142856</c:v>
                </c:pt>
                <c:pt idx="22">
                  <c:v>0.24725274725274726</c:v>
                </c:pt>
                <c:pt idx="23">
                  <c:v>0.1889763779527559</c:v>
                </c:pt>
                <c:pt idx="24">
                  <c:v>0.16129032258064516</c:v>
                </c:pt>
                <c:pt idx="25">
                  <c:v>0.18674698795180722</c:v>
                </c:pt>
                <c:pt idx="26">
                  <c:v>0.2052980132450331</c:v>
                </c:pt>
                <c:pt idx="27">
                  <c:v>0.20958083832335328</c:v>
                </c:pt>
                <c:pt idx="28">
                  <c:v>0.18012422360248448</c:v>
                </c:pt>
                <c:pt idx="29">
                  <c:v>0.2158273381294964</c:v>
                </c:pt>
                <c:pt idx="30">
                  <c:v>0.2037037037037037</c:v>
                </c:pt>
                <c:pt idx="31">
                  <c:v>0.19491525423728814</c:v>
                </c:pt>
                <c:pt idx="32">
                  <c:v>0.2413793103448276</c:v>
                </c:pt>
                <c:pt idx="33">
                  <c:v>0.3532934131736527</c:v>
                </c:pt>
                <c:pt idx="34">
                  <c:v>0.27941176470588236</c:v>
                </c:pt>
                <c:pt idx="35">
                  <c:v>0.31543624161073824</c:v>
                </c:pt>
                <c:pt idx="36">
                  <c:v>0.19047619047619047</c:v>
                </c:pt>
                <c:pt idx="37">
                  <c:v>0.16428571428571428</c:v>
                </c:pt>
                <c:pt idx="38">
                  <c:v>0.16326530612244897</c:v>
                </c:pt>
                <c:pt idx="39">
                  <c:v>0.1450381679389313</c:v>
                </c:pt>
                <c:pt idx="40">
                  <c:v>0.1761006289308176</c:v>
                </c:pt>
                <c:pt idx="41">
                  <c:v>0.18633540372670807</c:v>
                </c:pt>
                <c:pt idx="42">
                  <c:v>0.17777777777777778</c:v>
                </c:pt>
                <c:pt idx="43">
                  <c:v>0.2145214521452145</c:v>
                </c:pt>
                <c:pt idx="44">
                  <c:v>0.22965641952983726</c:v>
                </c:pt>
                <c:pt idx="45">
                  <c:v>0.24793388429752067</c:v>
                </c:pt>
                <c:pt idx="46">
                  <c:v>0.22524271844660193</c:v>
                </c:pt>
                <c:pt idx="47">
                  <c:v>0.26391096979332274</c:v>
                </c:pt>
                <c:pt idx="48">
                  <c:v>0.27713382507903056</c:v>
                </c:pt>
                <c:pt idx="49">
                  <c:v>0.31758957654723124</c:v>
                </c:pt>
                <c:pt idx="50">
                  <c:v>0.27976190476190477</c:v>
                </c:pt>
                <c:pt idx="51">
                  <c:v>0.26779026217228463</c:v>
                </c:pt>
                <c:pt idx="52">
                  <c:v>0.291319857312723</c:v>
                </c:pt>
                <c:pt idx="53">
                  <c:v>0.2840409956076135</c:v>
                </c:pt>
                <c:pt idx="54">
                  <c:v>0.2862595419847328</c:v>
                </c:pt>
                <c:pt idx="55">
                  <c:v>0.27474747474747474</c:v>
                </c:pt>
                <c:pt idx="56">
                  <c:v>0.2824956672443674</c:v>
                </c:pt>
                <c:pt idx="57">
                  <c:v>0.30264993026499304</c:v>
                </c:pt>
                <c:pt idx="58">
                  <c:v>0.3185745140388769</c:v>
                </c:pt>
                <c:pt idx="59">
                  <c:v>0.31683168316831684</c:v>
                </c:pt>
                <c:pt idx="60">
                  <c:v>0.3292240754169688</c:v>
                </c:pt>
                <c:pt idx="61">
                  <c:v>0.3477366255144033</c:v>
                </c:pt>
                <c:pt idx="62">
                  <c:v>0.3402854006586169</c:v>
                </c:pt>
                <c:pt idx="63">
                  <c:v>0.3881578947368421</c:v>
                </c:pt>
                <c:pt idx="64">
                  <c:v>0.34238603297769155</c:v>
                </c:pt>
                <c:pt idx="65">
                  <c:v>0.33116883116883117</c:v>
                </c:pt>
                <c:pt idx="66">
                  <c:v>0.3062261753494282</c:v>
                </c:pt>
                <c:pt idx="67">
                  <c:v>0.3089080459770115</c:v>
                </c:pt>
                <c:pt idx="68">
                  <c:v>0.3293918918918919</c:v>
                </c:pt>
                <c:pt idx="69">
                  <c:v>0.2727272727272727</c:v>
                </c:pt>
                <c:pt idx="70">
                  <c:v>0.27123287671232876</c:v>
                </c:pt>
                <c:pt idx="71">
                  <c:v>0.27844311377245506</c:v>
                </c:pt>
                <c:pt idx="72">
                  <c:v>0.2375886524822695</c:v>
                </c:pt>
                <c:pt idx="73">
                  <c:v>0.2737226277372263</c:v>
                </c:pt>
                <c:pt idx="74">
                  <c:v>0.3014705882352941</c:v>
                </c:pt>
                <c:pt idx="75">
                  <c:v>0.34972677595628415</c:v>
                </c:pt>
                <c:pt idx="76">
                  <c:v>0.3148148148148148</c:v>
                </c:pt>
                <c:pt idx="77">
                  <c:v>0.41530054644808745</c:v>
                </c:pt>
                <c:pt idx="78">
                  <c:v>0.3333333333333333</c:v>
                </c:pt>
                <c:pt idx="79">
                  <c:v>0.2072072072072072</c:v>
                </c:pt>
                <c:pt idx="80">
                  <c:v>0.1619047619047619</c:v>
                </c:pt>
                <c:pt idx="81">
                  <c:v>0.26515151515151514</c:v>
                </c:pt>
                <c:pt idx="82">
                  <c:v>0.20833333333333334</c:v>
                </c:pt>
                <c:pt idx="83">
                  <c:v>0.2235294117647059</c:v>
                </c:pt>
                <c:pt idx="84">
                  <c:v>0.1956521739130435</c:v>
                </c:pt>
                <c:pt idx="85">
                  <c:v>0.21904761904761905</c:v>
                </c:pt>
                <c:pt idx="86">
                  <c:v>0.2459016393442623</c:v>
                </c:pt>
                <c:pt idx="87">
                  <c:v>0.2459016393442623</c:v>
                </c:pt>
                <c:pt idx="88">
                  <c:v>0.2815533980582524</c:v>
                </c:pt>
                <c:pt idx="89">
                  <c:v>0.2441860465116279</c:v>
                </c:pt>
                <c:pt idx="90">
                  <c:v>0.19480519480519481</c:v>
                </c:pt>
                <c:pt idx="91">
                  <c:v>0.2</c:v>
                </c:pt>
                <c:pt idx="92">
                  <c:v>0.16666666666666666</c:v>
                </c:pt>
                <c:pt idx="93">
                  <c:v>0.2</c:v>
                </c:pt>
                <c:pt idx="94">
                  <c:v>0.14736842105263157</c:v>
                </c:pt>
                <c:pt idx="95">
                  <c:v>0.18</c:v>
                </c:pt>
                <c:pt idx="96">
                  <c:v>0.22713864306784662</c:v>
                </c:pt>
                <c:pt idx="97">
                  <c:v>0.23513513513513515</c:v>
                </c:pt>
                <c:pt idx="98">
                  <c:v>0.24380165289256198</c:v>
                </c:pt>
                <c:pt idx="99">
                  <c:v>0.261136712749616</c:v>
                </c:pt>
                <c:pt idx="100">
                  <c:v>0.27838258164852253</c:v>
                </c:pt>
                <c:pt idx="101">
                  <c:v>0.2624</c:v>
                </c:pt>
                <c:pt idx="102">
                  <c:v>0.24034334763948498</c:v>
                </c:pt>
                <c:pt idx="103">
                  <c:v>0.218018018018018</c:v>
                </c:pt>
                <c:pt idx="104">
                  <c:v>0.265734265734265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3239067590430853</c:v>
                </c:pt>
                <c:pt idx="1">
                  <c:v>2.2247025233998907</c:v>
                </c:pt>
                <c:pt idx="2">
                  <c:v>2.2280851878013435</c:v>
                </c:pt>
                <c:pt idx="3">
                  <c:v>2.2444914136026237</c:v>
                </c:pt>
                <c:pt idx="4">
                  <c:v>2.151651434280394</c:v>
                </c:pt>
                <c:pt idx="5">
                  <c:v>2.0522235068983767</c:v>
                </c:pt>
                <c:pt idx="6">
                  <c:v>1.8988049621550906</c:v>
                </c:pt>
                <c:pt idx="7">
                  <c:v>1.9829102183578735</c:v>
                </c:pt>
                <c:pt idx="8">
                  <c:v>2.0447468680626124</c:v>
                </c:pt>
                <c:pt idx="9">
                  <c:v>2.1707351177457803</c:v>
                </c:pt>
                <c:pt idx="10">
                  <c:v>2.0769286424008926</c:v>
                </c:pt>
                <c:pt idx="11">
                  <c:v>1.9869300722837053</c:v>
                </c:pt>
                <c:pt idx="12">
                  <c:v>2.0927213616626528</c:v>
                </c:pt>
                <c:pt idx="13">
                  <c:v>2.1323185568967427</c:v>
                </c:pt>
                <c:pt idx="14">
                  <c:v>2.134694138200932</c:v>
                </c:pt>
                <c:pt idx="15">
                  <c:v>2.2195994175910854</c:v>
                </c:pt>
                <c:pt idx="16">
                  <c:v>2.3054956008733627</c:v>
                </c:pt>
                <c:pt idx="17">
                  <c:v>2.3807721704949274</c:v>
                </c:pt>
                <c:pt idx="18">
                  <c:v>2.1629558596860092</c:v>
                </c:pt>
                <c:pt idx="19">
                  <c:v>2.1397783001545294</c:v>
                </c:pt>
                <c:pt idx="20">
                  <c:v>2.1048950167729075</c:v>
                </c:pt>
                <c:pt idx="21">
                  <c:v>1.6548681524904987</c:v>
                </c:pt>
                <c:pt idx="22">
                  <c:v>1.6013792028224028</c:v>
                </c:pt>
                <c:pt idx="23">
                  <c:v>1.653964641466014</c:v>
                </c:pt>
                <c:pt idx="24">
                  <c:v>1.5074986924753104</c:v>
                </c:pt>
                <c:pt idx="25">
                  <c:v>1.5517312732677901</c:v>
                </c:pt>
                <c:pt idx="26">
                  <c:v>2.013641131007092</c:v>
                </c:pt>
                <c:pt idx="27">
                  <c:v>1.8877645240032548</c:v>
                </c:pt>
                <c:pt idx="28">
                  <c:v>2.0138983538815878</c:v>
                </c:pt>
                <c:pt idx="29">
                  <c:v>1.8824002701470373</c:v>
                </c:pt>
                <c:pt idx="30">
                  <c:v>1.824188788257339</c:v>
                </c:pt>
                <c:pt idx="31">
                  <c:v>2.1919527924232423</c:v>
                </c:pt>
                <c:pt idx="32">
                  <c:v>1.8884274821610603</c:v>
                </c:pt>
                <c:pt idx="33">
                  <c:v>1.9593069238487866</c:v>
                </c:pt>
                <c:pt idx="34">
                  <c:v>2.0415075043630018</c:v>
                </c:pt>
                <c:pt idx="35">
                  <c:v>1.6140644683485623</c:v>
                </c:pt>
                <c:pt idx="36">
                  <c:v>1.9644857716025654</c:v>
                </c:pt>
                <c:pt idx="37">
                  <c:v>1.6914898550724637</c:v>
                </c:pt>
                <c:pt idx="38">
                  <c:v>1.6758619693304417</c:v>
                </c:pt>
                <c:pt idx="39">
                  <c:v>1.4585126813247358</c:v>
                </c:pt>
                <c:pt idx="40">
                  <c:v>1.5535935349166201</c:v>
                </c:pt>
                <c:pt idx="41">
                  <c:v>2.1652275268817207</c:v>
                </c:pt>
                <c:pt idx="42">
                  <c:v>1.9515219567611184</c:v>
                </c:pt>
                <c:pt idx="43">
                  <c:v>1.6535330192674815</c:v>
                </c:pt>
                <c:pt idx="44">
                  <c:v>1.9082008083386512</c:v>
                </c:pt>
                <c:pt idx="45">
                  <c:v>2.0253420049338415</c:v>
                </c:pt>
                <c:pt idx="46">
                  <c:v>2.2165174234919185</c:v>
                </c:pt>
                <c:pt idx="47">
                  <c:v>2.2590996481752503</c:v>
                </c:pt>
                <c:pt idx="48">
                  <c:v>1.9702811917840461</c:v>
                </c:pt>
                <c:pt idx="49">
                  <c:v>2.004346380803119</c:v>
                </c:pt>
                <c:pt idx="50">
                  <c:v>1.828742113746652</c:v>
                </c:pt>
                <c:pt idx="51">
                  <c:v>1.8492598397973807</c:v>
                </c:pt>
              </c:numCache>
            </c:numRef>
          </c:xVal>
          <c:yVal>
            <c:numRef>
              <c:f>Sheet1!$B$109:$B$160</c:f>
              <c:numCache>
                <c:formatCode>General</c:formatCode>
                <c:ptCount val="52"/>
                <c:pt idx="0">
                  <c:v>0.2857142857142857</c:v>
                </c:pt>
                <c:pt idx="1">
                  <c:v>0.2689969604863222</c:v>
                </c:pt>
                <c:pt idx="2">
                  <c:v>0.31197771587743733</c:v>
                </c:pt>
                <c:pt idx="3">
                  <c:v>0.3093167701863354</c:v>
                </c:pt>
                <c:pt idx="4">
                  <c:v>0.3141122913505311</c:v>
                </c:pt>
                <c:pt idx="5">
                  <c:v>0.31001589825119236</c:v>
                </c:pt>
                <c:pt idx="6">
                  <c:v>0.33799237611181704</c:v>
                </c:pt>
                <c:pt idx="7">
                  <c:v>0.3026634382566586</c:v>
                </c:pt>
                <c:pt idx="8">
                  <c:v>0.3136094674556213</c:v>
                </c:pt>
                <c:pt idx="9">
                  <c:v>0.31433823529411764</c:v>
                </c:pt>
                <c:pt idx="10">
                  <c:v>0.3466666666666667</c:v>
                </c:pt>
                <c:pt idx="11">
                  <c:v>0.3688888888888889</c:v>
                </c:pt>
                <c:pt idx="12">
                  <c:v>0.37318840579710144</c:v>
                </c:pt>
                <c:pt idx="13">
                  <c:v>0.3215547703180212</c:v>
                </c:pt>
                <c:pt idx="14">
                  <c:v>0.3386454183266932</c:v>
                </c:pt>
                <c:pt idx="15">
                  <c:v>0.3333333333333333</c:v>
                </c:pt>
                <c:pt idx="16">
                  <c:v>0.2596685082872928</c:v>
                </c:pt>
                <c:pt idx="17">
                  <c:v>0.22857142857142856</c:v>
                </c:pt>
                <c:pt idx="18">
                  <c:v>0.23699421965317918</c:v>
                </c:pt>
                <c:pt idx="19">
                  <c:v>0.24456521739130435</c:v>
                </c:pt>
                <c:pt idx="20">
                  <c:v>0.26455026455026454</c:v>
                </c:pt>
                <c:pt idx="21">
                  <c:v>0.35648148148148145</c:v>
                </c:pt>
                <c:pt idx="22">
                  <c:v>0.31313131313131315</c:v>
                </c:pt>
                <c:pt idx="23">
                  <c:v>0.32432432432432434</c:v>
                </c:pt>
                <c:pt idx="24">
                  <c:v>0.3310344827586207</c:v>
                </c:pt>
                <c:pt idx="25">
                  <c:v>0.3125</c:v>
                </c:pt>
                <c:pt idx="26">
                  <c:v>0.21804511278195488</c:v>
                </c:pt>
                <c:pt idx="27">
                  <c:v>0.24615384615384617</c:v>
                </c:pt>
                <c:pt idx="28">
                  <c:v>0.23255813953488372</c:v>
                </c:pt>
                <c:pt idx="29">
                  <c:v>0.21649484536082475</c:v>
                </c:pt>
                <c:pt idx="30">
                  <c:v>0.2289156626506024</c:v>
                </c:pt>
                <c:pt idx="31">
                  <c:v>0.2112676056338028</c:v>
                </c:pt>
                <c:pt idx="32">
                  <c:v>0.23170731707317074</c:v>
                </c:pt>
                <c:pt idx="33">
                  <c:v>0.26</c:v>
                </c:pt>
                <c:pt idx="34">
                  <c:v>0.25517241379310346</c:v>
                </c:pt>
                <c:pt idx="35">
                  <c:v>0.2972972972972973</c:v>
                </c:pt>
                <c:pt idx="36">
                  <c:v>0.22857142857142856</c:v>
                </c:pt>
                <c:pt idx="37">
                  <c:v>0.20987654320987653</c:v>
                </c:pt>
                <c:pt idx="38">
                  <c:v>0.2054794520547945</c:v>
                </c:pt>
                <c:pt idx="39">
                  <c:v>0.22764227642276422</c:v>
                </c:pt>
                <c:pt idx="40">
                  <c:v>0.21808510638297873</c:v>
                </c:pt>
                <c:pt idx="41">
                  <c:v>0.15757575757575756</c:v>
                </c:pt>
                <c:pt idx="42">
                  <c:v>0.16296296296296298</c:v>
                </c:pt>
                <c:pt idx="43">
                  <c:v>0.21774193548387097</c:v>
                </c:pt>
                <c:pt idx="44">
                  <c:v>0.20327868852459016</c:v>
                </c:pt>
                <c:pt idx="45">
                  <c:v>0.19444444444444445</c:v>
                </c:pt>
                <c:pt idx="46">
                  <c:v>0.17888563049853373</c:v>
                </c:pt>
                <c:pt idx="47">
                  <c:v>0.1891891891891892</c:v>
                </c:pt>
                <c:pt idx="48">
                  <c:v>0.2188034188034188</c:v>
                </c:pt>
                <c:pt idx="49">
                  <c:v>0.23867069486404835</c:v>
                </c:pt>
                <c:pt idx="50">
                  <c:v>0.3078089461713419</c:v>
                </c:pt>
                <c:pt idx="51">
                  <c:v>0.307560137457044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4934260141056717</c:v>
                </c:pt>
              </c:numCache>
            </c:numRef>
          </c:xVal>
          <c:yVal>
            <c:numRef>
              <c:f>Sheet1!$B$163:$B$164</c:f>
              <c:numCache>
                <c:formatCode>General</c:formatCode>
                <c:ptCount val="2"/>
                <c:pt idx="0">
                  <c:v>0.30984426474663607</c:v>
                </c:pt>
                <c:pt idx="1">
                  <c:v>0.309844264746636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4934260141056717</c:v>
                </c:pt>
                <c:pt idx="1">
                  <c:v>-2.4934260141056717</c:v>
                </c:pt>
              </c:numCache>
            </c:numRef>
          </c:xVal>
          <c:yVal>
            <c:numRef>
              <c:f>Sheet1!$B$167:$B$168</c:f>
              <c:numCache>
                <c:formatCode>General</c:formatCode>
                <c:ptCount val="2"/>
                <c:pt idx="0">
                  <c:v>0.309844264746636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680861075258138</c:v>
                </c:pt>
              </c:numCache>
            </c:numRef>
          </c:xVal>
          <c:yVal>
            <c:numRef>
              <c:f>Sheet1!$B$171:$B$172</c:f>
              <c:numCache>
                <c:formatCode>General</c:formatCode>
                <c:ptCount val="2"/>
                <c:pt idx="0">
                  <c:v>0.3067266798892133</c:v>
                </c:pt>
                <c:pt idx="1">
                  <c:v>0.306726679889213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680861075258138</c:v>
                </c:pt>
                <c:pt idx="1">
                  <c:v>-2.1680861075258138</c:v>
                </c:pt>
              </c:numCache>
            </c:numRef>
          </c:xVal>
          <c:yVal>
            <c:numRef>
              <c:f>Sheet1!$B$175:$B$176</c:f>
              <c:numCache>
                <c:formatCode>General</c:formatCode>
                <c:ptCount val="2"/>
                <c:pt idx="0">
                  <c:v>0.30672667988921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7.182227723762685</c:v>
                </c:pt>
              </c:numCache>
            </c:numRef>
          </c:xVal>
          <c:yVal>
            <c:numRef>
              <c:f>Sheet1!$B$179:$B$180</c:f>
              <c:numCache>
                <c:formatCode>General</c:formatCode>
                <c:ptCount val="2"/>
                <c:pt idx="0">
                  <c:v>0.21712686067545736</c:v>
                </c:pt>
                <c:pt idx="1">
                  <c:v>0.217126860675457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7.182227723762685</c:v>
                </c:pt>
                <c:pt idx="1">
                  <c:v>7.182227723762685</c:v>
                </c:pt>
              </c:numCache>
            </c:numRef>
          </c:xVal>
          <c:yVal>
            <c:numRef>
              <c:f>Sheet1!$B$183:$B$184</c:f>
              <c:numCache>
                <c:formatCode>General</c:formatCode>
                <c:ptCount val="2"/>
                <c:pt idx="0">
                  <c:v>0.217126860675457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3239067590430853</c:v>
                </c:pt>
                <c:pt idx="1">
                  <c:v>2.2247025233998907</c:v>
                </c:pt>
                <c:pt idx="2">
                  <c:v>2.2280851878013435</c:v>
                </c:pt>
                <c:pt idx="3">
                  <c:v>2.2444914136026237</c:v>
                </c:pt>
                <c:pt idx="4">
                  <c:v>2.151651434280394</c:v>
                </c:pt>
                <c:pt idx="5">
                  <c:v>2.0522235068983767</c:v>
                </c:pt>
                <c:pt idx="6">
                  <c:v>1.8988049621550906</c:v>
                </c:pt>
                <c:pt idx="7">
                  <c:v>1.9829102183578735</c:v>
                </c:pt>
                <c:pt idx="8">
                  <c:v>2.0447468680626124</c:v>
                </c:pt>
                <c:pt idx="9">
                  <c:v>2.1707351177457803</c:v>
                </c:pt>
                <c:pt idx="10">
                  <c:v>2.0769286424008926</c:v>
                </c:pt>
                <c:pt idx="11">
                  <c:v>1.9869300722837053</c:v>
                </c:pt>
                <c:pt idx="12">
                  <c:v>2.0927213616626528</c:v>
                </c:pt>
                <c:pt idx="13">
                  <c:v>2.1323185568967427</c:v>
                </c:pt>
                <c:pt idx="14">
                  <c:v>2.134694138200932</c:v>
                </c:pt>
                <c:pt idx="15">
                  <c:v>2.2195994175910854</c:v>
                </c:pt>
                <c:pt idx="16">
                  <c:v>2.3054956008733627</c:v>
                </c:pt>
                <c:pt idx="17">
                  <c:v>2.3807721704949274</c:v>
                </c:pt>
                <c:pt idx="18">
                  <c:v>2.1629558596860092</c:v>
                </c:pt>
                <c:pt idx="19">
                  <c:v>2.1397783001545294</c:v>
                </c:pt>
                <c:pt idx="20">
                  <c:v>2.1048950167729075</c:v>
                </c:pt>
                <c:pt idx="21">
                  <c:v>1.6548681524904987</c:v>
                </c:pt>
                <c:pt idx="22">
                  <c:v>1.6013792028224028</c:v>
                </c:pt>
                <c:pt idx="23">
                  <c:v>1.653964641466014</c:v>
                </c:pt>
                <c:pt idx="24">
                  <c:v>1.5074986924753104</c:v>
                </c:pt>
                <c:pt idx="25">
                  <c:v>1.5517312732677901</c:v>
                </c:pt>
                <c:pt idx="26">
                  <c:v>2.013641131007092</c:v>
                </c:pt>
                <c:pt idx="27">
                  <c:v>1.8877645240032548</c:v>
                </c:pt>
                <c:pt idx="28">
                  <c:v>2.0138983538815878</c:v>
                </c:pt>
                <c:pt idx="29">
                  <c:v>1.8824002701470373</c:v>
                </c:pt>
                <c:pt idx="30">
                  <c:v>1.824188788257339</c:v>
                </c:pt>
                <c:pt idx="31">
                  <c:v>2.1919527924232423</c:v>
                </c:pt>
                <c:pt idx="32">
                  <c:v>1.8884274821610603</c:v>
                </c:pt>
                <c:pt idx="33">
                  <c:v>1.9593069238487866</c:v>
                </c:pt>
                <c:pt idx="34">
                  <c:v>2.0415075043630018</c:v>
                </c:pt>
                <c:pt idx="35">
                  <c:v>1.6140644683485623</c:v>
                </c:pt>
                <c:pt idx="36">
                  <c:v>1.9644857716025654</c:v>
                </c:pt>
                <c:pt idx="37">
                  <c:v>1.6914898550724637</c:v>
                </c:pt>
                <c:pt idx="38">
                  <c:v>1.6758619693304417</c:v>
                </c:pt>
                <c:pt idx="39">
                  <c:v>1.4585126813247358</c:v>
                </c:pt>
                <c:pt idx="40">
                  <c:v>1.5535935349166201</c:v>
                </c:pt>
                <c:pt idx="41">
                  <c:v>2.1652275268817207</c:v>
                </c:pt>
                <c:pt idx="42">
                  <c:v>1.9515219567611184</c:v>
                </c:pt>
                <c:pt idx="43">
                  <c:v>1.6535330192674815</c:v>
                </c:pt>
                <c:pt idx="44">
                  <c:v>1.9082008083386512</c:v>
                </c:pt>
                <c:pt idx="45">
                  <c:v>2.0253420049338415</c:v>
                </c:pt>
                <c:pt idx="46">
                  <c:v>2.2165174234919185</c:v>
                </c:pt>
                <c:pt idx="47">
                  <c:v>2.2590996481752503</c:v>
                </c:pt>
                <c:pt idx="48">
                  <c:v>1.9702811917840461</c:v>
                </c:pt>
                <c:pt idx="49">
                  <c:v>2.004346380803119</c:v>
                </c:pt>
                <c:pt idx="50">
                  <c:v>1.828742113746652</c:v>
                </c:pt>
                <c:pt idx="51">
                  <c:v>1.8492598397973807</c:v>
                </c:pt>
                <c:pt idx="52">
                  <c:v>-2.1680861075258138</c:v>
                </c:pt>
                <c:pt idx="53">
                  <c:v>-2.4934260141056717</c:v>
                </c:pt>
                <c:pt idx="54">
                  <c:v>7.182227723762685</c:v>
                </c:pt>
              </c:numCache>
            </c:numRef>
          </c:xVal>
          <c:yVal>
            <c:numRef>
              <c:f>Sheet1!$B$187:$B$241</c:f>
              <c:numCache>
                <c:formatCode>General</c:formatCode>
                <c:ptCount val="55"/>
                <c:pt idx="0">
                  <c:v>0.26368194834156733</c:v>
                </c:pt>
                <c:pt idx="1">
                  <c:v>0.26463257756527586</c:v>
                </c:pt>
                <c:pt idx="2">
                  <c:v>0.26460016302558237</c:v>
                </c:pt>
                <c:pt idx="3">
                  <c:v>0.26444294960020454</c:v>
                </c:pt>
                <c:pt idx="4">
                  <c:v>0.26533259304032575</c:v>
                </c:pt>
                <c:pt idx="5">
                  <c:v>0.2662853658005743</c:v>
                </c:pt>
                <c:pt idx="6">
                  <c:v>0.26775550617458377</c:v>
                </c:pt>
                <c:pt idx="7">
                  <c:v>0.26694956362691447</c:v>
                </c:pt>
                <c:pt idx="8">
                  <c:v>0.2663570110415896</c:v>
                </c:pt>
                <c:pt idx="9">
                  <c:v>0.26514972275176824</c:v>
                </c:pt>
                <c:pt idx="10">
                  <c:v>0.2660486276851894</c:v>
                </c:pt>
                <c:pt idx="11">
                  <c:v>0.26691104318882874</c:v>
                </c:pt>
                <c:pt idx="12">
                  <c:v>0.2658972932148947</c:v>
                </c:pt>
                <c:pt idx="13">
                  <c:v>0.2655178512412495</c:v>
                </c:pt>
                <c:pt idx="14">
                  <c:v>0.2654950871223949</c:v>
                </c:pt>
                <c:pt idx="15">
                  <c:v>0.2646814783151488</c:v>
                </c:pt>
                <c:pt idx="16">
                  <c:v>0.2638583741250531</c:v>
                </c:pt>
                <c:pt idx="17">
                  <c:v>0.26313703287909895</c:v>
                </c:pt>
                <c:pt idx="18">
                  <c:v>0.26522426785563846</c:v>
                </c:pt>
                <c:pt idx="19">
                  <c:v>0.2654463679028997</c:v>
                </c:pt>
                <c:pt idx="20">
                  <c:v>0.265780638595945</c:v>
                </c:pt>
                <c:pt idx="21">
                  <c:v>0.2700930420519775</c:v>
                </c:pt>
                <c:pt idx="22">
                  <c:v>0.27060560241162634</c:v>
                </c:pt>
                <c:pt idx="23">
                  <c:v>0.27010169998858924</c:v>
                </c:pt>
                <c:pt idx="24">
                  <c:v>0.2715052167889157</c:v>
                </c:pt>
                <c:pt idx="25">
                  <c:v>0.271081356016553</c:v>
                </c:pt>
                <c:pt idx="26">
                  <c:v>0.2666550832204462</c:v>
                </c:pt>
                <c:pt idx="27">
                  <c:v>0.267861301689076</c:v>
                </c:pt>
                <c:pt idx="28">
                  <c:v>0.26665261837023174</c:v>
                </c:pt>
                <c:pt idx="29">
                  <c:v>0.26791270490231633</c:v>
                </c:pt>
                <c:pt idx="30">
                  <c:v>0.2684705191476552</c:v>
                </c:pt>
                <c:pt idx="31">
                  <c:v>0.2649464033927029</c:v>
                </c:pt>
                <c:pt idx="32">
                  <c:v>0.2678549488615498</c:v>
                </c:pt>
                <c:pt idx="33">
                  <c:v>0.26717574329949256</c:v>
                </c:pt>
                <c:pt idx="34">
                  <c:v>0.2663880523956115</c:v>
                </c:pt>
                <c:pt idx="35">
                  <c:v>0.27048404526195946</c:v>
                </c:pt>
                <c:pt idx="36">
                  <c:v>0.2671261167488926</c:v>
                </c:pt>
                <c:pt idx="37">
                  <c:v>0.26974211287571137</c:v>
                </c:pt>
                <c:pt idx="38">
                  <c:v>0.26989186782110075</c:v>
                </c:pt>
                <c:pt idx="39">
                  <c:v>0.2719746275298052</c:v>
                </c:pt>
                <c:pt idx="40">
                  <c:v>0.2710635108072825</c:v>
                </c:pt>
                <c:pt idx="41">
                  <c:v>0.2652024994985841</c:v>
                </c:pt>
                <c:pt idx="42">
                  <c:v>0.26725034311038937</c:v>
                </c:pt>
                <c:pt idx="43">
                  <c:v>0.2701058360284757</c:v>
                </c:pt>
                <c:pt idx="44">
                  <c:v>0.2676654700394767</c:v>
                </c:pt>
                <c:pt idx="45">
                  <c:v>0.2665429590492797</c:v>
                </c:pt>
                <c:pt idx="46">
                  <c:v>0.26471101166762084</c:v>
                </c:pt>
                <c:pt idx="47">
                  <c:v>0.26430296550979254</c:v>
                </c:pt>
                <c:pt idx="48">
                  <c:v>0.2670705818641927</c:v>
                </c:pt>
                <c:pt idx="49">
                  <c:v>0.2667441505986048</c:v>
                </c:pt>
                <c:pt idx="50">
                  <c:v>0.26842688669338416</c:v>
                </c:pt>
                <c:pt idx="51">
                  <c:v>0.268230274624742</c:v>
                </c:pt>
                <c:pt idx="52">
                  <c:v>0.3067266798892133</c:v>
                </c:pt>
                <c:pt idx="53">
                  <c:v>0.30984426474663607</c:v>
                </c:pt>
                <c:pt idx="54">
                  <c:v>0.217126860675457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836065573770494"/>
          <c:min val="0.11603053435114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5.1223</c:v>
                </c:pt>
                <c:pt idx="1">
                  <c:v>938.1566</c:v>
                </c:pt>
                <c:pt idx="2">
                  <c:v>972.8175</c:v>
                </c:pt>
                <c:pt idx="3">
                  <c:v>1041.7702</c:v>
                </c:pt>
                <c:pt idx="4">
                  <c:v>1027.178</c:v>
                </c:pt>
                <c:pt idx="5">
                  <c:v>982.2124</c:v>
                </c:pt>
                <c:pt idx="6">
                  <c:v>982.3227</c:v>
                </c:pt>
                <c:pt idx="7">
                  <c:v>1009.1196</c:v>
                </c:pt>
                <c:pt idx="8">
                  <c:v>976.3453</c:v>
                </c:pt>
                <c:pt idx="9">
                  <c:v>1038.6851</c:v>
                </c:pt>
                <c:pt idx="10">
                  <c:v>1083.3745</c:v>
                </c:pt>
                <c:pt idx="11">
                  <c:v>1097.7208</c:v>
                </c:pt>
                <c:pt idx="12">
                  <c:v>1064.8306</c:v>
                </c:pt>
                <c:pt idx="13">
                  <c:v>1010.1206</c:v>
                </c:pt>
                <c:pt idx="14">
                  <c:v>1009.7573</c:v>
                </c:pt>
                <c:pt idx="15">
                  <c:v>1010.4101</c:v>
                </c:pt>
                <c:pt idx="16">
                  <c:v>1083.5603</c:v>
                </c:pt>
                <c:pt idx="17">
                  <c:v>1041.8276</c:v>
                </c:pt>
                <c:pt idx="18">
                  <c:v>1115.5577</c:v>
                </c:pt>
                <c:pt idx="19">
                  <c:v>1121.575</c:v>
                </c:pt>
                <c:pt idx="20">
                  <c:v>1141.4783</c:v>
                </c:pt>
                <c:pt idx="21">
                  <c:v>1110.4583</c:v>
                </c:pt>
                <c:pt idx="22">
                  <c:v>1155.3556</c:v>
                </c:pt>
                <c:pt idx="23">
                  <c:v>1165.875</c:v>
                </c:pt>
                <c:pt idx="24">
                  <c:v>1111.3143</c:v>
                </c:pt>
                <c:pt idx="25">
                  <c:v>976.5806</c:v>
                </c:pt>
                <c:pt idx="26">
                  <c:v>1019.4516</c:v>
                </c:pt>
                <c:pt idx="27">
                  <c:v>999.4286</c:v>
                </c:pt>
                <c:pt idx="28">
                  <c:v>1048.3103</c:v>
                </c:pt>
                <c:pt idx="29">
                  <c:v>841.0667</c:v>
                </c:pt>
                <c:pt idx="30">
                  <c:v>935.4091</c:v>
                </c:pt>
                <c:pt idx="31">
                  <c:v>908.087</c:v>
                </c:pt>
                <c:pt idx="32">
                  <c:v>967.1786</c:v>
                </c:pt>
                <c:pt idx="33">
                  <c:v>543.2203</c:v>
                </c:pt>
                <c:pt idx="34">
                  <c:v>924.5789</c:v>
                </c:pt>
                <c:pt idx="35">
                  <c:v>765.2979</c:v>
                </c:pt>
                <c:pt idx="36">
                  <c:v>1186.9583</c:v>
                </c:pt>
                <c:pt idx="37">
                  <c:v>921.1304</c:v>
                </c:pt>
                <c:pt idx="38">
                  <c:v>1041.6667</c:v>
                </c:pt>
                <c:pt idx="39">
                  <c:v>1014.2632</c:v>
                </c:pt>
                <c:pt idx="40">
                  <c:v>984.8571</c:v>
                </c:pt>
                <c:pt idx="41">
                  <c:v>930.3667</c:v>
                </c:pt>
                <c:pt idx="42">
                  <c:v>1086.5313</c:v>
                </c:pt>
                <c:pt idx="43">
                  <c:v>971.3538</c:v>
                </c:pt>
                <c:pt idx="44">
                  <c:v>1061.1102</c:v>
                </c:pt>
                <c:pt idx="45">
                  <c:v>1036.9667</c:v>
                </c:pt>
                <c:pt idx="46">
                  <c:v>1026.3017</c:v>
                </c:pt>
                <c:pt idx="47">
                  <c:v>1024.0241</c:v>
                </c:pt>
                <c:pt idx="48">
                  <c:v>1094.9087</c:v>
                </c:pt>
                <c:pt idx="49">
                  <c:v>1049.0641</c:v>
                </c:pt>
                <c:pt idx="50">
                  <c:v>1061.5957</c:v>
                </c:pt>
                <c:pt idx="51">
                  <c:v>1101.3497</c:v>
                </c:pt>
                <c:pt idx="52">
                  <c:v>1070.6857</c:v>
                </c:pt>
                <c:pt idx="53">
                  <c:v>1127.8866</c:v>
                </c:pt>
                <c:pt idx="54">
                  <c:v>1122.0933</c:v>
                </c:pt>
                <c:pt idx="55">
                  <c:v>1151.8603</c:v>
                </c:pt>
                <c:pt idx="56">
                  <c:v>1143.5337</c:v>
                </c:pt>
                <c:pt idx="57">
                  <c:v>1083.3687</c:v>
                </c:pt>
                <c:pt idx="58">
                  <c:v>1112.2847</c:v>
                </c:pt>
                <c:pt idx="59">
                  <c:v>1104.7324</c:v>
                </c:pt>
                <c:pt idx="60">
                  <c:v>1127.5947</c:v>
                </c:pt>
                <c:pt idx="61">
                  <c:v>1191.8373</c:v>
                </c:pt>
                <c:pt idx="62">
                  <c:v>1138.5742</c:v>
                </c:pt>
                <c:pt idx="63">
                  <c:v>1143.7651</c:v>
                </c:pt>
                <c:pt idx="64">
                  <c:v>1174.847</c:v>
                </c:pt>
                <c:pt idx="65">
                  <c:v>1112.4706</c:v>
                </c:pt>
                <c:pt idx="66">
                  <c:v>1149.4025</c:v>
                </c:pt>
                <c:pt idx="67">
                  <c:v>1176.5116</c:v>
                </c:pt>
                <c:pt idx="68">
                  <c:v>1089.3846</c:v>
                </c:pt>
                <c:pt idx="69">
                  <c:v>1183.6465</c:v>
                </c:pt>
                <c:pt idx="70">
                  <c:v>1099.7475</c:v>
                </c:pt>
                <c:pt idx="71">
                  <c:v>1172.8172</c:v>
                </c:pt>
                <c:pt idx="72">
                  <c:v>1351.194</c:v>
                </c:pt>
                <c:pt idx="73">
                  <c:v>1252.3067</c:v>
                </c:pt>
                <c:pt idx="74">
                  <c:v>1140.1707</c:v>
                </c:pt>
                <c:pt idx="75">
                  <c:v>982.4531</c:v>
                </c:pt>
                <c:pt idx="76">
                  <c:v>984.0</c:v>
                </c:pt>
                <c:pt idx="77">
                  <c:v>690.0789</c:v>
                </c:pt>
                <c:pt idx="78">
                  <c:v>916.8913</c:v>
                </c:pt>
                <c:pt idx="79">
                  <c:v>1221.7391</c:v>
                </c:pt>
                <c:pt idx="80">
                  <c:v>1269.9412</c:v>
                </c:pt>
                <c:pt idx="81">
                  <c:v>1073.5143</c:v>
                </c:pt>
                <c:pt idx="82">
                  <c:v>1054.95</c:v>
                </c:pt>
                <c:pt idx="83">
                  <c:v>984.0</c:v>
                </c:pt>
                <c:pt idx="84">
                  <c:v>1095.5556</c:v>
                </c:pt>
                <c:pt idx="85">
                  <c:v>1230.2609</c:v>
                </c:pt>
                <c:pt idx="86">
                  <c:v>1231.8</c:v>
                </c:pt>
                <c:pt idx="87">
                  <c:v>1186.1667</c:v>
                </c:pt>
                <c:pt idx="88">
                  <c:v>931.2414</c:v>
                </c:pt>
                <c:pt idx="89">
                  <c:v>911.0952</c:v>
                </c:pt>
                <c:pt idx="90">
                  <c:v>1241.1333</c:v>
                </c:pt>
                <c:pt idx="91">
                  <c:v>1318.4118</c:v>
                </c:pt>
                <c:pt idx="92">
                  <c:v>1177.0833</c:v>
                </c:pt>
                <c:pt idx="93">
                  <c:v>1228.6897</c:v>
                </c:pt>
                <c:pt idx="94">
                  <c:v>1470.5714</c:v>
                </c:pt>
                <c:pt idx="95">
                  <c:v>1195.8611</c:v>
                </c:pt>
                <c:pt idx="96">
                  <c:v>1170.7532</c:v>
                </c:pt>
                <c:pt idx="97">
                  <c:v>1252.5057</c:v>
                </c:pt>
                <c:pt idx="98">
                  <c:v>1258.9831</c:v>
                </c:pt>
                <c:pt idx="99">
                  <c:v>1125.7176</c:v>
                </c:pt>
                <c:pt idx="100">
                  <c:v>1116.0754</c:v>
                </c:pt>
                <c:pt idx="101">
                  <c:v>1129.1159</c:v>
                </c:pt>
                <c:pt idx="102">
                  <c:v>1188.1429</c:v>
                </c:pt>
                <c:pt idx="103">
                  <c:v>1198.5207</c:v>
                </c:pt>
                <c:pt idx="104">
                  <c:v>1184.7632</c:v>
                </c:pt>
              </c:numCache>
            </c:numRef>
          </c:xVal>
          <c:yVal>
            <c:numRef>
              <c:f>Sheet1!$B$2:$B$106</c:f>
              <c:numCache>
                <c:formatCode>General</c:formatCode>
                <c:ptCount val="105"/>
                <c:pt idx="0">
                  <c:v>0.25672645739910316</c:v>
                </c:pt>
                <c:pt idx="1">
                  <c:v>0.28355196770938446</c:v>
                </c:pt>
                <c:pt idx="2">
                  <c:v>0.27372627372627373</c:v>
                </c:pt>
                <c:pt idx="3">
                  <c:v>0.2970059880239521</c:v>
                </c:pt>
                <c:pt idx="4">
                  <c:v>0.2574123989218329</c:v>
                </c:pt>
                <c:pt idx="5">
                  <c:v>0.2817955112219451</c:v>
                </c:pt>
                <c:pt idx="6">
                  <c:v>0.31572327044025156</c:v>
                </c:pt>
                <c:pt idx="7">
                  <c:v>0.30071942446043165</c:v>
                </c:pt>
                <c:pt idx="8">
                  <c:v>0.3338323353293413</c:v>
                </c:pt>
                <c:pt idx="9">
                  <c:v>0.30361757105943155</c:v>
                </c:pt>
                <c:pt idx="10">
                  <c:v>0.291932059447983</c:v>
                </c:pt>
                <c:pt idx="11">
                  <c:v>0.30794341675734493</c:v>
                </c:pt>
                <c:pt idx="12">
                  <c:v>0.30885311871227367</c:v>
                </c:pt>
                <c:pt idx="13">
                  <c:v>0.3129855715871254</c:v>
                </c:pt>
                <c:pt idx="14">
                  <c:v>0.28691476590636256</c:v>
                </c:pt>
                <c:pt idx="15">
                  <c:v>0.2875605815831987</c:v>
                </c:pt>
                <c:pt idx="16">
                  <c:v>0.24066390041493776</c:v>
                </c:pt>
                <c:pt idx="17">
                  <c:v>0.20092378752886836</c:v>
                </c:pt>
                <c:pt idx="18">
                  <c:v>0.18571428571428572</c:v>
                </c:pt>
                <c:pt idx="19">
                  <c:v>0.18181818181818182</c:v>
                </c:pt>
                <c:pt idx="20">
                  <c:v>0.17557251908396945</c:v>
                </c:pt>
                <c:pt idx="21">
                  <c:v>0.22857142857142856</c:v>
                </c:pt>
                <c:pt idx="22">
                  <c:v>0.24725274725274726</c:v>
                </c:pt>
                <c:pt idx="23">
                  <c:v>0.1889763779527559</c:v>
                </c:pt>
                <c:pt idx="24">
                  <c:v>0.16129032258064516</c:v>
                </c:pt>
                <c:pt idx="25">
                  <c:v>0.18674698795180722</c:v>
                </c:pt>
                <c:pt idx="26">
                  <c:v>0.2052980132450331</c:v>
                </c:pt>
                <c:pt idx="27">
                  <c:v>0.20958083832335328</c:v>
                </c:pt>
                <c:pt idx="28">
                  <c:v>0.18012422360248448</c:v>
                </c:pt>
                <c:pt idx="29">
                  <c:v>0.2158273381294964</c:v>
                </c:pt>
                <c:pt idx="30">
                  <c:v>0.2037037037037037</c:v>
                </c:pt>
                <c:pt idx="31">
                  <c:v>0.19491525423728814</c:v>
                </c:pt>
                <c:pt idx="32">
                  <c:v>0.2413793103448276</c:v>
                </c:pt>
                <c:pt idx="33">
                  <c:v>0.3532934131736527</c:v>
                </c:pt>
                <c:pt idx="34">
                  <c:v>0.27941176470588236</c:v>
                </c:pt>
                <c:pt idx="35">
                  <c:v>0.31543624161073824</c:v>
                </c:pt>
                <c:pt idx="36">
                  <c:v>0.19047619047619047</c:v>
                </c:pt>
                <c:pt idx="37">
                  <c:v>0.16428571428571428</c:v>
                </c:pt>
                <c:pt idx="38">
                  <c:v>0.16326530612244897</c:v>
                </c:pt>
                <c:pt idx="39">
                  <c:v>0.1450381679389313</c:v>
                </c:pt>
                <c:pt idx="40">
                  <c:v>0.1761006289308176</c:v>
                </c:pt>
                <c:pt idx="41">
                  <c:v>0.18633540372670807</c:v>
                </c:pt>
                <c:pt idx="42">
                  <c:v>0.17777777777777778</c:v>
                </c:pt>
                <c:pt idx="43">
                  <c:v>0.2145214521452145</c:v>
                </c:pt>
                <c:pt idx="44">
                  <c:v>0.22965641952983726</c:v>
                </c:pt>
                <c:pt idx="45">
                  <c:v>0.24793388429752067</c:v>
                </c:pt>
                <c:pt idx="46">
                  <c:v>0.22524271844660193</c:v>
                </c:pt>
                <c:pt idx="47">
                  <c:v>0.26391096979332274</c:v>
                </c:pt>
                <c:pt idx="48">
                  <c:v>0.27713382507903056</c:v>
                </c:pt>
                <c:pt idx="49">
                  <c:v>0.31758957654723124</c:v>
                </c:pt>
                <c:pt idx="50">
                  <c:v>0.27976190476190477</c:v>
                </c:pt>
                <c:pt idx="51">
                  <c:v>0.26779026217228463</c:v>
                </c:pt>
                <c:pt idx="52">
                  <c:v>0.291319857312723</c:v>
                </c:pt>
                <c:pt idx="53">
                  <c:v>0.2840409956076135</c:v>
                </c:pt>
                <c:pt idx="54">
                  <c:v>0.2862595419847328</c:v>
                </c:pt>
                <c:pt idx="55">
                  <c:v>0.27474747474747474</c:v>
                </c:pt>
                <c:pt idx="56">
                  <c:v>0.2824956672443674</c:v>
                </c:pt>
                <c:pt idx="57">
                  <c:v>0.30264993026499304</c:v>
                </c:pt>
                <c:pt idx="58">
                  <c:v>0.3185745140388769</c:v>
                </c:pt>
                <c:pt idx="59">
                  <c:v>0.31683168316831684</c:v>
                </c:pt>
                <c:pt idx="60">
                  <c:v>0.3292240754169688</c:v>
                </c:pt>
                <c:pt idx="61">
                  <c:v>0.3477366255144033</c:v>
                </c:pt>
                <c:pt idx="62">
                  <c:v>0.3402854006586169</c:v>
                </c:pt>
                <c:pt idx="63">
                  <c:v>0.3881578947368421</c:v>
                </c:pt>
                <c:pt idx="64">
                  <c:v>0.34238603297769155</c:v>
                </c:pt>
                <c:pt idx="65">
                  <c:v>0.33116883116883117</c:v>
                </c:pt>
                <c:pt idx="66">
                  <c:v>0.3062261753494282</c:v>
                </c:pt>
                <c:pt idx="67">
                  <c:v>0.3089080459770115</c:v>
                </c:pt>
                <c:pt idx="68">
                  <c:v>0.3293918918918919</c:v>
                </c:pt>
                <c:pt idx="69">
                  <c:v>0.2727272727272727</c:v>
                </c:pt>
                <c:pt idx="70">
                  <c:v>0.27123287671232876</c:v>
                </c:pt>
                <c:pt idx="71">
                  <c:v>0.27844311377245506</c:v>
                </c:pt>
                <c:pt idx="72">
                  <c:v>0.2375886524822695</c:v>
                </c:pt>
                <c:pt idx="73">
                  <c:v>0.2737226277372263</c:v>
                </c:pt>
                <c:pt idx="74">
                  <c:v>0.3014705882352941</c:v>
                </c:pt>
                <c:pt idx="75">
                  <c:v>0.34972677595628415</c:v>
                </c:pt>
                <c:pt idx="76">
                  <c:v>0.3148148148148148</c:v>
                </c:pt>
                <c:pt idx="77">
                  <c:v>0.41530054644808745</c:v>
                </c:pt>
                <c:pt idx="78">
                  <c:v>0.3333333333333333</c:v>
                </c:pt>
                <c:pt idx="79">
                  <c:v>0.2072072072072072</c:v>
                </c:pt>
                <c:pt idx="80">
                  <c:v>0.1619047619047619</c:v>
                </c:pt>
                <c:pt idx="81">
                  <c:v>0.26515151515151514</c:v>
                </c:pt>
                <c:pt idx="82">
                  <c:v>0.20833333333333334</c:v>
                </c:pt>
                <c:pt idx="83">
                  <c:v>0.2235294117647059</c:v>
                </c:pt>
                <c:pt idx="84">
                  <c:v>0.1956521739130435</c:v>
                </c:pt>
                <c:pt idx="85">
                  <c:v>0.21904761904761905</c:v>
                </c:pt>
                <c:pt idx="86">
                  <c:v>0.2459016393442623</c:v>
                </c:pt>
                <c:pt idx="87">
                  <c:v>0.2459016393442623</c:v>
                </c:pt>
                <c:pt idx="88">
                  <c:v>0.2815533980582524</c:v>
                </c:pt>
                <c:pt idx="89">
                  <c:v>0.2441860465116279</c:v>
                </c:pt>
                <c:pt idx="90">
                  <c:v>0.19480519480519481</c:v>
                </c:pt>
                <c:pt idx="91">
                  <c:v>0.2</c:v>
                </c:pt>
                <c:pt idx="92">
                  <c:v>0.16666666666666666</c:v>
                </c:pt>
                <c:pt idx="93">
                  <c:v>0.2</c:v>
                </c:pt>
                <c:pt idx="94">
                  <c:v>0.14736842105263157</c:v>
                </c:pt>
                <c:pt idx="95">
                  <c:v>0.18</c:v>
                </c:pt>
                <c:pt idx="96">
                  <c:v>0.22713864306784662</c:v>
                </c:pt>
                <c:pt idx="97">
                  <c:v>0.23513513513513515</c:v>
                </c:pt>
                <c:pt idx="98">
                  <c:v>0.24380165289256198</c:v>
                </c:pt>
                <c:pt idx="99">
                  <c:v>0.261136712749616</c:v>
                </c:pt>
                <c:pt idx="100">
                  <c:v>0.27838258164852253</c:v>
                </c:pt>
                <c:pt idx="101">
                  <c:v>0.2624</c:v>
                </c:pt>
                <c:pt idx="102">
                  <c:v>0.24034334763948498</c:v>
                </c:pt>
                <c:pt idx="103">
                  <c:v>0.218018018018018</c:v>
                </c:pt>
                <c:pt idx="104">
                  <c:v>0.265734265734265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1.7296</c:v>
                </c:pt>
                <c:pt idx="1">
                  <c:v>1203.8644</c:v>
                </c:pt>
                <c:pt idx="2">
                  <c:v>1220.4018</c:v>
                </c:pt>
                <c:pt idx="3">
                  <c:v>1200.9277</c:v>
                </c:pt>
                <c:pt idx="4">
                  <c:v>1202.3865</c:v>
                </c:pt>
                <c:pt idx="5">
                  <c:v>1227.3846</c:v>
                </c:pt>
                <c:pt idx="6">
                  <c:v>1130.0789</c:v>
                </c:pt>
                <c:pt idx="7">
                  <c:v>1258.056</c:v>
                </c:pt>
                <c:pt idx="8">
                  <c:v>1262.4214</c:v>
                </c:pt>
                <c:pt idx="9">
                  <c:v>1307.152</c:v>
                </c:pt>
                <c:pt idx="10">
                  <c:v>1280.2967</c:v>
                </c:pt>
                <c:pt idx="11">
                  <c:v>1147.0442</c:v>
                </c:pt>
                <c:pt idx="12">
                  <c:v>1124.3495</c:v>
                </c:pt>
                <c:pt idx="13">
                  <c:v>1232.1703</c:v>
                </c:pt>
                <c:pt idx="14">
                  <c:v>1250.2118</c:v>
                </c:pt>
                <c:pt idx="15">
                  <c:v>1265.4267</c:v>
                </c:pt>
                <c:pt idx="16">
                  <c:v>1362.766</c:v>
                </c:pt>
                <c:pt idx="17">
                  <c:v>1343.125</c:v>
                </c:pt>
                <c:pt idx="18">
                  <c:v>1314.3171</c:v>
                </c:pt>
                <c:pt idx="19">
                  <c:v>1303.4222</c:v>
                </c:pt>
                <c:pt idx="20">
                  <c:v>1219.36</c:v>
                </c:pt>
                <c:pt idx="21">
                  <c:v>966.1299</c:v>
                </c:pt>
                <c:pt idx="22">
                  <c:v>940.8548</c:v>
                </c:pt>
                <c:pt idx="23">
                  <c:v>990.9792</c:v>
                </c:pt>
                <c:pt idx="24">
                  <c:v>883.7292</c:v>
                </c:pt>
                <c:pt idx="25">
                  <c:v>948.625</c:v>
                </c:pt>
                <c:pt idx="26">
                  <c:v>1217.4138</c:v>
                </c:pt>
                <c:pt idx="27">
                  <c:v>1160.0313</c:v>
                </c:pt>
                <c:pt idx="28">
                  <c:v>1189.1667</c:v>
                </c:pt>
                <c:pt idx="29">
                  <c:v>1152.2381</c:v>
                </c:pt>
                <c:pt idx="30">
                  <c:v>1168.2105</c:v>
                </c:pt>
                <c:pt idx="31">
                  <c:v>1234.8</c:v>
                </c:pt>
                <c:pt idx="32">
                  <c:v>1157.8421</c:v>
                </c:pt>
                <c:pt idx="33">
                  <c:v>1181.9231</c:v>
                </c:pt>
                <c:pt idx="34">
                  <c:v>1169.7838</c:v>
                </c:pt>
                <c:pt idx="35">
                  <c:v>975.9394</c:v>
                </c:pt>
                <c:pt idx="36">
                  <c:v>1101.375</c:v>
                </c:pt>
                <c:pt idx="37">
                  <c:v>992.0588</c:v>
                </c:pt>
                <c:pt idx="38">
                  <c:v>939.6</c:v>
                </c:pt>
                <c:pt idx="39">
                  <c:v>851.8929</c:v>
                </c:pt>
                <c:pt idx="40">
                  <c:v>957.4146</c:v>
                </c:pt>
                <c:pt idx="41">
                  <c:v>1258.5385</c:v>
                </c:pt>
                <c:pt idx="42">
                  <c:v>1186.0</c:v>
                </c:pt>
                <c:pt idx="43">
                  <c:v>970.1852</c:v>
                </c:pt>
                <c:pt idx="44">
                  <c:v>1121.3065</c:v>
                </c:pt>
                <c:pt idx="45">
                  <c:v>1170.4176</c:v>
                </c:pt>
                <c:pt idx="46">
                  <c:v>1286.9508</c:v>
                </c:pt>
                <c:pt idx="47">
                  <c:v>1340.4675</c:v>
                </c:pt>
                <c:pt idx="48">
                  <c:v>1185.3984</c:v>
                </c:pt>
                <c:pt idx="49">
                  <c:v>1179.3987</c:v>
                </c:pt>
                <c:pt idx="50">
                  <c:v>1069.8818</c:v>
                </c:pt>
                <c:pt idx="51">
                  <c:v>1031.2514</c:v>
                </c:pt>
              </c:numCache>
            </c:numRef>
          </c:xVal>
          <c:yVal>
            <c:numRef>
              <c:f>Sheet1!$B$109:$B$160</c:f>
              <c:numCache>
                <c:formatCode>General</c:formatCode>
                <c:ptCount val="52"/>
                <c:pt idx="0">
                  <c:v>0.2857142857142857</c:v>
                </c:pt>
                <c:pt idx="1">
                  <c:v>0.2689969604863222</c:v>
                </c:pt>
                <c:pt idx="2">
                  <c:v>0.31197771587743733</c:v>
                </c:pt>
                <c:pt idx="3">
                  <c:v>0.3093167701863354</c:v>
                </c:pt>
                <c:pt idx="4">
                  <c:v>0.3141122913505311</c:v>
                </c:pt>
                <c:pt idx="5">
                  <c:v>0.31001589825119236</c:v>
                </c:pt>
                <c:pt idx="6">
                  <c:v>0.33799237611181704</c:v>
                </c:pt>
                <c:pt idx="7">
                  <c:v>0.3026634382566586</c:v>
                </c:pt>
                <c:pt idx="8">
                  <c:v>0.3136094674556213</c:v>
                </c:pt>
                <c:pt idx="9">
                  <c:v>0.31433823529411764</c:v>
                </c:pt>
                <c:pt idx="10">
                  <c:v>0.3466666666666667</c:v>
                </c:pt>
                <c:pt idx="11">
                  <c:v>0.3688888888888889</c:v>
                </c:pt>
                <c:pt idx="12">
                  <c:v>0.37318840579710144</c:v>
                </c:pt>
                <c:pt idx="13">
                  <c:v>0.3215547703180212</c:v>
                </c:pt>
                <c:pt idx="14">
                  <c:v>0.3386454183266932</c:v>
                </c:pt>
                <c:pt idx="15">
                  <c:v>0.3333333333333333</c:v>
                </c:pt>
                <c:pt idx="16">
                  <c:v>0.2596685082872928</c:v>
                </c:pt>
                <c:pt idx="17">
                  <c:v>0.22857142857142856</c:v>
                </c:pt>
                <c:pt idx="18">
                  <c:v>0.23699421965317918</c:v>
                </c:pt>
                <c:pt idx="19">
                  <c:v>0.24456521739130435</c:v>
                </c:pt>
                <c:pt idx="20">
                  <c:v>0.26455026455026454</c:v>
                </c:pt>
                <c:pt idx="21">
                  <c:v>0.35648148148148145</c:v>
                </c:pt>
                <c:pt idx="22">
                  <c:v>0.31313131313131315</c:v>
                </c:pt>
                <c:pt idx="23">
                  <c:v>0.32432432432432434</c:v>
                </c:pt>
                <c:pt idx="24">
                  <c:v>0.3310344827586207</c:v>
                </c:pt>
                <c:pt idx="25">
                  <c:v>0.3125</c:v>
                </c:pt>
                <c:pt idx="26">
                  <c:v>0.21804511278195488</c:v>
                </c:pt>
                <c:pt idx="27">
                  <c:v>0.24615384615384617</c:v>
                </c:pt>
                <c:pt idx="28">
                  <c:v>0.23255813953488372</c:v>
                </c:pt>
                <c:pt idx="29">
                  <c:v>0.21649484536082475</c:v>
                </c:pt>
                <c:pt idx="30">
                  <c:v>0.2289156626506024</c:v>
                </c:pt>
                <c:pt idx="31">
                  <c:v>0.2112676056338028</c:v>
                </c:pt>
                <c:pt idx="32">
                  <c:v>0.23170731707317074</c:v>
                </c:pt>
                <c:pt idx="33">
                  <c:v>0.26</c:v>
                </c:pt>
                <c:pt idx="34">
                  <c:v>0.25517241379310346</c:v>
                </c:pt>
                <c:pt idx="35">
                  <c:v>0.2972972972972973</c:v>
                </c:pt>
                <c:pt idx="36">
                  <c:v>0.22857142857142856</c:v>
                </c:pt>
                <c:pt idx="37">
                  <c:v>0.20987654320987653</c:v>
                </c:pt>
                <c:pt idx="38">
                  <c:v>0.2054794520547945</c:v>
                </c:pt>
                <c:pt idx="39">
                  <c:v>0.22764227642276422</c:v>
                </c:pt>
                <c:pt idx="40">
                  <c:v>0.21808510638297873</c:v>
                </c:pt>
                <c:pt idx="41">
                  <c:v>0.15757575757575756</c:v>
                </c:pt>
                <c:pt idx="42">
                  <c:v>0.16296296296296298</c:v>
                </c:pt>
                <c:pt idx="43">
                  <c:v>0.21774193548387097</c:v>
                </c:pt>
                <c:pt idx="44">
                  <c:v>0.20327868852459016</c:v>
                </c:pt>
                <c:pt idx="45">
                  <c:v>0.19444444444444445</c:v>
                </c:pt>
                <c:pt idx="46">
                  <c:v>0.17888563049853373</c:v>
                </c:pt>
                <c:pt idx="47">
                  <c:v>0.1891891891891892</c:v>
                </c:pt>
                <c:pt idx="48">
                  <c:v>0.2188034188034188</c:v>
                </c:pt>
                <c:pt idx="49">
                  <c:v>0.23867069486404835</c:v>
                </c:pt>
                <c:pt idx="50">
                  <c:v>0.3078089461713419</c:v>
                </c:pt>
                <c:pt idx="51">
                  <c:v>0.307560137457044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65.8783467370927</c:v>
                </c:pt>
              </c:numCache>
            </c:numRef>
          </c:xVal>
          <c:yVal>
            <c:numRef>
              <c:f>Sheet1!$B$163:$B$164</c:f>
              <c:numCache>
                <c:formatCode>General</c:formatCode>
                <c:ptCount val="2"/>
                <c:pt idx="0">
                  <c:v>0.30984426474663607</c:v>
                </c:pt>
                <c:pt idx="1">
                  <c:v>0.309844264746636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65.8783467370927</c:v>
                </c:pt>
                <c:pt idx="1">
                  <c:v>265.8783467370927</c:v>
                </c:pt>
              </c:numCache>
            </c:numRef>
          </c:xVal>
          <c:yVal>
            <c:numRef>
              <c:f>Sheet1!$B$167:$B$168</c:f>
              <c:numCache>
                <c:formatCode>General</c:formatCode>
                <c:ptCount val="2"/>
                <c:pt idx="0">
                  <c:v>0.309844264746636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30.63105061673184</c:v>
                </c:pt>
              </c:numCache>
            </c:numRef>
          </c:xVal>
          <c:yVal>
            <c:numRef>
              <c:f>Sheet1!$B$171:$B$172</c:f>
              <c:numCache>
                <c:formatCode>General</c:formatCode>
                <c:ptCount val="2"/>
                <c:pt idx="0">
                  <c:v>0.3067266798892133</c:v>
                </c:pt>
                <c:pt idx="1">
                  <c:v>0.306726679889213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30.63105061673184</c:v>
                </c:pt>
                <c:pt idx="1">
                  <c:v>330.63105061673184</c:v>
                </c:pt>
              </c:numCache>
            </c:numRef>
          </c:xVal>
          <c:yVal>
            <c:numRef>
              <c:f>Sheet1!$B$175:$B$176</c:f>
              <c:numCache>
                <c:formatCode>General</c:formatCode>
                <c:ptCount val="2"/>
                <c:pt idx="0">
                  <c:v>0.30672667988921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91.6326998272693</c:v>
                </c:pt>
              </c:numCache>
            </c:numRef>
          </c:xVal>
          <c:yVal>
            <c:numRef>
              <c:f>Sheet1!$B$179:$B$180</c:f>
              <c:numCache>
                <c:formatCode>General</c:formatCode>
                <c:ptCount val="2"/>
                <c:pt idx="0">
                  <c:v>0.21712686067545736</c:v>
                </c:pt>
                <c:pt idx="1">
                  <c:v>0.217126860675457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91.6326998272693</c:v>
                </c:pt>
                <c:pt idx="1">
                  <c:v>2191.6326998272693</c:v>
                </c:pt>
              </c:numCache>
            </c:numRef>
          </c:xVal>
          <c:yVal>
            <c:numRef>
              <c:f>Sheet1!$B$183:$B$184</c:f>
              <c:numCache>
                <c:formatCode>General</c:formatCode>
                <c:ptCount val="2"/>
                <c:pt idx="0">
                  <c:v>0.217126860675457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1.7296</c:v>
                </c:pt>
                <c:pt idx="1">
                  <c:v>1203.8644</c:v>
                </c:pt>
                <c:pt idx="2">
                  <c:v>1220.4018</c:v>
                </c:pt>
                <c:pt idx="3">
                  <c:v>1200.9277</c:v>
                </c:pt>
                <c:pt idx="4">
                  <c:v>1202.3865</c:v>
                </c:pt>
                <c:pt idx="5">
                  <c:v>1227.3846</c:v>
                </c:pt>
                <c:pt idx="6">
                  <c:v>1130.0789</c:v>
                </c:pt>
                <c:pt idx="7">
                  <c:v>1258.056</c:v>
                </c:pt>
                <c:pt idx="8">
                  <c:v>1262.4214</c:v>
                </c:pt>
                <c:pt idx="9">
                  <c:v>1307.152</c:v>
                </c:pt>
                <c:pt idx="10">
                  <c:v>1280.2967</c:v>
                </c:pt>
                <c:pt idx="11">
                  <c:v>1147.0442</c:v>
                </c:pt>
                <c:pt idx="12">
                  <c:v>1124.3495</c:v>
                </c:pt>
                <c:pt idx="13">
                  <c:v>1232.1703</c:v>
                </c:pt>
                <c:pt idx="14">
                  <c:v>1250.2118</c:v>
                </c:pt>
                <c:pt idx="15">
                  <c:v>1265.4267</c:v>
                </c:pt>
                <c:pt idx="16">
                  <c:v>1362.766</c:v>
                </c:pt>
                <c:pt idx="17">
                  <c:v>1343.125</c:v>
                </c:pt>
                <c:pt idx="18">
                  <c:v>1314.3171</c:v>
                </c:pt>
                <c:pt idx="19">
                  <c:v>1303.4222</c:v>
                </c:pt>
                <c:pt idx="20">
                  <c:v>1219.36</c:v>
                </c:pt>
                <c:pt idx="21">
                  <c:v>966.1299</c:v>
                </c:pt>
                <c:pt idx="22">
                  <c:v>940.8548</c:v>
                </c:pt>
                <c:pt idx="23">
                  <c:v>990.9792</c:v>
                </c:pt>
                <c:pt idx="24">
                  <c:v>883.7292</c:v>
                </c:pt>
                <c:pt idx="25">
                  <c:v>948.625</c:v>
                </c:pt>
                <c:pt idx="26">
                  <c:v>1217.4138</c:v>
                </c:pt>
                <c:pt idx="27">
                  <c:v>1160.0313</c:v>
                </c:pt>
                <c:pt idx="28">
                  <c:v>1189.1667</c:v>
                </c:pt>
                <c:pt idx="29">
                  <c:v>1152.2381</c:v>
                </c:pt>
                <c:pt idx="30">
                  <c:v>1168.2105</c:v>
                </c:pt>
                <c:pt idx="31">
                  <c:v>1234.8</c:v>
                </c:pt>
                <c:pt idx="32">
                  <c:v>1157.8421</c:v>
                </c:pt>
                <c:pt idx="33">
                  <c:v>1181.9231</c:v>
                </c:pt>
                <c:pt idx="34">
                  <c:v>1169.7838</c:v>
                </c:pt>
                <c:pt idx="35">
                  <c:v>975.9394</c:v>
                </c:pt>
                <c:pt idx="36">
                  <c:v>1101.375</c:v>
                </c:pt>
                <c:pt idx="37">
                  <c:v>992.0588</c:v>
                </c:pt>
                <c:pt idx="38">
                  <c:v>939.6</c:v>
                </c:pt>
                <c:pt idx="39">
                  <c:v>851.8929</c:v>
                </c:pt>
                <c:pt idx="40">
                  <c:v>957.4146</c:v>
                </c:pt>
                <c:pt idx="41">
                  <c:v>1258.5385</c:v>
                </c:pt>
                <c:pt idx="42">
                  <c:v>1186.0</c:v>
                </c:pt>
                <c:pt idx="43">
                  <c:v>970.1852</c:v>
                </c:pt>
                <c:pt idx="44">
                  <c:v>1121.3065</c:v>
                </c:pt>
                <c:pt idx="45">
                  <c:v>1170.4176</c:v>
                </c:pt>
                <c:pt idx="46">
                  <c:v>1286.9508</c:v>
                </c:pt>
                <c:pt idx="47">
                  <c:v>1340.4675</c:v>
                </c:pt>
                <c:pt idx="48">
                  <c:v>1185.3984</c:v>
                </c:pt>
                <c:pt idx="49">
                  <c:v>1179.3987</c:v>
                </c:pt>
                <c:pt idx="50">
                  <c:v>1069.8818</c:v>
                </c:pt>
                <c:pt idx="51">
                  <c:v>1031.2514</c:v>
                </c:pt>
                <c:pt idx="52">
                  <c:v>330.63105061673184</c:v>
                </c:pt>
                <c:pt idx="53">
                  <c:v>265.8783467370927</c:v>
                </c:pt>
                <c:pt idx="54">
                  <c:v>2191.6326998272693</c:v>
                </c:pt>
              </c:numCache>
            </c:numRef>
          </c:xVal>
          <c:yVal>
            <c:numRef>
              <c:f>Sheet1!$B$187:$B$241</c:f>
              <c:numCache>
                <c:formatCode>General</c:formatCode>
                <c:ptCount val="55"/>
                <c:pt idx="0">
                  <c:v>0.2647867533044003</c:v>
                </c:pt>
                <c:pt idx="1">
                  <c:v>0.264683971184815</c:v>
                </c:pt>
                <c:pt idx="2">
                  <c:v>0.2638877612239619</c:v>
                </c:pt>
                <c:pt idx="3">
                  <c:v>0.26482536159636927</c:v>
                </c:pt>
                <c:pt idx="4">
                  <c:v>0.2647551261850657</c:v>
                </c:pt>
                <c:pt idx="5">
                  <c:v>0.26355156720829764</c:v>
                </c:pt>
                <c:pt idx="6">
                  <c:v>0.26823644920835743</c:v>
                </c:pt>
                <c:pt idx="7">
                  <c:v>0.2620748614266566</c:v>
                </c:pt>
                <c:pt idx="8">
                  <c:v>0.26186468479894554</c:v>
                </c:pt>
                <c:pt idx="9">
                  <c:v>0.25971108451867553</c:v>
                </c:pt>
                <c:pt idx="10">
                  <c:v>0.2610040602803853</c:v>
                </c:pt>
                <c:pt idx="11">
                  <c:v>0.26741963756633014</c:v>
                </c:pt>
                <c:pt idx="12">
                  <c:v>0.26851229700484974</c:v>
                </c:pt>
                <c:pt idx="13">
                  <c:v>0.2633211548091506</c:v>
                </c:pt>
                <c:pt idx="14">
                  <c:v>0.2624525284223708</c:v>
                </c:pt>
                <c:pt idx="15">
                  <c:v>0.261719991570545</c:v>
                </c:pt>
                <c:pt idx="16">
                  <c:v>0.25703349186427477</c:v>
                </c:pt>
                <c:pt idx="17">
                  <c:v>0.2579791278071144</c:v>
                </c:pt>
                <c:pt idx="18">
                  <c:v>0.25936611348389926</c:v>
                </c:pt>
                <c:pt idx="19">
                  <c:v>0.2598906595372389</c:v>
                </c:pt>
                <c:pt idx="20">
                  <c:v>0.2639379197456894</c:v>
                </c:pt>
                <c:pt idx="21">
                  <c:v>0.2761299407409994</c:v>
                </c:pt>
                <c:pt idx="22">
                  <c:v>0.27734683616479994</c:v>
                </c:pt>
                <c:pt idx="23">
                  <c:v>0.2749335458917348</c:v>
                </c:pt>
                <c:pt idx="24">
                  <c:v>0.2800972063402636</c:v>
                </c:pt>
                <c:pt idx="25">
                  <c:v>0.2769727319744302</c:v>
                </c:pt>
                <c:pt idx="26">
                  <c:v>0.26403162152624815</c:v>
                </c:pt>
                <c:pt idx="27">
                  <c:v>0.2667943604137792</c:v>
                </c:pt>
                <c:pt idx="28">
                  <c:v>0.26539160691604435</c:v>
                </c:pt>
                <c:pt idx="29">
                  <c:v>0.26716957196256685</c:v>
                </c:pt>
                <c:pt idx="30">
                  <c:v>0.2664005645019787</c:v>
                </c:pt>
                <c:pt idx="31">
                  <c:v>0.26319454522517394</c:v>
                </c:pt>
                <c:pt idx="32">
                  <c:v>0.26689976167675283</c:v>
                </c:pt>
                <c:pt idx="33">
                  <c:v>0.2657403574132468</c:v>
                </c:pt>
                <c:pt idx="34">
                  <c:v>0.26632481637159483</c:v>
                </c:pt>
                <c:pt idx="35">
                  <c:v>0.2756576523757794</c:v>
                </c:pt>
                <c:pt idx="36">
                  <c:v>0.26961842769925276</c:v>
                </c:pt>
                <c:pt idx="37">
                  <c:v>0.2748815674505205</c:v>
                </c:pt>
                <c:pt idx="38">
                  <c:v>0.27740724978839726</c:v>
                </c:pt>
                <c:pt idx="39">
                  <c:v>0.2816299974184687</c:v>
                </c:pt>
                <c:pt idx="40">
                  <c:v>0.27654954773313983</c:v>
                </c:pt>
                <c:pt idx="41">
                  <c:v>0.26205163097289047</c:v>
                </c:pt>
                <c:pt idx="42">
                  <c:v>0.26554407091177723</c:v>
                </c:pt>
                <c:pt idx="43">
                  <c:v>0.2759346941935223</c:v>
                </c:pt>
                <c:pt idx="44">
                  <c:v>0.2686588053381353</c:v>
                </c:pt>
                <c:pt idx="45">
                  <c:v>0.2662943014252799</c:v>
                </c:pt>
                <c:pt idx="46">
                  <c:v>0.26068369186089296</c:v>
                </c:pt>
                <c:pt idx="47">
                  <c:v>0.25810707585039616</c:v>
                </c:pt>
                <c:pt idx="48">
                  <c:v>0.2655730355563072</c:v>
                </c:pt>
                <c:pt idx="49">
                  <c:v>0.2658618972215103</c:v>
                </c:pt>
                <c:pt idx="50">
                  <c:v>0.2711346998786244</c:v>
                </c:pt>
                <c:pt idx="51">
                  <c:v>0.2729945998188654</c:v>
                </c:pt>
                <c:pt idx="52">
                  <c:v>0.3067266798892133</c:v>
                </c:pt>
                <c:pt idx="53">
                  <c:v>0.30984426474663607</c:v>
                </c:pt>
                <c:pt idx="54">
                  <c:v>0.217126860675457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30.0"/>
          <c:min val="21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836065573770494"/>
          <c:min val="0.11603053435114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859146811822309</c:v>
                </c:pt>
                <c:pt idx="1">
                  <c:v>1.9357252537790894</c:v>
                </c:pt>
                <c:pt idx="2">
                  <c:v>2.013633802606996</c:v>
                </c:pt>
                <c:pt idx="3">
                  <c:v>2.1370543786969503</c:v>
                </c:pt>
                <c:pt idx="4">
                  <c:v>2.1042666805424504</c:v>
                </c:pt>
                <c:pt idx="5">
                  <c:v>2.0114686259295143</c:v>
                </c:pt>
                <c:pt idx="6">
                  <c:v>2.01475435557757</c:v>
                </c:pt>
                <c:pt idx="7">
                  <c:v>2.06865819239152</c:v>
                </c:pt>
                <c:pt idx="8">
                  <c:v>2.019102516140386</c:v>
                </c:pt>
                <c:pt idx="9">
                  <c:v>2.4822974545750016</c:v>
                </c:pt>
                <c:pt idx="10">
                  <c:v>2.6575592709275453</c:v>
                </c:pt>
                <c:pt idx="11">
                  <c:v>2.324608961889164</c:v>
                </c:pt>
                <c:pt idx="12">
                  <c:v>2.1997164496588657</c:v>
                </c:pt>
                <c:pt idx="13">
                  <c:v>2.1085242676779696</c:v>
                </c:pt>
                <c:pt idx="14">
                  <c:v>2.0778626453721665</c:v>
                </c:pt>
                <c:pt idx="15">
                  <c:v>2.075445937063512</c:v>
                </c:pt>
                <c:pt idx="16">
                  <c:v>2.209360479258757</c:v>
                </c:pt>
                <c:pt idx="17">
                  <c:v>2.126325882545752</c:v>
                </c:pt>
                <c:pt idx="18">
                  <c:v>2.2973460487073956</c:v>
                </c:pt>
                <c:pt idx="19">
                  <c:v>2.277239362358766</c:v>
                </c:pt>
                <c:pt idx="20">
                  <c:v>2.3455427162990063</c:v>
                </c:pt>
                <c:pt idx="21">
                  <c:v>2.281993705118763</c:v>
                </c:pt>
                <c:pt idx="22">
                  <c:v>2.3985584014532244</c:v>
                </c:pt>
                <c:pt idx="23">
                  <c:v>2.370102525039687</c:v>
                </c:pt>
                <c:pt idx="24">
                  <c:v>2.3130142581663673</c:v>
                </c:pt>
                <c:pt idx="25">
                  <c:v>1.976083771752327</c:v>
                </c:pt>
                <c:pt idx="26">
                  <c:v>2.1191829356411316</c:v>
                </c:pt>
                <c:pt idx="27">
                  <c:v>2.1008434874349233</c:v>
                </c:pt>
                <c:pt idx="28">
                  <c:v>2.1760462895692787</c:v>
                </c:pt>
                <c:pt idx="29">
                  <c:v>1.8019072564827632</c:v>
                </c:pt>
                <c:pt idx="30">
                  <c:v>1.9638756627281062</c:v>
                </c:pt>
                <c:pt idx="31">
                  <c:v>1.9032770956259002</c:v>
                </c:pt>
                <c:pt idx="32">
                  <c:v>2.024798044326724</c:v>
                </c:pt>
                <c:pt idx="33">
                  <c:v>1.123807189035428</c:v>
                </c:pt>
                <c:pt idx="34">
                  <c:v>1.9198066860465115</c:v>
                </c:pt>
                <c:pt idx="35">
                  <c:v>1.7019967436685346</c:v>
                </c:pt>
                <c:pt idx="36">
                  <c:v>2.3674373973309843</c:v>
                </c:pt>
                <c:pt idx="37">
                  <c:v>1.9439282473356547</c:v>
                </c:pt>
                <c:pt idx="38">
                  <c:v>2.1954034786149443</c:v>
                </c:pt>
                <c:pt idx="39">
                  <c:v>2.0443702695893173</c:v>
                </c:pt>
                <c:pt idx="40">
                  <c:v>2.05765164690338</c:v>
                </c:pt>
                <c:pt idx="41">
                  <c:v>1.8682062248995985</c:v>
                </c:pt>
                <c:pt idx="42">
                  <c:v>2.18445980056346</c:v>
                </c:pt>
                <c:pt idx="43">
                  <c:v>2.00189894731462</c:v>
                </c:pt>
                <c:pt idx="44">
                  <c:v>2.1136150277759134</c:v>
                </c:pt>
                <c:pt idx="45">
                  <c:v>2.0677677301821427</c:v>
                </c:pt>
                <c:pt idx="46">
                  <c:v>2.4029181019062227</c:v>
                </c:pt>
                <c:pt idx="47">
                  <c:v>2.3451221805092417</c:v>
                </c:pt>
                <c:pt idx="48">
                  <c:v>2.272072797057306</c:v>
                </c:pt>
                <c:pt idx="49">
                  <c:v>2.2115688551709076</c:v>
                </c:pt>
                <c:pt idx="50">
                  <c:v>2.043459296478156</c:v>
                </c:pt>
                <c:pt idx="51">
                  <c:v>2.1509660845082745</c:v>
                </c:pt>
                <c:pt idx="52">
                  <c:v>2.067958860453887</c:v>
                </c:pt>
                <c:pt idx="53">
                  <c:v>2.1213879409916494</c:v>
                </c:pt>
                <c:pt idx="54">
                  <c:v>2.164931489088553</c:v>
                </c:pt>
                <c:pt idx="55">
                  <c:v>2.183671925682452</c:v>
                </c:pt>
                <c:pt idx="56">
                  <c:v>2.0797023576236984</c:v>
                </c:pt>
                <c:pt idx="57">
                  <c:v>1.99968196865647</c:v>
                </c:pt>
                <c:pt idx="58">
                  <c:v>2.0455949769221418</c:v>
                </c:pt>
                <c:pt idx="59">
                  <c:v>2.2556694825465877</c:v>
                </c:pt>
                <c:pt idx="60">
                  <c:v>2.161508746330536</c:v>
                </c:pt>
                <c:pt idx="61">
                  <c:v>2.1912983284472842</c:v>
                </c:pt>
                <c:pt idx="62">
                  <c:v>2.4111157793802365</c:v>
                </c:pt>
                <c:pt idx="63">
                  <c:v>2.2339162109375</c:v>
                </c:pt>
                <c:pt idx="64">
                  <c:v>2.1680299968942385</c:v>
                </c:pt>
                <c:pt idx="65">
                  <c:v>2.0685101220220803</c:v>
                </c:pt>
                <c:pt idx="66">
                  <c:v>2.0261904019001795</c:v>
                </c:pt>
                <c:pt idx="67">
                  <c:v>2.024691179558135</c:v>
                </c:pt>
                <c:pt idx="68">
                  <c:v>1.9165532798436056</c:v>
                </c:pt>
                <c:pt idx="69">
                  <c:v>2.096353557851843</c:v>
                </c:pt>
                <c:pt idx="70">
                  <c:v>1.9582213700618563</c:v>
                </c:pt>
                <c:pt idx="71">
                  <c:v>1.771059755628144</c:v>
                </c:pt>
                <c:pt idx="72">
                  <c:v>2.0029347452761765</c:v>
                </c:pt>
                <c:pt idx="73">
                  <c:v>1.918508923783991</c:v>
                </c:pt>
                <c:pt idx="74">
                  <c:v>1.7171245481927708</c:v>
                </c:pt>
                <c:pt idx="75">
                  <c:v>1.5378864877582303</c:v>
                </c:pt>
                <c:pt idx="76">
                  <c:v>1.4603345531480152</c:v>
                </c:pt>
                <c:pt idx="77">
                  <c:v>1.0628862533692722</c:v>
                </c:pt>
                <c:pt idx="78">
                  <c:v>1.417361725150719</c:v>
                </c:pt>
                <c:pt idx="79">
                  <c:v>1.7914063049853373</c:v>
                </c:pt>
                <c:pt idx="80">
                  <c:v>1.978486777020448</c:v>
                </c:pt>
                <c:pt idx="81">
                  <c:v>1.7002127019322142</c:v>
                </c:pt>
                <c:pt idx="82">
                  <c:v>1.6159561713533914</c:v>
                </c:pt>
                <c:pt idx="83">
                  <c:v>1.3977272727272727</c:v>
                </c:pt>
                <c:pt idx="84">
                  <c:v>1.6799318063571647</c:v>
                </c:pt>
                <c:pt idx="85">
                  <c:v>1.8965994400514163</c:v>
                </c:pt>
                <c:pt idx="86">
                  <c:v>1.9555829607411719</c:v>
                </c:pt>
                <c:pt idx="87">
                  <c:v>1.7414816663608002</c:v>
                </c:pt>
                <c:pt idx="88">
                  <c:v>1.3746709247291893</c:v>
                </c:pt>
                <c:pt idx="89">
                  <c:v>1.3819429118514173</c:v>
                </c:pt>
                <c:pt idx="90">
                  <c:v>1.9589477997270708</c:v>
                </c:pt>
                <c:pt idx="91">
                  <c:v>2.2223544879898864</c:v>
                </c:pt>
                <c:pt idx="92">
                  <c:v>1.962895888666154</c:v>
                </c:pt>
                <c:pt idx="93">
                  <c:v>1.8476536842105262</c:v>
                </c:pt>
                <c:pt idx="94">
                  <c:v>2.270401317370946</c:v>
                </c:pt>
                <c:pt idx="95">
                  <c:v>1.8583700077700078</c:v>
                </c:pt>
                <c:pt idx="96">
                  <c:v>1.750109423582875</c:v>
                </c:pt>
                <c:pt idx="97">
                  <c:v>1.8900990497938104</c:v>
                </c:pt>
                <c:pt idx="98">
                  <c:v>2.0945959862743058</c:v>
                </c:pt>
                <c:pt idx="99">
                  <c:v>1.9827698811096433</c:v>
                </c:pt>
                <c:pt idx="100">
                  <c:v>1.851980348430876</c:v>
                </c:pt>
                <c:pt idx="101">
                  <c:v>1.8938844211707497</c:v>
                </c:pt>
                <c:pt idx="102">
                  <c:v>1.9273069303493733</c:v>
                </c:pt>
                <c:pt idx="103">
                  <c:v>1.955999821784321</c:v>
                </c:pt>
                <c:pt idx="104">
                  <c:v>1.92336434275651</c:v>
                </c:pt>
              </c:numCache>
            </c:numRef>
          </c:xVal>
          <c:yVal>
            <c:numRef>
              <c:f>Sheet1!$B$2:$B$106</c:f>
              <c:numCache>
                <c:formatCode>General</c:formatCode>
                <c:ptCount val="105"/>
                <c:pt idx="0">
                  <c:v>0.25672645739910316</c:v>
                </c:pt>
                <c:pt idx="1">
                  <c:v>0.28355196770938446</c:v>
                </c:pt>
                <c:pt idx="2">
                  <c:v>0.27372627372627373</c:v>
                </c:pt>
                <c:pt idx="3">
                  <c:v>0.2970059880239521</c:v>
                </c:pt>
                <c:pt idx="4">
                  <c:v>0.2574123989218329</c:v>
                </c:pt>
                <c:pt idx="5">
                  <c:v>0.2817955112219451</c:v>
                </c:pt>
                <c:pt idx="6">
                  <c:v>0.31572327044025156</c:v>
                </c:pt>
                <c:pt idx="7">
                  <c:v>0.30071942446043165</c:v>
                </c:pt>
                <c:pt idx="8">
                  <c:v>0.3338323353293413</c:v>
                </c:pt>
                <c:pt idx="9">
                  <c:v>0.30361757105943155</c:v>
                </c:pt>
                <c:pt idx="10">
                  <c:v>0.291932059447983</c:v>
                </c:pt>
                <c:pt idx="11">
                  <c:v>0.30794341675734493</c:v>
                </c:pt>
                <c:pt idx="12">
                  <c:v>0.30885311871227367</c:v>
                </c:pt>
                <c:pt idx="13">
                  <c:v>0.3129855715871254</c:v>
                </c:pt>
                <c:pt idx="14">
                  <c:v>0.28691476590636256</c:v>
                </c:pt>
                <c:pt idx="15">
                  <c:v>0.2875605815831987</c:v>
                </c:pt>
                <c:pt idx="16">
                  <c:v>0.24066390041493776</c:v>
                </c:pt>
                <c:pt idx="17">
                  <c:v>0.20092378752886836</c:v>
                </c:pt>
                <c:pt idx="18">
                  <c:v>0.18571428571428572</c:v>
                </c:pt>
                <c:pt idx="19">
                  <c:v>0.18181818181818182</c:v>
                </c:pt>
                <c:pt idx="20">
                  <c:v>0.17557251908396945</c:v>
                </c:pt>
                <c:pt idx="21">
                  <c:v>0.22857142857142856</c:v>
                </c:pt>
                <c:pt idx="22">
                  <c:v>0.24725274725274726</c:v>
                </c:pt>
                <c:pt idx="23">
                  <c:v>0.1889763779527559</c:v>
                </c:pt>
                <c:pt idx="24">
                  <c:v>0.16129032258064516</c:v>
                </c:pt>
                <c:pt idx="25">
                  <c:v>0.18674698795180722</c:v>
                </c:pt>
                <c:pt idx="26">
                  <c:v>0.2052980132450331</c:v>
                </c:pt>
                <c:pt idx="27">
                  <c:v>0.20958083832335328</c:v>
                </c:pt>
                <c:pt idx="28">
                  <c:v>0.18012422360248448</c:v>
                </c:pt>
                <c:pt idx="29">
                  <c:v>0.2158273381294964</c:v>
                </c:pt>
                <c:pt idx="30">
                  <c:v>0.2037037037037037</c:v>
                </c:pt>
                <c:pt idx="31">
                  <c:v>0.19491525423728814</c:v>
                </c:pt>
                <c:pt idx="32">
                  <c:v>0.2413793103448276</c:v>
                </c:pt>
                <c:pt idx="33">
                  <c:v>0.3532934131736527</c:v>
                </c:pt>
                <c:pt idx="34">
                  <c:v>0.27941176470588236</c:v>
                </c:pt>
                <c:pt idx="35">
                  <c:v>0.31543624161073824</c:v>
                </c:pt>
                <c:pt idx="36">
                  <c:v>0.19047619047619047</c:v>
                </c:pt>
                <c:pt idx="37">
                  <c:v>0.16428571428571428</c:v>
                </c:pt>
                <c:pt idx="38">
                  <c:v>0.16326530612244897</c:v>
                </c:pt>
                <c:pt idx="39">
                  <c:v>0.1450381679389313</c:v>
                </c:pt>
                <c:pt idx="40">
                  <c:v>0.1761006289308176</c:v>
                </c:pt>
                <c:pt idx="41">
                  <c:v>0.18633540372670807</c:v>
                </c:pt>
                <c:pt idx="42">
                  <c:v>0.17777777777777778</c:v>
                </c:pt>
                <c:pt idx="43">
                  <c:v>0.2145214521452145</c:v>
                </c:pt>
                <c:pt idx="44">
                  <c:v>0.22965641952983726</c:v>
                </c:pt>
                <c:pt idx="45">
                  <c:v>0.24793388429752067</c:v>
                </c:pt>
                <c:pt idx="46">
                  <c:v>0.22524271844660193</c:v>
                </c:pt>
                <c:pt idx="47">
                  <c:v>0.26391096979332274</c:v>
                </c:pt>
                <c:pt idx="48">
                  <c:v>0.27713382507903056</c:v>
                </c:pt>
                <c:pt idx="49">
                  <c:v>0.31758957654723124</c:v>
                </c:pt>
                <c:pt idx="50">
                  <c:v>0.27976190476190477</c:v>
                </c:pt>
                <c:pt idx="51">
                  <c:v>0.26779026217228463</c:v>
                </c:pt>
                <c:pt idx="52">
                  <c:v>0.291319857312723</c:v>
                </c:pt>
                <c:pt idx="53">
                  <c:v>0.2840409956076135</c:v>
                </c:pt>
                <c:pt idx="54">
                  <c:v>0.2862595419847328</c:v>
                </c:pt>
                <c:pt idx="55">
                  <c:v>0.27474747474747474</c:v>
                </c:pt>
                <c:pt idx="56">
                  <c:v>0.2824956672443674</c:v>
                </c:pt>
                <c:pt idx="57">
                  <c:v>0.30264993026499304</c:v>
                </c:pt>
                <c:pt idx="58">
                  <c:v>0.3185745140388769</c:v>
                </c:pt>
                <c:pt idx="59">
                  <c:v>0.31683168316831684</c:v>
                </c:pt>
                <c:pt idx="60">
                  <c:v>0.3292240754169688</c:v>
                </c:pt>
                <c:pt idx="61">
                  <c:v>0.3477366255144033</c:v>
                </c:pt>
                <c:pt idx="62">
                  <c:v>0.3402854006586169</c:v>
                </c:pt>
                <c:pt idx="63">
                  <c:v>0.3881578947368421</c:v>
                </c:pt>
                <c:pt idx="64">
                  <c:v>0.34238603297769155</c:v>
                </c:pt>
                <c:pt idx="65">
                  <c:v>0.33116883116883117</c:v>
                </c:pt>
                <c:pt idx="66">
                  <c:v>0.3062261753494282</c:v>
                </c:pt>
                <c:pt idx="67">
                  <c:v>0.3089080459770115</c:v>
                </c:pt>
                <c:pt idx="68">
                  <c:v>0.3293918918918919</c:v>
                </c:pt>
                <c:pt idx="69">
                  <c:v>0.2727272727272727</c:v>
                </c:pt>
                <c:pt idx="70">
                  <c:v>0.27123287671232876</c:v>
                </c:pt>
                <c:pt idx="71">
                  <c:v>0.27844311377245506</c:v>
                </c:pt>
                <c:pt idx="72">
                  <c:v>0.2375886524822695</c:v>
                </c:pt>
                <c:pt idx="73">
                  <c:v>0.2737226277372263</c:v>
                </c:pt>
                <c:pt idx="74">
                  <c:v>0.3014705882352941</c:v>
                </c:pt>
                <c:pt idx="75">
                  <c:v>0.34972677595628415</c:v>
                </c:pt>
                <c:pt idx="76">
                  <c:v>0.3148148148148148</c:v>
                </c:pt>
                <c:pt idx="77">
                  <c:v>0.41530054644808745</c:v>
                </c:pt>
                <c:pt idx="78">
                  <c:v>0.3333333333333333</c:v>
                </c:pt>
                <c:pt idx="79">
                  <c:v>0.2072072072072072</c:v>
                </c:pt>
                <c:pt idx="80">
                  <c:v>0.1619047619047619</c:v>
                </c:pt>
                <c:pt idx="81">
                  <c:v>0.26515151515151514</c:v>
                </c:pt>
                <c:pt idx="82">
                  <c:v>0.20833333333333334</c:v>
                </c:pt>
                <c:pt idx="83">
                  <c:v>0.2235294117647059</c:v>
                </c:pt>
                <c:pt idx="84">
                  <c:v>0.1956521739130435</c:v>
                </c:pt>
                <c:pt idx="85">
                  <c:v>0.21904761904761905</c:v>
                </c:pt>
                <c:pt idx="86">
                  <c:v>0.2459016393442623</c:v>
                </c:pt>
                <c:pt idx="87">
                  <c:v>0.2459016393442623</c:v>
                </c:pt>
                <c:pt idx="88">
                  <c:v>0.2815533980582524</c:v>
                </c:pt>
                <c:pt idx="89">
                  <c:v>0.2441860465116279</c:v>
                </c:pt>
                <c:pt idx="90">
                  <c:v>0.19480519480519481</c:v>
                </c:pt>
                <c:pt idx="91">
                  <c:v>0.2</c:v>
                </c:pt>
                <c:pt idx="92">
                  <c:v>0.16666666666666666</c:v>
                </c:pt>
                <c:pt idx="93">
                  <c:v>0.2</c:v>
                </c:pt>
                <c:pt idx="94">
                  <c:v>0.14736842105263157</c:v>
                </c:pt>
                <c:pt idx="95">
                  <c:v>0.18</c:v>
                </c:pt>
                <c:pt idx="96">
                  <c:v>0.22713864306784662</c:v>
                </c:pt>
                <c:pt idx="97">
                  <c:v>0.23513513513513515</c:v>
                </c:pt>
                <c:pt idx="98">
                  <c:v>0.24380165289256198</c:v>
                </c:pt>
                <c:pt idx="99">
                  <c:v>0.261136712749616</c:v>
                </c:pt>
                <c:pt idx="100">
                  <c:v>0.27838258164852253</c:v>
                </c:pt>
                <c:pt idx="101">
                  <c:v>0.2624</c:v>
                </c:pt>
                <c:pt idx="102">
                  <c:v>0.24034334763948498</c:v>
                </c:pt>
                <c:pt idx="103">
                  <c:v>0.218018018018018</c:v>
                </c:pt>
                <c:pt idx="104">
                  <c:v>0.265734265734265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207184911710977</c:v>
                </c:pt>
                <c:pt idx="1">
                  <c:v>1.937509877746094</c:v>
                </c:pt>
                <c:pt idx="2">
                  <c:v>1.9338204639546002</c:v>
                </c:pt>
                <c:pt idx="3">
                  <c:v>1.9467348729512868</c:v>
                </c:pt>
                <c:pt idx="4">
                  <c:v>1.9312746652275106</c:v>
                </c:pt>
                <c:pt idx="5">
                  <c:v>1.991942868141595</c:v>
                </c:pt>
                <c:pt idx="6">
                  <c:v>1.830966744512425</c:v>
                </c:pt>
                <c:pt idx="7">
                  <c:v>1.9923962899368197</c:v>
                </c:pt>
                <c:pt idx="8">
                  <c:v>2.0240379289043076</c:v>
                </c:pt>
                <c:pt idx="9">
                  <c:v>2.113788822607763</c:v>
                </c:pt>
                <c:pt idx="10">
                  <c:v>2.1013524814093922</c:v>
                </c:pt>
                <c:pt idx="11">
                  <c:v>1.891563654353562</c:v>
                </c:pt>
                <c:pt idx="12">
                  <c:v>1.863691312179498</c:v>
                </c:pt>
                <c:pt idx="13">
                  <c:v>1.9792227998084018</c:v>
                </c:pt>
                <c:pt idx="14">
                  <c:v>2.0606554180534586</c:v>
                </c:pt>
                <c:pt idx="15">
                  <c:v>2.034339158369817</c:v>
                </c:pt>
                <c:pt idx="16">
                  <c:v>2.2046770475227504</c:v>
                </c:pt>
                <c:pt idx="17">
                  <c:v>2.1831713472343273</c:v>
                </c:pt>
                <c:pt idx="18">
                  <c:v>2.1931394324943843</c:v>
                </c:pt>
                <c:pt idx="19">
                  <c:v>2.0250908742886513</c:v>
                </c:pt>
                <c:pt idx="20">
                  <c:v>2.0173467066487434</c:v>
                </c:pt>
                <c:pt idx="21">
                  <c:v>1.510994526118236</c:v>
                </c:pt>
                <c:pt idx="22">
                  <c:v>1.4811227667172309</c:v>
                </c:pt>
                <c:pt idx="23">
                  <c:v>1.5658371716373691</c:v>
                </c:pt>
                <c:pt idx="24">
                  <c:v>1.4908970054829185</c:v>
                </c:pt>
                <c:pt idx="25">
                  <c:v>1.5047302739755146</c:v>
                </c:pt>
                <c:pt idx="26">
                  <c:v>1.9995066165771904</c:v>
                </c:pt>
                <c:pt idx="27">
                  <c:v>1.809721216848674</c:v>
                </c:pt>
                <c:pt idx="28">
                  <c:v>1.9414966530612245</c:v>
                </c:pt>
                <c:pt idx="29">
                  <c:v>1.8088510204081634</c:v>
                </c:pt>
                <c:pt idx="30">
                  <c:v>1.9949924125392733</c:v>
                </c:pt>
                <c:pt idx="31">
                  <c:v>1.7269930069930068</c:v>
                </c:pt>
                <c:pt idx="32">
                  <c:v>1.8448726896112173</c:v>
                </c:pt>
                <c:pt idx="33">
                  <c:v>1.777327969924812</c:v>
                </c:pt>
                <c:pt idx="34">
                  <c:v>1.922405587510271</c:v>
                </c:pt>
                <c:pt idx="35">
                  <c:v>1.5320869701726845</c:v>
                </c:pt>
                <c:pt idx="36">
                  <c:v>1.7896896327591811</c:v>
                </c:pt>
                <c:pt idx="37">
                  <c:v>1.7571002479631597</c:v>
                </c:pt>
                <c:pt idx="38">
                  <c:v>1.62560553633218</c:v>
                </c:pt>
                <c:pt idx="39">
                  <c:v>1.4386610056457656</c:v>
                </c:pt>
                <c:pt idx="40">
                  <c:v>1.5865379978673038</c:v>
                </c:pt>
                <c:pt idx="41">
                  <c:v>2.053918400652795</c:v>
                </c:pt>
                <c:pt idx="42">
                  <c:v>1.877473484248852</c:v>
                </c:pt>
                <c:pt idx="43">
                  <c:v>1.5273444000059822</c:v>
                </c:pt>
                <c:pt idx="44">
                  <c:v>1.8336982829108748</c:v>
                </c:pt>
                <c:pt idx="45">
                  <c:v>1.9153748908666763</c:v>
                </c:pt>
                <c:pt idx="46">
                  <c:v>2.0709172245108136</c:v>
                </c:pt>
                <c:pt idx="47">
                  <c:v>2.2039231605468297</c:v>
                </c:pt>
                <c:pt idx="48">
                  <c:v>1.916810877746627</c:v>
                </c:pt>
                <c:pt idx="49">
                  <c:v>1.939661718281669</c:v>
                </c:pt>
                <c:pt idx="50">
                  <c:v>1.7314054027111305</c:v>
                </c:pt>
                <c:pt idx="51">
                  <c:v>1.6456763493211206</c:v>
                </c:pt>
              </c:numCache>
            </c:numRef>
          </c:xVal>
          <c:yVal>
            <c:numRef>
              <c:f>Sheet1!$B$109:$B$160</c:f>
              <c:numCache>
                <c:formatCode>General</c:formatCode>
                <c:ptCount val="52"/>
                <c:pt idx="0">
                  <c:v>0.2857142857142857</c:v>
                </c:pt>
                <c:pt idx="1">
                  <c:v>0.2689969604863222</c:v>
                </c:pt>
                <c:pt idx="2">
                  <c:v>0.31197771587743733</c:v>
                </c:pt>
                <c:pt idx="3">
                  <c:v>0.3093167701863354</c:v>
                </c:pt>
                <c:pt idx="4">
                  <c:v>0.3141122913505311</c:v>
                </c:pt>
                <c:pt idx="5">
                  <c:v>0.31001589825119236</c:v>
                </c:pt>
                <c:pt idx="6">
                  <c:v>0.33799237611181704</c:v>
                </c:pt>
                <c:pt idx="7">
                  <c:v>0.3026634382566586</c:v>
                </c:pt>
                <c:pt idx="8">
                  <c:v>0.3136094674556213</c:v>
                </c:pt>
                <c:pt idx="9">
                  <c:v>0.31433823529411764</c:v>
                </c:pt>
                <c:pt idx="10">
                  <c:v>0.3466666666666667</c:v>
                </c:pt>
                <c:pt idx="11">
                  <c:v>0.3688888888888889</c:v>
                </c:pt>
                <c:pt idx="12">
                  <c:v>0.37318840579710144</c:v>
                </c:pt>
                <c:pt idx="13">
                  <c:v>0.3215547703180212</c:v>
                </c:pt>
                <c:pt idx="14">
                  <c:v>0.3386454183266932</c:v>
                </c:pt>
                <c:pt idx="15">
                  <c:v>0.3333333333333333</c:v>
                </c:pt>
                <c:pt idx="16">
                  <c:v>0.2596685082872928</c:v>
                </c:pt>
                <c:pt idx="17">
                  <c:v>0.22857142857142856</c:v>
                </c:pt>
                <c:pt idx="18">
                  <c:v>0.23699421965317918</c:v>
                </c:pt>
                <c:pt idx="19">
                  <c:v>0.24456521739130435</c:v>
                </c:pt>
                <c:pt idx="20">
                  <c:v>0.26455026455026454</c:v>
                </c:pt>
                <c:pt idx="21">
                  <c:v>0.35648148148148145</c:v>
                </c:pt>
                <c:pt idx="22">
                  <c:v>0.31313131313131315</c:v>
                </c:pt>
                <c:pt idx="23">
                  <c:v>0.32432432432432434</c:v>
                </c:pt>
                <c:pt idx="24">
                  <c:v>0.3310344827586207</c:v>
                </c:pt>
                <c:pt idx="25">
                  <c:v>0.3125</c:v>
                </c:pt>
                <c:pt idx="26">
                  <c:v>0.21804511278195488</c:v>
                </c:pt>
                <c:pt idx="27">
                  <c:v>0.24615384615384617</c:v>
                </c:pt>
                <c:pt idx="28">
                  <c:v>0.23255813953488372</c:v>
                </c:pt>
                <c:pt idx="29">
                  <c:v>0.21649484536082475</c:v>
                </c:pt>
                <c:pt idx="30">
                  <c:v>0.2289156626506024</c:v>
                </c:pt>
                <c:pt idx="31">
                  <c:v>0.2112676056338028</c:v>
                </c:pt>
                <c:pt idx="32">
                  <c:v>0.23170731707317074</c:v>
                </c:pt>
                <c:pt idx="33">
                  <c:v>0.26</c:v>
                </c:pt>
                <c:pt idx="34">
                  <c:v>0.25517241379310346</c:v>
                </c:pt>
                <c:pt idx="35">
                  <c:v>0.2972972972972973</c:v>
                </c:pt>
                <c:pt idx="36">
                  <c:v>0.22857142857142856</c:v>
                </c:pt>
                <c:pt idx="37">
                  <c:v>0.20987654320987653</c:v>
                </c:pt>
                <c:pt idx="38">
                  <c:v>0.2054794520547945</c:v>
                </c:pt>
                <c:pt idx="39">
                  <c:v>0.22764227642276422</c:v>
                </c:pt>
                <c:pt idx="40">
                  <c:v>0.21808510638297873</c:v>
                </c:pt>
                <c:pt idx="41">
                  <c:v>0.15757575757575756</c:v>
                </c:pt>
                <c:pt idx="42">
                  <c:v>0.16296296296296298</c:v>
                </c:pt>
                <c:pt idx="43">
                  <c:v>0.21774193548387097</c:v>
                </c:pt>
                <c:pt idx="44">
                  <c:v>0.20327868852459016</c:v>
                </c:pt>
                <c:pt idx="45">
                  <c:v>0.19444444444444445</c:v>
                </c:pt>
                <c:pt idx="46">
                  <c:v>0.17888563049853373</c:v>
                </c:pt>
                <c:pt idx="47">
                  <c:v>0.1891891891891892</c:v>
                </c:pt>
                <c:pt idx="48">
                  <c:v>0.2188034188034188</c:v>
                </c:pt>
                <c:pt idx="49">
                  <c:v>0.23867069486404835</c:v>
                </c:pt>
                <c:pt idx="50">
                  <c:v>0.3078089461713419</c:v>
                </c:pt>
                <c:pt idx="51">
                  <c:v>0.307560137457044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17198709476284</c:v>
                </c:pt>
              </c:numCache>
            </c:numRef>
          </c:xVal>
          <c:yVal>
            <c:numRef>
              <c:f>Sheet1!$B$163:$B$164</c:f>
              <c:numCache>
                <c:formatCode>General</c:formatCode>
                <c:ptCount val="2"/>
                <c:pt idx="0">
                  <c:v>0.30984426474663607</c:v>
                </c:pt>
                <c:pt idx="1">
                  <c:v>0.309844264746636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17198709476284</c:v>
                </c:pt>
                <c:pt idx="1">
                  <c:v>0.5817198709476284</c:v>
                </c:pt>
              </c:numCache>
            </c:numRef>
          </c:xVal>
          <c:yVal>
            <c:numRef>
              <c:f>Sheet1!$B$167:$B$168</c:f>
              <c:numCache>
                <c:formatCode>General</c:formatCode>
                <c:ptCount val="2"/>
                <c:pt idx="0">
                  <c:v>0.309844264746636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752577016610233</c:v>
                </c:pt>
              </c:numCache>
            </c:numRef>
          </c:xVal>
          <c:yVal>
            <c:numRef>
              <c:f>Sheet1!$B$171:$B$172</c:f>
              <c:numCache>
                <c:formatCode>General</c:formatCode>
                <c:ptCount val="2"/>
                <c:pt idx="0">
                  <c:v>0.3067266798892133</c:v>
                </c:pt>
                <c:pt idx="1">
                  <c:v>0.306726679889213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752577016610233</c:v>
                </c:pt>
                <c:pt idx="1">
                  <c:v>0.6752577016610233</c:v>
                </c:pt>
              </c:numCache>
            </c:numRef>
          </c:xVal>
          <c:yVal>
            <c:numRef>
              <c:f>Sheet1!$B$175:$B$176</c:f>
              <c:numCache>
                <c:formatCode>General</c:formatCode>
                <c:ptCount val="2"/>
                <c:pt idx="0">
                  <c:v>0.306726679889213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3635478701267125</c:v>
                </c:pt>
              </c:numCache>
            </c:numRef>
          </c:xVal>
          <c:yVal>
            <c:numRef>
              <c:f>Sheet1!$B$179:$B$180</c:f>
              <c:numCache>
                <c:formatCode>General</c:formatCode>
                <c:ptCount val="2"/>
                <c:pt idx="0">
                  <c:v>0.21712686067545736</c:v>
                </c:pt>
                <c:pt idx="1">
                  <c:v>0.217126860675457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3635478701267125</c:v>
                </c:pt>
                <c:pt idx="1">
                  <c:v>3.3635478701267125</c:v>
                </c:pt>
              </c:numCache>
            </c:numRef>
          </c:xVal>
          <c:yVal>
            <c:numRef>
              <c:f>Sheet1!$B$183:$B$184</c:f>
              <c:numCache>
                <c:formatCode>General</c:formatCode>
                <c:ptCount val="2"/>
                <c:pt idx="0">
                  <c:v>0.217126860675457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207184911710977</c:v>
                </c:pt>
                <c:pt idx="1">
                  <c:v>1.937509877746094</c:v>
                </c:pt>
                <c:pt idx="2">
                  <c:v>1.9338204639546002</c:v>
                </c:pt>
                <c:pt idx="3">
                  <c:v>1.9467348729512868</c:v>
                </c:pt>
                <c:pt idx="4">
                  <c:v>1.9312746652275106</c:v>
                </c:pt>
                <c:pt idx="5">
                  <c:v>1.991942868141595</c:v>
                </c:pt>
                <c:pt idx="6">
                  <c:v>1.830966744512425</c:v>
                </c:pt>
                <c:pt idx="7">
                  <c:v>1.9923962899368197</c:v>
                </c:pt>
                <c:pt idx="8">
                  <c:v>2.0240379289043076</c:v>
                </c:pt>
                <c:pt idx="9">
                  <c:v>2.113788822607763</c:v>
                </c:pt>
                <c:pt idx="10">
                  <c:v>2.1013524814093922</c:v>
                </c:pt>
                <c:pt idx="11">
                  <c:v>1.891563654353562</c:v>
                </c:pt>
                <c:pt idx="12">
                  <c:v>1.863691312179498</c:v>
                </c:pt>
                <c:pt idx="13">
                  <c:v>1.9792227998084018</c:v>
                </c:pt>
                <c:pt idx="14">
                  <c:v>2.0606554180534586</c:v>
                </c:pt>
                <c:pt idx="15">
                  <c:v>2.034339158369817</c:v>
                </c:pt>
                <c:pt idx="16">
                  <c:v>2.2046770475227504</c:v>
                </c:pt>
                <c:pt idx="17">
                  <c:v>2.1831713472343273</c:v>
                </c:pt>
                <c:pt idx="18">
                  <c:v>2.1931394324943843</c:v>
                </c:pt>
                <c:pt idx="19">
                  <c:v>2.0250908742886513</c:v>
                </c:pt>
                <c:pt idx="20">
                  <c:v>2.0173467066487434</c:v>
                </c:pt>
                <c:pt idx="21">
                  <c:v>1.510994526118236</c:v>
                </c:pt>
                <c:pt idx="22">
                  <c:v>1.4811227667172309</c:v>
                </c:pt>
                <c:pt idx="23">
                  <c:v>1.5658371716373691</c:v>
                </c:pt>
                <c:pt idx="24">
                  <c:v>1.4908970054829185</c:v>
                </c:pt>
                <c:pt idx="25">
                  <c:v>1.5047302739755146</c:v>
                </c:pt>
                <c:pt idx="26">
                  <c:v>1.9995066165771904</c:v>
                </c:pt>
                <c:pt idx="27">
                  <c:v>1.809721216848674</c:v>
                </c:pt>
                <c:pt idx="28">
                  <c:v>1.9414966530612245</c:v>
                </c:pt>
                <c:pt idx="29">
                  <c:v>1.8088510204081634</c:v>
                </c:pt>
                <c:pt idx="30">
                  <c:v>1.9949924125392733</c:v>
                </c:pt>
                <c:pt idx="31">
                  <c:v>1.7269930069930068</c:v>
                </c:pt>
                <c:pt idx="32">
                  <c:v>1.8448726896112173</c:v>
                </c:pt>
                <c:pt idx="33">
                  <c:v>1.777327969924812</c:v>
                </c:pt>
                <c:pt idx="34">
                  <c:v>1.922405587510271</c:v>
                </c:pt>
                <c:pt idx="35">
                  <c:v>1.5320869701726845</c:v>
                </c:pt>
                <c:pt idx="36">
                  <c:v>1.7896896327591811</c:v>
                </c:pt>
                <c:pt idx="37">
                  <c:v>1.7571002479631597</c:v>
                </c:pt>
                <c:pt idx="38">
                  <c:v>1.62560553633218</c:v>
                </c:pt>
                <c:pt idx="39">
                  <c:v>1.4386610056457656</c:v>
                </c:pt>
                <c:pt idx="40">
                  <c:v>1.5865379978673038</c:v>
                </c:pt>
                <c:pt idx="41">
                  <c:v>2.053918400652795</c:v>
                </c:pt>
                <c:pt idx="42">
                  <c:v>1.877473484248852</c:v>
                </c:pt>
                <c:pt idx="43">
                  <c:v>1.5273444000059822</c:v>
                </c:pt>
                <c:pt idx="44">
                  <c:v>1.8336982829108748</c:v>
                </c:pt>
                <c:pt idx="45">
                  <c:v>1.9153748908666763</c:v>
                </c:pt>
                <c:pt idx="46">
                  <c:v>2.0709172245108136</c:v>
                </c:pt>
                <c:pt idx="47">
                  <c:v>2.2039231605468297</c:v>
                </c:pt>
                <c:pt idx="48">
                  <c:v>1.916810877746627</c:v>
                </c:pt>
                <c:pt idx="49">
                  <c:v>1.939661718281669</c:v>
                </c:pt>
                <c:pt idx="50">
                  <c:v>1.7314054027111305</c:v>
                </c:pt>
                <c:pt idx="51">
                  <c:v>1.6456763493211206</c:v>
                </c:pt>
                <c:pt idx="52">
                  <c:v>0.6752577016610233</c:v>
                </c:pt>
                <c:pt idx="53">
                  <c:v>0.5817198709476284</c:v>
                </c:pt>
                <c:pt idx="54">
                  <c:v>3.3635478701267125</c:v>
                </c:pt>
              </c:numCache>
            </c:numRef>
          </c:xVal>
          <c:yVal>
            <c:numRef>
              <c:f>Sheet1!$B$187:$B$241</c:f>
              <c:numCache>
                <c:formatCode>General</c:formatCode>
                <c:ptCount val="55"/>
                <c:pt idx="0">
                  <c:v>0.2652158850773516</c:v>
                </c:pt>
                <c:pt idx="1">
                  <c:v>0.2646562337349793</c:v>
                </c:pt>
                <c:pt idx="2">
                  <c:v>0.2647792006723287</c:v>
                </c:pt>
                <c:pt idx="3">
                  <c:v>0.26434876770607785</c:v>
                </c:pt>
                <c:pt idx="4">
                  <c:v>0.26486405129908674</c:v>
                </c:pt>
                <c:pt idx="5">
                  <c:v>0.26284200022852544</c:v>
                </c:pt>
                <c:pt idx="6">
                  <c:v>0.2682072810096313</c:v>
                </c:pt>
                <c:pt idx="7">
                  <c:v>0.2628268878305573</c:v>
                </c:pt>
                <c:pt idx="8">
                  <c:v>0.261772282503956</c:v>
                </c:pt>
                <c:pt idx="9">
                  <c:v>0.2587809150003906</c:v>
                </c:pt>
                <c:pt idx="10">
                  <c:v>0.25919541412556896</c:v>
                </c:pt>
                <c:pt idx="11">
                  <c:v>0.266187606113533</c:v>
                </c:pt>
                <c:pt idx="12">
                  <c:v>0.2671165820288396</c:v>
                </c:pt>
                <c:pt idx="13">
                  <c:v>0.26326595588495344</c:v>
                </c:pt>
                <c:pt idx="14">
                  <c:v>0.2605518337420211</c:v>
                </c:pt>
                <c:pt idx="15">
                  <c:v>0.2614289459443033</c:v>
                </c:pt>
                <c:pt idx="16">
                  <c:v>0.25575164062496486</c:v>
                </c:pt>
                <c:pt idx="17">
                  <c:v>0.25646841847897445</c:v>
                </c:pt>
                <c:pt idx="18">
                  <c:v>0.2561361855051366</c:v>
                </c:pt>
                <c:pt idx="19">
                  <c:v>0.26173718818371267</c:v>
                </c:pt>
                <c:pt idx="20">
                  <c:v>0.2619952987212715</c:v>
                </c:pt>
                <c:pt idx="21">
                  <c:v>0.2788718488668677</c:v>
                </c:pt>
                <c:pt idx="22">
                  <c:v>0.2798674646948475</c:v>
                </c:pt>
                <c:pt idx="23">
                  <c:v>0.277043961691086</c:v>
                </c:pt>
                <c:pt idx="24">
                  <c:v>0.27954169256033956</c:v>
                </c:pt>
                <c:pt idx="25">
                  <c:v>0.2790806343120109</c:v>
                </c:pt>
                <c:pt idx="26">
                  <c:v>0.26258990300317475</c:v>
                </c:pt>
                <c:pt idx="27">
                  <c:v>0.26891538739639814</c:v>
                </c:pt>
                <c:pt idx="28">
                  <c:v>0.2645233558367257</c:v>
                </c:pt>
                <c:pt idx="29">
                  <c:v>0.2689443907549882</c:v>
                </c:pt>
                <c:pt idx="30">
                  <c:v>0.2627403599257332</c:v>
                </c:pt>
                <c:pt idx="31">
                  <c:v>0.27167269117777376</c:v>
                </c:pt>
                <c:pt idx="32">
                  <c:v>0.26774380047413565</c:v>
                </c:pt>
                <c:pt idx="33">
                  <c:v>0.2699950435667665</c:v>
                </c:pt>
                <c:pt idx="34">
                  <c:v>0.26515965471622494</c:v>
                </c:pt>
                <c:pt idx="35">
                  <c:v>0.2781688447059986</c:v>
                </c:pt>
                <c:pt idx="36">
                  <c:v>0.2695830334466785</c:v>
                </c:pt>
                <c:pt idx="37">
                  <c:v>0.27066922682723815</c:v>
                </c:pt>
                <c:pt idx="38">
                  <c:v>0.2750519019297645</c:v>
                </c:pt>
                <c:pt idx="39">
                  <c:v>0.2812827011005486</c:v>
                </c:pt>
                <c:pt idx="40">
                  <c:v>0.27635401002235077</c:v>
                </c:pt>
                <c:pt idx="41">
                  <c:v>0.2607763762963258</c:v>
                </c:pt>
                <c:pt idx="42">
                  <c:v>0.2666572268073414</c:v>
                </c:pt>
                <c:pt idx="43">
                  <c:v>0.27832691299584683</c:v>
                </c:pt>
                <c:pt idx="44">
                  <c:v>0.26811623974126403</c:v>
                </c:pt>
                <c:pt idx="45">
                  <c:v>0.26539398550223986</c:v>
                </c:pt>
                <c:pt idx="46">
                  <c:v>0.26020981113814784</c:v>
                </c:pt>
                <c:pt idx="47">
                  <c:v>0.2557767674276971</c:v>
                </c:pt>
                <c:pt idx="48">
                  <c:v>0.26534612453605916</c:v>
                </c:pt>
                <c:pt idx="49">
                  <c:v>0.2645845136040106</c:v>
                </c:pt>
                <c:pt idx="50">
                  <c:v>0.2715256274927293</c:v>
                </c:pt>
                <c:pt idx="51">
                  <c:v>0.2743829483932835</c:v>
                </c:pt>
                <c:pt idx="52">
                  <c:v>0.3067266798892133</c:v>
                </c:pt>
                <c:pt idx="53">
                  <c:v>0.30984426474663607</c:v>
                </c:pt>
                <c:pt idx="54">
                  <c:v>0.217126860675457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836065573770494"/>
          <c:min val="0.11603053435114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5.1223</c:v>
                </c:pt>
                <c:pt idx="1">
                  <c:v>938.1566</c:v>
                </c:pt>
                <c:pt idx="2">
                  <c:v>972.8175</c:v>
                </c:pt>
                <c:pt idx="3">
                  <c:v>1041.7702</c:v>
                </c:pt>
                <c:pt idx="4">
                  <c:v>1027.178</c:v>
                </c:pt>
                <c:pt idx="5">
                  <c:v>982.2124</c:v>
                </c:pt>
                <c:pt idx="6">
                  <c:v>982.3227</c:v>
                </c:pt>
                <c:pt idx="7">
                  <c:v>1009.1196</c:v>
                </c:pt>
                <c:pt idx="8">
                  <c:v>976.3453</c:v>
                </c:pt>
                <c:pt idx="9">
                  <c:v>1038.6851</c:v>
                </c:pt>
                <c:pt idx="10">
                  <c:v>1083.3745</c:v>
                </c:pt>
                <c:pt idx="11">
                  <c:v>1097.7208</c:v>
                </c:pt>
                <c:pt idx="12">
                  <c:v>1064.8306</c:v>
                </c:pt>
                <c:pt idx="13">
                  <c:v>1010.1206</c:v>
                </c:pt>
                <c:pt idx="14">
                  <c:v>1009.7573</c:v>
                </c:pt>
                <c:pt idx="15">
                  <c:v>1010.4101</c:v>
                </c:pt>
                <c:pt idx="16">
                  <c:v>1083.5603</c:v>
                </c:pt>
                <c:pt idx="17">
                  <c:v>1041.8276</c:v>
                </c:pt>
                <c:pt idx="18">
                  <c:v>1115.5577</c:v>
                </c:pt>
                <c:pt idx="19">
                  <c:v>1121.575</c:v>
                </c:pt>
                <c:pt idx="20">
                  <c:v>1141.4783</c:v>
                </c:pt>
                <c:pt idx="21">
                  <c:v>1110.4583</c:v>
                </c:pt>
                <c:pt idx="22">
                  <c:v>1155.3556</c:v>
                </c:pt>
                <c:pt idx="23">
                  <c:v>1165.875</c:v>
                </c:pt>
                <c:pt idx="24">
                  <c:v>1111.3143</c:v>
                </c:pt>
                <c:pt idx="25">
                  <c:v>976.5806</c:v>
                </c:pt>
                <c:pt idx="26">
                  <c:v>1019.4516</c:v>
                </c:pt>
                <c:pt idx="27">
                  <c:v>999.4286</c:v>
                </c:pt>
                <c:pt idx="28">
                  <c:v>1048.3103</c:v>
                </c:pt>
                <c:pt idx="29">
                  <c:v>841.0667</c:v>
                </c:pt>
                <c:pt idx="30">
                  <c:v>935.4091</c:v>
                </c:pt>
                <c:pt idx="31">
                  <c:v>908.087</c:v>
                </c:pt>
                <c:pt idx="32">
                  <c:v>967.1786</c:v>
                </c:pt>
                <c:pt idx="33">
                  <c:v>543.2203</c:v>
                </c:pt>
                <c:pt idx="34">
                  <c:v>924.5789</c:v>
                </c:pt>
                <c:pt idx="35">
                  <c:v>765.2979</c:v>
                </c:pt>
                <c:pt idx="36">
                  <c:v>1186.9583</c:v>
                </c:pt>
                <c:pt idx="37">
                  <c:v>921.1304</c:v>
                </c:pt>
                <c:pt idx="38">
                  <c:v>1041.6667</c:v>
                </c:pt>
                <c:pt idx="39">
                  <c:v>1014.2632</c:v>
                </c:pt>
                <c:pt idx="40">
                  <c:v>984.8571</c:v>
                </c:pt>
                <c:pt idx="41">
                  <c:v>930.3667</c:v>
                </c:pt>
                <c:pt idx="42">
                  <c:v>1086.5313</c:v>
                </c:pt>
                <c:pt idx="43">
                  <c:v>971.3538</c:v>
                </c:pt>
                <c:pt idx="44">
                  <c:v>1061.1102</c:v>
                </c:pt>
                <c:pt idx="45">
                  <c:v>1036.9667</c:v>
                </c:pt>
                <c:pt idx="46">
                  <c:v>1026.3017</c:v>
                </c:pt>
                <c:pt idx="47">
                  <c:v>1024.0241</c:v>
                </c:pt>
                <c:pt idx="48">
                  <c:v>1094.9087</c:v>
                </c:pt>
                <c:pt idx="49">
                  <c:v>1049.0641</c:v>
                </c:pt>
                <c:pt idx="50">
                  <c:v>1061.5957</c:v>
                </c:pt>
                <c:pt idx="51">
                  <c:v>1101.3497</c:v>
                </c:pt>
                <c:pt idx="52">
                  <c:v>1070.6857</c:v>
                </c:pt>
                <c:pt idx="53">
                  <c:v>1127.8866</c:v>
                </c:pt>
                <c:pt idx="54">
                  <c:v>1122.0933</c:v>
                </c:pt>
                <c:pt idx="55">
                  <c:v>1151.8603</c:v>
                </c:pt>
                <c:pt idx="56">
                  <c:v>1143.5337</c:v>
                </c:pt>
                <c:pt idx="57">
                  <c:v>1083.3687</c:v>
                </c:pt>
                <c:pt idx="58">
                  <c:v>1112.2847</c:v>
                </c:pt>
                <c:pt idx="59">
                  <c:v>1104.7324</c:v>
                </c:pt>
                <c:pt idx="60">
                  <c:v>1127.5947</c:v>
                </c:pt>
                <c:pt idx="61">
                  <c:v>1191.8373</c:v>
                </c:pt>
                <c:pt idx="62">
                  <c:v>1138.5742</c:v>
                </c:pt>
                <c:pt idx="63">
                  <c:v>1143.7651</c:v>
                </c:pt>
                <c:pt idx="64">
                  <c:v>1174.847</c:v>
                </c:pt>
                <c:pt idx="65">
                  <c:v>1112.4706</c:v>
                </c:pt>
                <c:pt idx="66">
                  <c:v>1149.4025</c:v>
                </c:pt>
                <c:pt idx="67">
                  <c:v>1176.5116</c:v>
                </c:pt>
                <c:pt idx="68">
                  <c:v>1089.3846</c:v>
                </c:pt>
                <c:pt idx="69">
                  <c:v>1183.6465</c:v>
                </c:pt>
                <c:pt idx="70">
                  <c:v>1099.7475</c:v>
                </c:pt>
                <c:pt idx="71">
                  <c:v>1172.8172</c:v>
                </c:pt>
                <c:pt idx="72">
                  <c:v>1351.194</c:v>
                </c:pt>
                <c:pt idx="73">
                  <c:v>1252.3067</c:v>
                </c:pt>
                <c:pt idx="74">
                  <c:v>1140.1707</c:v>
                </c:pt>
                <c:pt idx="75">
                  <c:v>982.4531</c:v>
                </c:pt>
                <c:pt idx="76">
                  <c:v>984.0</c:v>
                </c:pt>
                <c:pt idx="77">
                  <c:v>690.0789</c:v>
                </c:pt>
                <c:pt idx="78">
                  <c:v>916.8913</c:v>
                </c:pt>
                <c:pt idx="79">
                  <c:v>1221.7391</c:v>
                </c:pt>
                <c:pt idx="80">
                  <c:v>1269.9412</c:v>
                </c:pt>
                <c:pt idx="81">
                  <c:v>1073.5143</c:v>
                </c:pt>
                <c:pt idx="82">
                  <c:v>1054.95</c:v>
                </c:pt>
                <c:pt idx="83">
                  <c:v>984.0</c:v>
                </c:pt>
                <c:pt idx="84">
                  <c:v>1095.5556</c:v>
                </c:pt>
                <c:pt idx="85">
                  <c:v>1230.2609</c:v>
                </c:pt>
                <c:pt idx="86">
                  <c:v>1231.8</c:v>
                </c:pt>
                <c:pt idx="87">
                  <c:v>1186.1667</c:v>
                </c:pt>
                <c:pt idx="88">
                  <c:v>931.2414</c:v>
                </c:pt>
                <c:pt idx="89">
                  <c:v>911.0952</c:v>
                </c:pt>
                <c:pt idx="90">
                  <c:v>1241.1333</c:v>
                </c:pt>
                <c:pt idx="91">
                  <c:v>1318.4118</c:v>
                </c:pt>
                <c:pt idx="92">
                  <c:v>1177.0833</c:v>
                </c:pt>
                <c:pt idx="93">
                  <c:v>1228.6897</c:v>
                </c:pt>
                <c:pt idx="94">
                  <c:v>1470.5714</c:v>
                </c:pt>
                <c:pt idx="95">
                  <c:v>1195.8611</c:v>
                </c:pt>
                <c:pt idx="96">
                  <c:v>1170.7532</c:v>
                </c:pt>
                <c:pt idx="97">
                  <c:v>1252.5057</c:v>
                </c:pt>
                <c:pt idx="98">
                  <c:v>1258.9831</c:v>
                </c:pt>
                <c:pt idx="99">
                  <c:v>1125.7176</c:v>
                </c:pt>
                <c:pt idx="100">
                  <c:v>1116.0754</c:v>
                </c:pt>
                <c:pt idx="101">
                  <c:v>1129.1159</c:v>
                </c:pt>
                <c:pt idx="102">
                  <c:v>1188.1429</c:v>
                </c:pt>
                <c:pt idx="103">
                  <c:v>1198.5207</c:v>
                </c:pt>
                <c:pt idx="104">
                  <c:v>1184.7632</c:v>
                </c:pt>
              </c:numCache>
            </c:numRef>
          </c:xVal>
          <c:yVal>
            <c:numRef>
              <c:f>Sheet1!$B$2:$B$106</c:f>
              <c:numCache>
                <c:formatCode>General</c:formatCode>
                <c:ptCount val="105"/>
                <c:pt idx="0">
                  <c:v>0.25672645739910316</c:v>
                </c:pt>
                <c:pt idx="1">
                  <c:v>0.28355196770938446</c:v>
                </c:pt>
                <c:pt idx="2">
                  <c:v>0.27372627372627373</c:v>
                </c:pt>
                <c:pt idx="3">
                  <c:v>0.2970059880239521</c:v>
                </c:pt>
                <c:pt idx="4">
                  <c:v>0.2574123989218329</c:v>
                </c:pt>
                <c:pt idx="5">
                  <c:v>0.2817955112219451</c:v>
                </c:pt>
                <c:pt idx="6">
                  <c:v>0.31572327044025156</c:v>
                </c:pt>
                <c:pt idx="7">
                  <c:v>0.30071942446043165</c:v>
                </c:pt>
                <c:pt idx="8">
                  <c:v>0.3338323353293413</c:v>
                </c:pt>
                <c:pt idx="9">
                  <c:v>0.30361757105943155</c:v>
                </c:pt>
                <c:pt idx="10">
                  <c:v>0.291932059447983</c:v>
                </c:pt>
                <c:pt idx="11">
                  <c:v>0.30794341675734493</c:v>
                </c:pt>
                <c:pt idx="12">
                  <c:v>0.30885311871227367</c:v>
                </c:pt>
                <c:pt idx="13">
                  <c:v>0.3129855715871254</c:v>
                </c:pt>
                <c:pt idx="14">
                  <c:v>0.28691476590636256</c:v>
                </c:pt>
                <c:pt idx="15">
                  <c:v>0.2875605815831987</c:v>
                </c:pt>
                <c:pt idx="16">
                  <c:v>0.24066390041493776</c:v>
                </c:pt>
                <c:pt idx="17">
                  <c:v>0.20092378752886836</c:v>
                </c:pt>
                <c:pt idx="18">
                  <c:v>0.18571428571428572</c:v>
                </c:pt>
                <c:pt idx="19">
                  <c:v>0.18181818181818182</c:v>
                </c:pt>
                <c:pt idx="20">
                  <c:v>0.17557251908396945</c:v>
                </c:pt>
                <c:pt idx="21">
                  <c:v>0.22857142857142856</c:v>
                </c:pt>
                <c:pt idx="22">
                  <c:v>0.24725274725274726</c:v>
                </c:pt>
                <c:pt idx="23">
                  <c:v>0.1889763779527559</c:v>
                </c:pt>
                <c:pt idx="24">
                  <c:v>0.16129032258064516</c:v>
                </c:pt>
                <c:pt idx="25">
                  <c:v>0.18674698795180722</c:v>
                </c:pt>
                <c:pt idx="26">
                  <c:v>0.2052980132450331</c:v>
                </c:pt>
                <c:pt idx="27">
                  <c:v>0.20958083832335328</c:v>
                </c:pt>
                <c:pt idx="28">
                  <c:v>0.18012422360248448</c:v>
                </c:pt>
                <c:pt idx="29">
                  <c:v>0.2158273381294964</c:v>
                </c:pt>
                <c:pt idx="30">
                  <c:v>0.2037037037037037</c:v>
                </c:pt>
                <c:pt idx="31">
                  <c:v>0.19491525423728814</c:v>
                </c:pt>
                <c:pt idx="32">
                  <c:v>0.2413793103448276</c:v>
                </c:pt>
                <c:pt idx="33">
                  <c:v>0.3532934131736527</c:v>
                </c:pt>
                <c:pt idx="34">
                  <c:v>0.27941176470588236</c:v>
                </c:pt>
                <c:pt idx="35">
                  <c:v>0.31543624161073824</c:v>
                </c:pt>
                <c:pt idx="36">
                  <c:v>0.19047619047619047</c:v>
                </c:pt>
                <c:pt idx="37">
                  <c:v>0.16428571428571428</c:v>
                </c:pt>
                <c:pt idx="38">
                  <c:v>0.16326530612244897</c:v>
                </c:pt>
                <c:pt idx="39">
                  <c:v>0.1450381679389313</c:v>
                </c:pt>
                <c:pt idx="40">
                  <c:v>0.1761006289308176</c:v>
                </c:pt>
                <c:pt idx="41">
                  <c:v>0.18633540372670807</c:v>
                </c:pt>
                <c:pt idx="42">
                  <c:v>0.17777777777777778</c:v>
                </c:pt>
                <c:pt idx="43">
                  <c:v>0.2145214521452145</c:v>
                </c:pt>
                <c:pt idx="44">
                  <c:v>0.22965641952983726</c:v>
                </c:pt>
                <c:pt idx="45">
                  <c:v>0.24793388429752067</c:v>
                </c:pt>
                <c:pt idx="46">
                  <c:v>0.22524271844660193</c:v>
                </c:pt>
                <c:pt idx="47">
                  <c:v>0.26391096979332274</c:v>
                </c:pt>
                <c:pt idx="48">
                  <c:v>0.27713382507903056</c:v>
                </c:pt>
                <c:pt idx="49">
                  <c:v>0.31758957654723124</c:v>
                </c:pt>
                <c:pt idx="50">
                  <c:v>0.27976190476190477</c:v>
                </c:pt>
                <c:pt idx="51">
                  <c:v>0.26779026217228463</c:v>
                </c:pt>
                <c:pt idx="52">
                  <c:v>0.291319857312723</c:v>
                </c:pt>
                <c:pt idx="53">
                  <c:v>0.2840409956076135</c:v>
                </c:pt>
                <c:pt idx="54">
                  <c:v>0.2862595419847328</c:v>
                </c:pt>
                <c:pt idx="55">
                  <c:v>0.27474747474747474</c:v>
                </c:pt>
                <c:pt idx="56">
                  <c:v>0.2824956672443674</c:v>
                </c:pt>
                <c:pt idx="57">
                  <c:v>0.30264993026499304</c:v>
                </c:pt>
                <c:pt idx="58">
                  <c:v>0.3185745140388769</c:v>
                </c:pt>
                <c:pt idx="59">
                  <c:v>0.31683168316831684</c:v>
                </c:pt>
                <c:pt idx="60">
                  <c:v>0.3292240754169688</c:v>
                </c:pt>
                <c:pt idx="61">
                  <c:v>0.3477366255144033</c:v>
                </c:pt>
                <c:pt idx="62">
                  <c:v>0.3402854006586169</c:v>
                </c:pt>
                <c:pt idx="63">
                  <c:v>0.3881578947368421</c:v>
                </c:pt>
                <c:pt idx="64">
                  <c:v>0.34238603297769155</c:v>
                </c:pt>
                <c:pt idx="65">
                  <c:v>0.33116883116883117</c:v>
                </c:pt>
                <c:pt idx="66">
                  <c:v>0.3062261753494282</c:v>
                </c:pt>
                <c:pt idx="67">
                  <c:v>0.3089080459770115</c:v>
                </c:pt>
                <c:pt idx="68">
                  <c:v>0.3293918918918919</c:v>
                </c:pt>
                <c:pt idx="69">
                  <c:v>0.2727272727272727</c:v>
                </c:pt>
                <c:pt idx="70">
                  <c:v>0.27123287671232876</c:v>
                </c:pt>
                <c:pt idx="71">
                  <c:v>0.27844311377245506</c:v>
                </c:pt>
                <c:pt idx="72">
                  <c:v>0.2375886524822695</c:v>
                </c:pt>
                <c:pt idx="73">
                  <c:v>0.2737226277372263</c:v>
                </c:pt>
                <c:pt idx="74">
                  <c:v>0.3014705882352941</c:v>
                </c:pt>
                <c:pt idx="75">
                  <c:v>0.34972677595628415</c:v>
                </c:pt>
                <c:pt idx="76">
                  <c:v>0.3148148148148148</c:v>
                </c:pt>
                <c:pt idx="77">
                  <c:v>0.41530054644808745</c:v>
                </c:pt>
                <c:pt idx="78">
                  <c:v>0.3333333333333333</c:v>
                </c:pt>
                <c:pt idx="79">
                  <c:v>0.2072072072072072</c:v>
                </c:pt>
                <c:pt idx="80">
                  <c:v>0.1619047619047619</c:v>
                </c:pt>
                <c:pt idx="81">
                  <c:v>0.26515151515151514</c:v>
                </c:pt>
                <c:pt idx="82">
                  <c:v>0.20833333333333334</c:v>
                </c:pt>
                <c:pt idx="83">
                  <c:v>0.2235294117647059</c:v>
                </c:pt>
                <c:pt idx="84">
                  <c:v>0.1956521739130435</c:v>
                </c:pt>
                <c:pt idx="85">
                  <c:v>0.21904761904761905</c:v>
                </c:pt>
                <c:pt idx="86">
                  <c:v>0.2459016393442623</c:v>
                </c:pt>
                <c:pt idx="87">
                  <c:v>0.2459016393442623</c:v>
                </c:pt>
                <c:pt idx="88">
                  <c:v>0.2815533980582524</c:v>
                </c:pt>
                <c:pt idx="89">
                  <c:v>0.2441860465116279</c:v>
                </c:pt>
                <c:pt idx="90">
                  <c:v>0.19480519480519481</c:v>
                </c:pt>
                <c:pt idx="91">
                  <c:v>0.2</c:v>
                </c:pt>
                <c:pt idx="92">
                  <c:v>0.16666666666666666</c:v>
                </c:pt>
                <c:pt idx="93">
                  <c:v>0.2</c:v>
                </c:pt>
                <c:pt idx="94">
                  <c:v>0.14736842105263157</c:v>
                </c:pt>
                <c:pt idx="95">
                  <c:v>0.18</c:v>
                </c:pt>
                <c:pt idx="96">
                  <c:v>0.22713864306784662</c:v>
                </c:pt>
                <c:pt idx="97">
                  <c:v>0.23513513513513515</c:v>
                </c:pt>
                <c:pt idx="98">
                  <c:v>0.24380165289256198</c:v>
                </c:pt>
                <c:pt idx="99">
                  <c:v>0.261136712749616</c:v>
                </c:pt>
                <c:pt idx="100">
                  <c:v>0.27838258164852253</c:v>
                </c:pt>
                <c:pt idx="101">
                  <c:v>0.2624</c:v>
                </c:pt>
                <c:pt idx="102">
                  <c:v>0.24034334763948498</c:v>
                </c:pt>
                <c:pt idx="103">
                  <c:v>0.218018018018018</c:v>
                </c:pt>
                <c:pt idx="104">
                  <c:v>0.265734265734265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1.7296</c:v>
                </c:pt>
                <c:pt idx="1">
                  <c:v>1203.8644</c:v>
                </c:pt>
                <c:pt idx="2">
                  <c:v>1220.4018</c:v>
                </c:pt>
                <c:pt idx="3">
                  <c:v>1200.9277</c:v>
                </c:pt>
                <c:pt idx="4">
                  <c:v>1202.3865</c:v>
                </c:pt>
                <c:pt idx="5">
                  <c:v>1227.3846</c:v>
                </c:pt>
                <c:pt idx="6">
                  <c:v>1130.0789</c:v>
                </c:pt>
                <c:pt idx="7">
                  <c:v>1258.056</c:v>
                </c:pt>
                <c:pt idx="8">
                  <c:v>1262.4214</c:v>
                </c:pt>
                <c:pt idx="9">
                  <c:v>1307.152</c:v>
                </c:pt>
                <c:pt idx="10">
                  <c:v>1280.2967</c:v>
                </c:pt>
                <c:pt idx="11">
                  <c:v>1147.0442</c:v>
                </c:pt>
                <c:pt idx="12">
                  <c:v>1124.3495</c:v>
                </c:pt>
                <c:pt idx="13">
                  <c:v>1232.1703</c:v>
                </c:pt>
                <c:pt idx="14">
                  <c:v>1250.2118</c:v>
                </c:pt>
                <c:pt idx="15">
                  <c:v>1265.4267</c:v>
                </c:pt>
                <c:pt idx="16">
                  <c:v>1362.766</c:v>
                </c:pt>
                <c:pt idx="17">
                  <c:v>1343.125</c:v>
                </c:pt>
                <c:pt idx="18">
                  <c:v>1314.3171</c:v>
                </c:pt>
                <c:pt idx="19">
                  <c:v>1303.4222</c:v>
                </c:pt>
                <c:pt idx="20">
                  <c:v>1219.36</c:v>
                </c:pt>
                <c:pt idx="21">
                  <c:v>966.1299</c:v>
                </c:pt>
                <c:pt idx="22">
                  <c:v>940.8548</c:v>
                </c:pt>
                <c:pt idx="23">
                  <c:v>990.9792</c:v>
                </c:pt>
                <c:pt idx="24">
                  <c:v>883.7292</c:v>
                </c:pt>
                <c:pt idx="25">
                  <c:v>948.625</c:v>
                </c:pt>
                <c:pt idx="26">
                  <c:v>1217.4138</c:v>
                </c:pt>
                <c:pt idx="27">
                  <c:v>1160.0313</c:v>
                </c:pt>
                <c:pt idx="28">
                  <c:v>1189.1667</c:v>
                </c:pt>
                <c:pt idx="29">
                  <c:v>1152.2381</c:v>
                </c:pt>
                <c:pt idx="30">
                  <c:v>1168.2105</c:v>
                </c:pt>
                <c:pt idx="31">
                  <c:v>1234.8</c:v>
                </c:pt>
                <c:pt idx="32">
                  <c:v>1157.8421</c:v>
                </c:pt>
                <c:pt idx="33">
                  <c:v>1181.9231</c:v>
                </c:pt>
                <c:pt idx="34">
                  <c:v>1169.7838</c:v>
                </c:pt>
                <c:pt idx="35">
                  <c:v>975.9394</c:v>
                </c:pt>
                <c:pt idx="36">
                  <c:v>1101.375</c:v>
                </c:pt>
                <c:pt idx="37">
                  <c:v>992.0588</c:v>
                </c:pt>
                <c:pt idx="38">
                  <c:v>939.6</c:v>
                </c:pt>
                <c:pt idx="39">
                  <c:v>851.8929</c:v>
                </c:pt>
                <c:pt idx="40">
                  <c:v>957.4146</c:v>
                </c:pt>
                <c:pt idx="41">
                  <c:v>1258.5385</c:v>
                </c:pt>
                <c:pt idx="42">
                  <c:v>1186.0</c:v>
                </c:pt>
                <c:pt idx="43">
                  <c:v>970.1852</c:v>
                </c:pt>
                <c:pt idx="44">
                  <c:v>1121.3065</c:v>
                </c:pt>
                <c:pt idx="45">
                  <c:v>1170.4176</c:v>
                </c:pt>
                <c:pt idx="46">
                  <c:v>1286.9508</c:v>
                </c:pt>
                <c:pt idx="47">
                  <c:v>1340.4675</c:v>
                </c:pt>
                <c:pt idx="48">
                  <c:v>1185.3984</c:v>
                </c:pt>
                <c:pt idx="49">
                  <c:v>1179.3987</c:v>
                </c:pt>
                <c:pt idx="50">
                  <c:v>1069.8818</c:v>
                </c:pt>
                <c:pt idx="51">
                  <c:v>1031.2514</c:v>
                </c:pt>
              </c:numCache>
            </c:numRef>
          </c:xVal>
          <c:yVal>
            <c:numRef>
              <c:f>Sheet1!$B$109:$B$160</c:f>
              <c:numCache>
                <c:formatCode>General</c:formatCode>
                <c:ptCount val="52"/>
                <c:pt idx="0">
                  <c:v>0.2857142857142857</c:v>
                </c:pt>
                <c:pt idx="1">
                  <c:v>0.2689969604863222</c:v>
                </c:pt>
                <c:pt idx="2">
                  <c:v>0.31197771587743733</c:v>
                </c:pt>
                <c:pt idx="3">
                  <c:v>0.3093167701863354</c:v>
                </c:pt>
                <c:pt idx="4">
                  <c:v>0.3141122913505311</c:v>
                </c:pt>
                <c:pt idx="5">
                  <c:v>0.31001589825119236</c:v>
                </c:pt>
                <c:pt idx="6">
                  <c:v>0.33799237611181704</c:v>
                </c:pt>
                <c:pt idx="7">
                  <c:v>0.3026634382566586</c:v>
                </c:pt>
                <c:pt idx="8">
                  <c:v>0.3136094674556213</c:v>
                </c:pt>
                <c:pt idx="9">
                  <c:v>0.31433823529411764</c:v>
                </c:pt>
                <c:pt idx="10">
                  <c:v>0.3466666666666667</c:v>
                </c:pt>
                <c:pt idx="11">
                  <c:v>0.3688888888888889</c:v>
                </c:pt>
                <c:pt idx="12">
                  <c:v>0.37318840579710144</c:v>
                </c:pt>
                <c:pt idx="13">
                  <c:v>0.3215547703180212</c:v>
                </c:pt>
                <c:pt idx="14">
                  <c:v>0.3386454183266932</c:v>
                </c:pt>
                <c:pt idx="15">
                  <c:v>0.3333333333333333</c:v>
                </c:pt>
                <c:pt idx="16">
                  <c:v>0.2596685082872928</c:v>
                </c:pt>
                <c:pt idx="17">
                  <c:v>0.22857142857142856</c:v>
                </c:pt>
                <c:pt idx="18">
                  <c:v>0.23699421965317918</c:v>
                </c:pt>
                <c:pt idx="19">
                  <c:v>0.24456521739130435</c:v>
                </c:pt>
                <c:pt idx="20">
                  <c:v>0.26455026455026454</c:v>
                </c:pt>
                <c:pt idx="21">
                  <c:v>0.35648148148148145</c:v>
                </c:pt>
                <c:pt idx="22">
                  <c:v>0.31313131313131315</c:v>
                </c:pt>
                <c:pt idx="23">
                  <c:v>0.32432432432432434</c:v>
                </c:pt>
                <c:pt idx="24">
                  <c:v>0.3310344827586207</c:v>
                </c:pt>
                <c:pt idx="25">
                  <c:v>0.3125</c:v>
                </c:pt>
                <c:pt idx="26">
                  <c:v>0.21804511278195488</c:v>
                </c:pt>
                <c:pt idx="27">
                  <c:v>0.24615384615384617</c:v>
                </c:pt>
                <c:pt idx="28">
                  <c:v>0.23255813953488372</c:v>
                </c:pt>
                <c:pt idx="29">
                  <c:v>0.21649484536082475</c:v>
                </c:pt>
                <c:pt idx="30">
                  <c:v>0.2289156626506024</c:v>
                </c:pt>
                <c:pt idx="31">
                  <c:v>0.2112676056338028</c:v>
                </c:pt>
                <c:pt idx="32">
                  <c:v>0.23170731707317074</c:v>
                </c:pt>
                <c:pt idx="33">
                  <c:v>0.26</c:v>
                </c:pt>
                <c:pt idx="34">
                  <c:v>0.25517241379310346</c:v>
                </c:pt>
                <c:pt idx="35">
                  <c:v>0.2972972972972973</c:v>
                </c:pt>
                <c:pt idx="36">
                  <c:v>0.22857142857142856</c:v>
                </c:pt>
                <c:pt idx="37">
                  <c:v>0.20987654320987653</c:v>
                </c:pt>
                <c:pt idx="38">
                  <c:v>0.2054794520547945</c:v>
                </c:pt>
                <c:pt idx="39">
                  <c:v>0.22764227642276422</c:v>
                </c:pt>
                <c:pt idx="40">
                  <c:v>0.21808510638297873</c:v>
                </c:pt>
                <c:pt idx="41">
                  <c:v>0.15757575757575756</c:v>
                </c:pt>
                <c:pt idx="42">
                  <c:v>0.16296296296296298</c:v>
                </c:pt>
                <c:pt idx="43">
                  <c:v>0.21774193548387097</c:v>
                </c:pt>
                <c:pt idx="44">
                  <c:v>0.20327868852459016</c:v>
                </c:pt>
                <c:pt idx="45">
                  <c:v>0.19444444444444445</c:v>
                </c:pt>
                <c:pt idx="46">
                  <c:v>0.17888563049853373</c:v>
                </c:pt>
                <c:pt idx="47">
                  <c:v>0.1891891891891892</c:v>
                </c:pt>
                <c:pt idx="48">
                  <c:v>0.2188034188034188</c:v>
                </c:pt>
                <c:pt idx="49">
                  <c:v>0.23867069486404835</c:v>
                </c:pt>
                <c:pt idx="50">
                  <c:v>0.3078089461713419</c:v>
                </c:pt>
                <c:pt idx="51">
                  <c:v>0.307560137457044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65.8783467370927</c:v>
                </c:pt>
              </c:numCache>
            </c:numRef>
          </c:xVal>
          <c:yVal>
            <c:numRef>
              <c:f>Sheet1!$B$163:$B$164</c:f>
              <c:numCache>
                <c:formatCode>General</c:formatCode>
                <c:ptCount val="2"/>
                <c:pt idx="0">
                  <c:v>0.30984426474663607</c:v>
                </c:pt>
                <c:pt idx="1">
                  <c:v>0.309844264746636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65.8783467370927</c:v>
                </c:pt>
                <c:pt idx="1">
                  <c:v>265.8783467370927</c:v>
                </c:pt>
              </c:numCache>
            </c:numRef>
          </c:xVal>
          <c:yVal>
            <c:numRef>
              <c:f>Sheet1!$B$167:$B$168</c:f>
              <c:numCache>
                <c:formatCode>General</c:formatCode>
                <c:ptCount val="2"/>
                <c:pt idx="0">
                  <c:v>0.309844264746636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30.63105061673184</c:v>
                </c:pt>
              </c:numCache>
            </c:numRef>
          </c:xVal>
          <c:yVal>
            <c:numRef>
              <c:f>Sheet1!$B$171:$B$172</c:f>
              <c:numCache>
                <c:formatCode>General</c:formatCode>
                <c:ptCount val="2"/>
                <c:pt idx="0">
                  <c:v>0.3067266798892133</c:v>
                </c:pt>
                <c:pt idx="1">
                  <c:v>0.306726679889213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30.63105061673184</c:v>
                </c:pt>
                <c:pt idx="1">
                  <c:v>330.63105061673184</c:v>
                </c:pt>
              </c:numCache>
            </c:numRef>
          </c:xVal>
          <c:yVal>
            <c:numRef>
              <c:f>Sheet1!$B$175:$B$176</c:f>
              <c:numCache>
                <c:formatCode>General</c:formatCode>
                <c:ptCount val="2"/>
                <c:pt idx="0">
                  <c:v>0.306726679889213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91.6326998272693</c:v>
                </c:pt>
              </c:numCache>
            </c:numRef>
          </c:xVal>
          <c:yVal>
            <c:numRef>
              <c:f>Sheet1!$B$179:$B$180</c:f>
              <c:numCache>
                <c:formatCode>General</c:formatCode>
                <c:ptCount val="2"/>
                <c:pt idx="0">
                  <c:v>0.21712686067545736</c:v>
                </c:pt>
                <c:pt idx="1">
                  <c:v>0.217126860675457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91.6326998272693</c:v>
                </c:pt>
                <c:pt idx="1">
                  <c:v>2191.6326998272693</c:v>
                </c:pt>
              </c:numCache>
            </c:numRef>
          </c:xVal>
          <c:yVal>
            <c:numRef>
              <c:f>Sheet1!$B$183:$B$184</c:f>
              <c:numCache>
                <c:formatCode>General</c:formatCode>
                <c:ptCount val="2"/>
                <c:pt idx="0">
                  <c:v>0.217126860675457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1.7296</c:v>
                </c:pt>
                <c:pt idx="1">
                  <c:v>1203.8644</c:v>
                </c:pt>
                <c:pt idx="2">
                  <c:v>1220.4018</c:v>
                </c:pt>
                <c:pt idx="3">
                  <c:v>1200.9277</c:v>
                </c:pt>
                <c:pt idx="4">
                  <c:v>1202.3865</c:v>
                </c:pt>
                <c:pt idx="5">
                  <c:v>1227.3846</c:v>
                </c:pt>
                <c:pt idx="6">
                  <c:v>1130.0789</c:v>
                </c:pt>
                <c:pt idx="7">
                  <c:v>1258.056</c:v>
                </c:pt>
                <c:pt idx="8">
                  <c:v>1262.4214</c:v>
                </c:pt>
                <c:pt idx="9">
                  <c:v>1307.152</c:v>
                </c:pt>
                <c:pt idx="10">
                  <c:v>1280.2967</c:v>
                </c:pt>
                <c:pt idx="11">
                  <c:v>1147.0442</c:v>
                </c:pt>
                <c:pt idx="12">
                  <c:v>1124.3495</c:v>
                </c:pt>
                <c:pt idx="13">
                  <c:v>1232.1703</c:v>
                </c:pt>
                <c:pt idx="14">
                  <c:v>1250.2118</c:v>
                </c:pt>
                <c:pt idx="15">
                  <c:v>1265.4267</c:v>
                </c:pt>
                <c:pt idx="16">
                  <c:v>1362.766</c:v>
                </c:pt>
                <c:pt idx="17">
                  <c:v>1343.125</c:v>
                </c:pt>
                <c:pt idx="18">
                  <c:v>1314.3171</c:v>
                </c:pt>
                <c:pt idx="19">
                  <c:v>1303.4222</c:v>
                </c:pt>
                <c:pt idx="20">
                  <c:v>1219.36</c:v>
                </c:pt>
                <c:pt idx="21">
                  <c:v>966.1299</c:v>
                </c:pt>
                <c:pt idx="22">
                  <c:v>940.8548</c:v>
                </c:pt>
                <c:pt idx="23">
                  <c:v>990.9792</c:v>
                </c:pt>
                <c:pt idx="24">
                  <c:v>883.7292</c:v>
                </c:pt>
                <c:pt idx="25">
                  <c:v>948.625</c:v>
                </c:pt>
                <c:pt idx="26">
                  <c:v>1217.4138</c:v>
                </c:pt>
                <c:pt idx="27">
                  <c:v>1160.0313</c:v>
                </c:pt>
                <c:pt idx="28">
                  <c:v>1189.1667</c:v>
                </c:pt>
                <c:pt idx="29">
                  <c:v>1152.2381</c:v>
                </c:pt>
                <c:pt idx="30">
                  <c:v>1168.2105</c:v>
                </c:pt>
                <c:pt idx="31">
                  <c:v>1234.8</c:v>
                </c:pt>
                <c:pt idx="32">
                  <c:v>1157.8421</c:v>
                </c:pt>
                <c:pt idx="33">
                  <c:v>1181.9231</c:v>
                </c:pt>
                <c:pt idx="34">
                  <c:v>1169.7838</c:v>
                </c:pt>
                <c:pt idx="35">
                  <c:v>975.9394</c:v>
                </c:pt>
                <c:pt idx="36">
                  <c:v>1101.375</c:v>
                </c:pt>
                <c:pt idx="37">
                  <c:v>992.0588</c:v>
                </c:pt>
                <c:pt idx="38">
                  <c:v>939.6</c:v>
                </c:pt>
                <c:pt idx="39">
                  <c:v>851.8929</c:v>
                </c:pt>
                <c:pt idx="40">
                  <c:v>957.4146</c:v>
                </c:pt>
                <c:pt idx="41">
                  <c:v>1258.5385</c:v>
                </c:pt>
                <c:pt idx="42">
                  <c:v>1186.0</c:v>
                </c:pt>
                <c:pt idx="43">
                  <c:v>970.1852</c:v>
                </c:pt>
                <c:pt idx="44">
                  <c:v>1121.3065</c:v>
                </c:pt>
                <c:pt idx="45">
                  <c:v>1170.4176</c:v>
                </c:pt>
                <c:pt idx="46">
                  <c:v>1286.9508</c:v>
                </c:pt>
                <c:pt idx="47">
                  <c:v>1340.4675</c:v>
                </c:pt>
                <c:pt idx="48">
                  <c:v>1185.3984</c:v>
                </c:pt>
                <c:pt idx="49">
                  <c:v>1179.3987</c:v>
                </c:pt>
                <c:pt idx="50">
                  <c:v>1069.8818</c:v>
                </c:pt>
                <c:pt idx="51">
                  <c:v>1031.2514</c:v>
                </c:pt>
                <c:pt idx="52">
                  <c:v>330.63105061673184</c:v>
                </c:pt>
                <c:pt idx="53">
                  <c:v>265.8783467370927</c:v>
                </c:pt>
                <c:pt idx="54">
                  <c:v>2191.6326998272693</c:v>
                </c:pt>
              </c:numCache>
            </c:numRef>
          </c:xVal>
          <c:yVal>
            <c:numRef>
              <c:f>Sheet1!$B$187:$B$241</c:f>
              <c:numCache>
                <c:formatCode>General</c:formatCode>
                <c:ptCount val="55"/>
                <c:pt idx="0">
                  <c:v>0.2647867533044003</c:v>
                </c:pt>
                <c:pt idx="1">
                  <c:v>0.264683971184815</c:v>
                </c:pt>
                <c:pt idx="2">
                  <c:v>0.2638877612239619</c:v>
                </c:pt>
                <c:pt idx="3">
                  <c:v>0.26482536159636927</c:v>
                </c:pt>
                <c:pt idx="4">
                  <c:v>0.2647551261850657</c:v>
                </c:pt>
                <c:pt idx="5">
                  <c:v>0.26355156720829764</c:v>
                </c:pt>
                <c:pt idx="6">
                  <c:v>0.26823644920835743</c:v>
                </c:pt>
                <c:pt idx="7">
                  <c:v>0.2620748614266566</c:v>
                </c:pt>
                <c:pt idx="8">
                  <c:v>0.26186468479894554</c:v>
                </c:pt>
                <c:pt idx="9">
                  <c:v>0.25971108451867553</c:v>
                </c:pt>
                <c:pt idx="10">
                  <c:v>0.2610040602803853</c:v>
                </c:pt>
                <c:pt idx="11">
                  <c:v>0.26741963756633014</c:v>
                </c:pt>
                <c:pt idx="12">
                  <c:v>0.26851229700484974</c:v>
                </c:pt>
                <c:pt idx="13">
                  <c:v>0.2633211548091506</c:v>
                </c:pt>
                <c:pt idx="14">
                  <c:v>0.2624525284223708</c:v>
                </c:pt>
                <c:pt idx="15">
                  <c:v>0.261719991570545</c:v>
                </c:pt>
                <c:pt idx="16">
                  <c:v>0.25703349186427477</c:v>
                </c:pt>
                <c:pt idx="17">
                  <c:v>0.2579791278071144</c:v>
                </c:pt>
                <c:pt idx="18">
                  <c:v>0.25936611348389926</c:v>
                </c:pt>
                <c:pt idx="19">
                  <c:v>0.2598906595372389</c:v>
                </c:pt>
                <c:pt idx="20">
                  <c:v>0.2639379197456894</c:v>
                </c:pt>
                <c:pt idx="21">
                  <c:v>0.2761299407409994</c:v>
                </c:pt>
                <c:pt idx="22">
                  <c:v>0.27734683616479994</c:v>
                </c:pt>
                <c:pt idx="23">
                  <c:v>0.2749335458917348</c:v>
                </c:pt>
                <c:pt idx="24">
                  <c:v>0.2800972063402636</c:v>
                </c:pt>
                <c:pt idx="25">
                  <c:v>0.2769727319744302</c:v>
                </c:pt>
                <c:pt idx="26">
                  <c:v>0.26403162152624815</c:v>
                </c:pt>
                <c:pt idx="27">
                  <c:v>0.2667943604137792</c:v>
                </c:pt>
                <c:pt idx="28">
                  <c:v>0.26539160691604435</c:v>
                </c:pt>
                <c:pt idx="29">
                  <c:v>0.26716957196256685</c:v>
                </c:pt>
                <c:pt idx="30">
                  <c:v>0.2664005645019787</c:v>
                </c:pt>
                <c:pt idx="31">
                  <c:v>0.26319454522517394</c:v>
                </c:pt>
                <c:pt idx="32">
                  <c:v>0.26689976167675283</c:v>
                </c:pt>
                <c:pt idx="33">
                  <c:v>0.2657403574132468</c:v>
                </c:pt>
                <c:pt idx="34">
                  <c:v>0.26632481637159483</c:v>
                </c:pt>
                <c:pt idx="35">
                  <c:v>0.2756576523757794</c:v>
                </c:pt>
                <c:pt idx="36">
                  <c:v>0.26961842769925276</c:v>
                </c:pt>
                <c:pt idx="37">
                  <c:v>0.2748815674505205</c:v>
                </c:pt>
                <c:pt idx="38">
                  <c:v>0.27740724978839726</c:v>
                </c:pt>
                <c:pt idx="39">
                  <c:v>0.2816299974184687</c:v>
                </c:pt>
                <c:pt idx="40">
                  <c:v>0.27654954773313983</c:v>
                </c:pt>
                <c:pt idx="41">
                  <c:v>0.26205163097289047</c:v>
                </c:pt>
                <c:pt idx="42">
                  <c:v>0.26554407091177723</c:v>
                </c:pt>
                <c:pt idx="43">
                  <c:v>0.2759346941935223</c:v>
                </c:pt>
                <c:pt idx="44">
                  <c:v>0.2686588053381353</c:v>
                </c:pt>
                <c:pt idx="45">
                  <c:v>0.2662943014252799</c:v>
                </c:pt>
                <c:pt idx="46">
                  <c:v>0.26068369186089296</c:v>
                </c:pt>
                <c:pt idx="47">
                  <c:v>0.25810707585039616</c:v>
                </c:pt>
                <c:pt idx="48">
                  <c:v>0.2655730355563072</c:v>
                </c:pt>
                <c:pt idx="49">
                  <c:v>0.2658618972215103</c:v>
                </c:pt>
                <c:pt idx="50">
                  <c:v>0.2711346998786244</c:v>
                </c:pt>
                <c:pt idx="51">
                  <c:v>0.2729945998188654</c:v>
                </c:pt>
                <c:pt idx="52">
                  <c:v>0.3067266798892133</c:v>
                </c:pt>
                <c:pt idx="53">
                  <c:v>0.30984426474663607</c:v>
                </c:pt>
                <c:pt idx="54">
                  <c:v>0.217126860675457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30.0"/>
          <c:min val="21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836065573770494"/>
          <c:min val="0.11603053435114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55798022795592</c:v>
                </c:pt>
                <c:pt idx="1">
                  <c:v>0.7279879821788044</c:v>
                </c:pt>
                <c:pt idx="2">
                  <c:v>0.6655420844802772</c:v>
                </c:pt>
                <c:pt idx="3">
                  <c:v>0.6828870941134627</c:v>
                </c:pt>
                <c:pt idx="4">
                  <c:v>0.6663322369862729</c:v>
                </c:pt>
                <c:pt idx="5">
                  <c:v>0.6286273896621325</c:v>
                </c:pt>
                <c:pt idx="6">
                  <c:v>0.6172497470564104</c:v>
                </c:pt>
                <c:pt idx="7">
                  <c:v>0.6062041070153312</c:v>
                </c:pt>
                <c:pt idx="8">
                  <c:v>0.635866395972951</c:v>
                </c:pt>
                <c:pt idx="9">
                  <c:v>0.6497223321176048</c:v>
                </c:pt>
                <c:pt idx="10">
                  <c:v>0.6755980982513797</c:v>
                </c:pt>
                <c:pt idx="11">
                  <c:v>0.7398884416931152</c:v>
                </c:pt>
                <c:pt idx="12">
                  <c:v>0.7955442389337223</c:v>
                </c:pt>
                <c:pt idx="13">
                  <c:v>0.7894334068523104</c:v>
                </c:pt>
                <c:pt idx="14">
                  <c:v>0.8179901388459843</c:v>
                </c:pt>
                <c:pt idx="15">
                  <c:v>0.8617574487397442</c:v>
                </c:pt>
                <c:pt idx="16">
                  <c:v>0.8693167590248593</c:v>
                </c:pt>
                <c:pt idx="17">
                  <c:v>0.8215950619914452</c:v>
                </c:pt>
                <c:pt idx="18">
                  <c:v>0.8357041279319101</c:v>
                </c:pt>
                <c:pt idx="19">
                  <c:v>0.8380662797662258</c:v>
                </c:pt>
                <c:pt idx="20">
                  <c:v>0.9073600454911978</c:v>
                </c:pt>
                <c:pt idx="21">
                  <c:v>0.8770028846641335</c:v>
                </c:pt>
                <c:pt idx="22">
                  <c:v>0.8688976529729803</c:v>
                </c:pt>
                <c:pt idx="23">
                  <c:v>0.79399506488223</c:v>
                </c:pt>
                <c:pt idx="24">
                  <c:v>0.7193017706423076</c:v>
                </c:pt>
                <c:pt idx="25">
                  <c:v>0.7468146226574839</c:v>
                </c:pt>
                <c:pt idx="26">
                  <c:v>0.7184979208260717</c:v>
                </c:pt>
                <c:pt idx="27">
                  <c:v>0.7533277909195213</c:v>
                </c:pt>
                <c:pt idx="28">
                  <c:v>0.7427061657117118</c:v>
                </c:pt>
                <c:pt idx="29">
                  <c:v>0.7347261174690605</c:v>
                </c:pt>
                <c:pt idx="30">
                  <c:v>0.755630036289251</c:v>
                </c:pt>
                <c:pt idx="31">
                  <c:v>0.7126212428611655</c:v>
                </c:pt>
                <c:pt idx="32">
                  <c:v>0.7308299880386114</c:v>
                </c:pt>
                <c:pt idx="33">
                  <c:v>0.7470698331892761</c:v>
                </c:pt>
                <c:pt idx="34">
                  <c:v>0.7476546822845157</c:v>
                </c:pt>
                <c:pt idx="35">
                  <c:v>0.7962881344685503</c:v>
                </c:pt>
                <c:pt idx="36">
                  <c:v>0.8691872293578954</c:v>
                </c:pt>
                <c:pt idx="37">
                  <c:v>0.809234372399032</c:v>
                </c:pt>
                <c:pt idx="38">
                  <c:v>0.8646940280982524</c:v>
                </c:pt>
                <c:pt idx="39">
                  <c:v>0.9063204183715814</c:v>
                </c:pt>
                <c:pt idx="40">
                  <c:v>0.9123676131636769</c:v>
                </c:pt>
                <c:pt idx="41">
                  <c:v>0.9358322446092608</c:v>
                </c:pt>
                <c:pt idx="42">
                  <c:v>0.9074198599465704</c:v>
                </c:pt>
                <c:pt idx="43">
                  <c:v>0.9164441473267598</c:v>
                </c:pt>
                <c:pt idx="44">
                  <c:v>0.8899031454706036</c:v>
                </c:pt>
                <c:pt idx="45">
                  <c:v>0.8836855429281799</c:v>
                </c:pt>
                <c:pt idx="46">
                  <c:v>0.874133598888084</c:v>
                </c:pt>
                <c:pt idx="47">
                  <c:v>0.8461878533316793</c:v>
                </c:pt>
                <c:pt idx="48">
                  <c:v>0.8453272999463942</c:v>
                </c:pt>
                <c:pt idx="49">
                  <c:v>0.8481855764094386</c:v>
                </c:pt>
                <c:pt idx="50">
                  <c:v>0.8151457760429389</c:v>
                </c:pt>
                <c:pt idx="51">
                  <c:v>0.8177481826204478</c:v>
                </c:pt>
                <c:pt idx="52">
                  <c:v>0.7920253109122323</c:v>
                </c:pt>
                <c:pt idx="53">
                  <c:v>0.7357701736179703</c:v>
                </c:pt>
                <c:pt idx="54">
                  <c:v>0.6839863564878478</c:v>
                </c:pt>
                <c:pt idx="55">
                  <c:v>0.6859460376497667</c:v>
                </c:pt>
                <c:pt idx="56">
                  <c:v>0.7009093446211176</c:v>
                </c:pt>
                <c:pt idx="57">
                  <c:v>0.6864810688351989</c:v>
                </c:pt>
                <c:pt idx="58">
                  <c:v>0.6742871925348873</c:v>
                </c:pt>
                <c:pt idx="59">
                  <c:v>0.6580369264450625</c:v>
                </c:pt>
                <c:pt idx="60">
                  <c:v>0.6413864557228518</c:v>
                </c:pt>
                <c:pt idx="61">
                  <c:v>0.6907975191461152</c:v>
                </c:pt>
                <c:pt idx="62">
                  <c:v>0.743575528139875</c:v>
                </c:pt>
                <c:pt idx="63">
                  <c:v>0.7593279465191551</c:v>
                </c:pt>
                <c:pt idx="64">
                  <c:v>0.796172192682739</c:v>
                </c:pt>
                <c:pt idx="65">
                  <c:v>0.7836162345371268</c:v>
                </c:pt>
                <c:pt idx="66">
                  <c:v>0.7686321689927267</c:v>
                </c:pt>
                <c:pt idx="67">
                  <c:v>0.7848513774343235</c:v>
                </c:pt>
                <c:pt idx="68">
                  <c:v>0.823493341139035</c:v>
                </c:pt>
                <c:pt idx="69">
                  <c:v>0.8131650281363086</c:v>
                </c:pt>
                <c:pt idx="70">
                  <c:v>0.7387183793897896</c:v>
                </c:pt>
                <c:pt idx="71">
                  <c:v>0.7732747186425882</c:v>
                </c:pt>
                <c:pt idx="72">
                  <c:v>0.9115629644942929</c:v>
                </c:pt>
                <c:pt idx="73">
                  <c:v>0.8227026297156264</c:v>
                </c:pt>
                <c:pt idx="74">
                  <c:v>0.8075345713836917</c:v>
                </c:pt>
                <c:pt idx="75">
                  <c:v>0.7903517224846366</c:v>
                </c:pt>
                <c:pt idx="76">
                  <c:v>0.7574036003338058</c:v>
                </c:pt>
                <c:pt idx="77">
                  <c:v>0.7983410987485</c:v>
                </c:pt>
                <c:pt idx="78">
                  <c:v>0.7800304072073388</c:v>
                </c:pt>
                <c:pt idx="79">
                  <c:v>0.7455768382399169</c:v>
                </c:pt>
                <c:pt idx="80">
                  <c:v>0.8236662400673371</c:v>
                </c:pt>
                <c:pt idx="81">
                  <c:v>0.8359103874531869</c:v>
                </c:pt>
                <c:pt idx="82">
                  <c:v>0.8410663401202776</c:v>
                </c:pt>
                <c:pt idx="83">
                  <c:v>0.7940039605598107</c:v>
                </c:pt>
                <c:pt idx="84">
                  <c:v>0.7951455843937192</c:v>
                </c:pt>
                <c:pt idx="85">
                  <c:v>0.7604419876506302</c:v>
                </c:pt>
                <c:pt idx="86">
                  <c:v>0.788675841552691</c:v>
                </c:pt>
                <c:pt idx="87">
                  <c:v>0.8109572151279478</c:v>
                </c:pt>
                <c:pt idx="88">
                  <c:v>0.8710681024653422</c:v>
                </c:pt>
                <c:pt idx="89">
                  <c:v>0.8599413076250126</c:v>
                </c:pt>
                <c:pt idx="90">
                  <c:v>0.8430888830996272</c:v>
                </c:pt>
                <c:pt idx="91">
                  <c:v>0.8672468122195685</c:v>
                </c:pt>
                <c:pt idx="92">
                  <c:v>0.8374858212930543</c:v>
                </c:pt>
                <c:pt idx="93">
                  <c:v>0.8486969779985231</c:v>
                </c:pt>
                <c:pt idx="94">
                  <c:v>0.8880156142762266</c:v>
                </c:pt>
                <c:pt idx="95">
                  <c:v>0.8995637100598187</c:v>
                </c:pt>
                <c:pt idx="96">
                  <c:v>0.9328648129660135</c:v>
                </c:pt>
                <c:pt idx="97">
                  <c:v>0.9590335131068762</c:v>
                </c:pt>
                <c:pt idx="98">
                  <c:v>0.9657262384044007</c:v>
                </c:pt>
                <c:pt idx="99">
                  <c:v>0.9238993768138205</c:v>
                </c:pt>
                <c:pt idx="100">
                  <c:v>0.8984690573362004</c:v>
                </c:pt>
                <c:pt idx="101">
                  <c:v>0.8134291965753618</c:v>
                </c:pt>
                <c:pt idx="102">
                  <c:v>0.7971492066102903</c:v>
                </c:pt>
                <c:pt idx="103">
                  <c:v>0.8062931743554588</c:v>
                </c:pt>
                <c:pt idx="104">
                  <c:v>0.7974679313876105</c:v>
                </c:pt>
              </c:numCache>
            </c:numRef>
          </c:xVal>
          <c:yVal>
            <c:numRef>
              <c:f>Sheet1!$B$2:$B$106</c:f>
              <c:numCache>
                <c:formatCode>General</c:formatCode>
                <c:ptCount val="105"/>
                <c:pt idx="0">
                  <c:v>0.3298109010011123</c:v>
                </c:pt>
                <c:pt idx="1">
                  <c:v>0.3084735925710969</c:v>
                </c:pt>
                <c:pt idx="2">
                  <c:v>0.3170325090302862</c:v>
                </c:pt>
                <c:pt idx="3">
                  <c:v>0.2984201287302516</c:v>
                </c:pt>
                <c:pt idx="4">
                  <c:v>0.29898458066942457</c:v>
                </c:pt>
                <c:pt idx="5">
                  <c:v>0.3085271317829457</c:v>
                </c:pt>
                <c:pt idx="6">
                  <c:v>0.338000777907429</c:v>
                </c:pt>
                <c:pt idx="7">
                  <c:v>0.3706512042818912</c:v>
                </c:pt>
                <c:pt idx="8">
                  <c:v>0.3538394415357766</c:v>
                </c:pt>
                <c:pt idx="9">
                  <c:v>0.31988041853512705</c:v>
                </c:pt>
                <c:pt idx="10">
                  <c:v>0.3042042042042042</c:v>
                </c:pt>
                <c:pt idx="11">
                  <c:v>0.2665295327652072</c:v>
                </c:pt>
                <c:pt idx="12">
                  <c:v>0.24853801169590642</c:v>
                </c:pt>
                <c:pt idx="13">
                  <c:v>0.22343706195682647</c:v>
                </c:pt>
                <c:pt idx="14">
                  <c:v>0.19661733615221988</c:v>
                </c:pt>
                <c:pt idx="15">
                  <c:v>0.19011882426516574</c:v>
                </c:pt>
                <c:pt idx="16">
                  <c:v>0.1787454323995128</c:v>
                </c:pt>
                <c:pt idx="17">
                  <c:v>0.1934925579785393</c:v>
                </c:pt>
                <c:pt idx="18">
                  <c:v>0.18434134217067108</c:v>
                </c:pt>
                <c:pt idx="19">
                  <c:v>0.17984934086629</c:v>
                </c:pt>
                <c:pt idx="20">
                  <c:v>0.173109243697479</c:v>
                </c:pt>
                <c:pt idx="21">
                  <c:v>0.2127371273712737</c:v>
                </c:pt>
                <c:pt idx="22">
                  <c:v>0.2082204155374887</c:v>
                </c:pt>
                <c:pt idx="23">
                  <c:v>0.24286361576801088</c:v>
                </c:pt>
                <c:pt idx="24">
                  <c:v>0.251088534107402</c:v>
                </c:pt>
                <c:pt idx="25">
                  <c:v>0.25974739154310816</c:v>
                </c:pt>
                <c:pt idx="26">
                  <c:v>0.27860915492957744</c:v>
                </c:pt>
                <c:pt idx="27">
                  <c:v>0.2641338760741746</c:v>
                </c:pt>
                <c:pt idx="28">
                  <c:v>0.26533393911858244</c:v>
                </c:pt>
                <c:pt idx="29">
                  <c:v>0.25051503914297485</c:v>
                </c:pt>
                <c:pt idx="30">
                  <c:v>0.24552924117931368</c:v>
                </c:pt>
                <c:pt idx="31">
                  <c:v>0.2575046904315197</c:v>
                </c:pt>
                <c:pt idx="32">
                  <c:v>0.2687555163283319</c:v>
                </c:pt>
                <c:pt idx="33">
                  <c:v>0.25034387895460797</c:v>
                </c:pt>
                <c:pt idx="34">
                  <c:v>0.24680715197956576</c:v>
                </c:pt>
                <c:pt idx="35">
                  <c:v>0.26403269754768394</c:v>
                </c:pt>
                <c:pt idx="36">
                  <c:v>0.23414890818205736</c:v>
                </c:pt>
                <c:pt idx="37">
                  <c:v>0.239450441609421</c:v>
                </c:pt>
                <c:pt idx="38">
                  <c:v>0.21549155908639522</c:v>
                </c:pt>
                <c:pt idx="39">
                  <c:v>0.20976902688375615</c:v>
                </c:pt>
                <c:pt idx="40">
                  <c:v>0.20349815001681804</c:v>
                </c:pt>
                <c:pt idx="41">
                  <c:v>0.2105631339629241</c:v>
                </c:pt>
                <c:pt idx="42">
                  <c:v>0.21681804863756227</c:v>
                </c:pt>
                <c:pt idx="43">
                  <c:v>0.1980562122406094</c:v>
                </c:pt>
                <c:pt idx="44">
                  <c:v>0.1856082238720731</c:v>
                </c:pt>
                <c:pt idx="45">
                  <c:v>0.21725239616613418</c:v>
                </c:pt>
                <c:pt idx="46">
                  <c:v>0.21002960769800147</c:v>
                </c:pt>
                <c:pt idx="47">
                  <c:v>0.21741573033707864</c:v>
                </c:pt>
                <c:pt idx="48">
                  <c:v>0.21187734147356738</c:v>
                </c:pt>
                <c:pt idx="49">
                  <c:v>0.23156416173372127</c:v>
                </c:pt>
                <c:pt idx="50">
                  <c:v>0.2179189719792968</c:v>
                </c:pt>
                <c:pt idx="51">
                  <c:v>0.20714962121212122</c:v>
                </c:pt>
                <c:pt idx="52">
                  <c:v>0.2265750286368843</c:v>
                </c:pt>
                <c:pt idx="53">
                  <c:v>0.23137914464199905</c:v>
                </c:pt>
                <c:pt idx="54">
                  <c:v>0.2351666215117854</c:v>
                </c:pt>
                <c:pt idx="55">
                  <c:v>0.2335978835978836</c:v>
                </c:pt>
                <c:pt idx="56">
                  <c:v>0.2457327839905827</c:v>
                </c:pt>
                <c:pt idx="57">
                  <c:v>0.23454699407281965</c:v>
                </c:pt>
                <c:pt idx="58">
                  <c:v>0.24416569428238039</c:v>
                </c:pt>
                <c:pt idx="59">
                  <c:v>0.23277153558052435</c:v>
                </c:pt>
                <c:pt idx="60">
                  <c:v>0.2482253771073647</c:v>
                </c:pt>
                <c:pt idx="61">
                  <c:v>0.26153466567974337</c:v>
                </c:pt>
                <c:pt idx="62">
                  <c:v>0.24105793450881613</c:v>
                </c:pt>
                <c:pt idx="63">
                  <c:v>0.24647577092511014</c:v>
                </c:pt>
                <c:pt idx="64">
                  <c:v>0.2403292181069959</c:v>
                </c:pt>
                <c:pt idx="65">
                  <c:v>0.22209969122187914</c:v>
                </c:pt>
                <c:pt idx="66">
                  <c:v>0.2386291516818278</c:v>
                </c:pt>
                <c:pt idx="67">
                  <c:v>0.2351828499369483</c:v>
                </c:pt>
                <c:pt idx="68">
                  <c:v>0.20679681851048445</c:v>
                </c:pt>
                <c:pt idx="69">
                  <c:v>0.19393319700068165</c:v>
                </c:pt>
                <c:pt idx="70">
                  <c:v>0.20833333333333334</c:v>
                </c:pt>
                <c:pt idx="71">
                  <c:v>0.203304113283884</c:v>
                </c:pt>
                <c:pt idx="72">
                  <c:v>0.17908578584846588</c:v>
                </c:pt>
                <c:pt idx="73">
                  <c:v>0.18953804347826086</c:v>
                </c:pt>
                <c:pt idx="74">
                  <c:v>0.17733285663210582</c:v>
                </c:pt>
                <c:pt idx="75">
                  <c:v>0.203559510567297</c:v>
                </c:pt>
                <c:pt idx="76">
                  <c:v>0.20963070238957277</c:v>
                </c:pt>
                <c:pt idx="77">
                  <c:v>0.19903691813804172</c:v>
                </c:pt>
                <c:pt idx="78">
                  <c:v>0.2053415061295972</c:v>
                </c:pt>
                <c:pt idx="79">
                  <c:v>0.1710833982852689</c:v>
                </c:pt>
                <c:pt idx="80">
                  <c:v>0.1694980694980695</c:v>
                </c:pt>
                <c:pt idx="81">
                  <c:v>0.17657529369882521</c:v>
                </c:pt>
                <c:pt idx="82">
                  <c:v>0.16823193140057166</c:v>
                </c:pt>
                <c:pt idx="83">
                  <c:v>0.1726649528706084</c:v>
                </c:pt>
                <c:pt idx="84">
                  <c:v>0.19217238346525944</c:v>
                </c:pt>
                <c:pt idx="85">
                  <c:v>0.1862381540997116</c:v>
                </c:pt>
                <c:pt idx="86">
                  <c:v>0.20093185789167153</c:v>
                </c:pt>
                <c:pt idx="87">
                  <c:v>0.2166387493020659</c:v>
                </c:pt>
                <c:pt idx="88">
                  <c:v>0.20662824207492794</c:v>
                </c:pt>
                <c:pt idx="89">
                  <c:v>0.1940099833610649</c:v>
                </c:pt>
                <c:pt idx="90">
                  <c:v>0.1951861602106055</c:v>
                </c:pt>
                <c:pt idx="91">
                  <c:v>0.18161094224924013</c:v>
                </c:pt>
                <c:pt idx="92">
                  <c:v>0.1863508881271424</c:v>
                </c:pt>
                <c:pt idx="93">
                  <c:v>0.19041614123581338</c:v>
                </c:pt>
                <c:pt idx="94">
                  <c:v>0.2039684855558798</c:v>
                </c:pt>
                <c:pt idx="95">
                  <c:v>0.20506264382510866</c:v>
                </c:pt>
                <c:pt idx="96">
                  <c:v>0.17860397302715508</c:v>
                </c:pt>
                <c:pt idx="97">
                  <c:v>0.17269681742043552</c:v>
                </c:pt>
                <c:pt idx="98">
                  <c:v>0.18259541984732824</c:v>
                </c:pt>
                <c:pt idx="99">
                  <c:v>0.19099400529764393</c:v>
                </c:pt>
                <c:pt idx="100">
                  <c:v>0.2022241416540704</c:v>
                </c:pt>
                <c:pt idx="101">
                  <c:v>0.22445288478929282</c:v>
                </c:pt>
                <c:pt idx="102">
                  <c:v>0.21822673620642327</c:v>
                </c:pt>
                <c:pt idx="103">
                  <c:v>0.2087299744601811</c:v>
                </c:pt>
                <c:pt idx="104">
                  <c:v>0.208081363386476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0910519939636</c:v>
                </c:pt>
                <c:pt idx="1">
                  <c:v>0.7737139593830773</c:v>
                </c:pt>
                <c:pt idx="2">
                  <c:v>0.7539254882418361</c:v>
                </c:pt>
                <c:pt idx="3">
                  <c:v>0.7004780924611784</c:v>
                </c:pt>
                <c:pt idx="4">
                  <c:v>0.7435547527394608</c:v>
                </c:pt>
                <c:pt idx="5">
                  <c:v>0.7221591396086352</c:v>
                </c:pt>
                <c:pt idx="6">
                  <c:v>0.7108260352081417</c:v>
                </c:pt>
                <c:pt idx="7">
                  <c:v>0.719121794165515</c:v>
                </c:pt>
                <c:pt idx="8">
                  <c:v>0.7644440988879518</c:v>
                </c:pt>
                <c:pt idx="9">
                  <c:v>0.7302829936415641</c:v>
                </c:pt>
                <c:pt idx="10">
                  <c:v>0.7683459623374943</c:v>
                </c:pt>
                <c:pt idx="11">
                  <c:v>0.7336414078921007</c:v>
                </c:pt>
                <c:pt idx="12">
                  <c:v>0.7505730142708144</c:v>
                </c:pt>
                <c:pt idx="13">
                  <c:v>0.7121551764808961</c:v>
                </c:pt>
                <c:pt idx="14">
                  <c:v>0.7070527961083709</c:v>
                </c:pt>
                <c:pt idx="15">
                  <c:v>0.7070068433508874</c:v>
                </c:pt>
                <c:pt idx="16">
                  <c:v>0.7337277021902099</c:v>
                </c:pt>
                <c:pt idx="17">
                  <c:v>0.6655940469953376</c:v>
                </c:pt>
                <c:pt idx="18">
                  <c:v>0.7389443741069947</c:v>
                </c:pt>
                <c:pt idx="19">
                  <c:v>0.7737638368504095</c:v>
                </c:pt>
                <c:pt idx="20">
                  <c:v>0.7020747502443122</c:v>
                </c:pt>
                <c:pt idx="21">
                  <c:v>0.681816515310988</c:v>
                </c:pt>
                <c:pt idx="22">
                  <c:v>0.6960544555363318</c:v>
                </c:pt>
                <c:pt idx="23">
                  <c:v>0.6760915437008362</c:v>
                </c:pt>
                <c:pt idx="24">
                  <c:v>0.6611894064586115</c:v>
                </c:pt>
                <c:pt idx="25">
                  <c:v>0.6794278089002963</c:v>
                </c:pt>
                <c:pt idx="26">
                  <c:v>0.6828950173718221</c:v>
                </c:pt>
                <c:pt idx="27">
                  <c:v>0.7067382898411336</c:v>
                </c:pt>
                <c:pt idx="28">
                  <c:v>0.692551013895838</c:v>
                </c:pt>
                <c:pt idx="29">
                  <c:v>0.6646383825366128</c:v>
                </c:pt>
                <c:pt idx="30">
                  <c:v>0.684267903550802</c:v>
                </c:pt>
                <c:pt idx="31">
                  <c:v>0.6578740293423203</c:v>
                </c:pt>
                <c:pt idx="32">
                  <c:v>0.6716709613234848</c:v>
                </c:pt>
                <c:pt idx="33">
                  <c:v>0.7163599300917478</c:v>
                </c:pt>
                <c:pt idx="34">
                  <c:v>0.7331838826755591</c:v>
                </c:pt>
                <c:pt idx="35">
                  <c:v>0.7284776482651287</c:v>
                </c:pt>
                <c:pt idx="36">
                  <c:v>0.6967477244939546</c:v>
                </c:pt>
                <c:pt idx="37">
                  <c:v>0.6831372151722401</c:v>
                </c:pt>
                <c:pt idx="38">
                  <c:v>0.6809378973508703</c:v>
                </c:pt>
                <c:pt idx="39">
                  <c:v>0.7385589746559184</c:v>
                </c:pt>
                <c:pt idx="40">
                  <c:v>0.7757869930262767</c:v>
                </c:pt>
                <c:pt idx="41">
                  <c:v>0.785143413599227</c:v>
                </c:pt>
                <c:pt idx="42">
                  <c:v>0.7362408462183673</c:v>
                </c:pt>
                <c:pt idx="43">
                  <c:v>0.7985500491291418</c:v>
                </c:pt>
                <c:pt idx="44">
                  <c:v>0.843924393601592</c:v>
                </c:pt>
                <c:pt idx="45">
                  <c:v>0.8345998826444486</c:v>
                </c:pt>
                <c:pt idx="46">
                  <c:v>0.7811040488001036</c:v>
                </c:pt>
                <c:pt idx="47">
                  <c:v>0.7633614826094204</c:v>
                </c:pt>
                <c:pt idx="48">
                  <c:v>0.788980699001542</c:v>
                </c:pt>
                <c:pt idx="49">
                  <c:v>0.7953038625584775</c:v>
                </c:pt>
                <c:pt idx="50">
                  <c:v>0.8226199048412344</c:v>
                </c:pt>
                <c:pt idx="51">
                  <c:v>0.7908554972361767</c:v>
                </c:pt>
              </c:numCache>
            </c:numRef>
          </c:xVal>
          <c:yVal>
            <c:numRef>
              <c:f>Sheet1!$B$109:$B$160</c:f>
              <c:numCache>
                <c:formatCode>General</c:formatCode>
                <c:ptCount val="52"/>
                <c:pt idx="0">
                  <c:v>0.20865758754863814</c:v>
                </c:pt>
                <c:pt idx="1">
                  <c:v>0.2114213197969543</c:v>
                </c:pt>
                <c:pt idx="2">
                  <c:v>0.22926596758817921</c:v>
                </c:pt>
                <c:pt idx="3">
                  <c:v>0.2552963260927863</c:v>
                </c:pt>
                <c:pt idx="4">
                  <c:v>0.23049095607235143</c:v>
                </c:pt>
                <c:pt idx="5">
                  <c:v>0.24322799097065462</c:v>
                </c:pt>
                <c:pt idx="6">
                  <c:v>0.24495476687543494</c:v>
                </c:pt>
                <c:pt idx="7">
                  <c:v>0.22158438576349024</c:v>
                </c:pt>
                <c:pt idx="8">
                  <c:v>0.22231404958677686</c:v>
                </c:pt>
                <c:pt idx="9">
                  <c:v>0.22913188647746244</c:v>
                </c:pt>
                <c:pt idx="10">
                  <c:v>0.23539460198155107</c:v>
                </c:pt>
                <c:pt idx="11">
                  <c:v>0.22519455252918288</c:v>
                </c:pt>
                <c:pt idx="12">
                  <c:v>0.23373786407766992</c:v>
                </c:pt>
                <c:pt idx="13">
                  <c:v>0.23651992706433966</c:v>
                </c:pt>
                <c:pt idx="14">
                  <c:v>0.24416258287690978</c:v>
                </c:pt>
                <c:pt idx="15">
                  <c:v>0.23902305159165751</c:v>
                </c:pt>
                <c:pt idx="16">
                  <c:v>0.23720608575380359</c:v>
                </c:pt>
                <c:pt idx="17">
                  <c:v>0.2543393552957846</c:v>
                </c:pt>
                <c:pt idx="18">
                  <c:v>0.23512154233025984</c:v>
                </c:pt>
                <c:pt idx="19">
                  <c:v>0.2239657631954351</c:v>
                </c:pt>
                <c:pt idx="20">
                  <c:v>0.22564734895191121</c:v>
                </c:pt>
                <c:pt idx="21">
                  <c:v>0.2386237513873474</c:v>
                </c:pt>
                <c:pt idx="22">
                  <c:v>0.2497096399535424</c:v>
                </c:pt>
                <c:pt idx="23">
                  <c:v>0.24601657106437222</c:v>
                </c:pt>
                <c:pt idx="24">
                  <c:v>0.2564734895191122</c:v>
                </c:pt>
                <c:pt idx="25">
                  <c:v>0.2642719692110327</c:v>
                </c:pt>
                <c:pt idx="26">
                  <c:v>0.2424400417101147</c:v>
                </c:pt>
                <c:pt idx="27">
                  <c:v>0.23655913978494625</c:v>
                </c:pt>
                <c:pt idx="28">
                  <c:v>0.23908248786943095</c:v>
                </c:pt>
                <c:pt idx="29">
                  <c:v>0.2531831537708129</c:v>
                </c:pt>
                <c:pt idx="30">
                  <c:v>0.24894712213383247</c:v>
                </c:pt>
                <c:pt idx="31">
                  <c:v>0.24239298607529655</c:v>
                </c:pt>
                <c:pt idx="32">
                  <c:v>0.23918448533068126</c:v>
                </c:pt>
                <c:pt idx="33">
                  <c:v>0.24518518518518517</c:v>
                </c:pt>
                <c:pt idx="34">
                  <c:v>0.2579957356076759</c:v>
                </c:pt>
                <c:pt idx="35">
                  <c:v>0.26261082237847755</c:v>
                </c:pt>
                <c:pt idx="36">
                  <c:v>0.2424383434155421</c:v>
                </c:pt>
                <c:pt idx="37">
                  <c:v>0.2485428809325562</c:v>
                </c:pt>
                <c:pt idx="38">
                  <c:v>0.23233609166136218</c:v>
                </c:pt>
                <c:pt idx="39">
                  <c:v>0.23688332028191073</c:v>
                </c:pt>
                <c:pt idx="40">
                  <c:v>0.2401664145234493</c:v>
                </c:pt>
                <c:pt idx="41">
                  <c:v>0.23071937783538563</c:v>
                </c:pt>
                <c:pt idx="42">
                  <c:v>0.23022151898734178</c:v>
                </c:pt>
                <c:pt idx="43">
                  <c:v>0.22313237221494103</c:v>
                </c:pt>
                <c:pt idx="44">
                  <c:v>0.22100481026189203</c:v>
                </c:pt>
                <c:pt idx="45">
                  <c:v>0.23862238622386223</c:v>
                </c:pt>
                <c:pt idx="46">
                  <c:v>0.2556642022418316</c:v>
                </c:pt>
                <c:pt idx="47">
                  <c:v>0.247893850042123</c:v>
                </c:pt>
                <c:pt idx="48">
                  <c:v>0.24130737134909597</c:v>
                </c:pt>
                <c:pt idx="49">
                  <c:v>0.2605140186915888</c:v>
                </c:pt>
                <c:pt idx="50">
                  <c:v>0.24714340736936705</c:v>
                </c:pt>
                <c:pt idx="51">
                  <c:v>0.2465212876427829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8838329710776536</c:v>
                </c:pt>
              </c:numCache>
            </c:numRef>
          </c:xVal>
          <c:yVal>
            <c:numRef>
              <c:f>Sheet1!$B$163:$B$164</c:f>
              <c:numCache>
                <c:formatCode>General</c:formatCode>
                <c:ptCount val="2"/>
                <c:pt idx="0">
                  <c:v>0.3248600297233571</c:v>
                </c:pt>
                <c:pt idx="1">
                  <c:v>0.324860029723357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8838329710776536</c:v>
                </c:pt>
                <c:pt idx="1">
                  <c:v>-0.18838329710776536</c:v>
                </c:pt>
              </c:numCache>
            </c:numRef>
          </c:xVal>
          <c:yVal>
            <c:numRef>
              <c:f>Sheet1!$B$167:$B$168</c:f>
              <c:numCache>
                <c:formatCode>General</c:formatCode>
                <c:ptCount val="2"/>
                <c:pt idx="0">
                  <c:v>0.324860029723357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3010795068968</c:v>
                </c:pt>
              </c:numCache>
            </c:numRef>
          </c:xVal>
          <c:yVal>
            <c:numRef>
              <c:f>Sheet1!$B$171:$B$172</c:f>
              <c:numCache>
                <c:formatCode>General</c:formatCode>
                <c:ptCount val="2"/>
                <c:pt idx="0">
                  <c:v>0.2488715212632087</c:v>
                </c:pt>
                <c:pt idx="1">
                  <c:v>0.248871521263208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3010795068968</c:v>
                </c:pt>
                <c:pt idx="1">
                  <c:v>0.63010795068968</c:v>
                </c:pt>
              </c:numCache>
            </c:numRef>
          </c:xVal>
          <c:yVal>
            <c:numRef>
              <c:f>Sheet1!$B$175:$B$176</c:f>
              <c:numCache>
                <c:formatCode>General</c:formatCode>
                <c:ptCount val="2"/>
                <c:pt idx="0">
                  <c:v>0.24887152126320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258357302514792</c:v>
                </c:pt>
              </c:numCache>
            </c:numRef>
          </c:xVal>
          <c:yVal>
            <c:numRef>
              <c:f>Sheet1!$B$179:$B$180</c:f>
              <c:numCache>
                <c:formatCode>General</c:formatCode>
                <c:ptCount val="2"/>
                <c:pt idx="0">
                  <c:v>0.23998417982042863</c:v>
                </c:pt>
                <c:pt idx="1">
                  <c:v>0.239984179820428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258357302514792</c:v>
                </c:pt>
                <c:pt idx="1">
                  <c:v>0.7258357302514792</c:v>
                </c:pt>
              </c:numCache>
            </c:numRef>
          </c:xVal>
          <c:yVal>
            <c:numRef>
              <c:f>Sheet1!$B$183:$B$184</c:f>
              <c:numCache>
                <c:formatCode>General</c:formatCode>
                <c:ptCount val="2"/>
                <c:pt idx="0">
                  <c:v>0.239984179820428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0910519939636</c:v>
                </c:pt>
                <c:pt idx="1">
                  <c:v>0.7737139593830773</c:v>
                </c:pt>
                <c:pt idx="2">
                  <c:v>0.7539254882418361</c:v>
                </c:pt>
                <c:pt idx="3">
                  <c:v>0.7004780924611784</c:v>
                </c:pt>
                <c:pt idx="4">
                  <c:v>0.7435547527394608</c:v>
                </c:pt>
                <c:pt idx="5">
                  <c:v>0.7221591396086352</c:v>
                </c:pt>
                <c:pt idx="6">
                  <c:v>0.7108260352081417</c:v>
                </c:pt>
                <c:pt idx="7">
                  <c:v>0.719121794165515</c:v>
                </c:pt>
                <c:pt idx="8">
                  <c:v>0.7644440988879518</c:v>
                </c:pt>
                <c:pt idx="9">
                  <c:v>0.7302829936415641</c:v>
                </c:pt>
                <c:pt idx="10">
                  <c:v>0.7683459623374943</c:v>
                </c:pt>
                <c:pt idx="11">
                  <c:v>0.7336414078921007</c:v>
                </c:pt>
                <c:pt idx="12">
                  <c:v>0.7505730142708144</c:v>
                </c:pt>
                <c:pt idx="13">
                  <c:v>0.7121551764808961</c:v>
                </c:pt>
                <c:pt idx="14">
                  <c:v>0.7070527961083709</c:v>
                </c:pt>
                <c:pt idx="15">
                  <c:v>0.7070068433508874</c:v>
                </c:pt>
                <c:pt idx="16">
                  <c:v>0.7337277021902099</c:v>
                </c:pt>
                <c:pt idx="17">
                  <c:v>0.6655940469953376</c:v>
                </c:pt>
                <c:pt idx="18">
                  <c:v>0.7389443741069947</c:v>
                </c:pt>
                <c:pt idx="19">
                  <c:v>0.7737638368504095</c:v>
                </c:pt>
                <c:pt idx="20">
                  <c:v>0.7020747502443122</c:v>
                </c:pt>
                <c:pt idx="21">
                  <c:v>0.681816515310988</c:v>
                </c:pt>
                <c:pt idx="22">
                  <c:v>0.6960544555363318</c:v>
                </c:pt>
                <c:pt idx="23">
                  <c:v>0.6760915437008362</c:v>
                </c:pt>
                <c:pt idx="24">
                  <c:v>0.6611894064586115</c:v>
                </c:pt>
                <c:pt idx="25">
                  <c:v>0.6794278089002963</c:v>
                </c:pt>
                <c:pt idx="26">
                  <c:v>0.6828950173718221</c:v>
                </c:pt>
                <c:pt idx="27">
                  <c:v>0.7067382898411336</c:v>
                </c:pt>
                <c:pt idx="28">
                  <c:v>0.692551013895838</c:v>
                </c:pt>
                <c:pt idx="29">
                  <c:v>0.6646383825366128</c:v>
                </c:pt>
                <c:pt idx="30">
                  <c:v>0.684267903550802</c:v>
                </c:pt>
                <c:pt idx="31">
                  <c:v>0.6578740293423203</c:v>
                </c:pt>
                <c:pt idx="32">
                  <c:v>0.6716709613234848</c:v>
                </c:pt>
                <c:pt idx="33">
                  <c:v>0.7163599300917478</c:v>
                </c:pt>
                <c:pt idx="34">
                  <c:v>0.7331838826755591</c:v>
                </c:pt>
                <c:pt idx="35">
                  <c:v>0.7284776482651287</c:v>
                </c:pt>
                <c:pt idx="36">
                  <c:v>0.6967477244939546</c:v>
                </c:pt>
                <c:pt idx="37">
                  <c:v>0.6831372151722401</c:v>
                </c:pt>
                <c:pt idx="38">
                  <c:v>0.6809378973508703</c:v>
                </c:pt>
                <c:pt idx="39">
                  <c:v>0.7385589746559184</c:v>
                </c:pt>
                <c:pt idx="40">
                  <c:v>0.7757869930262767</c:v>
                </c:pt>
                <c:pt idx="41">
                  <c:v>0.785143413599227</c:v>
                </c:pt>
                <c:pt idx="42">
                  <c:v>0.7362408462183673</c:v>
                </c:pt>
                <c:pt idx="43">
                  <c:v>0.7985500491291418</c:v>
                </c:pt>
                <c:pt idx="44">
                  <c:v>0.843924393601592</c:v>
                </c:pt>
                <c:pt idx="45">
                  <c:v>0.8345998826444486</c:v>
                </c:pt>
                <c:pt idx="46">
                  <c:v>0.7811040488001036</c:v>
                </c:pt>
                <c:pt idx="47">
                  <c:v>0.7633614826094204</c:v>
                </c:pt>
                <c:pt idx="48">
                  <c:v>0.788980699001542</c:v>
                </c:pt>
                <c:pt idx="49">
                  <c:v>0.7953038625584775</c:v>
                </c:pt>
                <c:pt idx="50">
                  <c:v>0.8226199048412344</c:v>
                </c:pt>
                <c:pt idx="51">
                  <c:v>0.7908554972361767</c:v>
                </c:pt>
                <c:pt idx="52">
                  <c:v>0.63010795068968</c:v>
                </c:pt>
                <c:pt idx="53">
                  <c:v>-0.18838329710776536</c:v>
                </c:pt>
                <c:pt idx="54">
                  <c:v>0.7258357302514792</c:v>
                </c:pt>
              </c:numCache>
            </c:numRef>
          </c:xVal>
          <c:yVal>
            <c:numRef>
              <c:f>Sheet1!$B$187:$B$241</c:f>
              <c:numCache>
                <c:formatCode>General</c:formatCode>
                <c:ptCount val="55"/>
                <c:pt idx="0">
                  <c:v>0.23579944840543182</c:v>
                </c:pt>
                <c:pt idx="1">
                  <c:v>0.2355391778375562</c:v>
                </c:pt>
                <c:pt idx="2">
                  <c:v>0.23737633420395116</c:v>
                </c:pt>
                <c:pt idx="3">
                  <c:v>0.24233837612850512</c:v>
                </c:pt>
                <c:pt idx="4">
                  <c:v>0.2383391505133263</c:v>
                </c:pt>
                <c:pt idx="5">
                  <c:v>0.24032551351204728</c:v>
                </c:pt>
                <c:pt idx="6">
                  <c:v>0.24137767589244424</c:v>
                </c:pt>
                <c:pt idx="7">
                  <c:v>0.24060749985035207</c:v>
                </c:pt>
                <c:pt idx="8">
                  <c:v>0.23639978920579474</c:v>
                </c:pt>
                <c:pt idx="9">
                  <c:v>0.23957129707714778</c:v>
                </c:pt>
                <c:pt idx="10">
                  <c:v>0.23603754124707343</c:v>
                </c:pt>
                <c:pt idx="11">
                  <c:v>0.23925950279666364</c:v>
                </c:pt>
                <c:pt idx="12">
                  <c:v>0.23768757699047444</c:v>
                </c:pt>
                <c:pt idx="13">
                  <c:v>0.24125427877229028</c:v>
                </c:pt>
                <c:pt idx="14">
                  <c:v>0.2417279824009459</c:v>
                </c:pt>
                <c:pt idx="15">
                  <c:v>0.24173224864265613</c:v>
                </c:pt>
                <c:pt idx="16">
                  <c:v>0.23925149125711498</c:v>
                </c:pt>
                <c:pt idx="17">
                  <c:v>0.2455770015764112</c:v>
                </c:pt>
                <c:pt idx="18">
                  <c:v>0.23876717683206872</c:v>
                </c:pt>
                <c:pt idx="19">
                  <c:v>0.2355345472268337</c:v>
                </c:pt>
                <c:pt idx="20">
                  <c:v>0.24219014284710091</c:v>
                </c:pt>
                <c:pt idx="21">
                  <c:v>0.24407091195826866</c:v>
                </c:pt>
                <c:pt idx="22">
                  <c:v>0.24274906539707441</c:v>
                </c:pt>
                <c:pt idx="23">
                  <c:v>0.24460241679085276</c:v>
                </c:pt>
                <c:pt idx="24">
                  <c:v>0.2459859272253899</c:v>
                </c:pt>
                <c:pt idx="25">
                  <c:v>0.24429267882234462</c:v>
                </c:pt>
                <c:pt idx="26">
                  <c:v>0.24397078411549145</c:v>
                </c:pt>
                <c:pt idx="27">
                  <c:v>0.24175718107865082</c:v>
                </c:pt>
                <c:pt idx="28">
                  <c:v>0.24307432398164047</c:v>
                </c:pt>
                <c:pt idx="29">
                  <c:v>0.2456657252090735</c:v>
                </c:pt>
                <c:pt idx="30">
                  <c:v>0.24384332572994735</c:v>
                </c:pt>
                <c:pt idx="31">
                  <c:v>0.24629372594984517</c:v>
                </c:pt>
                <c:pt idx="32">
                  <c:v>0.24501282247604986</c:v>
                </c:pt>
                <c:pt idx="33">
                  <c:v>0.24086391057203055</c:v>
                </c:pt>
                <c:pt idx="34">
                  <c:v>0.23930197931535757</c:v>
                </c:pt>
                <c:pt idx="35">
                  <c:v>0.23973890485888022</c:v>
                </c:pt>
                <c:pt idx="36">
                  <c:v>0.24268470249253116</c:v>
                </c:pt>
                <c:pt idx="37">
                  <c:v>0.24394829853650007</c:v>
                </c:pt>
                <c:pt idx="38">
                  <c:v>0.24415248261461386</c:v>
                </c:pt>
                <c:pt idx="39">
                  <c:v>0.23880295721399397</c:v>
                </c:pt>
                <c:pt idx="40">
                  <c:v>0.23534671794875672</c:v>
                </c:pt>
                <c:pt idx="41">
                  <c:v>0.2344780703660519</c:v>
                </c:pt>
                <c:pt idx="42">
                  <c:v>0.2390181716379265</c:v>
                </c:pt>
                <c:pt idx="43">
                  <c:v>0.2332334019103677</c:v>
                </c:pt>
                <c:pt idx="44">
                  <c:v>0.22902085990934226</c:v>
                </c:pt>
                <c:pt idx="45">
                  <c:v>0.22988654501185296</c:v>
                </c:pt>
                <c:pt idx="46">
                  <c:v>0.23485308391328014</c:v>
                </c:pt>
                <c:pt idx="47">
                  <c:v>0.23650029901144223</c:v>
                </c:pt>
                <c:pt idx="48">
                  <c:v>0.23412181781595742</c:v>
                </c:pt>
                <c:pt idx="49">
                  <c:v>0.23353477700307876</c:v>
                </c:pt>
                <c:pt idx="50">
                  <c:v>0.23099876294588909</c:v>
                </c:pt>
                <c:pt idx="51">
                  <c:v>0.23394776204945172</c:v>
                </c:pt>
                <c:pt idx="52">
                  <c:v>0.2488715212632087</c:v>
                </c:pt>
                <c:pt idx="53">
                  <c:v>0.3248600297233571</c:v>
                </c:pt>
                <c:pt idx="54">
                  <c:v>0.239984179820428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47814451382694"/>
          <c:min val="0.134585545120457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0.1745</c:v>
                </c:pt>
                <c:pt idx="1">
                  <c:v>867.0564</c:v>
                </c:pt>
                <c:pt idx="2">
                  <c:v>857.9115</c:v>
                </c:pt>
                <c:pt idx="3">
                  <c:v>862.2745</c:v>
                </c:pt>
                <c:pt idx="4">
                  <c:v>859.0088</c:v>
                </c:pt>
                <c:pt idx="5">
                  <c:v>854.7253</c:v>
                </c:pt>
                <c:pt idx="6">
                  <c:v>850.0058</c:v>
                </c:pt>
                <c:pt idx="7">
                  <c:v>850.8051</c:v>
                </c:pt>
                <c:pt idx="8">
                  <c:v>845.6178</c:v>
                </c:pt>
                <c:pt idx="9">
                  <c:v>861.5374</c:v>
                </c:pt>
                <c:pt idx="10">
                  <c:v>863.6436</c:v>
                </c:pt>
                <c:pt idx="11">
                  <c:v>906.3572</c:v>
                </c:pt>
                <c:pt idx="12">
                  <c:v>926.9123</c:v>
                </c:pt>
                <c:pt idx="13">
                  <c:v>936.0514</c:v>
                </c:pt>
                <c:pt idx="14">
                  <c:v>951.1465</c:v>
                </c:pt>
                <c:pt idx="15">
                  <c:v>958.1414</c:v>
                </c:pt>
                <c:pt idx="16">
                  <c:v>967.5213</c:v>
                </c:pt>
                <c:pt idx="17">
                  <c:v>1005.6386</c:v>
                </c:pt>
                <c:pt idx="18">
                  <c:v>1035.9258</c:v>
                </c:pt>
                <c:pt idx="19">
                  <c:v>1054.589</c:v>
                </c:pt>
                <c:pt idx="20">
                  <c:v>1086.3301</c:v>
                </c:pt>
                <c:pt idx="21">
                  <c:v>1086.3333</c:v>
                </c:pt>
                <c:pt idx="22">
                  <c:v>1063.8265</c:v>
                </c:pt>
                <c:pt idx="23">
                  <c:v>1045.3134</c:v>
                </c:pt>
                <c:pt idx="24">
                  <c:v>1034.9557</c:v>
                </c:pt>
                <c:pt idx="25">
                  <c:v>1051.8816</c:v>
                </c:pt>
                <c:pt idx="26">
                  <c:v>1036.5513</c:v>
                </c:pt>
                <c:pt idx="27">
                  <c:v>1037.0736</c:v>
                </c:pt>
                <c:pt idx="28">
                  <c:v>1043.2209</c:v>
                </c:pt>
                <c:pt idx="29">
                  <c:v>1021.148</c:v>
                </c:pt>
                <c:pt idx="30">
                  <c:v>1042.8701</c:v>
                </c:pt>
                <c:pt idx="31">
                  <c:v>987.0018</c:v>
                </c:pt>
                <c:pt idx="32">
                  <c:v>989.6831</c:v>
                </c:pt>
                <c:pt idx="33">
                  <c:v>972.0151</c:v>
                </c:pt>
                <c:pt idx="34">
                  <c:v>974.0828</c:v>
                </c:pt>
                <c:pt idx="35">
                  <c:v>992.4272</c:v>
                </c:pt>
                <c:pt idx="36">
                  <c:v>1050.5461</c:v>
                </c:pt>
                <c:pt idx="37">
                  <c:v>1047.1407</c:v>
                </c:pt>
                <c:pt idx="38">
                  <c:v>1105.0123</c:v>
                </c:pt>
                <c:pt idx="39">
                  <c:v>1137.4314</c:v>
                </c:pt>
                <c:pt idx="40">
                  <c:v>1137.3769</c:v>
                </c:pt>
                <c:pt idx="41">
                  <c:v>1181.1179</c:v>
                </c:pt>
                <c:pt idx="42">
                  <c:v>1177.3946</c:v>
                </c:pt>
                <c:pt idx="43">
                  <c:v>1197.3143</c:v>
                </c:pt>
                <c:pt idx="44">
                  <c:v>1140.6031</c:v>
                </c:pt>
                <c:pt idx="45">
                  <c:v>1112.7561</c:v>
                </c:pt>
                <c:pt idx="46">
                  <c:v>1110.2335</c:v>
                </c:pt>
                <c:pt idx="47">
                  <c:v>1094.8355</c:v>
                </c:pt>
                <c:pt idx="48">
                  <c:v>1107.6398</c:v>
                </c:pt>
                <c:pt idx="49">
                  <c:v>1082.8904</c:v>
                </c:pt>
                <c:pt idx="50">
                  <c:v>1057.9345</c:v>
                </c:pt>
                <c:pt idx="51">
                  <c:v>1082.7726</c:v>
                </c:pt>
                <c:pt idx="52">
                  <c:v>1054.3852</c:v>
                </c:pt>
                <c:pt idx="53">
                  <c:v>1084.9834</c:v>
                </c:pt>
                <c:pt idx="54">
                  <c:v>1083.6889</c:v>
                </c:pt>
                <c:pt idx="55">
                  <c:v>1098.1472</c:v>
                </c:pt>
                <c:pt idx="56">
                  <c:v>1117.3533</c:v>
                </c:pt>
                <c:pt idx="57">
                  <c:v>1085.1336</c:v>
                </c:pt>
                <c:pt idx="58">
                  <c:v>1094.4731</c:v>
                </c:pt>
                <c:pt idx="59">
                  <c:v>1049.7136</c:v>
                </c:pt>
                <c:pt idx="60">
                  <c:v>1033.6917</c:v>
                </c:pt>
                <c:pt idx="61">
                  <c:v>1037.967</c:v>
                </c:pt>
                <c:pt idx="62">
                  <c:v>1045.883</c:v>
                </c:pt>
                <c:pt idx="63">
                  <c:v>1039.8937</c:v>
                </c:pt>
                <c:pt idx="64">
                  <c:v>1037.1892</c:v>
                </c:pt>
                <c:pt idx="65">
                  <c:v>1053.2701</c:v>
                </c:pt>
                <c:pt idx="66">
                  <c:v>1058.5603</c:v>
                </c:pt>
                <c:pt idx="67">
                  <c:v>1052.2752</c:v>
                </c:pt>
                <c:pt idx="68">
                  <c:v>1088.1865</c:v>
                </c:pt>
                <c:pt idx="69">
                  <c:v>1096.0527</c:v>
                </c:pt>
                <c:pt idx="70">
                  <c:v>1032.3285</c:v>
                </c:pt>
                <c:pt idx="71">
                  <c:v>1110.0879</c:v>
                </c:pt>
                <c:pt idx="72">
                  <c:v>1276.535</c:v>
                </c:pt>
                <c:pt idx="73">
                  <c:v>1196.6487</c:v>
                </c:pt>
                <c:pt idx="74">
                  <c:v>1191.6673</c:v>
                </c:pt>
                <c:pt idx="75">
                  <c:v>1171.7086</c:v>
                </c:pt>
                <c:pt idx="76">
                  <c:v>1143.5734</c:v>
                </c:pt>
                <c:pt idx="77">
                  <c:v>1163.6069</c:v>
                </c:pt>
                <c:pt idx="78">
                  <c:v>1173.6162</c:v>
                </c:pt>
                <c:pt idx="79">
                  <c:v>1114.7677</c:v>
                </c:pt>
                <c:pt idx="80">
                  <c:v>1180.9248</c:v>
                </c:pt>
                <c:pt idx="81">
                  <c:v>1208.9415</c:v>
                </c:pt>
                <c:pt idx="82">
                  <c:v>1212.1311</c:v>
                </c:pt>
                <c:pt idx="83">
                  <c:v>1167.4218</c:v>
                </c:pt>
                <c:pt idx="84">
                  <c:v>1179.2929</c:v>
                </c:pt>
                <c:pt idx="85">
                  <c:v>1176.6947</c:v>
                </c:pt>
                <c:pt idx="86">
                  <c:v>1176.7333</c:v>
                </c:pt>
                <c:pt idx="87">
                  <c:v>1192.866</c:v>
                </c:pt>
                <c:pt idx="88">
                  <c:v>1240.5927</c:v>
                </c:pt>
                <c:pt idx="89">
                  <c:v>1215.1509</c:v>
                </c:pt>
                <c:pt idx="90">
                  <c:v>1251.7688</c:v>
                </c:pt>
                <c:pt idx="91">
                  <c:v>1218.9833</c:v>
                </c:pt>
                <c:pt idx="92">
                  <c:v>1148.4732</c:v>
                </c:pt>
                <c:pt idx="93">
                  <c:v>1180.952</c:v>
                </c:pt>
                <c:pt idx="94">
                  <c:v>1201.3648</c:v>
                </c:pt>
                <c:pt idx="95">
                  <c:v>1179.6247</c:v>
                </c:pt>
                <c:pt idx="96">
                  <c:v>1173.8918</c:v>
                </c:pt>
                <c:pt idx="97">
                  <c:v>1160.612</c:v>
                </c:pt>
                <c:pt idx="98">
                  <c:v>1156.6254</c:v>
                </c:pt>
                <c:pt idx="99">
                  <c:v>1112.6474</c:v>
                </c:pt>
                <c:pt idx="100">
                  <c:v>1115.9744</c:v>
                </c:pt>
                <c:pt idx="101">
                  <c:v>1109.5729</c:v>
                </c:pt>
                <c:pt idx="102">
                  <c:v>1110.7937</c:v>
                </c:pt>
                <c:pt idx="103">
                  <c:v>1092.4105</c:v>
                </c:pt>
                <c:pt idx="104">
                  <c:v>1133.432</c:v>
                </c:pt>
              </c:numCache>
            </c:numRef>
          </c:xVal>
          <c:yVal>
            <c:numRef>
              <c:f>Sheet1!$B$2:$B$106</c:f>
              <c:numCache>
                <c:formatCode>General</c:formatCode>
                <c:ptCount val="105"/>
                <c:pt idx="0">
                  <c:v>0.3298109010011123</c:v>
                </c:pt>
                <c:pt idx="1">
                  <c:v>0.3084735925710969</c:v>
                </c:pt>
                <c:pt idx="2">
                  <c:v>0.3170325090302862</c:v>
                </c:pt>
                <c:pt idx="3">
                  <c:v>0.2984201287302516</c:v>
                </c:pt>
                <c:pt idx="4">
                  <c:v>0.29898458066942457</c:v>
                </c:pt>
                <c:pt idx="5">
                  <c:v>0.3085271317829457</c:v>
                </c:pt>
                <c:pt idx="6">
                  <c:v>0.338000777907429</c:v>
                </c:pt>
                <c:pt idx="7">
                  <c:v>0.3706512042818912</c:v>
                </c:pt>
                <c:pt idx="8">
                  <c:v>0.3538394415357766</c:v>
                </c:pt>
                <c:pt idx="9">
                  <c:v>0.31988041853512705</c:v>
                </c:pt>
                <c:pt idx="10">
                  <c:v>0.3042042042042042</c:v>
                </c:pt>
                <c:pt idx="11">
                  <c:v>0.2665295327652072</c:v>
                </c:pt>
                <c:pt idx="12">
                  <c:v>0.24853801169590642</c:v>
                </c:pt>
                <c:pt idx="13">
                  <c:v>0.22343706195682647</c:v>
                </c:pt>
                <c:pt idx="14">
                  <c:v>0.19661733615221988</c:v>
                </c:pt>
                <c:pt idx="15">
                  <c:v>0.19011882426516574</c:v>
                </c:pt>
                <c:pt idx="16">
                  <c:v>0.1787454323995128</c:v>
                </c:pt>
                <c:pt idx="17">
                  <c:v>0.1934925579785393</c:v>
                </c:pt>
                <c:pt idx="18">
                  <c:v>0.18434134217067108</c:v>
                </c:pt>
                <c:pt idx="19">
                  <c:v>0.17984934086629</c:v>
                </c:pt>
                <c:pt idx="20">
                  <c:v>0.173109243697479</c:v>
                </c:pt>
                <c:pt idx="21">
                  <c:v>0.2127371273712737</c:v>
                </c:pt>
                <c:pt idx="22">
                  <c:v>0.2082204155374887</c:v>
                </c:pt>
                <c:pt idx="23">
                  <c:v>0.24286361576801088</c:v>
                </c:pt>
                <c:pt idx="24">
                  <c:v>0.251088534107402</c:v>
                </c:pt>
                <c:pt idx="25">
                  <c:v>0.25974739154310816</c:v>
                </c:pt>
                <c:pt idx="26">
                  <c:v>0.27860915492957744</c:v>
                </c:pt>
                <c:pt idx="27">
                  <c:v>0.2641338760741746</c:v>
                </c:pt>
                <c:pt idx="28">
                  <c:v>0.26533393911858244</c:v>
                </c:pt>
                <c:pt idx="29">
                  <c:v>0.25051503914297485</c:v>
                </c:pt>
                <c:pt idx="30">
                  <c:v>0.24552924117931368</c:v>
                </c:pt>
                <c:pt idx="31">
                  <c:v>0.2575046904315197</c:v>
                </c:pt>
                <c:pt idx="32">
                  <c:v>0.2687555163283319</c:v>
                </c:pt>
                <c:pt idx="33">
                  <c:v>0.25034387895460797</c:v>
                </c:pt>
                <c:pt idx="34">
                  <c:v>0.24680715197956576</c:v>
                </c:pt>
                <c:pt idx="35">
                  <c:v>0.26403269754768394</c:v>
                </c:pt>
                <c:pt idx="36">
                  <c:v>0.23414890818205736</c:v>
                </c:pt>
                <c:pt idx="37">
                  <c:v>0.239450441609421</c:v>
                </c:pt>
                <c:pt idx="38">
                  <c:v>0.21549155908639522</c:v>
                </c:pt>
                <c:pt idx="39">
                  <c:v>0.20976902688375615</c:v>
                </c:pt>
                <c:pt idx="40">
                  <c:v>0.20349815001681804</c:v>
                </c:pt>
                <c:pt idx="41">
                  <c:v>0.2105631339629241</c:v>
                </c:pt>
                <c:pt idx="42">
                  <c:v>0.21681804863756227</c:v>
                </c:pt>
                <c:pt idx="43">
                  <c:v>0.1980562122406094</c:v>
                </c:pt>
                <c:pt idx="44">
                  <c:v>0.1856082238720731</c:v>
                </c:pt>
                <c:pt idx="45">
                  <c:v>0.21725239616613418</c:v>
                </c:pt>
                <c:pt idx="46">
                  <c:v>0.21002960769800147</c:v>
                </c:pt>
                <c:pt idx="47">
                  <c:v>0.21741573033707864</c:v>
                </c:pt>
                <c:pt idx="48">
                  <c:v>0.21187734147356738</c:v>
                </c:pt>
                <c:pt idx="49">
                  <c:v>0.23156416173372127</c:v>
                </c:pt>
                <c:pt idx="50">
                  <c:v>0.2179189719792968</c:v>
                </c:pt>
                <c:pt idx="51">
                  <c:v>0.20714962121212122</c:v>
                </c:pt>
                <c:pt idx="52">
                  <c:v>0.2265750286368843</c:v>
                </c:pt>
                <c:pt idx="53">
                  <c:v>0.23137914464199905</c:v>
                </c:pt>
                <c:pt idx="54">
                  <c:v>0.2351666215117854</c:v>
                </c:pt>
                <c:pt idx="55">
                  <c:v>0.2335978835978836</c:v>
                </c:pt>
                <c:pt idx="56">
                  <c:v>0.2457327839905827</c:v>
                </c:pt>
                <c:pt idx="57">
                  <c:v>0.23454699407281965</c:v>
                </c:pt>
                <c:pt idx="58">
                  <c:v>0.24416569428238039</c:v>
                </c:pt>
                <c:pt idx="59">
                  <c:v>0.23277153558052435</c:v>
                </c:pt>
                <c:pt idx="60">
                  <c:v>0.2482253771073647</c:v>
                </c:pt>
                <c:pt idx="61">
                  <c:v>0.26153466567974337</c:v>
                </c:pt>
                <c:pt idx="62">
                  <c:v>0.24105793450881613</c:v>
                </c:pt>
                <c:pt idx="63">
                  <c:v>0.24647577092511014</c:v>
                </c:pt>
                <c:pt idx="64">
                  <c:v>0.2403292181069959</c:v>
                </c:pt>
                <c:pt idx="65">
                  <c:v>0.22209969122187914</c:v>
                </c:pt>
                <c:pt idx="66">
                  <c:v>0.2386291516818278</c:v>
                </c:pt>
                <c:pt idx="67">
                  <c:v>0.2351828499369483</c:v>
                </c:pt>
                <c:pt idx="68">
                  <c:v>0.20679681851048445</c:v>
                </c:pt>
                <c:pt idx="69">
                  <c:v>0.19393319700068165</c:v>
                </c:pt>
                <c:pt idx="70">
                  <c:v>0.20833333333333334</c:v>
                </c:pt>
                <c:pt idx="71">
                  <c:v>0.203304113283884</c:v>
                </c:pt>
                <c:pt idx="72">
                  <c:v>0.17908578584846588</c:v>
                </c:pt>
                <c:pt idx="73">
                  <c:v>0.18953804347826086</c:v>
                </c:pt>
                <c:pt idx="74">
                  <c:v>0.17733285663210582</c:v>
                </c:pt>
                <c:pt idx="75">
                  <c:v>0.203559510567297</c:v>
                </c:pt>
                <c:pt idx="76">
                  <c:v>0.20963070238957277</c:v>
                </c:pt>
                <c:pt idx="77">
                  <c:v>0.19903691813804172</c:v>
                </c:pt>
                <c:pt idx="78">
                  <c:v>0.2053415061295972</c:v>
                </c:pt>
                <c:pt idx="79">
                  <c:v>0.1710833982852689</c:v>
                </c:pt>
                <c:pt idx="80">
                  <c:v>0.1694980694980695</c:v>
                </c:pt>
                <c:pt idx="81">
                  <c:v>0.17657529369882521</c:v>
                </c:pt>
                <c:pt idx="82">
                  <c:v>0.16823193140057166</c:v>
                </c:pt>
                <c:pt idx="83">
                  <c:v>0.1726649528706084</c:v>
                </c:pt>
                <c:pt idx="84">
                  <c:v>0.19217238346525944</c:v>
                </c:pt>
                <c:pt idx="85">
                  <c:v>0.1862381540997116</c:v>
                </c:pt>
                <c:pt idx="86">
                  <c:v>0.20093185789167153</c:v>
                </c:pt>
                <c:pt idx="87">
                  <c:v>0.2166387493020659</c:v>
                </c:pt>
                <c:pt idx="88">
                  <c:v>0.20662824207492794</c:v>
                </c:pt>
                <c:pt idx="89">
                  <c:v>0.1940099833610649</c:v>
                </c:pt>
                <c:pt idx="90">
                  <c:v>0.1951861602106055</c:v>
                </c:pt>
                <c:pt idx="91">
                  <c:v>0.18161094224924013</c:v>
                </c:pt>
                <c:pt idx="92">
                  <c:v>0.1863508881271424</c:v>
                </c:pt>
                <c:pt idx="93">
                  <c:v>0.19041614123581338</c:v>
                </c:pt>
                <c:pt idx="94">
                  <c:v>0.2039684855558798</c:v>
                </c:pt>
                <c:pt idx="95">
                  <c:v>0.20506264382510866</c:v>
                </c:pt>
                <c:pt idx="96">
                  <c:v>0.17860397302715508</c:v>
                </c:pt>
                <c:pt idx="97">
                  <c:v>0.17269681742043552</c:v>
                </c:pt>
                <c:pt idx="98">
                  <c:v>0.18259541984732824</c:v>
                </c:pt>
                <c:pt idx="99">
                  <c:v>0.19099400529764393</c:v>
                </c:pt>
                <c:pt idx="100">
                  <c:v>0.2022241416540704</c:v>
                </c:pt>
                <c:pt idx="101">
                  <c:v>0.22445288478929282</c:v>
                </c:pt>
                <c:pt idx="102">
                  <c:v>0.21822673620642327</c:v>
                </c:pt>
                <c:pt idx="103">
                  <c:v>0.2087299744601811</c:v>
                </c:pt>
                <c:pt idx="104">
                  <c:v>0.208081363386476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8.9464</c:v>
                </c:pt>
                <c:pt idx="1">
                  <c:v>1145.0996</c:v>
                </c:pt>
                <c:pt idx="2">
                  <c:v>1155.552</c:v>
                </c:pt>
                <c:pt idx="3">
                  <c:v>1143.7269</c:v>
                </c:pt>
                <c:pt idx="4">
                  <c:v>1180.2455</c:v>
                </c:pt>
                <c:pt idx="5">
                  <c:v>1162.7181</c:v>
                </c:pt>
                <c:pt idx="6">
                  <c:v>1113.946</c:v>
                </c:pt>
                <c:pt idx="7">
                  <c:v>1193.7539</c:v>
                </c:pt>
                <c:pt idx="8">
                  <c:v>1215.2416</c:v>
                </c:pt>
                <c:pt idx="9">
                  <c:v>1164.2495</c:v>
                </c:pt>
                <c:pt idx="10">
                  <c:v>1228.9739</c:v>
                </c:pt>
                <c:pt idx="11">
                  <c:v>1116.0875</c:v>
                </c:pt>
                <c:pt idx="12">
                  <c:v>1116.7279</c:v>
                </c:pt>
                <c:pt idx="13">
                  <c:v>1162.3106</c:v>
                </c:pt>
                <c:pt idx="14">
                  <c:v>1148.9504</c:v>
                </c:pt>
                <c:pt idx="15">
                  <c:v>1161.1447</c:v>
                </c:pt>
                <c:pt idx="16">
                  <c:v>1200.8732</c:v>
                </c:pt>
                <c:pt idx="17">
                  <c:v>1060.6741</c:v>
                </c:pt>
                <c:pt idx="18">
                  <c:v>1135.1996</c:v>
                </c:pt>
                <c:pt idx="19">
                  <c:v>1289.9745</c:v>
                </c:pt>
                <c:pt idx="20">
                  <c:v>1229.7905</c:v>
                </c:pt>
                <c:pt idx="21">
                  <c:v>1158.5791</c:v>
                </c:pt>
                <c:pt idx="22">
                  <c:v>1187.986</c:v>
                </c:pt>
                <c:pt idx="23">
                  <c:v>1222.8653</c:v>
                </c:pt>
                <c:pt idx="24">
                  <c:v>1199.637</c:v>
                </c:pt>
                <c:pt idx="25">
                  <c:v>1203.335</c:v>
                </c:pt>
                <c:pt idx="26">
                  <c:v>1157.5763</c:v>
                </c:pt>
                <c:pt idx="27">
                  <c:v>1157.6364</c:v>
                </c:pt>
                <c:pt idx="28">
                  <c:v>1170.8764</c:v>
                </c:pt>
                <c:pt idx="29">
                  <c:v>1194.412</c:v>
                </c:pt>
                <c:pt idx="30">
                  <c:v>1206.6372</c:v>
                </c:pt>
                <c:pt idx="31">
                  <c:v>1154.583</c:v>
                </c:pt>
                <c:pt idx="32">
                  <c:v>1179.3368</c:v>
                </c:pt>
                <c:pt idx="33">
                  <c:v>1213.4668</c:v>
                </c:pt>
                <c:pt idx="34">
                  <c:v>1205.9256</c:v>
                </c:pt>
                <c:pt idx="35">
                  <c:v>1243.0221</c:v>
                </c:pt>
                <c:pt idx="36">
                  <c:v>1282.19</c:v>
                </c:pt>
                <c:pt idx="37">
                  <c:v>1294.6533</c:v>
                </c:pt>
                <c:pt idx="38">
                  <c:v>1328.3808</c:v>
                </c:pt>
                <c:pt idx="39">
                  <c:v>1266.5587</c:v>
                </c:pt>
                <c:pt idx="40">
                  <c:v>1282.8693</c:v>
                </c:pt>
                <c:pt idx="41">
                  <c:v>1303.2528</c:v>
                </c:pt>
                <c:pt idx="42">
                  <c:v>1240.7973</c:v>
                </c:pt>
                <c:pt idx="43">
                  <c:v>1310.812</c:v>
                </c:pt>
                <c:pt idx="44">
                  <c:v>1254.7424</c:v>
                </c:pt>
                <c:pt idx="45">
                  <c:v>1210.6993</c:v>
                </c:pt>
                <c:pt idx="46">
                  <c:v>1178.6707</c:v>
                </c:pt>
                <c:pt idx="47">
                  <c:v>1136.7825</c:v>
                </c:pt>
                <c:pt idx="48">
                  <c:v>1101.1189</c:v>
                </c:pt>
                <c:pt idx="49">
                  <c:v>1124.5972</c:v>
                </c:pt>
                <c:pt idx="50">
                  <c:v>1125.0571</c:v>
                </c:pt>
                <c:pt idx="51">
                  <c:v>1076.3934</c:v>
                </c:pt>
              </c:numCache>
            </c:numRef>
          </c:xVal>
          <c:yVal>
            <c:numRef>
              <c:f>Sheet1!$B$109:$B$160</c:f>
              <c:numCache>
                <c:formatCode>General</c:formatCode>
                <c:ptCount val="52"/>
                <c:pt idx="0">
                  <c:v>0.20865758754863814</c:v>
                </c:pt>
                <c:pt idx="1">
                  <c:v>0.2114213197969543</c:v>
                </c:pt>
                <c:pt idx="2">
                  <c:v>0.22926596758817921</c:v>
                </c:pt>
                <c:pt idx="3">
                  <c:v>0.2552963260927863</c:v>
                </c:pt>
                <c:pt idx="4">
                  <c:v>0.23049095607235143</c:v>
                </c:pt>
                <c:pt idx="5">
                  <c:v>0.24322799097065462</c:v>
                </c:pt>
                <c:pt idx="6">
                  <c:v>0.24495476687543494</c:v>
                </c:pt>
                <c:pt idx="7">
                  <c:v>0.22158438576349024</c:v>
                </c:pt>
                <c:pt idx="8">
                  <c:v>0.22231404958677686</c:v>
                </c:pt>
                <c:pt idx="9">
                  <c:v>0.22913188647746244</c:v>
                </c:pt>
                <c:pt idx="10">
                  <c:v>0.23539460198155107</c:v>
                </c:pt>
                <c:pt idx="11">
                  <c:v>0.22519455252918288</c:v>
                </c:pt>
                <c:pt idx="12">
                  <c:v>0.23373786407766992</c:v>
                </c:pt>
                <c:pt idx="13">
                  <c:v>0.23651992706433966</c:v>
                </c:pt>
                <c:pt idx="14">
                  <c:v>0.24416258287690978</c:v>
                </c:pt>
                <c:pt idx="15">
                  <c:v>0.23902305159165751</c:v>
                </c:pt>
                <c:pt idx="16">
                  <c:v>0.23720608575380359</c:v>
                </c:pt>
                <c:pt idx="17">
                  <c:v>0.2543393552957846</c:v>
                </c:pt>
                <c:pt idx="18">
                  <c:v>0.23512154233025984</c:v>
                </c:pt>
                <c:pt idx="19">
                  <c:v>0.2239657631954351</c:v>
                </c:pt>
                <c:pt idx="20">
                  <c:v>0.22564734895191121</c:v>
                </c:pt>
                <c:pt idx="21">
                  <c:v>0.2386237513873474</c:v>
                </c:pt>
                <c:pt idx="22">
                  <c:v>0.2497096399535424</c:v>
                </c:pt>
                <c:pt idx="23">
                  <c:v>0.24601657106437222</c:v>
                </c:pt>
                <c:pt idx="24">
                  <c:v>0.2564734895191122</c:v>
                </c:pt>
                <c:pt idx="25">
                  <c:v>0.2642719692110327</c:v>
                </c:pt>
                <c:pt idx="26">
                  <c:v>0.2424400417101147</c:v>
                </c:pt>
                <c:pt idx="27">
                  <c:v>0.23655913978494625</c:v>
                </c:pt>
                <c:pt idx="28">
                  <c:v>0.23908248786943095</c:v>
                </c:pt>
                <c:pt idx="29">
                  <c:v>0.2531831537708129</c:v>
                </c:pt>
                <c:pt idx="30">
                  <c:v>0.24894712213383247</c:v>
                </c:pt>
                <c:pt idx="31">
                  <c:v>0.24239298607529655</c:v>
                </c:pt>
                <c:pt idx="32">
                  <c:v>0.23918448533068126</c:v>
                </c:pt>
                <c:pt idx="33">
                  <c:v>0.24518518518518517</c:v>
                </c:pt>
                <c:pt idx="34">
                  <c:v>0.2579957356076759</c:v>
                </c:pt>
                <c:pt idx="35">
                  <c:v>0.26261082237847755</c:v>
                </c:pt>
                <c:pt idx="36">
                  <c:v>0.2424383434155421</c:v>
                </c:pt>
                <c:pt idx="37">
                  <c:v>0.2485428809325562</c:v>
                </c:pt>
                <c:pt idx="38">
                  <c:v>0.23233609166136218</c:v>
                </c:pt>
                <c:pt idx="39">
                  <c:v>0.23688332028191073</c:v>
                </c:pt>
                <c:pt idx="40">
                  <c:v>0.2401664145234493</c:v>
                </c:pt>
                <c:pt idx="41">
                  <c:v>0.23071937783538563</c:v>
                </c:pt>
                <c:pt idx="42">
                  <c:v>0.23022151898734178</c:v>
                </c:pt>
                <c:pt idx="43">
                  <c:v>0.22313237221494103</c:v>
                </c:pt>
                <c:pt idx="44">
                  <c:v>0.22100481026189203</c:v>
                </c:pt>
                <c:pt idx="45">
                  <c:v>0.23862238622386223</c:v>
                </c:pt>
                <c:pt idx="46">
                  <c:v>0.2556642022418316</c:v>
                </c:pt>
                <c:pt idx="47">
                  <c:v>0.247893850042123</c:v>
                </c:pt>
                <c:pt idx="48">
                  <c:v>0.24130737134909597</c:v>
                </c:pt>
                <c:pt idx="49">
                  <c:v>0.2605140186915888</c:v>
                </c:pt>
                <c:pt idx="50">
                  <c:v>0.24714340736936705</c:v>
                </c:pt>
                <c:pt idx="51">
                  <c:v>0.2465212876427829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732.77799849462</c:v>
                </c:pt>
              </c:numCache>
            </c:numRef>
          </c:xVal>
          <c:yVal>
            <c:numRef>
              <c:f>Sheet1!$B$163:$B$164</c:f>
              <c:numCache>
                <c:formatCode>General</c:formatCode>
                <c:ptCount val="2"/>
                <c:pt idx="0">
                  <c:v>0.3248600297233571</c:v>
                </c:pt>
                <c:pt idx="1">
                  <c:v>0.324860029723357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732.77799849462</c:v>
                </c:pt>
                <c:pt idx="1">
                  <c:v>-1732.77799849462</c:v>
                </c:pt>
              </c:numCache>
            </c:numRef>
          </c:xVal>
          <c:yVal>
            <c:numRef>
              <c:f>Sheet1!$B$167:$B$168</c:f>
              <c:numCache>
                <c:formatCode>General</c:formatCode>
                <c:ptCount val="2"/>
                <c:pt idx="0">
                  <c:v>0.324860029723357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67.1357939403184</c:v>
                </c:pt>
              </c:numCache>
            </c:numRef>
          </c:xVal>
          <c:yVal>
            <c:numRef>
              <c:f>Sheet1!$B$171:$B$172</c:f>
              <c:numCache>
                <c:formatCode>General</c:formatCode>
                <c:ptCount val="2"/>
                <c:pt idx="0">
                  <c:v>0.2488715212632087</c:v>
                </c:pt>
                <c:pt idx="1">
                  <c:v>0.248871521263208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67.1357939403184</c:v>
                </c:pt>
                <c:pt idx="1">
                  <c:v>867.1357939403184</c:v>
                </c:pt>
              </c:numCache>
            </c:numRef>
          </c:xVal>
          <c:yVal>
            <c:numRef>
              <c:f>Sheet1!$B$175:$B$176</c:f>
              <c:numCache>
                <c:formatCode>General</c:formatCode>
                <c:ptCount val="2"/>
                <c:pt idx="0">
                  <c:v>0.24887152126320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1.212318975422</c:v>
                </c:pt>
              </c:numCache>
            </c:numRef>
          </c:xVal>
          <c:yVal>
            <c:numRef>
              <c:f>Sheet1!$B$179:$B$180</c:f>
              <c:numCache>
                <c:formatCode>General</c:formatCode>
                <c:ptCount val="2"/>
                <c:pt idx="0">
                  <c:v>0.23998417982042863</c:v>
                </c:pt>
                <c:pt idx="1">
                  <c:v>0.239984179820428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1.212318975422</c:v>
                </c:pt>
                <c:pt idx="1">
                  <c:v>1171.212318975422</c:v>
                </c:pt>
              </c:numCache>
            </c:numRef>
          </c:xVal>
          <c:yVal>
            <c:numRef>
              <c:f>Sheet1!$B$183:$B$184</c:f>
              <c:numCache>
                <c:formatCode>General</c:formatCode>
                <c:ptCount val="2"/>
                <c:pt idx="0">
                  <c:v>0.239984179820428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8.9464</c:v>
                </c:pt>
                <c:pt idx="1">
                  <c:v>1145.0996</c:v>
                </c:pt>
                <c:pt idx="2">
                  <c:v>1155.552</c:v>
                </c:pt>
                <c:pt idx="3">
                  <c:v>1143.7269</c:v>
                </c:pt>
                <c:pt idx="4">
                  <c:v>1180.2455</c:v>
                </c:pt>
                <c:pt idx="5">
                  <c:v>1162.7181</c:v>
                </c:pt>
                <c:pt idx="6">
                  <c:v>1113.946</c:v>
                </c:pt>
                <c:pt idx="7">
                  <c:v>1193.7539</c:v>
                </c:pt>
                <c:pt idx="8">
                  <c:v>1215.2416</c:v>
                </c:pt>
                <c:pt idx="9">
                  <c:v>1164.2495</c:v>
                </c:pt>
                <c:pt idx="10">
                  <c:v>1228.9739</c:v>
                </c:pt>
                <c:pt idx="11">
                  <c:v>1116.0875</c:v>
                </c:pt>
                <c:pt idx="12">
                  <c:v>1116.7279</c:v>
                </c:pt>
                <c:pt idx="13">
                  <c:v>1162.3106</c:v>
                </c:pt>
                <c:pt idx="14">
                  <c:v>1148.9504</c:v>
                </c:pt>
                <c:pt idx="15">
                  <c:v>1161.1447</c:v>
                </c:pt>
                <c:pt idx="16">
                  <c:v>1200.8732</c:v>
                </c:pt>
                <c:pt idx="17">
                  <c:v>1060.6741</c:v>
                </c:pt>
                <c:pt idx="18">
                  <c:v>1135.1996</c:v>
                </c:pt>
                <c:pt idx="19">
                  <c:v>1289.9745</c:v>
                </c:pt>
                <c:pt idx="20">
                  <c:v>1229.7905</c:v>
                </c:pt>
                <c:pt idx="21">
                  <c:v>1158.5791</c:v>
                </c:pt>
                <c:pt idx="22">
                  <c:v>1187.986</c:v>
                </c:pt>
                <c:pt idx="23">
                  <c:v>1222.8653</c:v>
                </c:pt>
                <c:pt idx="24">
                  <c:v>1199.637</c:v>
                </c:pt>
                <c:pt idx="25">
                  <c:v>1203.335</c:v>
                </c:pt>
                <c:pt idx="26">
                  <c:v>1157.5763</c:v>
                </c:pt>
                <c:pt idx="27">
                  <c:v>1157.6364</c:v>
                </c:pt>
                <c:pt idx="28">
                  <c:v>1170.8764</c:v>
                </c:pt>
                <c:pt idx="29">
                  <c:v>1194.412</c:v>
                </c:pt>
                <c:pt idx="30">
                  <c:v>1206.6372</c:v>
                </c:pt>
                <c:pt idx="31">
                  <c:v>1154.583</c:v>
                </c:pt>
                <c:pt idx="32">
                  <c:v>1179.3368</c:v>
                </c:pt>
                <c:pt idx="33">
                  <c:v>1213.4668</c:v>
                </c:pt>
                <c:pt idx="34">
                  <c:v>1205.9256</c:v>
                </c:pt>
                <c:pt idx="35">
                  <c:v>1243.0221</c:v>
                </c:pt>
                <c:pt idx="36">
                  <c:v>1282.19</c:v>
                </c:pt>
                <c:pt idx="37">
                  <c:v>1294.6533</c:v>
                </c:pt>
                <c:pt idx="38">
                  <c:v>1328.3808</c:v>
                </c:pt>
                <c:pt idx="39">
                  <c:v>1266.5587</c:v>
                </c:pt>
                <c:pt idx="40">
                  <c:v>1282.8693</c:v>
                </c:pt>
                <c:pt idx="41">
                  <c:v>1303.2528</c:v>
                </c:pt>
                <c:pt idx="42">
                  <c:v>1240.7973</c:v>
                </c:pt>
                <c:pt idx="43">
                  <c:v>1310.812</c:v>
                </c:pt>
                <c:pt idx="44">
                  <c:v>1254.7424</c:v>
                </c:pt>
                <c:pt idx="45">
                  <c:v>1210.6993</c:v>
                </c:pt>
                <c:pt idx="46">
                  <c:v>1178.6707</c:v>
                </c:pt>
                <c:pt idx="47">
                  <c:v>1136.7825</c:v>
                </c:pt>
                <c:pt idx="48">
                  <c:v>1101.1189</c:v>
                </c:pt>
                <c:pt idx="49">
                  <c:v>1124.5972</c:v>
                </c:pt>
                <c:pt idx="50">
                  <c:v>1125.0571</c:v>
                </c:pt>
                <c:pt idx="51">
                  <c:v>1076.3934</c:v>
                </c:pt>
                <c:pt idx="52">
                  <c:v>867.1357939403184</c:v>
                </c:pt>
                <c:pt idx="53">
                  <c:v>-1732.77799849462</c:v>
                </c:pt>
                <c:pt idx="54">
                  <c:v>1171.212318975422</c:v>
                </c:pt>
              </c:numCache>
            </c:numRef>
          </c:xVal>
          <c:yVal>
            <c:numRef>
              <c:f>Sheet1!$B$187:$B$241</c:f>
              <c:numCache>
                <c:formatCode>General</c:formatCode>
                <c:ptCount val="55"/>
                <c:pt idx="0">
                  <c:v>0.2415117724805382</c:v>
                </c:pt>
                <c:pt idx="1">
                  <c:v>0.24074738457458433</c:v>
                </c:pt>
                <c:pt idx="2">
                  <c:v>0.240441888950791</c:v>
                </c:pt>
                <c:pt idx="3">
                  <c:v>0.24078750491467668</c:v>
                </c:pt>
                <c:pt idx="4">
                  <c:v>0.23972016416163813</c:v>
                </c:pt>
                <c:pt idx="5">
                  <c:v>0.24023244306375396</c:v>
                </c:pt>
                <c:pt idx="6">
                  <c:v>0.24165792076391968</c:v>
                </c:pt>
                <c:pt idx="7">
                  <c:v>0.23932534985253687</c:v>
                </c:pt>
                <c:pt idx="8">
                  <c:v>0.23869732200100185</c:v>
                </c:pt>
                <c:pt idx="9">
                  <c:v>0.24018768434821716</c:v>
                </c:pt>
                <c:pt idx="10">
                  <c:v>0.2382959636952905</c:v>
                </c:pt>
                <c:pt idx="11">
                  <c:v>0.2415953304613716</c:v>
                </c:pt>
                <c:pt idx="12">
                  <c:v>0.24157661328661006</c:v>
                </c:pt>
                <c:pt idx="13">
                  <c:v>0.24024435319603898</c:v>
                </c:pt>
                <c:pt idx="14">
                  <c:v>0.24063483601653993</c:v>
                </c:pt>
                <c:pt idx="15">
                  <c:v>0.24027842932666743</c:v>
                </c:pt>
                <c:pt idx="16">
                  <c:v>0.23911727180400524</c:v>
                </c:pt>
                <c:pt idx="17">
                  <c:v>0.2432149155518303</c:v>
                </c:pt>
                <c:pt idx="18">
                  <c:v>0.24103673502764336</c:v>
                </c:pt>
                <c:pt idx="19">
                  <c:v>0.23651307973095992</c:v>
                </c:pt>
                <c:pt idx="20">
                  <c:v>0.2382720966670109</c:v>
                </c:pt>
                <c:pt idx="21">
                  <c:v>0.24035341493498746</c:v>
                </c:pt>
                <c:pt idx="22">
                  <c:v>0.23949393010286002</c:v>
                </c:pt>
                <c:pt idx="23">
                  <c:v>0.23847450169302348</c:v>
                </c:pt>
                <c:pt idx="24">
                  <c:v>0.23915340261512358</c:v>
                </c:pt>
                <c:pt idx="25">
                  <c:v>0.23904531999134454</c:v>
                </c:pt>
                <c:pt idx="26">
                  <c:v>0.24038272408997002</c:v>
                </c:pt>
                <c:pt idx="27">
                  <c:v>0.24038096752812874</c:v>
                </c:pt>
                <c:pt idx="28">
                  <c:v>0.2399939978313104</c:v>
                </c:pt>
                <c:pt idx="29">
                  <c:v>0.23930611535423807</c:v>
                </c:pt>
                <c:pt idx="30">
                  <c:v>0.2389488055402242</c:v>
                </c:pt>
                <c:pt idx="31">
                  <c:v>0.24047021022240858</c:v>
                </c:pt>
                <c:pt idx="32">
                  <c:v>0.23974672302595074</c:v>
                </c:pt>
                <c:pt idx="33">
                  <c:v>0.23874919464585936</c:v>
                </c:pt>
                <c:pt idx="34">
                  <c:v>0.23896960370006226</c:v>
                </c:pt>
                <c:pt idx="35">
                  <c:v>0.2378853724796679</c:v>
                </c:pt>
                <c:pt idx="36">
                  <c:v>0.23674059979175166</c:v>
                </c:pt>
                <c:pt idx="37">
                  <c:v>0.23637633095320512</c:v>
                </c:pt>
                <c:pt idx="38">
                  <c:v>0.2353905665688063</c:v>
                </c:pt>
                <c:pt idx="39">
                  <c:v>0.23719746077527706</c:v>
                </c:pt>
                <c:pt idx="40">
                  <c:v>0.23672074567430085</c:v>
                </c:pt>
                <c:pt idx="41">
                  <c:v>0.2361249906278434</c:v>
                </c:pt>
                <c:pt idx="42">
                  <c:v>0.23795039741784624</c:v>
                </c:pt>
                <c:pt idx="43">
                  <c:v>0.23590405548190765</c:v>
                </c:pt>
                <c:pt idx="44">
                  <c:v>0.23754281953876002</c:v>
                </c:pt>
                <c:pt idx="45">
                  <c:v>0.23883008124978267</c:v>
                </c:pt>
                <c:pt idx="46">
                  <c:v>0.23976619134279747</c:v>
                </c:pt>
                <c:pt idx="47">
                  <c:v>0.24099047110520427</c:v>
                </c:pt>
                <c:pt idx="48">
                  <c:v>0.24203282250093316</c:v>
                </c:pt>
                <c:pt idx="49">
                  <c:v>0.24134661474921035</c:v>
                </c:pt>
                <c:pt idx="50">
                  <c:v>0.24133317310543642</c:v>
                </c:pt>
                <c:pt idx="51">
                  <c:v>0.2427554825642777</c:v>
                </c:pt>
                <c:pt idx="52">
                  <c:v>0.2488715212632087</c:v>
                </c:pt>
                <c:pt idx="53">
                  <c:v>0.3248600297233571</c:v>
                </c:pt>
                <c:pt idx="54">
                  <c:v>0.239984179820428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47814451382694"/>
          <c:min val="0.134585545120457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2203196275618344</c:v>
                </c:pt>
                <c:pt idx="1">
                  <c:v>2.403498614192652</c:v>
                </c:pt>
                <c:pt idx="2">
                  <c:v>2.3908120891131057</c:v>
                </c:pt>
                <c:pt idx="3">
                  <c:v>2.402960499598661</c:v>
                </c:pt>
                <c:pt idx="4">
                  <c:v>2.3867650014442936</c:v>
                </c:pt>
                <c:pt idx="5">
                  <c:v>1.8966309181541539</c:v>
                </c:pt>
                <c:pt idx="6">
                  <c:v>1.670108177285185</c:v>
                </c:pt>
                <c:pt idx="7">
                  <c:v>1.7254329546235083</c:v>
                </c:pt>
                <c:pt idx="8">
                  <c:v>1.7809868929796764</c:v>
                </c:pt>
                <c:pt idx="9">
                  <c:v>1.8331058849405528</c:v>
                </c:pt>
                <c:pt idx="10">
                  <c:v>1.8803598326705473</c:v>
                </c:pt>
                <c:pt idx="11">
                  <c:v>1.8469373264211686</c:v>
                </c:pt>
                <c:pt idx="12">
                  <c:v>1.8173468336567882</c:v>
                </c:pt>
                <c:pt idx="13">
                  <c:v>1.7669923282859268</c:v>
                </c:pt>
                <c:pt idx="14">
                  <c:v>1.8871085730869857</c:v>
                </c:pt>
                <c:pt idx="15">
                  <c:v>1.9028770494145544</c:v>
                </c:pt>
                <c:pt idx="16">
                  <c:v>1.8446538179583778</c:v>
                </c:pt>
                <c:pt idx="17">
                  <c:v>2.301120399580183</c:v>
                </c:pt>
                <c:pt idx="18">
                  <c:v>2.5756735377908146</c:v>
                </c:pt>
                <c:pt idx="19">
                  <c:v>2.691941025383533</c:v>
                </c:pt>
                <c:pt idx="20">
                  <c:v>2.6324526000438517</c:v>
                </c:pt>
                <c:pt idx="21">
                  <c:v>2.7776077763681193</c:v>
                </c:pt>
                <c:pt idx="22">
                  <c:v>2.773776154781651</c:v>
                </c:pt>
                <c:pt idx="23">
                  <c:v>3.107792919407566</c:v>
                </c:pt>
                <c:pt idx="24">
                  <c:v>2.9015884384942323</c:v>
                </c:pt>
                <c:pt idx="25">
                  <c:v>2.813558888947303</c:v>
                </c:pt>
                <c:pt idx="26">
                  <c:v>2.1403745231795703</c:v>
                </c:pt>
                <c:pt idx="27">
                  <c:v>2.063009683673418</c:v>
                </c:pt>
                <c:pt idx="28">
                  <c:v>2.1445057143581896</c:v>
                </c:pt>
                <c:pt idx="29">
                  <c:v>1.8939974064727305</c:v>
                </c:pt>
                <c:pt idx="30">
                  <c:v>1.9568793235354305</c:v>
                </c:pt>
                <c:pt idx="31">
                  <c:v>1.8790643715418023</c:v>
                </c:pt>
                <c:pt idx="32">
                  <c:v>1.8470181237348178</c:v>
                </c:pt>
                <c:pt idx="33">
                  <c:v>1.7851834841353222</c:v>
                </c:pt>
                <c:pt idx="34">
                  <c:v>1.9428915848704478</c:v>
                </c:pt>
                <c:pt idx="35">
                  <c:v>2.004859312178525</c:v>
                </c:pt>
                <c:pt idx="36">
                  <c:v>2.1448984219734157</c:v>
                </c:pt>
                <c:pt idx="37">
                  <c:v>2.1974592389630745</c:v>
                </c:pt>
                <c:pt idx="38">
                  <c:v>2.19241725783242</c:v>
                </c:pt>
                <c:pt idx="39">
                  <c:v>2.3239320541229835</c:v>
                </c:pt>
                <c:pt idx="40">
                  <c:v>2.2678853513228305</c:v>
                </c:pt>
                <c:pt idx="41">
                  <c:v>2.3181196641765656</c:v>
                </c:pt>
                <c:pt idx="42">
                  <c:v>2.3781649612404356</c:v>
                </c:pt>
                <c:pt idx="43">
                  <c:v>2.388093979147791</c:v>
                </c:pt>
                <c:pt idx="44">
                  <c:v>2.0653308547312066</c:v>
                </c:pt>
                <c:pt idx="45">
                  <c:v>2.0225670917380807</c:v>
                </c:pt>
                <c:pt idx="46">
                  <c:v>2.045191272649541</c:v>
                </c:pt>
                <c:pt idx="47">
                  <c:v>1.99505258510162</c:v>
                </c:pt>
                <c:pt idx="48">
                  <c:v>2.0040758638521785</c:v>
                </c:pt>
                <c:pt idx="49">
                  <c:v>1.9845362953560943</c:v>
                </c:pt>
                <c:pt idx="50">
                  <c:v>1.9569981332226547</c:v>
                </c:pt>
                <c:pt idx="51">
                  <c:v>2.079365632854743</c:v>
                </c:pt>
                <c:pt idx="52">
                  <c:v>2.0231820922746273</c:v>
                </c:pt>
                <c:pt idx="53">
                  <c:v>2.000353624919936</c:v>
                </c:pt>
                <c:pt idx="54">
                  <c:v>2.134426136007403</c:v>
                </c:pt>
                <c:pt idx="55">
                  <c:v>2.078244861996636</c:v>
                </c:pt>
                <c:pt idx="56">
                  <c:v>2.154500687422509</c:v>
                </c:pt>
                <c:pt idx="57">
                  <c:v>2.1079013297970697</c:v>
                </c:pt>
                <c:pt idx="58">
                  <c:v>2.1527221678417727</c:v>
                </c:pt>
                <c:pt idx="59">
                  <c:v>2.2057264263102923</c:v>
                </c:pt>
                <c:pt idx="60">
                  <c:v>2.253192145053678</c:v>
                </c:pt>
                <c:pt idx="61">
                  <c:v>2.1230697209329175</c:v>
                </c:pt>
                <c:pt idx="62">
                  <c:v>2.197337947153546</c:v>
                </c:pt>
                <c:pt idx="63">
                  <c:v>2.3502089019115386</c:v>
                </c:pt>
                <c:pt idx="64">
                  <c:v>2.2843710709978</c:v>
                </c:pt>
                <c:pt idx="65">
                  <c:v>2.2044248008393175</c:v>
                </c:pt>
                <c:pt idx="66">
                  <c:v>2.016934169217551</c:v>
                </c:pt>
                <c:pt idx="67">
                  <c:v>2.0467468551796513</c:v>
                </c:pt>
                <c:pt idx="68">
                  <c:v>2.0862240738670224</c:v>
                </c:pt>
                <c:pt idx="69">
                  <c:v>1.9613773163886612</c:v>
                </c:pt>
                <c:pt idx="70">
                  <c:v>1.8559856823523744</c:v>
                </c:pt>
                <c:pt idx="71">
                  <c:v>2.0099946765544536</c:v>
                </c:pt>
                <c:pt idx="72">
                  <c:v>2.106058186654662</c:v>
                </c:pt>
                <c:pt idx="73">
                  <c:v>2.0054296362156396</c:v>
                </c:pt>
                <c:pt idx="74">
                  <c:v>2.1272812741463274</c:v>
                </c:pt>
                <c:pt idx="75">
                  <c:v>2.1126298464237467</c:v>
                </c:pt>
                <c:pt idx="76">
                  <c:v>2.212314407014665</c:v>
                </c:pt>
                <c:pt idx="77">
                  <c:v>2.2944888889722455</c:v>
                </c:pt>
                <c:pt idx="78">
                  <c:v>2.234793623545536</c:v>
                </c:pt>
                <c:pt idx="79">
                  <c:v>1.5076232303335708</c:v>
                </c:pt>
                <c:pt idx="80">
                  <c:v>1.6448321793093106</c:v>
                </c:pt>
                <c:pt idx="81">
                  <c:v>1.921526651529895</c:v>
                </c:pt>
                <c:pt idx="82">
                  <c:v>1.9421416511467477</c:v>
                </c:pt>
                <c:pt idx="83">
                  <c:v>1.7317533569006143</c:v>
                </c:pt>
                <c:pt idx="84">
                  <c:v>2.1538219603011335</c:v>
                </c:pt>
                <c:pt idx="85">
                  <c:v>1.7289376180973446</c:v>
                </c:pt>
                <c:pt idx="86">
                  <c:v>2.244533960094331</c:v>
                </c:pt>
                <c:pt idx="87">
                  <c:v>2.3581950403360237</c:v>
                </c:pt>
                <c:pt idx="88">
                  <c:v>2.271450516022256</c:v>
                </c:pt>
                <c:pt idx="89">
                  <c:v>2.160322012871227</c:v>
                </c:pt>
                <c:pt idx="90">
                  <c:v>2.2561686524266613</c:v>
                </c:pt>
                <c:pt idx="91">
                  <c:v>2.3914903951925015</c:v>
                </c:pt>
                <c:pt idx="92">
                  <c:v>2.336155789420233</c:v>
                </c:pt>
                <c:pt idx="93">
                  <c:v>2.04671720231424</c:v>
                </c:pt>
                <c:pt idx="94">
                  <c:v>2.0166823571741714</c:v>
                </c:pt>
                <c:pt idx="95">
                  <c:v>1.9920223958004843</c:v>
                </c:pt>
                <c:pt idx="96">
                  <c:v>1.7269612536868235</c:v>
                </c:pt>
                <c:pt idx="97">
                  <c:v>1.9031590170582264</c:v>
                </c:pt>
                <c:pt idx="98">
                  <c:v>2.03088901558841</c:v>
                </c:pt>
                <c:pt idx="99">
                  <c:v>2.1589330635097412</c:v>
                </c:pt>
                <c:pt idx="100">
                  <c:v>1.9207942147120882</c:v>
                </c:pt>
                <c:pt idx="101">
                  <c:v>1.7670215571597503</c:v>
                </c:pt>
                <c:pt idx="102">
                  <c:v>1.8415244641836677</c:v>
                </c:pt>
                <c:pt idx="103">
                  <c:v>1.4694821885759444</c:v>
                </c:pt>
                <c:pt idx="104">
                  <c:v>1.635857803744142</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114354568328264</c:v>
                </c:pt>
                <c:pt idx="1">
                  <c:v>1.6799429102189585</c:v>
                </c:pt>
                <c:pt idx="2">
                  <c:v>1.6125404983354232</c:v>
                </c:pt>
                <c:pt idx="3">
                  <c:v>1.6449371045199166</c:v>
                </c:pt>
                <c:pt idx="4">
                  <c:v>1.7034772354151733</c:v>
                </c:pt>
                <c:pt idx="5">
                  <c:v>1.6494573747535841</c:v>
                </c:pt>
                <c:pt idx="6">
                  <c:v>1.712259870725205</c:v>
                </c:pt>
                <c:pt idx="7">
                  <c:v>1.713154178065854</c:v>
                </c:pt>
                <c:pt idx="8">
                  <c:v>1.8288374454771483</c:v>
                </c:pt>
                <c:pt idx="9">
                  <c:v>1.7669428531252651</c:v>
                </c:pt>
                <c:pt idx="10">
                  <c:v>1.8721036798950188</c:v>
                </c:pt>
                <c:pt idx="11">
                  <c:v>1.924542629348612</c:v>
                </c:pt>
                <c:pt idx="12">
                  <c:v>2.043841434319389</c:v>
                </c:pt>
                <c:pt idx="13">
                  <c:v>1.9908086173531168</c:v>
                </c:pt>
                <c:pt idx="14">
                  <c:v>1.995903927378263</c:v>
                </c:pt>
                <c:pt idx="15">
                  <c:v>2.291065256980259</c:v>
                </c:pt>
                <c:pt idx="16">
                  <c:v>2.0802875545316803</c:v>
                </c:pt>
                <c:pt idx="17">
                  <c:v>2.419602590932068</c:v>
                </c:pt>
                <c:pt idx="18">
                  <c:v>2.2434708842941378</c:v>
                </c:pt>
                <c:pt idx="19">
                  <c:v>2.2621158486487</c:v>
                </c:pt>
                <c:pt idx="20">
                  <c:v>2.039385530758916</c:v>
                </c:pt>
                <c:pt idx="21">
                  <c:v>2.008621693430604</c:v>
                </c:pt>
                <c:pt idx="22">
                  <c:v>1.8600376072912526</c:v>
                </c:pt>
                <c:pt idx="23">
                  <c:v>1.821666177623274</c:v>
                </c:pt>
                <c:pt idx="24">
                  <c:v>1.6633211824658678</c:v>
                </c:pt>
                <c:pt idx="25">
                  <c:v>1.7743124757383175</c:v>
                </c:pt>
                <c:pt idx="26">
                  <c:v>1.7411948656840412</c:v>
                </c:pt>
                <c:pt idx="27">
                  <c:v>1.691127755480518</c:v>
                </c:pt>
                <c:pt idx="28">
                  <c:v>1.6691867568553795</c:v>
                </c:pt>
                <c:pt idx="29">
                  <c:v>1.9272357793971258</c:v>
                </c:pt>
                <c:pt idx="30">
                  <c:v>1.7908366056572378</c:v>
                </c:pt>
                <c:pt idx="31">
                  <c:v>1.365007927706839</c:v>
                </c:pt>
                <c:pt idx="32">
                  <c:v>1.5533412731523437</c:v>
                </c:pt>
                <c:pt idx="33">
                  <c:v>1.684437252750144</c:v>
                </c:pt>
                <c:pt idx="34">
                  <c:v>1.7641254356401173</c:v>
                </c:pt>
                <c:pt idx="35">
                  <c:v>1.5728277970629834</c:v>
                </c:pt>
                <c:pt idx="36">
                  <c:v>1.6773134959636262</c:v>
                </c:pt>
                <c:pt idx="37">
                  <c:v>1.8332957037135376</c:v>
                </c:pt>
                <c:pt idx="38">
                  <c:v>1.7408276923076924</c:v>
                </c:pt>
                <c:pt idx="39">
                  <c:v>1.6878094968954893</c:v>
                </c:pt>
                <c:pt idx="40">
                  <c:v>1.6557650679941465</c:v>
                </c:pt>
                <c:pt idx="41">
                  <c:v>1.6733962792038413</c:v>
                </c:pt>
                <c:pt idx="42">
                  <c:v>1.5883904806381888</c:v>
                </c:pt>
                <c:pt idx="43">
                  <c:v>1.8132773287347907</c:v>
                </c:pt>
                <c:pt idx="44">
                  <c:v>1.7277247422989204</c:v>
                </c:pt>
                <c:pt idx="45">
                  <c:v>1.661851355862788</c:v>
                </c:pt>
                <c:pt idx="46">
                  <c:v>1.6322312273143251</c:v>
                </c:pt>
                <c:pt idx="47">
                  <c:v>1.6585557163026616</c:v>
                </c:pt>
                <c:pt idx="48">
                  <c:v>1.5248366874094315</c:v>
                </c:pt>
                <c:pt idx="49">
                  <c:v>1.6630728145327571</c:v>
                </c:pt>
                <c:pt idx="50">
                  <c:v>1.6593051206743914</c:v>
                </c:pt>
                <c:pt idx="51">
                  <c:v>1.6892577565725633</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6558324547337444</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6558324547337444</c:v>
                </c:pt>
                <c:pt idx="1">
                  <c:v>0.16558324547337444</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706308253392872</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706308253392872</c:v>
                </c:pt>
                <c:pt idx="1">
                  <c:v>1.6706308253392872</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982999447418615</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982999447418615</c:v>
                </c:pt>
                <c:pt idx="1">
                  <c:v>1.7982999447418615</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114354568328264</c:v>
                </c:pt>
                <c:pt idx="1">
                  <c:v>1.6799429102189585</c:v>
                </c:pt>
                <c:pt idx="2">
                  <c:v>1.6125404983354232</c:v>
                </c:pt>
                <c:pt idx="3">
                  <c:v>1.6449371045199166</c:v>
                </c:pt>
                <c:pt idx="4">
                  <c:v>1.7034772354151733</c:v>
                </c:pt>
                <c:pt idx="5">
                  <c:v>1.6494573747535841</c:v>
                </c:pt>
                <c:pt idx="6">
                  <c:v>1.712259870725205</c:v>
                </c:pt>
                <c:pt idx="7">
                  <c:v>1.713154178065854</c:v>
                </c:pt>
                <c:pt idx="8">
                  <c:v>1.8288374454771483</c:v>
                </c:pt>
                <c:pt idx="9">
                  <c:v>1.7669428531252651</c:v>
                </c:pt>
                <c:pt idx="10">
                  <c:v>1.8721036798950188</c:v>
                </c:pt>
                <c:pt idx="11">
                  <c:v>1.924542629348612</c:v>
                </c:pt>
                <c:pt idx="12">
                  <c:v>2.043841434319389</c:v>
                </c:pt>
                <c:pt idx="13">
                  <c:v>1.9908086173531168</c:v>
                </c:pt>
                <c:pt idx="14">
                  <c:v>1.995903927378263</c:v>
                </c:pt>
                <c:pt idx="15">
                  <c:v>2.291065256980259</c:v>
                </c:pt>
                <c:pt idx="16">
                  <c:v>2.0802875545316803</c:v>
                </c:pt>
                <c:pt idx="17">
                  <c:v>2.419602590932068</c:v>
                </c:pt>
                <c:pt idx="18">
                  <c:v>2.2434708842941378</c:v>
                </c:pt>
                <c:pt idx="19">
                  <c:v>2.2621158486487</c:v>
                </c:pt>
                <c:pt idx="20">
                  <c:v>2.039385530758916</c:v>
                </c:pt>
                <c:pt idx="21">
                  <c:v>2.008621693430604</c:v>
                </c:pt>
                <c:pt idx="22">
                  <c:v>1.8600376072912526</c:v>
                </c:pt>
                <c:pt idx="23">
                  <c:v>1.821666177623274</c:v>
                </c:pt>
                <c:pt idx="24">
                  <c:v>1.6633211824658678</c:v>
                </c:pt>
                <c:pt idx="25">
                  <c:v>1.7743124757383175</c:v>
                </c:pt>
                <c:pt idx="26">
                  <c:v>1.7411948656840412</c:v>
                </c:pt>
                <c:pt idx="27">
                  <c:v>1.691127755480518</c:v>
                </c:pt>
                <c:pt idx="28">
                  <c:v>1.6691867568553795</c:v>
                </c:pt>
                <c:pt idx="29">
                  <c:v>1.9272357793971258</c:v>
                </c:pt>
                <c:pt idx="30">
                  <c:v>1.7908366056572378</c:v>
                </c:pt>
                <c:pt idx="31">
                  <c:v>1.365007927706839</c:v>
                </c:pt>
                <c:pt idx="32">
                  <c:v>1.5533412731523437</c:v>
                </c:pt>
                <c:pt idx="33">
                  <c:v>1.684437252750144</c:v>
                </c:pt>
                <c:pt idx="34">
                  <c:v>1.7641254356401173</c:v>
                </c:pt>
                <c:pt idx="35">
                  <c:v>1.5728277970629834</c:v>
                </c:pt>
                <c:pt idx="36">
                  <c:v>1.6773134959636262</c:v>
                </c:pt>
                <c:pt idx="37">
                  <c:v>1.8332957037135376</c:v>
                </c:pt>
                <c:pt idx="38">
                  <c:v>1.7408276923076924</c:v>
                </c:pt>
                <c:pt idx="39">
                  <c:v>1.6878094968954893</c:v>
                </c:pt>
                <c:pt idx="40">
                  <c:v>1.6557650679941465</c:v>
                </c:pt>
                <c:pt idx="41">
                  <c:v>1.6733962792038413</c:v>
                </c:pt>
                <c:pt idx="42">
                  <c:v>1.5883904806381888</c:v>
                </c:pt>
                <c:pt idx="43">
                  <c:v>1.8132773287347907</c:v>
                </c:pt>
                <c:pt idx="44">
                  <c:v>1.7277247422989204</c:v>
                </c:pt>
                <c:pt idx="45">
                  <c:v>1.661851355862788</c:v>
                </c:pt>
                <c:pt idx="46">
                  <c:v>1.6322312273143251</c:v>
                </c:pt>
                <c:pt idx="47">
                  <c:v>1.6585557163026616</c:v>
                </c:pt>
                <c:pt idx="48">
                  <c:v>1.5248366874094315</c:v>
                </c:pt>
                <c:pt idx="49">
                  <c:v>1.6630728145327571</c:v>
                </c:pt>
                <c:pt idx="50">
                  <c:v>1.6593051206743914</c:v>
                </c:pt>
                <c:pt idx="51">
                  <c:v>1.6892577565725633</c:v>
                </c:pt>
                <c:pt idx="52">
                  <c:v>1.6706308253392872</c:v>
                </c:pt>
                <c:pt idx="53">
                  <c:v>0.16558324547337444</c:v>
                </c:pt>
                <c:pt idx="54">
                  <c:v>1.7982999447418615</c:v>
                </c:pt>
              </c:numCache>
            </c:numRef>
          </c:xVal>
          <c:yVal>
            <c:numRef>
              <c:f>Sheet1!$B$187:$B$241</c:f>
              <c:numCache>
                <c:formatCode>General</c:formatCode>
                <c:ptCount val="55"/>
                <c:pt idx="0">
                  <c:v>0.1575939154060165</c:v>
                </c:pt>
                <c:pt idx="1">
                  <c:v>0.15542758669531803</c:v>
                </c:pt>
                <c:pt idx="2">
                  <c:v>0.15755897200912658</c:v>
                </c:pt>
                <c:pt idx="3">
                  <c:v>0.1565345331395179</c:v>
                </c:pt>
                <c:pt idx="4">
                  <c:v>0.15468338906659995</c:v>
                </c:pt>
                <c:pt idx="5">
                  <c:v>0.15639159407663789</c:v>
                </c:pt>
                <c:pt idx="6">
                  <c:v>0.15440566636509362</c:v>
                </c:pt>
                <c:pt idx="7">
                  <c:v>0.15437738676086843</c:v>
                </c:pt>
                <c:pt idx="8">
                  <c:v>0.15071927408620833</c:v>
                </c:pt>
                <c:pt idx="9">
                  <c:v>0.15267649225476465</c:v>
                </c:pt>
                <c:pt idx="10">
                  <c:v>0.14935111805076276</c:v>
                </c:pt>
                <c:pt idx="11">
                  <c:v>0.1476929042923284</c:v>
                </c:pt>
                <c:pt idx="12">
                  <c:v>0.14392046182678309</c:v>
                </c:pt>
                <c:pt idx="13">
                  <c:v>0.14559745474251318</c:v>
                </c:pt>
                <c:pt idx="14">
                  <c:v>0.14543633188869504</c:v>
                </c:pt>
                <c:pt idx="15">
                  <c:v>0.13610280055742865</c:v>
                </c:pt>
                <c:pt idx="16">
                  <c:v>0.14276797005096942</c:v>
                </c:pt>
                <c:pt idx="17">
                  <c:v>0.1320382192137466</c:v>
                </c:pt>
                <c:pt idx="18">
                  <c:v>0.13760782009795208</c:v>
                </c:pt>
                <c:pt idx="19">
                  <c:v>0.1370182328399996</c:v>
                </c:pt>
                <c:pt idx="20">
                  <c:v>0.1440613654998586</c:v>
                </c:pt>
                <c:pt idx="21">
                  <c:v>0.14503417328589535</c:v>
                </c:pt>
                <c:pt idx="22">
                  <c:v>0.14973266893632234</c:v>
                </c:pt>
                <c:pt idx="23">
                  <c:v>0.1509460424548469</c:v>
                </c:pt>
                <c:pt idx="24">
                  <c:v>0.15595319557833956</c:v>
                </c:pt>
                <c:pt idx="25">
                  <c:v>0.15244345155240946</c:v>
                </c:pt>
                <c:pt idx="26">
                  <c:v>0.15349068985925357</c:v>
                </c:pt>
                <c:pt idx="27">
                  <c:v>0.15507390180094213</c:v>
                </c:pt>
                <c:pt idx="28">
                  <c:v>0.1557677155819789</c:v>
                </c:pt>
                <c:pt idx="29">
                  <c:v>0.14760774205108393</c:v>
                </c:pt>
                <c:pt idx="30">
                  <c:v>0.15192092888818334</c:v>
                </c:pt>
                <c:pt idx="31">
                  <c:v>0.16538639644371006</c:v>
                </c:pt>
                <c:pt idx="32">
                  <c:v>0.15943095782711306</c:v>
                </c:pt>
                <c:pt idx="33">
                  <c:v>0.15528546751295486</c:v>
                </c:pt>
                <c:pt idx="34">
                  <c:v>0.15276558405553117</c:v>
                </c:pt>
                <c:pt idx="35">
                  <c:v>0.1588147589446149</c:v>
                </c:pt>
                <c:pt idx="36">
                  <c:v>0.15551073349631706</c:v>
                </c:pt>
                <c:pt idx="37">
                  <c:v>0.1505782959540515</c:v>
                </c:pt>
                <c:pt idx="38">
                  <c:v>0.1535023005408316</c:v>
                </c:pt>
                <c:pt idx="39">
                  <c:v>0.15517883109676273</c:v>
                </c:pt>
                <c:pt idx="40">
                  <c:v>0.15619213348819228</c:v>
                </c:pt>
                <c:pt idx="41">
                  <c:v>0.15563460292531073</c:v>
                </c:pt>
                <c:pt idx="42">
                  <c:v>0.15832263894046789</c:v>
                </c:pt>
                <c:pt idx="43">
                  <c:v>0.15121131292249082</c:v>
                </c:pt>
                <c:pt idx="44">
                  <c:v>0.15391663935209732</c:v>
                </c:pt>
                <c:pt idx="45">
                  <c:v>0.15599967413523547</c:v>
                </c:pt>
                <c:pt idx="46">
                  <c:v>0.15693631579563183</c:v>
                </c:pt>
                <c:pt idx="47">
                  <c:v>0.15610388817686643</c:v>
                </c:pt>
                <c:pt idx="48">
                  <c:v>0.16033232402056052</c:v>
                </c:pt>
                <c:pt idx="49">
                  <c:v>0.15596104941843608</c:v>
                </c:pt>
                <c:pt idx="50">
                  <c:v>0.15608019066475415</c:v>
                </c:pt>
                <c:pt idx="51">
                  <c:v>0.15513303452479985</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797409311880632</c:v>
                </c:pt>
                <c:pt idx="1">
                  <c:v>2.273349477347166</c:v>
                </c:pt>
                <c:pt idx="2">
                  <c:v>2.2396386448005265</c:v>
                </c:pt>
                <c:pt idx="3">
                  <c:v>2.244377308083537</c:v>
                </c:pt>
                <c:pt idx="4">
                  <c:v>2.261852419722835</c:v>
                </c:pt>
                <c:pt idx="5">
                  <c:v>1.7622649764378517</c:v>
                </c:pt>
                <c:pt idx="6">
                  <c:v>1.560789203084833</c:v>
                </c:pt>
                <c:pt idx="7">
                  <c:v>1.5789706056748696</c:v>
                </c:pt>
                <c:pt idx="8">
                  <c:v>1.5954712663673396</c:v>
                </c:pt>
                <c:pt idx="9">
                  <c:v>1.7146336584992086</c:v>
                </c:pt>
                <c:pt idx="10">
                  <c:v>1.721382856801172</c:v>
                </c:pt>
                <c:pt idx="11">
                  <c:v>1.6876305955211626</c:v>
                </c:pt>
                <c:pt idx="12">
                  <c:v>1.7000393778844483</c:v>
                </c:pt>
                <c:pt idx="13">
                  <c:v>1.691728354430883</c:v>
                </c:pt>
                <c:pt idx="14">
                  <c:v>1.7213922343686459</c:v>
                </c:pt>
                <c:pt idx="15">
                  <c:v>1.7205097775357208</c:v>
                </c:pt>
                <c:pt idx="16">
                  <c:v>1.7069934024172613</c:v>
                </c:pt>
                <c:pt idx="17">
                  <c:v>2.1582172642169466</c:v>
                </c:pt>
                <c:pt idx="18">
                  <c:v>2.1812339383041377</c:v>
                </c:pt>
                <c:pt idx="19">
                  <c:v>2.3091908770024436</c:v>
                </c:pt>
                <c:pt idx="20">
                  <c:v>2.4522760748868198</c:v>
                </c:pt>
                <c:pt idx="21">
                  <c:v>2.5016771753998923</c:v>
                </c:pt>
                <c:pt idx="22">
                  <c:v>2.474221109571448</c:v>
                </c:pt>
                <c:pt idx="23">
                  <c:v>2.534067903809926</c:v>
                </c:pt>
                <c:pt idx="24">
                  <c:v>2.5767960414735023</c:v>
                </c:pt>
                <c:pt idx="25">
                  <c:v>2.547425345618213</c:v>
                </c:pt>
                <c:pt idx="26">
                  <c:v>2.0547964187057506</c:v>
                </c:pt>
                <c:pt idx="27">
                  <c:v>1.926898975601653</c:v>
                </c:pt>
                <c:pt idx="28">
                  <c:v>1.8599563974478888</c:v>
                </c:pt>
                <c:pt idx="29">
                  <c:v>1.807341592920354</c:v>
                </c:pt>
                <c:pt idx="30">
                  <c:v>1.8688570918610186</c:v>
                </c:pt>
                <c:pt idx="31">
                  <c:v>1.7884420107342565</c:v>
                </c:pt>
                <c:pt idx="32">
                  <c:v>1.7980798352358809</c:v>
                </c:pt>
                <c:pt idx="33">
                  <c:v>1.7550622920071335</c:v>
                </c:pt>
                <c:pt idx="34">
                  <c:v>1.8197879323940862</c:v>
                </c:pt>
                <c:pt idx="35">
                  <c:v>1.8757538059332222</c:v>
                </c:pt>
                <c:pt idx="36">
                  <c:v>1.9834277300292888</c:v>
                </c:pt>
                <c:pt idx="37">
                  <c:v>1.9567961217662544</c:v>
                </c:pt>
                <c:pt idx="38">
                  <c:v>2.081569293634387</c:v>
                </c:pt>
                <c:pt idx="39">
                  <c:v>2.145238480977707</c:v>
                </c:pt>
                <c:pt idx="40">
                  <c:v>2.1274786639895877</c:v>
                </c:pt>
                <c:pt idx="41">
                  <c:v>2.2320589945549623</c:v>
                </c:pt>
                <c:pt idx="42">
                  <c:v>2.230009043946002</c:v>
                </c:pt>
                <c:pt idx="43">
                  <c:v>2.2917448405253285</c:v>
                </c:pt>
                <c:pt idx="44">
                  <c:v>2.160483972855182</c:v>
                </c:pt>
                <c:pt idx="45">
                  <c:v>2.1266766060739957</c:v>
                </c:pt>
                <c:pt idx="46">
                  <c:v>2.158840312666558</c:v>
                </c:pt>
                <c:pt idx="47">
                  <c:v>2.1348839014147725</c:v>
                </c:pt>
                <c:pt idx="48">
                  <c:v>2.1544127014753776</c:v>
                </c:pt>
                <c:pt idx="49">
                  <c:v>2.102517723707811</c:v>
                </c:pt>
                <c:pt idx="50">
                  <c:v>2.0354374672203095</c:v>
                </c:pt>
                <c:pt idx="51">
                  <c:v>2.1111699078533297</c:v>
                </c:pt>
                <c:pt idx="52">
                  <c:v>2.0617077961375676</c:v>
                </c:pt>
                <c:pt idx="53">
                  <c:v>2.0953448642794434</c:v>
                </c:pt>
                <c:pt idx="54">
                  <c:v>2.2002026229315153</c:v>
                </c:pt>
                <c:pt idx="55">
                  <c:v>2.2421215712184486</c:v>
                </c:pt>
                <c:pt idx="56">
                  <c:v>2.281078182149276</c:v>
                </c:pt>
                <c:pt idx="57">
                  <c:v>2.233884660927765</c:v>
                </c:pt>
                <c:pt idx="58">
                  <c:v>2.252019408378212</c:v>
                </c:pt>
                <c:pt idx="59">
                  <c:v>2.220578404842774</c:v>
                </c:pt>
                <c:pt idx="60">
                  <c:v>2.208836871482356</c:v>
                </c:pt>
                <c:pt idx="61">
                  <c:v>2.1140399936943397</c:v>
                </c:pt>
                <c:pt idx="62">
                  <c:v>2.1919324926632258</c:v>
                </c:pt>
                <c:pt idx="63">
                  <c:v>2.2508365742921264</c:v>
                </c:pt>
                <c:pt idx="64">
                  <c:v>2.2118700092723786</c:v>
                </c:pt>
                <c:pt idx="65">
                  <c:v>2.2196719984843507</c:v>
                </c:pt>
                <c:pt idx="66">
                  <c:v>2.230484530147859</c:v>
                </c:pt>
                <c:pt idx="67">
                  <c:v>2.2494000674643537</c:v>
                </c:pt>
                <c:pt idx="68">
                  <c:v>2.2830929852660837</c:v>
                </c:pt>
                <c:pt idx="69">
                  <c:v>2.25658552614106</c:v>
                </c:pt>
                <c:pt idx="70">
                  <c:v>2.1071588147247615</c:v>
                </c:pt>
                <c:pt idx="71">
                  <c:v>2.2911908006272825</c:v>
                </c:pt>
                <c:pt idx="72">
                  <c:v>2.6258987774117597</c:v>
                </c:pt>
                <c:pt idx="73">
                  <c:v>2.3978610090724666</c:v>
                </c:pt>
                <c:pt idx="74">
                  <c:v>2.467331955631115</c:v>
                </c:pt>
                <c:pt idx="75">
                  <c:v>2.5057609409975363</c:v>
                </c:pt>
                <c:pt idx="76">
                  <c:v>2.4604273144766466</c:v>
                </c:pt>
                <c:pt idx="77">
                  <c:v>2.4753780481474768</c:v>
                </c:pt>
                <c:pt idx="78">
                  <c:v>2.4742693037144727</c:v>
                </c:pt>
                <c:pt idx="79">
                  <c:v>2.448910249496002</c:v>
                </c:pt>
                <c:pt idx="80">
                  <c:v>2.48134679523425</c:v>
                </c:pt>
                <c:pt idx="81">
                  <c:v>2.555145411506108</c:v>
                </c:pt>
                <c:pt idx="82">
                  <c:v>2.5746856334486012</c:v>
                </c:pt>
                <c:pt idx="83">
                  <c:v>2.4885695064052715</c:v>
                </c:pt>
                <c:pt idx="84">
                  <c:v>2.5648165426334537</c:v>
                </c:pt>
                <c:pt idx="85">
                  <c:v>2.4977853733173254</c:v>
                </c:pt>
                <c:pt idx="86">
                  <c:v>2.5086641011521364</c:v>
                </c:pt>
                <c:pt idx="87">
                  <c:v>2.5550823469386224</c:v>
                </c:pt>
                <c:pt idx="88">
                  <c:v>2.6254491023666637</c:v>
                </c:pt>
                <c:pt idx="89">
                  <c:v>2.576382699035302</c:v>
                </c:pt>
                <c:pt idx="90">
                  <c:v>2.688721115879294</c:v>
                </c:pt>
                <c:pt idx="91">
                  <c:v>2.6457776153294854</c:v>
                </c:pt>
                <c:pt idx="92">
                  <c:v>2.4777038128835835</c:v>
                </c:pt>
                <c:pt idx="93">
                  <c:v>2.122176949669836</c:v>
                </c:pt>
                <c:pt idx="94">
                  <c:v>1.9571997050592504</c:v>
                </c:pt>
                <c:pt idx="95">
                  <c:v>1.9311886826461708</c:v>
                </c:pt>
                <c:pt idx="96">
                  <c:v>1.905422286340921</c:v>
                </c:pt>
                <c:pt idx="97">
                  <c:v>1.8694362256785337</c:v>
                </c:pt>
                <c:pt idx="98">
                  <c:v>1.9248624492479705</c:v>
                </c:pt>
                <c:pt idx="99">
                  <c:v>2.0115666482500876</c:v>
                </c:pt>
                <c:pt idx="100">
                  <c:v>1.8076818847492133</c:v>
                </c:pt>
                <c:pt idx="101">
                  <c:v>1.6315449031356832</c:v>
                </c:pt>
                <c:pt idx="102">
                  <c:v>1.6159483719897005</c:v>
                </c:pt>
                <c:pt idx="103">
                  <c:v>1.5719244953960783</c:v>
                </c:pt>
                <c:pt idx="104">
                  <c:v>1.6252398035714979</c:v>
                </c:pt>
              </c:numCache>
            </c:numRef>
          </c:xVal>
          <c:yVal>
            <c:numRef>
              <c:f>Sheet1!$B$2:$B$106</c:f>
              <c:numCache>
                <c:formatCode>General</c:formatCode>
                <c:ptCount val="105"/>
                <c:pt idx="0">
                  <c:v>0.3298109010011123</c:v>
                </c:pt>
                <c:pt idx="1">
                  <c:v>0.3084735925710969</c:v>
                </c:pt>
                <c:pt idx="2">
                  <c:v>0.3170325090302862</c:v>
                </c:pt>
                <c:pt idx="3">
                  <c:v>0.2984201287302516</c:v>
                </c:pt>
                <c:pt idx="4">
                  <c:v>0.29898458066942457</c:v>
                </c:pt>
                <c:pt idx="5">
                  <c:v>0.3085271317829457</c:v>
                </c:pt>
                <c:pt idx="6">
                  <c:v>0.338000777907429</c:v>
                </c:pt>
                <c:pt idx="7">
                  <c:v>0.3706512042818912</c:v>
                </c:pt>
                <c:pt idx="8">
                  <c:v>0.3538394415357766</c:v>
                </c:pt>
                <c:pt idx="9">
                  <c:v>0.31988041853512705</c:v>
                </c:pt>
                <c:pt idx="10">
                  <c:v>0.3042042042042042</c:v>
                </c:pt>
                <c:pt idx="11">
                  <c:v>0.2665295327652072</c:v>
                </c:pt>
                <c:pt idx="12">
                  <c:v>0.24853801169590642</c:v>
                </c:pt>
                <c:pt idx="13">
                  <c:v>0.22343706195682647</c:v>
                </c:pt>
                <c:pt idx="14">
                  <c:v>0.19661733615221988</c:v>
                </c:pt>
                <c:pt idx="15">
                  <c:v>0.19011882426516574</c:v>
                </c:pt>
                <c:pt idx="16">
                  <c:v>0.1787454323995128</c:v>
                </c:pt>
                <c:pt idx="17">
                  <c:v>0.1934925579785393</c:v>
                </c:pt>
                <c:pt idx="18">
                  <c:v>0.18434134217067108</c:v>
                </c:pt>
                <c:pt idx="19">
                  <c:v>0.17984934086629</c:v>
                </c:pt>
                <c:pt idx="20">
                  <c:v>0.173109243697479</c:v>
                </c:pt>
                <c:pt idx="21">
                  <c:v>0.2127371273712737</c:v>
                </c:pt>
                <c:pt idx="22">
                  <c:v>0.2082204155374887</c:v>
                </c:pt>
                <c:pt idx="23">
                  <c:v>0.24286361576801088</c:v>
                </c:pt>
                <c:pt idx="24">
                  <c:v>0.251088534107402</c:v>
                </c:pt>
                <c:pt idx="25">
                  <c:v>0.25974739154310816</c:v>
                </c:pt>
                <c:pt idx="26">
                  <c:v>0.27860915492957744</c:v>
                </c:pt>
                <c:pt idx="27">
                  <c:v>0.2641338760741746</c:v>
                </c:pt>
                <c:pt idx="28">
                  <c:v>0.26533393911858244</c:v>
                </c:pt>
                <c:pt idx="29">
                  <c:v>0.25051503914297485</c:v>
                </c:pt>
                <c:pt idx="30">
                  <c:v>0.24552924117931368</c:v>
                </c:pt>
                <c:pt idx="31">
                  <c:v>0.2575046904315197</c:v>
                </c:pt>
                <c:pt idx="32">
                  <c:v>0.2687555163283319</c:v>
                </c:pt>
                <c:pt idx="33">
                  <c:v>0.25034387895460797</c:v>
                </c:pt>
                <c:pt idx="34">
                  <c:v>0.24680715197956576</c:v>
                </c:pt>
                <c:pt idx="35">
                  <c:v>0.26403269754768394</c:v>
                </c:pt>
                <c:pt idx="36">
                  <c:v>0.23414890818205736</c:v>
                </c:pt>
                <c:pt idx="37">
                  <c:v>0.239450441609421</c:v>
                </c:pt>
                <c:pt idx="38">
                  <c:v>0.21549155908639522</c:v>
                </c:pt>
                <c:pt idx="39">
                  <c:v>0.20976902688375615</c:v>
                </c:pt>
                <c:pt idx="40">
                  <c:v>0.20349815001681804</c:v>
                </c:pt>
                <c:pt idx="41">
                  <c:v>0.2105631339629241</c:v>
                </c:pt>
                <c:pt idx="42">
                  <c:v>0.21681804863756227</c:v>
                </c:pt>
                <c:pt idx="43">
                  <c:v>0.1980562122406094</c:v>
                </c:pt>
                <c:pt idx="44">
                  <c:v>0.1856082238720731</c:v>
                </c:pt>
                <c:pt idx="45">
                  <c:v>0.21725239616613418</c:v>
                </c:pt>
                <c:pt idx="46">
                  <c:v>0.21002960769800147</c:v>
                </c:pt>
                <c:pt idx="47">
                  <c:v>0.21741573033707864</c:v>
                </c:pt>
                <c:pt idx="48">
                  <c:v>0.21187734147356738</c:v>
                </c:pt>
                <c:pt idx="49">
                  <c:v>0.23156416173372127</c:v>
                </c:pt>
                <c:pt idx="50">
                  <c:v>0.2179189719792968</c:v>
                </c:pt>
                <c:pt idx="51">
                  <c:v>0.20714962121212122</c:v>
                </c:pt>
                <c:pt idx="52">
                  <c:v>0.2265750286368843</c:v>
                </c:pt>
                <c:pt idx="53">
                  <c:v>0.23137914464199905</c:v>
                </c:pt>
                <c:pt idx="54">
                  <c:v>0.2351666215117854</c:v>
                </c:pt>
                <c:pt idx="55">
                  <c:v>0.2335978835978836</c:v>
                </c:pt>
                <c:pt idx="56">
                  <c:v>0.2457327839905827</c:v>
                </c:pt>
                <c:pt idx="57">
                  <c:v>0.23454699407281965</c:v>
                </c:pt>
                <c:pt idx="58">
                  <c:v>0.24416569428238039</c:v>
                </c:pt>
                <c:pt idx="59">
                  <c:v>0.23277153558052435</c:v>
                </c:pt>
                <c:pt idx="60">
                  <c:v>0.2482253771073647</c:v>
                </c:pt>
                <c:pt idx="61">
                  <c:v>0.26153466567974337</c:v>
                </c:pt>
                <c:pt idx="62">
                  <c:v>0.24105793450881613</c:v>
                </c:pt>
                <c:pt idx="63">
                  <c:v>0.24647577092511014</c:v>
                </c:pt>
                <c:pt idx="64">
                  <c:v>0.2403292181069959</c:v>
                </c:pt>
                <c:pt idx="65">
                  <c:v>0.22209969122187914</c:v>
                </c:pt>
                <c:pt idx="66">
                  <c:v>0.2386291516818278</c:v>
                </c:pt>
                <c:pt idx="67">
                  <c:v>0.2351828499369483</c:v>
                </c:pt>
                <c:pt idx="68">
                  <c:v>0.20679681851048445</c:v>
                </c:pt>
                <c:pt idx="69">
                  <c:v>0.19393319700068165</c:v>
                </c:pt>
                <c:pt idx="70">
                  <c:v>0.20833333333333334</c:v>
                </c:pt>
                <c:pt idx="71">
                  <c:v>0.203304113283884</c:v>
                </c:pt>
                <c:pt idx="72">
                  <c:v>0.17908578584846588</c:v>
                </c:pt>
                <c:pt idx="73">
                  <c:v>0.18953804347826086</c:v>
                </c:pt>
                <c:pt idx="74">
                  <c:v>0.17733285663210582</c:v>
                </c:pt>
                <c:pt idx="75">
                  <c:v>0.203559510567297</c:v>
                </c:pt>
                <c:pt idx="76">
                  <c:v>0.20963070238957277</c:v>
                </c:pt>
                <c:pt idx="77">
                  <c:v>0.19903691813804172</c:v>
                </c:pt>
                <c:pt idx="78">
                  <c:v>0.2053415061295972</c:v>
                </c:pt>
                <c:pt idx="79">
                  <c:v>0.1710833982852689</c:v>
                </c:pt>
                <c:pt idx="80">
                  <c:v>0.1694980694980695</c:v>
                </c:pt>
                <c:pt idx="81">
                  <c:v>0.17657529369882521</c:v>
                </c:pt>
                <c:pt idx="82">
                  <c:v>0.16823193140057166</c:v>
                </c:pt>
                <c:pt idx="83">
                  <c:v>0.1726649528706084</c:v>
                </c:pt>
                <c:pt idx="84">
                  <c:v>0.19217238346525944</c:v>
                </c:pt>
                <c:pt idx="85">
                  <c:v>0.1862381540997116</c:v>
                </c:pt>
                <c:pt idx="86">
                  <c:v>0.20093185789167153</c:v>
                </c:pt>
                <c:pt idx="87">
                  <c:v>0.2166387493020659</c:v>
                </c:pt>
                <c:pt idx="88">
                  <c:v>0.20662824207492794</c:v>
                </c:pt>
                <c:pt idx="89">
                  <c:v>0.1940099833610649</c:v>
                </c:pt>
                <c:pt idx="90">
                  <c:v>0.1951861602106055</c:v>
                </c:pt>
                <c:pt idx="91">
                  <c:v>0.18161094224924013</c:v>
                </c:pt>
                <c:pt idx="92">
                  <c:v>0.1863508881271424</c:v>
                </c:pt>
                <c:pt idx="93">
                  <c:v>0.19041614123581338</c:v>
                </c:pt>
                <c:pt idx="94">
                  <c:v>0.2039684855558798</c:v>
                </c:pt>
                <c:pt idx="95">
                  <c:v>0.20506264382510866</c:v>
                </c:pt>
                <c:pt idx="96">
                  <c:v>0.17860397302715508</c:v>
                </c:pt>
                <c:pt idx="97">
                  <c:v>0.17269681742043552</c:v>
                </c:pt>
                <c:pt idx="98">
                  <c:v>0.18259541984732824</c:v>
                </c:pt>
                <c:pt idx="99">
                  <c:v>0.19099400529764393</c:v>
                </c:pt>
                <c:pt idx="100">
                  <c:v>0.2022241416540704</c:v>
                </c:pt>
                <c:pt idx="101">
                  <c:v>0.22445288478929282</c:v>
                </c:pt>
                <c:pt idx="102">
                  <c:v>0.21822673620642327</c:v>
                </c:pt>
                <c:pt idx="103">
                  <c:v>0.2087299744601811</c:v>
                </c:pt>
                <c:pt idx="104">
                  <c:v>0.208081363386476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5505386890405755</c:v>
                </c:pt>
                <c:pt idx="1">
                  <c:v>1.6252160497769603</c:v>
                </c:pt>
                <c:pt idx="2">
                  <c:v>1.6074946080755335</c:v>
                </c:pt>
                <c:pt idx="3">
                  <c:v>1.575447808130756</c:v>
                </c:pt>
                <c:pt idx="4">
                  <c:v>1.6893229800329206</c:v>
                </c:pt>
                <c:pt idx="5">
                  <c:v>1.6191010849493341</c:v>
                </c:pt>
                <c:pt idx="6">
                  <c:v>1.697034752660429</c:v>
                </c:pt>
                <c:pt idx="7">
                  <c:v>1.6868464418713554</c:v>
                </c:pt>
                <c:pt idx="8">
                  <c:v>1.7432740929245751</c:v>
                </c:pt>
                <c:pt idx="9">
                  <c:v>1.7039803270502034</c:v>
                </c:pt>
                <c:pt idx="10">
                  <c:v>1.8202552351222818</c:v>
                </c:pt>
                <c:pt idx="11">
                  <c:v>1.841300126538215</c:v>
                </c:pt>
                <c:pt idx="12">
                  <c:v>1.848022291553275</c:v>
                </c:pt>
                <c:pt idx="13">
                  <c:v>1.862854573015444</c:v>
                </c:pt>
                <c:pt idx="14">
                  <c:v>1.8320310575357526</c:v>
                </c:pt>
                <c:pt idx="15">
                  <c:v>1.9798592752947084</c:v>
                </c:pt>
                <c:pt idx="16">
                  <c:v>1.862606407391156</c:v>
                </c:pt>
                <c:pt idx="17">
                  <c:v>1.9184519539676046</c:v>
                </c:pt>
                <c:pt idx="18">
                  <c:v>1.8764330700617906</c:v>
                </c:pt>
                <c:pt idx="19">
                  <c:v>2.03830106617894</c:v>
                </c:pt>
                <c:pt idx="20">
                  <c:v>1.8351587070880233</c:v>
                </c:pt>
                <c:pt idx="21">
                  <c:v>1.7723599261977603</c:v>
                </c:pt>
                <c:pt idx="22">
                  <c:v>1.69703218713743</c:v>
                </c:pt>
                <c:pt idx="23">
                  <c:v>1.7436529317841487</c:v>
                </c:pt>
                <c:pt idx="24">
                  <c:v>1.7523744555039746</c:v>
                </c:pt>
                <c:pt idx="25">
                  <c:v>1.8296602827322985</c:v>
                </c:pt>
                <c:pt idx="26">
                  <c:v>1.6687593379491368</c:v>
                </c:pt>
                <c:pt idx="27">
                  <c:v>1.6818859776439403</c:v>
                </c:pt>
                <c:pt idx="28">
                  <c:v>1.6086854553300853</c:v>
                </c:pt>
                <c:pt idx="29">
                  <c:v>1.8453593864643383</c:v>
                </c:pt>
                <c:pt idx="30">
                  <c:v>1.8954916619631665</c:v>
                </c:pt>
                <c:pt idx="31">
                  <c:v>1.6322774974807197</c:v>
                </c:pt>
                <c:pt idx="32">
                  <c:v>1.6683460420563432</c:v>
                </c:pt>
                <c:pt idx="33">
                  <c:v>1.6249334140711433</c:v>
                </c:pt>
                <c:pt idx="34">
                  <c:v>1.6444994644819386</c:v>
                </c:pt>
                <c:pt idx="35">
                  <c:v>1.6372471449775667</c:v>
                </c:pt>
                <c:pt idx="36">
                  <c:v>1.747174445868715</c:v>
                </c:pt>
                <c:pt idx="37">
                  <c:v>1.749392480705587</c:v>
                </c:pt>
                <c:pt idx="38">
                  <c:v>1.8049093591962846</c:v>
                </c:pt>
                <c:pt idx="39">
                  <c:v>1.7980809622786773</c:v>
                </c:pt>
                <c:pt idx="40">
                  <c:v>1.711044040598689</c:v>
                </c:pt>
                <c:pt idx="41">
                  <c:v>1.773535303857351</c:v>
                </c:pt>
                <c:pt idx="42">
                  <c:v>1.6972287974174927</c:v>
                </c:pt>
                <c:pt idx="43">
                  <c:v>1.8269645682504672</c:v>
                </c:pt>
                <c:pt idx="44">
                  <c:v>1.8211607166831525</c:v>
                </c:pt>
                <c:pt idx="45">
                  <c:v>1.7937534909838166</c:v>
                </c:pt>
                <c:pt idx="46">
                  <c:v>1.731680671145416</c:v>
                </c:pt>
                <c:pt idx="47">
                  <c:v>1.7446167431764301</c:v>
                </c:pt>
                <c:pt idx="48">
                  <c:v>1.631596900093188</c:v>
                </c:pt>
                <c:pt idx="49">
                  <c:v>1.6764997412793397</c:v>
                </c:pt>
                <c:pt idx="50">
                  <c:v>1.7185929333517658</c:v>
                </c:pt>
                <c:pt idx="51">
                  <c:v>1.728399688616385</c:v>
                </c:pt>
              </c:numCache>
            </c:numRef>
          </c:xVal>
          <c:yVal>
            <c:numRef>
              <c:f>Sheet1!$B$109:$B$160</c:f>
              <c:numCache>
                <c:formatCode>General</c:formatCode>
                <c:ptCount val="52"/>
                <c:pt idx="0">
                  <c:v>0.20865758754863814</c:v>
                </c:pt>
                <c:pt idx="1">
                  <c:v>0.2114213197969543</c:v>
                </c:pt>
                <c:pt idx="2">
                  <c:v>0.22926596758817921</c:v>
                </c:pt>
                <c:pt idx="3">
                  <c:v>0.2552963260927863</c:v>
                </c:pt>
                <c:pt idx="4">
                  <c:v>0.23049095607235143</c:v>
                </c:pt>
                <c:pt idx="5">
                  <c:v>0.24322799097065462</c:v>
                </c:pt>
                <c:pt idx="6">
                  <c:v>0.24495476687543494</c:v>
                </c:pt>
                <c:pt idx="7">
                  <c:v>0.22158438576349024</c:v>
                </c:pt>
                <c:pt idx="8">
                  <c:v>0.22231404958677686</c:v>
                </c:pt>
                <c:pt idx="9">
                  <c:v>0.22913188647746244</c:v>
                </c:pt>
                <c:pt idx="10">
                  <c:v>0.23539460198155107</c:v>
                </c:pt>
                <c:pt idx="11">
                  <c:v>0.22519455252918288</c:v>
                </c:pt>
                <c:pt idx="12">
                  <c:v>0.23373786407766992</c:v>
                </c:pt>
                <c:pt idx="13">
                  <c:v>0.23651992706433966</c:v>
                </c:pt>
                <c:pt idx="14">
                  <c:v>0.24416258287690978</c:v>
                </c:pt>
                <c:pt idx="15">
                  <c:v>0.23902305159165751</c:v>
                </c:pt>
                <c:pt idx="16">
                  <c:v>0.23720608575380359</c:v>
                </c:pt>
                <c:pt idx="17">
                  <c:v>0.2543393552957846</c:v>
                </c:pt>
                <c:pt idx="18">
                  <c:v>0.23512154233025984</c:v>
                </c:pt>
                <c:pt idx="19">
                  <c:v>0.2239657631954351</c:v>
                </c:pt>
                <c:pt idx="20">
                  <c:v>0.22564734895191121</c:v>
                </c:pt>
                <c:pt idx="21">
                  <c:v>0.2386237513873474</c:v>
                </c:pt>
                <c:pt idx="22">
                  <c:v>0.2497096399535424</c:v>
                </c:pt>
                <c:pt idx="23">
                  <c:v>0.24601657106437222</c:v>
                </c:pt>
                <c:pt idx="24">
                  <c:v>0.2564734895191122</c:v>
                </c:pt>
                <c:pt idx="25">
                  <c:v>0.2642719692110327</c:v>
                </c:pt>
                <c:pt idx="26">
                  <c:v>0.2424400417101147</c:v>
                </c:pt>
                <c:pt idx="27">
                  <c:v>0.23655913978494625</c:v>
                </c:pt>
                <c:pt idx="28">
                  <c:v>0.23908248786943095</c:v>
                </c:pt>
                <c:pt idx="29">
                  <c:v>0.2531831537708129</c:v>
                </c:pt>
                <c:pt idx="30">
                  <c:v>0.24894712213383247</c:v>
                </c:pt>
                <c:pt idx="31">
                  <c:v>0.24239298607529655</c:v>
                </c:pt>
                <c:pt idx="32">
                  <c:v>0.23918448533068126</c:v>
                </c:pt>
                <c:pt idx="33">
                  <c:v>0.24518518518518517</c:v>
                </c:pt>
                <c:pt idx="34">
                  <c:v>0.2579957356076759</c:v>
                </c:pt>
                <c:pt idx="35">
                  <c:v>0.26261082237847755</c:v>
                </c:pt>
                <c:pt idx="36">
                  <c:v>0.2424383434155421</c:v>
                </c:pt>
                <c:pt idx="37">
                  <c:v>0.2485428809325562</c:v>
                </c:pt>
                <c:pt idx="38">
                  <c:v>0.23233609166136218</c:v>
                </c:pt>
                <c:pt idx="39">
                  <c:v>0.23688332028191073</c:v>
                </c:pt>
                <c:pt idx="40">
                  <c:v>0.2401664145234493</c:v>
                </c:pt>
                <c:pt idx="41">
                  <c:v>0.23071937783538563</c:v>
                </c:pt>
                <c:pt idx="42">
                  <c:v>0.23022151898734178</c:v>
                </c:pt>
                <c:pt idx="43">
                  <c:v>0.22313237221494103</c:v>
                </c:pt>
                <c:pt idx="44">
                  <c:v>0.22100481026189203</c:v>
                </c:pt>
                <c:pt idx="45">
                  <c:v>0.23862238622386223</c:v>
                </c:pt>
                <c:pt idx="46">
                  <c:v>0.2556642022418316</c:v>
                </c:pt>
                <c:pt idx="47">
                  <c:v>0.247893850042123</c:v>
                </c:pt>
                <c:pt idx="48">
                  <c:v>0.24130737134909597</c:v>
                </c:pt>
                <c:pt idx="49">
                  <c:v>0.2605140186915888</c:v>
                </c:pt>
                <c:pt idx="50">
                  <c:v>0.24714340736936705</c:v>
                </c:pt>
                <c:pt idx="51">
                  <c:v>0.2465212876427829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029821809768144</c:v>
                </c:pt>
              </c:numCache>
            </c:numRef>
          </c:xVal>
          <c:yVal>
            <c:numRef>
              <c:f>Sheet1!$B$163:$B$164</c:f>
              <c:numCache>
                <c:formatCode>General</c:formatCode>
                <c:ptCount val="2"/>
                <c:pt idx="0">
                  <c:v>0.3248600297233571</c:v>
                </c:pt>
                <c:pt idx="1">
                  <c:v>0.324860029723357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029821809768144</c:v>
                </c:pt>
                <c:pt idx="1">
                  <c:v>-13.029821809768144</c:v>
                </c:pt>
              </c:numCache>
            </c:numRef>
          </c:xVal>
          <c:yVal>
            <c:numRef>
              <c:f>Sheet1!$B$167:$B$168</c:f>
              <c:numCache>
                <c:formatCode>General</c:formatCode>
                <c:ptCount val="2"/>
                <c:pt idx="0">
                  <c:v>0.324860029723357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2053383884413721</c:v>
                </c:pt>
              </c:numCache>
            </c:numRef>
          </c:xVal>
          <c:yVal>
            <c:numRef>
              <c:f>Sheet1!$B$171:$B$172</c:f>
              <c:numCache>
                <c:formatCode>General</c:formatCode>
                <c:ptCount val="2"/>
                <c:pt idx="0">
                  <c:v>0.2488715212632087</c:v>
                </c:pt>
                <c:pt idx="1">
                  <c:v>0.248871521263208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2053383884413721</c:v>
                </c:pt>
                <c:pt idx="1">
                  <c:v>0.12053383884413721</c:v>
                </c:pt>
              </c:numCache>
            </c:numRef>
          </c:xVal>
          <c:yVal>
            <c:numRef>
              <c:f>Sheet1!$B$175:$B$176</c:f>
              <c:numCache>
                <c:formatCode>General</c:formatCode>
                <c:ptCount val="2"/>
                <c:pt idx="0">
                  <c:v>0.248871521263208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585519301519989</c:v>
                </c:pt>
              </c:numCache>
            </c:numRef>
          </c:xVal>
          <c:yVal>
            <c:numRef>
              <c:f>Sheet1!$B$179:$B$180</c:f>
              <c:numCache>
                <c:formatCode>General</c:formatCode>
                <c:ptCount val="2"/>
                <c:pt idx="0">
                  <c:v>0.23998417982042863</c:v>
                </c:pt>
                <c:pt idx="1">
                  <c:v>0.2399841798204286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585519301519989</c:v>
                </c:pt>
                <c:pt idx="1">
                  <c:v>1.6585519301519989</c:v>
                </c:pt>
              </c:numCache>
            </c:numRef>
          </c:xVal>
          <c:yVal>
            <c:numRef>
              <c:f>Sheet1!$B$183:$B$184</c:f>
              <c:numCache>
                <c:formatCode>General</c:formatCode>
                <c:ptCount val="2"/>
                <c:pt idx="0">
                  <c:v>0.239984179820428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5505386890405755</c:v>
                </c:pt>
                <c:pt idx="1">
                  <c:v>1.6252160497769603</c:v>
                </c:pt>
                <c:pt idx="2">
                  <c:v>1.6074946080755335</c:v>
                </c:pt>
                <c:pt idx="3">
                  <c:v>1.575447808130756</c:v>
                </c:pt>
                <c:pt idx="4">
                  <c:v>1.6893229800329206</c:v>
                </c:pt>
                <c:pt idx="5">
                  <c:v>1.6191010849493341</c:v>
                </c:pt>
                <c:pt idx="6">
                  <c:v>1.697034752660429</c:v>
                </c:pt>
                <c:pt idx="7">
                  <c:v>1.6868464418713554</c:v>
                </c:pt>
                <c:pt idx="8">
                  <c:v>1.7432740929245751</c:v>
                </c:pt>
                <c:pt idx="9">
                  <c:v>1.7039803270502034</c:v>
                </c:pt>
                <c:pt idx="10">
                  <c:v>1.8202552351222818</c:v>
                </c:pt>
                <c:pt idx="11">
                  <c:v>1.841300126538215</c:v>
                </c:pt>
                <c:pt idx="12">
                  <c:v>1.848022291553275</c:v>
                </c:pt>
                <c:pt idx="13">
                  <c:v>1.862854573015444</c:v>
                </c:pt>
                <c:pt idx="14">
                  <c:v>1.8320310575357526</c:v>
                </c:pt>
                <c:pt idx="15">
                  <c:v>1.9798592752947084</c:v>
                </c:pt>
                <c:pt idx="16">
                  <c:v>1.862606407391156</c:v>
                </c:pt>
                <c:pt idx="17">
                  <c:v>1.9184519539676046</c:v>
                </c:pt>
                <c:pt idx="18">
                  <c:v>1.8764330700617906</c:v>
                </c:pt>
                <c:pt idx="19">
                  <c:v>2.03830106617894</c:v>
                </c:pt>
                <c:pt idx="20">
                  <c:v>1.8351587070880233</c:v>
                </c:pt>
                <c:pt idx="21">
                  <c:v>1.7723599261977603</c:v>
                </c:pt>
                <c:pt idx="22">
                  <c:v>1.69703218713743</c:v>
                </c:pt>
                <c:pt idx="23">
                  <c:v>1.7436529317841487</c:v>
                </c:pt>
                <c:pt idx="24">
                  <c:v>1.7523744555039746</c:v>
                </c:pt>
                <c:pt idx="25">
                  <c:v>1.8296602827322985</c:v>
                </c:pt>
                <c:pt idx="26">
                  <c:v>1.6687593379491368</c:v>
                </c:pt>
                <c:pt idx="27">
                  <c:v>1.6818859776439403</c:v>
                </c:pt>
                <c:pt idx="28">
                  <c:v>1.6086854553300853</c:v>
                </c:pt>
                <c:pt idx="29">
                  <c:v>1.8453593864643383</c:v>
                </c:pt>
                <c:pt idx="30">
                  <c:v>1.8954916619631665</c:v>
                </c:pt>
                <c:pt idx="31">
                  <c:v>1.6322774974807197</c:v>
                </c:pt>
                <c:pt idx="32">
                  <c:v>1.6683460420563432</c:v>
                </c:pt>
                <c:pt idx="33">
                  <c:v>1.6249334140711433</c:v>
                </c:pt>
                <c:pt idx="34">
                  <c:v>1.6444994644819386</c:v>
                </c:pt>
                <c:pt idx="35">
                  <c:v>1.6372471449775667</c:v>
                </c:pt>
                <c:pt idx="36">
                  <c:v>1.747174445868715</c:v>
                </c:pt>
                <c:pt idx="37">
                  <c:v>1.749392480705587</c:v>
                </c:pt>
                <c:pt idx="38">
                  <c:v>1.8049093591962846</c:v>
                </c:pt>
                <c:pt idx="39">
                  <c:v>1.7980809622786773</c:v>
                </c:pt>
                <c:pt idx="40">
                  <c:v>1.711044040598689</c:v>
                </c:pt>
                <c:pt idx="41">
                  <c:v>1.773535303857351</c:v>
                </c:pt>
                <c:pt idx="42">
                  <c:v>1.6972287974174927</c:v>
                </c:pt>
                <c:pt idx="43">
                  <c:v>1.8269645682504672</c:v>
                </c:pt>
                <c:pt idx="44">
                  <c:v>1.8211607166831525</c:v>
                </c:pt>
                <c:pt idx="45">
                  <c:v>1.7937534909838166</c:v>
                </c:pt>
                <c:pt idx="46">
                  <c:v>1.731680671145416</c:v>
                </c:pt>
                <c:pt idx="47">
                  <c:v>1.7446167431764301</c:v>
                </c:pt>
                <c:pt idx="48">
                  <c:v>1.631596900093188</c:v>
                </c:pt>
                <c:pt idx="49">
                  <c:v>1.6764997412793397</c:v>
                </c:pt>
                <c:pt idx="50">
                  <c:v>1.7185929333517658</c:v>
                </c:pt>
                <c:pt idx="51">
                  <c:v>1.728399688616385</c:v>
                </c:pt>
                <c:pt idx="52">
                  <c:v>0.12053383884413721</c:v>
                </c:pt>
                <c:pt idx="53">
                  <c:v>-13.029821809768144</c:v>
                </c:pt>
                <c:pt idx="54">
                  <c:v>1.6585519301519989</c:v>
                </c:pt>
              </c:numCache>
            </c:numRef>
          </c:xVal>
          <c:yVal>
            <c:numRef>
              <c:f>Sheet1!$B$187:$B$241</c:f>
              <c:numCache>
                <c:formatCode>General</c:formatCode>
                <c:ptCount val="55"/>
                <c:pt idx="0">
                  <c:v>0.24060832758535008</c:v>
                </c:pt>
                <c:pt idx="1">
                  <c:v>0.24017680912229641</c:v>
                </c:pt>
                <c:pt idx="2">
                  <c:v>0.24027921136590394</c:v>
                </c:pt>
                <c:pt idx="3">
                  <c:v>0.24046439179704926</c:v>
                </c:pt>
                <c:pt idx="4">
                  <c:v>0.23980637123131637</c:v>
                </c:pt>
                <c:pt idx="5">
                  <c:v>0.24021214406448002</c:v>
                </c:pt>
                <c:pt idx="6">
                  <c:v>0.23976180923503226</c:v>
                </c:pt>
                <c:pt idx="7">
                  <c:v>0.2398206817523449</c:v>
                </c:pt>
                <c:pt idx="8">
                  <c:v>0.2394946180964242</c:v>
                </c:pt>
                <c:pt idx="9">
                  <c:v>0.2397216746673916</c:v>
                </c:pt>
                <c:pt idx="10">
                  <c:v>0.23904978737614024</c:v>
                </c:pt>
                <c:pt idx="11">
                  <c:v>0.23892818078601194</c:v>
                </c:pt>
                <c:pt idx="12">
                  <c:v>0.23888933717548408</c:v>
                </c:pt>
                <c:pt idx="13">
                  <c:v>0.2388036297637997</c:v>
                </c:pt>
                <c:pt idx="14">
                  <c:v>0.23898174152209634</c:v>
                </c:pt>
                <c:pt idx="15">
                  <c:v>0.23812752540232085</c:v>
                </c:pt>
                <c:pt idx="16">
                  <c:v>0.2388050637733539</c:v>
                </c:pt>
                <c:pt idx="17">
                  <c:v>0.2384823637717814</c:v>
                </c:pt>
                <c:pt idx="18">
                  <c:v>0.23872516726702372</c:v>
                </c:pt>
                <c:pt idx="19">
                  <c:v>0.23778982316523334</c:v>
                </c:pt>
                <c:pt idx="20">
                  <c:v>0.2389636685945791</c:v>
                </c:pt>
                <c:pt idx="21">
                  <c:v>0.23932654742618473</c:v>
                </c:pt>
                <c:pt idx="22">
                  <c:v>0.23976182405974664</c:v>
                </c:pt>
                <c:pt idx="23">
                  <c:v>0.23949242899974463</c:v>
                </c:pt>
                <c:pt idx="24">
                  <c:v>0.23944203221986443</c:v>
                </c:pt>
                <c:pt idx="25">
                  <c:v>0.23899544089616825</c:v>
                </c:pt>
                <c:pt idx="26">
                  <c:v>0.23992519695224812</c:v>
                </c:pt>
                <c:pt idx="27">
                  <c:v>0.23984934548494524</c:v>
                </c:pt>
                <c:pt idx="28">
                  <c:v>0.24027233012944957</c:v>
                </c:pt>
                <c:pt idx="29">
                  <c:v>0.23890472460615791</c:v>
                </c:pt>
                <c:pt idx="30">
                  <c:v>0.23861503838453307</c:v>
                </c:pt>
                <c:pt idx="31">
                  <c:v>0.24013600498795085</c:v>
                </c:pt>
                <c:pt idx="32">
                  <c:v>0.23992758515674123</c:v>
                </c:pt>
                <c:pt idx="33">
                  <c:v>0.24017844231506294</c:v>
                </c:pt>
                <c:pt idx="34">
                  <c:v>0.24006538111528244</c:v>
                </c:pt>
                <c:pt idx="35">
                  <c:v>0.24010728819040186</c:v>
                </c:pt>
                <c:pt idx="36">
                  <c:v>0.2394720801506368</c:v>
                </c:pt>
                <c:pt idx="37">
                  <c:v>0.23945926337491832</c:v>
                </c:pt>
                <c:pt idx="38">
                  <c:v>0.23913846256134363</c:v>
                </c:pt>
                <c:pt idx="39">
                  <c:v>0.23917792002628283</c:v>
                </c:pt>
                <c:pt idx="40">
                  <c:v>0.23968085744000386</c:v>
                </c:pt>
                <c:pt idx="41">
                  <c:v>0.23931975557981827</c:v>
                </c:pt>
                <c:pt idx="42">
                  <c:v>0.23976068795952782</c:v>
                </c:pt>
                <c:pt idx="43">
                  <c:v>0.23901101791386895</c:v>
                </c:pt>
                <c:pt idx="44">
                  <c:v>0.2390445551075167</c:v>
                </c:pt>
                <c:pt idx="45">
                  <c:v>0.2392029260487728</c:v>
                </c:pt>
                <c:pt idx="46">
                  <c:v>0.23956160995979944</c:v>
                </c:pt>
                <c:pt idx="47">
                  <c:v>0.2394868596758348</c:v>
                </c:pt>
                <c:pt idx="48">
                  <c:v>0.24013993777742987</c:v>
                </c:pt>
                <c:pt idx="49">
                  <c:v>0.2398804695152374</c:v>
                </c:pt>
                <c:pt idx="50">
                  <c:v>0.23963723663489717</c:v>
                </c:pt>
                <c:pt idx="51">
                  <c:v>0.2395805689123424</c:v>
                </c:pt>
                <c:pt idx="52">
                  <c:v>0.2488715212632087</c:v>
                </c:pt>
                <c:pt idx="53">
                  <c:v>0.3248600297233571</c:v>
                </c:pt>
                <c:pt idx="54">
                  <c:v>0.239984179820428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47814451382694"/>
          <c:min val="0.134585545120457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0.1745</c:v>
                </c:pt>
                <c:pt idx="1">
                  <c:v>867.0564</c:v>
                </c:pt>
                <c:pt idx="2">
                  <c:v>857.9115</c:v>
                </c:pt>
                <c:pt idx="3">
                  <c:v>862.2745</c:v>
                </c:pt>
                <c:pt idx="4">
                  <c:v>859.0088</c:v>
                </c:pt>
                <c:pt idx="5">
                  <c:v>854.7253</c:v>
                </c:pt>
                <c:pt idx="6">
                  <c:v>850.0058</c:v>
                </c:pt>
                <c:pt idx="7">
                  <c:v>850.8051</c:v>
                </c:pt>
                <c:pt idx="8">
                  <c:v>845.6178</c:v>
                </c:pt>
                <c:pt idx="9">
                  <c:v>861.5374</c:v>
                </c:pt>
                <c:pt idx="10">
                  <c:v>863.6436</c:v>
                </c:pt>
                <c:pt idx="11">
                  <c:v>906.3572</c:v>
                </c:pt>
                <c:pt idx="12">
                  <c:v>926.9123</c:v>
                </c:pt>
                <c:pt idx="13">
                  <c:v>936.0514</c:v>
                </c:pt>
                <c:pt idx="14">
                  <c:v>951.1465</c:v>
                </c:pt>
                <c:pt idx="15">
                  <c:v>958.1414</c:v>
                </c:pt>
                <c:pt idx="16">
                  <c:v>967.5213</c:v>
                </c:pt>
                <c:pt idx="17">
                  <c:v>1005.6386</c:v>
                </c:pt>
                <c:pt idx="18">
                  <c:v>1035.9258</c:v>
                </c:pt>
                <c:pt idx="19">
                  <c:v>1054.589</c:v>
                </c:pt>
                <c:pt idx="20">
                  <c:v>1086.3301</c:v>
                </c:pt>
                <c:pt idx="21">
                  <c:v>1086.3333</c:v>
                </c:pt>
                <c:pt idx="22">
                  <c:v>1063.8265</c:v>
                </c:pt>
                <c:pt idx="23">
                  <c:v>1045.3134</c:v>
                </c:pt>
                <c:pt idx="24">
                  <c:v>1034.9557</c:v>
                </c:pt>
                <c:pt idx="25">
                  <c:v>1051.8816</c:v>
                </c:pt>
                <c:pt idx="26">
                  <c:v>1036.5513</c:v>
                </c:pt>
                <c:pt idx="27">
                  <c:v>1037.0736</c:v>
                </c:pt>
                <c:pt idx="28">
                  <c:v>1043.2209</c:v>
                </c:pt>
                <c:pt idx="29">
                  <c:v>1021.148</c:v>
                </c:pt>
                <c:pt idx="30">
                  <c:v>1042.8701</c:v>
                </c:pt>
                <c:pt idx="31">
                  <c:v>987.0018</c:v>
                </c:pt>
                <c:pt idx="32">
                  <c:v>989.6831</c:v>
                </c:pt>
                <c:pt idx="33">
                  <c:v>972.0151</c:v>
                </c:pt>
                <c:pt idx="34">
                  <c:v>974.0828</c:v>
                </c:pt>
                <c:pt idx="35">
                  <c:v>992.4272</c:v>
                </c:pt>
                <c:pt idx="36">
                  <c:v>1050.5461</c:v>
                </c:pt>
                <c:pt idx="37">
                  <c:v>1047.1407</c:v>
                </c:pt>
                <c:pt idx="38">
                  <c:v>1105.0123</c:v>
                </c:pt>
                <c:pt idx="39">
                  <c:v>1137.4314</c:v>
                </c:pt>
                <c:pt idx="40">
                  <c:v>1137.3769</c:v>
                </c:pt>
                <c:pt idx="41">
                  <c:v>1181.1179</c:v>
                </c:pt>
                <c:pt idx="42">
                  <c:v>1177.3946</c:v>
                </c:pt>
                <c:pt idx="43">
                  <c:v>1197.3143</c:v>
                </c:pt>
                <c:pt idx="44">
                  <c:v>1140.6031</c:v>
                </c:pt>
                <c:pt idx="45">
                  <c:v>1112.7561</c:v>
                </c:pt>
                <c:pt idx="46">
                  <c:v>1110.2335</c:v>
                </c:pt>
                <c:pt idx="47">
                  <c:v>1094.8355</c:v>
                </c:pt>
                <c:pt idx="48">
                  <c:v>1107.6398</c:v>
                </c:pt>
                <c:pt idx="49">
                  <c:v>1082.8904</c:v>
                </c:pt>
                <c:pt idx="50">
                  <c:v>1057.9345</c:v>
                </c:pt>
                <c:pt idx="51">
                  <c:v>1082.7726</c:v>
                </c:pt>
                <c:pt idx="52">
                  <c:v>1054.3852</c:v>
                </c:pt>
                <c:pt idx="53">
                  <c:v>1084.9834</c:v>
                </c:pt>
                <c:pt idx="54">
                  <c:v>1083.6889</c:v>
                </c:pt>
                <c:pt idx="55">
                  <c:v>1098.1472</c:v>
                </c:pt>
                <c:pt idx="56">
                  <c:v>1117.3533</c:v>
                </c:pt>
                <c:pt idx="57">
                  <c:v>1085.1336</c:v>
                </c:pt>
                <c:pt idx="58">
                  <c:v>1094.4731</c:v>
                </c:pt>
                <c:pt idx="59">
                  <c:v>1049.7136</c:v>
                </c:pt>
                <c:pt idx="60">
                  <c:v>1033.6917</c:v>
                </c:pt>
                <c:pt idx="61">
                  <c:v>1037.967</c:v>
                </c:pt>
                <c:pt idx="62">
                  <c:v>1045.883</c:v>
                </c:pt>
                <c:pt idx="63">
                  <c:v>1039.8937</c:v>
                </c:pt>
                <c:pt idx="64">
                  <c:v>1037.1892</c:v>
                </c:pt>
                <c:pt idx="65">
                  <c:v>1053.2701</c:v>
                </c:pt>
                <c:pt idx="66">
                  <c:v>1058.5603</c:v>
                </c:pt>
                <c:pt idx="67">
                  <c:v>1052.2752</c:v>
                </c:pt>
                <c:pt idx="68">
                  <c:v>1088.1865</c:v>
                </c:pt>
                <c:pt idx="69">
                  <c:v>1096.0527</c:v>
                </c:pt>
                <c:pt idx="70">
                  <c:v>1032.3285</c:v>
                </c:pt>
                <c:pt idx="71">
                  <c:v>1110.0879</c:v>
                </c:pt>
                <c:pt idx="72">
                  <c:v>1276.535</c:v>
                </c:pt>
                <c:pt idx="73">
                  <c:v>1196.6487</c:v>
                </c:pt>
                <c:pt idx="74">
                  <c:v>1191.6673</c:v>
                </c:pt>
                <c:pt idx="75">
                  <c:v>1171.7086</c:v>
                </c:pt>
                <c:pt idx="76">
                  <c:v>1143.5734</c:v>
                </c:pt>
                <c:pt idx="77">
                  <c:v>1163.6069</c:v>
                </c:pt>
                <c:pt idx="78">
                  <c:v>1173.6162</c:v>
                </c:pt>
                <c:pt idx="79">
                  <c:v>1114.7677</c:v>
                </c:pt>
                <c:pt idx="80">
                  <c:v>1180.9248</c:v>
                </c:pt>
                <c:pt idx="81">
                  <c:v>1208.9415</c:v>
                </c:pt>
                <c:pt idx="82">
                  <c:v>1212.1311</c:v>
                </c:pt>
                <c:pt idx="83">
                  <c:v>1167.4218</c:v>
                </c:pt>
                <c:pt idx="84">
                  <c:v>1179.2929</c:v>
                </c:pt>
                <c:pt idx="85">
                  <c:v>1176.6947</c:v>
                </c:pt>
                <c:pt idx="86">
                  <c:v>1176.7333</c:v>
                </c:pt>
                <c:pt idx="87">
                  <c:v>1192.866</c:v>
                </c:pt>
                <c:pt idx="88">
                  <c:v>1240.5927</c:v>
                </c:pt>
                <c:pt idx="89">
                  <c:v>1215.1509</c:v>
                </c:pt>
                <c:pt idx="90">
                  <c:v>1251.7688</c:v>
                </c:pt>
                <c:pt idx="91">
                  <c:v>1218.9833</c:v>
                </c:pt>
                <c:pt idx="92">
                  <c:v>1148.4732</c:v>
                </c:pt>
                <c:pt idx="93">
                  <c:v>1180.952</c:v>
                </c:pt>
                <c:pt idx="94">
                  <c:v>1201.3648</c:v>
                </c:pt>
                <c:pt idx="95">
                  <c:v>1179.6247</c:v>
                </c:pt>
                <c:pt idx="96">
                  <c:v>1173.8918</c:v>
                </c:pt>
                <c:pt idx="97">
                  <c:v>1160.612</c:v>
                </c:pt>
                <c:pt idx="98">
                  <c:v>1156.6254</c:v>
                </c:pt>
                <c:pt idx="99">
                  <c:v>1112.6474</c:v>
                </c:pt>
                <c:pt idx="100">
                  <c:v>1115.9744</c:v>
                </c:pt>
                <c:pt idx="101">
                  <c:v>1109.5729</c:v>
                </c:pt>
                <c:pt idx="102">
                  <c:v>1110.7937</c:v>
                </c:pt>
                <c:pt idx="103">
                  <c:v>1092.4105</c:v>
                </c:pt>
                <c:pt idx="104">
                  <c:v>1133.432</c:v>
                </c:pt>
              </c:numCache>
            </c:numRef>
          </c:xVal>
          <c:yVal>
            <c:numRef>
              <c:f>Sheet1!$B$2:$B$106</c:f>
              <c:numCache>
                <c:formatCode>General</c:formatCode>
                <c:ptCount val="105"/>
                <c:pt idx="0">
                  <c:v>0.3298109010011123</c:v>
                </c:pt>
                <c:pt idx="1">
                  <c:v>0.3084735925710969</c:v>
                </c:pt>
                <c:pt idx="2">
                  <c:v>0.3170325090302862</c:v>
                </c:pt>
                <c:pt idx="3">
                  <c:v>0.2984201287302516</c:v>
                </c:pt>
                <c:pt idx="4">
                  <c:v>0.29898458066942457</c:v>
                </c:pt>
                <c:pt idx="5">
                  <c:v>0.3085271317829457</c:v>
                </c:pt>
                <c:pt idx="6">
                  <c:v>0.338000777907429</c:v>
                </c:pt>
                <c:pt idx="7">
                  <c:v>0.3706512042818912</c:v>
                </c:pt>
                <c:pt idx="8">
                  <c:v>0.3538394415357766</c:v>
                </c:pt>
                <c:pt idx="9">
                  <c:v>0.31988041853512705</c:v>
                </c:pt>
                <c:pt idx="10">
                  <c:v>0.3042042042042042</c:v>
                </c:pt>
                <c:pt idx="11">
                  <c:v>0.2665295327652072</c:v>
                </c:pt>
                <c:pt idx="12">
                  <c:v>0.24853801169590642</c:v>
                </c:pt>
                <c:pt idx="13">
                  <c:v>0.22343706195682647</c:v>
                </c:pt>
                <c:pt idx="14">
                  <c:v>0.19661733615221988</c:v>
                </c:pt>
                <c:pt idx="15">
                  <c:v>0.19011882426516574</c:v>
                </c:pt>
                <c:pt idx="16">
                  <c:v>0.1787454323995128</c:v>
                </c:pt>
                <c:pt idx="17">
                  <c:v>0.1934925579785393</c:v>
                </c:pt>
                <c:pt idx="18">
                  <c:v>0.18434134217067108</c:v>
                </c:pt>
                <c:pt idx="19">
                  <c:v>0.17984934086629</c:v>
                </c:pt>
                <c:pt idx="20">
                  <c:v>0.173109243697479</c:v>
                </c:pt>
                <c:pt idx="21">
                  <c:v>0.2127371273712737</c:v>
                </c:pt>
                <c:pt idx="22">
                  <c:v>0.2082204155374887</c:v>
                </c:pt>
                <c:pt idx="23">
                  <c:v>0.24286361576801088</c:v>
                </c:pt>
                <c:pt idx="24">
                  <c:v>0.251088534107402</c:v>
                </c:pt>
                <c:pt idx="25">
                  <c:v>0.25974739154310816</c:v>
                </c:pt>
                <c:pt idx="26">
                  <c:v>0.27860915492957744</c:v>
                </c:pt>
                <c:pt idx="27">
                  <c:v>0.2641338760741746</c:v>
                </c:pt>
                <c:pt idx="28">
                  <c:v>0.26533393911858244</c:v>
                </c:pt>
                <c:pt idx="29">
                  <c:v>0.25051503914297485</c:v>
                </c:pt>
                <c:pt idx="30">
                  <c:v>0.24552924117931368</c:v>
                </c:pt>
                <c:pt idx="31">
                  <c:v>0.2575046904315197</c:v>
                </c:pt>
                <c:pt idx="32">
                  <c:v>0.2687555163283319</c:v>
                </c:pt>
                <c:pt idx="33">
                  <c:v>0.25034387895460797</c:v>
                </c:pt>
                <c:pt idx="34">
                  <c:v>0.24680715197956576</c:v>
                </c:pt>
                <c:pt idx="35">
                  <c:v>0.26403269754768394</c:v>
                </c:pt>
                <c:pt idx="36">
                  <c:v>0.23414890818205736</c:v>
                </c:pt>
                <c:pt idx="37">
                  <c:v>0.239450441609421</c:v>
                </c:pt>
                <c:pt idx="38">
                  <c:v>0.21549155908639522</c:v>
                </c:pt>
                <c:pt idx="39">
                  <c:v>0.20976902688375615</c:v>
                </c:pt>
                <c:pt idx="40">
                  <c:v>0.20349815001681804</c:v>
                </c:pt>
                <c:pt idx="41">
                  <c:v>0.2105631339629241</c:v>
                </c:pt>
                <c:pt idx="42">
                  <c:v>0.21681804863756227</c:v>
                </c:pt>
                <c:pt idx="43">
                  <c:v>0.1980562122406094</c:v>
                </c:pt>
                <c:pt idx="44">
                  <c:v>0.1856082238720731</c:v>
                </c:pt>
                <c:pt idx="45">
                  <c:v>0.21725239616613418</c:v>
                </c:pt>
                <c:pt idx="46">
                  <c:v>0.21002960769800147</c:v>
                </c:pt>
                <c:pt idx="47">
                  <c:v>0.21741573033707864</c:v>
                </c:pt>
                <c:pt idx="48">
                  <c:v>0.21187734147356738</c:v>
                </c:pt>
                <c:pt idx="49">
                  <c:v>0.23156416173372127</c:v>
                </c:pt>
                <c:pt idx="50">
                  <c:v>0.2179189719792968</c:v>
                </c:pt>
                <c:pt idx="51">
                  <c:v>0.20714962121212122</c:v>
                </c:pt>
                <c:pt idx="52">
                  <c:v>0.2265750286368843</c:v>
                </c:pt>
                <c:pt idx="53">
                  <c:v>0.23137914464199905</c:v>
                </c:pt>
                <c:pt idx="54">
                  <c:v>0.2351666215117854</c:v>
                </c:pt>
                <c:pt idx="55">
                  <c:v>0.2335978835978836</c:v>
                </c:pt>
                <c:pt idx="56">
                  <c:v>0.2457327839905827</c:v>
                </c:pt>
                <c:pt idx="57">
                  <c:v>0.23454699407281965</c:v>
                </c:pt>
                <c:pt idx="58">
                  <c:v>0.24416569428238039</c:v>
                </c:pt>
                <c:pt idx="59">
                  <c:v>0.23277153558052435</c:v>
                </c:pt>
                <c:pt idx="60">
                  <c:v>0.2482253771073647</c:v>
                </c:pt>
                <c:pt idx="61">
                  <c:v>0.26153466567974337</c:v>
                </c:pt>
                <c:pt idx="62">
                  <c:v>0.24105793450881613</c:v>
                </c:pt>
                <c:pt idx="63">
                  <c:v>0.24647577092511014</c:v>
                </c:pt>
                <c:pt idx="64">
                  <c:v>0.2403292181069959</c:v>
                </c:pt>
                <c:pt idx="65">
                  <c:v>0.22209969122187914</c:v>
                </c:pt>
                <c:pt idx="66">
                  <c:v>0.2386291516818278</c:v>
                </c:pt>
                <c:pt idx="67">
                  <c:v>0.2351828499369483</c:v>
                </c:pt>
                <c:pt idx="68">
                  <c:v>0.20679681851048445</c:v>
                </c:pt>
                <c:pt idx="69">
                  <c:v>0.19393319700068165</c:v>
                </c:pt>
                <c:pt idx="70">
                  <c:v>0.20833333333333334</c:v>
                </c:pt>
                <c:pt idx="71">
                  <c:v>0.203304113283884</c:v>
                </c:pt>
                <c:pt idx="72">
                  <c:v>0.17908578584846588</c:v>
                </c:pt>
                <c:pt idx="73">
                  <c:v>0.18953804347826086</c:v>
                </c:pt>
                <c:pt idx="74">
                  <c:v>0.17733285663210582</c:v>
                </c:pt>
                <c:pt idx="75">
                  <c:v>0.203559510567297</c:v>
                </c:pt>
                <c:pt idx="76">
                  <c:v>0.20963070238957277</c:v>
                </c:pt>
                <c:pt idx="77">
                  <c:v>0.19903691813804172</c:v>
                </c:pt>
                <c:pt idx="78">
                  <c:v>0.2053415061295972</c:v>
                </c:pt>
                <c:pt idx="79">
                  <c:v>0.1710833982852689</c:v>
                </c:pt>
                <c:pt idx="80">
                  <c:v>0.1694980694980695</c:v>
                </c:pt>
                <c:pt idx="81">
                  <c:v>0.17657529369882521</c:v>
                </c:pt>
                <c:pt idx="82">
                  <c:v>0.16823193140057166</c:v>
                </c:pt>
                <c:pt idx="83">
                  <c:v>0.1726649528706084</c:v>
                </c:pt>
                <c:pt idx="84">
                  <c:v>0.19217238346525944</c:v>
                </c:pt>
                <c:pt idx="85">
                  <c:v>0.1862381540997116</c:v>
                </c:pt>
                <c:pt idx="86">
                  <c:v>0.20093185789167153</c:v>
                </c:pt>
                <c:pt idx="87">
                  <c:v>0.2166387493020659</c:v>
                </c:pt>
                <c:pt idx="88">
                  <c:v>0.20662824207492794</c:v>
                </c:pt>
                <c:pt idx="89">
                  <c:v>0.1940099833610649</c:v>
                </c:pt>
                <c:pt idx="90">
                  <c:v>0.1951861602106055</c:v>
                </c:pt>
                <c:pt idx="91">
                  <c:v>0.18161094224924013</c:v>
                </c:pt>
                <c:pt idx="92">
                  <c:v>0.1863508881271424</c:v>
                </c:pt>
                <c:pt idx="93">
                  <c:v>0.19041614123581338</c:v>
                </c:pt>
                <c:pt idx="94">
                  <c:v>0.2039684855558798</c:v>
                </c:pt>
                <c:pt idx="95">
                  <c:v>0.20506264382510866</c:v>
                </c:pt>
                <c:pt idx="96">
                  <c:v>0.17860397302715508</c:v>
                </c:pt>
                <c:pt idx="97">
                  <c:v>0.17269681742043552</c:v>
                </c:pt>
                <c:pt idx="98">
                  <c:v>0.18259541984732824</c:v>
                </c:pt>
                <c:pt idx="99">
                  <c:v>0.19099400529764393</c:v>
                </c:pt>
                <c:pt idx="100">
                  <c:v>0.2022241416540704</c:v>
                </c:pt>
                <c:pt idx="101">
                  <c:v>0.22445288478929282</c:v>
                </c:pt>
                <c:pt idx="102">
                  <c:v>0.21822673620642327</c:v>
                </c:pt>
                <c:pt idx="103">
                  <c:v>0.2087299744601811</c:v>
                </c:pt>
                <c:pt idx="104">
                  <c:v>0.208081363386476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8.9464</c:v>
                </c:pt>
                <c:pt idx="1">
                  <c:v>1145.0996</c:v>
                </c:pt>
                <c:pt idx="2">
                  <c:v>1155.552</c:v>
                </c:pt>
                <c:pt idx="3">
                  <c:v>1143.7269</c:v>
                </c:pt>
                <c:pt idx="4">
                  <c:v>1180.2455</c:v>
                </c:pt>
                <c:pt idx="5">
                  <c:v>1162.7181</c:v>
                </c:pt>
                <c:pt idx="6">
                  <c:v>1113.946</c:v>
                </c:pt>
                <c:pt idx="7">
                  <c:v>1193.7539</c:v>
                </c:pt>
                <c:pt idx="8">
                  <c:v>1215.2416</c:v>
                </c:pt>
                <c:pt idx="9">
                  <c:v>1164.2495</c:v>
                </c:pt>
                <c:pt idx="10">
                  <c:v>1228.9739</c:v>
                </c:pt>
                <c:pt idx="11">
                  <c:v>1116.0875</c:v>
                </c:pt>
                <c:pt idx="12">
                  <c:v>1116.7279</c:v>
                </c:pt>
                <c:pt idx="13">
                  <c:v>1162.3106</c:v>
                </c:pt>
                <c:pt idx="14">
                  <c:v>1148.9504</c:v>
                </c:pt>
                <c:pt idx="15">
                  <c:v>1161.1447</c:v>
                </c:pt>
                <c:pt idx="16">
                  <c:v>1200.8732</c:v>
                </c:pt>
                <c:pt idx="17">
                  <c:v>1060.6741</c:v>
                </c:pt>
                <c:pt idx="18">
                  <c:v>1135.1996</c:v>
                </c:pt>
                <c:pt idx="19">
                  <c:v>1289.9745</c:v>
                </c:pt>
                <c:pt idx="20">
                  <c:v>1229.7905</c:v>
                </c:pt>
                <c:pt idx="21">
                  <c:v>1158.5791</c:v>
                </c:pt>
                <c:pt idx="22">
                  <c:v>1187.986</c:v>
                </c:pt>
                <c:pt idx="23">
                  <c:v>1222.8653</c:v>
                </c:pt>
                <c:pt idx="24">
                  <c:v>1199.637</c:v>
                </c:pt>
                <c:pt idx="25">
                  <c:v>1203.335</c:v>
                </c:pt>
                <c:pt idx="26">
                  <c:v>1157.5763</c:v>
                </c:pt>
                <c:pt idx="27">
                  <c:v>1157.6364</c:v>
                </c:pt>
                <c:pt idx="28">
                  <c:v>1170.8764</c:v>
                </c:pt>
                <c:pt idx="29">
                  <c:v>1194.412</c:v>
                </c:pt>
                <c:pt idx="30">
                  <c:v>1206.6372</c:v>
                </c:pt>
                <c:pt idx="31">
                  <c:v>1154.583</c:v>
                </c:pt>
                <c:pt idx="32">
                  <c:v>1179.3368</c:v>
                </c:pt>
                <c:pt idx="33">
                  <c:v>1213.4668</c:v>
                </c:pt>
                <c:pt idx="34">
                  <c:v>1205.9256</c:v>
                </c:pt>
                <c:pt idx="35">
                  <c:v>1243.0221</c:v>
                </c:pt>
                <c:pt idx="36">
                  <c:v>1282.19</c:v>
                </c:pt>
                <c:pt idx="37">
                  <c:v>1294.6533</c:v>
                </c:pt>
                <c:pt idx="38">
                  <c:v>1328.3808</c:v>
                </c:pt>
                <c:pt idx="39">
                  <c:v>1266.5587</c:v>
                </c:pt>
                <c:pt idx="40">
                  <c:v>1282.8693</c:v>
                </c:pt>
                <c:pt idx="41">
                  <c:v>1303.2528</c:v>
                </c:pt>
                <c:pt idx="42">
                  <c:v>1240.7973</c:v>
                </c:pt>
                <c:pt idx="43">
                  <c:v>1310.812</c:v>
                </c:pt>
                <c:pt idx="44">
                  <c:v>1254.7424</c:v>
                </c:pt>
                <c:pt idx="45">
                  <c:v>1210.6993</c:v>
                </c:pt>
                <c:pt idx="46">
                  <c:v>1178.6707</c:v>
                </c:pt>
                <c:pt idx="47">
                  <c:v>1136.7825</c:v>
                </c:pt>
                <c:pt idx="48">
                  <c:v>1101.1189</c:v>
                </c:pt>
                <c:pt idx="49">
                  <c:v>1124.5972</c:v>
                </c:pt>
                <c:pt idx="50">
                  <c:v>1125.0571</c:v>
                </c:pt>
                <c:pt idx="51">
                  <c:v>1076.3934</c:v>
                </c:pt>
              </c:numCache>
            </c:numRef>
          </c:xVal>
          <c:yVal>
            <c:numRef>
              <c:f>Sheet1!$B$109:$B$160</c:f>
              <c:numCache>
                <c:formatCode>General</c:formatCode>
                <c:ptCount val="52"/>
                <c:pt idx="0">
                  <c:v>0.20865758754863814</c:v>
                </c:pt>
                <c:pt idx="1">
                  <c:v>0.2114213197969543</c:v>
                </c:pt>
                <c:pt idx="2">
                  <c:v>0.22926596758817921</c:v>
                </c:pt>
                <c:pt idx="3">
                  <c:v>0.2552963260927863</c:v>
                </c:pt>
                <c:pt idx="4">
                  <c:v>0.23049095607235143</c:v>
                </c:pt>
                <c:pt idx="5">
                  <c:v>0.24322799097065462</c:v>
                </c:pt>
                <c:pt idx="6">
                  <c:v>0.24495476687543494</c:v>
                </c:pt>
                <c:pt idx="7">
                  <c:v>0.22158438576349024</c:v>
                </c:pt>
                <c:pt idx="8">
                  <c:v>0.22231404958677686</c:v>
                </c:pt>
                <c:pt idx="9">
                  <c:v>0.22913188647746244</c:v>
                </c:pt>
                <c:pt idx="10">
                  <c:v>0.23539460198155107</c:v>
                </c:pt>
                <c:pt idx="11">
                  <c:v>0.22519455252918288</c:v>
                </c:pt>
                <c:pt idx="12">
                  <c:v>0.23373786407766992</c:v>
                </c:pt>
                <c:pt idx="13">
                  <c:v>0.23651992706433966</c:v>
                </c:pt>
                <c:pt idx="14">
                  <c:v>0.24416258287690978</c:v>
                </c:pt>
                <c:pt idx="15">
                  <c:v>0.23902305159165751</c:v>
                </c:pt>
                <c:pt idx="16">
                  <c:v>0.23720608575380359</c:v>
                </c:pt>
                <c:pt idx="17">
                  <c:v>0.2543393552957846</c:v>
                </c:pt>
                <c:pt idx="18">
                  <c:v>0.23512154233025984</c:v>
                </c:pt>
                <c:pt idx="19">
                  <c:v>0.2239657631954351</c:v>
                </c:pt>
                <c:pt idx="20">
                  <c:v>0.22564734895191121</c:v>
                </c:pt>
                <c:pt idx="21">
                  <c:v>0.2386237513873474</c:v>
                </c:pt>
                <c:pt idx="22">
                  <c:v>0.2497096399535424</c:v>
                </c:pt>
                <c:pt idx="23">
                  <c:v>0.24601657106437222</c:v>
                </c:pt>
                <c:pt idx="24">
                  <c:v>0.2564734895191122</c:v>
                </c:pt>
                <c:pt idx="25">
                  <c:v>0.2642719692110327</c:v>
                </c:pt>
                <c:pt idx="26">
                  <c:v>0.2424400417101147</c:v>
                </c:pt>
                <c:pt idx="27">
                  <c:v>0.23655913978494625</c:v>
                </c:pt>
                <c:pt idx="28">
                  <c:v>0.23908248786943095</c:v>
                </c:pt>
                <c:pt idx="29">
                  <c:v>0.2531831537708129</c:v>
                </c:pt>
                <c:pt idx="30">
                  <c:v>0.24894712213383247</c:v>
                </c:pt>
                <c:pt idx="31">
                  <c:v>0.24239298607529655</c:v>
                </c:pt>
                <c:pt idx="32">
                  <c:v>0.23918448533068126</c:v>
                </c:pt>
                <c:pt idx="33">
                  <c:v>0.24518518518518517</c:v>
                </c:pt>
                <c:pt idx="34">
                  <c:v>0.2579957356076759</c:v>
                </c:pt>
                <c:pt idx="35">
                  <c:v>0.26261082237847755</c:v>
                </c:pt>
                <c:pt idx="36">
                  <c:v>0.2424383434155421</c:v>
                </c:pt>
                <c:pt idx="37">
                  <c:v>0.2485428809325562</c:v>
                </c:pt>
                <c:pt idx="38">
                  <c:v>0.23233609166136218</c:v>
                </c:pt>
                <c:pt idx="39">
                  <c:v>0.23688332028191073</c:v>
                </c:pt>
                <c:pt idx="40">
                  <c:v>0.2401664145234493</c:v>
                </c:pt>
                <c:pt idx="41">
                  <c:v>0.23071937783538563</c:v>
                </c:pt>
                <c:pt idx="42">
                  <c:v>0.23022151898734178</c:v>
                </c:pt>
                <c:pt idx="43">
                  <c:v>0.22313237221494103</c:v>
                </c:pt>
                <c:pt idx="44">
                  <c:v>0.22100481026189203</c:v>
                </c:pt>
                <c:pt idx="45">
                  <c:v>0.23862238622386223</c:v>
                </c:pt>
                <c:pt idx="46">
                  <c:v>0.2556642022418316</c:v>
                </c:pt>
                <c:pt idx="47">
                  <c:v>0.247893850042123</c:v>
                </c:pt>
                <c:pt idx="48">
                  <c:v>0.24130737134909597</c:v>
                </c:pt>
                <c:pt idx="49">
                  <c:v>0.2605140186915888</c:v>
                </c:pt>
                <c:pt idx="50">
                  <c:v>0.24714340736936705</c:v>
                </c:pt>
                <c:pt idx="51">
                  <c:v>0.2465212876427829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732.77799849462</c:v>
                </c:pt>
              </c:numCache>
            </c:numRef>
          </c:xVal>
          <c:yVal>
            <c:numRef>
              <c:f>Sheet1!$B$163:$B$164</c:f>
              <c:numCache>
                <c:formatCode>General</c:formatCode>
                <c:ptCount val="2"/>
                <c:pt idx="0">
                  <c:v>0.3248600297233571</c:v>
                </c:pt>
                <c:pt idx="1">
                  <c:v>0.324860029723357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732.77799849462</c:v>
                </c:pt>
                <c:pt idx="1">
                  <c:v>-1732.77799849462</c:v>
                </c:pt>
              </c:numCache>
            </c:numRef>
          </c:xVal>
          <c:yVal>
            <c:numRef>
              <c:f>Sheet1!$B$167:$B$168</c:f>
              <c:numCache>
                <c:formatCode>General</c:formatCode>
                <c:ptCount val="2"/>
                <c:pt idx="0">
                  <c:v>0.324860029723357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67.1357939403184</c:v>
                </c:pt>
              </c:numCache>
            </c:numRef>
          </c:xVal>
          <c:yVal>
            <c:numRef>
              <c:f>Sheet1!$B$171:$B$172</c:f>
              <c:numCache>
                <c:formatCode>General</c:formatCode>
                <c:ptCount val="2"/>
                <c:pt idx="0">
                  <c:v>0.2488715212632087</c:v>
                </c:pt>
                <c:pt idx="1">
                  <c:v>0.248871521263208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67.1357939403184</c:v>
                </c:pt>
                <c:pt idx="1">
                  <c:v>867.1357939403184</c:v>
                </c:pt>
              </c:numCache>
            </c:numRef>
          </c:xVal>
          <c:yVal>
            <c:numRef>
              <c:f>Sheet1!$B$175:$B$176</c:f>
              <c:numCache>
                <c:formatCode>General</c:formatCode>
                <c:ptCount val="2"/>
                <c:pt idx="0">
                  <c:v>0.248871521263208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1.212318975422</c:v>
                </c:pt>
              </c:numCache>
            </c:numRef>
          </c:xVal>
          <c:yVal>
            <c:numRef>
              <c:f>Sheet1!$B$179:$B$180</c:f>
              <c:numCache>
                <c:formatCode>General</c:formatCode>
                <c:ptCount val="2"/>
                <c:pt idx="0">
                  <c:v>0.23998417982042863</c:v>
                </c:pt>
                <c:pt idx="1">
                  <c:v>0.2399841798204286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1.212318975422</c:v>
                </c:pt>
                <c:pt idx="1">
                  <c:v>1171.212318975422</c:v>
                </c:pt>
              </c:numCache>
            </c:numRef>
          </c:xVal>
          <c:yVal>
            <c:numRef>
              <c:f>Sheet1!$B$183:$B$184</c:f>
              <c:numCache>
                <c:formatCode>General</c:formatCode>
                <c:ptCount val="2"/>
                <c:pt idx="0">
                  <c:v>0.239984179820428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8.9464</c:v>
                </c:pt>
                <c:pt idx="1">
                  <c:v>1145.0996</c:v>
                </c:pt>
                <c:pt idx="2">
                  <c:v>1155.552</c:v>
                </c:pt>
                <c:pt idx="3">
                  <c:v>1143.7269</c:v>
                </c:pt>
                <c:pt idx="4">
                  <c:v>1180.2455</c:v>
                </c:pt>
                <c:pt idx="5">
                  <c:v>1162.7181</c:v>
                </c:pt>
                <c:pt idx="6">
                  <c:v>1113.946</c:v>
                </c:pt>
                <c:pt idx="7">
                  <c:v>1193.7539</c:v>
                </c:pt>
                <c:pt idx="8">
                  <c:v>1215.2416</c:v>
                </c:pt>
                <c:pt idx="9">
                  <c:v>1164.2495</c:v>
                </c:pt>
                <c:pt idx="10">
                  <c:v>1228.9739</c:v>
                </c:pt>
                <c:pt idx="11">
                  <c:v>1116.0875</c:v>
                </c:pt>
                <c:pt idx="12">
                  <c:v>1116.7279</c:v>
                </c:pt>
                <c:pt idx="13">
                  <c:v>1162.3106</c:v>
                </c:pt>
                <c:pt idx="14">
                  <c:v>1148.9504</c:v>
                </c:pt>
                <c:pt idx="15">
                  <c:v>1161.1447</c:v>
                </c:pt>
                <c:pt idx="16">
                  <c:v>1200.8732</c:v>
                </c:pt>
                <c:pt idx="17">
                  <c:v>1060.6741</c:v>
                </c:pt>
                <c:pt idx="18">
                  <c:v>1135.1996</c:v>
                </c:pt>
                <c:pt idx="19">
                  <c:v>1289.9745</c:v>
                </c:pt>
                <c:pt idx="20">
                  <c:v>1229.7905</c:v>
                </c:pt>
                <c:pt idx="21">
                  <c:v>1158.5791</c:v>
                </c:pt>
                <c:pt idx="22">
                  <c:v>1187.986</c:v>
                </c:pt>
                <c:pt idx="23">
                  <c:v>1222.8653</c:v>
                </c:pt>
                <c:pt idx="24">
                  <c:v>1199.637</c:v>
                </c:pt>
                <c:pt idx="25">
                  <c:v>1203.335</c:v>
                </c:pt>
                <c:pt idx="26">
                  <c:v>1157.5763</c:v>
                </c:pt>
                <c:pt idx="27">
                  <c:v>1157.6364</c:v>
                </c:pt>
                <c:pt idx="28">
                  <c:v>1170.8764</c:v>
                </c:pt>
                <c:pt idx="29">
                  <c:v>1194.412</c:v>
                </c:pt>
                <c:pt idx="30">
                  <c:v>1206.6372</c:v>
                </c:pt>
                <c:pt idx="31">
                  <c:v>1154.583</c:v>
                </c:pt>
                <c:pt idx="32">
                  <c:v>1179.3368</c:v>
                </c:pt>
                <c:pt idx="33">
                  <c:v>1213.4668</c:v>
                </c:pt>
                <c:pt idx="34">
                  <c:v>1205.9256</c:v>
                </c:pt>
                <c:pt idx="35">
                  <c:v>1243.0221</c:v>
                </c:pt>
                <c:pt idx="36">
                  <c:v>1282.19</c:v>
                </c:pt>
                <c:pt idx="37">
                  <c:v>1294.6533</c:v>
                </c:pt>
                <c:pt idx="38">
                  <c:v>1328.3808</c:v>
                </c:pt>
                <c:pt idx="39">
                  <c:v>1266.5587</c:v>
                </c:pt>
                <c:pt idx="40">
                  <c:v>1282.8693</c:v>
                </c:pt>
                <c:pt idx="41">
                  <c:v>1303.2528</c:v>
                </c:pt>
                <c:pt idx="42">
                  <c:v>1240.7973</c:v>
                </c:pt>
                <c:pt idx="43">
                  <c:v>1310.812</c:v>
                </c:pt>
                <c:pt idx="44">
                  <c:v>1254.7424</c:v>
                </c:pt>
                <c:pt idx="45">
                  <c:v>1210.6993</c:v>
                </c:pt>
                <c:pt idx="46">
                  <c:v>1178.6707</c:v>
                </c:pt>
                <c:pt idx="47">
                  <c:v>1136.7825</c:v>
                </c:pt>
                <c:pt idx="48">
                  <c:v>1101.1189</c:v>
                </c:pt>
                <c:pt idx="49">
                  <c:v>1124.5972</c:v>
                </c:pt>
                <c:pt idx="50">
                  <c:v>1125.0571</c:v>
                </c:pt>
                <c:pt idx="51">
                  <c:v>1076.3934</c:v>
                </c:pt>
                <c:pt idx="52">
                  <c:v>867.1357939403184</c:v>
                </c:pt>
                <c:pt idx="53">
                  <c:v>-1732.77799849462</c:v>
                </c:pt>
                <c:pt idx="54">
                  <c:v>1171.212318975422</c:v>
                </c:pt>
              </c:numCache>
            </c:numRef>
          </c:xVal>
          <c:yVal>
            <c:numRef>
              <c:f>Sheet1!$B$187:$B$241</c:f>
              <c:numCache>
                <c:formatCode>General</c:formatCode>
                <c:ptCount val="55"/>
                <c:pt idx="0">
                  <c:v>0.2415117724805382</c:v>
                </c:pt>
                <c:pt idx="1">
                  <c:v>0.24074738457458433</c:v>
                </c:pt>
                <c:pt idx="2">
                  <c:v>0.240441888950791</c:v>
                </c:pt>
                <c:pt idx="3">
                  <c:v>0.24078750491467668</c:v>
                </c:pt>
                <c:pt idx="4">
                  <c:v>0.23972016416163813</c:v>
                </c:pt>
                <c:pt idx="5">
                  <c:v>0.24023244306375396</c:v>
                </c:pt>
                <c:pt idx="6">
                  <c:v>0.24165792076391968</c:v>
                </c:pt>
                <c:pt idx="7">
                  <c:v>0.23932534985253687</c:v>
                </c:pt>
                <c:pt idx="8">
                  <c:v>0.23869732200100185</c:v>
                </c:pt>
                <c:pt idx="9">
                  <c:v>0.24018768434821716</c:v>
                </c:pt>
                <c:pt idx="10">
                  <c:v>0.2382959636952905</c:v>
                </c:pt>
                <c:pt idx="11">
                  <c:v>0.2415953304613716</c:v>
                </c:pt>
                <c:pt idx="12">
                  <c:v>0.24157661328661006</c:v>
                </c:pt>
                <c:pt idx="13">
                  <c:v>0.24024435319603898</c:v>
                </c:pt>
                <c:pt idx="14">
                  <c:v>0.24063483601653993</c:v>
                </c:pt>
                <c:pt idx="15">
                  <c:v>0.24027842932666743</c:v>
                </c:pt>
                <c:pt idx="16">
                  <c:v>0.23911727180400524</c:v>
                </c:pt>
                <c:pt idx="17">
                  <c:v>0.2432149155518303</c:v>
                </c:pt>
                <c:pt idx="18">
                  <c:v>0.24103673502764336</c:v>
                </c:pt>
                <c:pt idx="19">
                  <c:v>0.23651307973095992</c:v>
                </c:pt>
                <c:pt idx="20">
                  <c:v>0.2382720966670109</c:v>
                </c:pt>
                <c:pt idx="21">
                  <c:v>0.24035341493498746</c:v>
                </c:pt>
                <c:pt idx="22">
                  <c:v>0.23949393010286002</c:v>
                </c:pt>
                <c:pt idx="23">
                  <c:v>0.23847450169302348</c:v>
                </c:pt>
                <c:pt idx="24">
                  <c:v>0.23915340261512358</c:v>
                </c:pt>
                <c:pt idx="25">
                  <c:v>0.23904531999134454</c:v>
                </c:pt>
                <c:pt idx="26">
                  <c:v>0.24038272408997002</c:v>
                </c:pt>
                <c:pt idx="27">
                  <c:v>0.24038096752812874</c:v>
                </c:pt>
                <c:pt idx="28">
                  <c:v>0.2399939978313104</c:v>
                </c:pt>
                <c:pt idx="29">
                  <c:v>0.23930611535423807</c:v>
                </c:pt>
                <c:pt idx="30">
                  <c:v>0.2389488055402242</c:v>
                </c:pt>
                <c:pt idx="31">
                  <c:v>0.24047021022240858</c:v>
                </c:pt>
                <c:pt idx="32">
                  <c:v>0.23974672302595074</c:v>
                </c:pt>
                <c:pt idx="33">
                  <c:v>0.23874919464585936</c:v>
                </c:pt>
                <c:pt idx="34">
                  <c:v>0.23896960370006226</c:v>
                </c:pt>
                <c:pt idx="35">
                  <c:v>0.2378853724796679</c:v>
                </c:pt>
                <c:pt idx="36">
                  <c:v>0.23674059979175166</c:v>
                </c:pt>
                <c:pt idx="37">
                  <c:v>0.23637633095320512</c:v>
                </c:pt>
                <c:pt idx="38">
                  <c:v>0.2353905665688063</c:v>
                </c:pt>
                <c:pt idx="39">
                  <c:v>0.23719746077527706</c:v>
                </c:pt>
                <c:pt idx="40">
                  <c:v>0.23672074567430085</c:v>
                </c:pt>
                <c:pt idx="41">
                  <c:v>0.2361249906278434</c:v>
                </c:pt>
                <c:pt idx="42">
                  <c:v>0.23795039741784624</c:v>
                </c:pt>
                <c:pt idx="43">
                  <c:v>0.23590405548190765</c:v>
                </c:pt>
                <c:pt idx="44">
                  <c:v>0.23754281953876002</c:v>
                </c:pt>
                <c:pt idx="45">
                  <c:v>0.23883008124978267</c:v>
                </c:pt>
                <c:pt idx="46">
                  <c:v>0.23976619134279747</c:v>
                </c:pt>
                <c:pt idx="47">
                  <c:v>0.24099047110520427</c:v>
                </c:pt>
                <c:pt idx="48">
                  <c:v>0.24203282250093316</c:v>
                </c:pt>
                <c:pt idx="49">
                  <c:v>0.24134661474921035</c:v>
                </c:pt>
                <c:pt idx="50">
                  <c:v>0.24133317310543642</c:v>
                </c:pt>
                <c:pt idx="51">
                  <c:v>0.2427554825642777</c:v>
                </c:pt>
                <c:pt idx="52">
                  <c:v>0.2488715212632087</c:v>
                </c:pt>
                <c:pt idx="53">
                  <c:v>0.3248600297233571</c:v>
                </c:pt>
                <c:pt idx="54">
                  <c:v>0.239984179820428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47814451382694"/>
          <c:min val="0.134585545120457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2403666615377578</c:v>
                </c:pt>
                <c:pt idx="1">
                  <c:v>2.439809187405152</c:v>
                </c:pt>
                <c:pt idx="2">
                  <c:v>2.359175111862956</c:v>
                </c:pt>
                <c:pt idx="3">
                  <c:v>2.3936967130079347</c:v>
                </c:pt>
                <c:pt idx="4">
                  <c:v>2.3715550879177507</c:v>
                </c:pt>
                <c:pt idx="5">
                  <c:v>1.8446562087126341</c:v>
                </c:pt>
                <c:pt idx="6">
                  <c:v>1.6262701065001834</c:v>
                </c:pt>
                <c:pt idx="7">
                  <c:v>1.7281993217593576</c:v>
                </c:pt>
                <c:pt idx="8">
                  <c:v>1.7417292801115751</c:v>
                </c:pt>
                <c:pt idx="9">
                  <c:v>1.871001061772892</c:v>
                </c:pt>
                <c:pt idx="10">
                  <c:v>1.8461574798441347</c:v>
                </c:pt>
                <c:pt idx="11">
                  <c:v>1.7443482001046442</c:v>
                </c:pt>
                <c:pt idx="12">
                  <c:v>1.7517276657057874</c:v>
                </c:pt>
                <c:pt idx="13">
                  <c:v>1.7205132667775989</c:v>
                </c:pt>
                <c:pt idx="14">
                  <c:v>1.7198864743842537</c:v>
                </c:pt>
                <c:pt idx="15">
                  <c:v>1.7350836487883958</c:v>
                </c:pt>
                <c:pt idx="16">
                  <c:v>1.6944568484214408</c:v>
                </c:pt>
                <c:pt idx="17">
                  <c:v>2.1165826104498686</c:v>
                </c:pt>
                <c:pt idx="18">
                  <c:v>2.1932357954336092</c:v>
                </c:pt>
                <c:pt idx="19">
                  <c:v>2.3512516093997706</c:v>
                </c:pt>
                <c:pt idx="20">
                  <c:v>2.46592767080861</c:v>
                </c:pt>
                <c:pt idx="21">
                  <c:v>2.597725001266575</c:v>
                </c:pt>
                <c:pt idx="22">
                  <c:v>2.6367025440722736</c:v>
                </c:pt>
                <c:pt idx="23">
                  <c:v>2.663059833829531</c:v>
                </c:pt>
                <c:pt idx="24">
                  <c:v>2.735092534590299</c:v>
                </c:pt>
                <c:pt idx="25">
                  <c:v>2.6252623089972738</c:v>
                </c:pt>
                <c:pt idx="26">
                  <c:v>2.171743338596444</c:v>
                </c:pt>
                <c:pt idx="27">
                  <c:v>2.0482171782465013</c:v>
                </c:pt>
                <c:pt idx="28">
                  <c:v>2.0627045206803682</c:v>
                </c:pt>
                <c:pt idx="29">
                  <c:v>1.8287734513274336</c:v>
                </c:pt>
                <c:pt idx="30">
                  <c:v>1.9196950820894236</c:v>
                </c:pt>
                <c:pt idx="31">
                  <c:v>1.92184921305071</c:v>
                </c:pt>
                <c:pt idx="32">
                  <c:v>1.8844861595269424</c:v>
                </c:pt>
                <c:pt idx="33">
                  <c:v>1.832695688662564</c:v>
                </c:pt>
                <c:pt idx="34">
                  <c:v>1.9847369387603742</c:v>
                </c:pt>
                <c:pt idx="35">
                  <c:v>2.0438971818724436</c:v>
                </c:pt>
                <c:pt idx="36">
                  <c:v>2.189569610349546</c:v>
                </c:pt>
                <c:pt idx="37">
                  <c:v>2.1652941657936706</c:v>
                </c:pt>
                <c:pt idx="38">
                  <c:v>2.2613092002078155</c:v>
                </c:pt>
                <c:pt idx="39">
                  <c:v>2.334422394358786</c:v>
                </c:pt>
                <c:pt idx="40">
                  <c:v>2.347795768375081</c:v>
                </c:pt>
                <c:pt idx="41">
                  <c:v>2.41781655364807</c:v>
                </c:pt>
                <c:pt idx="42">
                  <c:v>2.4702122723032707</c:v>
                </c:pt>
                <c:pt idx="43">
                  <c:v>2.460214881291217</c:v>
                </c:pt>
                <c:pt idx="44">
                  <c:v>2.144931599066331</c:v>
                </c:pt>
                <c:pt idx="45">
                  <c:v>2.1304244290016894</c:v>
                </c:pt>
                <c:pt idx="46">
                  <c:v>2.0970334633485592</c:v>
                </c:pt>
                <c:pt idx="47">
                  <c:v>2.133777494903783</c:v>
                </c:pt>
                <c:pt idx="48">
                  <c:v>2.0859372827016562</c:v>
                </c:pt>
                <c:pt idx="49">
                  <c:v>2.0314943599059188</c:v>
                </c:pt>
                <c:pt idx="50">
                  <c:v>2.047012858681486</c:v>
                </c:pt>
                <c:pt idx="51">
                  <c:v>2.188489855287222</c:v>
                </c:pt>
                <c:pt idx="52">
                  <c:v>2.1271824071910497</c:v>
                </c:pt>
                <c:pt idx="53">
                  <c:v>2.052966493667713</c:v>
                </c:pt>
                <c:pt idx="54">
                  <c:v>2.221007206513982</c:v>
                </c:pt>
                <c:pt idx="55">
                  <c:v>2.2135279402769075</c:v>
                </c:pt>
                <c:pt idx="56">
                  <c:v>2.3077744859703953</c:v>
                </c:pt>
                <c:pt idx="57">
                  <c:v>2.2204274202446967</c:v>
                </c:pt>
                <c:pt idx="58">
                  <c:v>2.256715534665593</c:v>
                </c:pt>
                <c:pt idx="59">
                  <c:v>2.2895317912814495</c:v>
                </c:pt>
                <c:pt idx="60">
                  <c:v>2.286435897594791</c:v>
                </c:pt>
                <c:pt idx="61">
                  <c:v>2.1532695136372135</c:v>
                </c:pt>
                <c:pt idx="62">
                  <c:v>2.2783556403830985</c:v>
                </c:pt>
                <c:pt idx="63">
                  <c:v>2.4071298640355736</c:v>
                </c:pt>
                <c:pt idx="64">
                  <c:v>2.3044361975912286</c:v>
                </c:pt>
                <c:pt idx="65">
                  <c:v>2.2198759957775933</c:v>
                </c:pt>
                <c:pt idx="66">
                  <c:v>2.0768374479232072</c:v>
                </c:pt>
                <c:pt idx="67">
                  <c:v>2.1106509455056472</c:v>
                </c:pt>
                <c:pt idx="68">
                  <c:v>2.1343380437833934</c:v>
                </c:pt>
                <c:pt idx="69">
                  <c:v>1.9852997521787048</c:v>
                </c:pt>
                <c:pt idx="70">
                  <c:v>1.812043071153786</c:v>
                </c:pt>
                <c:pt idx="71">
                  <c:v>2.0524199457340373</c:v>
                </c:pt>
                <c:pt idx="72">
                  <c:v>2.2307685187127957</c:v>
                </c:pt>
                <c:pt idx="73">
                  <c:v>2.007955340604238</c:v>
                </c:pt>
                <c:pt idx="74">
                  <c:v>2.1010615181102414</c:v>
                </c:pt>
                <c:pt idx="75">
                  <c:v>2.1475836810442295</c:v>
                </c:pt>
                <c:pt idx="76">
                  <c:v>2.233021397996715</c:v>
                </c:pt>
                <c:pt idx="77">
                  <c:v>2.165067764029541</c:v>
                </c:pt>
                <c:pt idx="78">
                  <c:v>2.1497175796347006</c:v>
                </c:pt>
                <c:pt idx="79">
                  <c:v>1.153250249280716</c:v>
                </c:pt>
                <c:pt idx="80">
                  <c:v>1.363412911683433</c:v>
                </c:pt>
                <c:pt idx="81">
                  <c:v>1.7234290062138056</c:v>
                </c:pt>
                <c:pt idx="82">
                  <c:v>1.8175839231246336</c:v>
                </c:pt>
                <c:pt idx="83">
                  <c:v>1.6164178569966847</c:v>
                </c:pt>
                <c:pt idx="84">
                  <c:v>2.0213862141531402</c:v>
                </c:pt>
                <c:pt idx="85">
                  <c:v>1.6239602950741168</c:v>
                </c:pt>
                <c:pt idx="86">
                  <c:v>2.2425588033454447</c:v>
                </c:pt>
                <c:pt idx="87">
                  <c:v>2.3807988731527927</c:v>
                </c:pt>
                <c:pt idx="88">
                  <c:v>2.3775270307934444</c:v>
                </c:pt>
                <c:pt idx="89">
                  <c:v>2.2625253895897384</c:v>
                </c:pt>
                <c:pt idx="90">
                  <c:v>2.3390914525190905</c:v>
                </c:pt>
                <c:pt idx="91">
                  <c:v>2.502924069266061</c:v>
                </c:pt>
                <c:pt idx="92">
                  <c:v>2.4238329386749142</c:v>
                </c:pt>
                <c:pt idx="93">
                  <c:v>2.0932435477627824</c:v>
                </c:pt>
                <c:pt idx="94">
                  <c:v>2.0744261085774256</c:v>
                </c:pt>
                <c:pt idx="95">
                  <c:v>2.005046426303431</c:v>
                </c:pt>
                <c:pt idx="96">
                  <c:v>1.656702478056407</c:v>
                </c:pt>
                <c:pt idx="97">
                  <c:v>1.8579729599782746</c:v>
                </c:pt>
                <c:pt idx="98">
                  <c:v>1.9705465567336835</c:v>
                </c:pt>
                <c:pt idx="99">
                  <c:v>2.069138465677185</c:v>
                </c:pt>
                <c:pt idx="100">
                  <c:v>1.8477736574859915</c:v>
                </c:pt>
                <c:pt idx="101">
                  <c:v>1.7383381244715654</c:v>
                </c:pt>
                <c:pt idx="102">
                  <c:v>1.7720941241438866</c:v>
                </c:pt>
                <c:pt idx="103">
                  <c:v>1.4488287663446775</c:v>
                </c:pt>
                <c:pt idx="104">
                  <c:v>1.5334864653925036</c:v>
                </c:pt>
              </c:numCache>
            </c:numRef>
          </c:xVal>
          <c:yVal>
            <c:numRef>
              <c:f>Sheet1!$B$2:$B$106</c:f>
              <c:numCache>
                <c:formatCode>General</c:formatCode>
                <c:ptCount val="105"/>
                <c:pt idx="0">
                  <c:v>0.17630700778642935</c:v>
                </c:pt>
                <c:pt idx="1">
                  <c:v>0.1839814277423099</c:v>
                </c:pt>
                <c:pt idx="2">
                  <c:v>0.18671853292581272</c:v>
                </c:pt>
                <c:pt idx="3">
                  <c:v>0.1895845523698069</c:v>
                </c:pt>
                <c:pt idx="4">
                  <c:v>0.1959383226776984</c:v>
                </c:pt>
                <c:pt idx="5">
                  <c:v>0.19276485788113695</c:v>
                </c:pt>
                <c:pt idx="6">
                  <c:v>0.2147024504084014</c:v>
                </c:pt>
                <c:pt idx="7">
                  <c:v>0.19937555753791258</c:v>
                </c:pt>
                <c:pt idx="8">
                  <c:v>0.18586387434554974</c:v>
                </c:pt>
                <c:pt idx="9">
                  <c:v>0.18893871449925262</c:v>
                </c:pt>
                <c:pt idx="10">
                  <c:v>0.2072072072072072</c:v>
                </c:pt>
                <c:pt idx="11">
                  <c:v>0.18072289156626506</c:v>
                </c:pt>
                <c:pt idx="12">
                  <c:v>0.1634768740031898</c:v>
                </c:pt>
                <c:pt idx="13">
                  <c:v>0.15559293523969722</c:v>
                </c:pt>
                <c:pt idx="14">
                  <c:v>0.15882663847780126</c:v>
                </c:pt>
                <c:pt idx="15">
                  <c:v>0.15666041275797374</c:v>
                </c:pt>
                <c:pt idx="16">
                  <c:v>0.14433617539585872</c:v>
                </c:pt>
                <c:pt idx="17">
                  <c:v>0.17410868812737973</c:v>
                </c:pt>
                <c:pt idx="18">
                  <c:v>0.13504556752278377</c:v>
                </c:pt>
                <c:pt idx="19">
                  <c:v>0.13041431261770245</c:v>
                </c:pt>
                <c:pt idx="20">
                  <c:v>0.14243697478991596</c:v>
                </c:pt>
                <c:pt idx="21">
                  <c:v>0.14227642276422764</c:v>
                </c:pt>
                <c:pt idx="22">
                  <c:v>0.12872628726287264</c:v>
                </c:pt>
                <c:pt idx="23">
                  <c:v>0.15677390122338014</c:v>
                </c:pt>
                <c:pt idx="24">
                  <c:v>0.15384615384615385</c:v>
                </c:pt>
                <c:pt idx="25">
                  <c:v>0.14991762767710048</c:v>
                </c:pt>
                <c:pt idx="26">
                  <c:v>0.1443661971830986</c:v>
                </c:pt>
                <c:pt idx="27">
                  <c:v>0.1388511985526911</c:v>
                </c:pt>
                <c:pt idx="28">
                  <c:v>0.13448432530667878</c:v>
                </c:pt>
                <c:pt idx="29">
                  <c:v>0.14750721054800164</c:v>
                </c:pt>
                <c:pt idx="30">
                  <c:v>0.13146447559207347</c:v>
                </c:pt>
                <c:pt idx="31">
                  <c:v>0.13555347091932457</c:v>
                </c:pt>
                <c:pt idx="32">
                  <c:v>0.14033539276257723</c:v>
                </c:pt>
                <c:pt idx="33">
                  <c:v>0.15371389270976615</c:v>
                </c:pt>
                <c:pt idx="34">
                  <c:v>0.15134099616858238</c:v>
                </c:pt>
                <c:pt idx="35">
                  <c:v>0.15068119891008175</c:v>
                </c:pt>
                <c:pt idx="36">
                  <c:v>0.12838726650881346</c:v>
                </c:pt>
                <c:pt idx="37">
                  <c:v>0.1190709846254498</c:v>
                </c:pt>
                <c:pt idx="38">
                  <c:v>0.11519364448857994</c:v>
                </c:pt>
                <c:pt idx="39">
                  <c:v>0.11170011359333586</c:v>
                </c:pt>
                <c:pt idx="40">
                  <c:v>0.10225361587621931</c:v>
                </c:pt>
                <c:pt idx="41">
                  <c:v>0.10912906610703044</c:v>
                </c:pt>
                <c:pt idx="42">
                  <c:v>0.11368297685320831</c:v>
                </c:pt>
                <c:pt idx="43">
                  <c:v>0.10638297872340426</c:v>
                </c:pt>
                <c:pt idx="44">
                  <c:v>0.1106034646868456</c:v>
                </c:pt>
                <c:pt idx="45">
                  <c:v>0.1229092275887991</c:v>
                </c:pt>
                <c:pt idx="46">
                  <c:v>0.1189859363434493</c:v>
                </c:pt>
                <c:pt idx="47">
                  <c:v>0.12434456928838951</c:v>
                </c:pt>
                <c:pt idx="48">
                  <c:v>0.14041903704731512</c:v>
                </c:pt>
                <c:pt idx="49">
                  <c:v>0.17949232467141568</c:v>
                </c:pt>
                <c:pt idx="50">
                  <c:v>0.15259682313046583</c:v>
                </c:pt>
                <c:pt idx="51">
                  <c:v>0.14204545454545456</c:v>
                </c:pt>
                <c:pt idx="52">
                  <c:v>0.14432989690721648</c:v>
                </c:pt>
                <c:pt idx="53">
                  <c:v>0.15761653051417587</c:v>
                </c:pt>
                <c:pt idx="54">
                  <c:v>0.16499593606068816</c:v>
                </c:pt>
                <c:pt idx="55">
                  <c:v>0.1595238095238095</c:v>
                </c:pt>
                <c:pt idx="56">
                  <c:v>0.16421424367274867</c:v>
                </c:pt>
                <c:pt idx="57">
                  <c:v>0.16652554332486594</c:v>
                </c:pt>
                <c:pt idx="58">
                  <c:v>0.176487747957993</c:v>
                </c:pt>
                <c:pt idx="59">
                  <c:v>0.1659176029962547</c:v>
                </c:pt>
                <c:pt idx="60">
                  <c:v>0.17125110913930788</c:v>
                </c:pt>
                <c:pt idx="61">
                  <c:v>0.18702195904268443</c:v>
                </c:pt>
                <c:pt idx="62">
                  <c:v>0.1743073047858942</c:v>
                </c:pt>
                <c:pt idx="63">
                  <c:v>0.18193832599118942</c:v>
                </c:pt>
                <c:pt idx="64">
                  <c:v>0.1662551440329218</c:v>
                </c:pt>
                <c:pt idx="65">
                  <c:v>0.15990295544772828</c:v>
                </c:pt>
                <c:pt idx="66">
                  <c:v>0.16987518510683308</c:v>
                </c:pt>
                <c:pt idx="67">
                  <c:v>0.16792770071458596</c:v>
                </c:pt>
                <c:pt idx="68">
                  <c:v>0.14509520366353337</c:v>
                </c:pt>
                <c:pt idx="69">
                  <c:v>0.15030674846625766</c:v>
                </c:pt>
                <c:pt idx="70">
                  <c:v>0.1478102189781022</c:v>
                </c:pt>
                <c:pt idx="71">
                  <c:v>0.14227916385704653</c:v>
                </c:pt>
                <c:pt idx="72">
                  <c:v>0.14214151534126487</c:v>
                </c:pt>
                <c:pt idx="73">
                  <c:v>0.16236413043478262</c:v>
                </c:pt>
                <c:pt idx="74">
                  <c:v>0.1394351090454058</c:v>
                </c:pt>
                <c:pt idx="75">
                  <c:v>0.14312198739340007</c:v>
                </c:pt>
                <c:pt idx="76">
                  <c:v>0.14265025343953658</c:v>
                </c:pt>
                <c:pt idx="77">
                  <c:v>0.14125200642054575</c:v>
                </c:pt>
                <c:pt idx="78">
                  <c:v>0.13485113835376533</c:v>
                </c:pt>
                <c:pt idx="79">
                  <c:v>0.23928293063133282</c:v>
                </c:pt>
                <c:pt idx="80">
                  <c:v>0.20347490347490346</c:v>
                </c:pt>
                <c:pt idx="81">
                  <c:v>0.1505873976504094</c:v>
                </c:pt>
                <c:pt idx="82">
                  <c:v>0.16292364230298081</c:v>
                </c:pt>
                <c:pt idx="83">
                  <c:v>0.14652956298200515</c:v>
                </c:pt>
                <c:pt idx="84">
                  <c:v>0.13016710642040458</c:v>
                </c:pt>
                <c:pt idx="85">
                  <c:v>0.16522455706633704</c:v>
                </c:pt>
                <c:pt idx="86">
                  <c:v>0.12230634828188701</c:v>
                </c:pt>
                <c:pt idx="87">
                  <c:v>0.13176996091568957</c:v>
                </c:pt>
                <c:pt idx="88">
                  <c:v>0.12161383285302593</c:v>
                </c:pt>
                <c:pt idx="89">
                  <c:v>0.11913477537437604</c:v>
                </c:pt>
                <c:pt idx="90">
                  <c:v>0.128995863106431</c:v>
                </c:pt>
                <c:pt idx="91">
                  <c:v>0.10258358662613981</c:v>
                </c:pt>
                <c:pt idx="92">
                  <c:v>0.11280772826425678</c:v>
                </c:pt>
                <c:pt idx="93">
                  <c:v>0.10372005044136191</c:v>
                </c:pt>
                <c:pt idx="94">
                  <c:v>0.10650714911000875</c:v>
                </c:pt>
                <c:pt idx="95">
                  <c:v>0.09997443109179238</c:v>
                </c:pt>
                <c:pt idx="96">
                  <c:v>0.1095316201931839</c:v>
                </c:pt>
                <c:pt idx="97">
                  <c:v>0.10452261306532663</c:v>
                </c:pt>
                <c:pt idx="98">
                  <c:v>0.11984732824427481</c:v>
                </c:pt>
                <c:pt idx="99">
                  <c:v>0.12811933640039036</c:v>
                </c:pt>
                <c:pt idx="100">
                  <c:v>0.1311811703735694</c:v>
                </c:pt>
                <c:pt idx="101">
                  <c:v>0.13456321215409658</c:v>
                </c:pt>
                <c:pt idx="102">
                  <c:v>0.11638759264342574</c:v>
                </c:pt>
                <c:pt idx="103">
                  <c:v>0.1427908056651962</c:v>
                </c:pt>
                <c:pt idx="104">
                  <c:v>0.1517317207256734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5452639721105836</c:v>
                </c:pt>
                <c:pt idx="1">
                  <c:v>1.6275956132918337</c:v>
                </c:pt>
                <c:pt idx="2">
                  <c:v>1.5673477240403042</c:v>
                </c:pt>
                <c:pt idx="3">
                  <c:v>1.6303867628580488</c:v>
                </c:pt>
                <c:pt idx="4">
                  <c:v>1.6736365848421957</c:v>
                </c:pt>
                <c:pt idx="5">
                  <c:v>1.6575134408920333</c:v>
                </c:pt>
                <c:pt idx="6">
                  <c:v>1.7639695658473025</c:v>
                </c:pt>
                <c:pt idx="7">
                  <c:v>1.7161747944491592</c:v>
                </c:pt>
                <c:pt idx="8">
                  <c:v>1.8938967412276235</c:v>
                </c:pt>
                <c:pt idx="9">
                  <c:v>1.8429372198786131</c:v>
                </c:pt>
                <c:pt idx="10">
                  <c:v>1.8988977076294011</c:v>
                </c:pt>
                <c:pt idx="11">
                  <c:v>1.9419029565728108</c:v>
                </c:pt>
                <c:pt idx="12">
                  <c:v>1.9642553063326156</c:v>
                </c:pt>
                <c:pt idx="13">
                  <c:v>1.9751699120076494</c:v>
                </c:pt>
                <c:pt idx="14">
                  <c:v>1.9642754466784988</c:v>
                </c:pt>
                <c:pt idx="15">
                  <c:v>2.1589158270790536</c:v>
                </c:pt>
                <c:pt idx="16">
                  <c:v>2.011447475545087</c:v>
                </c:pt>
                <c:pt idx="17">
                  <c:v>2.2510288847385023</c:v>
                </c:pt>
                <c:pt idx="18">
                  <c:v>2.1589469292571923</c:v>
                </c:pt>
                <c:pt idx="19">
                  <c:v>2.2522526437208423</c:v>
                </c:pt>
                <c:pt idx="20">
                  <c:v>2.0843791540596146</c:v>
                </c:pt>
                <c:pt idx="21">
                  <c:v>2.064860120096149</c:v>
                </c:pt>
                <c:pt idx="22">
                  <c:v>1.8231357353192843</c:v>
                </c:pt>
                <c:pt idx="23">
                  <c:v>1.7119343447349142</c:v>
                </c:pt>
                <c:pt idx="24">
                  <c:v>1.6879559378186269</c:v>
                </c:pt>
                <c:pt idx="25">
                  <c:v>1.7975006773788313</c:v>
                </c:pt>
                <c:pt idx="26">
                  <c:v>1.7690776715544518</c:v>
                </c:pt>
                <c:pt idx="27">
                  <c:v>1.7935897111797443</c:v>
                </c:pt>
                <c:pt idx="28">
                  <c:v>1.7132911367187622</c:v>
                </c:pt>
                <c:pt idx="29">
                  <c:v>1.9340629001051675</c:v>
                </c:pt>
                <c:pt idx="30">
                  <c:v>1.874758770541518</c:v>
                </c:pt>
                <c:pt idx="31">
                  <c:v>1.575531480545273</c:v>
                </c:pt>
                <c:pt idx="32">
                  <c:v>1.6282812398764277</c:v>
                </c:pt>
                <c:pt idx="33">
                  <c:v>1.6955106153169195</c:v>
                </c:pt>
                <c:pt idx="34">
                  <c:v>1.7766640129408002</c:v>
                </c:pt>
                <c:pt idx="35">
                  <c:v>1.583520577249097</c:v>
                </c:pt>
                <c:pt idx="36">
                  <c:v>1.748828428774833</c:v>
                </c:pt>
                <c:pt idx="37">
                  <c:v>1.8252394269212122</c:v>
                </c:pt>
                <c:pt idx="38">
                  <c:v>1.8388286670054432</c:v>
                </c:pt>
                <c:pt idx="39">
                  <c:v>1.7364562794126646</c:v>
                </c:pt>
                <c:pt idx="40">
                  <c:v>1.6631750076224576</c:v>
                </c:pt>
                <c:pt idx="41">
                  <c:v>1.7482610001479246</c:v>
                </c:pt>
                <c:pt idx="42">
                  <c:v>1.702967215973792</c:v>
                </c:pt>
                <c:pt idx="43">
                  <c:v>1.9371322549676588</c:v>
                </c:pt>
                <c:pt idx="44">
                  <c:v>1.9083724552036745</c:v>
                </c:pt>
                <c:pt idx="45">
                  <c:v>1.9141931364109797</c:v>
                </c:pt>
                <c:pt idx="46">
                  <c:v>1.8289946702518602</c:v>
                </c:pt>
                <c:pt idx="47">
                  <c:v>1.815260996718204</c:v>
                </c:pt>
                <c:pt idx="48">
                  <c:v>1.6463142116303853</c:v>
                </c:pt>
                <c:pt idx="49">
                  <c:v>1.7325979236455777</c:v>
                </c:pt>
                <c:pt idx="50">
                  <c:v>1.7181789644208216</c:v>
                </c:pt>
                <c:pt idx="51">
                  <c:v>1.7389657285336066</c:v>
                </c:pt>
              </c:numCache>
            </c:numRef>
          </c:xVal>
          <c:yVal>
            <c:numRef>
              <c:f>Sheet1!$B$109:$B$160</c:f>
              <c:numCache>
                <c:formatCode>General</c:formatCode>
                <c:ptCount val="52"/>
                <c:pt idx="0">
                  <c:v>0.14080739299610895</c:v>
                </c:pt>
                <c:pt idx="1">
                  <c:v>0.14060913705583755</c:v>
                </c:pt>
                <c:pt idx="2">
                  <c:v>0.1394184938036225</c:v>
                </c:pt>
                <c:pt idx="3">
                  <c:v>0.16197371949584338</c:v>
                </c:pt>
                <c:pt idx="4">
                  <c:v>0.1516795865633075</c:v>
                </c:pt>
                <c:pt idx="5">
                  <c:v>0.1518058690744921</c:v>
                </c:pt>
                <c:pt idx="6">
                  <c:v>0.13917884481558804</c:v>
                </c:pt>
                <c:pt idx="7">
                  <c:v>0.12629161882893225</c:v>
                </c:pt>
                <c:pt idx="8">
                  <c:v>0.13884297520661157</c:v>
                </c:pt>
                <c:pt idx="9">
                  <c:v>0.12813021702838062</c:v>
                </c:pt>
                <c:pt idx="10">
                  <c:v>0.15476597198496755</c:v>
                </c:pt>
                <c:pt idx="11">
                  <c:v>0.14518482490272375</c:v>
                </c:pt>
                <c:pt idx="12">
                  <c:v>0.14781553398058253</c:v>
                </c:pt>
                <c:pt idx="13">
                  <c:v>0.13805678562125553</c:v>
                </c:pt>
                <c:pt idx="14">
                  <c:v>0.1452868261746901</c:v>
                </c:pt>
                <c:pt idx="15">
                  <c:v>0.13419319429198684</c:v>
                </c:pt>
                <c:pt idx="16">
                  <c:v>0.13416320885200553</c:v>
                </c:pt>
                <c:pt idx="17">
                  <c:v>0.11866808359900814</c:v>
                </c:pt>
                <c:pt idx="18">
                  <c:v>0.11022632020117351</c:v>
                </c:pt>
                <c:pt idx="19">
                  <c:v>0.12375178316690442</c:v>
                </c:pt>
                <c:pt idx="20">
                  <c:v>0.11713933415536375</c:v>
                </c:pt>
                <c:pt idx="21">
                  <c:v>0.12097669256381798</c:v>
                </c:pt>
                <c:pt idx="22">
                  <c:v>0.12137049941927991</c:v>
                </c:pt>
                <c:pt idx="23">
                  <c:v>0.15105162523900573</c:v>
                </c:pt>
                <c:pt idx="24">
                  <c:v>0.14796547472256474</c:v>
                </c:pt>
                <c:pt idx="25">
                  <c:v>0.14624759461193074</c:v>
                </c:pt>
                <c:pt idx="26">
                  <c:v>0.12356621480709072</c:v>
                </c:pt>
                <c:pt idx="27">
                  <c:v>0.12365591397849462</c:v>
                </c:pt>
                <c:pt idx="28">
                  <c:v>0.13233348037053375</c:v>
                </c:pt>
                <c:pt idx="29">
                  <c:v>0.1346718903036239</c:v>
                </c:pt>
                <c:pt idx="30">
                  <c:v>0.15348619560131024</c:v>
                </c:pt>
                <c:pt idx="31">
                  <c:v>0.13821557503867973</c:v>
                </c:pt>
                <c:pt idx="32">
                  <c:v>0.12928891098955744</c:v>
                </c:pt>
                <c:pt idx="33">
                  <c:v>0.13962962962962963</c:v>
                </c:pt>
                <c:pt idx="34">
                  <c:v>0.15717331708802923</c:v>
                </c:pt>
                <c:pt idx="35">
                  <c:v>0.15805564047691836</c:v>
                </c:pt>
                <c:pt idx="36">
                  <c:v>0.14518380642159143</c:v>
                </c:pt>
                <c:pt idx="37">
                  <c:v>0.15070774354704414</c:v>
                </c:pt>
                <c:pt idx="38">
                  <c:v>0.12921705919796309</c:v>
                </c:pt>
                <c:pt idx="39">
                  <c:v>0.15857478465152702</c:v>
                </c:pt>
                <c:pt idx="40">
                  <c:v>0.14447806354009077</c:v>
                </c:pt>
                <c:pt idx="41">
                  <c:v>0.14906027219701878</c:v>
                </c:pt>
                <c:pt idx="42">
                  <c:v>0.1574367088607595</c:v>
                </c:pt>
                <c:pt idx="43">
                  <c:v>0.12221494102228048</c:v>
                </c:pt>
                <c:pt idx="44">
                  <c:v>0.11758417958311064</c:v>
                </c:pt>
                <c:pt idx="45">
                  <c:v>0.12812628126281264</c:v>
                </c:pt>
                <c:pt idx="46">
                  <c:v>0.1290245647507751</c:v>
                </c:pt>
                <c:pt idx="47">
                  <c:v>0.13016006739679864</c:v>
                </c:pt>
                <c:pt idx="48">
                  <c:v>0.11543810848400557</c:v>
                </c:pt>
                <c:pt idx="49">
                  <c:v>0.1298676012461059</c:v>
                </c:pt>
                <c:pt idx="50">
                  <c:v>0.13082552317370652</c:v>
                </c:pt>
                <c:pt idx="51">
                  <c:v>0.125856697819314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7666846131652392</c:v>
                </c:pt>
              </c:numCache>
            </c:numRef>
          </c:xVal>
          <c:yVal>
            <c:numRef>
              <c:f>Sheet1!$B$163:$B$164</c:f>
              <c:numCache>
                <c:formatCode>General</c:formatCode>
                <c:ptCount val="2"/>
                <c:pt idx="0">
                  <c:v>0.1916929537416731</c:v>
                </c:pt>
                <c:pt idx="1">
                  <c:v>0.191692953741673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7666846131652392</c:v>
                </c:pt>
                <c:pt idx="1">
                  <c:v>0.17666846131652392</c:v>
                </c:pt>
              </c:numCache>
            </c:numRef>
          </c:xVal>
          <c:yVal>
            <c:numRef>
              <c:f>Sheet1!$B$167:$B$168</c:f>
              <c:numCache>
                <c:formatCode>General</c:formatCode>
                <c:ptCount val="2"/>
                <c:pt idx="0">
                  <c:v>0.191692953741673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28305247857009</c:v>
                </c:pt>
              </c:numCache>
            </c:numRef>
          </c:xVal>
          <c:yVal>
            <c:numRef>
              <c:f>Sheet1!$B$171:$B$172</c:f>
              <c:numCache>
                <c:formatCode>General</c:formatCode>
                <c:ptCount val="2"/>
                <c:pt idx="0">
                  <c:v>0.14340084864892708</c:v>
                </c:pt>
                <c:pt idx="1">
                  <c:v>0.143400848648927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28305247857009</c:v>
                </c:pt>
                <c:pt idx="1">
                  <c:v>1.628305247857009</c:v>
                </c:pt>
              </c:numCache>
            </c:numRef>
          </c:xVal>
          <c:yVal>
            <c:numRef>
              <c:f>Sheet1!$B$175:$B$176</c:f>
              <c:numCache>
                <c:formatCode>General</c:formatCode>
                <c:ptCount val="2"/>
                <c:pt idx="0">
                  <c:v>0.143400848648927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186413113380083</c:v>
                </c:pt>
              </c:numCache>
            </c:numRef>
          </c:xVal>
          <c:yVal>
            <c:numRef>
              <c:f>Sheet1!$B$179:$B$180</c:f>
              <c:numCache>
                <c:formatCode>General</c:formatCode>
                <c:ptCount val="2"/>
                <c:pt idx="0">
                  <c:v>0.1337421379991005</c:v>
                </c:pt>
                <c:pt idx="1">
                  <c:v>0.13374213799910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186413113380083</c:v>
                </c:pt>
                <c:pt idx="1">
                  <c:v>1.9186413113380083</c:v>
                </c:pt>
              </c:numCache>
            </c:numRef>
          </c:xVal>
          <c:yVal>
            <c:numRef>
              <c:f>Sheet1!$B$183:$B$184</c:f>
              <c:numCache>
                <c:formatCode>General</c:formatCode>
                <c:ptCount val="2"/>
                <c:pt idx="0">
                  <c:v>0.13374213799910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5452639721105836</c:v>
                </c:pt>
                <c:pt idx="1">
                  <c:v>1.6275956132918337</c:v>
                </c:pt>
                <c:pt idx="2">
                  <c:v>1.5673477240403042</c:v>
                </c:pt>
                <c:pt idx="3">
                  <c:v>1.6303867628580488</c:v>
                </c:pt>
                <c:pt idx="4">
                  <c:v>1.6736365848421957</c:v>
                </c:pt>
                <c:pt idx="5">
                  <c:v>1.6575134408920333</c:v>
                </c:pt>
                <c:pt idx="6">
                  <c:v>1.7639695658473025</c:v>
                </c:pt>
                <c:pt idx="7">
                  <c:v>1.7161747944491592</c:v>
                </c:pt>
                <c:pt idx="8">
                  <c:v>1.8938967412276235</c:v>
                </c:pt>
                <c:pt idx="9">
                  <c:v>1.8429372198786131</c:v>
                </c:pt>
                <c:pt idx="10">
                  <c:v>1.8988977076294011</c:v>
                </c:pt>
                <c:pt idx="11">
                  <c:v>1.9419029565728108</c:v>
                </c:pt>
                <c:pt idx="12">
                  <c:v>1.9642553063326156</c:v>
                </c:pt>
                <c:pt idx="13">
                  <c:v>1.9751699120076494</c:v>
                </c:pt>
                <c:pt idx="14">
                  <c:v>1.9642754466784988</c:v>
                </c:pt>
                <c:pt idx="15">
                  <c:v>2.1589158270790536</c:v>
                </c:pt>
                <c:pt idx="16">
                  <c:v>2.011447475545087</c:v>
                </c:pt>
                <c:pt idx="17">
                  <c:v>2.2510288847385023</c:v>
                </c:pt>
                <c:pt idx="18">
                  <c:v>2.1589469292571923</c:v>
                </c:pt>
                <c:pt idx="19">
                  <c:v>2.2522526437208423</c:v>
                </c:pt>
                <c:pt idx="20">
                  <c:v>2.0843791540596146</c:v>
                </c:pt>
                <c:pt idx="21">
                  <c:v>2.064860120096149</c:v>
                </c:pt>
                <c:pt idx="22">
                  <c:v>1.8231357353192843</c:v>
                </c:pt>
                <c:pt idx="23">
                  <c:v>1.7119343447349142</c:v>
                </c:pt>
                <c:pt idx="24">
                  <c:v>1.6879559378186269</c:v>
                </c:pt>
                <c:pt idx="25">
                  <c:v>1.7975006773788313</c:v>
                </c:pt>
                <c:pt idx="26">
                  <c:v>1.7690776715544518</c:v>
                </c:pt>
                <c:pt idx="27">
                  <c:v>1.7935897111797443</c:v>
                </c:pt>
                <c:pt idx="28">
                  <c:v>1.7132911367187622</c:v>
                </c:pt>
                <c:pt idx="29">
                  <c:v>1.9340629001051675</c:v>
                </c:pt>
                <c:pt idx="30">
                  <c:v>1.874758770541518</c:v>
                </c:pt>
                <c:pt idx="31">
                  <c:v>1.575531480545273</c:v>
                </c:pt>
                <c:pt idx="32">
                  <c:v>1.6282812398764277</c:v>
                </c:pt>
                <c:pt idx="33">
                  <c:v>1.6955106153169195</c:v>
                </c:pt>
                <c:pt idx="34">
                  <c:v>1.7766640129408002</c:v>
                </c:pt>
                <c:pt idx="35">
                  <c:v>1.583520577249097</c:v>
                </c:pt>
                <c:pt idx="36">
                  <c:v>1.748828428774833</c:v>
                </c:pt>
                <c:pt idx="37">
                  <c:v>1.8252394269212122</c:v>
                </c:pt>
                <c:pt idx="38">
                  <c:v>1.8388286670054432</c:v>
                </c:pt>
                <c:pt idx="39">
                  <c:v>1.7364562794126646</c:v>
                </c:pt>
                <c:pt idx="40">
                  <c:v>1.6631750076224576</c:v>
                </c:pt>
                <c:pt idx="41">
                  <c:v>1.7482610001479246</c:v>
                </c:pt>
                <c:pt idx="42">
                  <c:v>1.702967215973792</c:v>
                </c:pt>
                <c:pt idx="43">
                  <c:v>1.9371322549676588</c:v>
                </c:pt>
                <c:pt idx="44">
                  <c:v>1.9083724552036745</c:v>
                </c:pt>
                <c:pt idx="45">
                  <c:v>1.9141931364109797</c:v>
                </c:pt>
                <c:pt idx="46">
                  <c:v>1.8289946702518602</c:v>
                </c:pt>
                <c:pt idx="47">
                  <c:v>1.815260996718204</c:v>
                </c:pt>
                <c:pt idx="48">
                  <c:v>1.6463142116303853</c:v>
                </c:pt>
                <c:pt idx="49">
                  <c:v>1.7325979236455777</c:v>
                </c:pt>
                <c:pt idx="50">
                  <c:v>1.7181789644208216</c:v>
                </c:pt>
                <c:pt idx="51">
                  <c:v>1.7389657285336066</c:v>
                </c:pt>
                <c:pt idx="52">
                  <c:v>1.628305247857009</c:v>
                </c:pt>
                <c:pt idx="53">
                  <c:v>0.17666846131652392</c:v>
                </c:pt>
                <c:pt idx="54">
                  <c:v>1.9186413113380083</c:v>
                </c:pt>
              </c:numCache>
            </c:numRef>
          </c:xVal>
          <c:yVal>
            <c:numRef>
              <c:f>Sheet1!$B$187:$B$241</c:f>
              <c:numCache>
                <c:formatCode>General</c:formatCode>
                <c:ptCount val="55"/>
                <c:pt idx="0">
                  <c:v>0.14616341160721308</c:v>
                </c:pt>
                <c:pt idx="1">
                  <c:v>0.143424456308444</c:v>
                </c:pt>
                <c:pt idx="2">
                  <c:v>0.1454287437626665</c:v>
                </c:pt>
                <c:pt idx="3">
                  <c:v>0.1433316021665326</c:v>
                </c:pt>
                <c:pt idx="4">
                  <c:v>0.14189279531907142</c:v>
                </c:pt>
                <c:pt idx="5">
                  <c:v>0.14242916954800117</c:v>
                </c:pt>
                <c:pt idx="6">
                  <c:v>0.1388876566697293</c:v>
                </c:pt>
                <c:pt idx="7">
                  <c:v>0.1404776619276861</c:v>
                </c:pt>
                <c:pt idx="8">
                  <c:v>0.1345653242060947</c:v>
                </c:pt>
                <c:pt idx="9">
                  <c:v>0.13626061229970063</c:v>
                </c:pt>
                <c:pt idx="10">
                  <c:v>0.13439895532010396</c:v>
                </c:pt>
                <c:pt idx="11">
                  <c:v>0.13296828476892272</c:v>
                </c:pt>
                <c:pt idx="12">
                  <c:v>0.13222468138708585</c:v>
                </c:pt>
                <c:pt idx="13">
                  <c:v>0.1318615814097418</c:v>
                </c:pt>
                <c:pt idx="14">
                  <c:v>0.13222401137120515</c:v>
                </c:pt>
                <c:pt idx="15">
                  <c:v>0.125748842242985</c:v>
                </c:pt>
                <c:pt idx="16">
                  <c:v>0.1306547231053075</c:v>
                </c:pt>
                <c:pt idx="17">
                  <c:v>0.1226844851654095</c:v>
                </c:pt>
                <c:pt idx="18">
                  <c:v>0.12574780755602388</c:v>
                </c:pt>
                <c:pt idx="19">
                  <c:v>0.122643773950365</c:v>
                </c:pt>
                <c:pt idx="20">
                  <c:v>0.1282284796289297</c:v>
                </c:pt>
                <c:pt idx="21">
                  <c:v>0.1288778261102344</c:v>
                </c:pt>
                <c:pt idx="22">
                  <c:v>0.13691935516306553</c:v>
                </c:pt>
                <c:pt idx="23">
                  <c:v>0.14061873044092546</c:v>
                </c:pt>
                <c:pt idx="24">
                  <c:v>0.1414164284308735</c:v>
                </c:pt>
                <c:pt idx="25">
                  <c:v>0.13777216553794538</c:v>
                </c:pt>
                <c:pt idx="26">
                  <c:v>0.1387177235432601</c:v>
                </c:pt>
                <c:pt idx="27">
                  <c:v>0.13790227300866512</c:v>
                </c:pt>
                <c:pt idx="28">
                  <c:v>0.14057359357082097</c:v>
                </c:pt>
                <c:pt idx="29">
                  <c:v>0.1332291026500752</c:v>
                </c:pt>
                <c:pt idx="30">
                  <c:v>0.13520199372301833</c:v>
                </c:pt>
                <c:pt idx="31">
                  <c:v>0.14515649189301444</c:v>
                </c:pt>
                <c:pt idx="32">
                  <c:v>0.14340164733075442</c:v>
                </c:pt>
                <c:pt idx="33">
                  <c:v>0.14116510435099894</c:v>
                </c:pt>
                <c:pt idx="34">
                  <c:v>0.13846534608982555</c:v>
                </c:pt>
                <c:pt idx="35">
                  <c:v>0.14489071583856722</c:v>
                </c:pt>
                <c:pt idx="36">
                  <c:v>0.1393913621348339</c:v>
                </c:pt>
                <c:pt idx="37">
                  <c:v>0.13684937092398797</c:v>
                </c:pt>
                <c:pt idx="38">
                  <c:v>0.13639729295492367</c:v>
                </c:pt>
                <c:pt idx="39">
                  <c:v>0.13980295072418408</c:v>
                </c:pt>
                <c:pt idx="40">
                  <c:v>0.1422408242414684</c:v>
                </c:pt>
                <c:pt idx="41">
                  <c:v>0.13941023898001817</c:v>
                </c:pt>
                <c:pt idx="42">
                  <c:v>0.14091704302746738</c:v>
                </c:pt>
                <c:pt idx="43">
                  <c:v>0.1331269933559593</c:v>
                </c:pt>
                <c:pt idx="44">
                  <c:v>0.1340837556022224</c:v>
                </c:pt>
                <c:pt idx="45">
                  <c:v>0.133890116979131</c:v>
                </c:pt>
                <c:pt idx="46">
                  <c:v>0.13672444394001104</c:v>
                </c:pt>
                <c:pt idx="47">
                  <c:v>0.13718132682679524</c:v>
                </c:pt>
                <c:pt idx="48">
                  <c:v>0.14280173819704334</c:v>
                </c:pt>
                <c:pt idx="49">
                  <c:v>0.13993130798539224</c:v>
                </c:pt>
                <c:pt idx="50">
                  <c:v>0.1404109885092438</c:v>
                </c:pt>
                <c:pt idx="51">
                  <c:v>0.13971946800881266</c:v>
                </c:pt>
                <c:pt idx="52">
                  <c:v>0.14340084864892708</c:v>
                </c:pt>
                <c:pt idx="53">
                  <c:v>0.1916929537416731</c:v>
                </c:pt>
                <c:pt idx="54">
                  <c:v>0.13374213799910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3951675759936"/>
          <c:min val="0.079979544873433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61.9748</c:v>
                </c:pt>
                <c:pt idx="1">
                  <c:v>930.5442</c:v>
                </c:pt>
                <c:pt idx="2">
                  <c:v>903.7009</c:v>
                </c:pt>
                <c:pt idx="3">
                  <c:v>919.642</c:v>
                </c:pt>
                <c:pt idx="4">
                  <c:v>900.6718</c:v>
                </c:pt>
                <c:pt idx="5">
                  <c:v>894.6863</c:v>
                </c:pt>
                <c:pt idx="6">
                  <c:v>885.6667</c:v>
                </c:pt>
                <c:pt idx="7">
                  <c:v>931.2148</c:v>
                </c:pt>
                <c:pt idx="8">
                  <c:v>923.1362</c:v>
                </c:pt>
                <c:pt idx="9">
                  <c:v>940.106</c:v>
                </c:pt>
                <c:pt idx="10">
                  <c:v>926.2449</c:v>
                </c:pt>
                <c:pt idx="11">
                  <c:v>936.8179</c:v>
                </c:pt>
                <c:pt idx="12">
                  <c:v>955.0943</c:v>
                </c:pt>
                <c:pt idx="13">
                  <c:v>951.9784</c:v>
                </c:pt>
                <c:pt idx="14">
                  <c:v>950.3145</c:v>
                </c:pt>
                <c:pt idx="15">
                  <c:v>966.2575</c:v>
                </c:pt>
                <c:pt idx="16">
                  <c:v>960.4156</c:v>
                </c:pt>
                <c:pt idx="17">
                  <c:v>986.2386</c:v>
                </c:pt>
                <c:pt idx="18">
                  <c:v>1041.6258</c:v>
                </c:pt>
                <c:pt idx="19">
                  <c:v>1073.7978</c:v>
                </c:pt>
                <c:pt idx="20">
                  <c:v>1092.3776</c:v>
                </c:pt>
                <c:pt idx="21">
                  <c:v>1128.0413</c:v>
                </c:pt>
                <c:pt idx="22">
                  <c:v>1133.6877</c:v>
                </c:pt>
                <c:pt idx="23">
                  <c:v>1098.5231</c:v>
                </c:pt>
                <c:pt idx="24">
                  <c:v>1098.5346</c:v>
                </c:pt>
                <c:pt idx="25">
                  <c:v>1084.022</c:v>
                </c:pt>
                <c:pt idx="26">
                  <c:v>1095.5457</c:v>
                </c:pt>
                <c:pt idx="27">
                  <c:v>1102.3681</c:v>
                </c:pt>
                <c:pt idx="28">
                  <c:v>1156.9392</c:v>
                </c:pt>
                <c:pt idx="29">
                  <c:v>1033.257</c:v>
                </c:pt>
                <c:pt idx="30">
                  <c:v>1071.239</c:v>
                </c:pt>
                <c:pt idx="31">
                  <c:v>1060.6263</c:v>
                </c:pt>
                <c:pt idx="32">
                  <c:v>1037.2421</c:v>
                </c:pt>
                <c:pt idx="33">
                  <c:v>1015.0112</c:v>
                </c:pt>
                <c:pt idx="34">
                  <c:v>1062.3755</c:v>
                </c:pt>
                <c:pt idx="35">
                  <c:v>1081.3888</c:v>
                </c:pt>
                <c:pt idx="36">
                  <c:v>1159.7316</c:v>
                </c:pt>
                <c:pt idx="37">
                  <c:v>1158.7143</c:v>
                </c:pt>
                <c:pt idx="38">
                  <c:v>1200.4282</c:v>
                </c:pt>
                <c:pt idx="39">
                  <c:v>1237.739</c:v>
                </c:pt>
                <c:pt idx="40">
                  <c:v>1255.1612</c:v>
                </c:pt>
                <c:pt idx="41">
                  <c:v>1279.4135</c:v>
                </c:pt>
                <c:pt idx="42">
                  <c:v>1304.2165</c:v>
                </c:pt>
                <c:pt idx="43">
                  <c:v>1285.3309</c:v>
                </c:pt>
                <c:pt idx="44">
                  <c:v>1132.3924</c:v>
                </c:pt>
                <c:pt idx="45">
                  <c:v>1114.7171</c:v>
                </c:pt>
                <c:pt idx="46">
                  <c:v>1078.4479</c:v>
                </c:pt>
                <c:pt idx="47">
                  <c:v>1094.2681</c:v>
                </c:pt>
                <c:pt idx="48">
                  <c:v>1072.4348</c:v>
                </c:pt>
                <c:pt idx="49">
                  <c:v>1046.3102</c:v>
                </c:pt>
                <c:pt idx="50">
                  <c:v>1063.9509</c:v>
                </c:pt>
                <c:pt idx="51">
                  <c:v>1122.4283</c:v>
                </c:pt>
                <c:pt idx="52">
                  <c:v>1087.8698</c:v>
                </c:pt>
                <c:pt idx="53">
                  <c:v>1063.0396</c:v>
                </c:pt>
                <c:pt idx="54">
                  <c:v>1093.936</c:v>
                </c:pt>
                <c:pt idx="55">
                  <c:v>1084.1426</c:v>
                </c:pt>
                <c:pt idx="56">
                  <c:v>1130.4301</c:v>
                </c:pt>
                <c:pt idx="57">
                  <c:v>1078.5966</c:v>
                </c:pt>
                <c:pt idx="58">
                  <c:v>1096.7554</c:v>
                </c:pt>
                <c:pt idx="59">
                  <c:v>1082.3093</c:v>
                </c:pt>
                <c:pt idx="60">
                  <c:v>1070.0065</c:v>
                </c:pt>
                <c:pt idx="61">
                  <c:v>1057.2282</c:v>
                </c:pt>
                <c:pt idx="62">
                  <c:v>1087.1199</c:v>
                </c:pt>
                <c:pt idx="63">
                  <c:v>1112.1017</c:v>
                </c:pt>
                <c:pt idx="64">
                  <c:v>1080.5953</c:v>
                </c:pt>
                <c:pt idx="65">
                  <c:v>1053.3669</c:v>
                </c:pt>
                <c:pt idx="66">
                  <c:v>985.6413</c:v>
                </c:pt>
                <c:pt idx="67">
                  <c:v>987.368</c:v>
                </c:pt>
                <c:pt idx="68">
                  <c:v>1017.2857</c:v>
                </c:pt>
                <c:pt idx="69">
                  <c:v>964.2857</c:v>
                </c:pt>
                <c:pt idx="70">
                  <c:v>887.7469</c:v>
                </c:pt>
                <c:pt idx="71">
                  <c:v>994.4028</c:v>
                </c:pt>
                <c:pt idx="72">
                  <c:v>1084.4493</c:v>
                </c:pt>
                <c:pt idx="73">
                  <c:v>1002.0669</c:v>
                </c:pt>
                <c:pt idx="74">
                  <c:v>1014.7667</c:v>
                </c:pt>
                <c:pt idx="75">
                  <c:v>1004.2228</c:v>
                </c:pt>
                <c:pt idx="76">
                  <c:v>1037.8782</c:v>
                </c:pt>
                <c:pt idx="77">
                  <c:v>1017.7386</c:v>
                </c:pt>
                <c:pt idx="78">
                  <c:v>1019.6721</c:v>
                </c:pt>
                <c:pt idx="79">
                  <c:v>524.9707</c:v>
                </c:pt>
                <c:pt idx="80">
                  <c:v>648.8767</c:v>
                </c:pt>
                <c:pt idx="81">
                  <c:v>815.4232</c:v>
                </c:pt>
                <c:pt idx="82">
                  <c:v>855.6967</c:v>
                </c:pt>
                <c:pt idx="83">
                  <c:v>758.2836</c:v>
                </c:pt>
                <c:pt idx="84">
                  <c:v>929.4257</c:v>
                </c:pt>
                <c:pt idx="85">
                  <c:v>765.0399</c:v>
                </c:pt>
                <c:pt idx="86">
                  <c:v>1051.9119</c:v>
                </c:pt>
                <c:pt idx="87">
                  <c:v>1111.5</c:v>
                </c:pt>
                <c:pt idx="88">
                  <c:v>1123.4431</c:v>
                </c:pt>
                <c:pt idx="89">
                  <c:v>1067.1201</c:v>
                </c:pt>
                <c:pt idx="90">
                  <c:v>1088.9942</c:v>
                </c:pt>
                <c:pt idx="91">
                  <c:v>1153.1667</c:v>
                </c:pt>
                <c:pt idx="92">
                  <c:v>1123.5028</c:v>
                </c:pt>
                <c:pt idx="93">
                  <c:v>1164.8511</c:v>
                </c:pt>
                <c:pt idx="94">
                  <c:v>1273.3205</c:v>
                </c:pt>
                <c:pt idx="95">
                  <c:v>1224.7391</c:v>
                </c:pt>
                <c:pt idx="96">
                  <c:v>1020.6606</c:v>
                </c:pt>
                <c:pt idx="97">
                  <c:v>1153.4952</c:v>
                </c:pt>
                <c:pt idx="98">
                  <c:v>1184.0764</c:v>
                </c:pt>
                <c:pt idx="99">
                  <c:v>1144.4918</c:v>
                </c:pt>
                <c:pt idx="100">
                  <c:v>1140.7251</c:v>
                </c:pt>
                <c:pt idx="101">
                  <c:v>1182.2003</c:v>
                </c:pt>
                <c:pt idx="102">
                  <c:v>1218.1274</c:v>
                </c:pt>
                <c:pt idx="103">
                  <c:v>1006.865</c:v>
                </c:pt>
                <c:pt idx="104">
                  <c:v>1069.4438</c:v>
                </c:pt>
              </c:numCache>
            </c:numRef>
          </c:xVal>
          <c:yVal>
            <c:numRef>
              <c:f>Sheet1!$B$2:$B$106</c:f>
              <c:numCache>
                <c:formatCode>General</c:formatCode>
                <c:ptCount val="105"/>
                <c:pt idx="0">
                  <c:v>0.17630700778642935</c:v>
                </c:pt>
                <c:pt idx="1">
                  <c:v>0.1839814277423099</c:v>
                </c:pt>
                <c:pt idx="2">
                  <c:v>0.18671853292581272</c:v>
                </c:pt>
                <c:pt idx="3">
                  <c:v>0.1895845523698069</c:v>
                </c:pt>
                <c:pt idx="4">
                  <c:v>0.1959383226776984</c:v>
                </c:pt>
                <c:pt idx="5">
                  <c:v>0.19276485788113695</c:v>
                </c:pt>
                <c:pt idx="6">
                  <c:v>0.2147024504084014</c:v>
                </c:pt>
                <c:pt idx="7">
                  <c:v>0.19937555753791258</c:v>
                </c:pt>
                <c:pt idx="8">
                  <c:v>0.18586387434554974</c:v>
                </c:pt>
                <c:pt idx="9">
                  <c:v>0.18893871449925262</c:v>
                </c:pt>
                <c:pt idx="10">
                  <c:v>0.2072072072072072</c:v>
                </c:pt>
                <c:pt idx="11">
                  <c:v>0.18072289156626506</c:v>
                </c:pt>
                <c:pt idx="12">
                  <c:v>0.1634768740031898</c:v>
                </c:pt>
                <c:pt idx="13">
                  <c:v>0.15559293523969722</c:v>
                </c:pt>
                <c:pt idx="14">
                  <c:v>0.15882663847780126</c:v>
                </c:pt>
                <c:pt idx="15">
                  <c:v>0.15666041275797374</c:v>
                </c:pt>
                <c:pt idx="16">
                  <c:v>0.14433617539585872</c:v>
                </c:pt>
                <c:pt idx="17">
                  <c:v>0.17410868812737973</c:v>
                </c:pt>
                <c:pt idx="18">
                  <c:v>0.13504556752278377</c:v>
                </c:pt>
                <c:pt idx="19">
                  <c:v>0.13041431261770245</c:v>
                </c:pt>
                <c:pt idx="20">
                  <c:v>0.14243697478991596</c:v>
                </c:pt>
                <c:pt idx="21">
                  <c:v>0.14227642276422764</c:v>
                </c:pt>
                <c:pt idx="22">
                  <c:v>0.12872628726287264</c:v>
                </c:pt>
                <c:pt idx="23">
                  <c:v>0.15677390122338014</c:v>
                </c:pt>
                <c:pt idx="24">
                  <c:v>0.15384615384615385</c:v>
                </c:pt>
                <c:pt idx="25">
                  <c:v>0.14991762767710048</c:v>
                </c:pt>
                <c:pt idx="26">
                  <c:v>0.1443661971830986</c:v>
                </c:pt>
                <c:pt idx="27">
                  <c:v>0.1388511985526911</c:v>
                </c:pt>
                <c:pt idx="28">
                  <c:v>0.13448432530667878</c:v>
                </c:pt>
                <c:pt idx="29">
                  <c:v>0.14750721054800164</c:v>
                </c:pt>
                <c:pt idx="30">
                  <c:v>0.13146447559207347</c:v>
                </c:pt>
                <c:pt idx="31">
                  <c:v>0.13555347091932457</c:v>
                </c:pt>
                <c:pt idx="32">
                  <c:v>0.14033539276257723</c:v>
                </c:pt>
                <c:pt idx="33">
                  <c:v>0.15371389270976615</c:v>
                </c:pt>
                <c:pt idx="34">
                  <c:v>0.15134099616858238</c:v>
                </c:pt>
                <c:pt idx="35">
                  <c:v>0.15068119891008175</c:v>
                </c:pt>
                <c:pt idx="36">
                  <c:v>0.12838726650881346</c:v>
                </c:pt>
                <c:pt idx="37">
                  <c:v>0.1190709846254498</c:v>
                </c:pt>
                <c:pt idx="38">
                  <c:v>0.11519364448857994</c:v>
                </c:pt>
                <c:pt idx="39">
                  <c:v>0.11170011359333586</c:v>
                </c:pt>
                <c:pt idx="40">
                  <c:v>0.10225361587621931</c:v>
                </c:pt>
                <c:pt idx="41">
                  <c:v>0.10912906610703044</c:v>
                </c:pt>
                <c:pt idx="42">
                  <c:v>0.11368297685320831</c:v>
                </c:pt>
                <c:pt idx="43">
                  <c:v>0.10638297872340426</c:v>
                </c:pt>
                <c:pt idx="44">
                  <c:v>0.1106034646868456</c:v>
                </c:pt>
                <c:pt idx="45">
                  <c:v>0.1229092275887991</c:v>
                </c:pt>
                <c:pt idx="46">
                  <c:v>0.1189859363434493</c:v>
                </c:pt>
                <c:pt idx="47">
                  <c:v>0.12434456928838951</c:v>
                </c:pt>
                <c:pt idx="48">
                  <c:v>0.14041903704731512</c:v>
                </c:pt>
                <c:pt idx="49">
                  <c:v>0.17949232467141568</c:v>
                </c:pt>
                <c:pt idx="50">
                  <c:v>0.15259682313046583</c:v>
                </c:pt>
                <c:pt idx="51">
                  <c:v>0.14204545454545456</c:v>
                </c:pt>
                <c:pt idx="52">
                  <c:v>0.14432989690721648</c:v>
                </c:pt>
                <c:pt idx="53">
                  <c:v>0.15761653051417587</c:v>
                </c:pt>
                <c:pt idx="54">
                  <c:v>0.16499593606068816</c:v>
                </c:pt>
                <c:pt idx="55">
                  <c:v>0.1595238095238095</c:v>
                </c:pt>
                <c:pt idx="56">
                  <c:v>0.16421424367274867</c:v>
                </c:pt>
                <c:pt idx="57">
                  <c:v>0.16652554332486594</c:v>
                </c:pt>
                <c:pt idx="58">
                  <c:v>0.176487747957993</c:v>
                </c:pt>
                <c:pt idx="59">
                  <c:v>0.1659176029962547</c:v>
                </c:pt>
                <c:pt idx="60">
                  <c:v>0.17125110913930788</c:v>
                </c:pt>
                <c:pt idx="61">
                  <c:v>0.18702195904268443</c:v>
                </c:pt>
                <c:pt idx="62">
                  <c:v>0.1743073047858942</c:v>
                </c:pt>
                <c:pt idx="63">
                  <c:v>0.18193832599118942</c:v>
                </c:pt>
                <c:pt idx="64">
                  <c:v>0.1662551440329218</c:v>
                </c:pt>
                <c:pt idx="65">
                  <c:v>0.15990295544772828</c:v>
                </c:pt>
                <c:pt idx="66">
                  <c:v>0.16987518510683308</c:v>
                </c:pt>
                <c:pt idx="67">
                  <c:v>0.16792770071458596</c:v>
                </c:pt>
                <c:pt idx="68">
                  <c:v>0.14509520366353337</c:v>
                </c:pt>
                <c:pt idx="69">
                  <c:v>0.15030674846625766</c:v>
                </c:pt>
                <c:pt idx="70">
                  <c:v>0.1478102189781022</c:v>
                </c:pt>
                <c:pt idx="71">
                  <c:v>0.14227916385704653</c:v>
                </c:pt>
                <c:pt idx="72">
                  <c:v>0.14214151534126487</c:v>
                </c:pt>
                <c:pt idx="73">
                  <c:v>0.16236413043478262</c:v>
                </c:pt>
                <c:pt idx="74">
                  <c:v>0.1394351090454058</c:v>
                </c:pt>
                <c:pt idx="75">
                  <c:v>0.14312198739340007</c:v>
                </c:pt>
                <c:pt idx="76">
                  <c:v>0.14265025343953658</c:v>
                </c:pt>
                <c:pt idx="77">
                  <c:v>0.14125200642054575</c:v>
                </c:pt>
                <c:pt idx="78">
                  <c:v>0.13485113835376533</c:v>
                </c:pt>
                <c:pt idx="79">
                  <c:v>0.23928293063133282</c:v>
                </c:pt>
                <c:pt idx="80">
                  <c:v>0.20347490347490346</c:v>
                </c:pt>
                <c:pt idx="81">
                  <c:v>0.1505873976504094</c:v>
                </c:pt>
                <c:pt idx="82">
                  <c:v>0.16292364230298081</c:v>
                </c:pt>
                <c:pt idx="83">
                  <c:v>0.14652956298200515</c:v>
                </c:pt>
                <c:pt idx="84">
                  <c:v>0.13016710642040458</c:v>
                </c:pt>
                <c:pt idx="85">
                  <c:v>0.16522455706633704</c:v>
                </c:pt>
                <c:pt idx="86">
                  <c:v>0.12230634828188701</c:v>
                </c:pt>
                <c:pt idx="87">
                  <c:v>0.13176996091568957</c:v>
                </c:pt>
                <c:pt idx="88">
                  <c:v>0.12161383285302593</c:v>
                </c:pt>
                <c:pt idx="89">
                  <c:v>0.11913477537437604</c:v>
                </c:pt>
                <c:pt idx="90">
                  <c:v>0.128995863106431</c:v>
                </c:pt>
                <c:pt idx="91">
                  <c:v>0.10258358662613981</c:v>
                </c:pt>
                <c:pt idx="92">
                  <c:v>0.11280772826425678</c:v>
                </c:pt>
                <c:pt idx="93">
                  <c:v>0.10372005044136191</c:v>
                </c:pt>
                <c:pt idx="94">
                  <c:v>0.10650714911000875</c:v>
                </c:pt>
                <c:pt idx="95">
                  <c:v>0.09997443109179238</c:v>
                </c:pt>
                <c:pt idx="96">
                  <c:v>0.1095316201931839</c:v>
                </c:pt>
                <c:pt idx="97">
                  <c:v>0.10452261306532663</c:v>
                </c:pt>
                <c:pt idx="98">
                  <c:v>0.11984732824427481</c:v>
                </c:pt>
                <c:pt idx="99">
                  <c:v>0.12811933640039036</c:v>
                </c:pt>
                <c:pt idx="100">
                  <c:v>0.1311811703735694</c:v>
                </c:pt>
                <c:pt idx="101">
                  <c:v>0.13456321215409658</c:v>
                </c:pt>
                <c:pt idx="102">
                  <c:v>0.11638759264342574</c:v>
                </c:pt>
                <c:pt idx="103">
                  <c:v>0.1427908056651962</c:v>
                </c:pt>
                <c:pt idx="104">
                  <c:v>0.1517317207256734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15.1399</c:v>
                </c:pt>
                <c:pt idx="1">
                  <c:v>1146.7762</c:v>
                </c:pt>
                <c:pt idx="2">
                  <c:v>1126.6923</c:v>
                </c:pt>
                <c:pt idx="3">
                  <c:v>1183.6109</c:v>
                </c:pt>
                <c:pt idx="4">
                  <c:v>1169.2862</c:v>
                </c:pt>
                <c:pt idx="5">
                  <c:v>1190.303</c:v>
                </c:pt>
                <c:pt idx="6">
                  <c:v>1157.8825</c:v>
                </c:pt>
                <c:pt idx="7">
                  <c:v>1214.5091</c:v>
                </c:pt>
                <c:pt idx="8">
                  <c:v>1320.2411</c:v>
                </c:pt>
                <c:pt idx="9">
                  <c:v>1259.1922</c:v>
                </c:pt>
                <c:pt idx="10">
                  <c:v>1282.0706</c:v>
                </c:pt>
                <c:pt idx="11">
                  <c:v>1177.067</c:v>
                </c:pt>
                <c:pt idx="12">
                  <c:v>1186.9655</c:v>
                </c:pt>
                <c:pt idx="13">
                  <c:v>1232.3887</c:v>
                </c:pt>
                <c:pt idx="14">
                  <c:v>1231.8869</c:v>
                </c:pt>
                <c:pt idx="15">
                  <c:v>1266.1575</c:v>
                </c:pt>
                <c:pt idx="16">
                  <c:v>1296.8351</c:v>
                </c:pt>
                <c:pt idx="17">
                  <c:v>1244.5493</c:v>
                </c:pt>
                <c:pt idx="18">
                  <c:v>1306.1141</c:v>
                </c:pt>
                <c:pt idx="19">
                  <c:v>1425.3775</c:v>
                </c:pt>
                <c:pt idx="20">
                  <c:v>1396.8</c:v>
                </c:pt>
                <c:pt idx="21">
                  <c:v>1349.7844</c:v>
                </c:pt>
                <c:pt idx="22">
                  <c:v>1276.2632</c:v>
                </c:pt>
                <c:pt idx="23">
                  <c:v>1200.6203</c:v>
                </c:pt>
                <c:pt idx="24">
                  <c:v>1155.5375</c:v>
                </c:pt>
                <c:pt idx="25">
                  <c:v>1182.1842</c:v>
                </c:pt>
                <c:pt idx="26">
                  <c:v>1227.1646</c:v>
                </c:pt>
                <c:pt idx="27">
                  <c:v>1234.5217</c:v>
                </c:pt>
                <c:pt idx="28">
                  <c:v>1247.0133</c:v>
                </c:pt>
                <c:pt idx="29">
                  <c:v>1251.8255</c:v>
                </c:pt>
                <c:pt idx="30">
                  <c:v>1193.439</c:v>
                </c:pt>
                <c:pt idx="31">
                  <c:v>1114.444</c:v>
                </c:pt>
                <c:pt idx="32">
                  <c:v>1151.0154</c:v>
                </c:pt>
                <c:pt idx="33">
                  <c:v>1266.1724</c:v>
                </c:pt>
                <c:pt idx="34">
                  <c:v>1302.843</c:v>
                </c:pt>
                <c:pt idx="35">
                  <c:v>1202.2321</c:v>
                </c:pt>
                <c:pt idx="36">
                  <c:v>1283.4038</c:v>
                </c:pt>
                <c:pt idx="37">
                  <c:v>1350.7845</c:v>
                </c:pt>
                <c:pt idx="38">
                  <c:v>1353.3448</c:v>
                </c:pt>
                <c:pt idx="39">
                  <c:v>1223.1506</c:v>
                </c:pt>
                <c:pt idx="40">
                  <c:v>1246.9791</c:v>
                </c:pt>
                <c:pt idx="41">
                  <c:v>1284.6804</c:v>
                </c:pt>
                <c:pt idx="42">
                  <c:v>1244.9925</c:v>
                </c:pt>
                <c:pt idx="43">
                  <c:v>1389.8552</c:v>
                </c:pt>
                <c:pt idx="44">
                  <c:v>1314.8295</c:v>
                </c:pt>
                <c:pt idx="45">
                  <c:v>1291.9904</c:v>
                </c:pt>
                <c:pt idx="46">
                  <c:v>1244.9076</c:v>
                </c:pt>
                <c:pt idx="47">
                  <c:v>1182.8139</c:v>
                </c:pt>
                <c:pt idx="48">
                  <c:v>1111.0512</c:v>
                </c:pt>
                <c:pt idx="49">
                  <c:v>1162.2279</c:v>
                </c:pt>
                <c:pt idx="50">
                  <c:v>1124.7861</c:v>
                </c:pt>
                <c:pt idx="51">
                  <c:v>1082.9736</c:v>
                </c:pt>
              </c:numCache>
            </c:numRef>
          </c:xVal>
          <c:yVal>
            <c:numRef>
              <c:f>Sheet1!$B$109:$B$160</c:f>
              <c:numCache>
                <c:formatCode>General</c:formatCode>
                <c:ptCount val="52"/>
                <c:pt idx="0">
                  <c:v>0.14080739299610895</c:v>
                </c:pt>
                <c:pt idx="1">
                  <c:v>0.14060913705583755</c:v>
                </c:pt>
                <c:pt idx="2">
                  <c:v>0.1394184938036225</c:v>
                </c:pt>
                <c:pt idx="3">
                  <c:v>0.16197371949584338</c:v>
                </c:pt>
                <c:pt idx="4">
                  <c:v>0.1516795865633075</c:v>
                </c:pt>
                <c:pt idx="5">
                  <c:v>0.1518058690744921</c:v>
                </c:pt>
                <c:pt idx="6">
                  <c:v>0.13917884481558804</c:v>
                </c:pt>
                <c:pt idx="7">
                  <c:v>0.12629161882893225</c:v>
                </c:pt>
                <c:pt idx="8">
                  <c:v>0.13884297520661157</c:v>
                </c:pt>
                <c:pt idx="9">
                  <c:v>0.12813021702838062</c:v>
                </c:pt>
                <c:pt idx="10">
                  <c:v>0.15476597198496755</c:v>
                </c:pt>
                <c:pt idx="11">
                  <c:v>0.14518482490272375</c:v>
                </c:pt>
                <c:pt idx="12">
                  <c:v>0.14781553398058253</c:v>
                </c:pt>
                <c:pt idx="13">
                  <c:v>0.13805678562125553</c:v>
                </c:pt>
                <c:pt idx="14">
                  <c:v>0.1452868261746901</c:v>
                </c:pt>
                <c:pt idx="15">
                  <c:v>0.13419319429198684</c:v>
                </c:pt>
                <c:pt idx="16">
                  <c:v>0.13416320885200553</c:v>
                </c:pt>
                <c:pt idx="17">
                  <c:v>0.11866808359900814</c:v>
                </c:pt>
                <c:pt idx="18">
                  <c:v>0.11022632020117351</c:v>
                </c:pt>
                <c:pt idx="19">
                  <c:v>0.12375178316690442</c:v>
                </c:pt>
                <c:pt idx="20">
                  <c:v>0.11713933415536375</c:v>
                </c:pt>
                <c:pt idx="21">
                  <c:v>0.12097669256381798</c:v>
                </c:pt>
                <c:pt idx="22">
                  <c:v>0.12137049941927991</c:v>
                </c:pt>
                <c:pt idx="23">
                  <c:v>0.15105162523900573</c:v>
                </c:pt>
                <c:pt idx="24">
                  <c:v>0.14796547472256474</c:v>
                </c:pt>
                <c:pt idx="25">
                  <c:v>0.14624759461193074</c:v>
                </c:pt>
                <c:pt idx="26">
                  <c:v>0.12356621480709072</c:v>
                </c:pt>
                <c:pt idx="27">
                  <c:v>0.12365591397849462</c:v>
                </c:pt>
                <c:pt idx="28">
                  <c:v>0.13233348037053375</c:v>
                </c:pt>
                <c:pt idx="29">
                  <c:v>0.1346718903036239</c:v>
                </c:pt>
                <c:pt idx="30">
                  <c:v>0.15348619560131024</c:v>
                </c:pt>
                <c:pt idx="31">
                  <c:v>0.13821557503867973</c:v>
                </c:pt>
                <c:pt idx="32">
                  <c:v>0.12928891098955744</c:v>
                </c:pt>
                <c:pt idx="33">
                  <c:v>0.13962962962962963</c:v>
                </c:pt>
                <c:pt idx="34">
                  <c:v>0.15717331708802923</c:v>
                </c:pt>
                <c:pt idx="35">
                  <c:v>0.15805564047691836</c:v>
                </c:pt>
                <c:pt idx="36">
                  <c:v>0.14518380642159143</c:v>
                </c:pt>
                <c:pt idx="37">
                  <c:v>0.15070774354704414</c:v>
                </c:pt>
                <c:pt idx="38">
                  <c:v>0.12921705919796309</c:v>
                </c:pt>
                <c:pt idx="39">
                  <c:v>0.15857478465152702</c:v>
                </c:pt>
                <c:pt idx="40">
                  <c:v>0.14447806354009077</c:v>
                </c:pt>
                <c:pt idx="41">
                  <c:v>0.14906027219701878</c:v>
                </c:pt>
                <c:pt idx="42">
                  <c:v>0.1574367088607595</c:v>
                </c:pt>
                <c:pt idx="43">
                  <c:v>0.12221494102228048</c:v>
                </c:pt>
                <c:pt idx="44">
                  <c:v>0.11758417958311064</c:v>
                </c:pt>
                <c:pt idx="45">
                  <c:v>0.12812628126281264</c:v>
                </c:pt>
                <c:pt idx="46">
                  <c:v>0.1290245647507751</c:v>
                </c:pt>
                <c:pt idx="47">
                  <c:v>0.13016006739679864</c:v>
                </c:pt>
                <c:pt idx="48">
                  <c:v>0.11543810848400557</c:v>
                </c:pt>
                <c:pt idx="49">
                  <c:v>0.1298676012461059</c:v>
                </c:pt>
                <c:pt idx="50">
                  <c:v>0.13082552317370652</c:v>
                </c:pt>
                <c:pt idx="51">
                  <c:v>0.125856697819314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26.93404370620046</c:v>
                </c:pt>
              </c:numCache>
            </c:numRef>
          </c:xVal>
          <c:yVal>
            <c:numRef>
              <c:f>Sheet1!$B$163:$B$164</c:f>
              <c:numCache>
                <c:formatCode>General</c:formatCode>
                <c:ptCount val="2"/>
                <c:pt idx="0">
                  <c:v>0.1916929537416731</c:v>
                </c:pt>
                <c:pt idx="1">
                  <c:v>0.191692953741673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26.93404370620046</c:v>
                </c:pt>
                <c:pt idx="1">
                  <c:v>-126.93404370620046</c:v>
                </c:pt>
              </c:numCache>
            </c:numRef>
          </c:xVal>
          <c:yVal>
            <c:numRef>
              <c:f>Sheet1!$B$167:$B$168</c:f>
              <c:numCache>
                <c:formatCode>General</c:formatCode>
                <c:ptCount val="2"/>
                <c:pt idx="0">
                  <c:v>0.191692953741673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7.1919329110901</c:v>
                </c:pt>
              </c:numCache>
            </c:numRef>
          </c:xVal>
          <c:yVal>
            <c:numRef>
              <c:f>Sheet1!$B$171:$B$172</c:f>
              <c:numCache>
                <c:formatCode>General</c:formatCode>
                <c:ptCount val="2"/>
                <c:pt idx="0">
                  <c:v>0.14340084864892708</c:v>
                </c:pt>
                <c:pt idx="1">
                  <c:v>0.143400848648927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7.1919329110901</c:v>
                </c:pt>
                <c:pt idx="1">
                  <c:v>1077.1919329110901</c:v>
                </c:pt>
              </c:numCache>
            </c:numRef>
          </c:xVal>
          <c:yVal>
            <c:numRef>
              <c:f>Sheet1!$B$175:$B$176</c:f>
              <c:numCache>
                <c:formatCode>General</c:formatCode>
                <c:ptCount val="2"/>
                <c:pt idx="0">
                  <c:v>0.143400848648927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0243499645608</c:v>
                </c:pt>
              </c:numCache>
            </c:numRef>
          </c:xVal>
          <c:yVal>
            <c:numRef>
              <c:f>Sheet1!$B$179:$B$180</c:f>
              <c:numCache>
                <c:formatCode>General</c:formatCode>
                <c:ptCount val="2"/>
                <c:pt idx="0">
                  <c:v>0.1337421379991005</c:v>
                </c:pt>
                <c:pt idx="1">
                  <c:v>0.13374213799910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0243499645608</c:v>
                </c:pt>
                <c:pt idx="1">
                  <c:v>1318.0243499645608</c:v>
                </c:pt>
              </c:numCache>
            </c:numRef>
          </c:xVal>
          <c:yVal>
            <c:numRef>
              <c:f>Sheet1!$B$183:$B$184</c:f>
              <c:numCache>
                <c:formatCode>General</c:formatCode>
                <c:ptCount val="2"/>
                <c:pt idx="0">
                  <c:v>0.13374213799910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15.1399</c:v>
                </c:pt>
                <c:pt idx="1">
                  <c:v>1146.7762</c:v>
                </c:pt>
                <c:pt idx="2">
                  <c:v>1126.6923</c:v>
                </c:pt>
                <c:pt idx="3">
                  <c:v>1183.6109</c:v>
                </c:pt>
                <c:pt idx="4">
                  <c:v>1169.2862</c:v>
                </c:pt>
                <c:pt idx="5">
                  <c:v>1190.303</c:v>
                </c:pt>
                <c:pt idx="6">
                  <c:v>1157.8825</c:v>
                </c:pt>
                <c:pt idx="7">
                  <c:v>1214.5091</c:v>
                </c:pt>
                <c:pt idx="8">
                  <c:v>1320.2411</c:v>
                </c:pt>
                <c:pt idx="9">
                  <c:v>1259.1922</c:v>
                </c:pt>
                <c:pt idx="10">
                  <c:v>1282.0706</c:v>
                </c:pt>
                <c:pt idx="11">
                  <c:v>1177.067</c:v>
                </c:pt>
                <c:pt idx="12">
                  <c:v>1186.9655</c:v>
                </c:pt>
                <c:pt idx="13">
                  <c:v>1232.3887</c:v>
                </c:pt>
                <c:pt idx="14">
                  <c:v>1231.8869</c:v>
                </c:pt>
                <c:pt idx="15">
                  <c:v>1266.1575</c:v>
                </c:pt>
                <c:pt idx="16">
                  <c:v>1296.8351</c:v>
                </c:pt>
                <c:pt idx="17">
                  <c:v>1244.5493</c:v>
                </c:pt>
                <c:pt idx="18">
                  <c:v>1306.1141</c:v>
                </c:pt>
                <c:pt idx="19">
                  <c:v>1425.3775</c:v>
                </c:pt>
                <c:pt idx="20">
                  <c:v>1396.8</c:v>
                </c:pt>
                <c:pt idx="21">
                  <c:v>1349.7844</c:v>
                </c:pt>
                <c:pt idx="22">
                  <c:v>1276.2632</c:v>
                </c:pt>
                <c:pt idx="23">
                  <c:v>1200.6203</c:v>
                </c:pt>
                <c:pt idx="24">
                  <c:v>1155.5375</c:v>
                </c:pt>
                <c:pt idx="25">
                  <c:v>1182.1842</c:v>
                </c:pt>
                <c:pt idx="26">
                  <c:v>1227.1646</c:v>
                </c:pt>
                <c:pt idx="27">
                  <c:v>1234.5217</c:v>
                </c:pt>
                <c:pt idx="28">
                  <c:v>1247.0133</c:v>
                </c:pt>
                <c:pt idx="29">
                  <c:v>1251.8255</c:v>
                </c:pt>
                <c:pt idx="30">
                  <c:v>1193.439</c:v>
                </c:pt>
                <c:pt idx="31">
                  <c:v>1114.444</c:v>
                </c:pt>
                <c:pt idx="32">
                  <c:v>1151.0154</c:v>
                </c:pt>
                <c:pt idx="33">
                  <c:v>1266.1724</c:v>
                </c:pt>
                <c:pt idx="34">
                  <c:v>1302.843</c:v>
                </c:pt>
                <c:pt idx="35">
                  <c:v>1202.2321</c:v>
                </c:pt>
                <c:pt idx="36">
                  <c:v>1283.4038</c:v>
                </c:pt>
                <c:pt idx="37">
                  <c:v>1350.7845</c:v>
                </c:pt>
                <c:pt idx="38">
                  <c:v>1353.3448</c:v>
                </c:pt>
                <c:pt idx="39">
                  <c:v>1223.1506</c:v>
                </c:pt>
                <c:pt idx="40">
                  <c:v>1246.9791</c:v>
                </c:pt>
                <c:pt idx="41">
                  <c:v>1284.6804</c:v>
                </c:pt>
                <c:pt idx="42">
                  <c:v>1244.9925</c:v>
                </c:pt>
                <c:pt idx="43">
                  <c:v>1389.8552</c:v>
                </c:pt>
                <c:pt idx="44">
                  <c:v>1314.8295</c:v>
                </c:pt>
                <c:pt idx="45">
                  <c:v>1291.9904</c:v>
                </c:pt>
                <c:pt idx="46">
                  <c:v>1244.9076</c:v>
                </c:pt>
                <c:pt idx="47">
                  <c:v>1182.8139</c:v>
                </c:pt>
                <c:pt idx="48">
                  <c:v>1111.0512</c:v>
                </c:pt>
                <c:pt idx="49">
                  <c:v>1162.2279</c:v>
                </c:pt>
                <c:pt idx="50">
                  <c:v>1124.7861</c:v>
                </c:pt>
                <c:pt idx="51">
                  <c:v>1082.9736</c:v>
                </c:pt>
                <c:pt idx="52">
                  <c:v>1077.1919329110901</c:v>
                </c:pt>
                <c:pt idx="53">
                  <c:v>-126.93404370620046</c:v>
                </c:pt>
                <c:pt idx="54">
                  <c:v>1318.0243499645608</c:v>
                </c:pt>
              </c:numCache>
            </c:numRef>
          </c:xVal>
          <c:yVal>
            <c:numRef>
              <c:f>Sheet1!$B$187:$B$241</c:f>
              <c:numCache>
                <c:formatCode>General</c:formatCode>
                <c:ptCount val="55"/>
                <c:pt idx="0">
                  <c:v>0.14187892548615144</c:v>
                </c:pt>
                <c:pt idx="1">
                  <c:v>0.14061013504892692</c:v>
                </c:pt>
                <c:pt idx="2">
                  <c:v>0.14141561041305525</c:v>
                </c:pt>
                <c:pt idx="3">
                  <c:v>0.13913286004780373</c:v>
                </c:pt>
                <c:pt idx="4">
                  <c:v>0.13970735966931794</c:v>
                </c:pt>
                <c:pt idx="5">
                  <c:v>0.1388644698604256</c:v>
                </c:pt>
                <c:pt idx="6">
                  <c:v>0.14016471105076828</c:v>
                </c:pt>
                <c:pt idx="7">
                  <c:v>0.13789367149897058</c:v>
                </c:pt>
                <c:pt idx="8">
                  <c:v>0.1336532340739676</c:v>
                </c:pt>
                <c:pt idx="9">
                  <c:v>0.1361016322913026</c:v>
                </c:pt>
                <c:pt idx="10">
                  <c:v>0.13518408203608953</c:v>
                </c:pt>
                <c:pt idx="11">
                  <c:v>0.13939530659629876</c:v>
                </c:pt>
                <c:pt idx="12">
                  <c:v>0.1389983220518714</c:v>
                </c:pt>
                <c:pt idx="13">
                  <c:v>0.13717660074476104</c:v>
                </c:pt>
                <c:pt idx="14">
                  <c:v>0.1371967256974704</c:v>
                </c:pt>
                <c:pt idx="15">
                  <c:v>0.13582228527435056</c:v>
                </c:pt>
                <c:pt idx="16">
                  <c:v>0.13459194400444863</c:v>
                </c:pt>
                <c:pt idx="17">
                  <c:v>0.13668889349103944</c:v>
                </c:pt>
                <c:pt idx="18">
                  <c:v>0.13421980483308515</c:v>
                </c:pt>
                <c:pt idx="19">
                  <c:v>0.1294366834999684</c:v>
                </c:pt>
                <c:pt idx="20">
                  <c:v>0.13058279915571142</c:v>
                </c:pt>
                <c:pt idx="21">
                  <c:v>0.13246838450167076</c:v>
                </c:pt>
                <c:pt idx="22">
                  <c:v>0.13541699086503406</c:v>
                </c:pt>
                <c:pt idx="23">
                  <c:v>0.13845068912190764</c:v>
                </c:pt>
                <c:pt idx="24">
                  <c:v>0.1402587585081287</c:v>
                </c:pt>
                <c:pt idx="25">
                  <c:v>0.13919007860107285</c:v>
                </c:pt>
                <c:pt idx="26">
                  <c:v>0.13738611602066575</c:v>
                </c:pt>
                <c:pt idx="27">
                  <c:v>0.1370910556588123</c:v>
                </c:pt>
                <c:pt idx="28">
                  <c:v>0.13659007347614133</c:v>
                </c:pt>
                <c:pt idx="29">
                  <c:v>0.13639707766620113</c:v>
                </c:pt>
                <c:pt idx="30">
                  <c:v>0.13873869893237348</c:v>
                </c:pt>
                <c:pt idx="31">
                  <c:v>0.14190683492136555</c:v>
                </c:pt>
                <c:pt idx="32">
                  <c:v>0.14044011970511358</c:v>
                </c:pt>
                <c:pt idx="33">
                  <c:v>0.13582168770202022</c:v>
                </c:pt>
                <c:pt idx="34">
                  <c:v>0.13435099401763595</c:v>
                </c:pt>
                <c:pt idx="35">
                  <c:v>0.1383860470358635</c:v>
                </c:pt>
                <c:pt idx="36">
                  <c:v>0.13513061334945714</c:v>
                </c:pt>
                <c:pt idx="37">
                  <c:v>0.13242827496559134</c:v>
                </c:pt>
                <c:pt idx="38">
                  <c:v>0.13232559278858502</c:v>
                </c:pt>
                <c:pt idx="39">
                  <c:v>0.13754709960013045</c:v>
                </c:pt>
                <c:pt idx="40">
                  <c:v>0.13659144508511434</c:v>
                </c:pt>
                <c:pt idx="41">
                  <c:v>0.1350794146355696</c:v>
                </c:pt>
                <c:pt idx="42">
                  <c:v>0.13667111872212595</c:v>
                </c:pt>
                <c:pt idx="43">
                  <c:v>0.13086132400939016</c:v>
                </c:pt>
                <c:pt idx="44">
                  <c:v>0.1338702691359086</c:v>
                </c:pt>
                <c:pt idx="45">
                  <c:v>0.13478624324396846</c:v>
                </c:pt>
                <c:pt idx="46">
                  <c:v>0.13667452368124317</c:v>
                </c:pt>
                <c:pt idx="47">
                  <c:v>0.1391648241516486</c:v>
                </c:pt>
                <c:pt idx="48">
                  <c:v>0.142042904948373</c:v>
                </c:pt>
                <c:pt idx="49">
                  <c:v>0.13999043650014398</c:v>
                </c:pt>
                <c:pt idx="50">
                  <c:v>0.1414920595658145</c:v>
                </c:pt>
                <c:pt idx="51">
                  <c:v>0.14316897185190516</c:v>
                </c:pt>
                <c:pt idx="52">
                  <c:v>0.14340084864892708</c:v>
                </c:pt>
                <c:pt idx="53">
                  <c:v>0.1916929537416731</c:v>
                </c:pt>
                <c:pt idx="54">
                  <c:v>0.13374213799910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13951675759936"/>
          <c:min val="0.079979544873433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1515476522512382</c:v>
                </c:pt>
                <c:pt idx="1">
                  <c:v>0.0</c:v>
                </c:pt>
                <c:pt idx="2">
                  <c:v>0.0</c:v>
                </c:pt>
                <c:pt idx="3">
                  <c:v>0.0</c:v>
                </c:pt>
                <c:pt idx="4">
                  <c:v>0.8600204711218487</c:v>
                </c:pt>
                <c:pt idx="5">
                  <c:v>0.9717097707884684</c:v>
                </c:pt>
                <c:pt idx="6">
                  <c:v>0.8582047920603058</c:v>
                </c:pt>
                <c:pt idx="7">
                  <c:v>2.0655459476151217</c:v>
                </c:pt>
                <c:pt idx="8">
                  <c:v>1.101664695707553</c:v>
                </c:pt>
                <c:pt idx="9">
                  <c:v>1.1680040368349207</c:v>
                </c:pt>
                <c:pt idx="10">
                  <c:v>1.9828529080041566</c:v>
                </c:pt>
                <c:pt idx="11">
                  <c:v>1.4264411290549885</c:v>
                </c:pt>
                <c:pt idx="12">
                  <c:v>1.9850778337043646</c:v>
                </c:pt>
                <c:pt idx="13">
                  <c:v>1.7416668384030023</c:v>
                </c:pt>
                <c:pt idx="14">
                  <c:v>1.3534707120628295</c:v>
                </c:pt>
                <c:pt idx="15">
                  <c:v>1.435037193866812</c:v>
                </c:pt>
                <c:pt idx="16">
                  <c:v>0.921352307565638</c:v>
                </c:pt>
                <c:pt idx="17">
                  <c:v>0.5527178993870915</c:v>
                </c:pt>
                <c:pt idx="18">
                  <c:v>0.6654936803861409</c:v>
                </c:pt>
                <c:pt idx="19">
                  <c:v>0.7578885364691715</c:v>
                </c:pt>
                <c:pt idx="20">
                  <c:v>0.8819031684602864</c:v>
                </c:pt>
                <c:pt idx="21">
                  <c:v>0.8545694059890122</c:v>
                </c:pt>
                <c:pt idx="22">
                  <c:v>0.6236648072374215</c:v>
                </c:pt>
                <c:pt idx="23">
                  <c:v>2.505876161556231</c:v>
                </c:pt>
                <c:pt idx="24">
                  <c:v>2.4079495449909265</c:v>
                </c:pt>
                <c:pt idx="25">
                  <c:v>2.569184943579245</c:v>
                </c:pt>
                <c:pt idx="26">
                  <c:v>2.752599982387082</c:v>
                </c:pt>
                <c:pt idx="27">
                  <c:v>2.817730742920493</c:v>
                </c:pt>
                <c:pt idx="28">
                  <c:v>4.191828389754111</c:v>
                </c:pt>
                <c:pt idx="29">
                  <c:v>2.250118288080551</c:v>
                </c:pt>
                <c:pt idx="30">
                  <c:v>1.6022940031864084</c:v>
                </c:pt>
                <c:pt idx="31">
                  <c:v>2.413287599269046</c:v>
                </c:pt>
                <c:pt idx="32">
                  <c:v>2.0106320767826813</c:v>
                </c:pt>
                <c:pt idx="33">
                  <c:v>1.5540758956446843</c:v>
                </c:pt>
                <c:pt idx="34">
                  <c:v>2.6558327955337826</c:v>
                </c:pt>
                <c:pt idx="35">
                  <c:v>2.7011715943007166</c:v>
                </c:pt>
                <c:pt idx="36">
                  <c:v>3.1886457016018803</c:v>
                </c:pt>
                <c:pt idx="37">
                  <c:v>2.540738251794365</c:v>
                </c:pt>
                <c:pt idx="38">
                  <c:v>3.097621794289806</c:v>
                </c:pt>
                <c:pt idx="39">
                  <c:v>2.999477154705647</c:v>
                </c:pt>
                <c:pt idx="40">
                  <c:v>2.9909733912477225</c:v>
                </c:pt>
                <c:pt idx="41">
                  <c:v>3.099456021336578</c:v>
                </c:pt>
                <c:pt idx="42">
                  <c:v>3.6996631222121654</c:v>
                </c:pt>
                <c:pt idx="43">
                  <c:v>4.125909896961085</c:v>
                </c:pt>
                <c:pt idx="44">
                  <c:v>3.1705909273793162</c:v>
                </c:pt>
                <c:pt idx="45">
                  <c:v>3.817525887687644</c:v>
                </c:pt>
                <c:pt idx="46">
                  <c:v>3.896051196560801</c:v>
                </c:pt>
                <c:pt idx="47">
                  <c:v>3.3271267422018687</c:v>
                </c:pt>
                <c:pt idx="48">
                  <c:v>3.1268918601666686</c:v>
                </c:pt>
                <c:pt idx="49">
                  <c:v>3.0262847561434243</c:v>
                </c:pt>
                <c:pt idx="50">
                  <c:v>3.2552118374314487</c:v>
                </c:pt>
                <c:pt idx="51">
                  <c:v>3.4948998977898156</c:v>
                </c:pt>
                <c:pt idx="52">
                  <c:v>2.930567439334097</c:v>
                </c:pt>
              </c:numCache>
            </c:numRef>
          </c:xVal>
          <c:yVal>
            <c:numRef>
              <c:f>Sheet1!$B$2:$B$54</c:f>
              <c:numCache>
                <c:formatCode>General</c:formatCode>
                <c:ptCount val="53"/>
                <c:pt idx="0">
                  <c:v>0.0002290950744558992</c:v>
                </c:pt>
                <c:pt idx="1">
                  <c:v>0.0</c:v>
                </c:pt>
                <c:pt idx="2">
                  <c:v>0.0</c:v>
                </c:pt>
                <c:pt idx="3">
                  <c:v>0.0</c:v>
                </c:pt>
                <c:pt idx="4">
                  <c:v>0.0002942907592701589</c:v>
                </c:pt>
                <c:pt idx="5">
                  <c:v>0.0002822466836014677</c:v>
                </c:pt>
                <c:pt idx="6">
                  <c:v>0.00029171528588098014</c:v>
                </c:pt>
                <c:pt idx="7">
                  <c:v>0.00018726591760299626</c:v>
                </c:pt>
                <c:pt idx="8">
                  <c:v>0.00044365572315882877</c:v>
                </c:pt>
                <c:pt idx="9">
                  <c:v>0.0004934616333580064</c:v>
                </c:pt>
                <c:pt idx="10">
                  <c:v>0.00025188916876574307</c:v>
                </c:pt>
                <c:pt idx="11">
                  <c:v>0.0004405286343612335</c:v>
                </c:pt>
                <c:pt idx="12">
                  <c:v>0.00020576131687242798</c:v>
                </c:pt>
                <c:pt idx="13">
                  <c:v>0.0004411116012351125</c:v>
                </c:pt>
                <c:pt idx="14">
                  <c:v>0.0002115506663845991</c:v>
                </c:pt>
                <c:pt idx="15">
                  <c:v>0.0002101723413198823</c:v>
                </c:pt>
                <c:pt idx="16">
                  <c:v>0.00048204386599180526</c:v>
                </c:pt>
                <c:pt idx="17">
                  <c:v>0.00034083162917518747</c:v>
                </c:pt>
                <c:pt idx="18">
                  <c:v>0.0006082725060827251</c:v>
                </c:pt>
                <c:pt idx="19">
                  <c:v>0.0006743088334457181</c:v>
                </c:pt>
                <c:pt idx="20">
                  <c:v>0.00031308703819661864</c:v>
                </c:pt>
                <c:pt idx="21">
                  <c:v>0.00033967391304347825</c:v>
                </c:pt>
                <c:pt idx="22">
                  <c:v>0.0010725777618877368</c:v>
                </c:pt>
                <c:pt idx="23">
                  <c:v>0.0007415647015202076</c:v>
                </c:pt>
                <c:pt idx="24">
                  <c:v>0.0010861694424330196</c:v>
                </c:pt>
                <c:pt idx="25">
                  <c:v>0.001203852327447833</c:v>
                </c:pt>
                <c:pt idx="26">
                  <c:v>0.0008756567425569177</c:v>
                </c:pt>
                <c:pt idx="27">
                  <c:v>0.0011691348402182386</c:v>
                </c:pt>
                <c:pt idx="28">
                  <c:v>0.0007722007722007722</c:v>
                </c:pt>
                <c:pt idx="29">
                  <c:v>0.001423994304022784</c:v>
                </c:pt>
                <c:pt idx="30">
                  <c:v>0.002041649652919559</c:v>
                </c:pt>
                <c:pt idx="31">
                  <c:v>0.001713796058269066</c:v>
                </c:pt>
                <c:pt idx="32">
                  <c:v>0.0013192612137203166</c:v>
                </c:pt>
                <c:pt idx="33">
                  <c:v>0.0016481252575195715</c:v>
                </c:pt>
                <c:pt idx="34">
                  <c:v>0.00145602795573675</c:v>
                </c:pt>
                <c:pt idx="35">
                  <c:v>0.0011166945840312675</c:v>
                </c:pt>
                <c:pt idx="36">
                  <c:v>0.001729106628242075</c:v>
                </c:pt>
                <c:pt idx="37">
                  <c:v>0.002995008319467554</c:v>
                </c:pt>
                <c:pt idx="38">
                  <c:v>0.0022564874012786762</c:v>
                </c:pt>
                <c:pt idx="39">
                  <c:v>0.0022796352583586625</c:v>
                </c:pt>
                <c:pt idx="40">
                  <c:v>0.0024929884699283265</c:v>
                </c:pt>
                <c:pt idx="41">
                  <c:v>0.0022068095838587644</c:v>
                </c:pt>
                <c:pt idx="42">
                  <c:v>0.0020426028596440037</c:v>
                </c:pt>
                <c:pt idx="43">
                  <c:v>0.0017898235745333673</c:v>
                </c:pt>
                <c:pt idx="44">
                  <c:v>0.0025514853289593585</c:v>
                </c:pt>
                <c:pt idx="45">
                  <c:v>0.0023450586264656616</c:v>
                </c:pt>
                <c:pt idx="46">
                  <c:v>0.0022900763358778627</c:v>
                </c:pt>
                <c:pt idx="47">
                  <c:v>0.0026488219712811935</c:v>
                </c:pt>
                <c:pt idx="48">
                  <c:v>0.0023752969121140144</c:v>
                </c:pt>
                <c:pt idx="49">
                  <c:v>0.003074697051908121</c:v>
                </c:pt>
                <c:pt idx="50">
                  <c:v>0.0030194894317869887</c:v>
                </c:pt>
                <c:pt idx="51">
                  <c:v>0.0027861620617599257</c:v>
                </c:pt>
                <c:pt idx="52">
                  <c:v>0.0030236393622869707</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6656530441607518</c:v>
                </c:pt>
                <c:pt idx="1">
                  <c:v>2.893174395903578</c:v>
                </c:pt>
                <c:pt idx="2">
                  <c:v>2.682823107614742</c:v>
                </c:pt>
                <c:pt idx="3">
                  <c:v>2.438376465077606</c:v>
                </c:pt>
                <c:pt idx="4">
                  <c:v>2.496228315554941</c:v>
                </c:pt>
                <c:pt idx="5">
                  <c:v>3.538381847113582</c:v>
                </c:pt>
                <c:pt idx="6">
                  <c:v>3.305597011782417</c:v>
                </c:pt>
                <c:pt idx="7">
                  <c:v>2.7281860425105466</c:v>
                </c:pt>
                <c:pt idx="8">
                  <c:v>2.6028567666870286</c:v>
                </c:pt>
                <c:pt idx="9">
                  <c:v>2.706768341589805</c:v>
                </c:pt>
                <c:pt idx="10">
                  <c:v>3.098222394803295</c:v>
                </c:pt>
                <c:pt idx="11">
                  <c:v>2.4512895694887997</c:v>
                </c:pt>
                <c:pt idx="12">
                  <c:v>2.7602338379461466</c:v>
                </c:pt>
                <c:pt idx="13">
                  <c:v>1.8792931573558775</c:v>
                </c:pt>
                <c:pt idx="14">
                  <c:v>1.863375810230406</c:v>
                </c:pt>
                <c:pt idx="15">
                  <c:v>1.9425159986792007</c:v>
                </c:pt>
                <c:pt idx="16">
                  <c:v>1.8793100056199337</c:v>
                </c:pt>
                <c:pt idx="17">
                  <c:v>1.1074248712846981</c:v>
                </c:pt>
                <c:pt idx="18">
                  <c:v>1.8827834752920272</c:v>
                </c:pt>
                <c:pt idx="19">
                  <c:v>2.165081998994207</c:v>
                </c:pt>
                <c:pt idx="20">
                  <c:v>1.9881893193613023</c:v>
                </c:pt>
                <c:pt idx="21">
                  <c:v>1.5995259094655387</c:v>
                </c:pt>
                <c:pt idx="22">
                  <c:v>1.9673304631880995</c:v>
                </c:pt>
                <c:pt idx="23">
                  <c:v>0.8279139244531819</c:v>
                </c:pt>
                <c:pt idx="24">
                  <c:v>1.682317603525779</c:v>
                </c:pt>
                <c:pt idx="25">
                  <c:v>2.112457643569202</c:v>
                </c:pt>
                <c:pt idx="26">
                  <c:v>2.184972533206568</c:v>
                </c:pt>
                <c:pt idx="27">
                  <c:v>1.4621119662671282</c:v>
                </c:pt>
                <c:pt idx="28">
                  <c:v>1.8434093384304</c:v>
                </c:pt>
                <c:pt idx="29">
                  <c:v>1.43806919592863</c:v>
                </c:pt>
                <c:pt idx="30">
                  <c:v>1.5096320242477197</c:v>
                </c:pt>
                <c:pt idx="31">
                  <c:v>1.2603834916201022</c:v>
                </c:pt>
                <c:pt idx="32">
                  <c:v>1.6817163804232906</c:v>
                </c:pt>
                <c:pt idx="33">
                  <c:v>2.445859034100787</c:v>
                </c:pt>
                <c:pt idx="34">
                  <c:v>2.828140518800335</c:v>
                </c:pt>
                <c:pt idx="35">
                  <c:v>1.65138932224301</c:v>
                </c:pt>
                <c:pt idx="36">
                  <c:v>2.1602137209618255</c:v>
                </c:pt>
                <c:pt idx="37">
                  <c:v>2.1021988398331857</c:v>
                </c:pt>
                <c:pt idx="38">
                  <c:v>1.567254584696976</c:v>
                </c:pt>
                <c:pt idx="39">
                  <c:v>1.1378129159668469</c:v>
                </c:pt>
                <c:pt idx="40">
                  <c:v>1.1070777970484436</c:v>
                </c:pt>
                <c:pt idx="41">
                  <c:v>1.1667329561439983</c:v>
                </c:pt>
                <c:pt idx="42">
                  <c:v>1.0655070056957918</c:v>
                </c:pt>
                <c:pt idx="43">
                  <c:v>1.1246144585337432</c:v>
                </c:pt>
                <c:pt idx="44">
                  <c:v>1.9616582597679249</c:v>
                </c:pt>
                <c:pt idx="45">
                  <c:v>2.1933507160729127</c:v>
                </c:pt>
                <c:pt idx="46">
                  <c:v>2.140397714907364</c:v>
                </c:pt>
                <c:pt idx="47">
                  <c:v>2.24519564393769</c:v>
                </c:pt>
                <c:pt idx="48">
                  <c:v>1.9227984423577127</c:v>
                </c:pt>
                <c:pt idx="49">
                  <c:v>1.8382961332549579</c:v>
                </c:pt>
                <c:pt idx="50">
                  <c:v>2.2888694134878835</c:v>
                </c:pt>
                <c:pt idx="51">
                  <c:v>3.132060379292625</c:v>
                </c:pt>
              </c:numCache>
            </c:numRef>
          </c:xVal>
          <c:yVal>
            <c:numRef>
              <c:f>Sheet1!$B$57:$B$108</c:f>
              <c:numCache>
                <c:formatCode>General</c:formatCode>
                <c:ptCount val="52"/>
                <c:pt idx="0">
                  <c:v>0.0026750972762645915</c:v>
                </c:pt>
                <c:pt idx="1">
                  <c:v>0.0027918781725888324</c:v>
                </c:pt>
                <c:pt idx="2">
                  <c:v>0.003098188751191611</c:v>
                </c:pt>
                <c:pt idx="3">
                  <c:v>0.003218020917135961</c:v>
                </c:pt>
                <c:pt idx="4">
                  <c:v>0.003875968992248062</c:v>
                </c:pt>
                <c:pt idx="5">
                  <c:v>0.002257336343115124</c:v>
                </c:pt>
                <c:pt idx="6">
                  <c:v>0.0027835768963117608</c:v>
                </c:pt>
                <c:pt idx="7">
                  <c:v>0.003444316877152698</c:v>
                </c:pt>
                <c:pt idx="8">
                  <c:v>0.00371900826446281</c:v>
                </c:pt>
                <c:pt idx="9">
                  <c:v>0.00333889816360601</c:v>
                </c:pt>
                <c:pt idx="10">
                  <c:v>0.0027331738981892723</c:v>
                </c:pt>
                <c:pt idx="11">
                  <c:v>0.003404669260700389</c:v>
                </c:pt>
                <c:pt idx="12">
                  <c:v>0.0031553398058252425</c:v>
                </c:pt>
                <c:pt idx="13">
                  <c:v>0.006512112529304506</c:v>
                </c:pt>
                <c:pt idx="14">
                  <c:v>0.006918420294032862</c:v>
                </c:pt>
                <c:pt idx="15">
                  <c:v>0.007135016465422613</c:v>
                </c:pt>
                <c:pt idx="16">
                  <c:v>0.007607192254495159</c:v>
                </c:pt>
                <c:pt idx="17">
                  <c:v>0.012043924902585901</c:v>
                </c:pt>
                <c:pt idx="18">
                  <c:v>0.005029337803855826</c:v>
                </c:pt>
                <c:pt idx="19">
                  <c:v>0.0042796005706134095</c:v>
                </c:pt>
                <c:pt idx="20">
                  <c:v>0.005343197698314837</c:v>
                </c:pt>
                <c:pt idx="21">
                  <c:v>0.00776914539400666</c:v>
                </c:pt>
                <c:pt idx="22">
                  <c:v>0.006387921022067364</c:v>
                </c:pt>
                <c:pt idx="23">
                  <c:v>0.010834926704907584</c:v>
                </c:pt>
                <c:pt idx="24">
                  <c:v>0.005548705302096177</c:v>
                </c:pt>
                <c:pt idx="25">
                  <c:v>0.005131494547787043</c:v>
                </c:pt>
                <c:pt idx="26">
                  <c:v>0.004171011470281543</c:v>
                </c:pt>
                <c:pt idx="27">
                  <c:v>0.007168458781362007</c:v>
                </c:pt>
                <c:pt idx="28">
                  <c:v>0.004411116012351125</c:v>
                </c:pt>
                <c:pt idx="29">
                  <c:v>0.005876591576885406</c:v>
                </c:pt>
                <c:pt idx="30">
                  <c:v>0.005615348619560131</c:v>
                </c:pt>
                <c:pt idx="31">
                  <c:v>0.007220216606498195</c:v>
                </c:pt>
                <c:pt idx="32">
                  <c:v>0.004972650422675286</c:v>
                </c:pt>
                <c:pt idx="33">
                  <c:v>0.002962962962962963</c:v>
                </c:pt>
                <c:pt idx="34">
                  <c:v>0.0027413950654888823</c:v>
                </c:pt>
                <c:pt idx="35">
                  <c:v>0.004891470498318557</c:v>
                </c:pt>
                <c:pt idx="36">
                  <c:v>0.004187994416007445</c:v>
                </c:pt>
                <c:pt idx="37">
                  <c:v>0.004163197335553705</c:v>
                </c:pt>
                <c:pt idx="38">
                  <c:v>0.0076384468491406746</c:v>
                </c:pt>
                <c:pt idx="39">
                  <c:v>0.011354737666405637</c:v>
                </c:pt>
                <c:pt idx="40">
                  <c:v>0.01021180030257186</c:v>
                </c:pt>
                <c:pt idx="41">
                  <c:v>0.0064808813998703824</c:v>
                </c:pt>
                <c:pt idx="42">
                  <c:v>0.011075949367088608</c:v>
                </c:pt>
                <c:pt idx="43">
                  <c:v>0.007536041939711665</c:v>
                </c:pt>
                <c:pt idx="44">
                  <c:v>0.003206841261357563</c:v>
                </c:pt>
                <c:pt idx="45">
                  <c:v>0.0024600246002460025</c:v>
                </c:pt>
                <c:pt idx="46">
                  <c:v>0.0026234199856904365</c:v>
                </c:pt>
                <c:pt idx="47">
                  <c:v>0.0021061499578770007</c:v>
                </c:pt>
                <c:pt idx="48">
                  <c:v>0.0027816411682892906</c:v>
                </c:pt>
                <c:pt idx="49">
                  <c:v>0.003115264797507788</c:v>
                </c:pt>
                <c:pt idx="50">
                  <c:v>0.002054178970342791</c:v>
                </c:pt>
                <c:pt idx="51">
                  <c:v>0.001869158878504673</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7837538567612465</c:v>
                </c:pt>
              </c:numCache>
            </c:numRef>
          </c:xVal>
          <c:yVal>
            <c:numRef>
              <c:f>Sheet1!$B$111:$B$112</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7837538567612465</c:v>
                </c:pt>
                <c:pt idx="1">
                  <c:v>1.7837538567612465</c:v>
                </c:pt>
              </c:numCache>
            </c:numRef>
          </c:xVal>
          <c:yVal>
            <c:numRef>
              <c:f>Sheet1!$B$115:$B$116</c:f>
              <c:numCache>
                <c:formatCode>General</c:formatCode>
                <c:ptCount val="2"/>
                <c:pt idx="0">
                  <c:v>0.0059951504292184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1.7837538567612465</c:v>
                </c:pt>
              </c:numCache>
            </c:numRef>
          </c:xVal>
          <c:yVal>
            <c:numRef>
              <c:f>Sheet1!$B$119:$B$120</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1.7837538567612465</c:v>
                </c:pt>
                <c:pt idx="1">
                  <c:v>1.7837538567612465</c:v>
                </c:pt>
              </c:numCache>
            </c:numRef>
          </c:xVal>
          <c:yVal>
            <c:numRef>
              <c:f>Sheet1!$B$123:$B$124</c:f>
              <c:numCache>
                <c:formatCode>General</c:formatCode>
                <c:ptCount val="2"/>
                <c:pt idx="0">
                  <c:v>0.0059951504292184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032340763940146</c:v>
                </c:pt>
              </c:numCache>
            </c:numRef>
          </c:xVal>
          <c:yVal>
            <c:numRef>
              <c:f>Sheet1!$B$127:$B$128</c:f>
              <c:numCache>
                <c:formatCode>General</c:formatCode>
                <c:ptCount val="2"/>
                <c:pt idx="0">
                  <c:v>0.005144314638112592</c:v>
                </c:pt>
                <c:pt idx="1">
                  <c:v>0.00514431463811259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032340763940146</c:v>
                </c:pt>
                <c:pt idx="1">
                  <c:v>2.032340763940146</c:v>
                </c:pt>
              </c:numCache>
            </c:numRef>
          </c:xVal>
          <c:yVal>
            <c:numRef>
              <c:f>Sheet1!$B$131:$B$132</c:f>
              <c:numCache>
                <c:formatCode>General</c:formatCode>
                <c:ptCount val="2"/>
                <c:pt idx="0">
                  <c:v>0.0051443146381125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6656530441607518</c:v>
                </c:pt>
                <c:pt idx="1">
                  <c:v>2.893174395903578</c:v>
                </c:pt>
                <c:pt idx="2">
                  <c:v>2.682823107614742</c:v>
                </c:pt>
                <c:pt idx="3">
                  <c:v>2.438376465077606</c:v>
                </c:pt>
                <c:pt idx="4">
                  <c:v>2.496228315554941</c:v>
                </c:pt>
                <c:pt idx="5">
                  <c:v>3.538381847113582</c:v>
                </c:pt>
                <c:pt idx="6">
                  <c:v>3.305597011782417</c:v>
                </c:pt>
                <c:pt idx="7">
                  <c:v>2.7281860425105466</c:v>
                </c:pt>
                <c:pt idx="8">
                  <c:v>2.6028567666870286</c:v>
                </c:pt>
                <c:pt idx="9">
                  <c:v>2.706768341589805</c:v>
                </c:pt>
                <c:pt idx="10">
                  <c:v>3.098222394803295</c:v>
                </c:pt>
                <c:pt idx="11">
                  <c:v>2.4512895694887997</c:v>
                </c:pt>
                <c:pt idx="12">
                  <c:v>2.7602338379461466</c:v>
                </c:pt>
                <c:pt idx="13">
                  <c:v>1.8792931573558775</c:v>
                </c:pt>
                <c:pt idx="14">
                  <c:v>1.863375810230406</c:v>
                </c:pt>
                <c:pt idx="15">
                  <c:v>1.9425159986792007</c:v>
                </c:pt>
                <c:pt idx="16">
                  <c:v>1.8793100056199337</c:v>
                </c:pt>
                <c:pt idx="17">
                  <c:v>1.1074248712846981</c:v>
                </c:pt>
                <c:pt idx="18">
                  <c:v>1.8827834752920272</c:v>
                </c:pt>
                <c:pt idx="19">
                  <c:v>2.165081998994207</c:v>
                </c:pt>
                <c:pt idx="20">
                  <c:v>1.9881893193613023</c:v>
                </c:pt>
                <c:pt idx="21">
                  <c:v>1.5995259094655387</c:v>
                </c:pt>
                <c:pt idx="22">
                  <c:v>1.9673304631880995</c:v>
                </c:pt>
                <c:pt idx="23">
                  <c:v>0.8279139244531819</c:v>
                </c:pt>
                <c:pt idx="24">
                  <c:v>1.682317603525779</c:v>
                </c:pt>
                <c:pt idx="25">
                  <c:v>2.112457643569202</c:v>
                </c:pt>
                <c:pt idx="26">
                  <c:v>2.184972533206568</c:v>
                </c:pt>
                <c:pt idx="27">
                  <c:v>1.4621119662671282</c:v>
                </c:pt>
                <c:pt idx="28">
                  <c:v>1.8434093384304</c:v>
                </c:pt>
                <c:pt idx="29">
                  <c:v>1.43806919592863</c:v>
                </c:pt>
                <c:pt idx="30">
                  <c:v>1.5096320242477197</c:v>
                </c:pt>
                <c:pt idx="31">
                  <c:v>1.2603834916201022</c:v>
                </c:pt>
                <c:pt idx="32">
                  <c:v>1.6817163804232906</c:v>
                </c:pt>
                <c:pt idx="33">
                  <c:v>2.445859034100787</c:v>
                </c:pt>
                <c:pt idx="34">
                  <c:v>2.828140518800335</c:v>
                </c:pt>
                <c:pt idx="35">
                  <c:v>1.65138932224301</c:v>
                </c:pt>
                <c:pt idx="36">
                  <c:v>2.1602137209618255</c:v>
                </c:pt>
                <c:pt idx="37">
                  <c:v>2.1021988398331857</c:v>
                </c:pt>
                <c:pt idx="38">
                  <c:v>1.567254584696976</c:v>
                </c:pt>
                <c:pt idx="39">
                  <c:v>1.1378129159668469</c:v>
                </c:pt>
                <c:pt idx="40">
                  <c:v>1.1070777970484436</c:v>
                </c:pt>
                <c:pt idx="41">
                  <c:v>1.1667329561439983</c:v>
                </c:pt>
                <c:pt idx="42">
                  <c:v>1.0655070056957918</c:v>
                </c:pt>
                <c:pt idx="43">
                  <c:v>1.1246144585337432</c:v>
                </c:pt>
                <c:pt idx="44">
                  <c:v>1.9616582597679249</c:v>
                </c:pt>
                <c:pt idx="45">
                  <c:v>2.1933507160729127</c:v>
                </c:pt>
                <c:pt idx="46">
                  <c:v>2.140397714907364</c:v>
                </c:pt>
                <c:pt idx="47">
                  <c:v>2.24519564393769</c:v>
                </c:pt>
                <c:pt idx="48">
                  <c:v>1.9227984423577127</c:v>
                </c:pt>
                <c:pt idx="49">
                  <c:v>1.8382961332549579</c:v>
                </c:pt>
                <c:pt idx="50">
                  <c:v>2.2888694134878835</c:v>
                </c:pt>
                <c:pt idx="51">
                  <c:v>3.132060379292625</c:v>
                </c:pt>
                <c:pt idx="52">
                  <c:v>1.7837538567612465</c:v>
                </c:pt>
                <c:pt idx="53">
                  <c:v>1.7837538567612465</c:v>
                </c:pt>
                <c:pt idx="54">
                  <c:v>2.032340763940146</c:v>
                </c:pt>
              </c:numCache>
            </c:numRef>
          </c:xVal>
          <c:yVal>
            <c:numRef>
              <c:f>Sheet1!$B$135:$B$189</c:f>
              <c:numCache>
                <c:formatCode>General</c:formatCode>
                <c:ptCount val="55"/>
                <c:pt idx="0">
                  <c:v>0.002976683361495312</c:v>
                </c:pt>
                <c:pt idx="1">
                  <c:v>0.0021979484252894355</c:v>
                </c:pt>
                <c:pt idx="2">
                  <c:v>0.002917915566006792</c:v>
                </c:pt>
                <c:pt idx="3">
                  <c:v>0.0037545805168948537</c:v>
                </c:pt>
                <c:pt idx="4">
                  <c:v>0.0035565715970912216</c:v>
                </c:pt>
                <c:pt idx="5">
                  <c:v>-1.0396327890068585e-05</c:v>
                </c:pt>
                <c:pt idx="6">
                  <c:v>0.0007863538782014179</c:v>
                </c:pt>
                <c:pt idx="7">
                  <c:v>0.002762652326132386</c:v>
                </c:pt>
                <c:pt idx="8">
                  <c:v>0.003191615519544994</c:v>
                </c:pt>
                <c:pt idx="9">
                  <c:v>0.002835958465676785</c:v>
                </c:pt>
                <c:pt idx="10">
                  <c:v>0.0014961327973531079</c:v>
                </c:pt>
                <c:pt idx="11">
                  <c:v>0.0037103829703224473</c:v>
                </c:pt>
                <c:pt idx="12">
                  <c:v>0.002652962673961673</c:v>
                </c:pt>
                <c:pt idx="13">
                  <c:v>0.005668149070516012</c:v>
                </c:pt>
                <c:pt idx="14">
                  <c:v>0.00572262920701033</c:v>
                </c:pt>
                <c:pt idx="15">
                  <c:v>0.005451756916867405</c:v>
                </c:pt>
                <c:pt idx="16">
                  <c:v>0.005668091404139936</c:v>
                </c:pt>
                <c:pt idx="17">
                  <c:v>0.008310014530213164</c:v>
                </c:pt>
                <c:pt idx="18">
                  <c:v>0.005656202796047592</c:v>
                </c:pt>
                <c:pt idx="19">
                  <c:v>0.004689982609844072</c:v>
                </c:pt>
                <c:pt idx="20">
                  <c:v>0.005295431322828698</c:v>
                </c:pt>
                <c:pt idx="21">
                  <c:v>0.006625705485637152</c:v>
                </c:pt>
                <c:pt idx="22">
                  <c:v>0.005366824710336906</c:v>
                </c:pt>
                <c:pt idx="23">
                  <c:v>0.00926669370639755</c:v>
                </c:pt>
                <c:pt idx="24">
                  <c:v>0.00634233522566589</c:v>
                </c:pt>
                <c:pt idx="25">
                  <c:v>0.004870099437345554</c:v>
                </c:pt>
                <c:pt idx="26">
                  <c:v>0.0046219034877207485</c:v>
                </c:pt>
                <c:pt idx="27">
                  <c:v>0.00709603074289638</c:v>
                </c:pt>
                <c:pt idx="28">
                  <c:v>0.00579096823991573</c:v>
                </c:pt>
                <c:pt idx="29">
                  <c:v>0.007178321679911057</c:v>
                </c:pt>
                <c:pt idx="30">
                  <c:v>0.006933384340540949</c:v>
                </c:pt>
                <c:pt idx="31">
                  <c:v>0.0077864846701072524</c:v>
                </c:pt>
                <c:pt idx="32">
                  <c:v>0.006344393025651585</c:v>
                </c:pt>
                <c:pt idx="33">
                  <c:v>0.0037289700066447697</c:v>
                </c:pt>
                <c:pt idx="34">
                  <c:v>0.0024205391920428757</c:v>
                </c:pt>
                <c:pt idx="35">
                  <c:v>0.006448193128527325</c:v>
                </c:pt>
                <c:pt idx="36">
                  <c:v>0.004706645213832397</c:v>
                </c:pt>
                <c:pt idx="37">
                  <c:v>0.004905212136930538</c:v>
                </c:pt>
                <c:pt idx="38">
                  <c:v>0.0067361602093034025</c:v>
                </c:pt>
                <c:pt idx="39">
                  <c:v>0.008206005689479294</c:v>
                </c:pt>
                <c:pt idx="40">
                  <c:v>0.00831120245754903</c:v>
                </c:pt>
                <c:pt idx="41">
                  <c:v>0.008107021372315594</c:v>
                </c:pt>
                <c:pt idx="42">
                  <c:v>0.008453486367626299</c:v>
                </c:pt>
                <c:pt idx="43">
                  <c:v>0.008251179910836777</c:v>
                </c:pt>
                <c:pt idx="44">
                  <c:v>0.005386238901289626</c:v>
                </c:pt>
                <c:pt idx="45">
                  <c:v>0.004593227569394987</c:v>
                </c:pt>
                <c:pt idx="46">
                  <c:v>0.0047744692492140035</c:v>
                </c:pt>
                <c:pt idx="47">
                  <c:v>0.004415778480401304</c:v>
                </c:pt>
                <c:pt idx="48">
                  <c:v>0.005519243989384035</c:v>
                </c:pt>
                <c:pt idx="49">
                  <c:v>0.005808469153459028</c:v>
                </c:pt>
                <c:pt idx="50">
                  <c:v>0.004266296728978771</c:v>
                </c:pt>
                <c:pt idx="51">
                  <c:v>0.0013803158839479045</c:v>
                </c:pt>
                <c:pt idx="52">
                  <c:v>0.005995150429218426</c:v>
                </c:pt>
                <c:pt idx="53">
                  <c:v>0.005995150429218426</c:v>
                </c:pt>
                <c:pt idx="54">
                  <c:v>0.0051443146381125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45270988310308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0.8238</c:v>
                </c:pt>
                <c:pt idx="1">
                  <c:v>847.6719</c:v>
                </c:pt>
                <c:pt idx="2">
                  <c:v>848.1064</c:v>
                </c:pt>
                <c:pt idx="3">
                  <c:v>857.9881</c:v>
                </c:pt>
                <c:pt idx="4">
                  <c:v>841.9736</c:v>
                </c:pt>
                <c:pt idx="5">
                  <c:v>844.3321</c:v>
                </c:pt>
                <c:pt idx="6">
                  <c:v>829.9803</c:v>
                </c:pt>
                <c:pt idx="7">
                  <c:v>866.6427</c:v>
                </c:pt>
                <c:pt idx="8">
                  <c:v>878.4123</c:v>
                </c:pt>
                <c:pt idx="9">
                  <c:v>863.4343</c:v>
                </c:pt>
                <c:pt idx="10">
                  <c:v>864.9706</c:v>
                </c:pt>
                <c:pt idx="11">
                  <c:v>883.0815</c:v>
                </c:pt>
                <c:pt idx="12">
                  <c:v>876.7748</c:v>
                </c:pt>
                <c:pt idx="13">
                  <c:v>862.3852</c:v>
                </c:pt>
                <c:pt idx="14">
                  <c:v>884.3104</c:v>
                </c:pt>
                <c:pt idx="15">
                  <c:v>885.6593</c:v>
                </c:pt>
                <c:pt idx="16">
                  <c:v>872.4008</c:v>
                </c:pt>
                <c:pt idx="17">
                  <c:v>915.1496</c:v>
                </c:pt>
                <c:pt idx="18">
                  <c:v>933.2134</c:v>
                </c:pt>
                <c:pt idx="19">
                  <c:v>994.5115</c:v>
                </c:pt>
                <c:pt idx="20">
                  <c:v>1016.9246</c:v>
                </c:pt>
                <c:pt idx="21">
                  <c:v>1033.1526</c:v>
                </c:pt>
                <c:pt idx="22">
                  <c:v>1007.8818</c:v>
                </c:pt>
                <c:pt idx="23">
                  <c:v>987.4493</c:v>
                </c:pt>
                <c:pt idx="24">
                  <c:v>969.8275</c:v>
                </c:pt>
                <c:pt idx="25">
                  <c:v>957.9625</c:v>
                </c:pt>
                <c:pt idx="26">
                  <c:v>970.6012</c:v>
                </c:pt>
                <c:pt idx="27">
                  <c:v>978.1092</c:v>
                </c:pt>
                <c:pt idx="28">
                  <c:v>1048.3176</c:v>
                </c:pt>
                <c:pt idx="29">
                  <c:v>942.9357</c:v>
                </c:pt>
                <c:pt idx="30">
                  <c:v>973.5095</c:v>
                </c:pt>
                <c:pt idx="31">
                  <c:v>949.8024</c:v>
                </c:pt>
                <c:pt idx="32">
                  <c:v>934.3252</c:v>
                </c:pt>
                <c:pt idx="33">
                  <c:v>911.0866</c:v>
                </c:pt>
                <c:pt idx="34">
                  <c:v>973.8066</c:v>
                </c:pt>
                <c:pt idx="35">
                  <c:v>993.6598</c:v>
                </c:pt>
                <c:pt idx="36">
                  <c:v>1058.4175</c:v>
                </c:pt>
                <c:pt idx="37">
                  <c:v>1088.2295</c:v>
                </c:pt>
                <c:pt idx="38">
                  <c:v>1085.548</c:v>
                </c:pt>
                <c:pt idx="39">
                  <c:v>1142.2879</c:v>
                </c:pt>
                <c:pt idx="40">
                  <c:v>1121.8299</c:v>
                </c:pt>
                <c:pt idx="41">
                  <c:v>1151.4411</c:v>
                </c:pt>
                <c:pt idx="42">
                  <c:v>1169.9832</c:v>
                </c:pt>
                <c:pt idx="43">
                  <c:v>1182.3993</c:v>
                </c:pt>
                <c:pt idx="44">
                  <c:v>1025.9151</c:v>
                </c:pt>
                <c:pt idx="45">
                  <c:v>995.7923</c:v>
                </c:pt>
                <c:pt idx="46">
                  <c:v>991.2042</c:v>
                </c:pt>
                <c:pt idx="47">
                  <c:v>967.4004</c:v>
                </c:pt>
                <c:pt idx="48">
                  <c:v>972.7173</c:v>
                </c:pt>
                <c:pt idx="49">
                  <c:v>956.2506</c:v>
                </c:pt>
                <c:pt idx="50">
                  <c:v>951.9882</c:v>
                </c:pt>
                <c:pt idx="51">
                  <c:v>1007.7841</c:v>
                </c:pt>
                <c:pt idx="52">
                  <c:v>985.4137</c:v>
                </c:pt>
                <c:pt idx="53">
                  <c:v>983.1362</c:v>
                </c:pt>
                <c:pt idx="54">
                  <c:v>1017.8995</c:v>
                </c:pt>
                <c:pt idx="55">
                  <c:v>990.1993</c:v>
                </c:pt>
                <c:pt idx="56">
                  <c:v>1021.4268</c:v>
                </c:pt>
                <c:pt idx="57">
                  <c:v>997.4431</c:v>
                </c:pt>
                <c:pt idx="58">
                  <c:v>1014.0697</c:v>
                </c:pt>
                <c:pt idx="59">
                  <c:v>1014.0964</c:v>
                </c:pt>
                <c:pt idx="60">
                  <c:v>1023.5959</c:v>
                </c:pt>
                <c:pt idx="61">
                  <c:v>1000.4482</c:v>
                </c:pt>
                <c:pt idx="62">
                  <c:v>1013.4628</c:v>
                </c:pt>
                <c:pt idx="63">
                  <c:v>1052.7467</c:v>
                </c:pt>
                <c:pt idx="64">
                  <c:v>1036.7312</c:v>
                </c:pt>
                <c:pt idx="65">
                  <c:v>1007.2956</c:v>
                </c:pt>
                <c:pt idx="66">
                  <c:v>926.0844</c:v>
                </c:pt>
                <c:pt idx="67">
                  <c:v>927.1577</c:v>
                </c:pt>
                <c:pt idx="68">
                  <c:v>960.9388</c:v>
                </c:pt>
                <c:pt idx="69">
                  <c:v>918.8074</c:v>
                </c:pt>
                <c:pt idx="70">
                  <c:v>851.3011</c:v>
                </c:pt>
                <c:pt idx="71">
                  <c:v>923.9236</c:v>
                </c:pt>
                <c:pt idx="72">
                  <c:v>985.2315</c:v>
                </c:pt>
                <c:pt idx="73">
                  <c:v>950.2606</c:v>
                </c:pt>
                <c:pt idx="74">
                  <c:v>960.2854</c:v>
                </c:pt>
                <c:pt idx="75">
                  <c:v>931.104</c:v>
                </c:pt>
                <c:pt idx="76">
                  <c:v>942.1913</c:v>
                </c:pt>
                <c:pt idx="77">
                  <c:v>978.7124</c:v>
                </c:pt>
                <c:pt idx="78">
                  <c:v>968.5752</c:v>
                </c:pt>
                <c:pt idx="79">
                  <c:v>558.9587</c:v>
                </c:pt>
                <c:pt idx="80">
                  <c:v>671.2695</c:v>
                </c:pt>
                <c:pt idx="81">
                  <c:v>826.4073</c:v>
                </c:pt>
                <c:pt idx="82">
                  <c:v>855.0098</c:v>
                </c:pt>
                <c:pt idx="83">
                  <c:v>759.2573</c:v>
                </c:pt>
                <c:pt idx="84">
                  <c:v>912.8451</c:v>
                </c:pt>
                <c:pt idx="85">
                  <c:v>782.7791</c:v>
                </c:pt>
                <c:pt idx="86">
                  <c:v>1020.966</c:v>
                </c:pt>
                <c:pt idx="87">
                  <c:v>1070.2081</c:v>
                </c:pt>
                <c:pt idx="88">
                  <c:v>1050.6106</c:v>
                </c:pt>
                <c:pt idx="89">
                  <c:v>995.5332</c:v>
                </c:pt>
                <c:pt idx="90">
                  <c:v>1024.9614</c:v>
                </c:pt>
                <c:pt idx="91">
                  <c:v>1077.238</c:v>
                </c:pt>
                <c:pt idx="92">
                  <c:v>1048.9482</c:v>
                </c:pt>
                <c:pt idx="93">
                  <c:v>1081.0924</c:v>
                </c:pt>
                <c:pt idx="94">
                  <c:v>1154.6172</c:v>
                </c:pt>
                <c:pt idx="95">
                  <c:v>1118.0899</c:v>
                </c:pt>
                <c:pt idx="96">
                  <c:v>988.1788</c:v>
                </c:pt>
                <c:pt idx="97">
                  <c:v>1078.4871</c:v>
                </c:pt>
                <c:pt idx="98">
                  <c:v>1115.6307</c:v>
                </c:pt>
                <c:pt idx="99">
                  <c:v>1061.716</c:v>
                </c:pt>
                <c:pt idx="100">
                  <c:v>1065.0996</c:v>
                </c:pt>
                <c:pt idx="101">
                  <c:v>1080.058</c:v>
                </c:pt>
                <c:pt idx="102">
                  <c:v>1123.0362</c:v>
                </c:pt>
                <c:pt idx="103">
                  <c:v>926.1989</c:v>
                </c:pt>
                <c:pt idx="104">
                  <c:v>1004.0658</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2.43608861454302</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2.43608861454302</c:v>
                </c:pt>
                <c:pt idx="1">
                  <c:v>212.43608861454302</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2529136159376</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2529136159376</c:v>
                </c:pt>
                <c:pt idx="1">
                  <c:v>1070.2529136159376</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3.0191969691834</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3.0191969691834</c:v>
                </c:pt>
                <c:pt idx="1">
                  <c:v>1143.0191969691834</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pt idx="52">
                  <c:v>1070.2529136159376</c:v>
                </c:pt>
                <c:pt idx="53">
                  <c:v>212.43608861454302</c:v>
                </c:pt>
                <c:pt idx="54">
                  <c:v>1143.0191969691834</c:v>
                </c:pt>
              </c:numCache>
            </c:numRef>
          </c:xVal>
          <c:yVal>
            <c:numRef>
              <c:f>Sheet1!$B$187:$B$241</c:f>
              <c:numCache>
                <c:formatCode>General</c:formatCode>
                <c:ptCount val="55"/>
                <c:pt idx="0">
                  <c:v>0.15786473490544622</c:v>
                </c:pt>
                <c:pt idx="1">
                  <c:v>0.1553344472437175</c:v>
                </c:pt>
                <c:pt idx="2">
                  <c:v>0.15698453305410617</c:v>
                </c:pt>
                <c:pt idx="3">
                  <c:v>0.15550871223048457</c:v>
                </c:pt>
                <c:pt idx="4">
                  <c:v>0.1537912506162341</c:v>
                </c:pt>
                <c:pt idx="5">
                  <c:v>0.15323839619403218</c:v>
                </c:pt>
                <c:pt idx="6">
                  <c:v>0.15533227239892883</c:v>
                </c:pt>
                <c:pt idx="7">
                  <c:v>0.15210298851250115</c:v>
                </c:pt>
                <c:pt idx="8">
                  <c:v>0.14831965736808184</c:v>
                </c:pt>
                <c:pt idx="9">
                  <c:v>0.15117113964550316</c:v>
                </c:pt>
                <c:pt idx="10">
                  <c:v>0.14823446115232908</c:v>
                </c:pt>
                <c:pt idx="11">
                  <c:v>0.1535824044877122</c:v>
                </c:pt>
                <c:pt idx="12">
                  <c:v>0.1531471525782292</c:v>
                </c:pt>
                <c:pt idx="13">
                  <c:v>0.15148443380461646</c:v>
                </c:pt>
                <c:pt idx="14">
                  <c:v>0.1510536480942531</c:v>
                </c:pt>
                <c:pt idx="15">
                  <c:v>0.14904988924625096</c:v>
                </c:pt>
                <c:pt idx="16">
                  <c:v>0.14648378877046359</c:v>
                </c:pt>
                <c:pt idx="17">
                  <c:v>0.15001011096082378</c:v>
                </c:pt>
                <c:pt idx="18">
                  <c:v>0.14765007148069115</c:v>
                </c:pt>
                <c:pt idx="19">
                  <c:v>0.14057230542343205</c:v>
                </c:pt>
                <c:pt idx="20">
                  <c:v>0.14329435114748582</c:v>
                </c:pt>
                <c:pt idx="21">
                  <c:v>0.14762670854343307</c:v>
                </c:pt>
                <c:pt idx="22">
                  <c:v>0.14868350557238524</c:v>
                </c:pt>
                <c:pt idx="23">
                  <c:v>0.15055259603376536</c:v>
                </c:pt>
                <c:pt idx="24">
                  <c:v>0.1550516508443068</c:v>
                </c:pt>
                <c:pt idx="25">
                  <c:v>0.15763706971181407</c:v>
                </c:pt>
                <c:pt idx="26">
                  <c:v>0.15435547858898913</c:v>
                </c:pt>
                <c:pt idx="27">
                  <c:v>0.1533072144969885</c:v>
                </c:pt>
                <c:pt idx="28">
                  <c:v>0.15155254195417242</c:v>
                </c:pt>
                <c:pt idx="29">
                  <c:v>0.15150247613944506</c:v>
                </c:pt>
                <c:pt idx="30">
                  <c:v>0.15538695421075868</c:v>
                </c:pt>
                <c:pt idx="31">
                  <c:v>0.16437998179657</c:v>
                </c:pt>
                <c:pt idx="32">
                  <c:v>0.1568060903680384</c:v>
                </c:pt>
                <c:pt idx="33">
                  <c:v>0.1490354808995259</c:v>
                </c:pt>
                <c:pt idx="34">
                  <c:v>0.14692736833818085</c:v>
                </c:pt>
                <c:pt idx="35">
                  <c:v>0.15208764254136464</c:v>
                </c:pt>
                <c:pt idx="36">
                  <c:v>0.14869861852443725</c:v>
                </c:pt>
                <c:pt idx="37">
                  <c:v>0.14369640893357416</c:v>
                </c:pt>
                <c:pt idx="38">
                  <c:v>0.14604405401764065</c:v>
                </c:pt>
                <c:pt idx="39">
                  <c:v>0.15167853870200687</c:v>
                </c:pt>
                <c:pt idx="40">
                  <c:v>0.14947014471322423</c:v>
                </c:pt>
                <c:pt idx="41">
                  <c:v>0.14939689904766235</c:v>
                </c:pt>
                <c:pt idx="42">
                  <c:v>0.15326325711111918</c:v>
                </c:pt>
                <c:pt idx="43">
                  <c:v>0.14513515753046613</c:v>
                </c:pt>
                <c:pt idx="44">
                  <c:v>0.15013608551636448</c:v>
                </c:pt>
                <c:pt idx="45">
                  <c:v>0.1542034058959842</c:v>
                </c:pt>
                <c:pt idx="46">
                  <c:v>0.15506582062387392</c:v>
                </c:pt>
                <c:pt idx="47">
                  <c:v>0.15702972766035272</c:v>
                </c:pt>
                <c:pt idx="48">
                  <c:v>0.16090011917320082</c:v>
                </c:pt>
                <c:pt idx="49">
                  <c:v>0.15658603713116664</c:v>
                </c:pt>
                <c:pt idx="50">
                  <c:v>0.1579180352469894</c:v>
                </c:pt>
                <c:pt idx="51">
                  <c:v>0.1598853099640466</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2.0"/>
          <c:min val="1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2290950744558992</c:v>
                </c:pt>
                <c:pt idx="1">
                  <c:v>0.0</c:v>
                </c:pt>
                <c:pt idx="2">
                  <c:v>0.0</c:v>
                </c:pt>
                <c:pt idx="3">
                  <c:v>0.0</c:v>
                </c:pt>
                <c:pt idx="4">
                  <c:v>0.0002942907592701589</c:v>
                </c:pt>
                <c:pt idx="5">
                  <c:v>0.0002822466836014677</c:v>
                </c:pt>
                <c:pt idx="6">
                  <c:v>0.00029171528588098014</c:v>
                </c:pt>
                <c:pt idx="7">
                  <c:v>0.00018726591760299626</c:v>
                </c:pt>
                <c:pt idx="8">
                  <c:v>0.00044365572315882877</c:v>
                </c:pt>
                <c:pt idx="9">
                  <c:v>0.0004934616333580064</c:v>
                </c:pt>
                <c:pt idx="10">
                  <c:v>0.00025188916876574307</c:v>
                </c:pt>
                <c:pt idx="11">
                  <c:v>0.0004405286343612335</c:v>
                </c:pt>
                <c:pt idx="12">
                  <c:v>0.00020576131687242798</c:v>
                </c:pt>
                <c:pt idx="13">
                  <c:v>0.0004411116012351125</c:v>
                </c:pt>
                <c:pt idx="14">
                  <c:v>0.0002115506663845991</c:v>
                </c:pt>
                <c:pt idx="15">
                  <c:v>0.0002101723413198823</c:v>
                </c:pt>
                <c:pt idx="16">
                  <c:v>0.00048204386599180526</c:v>
                </c:pt>
                <c:pt idx="17">
                  <c:v>0.00034083162917518747</c:v>
                </c:pt>
                <c:pt idx="18">
                  <c:v>0.0006082725060827251</c:v>
                </c:pt>
                <c:pt idx="19">
                  <c:v>0.0006743088334457181</c:v>
                </c:pt>
                <c:pt idx="20">
                  <c:v>0.00031308703819661864</c:v>
                </c:pt>
                <c:pt idx="21">
                  <c:v>0.00033967391304347825</c:v>
                </c:pt>
                <c:pt idx="22">
                  <c:v>0.0010725777618877368</c:v>
                </c:pt>
                <c:pt idx="23">
                  <c:v>0.0007415647015202076</c:v>
                </c:pt>
                <c:pt idx="24">
                  <c:v>0.0010861694424330196</c:v>
                </c:pt>
                <c:pt idx="25">
                  <c:v>0.001203852327447833</c:v>
                </c:pt>
                <c:pt idx="26">
                  <c:v>0.0008756567425569177</c:v>
                </c:pt>
                <c:pt idx="27">
                  <c:v>0.0011691348402182386</c:v>
                </c:pt>
                <c:pt idx="28">
                  <c:v>0.0007722007722007722</c:v>
                </c:pt>
                <c:pt idx="29">
                  <c:v>0.001423994304022784</c:v>
                </c:pt>
                <c:pt idx="30">
                  <c:v>0.002041649652919559</c:v>
                </c:pt>
                <c:pt idx="31">
                  <c:v>0.001713796058269066</c:v>
                </c:pt>
                <c:pt idx="32">
                  <c:v>0.0013192612137203166</c:v>
                </c:pt>
                <c:pt idx="33">
                  <c:v>0.0016481252575195715</c:v>
                </c:pt>
                <c:pt idx="34">
                  <c:v>0.00145602795573675</c:v>
                </c:pt>
                <c:pt idx="35">
                  <c:v>0.0011166945840312675</c:v>
                </c:pt>
                <c:pt idx="36">
                  <c:v>0.001729106628242075</c:v>
                </c:pt>
                <c:pt idx="37">
                  <c:v>0.002995008319467554</c:v>
                </c:pt>
                <c:pt idx="38">
                  <c:v>0.0022564874012786762</c:v>
                </c:pt>
                <c:pt idx="39">
                  <c:v>0.0022796352583586625</c:v>
                </c:pt>
                <c:pt idx="40">
                  <c:v>0.0024929884699283265</c:v>
                </c:pt>
                <c:pt idx="41">
                  <c:v>0.0022068095838587644</c:v>
                </c:pt>
                <c:pt idx="42">
                  <c:v>0.0020426028596440037</c:v>
                </c:pt>
                <c:pt idx="43">
                  <c:v>0.0017898235745333673</c:v>
                </c:pt>
                <c:pt idx="44">
                  <c:v>0.0025514853289593585</c:v>
                </c:pt>
                <c:pt idx="45">
                  <c:v>0.0023450586264656616</c:v>
                </c:pt>
                <c:pt idx="46">
                  <c:v>0.0022900763358778627</c:v>
                </c:pt>
                <c:pt idx="47">
                  <c:v>0.0026488219712811935</c:v>
                </c:pt>
                <c:pt idx="48">
                  <c:v>0.0023752969121140144</c:v>
                </c:pt>
                <c:pt idx="49">
                  <c:v>0.003074697051908121</c:v>
                </c:pt>
                <c:pt idx="50">
                  <c:v>0.0030194894317869887</c:v>
                </c:pt>
                <c:pt idx="51">
                  <c:v>0.0027861620617599257</c:v>
                </c:pt>
                <c:pt idx="52">
                  <c:v>0.0030236393622869707</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26750972762645915</c:v>
                </c:pt>
                <c:pt idx="1">
                  <c:v>0.0027918781725888324</c:v>
                </c:pt>
                <c:pt idx="2">
                  <c:v>0.003098188751191611</c:v>
                </c:pt>
                <c:pt idx="3">
                  <c:v>0.003218020917135961</c:v>
                </c:pt>
                <c:pt idx="4">
                  <c:v>0.003875968992248062</c:v>
                </c:pt>
                <c:pt idx="5">
                  <c:v>0.002257336343115124</c:v>
                </c:pt>
                <c:pt idx="6">
                  <c:v>0.0027835768963117608</c:v>
                </c:pt>
                <c:pt idx="7">
                  <c:v>0.003444316877152698</c:v>
                </c:pt>
                <c:pt idx="8">
                  <c:v>0.00371900826446281</c:v>
                </c:pt>
                <c:pt idx="9">
                  <c:v>0.00333889816360601</c:v>
                </c:pt>
                <c:pt idx="10">
                  <c:v>0.0027331738981892723</c:v>
                </c:pt>
                <c:pt idx="11">
                  <c:v>0.003404669260700389</c:v>
                </c:pt>
                <c:pt idx="12">
                  <c:v>0.0031553398058252425</c:v>
                </c:pt>
                <c:pt idx="13">
                  <c:v>0.006512112529304506</c:v>
                </c:pt>
                <c:pt idx="14">
                  <c:v>0.006918420294032862</c:v>
                </c:pt>
                <c:pt idx="15">
                  <c:v>0.007135016465422613</c:v>
                </c:pt>
                <c:pt idx="16">
                  <c:v>0.007607192254495159</c:v>
                </c:pt>
                <c:pt idx="17">
                  <c:v>0.012043924902585901</c:v>
                </c:pt>
                <c:pt idx="18">
                  <c:v>0.005029337803855826</c:v>
                </c:pt>
                <c:pt idx="19">
                  <c:v>0.0042796005706134095</c:v>
                </c:pt>
                <c:pt idx="20">
                  <c:v>0.005343197698314837</c:v>
                </c:pt>
                <c:pt idx="21">
                  <c:v>0.00776914539400666</c:v>
                </c:pt>
                <c:pt idx="22">
                  <c:v>0.006387921022067364</c:v>
                </c:pt>
                <c:pt idx="23">
                  <c:v>0.010834926704907584</c:v>
                </c:pt>
                <c:pt idx="24">
                  <c:v>0.005548705302096177</c:v>
                </c:pt>
                <c:pt idx="25">
                  <c:v>0.005131494547787043</c:v>
                </c:pt>
                <c:pt idx="26">
                  <c:v>0.004171011470281543</c:v>
                </c:pt>
                <c:pt idx="27">
                  <c:v>0.007168458781362007</c:v>
                </c:pt>
                <c:pt idx="28">
                  <c:v>0.004411116012351125</c:v>
                </c:pt>
                <c:pt idx="29">
                  <c:v>0.005876591576885406</c:v>
                </c:pt>
                <c:pt idx="30">
                  <c:v>0.005615348619560131</c:v>
                </c:pt>
                <c:pt idx="31">
                  <c:v>0.007220216606498195</c:v>
                </c:pt>
                <c:pt idx="32">
                  <c:v>0.004972650422675286</c:v>
                </c:pt>
                <c:pt idx="33">
                  <c:v>0.002962962962962963</c:v>
                </c:pt>
                <c:pt idx="34">
                  <c:v>0.0027413950654888823</c:v>
                </c:pt>
                <c:pt idx="35">
                  <c:v>0.004891470498318557</c:v>
                </c:pt>
                <c:pt idx="36">
                  <c:v>0.004187994416007445</c:v>
                </c:pt>
                <c:pt idx="37">
                  <c:v>0.004163197335553705</c:v>
                </c:pt>
                <c:pt idx="38">
                  <c:v>0.0076384468491406746</c:v>
                </c:pt>
                <c:pt idx="39">
                  <c:v>0.011354737666405637</c:v>
                </c:pt>
                <c:pt idx="40">
                  <c:v>0.01021180030257186</c:v>
                </c:pt>
                <c:pt idx="41">
                  <c:v>0.0064808813998703824</c:v>
                </c:pt>
                <c:pt idx="42">
                  <c:v>0.011075949367088608</c:v>
                </c:pt>
                <c:pt idx="43">
                  <c:v>0.007536041939711665</c:v>
                </c:pt>
                <c:pt idx="44">
                  <c:v>0.003206841261357563</c:v>
                </c:pt>
                <c:pt idx="45">
                  <c:v>0.0024600246002460025</c:v>
                </c:pt>
                <c:pt idx="46">
                  <c:v>0.0026234199856904365</c:v>
                </c:pt>
                <c:pt idx="47">
                  <c:v>0.0021061499578770007</c:v>
                </c:pt>
                <c:pt idx="48">
                  <c:v>0.0027816411682892906</c:v>
                </c:pt>
                <c:pt idx="49">
                  <c:v>0.003115264797507788</c:v>
                </c:pt>
                <c:pt idx="50">
                  <c:v>0.002054178970342791</c:v>
                </c:pt>
                <c:pt idx="51">
                  <c:v>0.001869158878504673</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80.2412104957234</c:v>
                </c:pt>
              </c:numCache>
            </c:numRef>
          </c:xVal>
          <c:yVal>
            <c:numRef>
              <c:f>Sheet1!$B$111:$B$112</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80.2412104957234</c:v>
                </c:pt>
                <c:pt idx="1">
                  <c:v>2880.2412104957234</c:v>
                </c:pt>
              </c:numCache>
            </c:numRef>
          </c:xVal>
          <c:yVal>
            <c:numRef>
              <c:f>Sheet1!$B$115:$B$116</c:f>
              <c:numCache>
                <c:formatCode>General</c:formatCode>
                <c:ptCount val="2"/>
                <c:pt idx="0">
                  <c:v>0.0059951504292184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80.2412104957234</c:v>
                </c:pt>
              </c:numCache>
            </c:numRef>
          </c:xVal>
          <c:yVal>
            <c:numRef>
              <c:f>Sheet1!$B$119:$B$120</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80.2412104957234</c:v>
                </c:pt>
                <c:pt idx="1">
                  <c:v>2880.2412104957234</c:v>
                </c:pt>
              </c:numCache>
            </c:numRef>
          </c:xVal>
          <c:yVal>
            <c:numRef>
              <c:f>Sheet1!$B$123:$B$124</c:f>
              <c:numCache>
                <c:formatCode>General</c:formatCode>
                <c:ptCount val="2"/>
                <c:pt idx="0">
                  <c:v>0.0059951504292184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281.0851327751307</c:v>
                </c:pt>
              </c:numCache>
            </c:numRef>
          </c:xVal>
          <c:yVal>
            <c:numRef>
              <c:f>Sheet1!$B$127:$B$128</c:f>
              <c:numCache>
                <c:formatCode>General</c:formatCode>
                <c:ptCount val="2"/>
                <c:pt idx="0">
                  <c:v>0.005144314638112592</c:v>
                </c:pt>
                <c:pt idx="1">
                  <c:v>0.00514431463811259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281.0851327751307</c:v>
                </c:pt>
                <c:pt idx="1">
                  <c:v>3281.0851327751307</c:v>
                </c:pt>
              </c:numCache>
            </c:numRef>
          </c:xVal>
          <c:yVal>
            <c:numRef>
              <c:f>Sheet1!$B$131:$B$132</c:f>
              <c:numCache>
                <c:formatCode>General</c:formatCode>
                <c:ptCount val="2"/>
                <c:pt idx="0">
                  <c:v>0.0051443146381125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80.2412104957234</c:v>
                </c:pt>
                <c:pt idx="53">
                  <c:v>2880.2412104957234</c:v>
                </c:pt>
                <c:pt idx="54">
                  <c:v>3281.0851327751307</c:v>
                </c:pt>
              </c:numCache>
            </c:numRef>
          </c:xVal>
          <c:yVal>
            <c:numRef>
              <c:f>Sheet1!$B$135:$B$189</c:f>
              <c:numCache>
                <c:formatCode>General</c:formatCode>
                <c:ptCount val="55"/>
                <c:pt idx="0">
                  <c:v>0.0038962070223437922</c:v>
                </c:pt>
                <c:pt idx="1">
                  <c:v>0.0030199544954686193</c:v>
                </c:pt>
                <c:pt idx="2">
                  <c:v>0.0033806054508143044</c:v>
                </c:pt>
                <c:pt idx="3">
                  <c:v>0.003657960049166414</c:v>
                </c:pt>
                <c:pt idx="4">
                  <c:v>0.0036984310275024416</c:v>
                </c:pt>
                <c:pt idx="5">
                  <c:v>1.6266729563278737e-05</c:v>
                </c:pt>
                <c:pt idx="6">
                  <c:v>0.0011131260571383365</c:v>
                </c:pt>
                <c:pt idx="7">
                  <c:v>0.0024958304277879033</c:v>
                </c:pt>
                <c:pt idx="8">
                  <c:v>0.0033258892043230345</c:v>
                </c:pt>
                <c:pt idx="9">
                  <c:v>0.0029491847283573524</c:v>
                </c:pt>
                <c:pt idx="10">
                  <c:v>0.0015899175935806167</c:v>
                </c:pt>
                <c:pt idx="11">
                  <c:v>0.004193262211846405</c:v>
                </c:pt>
                <c:pt idx="12">
                  <c:v>0.003391708405377789</c:v>
                </c:pt>
                <c:pt idx="13">
                  <c:v>0.005598309612305203</c:v>
                </c:pt>
                <c:pt idx="14">
                  <c:v>0.005681604483470955</c:v>
                </c:pt>
                <c:pt idx="15">
                  <c:v>0.005337081552397703</c:v>
                </c:pt>
                <c:pt idx="16">
                  <c:v>0.005580016524628556</c:v>
                </c:pt>
                <c:pt idx="17">
                  <c:v>0.00836287334209334</c:v>
                </c:pt>
                <c:pt idx="18">
                  <c:v>0.005969306599067369</c:v>
                </c:pt>
                <c:pt idx="19">
                  <c:v>0.004447217569065813</c:v>
                </c:pt>
                <c:pt idx="20">
                  <c:v>0.004716544239671774</c:v>
                </c:pt>
                <c:pt idx="21">
                  <c:v>0.006339525436570729</c:v>
                </c:pt>
                <c:pt idx="22">
                  <c:v>0.004981633117055667</c:v>
                </c:pt>
                <c:pt idx="23">
                  <c:v>0.00893023478726176</c:v>
                </c:pt>
                <c:pt idx="24">
                  <c:v>0.00562986583594383</c:v>
                </c:pt>
                <c:pt idx="25">
                  <c:v>0.004167298219624187</c:v>
                </c:pt>
                <c:pt idx="26">
                  <c:v>0.0042471614652942625</c:v>
                </c:pt>
                <c:pt idx="27">
                  <c:v>0.007025261511103322</c:v>
                </c:pt>
                <c:pt idx="28">
                  <c:v>0.005493452619983562</c:v>
                </c:pt>
                <c:pt idx="29">
                  <c:v>0.0066232478684646375</c:v>
                </c:pt>
                <c:pt idx="30">
                  <c:v>0.006458214849172987</c:v>
                </c:pt>
                <c:pt idx="31">
                  <c:v>0.0074135666939543375</c:v>
                </c:pt>
                <c:pt idx="32">
                  <c:v>0.005841136331365845</c:v>
                </c:pt>
                <c:pt idx="33">
                  <c:v>0.00331453917781813</c:v>
                </c:pt>
                <c:pt idx="34">
                  <c:v>0.0022351028795967905</c:v>
                </c:pt>
                <c:pt idx="35">
                  <c:v>0.00612766230810709</c:v>
                </c:pt>
                <c:pt idx="36">
                  <c:v>0.003670695716250014</c:v>
                </c:pt>
                <c:pt idx="37">
                  <c:v>0.0036522996819311065</c:v>
                </c:pt>
                <c:pt idx="38">
                  <c:v>0.005619075754268367</c:v>
                </c:pt>
                <c:pt idx="39">
                  <c:v>0.007967055813751945</c:v>
                </c:pt>
                <c:pt idx="40">
                  <c:v>0.008222910483455756</c:v>
                </c:pt>
                <c:pt idx="41">
                  <c:v>0.007998027682532553</c:v>
                </c:pt>
                <c:pt idx="42">
                  <c:v>0.008297179375098242</c:v>
                </c:pt>
                <c:pt idx="43">
                  <c:v>0.008190350052467588</c:v>
                </c:pt>
                <c:pt idx="44">
                  <c:v>0.005918010303710282</c:v>
                </c:pt>
                <c:pt idx="45">
                  <c:v>0.0053551645015674715</c:v>
                </c:pt>
                <c:pt idx="46">
                  <c:v>0.005253134402816153</c:v>
                </c:pt>
                <c:pt idx="47">
                  <c:v>0.005011832143105418</c:v>
                </c:pt>
                <c:pt idx="48">
                  <c:v>0.0064127555223014296</c:v>
                </c:pt>
                <c:pt idx="49">
                  <c:v>0.006591187524670619</c:v>
                </c:pt>
                <c:pt idx="50">
                  <c:v>0.005464213650970797</c:v>
                </c:pt>
                <c:pt idx="51">
                  <c:v>0.003060326984645867</c:v>
                </c:pt>
                <c:pt idx="52">
                  <c:v>0.005995150429218426</c:v>
                </c:pt>
                <c:pt idx="53">
                  <c:v>0.005995150429218426</c:v>
                </c:pt>
                <c:pt idx="54">
                  <c:v>0.0051443146381125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45270988310308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40672168472877074</c:v>
                </c:pt>
                <c:pt idx="1">
                  <c:v>0.0</c:v>
                </c:pt>
                <c:pt idx="2">
                  <c:v>0.0</c:v>
                </c:pt>
                <c:pt idx="3">
                  <c:v>0.0</c:v>
                </c:pt>
                <c:pt idx="4">
                  <c:v>0.40606806073889634</c:v>
                </c:pt>
                <c:pt idx="5">
                  <c:v>0.6997003587877583</c:v>
                </c:pt>
                <c:pt idx="6">
                  <c:v>0.5909748259148527</c:v>
                </c:pt>
                <c:pt idx="7">
                  <c:v>1.3870125282380177</c:v>
                </c:pt>
                <c:pt idx="8">
                  <c:v>0.6588894578688713</c:v>
                </c:pt>
                <c:pt idx="9">
                  <c:v>0.5017376705043262</c:v>
                </c:pt>
                <c:pt idx="10">
                  <c:v>0.9982044131515453</c:v>
                </c:pt>
                <c:pt idx="11">
                  <c:v>0.7391260968039143</c:v>
                </c:pt>
                <c:pt idx="12">
                  <c:v>0.9157559097595854</c:v>
                </c:pt>
                <c:pt idx="13">
                  <c:v>0.7997775791562862</c:v>
                </c:pt>
                <c:pt idx="14">
                  <c:v>0.6390870216751644</c:v>
                </c:pt>
                <c:pt idx="15">
                  <c:v>0.7413591679792334</c:v>
                </c:pt>
                <c:pt idx="16">
                  <c:v>0.4308996416507629</c:v>
                </c:pt>
                <c:pt idx="17">
                  <c:v>0.2502436936909702</c:v>
                </c:pt>
                <c:pt idx="18">
                  <c:v>0.3201467304756967</c:v>
                </c:pt>
                <c:pt idx="19">
                  <c:v>0.3528339146553134</c:v>
                </c:pt>
                <c:pt idx="20">
                  <c:v>0.4209270620313565</c:v>
                </c:pt>
                <c:pt idx="21">
                  <c:v>0.4065843107193844</c:v>
                </c:pt>
                <c:pt idx="22">
                  <c:v>0.2945412186447607</c:v>
                </c:pt>
                <c:pt idx="23">
                  <c:v>1.1726133207673797</c:v>
                </c:pt>
                <c:pt idx="24">
                  <c:v>1.2167699727456693</c:v>
                </c:pt>
                <c:pt idx="25">
                  <c:v>1.174179492178767</c:v>
                </c:pt>
                <c:pt idx="26">
                  <c:v>1.345818656955845</c:v>
                </c:pt>
                <c:pt idx="27">
                  <c:v>1.3527949569037032</c:v>
                </c:pt>
                <c:pt idx="28">
                  <c:v>1.775645191464187</c:v>
                </c:pt>
                <c:pt idx="29">
                  <c:v>1.1934068712291523</c:v>
                </c:pt>
                <c:pt idx="30">
                  <c:v>0.8897965474722564</c:v>
                </c:pt>
                <c:pt idx="31">
                  <c:v>1.3006564589923444</c:v>
                </c:pt>
                <c:pt idx="32">
                  <c:v>0.9254347836611541</c:v>
                </c:pt>
                <c:pt idx="33">
                  <c:v>0.6371886592474828</c:v>
                </c:pt>
                <c:pt idx="34">
                  <c:v>1.143161818960683</c:v>
                </c:pt>
                <c:pt idx="35">
                  <c:v>1.0356082692378719</c:v>
                </c:pt>
                <c:pt idx="36">
                  <c:v>1.172617792380186</c:v>
                </c:pt>
                <c:pt idx="37">
                  <c:v>0.9196903822119629</c:v>
                </c:pt>
                <c:pt idx="38">
                  <c:v>1.1324684467289432</c:v>
                </c:pt>
                <c:pt idx="39">
                  <c:v>1.1007343746760914</c:v>
                </c:pt>
                <c:pt idx="40">
                  <c:v>0.9887832509971062</c:v>
                </c:pt>
                <c:pt idx="41">
                  <c:v>1.1347560781646306</c:v>
                </c:pt>
                <c:pt idx="42">
                  <c:v>1.2905593163062066</c:v>
                </c:pt>
                <c:pt idx="43">
                  <c:v>1.6241709729304268</c:v>
                </c:pt>
                <c:pt idx="44">
                  <c:v>1.2878354087641293</c:v>
                </c:pt>
                <c:pt idx="45">
                  <c:v>1.3777508174482969</c:v>
                </c:pt>
                <c:pt idx="46">
                  <c:v>1.5875073358679288</c:v>
                </c:pt>
                <c:pt idx="47">
                  <c:v>1.6022304070129514</c:v>
                </c:pt>
                <c:pt idx="48">
                  <c:v>1.4989930072067663</c:v>
                </c:pt>
                <c:pt idx="49">
                  <c:v>1.467505194585111</c:v>
                </c:pt>
                <c:pt idx="50">
                  <c:v>1.611021432338698</c:v>
                </c:pt>
                <c:pt idx="51">
                  <c:v>1.6069537894714445</c:v>
                </c:pt>
                <c:pt idx="52">
                  <c:v>1.3763896136786735</c:v>
                </c:pt>
              </c:numCache>
            </c:numRef>
          </c:xVal>
          <c:yVal>
            <c:numRef>
              <c:f>Sheet1!$B$2:$B$54</c:f>
              <c:numCache>
                <c:formatCode>General</c:formatCode>
                <c:ptCount val="53"/>
                <c:pt idx="0">
                  <c:v>0.0002290950744558992</c:v>
                </c:pt>
                <c:pt idx="1">
                  <c:v>0.0</c:v>
                </c:pt>
                <c:pt idx="2">
                  <c:v>0.0</c:v>
                </c:pt>
                <c:pt idx="3">
                  <c:v>0.0</c:v>
                </c:pt>
                <c:pt idx="4">
                  <c:v>0.0002942907592701589</c:v>
                </c:pt>
                <c:pt idx="5">
                  <c:v>0.0002822466836014677</c:v>
                </c:pt>
                <c:pt idx="6">
                  <c:v>0.00029171528588098014</c:v>
                </c:pt>
                <c:pt idx="7">
                  <c:v>0.00018726591760299626</c:v>
                </c:pt>
                <c:pt idx="8">
                  <c:v>0.00044365572315882877</c:v>
                </c:pt>
                <c:pt idx="9">
                  <c:v>0.0004934616333580064</c:v>
                </c:pt>
                <c:pt idx="10">
                  <c:v>0.00025188916876574307</c:v>
                </c:pt>
                <c:pt idx="11">
                  <c:v>0.0004405286343612335</c:v>
                </c:pt>
                <c:pt idx="12">
                  <c:v>0.00020576131687242798</c:v>
                </c:pt>
                <c:pt idx="13">
                  <c:v>0.0004411116012351125</c:v>
                </c:pt>
                <c:pt idx="14">
                  <c:v>0.0002115506663845991</c:v>
                </c:pt>
                <c:pt idx="15">
                  <c:v>0.0002101723413198823</c:v>
                </c:pt>
                <c:pt idx="16">
                  <c:v>0.00048204386599180526</c:v>
                </c:pt>
                <c:pt idx="17">
                  <c:v>0.00034083162917518747</c:v>
                </c:pt>
                <c:pt idx="18">
                  <c:v>0.0006082725060827251</c:v>
                </c:pt>
                <c:pt idx="19">
                  <c:v>0.0006743088334457181</c:v>
                </c:pt>
                <c:pt idx="20">
                  <c:v>0.00031308703819661864</c:v>
                </c:pt>
                <c:pt idx="21">
                  <c:v>0.00033967391304347825</c:v>
                </c:pt>
                <c:pt idx="22">
                  <c:v>0.0010725777618877368</c:v>
                </c:pt>
                <c:pt idx="23">
                  <c:v>0.0007415647015202076</c:v>
                </c:pt>
                <c:pt idx="24">
                  <c:v>0.0010861694424330196</c:v>
                </c:pt>
                <c:pt idx="25">
                  <c:v>0.001203852327447833</c:v>
                </c:pt>
                <c:pt idx="26">
                  <c:v>0.0008756567425569177</c:v>
                </c:pt>
                <c:pt idx="27">
                  <c:v>0.0011691348402182386</c:v>
                </c:pt>
                <c:pt idx="28">
                  <c:v>0.0007722007722007722</c:v>
                </c:pt>
                <c:pt idx="29">
                  <c:v>0.001423994304022784</c:v>
                </c:pt>
                <c:pt idx="30">
                  <c:v>0.002041649652919559</c:v>
                </c:pt>
                <c:pt idx="31">
                  <c:v>0.001713796058269066</c:v>
                </c:pt>
                <c:pt idx="32">
                  <c:v>0.0013192612137203166</c:v>
                </c:pt>
                <c:pt idx="33">
                  <c:v>0.0016481252575195715</c:v>
                </c:pt>
                <c:pt idx="34">
                  <c:v>0.00145602795573675</c:v>
                </c:pt>
                <c:pt idx="35">
                  <c:v>0.0011166945840312675</c:v>
                </c:pt>
                <c:pt idx="36">
                  <c:v>0.001729106628242075</c:v>
                </c:pt>
                <c:pt idx="37">
                  <c:v>0.002995008319467554</c:v>
                </c:pt>
                <c:pt idx="38">
                  <c:v>0.0022564874012786762</c:v>
                </c:pt>
                <c:pt idx="39">
                  <c:v>0.0022796352583586625</c:v>
                </c:pt>
                <c:pt idx="40">
                  <c:v>0.0024929884699283265</c:v>
                </c:pt>
                <c:pt idx="41">
                  <c:v>0.0022068095838587644</c:v>
                </c:pt>
                <c:pt idx="42">
                  <c:v>0.0020426028596440037</c:v>
                </c:pt>
                <c:pt idx="43">
                  <c:v>0.0017898235745333673</c:v>
                </c:pt>
                <c:pt idx="44">
                  <c:v>0.0025514853289593585</c:v>
                </c:pt>
                <c:pt idx="45">
                  <c:v>0.0023450586264656616</c:v>
                </c:pt>
                <c:pt idx="46">
                  <c:v>0.0022900763358778627</c:v>
                </c:pt>
                <c:pt idx="47">
                  <c:v>0.0026488219712811935</c:v>
                </c:pt>
                <c:pt idx="48">
                  <c:v>0.0023752969121140144</c:v>
                </c:pt>
                <c:pt idx="49">
                  <c:v>0.003074697051908121</c:v>
                </c:pt>
                <c:pt idx="50">
                  <c:v>0.0030194894317869887</c:v>
                </c:pt>
                <c:pt idx="51">
                  <c:v>0.0027861620617599257</c:v>
                </c:pt>
                <c:pt idx="52">
                  <c:v>0.0030236393622869707</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1.3501197300200847</c:v>
                </c:pt>
                <c:pt idx="1">
                  <c:v>1.4657362501213913</c:v>
                </c:pt>
                <c:pt idx="2">
                  <c:v>1.394375465095598</c:v>
                </c:pt>
                <c:pt idx="3">
                  <c:v>1.225402677746999</c:v>
                </c:pt>
                <c:pt idx="4">
                  <c:v>1.1895912368874557</c:v>
                </c:pt>
                <c:pt idx="5">
                  <c:v>1.712444987291476</c:v>
                </c:pt>
                <c:pt idx="6">
                  <c:v>1.7018463155819836</c:v>
                </c:pt>
                <c:pt idx="7">
                  <c:v>1.521180642198325</c:v>
                </c:pt>
                <c:pt idx="8">
                  <c:v>1.4810297568027853</c:v>
                </c:pt>
                <c:pt idx="9">
                  <c:v>1.6383914653976015</c:v>
                </c:pt>
                <c:pt idx="10">
                  <c:v>2.115780097968544</c:v>
                </c:pt>
                <c:pt idx="11">
                  <c:v>1.611777453571329</c:v>
                </c:pt>
                <c:pt idx="12">
                  <c:v>1.851260631936081</c:v>
                </c:pt>
                <c:pt idx="13">
                  <c:v>1.366289758020783</c:v>
                </c:pt>
                <c:pt idx="14">
                  <c:v>1.454556865646189</c:v>
                </c:pt>
                <c:pt idx="15">
                  <c:v>1.4161677464071551</c:v>
                </c:pt>
                <c:pt idx="16">
                  <c:v>1.2623976852594991</c:v>
                </c:pt>
                <c:pt idx="17">
                  <c:v>0.6698301160247307</c:v>
                </c:pt>
                <c:pt idx="18">
                  <c:v>1.1134752712251728</c:v>
                </c:pt>
                <c:pt idx="19">
                  <c:v>1.3279181106250886</c:v>
                </c:pt>
                <c:pt idx="20">
                  <c:v>1.2916049535460419</c:v>
                </c:pt>
                <c:pt idx="21">
                  <c:v>0.9130683972548957</c:v>
                </c:pt>
                <c:pt idx="22">
                  <c:v>1.0726421049157928</c:v>
                </c:pt>
                <c:pt idx="23">
                  <c:v>0.4633154763866129</c:v>
                </c:pt>
                <c:pt idx="24">
                  <c:v>0.9495778806360992</c:v>
                </c:pt>
                <c:pt idx="25">
                  <c:v>1.2594775782441452</c:v>
                </c:pt>
                <c:pt idx="26">
                  <c:v>1.0905723462064791</c:v>
                </c:pt>
                <c:pt idx="27">
                  <c:v>0.7753681670394466</c:v>
                </c:pt>
                <c:pt idx="28">
                  <c:v>1.074849807793775</c:v>
                </c:pt>
                <c:pt idx="29">
                  <c:v>0.8375605836486932</c:v>
                </c:pt>
                <c:pt idx="30">
                  <c:v>0.9176331128750272</c:v>
                </c:pt>
                <c:pt idx="31">
                  <c:v>0.6718009836356934</c:v>
                </c:pt>
                <c:pt idx="32">
                  <c:v>0.7910026078601625</c:v>
                </c:pt>
                <c:pt idx="33">
                  <c:v>1.084616827666628</c:v>
                </c:pt>
                <c:pt idx="34">
                  <c:v>1.1949921156210481</c:v>
                </c:pt>
                <c:pt idx="35">
                  <c:v>0.898919333273933</c:v>
                </c:pt>
                <c:pt idx="36">
                  <c:v>1.0156552623125612</c:v>
                </c:pt>
                <c:pt idx="37">
                  <c:v>1.2259828226389666</c:v>
                </c:pt>
                <c:pt idx="38">
                  <c:v>0.8492176638198005</c:v>
                </c:pt>
                <c:pt idx="39">
                  <c:v>0.5629576530495662</c:v>
                </c:pt>
                <c:pt idx="40">
                  <c:v>0.5235523736061273</c:v>
                </c:pt>
                <c:pt idx="41">
                  <c:v>0.5562010798511927</c:v>
                </c:pt>
                <c:pt idx="42">
                  <c:v>0.5248025766411845</c:v>
                </c:pt>
                <c:pt idx="43">
                  <c:v>0.6152599331975438</c:v>
                </c:pt>
                <c:pt idx="44">
                  <c:v>1.0969540113896417</c:v>
                </c:pt>
                <c:pt idx="45">
                  <c:v>1.2935773553973227</c:v>
                </c:pt>
                <c:pt idx="46">
                  <c:v>1.0446630561769261</c:v>
                </c:pt>
                <c:pt idx="47">
                  <c:v>1.255369157755617</c:v>
                </c:pt>
                <c:pt idx="48">
                  <c:v>1.0813605873542909</c:v>
                </c:pt>
                <c:pt idx="49">
                  <c:v>1.0275963392260288</c:v>
                </c:pt>
                <c:pt idx="50">
                  <c:v>1.3129433746286345</c:v>
                </c:pt>
                <c:pt idx="51">
                  <c:v>1.581545447243437</c:v>
                </c:pt>
              </c:numCache>
            </c:numRef>
          </c:xVal>
          <c:yVal>
            <c:numRef>
              <c:f>Sheet1!$B$57:$B$108</c:f>
              <c:numCache>
                <c:formatCode>General</c:formatCode>
                <c:ptCount val="52"/>
                <c:pt idx="0">
                  <c:v>0.0026750972762645915</c:v>
                </c:pt>
                <c:pt idx="1">
                  <c:v>0.0027918781725888324</c:v>
                </c:pt>
                <c:pt idx="2">
                  <c:v>0.003098188751191611</c:v>
                </c:pt>
                <c:pt idx="3">
                  <c:v>0.003218020917135961</c:v>
                </c:pt>
                <c:pt idx="4">
                  <c:v>0.003875968992248062</c:v>
                </c:pt>
                <c:pt idx="5">
                  <c:v>0.002257336343115124</c:v>
                </c:pt>
                <c:pt idx="6">
                  <c:v>0.0027835768963117608</c:v>
                </c:pt>
                <c:pt idx="7">
                  <c:v>0.003444316877152698</c:v>
                </c:pt>
                <c:pt idx="8">
                  <c:v>0.00371900826446281</c:v>
                </c:pt>
                <c:pt idx="9">
                  <c:v>0.00333889816360601</c:v>
                </c:pt>
                <c:pt idx="10">
                  <c:v>0.0027331738981892723</c:v>
                </c:pt>
                <c:pt idx="11">
                  <c:v>0.003404669260700389</c:v>
                </c:pt>
                <c:pt idx="12">
                  <c:v>0.0031553398058252425</c:v>
                </c:pt>
                <c:pt idx="13">
                  <c:v>0.006512112529304506</c:v>
                </c:pt>
                <c:pt idx="14">
                  <c:v>0.006918420294032862</c:v>
                </c:pt>
                <c:pt idx="15">
                  <c:v>0.007135016465422613</c:v>
                </c:pt>
                <c:pt idx="16">
                  <c:v>0.007607192254495159</c:v>
                </c:pt>
                <c:pt idx="17">
                  <c:v>0.012043924902585901</c:v>
                </c:pt>
                <c:pt idx="18">
                  <c:v>0.005029337803855826</c:v>
                </c:pt>
                <c:pt idx="19">
                  <c:v>0.0042796005706134095</c:v>
                </c:pt>
                <c:pt idx="20">
                  <c:v>0.005343197698314837</c:v>
                </c:pt>
                <c:pt idx="21">
                  <c:v>0.00776914539400666</c:v>
                </c:pt>
                <c:pt idx="22">
                  <c:v>0.006387921022067364</c:v>
                </c:pt>
                <c:pt idx="23">
                  <c:v>0.010834926704907584</c:v>
                </c:pt>
                <c:pt idx="24">
                  <c:v>0.005548705302096177</c:v>
                </c:pt>
                <c:pt idx="25">
                  <c:v>0.005131494547787043</c:v>
                </c:pt>
                <c:pt idx="26">
                  <c:v>0.004171011470281543</c:v>
                </c:pt>
                <c:pt idx="27">
                  <c:v>0.007168458781362007</c:v>
                </c:pt>
                <c:pt idx="28">
                  <c:v>0.004411116012351125</c:v>
                </c:pt>
                <c:pt idx="29">
                  <c:v>0.005876591576885406</c:v>
                </c:pt>
                <c:pt idx="30">
                  <c:v>0.005615348619560131</c:v>
                </c:pt>
                <c:pt idx="31">
                  <c:v>0.007220216606498195</c:v>
                </c:pt>
                <c:pt idx="32">
                  <c:v>0.004972650422675286</c:v>
                </c:pt>
                <c:pt idx="33">
                  <c:v>0.002962962962962963</c:v>
                </c:pt>
                <c:pt idx="34">
                  <c:v>0.0027413950654888823</c:v>
                </c:pt>
                <c:pt idx="35">
                  <c:v>0.004891470498318557</c:v>
                </c:pt>
                <c:pt idx="36">
                  <c:v>0.004187994416007445</c:v>
                </c:pt>
                <c:pt idx="37">
                  <c:v>0.004163197335553705</c:v>
                </c:pt>
                <c:pt idx="38">
                  <c:v>0.0076384468491406746</c:v>
                </c:pt>
                <c:pt idx="39">
                  <c:v>0.011354737666405637</c:v>
                </c:pt>
                <c:pt idx="40">
                  <c:v>0.01021180030257186</c:v>
                </c:pt>
                <c:pt idx="41">
                  <c:v>0.0064808813998703824</c:v>
                </c:pt>
                <c:pt idx="42">
                  <c:v>0.011075949367088608</c:v>
                </c:pt>
                <c:pt idx="43">
                  <c:v>0.007536041939711665</c:v>
                </c:pt>
                <c:pt idx="44">
                  <c:v>0.003206841261357563</c:v>
                </c:pt>
                <c:pt idx="45">
                  <c:v>0.0024600246002460025</c:v>
                </c:pt>
                <c:pt idx="46">
                  <c:v>0.0026234199856904365</c:v>
                </c:pt>
                <c:pt idx="47">
                  <c:v>0.0021061499578770007</c:v>
                </c:pt>
                <c:pt idx="48">
                  <c:v>0.0027816411682892906</c:v>
                </c:pt>
                <c:pt idx="49">
                  <c:v>0.003115264797507788</c:v>
                </c:pt>
                <c:pt idx="50">
                  <c:v>0.002054178970342791</c:v>
                </c:pt>
                <c:pt idx="51">
                  <c:v>0.001869158878504673</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9655966707502983</c:v>
                </c:pt>
              </c:numCache>
            </c:numRef>
          </c:xVal>
          <c:yVal>
            <c:numRef>
              <c:f>Sheet1!$B$111:$B$112</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9655966707502983</c:v>
                </c:pt>
                <c:pt idx="1">
                  <c:v>0.9655966707502983</c:v>
                </c:pt>
              </c:numCache>
            </c:numRef>
          </c:xVal>
          <c:yVal>
            <c:numRef>
              <c:f>Sheet1!$B$115:$B$116</c:f>
              <c:numCache>
                <c:formatCode>General</c:formatCode>
                <c:ptCount val="2"/>
                <c:pt idx="0">
                  <c:v>0.0059951504292184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9655966707502983</c:v>
                </c:pt>
              </c:numCache>
            </c:numRef>
          </c:xVal>
          <c:yVal>
            <c:numRef>
              <c:f>Sheet1!$B$119:$B$120</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9655966707502983</c:v>
                </c:pt>
                <c:pt idx="1">
                  <c:v>0.9655966707502983</c:v>
                </c:pt>
              </c:numCache>
            </c:numRef>
          </c:xVal>
          <c:yVal>
            <c:numRef>
              <c:f>Sheet1!$B$123:$B$124</c:f>
              <c:numCache>
                <c:formatCode>General</c:formatCode>
                <c:ptCount val="2"/>
                <c:pt idx="0">
                  <c:v>0.0059951504292184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1.1348795447337277</c:v>
                </c:pt>
              </c:numCache>
            </c:numRef>
          </c:xVal>
          <c:yVal>
            <c:numRef>
              <c:f>Sheet1!$B$127:$B$128</c:f>
              <c:numCache>
                <c:formatCode>General</c:formatCode>
                <c:ptCount val="2"/>
                <c:pt idx="0">
                  <c:v>0.005144314638112592</c:v>
                </c:pt>
                <c:pt idx="1">
                  <c:v>0.00514431463811259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1.1348795447337277</c:v>
                </c:pt>
                <c:pt idx="1">
                  <c:v>1.1348795447337277</c:v>
                </c:pt>
              </c:numCache>
            </c:numRef>
          </c:xVal>
          <c:yVal>
            <c:numRef>
              <c:f>Sheet1!$B$131:$B$132</c:f>
              <c:numCache>
                <c:formatCode>General</c:formatCode>
                <c:ptCount val="2"/>
                <c:pt idx="0">
                  <c:v>0.0051443146381125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1.3501197300200847</c:v>
                </c:pt>
                <c:pt idx="1">
                  <c:v>1.4657362501213913</c:v>
                </c:pt>
                <c:pt idx="2">
                  <c:v>1.394375465095598</c:v>
                </c:pt>
                <c:pt idx="3">
                  <c:v>1.225402677746999</c:v>
                </c:pt>
                <c:pt idx="4">
                  <c:v>1.1895912368874557</c:v>
                </c:pt>
                <c:pt idx="5">
                  <c:v>1.712444987291476</c:v>
                </c:pt>
                <c:pt idx="6">
                  <c:v>1.7018463155819836</c:v>
                </c:pt>
                <c:pt idx="7">
                  <c:v>1.521180642198325</c:v>
                </c:pt>
                <c:pt idx="8">
                  <c:v>1.4810297568027853</c:v>
                </c:pt>
                <c:pt idx="9">
                  <c:v>1.6383914653976015</c:v>
                </c:pt>
                <c:pt idx="10">
                  <c:v>2.115780097968544</c:v>
                </c:pt>
                <c:pt idx="11">
                  <c:v>1.611777453571329</c:v>
                </c:pt>
                <c:pt idx="12">
                  <c:v>1.851260631936081</c:v>
                </c:pt>
                <c:pt idx="13">
                  <c:v>1.366289758020783</c:v>
                </c:pt>
                <c:pt idx="14">
                  <c:v>1.454556865646189</c:v>
                </c:pt>
                <c:pt idx="15">
                  <c:v>1.4161677464071551</c:v>
                </c:pt>
                <c:pt idx="16">
                  <c:v>1.2623976852594991</c:v>
                </c:pt>
                <c:pt idx="17">
                  <c:v>0.6698301160247307</c:v>
                </c:pt>
                <c:pt idx="18">
                  <c:v>1.1134752712251728</c:v>
                </c:pt>
                <c:pt idx="19">
                  <c:v>1.3279181106250886</c:v>
                </c:pt>
                <c:pt idx="20">
                  <c:v>1.2916049535460419</c:v>
                </c:pt>
                <c:pt idx="21">
                  <c:v>0.9130683972548957</c:v>
                </c:pt>
                <c:pt idx="22">
                  <c:v>1.0726421049157928</c:v>
                </c:pt>
                <c:pt idx="23">
                  <c:v>0.4633154763866129</c:v>
                </c:pt>
                <c:pt idx="24">
                  <c:v>0.9495778806360992</c:v>
                </c:pt>
                <c:pt idx="25">
                  <c:v>1.2594775782441452</c:v>
                </c:pt>
                <c:pt idx="26">
                  <c:v>1.0905723462064791</c:v>
                </c:pt>
                <c:pt idx="27">
                  <c:v>0.7753681670394466</c:v>
                </c:pt>
                <c:pt idx="28">
                  <c:v>1.074849807793775</c:v>
                </c:pt>
                <c:pt idx="29">
                  <c:v>0.8375605836486932</c:v>
                </c:pt>
                <c:pt idx="30">
                  <c:v>0.9176331128750272</c:v>
                </c:pt>
                <c:pt idx="31">
                  <c:v>0.6718009836356934</c:v>
                </c:pt>
                <c:pt idx="32">
                  <c:v>0.7910026078601625</c:v>
                </c:pt>
                <c:pt idx="33">
                  <c:v>1.084616827666628</c:v>
                </c:pt>
                <c:pt idx="34">
                  <c:v>1.1949921156210481</c:v>
                </c:pt>
                <c:pt idx="35">
                  <c:v>0.898919333273933</c:v>
                </c:pt>
                <c:pt idx="36">
                  <c:v>1.0156552623125612</c:v>
                </c:pt>
                <c:pt idx="37">
                  <c:v>1.2259828226389666</c:v>
                </c:pt>
                <c:pt idx="38">
                  <c:v>0.8492176638198005</c:v>
                </c:pt>
                <c:pt idx="39">
                  <c:v>0.5629576530495662</c:v>
                </c:pt>
                <c:pt idx="40">
                  <c:v>0.5235523736061273</c:v>
                </c:pt>
                <c:pt idx="41">
                  <c:v>0.5562010798511927</c:v>
                </c:pt>
                <c:pt idx="42">
                  <c:v>0.5248025766411845</c:v>
                </c:pt>
                <c:pt idx="43">
                  <c:v>0.6152599331975438</c:v>
                </c:pt>
                <c:pt idx="44">
                  <c:v>1.0969540113896417</c:v>
                </c:pt>
                <c:pt idx="45">
                  <c:v>1.2935773553973227</c:v>
                </c:pt>
                <c:pt idx="46">
                  <c:v>1.0446630561769261</c:v>
                </c:pt>
                <c:pt idx="47">
                  <c:v>1.255369157755617</c:v>
                </c:pt>
                <c:pt idx="48">
                  <c:v>1.0813605873542909</c:v>
                </c:pt>
                <c:pt idx="49">
                  <c:v>1.0275963392260288</c:v>
                </c:pt>
                <c:pt idx="50">
                  <c:v>1.3129433746286345</c:v>
                </c:pt>
                <c:pt idx="51">
                  <c:v>1.581545447243437</c:v>
                </c:pt>
                <c:pt idx="52">
                  <c:v>0.9655966707502983</c:v>
                </c:pt>
                <c:pt idx="53">
                  <c:v>0.9655966707502983</c:v>
                </c:pt>
                <c:pt idx="54">
                  <c:v>1.1348795447337277</c:v>
                </c:pt>
              </c:numCache>
            </c:numRef>
          </c:xVal>
          <c:yVal>
            <c:numRef>
              <c:f>Sheet1!$B$135:$B$189</c:f>
              <c:numCache>
                <c:formatCode>General</c:formatCode>
                <c:ptCount val="55"/>
                <c:pt idx="0">
                  <c:v>0.004062491952707273</c:v>
                </c:pt>
                <c:pt idx="1">
                  <c:v>0.003481389617718986</c:v>
                </c:pt>
                <c:pt idx="2">
                  <c:v>0.003840057382228334</c:v>
                </c:pt>
                <c:pt idx="3">
                  <c:v>0.004689334641150438</c:v>
                </c:pt>
                <c:pt idx="4">
                  <c:v>0.004869327187929576</c:v>
                </c:pt>
                <c:pt idx="5">
                  <c:v>0.002241402260324654</c:v>
                </c:pt>
                <c:pt idx="6">
                  <c:v>0.0022946724406826494</c:v>
                </c:pt>
                <c:pt idx="7">
                  <c:v>0.0032027195308691045</c:v>
                </c:pt>
                <c:pt idx="8">
                  <c:v>0.0034045226402755393</c:v>
                </c:pt>
                <c:pt idx="9">
                  <c:v>0.002613604039524809</c:v>
                </c:pt>
                <c:pt idx="10">
                  <c:v>0.0002141921834962427</c:v>
                </c:pt>
                <c:pt idx="11">
                  <c:v>0.0027473692177372444</c:v>
                </c:pt>
                <c:pt idx="12">
                  <c:v>0.0015436983754023078</c:v>
                </c:pt>
                <c:pt idx="13">
                  <c:v>0.003981219475211857</c:v>
                </c:pt>
                <c:pt idx="14">
                  <c:v>0.0035375785292740096</c:v>
                </c:pt>
                <c:pt idx="15">
                  <c:v>0.003730526793141486</c:v>
                </c:pt>
                <c:pt idx="16">
                  <c:v>0.004503393348075833</c:v>
                </c:pt>
                <c:pt idx="17">
                  <c:v>0.007481708192865612</c:v>
                </c:pt>
                <c:pt idx="18">
                  <c:v>0.0052518950539878545</c:v>
                </c:pt>
                <c:pt idx="19">
                  <c:v>0.004174079923523631</c:v>
                </c:pt>
                <c:pt idx="20">
                  <c:v>0.0043565941554944655</c:v>
                </c:pt>
                <c:pt idx="21">
                  <c:v>0.006259163758406464</c:v>
                </c:pt>
                <c:pt idx="22">
                  <c:v>0.005457127388143513</c:v>
                </c:pt>
                <c:pt idx="23">
                  <c:v>0.008519675251533541</c:v>
                </c:pt>
                <c:pt idx="24">
                  <c:v>0.00607566276716885</c:v>
                </c:pt>
                <c:pt idx="25">
                  <c:v>0.004518070152078851</c:v>
                </c:pt>
                <c:pt idx="26">
                  <c:v>0.005367007870000331</c:v>
                </c:pt>
                <c:pt idx="27">
                  <c:v>0.0069512614381888015</c:v>
                </c:pt>
                <c:pt idx="28">
                  <c:v>0.005446031211781937</c:v>
                </c:pt>
                <c:pt idx="29">
                  <c:v>0.0066386749801417115</c:v>
                </c:pt>
                <c:pt idx="30">
                  <c:v>0.006236220956607105</c:v>
                </c:pt>
                <c:pt idx="31">
                  <c:v>0.007471802378630071</c:v>
                </c:pt>
                <c:pt idx="32">
                  <c:v>0.006872680885347447</c:v>
                </c:pt>
                <c:pt idx="33">
                  <c:v>0.005396941012137295</c:v>
                </c:pt>
                <c:pt idx="34">
                  <c:v>0.004842181731204801</c:v>
                </c:pt>
                <c:pt idx="35">
                  <c:v>0.006330278631177516</c:v>
                </c:pt>
                <c:pt idx="36">
                  <c:v>0.0057435500141776764</c:v>
                </c:pt>
                <c:pt idx="37">
                  <c:v>0.0046864187641541535</c:v>
                </c:pt>
                <c:pt idx="38">
                  <c:v>0.006580085113393945</c:v>
                </c:pt>
                <c:pt idx="39">
                  <c:v>0.008018861860234254</c:v>
                </c:pt>
                <c:pt idx="40">
                  <c:v>0.00821691746574274</c:v>
                </c:pt>
                <c:pt idx="41">
                  <c:v>0.008052821198040426</c:v>
                </c:pt>
                <c:pt idx="42">
                  <c:v>0.00821063379709189</c:v>
                </c:pt>
                <c:pt idx="43">
                  <c:v>0.00775598440039919</c:v>
                </c:pt>
                <c:pt idx="44">
                  <c:v>0.005334932864319484</c:v>
                </c:pt>
                <c:pt idx="45">
                  <c:v>0.00434668062998522</c:v>
                </c:pt>
                <c:pt idx="46">
                  <c:v>0.005597753403687487</c:v>
                </c:pt>
                <c:pt idx="47">
                  <c:v>0.004538719560458428</c:v>
                </c:pt>
                <c:pt idx="48">
                  <c:v>0.005413307261935543</c:v>
                </c:pt>
                <c:pt idx="49">
                  <c:v>0.00568353274613838</c:v>
                </c:pt>
                <c:pt idx="50">
                  <c:v>0.004249344721718108</c:v>
                </c:pt>
                <c:pt idx="51">
                  <c:v>0.0028993188651849026</c:v>
                </c:pt>
                <c:pt idx="52">
                  <c:v>0.005995150429218426</c:v>
                </c:pt>
                <c:pt idx="53">
                  <c:v>0.005995150429218426</c:v>
                </c:pt>
                <c:pt idx="54">
                  <c:v>0.0051443146381125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45270988310308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2290950744558992</c:v>
                </c:pt>
                <c:pt idx="1">
                  <c:v>0.0</c:v>
                </c:pt>
                <c:pt idx="2">
                  <c:v>0.0</c:v>
                </c:pt>
                <c:pt idx="3">
                  <c:v>0.0</c:v>
                </c:pt>
                <c:pt idx="4">
                  <c:v>0.0002942907592701589</c:v>
                </c:pt>
                <c:pt idx="5">
                  <c:v>0.0002822466836014677</c:v>
                </c:pt>
                <c:pt idx="6">
                  <c:v>0.00029171528588098014</c:v>
                </c:pt>
                <c:pt idx="7">
                  <c:v>0.00018726591760299626</c:v>
                </c:pt>
                <c:pt idx="8">
                  <c:v>0.00044365572315882877</c:v>
                </c:pt>
                <c:pt idx="9">
                  <c:v>0.0004934616333580064</c:v>
                </c:pt>
                <c:pt idx="10">
                  <c:v>0.00025188916876574307</c:v>
                </c:pt>
                <c:pt idx="11">
                  <c:v>0.0004405286343612335</c:v>
                </c:pt>
                <c:pt idx="12">
                  <c:v>0.00020576131687242798</c:v>
                </c:pt>
                <c:pt idx="13">
                  <c:v>0.0004411116012351125</c:v>
                </c:pt>
                <c:pt idx="14">
                  <c:v>0.0002115506663845991</c:v>
                </c:pt>
                <c:pt idx="15">
                  <c:v>0.0002101723413198823</c:v>
                </c:pt>
                <c:pt idx="16">
                  <c:v>0.00048204386599180526</c:v>
                </c:pt>
                <c:pt idx="17">
                  <c:v>0.00034083162917518747</c:v>
                </c:pt>
                <c:pt idx="18">
                  <c:v>0.0006082725060827251</c:v>
                </c:pt>
                <c:pt idx="19">
                  <c:v>0.0006743088334457181</c:v>
                </c:pt>
                <c:pt idx="20">
                  <c:v>0.00031308703819661864</c:v>
                </c:pt>
                <c:pt idx="21">
                  <c:v>0.00033967391304347825</c:v>
                </c:pt>
                <c:pt idx="22">
                  <c:v>0.0010725777618877368</c:v>
                </c:pt>
                <c:pt idx="23">
                  <c:v>0.0007415647015202076</c:v>
                </c:pt>
                <c:pt idx="24">
                  <c:v>0.0010861694424330196</c:v>
                </c:pt>
                <c:pt idx="25">
                  <c:v>0.001203852327447833</c:v>
                </c:pt>
                <c:pt idx="26">
                  <c:v>0.0008756567425569177</c:v>
                </c:pt>
                <c:pt idx="27">
                  <c:v>0.0011691348402182386</c:v>
                </c:pt>
                <c:pt idx="28">
                  <c:v>0.0007722007722007722</c:v>
                </c:pt>
                <c:pt idx="29">
                  <c:v>0.001423994304022784</c:v>
                </c:pt>
                <c:pt idx="30">
                  <c:v>0.002041649652919559</c:v>
                </c:pt>
                <c:pt idx="31">
                  <c:v>0.001713796058269066</c:v>
                </c:pt>
                <c:pt idx="32">
                  <c:v>0.0013192612137203166</c:v>
                </c:pt>
                <c:pt idx="33">
                  <c:v>0.0016481252575195715</c:v>
                </c:pt>
                <c:pt idx="34">
                  <c:v>0.00145602795573675</c:v>
                </c:pt>
                <c:pt idx="35">
                  <c:v>0.0011166945840312675</c:v>
                </c:pt>
                <c:pt idx="36">
                  <c:v>0.001729106628242075</c:v>
                </c:pt>
                <c:pt idx="37">
                  <c:v>0.002995008319467554</c:v>
                </c:pt>
                <c:pt idx="38">
                  <c:v>0.0022564874012786762</c:v>
                </c:pt>
                <c:pt idx="39">
                  <c:v>0.0022796352583586625</c:v>
                </c:pt>
                <c:pt idx="40">
                  <c:v>0.0024929884699283265</c:v>
                </c:pt>
                <c:pt idx="41">
                  <c:v>0.0022068095838587644</c:v>
                </c:pt>
                <c:pt idx="42">
                  <c:v>0.0020426028596440037</c:v>
                </c:pt>
                <c:pt idx="43">
                  <c:v>0.0017898235745333673</c:v>
                </c:pt>
                <c:pt idx="44">
                  <c:v>0.0025514853289593585</c:v>
                </c:pt>
                <c:pt idx="45">
                  <c:v>0.0023450586264656616</c:v>
                </c:pt>
                <c:pt idx="46">
                  <c:v>0.0022900763358778627</c:v>
                </c:pt>
                <c:pt idx="47">
                  <c:v>0.0026488219712811935</c:v>
                </c:pt>
                <c:pt idx="48">
                  <c:v>0.0023752969121140144</c:v>
                </c:pt>
                <c:pt idx="49">
                  <c:v>0.003074697051908121</c:v>
                </c:pt>
                <c:pt idx="50">
                  <c:v>0.0030194894317869887</c:v>
                </c:pt>
                <c:pt idx="51">
                  <c:v>0.0027861620617599257</c:v>
                </c:pt>
                <c:pt idx="52">
                  <c:v>0.0030236393622869707</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26750972762645915</c:v>
                </c:pt>
                <c:pt idx="1">
                  <c:v>0.0027918781725888324</c:v>
                </c:pt>
                <c:pt idx="2">
                  <c:v>0.003098188751191611</c:v>
                </c:pt>
                <c:pt idx="3">
                  <c:v>0.003218020917135961</c:v>
                </c:pt>
                <c:pt idx="4">
                  <c:v>0.003875968992248062</c:v>
                </c:pt>
                <c:pt idx="5">
                  <c:v>0.002257336343115124</c:v>
                </c:pt>
                <c:pt idx="6">
                  <c:v>0.0027835768963117608</c:v>
                </c:pt>
                <c:pt idx="7">
                  <c:v>0.003444316877152698</c:v>
                </c:pt>
                <c:pt idx="8">
                  <c:v>0.00371900826446281</c:v>
                </c:pt>
                <c:pt idx="9">
                  <c:v>0.00333889816360601</c:v>
                </c:pt>
                <c:pt idx="10">
                  <c:v>0.0027331738981892723</c:v>
                </c:pt>
                <c:pt idx="11">
                  <c:v>0.003404669260700389</c:v>
                </c:pt>
                <c:pt idx="12">
                  <c:v>0.0031553398058252425</c:v>
                </c:pt>
                <c:pt idx="13">
                  <c:v>0.006512112529304506</c:v>
                </c:pt>
                <c:pt idx="14">
                  <c:v>0.006918420294032862</c:v>
                </c:pt>
                <c:pt idx="15">
                  <c:v>0.007135016465422613</c:v>
                </c:pt>
                <c:pt idx="16">
                  <c:v>0.007607192254495159</c:v>
                </c:pt>
                <c:pt idx="17">
                  <c:v>0.012043924902585901</c:v>
                </c:pt>
                <c:pt idx="18">
                  <c:v>0.005029337803855826</c:v>
                </c:pt>
                <c:pt idx="19">
                  <c:v>0.0042796005706134095</c:v>
                </c:pt>
                <c:pt idx="20">
                  <c:v>0.005343197698314837</c:v>
                </c:pt>
                <c:pt idx="21">
                  <c:v>0.00776914539400666</c:v>
                </c:pt>
                <c:pt idx="22">
                  <c:v>0.006387921022067364</c:v>
                </c:pt>
                <c:pt idx="23">
                  <c:v>0.010834926704907584</c:v>
                </c:pt>
                <c:pt idx="24">
                  <c:v>0.005548705302096177</c:v>
                </c:pt>
                <c:pt idx="25">
                  <c:v>0.005131494547787043</c:v>
                </c:pt>
                <c:pt idx="26">
                  <c:v>0.004171011470281543</c:v>
                </c:pt>
                <c:pt idx="27">
                  <c:v>0.007168458781362007</c:v>
                </c:pt>
                <c:pt idx="28">
                  <c:v>0.004411116012351125</c:v>
                </c:pt>
                <c:pt idx="29">
                  <c:v>0.005876591576885406</c:v>
                </c:pt>
                <c:pt idx="30">
                  <c:v>0.005615348619560131</c:v>
                </c:pt>
                <c:pt idx="31">
                  <c:v>0.007220216606498195</c:v>
                </c:pt>
                <c:pt idx="32">
                  <c:v>0.004972650422675286</c:v>
                </c:pt>
                <c:pt idx="33">
                  <c:v>0.002962962962962963</c:v>
                </c:pt>
                <c:pt idx="34">
                  <c:v>0.0027413950654888823</c:v>
                </c:pt>
                <c:pt idx="35">
                  <c:v>0.004891470498318557</c:v>
                </c:pt>
                <c:pt idx="36">
                  <c:v>0.004187994416007445</c:v>
                </c:pt>
                <c:pt idx="37">
                  <c:v>0.004163197335553705</c:v>
                </c:pt>
                <c:pt idx="38">
                  <c:v>0.0076384468491406746</c:v>
                </c:pt>
                <c:pt idx="39">
                  <c:v>0.011354737666405637</c:v>
                </c:pt>
                <c:pt idx="40">
                  <c:v>0.01021180030257186</c:v>
                </c:pt>
                <c:pt idx="41">
                  <c:v>0.0064808813998703824</c:v>
                </c:pt>
                <c:pt idx="42">
                  <c:v>0.011075949367088608</c:v>
                </c:pt>
                <c:pt idx="43">
                  <c:v>0.007536041939711665</c:v>
                </c:pt>
                <c:pt idx="44">
                  <c:v>0.003206841261357563</c:v>
                </c:pt>
                <c:pt idx="45">
                  <c:v>0.0024600246002460025</c:v>
                </c:pt>
                <c:pt idx="46">
                  <c:v>0.0026234199856904365</c:v>
                </c:pt>
                <c:pt idx="47">
                  <c:v>0.0021061499578770007</c:v>
                </c:pt>
                <c:pt idx="48">
                  <c:v>0.0027816411682892906</c:v>
                </c:pt>
                <c:pt idx="49">
                  <c:v>0.003115264797507788</c:v>
                </c:pt>
                <c:pt idx="50">
                  <c:v>0.002054178970342791</c:v>
                </c:pt>
                <c:pt idx="51">
                  <c:v>0.001869158878504673</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80.2412104957234</c:v>
                </c:pt>
              </c:numCache>
            </c:numRef>
          </c:xVal>
          <c:yVal>
            <c:numRef>
              <c:f>Sheet1!$B$111:$B$112</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80.2412104957234</c:v>
                </c:pt>
                <c:pt idx="1">
                  <c:v>2880.2412104957234</c:v>
                </c:pt>
              </c:numCache>
            </c:numRef>
          </c:xVal>
          <c:yVal>
            <c:numRef>
              <c:f>Sheet1!$B$115:$B$116</c:f>
              <c:numCache>
                <c:formatCode>General</c:formatCode>
                <c:ptCount val="2"/>
                <c:pt idx="0">
                  <c:v>0.0059951504292184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80.2412104957234</c:v>
                </c:pt>
              </c:numCache>
            </c:numRef>
          </c:xVal>
          <c:yVal>
            <c:numRef>
              <c:f>Sheet1!$B$119:$B$120</c:f>
              <c:numCache>
                <c:formatCode>General</c:formatCode>
                <c:ptCount val="2"/>
                <c:pt idx="0">
                  <c:v>0.005995150429218426</c:v>
                </c:pt>
                <c:pt idx="1">
                  <c:v>0.005995150429218426</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80.2412104957234</c:v>
                </c:pt>
                <c:pt idx="1">
                  <c:v>2880.2412104957234</c:v>
                </c:pt>
              </c:numCache>
            </c:numRef>
          </c:xVal>
          <c:yVal>
            <c:numRef>
              <c:f>Sheet1!$B$123:$B$124</c:f>
              <c:numCache>
                <c:formatCode>General</c:formatCode>
                <c:ptCount val="2"/>
                <c:pt idx="0">
                  <c:v>0.0059951504292184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281.0851327751307</c:v>
                </c:pt>
              </c:numCache>
            </c:numRef>
          </c:xVal>
          <c:yVal>
            <c:numRef>
              <c:f>Sheet1!$B$127:$B$128</c:f>
              <c:numCache>
                <c:formatCode>General</c:formatCode>
                <c:ptCount val="2"/>
                <c:pt idx="0">
                  <c:v>0.005144314638112592</c:v>
                </c:pt>
                <c:pt idx="1">
                  <c:v>0.00514431463811259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281.0851327751307</c:v>
                </c:pt>
                <c:pt idx="1">
                  <c:v>3281.0851327751307</c:v>
                </c:pt>
              </c:numCache>
            </c:numRef>
          </c:xVal>
          <c:yVal>
            <c:numRef>
              <c:f>Sheet1!$B$131:$B$132</c:f>
              <c:numCache>
                <c:formatCode>General</c:formatCode>
                <c:ptCount val="2"/>
                <c:pt idx="0">
                  <c:v>0.0051443146381125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80.2412104957234</c:v>
                </c:pt>
                <c:pt idx="53">
                  <c:v>2880.2412104957234</c:v>
                </c:pt>
                <c:pt idx="54">
                  <c:v>3281.0851327751307</c:v>
                </c:pt>
              </c:numCache>
            </c:numRef>
          </c:xVal>
          <c:yVal>
            <c:numRef>
              <c:f>Sheet1!$B$135:$B$189</c:f>
              <c:numCache>
                <c:formatCode>General</c:formatCode>
                <c:ptCount val="55"/>
                <c:pt idx="0">
                  <c:v>0.0038962070223437922</c:v>
                </c:pt>
                <c:pt idx="1">
                  <c:v>0.0030199544954686193</c:v>
                </c:pt>
                <c:pt idx="2">
                  <c:v>0.0033806054508143044</c:v>
                </c:pt>
                <c:pt idx="3">
                  <c:v>0.003657960049166414</c:v>
                </c:pt>
                <c:pt idx="4">
                  <c:v>0.0036984310275024416</c:v>
                </c:pt>
                <c:pt idx="5">
                  <c:v>1.6266729563278737e-05</c:v>
                </c:pt>
                <c:pt idx="6">
                  <c:v>0.0011131260571383365</c:v>
                </c:pt>
                <c:pt idx="7">
                  <c:v>0.0024958304277879033</c:v>
                </c:pt>
                <c:pt idx="8">
                  <c:v>0.0033258892043230345</c:v>
                </c:pt>
                <c:pt idx="9">
                  <c:v>0.0029491847283573524</c:v>
                </c:pt>
                <c:pt idx="10">
                  <c:v>0.0015899175935806167</c:v>
                </c:pt>
                <c:pt idx="11">
                  <c:v>0.004193262211846405</c:v>
                </c:pt>
                <c:pt idx="12">
                  <c:v>0.003391708405377789</c:v>
                </c:pt>
                <c:pt idx="13">
                  <c:v>0.005598309612305203</c:v>
                </c:pt>
                <c:pt idx="14">
                  <c:v>0.005681604483470955</c:v>
                </c:pt>
                <c:pt idx="15">
                  <c:v>0.005337081552397703</c:v>
                </c:pt>
                <c:pt idx="16">
                  <c:v>0.005580016524628556</c:v>
                </c:pt>
                <c:pt idx="17">
                  <c:v>0.00836287334209334</c:v>
                </c:pt>
                <c:pt idx="18">
                  <c:v>0.005969306599067369</c:v>
                </c:pt>
                <c:pt idx="19">
                  <c:v>0.004447217569065813</c:v>
                </c:pt>
                <c:pt idx="20">
                  <c:v>0.004716544239671774</c:v>
                </c:pt>
                <c:pt idx="21">
                  <c:v>0.006339525436570729</c:v>
                </c:pt>
                <c:pt idx="22">
                  <c:v>0.004981633117055667</c:v>
                </c:pt>
                <c:pt idx="23">
                  <c:v>0.00893023478726176</c:v>
                </c:pt>
                <c:pt idx="24">
                  <c:v>0.00562986583594383</c:v>
                </c:pt>
                <c:pt idx="25">
                  <c:v>0.004167298219624187</c:v>
                </c:pt>
                <c:pt idx="26">
                  <c:v>0.0042471614652942625</c:v>
                </c:pt>
                <c:pt idx="27">
                  <c:v>0.007025261511103322</c:v>
                </c:pt>
                <c:pt idx="28">
                  <c:v>0.005493452619983562</c:v>
                </c:pt>
                <c:pt idx="29">
                  <c:v>0.0066232478684646375</c:v>
                </c:pt>
                <c:pt idx="30">
                  <c:v>0.006458214849172987</c:v>
                </c:pt>
                <c:pt idx="31">
                  <c:v>0.0074135666939543375</c:v>
                </c:pt>
                <c:pt idx="32">
                  <c:v>0.005841136331365845</c:v>
                </c:pt>
                <c:pt idx="33">
                  <c:v>0.00331453917781813</c:v>
                </c:pt>
                <c:pt idx="34">
                  <c:v>0.0022351028795967905</c:v>
                </c:pt>
                <c:pt idx="35">
                  <c:v>0.00612766230810709</c:v>
                </c:pt>
                <c:pt idx="36">
                  <c:v>0.003670695716250014</c:v>
                </c:pt>
                <c:pt idx="37">
                  <c:v>0.0036522996819311065</c:v>
                </c:pt>
                <c:pt idx="38">
                  <c:v>0.005619075754268367</c:v>
                </c:pt>
                <c:pt idx="39">
                  <c:v>0.007967055813751945</c:v>
                </c:pt>
                <c:pt idx="40">
                  <c:v>0.008222910483455756</c:v>
                </c:pt>
                <c:pt idx="41">
                  <c:v>0.007998027682532553</c:v>
                </c:pt>
                <c:pt idx="42">
                  <c:v>0.008297179375098242</c:v>
                </c:pt>
                <c:pt idx="43">
                  <c:v>0.008190350052467588</c:v>
                </c:pt>
                <c:pt idx="44">
                  <c:v>0.005918010303710282</c:v>
                </c:pt>
                <c:pt idx="45">
                  <c:v>0.0053551645015674715</c:v>
                </c:pt>
                <c:pt idx="46">
                  <c:v>0.005253134402816153</c:v>
                </c:pt>
                <c:pt idx="47">
                  <c:v>0.005011832143105418</c:v>
                </c:pt>
                <c:pt idx="48">
                  <c:v>0.0064127555223014296</c:v>
                </c:pt>
                <c:pt idx="49">
                  <c:v>0.006591187524670619</c:v>
                </c:pt>
                <c:pt idx="50">
                  <c:v>0.005464213650970797</c:v>
                </c:pt>
                <c:pt idx="51">
                  <c:v>0.003060326984645867</c:v>
                </c:pt>
                <c:pt idx="52">
                  <c:v>0.005995150429218426</c:v>
                </c:pt>
                <c:pt idx="53">
                  <c:v>0.005995150429218426</c:v>
                </c:pt>
                <c:pt idx="54">
                  <c:v>0.0051443146381125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445270988310308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0</c:f>
              <c:numCache>
                <c:formatCode>General</c:formatCode>
                <c:ptCount val="99"/>
                <c:pt idx="0">
                  <c:v>0.8943548832620849</c:v>
                </c:pt>
                <c:pt idx="1">
                  <c:v>1.2067353886258576</c:v>
                </c:pt>
                <c:pt idx="2">
                  <c:v>1.185387615040377</c:v>
                </c:pt>
                <c:pt idx="3">
                  <c:v>1.0359648684210527</c:v>
                </c:pt>
                <c:pt idx="4">
                  <c:v>1.0716427608213168</c:v>
                </c:pt>
                <c:pt idx="5">
                  <c:v>1.4556898791540784</c:v>
                </c:pt>
                <c:pt idx="6">
                  <c:v>0.9926919059809479</c:v>
                </c:pt>
                <c:pt idx="7">
                  <c:v>1.0291342236000913</c:v>
                </c:pt>
                <c:pt idx="8">
                  <c:v>1.3294815292830624</c:v>
                </c:pt>
                <c:pt idx="9">
                  <c:v>1.26984779771615</c:v>
                </c:pt>
                <c:pt idx="10">
                  <c:v>1.1627462635869565</c:v>
                </c:pt>
                <c:pt idx="11">
                  <c:v>1.2268847795163584</c:v>
                </c:pt>
                <c:pt idx="12">
                  <c:v>1.2284163182823722</c:v>
                </c:pt>
                <c:pt idx="13">
                  <c:v>0.9396284829721362</c:v>
                </c:pt>
                <c:pt idx="14">
                  <c:v>1.1606281118345463</c:v>
                </c:pt>
                <c:pt idx="15">
                  <c:v>0.9251612903225807</c:v>
                </c:pt>
                <c:pt idx="16">
                  <c:v>0.8972588566620848</c:v>
                </c:pt>
                <c:pt idx="17">
                  <c:v>1.029051987767584</c:v>
                </c:pt>
                <c:pt idx="18">
                  <c:v>1.3116302031992941</c:v>
                </c:pt>
                <c:pt idx="19">
                  <c:v>1.3363853503184713</c:v>
                </c:pt>
                <c:pt idx="20">
                  <c:v>1.2519239480798385</c:v>
                </c:pt>
                <c:pt idx="21">
                  <c:v>2.0971039182282794</c:v>
                </c:pt>
                <c:pt idx="22">
                  <c:v>1.7796208530805686</c:v>
                </c:pt>
                <c:pt idx="23">
                  <c:v>1.4642115423126794</c:v>
                </c:pt>
                <c:pt idx="24">
                  <c:v>1.0731707317073171</c:v>
                </c:pt>
                <c:pt idx="25">
                  <c:v>1.299920445505171</c:v>
                </c:pt>
                <c:pt idx="26">
                  <c:v>1.1489962680237489</c:v>
                </c:pt>
                <c:pt idx="27">
                  <c:v>1.222266560255387</c:v>
                </c:pt>
                <c:pt idx="28">
                  <c:v>1.2350746268656716</c:v>
                </c:pt>
                <c:pt idx="29">
                  <c:v>1.7034364261168384</c:v>
                </c:pt>
                <c:pt idx="30">
                  <c:v>1.4650238473767885</c:v>
                </c:pt>
                <c:pt idx="31">
                  <c:v>1.1171521035598706</c:v>
                </c:pt>
                <c:pt idx="32">
                  <c:v>1.6325459317585302</c:v>
                </c:pt>
                <c:pt idx="33">
                  <c:v>1.3801169590643274</c:v>
                </c:pt>
                <c:pt idx="34">
                  <c:v>0.6635089094485787</c:v>
                </c:pt>
                <c:pt idx="35">
                  <c:v>1.4130747126436782</c:v>
                </c:pt>
                <c:pt idx="36">
                  <c:v>0.8893401015228426</c:v>
                </c:pt>
                <c:pt idx="37">
                  <c:v>1.865490525606917</c:v>
                </c:pt>
                <c:pt idx="38">
                  <c:v>1.2337978765759787</c:v>
                </c:pt>
                <c:pt idx="39">
                  <c:v>1.0291204730229122</c:v>
                </c:pt>
                <c:pt idx="40">
                  <c:v>1.2242772206303725</c:v>
                </c:pt>
                <c:pt idx="41">
                  <c:v>1.434991974317817</c:v>
                </c:pt>
                <c:pt idx="42">
                  <c:v>1.301124863140206</c:v>
                </c:pt>
                <c:pt idx="43">
                  <c:v>1.2916261075949367</c:v>
                </c:pt>
                <c:pt idx="44">
                  <c:v>1.2239895209580838</c:v>
                </c:pt>
                <c:pt idx="45">
                  <c:v>1.0375687757909215</c:v>
                </c:pt>
                <c:pt idx="46">
                  <c:v>1.1816285537700864</c:v>
                </c:pt>
                <c:pt idx="47">
                  <c:v>1.28871096877502</c:v>
                </c:pt>
                <c:pt idx="48">
                  <c:v>1.1759626423077632</c:v>
                </c:pt>
                <c:pt idx="49">
                  <c:v>1.095848595848596</c:v>
                </c:pt>
                <c:pt idx="50">
                  <c:v>1.2181631956299077</c:v>
                </c:pt>
                <c:pt idx="51">
                  <c:v>1.349898012232416</c:v>
                </c:pt>
                <c:pt idx="52">
                  <c:v>1.2607896694214875</c:v>
                </c:pt>
                <c:pt idx="53">
                  <c:v>0.9910105139285623</c:v>
                </c:pt>
                <c:pt idx="54">
                  <c:v>1.2153790087463556</c:v>
                </c:pt>
                <c:pt idx="55">
                  <c:v>0.8618799109734855</c:v>
                </c:pt>
                <c:pt idx="56">
                  <c:v>0.8676405489154493</c:v>
                </c:pt>
                <c:pt idx="57">
                  <c:v>1.1683867780659092</c:v>
                </c:pt>
                <c:pt idx="58">
                  <c:v>0.8539282409862691</c:v>
                </c:pt>
                <c:pt idx="59">
                  <c:v>0.7268886454122563</c:v>
                </c:pt>
                <c:pt idx="60">
                  <c:v>0.7725173808005922</c:v>
                </c:pt>
                <c:pt idx="61">
                  <c:v>0.7977594104434136</c:v>
                </c:pt>
                <c:pt idx="62">
                  <c:v>0.5759488414583507</c:v>
                </c:pt>
                <c:pt idx="63">
                  <c:v>0.7873319273834113</c:v>
                </c:pt>
                <c:pt idx="64">
                  <c:v>0.7559733646690169</c:v>
                </c:pt>
                <c:pt idx="65">
                  <c:v>0.6947805806774161</c:v>
                </c:pt>
                <c:pt idx="66">
                  <c:v>0.685233583796145</c:v>
                </c:pt>
                <c:pt idx="67">
                  <c:v>1.0203399823130588</c:v>
                </c:pt>
                <c:pt idx="68">
                  <c:v>0.75382897255903</c:v>
                </c:pt>
                <c:pt idx="69">
                  <c:v>0.7864554888039323</c:v>
                </c:pt>
                <c:pt idx="70">
                  <c:v>1.1004397537379067</c:v>
                </c:pt>
                <c:pt idx="71">
                  <c:v>0.9295019157088122</c:v>
                </c:pt>
                <c:pt idx="72">
                  <c:v>0.7287681029858752</c:v>
                </c:pt>
                <c:pt idx="73">
                  <c:v>0.8060177798039663</c:v>
                </c:pt>
                <c:pt idx="74">
                  <c:v>1.4575741801145237</c:v>
                </c:pt>
                <c:pt idx="75">
                  <c:v>1.121766164945366</c:v>
                </c:pt>
                <c:pt idx="76">
                  <c:v>0.9373634377276038</c:v>
                </c:pt>
                <c:pt idx="77">
                  <c:v>0.7415485278080698</c:v>
                </c:pt>
                <c:pt idx="78">
                  <c:v>1.3140683911000612</c:v>
                </c:pt>
                <c:pt idx="79">
                  <c:v>0.5615162496978948</c:v>
                </c:pt>
                <c:pt idx="80">
                  <c:v>0.8328075447063866</c:v>
                </c:pt>
                <c:pt idx="81">
                  <c:v>1.595098858256753</c:v>
                </c:pt>
                <c:pt idx="82">
                  <c:v>1.1814881726344784</c:v>
                </c:pt>
                <c:pt idx="83">
                  <c:v>0.7378234951890803</c:v>
                </c:pt>
                <c:pt idx="84">
                  <c:v>1.1228398940910107</c:v>
                </c:pt>
                <c:pt idx="85">
                  <c:v>1.570084666039511</c:v>
                </c:pt>
                <c:pt idx="86">
                  <c:v>0.4361379974618038</c:v>
                </c:pt>
                <c:pt idx="87">
                  <c:v>0.8127323420074349</c:v>
                </c:pt>
                <c:pt idx="88">
                  <c:v>0.7946233133674059</c:v>
                </c:pt>
                <c:pt idx="89">
                  <c:v>0.7492795389048992</c:v>
                </c:pt>
                <c:pt idx="90">
                  <c:v>0.7798075721472068</c:v>
                </c:pt>
                <c:pt idx="91">
                  <c:v>0.4753974261922786</c:v>
                </c:pt>
                <c:pt idx="92">
                  <c:v>1.292332591543597</c:v>
                </c:pt>
                <c:pt idx="93">
                  <c:v>0.8289203963102153</c:v>
                </c:pt>
                <c:pt idx="94">
                  <c:v>0.8114754098360656</c:v>
                </c:pt>
                <c:pt idx="95">
                  <c:v>0.92954830629771</c:v>
                </c:pt>
                <c:pt idx="96">
                  <c:v>0.6331734410502399</c:v>
                </c:pt>
                <c:pt idx="97">
                  <c:v>0.264756446991404</c:v>
                </c:pt>
                <c:pt idx="98">
                  <c:v>0.23834636820869792</c:v>
                </c:pt>
              </c:numCache>
            </c:numRef>
          </c:xVal>
          <c:yVal>
            <c:numRef>
              <c:f>Sheet1!$B$2:$B$100</c:f>
              <c:numCache>
                <c:formatCode>General</c:formatCode>
                <c:ptCount val="99"/>
                <c:pt idx="0">
                  <c:v>0.6</c:v>
                </c:pt>
                <c:pt idx="1">
                  <c:v>0.5217391304347826</c:v>
                </c:pt>
                <c:pt idx="2">
                  <c:v>0.42105263157894735</c:v>
                </c:pt>
                <c:pt idx="3">
                  <c:v>0.5625</c:v>
                </c:pt>
                <c:pt idx="4">
                  <c:v>0.4666666666666667</c:v>
                </c:pt>
                <c:pt idx="5">
                  <c:v>0.375</c:v>
                </c:pt>
                <c:pt idx="6">
                  <c:v>0.4166666666666667</c:v>
                </c:pt>
                <c:pt idx="7">
                  <c:v>0.45454545454545453</c:v>
                </c:pt>
                <c:pt idx="8">
                  <c:v>0.5</c:v>
                </c:pt>
                <c:pt idx="9">
                  <c:v>0.46153846153846156</c:v>
                </c:pt>
                <c:pt idx="10">
                  <c:v>0.4</c:v>
                </c:pt>
                <c:pt idx="11">
                  <c:v>0.25</c:v>
                </c:pt>
                <c:pt idx="12">
                  <c:v>0.38095238095238093</c:v>
                </c:pt>
                <c:pt idx="13">
                  <c:v>0.47619047619047616</c:v>
                </c:pt>
                <c:pt idx="14">
                  <c:v>0.45454545454545453</c:v>
                </c:pt>
                <c:pt idx="15">
                  <c:v>0.29411764705882354</c:v>
                </c:pt>
                <c:pt idx="16">
                  <c:v>0.3333333333333333</c:v>
                </c:pt>
                <c:pt idx="17">
                  <c:v>0.3076923076923077</c:v>
                </c:pt>
                <c:pt idx="18">
                  <c:v>0.3</c:v>
                </c:pt>
                <c:pt idx="19">
                  <c:v>0.4444444444444444</c:v>
                </c:pt>
                <c:pt idx="20">
                  <c:v>0.375</c:v>
                </c:pt>
                <c:pt idx="21">
                  <c:v>0.4</c:v>
                </c:pt>
                <c:pt idx="22">
                  <c:v>0.4</c:v>
                </c:pt>
                <c:pt idx="23">
                  <c:v>0.16666666666666666</c:v>
                </c:pt>
                <c:pt idx="24">
                  <c:v>0.2</c:v>
                </c:pt>
                <c:pt idx="25">
                  <c:v>0.4</c:v>
                </c:pt>
                <c:pt idx="26">
                  <c:v>0.5</c:v>
                </c:pt>
                <c:pt idx="27">
                  <c:v>0.5714285714285714</c:v>
                </c:pt>
                <c:pt idx="28">
                  <c:v>0.4444444444444444</c:v>
                </c:pt>
                <c:pt idx="29">
                  <c:v>0.5555555555555556</c:v>
                </c:pt>
                <c:pt idx="30">
                  <c:v>0.5</c:v>
                </c:pt>
                <c:pt idx="31">
                  <c:v>0.6666666666666666</c:v>
                </c:pt>
                <c:pt idx="32">
                  <c:v>0.2</c:v>
                </c:pt>
                <c:pt idx="33">
                  <c:v>0.2</c:v>
                </c:pt>
                <c:pt idx="34">
                  <c:v>0.5</c:v>
                </c:pt>
                <c:pt idx="35">
                  <c:v>0.2222222222222222</c:v>
                </c:pt>
                <c:pt idx="36">
                  <c:v>0.5555555555555556</c:v>
                </c:pt>
                <c:pt idx="37">
                  <c:v>0.5</c:v>
                </c:pt>
                <c:pt idx="38">
                  <c:v>0.42857142857142855</c:v>
                </c:pt>
                <c:pt idx="39">
                  <c:v>0.5555555555555556</c:v>
                </c:pt>
                <c:pt idx="40">
                  <c:v>0.6875</c:v>
                </c:pt>
                <c:pt idx="41">
                  <c:v>0.7857142857142857</c:v>
                </c:pt>
                <c:pt idx="42">
                  <c:v>0.6875</c:v>
                </c:pt>
                <c:pt idx="43">
                  <c:v>0.6842105263157895</c:v>
                </c:pt>
                <c:pt idx="44">
                  <c:v>0.6956521739130435</c:v>
                </c:pt>
                <c:pt idx="45">
                  <c:v>0.7272727272727273</c:v>
                </c:pt>
                <c:pt idx="46">
                  <c:v>0.631578947368421</c:v>
                </c:pt>
                <c:pt idx="47">
                  <c:v>0.5882352941176471</c:v>
                </c:pt>
                <c:pt idx="48">
                  <c:v>0.38095238095238093</c:v>
                </c:pt>
                <c:pt idx="49">
                  <c:v>0.48484848484848486</c:v>
                </c:pt>
                <c:pt idx="50">
                  <c:v>0.36363636363636365</c:v>
                </c:pt>
                <c:pt idx="51">
                  <c:v>0.46153846153846156</c:v>
                </c:pt>
                <c:pt idx="52">
                  <c:v>0.375</c:v>
                </c:pt>
                <c:pt idx="53">
                  <c:v>0.36363636363636365</c:v>
                </c:pt>
                <c:pt idx="54">
                  <c:v>0.4444444444444444</c:v>
                </c:pt>
                <c:pt idx="55">
                  <c:v>0.25</c:v>
                </c:pt>
                <c:pt idx="56">
                  <c:v>0.13333333333333333</c:v>
                </c:pt>
                <c:pt idx="57">
                  <c:v>0.2</c:v>
                </c:pt>
                <c:pt idx="58">
                  <c:v>0.3076923076923077</c:v>
                </c:pt>
                <c:pt idx="59">
                  <c:v>0.20833333333333334</c:v>
                </c:pt>
                <c:pt idx="60">
                  <c:v>0.19047619047619047</c:v>
                </c:pt>
                <c:pt idx="61">
                  <c:v>0.16666666666666666</c:v>
                </c:pt>
                <c:pt idx="62">
                  <c:v>0.2222222222222222</c:v>
                </c:pt>
                <c:pt idx="63">
                  <c:v>0.1875</c:v>
                </c:pt>
                <c:pt idx="64">
                  <c:v>0.15384615384615385</c:v>
                </c:pt>
                <c:pt idx="65">
                  <c:v>0.15384615384615385</c:v>
                </c:pt>
                <c:pt idx="66">
                  <c:v>0.15384615384615385</c:v>
                </c:pt>
                <c:pt idx="67">
                  <c:v>0.0625</c:v>
                </c:pt>
                <c:pt idx="68">
                  <c:v>0.1</c:v>
                </c:pt>
                <c:pt idx="69">
                  <c:v>0.1111111111111111</c:v>
                </c:pt>
                <c:pt idx="70">
                  <c:v>0.125</c:v>
                </c:pt>
                <c:pt idx="71">
                  <c:v>0.125</c:v>
                </c:pt>
                <c:pt idx="72">
                  <c:v>0.125</c:v>
                </c:pt>
                <c:pt idx="73">
                  <c:v>0.1</c:v>
                </c:pt>
                <c:pt idx="74">
                  <c:v>0.125</c:v>
                </c:pt>
                <c:pt idx="75">
                  <c:v>0.16666666666666666</c:v>
                </c:pt>
                <c:pt idx="76">
                  <c:v>0.25</c:v>
                </c:pt>
                <c:pt idx="77">
                  <c:v>0.25</c:v>
                </c:pt>
                <c:pt idx="78">
                  <c:v>0.14285714285714285</c:v>
                </c:pt>
                <c:pt idx="79">
                  <c:v>0.25</c:v>
                </c:pt>
                <c:pt idx="80">
                  <c:v>0.2</c:v>
                </c:pt>
                <c:pt idx="81">
                  <c:v>0.16666666666666666</c:v>
                </c:pt>
                <c:pt idx="82">
                  <c:v>0.16666666666666666</c:v>
                </c:pt>
                <c:pt idx="83">
                  <c:v>0.3</c:v>
                </c:pt>
                <c:pt idx="84">
                  <c:v>0.3333333333333333</c:v>
                </c:pt>
                <c:pt idx="85">
                  <c:v>0.1111111111111111</c:v>
                </c:pt>
                <c:pt idx="86">
                  <c:v>0.42857142857142855</c:v>
                </c:pt>
                <c:pt idx="87">
                  <c:v>0.25</c:v>
                </c:pt>
                <c:pt idx="88">
                  <c:v>0.375</c:v>
                </c:pt>
                <c:pt idx="89">
                  <c:v>0.3333333333333333</c:v>
                </c:pt>
                <c:pt idx="90">
                  <c:v>0.2727272727272727</c:v>
                </c:pt>
                <c:pt idx="91">
                  <c:v>0.1111111111111111</c:v>
                </c:pt>
                <c:pt idx="92">
                  <c:v>0.125</c:v>
                </c:pt>
                <c:pt idx="93">
                  <c:v>0.16666666666666666</c:v>
                </c:pt>
                <c:pt idx="94">
                  <c:v>0.2</c:v>
                </c:pt>
                <c:pt idx="95">
                  <c:v>0.3</c:v>
                </c:pt>
                <c:pt idx="96">
                  <c:v>0.14285714285714285</c:v>
                </c:pt>
                <c:pt idx="97">
                  <c:v>0.5714285714285714</c:v>
                </c:pt>
                <c:pt idx="98">
                  <c:v>0.6666666666666666</c:v>
                </c:pt>
              </c:numCache>
            </c:numRef>
          </c:yVal>
          <c:smooth val="0"/>
          <c:extLst>
            <c:ext xmlns:c16="http://schemas.microsoft.com/office/drawing/2014/chart" uri="{C3380CC4-5D6E-409C-BE32-E72D297353CC}">
              <c16:uniqueId val="{00000000-096C-4121-9522-6AB7243CCAAE}"/>
            </c:ext>
          </c:extLst>
        </c:ser>
        <c:ser>
          <c:idx val="1"/>
          <c:order val="1"/>
          <c:tx>
            <c:strRef>
              <c:f>Sheet1!$B$10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3:$A$150</c:f>
              <c:numCache>
                <c:formatCode>General</c:formatCode>
                <c:ptCount val="48"/>
                <c:pt idx="0">
                  <c:v>0.0</c:v>
                </c:pt>
                <c:pt idx="1">
                  <c:v>0.0</c:v>
                </c:pt>
                <c:pt idx="2">
                  <c:v>0.0</c:v>
                </c:pt>
                <c:pt idx="3">
                  <c:v>0.0</c:v>
                </c:pt>
                <c:pt idx="4">
                  <c:v>0.0</c:v>
                </c:pt>
                <c:pt idx="5">
                  <c:v>0.6566566566566566</c:v>
                </c:pt>
                <c:pt idx="6">
                  <c:v>0.7883765003158559</c:v>
                </c:pt>
                <c:pt idx="7">
                  <c:v>1.1154684095860568</c:v>
                </c:pt>
                <c:pt idx="8">
                  <c:v>0.9900096999680857</c:v>
                </c:pt>
                <c:pt idx="9">
                  <c:v>1.2176854312635903</c:v>
                </c:pt>
                <c:pt idx="10">
                  <c:v>0.6055312954876274</c:v>
                </c:pt>
                <c:pt idx="11">
                  <c:v>0.8808924390389506</c:v>
                </c:pt>
                <c:pt idx="12">
                  <c:v>0.0</c:v>
                </c:pt>
                <c:pt idx="13">
                  <c:v>0.36027713625866054</c:v>
                </c:pt>
                <c:pt idx="14">
                  <c:v>0.0</c:v>
                </c:pt>
                <c:pt idx="15">
                  <c:v>0.4594767070835992</c:v>
                </c:pt>
                <c:pt idx="16">
                  <c:v>0.9651860744297719</c:v>
                </c:pt>
                <c:pt idx="17">
                  <c:v>1.388339010828786</c:v>
                </c:pt>
                <c:pt idx="18">
                  <c:v>1.1296673455532926</c:v>
                </c:pt>
                <c:pt idx="19">
                  <c:v>0.7410071942446043</c:v>
                </c:pt>
                <c:pt idx="20">
                  <c:v>1.0486811471056825</c:v>
                </c:pt>
                <c:pt idx="21">
                  <c:v>0.9496268656716418</c:v>
                </c:pt>
                <c:pt idx="22">
                  <c:v>0.6231060606060606</c:v>
                </c:pt>
                <c:pt idx="23">
                  <c:v>0.4752475247524752</c:v>
                </c:pt>
                <c:pt idx="24">
                  <c:v>0.628099173553719</c:v>
                </c:pt>
                <c:pt idx="25">
                  <c:v>0.0</c:v>
                </c:pt>
                <c:pt idx="26">
                  <c:v>0.0</c:v>
                </c:pt>
                <c:pt idx="27">
                  <c:v>0.0</c:v>
                </c:pt>
                <c:pt idx="28">
                  <c:v>0.0</c:v>
                </c:pt>
                <c:pt idx="29">
                  <c:v>0.0</c:v>
                </c:pt>
                <c:pt idx="30">
                  <c:v>0.8525033829499323</c:v>
                </c:pt>
                <c:pt idx="31">
                  <c:v>0.0</c:v>
                </c:pt>
                <c:pt idx="32">
                  <c:v>0.0</c:v>
                </c:pt>
                <c:pt idx="33">
                  <c:v>0.0</c:v>
                </c:pt>
                <c:pt idx="34">
                  <c:v>0.0</c:v>
                </c:pt>
                <c:pt idx="35">
                  <c:v>0.7183580387685291</c:v>
                </c:pt>
                <c:pt idx="36">
                  <c:v>0.0</c:v>
                </c:pt>
                <c:pt idx="37">
                  <c:v>0.0</c:v>
                </c:pt>
                <c:pt idx="38">
                  <c:v>0.0</c:v>
                </c:pt>
                <c:pt idx="39">
                  <c:v>0.0</c:v>
                </c:pt>
                <c:pt idx="40">
                  <c:v>0.0</c:v>
                </c:pt>
                <c:pt idx="41">
                  <c:v>0.0</c:v>
                </c:pt>
                <c:pt idx="42">
                  <c:v>0.0</c:v>
                </c:pt>
                <c:pt idx="43">
                  <c:v>0.0</c:v>
                </c:pt>
                <c:pt idx="44">
                  <c:v>0.0</c:v>
                </c:pt>
                <c:pt idx="45">
                  <c:v>0.0</c:v>
                </c:pt>
                <c:pt idx="46">
                  <c:v>0.0</c:v>
                </c:pt>
                <c:pt idx="47">
                  <c:v>0.0</c:v>
                </c:pt>
              </c:numCache>
            </c:numRef>
          </c:xVal>
          <c:yVal>
            <c:numRef>
              <c:f>Sheet1!$B$103:$B$150</c:f>
              <c:numCache>
                <c:formatCode>General</c:formatCode>
                <c:ptCount val="48"/>
                <c:pt idx="0">
                  <c:v>0.0</c:v>
                </c:pt>
                <c:pt idx="1">
                  <c:v>0.0</c:v>
                </c:pt>
                <c:pt idx="2">
                  <c:v>0.0</c:v>
                </c:pt>
                <c:pt idx="3">
                  <c:v>0.0</c:v>
                </c:pt>
                <c:pt idx="4">
                  <c:v>0.0</c:v>
                </c:pt>
                <c:pt idx="5">
                  <c:v>0.18181818181818182</c:v>
                </c:pt>
                <c:pt idx="6">
                  <c:v>0.1111111111111111</c:v>
                </c:pt>
                <c:pt idx="7">
                  <c:v>0.14285714285714285</c:v>
                </c:pt>
                <c:pt idx="8">
                  <c:v>0.16666666666666666</c:v>
                </c:pt>
                <c:pt idx="9">
                  <c:v>0.125</c:v>
                </c:pt>
                <c:pt idx="10">
                  <c:v>0.125</c:v>
                </c:pt>
                <c:pt idx="11">
                  <c:v>0.2</c:v>
                </c:pt>
                <c:pt idx="12">
                  <c:v>0.0</c:v>
                </c:pt>
                <c:pt idx="13">
                  <c:v>0.5</c:v>
                </c:pt>
                <c:pt idx="14">
                  <c:v>0.0</c:v>
                </c:pt>
                <c:pt idx="15">
                  <c:v>0.5</c:v>
                </c:pt>
                <c:pt idx="16">
                  <c:v>0.3333333333333333</c:v>
                </c:pt>
                <c:pt idx="17">
                  <c:v>0.15384615384615385</c:v>
                </c:pt>
                <c:pt idx="18">
                  <c:v>0.2727272727272727</c:v>
                </c:pt>
                <c:pt idx="19">
                  <c:v>0.25</c:v>
                </c:pt>
                <c:pt idx="20">
                  <c:v>0.5</c:v>
                </c:pt>
                <c:pt idx="21">
                  <c:v>0.2857142857142857</c:v>
                </c:pt>
                <c:pt idx="22">
                  <c:v>0.25</c:v>
                </c:pt>
                <c:pt idx="23">
                  <c:v>0.5</c:v>
                </c:pt>
                <c:pt idx="24">
                  <c:v>0.2</c:v>
                </c:pt>
                <c:pt idx="25">
                  <c:v>0.0</c:v>
                </c:pt>
                <c:pt idx="26">
                  <c:v>0.0</c:v>
                </c:pt>
                <c:pt idx="27">
                  <c:v>0.0</c:v>
                </c:pt>
                <c:pt idx="28">
                  <c:v>0.0</c:v>
                </c:pt>
                <c:pt idx="29">
                  <c:v>0.0</c:v>
                </c:pt>
                <c:pt idx="30">
                  <c:v>0.25</c:v>
                </c:pt>
                <c:pt idx="31">
                  <c:v>0.0</c:v>
                </c:pt>
                <c:pt idx="32">
                  <c:v>0.0</c:v>
                </c:pt>
                <c:pt idx="33">
                  <c:v>0.0</c:v>
                </c:pt>
                <c:pt idx="34">
                  <c:v>0.0</c:v>
                </c:pt>
                <c:pt idx="35">
                  <c:v>0.16666666666666666</c:v>
                </c:pt>
                <c:pt idx="36">
                  <c:v>0.0</c:v>
                </c:pt>
                <c:pt idx="37">
                  <c:v>0.0</c:v>
                </c:pt>
                <c:pt idx="38">
                  <c:v>0.0</c:v>
                </c:pt>
                <c:pt idx="39">
                  <c:v>0.0</c:v>
                </c:pt>
                <c:pt idx="40">
                  <c:v>0.0</c:v>
                </c:pt>
                <c:pt idx="41">
                  <c:v>0.0</c:v>
                </c:pt>
                <c:pt idx="42">
                  <c:v>0.0</c:v>
                </c:pt>
                <c:pt idx="43">
                  <c:v>0.0</c:v>
                </c:pt>
                <c:pt idx="44">
                  <c:v>0.0</c:v>
                </c:pt>
                <c:pt idx="45">
                  <c:v>0.0</c:v>
                </c:pt>
                <c:pt idx="46">
                  <c:v>0.0</c:v>
                </c:pt>
                <c:pt idx="47">
                  <c:v>0.0</c:v>
                </c:pt>
              </c:numCache>
            </c:numRef>
          </c:yVal>
          <c:smooth val="0"/>
          <c:extLst>
            <c:ext xmlns:c16="http://schemas.microsoft.com/office/drawing/2014/chart" uri="{C3380CC4-5D6E-409C-BE32-E72D297353CC}">
              <c16:uniqueId val="{00000002-096C-4121-9522-6AB7243CCAAE}"/>
            </c:ext>
          </c:extLst>
        </c:ser>
        <c:ser>
          <c:idx val="2"/>
          <c:order val="2"/>
          <c:tx>
            <c:strRef>
              <c:f>Sheet1!$B$1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3:$A$154</c:f>
              <c:numCache>
                <c:formatCode>General</c:formatCode>
                <c:ptCount val="2"/>
                <c:pt idx="0">
                  <c:v>0</c:v>
                </c:pt>
                <c:pt idx="1">
                  <c:v>2.42067141761641</c:v>
                </c:pt>
              </c:numCache>
            </c:numRef>
          </c:xVal>
          <c:yVal>
            <c:numRef>
              <c:f>Sheet1!$B$153:$B$154</c:f>
              <c:numCache>
                <c:formatCode>General</c:formatCode>
                <c:ptCount val="2"/>
                <c:pt idx="0">
                  <c:v>0.5961206705082058</c:v>
                </c:pt>
                <c:pt idx="1">
                  <c:v>0.5961206705082058</c:v>
                </c:pt>
              </c:numCache>
            </c:numRef>
          </c:yVal>
          <c:smooth val="0"/>
          <c:extLst>
            <c:ext xmlns:c16="http://schemas.microsoft.com/office/drawing/2014/chart" uri="{C3380CC4-5D6E-409C-BE32-E72D297353CC}">
              <c16:uniqueId val="{00000005-096C-4121-9522-6AB7243CCAAE}"/>
            </c:ext>
          </c:extLst>
        </c:ser>
        <c:ser>
          <c:idx val="3"/>
          <c:order val="3"/>
          <c:tx>
            <c:strRef>
              <c:f>Sheet1!$B$1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7:$A$158</c:f>
              <c:numCache>
                <c:formatCode>General</c:formatCode>
                <c:ptCount val="2"/>
                <c:pt idx="0">
                  <c:v>2.42067141761641</c:v>
                </c:pt>
                <c:pt idx="1">
                  <c:v>2.42067141761641</c:v>
                </c:pt>
              </c:numCache>
            </c:numRef>
          </c:xVal>
          <c:yVal>
            <c:numRef>
              <c:f>Sheet1!$B$157:$B$158</c:f>
              <c:numCache>
                <c:formatCode>General</c:formatCode>
                <c:ptCount val="2"/>
                <c:pt idx="0">
                  <c:v>0.59612067050820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1:$A$162</c:f>
              <c:numCache>
                <c:formatCode>General</c:formatCode>
                <c:ptCount val="2"/>
                <c:pt idx="0">
                  <c:v>0</c:v>
                </c:pt>
                <c:pt idx="1">
                  <c:v>0.9459754600886625</c:v>
                </c:pt>
              </c:numCache>
            </c:numRef>
          </c:xVal>
          <c:yVal>
            <c:numRef>
              <c:f>Sheet1!$B$161:$B$162</c:f>
              <c:numCache>
                <c:formatCode>General</c:formatCode>
                <c:ptCount val="2"/>
                <c:pt idx="0">
                  <c:v>0.24966315735546504</c:v>
                </c:pt>
                <c:pt idx="1">
                  <c:v>0.24966315735546504</c:v>
                </c:pt>
              </c:numCache>
            </c:numRef>
          </c:yVal>
          <c:smooth val="0"/>
          <c:extLst>
            <c:ext xmlns:c16="http://schemas.microsoft.com/office/drawing/2014/chart" uri="{C3380CC4-5D6E-409C-BE32-E72D297353CC}">
              <c16:uniqueId val="{0000000D-096C-4121-9522-6AB7243CCAAE}"/>
            </c:ext>
          </c:extLst>
        </c:ser>
        <c:ser>
          <c:idx val="5"/>
          <c:order val="5"/>
          <c:tx>
            <c:strRef>
              <c:f>Sheet1!$B$16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5:$A$166</c:f>
              <c:numCache>
                <c:formatCode>General</c:formatCode>
                <c:ptCount val="2"/>
                <c:pt idx="0">
                  <c:v>0.9459754600886625</c:v>
                </c:pt>
                <c:pt idx="1">
                  <c:v>0.9459754600886625</c:v>
                </c:pt>
              </c:numCache>
            </c:numRef>
          </c:xVal>
          <c:yVal>
            <c:numRef>
              <c:f>Sheet1!$B$165:$B$166</c:f>
              <c:numCache>
                <c:formatCode>General</c:formatCode>
                <c:ptCount val="2"/>
                <c:pt idx="0">
                  <c:v>0.249663157355465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9:$A$170</c:f>
              <c:numCache>
                <c:formatCode>General</c:formatCode>
                <c:ptCount val="2"/>
                <c:pt idx="0">
                  <c:v>0</c:v>
                </c:pt>
                <c:pt idx="1">
                  <c:v>-0.11671544693000516</c:v>
                </c:pt>
              </c:numCache>
            </c:numRef>
          </c:xVal>
          <c:yVal>
            <c:numRef>
              <c:f>Sheet1!$B$169:$B$17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7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3:$A$174</c:f>
              <c:numCache>
                <c:formatCode>General</c:formatCode>
                <c:ptCount val="2"/>
                <c:pt idx="0">
                  <c:v>-0.11671544693000516</c:v>
                </c:pt>
                <c:pt idx="1">
                  <c:v>-0.11671544693000516</c:v>
                </c:pt>
              </c:numCache>
            </c:numRef>
          </c:xVal>
          <c:yVal>
            <c:numRef>
              <c:f>Sheet1!$B$173:$B$17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7:$A$227</c:f>
              <c:numCache>
                <c:formatCode>General</c:formatCode>
                <c:ptCount val="51"/>
                <c:pt idx="0">
                  <c:v>0.0</c:v>
                </c:pt>
                <c:pt idx="1">
                  <c:v>0.0</c:v>
                </c:pt>
                <c:pt idx="2">
                  <c:v>0.0</c:v>
                </c:pt>
                <c:pt idx="3">
                  <c:v>0.0</c:v>
                </c:pt>
                <c:pt idx="4">
                  <c:v>0.0</c:v>
                </c:pt>
                <c:pt idx="5">
                  <c:v>0.6566566566566566</c:v>
                </c:pt>
                <c:pt idx="6">
                  <c:v>0.7883765003158559</c:v>
                </c:pt>
                <c:pt idx="7">
                  <c:v>1.1154684095860568</c:v>
                </c:pt>
                <c:pt idx="8">
                  <c:v>0.9900096999680857</c:v>
                </c:pt>
                <c:pt idx="9">
                  <c:v>1.2176854312635903</c:v>
                </c:pt>
                <c:pt idx="10">
                  <c:v>0.6055312954876274</c:v>
                </c:pt>
                <c:pt idx="11">
                  <c:v>0.8808924390389506</c:v>
                </c:pt>
                <c:pt idx="12">
                  <c:v>0.0</c:v>
                </c:pt>
                <c:pt idx="13">
                  <c:v>0.36027713625866054</c:v>
                </c:pt>
                <c:pt idx="14">
                  <c:v>0.0</c:v>
                </c:pt>
                <c:pt idx="15">
                  <c:v>0.4594767070835992</c:v>
                </c:pt>
                <c:pt idx="16">
                  <c:v>0.9651860744297719</c:v>
                </c:pt>
                <c:pt idx="17">
                  <c:v>1.388339010828786</c:v>
                </c:pt>
                <c:pt idx="18">
                  <c:v>1.1296673455532926</c:v>
                </c:pt>
                <c:pt idx="19">
                  <c:v>0.7410071942446043</c:v>
                </c:pt>
                <c:pt idx="20">
                  <c:v>1.0486811471056825</c:v>
                </c:pt>
                <c:pt idx="21">
                  <c:v>0.9496268656716418</c:v>
                </c:pt>
                <c:pt idx="22">
                  <c:v>0.6231060606060606</c:v>
                </c:pt>
                <c:pt idx="23">
                  <c:v>0.4752475247524752</c:v>
                </c:pt>
                <c:pt idx="24">
                  <c:v>0.628099173553719</c:v>
                </c:pt>
                <c:pt idx="25">
                  <c:v>0.0</c:v>
                </c:pt>
                <c:pt idx="26">
                  <c:v>0.0</c:v>
                </c:pt>
                <c:pt idx="27">
                  <c:v>0.0</c:v>
                </c:pt>
                <c:pt idx="28">
                  <c:v>0.0</c:v>
                </c:pt>
                <c:pt idx="29">
                  <c:v>0.0</c:v>
                </c:pt>
                <c:pt idx="30">
                  <c:v>0.8525033829499323</c:v>
                </c:pt>
                <c:pt idx="31">
                  <c:v>0.0</c:v>
                </c:pt>
                <c:pt idx="32">
                  <c:v>0.0</c:v>
                </c:pt>
                <c:pt idx="33">
                  <c:v>0.0</c:v>
                </c:pt>
                <c:pt idx="34">
                  <c:v>0.0</c:v>
                </c:pt>
                <c:pt idx="35">
                  <c:v>0.7183580387685291</c:v>
                </c:pt>
                <c:pt idx="36">
                  <c:v>0.0</c:v>
                </c:pt>
                <c:pt idx="37">
                  <c:v>0.0</c:v>
                </c:pt>
                <c:pt idx="38">
                  <c:v>0.0</c:v>
                </c:pt>
                <c:pt idx="39">
                  <c:v>0.0</c:v>
                </c:pt>
                <c:pt idx="40">
                  <c:v>0.0</c:v>
                </c:pt>
                <c:pt idx="41">
                  <c:v>0.0</c:v>
                </c:pt>
                <c:pt idx="42">
                  <c:v>0.0</c:v>
                </c:pt>
                <c:pt idx="43">
                  <c:v>0.0</c:v>
                </c:pt>
                <c:pt idx="44">
                  <c:v>0.0</c:v>
                </c:pt>
                <c:pt idx="45">
                  <c:v>0.0</c:v>
                </c:pt>
                <c:pt idx="46">
                  <c:v>0.0</c:v>
                </c:pt>
                <c:pt idx="47">
                  <c:v>0.0</c:v>
                </c:pt>
                <c:pt idx="48">
                  <c:v>0.9459754600886625</c:v>
                </c:pt>
                <c:pt idx="49">
                  <c:v>2.42067141761641</c:v>
                </c:pt>
                <c:pt idx="50">
                  <c:v>-0.11671544693000516</c:v>
                </c:pt>
              </c:numCache>
            </c:numRef>
          </c:xVal>
          <c:yVal>
            <c:numRef>
              <c:f>Sheet1!$B$177:$B$227</c:f>
              <c:numCache>
                <c:formatCode>General</c:formatCode>
                <c:ptCount val="51"/>
                <c:pt idx="0">
                  <c:v>0.0274205291493921</c:v>
                </c:pt>
                <c:pt idx="1">
                  <c:v>0.0274205291493921</c:v>
                </c:pt>
                <c:pt idx="2">
                  <c:v>0.0274205291493921</c:v>
                </c:pt>
                <c:pt idx="3">
                  <c:v>0.0274205291493921</c:v>
                </c:pt>
                <c:pt idx="4">
                  <c:v>0.0274205291493921</c:v>
                </c:pt>
                <c:pt idx="5">
                  <c:v>0.18169207990474692</c:v>
                </c:pt>
                <c:pt idx="6">
                  <c:v>0.21263766515171492</c:v>
                </c:pt>
                <c:pt idx="7">
                  <c:v>0.2894829625702531</c:v>
                </c:pt>
                <c:pt idx="8">
                  <c:v>0.2600083360781165</c:v>
                </c:pt>
                <c:pt idx="9">
                  <c:v>0.3134973059686358</c:v>
                </c:pt>
                <c:pt idx="10">
                  <c:v>0.16968094947529072</c:v>
                </c:pt>
                <c:pt idx="11">
                  <c:v>0.23437288582101798</c:v>
                </c:pt>
                <c:pt idx="12">
                  <c:v>0.0274205291493921</c:v>
                </c:pt>
                <c:pt idx="13">
                  <c:v>0.11206219378324805</c:v>
                </c:pt>
                <c:pt idx="14">
                  <c:v>0.0274205291493921</c:v>
                </c:pt>
                <c:pt idx="15">
                  <c:v>0.13536763273721683</c:v>
                </c:pt>
                <c:pt idx="16">
                  <c:v>0.2541764006696428</c:v>
                </c:pt>
                <c:pt idx="17">
                  <c:v>0.3535897836654553</c:v>
                </c:pt>
                <c:pt idx="18">
                  <c:v>0.29281878784292187</c:v>
                </c:pt>
                <c:pt idx="19">
                  <c:v>0.20150896306404537</c:v>
                </c:pt>
                <c:pt idx="20">
                  <c:v>0.2737923052851941</c:v>
                </c:pt>
                <c:pt idx="21">
                  <c:v>0.25052099987638154</c:v>
                </c:pt>
                <c:pt idx="22">
                  <c:v>0.17380987475381637</c:v>
                </c:pt>
                <c:pt idx="23">
                  <c:v>0.13907274784386164</c:v>
                </c:pt>
                <c:pt idx="24">
                  <c:v>0.17498293112920413</c:v>
                </c:pt>
                <c:pt idx="25">
                  <c:v>0.0274205291493921</c:v>
                </c:pt>
                <c:pt idx="26">
                  <c:v>0.0274205291493921</c:v>
                </c:pt>
                <c:pt idx="27">
                  <c:v>0.0274205291493921</c:v>
                </c:pt>
                <c:pt idx="28">
                  <c:v>0.0274205291493921</c:v>
                </c:pt>
                <c:pt idx="29">
                  <c:v>0.0274205291493921</c:v>
                </c:pt>
                <c:pt idx="30">
                  <c:v>0.22770330642524622</c:v>
                </c:pt>
                <c:pt idx="31">
                  <c:v>0.0274205291493921</c:v>
                </c:pt>
                <c:pt idx="32">
                  <c:v>0.0274205291493921</c:v>
                </c:pt>
                <c:pt idx="33">
                  <c:v>0.0274205291493921</c:v>
                </c:pt>
                <c:pt idx="34">
                  <c:v>0.0274205291493921</c:v>
                </c:pt>
                <c:pt idx="35">
                  <c:v>0.19618788651182792</c:v>
                </c:pt>
                <c:pt idx="36">
                  <c:v>0.0274205291493921</c:v>
                </c:pt>
                <c:pt idx="37">
                  <c:v>0.0274205291493921</c:v>
                </c:pt>
                <c:pt idx="38">
                  <c:v>0.0274205291493921</c:v>
                </c:pt>
                <c:pt idx="39">
                  <c:v>0.0274205291493921</c:v>
                </c:pt>
                <c:pt idx="40">
                  <c:v>0.0274205291493921</c:v>
                </c:pt>
                <c:pt idx="41">
                  <c:v>0.0274205291493921</c:v>
                </c:pt>
                <c:pt idx="42">
                  <c:v>0.0274205291493921</c:v>
                </c:pt>
                <c:pt idx="43">
                  <c:v>0.0274205291493921</c:v>
                </c:pt>
                <c:pt idx="44">
                  <c:v>0.0274205291493921</c:v>
                </c:pt>
                <c:pt idx="45">
                  <c:v>0.0274205291493921</c:v>
                </c:pt>
                <c:pt idx="46">
                  <c:v>0.0274205291493921</c:v>
                </c:pt>
                <c:pt idx="47">
                  <c:v>0.0274205291493921</c:v>
                </c:pt>
                <c:pt idx="48">
                  <c:v>0.24966315735546504</c:v>
                </c:pt>
                <c:pt idx="49">
                  <c:v>0.5961206705082058</c:v>
                </c:pt>
                <c:pt idx="50">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0</c:f>
              <c:numCache>
                <c:formatCode>General</c:formatCode>
                <c:ptCount val="99"/>
                <c:pt idx="0">
                  <c:v>679.9333</c:v>
                </c:pt>
                <c:pt idx="1">
                  <c:v>839.0833</c:v>
                </c:pt>
                <c:pt idx="2">
                  <c:v>795.0</c:v>
                </c:pt>
                <c:pt idx="3">
                  <c:v>787.3333</c:v>
                </c:pt>
                <c:pt idx="4">
                  <c:v>715.1429</c:v>
                </c:pt>
                <c:pt idx="5">
                  <c:v>963.6667</c:v>
                </c:pt>
                <c:pt idx="6">
                  <c:v>715.4</c:v>
                </c:pt>
                <c:pt idx="7">
                  <c:v>836.0</c:v>
                </c:pt>
                <c:pt idx="8">
                  <c:v>786.1667</c:v>
                </c:pt>
                <c:pt idx="9">
                  <c:v>778.4167</c:v>
                </c:pt>
                <c:pt idx="10">
                  <c:v>684.625</c:v>
                </c:pt>
                <c:pt idx="11">
                  <c:v>862.5</c:v>
                </c:pt>
                <c:pt idx="12">
                  <c:v>830.0</c:v>
                </c:pt>
                <c:pt idx="13">
                  <c:v>607.0</c:v>
                </c:pt>
                <c:pt idx="14">
                  <c:v>757.6</c:v>
                </c:pt>
                <c:pt idx="15">
                  <c:v>860.4</c:v>
                </c:pt>
                <c:pt idx="16">
                  <c:v>703.75</c:v>
                </c:pt>
                <c:pt idx="17">
                  <c:v>673.0</c:v>
                </c:pt>
                <c:pt idx="18">
                  <c:v>879.6667</c:v>
                </c:pt>
                <c:pt idx="19">
                  <c:v>839.25</c:v>
                </c:pt>
                <c:pt idx="20">
                  <c:v>813.3333</c:v>
                </c:pt>
                <c:pt idx="21">
                  <c:v>1231.0</c:v>
                </c:pt>
                <c:pt idx="22">
                  <c:v>1126.5</c:v>
                </c:pt>
                <c:pt idx="23">
                  <c:v>941.0</c:v>
                </c:pt>
                <c:pt idx="24">
                  <c:v>726.0</c:v>
                </c:pt>
                <c:pt idx="25">
                  <c:v>817.0</c:v>
                </c:pt>
                <c:pt idx="26">
                  <c:v>677.3333</c:v>
                </c:pt>
                <c:pt idx="27">
                  <c:v>765.75</c:v>
                </c:pt>
                <c:pt idx="28">
                  <c:v>827.5</c:v>
                </c:pt>
                <c:pt idx="29">
                  <c:v>991.4</c:v>
                </c:pt>
                <c:pt idx="30">
                  <c:v>921.5</c:v>
                </c:pt>
                <c:pt idx="31">
                  <c:v>863.0</c:v>
                </c:pt>
                <c:pt idx="32">
                  <c:v>1088.5</c:v>
                </c:pt>
                <c:pt idx="33">
                  <c:v>885.0</c:v>
                </c:pt>
                <c:pt idx="34">
                  <c:v>457.6</c:v>
                </c:pt>
                <c:pt idx="35">
                  <c:v>983.5</c:v>
                </c:pt>
                <c:pt idx="36">
                  <c:v>700.8</c:v>
                </c:pt>
                <c:pt idx="37">
                  <c:v>1128.0</c:v>
                </c:pt>
                <c:pt idx="38">
                  <c:v>929.6667</c:v>
                </c:pt>
                <c:pt idx="39">
                  <c:v>696.2</c:v>
                </c:pt>
                <c:pt idx="40">
                  <c:v>854.5455</c:v>
                </c:pt>
                <c:pt idx="41">
                  <c:v>894.0</c:v>
                </c:pt>
                <c:pt idx="42">
                  <c:v>855.2727</c:v>
                </c:pt>
                <c:pt idx="43">
                  <c:v>816.3077</c:v>
                </c:pt>
                <c:pt idx="44">
                  <c:v>817.625</c:v>
                </c:pt>
                <c:pt idx="45">
                  <c:v>754.3125</c:v>
                </c:pt>
                <c:pt idx="46">
                  <c:v>764.75</c:v>
                </c:pt>
                <c:pt idx="47">
                  <c:v>804.8</c:v>
                </c:pt>
                <c:pt idx="48">
                  <c:v>785.375</c:v>
                </c:pt>
                <c:pt idx="49">
                  <c:v>785.3125</c:v>
                </c:pt>
                <c:pt idx="50">
                  <c:v>892.0</c:v>
                </c:pt>
                <c:pt idx="51">
                  <c:v>882.8333</c:v>
                </c:pt>
                <c:pt idx="52">
                  <c:v>915.3333</c:v>
                </c:pt>
                <c:pt idx="53">
                  <c:v>725.75</c:v>
                </c:pt>
                <c:pt idx="54">
                  <c:v>833.75</c:v>
                </c:pt>
                <c:pt idx="55">
                  <c:v>890.6667</c:v>
                </c:pt>
                <c:pt idx="56">
                  <c:v>980.0</c:v>
                </c:pt>
                <c:pt idx="57">
                  <c:v>1434.0</c:v>
                </c:pt>
                <c:pt idx="58">
                  <c:v>1023.25</c:v>
                </c:pt>
                <c:pt idx="59">
                  <c:v>780.0</c:v>
                </c:pt>
                <c:pt idx="60">
                  <c:v>804.25</c:v>
                </c:pt>
                <c:pt idx="61">
                  <c:v>902.0</c:v>
                </c:pt>
                <c:pt idx="62">
                  <c:v>693.5</c:v>
                </c:pt>
                <c:pt idx="63">
                  <c:v>905.3333</c:v>
                </c:pt>
                <c:pt idx="64">
                  <c:v>965.0</c:v>
                </c:pt>
                <c:pt idx="65">
                  <c:v>812.0</c:v>
                </c:pt>
                <c:pt idx="66">
                  <c:v>839.0</c:v>
                </c:pt>
                <c:pt idx="67">
                  <c:v>1298.0</c:v>
                </c:pt>
                <c:pt idx="68">
                  <c:v>945.0</c:v>
                </c:pt>
                <c:pt idx="69">
                  <c:v>1152.0</c:v>
                </c:pt>
                <c:pt idx="70">
                  <c:v>1564.0</c:v>
                </c:pt>
                <c:pt idx="71">
                  <c:v>1213.0</c:v>
                </c:pt>
                <c:pt idx="72">
                  <c:v>1019.0</c:v>
                </c:pt>
                <c:pt idx="73">
                  <c:v>884.0</c:v>
                </c:pt>
                <c:pt idx="74">
                  <c:v>1400.0</c:v>
                </c:pt>
                <c:pt idx="75">
                  <c:v>1084.0</c:v>
                </c:pt>
                <c:pt idx="76">
                  <c:v>1287.0</c:v>
                </c:pt>
                <c:pt idx="77">
                  <c:v>1020.0</c:v>
                </c:pt>
                <c:pt idx="78">
                  <c:v>1152.0</c:v>
                </c:pt>
                <c:pt idx="79">
                  <c:v>713.5</c:v>
                </c:pt>
                <c:pt idx="80">
                  <c:v>880.0</c:v>
                </c:pt>
                <c:pt idx="81">
                  <c:v>1432.0</c:v>
                </c:pt>
                <c:pt idx="82">
                  <c:v>1519.0</c:v>
                </c:pt>
                <c:pt idx="83">
                  <c:v>824.3333</c:v>
                </c:pt>
                <c:pt idx="84">
                  <c:v>1299.5</c:v>
                </c:pt>
                <c:pt idx="85">
                  <c:v>1669.0</c:v>
                </c:pt>
                <c:pt idx="86">
                  <c:v>480.3333</c:v>
                </c:pt>
                <c:pt idx="87">
                  <c:v>874.5</c:v>
                </c:pt>
                <c:pt idx="88">
                  <c:v>847.3333</c:v>
                </c:pt>
                <c:pt idx="89">
                  <c:v>650.0</c:v>
                </c:pt>
                <c:pt idx="90">
                  <c:v>736.3333</c:v>
                </c:pt>
                <c:pt idx="91">
                  <c:v>628.0</c:v>
                </c:pt>
                <c:pt idx="92">
                  <c:v>1597.0</c:v>
                </c:pt>
                <c:pt idx="93">
                  <c:v>970.5</c:v>
                </c:pt>
                <c:pt idx="94">
                  <c:v>767.25</c:v>
                </c:pt>
                <c:pt idx="95">
                  <c:v>779.3333</c:v>
                </c:pt>
                <c:pt idx="96">
                  <c:v>627.0</c:v>
                </c:pt>
                <c:pt idx="97">
                  <c:v>231.0</c:v>
                </c:pt>
                <c:pt idx="98">
                  <c:v>233.5</c:v>
                </c:pt>
              </c:numCache>
            </c:numRef>
          </c:xVal>
          <c:yVal>
            <c:numRef>
              <c:f>Sheet1!$B$2:$B$100</c:f>
              <c:numCache>
                <c:formatCode>General</c:formatCode>
                <c:ptCount val="99"/>
                <c:pt idx="0">
                  <c:v>0.6</c:v>
                </c:pt>
                <c:pt idx="1">
                  <c:v>0.5217391304347826</c:v>
                </c:pt>
                <c:pt idx="2">
                  <c:v>0.42105263157894735</c:v>
                </c:pt>
                <c:pt idx="3">
                  <c:v>0.5625</c:v>
                </c:pt>
                <c:pt idx="4">
                  <c:v>0.4666666666666667</c:v>
                </c:pt>
                <c:pt idx="5">
                  <c:v>0.375</c:v>
                </c:pt>
                <c:pt idx="6">
                  <c:v>0.4166666666666667</c:v>
                </c:pt>
                <c:pt idx="7">
                  <c:v>0.45454545454545453</c:v>
                </c:pt>
                <c:pt idx="8">
                  <c:v>0.5</c:v>
                </c:pt>
                <c:pt idx="9">
                  <c:v>0.46153846153846156</c:v>
                </c:pt>
                <c:pt idx="10">
                  <c:v>0.4</c:v>
                </c:pt>
                <c:pt idx="11">
                  <c:v>0.25</c:v>
                </c:pt>
                <c:pt idx="12">
                  <c:v>0.38095238095238093</c:v>
                </c:pt>
                <c:pt idx="13">
                  <c:v>0.47619047619047616</c:v>
                </c:pt>
                <c:pt idx="14">
                  <c:v>0.45454545454545453</c:v>
                </c:pt>
                <c:pt idx="15">
                  <c:v>0.29411764705882354</c:v>
                </c:pt>
                <c:pt idx="16">
                  <c:v>0.3333333333333333</c:v>
                </c:pt>
                <c:pt idx="17">
                  <c:v>0.3076923076923077</c:v>
                </c:pt>
                <c:pt idx="18">
                  <c:v>0.3</c:v>
                </c:pt>
                <c:pt idx="19">
                  <c:v>0.4444444444444444</c:v>
                </c:pt>
                <c:pt idx="20">
                  <c:v>0.375</c:v>
                </c:pt>
                <c:pt idx="21">
                  <c:v>0.4</c:v>
                </c:pt>
                <c:pt idx="22">
                  <c:v>0.4</c:v>
                </c:pt>
                <c:pt idx="23">
                  <c:v>0.16666666666666666</c:v>
                </c:pt>
                <c:pt idx="24">
                  <c:v>0.2</c:v>
                </c:pt>
                <c:pt idx="25">
                  <c:v>0.4</c:v>
                </c:pt>
                <c:pt idx="26">
                  <c:v>0.5</c:v>
                </c:pt>
                <c:pt idx="27">
                  <c:v>0.5714285714285714</c:v>
                </c:pt>
                <c:pt idx="28">
                  <c:v>0.4444444444444444</c:v>
                </c:pt>
                <c:pt idx="29">
                  <c:v>0.5555555555555556</c:v>
                </c:pt>
                <c:pt idx="30">
                  <c:v>0.5</c:v>
                </c:pt>
                <c:pt idx="31">
                  <c:v>0.6666666666666666</c:v>
                </c:pt>
                <c:pt idx="32">
                  <c:v>0.2</c:v>
                </c:pt>
                <c:pt idx="33">
                  <c:v>0.2</c:v>
                </c:pt>
                <c:pt idx="34">
                  <c:v>0.5</c:v>
                </c:pt>
                <c:pt idx="35">
                  <c:v>0.2222222222222222</c:v>
                </c:pt>
                <c:pt idx="36">
                  <c:v>0.5555555555555556</c:v>
                </c:pt>
                <c:pt idx="37">
                  <c:v>0.5</c:v>
                </c:pt>
                <c:pt idx="38">
                  <c:v>0.42857142857142855</c:v>
                </c:pt>
                <c:pt idx="39">
                  <c:v>0.5555555555555556</c:v>
                </c:pt>
                <c:pt idx="40">
                  <c:v>0.6875</c:v>
                </c:pt>
                <c:pt idx="41">
                  <c:v>0.7857142857142857</c:v>
                </c:pt>
                <c:pt idx="42">
                  <c:v>0.6875</c:v>
                </c:pt>
                <c:pt idx="43">
                  <c:v>0.6842105263157895</c:v>
                </c:pt>
                <c:pt idx="44">
                  <c:v>0.6956521739130435</c:v>
                </c:pt>
                <c:pt idx="45">
                  <c:v>0.7272727272727273</c:v>
                </c:pt>
                <c:pt idx="46">
                  <c:v>0.631578947368421</c:v>
                </c:pt>
                <c:pt idx="47">
                  <c:v>0.5882352941176471</c:v>
                </c:pt>
                <c:pt idx="48">
                  <c:v>0.38095238095238093</c:v>
                </c:pt>
                <c:pt idx="49">
                  <c:v>0.48484848484848486</c:v>
                </c:pt>
                <c:pt idx="50">
                  <c:v>0.36363636363636365</c:v>
                </c:pt>
                <c:pt idx="51">
                  <c:v>0.46153846153846156</c:v>
                </c:pt>
                <c:pt idx="52">
                  <c:v>0.375</c:v>
                </c:pt>
                <c:pt idx="53">
                  <c:v>0.36363636363636365</c:v>
                </c:pt>
                <c:pt idx="54">
                  <c:v>0.4444444444444444</c:v>
                </c:pt>
                <c:pt idx="55">
                  <c:v>0.25</c:v>
                </c:pt>
                <c:pt idx="56">
                  <c:v>0.13333333333333333</c:v>
                </c:pt>
                <c:pt idx="57">
                  <c:v>0.2</c:v>
                </c:pt>
                <c:pt idx="58">
                  <c:v>0.3076923076923077</c:v>
                </c:pt>
                <c:pt idx="59">
                  <c:v>0.20833333333333334</c:v>
                </c:pt>
                <c:pt idx="60">
                  <c:v>0.19047619047619047</c:v>
                </c:pt>
                <c:pt idx="61">
                  <c:v>0.16666666666666666</c:v>
                </c:pt>
                <c:pt idx="62">
                  <c:v>0.2222222222222222</c:v>
                </c:pt>
                <c:pt idx="63">
                  <c:v>0.1875</c:v>
                </c:pt>
                <c:pt idx="64">
                  <c:v>0.15384615384615385</c:v>
                </c:pt>
                <c:pt idx="65">
                  <c:v>0.15384615384615385</c:v>
                </c:pt>
                <c:pt idx="66">
                  <c:v>0.15384615384615385</c:v>
                </c:pt>
                <c:pt idx="67">
                  <c:v>0.0625</c:v>
                </c:pt>
                <c:pt idx="68">
                  <c:v>0.1</c:v>
                </c:pt>
                <c:pt idx="69">
                  <c:v>0.1111111111111111</c:v>
                </c:pt>
                <c:pt idx="70">
                  <c:v>0.125</c:v>
                </c:pt>
                <c:pt idx="71">
                  <c:v>0.125</c:v>
                </c:pt>
                <c:pt idx="72">
                  <c:v>0.125</c:v>
                </c:pt>
                <c:pt idx="73">
                  <c:v>0.1</c:v>
                </c:pt>
                <c:pt idx="74">
                  <c:v>0.125</c:v>
                </c:pt>
                <c:pt idx="75">
                  <c:v>0.16666666666666666</c:v>
                </c:pt>
                <c:pt idx="76">
                  <c:v>0.25</c:v>
                </c:pt>
                <c:pt idx="77">
                  <c:v>0.25</c:v>
                </c:pt>
                <c:pt idx="78">
                  <c:v>0.14285714285714285</c:v>
                </c:pt>
                <c:pt idx="79">
                  <c:v>0.25</c:v>
                </c:pt>
                <c:pt idx="80">
                  <c:v>0.2</c:v>
                </c:pt>
                <c:pt idx="81">
                  <c:v>0.16666666666666666</c:v>
                </c:pt>
                <c:pt idx="82">
                  <c:v>0.16666666666666666</c:v>
                </c:pt>
                <c:pt idx="83">
                  <c:v>0.3</c:v>
                </c:pt>
                <c:pt idx="84">
                  <c:v>0.3333333333333333</c:v>
                </c:pt>
                <c:pt idx="85">
                  <c:v>0.1111111111111111</c:v>
                </c:pt>
                <c:pt idx="86">
                  <c:v>0.42857142857142855</c:v>
                </c:pt>
                <c:pt idx="87">
                  <c:v>0.25</c:v>
                </c:pt>
                <c:pt idx="88">
                  <c:v>0.375</c:v>
                </c:pt>
                <c:pt idx="89">
                  <c:v>0.3333333333333333</c:v>
                </c:pt>
                <c:pt idx="90">
                  <c:v>0.2727272727272727</c:v>
                </c:pt>
                <c:pt idx="91">
                  <c:v>0.1111111111111111</c:v>
                </c:pt>
                <c:pt idx="92">
                  <c:v>0.125</c:v>
                </c:pt>
                <c:pt idx="93">
                  <c:v>0.16666666666666666</c:v>
                </c:pt>
                <c:pt idx="94">
                  <c:v>0.2</c:v>
                </c:pt>
                <c:pt idx="95">
                  <c:v>0.3</c:v>
                </c:pt>
                <c:pt idx="96">
                  <c:v>0.14285714285714285</c:v>
                </c:pt>
                <c:pt idx="97">
                  <c:v>0.5714285714285714</c:v>
                </c:pt>
                <c:pt idx="98">
                  <c:v>0.6666666666666666</c:v>
                </c:pt>
              </c:numCache>
            </c:numRef>
          </c:yVal>
          <c:smooth val="0"/>
          <c:extLst>
            <c:ext xmlns:c16="http://schemas.microsoft.com/office/drawing/2014/chart" uri="{C3380CC4-5D6E-409C-BE32-E72D297353CC}">
              <c16:uniqueId val="{00000000-F32D-48B7-BC20-E66FC6253BAD}"/>
            </c:ext>
          </c:extLst>
        </c:ser>
        <c:ser>
          <c:idx val="1"/>
          <c:order val="1"/>
          <c:tx>
            <c:strRef>
              <c:f>Sheet1!$B$10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3:$A$150</c:f>
              <c:numCache>
                <c:formatCode>General</c:formatCode>
                <c:ptCount val="48"/>
                <c:pt idx="0">
                  <c:v>0.0</c:v>
                </c:pt>
                <c:pt idx="1">
                  <c:v>0.0</c:v>
                </c:pt>
                <c:pt idx="2">
                  <c:v>0.0</c:v>
                </c:pt>
                <c:pt idx="3">
                  <c:v>0.0</c:v>
                </c:pt>
                <c:pt idx="4">
                  <c:v>0.0</c:v>
                </c:pt>
                <c:pt idx="5">
                  <c:v>656.0</c:v>
                </c:pt>
                <c:pt idx="6">
                  <c:v>624.0</c:v>
                </c:pt>
                <c:pt idx="7">
                  <c:v>1024.0</c:v>
                </c:pt>
                <c:pt idx="8">
                  <c:v>1024.0</c:v>
                </c:pt>
                <c:pt idx="9">
                  <c:v>1008.0</c:v>
                </c:pt>
                <c:pt idx="10">
                  <c:v>624.0</c:v>
                </c:pt>
                <c:pt idx="11">
                  <c:v>816.0</c:v>
                </c:pt>
                <c:pt idx="12">
                  <c:v>0.0</c:v>
                </c:pt>
                <c:pt idx="13">
                  <c:v>624.0</c:v>
                </c:pt>
                <c:pt idx="14">
                  <c:v>0.0</c:v>
                </c:pt>
                <c:pt idx="15">
                  <c:v>720.0</c:v>
                </c:pt>
                <c:pt idx="16">
                  <c:v>804.0</c:v>
                </c:pt>
                <c:pt idx="17">
                  <c:v>1075.5</c:v>
                </c:pt>
                <c:pt idx="18">
                  <c:v>832.0</c:v>
                </c:pt>
                <c:pt idx="19">
                  <c:v>824.0</c:v>
                </c:pt>
                <c:pt idx="20">
                  <c:v>987.3333</c:v>
                </c:pt>
                <c:pt idx="21">
                  <c:v>763.5</c:v>
                </c:pt>
                <c:pt idx="22">
                  <c:v>658.0</c:v>
                </c:pt>
                <c:pt idx="23">
                  <c:v>624.0</c:v>
                </c:pt>
                <c:pt idx="24">
                  <c:v>608.0</c:v>
                </c:pt>
                <c:pt idx="25">
                  <c:v>0.0</c:v>
                </c:pt>
                <c:pt idx="26">
                  <c:v>0.0</c:v>
                </c:pt>
                <c:pt idx="27">
                  <c:v>0.0</c:v>
                </c:pt>
                <c:pt idx="28">
                  <c:v>0.0</c:v>
                </c:pt>
                <c:pt idx="29">
                  <c:v>0.0</c:v>
                </c:pt>
                <c:pt idx="30">
                  <c:v>630.0</c:v>
                </c:pt>
                <c:pt idx="31">
                  <c:v>0.0</c:v>
                </c:pt>
                <c:pt idx="32">
                  <c:v>0.0</c:v>
                </c:pt>
                <c:pt idx="33">
                  <c:v>0.0</c:v>
                </c:pt>
                <c:pt idx="34">
                  <c:v>0.0</c:v>
                </c:pt>
                <c:pt idx="35">
                  <c:v>630.0</c:v>
                </c:pt>
                <c:pt idx="36">
                  <c:v>0.0</c:v>
                </c:pt>
                <c:pt idx="37">
                  <c:v>0.0</c:v>
                </c:pt>
                <c:pt idx="38">
                  <c:v>0.0</c:v>
                </c:pt>
                <c:pt idx="39">
                  <c:v>0.0</c:v>
                </c:pt>
                <c:pt idx="40">
                  <c:v>0.0</c:v>
                </c:pt>
                <c:pt idx="41">
                  <c:v>0.0</c:v>
                </c:pt>
                <c:pt idx="42">
                  <c:v>0.0</c:v>
                </c:pt>
                <c:pt idx="43">
                  <c:v>0.0</c:v>
                </c:pt>
                <c:pt idx="44">
                  <c:v>0.0</c:v>
                </c:pt>
                <c:pt idx="45">
                  <c:v>0.0</c:v>
                </c:pt>
                <c:pt idx="46">
                  <c:v>0.0</c:v>
                </c:pt>
                <c:pt idx="47">
                  <c:v>0.0</c:v>
                </c:pt>
              </c:numCache>
            </c:numRef>
          </c:xVal>
          <c:yVal>
            <c:numRef>
              <c:f>Sheet1!$B$103:$B$150</c:f>
              <c:numCache>
                <c:formatCode>General</c:formatCode>
                <c:ptCount val="48"/>
                <c:pt idx="0">
                  <c:v>0.0</c:v>
                </c:pt>
                <c:pt idx="1">
                  <c:v>0.0</c:v>
                </c:pt>
                <c:pt idx="2">
                  <c:v>0.0</c:v>
                </c:pt>
                <c:pt idx="3">
                  <c:v>0.0</c:v>
                </c:pt>
                <c:pt idx="4">
                  <c:v>0.0</c:v>
                </c:pt>
                <c:pt idx="5">
                  <c:v>0.18181818181818182</c:v>
                </c:pt>
                <c:pt idx="6">
                  <c:v>0.1111111111111111</c:v>
                </c:pt>
                <c:pt idx="7">
                  <c:v>0.14285714285714285</c:v>
                </c:pt>
                <c:pt idx="8">
                  <c:v>0.16666666666666666</c:v>
                </c:pt>
                <c:pt idx="9">
                  <c:v>0.125</c:v>
                </c:pt>
                <c:pt idx="10">
                  <c:v>0.125</c:v>
                </c:pt>
                <c:pt idx="11">
                  <c:v>0.2</c:v>
                </c:pt>
                <c:pt idx="12">
                  <c:v>0.0</c:v>
                </c:pt>
                <c:pt idx="13">
                  <c:v>0.5</c:v>
                </c:pt>
                <c:pt idx="14">
                  <c:v>0.0</c:v>
                </c:pt>
                <c:pt idx="15">
                  <c:v>0.5</c:v>
                </c:pt>
                <c:pt idx="16">
                  <c:v>0.3333333333333333</c:v>
                </c:pt>
                <c:pt idx="17">
                  <c:v>0.15384615384615385</c:v>
                </c:pt>
                <c:pt idx="18">
                  <c:v>0.2727272727272727</c:v>
                </c:pt>
                <c:pt idx="19">
                  <c:v>0.25</c:v>
                </c:pt>
                <c:pt idx="20">
                  <c:v>0.5</c:v>
                </c:pt>
                <c:pt idx="21">
                  <c:v>0.2857142857142857</c:v>
                </c:pt>
                <c:pt idx="22">
                  <c:v>0.25</c:v>
                </c:pt>
                <c:pt idx="23">
                  <c:v>0.5</c:v>
                </c:pt>
                <c:pt idx="24">
                  <c:v>0.2</c:v>
                </c:pt>
                <c:pt idx="25">
                  <c:v>0.0</c:v>
                </c:pt>
                <c:pt idx="26">
                  <c:v>0.0</c:v>
                </c:pt>
                <c:pt idx="27">
                  <c:v>0.0</c:v>
                </c:pt>
                <c:pt idx="28">
                  <c:v>0.0</c:v>
                </c:pt>
                <c:pt idx="29">
                  <c:v>0.0</c:v>
                </c:pt>
                <c:pt idx="30">
                  <c:v>0.25</c:v>
                </c:pt>
                <c:pt idx="31">
                  <c:v>0.0</c:v>
                </c:pt>
                <c:pt idx="32">
                  <c:v>0.0</c:v>
                </c:pt>
                <c:pt idx="33">
                  <c:v>0.0</c:v>
                </c:pt>
                <c:pt idx="34">
                  <c:v>0.0</c:v>
                </c:pt>
                <c:pt idx="35">
                  <c:v>0.16666666666666666</c:v>
                </c:pt>
                <c:pt idx="36">
                  <c:v>0.0</c:v>
                </c:pt>
                <c:pt idx="37">
                  <c:v>0.0</c:v>
                </c:pt>
                <c:pt idx="38">
                  <c:v>0.0</c:v>
                </c:pt>
                <c:pt idx="39">
                  <c:v>0.0</c:v>
                </c:pt>
                <c:pt idx="40">
                  <c:v>0.0</c:v>
                </c:pt>
                <c:pt idx="41">
                  <c:v>0.0</c:v>
                </c:pt>
                <c:pt idx="42">
                  <c:v>0.0</c:v>
                </c:pt>
                <c:pt idx="43">
                  <c:v>0.0</c:v>
                </c:pt>
                <c:pt idx="44">
                  <c:v>0.0</c:v>
                </c:pt>
                <c:pt idx="45">
                  <c:v>0.0</c:v>
                </c:pt>
                <c:pt idx="46">
                  <c:v>0.0</c:v>
                </c:pt>
                <c:pt idx="47">
                  <c:v>0.0</c:v>
                </c:pt>
              </c:numCache>
            </c:numRef>
          </c:yVal>
          <c:smooth val="0"/>
          <c:extLst>
            <c:ext xmlns:c16="http://schemas.microsoft.com/office/drawing/2014/chart" uri="{C3380CC4-5D6E-409C-BE32-E72D297353CC}">
              <c16:uniqueId val="{00000002-F32D-48B7-BC20-E66FC6253BAD}"/>
            </c:ext>
          </c:extLst>
        </c:ser>
        <c:ser>
          <c:idx val="2"/>
          <c:order val="2"/>
          <c:tx>
            <c:strRef>
              <c:f>Sheet1!$B$152</c:f>
              <c:strCache>
                <c:ptCount val="1"/>
                <c:pt idx="0">
                  <c:v>Custom Linep3yQ</c:v>
                </c:pt>
              </c:strCache>
            </c:strRef>
          </c:tx>
          <c:spPr>
            <a:ln w="19050" cap="rnd">
              <a:solidFill>
                <a:srgbClr val="C00000"/>
              </a:solidFill>
              <a:prstDash val="sysDot"/>
              <a:round/>
            </a:ln>
            <a:effectLst/>
          </c:spPr>
          <c:marker>
            <c:symbol val="none"/>
          </c:marker>
          <c:xVal>
            <c:numRef>
              <c:f>Sheet1!$A$153:$A$154</c:f>
              <c:numCache>
                <c:formatCode>General</c:formatCode>
                <c:ptCount val="2"/>
                <c:pt idx="0">
                  <c:v>0</c:v>
                </c:pt>
                <c:pt idx="1">
                  <c:v>1933.5479506290555</c:v>
                </c:pt>
              </c:numCache>
            </c:numRef>
          </c:xVal>
          <c:yVal>
            <c:numRef>
              <c:f>Sheet1!$B$153:$B$154</c:f>
              <c:numCache>
                <c:formatCode>General</c:formatCode>
                <c:ptCount val="2"/>
                <c:pt idx="0">
                  <c:v>0.5961206705082058</c:v>
                </c:pt>
                <c:pt idx="1">
                  <c:v>0.5961206705082058</c:v>
                </c:pt>
              </c:numCache>
            </c:numRef>
          </c:yVal>
          <c:smooth val="0"/>
          <c:extLst>
            <c:ext xmlns:c16="http://schemas.microsoft.com/office/drawing/2014/chart" uri="{C3380CC4-5D6E-409C-BE32-E72D297353CC}">
              <c16:uniqueId val="{00000003-F32D-48B7-BC20-E66FC6253BAD}"/>
            </c:ext>
          </c:extLst>
        </c:ser>
        <c:ser>
          <c:idx val="3"/>
          <c:order val="3"/>
          <c:tx>
            <c:strRef>
              <c:f>Sheet1!$B$1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7:$A$158</c:f>
              <c:numCache>
                <c:formatCode>General</c:formatCode>
                <c:ptCount val="2"/>
                <c:pt idx="0">
                  <c:v>1933.5479506290555</c:v>
                </c:pt>
                <c:pt idx="1">
                  <c:v>1933.5479506290555</c:v>
                </c:pt>
              </c:numCache>
            </c:numRef>
          </c:xVal>
          <c:yVal>
            <c:numRef>
              <c:f>Sheet1!$B$157:$B$158</c:f>
              <c:numCache>
                <c:formatCode>General</c:formatCode>
                <c:ptCount val="2"/>
                <c:pt idx="0">
                  <c:v>0.59612067050820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1:$A$162</c:f>
              <c:numCache>
                <c:formatCode>General</c:formatCode>
                <c:ptCount val="2"/>
                <c:pt idx="0">
                  <c:v>0</c:v>
                </c:pt>
                <c:pt idx="1">
                  <c:v>789.6888545473889</c:v>
                </c:pt>
              </c:numCache>
            </c:numRef>
          </c:xVal>
          <c:yVal>
            <c:numRef>
              <c:f>Sheet1!$B$161:$B$162</c:f>
              <c:numCache>
                <c:formatCode>General</c:formatCode>
                <c:ptCount val="2"/>
                <c:pt idx="0">
                  <c:v>0.24966315735546504</c:v>
                </c:pt>
                <c:pt idx="1">
                  <c:v>0.24966315735546504</c:v>
                </c:pt>
              </c:numCache>
            </c:numRef>
          </c:yVal>
          <c:smooth val="0"/>
          <c:extLst>
            <c:ext xmlns:c16="http://schemas.microsoft.com/office/drawing/2014/chart" uri="{C3380CC4-5D6E-409C-BE32-E72D297353CC}">
              <c16:uniqueId val="{0000000A-F32D-48B7-BC20-E66FC6253BAD}"/>
            </c:ext>
          </c:extLst>
        </c:ser>
        <c:ser>
          <c:idx val="5"/>
          <c:order val="5"/>
          <c:tx>
            <c:strRef>
              <c:f>Sheet1!$B$16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5:$A$166</c:f>
              <c:numCache>
                <c:formatCode>General</c:formatCode>
                <c:ptCount val="2"/>
                <c:pt idx="0">
                  <c:v>789.6888545473889</c:v>
                </c:pt>
                <c:pt idx="1">
                  <c:v>789.6888545473889</c:v>
                </c:pt>
              </c:numCache>
            </c:numRef>
          </c:xVal>
          <c:yVal>
            <c:numRef>
              <c:f>Sheet1!$B$165:$B$166</c:f>
              <c:numCache>
                <c:formatCode>General</c:formatCode>
                <c:ptCount val="2"/>
                <c:pt idx="0">
                  <c:v>0.249663157355465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9:$A$170</c:f>
              <c:numCache>
                <c:formatCode>General</c:formatCode>
                <c:ptCount val="2"/>
                <c:pt idx="0">
                  <c:v>0</c:v>
                </c:pt>
                <c:pt idx="1">
                  <c:v>-34.59540154728362</c:v>
                </c:pt>
              </c:numCache>
            </c:numRef>
          </c:xVal>
          <c:yVal>
            <c:numRef>
              <c:f>Sheet1!$B$169:$B$17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7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3:$A$174</c:f>
              <c:numCache>
                <c:formatCode>General</c:formatCode>
                <c:ptCount val="2"/>
                <c:pt idx="0">
                  <c:v>-34.59540154728362</c:v>
                </c:pt>
                <c:pt idx="1">
                  <c:v>-34.59540154728362</c:v>
                </c:pt>
              </c:numCache>
            </c:numRef>
          </c:xVal>
          <c:yVal>
            <c:numRef>
              <c:f>Sheet1!$B$173:$B$17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7:$A$227</c:f>
              <c:numCache>
                <c:formatCode>General</c:formatCode>
                <c:ptCount val="51"/>
                <c:pt idx="0">
                  <c:v>0.0</c:v>
                </c:pt>
                <c:pt idx="1">
                  <c:v>0.0</c:v>
                </c:pt>
                <c:pt idx="2">
                  <c:v>0.0</c:v>
                </c:pt>
                <c:pt idx="3">
                  <c:v>0.0</c:v>
                </c:pt>
                <c:pt idx="4">
                  <c:v>0.0</c:v>
                </c:pt>
                <c:pt idx="5">
                  <c:v>656.0</c:v>
                </c:pt>
                <c:pt idx="6">
                  <c:v>624.0</c:v>
                </c:pt>
                <c:pt idx="7">
                  <c:v>1024.0</c:v>
                </c:pt>
                <c:pt idx="8">
                  <c:v>1024.0</c:v>
                </c:pt>
                <c:pt idx="9">
                  <c:v>1008.0</c:v>
                </c:pt>
                <c:pt idx="10">
                  <c:v>624.0</c:v>
                </c:pt>
                <c:pt idx="11">
                  <c:v>816.0</c:v>
                </c:pt>
                <c:pt idx="12">
                  <c:v>0.0</c:v>
                </c:pt>
                <c:pt idx="13">
                  <c:v>624.0</c:v>
                </c:pt>
                <c:pt idx="14">
                  <c:v>0.0</c:v>
                </c:pt>
                <c:pt idx="15">
                  <c:v>720.0</c:v>
                </c:pt>
                <c:pt idx="16">
                  <c:v>804.0</c:v>
                </c:pt>
                <c:pt idx="17">
                  <c:v>1075.5</c:v>
                </c:pt>
                <c:pt idx="18">
                  <c:v>832.0</c:v>
                </c:pt>
                <c:pt idx="19">
                  <c:v>824.0</c:v>
                </c:pt>
                <c:pt idx="20">
                  <c:v>987.3333</c:v>
                </c:pt>
                <c:pt idx="21">
                  <c:v>763.5</c:v>
                </c:pt>
                <c:pt idx="22">
                  <c:v>658.0</c:v>
                </c:pt>
                <c:pt idx="23">
                  <c:v>624.0</c:v>
                </c:pt>
                <c:pt idx="24">
                  <c:v>608.0</c:v>
                </c:pt>
                <c:pt idx="25">
                  <c:v>0.0</c:v>
                </c:pt>
                <c:pt idx="26">
                  <c:v>0.0</c:v>
                </c:pt>
                <c:pt idx="27">
                  <c:v>0.0</c:v>
                </c:pt>
                <c:pt idx="28">
                  <c:v>0.0</c:v>
                </c:pt>
                <c:pt idx="29">
                  <c:v>0.0</c:v>
                </c:pt>
                <c:pt idx="30">
                  <c:v>630.0</c:v>
                </c:pt>
                <c:pt idx="31">
                  <c:v>0.0</c:v>
                </c:pt>
                <c:pt idx="32">
                  <c:v>0.0</c:v>
                </c:pt>
                <c:pt idx="33">
                  <c:v>0.0</c:v>
                </c:pt>
                <c:pt idx="34">
                  <c:v>0.0</c:v>
                </c:pt>
                <c:pt idx="35">
                  <c:v>630.0</c:v>
                </c:pt>
                <c:pt idx="36">
                  <c:v>0.0</c:v>
                </c:pt>
                <c:pt idx="37">
                  <c:v>0.0</c:v>
                </c:pt>
                <c:pt idx="38">
                  <c:v>0.0</c:v>
                </c:pt>
                <c:pt idx="39">
                  <c:v>0.0</c:v>
                </c:pt>
                <c:pt idx="40">
                  <c:v>0.0</c:v>
                </c:pt>
                <c:pt idx="41">
                  <c:v>0.0</c:v>
                </c:pt>
                <c:pt idx="42">
                  <c:v>0.0</c:v>
                </c:pt>
                <c:pt idx="43">
                  <c:v>0.0</c:v>
                </c:pt>
                <c:pt idx="44">
                  <c:v>0.0</c:v>
                </c:pt>
                <c:pt idx="45">
                  <c:v>0.0</c:v>
                </c:pt>
                <c:pt idx="46">
                  <c:v>0.0</c:v>
                </c:pt>
                <c:pt idx="47">
                  <c:v>0.0</c:v>
                </c:pt>
                <c:pt idx="48">
                  <c:v>789.6888545473889</c:v>
                </c:pt>
                <c:pt idx="49">
                  <c:v>1933.5479506290555</c:v>
                </c:pt>
                <c:pt idx="50">
                  <c:v>-34.59540154728362</c:v>
                </c:pt>
              </c:numCache>
            </c:numRef>
          </c:xVal>
          <c:yVal>
            <c:numRef>
              <c:f>Sheet1!$B$177:$B$227</c:f>
              <c:numCache>
                <c:formatCode>General</c:formatCode>
                <c:ptCount val="51"/>
                <c:pt idx="0">
                  <c:v>0.010478420661819544</c:v>
                </c:pt>
                <c:pt idx="1">
                  <c:v>0.010478420661819544</c:v>
                </c:pt>
                <c:pt idx="2">
                  <c:v>0.010478420661819544</c:v>
                </c:pt>
                <c:pt idx="3">
                  <c:v>0.010478420661819544</c:v>
                </c:pt>
                <c:pt idx="4">
                  <c:v>0.010478420661819544</c:v>
                </c:pt>
                <c:pt idx="5">
                  <c:v>0.20917083776698664</c:v>
                </c:pt>
                <c:pt idx="6">
                  <c:v>0.1994785247374663</c:v>
                </c:pt>
                <c:pt idx="7">
                  <c:v>0.32063243760647064</c:v>
                </c:pt>
                <c:pt idx="8">
                  <c:v>0.32063243760647064</c:v>
                </c:pt>
                <c:pt idx="9">
                  <c:v>0.3157862810917105</c:v>
                </c:pt>
                <c:pt idx="10">
                  <c:v>0.1994785247374663</c:v>
                </c:pt>
                <c:pt idx="11">
                  <c:v>0.2576324029145884</c:v>
                </c:pt>
                <c:pt idx="12">
                  <c:v>0.010478420661819544</c:v>
                </c:pt>
                <c:pt idx="13">
                  <c:v>0.1994785247374663</c:v>
                </c:pt>
                <c:pt idx="14">
                  <c:v>0.010478420661819544</c:v>
                </c:pt>
                <c:pt idx="15">
                  <c:v>0.22855546382602734</c:v>
                </c:pt>
                <c:pt idx="16">
                  <c:v>0.25399778552851826</c:v>
                </c:pt>
                <c:pt idx="17">
                  <c:v>0.336231003888355</c:v>
                </c:pt>
                <c:pt idx="18">
                  <c:v>0.26247855942934856</c:v>
                </c:pt>
                <c:pt idx="19">
                  <c:v>0.26005548117196847</c:v>
                </c:pt>
                <c:pt idx="20">
                  <c:v>0.30952665216398584</c:v>
                </c:pt>
                <c:pt idx="21">
                  <c:v>0.24173095185053156</c:v>
                </c:pt>
                <c:pt idx="22">
                  <c:v>0.20977660733133166</c:v>
                </c:pt>
                <c:pt idx="23">
                  <c:v>0.1994785247374663</c:v>
                </c:pt>
                <c:pt idx="24">
                  <c:v>0.19463236822270613</c:v>
                </c:pt>
                <c:pt idx="25">
                  <c:v>0.010478420661819544</c:v>
                </c:pt>
                <c:pt idx="26">
                  <c:v>0.010478420661819544</c:v>
                </c:pt>
                <c:pt idx="27">
                  <c:v>0.010478420661819544</c:v>
                </c:pt>
                <c:pt idx="28">
                  <c:v>0.010478420661819544</c:v>
                </c:pt>
                <c:pt idx="29">
                  <c:v>0.010478420661819544</c:v>
                </c:pt>
                <c:pt idx="30">
                  <c:v>0.20129583343050136</c:v>
                </c:pt>
                <c:pt idx="31">
                  <c:v>0.010478420661819544</c:v>
                </c:pt>
                <c:pt idx="32">
                  <c:v>0.010478420661819544</c:v>
                </c:pt>
                <c:pt idx="33">
                  <c:v>0.010478420661819544</c:v>
                </c:pt>
                <c:pt idx="34">
                  <c:v>0.010478420661819544</c:v>
                </c:pt>
                <c:pt idx="35">
                  <c:v>0.20129583343050136</c:v>
                </c:pt>
                <c:pt idx="36">
                  <c:v>0.010478420661819544</c:v>
                </c:pt>
                <c:pt idx="37">
                  <c:v>0.010478420661819544</c:v>
                </c:pt>
                <c:pt idx="38">
                  <c:v>0.010478420661819544</c:v>
                </c:pt>
                <c:pt idx="39">
                  <c:v>0.010478420661819544</c:v>
                </c:pt>
                <c:pt idx="40">
                  <c:v>0.010478420661819544</c:v>
                </c:pt>
                <c:pt idx="41">
                  <c:v>0.010478420661819544</c:v>
                </c:pt>
                <c:pt idx="42">
                  <c:v>0.010478420661819544</c:v>
                </c:pt>
                <c:pt idx="43">
                  <c:v>0.010478420661819544</c:v>
                </c:pt>
                <c:pt idx="44">
                  <c:v>0.010478420661819544</c:v>
                </c:pt>
                <c:pt idx="45">
                  <c:v>0.010478420661819544</c:v>
                </c:pt>
                <c:pt idx="46">
                  <c:v>0.010478420661819544</c:v>
                </c:pt>
                <c:pt idx="47">
                  <c:v>0.010478420661819544</c:v>
                </c:pt>
                <c:pt idx="48">
                  <c:v>0.24966315735546504</c:v>
                </c:pt>
                <c:pt idx="49">
                  <c:v>0.5961206705082058</c:v>
                </c:pt>
                <c:pt idx="50">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2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9</c:f>
              <c:numCache>
                <c:formatCode>General</c:formatCode>
                <c:ptCount val="6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2689310810810811</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numCache>
            </c:numRef>
          </c:xVal>
          <c:yVal>
            <c:numRef>
              <c:f>Sheet1!$B$2:$B$69</c:f>
              <c:numCache>
                <c:formatCode>General</c:formatCode>
                <c:ptCount val="68"/>
                <c:pt idx="0">
                  <c:v>0.5217391304347826</c:v>
                </c:pt>
                <c:pt idx="1">
                  <c:v>0.5</c:v>
                </c:pt>
                <c:pt idx="2">
                  <c:v>0.46153846153846156</c:v>
                </c:pt>
                <c:pt idx="3">
                  <c:v>0.38095238095238093</c:v>
                </c:pt>
                <c:pt idx="4">
                  <c:v>0.375</c:v>
                </c:pt>
                <c:pt idx="5">
                  <c:v>0.6666666666666666</c:v>
                </c:pt>
                <c:pt idx="6">
                  <c:v>0.2</c:v>
                </c:pt>
                <c:pt idx="7">
                  <c:v>0.5</c:v>
                </c:pt>
                <c:pt idx="8">
                  <c:v>0.2222222222222222</c:v>
                </c:pt>
                <c:pt idx="9">
                  <c:v>0.6956521739130435</c:v>
                </c:pt>
                <c:pt idx="10">
                  <c:v>0.38095238095238093</c:v>
                </c:pt>
                <c:pt idx="11">
                  <c:v>0.46153846153846156</c:v>
                </c:pt>
                <c:pt idx="12">
                  <c:v>0.3076923076923077</c:v>
                </c:pt>
                <c:pt idx="13">
                  <c:v>0.20833333333333334</c:v>
                </c:pt>
                <c:pt idx="14">
                  <c:v>0.19047619047619047</c:v>
                </c:pt>
                <c:pt idx="15">
                  <c:v>0.16666666666666666</c:v>
                </c:pt>
                <c:pt idx="16">
                  <c:v>0.2222222222222222</c:v>
                </c:pt>
                <c:pt idx="17">
                  <c:v>0.1875</c:v>
                </c:pt>
                <c:pt idx="18">
                  <c:v>0.15384615384615385</c:v>
                </c:pt>
                <c:pt idx="19">
                  <c:v>0.15384615384615385</c:v>
                </c:pt>
                <c:pt idx="20">
                  <c:v>0.0625</c:v>
                </c:pt>
                <c:pt idx="21">
                  <c:v>0.1</c:v>
                </c:pt>
                <c:pt idx="22">
                  <c:v>0.1111111111111111</c:v>
                </c:pt>
                <c:pt idx="23">
                  <c:v>0.125</c:v>
                </c:pt>
                <c:pt idx="24">
                  <c:v>0.125</c:v>
                </c:pt>
                <c:pt idx="25">
                  <c:v>0.125</c:v>
                </c:pt>
                <c:pt idx="26">
                  <c:v>0.1</c:v>
                </c:pt>
                <c:pt idx="27">
                  <c:v>0.125</c:v>
                </c:pt>
                <c:pt idx="28">
                  <c:v>0.25</c:v>
                </c:pt>
                <c:pt idx="29">
                  <c:v>0.25</c:v>
                </c:pt>
                <c:pt idx="30">
                  <c:v>0.14285714285714285</c:v>
                </c:pt>
                <c:pt idx="31">
                  <c:v>0.25</c:v>
                </c:pt>
                <c:pt idx="32">
                  <c:v>0.2</c:v>
                </c:pt>
                <c:pt idx="33">
                  <c:v>0.16666666666666666</c:v>
                </c:pt>
                <c:pt idx="34">
                  <c:v>0.16666666666666666</c:v>
                </c:pt>
                <c:pt idx="35">
                  <c:v>0.3</c:v>
                </c:pt>
                <c:pt idx="36">
                  <c:v>0.3333333333333333</c:v>
                </c:pt>
                <c:pt idx="37">
                  <c:v>0.1111111111111111</c:v>
                </c:pt>
                <c:pt idx="38">
                  <c:v>0.42857142857142855</c:v>
                </c:pt>
                <c:pt idx="39">
                  <c:v>0.25</c:v>
                </c:pt>
                <c:pt idx="40">
                  <c:v>0.375</c:v>
                </c:pt>
                <c:pt idx="41">
                  <c:v>0.3333333333333333</c:v>
                </c:pt>
                <c:pt idx="42">
                  <c:v>0.2727272727272727</c:v>
                </c:pt>
                <c:pt idx="43">
                  <c:v>0.1111111111111111</c:v>
                </c:pt>
                <c:pt idx="44">
                  <c:v>0.125</c:v>
                </c:pt>
                <c:pt idx="45">
                  <c:v>0.16666666666666666</c:v>
                </c:pt>
                <c:pt idx="46">
                  <c:v>0.2</c:v>
                </c:pt>
                <c:pt idx="47">
                  <c:v>0.3</c:v>
                </c:pt>
                <c:pt idx="48">
                  <c:v>0.14285714285714285</c:v>
                </c:pt>
                <c:pt idx="49">
                  <c:v>0.5714285714285714</c:v>
                </c:pt>
                <c:pt idx="50">
                  <c:v>0.6666666666666666</c:v>
                </c:pt>
                <c:pt idx="51">
                  <c:v>0.18181818181818182</c:v>
                </c:pt>
                <c:pt idx="52">
                  <c:v>0.1111111111111111</c:v>
                </c:pt>
                <c:pt idx="53">
                  <c:v>0.14285714285714285</c:v>
                </c:pt>
                <c:pt idx="54">
                  <c:v>0.125</c:v>
                </c:pt>
                <c:pt idx="55">
                  <c:v>0.125</c:v>
                </c:pt>
                <c:pt idx="56">
                  <c:v>0.2</c:v>
                </c:pt>
                <c:pt idx="57">
                  <c:v>0.5</c:v>
                </c:pt>
                <c:pt idx="58">
                  <c:v>0.5</c:v>
                </c:pt>
                <c:pt idx="59">
                  <c:v>0.3333333333333333</c:v>
                </c:pt>
                <c:pt idx="60">
                  <c:v>0.25</c:v>
                </c:pt>
                <c:pt idx="61">
                  <c:v>0.5</c:v>
                </c:pt>
                <c:pt idx="62">
                  <c:v>0.2857142857142857</c:v>
                </c:pt>
                <c:pt idx="63">
                  <c:v>0.25</c:v>
                </c:pt>
                <c:pt idx="64">
                  <c:v>0.5</c:v>
                </c:pt>
                <c:pt idx="65">
                  <c:v>0.2</c:v>
                </c:pt>
                <c:pt idx="66">
                  <c:v>0.25</c:v>
                </c:pt>
                <c:pt idx="67">
                  <c:v>0.16666666666666666</c:v>
                </c:pt>
              </c:numCache>
            </c:numRef>
          </c:yVal>
          <c:smooth val="0"/>
          <c:extLst>
            <c:ext xmlns:c16="http://schemas.microsoft.com/office/drawing/2014/chart" uri="{C3380CC4-5D6E-409C-BE32-E72D297353CC}">
              <c16:uniqueId val="{00000000-096C-4121-9522-6AB7243CCAAE}"/>
            </c:ext>
          </c:extLst>
        </c:ser>
        <c:ser>
          <c:idx val="1"/>
          <c:order val="1"/>
          <c:tx>
            <c:strRef>
              <c:f>Sheet1!$B$7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2:$A$102</c:f>
              <c:numCache>
                <c:formatCode>General</c:formatCode>
                <c:ptCount val="31"/>
                <c:pt idx="0">
                  <c:v>0.0</c:v>
                </c:pt>
                <c:pt idx="1">
                  <c:v>0.0</c:v>
                </c:pt>
                <c:pt idx="2">
                  <c:v>0.0</c:v>
                </c:pt>
                <c:pt idx="3">
                  <c:v>0.0</c:v>
                </c:pt>
                <c:pt idx="4">
                  <c:v>0.0</c:v>
                </c:pt>
                <c:pt idx="5">
                  <c:v>0.2153975599495162</c:v>
                </c:pt>
                <c:pt idx="6">
                  <c:v>0.0</c:v>
                </c:pt>
                <c:pt idx="7">
                  <c:v>0.0</c:v>
                </c:pt>
                <c:pt idx="8">
                  <c:v>0.37298422056528524</c:v>
                </c:pt>
                <c:pt idx="9">
                  <c:v>0.1980952380952381</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numCache>
            </c:numRef>
          </c:xVal>
          <c:yVal>
            <c:numRef>
              <c:f>Sheet1!$B$72:$B$102</c:f>
              <c:numCache>
                <c:formatCode>General</c:formatCode>
                <c:ptCount val="31"/>
                <c:pt idx="0">
                  <c:v>0.0</c:v>
                </c:pt>
                <c:pt idx="1">
                  <c:v>0.0</c:v>
                </c:pt>
                <c:pt idx="2">
                  <c:v>0.0</c:v>
                </c:pt>
                <c:pt idx="3">
                  <c:v>0.0</c:v>
                </c:pt>
                <c:pt idx="4">
                  <c:v>0.0</c:v>
                </c:pt>
                <c:pt idx="5">
                  <c:v>0.16666666666666666</c:v>
                </c:pt>
                <c:pt idx="6">
                  <c:v>0.0</c:v>
                </c:pt>
                <c:pt idx="7">
                  <c:v>0.0</c:v>
                </c:pt>
                <c:pt idx="8">
                  <c:v>0.15384615384615385</c:v>
                </c:pt>
                <c:pt idx="9">
                  <c:v>0.2727272727272727</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numCache>
            </c:numRef>
          </c:yVal>
          <c:smooth val="0"/>
          <c:extLst>
            <c:ext xmlns:c16="http://schemas.microsoft.com/office/drawing/2014/chart" uri="{C3380CC4-5D6E-409C-BE32-E72D297353CC}">
              <c16:uniqueId val="{00000002-096C-4121-9522-6AB7243CCAAE}"/>
            </c:ext>
          </c:extLst>
        </c:ser>
        <c:ser>
          <c:idx val="2"/>
          <c:order val="2"/>
          <c:tx>
            <c:strRef>
              <c:f>Sheet1!$B$10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5:$A$106</c:f>
              <c:numCache>
                <c:formatCode>General</c:formatCode>
                <c:ptCount val="2"/>
                <c:pt idx="0">
                  <c:v>0</c:v>
                </c:pt>
                <c:pt idx="1">
                  <c:v>0.7868251826033426</c:v>
                </c:pt>
              </c:numCache>
            </c:numRef>
          </c:xVal>
          <c:yVal>
            <c:numRef>
              <c:f>Sheet1!$B$105:$B$106</c:f>
              <c:numCache>
                <c:formatCode>General</c:formatCode>
                <c:ptCount val="2"/>
                <c:pt idx="0">
                  <c:v>0.5108695652173914</c:v>
                </c:pt>
                <c:pt idx="1">
                  <c:v>0.5108695652173914</c:v>
                </c:pt>
              </c:numCache>
            </c:numRef>
          </c:yVal>
          <c:smooth val="0"/>
          <c:extLst>
            <c:ext xmlns:c16="http://schemas.microsoft.com/office/drawing/2014/chart" uri="{C3380CC4-5D6E-409C-BE32-E72D297353CC}">
              <c16:uniqueId val="{00000005-096C-4121-9522-6AB7243CCAAE}"/>
            </c:ext>
          </c:extLst>
        </c:ser>
        <c:ser>
          <c:idx val="3"/>
          <c:order val="3"/>
          <c:tx>
            <c:strRef>
              <c:f>Sheet1!$B$10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9:$A$110</c:f>
              <c:numCache>
                <c:formatCode>General</c:formatCode>
                <c:ptCount val="2"/>
                <c:pt idx="0">
                  <c:v>0.7868251826033426</c:v>
                </c:pt>
                <c:pt idx="1">
                  <c:v>0.7868251826033426</c:v>
                </c:pt>
              </c:numCache>
            </c:numRef>
          </c:xVal>
          <c:yVal>
            <c:numRef>
              <c:f>Sheet1!$B$109:$B$110</c:f>
              <c:numCache>
                <c:formatCode>General</c:formatCode>
                <c:ptCount val="2"/>
                <c:pt idx="0">
                  <c:v>0.51086956521739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3:$A$114</c:f>
              <c:numCache>
                <c:formatCode>General</c:formatCode>
                <c:ptCount val="2"/>
                <c:pt idx="0">
                  <c:v>0</c:v>
                </c:pt>
                <c:pt idx="1">
                  <c:v>0.382343482981038</c:v>
                </c:pt>
              </c:numCache>
            </c:numRef>
          </c:xVal>
          <c:yVal>
            <c:numRef>
              <c:f>Sheet1!$B$113:$B$114</c:f>
              <c:numCache>
                <c:formatCode>General</c:formatCode>
                <c:ptCount val="2"/>
                <c:pt idx="0">
                  <c:v>0.24966315735546504</c:v>
                </c:pt>
                <c:pt idx="1">
                  <c:v>0.24966315735546504</c:v>
                </c:pt>
              </c:numCache>
            </c:numRef>
          </c:yVal>
          <c:smooth val="0"/>
          <c:extLst>
            <c:ext xmlns:c16="http://schemas.microsoft.com/office/drawing/2014/chart" uri="{C3380CC4-5D6E-409C-BE32-E72D297353CC}">
              <c16:uniqueId val="{0000000D-096C-4121-9522-6AB7243CCAAE}"/>
            </c:ext>
          </c:extLst>
        </c:ser>
        <c:ser>
          <c:idx val="5"/>
          <c:order val="5"/>
          <c:tx>
            <c:strRef>
              <c:f>Sheet1!$B$11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7:$A$118</c:f>
              <c:numCache>
                <c:formatCode>General</c:formatCode>
                <c:ptCount val="2"/>
                <c:pt idx="0">
                  <c:v>0.382343482981038</c:v>
                </c:pt>
                <c:pt idx="1">
                  <c:v>0.382343482981038</c:v>
                </c:pt>
              </c:numCache>
            </c:numRef>
          </c:xVal>
          <c:yVal>
            <c:numRef>
              <c:f>Sheet1!$B$117:$B$118</c:f>
              <c:numCache>
                <c:formatCode>General</c:formatCode>
                <c:ptCount val="2"/>
                <c:pt idx="0">
                  <c:v>0.249663157355465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1:$A$122</c:f>
              <c:numCache>
                <c:formatCode>General</c:formatCode>
                <c:ptCount val="2"/>
                <c:pt idx="0">
                  <c:v>0</c:v>
                </c:pt>
                <c:pt idx="1">
                  <c:v>-0.004263335154869324</c:v>
                </c:pt>
              </c:numCache>
            </c:numRef>
          </c:xVal>
          <c:yVal>
            <c:numRef>
              <c:f>Sheet1!$B$121:$B$122</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2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5:$A$126</c:f>
              <c:numCache>
                <c:formatCode>General</c:formatCode>
                <c:ptCount val="2"/>
                <c:pt idx="0">
                  <c:v>-0.004263335154869324</c:v>
                </c:pt>
                <c:pt idx="1">
                  <c:v>-0.004263335154869324</c:v>
                </c:pt>
              </c:numCache>
            </c:numRef>
          </c:xVal>
          <c:yVal>
            <c:numRef>
              <c:f>Sheet1!$B$125:$B$126</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9:$A$162</c:f>
              <c:numCache>
                <c:formatCode>General</c:formatCode>
                <c:ptCount val="34"/>
                <c:pt idx="0">
                  <c:v>0.0</c:v>
                </c:pt>
                <c:pt idx="1">
                  <c:v>0.0</c:v>
                </c:pt>
                <c:pt idx="2">
                  <c:v>0.0</c:v>
                </c:pt>
                <c:pt idx="3">
                  <c:v>0.0</c:v>
                </c:pt>
                <c:pt idx="4">
                  <c:v>0.0</c:v>
                </c:pt>
                <c:pt idx="5">
                  <c:v>0.2153975599495162</c:v>
                </c:pt>
                <c:pt idx="6">
                  <c:v>0.0</c:v>
                </c:pt>
                <c:pt idx="7">
                  <c:v>0.0</c:v>
                </c:pt>
                <c:pt idx="8">
                  <c:v>0.37298422056528524</c:v>
                </c:pt>
                <c:pt idx="9">
                  <c:v>0.1980952380952381</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382343482981038</c:v>
                </c:pt>
                <c:pt idx="32">
                  <c:v>0.7868251826033426</c:v>
                </c:pt>
                <c:pt idx="33">
                  <c:v>-0.004263335154869324</c:v>
                </c:pt>
              </c:numCache>
            </c:numRef>
          </c:xVal>
          <c:yVal>
            <c:numRef>
              <c:f>Sheet1!$B$129:$B$162</c:f>
              <c:numCache>
                <c:formatCode>General</c:formatCode>
                <c:ptCount val="34"/>
                <c:pt idx="0">
                  <c:v>0.0027531788517372938</c:v>
                </c:pt>
                <c:pt idx="1">
                  <c:v>0.0027531788517372938</c:v>
                </c:pt>
                <c:pt idx="2">
                  <c:v>0.0027531788517372938</c:v>
                </c:pt>
                <c:pt idx="3">
                  <c:v>0.0027531788517372938</c:v>
                </c:pt>
                <c:pt idx="4">
                  <c:v>0.0027531788517372938</c:v>
                </c:pt>
                <c:pt idx="5">
                  <c:v>0.14185273007784793</c:v>
                </c:pt>
                <c:pt idx="6">
                  <c:v>0.0027531788517372938</c:v>
                </c:pt>
                <c:pt idx="7">
                  <c:v>0.0027531788517372938</c:v>
                </c:pt>
                <c:pt idx="8">
                  <c:v>0.2436191278773979</c:v>
                </c:pt>
                <c:pt idx="9">
                  <c:v>0.13067922743620292</c:v>
                </c:pt>
                <c:pt idx="10">
                  <c:v>0.0027531788517372938</c:v>
                </c:pt>
                <c:pt idx="11">
                  <c:v>0.0027531788517372938</c:v>
                </c:pt>
                <c:pt idx="12">
                  <c:v>0.0027531788517372938</c:v>
                </c:pt>
                <c:pt idx="13">
                  <c:v>0.0027531788517372938</c:v>
                </c:pt>
                <c:pt idx="14">
                  <c:v>0.0027531788517372938</c:v>
                </c:pt>
                <c:pt idx="15">
                  <c:v>0.0027531788517372938</c:v>
                </c:pt>
                <c:pt idx="16">
                  <c:v>0.0027531788517372938</c:v>
                </c:pt>
                <c:pt idx="17">
                  <c:v>0.0027531788517372938</c:v>
                </c:pt>
                <c:pt idx="18">
                  <c:v>0.0027531788517372938</c:v>
                </c:pt>
                <c:pt idx="19">
                  <c:v>0.0027531788517372938</c:v>
                </c:pt>
                <c:pt idx="20">
                  <c:v>0.0027531788517372938</c:v>
                </c:pt>
                <c:pt idx="21">
                  <c:v>0.0027531788517372938</c:v>
                </c:pt>
                <c:pt idx="22">
                  <c:v>0.0027531788517372938</c:v>
                </c:pt>
                <c:pt idx="23">
                  <c:v>0.0027531788517372938</c:v>
                </c:pt>
                <c:pt idx="24">
                  <c:v>0.0027531788517372938</c:v>
                </c:pt>
                <c:pt idx="25">
                  <c:v>0.0027531788517372938</c:v>
                </c:pt>
                <c:pt idx="26">
                  <c:v>0.0027531788517372938</c:v>
                </c:pt>
                <c:pt idx="27">
                  <c:v>0.0027531788517372938</c:v>
                </c:pt>
                <c:pt idx="28">
                  <c:v>0.0027531788517372938</c:v>
                </c:pt>
                <c:pt idx="29">
                  <c:v>0.0027531788517372938</c:v>
                </c:pt>
                <c:pt idx="30">
                  <c:v>0.0027531788517372938</c:v>
                </c:pt>
                <c:pt idx="31">
                  <c:v>0.24966315735546504</c:v>
                </c:pt>
                <c:pt idx="32">
                  <c:v>0.5108695652173914</c:v>
                </c:pt>
                <c:pt idx="33">
                  <c:v>4.336808689942018e-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4782608695652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839.0833</c:v>
                </c:pt>
                <c:pt idx="1">
                  <c:v>786.1667</c:v>
                </c:pt>
                <c:pt idx="2">
                  <c:v>778.4167</c:v>
                </c:pt>
                <c:pt idx="3">
                  <c:v>830.0</c:v>
                </c:pt>
                <c:pt idx="4">
                  <c:v>813.3333</c:v>
                </c:pt>
                <c:pt idx="5">
                  <c:v>863.0</c:v>
                </c:pt>
                <c:pt idx="6">
                  <c:v>885.0</c:v>
                </c:pt>
                <c:pt idx="7">
                  <c:v>457.6</c:v>
                </c:pt>
                <c:pt idx="8">
                  <c:v>983.5</c:v>
                </c:pt>
                <c:pt idx="9">
                  <c:v>817.625</c:v>
                </c:pt>
                <c:pt idx="10">
                  <c:v>785.375</c:v>
                </c:pt>
                <c:pt idx="11">
                  <c:v>882.8333</c:v>
                </c:pt>
                <c:pt idx="12">
                  <c:v>1023.25</c:v>
                </c:pt>
                <c:pt idx="13">
                  <c:v>780.0</c:v>
                </c:pt>
                <c:pt idx="14">
                  <c:v>804.25</c:v>
                </c:pt>
                <c:pt idx="15">
                  <c:v>902.0</c:v>
                </c:pt>
                <c:pt idx="16">
                  <c:v>693.5</c:v>
                </c:pt>
                <c:pt idx="17">
                  <c:v>905.3333</c:v>
                </c:pt>
                <c:pt idx="18">
                  <c:v>812.0</c:v>
                </c:pt>
                <c:pt idx="19">
                  <c:v>839.0</c:v>
                </c:pt>
                <c:pt idx="20">
                  <c:v>1298.0</c:v>
                </c:pt>
                <c:pt idx="21">
                  <c:v>945.0</c:v>
                </c:pt>
                <c:pt idx="22">
                  <c:v>1152.0</c:v>
                </c:pt>
                <c:pt idx="23">
                  <c:v>1564.0</c:v>
                </c:pt>
                <c:pt idx="24">
                  <c:v>1213.0</c:v>
                </c:pt>
                <c:pt idx="25">
                  <c:v>1019.0</c:v>
                </c:pt>
                <c:pt idx="26">
                  <c:v>884.0</c:v>
                </c:pt>
                <c:pt idx="27">
                  <c:v>1400.0</c:v>
                </c:pt>
                <c:pt idx="28">
                  <c:v>1287.0</c:v>
                </c:pt>
                <c:pt idx="29">
                  <c:v>1020.0</c:v>
                </c:pt>
                <c:pt idx="30">
                  <c:v>1152.0</c:v>
                </c:pt>
                <c:pt idx="31">
                  <c:v>713.5</c:v>
                </c:pt>
                <c:pt idx="32">
                  <c:v>880.0</c:v>
                </c:pt>
                <c:pt idx="33">
                  <c:v>1432.0</c:v>
                </c:pt>
                <c:pt idx="34">
                  <c:v>1519.0</c:v>
                </c:pt>
                <c:pt idx="35">
                  <c:v>824.3333</c:v>
                </c:pt>
                <c:pt idx="36">
                  <c:v>1299.5</c:v>
                </c:pt>
                <c:pt idx="37">
                  <c:v>1669.0</c:v>
                </c:pt>
                <c:pt idx="38">
                  <c:v>480.3333</c:v>
                </c:pt>
                <c:pt idx="39">
                  <c:v>874.5</c:v>
                </c:pt>
                <c:pt idx="40">
                  <c:v>847.3333</c:v>
                </c:pt>
                <c:pt idx="41">
                  <c:v>650.0</c:v>
                </c:pt>
                <c:pt idx="42">
                  <c:v>736.3333</c:v>
                </c:pt>
                <c:pt idx="43">
                  <c:v>628.0</c:v>
                </c:pt>
                <c:pt idx="44">
                  <c:v>1597.0</c:v>
                </c:pt>
                <c:pt idx="45">
                  <c:v>970.5</c:v>
                </c:pt>
                <c:pt idx="46">
                  <c:v>767.25</c:v>
                </c:pt>
                <c:pt idx="47">
                  <c:v>779.3333</c:v>
                </c:pt>
                <c:pt idx="48">
                  <c:v>627.0</c:v>
                </c:pt>
                <c:pt idx="49">
                  <c:v>231.0</c:v>
                </c:pt>
                <c:pt idx="50">
                  <c:v>233.5</c:v>
                </c:pt>
              </c:numCache>
            </c:numRef>
          </c:xVal>
          <c:yVal>
            <c:numRef>
              <c:f>Sheet1!$B$2:$B$52</c:f>
              <c:numCache>
                <c:formatCode>General</c:formatCode>
                <c:ptCount val="51"/>
                <c:pt idx="0">
                  <c:v>0.5217391304347826</c:v>
                </c:pt>
                <c:pt idx="1">
                  <c:v>0.5</c:v>
                </c:pt>
                <c:pt idx="2">
                  <c:v>0.46153846153846156</c:v>
                </c:pt>
                <c:pt idx="3">
                  <c:v>0.38095238095238093</c:v>
                </c:pt>
                <c:pt idx="4">
                  <c:v>0.375</c:v>
                </c:pt>
                <c:pt idx="5">
                  <c:v>0.6666666666666666</c:v>
                </c:pt>
                <c:pt idx="6">
                  <c:v>0.2</c:v>
                </c:pt>
                <c:pt idx="7">
                  <c:v>0.5</c:v>
                </c:pt>
                <c:pt idx="8">
                  <c:v>0.2222222222222222</c:v>
                </c:pt>
                <c:pt idx="9">
                  <c:v>0.6956521739130435</c:v>
                </c:pt>
                <c:pt idx="10">
                  <c:v>0.38095238095238093</c:v>
                </c:pt>
                <c:pt idx="11">
                  <c:v>0.46153846153846156</c:v>
                </c:pt>
                <c:pt idx="12">
                  <c:v>0.3076923076923077</c:v>
                </c:pt>
                <c:pt idx="13">
                  <c:v>0.20833333333333334</c:v>
                </c:pt>
                <c:pt idx="14">
                  <c:v>0.19047619047619047</c:v>
                </c:pt>
                <c:pt idx="15">
                  <c:v>0.16666666666666666</c:v>
                </c:pt>
                <c:pt idx="16">
                  <c:v>0.2222222222222222</c:v>
                </c:pt>
                <c:pt idx="17">
                  <c:v>0.1875</c:v>
                </c:pt>
                <c:pt idx="18">
                  <c:v>0.15384615384615385</c:v>
                </c:pt>
                <c:pt idx="19">
                  <c:v>0.15384615384615385</c:v>
                </c:pt>
                <c:pt idx="20">
                  <c:v>0.0625</c:v>
                </c:pt>
                <c:pt idx="21">
                  <c:v>0.1</c:v>
                </c:pt>
                <c:pt idx="22">
                  <c:v>0.1111111111111111</c:v>
                </c:pt>
                <c:pt idx="23">
                  <c:v>0.125</c:v>
                </c:pt>
                <c:pt idx="24">
                  <c:v>0.125</c:v>
                </c:pt>
                <c:pt idx="25">
                  <c:v>0.125</c:v>
                </c:pt>
                <c:pt idx="26">
                  <c:v>0.1</c:v>
                </c:pt>
                <c:pt idx="27">
                  <c:v>0.125</c:v>
                </c:pt>
                <c:pt idx="28">
                  <c:v>0.25</c:v>
                </c:pt>
                <c:pt idx="29">
                  <c:v>0.25</c:v>
                </c:pt>
                <c:pt idx="30">
                  <c:v>0.14285714285714285</c:v>
                </c:pt>
                <c:pt idx="31">
                  <c:v>0.25</c:v>
                </c:pt>
                <c:pt idx="32">
                  <c:v>0.2</c:v>
                </c:pt>
                <c:pt idx="33">
                  <c:v>0.16666666666666666</c:v>
                </c:pt>
                <c:pt idx="34">
                  <c:v>0.16666666666666666</c:v>
                </c:pt>
                <c:pt idx="35">
                  <c:v>0.3</c:v>
                </c:pt>
                <c:pt idx="36">
                  <c:v>0.3333333333333333</c:v>
                </c:pt>
                <c:pt idx="37">
                  <c:v>0.1111111111111111</c:v>
                </c:pt>
                <c:pt idx="38">
                  <c:v>0.42857142857142855</c:v>
                </c:pt>
                <c:pt idx="39">
                  <c:v>0.25</c:v>
                </c:pt>
                <c:pt idx="40">
                  <c:v>0.375</c:v>
                </c:pt>
                <c:pt idx="41">
                  <c:v>0.3333333333333333</c:v>
                </c:pt>
                <c:pt idx="42">
                  <c:v>0.2727272727272727</c:v>
                </c:pt>
                <c:pt idx="43">
                  <c:v>0.1111111111111111</c:v>
                </c:pt>
                <c:pt idx="44">
                  <c:v>0.125</c:v>
                </c:pt>
                <c:pt idx="45">
                  <c:v>0.16666666666666666</c:v>
                </c:pt>
                <c:pt idx="46">
                  <c:v>0.2</c:v>
                </c:pt>
                <c:pt idx="47">
                  <c:v>0.3</c:v>
                </c:pt>
                <c:pt idx="48">
                  <c:v>0.14285714285714285</c:v>
                </c:pt>
                <c:pt idx="49">
                  <c:v>0.5714285714285714</c:v>
                </c:pt>
                <c:pt idx="50">
                  <c:v>0.6666666666666666</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2</c:f>
              <c:numCache>
                <c:formatCode>General</c:formatCode>
                <c:ptCount val="48"/>
                <c:pt idx="0">
                  <c:v>0.0</c:v>
                </c:pt>
                <c:pt idx="1">
                  <c:v>0.0</c:v>
                </c:pt>
                <c:pt idx="2">
                  <c:v>0.0</c:v>
                </c:pt>
                <c:pt idx="3">
                  <c:v>0.0</c:v>
                </c:pt>
                <c:pt idx="4">
                  <c:v>0.0</c:v>
                </c:pt>
                <c:pt idx="5">
                  <c:v>656.0</c:v>
                </c:pt>
                <c:pt idx="6">
                  <c:v>624.0</c:v>
                </c:pt>
                <c:pt idx="7">
                  <c:v>1024.0</c:v>
                </c:pt>
                <c:pt idx="8">
                  <c:v>1024.0</c:v>
                </c:pt>
                <c:pt idx="9">
                  <c:v>1008.0</c:v>
                </c:pt>
                <c:pt idx="10">
                  <c:v>624.0</c:v>
                </c:pt>
                <c:pt idx="11">
                  <c:v>816.0</c:v>
                </c:pt>
                <c:pt idx="12">
                  <c:v>0.0</c:v>
                </c:pt>
                <c:pt idx="13">
                  <c:v>624.0</c:v>
                </c:pt>
                <c:pt idx="14">
                  <c:v>0.0</c:v>
                </c:pt>
                <c:pt idx="15">
                  <c:v>720.0</c:v>
                </c:pt>
                <c:pt idx="16">
                  <c:v>804.0</c:v>
                </c:pt>
                <c:pt idx="17">
                  <c:v>1075.5</c:v>
                </c:pt>
                <c:pt idx="18">
                  <c:v>832.0</c:v>
                </c:pt>
                <c:pt idx="19">
                  <c:v>824.0</c:v>
                </c:pt>
                <c:pt idx="20">
                  <c:v>987.3333</c:v>
                </c:pt>
                <c:pt idx="21">
                  <c:v>763.5</c:v>
                </c:pt>
                <c:pt idx="22">
                  <c:v>658.0</c:v>
                </c:pt>
                <c:pt idx="23">
                  <c:v>624.0</c:v>
                </c:pt>
                <c:pt idx="24">
                  <c:v>608.0</c:v>
                </c:pt>
                <c:pt idx="25">
                  <c:v>0.0</c:v>
                </c:pt>
                <c:pt idx="26">
                  <c:v>0.0</c:v>
                </c:pt>
                <c:pt idx="27">
                  <c:v>0.0</c:v>
                </c:pt>
                <c:pt idx="28">
                  <c:v>0.0</c:v>
                </c:pt>
                <c:pt idx="29">
                  <c:v>0.0</c:v>
                </c:pt>
                <c:pt idx="30">
                  <c:v>630.0</c:v>
                </c:pt>
                <c:pt idx="31">
                  <c:v>0.0</c:v>
                </c:pt>
                <c:pt idx="32">
                  <c:v>0.0</c:v>
                </c:pt>
                <c:pt idx="33">
                  <c:v>0.0</c:v>
                </c:pt>
                <c:pt idx="34">
                  <c:v>0.0</c:v>
                </c:pt>
                <c:pt idx="35">
                  <c:v>630.0</c:v>
                </c:pt>
                <c:pt idx="36">
                  <c:v>0.0</c:v>
                </c:pt>
                <c:pt idx="37">
                  <c:v>0.0</c:v>
                </c:pt>
                <c:pt idx="38">
                  <c:v>0.0</c:v>
                </c:pt>
                <c:pt idx="39">
                  <c:v>0.0</c:v>
                </c:pt>
                <c:pt idx="40">
                  <c:v>0.0</c:v>
                </c:pt>
                <c:pt idx="41">
                  <c:v>0.0</c:v>
                </c:pt>
                <c:pt idx="42">
                  <c:v>0.0</c:v>
                </c:pt>
                <c:pt idx="43">
                  <c:v>0.0</c:v>
                </c:pt>
                <c:pt idx="44">
                  <c:v>0.0</c:v>
                </c:pt>
                <c:pt idx="45">
                  <c:v>0.0</c:v>
                </c:pt>
                <c:pt idx="46">
                  <c:v>0.0</c:v>
                </c:pt>
                <c:pt idx="47">
                  <c:v>0.0</c:v>
                </c:pt>
              </c:numCache>
            </c:numRef>
          </c:xVal>
          <c:yVal>
            <c:numRef>
              <c:f>Sheet1!$B$55:$B$102</c:f>
              <c:numCache>
                <c:formatCode>General</c:formatCode>
                <c:ptCount val="48"/>
                <c:pt idx="0">
                  <c:v>0.0</c:v>
                </c:pt>
                <c:pt idx="1">
                  <c:v>0.0</c:v>
                </c:pt>
                <c:pt idx="2">
                  <c:v>0.0</c:v>
                </c:pt>
                <c:pt idx="3">
                  <c:v>0.0</c:v>
                </c:pt>
                <c:pt idx="4">
                  <c:v>0.0</c:v>
                </c:pt>
                <c:pt idx="5">
                  <c:v>0.18181818181818182</c:v>
                </c:pt>
                <c:pt idx="6">
                  <c:v>0.1111111111111111</c:v>
                </c:pt>
                <c:pt idx="7">
                  <c:v>0.14285714285714285</c:v>
                </c:pt>
                <c:pt idx="8">
                  <c:v>0.16666666666666666</c:v>
                </c:pt>
                <c:pt idx="9">
                  <c:v>0.125</c:v>
                </c:pt>
                <c:pt idx="10">
                  <c:v>0.125</c:v>
                </c:pt>
                <c:pt idx="11">
                  <c:v>0.2</c:v>
                </c:pt>
                <c:pt idx="12">
                  <c:v>0.0</c:v>
                </c:pt>
                <c:pt idx="13">
                  <c:v>0.5</c:v>
                </c:pt>
                <c:pt idx="14">
                  <c:v>0.0</c:v>
                </c:pt>
                <c:pt idx="15">
                  <c:v>0.5</c:v>
                </c:pt>
                <c:pt idx="16">
                  <c:v>0.3333333333333333</c:v>
                </c:pt>
                <c:pt idx="17">
                  <c:v>0.15384615384615385</c:v>
                </c:pt>
                <c:pt idx="18">
                  <c:v>0.2727272727272727</c:v>
                </c:pt>
                <c:pt idx="19">
                  <c:v>0.25</c:v>
                </c:pt>
                <c:pt idx="20">
                  <c:v>0.5</c:v>
                </c:pt>
                <c:pt idx="21">
                  <c:v>0.2857142857142857</c:v>
                </c:pt>
                <c:pt idx="22">
                  <c:v>0.25</c:v>
                </c:pt>
                <c:pt idx="23">
                  <c:v>0.5</c:v>
                </c:pt>
                <c:pt idx="24">
                  <c:v>0.2</c:v>
                </c:pt>
                <c:pt idx="25">
                  <c:v>0.0</c:v>
                </c:pt>
                <c:pt idx="26">
                  <c:v>0.0</c:v>
                </c:pt>
                <c:pt idx="27">
                  <c:v>0.0</c:v>
                </c:pt>
                <c:pt idx="28">
                  <c:v>0.0</c:v>
                </c:pt>
                <c:pt idx="29">
                  <c:v>0.0</c:v>
                </c:pt>
                <c:pt idx="30">
                  <c:v>0.25</c:v>
                </c:pt>
                <c:pt idx="31">
                  <c:v>0.0</c:v>
                </c:pt>
                <c:pt idx="32">
                  <c:v>0.0</c:v>
                </c:pt>
                <c:pt idx="33">
                  <c:v>0.0</c:v>
                </c:pt>
                <c:pt idx="34">
                  <c:v>0.0</c:v>
                </c:pt>
                <c:pt idx="35">
                  <c:v>0.16666666666666666</c:v>
                </c:pt>
                <c:pt idx="36">
                  <c:v>0.0</c:v>
                </c:pt>
                <c:pt idx="37">
                  <c:v>0.0</c:v>
                </c:pt>
                <c:pt idx="38">
                  <c:v>0.0</c:v>
                </c:pt>
                <c:pt idx="39">
                  <c:v>0.0</c:v>
                </c:pt>
                <c:pt idx="40">
                  <c:v>0.0</c:v>
                </c:pt>
                <c:pt idx="41">
                  <c:v>0.0</c:v>
                </c:pt>
                <c:pt idx="42">
                  <c:v>0.0</c:v>
                </c:pt>
                <c:pt idx="43">
                  <c:v>0.0</c:v>
                </c:pt>
                <c:pt idx="44">
                  <c:v>0.0</c:v>
                </c:pt>
                <c:pt idx="45">
                  <c:v>0.0</c:v>
                </c:pt>
                <c:pt idx="46">
                  <c:v>0.0</c:v>
                </c:pt>
                <c:pt idx="47">
                  <c:v>0.0</c:v>
                </c:pt>
              </c:numCache>
            </c:numRef>
          </c:yVal>
          <c:smooth val="0"/>
          <c:extLst>
            <c:ext xmlns:c16="http://schemas.microsoft.com/office/drawing/2014/chart" uri="{C3380CC4-5D6E-409C-BE32-E72D297353CC}">
              <c16:uniqueId val="{00000002-F32D-48B7-BC20-E66FC6253BAD}"/>
            </c:ext>
          </c:extLst>
        </c:ser>
        <c:ser>
          <c:idx val="2"/>
          <c:order val="2"/>
          <c:tx>
            <c:strRef>
              <c:f>Sheet1!$B$104</c:f>
              <c:strCache>
                <c:ptCount val="1"/>
                <c:pt idx="0">
                  <c:v>Custom Linep3yQ</c:v>
                </c:pt>
              </c:strCache>
            </c:strRef>
          </c:tx>
          <c:spPr>
            <a:ln w="19050" cap="rnd">
              <a:solidFill>
                <a:srgbClr val="C00000"/>
              </a:solidFill>
              <a:prstDash val="sysDot"/>
              <a:round/>
            </a:ln>
            <a:effectLst/>
          </c:spPr>
          <c:marker>
            <c:symbol val="none"/>
          </c:marker>
          <c:xVal>
            <c:numRef>
              <c:f>Sheet1!$A$105:$A$106</c:f>
              <c:numCache>
                <c:formatCode>General</c:formatCode>
                <c:ptCount val="2"/>
                <c:pt idx="0">
                  <c:v>0</c:v>
                </c:pt>
                <c:pt idx="1">
                  <c:v>1652.0841389468333</c:v>
                </c:pt>
              </c:numCache>
            </c:numRef>
          </c:xVal>
          <c:yVal>
            <c:numRef>
              <c:f>Sheet1!$B$105:$B$106</c:f>
              <c:numCache>
                <c:formatCode>General</c:formatCode>
                <c:ptCount val="2"/>
                <c:pt idx="0">
                  <c:v>0.5108695652173914</c:v>
                </c:pt>
                <c:pt idx="1">
                  <c:v>0.5108695652173914</c:v>
                </c:pt>
              </c:numCache>
            </c:numRef>
          </c:yVal>
          <c:smooth val="0"/>
          <c:extLst>
            <c:ext xmlns:c16="http://schemas.microsoft.com/office/drawing/2014/chart" uri="{C3380CC4-5D6E-409C-BE32-E72D297353CC}">
              <c16:uniqueId val="{00000003-F32D-48B7-BC20-E66FC6253BAD}"/>
            </c:ext>
          </c:extLst>
        </c:ser>
        <c:ser>
          <c:idx val="3"/>
          <c:order val="3"/>
          <c:tx>
            <c:strRef>
              <c:f>Sheet1!$B$10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9:$A$110</c:f>
              <c:numCache>
                <c:formatCode>General</c:formatCode>
                <c:ptCount val="2"/>
                <c:pt idx="0">
                  <c:v>1652.0841389468333</c:v>
                </c:pt>
                <c:pt idx="1">
                  <c:v>1652.0841389468333</c:v>
                </c:pt>
              </c:numCache>
            </c:numRef>
          </c:xVal>
          <c:yVal>
            <c:numRef>
              <c:f>Sheet1!$B$109:$B$110</c:f>
              <c:numCache>
                <c:formatCode>General</c:formatCode>
                <c:ptCount val="2"/>
                <c:pt idx="0">
                  <c:v>0.51086956521739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3:$A$114</c:f>
              <c:numCache>
                <c:formatCode>General</c:formatCode>
                <c:ptCount val="2"/>
                <c:pt idx="0">
                  <c:v>0</c:v>
                </c:pt>
                <c:pt idx="1">
                  <c:v>789.6888545473889</c:v>
                </c:pt>
              </c:numCache>
            </c:numRef>
          </c:xVal>
          <c:yVal>
            <c:numRef>
              <c:f>Sheet1!$B$113:$B$114</c:f>
              <c:numCache>
                <c:formatCode>General</c:formatCode>
                <c:ptCount val="2"/>
                <c:pt idx="0">
                  <c:v>0.24966315735546504</c:v>
                </c:pt>
                <c:pt idx="1">
                  <c:v>0.24966315735546504</c:v>
                </c:pt>
              </c:numCache>
            </c:numRef>
          </c:yVal>
          <c:smooth val="0"/>
          <c:extLst>
            <c:ext xmlns:c16="http://schemas.microsoft.com/office/drawing/2014/chart" uri="{C3380CC4-5D6E-409C-BE32-E72D297353CC}">
              <c16:uniqueId val="{0000000A-F32D-48B7-BC20-E66FC6253BAD}"/>
            </c:ext>
          </c:extLst>
        </c:ser>
        <c:ser>
          <c:idx val="5"/>
          <c:order val="5"/>
          <c:tx>
            <c:strRef>
              <c:f>Sheet1!$B$11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7:$A$118</c:f>
              <c:numCache>
                <c:formatCode>General</c:formatCode>
                <c:ptCount val="2"/>
                <c:pt idx="0">
                  <c:v>789.6888545473889</c:v>
                </c:pt>
                <c:pt idx="1">
                  <c:v>789.6888545473889</c:v>
                </c:pt>
              </c:numCache>
            </c:numRef>
          </c:xVal>
          <c:yVal>
            <c:numRef>
              <c:f>Sheet1!$B$117:$B$118</c:f>
              <c:numCache>
                <c:formatCode>General</c:formatCode>
                <c:ptCount val="2"/>
                <c:pt idx="0">
                  <c:v>0.249663157355465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1:$A$122</c:f>
              <c:numCache>
                <c:formatCode>General</c:formatCode>
                <c:ptCount val="2"/>
                <c:pt idx="0">
                  <c:v>0</c:v>
                </c:pt>
                <c:pt idx="1">
                  <c:v>-34.59540154728362</c:v>
                </c:pt>
              </c:numCache>
            </c:numRef>
          </c:xVal>
          <c:yVal>
            <c:numRef>
              <c:f>Sheet1!$B$121:$B$122</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2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5:$A$126</c:f>
              <c:numCache>
                <c:formatCode>General</c:formatCode>
                <c:ptCount val="2"/>
                <c:pt idx="0">
                  <c:v>-34.59540154728362</c:v>
                </c:pt>
                <c:pt idx="1">
                  <c:v>-34.59540154728362</c:v>
                </c:pt>
              </c:numCache>
            </c:numRef>
          </c:xVal>
          <c:yVal>
            <c:numRef>
              <c:f>Sheet1!$B$125:$B$126</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9:$A$179</c:f>
              <c:numCache>
                <c:formatCode>General</c:formatCode>
                <c:ptCount val="51"/>
                <c:pt idx="0">
                  <c:v>0.0</c:v>
                </c:pt>
                <c:pt idx="1">
                  <c:v>0.0</c:v>
                </c:pt>
                <c:pt idx="2">
                  <c:v>0.0</c:v>
                </c:pt>
                <c:pt idx="3">
                  <c:v>0.0</c:v>
                </c:pt>
                <c:pt idx="4">
                  <c:v>0.0</c:v>
                </c:pt>
                <c:pt idx="5">
                  <c:v>656.0</c:v>
                </c:pt>
                <c:pt idx="6">
                  <c:v>624.0</c:v>
                </c:pt>
                <c:pt idx="7">
                  <c:v>1024.0</c:v>
                </c:pt>
                <c:pt idx="8">
                  <c:v>1024.0</c:v>
                </c:pt>
                <c:pt idx="9">
                  <c:v>1008.0</c:v>
                </c:pt>
                <c:pt idx="10">
                  <c:v>624.0</c:v>
                </c:pt>
                <c:pt idx="11">
                  <c:v>816.0</c:v>
                </c:pt>
                <c:pt idx="12">
                  <c:v>0.0</c:v>
                </c:pt>
                <c:pt idx="13">
                  <c:v>624.0</c:v>
                </c:pt>
                <c:pt idx="14">
                  <c:v>0.0</c:v>
                </c:pt>
                <c:pt idx="15">
                  <c:v>720.0</c:v>
                </c:pt>
                <c:pt idx="16">
                  <c:v>804.0</c:v>
                </c:pt>
                <c:pt idx="17">
                  <c:v>1075.5</c:v>
                </c:pt>
                <c:pt idx="18">
                  <c:v>832.0</c:v>
                </c:pt>
                <c:pt idx="19">
                  <c:v>824.0</c:v>
                </c:pt>
                <c:pt idx="20">
                  <c:v>987.3333</c:v>
                </c:pt>
                <c:pt idx="21">
                  <c:v>763.5</c:v>
                </c:pt>
                <c:pt idx="22">
                  <c:v>658.0</c:v>
                </c:pt>
                <c:pt idx="23">
                  <c:v>624.0</c:v>
                </c:pt>
                <c:pt idx="24">
                  <c:v>608.0</c:v>
                </c:pt>
                <c:pt idx="25">
                  <c:v>0.0</c:v>
                </c:pt>
                <c:pt idx="26">
                  <c:v>0.0</c:v>
                </c:pt>
                <c:pt idx="27">
                  <c:v>0.0</c:v>
                </c:pt>
                <c:pt idx="28">
                  <c:v>0.0</c:v>
                </c:pt>
                <c:pt idx="29">
                  <c:v>0.0</c:v>
                </c:pt>
                <c:pt idx="30">
                  <c:v>630.0</c:v>
                </c:pt>
                <c:pt idx="31">
                  <c:v>0.0</c:v>
                </c:pt>
                <c:pt idx="32">
                  <c:v>0.0</c:v>
                </c:pt>
                <c:pt idx="33">
                  <c:v>0.0</c:v>
                </c:pt>
                <c:pt idx="34">
                  <c:v>0.0</c:v>
                </c:pt>
                <c:pt idx="35">
                  <c:v>630.0</c:v>
                </c:pt>
                <c:pt idx="36">
                  <c:v>0.0</c:v>
                </c:pt>
                <c:pt idx="37">
                  <c:v>0.0</c:v>
                </c:pt>
                <c:pt idx="38">
                  <c:v>0.0</c:v>
                </c:pt>
                <c:pt idx="39">
                  <c:v>0.0</c:v>
                </c:pt>
                <c:pt idx="40">
                  <c:v>0.0</c:v>
                </c:pt>
                <c:pt idx="41">
                  <c:v>0.0</c:v>
                </c:pt>
                <c:pt idx="42">
                  <c:v>0.0</c:v>
                </c:pt>
                <c:pt idx="43">
                  <c:v>0.0</c:v>
                </c:pt>
                <c:pt idx="44">
                  <c:v>0.0</c:v>
                </c:pt>
                <c:pt idx="45">
                  <c:v>0.0</c:v>
                </c:pt>
                <c:pt idx="46">
                  <c:v>0.0</c:v>
                </c:pt>
                <c:pt idx="47">
                  <c:v>0.0</c:v>
                </c:pt>
                <c:pt idx="48">
                  <c:v>789.6888545473889</c:v>
                </c:pt>
                <c:pt idx="49">
                  <c:v>1652.0841389468333</c:v>
                </c:pt>
                <c:pt idx="50">
                  <c:v>-34.59540154728362</c:v>
                </c:pt>
              </c:numCache>
            </c:numRef>
          </c:xVal>
          <c:yVal>
            <c:numRef>
              <c:f>Sheet1!$B$129:$B$179</c:f>
              <c:numCache>
                <c:formatCode>General</c:formatCode>
                <c:ptCount val="51"/>
                <c:pt idx="0">
                  <c:v>0.010478420661819544</c:v>
                </c:pt>
                <c:pt idx="1">
                  <c:v>0.010478420661819544</c:v>
                </c:pt>
                <c:pt idx="2">
                  <c:v>0.010478420661819544</c:v>
                </c:pt>
                <c:pt idx="3">
                  <c:v>0.010478420661819544</c:v>
                </c:pt>
                <c:pt idx="4">
                  <c:v>0.010478420661819544</c:v>
                </c:pt>
                <c:pt idx="5">
                  <c:v>0.20917083776698664</c:v>
                </c:pt>
                <c:pt idx="6">
                  <c:v>0.1994785247374663</c:v>
                </c:pt>
                <c:pt idx="7">
                  <c:v>0.32063243760647064</c:v>
                </c:pt>
                <c:pt idx="8">
                  <c:v>0.32063243760647064</c:v>
                </c:pt>
                <c:pt idx="9">
                  <c:v>0.3157862810917105</c:v>
                </c:pt>
                <c:pt idx="10">
                  <c:v>0.1994785247374663</c:v>
                </c:pt>
                <c:pt idx="11">
                  <c:v>0.2576324029145884</c:v>
                </c:pt>
                <c:pt idx="12">
                  <c:v>0.010478420661819544</c:v>
                </c:pt>
                <c:pt idx="13">
                  <c:v>0.1994785247374663</c:v>
                </c:pt>
                <c:pt idx="14">
                  <c:v>0.010478420661819544</c:v>
                </c:pt>
                <c:pt idx="15">
                  <c:v>0.22855546382602734</c:v>
                </c:pt>
                <c:pt idx="16">
                  <c:v>0.25399778552851826</c:v>
                </c:pt>
                <c:pt idx="17">
                  <c:v>0.336231003888355</c:v>
                </c:pt>
                <c:pt idx="18">
                  <c:v>0.26247855942934856</c:v>
                </c:pt>
                <c:pt idx="19">
                  <c:v>0.26005548117196847</c:v>
                </c:pt>
                <c:pt idx="20">
                  <c:v>0.30952665216398584</c:v>
                </c:pt>
                <c:pt idx="21">
                  <c:v>0.24173095185053156</c:v>
                </c:pt>
                <c:pt idx="22">
                  <c:v>0.20977660733133166</c:v>
                </c:pt>
                <c:pt idx="23">
                  <c:v>0.1994785247374663</c:v>
                </c:pt>
                <c:pt idx="24">
                  <c:v>0.19463236822270613</c:v>
                </c:pt>
                <c:pt idx="25">
                  <c:v>0.010478420661819544</c:v>
                </c:pt>
                <c:pt idx="26">
                  <c:v>0.010478420661819544</c:v>
                </c:pt>
                <c:pt idx="27">
                  <c:v>0.010478420661819544</c:v>
                </c:pt>
                <c:pt idx="28">
                  <c:v>0.010478420661819544</c:v>
                </c:pt>
                <c:pt idx="29">
                  <c:v>0.010478420661819544</c:v>
                </c:pt>
                <c:pt idx="30">
                  <c:v>0.20129583343050136</c:v>
                </c:pt>
                <c:pt idx="31">
                  <c:v>0.010478420661819544</c:v>
                </c:pt>
                <c:pt idx="32">
                  <c:v>0.010478420661819544</c:v>
                </c:pt>
                <c:pt idx="33">
                  <c:v>0.010478420661819544</c:v>
                </c:pt>
                <c:pt idx="34">
                  <c:v>0.010478420661819544</c:v>
                </c:pt>
                <c:pt idx="35">
                  <c:v>0.20129583343050136</c:v>
                </c:pt>
                <c:pt idx="36">
                  <c:v>0.010478420661819544</c:v>
                </c:pt>
                <c:pt idx="37">
                  <c:v>0.010478420661819544</c:v>
                </c:pt>
                <c:pt idx="38">
                  <c:v>0.010478420661819544</c:v>
                </c:pt>
                <c:pt idx="39">
                  <c:v>0.010478420661819544</c:v>
                </c:pt>
                <c:pt idx="40">
                  <c:v>0.010478420661819544</c:v>
                </c:pt>
                <c:pt idx="41">
                  <c:v>0.010478420661819544</c:v>
                </c:pt>
                <c:pt idx="42">
                  <c:v>0.010478420661819544</c:v>
                </c:pt>
                <c:pt idx="43">
                  <c:v>0.010478420661819544</c:v>
                </c:pt>
                <c:pt idx="44">
                  <c:v>0.010478420661819544</c:v>
                </c:pt>
                <c:pt idx="45">
                  <c:v>0.010478420661819544</c:v>
                </c:pt>
                <c:pt idx="46">
                  <c:v>0.010478420661819544</c:v>
                </c:pt>
                <c:pt idx="47">
                  <c:v>0.010478420661819544</c:v>
                </c:pt>
                <c:pt idx="48">
                  <c:v>0.24966315735546504</c:v>
                </c:pt>
                <c:pt idx="49">
                  <c:v>0.5108695652173914</c:v>
                </c:pt>
                <c:pt idx="50">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0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34782608695652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4</c:f>
              <c:numCache>
                <c:formatCode>General</c:formatCode>
                <c:ptCount val="2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numCache>
            </c:numRef>
          </c:xVal>
          <c:yVal>
            <c:numRef>
              <c:f>Sheet1!$B$2:$B$24</c:f>
              <c:numCache>
                <c:formatCode>General</c:formatCode>
                <c:ptCount val="23"/>
                <c:pt idx="0">
                  <c:v>0.5217391304347826</c:v>
                </c:pt>
                <c:pt idx="1">
                  <c:v>0.42105263157894735</c:v>
                </c:pt>
                <c:pt idx="2">
                  <c:v>0.4666666666666667</c:v>
                </c:pt>
                <c:pt idx="3">
                  <c:v>0.375</c:v>
                </c:pt>
                <c:pt idx="4">
                  <c:v>0.5</c:v>
                </c:pt>
                <c:pt idx="5">
                  <c:v>0.46153846153846156</c:v>
                </c:pt>
                <c:pt idx="6">
                  <c:v>0.45454545454545453</c:v>
                </c:pt>
                <c:pt idx="7">
                  <c:v>0.3076923076923077</c:v>
                </c:pt>
                <c:pt idx="8">
                  <c:v>0.2</c:v>
                </c:pt>
                <c:pt idx="9">
                  <c:v>0.14285714285714285</c:v>
                </c:pt>
                <c:pt idx="10">
                  <c:v>0.16666666666666666</c:v>
                </c:pt>
                <c:pt idx="11">
                  <c:v>0.125</c:v>
                </c:pt>
                <c:pt idx="12">
                  <c:v>0.125</c:v>
                </c:pt>
                <c:pt idx="13">
                  <c:v>0.2</c:v>
                </c:pt>
                <c:pt idx="14">
                  <c:v>0.5</c:v>
                </c:pt>
                <c:pt idx="15">
                  <c:v>0.3333333333333333</c:v>
                </c:pt>
                <c:pt idx="16">
                  <c:v>0.2727272727272727</c:v>
                </c:pt>
                <c:pt idx="17">
                  <c:v>0.5</c:v>
                </c:pt>
                <c:pt idx="18">
                  <c:v>0.25</c:v>
                </c:pt>
                <c:pt idx="19">
                  <c:v>0.5</c:v>
                </c:pt>
                <c:pt idx="20">
                  <c:v>0.2</c:v>
                </c:pt>
                <c:pt idx="21">
                  <c:v>0.25</c:v>
                </c:pt>
                <c:pt idx="22">
                  <c:v>0.16666666666666666</c:v>
                </c:pt>
              </c:numCache>
            </c:numRef>
          </c:yVal>
          <c:smooth val="0"/>
          <c:extLst>
            <c:ext xmlns:c16="http://schemas.microsoft.com/office/drawing/2014/chart" uri="{C3380CC4-5D6E-409C-BE32-E72D297353CC}">
              <c16:uniqueId val="{00000000-096C-4121-9522-6AB7243CCAAE}"/>
            </c:ext>
          </c:extLst>
        </c:ser>
        <c:ser>
          <c:idx val="1"/>
          <c:order val="1"/>
          <c:tx>
            <c:strRef>
              <c:f>Sheet1!$B$2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7:$A$52</c:f>
              <c:numCache>
                <c:formatCode>General</c:formatCode>
                <c:ptCount val="26"/>
                <c:pt idx="0">
                  <c:v>0.11754165920086006</c:v>
                </c:pt>
                <c:pt idx="1">
                  <c:v>0.22429906542056074</c:v>
                </c:pt>
                <c:pt idx="2">
                  <c:v>0.0</c:v>
                </c:pt>
                <c:pt idx="3">
                  <c:v>0.36895368782161236</c:v>
                </c:pt>
                <c:pt idx="4">
                  <c:v>0.24648519294047264</c:v>
                </c:pt>
                <c:pt idx="5">
                  <c:v>0.203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numCache>
            </c:numRef>
          </c:xVal>
          <c:yVal>
            <c:numRef>
              <c:f>Sheet1!$B$27:$B$52</c:f>
              <c:numCache>
                <c:formatCode>General</c:formatCode>
                <c:ptCount val="26"/>
                <c:pt idx="0">
                  <c:v>0.18181818181818182</c:v>
                </c:pt>
                <c:pt idx="1">
                  <c:v>0.1111111111111111</c:v>
                </c:pt>
                <c:pt idx="2">
                  <c:v>0.0</c:v>
                </c:pt>
                <c:pt idx="3">
                  <c:v>0.15384615384615385</c:v>
                </c:pt>
                <c:pt idx="4">
                  <c:v>0.25</c:v>
                </c:pt>
                <c:pt idx="5">
                  <c:v>0.2857142857142857</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6315240321999791</c:v>
                </c:pt>
              </c:numCache>
            </c:numRef>
          </c:xVal>
          <c:yVal>
            <c:numRef>
              <c:f>Sheet1!$B$55:$B$56</c:f>
              <c:numCache>
                <c:formatCode>General</c:formatCode>
                <c:ptCount val="2"/>
                <c:pt idx="0">
                  <c:v>0.45689168573607936</c:v>
                </c:pt>
                <c:pt idx="1">
                  <c:v>0.45689168573607936</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6315240321999791</c:v>
                </c:pt>
                <c:pt idx="1">
                  <c:v>0.6315240321999791</c:v>
                </c:pt>
              </c:numCache>
            </c:numRef>
          </c:xVal>
          <c:yVal>
            <c:numRef>
              <c:f>Sheet1!$B$59:$B$60</c:f>
              <c:numCache>
                <c:formatCode>General</c:formatCode>
                <c:ptCount val="2"/>
                <c:pt idx="0">
                  <c:v>0.456891685736079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4</c:f>
              <c:numCache>
                <c:formatCode>General</c:formatCode>
                <c:ptCount val="2"/>
                <c:pt idx="0">
                  <c:v>0</c:v>
                </c:pt>
                <c:pt idx="1">
                  <c:v>0.31212751336050587</c:v>
                </c:pt>
              </c:numCache>
            </c:numRef>
          </c:xVal>
          <c:yVal>
            <c:numRef>
              <c:f>Sheet1!$B$63:$B$64</c:f>
              <c:numCache>
                <c:formatCode>General</c:formatCode>
                <c:ptCount val="2"/>
                <c:pt idx="0">
                  <c:v>0.2288017538017538</c:v>
                </c:pt>
                <c:pt idx="1">
                  <c:v>0.2288017538017538</c:v>
                </c:pt>
              </c:numCache>
            </c:numRef>
          </c:yVal>
          <c:smooth val="0"/>
          <c:extLst>
            <c:ext xmlns:c16="http://schemas.microsoft.com/office/drawing/2014/chart" uri="{C3380CC4-5D6E-409C-BE32-E72D297353CC}">
              <c16:uniqueId val="{0000000D-096C-4121-9522-6AB7243CCAAE}"/>
            </c:ext>
          </c:extLst>
        </c:ser>
        <c:ser>
          <c:idx val="5"/>
          <c:order val="5"/>
          <c:tx>
            <c:strRef>
              <c:f>Sheet1!$B$6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7:$A$68</c:f>
              <c:numCache>
                <c:formatCode>General</c:formatCode>
                <c:ptCount val="2"/>
                <c:pt idx="0">
                  <c:v>0.31212751336050587</c:v>
                </c:pt>
                <c:pt idx="1">
                  <c:v>0.31212751336050587</c:v>
                </c:pt>
              </c:numCache>
            </c:numRef>
          </c:xVal>
          <c:yVal>
            <c:numRef>
              <c:f>Sheet1!$B$67:$B$68</c:f>
              <c:numCache>
                <c:formatCode>General</c:formatCode>
                <c:ptCount val="2"/>
                <c:pt idx="0">
                  <c:v>0.22880175380175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1:$A$72</c:f>
              <c:numCache>
                <c:formatCode>General</c:formatCode>
                <c:ptCount val="2"/>
                <c:pt idx="0">
                  <c:v>0</c:v>
                </c:pt>
                <c:pt idx="1">
                  <c:v>-0.008265776465579106</c:v>
                </c:pt>
              </c:numCache>
            </c:numRef>
          </c:xVal>
          <c:yVal>
            <c:numRef>
              <c:f>Sheet1!$B$71:$B$72</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7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5:$A$76</c:f>
              <c:numCache>
                <c:formatCode>General</c:formatCode>
                <c:ptCount val="2"/>
                <c:pt idx="0">
                  <c:v>-0.008265776465579106</c:v>
                </c:pt>
                <c:pt idx="1">
                  <c:v>-0.008265776465579106</c:v>
                </c:pt>
              </c:numCache>
            </c:numRef>
          </c:xVal>
          <c:yVal>
            <c:numRef>
              <c:f>Sheet1!$B$75:$B$76</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9:$A$107</c:f>
              <c:numCache>
                <c:formatCode>General</c:formatCode>
                <c:ptCount val="29"/>
                <c:pt idx="0">
                  <c:v>0.11754165920086006</c:v>
                </c:pt>
                <c:pt idx="1">
                  <c:v>0.22429906542056074</c:v>
                </c:pt>
                <c:pt idx="2">
                  <c:v>0.0</c:v>
                </c:pt>
                <c:pt idx="3">
                  <c:v>0.36895368782161236</c:v>
                </c:pt>
                <c:pt idx="4">
                  <c:v>0.24648519294047264</c:v>
                </c:pt>
                <c:pt idx="5">
                  <c:v>0.203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31212751336050587</c:v>
                </c:pt>
                <c:pt idx="27">
                  <c:v>0.6315240321999791</c:v>
                </c:pt>
                <c:pt idx="28">
                  <c:v>-0.008265776465579106</c:v>
                </c:pt>
              </c:numCache>
            </c:numRef>
          </c:xVal>
          <c:yVal>
            <c:numRef>
              <c:f>Sheet1!$B$79:$B$107</c:f>
              <c:numCache>
                <c:formatCode>General</c:formatCode>
                <c:ptCount val="29"/>
                <c:pt idx="0">
                  <c:v>0.089842586707754</c:v>
                </c:pt>
                <c:pt idx="1">
                  <c:v>0.16608101787980753</c:v>
                </c:pt>
                <c:pt idx="2">
                  <c:v>0.005902820726627423</c:v>
                </c:pt>
                <c:pt idx="3">
                  <c:v>0.2693829045043895</c:v>
                </c:pt>
                <c:pt idx="4">
                  <c:v>0.18192474821941812</c:v>
                </c:pt>
                <c:pt idx="5">
                  <c:v>0.15129923991918823</c:v>
                </c:pt>
                <c:pt idx="6">
                  <c:v>0.005902820726627423</c:v>
                </c:pt>
                <c:pt idx="7">
                  <c:v>0.005902820726627423</c:v>
                </c:pt>
                <c:pt idx="8">
                  <c:v>0.005902820726627423</c:v>
                </c:pt>
                <c:pt idx="9">
                  <c:v>0.005902820726627423</c:v>
                </c:pt>
                <c:pt idx="10">
                  <c:v>0.005902820726627423</c:v>
                </c:pt>
                <c:pt idx="11">
                  <c:v>0.005902820726627423</c:v>
                </c:pt>
                <c:pt idx="12">
                  <c:v>0.005902820726627423</c:v>
                </c:pt>
                <c:pt idx="13">
                  <c:v>0.005902820726627423</c:v>
                </c:pt>
                <c:pt idx="14">
                  <c:v>0.005902820726627423</c:v>
                </c:pt>
                <c:pt idx="15">
                  <c:v>0.005902820726627423</c:v>
                </c:pt>
                <c:pt idx="16">
                  <c:v>0.005902820726627423</c:v>
                </c:pt>
                <c:pt idx="17">
                  <c:v>0.005902820726627423</c:v>
                </c:pt>
                <c:pt idx="18">
                  <c:v>0.005902820726627423</c:v>
                </c:pt>
                <c:pt idx="19">
                  <c:v>0.005902820726627423</c:v>
                </c:pt>
                <c:pt idx="20">
                  <c:v>0.005902820726627423</c:v>
                </c:pt>
                <c:pt idx="21">
                  <c:v>0.005902820726627423</c:v>
                </c:pt>
                <c:pt idx="22">
                  <c:v>0.005902820726627423</c:v>
                </c:pt>
                <c:pt idx="23">
                  <c:v>0.005902820726627423</c:v>
                </c:pt>
                <c:pt idx="24">
                  <c:v>0.005902820726627423</c:v>
                </c:pt>
                <c:pt idx="25">
                  <c:v>0.005902820726627423</c:v>
                </c:pt>
                <c:pt idx="26">
                  <c:v>0.22880175380175383</c:v>
                </c:pt>
                <c:pt idx="27">
                  <c:v>0.45689168573607936</c:v>
                </c:pt>
                <c:pt idx="28">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6086956521739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976178078671879</c:v>
                </c:pt>
                <c:pt idx="1">
                  <c:v>0.7570232149574242</c:v>
                </c:pt>
                <c:pt idx="2">
                  <c:v>0.7544526470003995</c:v>
                </c:pt>
                <c:pt idx="3">
                  <c:v>0.7554253588012061</c:v>
                </c:pt>
                <c:pt idx="4">
                  <c:v>0.7158920519971592</c:v>
                </c:pt>
                <c:pt idx="5">
                  <c:v>0.6737959597081663</c:v>
                </c:pt>
                <c:pt idx="6">
                  <c:v>0.6949480099565807</c:v>
                </c:pt>
                <c:pt idx="7">
                  <c:v>0.722399946785437</c:v>
                </c:pt>
                <c:pt idx="8">
                  <c:v>0.7694008891255762</c:v>
                </c:pt>
                <c:pt idx="9">
                  <c:v>0.7675389096722418</c:v>
                </c:pt>
                <c:pt idx="10">
                  <c:v>0.7459906812678823</c:v>
                </c:pt>
                <c:pt idx="11">
                  <c:v>0.7708921742722463</c:v>
                </c:pt>
                <c:pt idx="12">
                  <c:v>0.7536589569414389</c:v>
                </c:pt>
                <c:pt idx="13">
                  <c:v>0.7498804161942517</c:v>
                </c:pt>
                <c:pt idx="14">
                  <c:v>0.7682281330121459</c:v>
                </c:pt>
                <c:pt idx="15">
                  <c:v>0.7398359972941324</c:v>
                </c:pt>
                <c:pt idx="16">
                  <c:v>0.7338146863908203</c:v>
                </c:pt>
                <c:pt idx="17">
                  <c:v>0.7644082860006681</c:v>
                </c:pt>
                <c:pt idx="18">
                  <c:v>0.7816171184756909</c:v>
                </c:pt>
                <c:pt idx="19">
                  <c:v>0.8651622210427811</c:v>
                </c:pt>
                <c:pt idx="20">
                  <c:v>0.8651440703546147</c:v>
                </c:pt>
                <c:pt idx="21">
                  <c:v>0.95990146343376</c:v>
                </c:pt>
                <c:pt idx="22">
                  <c:v>0.938945544833014</c:v>
                </c:pt>
                <c:pt idx="23">
                  <c:v>0.8419390027997294</c:v>
                </c:pt>
                <c:pt idx="24">
                  <c:v>0.759315185708681</c:v>
                </c:pt>
                <c:pt idx="25">
                  <c:v>0.8158409643992411</c:v>
                </c:pt>
                <c:pt idx="26">
                  <c:v>0.846039409906982</c:v>
                </c:pt>
                <c:pt idx="27">
                  <c:v>0.8584123531581045</c:v>
                </c:pt>
                <c:pt idx="28">
                  <c:v>0.8929267386481471</c:v>
                </c:pt>
                <c:pt idx="29">
                  <c:v>0.7915898213915588</c:v>
                </c:pt>
                <c:pt idx="30">
                  <c:v>0.7883063126807732</c:v>
                </c:pt>
                <c:pt idx="31">
                  <c:v>0.7898190929676592</c:v>
                </c:pt>
                <c:pt idx="32">
                  <c:v>0.7333792778649921</c:v>
                </c:pt>
                <c:pt idx="33">
                  <c:v>0.7365902782235616</c:v>
                </c:pt>
                <c:pt idx="34">
                  <c:v>0.8015602085096012</c:v>
                </c:pt>
                <c:pt idx="35">
                  <c:v>0.8636795663504756</c:v>
                </c:pt>
                <c:pt idx="36">
                  <c:v>0.8619972824405</c:v>
                </c:pt>
                <c:pt idx="37">
                  <c:v>0.8846247173638865</c:v>
                </c:pt>
                <c:pt idx="38">
                  <c:v>0.8835260563956889</c:v>
                </c:pt>
                <c:pt idx="39">
                  <c:v>0.9167502060763614</c:v>
                </c:pt>
                <c:pt idx="40">
                  <c:v>0.9093076153172018</c:v>
                </c:pt>
                <c:pt idx="41">
                  <c:v>0.9046178408876913</c:v>
                </c:pt>
                <c:pt idx="42">
                  <c:v>0.9075393400682509</c:v>
                </c:pt>
                <c:pt idx="43">
                  <c:v>0.9444083865814696</c:v>
                </c:pt>
                <c:pt idx="44">
                  <c:v>0.8235537728787882</c:v>
                </c:pt>
                <c:pt idx="45">
                  <c:v>0.8113809814347295</c:v>
                </c:pt>
                <c:pt idx="46">
                  <c:v>0.8068891040149889</c:v>
                </c:pt>
                <c:pt idx="47">
                  <c:v>0.8002274451595441</c:v>
                </c:pt>
                <c:pt idx="48">
                  <c:v>0.803565414241054</c:v>
                </c:pt>
                <c:pt idx="49">
                  <c:v>0.8164745636634595</c:v>
                </c:pt>
                <c:pt idx="50">
                  <c:v>0.7885498165480721</c:v>
                </c:pt>
                <c:pt idx="51">
                  <c:v>0.8029616670187016</c:v>
                </c:pt>
                <c:pt idx="52">
                  <c:v>0.8213861678291834</c:v>
                </c:pt>
                <c:pt idx="53">
                  <c:v>0.7625707064180633</c:v>
                </c:pt>
                <c:pt idx="54">
                  <c:v>0.7810870336572786</c:v>
                </c:pt>
                <c:pt idx="55">
                  <c:v>0.7357297345211515</c:v>
                </c:pt>
                <c:pt idx="56">
                  <c:v>0.7724750186817735</c:v>
                </c:pt>
                <c:pt idx="57">
                  <c:v>0.7842857595539121</c:v>
                </c:pt>
                <c:pt idx="58">
                  <c:v>0.7700312441103113</c:v>
                </c:pt>
                <c:pt idx="59">
                  <c:v>0.8103024234209154</c:v>
                </c:pt>
                <c:pt idx="60">
                  <c:v>0.8403426339231655</c:v>
                </c:pt>
                <c:pt idx="61">
                  <c:v>0.7891910022361175</c:v>
                </c:pt>
                <c:pt idx="62">
                  <c:v>0.8028699992077953</c:v>
                </c:pt>
                <c:pt idx="63">
                  <c:v>0.8458454576249179</c:v>
                </c:pt>
                <c:pt idx="64">
                  <c:v>0.7784893211179692</c:v>
                </c:pt>
                <c:pt idx="65">
                  <c:v>0.7261937641650036</c:v>
                </c:pt>
                <c:pt idx="66">
                  <c:v>0.6803207177419995</c:v>
                </c:pt>
                <c:pt idx="67">
                  <c:v>0.6669974708765201</c:v>
                </c:pt>
                <c:pt idx="68">
                  <c:v>0.7084449733586345</c:v>
                </c:pt>
                <c:pt idx="69">
                  <c:v>0.6308821320073839</c:v>
                </c:pt>
                <c:pt idx="70">
                  <c:v>0.6327657625776435</c:v>
                </c:pt>
                <c:pt idx="71">
                  <c:v>0.6697555291658432</c:v>
                </c:pt>
                <c:pt idx="72">
                  <c:v>0.6816590186582623</c:v>
                </c:pt>
                <c:pt idx="73">
                  <c:v>0.6914757867927961</c:v>
                </c:pt>
                <c:pt idx="74">
                  <c:v>0.727412285568998</c:v>
                </c:pt>
                <c:pt idx="75">
                  <c:v>0.7247195313993449</c:v>
                </c:pt>
                <c:pt idx="76">
                  <c:v>0.7249077430586864</c:v>
                </c:pt>
                <c:pt idx="77">
                  <c:v>0.7125088379970391</c:v>
                </c:pt>
                <c:pt idx="78">
                  <c:v>0.710913021829097</c:v>
                </c:pt>
                <c:pt idx="79">
                  <c:v>0.41264269707248613</c:v>
                </c:pt>
                <c:pt idx="80">
                  <c:v>0.501857547920116</c:v>
                </c:pt>
                <c:pt idx="81">
                  <c:v>0.6195192261415613</c:v>
                </c:pt>
                <c:pt idx="82">
                  <c:v>0.6426308932053648</c:v>
                </c:pt>
                <c:pt idx="83">
                  <c:v>0.5481012813571557</c:v>
                </c:pt>
                <c:pt idx="84">
                  <c:v>0.6847340358261431</c:v>
                </c:pt>
                <c:pt idx="85">
                  <c:v>0.5692478956791199</c:v>
                </c:pt>
                <c:pt idx="86">
                  <c:v>0.7124067499333449</c:v>
                </c:pt>
                <c:pt idx="87">
                  <c:v>0.769769519716941</c:v>
                </c:pt>
                <c:pt idx="88">
                  <c:v>0.7514574809247884</c:v>
                </c:pt>
                <c:pt idx="89">
                  <c:v>0.7170295353738739</c:v>
                </c:pt>
                <c:pt idx="90">
                  <c:v>0.7074275302926699</c:v>
                </c:pt>
                <c:pt idx="91">
                  <c:v>0.7744729157927014</c:v>
                </c:pt>
                <c:pt idx="92">
                  <c:v>0.7829724565201165</c:v>
                </c:pt>
                <c:pt idx="93">
                  <c:v>0.7414296751992602</c:v>
                </c:pt>
                <c:pt idx="94">
                  <c:v>0.8175907561079406</c:v>
                </c:pt>
                <c:pt idx="95">
                  <c:v>0.816654422704615</c:v>
                </c:pt>
                <c:pt idx="96">
                  <c:v>0.7540074578293856</c:v>
                </c:pt>
                <c:pt idx="97">
                  <c:v>0.8393649515294992</c:v>
                </c:pt>
                <c:pt idx="98">
                  <c:v>0.9159277638915514</c:v>
                </c:pt>
                <c:pt idx="99">
                  <c:v>0.899415562357099</c:v>
                </c:pt>
                <c:pt idx="100">
                  <c:v>0.9130219993723453</c:v>
                </c:pt>
                <c:pt idx="101">
                  <c:v>0.8776280807052695</c:v>
                </c:pt>
                <c:pt idx="102">
                  <c:v>0.8580562466391334</c:v>
                </c:pt>
                <c:pt idx="103">
                  <c:v>0.7073370150235597</c:v>
                </c:pt>
                <c:pt idx="104">
                  <c:v>0.7729429498481428</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150555501743433</c:v>
                </c:pt>
                <c:pt idx="1">
                  <c:v>0.8577874142194032</c:v>
                </c:pt>
                <c:pt idx="2">
                  <c:v>0.8848556461353217</c:v>
                </c:pt>
                <c:pt idx="3">
                  <c:v>0.8710982482226233</c:v>
                </c:pt>
                <c:pt idx="4">
                  <c:v>0.9329500180291136</c:v>
                </c:pt>
                <c:pt idx="5">
                  <c:v>0.908365784114053</c:v>
                </c:pt>
                <c:pt idx="6">
                  <c:v>0.9272946958248004</c:v>
                </c:pt>
                <c:pt idx="7">
                  <c:v>0.895123749164086</c:v>
                </c:pt>
                <c:pt idx="8">
                  <c:v>0.9854078591895211</c:v>
                </c:pt>
                <c:pt idx="9">
                  <c:v>0.9492847492255981</c:v>
                </c:pt>
                <c:pt idx="10">
                  <c:v>1.0691083540737996</c:v>
                </c:pt>
                <c:pt idx="11">
                  <c:v>0.9955844125759392</c:v>
                </c:pt>
                <c:pt idx="12">
                  <c:v>1.0044510496527304</c:v>
                </c:pt>
                <c:pt idx="13">
                  <c:v>1.0359871890388364</c:v>
                </c:pt>
                <c:pt idx="14">
                  <c:v>1.047166118696319</c:v>
                </c:pt>
                <c:pt idx="15">
                  <c:v>1.2575107006001545</c:v>
                </c:pt>
                <c:pt idx="16">
                  <c:v>1.0409026780501425</c:v>
                </c:pt>
                <c:pt idx="17">
                  <c:v>1.1218603002881706</c:v>
                </c:pt>
                <c:pt idx="18">
                  <c:v>1.2678664914640887</c:v>
                </c:pt>
                <c:pt idx="19">
                  <c:v>1.449267871185549</c:v>
                </c:pt>
                <c:pt idx="20">
                  <c:v>1.4821660676940245</c:v>
                </c:pt>
                <c:pt idx="21">
                  <c:v>1.6109677127081954</c:v>
                </c:pt>
                <c:pt idx="22">
                  <c:v>1.2880158402853714</c:v>
                </c:pt>
                <c:pt idx="23">
                  <c:v>1.266514661065429</c:v>
                </c:pt>
                <c:pt idx="24">
                  <c:v>1.1510560581500386</c:v>
                </c:pt>
                <c:pt idx="25">
                  <c:v>1.1278244309596126</c:v>
                </c:pt>
                <c:pt idx="26">
                  <c:v>1.2719217956181095</c:v>
                </c:pt>
                <c:pt idx="27">
                  <c:v>1.1484535123627138</c:v>
                </c:pt>
                <c:pt idx="28">
                  <c:v>1.0570830512366356</c:v>
                </c:pt>
                <c:pt idx="29">
                  <c:v>1.1967464958625194</c:v>
                </c:pt>
                <c:pt idx="30">
                  <c:v>0.930184449645684</c:v>
                </c:pt>
                <c:pt idx="31">
                  <c:v>1.0094721659748032</c:v>
                </c:pt>
                <c:pt idx="32">
                  <c:v>1.0830878284268086</c:v>
                </c:pt>
                <c:pt idx="33">
                  <c:v>1.2151012858645514</c:v>
                </c:pt>
                <c:pt idx="34">
                  <c:v>1.4085727589655366</c:v>
                </c:pt>
                <c:pt idx="35">
                  <c:v>1.2058674637829032</c:v>
                </c:pt>
                <c:pt idx="36">
                  <c:v>1.2719774751159143</c:v>
                </c:pt>
                <c:pt idx="37">
                  <c:v>1.1750253126766068</c:v>
                </c:pt>
                <c:pt idx="38">
                  <c:v>1.210641420471948</c:v>
                </c:pt>
                <c:pt idx="39">
                  <c:v>1.0687748258770193</c:v>
                </c:pt>
                <c:pt idx="40">
                  <c:v>1.0636116629998793</c:v>
                </c:pt>
                <c:pt idx="41">
                  <c:v>1.1662414690480885</c:v>
                </c:pt>
                <c:pt idx="42">
                  <c:v>0.9979386200689567</c:v>
                </c:pt>
                <c:pt idx="43">
                  <c:v>1.0500648362415481</c:v>
                </c:pt>
                <c:pt idx="44">
                  <c:v>1.110880163147991</c:v>
                </c:pt>
                <c:pt idx="45">
                  <c:v>1.0496287129541324</c:v>
                </c:pt>
                <c:pt idx="46">
                  <c:v>0.9107016178219549</c:v>
                </c:pt>
                <c:pt idx="47">
                  <c:v>0.8592950644859412</c:v>
                </c:pt>
                <c:pt idx="48">
                  <c:v>0.7967192445487249</c:v>
                </c:pt>
                <c:pt idx="49">
                  <c:v>0.822450457093591</c:v>
                </c:pt>
                <c:pt idx="50">
                  <c:v>0.8101048221061288</c:v>
                </c:pt>
                <c:pt idx="51">
                  <c:v>0.7767638909485417</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877829722886385</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877829722886385</c:v>
                </c:pt>
                <c:pt idx="1">
                  <c:v>-1.5877829722886385</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859532205339927</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859532205339927</c:v>
                </c:pt>
                <c:pt idx="1">
                  <c:v>0.8859532205339927</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957935774747871</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957935774747871</c:v>
                </c:pt>
                <c:pt idx="1">
                  <c:v>1.0957935774747871</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150555501743433</c:v>
                </c:pt>
                <c:pt idx="1">
                  <c:v>0.8577874142194032</c:v>
                </c:pt>
                <c:pt idx="2">
                  <c:v>0.8848556461353217</c:v>
                </c:pt>
                <c:pt idx="3">
                  <c:v>0.8710982482226233</c:v>
                </c:pt>
                <c:pt idx="4">
                  <c:v>0.9329500180291136</c:v>
                </c:pt>
                <c:pt idx="5">
                  <c:v>0.908365784114053</c:v>
                </c:pt>
                <c:pt idx="6">
                  <c:v>0.9272946958248004</c:v>
                </c:pt>
                <c:pt idx="7">
                  <c:v>0.895123749164086</c:v>
                </c:pt>
                <c:pt idx="8">
                  <c:v>0.9854078591895211</c:v>
                </c:pt>
                <c:pt idx="9">
                  <c:v>0.9492847492255981</c:v>
                </c:pt>
                <c:pt idx="10">
                  <c:v>1.0691083540737996</c:v>
                </c:pt>
                <c:pt idx="11">
                  <c:v>0.9955844125759392</c:v>
                </c:pt>
                <c:pt idx="12">
                  <c:v>1.0044510496527304</c:v>
                </c:pt>
                <c:pt idx="13">
                  <c:v>1.0359871890388364</c:v>
                </c:pt>
                <c:pt idx="14">
                  <c:v>1.047166118696319</c:v>
                </c:pt>
                <c:pt idx="15">
                  <c:v>1.2575107006001545</c:v>
                </c:pt>
                <c:pt idx="16">
                  <c:v>1.0409026780501425</c:v>
                </c:pt>
                <c:pt idx="17">
                  <c:v>1.1218603002881706</c:v>
                </c:pt>
                <c:pt idx="18">
                  <c:v>1.2678664914640887</c:v>
                </c:pt>
                <c:pt idx="19">
                  <c:v>1.449267871185549</c:v>
                </c:pt>
                <c:pt idx="20">
                  <c:v>1.4821660676940245</c:v>
                </c:pt>
                <c:pt idx="21">
                  <c:v>1.6109677127081954</c:v>
                </c:pt>
                <c:pt idx="22">
                  <c:v>1.2880158402853714</c:v>
                </c:pt>
                <c:pt idx="23">
                  <c:v>1.266514661065429</c:v>
                </c:pt>
                <c:pt idx="24">
                  <c:v>1.1510560581500386</c:v>
                </c:pt>
                <c:pt idx="25">
                  <c:v>1.1278244309596126</c:v>
                </c:pt>
                <c:pt idx="26">
                  <c:v>1.2719217956181095</c:v>
                </c:pt>
                <c:pt idx="27">
                  <c:v>1.1484535123627138</c:v>
                </c:pt>
                <c:pt idx="28">
                  <c:v>1.0570830512366356</c:v>
                </c:pt>
                <c:pt idx="29">
                  <c:v>1.1967464958625194</c:v>
                </c:pt>
                <c:pt idx="30">
                  <c:v>0.930184449645684</c:v>
                </c:pt>
                <c:pt idx="31">
                  <c:v>1.0094721659748032</c:v>
                </c:pt>
                <c:pt idx="32">
                  <c:v>1.0830878284268086</c:v>
                </c:pt>
                <c:pt idx="33">
                  <c:v>1.2151012858645514</c:v>
                </c:pt>
                <c:pt idx="34">
                  <c:v>1.4085727589655366</c:v>
                </c:pt>
                <c:pt idx="35">
                  <c:v>1.2058674637829032</c:v>
                </c:pt>
                <c:pt idx="36">
                  <c:v>1.2719774751159143</c:v>
                </c:pt>
                <c:pt idx="37">
                  <c:v>1.1750253126766068</c:v>
                </c:pt>
                <c:pt idx="38">
                  <c:v>1.210641420471948</c:v>
                </c:pt>
                <c:pt idx="39">
                  <c:v>1.0687748258770193</c:v>
                </c:pt>
                <c:pt idx="40">
                  <c:v>1.0636116629998793</c:v>
                </c:pt>
                <c:pt idx="41">
                  <c:v>1.1662414690480885</c:v>
                </c:pt>
                <c:pt idx="42">
                  <c:v>0.9979386200689567</c:v>
                </c:pt>
                <c:pt idx="43">
                  <c:v>1.0500648362415481</c:v>
                </c:pt>
                <c:pt idx="44">
                  <c:v>1.110880163147991</c:v>
                </c:pt>
                <c:pt idx="45">
                  <c:v>1.0496287129541324</c:v>
                </c:pt>
                <c:pt idx="46">
                  <c:v>0.9107016178219549</c:v>
                </c:pt>
                <c:pt idx="47">
                  <c:v>0.8592950644859412</c:v>
                </c:pt>
                <c:pt idx="48">
                  <c:v>0.7967192445487249</c:v>
                </c:pt>
                <c:pt idx="49">
                  <c:v>0.822450457093591</c:v>
                </c:pt>
                <c:pt idx="50">
                  <c:v>0.8101048221061288</c:v>
                </c:pt>
                <c:pt idx="51">
                  <c:v>0.7767638909485417</c:v>
                </c:pt>
                <c:pt idx="52">
                  <c:v>0.8859532205339927</c:v>
                </c:pt>
                <c:pt idx="53">
                  <c:v>-1.5877829722886385</c:v>
                </c:pt>
                <c:pt idx="54">
                  <c:v>1.0957935774747871</c:v>
                </c:pt>
              </c:numCache>
            </c:numRef>
          </c:xVal>
          <c:yVal>
            <c:numRef>
              <c:f>Sheet1!$B$187:$B$241</c:f>
              <c:numCache>
                <c:formatCode>General</c:formatCode>
                <c:ptCount val="55"/>
                <c:pt idx="0">
                  <c:v>0.15708605459807093</c:v>
                </c:pt>
                <c:pt idx="1">
                  <c:v>0.15626393459317334</c:v>
                </c:pt>
                <c:pt idx="2">
                  <c:v>0.15574316781988637</c:v>
                </c:pt>
                <c:pt idx="3">
                  <c:v>0.1560078469367964</c:v>
                </c:pt>
                <c:pt idx="4">
                  <c:v>0.1548178783165973</c:v>
                </c:pt>
                <c:pt idx="5">
                  <c:v>0.15529085535512152</c:v>
                </c:pt>
                <c:pt idx="6">
                  <c:v>0.15492668128183665</c:v>
                </c:pt>
                <c:pt idx="7">
                  <c:v>0.15554561938382014</c:v>
                </c:pt>
                <c:pt idx="8">
                  <c:v>0.15380863985730064</c:v>
                </c:pt>
                <c:pt idx="9">
                  <c:v>0.15450361378376312</c:v>
                </c:pt>
                <c:pt idx="10">
                  <c:v>0.152198322760166</c:v>
                </c:pt>
                <c:pt idx="11">
                  <c:v>0.15361285274838676</c:v>
                </c:pt>
                <c:pt idx="12">
                  <c:v>0.15344226717062423</c:v>
                </c:pt>
                <c:pt idx="13">
                  <c:v>0.15283554215064343</c:v>
                </c:pt>
                <c:pt idx="14">
                  <c:v>0.15262047028541734</c:v>
                </c:pt>
                <c:pt idx="15">
                  <c:v>0.14857364264123568</c:v>
                </c:pt>
                <c:pt idx="16">
                  <c:v>0.15274097286516158</c:v>
                </c:pt>
                <c:pt idx="17">
                  <c:v>0.1511834260022248</c:v>
                </c:pt>
                <c:pt idx="18">
                  <c:v>0.1483744071754765</c:v>
                </c:pt>
                <c:pt idx="19">
                  <c:v>0.14488441893092496</c:v>
                </c:pt>
                <c:pt idx="20">
                  <c:v>0.14425148924065567</c:v>
                </c:pt>
                <c:pt idx="21">
                  <c:v>0.141773469350903</c:v>
                </c:pt>
                <c:pt idx="22">
                  <c:v>0.14798675306485384</c:v>
                </c:pt>
                <c:pt idx="23">
                  <c:v>0.14840041509342727</c:v>
                </c:pt>
                <c:pt idx="24">
                  <c:v>0.15062172767399187</c:v>
                </c:pt>
                <c:pt idx="25">
                  <c:v>0.15106868185879954</c:v>
                </c:pt>
                <c:pt idx="26">
                  <c:v>0.1482963870201318</c:v>
                </c:pt>
                <c:pt idx="27">
                  <c:v>0.15067179815425844</c:v>
                </c:pt>
                <c:pt idx="28">
                  <c:v>0.15242967803212323</c:v>
                </c:pt>
                <c:pt idx="29">
                  <c:v>0.14974268755450754</c:v>
                </c:pt>
                <c:pt idx="30">
                  <c:v>0.15487108519497106</c:v>
                </c:pt>
                <c:pt idx="31">
                  <c:v>0.15334566571717628</c:v>
                </c:pt>
                <c:pt idx="32">
                  <c:v>0.15192937110592872</c:v>
                </c:pt>
                <c:pt idx="33">
                  <c:v>0.1493895590312479</c:v>
                </c:pt>
                <c:pt idx="34">
                  <c:v>0.14566735378774154</c:v>
                </c:pt>
                <c:pt idx="35">
                  <c:v>0.14956720889569058</c:v>
                </c:pt>
                <c:pt idx="36">
                  <c:v>0.14829531580009422</c:v>
                </c:pt>
                <c:pt idx="37">
                  <c:v>0.15016058224799328</c:v>
                </c:pt>
                <c:pt idx="38">
                  <c:v>0.1494753625560963</c:v>
                </c:pt>
                <c:pt idx="39">
                  <c:v>0.15220473952219823</c:v>
                </c:pt>
                <c:pt idx="40">
                  <c:v>0.15230407381487887</c:v>
                </c:pt>
                <c:pt idx="41">
                  <c:v>0.15032957495936392</c:v>
                </c:pt>
                <c:pt idx="42">
                  <c:v>0.1535675600582844</c:v>
                </c:pt>
                <c:pt idx="43">
                  <c:v>0.15256470174510822</c:v>
                </c:pt>
                <c:pt idx="44">
                  <c:v>0.15139467329042974</c:v>
                </c:pt>
                <c:pt idx="45">
                  <c:v>0.15257309233810476</c:v>
                </c:pt>
                <c:pt idx="46">
                  <c:v>0.15524591615899014</c:v>
                </c:pt>
                <c:pt idx="47">
                  <c:v>0.15623492885068566</c:v>
                </c:pt>
                <c:pt idx="48">
                  <c:v>0.1574388274996893</c:v>
                </c:pt>
                <c:pt idx="49">
                  <c:v>0.15694378369441322</c:v>
                </c:pt>
                <c:pt idx="50">
                  <c:v>0.15718130184914791</c:v>
                </c:pt>
                <c:pt idx="51">
                  <c:v>0.1578227493286602</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839.0833</c:v>
                </c:pt>
                <c:pt idx="1">
                  <c:v>795.0</c:v>
                </c:pt>
                <c:pt idx="2">
                  <c:v>715.1429</c:v>
                </c:pt>
                <c:pt idx="3">
                  <c:v>963.6667</c:v>
                </c:pt>
                <c:pt idx="4">
                  <c:v>786.1667</c:v>
                </c:pt>
                <c:pt idx="5">
                  <c:v>778.4167</c:v>
                </c:pt>
                <c:pt idx="6">
                  <c:v>757.6</c:v>
                </c:pt>
                <c:pt idx="7">
                  <c:v>673.0</c:v>
                </c:pt>
                <c:pt idx="8">
                  <c:v>1088.5</c:v>
                </c:pt>
              </c:numCache>
            </c:numRef>
          </c:xVal>
          <c:yVal>
            <c:numRef>
              <c:f>Sheet1!$B$2:$B$10</c:f>
              <c:numCache>
                <c:formatCode>General</c:formatCode>
                <c:ptCount val="9"/>
                <c:pt idx="0">
                  <c:v>0.5217391304347826</c:v>
                </c:pt>
                <c:pt idx="1">
                  <c:v>0.42105263157894735</c:v>
                </c:pt>
                <c:pt idx="2">
                  <c:v>0.4666666666666667</c:v>
                </c:pt>
                <c:pt idx="3">
                  <c:v>0.375</c:v>
                </c:pt>
                <c:pt idx="4">
                  <c:v>0.5</c:v>
                </c:pt>
                <c:pt idx="5">
                  <c:v>0.46153846153846156</c:v>
                </c:pt>
                <c:pt idx="6">
                  <c:v>0.45454545454545453</c:v>
                </c:pt>
                <c:pt idx="7">
                  <c:v>0.3076923076923077</c:v>
                </c:pt>
                <c:pt idx="8">
                  <c:v>0.2</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52</c:f>
              <c:numCache>
                <c:formatCode>General</c:formatCode>
                <c:ptCount val="40"/>
                <c:pt idx="0">
                  <c:v>656.0</c:v>
                </c:pt>
                <c:pt idx="1">
                  <c:v>624.0</c:v>
                </c:pt>
                <c:pt idx="2">
                  <c:v>1024.0</c:v>
                </c:pt>
                <c:pt idx="3">
                  <c:v>1024.0</c:v>
                </c:pt>
                <c:pt idx="4">
                  <c:v>1008.0</c:v>
                </c:pt>
                <c:pt idx="5">
                  <c:v>624.0</c:v>
                </c:pt>
                <c:pt idx="6">
                  <c:v>816.0</c:v>
                </c:pt>
                <c:pt idx="7">
                  <c:v>624.0</c:v>
                </c:pt>
                <c:pt idx="8">
                  <c:v>0.0</c:v>
                </c:pt>
                <c:pt idx="9">
                  <c:v>804.0</c:v>
                </c:pt>
                <c:pt idx="10">
                  <c:v>1075.5</c:v>
                </c:pt>
                <c:pt idx="11">
                  <c:v>832.0</c:v>
                </c:pt>
                <c:pt idx="12">
                  <c:v>824.0</c:v>
                </c:pt>
                <c:pt idx="13">
                  <c:v>987.3333</c:v>
                </c:pt>
                <c:pt idx="14">
                  <c:v>763.5</c:v>
                </c:pt>
                <c:pt idx="15">
                  <c:v>658.0</c:v>
                </c:pt>
                <c:pt idx="16">
                  <c:v>624.0</c:v>
                </c:pt>
                <c:pt idx="17">
                  <c:v>608.0</c:v>
                </c:pt>
                <c:pt idx="18">
                  <c:v>0.0</c:v>
                </c:pt>
                <c:pt idx="19">
                  <c:v>0.0</c:v>
                </c:pt>
                <c:pt idx="20">
                  <c:v>0.0</c:v>
                </c:pt>
                <c:pt idx="21">
                  <c:v>0.0</c:v>
                </c:pt>
                <c:pt idx="22">
                  <c:v>0.0</c:v>
                </c:pt>
                <c:pt idx="23">
                  <c:v>630.0</c:v>
                </c:pt>
                <c:pt idx="24">
                  <c:v>0.0</c:v>
                </c:pt>
                <c:pt idx="25">
                  <c:v>0.0</c:v>
                </c:pt>
                <c:pt idx="26">
                  <c:v>0.0</c:v>
                </c:pt>
                <c:pt idx="27">
                  <c:v>630.0</c:v>
                </c:pt>
                <c:pt idx="28">
                  <c:v>0.0</c:v>
                </c:pt>
                <c:pt idx="29">
                  <c:v>0.0</c:v>
                </c:pt>
                <c:pt idx="30">
                  <c:v>0.0</c:v>
                </c:pt>
                <c:pt idx="31">
                  <c:v>0.0</c:v>
                </c:pt>
                <c:pt idx="32">
                  <c:v>0.0</c:v>
                </c:pt>
                <c:pt idx="33">
                  <c:v>0.0</c:v>
                </c:pt>
                <c:pt idx="34">
                  <c:v>0.0</c:v>
                </c:pt>
                <c:pt idx="35">
                  <c:v>0.0</c:v>
                </c:pt>
                <c:pt idx="36">
                  <c:v>0.0</c:v>
                </c:pt>
                <c:pt idx="37">
                  <c:v>0.0</c:v>
                </c:pt>
                <c:pt idx="38">
                  <c:v>0.0</c:v>
                </c:pt>
                <c:pt idx="39">
                  <c:v>0.0</c:v>
                </c:pt>
              </c:numCache>
            </c:numRef>
          </c:xVal>
          <c:yVal>
            <c:numRef>
              <c:f>Sheet1!$B$13:$B$52</c:f>
              <c:numCache>
                <c:formatCode>General</c:formatCode>
                <c:ptCount val="40"/>
                <c:pt idx="0">
                  <c:v>0.18181818181818182</c:v>
                </c:pt>
                <c:pt idx="1">
                  <c:v>0.1111111111111111</c:v>
                </c:pt>
                <c:pt idx="2">
                  <c:v>0.14285714285714285</c:v>
                </c:pt>
                <c:pt idx="3">
                  <c:v>0.16666666666666666</c:v>
                </c:pt>
                <c:pt idx="4">
                  <c:v>0.125</c:v>
                </c:pt>
                <c:pt idx="5">
                  <c:v>0.125</c:v>
                </c:pt>
                <c:pt idx="6">
                  <c:v>0.2</c:v>
                </c:pt>
                <c:pt idx="7">
                  <c:v>0.5</c:v>
                </c:pt>
                <c:pt idx="8">
                  <c:v>0.0</c:v>
                </c:pt>
                <c:pt idx="9">
                  <c:v>0.3333333333333333</c:v>
                </c:pt>
                <c:pt idx="10">
                  <c:v>0.15384615384615385</c:v>
                </c:pt>
                <c:pt idx="11">
                  <c:v>0.2727272727272727</c:v>
                </c:pt>
                <c:pt idx="12">
                  <c:v>0.25</c:v>
                </c:pt>
                <c:pt idx="13">
                  <c:v>0.5</c:v>
                </c:pt>
                <c:pt idx="14">
                  <c:v>0.2857142857142857</c:v>
                </c:pt>
                <c:pt idx="15">
                  <c:v>0.25</c:v>
                </c:pt>
                <c:pt idx="16">
                  <c:v>0.5</c:v>
                </c:pt>
                <c:pt idx="17">
                  <c:v>0.2</c:v>
                </c:pt>
                <c:pt idx="18">
                  <c:v>0.0</c:v>
                </c:pt>
                <c:pt idx="19">
                  <c:v>0.0</c:v>
                </c:pt>
                <c:pt idx="20">
                  <c:v>0.0</c:v>
                </c:pt>
                <c:pt idx="21">
                  <c:v>0.0</c:v>
                </c:pt>
                <c:pt idx="22">
                  <c:v>0.0</c:v>
                </c:pt>
                <c:pt idx="23">
                  <c:v>0.25</c:v>
                </c:pt>
                <c:pt idx="24">
                  <c:v>0.0</c:v>
                </c:pt>
                <c:pt idx="25">
                  <c:v>0.0</c:v>
                </c:pt>
                <c:pt idx="26">
                  <c:v>0.0</c:v>
                </c:pt>
                <c:pt idx="27">
                  <c:v>0.16666666666666666</c:v>
                </c:pt>
                <c:pt idx="28">
                  <c:v>0.0</c:v>
                </c:pt>
                <c:pt idx="29">
                  <c:v>0.0</c:v>
                </c:pt>
                <c:pt idx="30">
                  <c:v>0.0</c:v>
                </c:pt>
                <c:pt idx="31">
                  <c:v>0.0</c:v>
                </c:pt>
                <c:pt idx="32">
                  <c:v>0.0</c:v>
                </c:pt>
                <c:pt idx="33">
                  <c:v>0.0</c:v>
                </c:pt>
                <c:pt idx="34">
                  <c:v>0.0</c:v>
                </c:pt>
                <c:pt idx="35">
                  <c:v>0.0</c:v>
                </c:pt>
                <c:pt idx="36">
                  <c:v>0.0</c:v>
                </c:pt>
                <c:pt idx="37">
                  <c:v>0.0</c:v>
                </c:pt>
                <c:pt idx="38">
                  <c:v>0.0</c:v>
                </c:pt>
                <c:pt idx="39">
                  <c:v>0.0</c:v>
                </c:pt>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1563.038977827208</c:v>
                </c:pt>
              </c:numCache>
            </c:numRef>
          </c:xVal>
          <c:yVal>
            <c:numRef>
              <c:f>Sheet1!$B$55:$B$56</c:f>
              <c:numCache>
                <c:formatCode>General</c:formatCode>
                <c:ptCount val="2"/>
                <c:pt idx="0">
                  <c:v>0.45689168573607936</c:v>
                </c:pt>
                <c:pt idx="1">
                  <c:v>0.45689168573607936</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1563.038977827208</c:v>
                </c:pt>
                <c:pt idx="1">
                  <c:v>1563.038977827208</c:v>
                </c:pt>
              </c:numCache>
            </c:numRef>
          </c:xVal>
          <c:yVal>
            <c:numRef>
              <c:f>Sheet1!$B$59:$B$60</c:f>
              <c:numCache>
                <c:formatCode>General</c:formatCode>
                <c:ptCount val="2"/>
                <c:pt idx="0">
                  <c:v>0.456891685736079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4</c:f>
              <c:numCache>
                <c:formatCode>General</c:formatCode>
                <c:ptCount val="2"/>
                <c:pt idx="0">
                  <c:v>0</c:v>
                </c:pt>
                <c:pt idx="1">
                  <c:v>760.9905471404543</c:v>
                </c:pt>
              </c:numCache>
            </c:numRef>
          </c:xVal>
          <c:yVal>
            <c:numRef>
              <c:f>Sheet1!$B$63:$B$64</c:f>
              <c:numCache>
                <c:formatCode>General</c:formatCode>
                <c:ptCount val="2"/>
                <c:pt idx="0">
                  <c:v>0.2288017538017538</c:v>
                </c:pt>
                <c:pt idx="1">
                  <c:v>0.2288017538017538</c:v>
                </c:pt>
              </c:numCache>
            </c:numRef>
          </c:yVal>
          <c:smooth val="0"/>
          <c:extLst>
            <c:ext xmlns:c16="http://schemas.microsoft.com/office/drawing/2014/chart" uri="{C3380CC4-5D6E-409C-BE32-E72D297353CC}">
              <c16:uniqueId val="{0000000A-F32D-48B7-BC20-E66FC6253BAD}"/>
            </c:ext>
          </c:extLst>
        </c:ser>
        <c:ser>
          <c:idx val="5"/>
          <c:order val="5"/>
          <c:tx>
            <c:strRef>
              <c:f>Sheet1!$B$6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7:$A$68</c:f>
              <c:numCache>
                <c:formatCode>General</c:formatCode>
                <c:ptCount val="2"/>
                <c:pt idx="0">
                  <c:v>760.9905471404543</c:v>
                </c:pt>
                <c:pt idx="1">
                  <c:v>760.9905471404543</c:v>
                </c:pt>
              </c:numCache>
            </c:numRef>
          </c:xVal>
          <c:yVal>
            <c:numRef>
              <c:f>Sheet1!$B$67:$B$68</c:f>
              <c:numCache>
                <c:formatCode>General</c:formatCode>
                <c:ptCount val="2"/>
                <c:pt idx="0">
                  <c:v>0.22880175380175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1:$A$72</c:f>
              <c:numCache>
                <c:formatCode>General</c:formatCode>
                <c:ptCount val="2"/>
                <c:pt idx="0">
                  <c:v>0</c:v>
                </c:pt>
                <c:pt idx="1">
                  <c:v>-43.56091209673863</c:v>
                </c:pt>
              </c:numCache>
            </c:numRef>
          </c:xVal>
          <c:yVal>
            <c:numRef>
              <c:f>Sheet1!$B$71:$B$72</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7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5:$A$76</c:f>
              <c:numCache>
                <c:formatCode>General</c:formatCode>
                <c:ptCount val="2"/>
                <c:pt idx="0">
                  <c:v>-43.56091209673863</c:v>
                </c:pt>
                <c:pt idx="1">
                  <c:v>-43.56091209673863</c:v>
                </c:pt>
              </c:numCache>
            </c:numRef>
          </c:xVal>
          <c:yVal>
            <c:numRef>
              <c:f>Sheet1!$B$75:$B$76</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9:$A$121</c:f>
              <c:numCache>
                <c:formatCode>General</c:formatCode>
                <c:ptCount val="43"/>
                <c:pt idx="0">
                  <c:v>656.0</c:v>
                </c:pt>
                <c:pt idx="1">
                  <c:v>624.0</c:v>
                </c:pt>
                <c:pt idx="2">
                  <c:v>1024.0</c:v>
                </c:pt>
                <c:pt idx="3">
                  <c:v>1024.0</c:v>
                </c:pt>
                <c:pt idx="4">
                  <c:v>1008.0</c:v>
                </c:pt>
                <c:pt idx="5">
                  <c:v>624.0</c:v>
                </c:pt>
                <c:pt idx="6">
                  <c:v>816.0</c:v>
                </c:pt>
                <c:pt idx="7">
                  <c:v>624.0</c:v>
                </c:pt>
                <c:pt idx="8">
                  <c:v>0.0</c:v>
                </c:pt>
                <c:pt idx="9">
                  <c:v>804.0</c:v>
                </c:pt>
                <c:pt idx="10">
                  <c:v>1075.5</c:v>
                </c:pt>
                <c:pt idx="11">
                  <c:v>832.0</c:v>
                </c:pt>
                <c:pt idx="12">
                  <c:v>824.0</c:v>
                </c:pt>
                <c:pt idx="13">
                  <c:v>987.3333</c:v>
                </c:pt>
                <c:pt idx="14">
                  <c:v>763.5</c:v>
                </c:pt>
                <c:pt idx="15">
                  <c:v>658.0</c:v>
                </c:pt>
                <c:pt idx="16">
                  <c:v>624.0</c:v>
                </c:pt>
                <c:pt idx="17">
                  <c:v>608.0</c:v>
                </c:pt>
                <c:pt idx="18">
                  <c:v>0.0</c:v>
                </c:pt>
                <c:pt idx="19">
                  <c:v>0.0</c:v>
                </c:pt>
                <c:pt idx="20">
                  <c:v>0.0</c:v>
                </c:pt>
                <c:pt idx="21">
                  <c:v>0.0</c:v>
                </c:pt>
                <c:pt idx="22">
                  <c:v>0.0</c:v>
                </c:pt>
                <c:pt idx="23">
                  <c:v>630.0</c:v>
                </c:pt>
                <c:pt idx="24">
                  <c:v>0.0</c:v>
                </c:pt>
                <c:pt idx="25">
                  <c:v>0.0</c:v>
                </c:pt>
                <c:pt idx="26">
                  <c:v>0.0</c:v>
                </c:pt>
                <c:pt idx="27">
                  <c:v>630.0</c:v>
                </c:pt>
                <c:pt idx="28">
                  <c:v>0.0</c:v>
                </c:pt>
                <c:pt idx="29">
                  <c:v>0.0</c:v>
                </c:pt>
                <c:pt idx="30">
                  <c:v>0.0</c:v>
                </c:pt>
                <c:pt idx="31">
                  <c:v>0.0</c:v>
                </c:pt>
                <c:pt idx="32">
                  <c:v>0.0</c:v>
                </c:pt>
                <c:pt idx="33">
                  <c:v>0.0</c:v>
                </c:pt>
                <c:pt idx="34">
                  <c:v>0.0</c:v>
                </c:pt>
                <c:pt idx="35">
                  <c:v>0.0</c:v>
                </c:pt>
                <c:pt idx="36">
                  <c:v>0.0</c:v>
                </c:pt>
                <c:pt idx="37">
                  <c:v>0.0</c:v>
                </c:pt>
                <c:pt idx="38">
                  <c:v>0.0</c:v>
                </c:pt>
                <c:pt idx="39">
                  <c:v>0.0</c:v>
                </c:pt>
                <c:pt idx="40">
                  <c:v>760.9905471404543</c:v>
                </c:pt>
                <c:pt idx="41">
                  <c:v>1563.038977827208</c:v>
                </c:pt>
                <c:pt idx="42">
                  <c:v>-43.56091209673863</c:v>
                </c:pt>
              </c:numCache>
            </c:numRef>
          </c:xVal>
          <c:yVal>
            <c:numRef>
              <c:f>Sheet1!$B$79:$B$121</c:f>
              <c:numCache>
                <c:formatCode>General</c:formatCode>
                <c:ptCount val="43"/>
                <c:pt idx="0">
                  <c:v>0.19894409703842225</c:v>
                </c:pt>
                <c:pt idx="1">
                  <c:v>0.1898438014170609</c:v>
                </c:pt>
                <c:pt idx="2">
                  <c:v>0.3035974966840779</c:v>
                </c:pt>
                <c:pt idx="3">
                  <c:v>0.3035974966840779</c:v>
                </c:pt>
                <c:pt idx="4">
                  <c:v>0.29904734887339723</c:v>
                </c:pt>
                <c:pt idx="5">
                  <c:v>0.1898438014170609</c:v>
                </c:pt>
                <c:pt idx="6">
                  <c:v>0.24444557514522908</c:v>
                </c:pt>
                <c:pt idx="7">
                  <c:v>0.1898438014170609</c:v>
                </c:pt>
                <c:pt idx="8">
                  <c:v>0.012388036800514307</c:v>
                </c:pt>
                <c:pt idx="9">
                  <c:v>0.24103296428721857</c:v>
                </c:pt>
                <c:pt idx="10">
                  <c:v>0.3182432849497064</c:v>
                </c:pt>
                <c:pt idx="11">
                  <c:v>0.24899572295590974</c:v>
                </c:pt>
                <c:pt idx="12">
                  <c:v>0.2467206490505694</c:v>
                </c:pt>
                <c:pt idx="13">
                  <c:v>0.2931700651384601</c:v>
                </c:pt>
                <c:pt idx="14">
                  <c:v>0.22951540264143308</c:v>
                </c:pt>
                <c:pt idx="15">
                  <c:v>0.19951286551475733</c:v>
                </c:pt>
                <c:pt idx="16">
                  <c:v>0.1898438014170609</c:v>
                </c:pt>
                <c:pt idx="17">
                  <c:v>0.1852936536063802</c:v>
                </c:pt>
                <c:pt idx="18">
                  <c:v>0.012388036800514307</c:v>
                </c:pt>
                <c:pt idx="19">
                  <c:v>0.012388036800514307</c:v>
                </c:pt>
                <c:pt idx="20">
                  <c:v>0.012388036800514307</c:v>
                </c:pt>
                <c:pt idx="21">
                  <c:v>0.012388036800514307</c:v>
                </c:pt>
                <c:pt idx="22">
                  <c:v>0.012388036800514307</c:v>
                </c:pt>
                <c:pt idx="23">
                  <c:v>0.19155010684606616</c:v>
                </c:pt>
                <c:pt idx="24">
                  <c:v>0.012388036800514307</c:v>
                </c:pt>
                <c:pt idx="25">
                  <c:v>0.012388036800514307</c:v>
                </c:pt>
                <c:pt idx="26">
                  <c:v>0.012388036800514307</c:v>
                </c:pt>
                <c:pt idx="27">
                  <c:v>0.19155010684606616</c:v>
                </c:pt>
                <c:pt idx="28">
                  <c:v>0.012388036800514307</c:v>
                </c:pt>
                <c:pt idx="29">
                  <c:v>0.012388036800514307</c:v>
                </c:pt>
                <c:pt idx="30">
                  <c:v>0.012388036800514307</c:v>
                </c:pt>
                <c:pt idx="31">
                  <c:v>0.012388036800514307</c:v>
                </c:pt>
                <c:pt idx="32">
                  <c:v>0.012388036800514307</c:v>
                </c:pt>
                <c:pt idx="33">
                  <c:v>0.012388036800514307</c:v>
                </c:pt>
                <c:pt idx="34">
                  <c:v>0.012388036800514307</c:v>
                </c:pt>
                <c:pt idx="35">
                  <c:v>0.012388036800514307</c:v>
                </c:pt>
                <c:pt idx="36">
                  <c:v>0.012388036800514307</c:v>
                </c:pt>
                <c:pt idx="37">
                  <c:v>0.012388036800514307</c:v>
                </c:pt>
                <c:pt idx="38">
                  <c:v>0.012388036800514307</c:v>
                </c:pt>
                <c:pt idx="39">
                  <c:v>0.012388036800514307</c:v>
                </c:pt>
                <c:pt idx="40">
                  <c:v>0.2288017538017538</c:v>
                </c:pt>
                <c:pt idx="41">
                  <c:v>0.4568916857360794</c:v>
                </c:pt>
                <c:pt idx="42">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7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26086956521739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215828082867478</c:v>
                </c:pt>
                <c:pt idx="1">
                  <c:v>1.6800576069059256</c:v>
                </c:pt>
                <c:pt idx="2">
                  <c:v>1.635089381953808</c:v>
                </c:pt>
                <c:pt idx="3">
                  <c:v>1.6980263157894737</c:v>
                </c:pt>
                <c:pt idx="4">
                  <c:v>1.671128954601846</c:v>
                </c:pt>
                <c:pt idx="5">
                  <c:v>1.912890181268882</c:v>
                </c:pt>
                <c:pt idx="6">
                  <c:v>1.5513412788463794</c:v>
                </c:pt>
                <c:pt idx="7">
                  <c:v>1.6032006812967041</c:v>
                </c:pt>
                <c:pt idx="8">
                  <c:v>1.6922211213202436</c:v>
                </c:pt>
                <c:pt idx="9">
                  <c:v>1.75017471451876</c:v>
                </c:pt>
                <c:pt idx="10">
                  <c:v>1.896108355978261</c:v>
                </c:pt>
                <c:pt idx="11">
                  <c:v>1.446499146514936</c:v>
                </c:pt>
                <c:pt idx="12">
                  <c:v>1.8355203830527687</c:v>
                </c:pt>
                <c:pt idx="13">
                  <c:v>1.7576294117647058</c:v>
                </c:pt>
                <c:pt idx="14">
                  <c:v>1.6183454615090005</c:v>
                </c:pt>
                <c:pt idx="15">
                  <c:v>1.0484848387096775</c:v>
                </c:pt>
                <c:pt idx="16">
                  <c:v>1.3871653798200332</c:v>
                </c:pt>
                <c:pt idx="17">
                  <c:v>1.5541284403669724</c:v>
                </c:pt>
                <c:pt idx="18">
                  <c:v>1.716202698001854</c:v>
                </c:pt>
                <c:pt idx="19">
                  <c:v>2.114118949044586</c:v>
                </c:pt>
                <c:pt idx="20">
                  <c:v>1.505387300903679</c:v>
                </c:pt>
                <c:pt idx="21">
                  <c:v>2.1294718909710393</c:v>
                </c:pt>
                <c:pt idx="22">
                  <c:v>1.2069510268562402</c:v>
                </c:pt>
                <c:pt idx="23">
                  <c:v>2.498184517729019</c:v>
                </c:pt>
                <c:pt idx="24">
                  <c:v>2.4146341463414633</c:v>
                </c:pt>
                <c:pt idx="25">
                  <c:v>1.988862370723946</c:v>
                </c:pt>
                <c:pt idx="26">
                  <c:v>2.144189991518236</c:v>
                </c:pt>
                <c:pt idx="27">
                  <c:v>3.2051077414205906</c:v>
                </c:pt>
                <c:pt idx="28">
                  <c:v>2.017910447761194</c:v>
                </c:pt>
                <c:pt idx="29">
                  <c:v>2.4261168384879723</c:v>
                </c:pt>
                <c:pt idx="30">
                  <c:v>2.2042925278219396</c:v>
                </c:pt>
                <c:pt idx="31">
                  <c:v>1.1766990291262136</c:v>
                </c:pt>
                <c:pt idx="32">
                  <c:v>1.6479190101237344</c:v>
                </c:pt>
                <c:pt idx="33">
                  <c:v>1.6822612085769981</c:v>
                </c:pt>
                <c:pt idx="34">
                  <c:v>1.6312227341119994</c:v>
                </c:pt>
                <c:pt idx="35">
                  <c:v>2.0076627873563218</c:v>
                </c:pt>
                <c:pt idx="36">
                  <c:v>1.3483502538071066</c:v>
                </c:pt>
                <c:pt idx="37">
                  <c:v>3.0297683004537874</c:v>
                </c:pt>
                <c:pt idx="38">
                  <c:v>1.8248175182481752</c:v>
                </c:pt>
                <c:pt idx="39">
                  <c:v>1.6629711751662972</c:v>
                </c:pt>
                <c:pt idx="40">
                  <c:v>1.7908309455587392</c:v>
                </c:pt>
                <c:pt idx="41">
                  <c:v>2.879614767255217</c:v>
                </c:pt>
                <c:pt idx="42">
                  <c:v>2.4439656411747284</c:v>
                </c:pt>
                <c:pt idx="43">
                  <c:v>2.403481012658228</c:v>
                </c:pt>
                <c:pt idx="44">
                  <c:v>2.817365269461078</c:v>
                </c:pt>
                <c:pt idx="45">
                  <c:v>2.7909215955983493</c:v>
                </c:pt>
                <c:pt idx="46">
                  <c:v>2.975896168108776</c:v>
                </c:pt>
                <c:pt idx="47">
                  <c:v>2.660261489191353</c:v>
                </c:pt>
                <c:pt idx="48">
                  <c:v>2.2769342423701118</c:v>
                </c:pt>
                <c:pt idx="49">
                  <c:v>2.1464813535670677</c:v>
                </c:pt>
                <c:pt idx="50">
                  <c:v>2.02116763400478</c:v>
                </c:pt>
                <c:pt idx="51">
                  <c:v>2.1523955657492353</c:v>
                </c:pt>
                <c:pt idx="52">
                  <c:v>2.4359504132231407</c:v>
                </c:pt>
                <c:pt idx="53">
                  <c:v>2.3138371558414725</c:v>
                </c:pt>
                <c:pt idx="54">
                  <c:v>2.5167638483965016</c:v>
                </c:pt>
                <c:pt idx="55">
                  <c:v>1.353783626862783</c:v>
                </c:pt>
                <c:pt idx="56">
                  <c:v>1.1383798140770252</c:v>
                </c:pt>
                <c:pt idx="57">
                  <c:v>1.6653992847745596</c:v>
                </c:pt>
                <c:pt idx="58">
                  <c:v>1.2722341591825723</c:v>
                </c:pt>
                <c:pt idx="59">
                  <c:v>1.5847104378506944</c:v>
                </c:pt>
                <c:pt idx="60">
                  <c:v>1.4501810577105303</c:v>
                </c:pt>
                <c:pt idx="61">
                  <c:v>1.4948407872983258</c:v>
                </c:pt>
                <c:pt idx="62">
                  <c:v>1.413711485756997</c:v>
                </c:pt>
                <c:pt idx="63">
                  <c:v>1.535993042722035</c:v>
                </c:pt>
                <c:pt idx="64">
                  <c:v>1.246115707011359</c:v>
                </c:pt>
                <c:pt idx="65">
                  <c:v>1.3754430830528896</c:v>
                </c:pt>
                <c:pt idx="66">
                  <c:v>1.156076445606011</c:v>
                </c:pt>
                <c:pt idx="67">
                  <c:v>1.149258131079886</c:v>
                </c:pt>
                <c:pt idx="68">
                  <c:v>1.1532785577536695</c:v>
                </c:pt>
                <c:pt idx="69">
                  <c:v>0.8401602266521027</c:v>
                </c:pt>
                <c:pt idx="70">
                  <c:v>0.6721782233948989</c:v>
                </c:pt>
                <c:pt idx="71">
                  <c:v>0.781060606060606</c:v>
                </c:pt>
                <c:pt idx="72">
                  <c:v>0.747664669633687</c:v>
                </c:pt>
                <c:pt idx="73">
                  <c:v>0.7649425287356322</c:v>
                </c:pt>
                <c:pt idx="74">
                  <c:v>0.6927707491507241</c:v>
                </c:pt>
                <c:pt idx="75">
                  <c:v>0.5454296785958515</c:v>
                </c:pt>
                <c:pt idx="76">
                  <c:v>1.2406732951587716</c:v>
                </c:pt>
                <c:pt idx="77">
                  <c:v>1.2078651685393258</c:v>
                </c:pt>
                <c:pt idx="78">
                  <c:v>1.8875474952586235</c:v>
                </c:pt>
                <c:pt idx="79">
                  <c:v>1.5193008011653313</c:v>
                </c:pt>
                <c:pt idx="80">
                  <c:v>1.4925481643038896</c:v>
                </c:pt>
                <c:pt idx="81">
                  <c:v>1.8471481807167993</c:v>
                </c:pt>
                <c:pt idx="82">
                  <c:v>0.9378279134882499</c:v>
                </c:pt>
                <c:pt idx="83">
                  <c:v>1.2871406569700254</c:v>
                </c:pt>
                <c:pt idx="84">
                  <c:v>2.454889512464053</c:v>
                </c:pt>
                <c:pt idx="85">
                  <c:v>1.9916457811194652</c:v>
                </c:pt>
                <c:pt idx="86">
                  <c:v>1.61667094589912</c:v>
                </c:pt>
                <c:pt idx="87">
                  <c:v>1.253673484000895</c:v>
                </c:pt>
                <c:pt idx="88">
                  <c:v>2.310483937513938</c:v>
                </c:pt>
                <c:pt idx="89">
                  <c:v>1.0153652869238006</c:v>
                </c:pt>
                <c:pt idx="90">
                  <c:v>1.341290893015031</c:v>
                </c:pt>
                <c:pt idx="91">
                  <c:v>1.3238499190027215</c:v>
                </c:pt>
                <c:pt idx="92">
                  <c:v>1.3667906133828995</c:v>
                </c:pt>
                <c:pt idx="93">
                  <c:v>1.4146608757318186</c:v>
                </c:pt>
                <c:pt idx="94">
                  <c:v>2.2063400576368877</c:v>
                </c:pt>
                <c:pt idx="95">
                  <c:v>1.864619221604448</c:v>
                </c:pt>
                <c:pt idx="96">
                  <c:v>1.4466313398940196</c:v>
                </c:pt>
                <c:pt idx="97">
                  <c:v>1.5645019623710297</c:v>
                </c:pt>
                <c:pt idx="98">
                  <c:v>1.2907413734198838</c:v>
                </c:pt>
                <c:pt idx="99">
                  <c:v>1.7484135378106822</c:v>
                </c:pt>
                <c:pt idx="100">
                  <c:v>2.5673902671755724</c:v>
                </c:pt>
                <c:pt idx="101">
                  <c:v>1.4698308507952538</c:v>
                </c:pt>
                <c:pt idx="102">
                  <c:v>2.23323782234957</c:v>
                </c:pt>
                <c:pt idx="103">
                  <c:v>1.9159577435876916</c:v>
                </c:pt>
              </c:numCache>
            </c:numRef>
          </c:xVal>
          <c:yVal>
            <c:numRef>
              <c:f>Sheet1!$B$2:$B$105</c:f>
              <c:numCache>
                <c:formatCode>General</c:formatCode>
                <c:ptCount val="104"/>
                <c:pt idx="0">
                  <c:v>0.24</c:v>
                </c:pt>
                <c:pt idx="1">
                  <c:v>0.21739130434782608</c:v>
                </c:pt>
                <c:pt idx="2">
                  <c:v>0.2631578947368421</c:v>
                </c:pt>
                <c:pt idx="3">
                  <c:v>0.25</c:v>
                </c:pt>
                <c:pt idx="4">
                  <c:v>0.3333333333333333</c:v>
                </c:pt>
                <c:pt idx="5">
                  <c:v>0.375</c:v>
                </c:pt>
                <c:pt idx="6">
                  <c:v>0.3333333333333333</c:v>
                </c:pt>
                <c:pt idx="7">
                  <c:v>0.2727272727272727</c:v>
                </c:pt>
                <c:pt idx="8">
                  <c:v>0.25</c:v>
                </c:pt>
                <c:pt idx="9">
                  <c:v>0.2692307692307692</c:v>
                </c:pt>
                <c:pt idx="10">
                  <c:v>0.35</c:v>
                </c:pt>
                <c:pt idx="11">
                  <c:v>0.5625</c:v>
                </c:pt>
                <c:pt idx="12">
                  <c:v>0.47619047619047616</c:v>
                </c:pt>
                <c:pt idx="13">
                  <c:v>0.3333333333333333</c:v>
                </c:pt>
                <c:pt idx="14">
                  <c:v>0.36363636363636365</c:v>
                </c:pt>
                <c:pt idx="15">
                  <c:v>0.6470588235294118</c:v>
                </c:pt>
                <c:pt idx="16">
                  <c:v>0.4166666666666667</c:v>
                </c:pt>
                <c:pt idx="17">
                  <c:v>0.38461538461538464</c:v>
                </c:pt>
                <c:pt idx="18">
                  <c:v>0.4</c:v>
                </c:pt>
                <c:pt idx="19">
                  <c:v>0.3333333333333333</c:v>
                </c:pt>
                <c:pt idx="20">
                  <c:v>0.25</c:v>
                </c:pt>
                <c:pt idx="21">
                  <c:v>0.2</c:v>
                </c:pt>
                <c:pt idx="22">
                  <c:v>0.2</c:v>
                </c:pt>
                <c:pt idx="23">
                  <c:v>0.3333333333333333</c:v>
                </c:pt>
                <c:pt idx="24">
                  <c:v>0.4</c:v>
                </c:pt>
                <c:pt idx="25">
                  <c:v>0.2</c:v>
                </c:pt>
                <c:pt idx="26">
                  <c:v>0.16666666666666666</c:v>
                </c:pt>
                <c:pt idx="27">
                  <c:v>0.14285714285714285</c:v>
                </c:pt>
                <c:pt idx="28">
                  <c:v>0.3333333333333333</c:v>
                </c:pt>
                <c:pt idx="29">
                  <c:v>0.2222222222222222</c:v>
                </c:pt>
                <c:pt idx="30">
                  <c:v>0.25</c:v>
                </c:pt>
                <c:pt idx="31">
                  <c:v>0.1111111111111111</c:v>
                </c:pt>
                <c:pt idx="32">
                  <c:v>0.4</c:v>
                </c:pt>
                <c:pt idx="33">
                  <c:v>0.4</c:v>
                </c:pt>
                <c:pt idx="34">
                  <c:v>0.2</c:v>
                </c:pt>
                <c:pt idx="35">
                  <c:v>0.3333333333333333</c:v>
                </c:pt>
                <c:pt idx="36">
                  <c:v>0.2222222222222222</c:v>
                </c:pt>
                <c:pt idx="37">
                  <c:v>0.125</c:v>
                </c:pt>
                <c:pt idx="38">
                  <c:v>0.2857142857142857</c:v>
                </c:pt>
                <c:pt idx="39">
                  <c:v>0.2222222222222222</c:v>
                </c:pt>
                <c:pt idx="40">
                  <c:v>0.125</c:v>
                </c:pt>
                <c:pt idx="41">
                  <c:v>0.07142857142857142</c:v>
                </c:pt>
                <c:pt idx="42">
                  <c:v>0.125</c:v>
                </c:pt>
                <c:pt idx="43">
                  <c:v>0.10526315789473684</c:v>
                </c:pt>
                <c:pt idx="44">
                  <c:v>0.08695652173913043</c:v>
                </c:pt>
                <c:pt idx="45">
                  <c:v>0.09090909090909091</c:v>
                </c:pt>
                <c:pt idx="46">
                  <c:v>0.10526315789473684</c:v>
                </c:pt>
                <c:pt idx="47">
                  <c:v>0.17647058823529413</c:v>
                </c:pt>
                <c:pt idx="48">
                  <c:v>0.2857142857142857</c:v>
                </c:pt>
                <c:pt idx="49">
                  <c:v>0.2727272727272727</c:v>
                </c:pt>
                <c:pt idx="50">
                  <c:v>0.2727272727272727</c:v>
                </c:pt>
                <c:pt idx="51">
                  <c:v>0.23076923076923078</c:v>
                </c:pt>
                <c:pt idx="52">
                  <c:v>0.25</c:v>
                </c:pt>
                <c:pt idx="53">
                  <c:v>0.36363636363636365</c:v>
                </c:pt>
                <c:pt idx="54">
                  <c:v>0.2222222222222222</c:v>
                </c:pt>
                <c:pt idx="55">
                  <c:v>0.3333333333333333</c:v>
                </c:pt>
                <c:pt idx="56">
                  <c:v>0.3333333333333333</c:v>
                </c:pt>
                <c:pt idx="57">
                  <c:v>0.2</c:v>
                </c:pt>
                <c:pt idx="58">
                  <c:v>0.15384615384615385</c:v>
                </c:pt>
                <c:pt idx="59">
                  <c:v>0.16666666666666666</c:v>
                </c:pt>
                <c:pt idx="60">
                  <c:v>0.19047619047619047</c:v>
                </c:pt>
                <c:pt idx="61">
                  <c:v>0.3333333333333333</c:v>
                </c:pt>
                <c:pt idx="62">
                  <c:v>0.2222222222222222</c:v>
                </c:pt>
                <c:pt idx="63">
                  <c:v>0.3125</c:v>
                </c:pt>
                <c:pt idx="64">
                  <c:v>0.23076923076923078</c:v>
                </c:pt>
                <c:pt idx="65">
                  <c:v>0.3076923076923077</c:v>
                </c:pt>
                <c:pt idx="66">
                  <c:v>0.46153846153846156</c:v>
                </c:pt>
                <c:pt idx="67">
                  <c:v>0.3125</c:v>
                </c:pt>
                <c:pt idx="68">
                  <c:v>0.4</c:v>
                </c:pt>
                <c:pt idx="69">
                  <c:v>0.3333333333333333</c:v>
                </c:pt>
                <c:pt idx="70">
                  <c:v>0.375</c:v>
                </c:pt>
                <c:pt idx="71">
                  <c:v>0.5</c:v>
                </c:pt>
                <c:pt idx="72">
                  <c:v>0.5833333333333334</c:v>
                </c:pt>
                <c:pt idx="73">
                  <c:v>0.5</c:v>
                </c:pt>
                <c:pt idx="74">
                  <c:v>0.375</c:v>
                </c:pt>
                <c:pt idx="75">
                  <c:v>0.5</c:v>
                </c:pt>
                <c:pt idx="76">
                  <c:v>0.375</c:v>
                </c:pt>
                <c:pt idx="77">
                  <c:v>0.25</c:v>
                </c:pt>
                <c:pt idx="78">
                  <c:v>0.3333333333333333</c:v>
                </c:pt>
                <c:pt idx="79">
                  <c:v>0.25</c:v>
                </c:pt>
                <c:pt idx="80">
                  <c:v>0.25</c:v>
                </c:pt>
                <c:pt idx="81">
                  <c:v>0.42857142857142855</c:v>
                </c:pt>
                <c:pt idx="82">
                  <c:v>0.375</c:v>
                </c:pt>
                <c:pt idx="83">
                  <c:v>0.25</c:v>
                </c:pt>
                <c:pt idx="84">
                  <c:v>0.2</c:v>
                </c:pt>
                <c:pt idx="85">
                  <c:v>0.16666666666666666</c:v>
                </c:pt>
                <c:pt idx="86">
                  <c:v>0.3333333333333333</c:v>
                </c:pt>
                <c:pt idx="87">
                  <c:v>0.3</c:v>
                </c:pt>
                <c:pt idx="88">
                  <c:v>0.16666666666666666</c:v>
                </c:pt>
                <c:pt idx="89">
                  <c:v>0.3333333333333333</c:v>
                </c:pt>
                <c:pt idx="90">
                  <c:v>0.25</c:v>
                </c:pt>
                <c:pt idx="91">
                  <c:v>0.14285714285714285</c:v>
                </c:pt>
                <c:pt idx="92">
                  <c:v>0.375</c:v>
                </c:pt>
                <c:pt idx="93">
                  <c:v>0.25</c:v>
                </c:pt>
                <c:pt idx="94">
                  <c:v>0.2222222222222222</c:v>
                </c:pt>
                <c:pt idx="95">
                  <c:v>0.2727272727272727</c:v>
                </c:pt>
                <c:pt idx="96">
                  <c:v>0.3333333333333333</c:v>
                </c:pt>
                <c:pt idx="97">
                  <c:v>0.375</c:v>
                </c:pt>
                <c:pt idx="98">
                  <c:v>0.4166666666666667</c:v>
                </c:pt>
                <c:pt idx="99">
                  <c:v>0.4</c:v>
                </c:pt>
                <c:pt idx="100">
                  <c:v>0.2</c:v>
                </c:pt>
                <c:pt idx="101">
                  <c:v>0.2857142857142857</c:v>
                </c:pt>
                <c:pt idx="102">
                  <c:v>0.14285714285714285</c:v>
                </c:pt>
                <c:pt idx="103">
                  <c:v>0.13333333333333333</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0</c:v>
                </c:pt>
                <c:pt idx="1">
                  <c:v>1.1511511511511512</c:v>
                </c:pt>
                <c:pt idx="2">
                  <c:v>2.2750053063802906</c:v>
                </c:pt>
                <c:pt idx="3">
                  <c:v>1.6748366013071896</c:v>
                </c:pt>
                <c:pt idx="4">
                  <c:v>2.0041895586267984</c:v>
                </c:pt>
                <c:pt idx="5">
                  <c:v>1.7757912539260692</c:v>
                </c:pt>
                <c:pt idx="6">
                  <c:v>1.7263464337700145</c:v>
                </c:pt>
                <c:pt idx="7">
                  <c:v>2.6081325155859125</c:v>
                </c:pt>
                <c:pt idx="8">
                  <c:v>1.116846105129829</c:v>
                </c:pt>
                <c:pt idx="9">
                  <c:v>0.0</c:v>
                </c:pt>
                <c:pt idx="10">
                  <c:v>2.3090753424657535</c:v>
                </c:pt>
                <c:pt idx="11">
                  <c:v>1.5105296745373324</c:v>
                </c:pt>
                <c:pt idx="12">
                  <c:v>1.7995198079231693</c:v>
                </c:pt>
                <c:pt idx="13">
                  <c:v>1.966652238956444</c:v>
                </c:pt>
                <c:pt idx="14">
                  <c:v>2.273364969450102</c:v>
                </c:pt>
                <c:pt idx="15">
                  <c:v>1.4118705035971224</c:v>
                </c:pt>
                <c:pt idx="16">
                  <c:v>2.7870419543282</c:v>
                </c:pt>
                <c:pt idx="17">
                  <c:v>1.849502487562189</c:v>
                </c:pt>
                <c:pt idx="18">
                  <c:v>1.4464962121212122</c:v>
                </c:pt>
                <c:pt idx="19">
                  <c:v>0.0</c:v>
                </c:pt>
                <c:pt idx="20">
                  <c:v>1.690599173553719</c:v>
                </c:pt>
                <c:pt idx="21">
                  <c:v>0.0</c:v>
                </c:pt>
                <c:pt idx="22">
                  <c:v>2.4440104166666665</c:v>
                </c:pt>
                <c:pt idx="23">
                  <c:v>0.0</c:v>
                </c:pt>
                <c:pt idx="24">
                  <c:v>1.0400943396226414</c:v>
                </c:pt>
                <c:pt idx="25">
                  <c:v>1.676056338028169</c:v>
                </c:pt>
                <c:pt idx="26">
                  <c:v>1.629582806573957</c:v>
                </c:pt>
                <c:pt idx="27">
                  <c:v>0.0</c:v>
                </c:pt>
                <c:pt idx="28">
                  <c:v>2.0838971583220567</c:v>
                </c:pt>
                <c:pt idx="29">
                  <c:v>1.7882623705408516</c:v>
                </c:pt>
                <c:pt idx="30">
                  <c:v>0.7673469387755102</c:v>
                </c:pt>
                <c:pt idx="31">
                  <c:v>0.0</c:v>
                </c:pt>
                <c:pt idx="32">
                  <c:v>0.0</c:v>
                </c:pt>
                <c:pt idx="33">
                  <c:v>1.3168523676880224</c:v>
                </c:pt>
                <c:pt idx="34">
                  <c:v>2.335956416464891</c:v>
                </c:pt>
                <c:pt idx="35">
                  <c:v>2.122576966932725</c:v>
                </c:pt>
                <c:pt idx="36">
                  <c:v>2.195534097767049</c:v>
                </c:pt>
                <c:pt idx="37">
                  <c:v>0.7761664564943254</c:v>
                </c:pt>
                <c:pt idx="38">
                  <c:v>2.3450351053159477</c:v>
                </c:pt>
                <c:pt idx="39">
                  <c:v>1.3714591127739177</c:v>
                </c:pt>
                <c:pt idx="40">
                  <c:v>1.3726916620033576</c:v>
                </c:pt>
                <c:pt idx="41">
                  <c:v>1.5796676441837731</c:v>
                </c:pt>
                <c:pt idx="42">
                  <c:v>1.71898355754858</c:v>
                </c:pt>
                <c:pt idx="43">
                  <c:v>2.19391206313416</c:v>
                </c:pt>
                <c:pt idx="44">
                  <c:v>3.095256883389137</c:v>
                </c:pt>
                <c:pt idx="45">
                  <c:v>1.607903624331472</c:v>
                </c:pt>
                <c:pt idx="46">
                  <c:v>1.9052369077306732</c:v>
                </c:pt>
                <c:pt idx="47">
                  <c:v>2.4348561759729273</c:v>
                </c:pt>
                <c:pt idx="48">
                  <c:v>1.6547945205479453</c:v>
                </c:pt>
                <c:pt idx="49">
                  <c:v>1.385</c:v>
                </c:pt>
                <c:pt idx="50">
                  <c:v>1.6455696202531647</c:v>
                </c:pt>
                <c:pt idx="51">
                  <c:v>1.5055762081784387</c:v>
                </c:pt>
              </c:numCache>
            </c:numRef>
          </c:xVal>
          <c:yVal>
            <c:numRef>
              <c:f>Sheet1!$B$108:$B$159</c:f>
              <c:numCache>
                <c:formatCode>General</c:formatCode>
                <c:ptCount val="52"/>
                <c:pt idx="0">
                  <c:v>0.0</c:v>
                </c:pt>
                <c:pt idx="1">
                  <c:v>0.36363636363636365</c:v>
                </c:pt>
                <c:pt idx="2">
                  <c:v>0.3333333333333333</c:v>
                </c:pt>
                <c:pt idx="3">
                  <c:v>0.2857142857142857</c:v>
                </c:pt>
                <c:pt idx="4">
                  <c:v>0.16666666666666666</c:v>
                </c:pt>
                <c:pt idx="5">
                  <c:v>0.25</c:v>
                </c:pt>
                <c:pt idx="6">
                  <c:v>0.375</c:v>
                </c:pt>
                <c:pt idx="7">
                  <c:v>0.2</c:v>
                </c:pt>
                <c:pt idx="8">
                  <c:v>0.6666666666666666</c:v>
                </c:pt>
                <c:pt idx="9">
                  <c:v>0.0</c:v>
                </c:pt>
                <c:pt idx="10">
                  <c:v>0.3333333333333333</c:v>
                </c:pt>
                <c:pt idx="11">
                  <c:v>0.25</c:v>
                </c:pt>
                <c:pt idx="12">
                  <c:v>0.16666666666666666</c:v>
                </c:pt>
                <c:pt idx="13">
                  <c:v>0.15384615384615385</c:v>
                </c:pt>
                <c:pt idx="14">
                  <c:v>0.2727272727272727</c:v>
                </c:pt>
                <c:pt idx="15">
                  <c:v>0.375</c:v>
                </c:pt>
                <c:pt idx="16">
                  <c:v>0.16666666666666666</c:v>
                </c:pt>
                <c:pt idx="17">
                  <c:v>0.2857142857142857</c:v>
                </c:pt>
                <c:pt idx="18">
                  <c:v>0.5</c:v>
                </c:pt>
                <c:pt idx="19">
                  <c:v>0.0</c:v>
                </c:pt>
                <c:pt idx="20">
                  <c:v>0.4</c:v>
                </c:pt>
                <c:pt idx="21">
                  <c:v>0.0</c:v>
                </c:pt>
                <c:pt idx="22">
                  <c:v>0.3333333333333333</c:v>
                </c:pt>
                <c:pt idx="23">
                  <c:v>0.0</c:v>
                </c:pt>
                <c:pt idx="24">
                  <c:v>0.3333333333333333</c:v>
                </c:pt>
                <c:pt idx="25">
                  <c:v>0.5</c:v>
                </c:pt>
                <c:pt idx="26">
                  <c:v>0.3333333333333333</c:v>
                </c:pt>
                <c:pt idx="27">
                  <c:v>0.0</c:v>
                </c:pt>
                <c:pt idx="28">
                  <c:v>0.25</c:v>
                </c:pt>
                <c:pt idx="29">
                  <c:v>0.5</c:v>
                </c:pt>
                <c:pt idx="30">
                  <c:v>0.5</c:v>
                </c:pt>
                <c:pt idx="31">
                  <c:v>0.0</c:v>
                </c:pt>
                <c:pt idx="32">
                  <c:v>0.0</c:v>
                </c:pt>
                <c:pt idx="33">
                  <c:v>0.5</c:v>
                </c:pt>
                <c:pt idx="34">
                  <c:v>0.4</c:v>
                </c:pt>
                <c:pt idx="35">
                  <c:v>0.3333333333333333</c:v>
                </c:pt>
                <c:pt idx="36">
                  <c:v>0.3333333333333333</c:v>
                </c:pt>
                <c:pt idx="37">
                  <c:v>0.3333333333333333</c:v>
                </c:pt>
                <c:pt idx="38">
                  <c:v>0.5</c:v>
                </c:pt>
                <c:pt idx="39">
                  <c:v>0.5</c:v>
                </c:pt>
                <c:pt idx="40">
                  <c:v>0.4</c:v>
                </c:pt>
                <c:pt idx="41">
                  <c:v>0.4</c:v>
                </c:pt>
                <c:pt idx="42">
                  <c:v>0.3333333333333333</c:v>
                </c:pt>
                <c:pt idx="43">
                  <c:v>0.5</c:v>
                </c:pt>
                <c:pt idx="44">
                  <c:v>0.2</c:v>
                </c:pt>
                <c:pt idx="45">
                  <c:v>0.2</c:v>
                </c:pt>
                <c:pt idx="46">
                  <c:v>0.3333333333333333</c:v>
                </c:pt>
                <c:pt idx="47">
                  <c:v>0.2857142857142857</c:v>
                </c:pt>
                <c:pt idx="48">
                  <c:v>0.2857142857142857</c:v>
                </c:pt>
                <c:pt idx="49">
                  <c:v>0.6</c:v>
                </c:pt>
                <c:pt idx="50">
                  <c:v>0.3</c:v>
                </c:pt>
                <c:pt idx="51">
                  <c:v>0.2857142857142857</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2.4753455007399214</c:v>
                </c:pt>
              </c:numCache>
            </c:numRef>
          </c:xVal>
          <c:yVal>
            <c:numRef>
              <c:f>Sheet1!$B$162:$B$163</c:f>
              <c:numCache>
                <c:formatCode>General</c:formatCode>
                <c:ptCount val="2"/>
                <c:pt idx="0">
                  <c:v>0.3835819346565953</c:v>
                </c:pt>
                <c:pt idx="1">
                  <c:v>0.3835819346565953</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2.4753455007399214</c:v>
                </c:pt>
                <c:pt idx="1">
                  <c:v>2.4753455007399214</c:v>
                </c:pt>
              </c:numCache>
            </c:numRef>
          </c:xVal>
          <c:yVal>
            <c:numRef>
              <c:f>Sheet1!$B$166:$B$167</c:f>
              <c:numCache>
                <c:formatCode>General</c:formatCode>
                <c:ptCount val="2"/>
                <c:pt idx="0">
                  <c:v>0.383581934656595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2.3076519209356863</c:v>
                </c:pt>
              </c:numCache>
            </c:numRef>
          </c:xVal>
          <c:yVal>
            <c:numRef>
              <c:f>Sheet1!$B$170:$B$171</c:f>
              <c:numCache>
                <c:formatCode>General</c:formatCode>
                <c:ptCount val="2"/>
                <c:pt idx="0">
                  <c:v>0.3678571428571428</c:v>
                </c:pt>
                <c:pt idx="1">
                  <c:v>0.3678571428571428</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2.3076519209356863</c:v>
                </c:pt>
                <c:pt idx="1">
                  <c:v>2.3076519209356863</c:v>
                </c:pt>
              </c:numCache>
            </c:numRef>
          </c:xVal>
          <c:yVal>
            <c:numRef>
              <c:f>Sheet1!$B$174:$B$175</c:f>
              <c:numCache>
                <c:formatCode>General</c:formatCode>
                <c:ptCount val="2"/>
                <c:pt idx="0">
                  <c:v>0.36785714285714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2.177766461633191</c:v>
                </c:pt>
              </c:numCache>
            </c:numRef>
          </c:xVal>
          <c:yVal>
            <c:numRef>
              <c:f>Sheet1!$B$178:$B$179</c:f>
              <c:numCache>
                <c:formatCode>General</c:formatCode>
                <c:ptCount val="2"/>
                <c:pt idx="0">
                  <c:v>0.35567765567765564</c:v>
                </c:pt>
                <c:pt idx="1">
                  <c:v>0.3556776556776556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2.177766461633191</c:v>
                </c:pt>
                <c:pt idx="1">
                  <c:v>2.177766461633191</c:v>
                </c:pt>
              </c:numCache>
            </c:numRef>
          </c:xVal>
          <c:yVal>
            <c:numRef>
              <c:f>Sheet1!$B$182:$B$183</c:f>
              <c:numCache>
                <c:formatCode>General</c:formatCode>
                <c:ptCount val="2"/>
                <c:pt idx="0">
                  <c:v>0.355677655677655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0</c:v>
                </c:pt>
                <c:pt idx="1">
                  <c:v>1.1511511511511512</c:v>
                </c:pt>
                <c:pt idx="2">
                  <c:v>2.2750053063802906</c:v>
                </c:pt>
                <c:pt idx="3">
                  <c:v>1.6748366013071896</c:v>
                </c:pt>
                <c:pt idx="4">
                  <c:v>2.0041895586267984</c:v>
                </c:pt>
                <c:pt idx="5">
                  <c:v>1.7757912539260692</c:v>
                </c:pt>
                <c:pt idx="6">
                  <c:v>1.7263464337700145</c:v>
                </c:pt>
                <c:pt idx="7">
                  <c:v>2.6081325155859125</c:v>
                </c:pt>
                <c:pt idx="8">
                  <c:v>1.116846105129829</c:v>
                </c:pt>
                <c:pt idx="9">
                  <c:v>0.0</c:v>
                </c:pt>
                <c:pt idx="10">
                  <c:v>2.3090753424657535</c:v>
                </c:pt>
                <c:pt idx="11">
                  <c:v>1.5105296745373324</c:v>
                </c:pt>
                <c:pt idx="12">
                  <c:v>1.7995198079231693</c:v>
                </c:pt>
                <c:pt idx="13">
                  <c:v>1.966652238956444</c:v>
                </c:pt>
                <c:pt idx="14">
                  <c:v>2.273364969450102</c:v>
                </c:pt>
                <c:pt idx="15">
                  <c:v>1.4118705035971224</c:v>
                </c:pt>
                <c:pt idx="16">
                  <c:v>2.7870419543282</c:v>
                </c:pt>
                <c:pt idx="17">
                  <c:v>1.849502487562189</c:v>
                </c:pt>
                <c:pt idx="18">
                  <c:v>1.4464962121212122</c:v>
                </c:pt>
                <c:pt idx="19">
                  <c:v>0.0</c:v>
                </c:pt>
                <c:pt idx="20">
                  <c:v>1.690599173553719</c:v>
                </c:pt>
                <c:pt idx="21">
                  <c:v>0.0</c:v>
                </c:pt>
                <c:pt idx="22">
                  <c:v>2.4440104166666665</c:v>
                </c:pt>
                <c:pt idx="23">
                  <c:v>0.0</c:v>
                </c:pt>
                <c:pt idx="24">
                  <c:v>1.0400943396226414</c:v>
                </c:pt>
                <c:pt idx="25">
                  <c:v>1.676056338028169</c:v>
                </c:pt>
                <c:pt idx="26">
                  <c:v>1.629582806573957</c:v>
                </c:pt>
                <c:pt idx="27">
                  <c:v>0.0</c:v>
                </c:pt>
                <c:pt idx="28">
                  <c:v>2.0838971583220567</c:v>
                </c:pt>
                <c:pt idx="29">
                  <c:v>1.7882623705408516</c:v>
                </c:pt>
                <c:pt idx="30">
                  <c:v>0.7673469387755102</c:v>
                </c:pt>
                <c:pt idx="31">
                  <c:v>0.0</c:v>
                </c:pt>
                <c:pt idx="32">
                  <c:v>0.0</c:v>
                </c:pt>
                <c:pt idx="33">
                  <c:v>1.3168523676880224</c:v>
                </c:pt>
                <c:pt idx="34">
                  <c:v>2.335956416464891</c:v>
                </c:pt>
                <c:pt idx="35">
                  <c:v>2.122576966932725</c:v>
                </c:pt>
                <c:pt idx="36">
                  <c:v>2.195534097767049</c:v>
                </c:pt>
                <c:pt idx="37">
                  <c:v>0.7761664564943254</c:v>
                </c:pt>
                <c:pt idx="38">
                  <c:v>2.3450351053159477</c:v>
                </c:pt>
                <c:pt idx="39">
                  <c:v>1.3714591127739177</c:v>
                </c:pt>
                <c:pt idx="40">
                  <c:v>1.3726916620033576</c:v>
                </c:pt>
                <c:pt idx="41">
                  <c:v>1.5796676441837731</c:v>
                </c:pt>
                <c:pt idx="42">
                  <c:v>1.71898355754858</c:v>
                </c:pt>
                <c:pt idx="43">
                  <c:v>2.19391206313416</c:v>
                </c:pt>
                <c:pt idx="44">
                  <c:v>3.095256883389137</c:v>
                </c:pt>
                <c:pt idx="45">
                  <c:v>1.607903624331472</c:v>
                </c:pt>
                <c:pt idx="46">
                  <c:v>1.9052369077306732</c:v>
                </c:pt>
                <c:pt idx="47">
                  <c:v>2.4348561759729273</c:v>
                </c:pt>
                <c:pt idx="48">
                  <c:v>1.6547945205479453</c:v>
                </c:pt>
                <c:pt idx="49">
                  <c:v>1.385</c:v>
                </c:pt>
                <c:pt idx="50">
                  <c:v>1.6455696202531647</c:v>
                </c:pt>
                <c:pt idx="51">
                  <c:v>1.5055762081784387</c:v>
                </c:pt>
                <c:pt idx="52">
                  <c:v>2.3076519209356863</c:v>
                </c:pt>
                <c:pt idx="53">
                  <c:v>2.4753455007399214</c:v>
                </c:pt>
                <c:pt idx="54">
                  <c:v>2.177766461633191</c:v>
                </c:pt>
              </c:numCache>
            </c:numRef>
          </c:xVal>
          <c:yVal>
            <c:numRef>
              <c:f>Sheet1!$B$186:$B$240</c:f>
              <c:numCache>
                <c:formatCode>General</c:formatCode>
                <c:ptCount val="55"/>
                <c:pt idx="0">
                  <c:v>0.15146635410612536</c:v>
                </c:pt>
                <c:pt idx="1">
                  <c:v>0.25941092898301454</c:v>
                </c:pt>
                <c:pt idx="2">
                  <c:v>0.3647958377228624</c:v>
                </c:pt>
                <c:pt idx="3">
                  <c:v>0.3085174283595533</c:v>
                </c:pt>
                <c:pt idx="4">
                  <c:v>0.3394011788789873</c:v>
                </c:pt>
                <c:pt idx="5">
                  <c:v>0.31798404536105784</c:v>
                </c:pt>
                <c:pt idx="6">
                  <c:v>0.31334755597712916</c:v>
                </c:pt>
                <c:pt idx="7">
                  <c:v>0.3960335035512518</c:v>
                </c:pt>
                <c:pt idx="8">
                  <c:v>0.25619411110014945</c:v>
                </c:pt>
                <c:pt idx="9">
                  <c:v>0.15146635410612536</c:v>
                </c:pt>
                <c:pt idx="10">
                  <c:v>0.3679906184930574</c:v>
                </c:pt>
                <c:pt idx="11">
                  <c:v>0.2931102063437786</c:v>
                </c:pt>
                <c:pt idx="12">
                  <c:v>0.320209095191481</c:v>
                </c:pt>
                <c:pt idx="13">
                  <c:v>0.33588126751914343</c:v>
                </c:pt>
                <c:pt idx="14">
                  <c:v>0.3646420217166785</c:v>
                </c:pt>
                <c:pt idx="15">
                  <c:v>0.28385883891544605</c:v>
                </c:pt>
                <c:pt idx="16">
                  <c:v>0.41281001746707136</c:v>
                </c:pt>
                <c:pt idx="17">
                  <c:v>0.32489602018777397</c:v>
                </c:pt>
                <c:pt idx="18">
                  <c:v>0.2871057256363656</c:v>
                </c:pt>
                <c:pt idx="19">
                  <c:v>0.15146635410612536</c:v>
                </c:pt>
                <c:pt idx="20">
                  <c:v>0.3099955002516905</c:v>
                </c:pt>
                <c:pt idx="21">
                  <c:v>0.15146635410612536</c:v>
                </c:pt>
                <c:pt idx="22">
                  <c:v>0.38064361302469085</c:v>
                </c:pt>
                <c:pt idx="23">
                  <c:v>0.15146635410612536</c:v>
                </c:pt>
                <c:pt idx="24">
                  <c:v>0.2489970226114318</c:v>
                </c:pt>
                <c:pt idx="25">
                  <c:v>0.3086318042707238</c:v>
                </c:pt>
                <c:pt idx="26">
                  <c:v>0.30427393554876137</c:v>
                </c:pt>
                <c:pt idx="27">
                  <c:v>0.15146635410612536</c:v>
                </c:pt>
                <c:pt idx="28">
                  <c:v>0.34687543884472505</c:v>
                </c:pt>
                <c:pt idx="29">
                  <c:v>0.3191534742235288</c:v>
                </c:pt>
                <c:pt idx="30">
                  <c:v>0.22342123075839976</c:v>
                </c:pt>
                <c:pt idx="31">
                  <c:v>0.15146635410612536</c:v>
                </c:pt>
                <c:pt idx="32">
                  <c:v>0.15146635410612536</c:v>
                </c:pt>
                <c:pt idx="33">
                  <c:v>0.27494889492064956</c:v>
                </c:pt>
                <c:pt idx="34">
                  <c:v>0.3705112832225931</c:v>
                </c:pt>
                <c:pt idx="35">
                  <c:v>0.3505024825154217</c:v>
                </c:pt>
                <c:pt idx="36">
                  <c:v>0.3573437443812274</c:v>
                </c:pt>
                <c:pt idx="37">
                  <c:v>0.22424824560334403</c:v>
                </c:pt>
                <c:pt idx="38">
                  <c:v>0.3713626007993396</c:v>
                </c:pt>
                <c:pt idx="39">
                  <c:v>0.2800694230787573</c:v>
                </c:pt>
                <c:pt idx="40">
                  <c:v>0.2801850004314392</c:v>
                </c:pt>
                <c:pt idx="41">
                  <c:v>0.2995933417112525</c:v>
                </c:pt>
                <c:pt idx="42">
                  <c:v>0.31265713183708543</c:v>
                </c:pt>
                <c:pt idx="43">
                  <c:v>0.35719164459945013</c:v>
                </c:pt>
                <c:pt idx="44">
                  <c:v>0.4417116343007281</c:v>
                </c:pt>
                <c:pt idx="45">
                  <c:v>0.3022410573220372</c:v>
                </c:pt>
                <c:pt idx="46">
                  <c:v>0.33012229154673556</c:v>
                </c:pt>
                <c:pt idx="47">
                  <c:v>0.37978521087739836</c:v>
                </c:pt>
                <c:pt idx="48">
                  <c:v>0.3066380627479727</c:v>
                </c:pt>
                <c:pt idx="49">
                  <c:v>0.2813391653828967</c:v>
                </c:pt>
                <c:pt idx="50">
                  <c:v>0.30577303478044127</c:v>
                </c:pt>
                <c:pt idx="51">
                  <c:v>0.29264571493468516</c:v>
                </c:pt>
                <c:pt idx="52">
                  <c:v>0.3678571428571428</c:v>
                </c:pt>
                <c:pt idx="53">
                  <c:v>0.3835819346565953</c:v>
                </c:pt>
                <c:pt idx="54">
                  <c:v>0.355677655677655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924.3333</c:v>
                </c:pt>
                <c:pt idx="1">
                  <c:v>1168.2</c:v>
                </c:pt>
                <c:pt idx="2">
                  <c:v>1096.6</c:v>
                </c:pt>
                <c:pt idx="3">
                  <c:v>1290.5</c:v>
                </c:pt>
                <c:pt idx="4">
                  <c:v>1115.2</c:v>
                </c:pt>
                <c:pt idx="5">
                  <c:v>1266.3333</c:v>
                </c:pt>
                <c:pt idx="6">
                  <c:v>1118.0</c:v>
                </c:pt>
                <c:pt idx="7">
                  <c:v>1302.3333</c:v>
                </c:pt>
                <c:pt idx="8">
                  <c:v>1000.6667</c:v>
                </c:pt>
                <c:pt idx="9">
                  <c:v>1072.8571</c:v>
                </c:pt>
                <c:pt idx="10">
                  <c:v>1116.4286</c:v>
                </c:pt>
                <c:pt idx="11">
                  <c:v>1016.8889</c:v>
                </c:pt>
                <c:pt idx="12">
                  <c:v>1240.2</c:v>
                </c:pt>
                <c:pt idx="13">
                  <c:v>1135.4286</c:v>
                </c:pt>
                <c:pt idx="14">
                  <c:v>1056.375</c:v>
                </c:pt>
                <c:pt idx="15">
                  <c:v>975.0909</c:v>
                </c:pt>
                <c:pt idx="16">
                  <c:v>1088.0</c:v>
                </c:pt>
                <c:pt idx="17">
                  <c:v>1016.4</c:v>
                </c:pt>
                <c:pt idx="18">
                  <c:v>1151.0</c:v>
                </c:pt>
                <c:pt idx="19">
                  <c:v>1327.6667</c:v>
                </c:pt>
                <c:pt idx="20">
                  <c:v>978.0</c:v>
                </c:pt>
                <c:pt idx="21">
                  <c:v>1250.0</c:v>
                </c:pt>
                <c:pt idx="22">
                  <c:v>764.0</c:v>
                </c:pt>
                <c:pt idx="23">
                  <c:v>1605.5</c:v>
                </c:pt>
                <c:pt idx="24">
                  <c:v>1633.5</c:v>
                </c:pt>
                <c:pt idx="25">
                  <c:v>1250.0</c:v>
                </c:pt>
                <c:pt idx="26">
                  <c:v>1264.0</c:v>
                </c:pt>
                <c:pt idx="27">
                  <c:v>2008.0</c:v>
                </c:pt>
                <c:pt idx="28">
                  <c:v>1352.0</c:v>
                </c:pt>
                <c:pt idx="29">
                  <c:v>1412.0</c:v>
                </c:pt>
                <c:pt idx="30">
                  <c:v>1386.5</c:v>
                </c:pt>
                <c:pt idx="31">
                  <c:v>909.0</c:v>
                </c:pt>
                <c:pt idx="32">
                  <c:v>1098.75</c:v>
                </c:pt>
                <c:pt idx="33">
                  <c:v>1078.75</c:v>
                </c:pt>
                <c:pt idx="34">
                  <c:v>1125.0</c:v>
                </c:pt>
                <c:pt idx="35">
                  <c:v>1397.3333</c:v>
                </c:pt>
                <c:pt idx="36">
                  <c:v>1062.5</c:v>
                </c:pt>
                <c:pt idx="37">
                  <c:v>1832.0</c:v>
                </c:pt>
                <c:pt idx="38">
                  <c:v>1375.0</c:v>
                </c:pt>
                <c:pt idx="39">
                  <c:v>1125.0</c:v>
                </c:pt>
                <c:pt idx="40">
                  <c:v>1250.0</c:v>
                </c:pt>
                <c:pt idx="41">
                  <c:v>1794.0</c:v>
                </c:pt>
                <c:pt idx="42">
                  <c:v>1606.5</c:v>
                </c:pt>
                <c:pt idx="43">
                  <c:v>1519.0</c:v>
                </c:pt>
                <c:pt idx="44">
                  <c:v>1882.0</c:v>
                </c:pt>
                <c:pt idx="45">
                  <c:v>2029.0</c:v>
                </c:pt>
                <c:pt idx="46">
                  <c:v>1926.0</c:v>
                </c:pt>
                <c:pt idx="47">
                  <c:v>1661.3333</c:v>
                </c:pt>
                <c:pt idx="48">
                  <c:v>1520.6667</c:v>
                </c:pt>
                <c:pt idx="49">
                  <c:v>1538.2222</c:v>
                </c:pt>
                <c:pt idx="50">
                  <c:v>1480.0</c:v>
                </c:pt>
                <c:pt idx="51">
                  <c:v>1407.6667</c:v>
                </c:pt>
                <c:pt idx="52">
                  <c:v>1768.5</c:v>
                </c:pt>
                <c:pt idx="53">
                  <c:v>1694.5</c:v>
                </c:pt>
                <c:pt idx="54">
                  <c:v>1726.5</c:v>
                </c:pt>
                <c:pt idx="55">
                  <c:v>1399.0</c:v>
                </c:pt>
                <c:pt idx="56">
                  <c:v>1285.8</c:v>
                </c:pt>
                <c:pt idx="57">
                  <c:v>2044.0</c:v>
                </c:pt>
                <c:pt idx="58">
                  <c:v>1524.5</c:v>
                </c:pt>
                <c:pt idx="59">
                  <c:v>1700.5</c:v>
                </c:pt>
                <c:pt idx="60">
                  <c:v>1509.75</c:v>
                </c:pt>
                <c:pt idx="61">
                  <c:v>1690.1667</c:v>
                </c:pt>
                <c:pt idx="62">
                  <c:v>1702.25</c:v>
                </c:pt>
                <c:pt idx="63">
                  <c:v>1766.2</c:v>
                </c:pt>
                <c:pt idx="64">
                  <c:v>1590.6667</c:v>
                </c:pt>
                <c:pt idx="65">
                  <c:v>1607.5</c:v>
                </c:pt>
                <c:pt idx="66">
                  <c:v>1415.5</c:v>
                </c:pt>
                <c:pt idx="67">
                  <c:v>1462.0</c:v>
                </c:pt>
                <c:pt idx="68">
                  <c:v>1445.75</c:v>
                </c:pt>
                <c:pt idx="69">
                  <c:v>1230.6667</c:v>
                </c:pt>
                <c:pt idx="70">
                  <c:v>955.3333</c:v>
                </c:pt>
                <c:pt idx="71">
                  <c:v>1031.0</c:v>
                </c:pt>
                <c:pt idx="72">
                  <c:v>873.5714</c:v>
                </c:pt>
                <c:pt idx="73">
                  <c:v>998.25</c:v>
                </c:pt>
                <c:pt idx="74">
                  <c:v>968.6667</c:v>
                </c:pt>
                <c:pt idx="75">
                  <c:v>598.2</c:v>
                </c:pt>
                <c:pt idx="76">
                  <c:v>1191.6667</c:v>
                </c:pt>
                <c:pt idx="77">
                  <c:v>1720.0</c:v>
                </c:pt>
                <c:pt idx="78">
                  <c:v>1824.0</c:v>
                </c:pt>
                <c:pt idx="79">
                  <c:v>2086.0</c:v>
                </c:pt>
                <c:pt idx="80">
                  <c:v>2053.0</c:v>
                </c:pt>
                <c:pt idx="81">
                  <c:v>1619.3333</c:v>
                </c:pt>
                <c:pt idx="82">
                  <c:v>1191.6667</c:v>
                </c:pt>
                <c:pt idx="83">
                  <c:v>1418.0</c:v>
                </c:pt>
                <c:pt idx="84">
                  <c:v>2594.0</c:v>
                </c:pt>
                <c:pt idx="85">
                  <c:v>1788.0</c:v>
                </c:pt>
                <c:pt idx="86">
                  <c:v>2078.5</c:v>
                </c:pt>
                <c:pt idx="87">
                  <c:v>1400.6667</c:v>
                </c:pt>
                <c:pt idx="88">
                  <c:v>2674.0</c:v>
                </c:pt>
                <c:pt idx="89">
                  <c:v>1079.3333</c:v>
                </c:pt>
                <c:pt idx="90">
                  <c:v>1517.0</c:v>
                </c:pt>
                <c:pt idx="91">
                  <c:v>1458.0</c:v>
                </c:pt>
                <c:pt idx="92">
                  <c:v>1470.6667</c:v>
                </c:pt>
                <c:pt idx="93">
                  <c:v>1508.5</c:v>
                </c:pt>
                <c:pt idx="94">
                  <c:v>1914.0</c:v>
                </c:pt>
                <c:pt idx="95">
                  <c:v>1760.6667</c:v>
                </c:pt>
                <c:pt idx="96">
                  <c:v>1911.0</c:v>
                </c:pt>
                <c:pt idx="97">
                  <c:v>1933.3333</c:v>
                </c:pt>
                <c:pt idx="98">
                  <c:v>1511.2</c:v>
                </c:pt>
                <c:pt idx="99">
                  <c:v>1653.125</c:v>
                </c:pt>
                <c:pt idx="100">
                  <c:v>2152.5</c:v>
                </c:pt>
                <c:pt idx="101">
                  <c:v>1455.5</c:v>
                </c:pt>
                <c:pt idx="102">
                  <c:v>1948.5</c:v>
                </c:pt>
                <c:pt idx="103">
                  <c:v>1877.0</c:v>
                </c:pt>
              </c:numCache>
            </c:numRef>
          </c:xVal>
          <c:yVal>
            <c:numRef>
              <c:f>Sheet1!$B$2:$B$105</c:f>
              <c:numCache>
                <c:formatCode>General</c:formatCode>
                <c:ptCount val="104"/>
                <c:pt idx="0">
                  <c:v>0.24</c:v>
                </c:pt>
                <c:pt idx="1">
                  <c:v>0.21739130434782608</c:v>
                </c:pt>
                <c:pt idx="2">
                  <c:v>0.2631578947368421</c:v>
                </c:pt>
                <c:pt idx="3">
                  <c:v>0.25</c:v>
                </c:pt>
                <c:pt idx="4">
                  <c:v>0.3333333333333333</c:v>
                </c:pt>
                <c:pt idx="5">
                  <c:v>0.375</c:v>
                </c:pt>
                <c:pt idx="6">
                  <c:v>0.3333333333333333</c:v>
                </c:pt>
                <c:pt idx="7">
                  <c:v>0.2727272727272727</c:v>
                </c:pt>
                <c:pt idx="8">
                  <c:v>0.25</c:v>
                </c:pt>
                <c:pt idx="9">
                  <c:v>0.2692307692307692</c:v>
                </c:pt>
                <c:pt idx="10">
                  <c:v>0.35</c:v>
                </c:pt>
                <c:pt idx="11">
                  <c:v>0.5625</c:v>
                </c:pt>
                <c:pt idx="12">
                  <c:v>0.47619047619047616</c:v>
                </c:pt>
                <c:pt idx="13">
                  <c:v>0.3333333333333333</c:v>
                </c:pt>
                <c:pt idx="14">
                  <c:v>0.36363636363636365</c:v>
                </c:pt>
                <c:pt idx="15">
                  <c:v>0.6470588235294118</c:v>
                </c:pt>
                <c:pt idx="16">
                  <c:v>0.4166666666666667</c:v>
                </c:pt>
                <c:pt idx="17">
                  <c:v>0.38461538461538464</c:v>
                </c:pt>
                <c:pt idx="18">
                  <c:v>0.4</c:v>
                </c:pt>
                <c:pt idx="19">
                  <c:v>0.3333333333333333</c:v>
                </c:pt>
                <c:pt idx="20">
                  <c:v>0.25</c:v>
                </c:pt>
                <c:pt idx="21">
                  <c:v>0.2</c:v>
                </c:pt>
                <c:pt idx="22">
                  <c:v>0.2</c:v>
                </c:pt>
                <c:pt idx="23">
                  <c:v>0.3333333333333333</c:v>
                </c:pt>
                <c:pt idx="24">
                  <c:v>0.4</c:v>
                </c:pt>
                <c:pt idx="25">
                  <c:v>0.2</c:v>
                </c:pt>
                <c:pt idx="26">
                  <c:v>0.16666666666666666</c:v>
                </c:pt>
                <c:pt idx="27">
                  <c:v>0.14285714285714285</c:v>
                </c:pt>
                <c:pt idx="28">
                  <c:v>0.3333333333333333</c:v>
                </c:pt>
                <c:pt idx="29">
                  <c:v>0.2222222222222222</c:v>
                </c:pt>
                <c:pt idx="30">
                  <c:v>0.25</c:v>
                </c:pt>
                <c:pt idx="31">
                  <c:v>0.1111111111111111</c:v>
                </c:pt>
                <c:pt idx="32">
                  <c:v>0.4</c:v>
                </c:pt>
                <c:pt idx="33">
                  <c:v>0.4</c:v>
                </c:pt>
                <c:pt idx="34">
                  <c:v>0.2</c:v>
                </c:pt>
                <c:pt idx="35">
                  <c:v>0.3333333333333333</c:v>
                </c:pt>
                <c:pt idx="36">
                  <c:v>0.2222222222222222</c:v>
                </c:pt>
                <c:pt idx="37">
                  <c:v>0.125</c:v>
                </c:pt>
                <c:pt idx="38">
                  <c:v>0.2857142857142857</c:v>
                </c:pt>
                <c:pt idx="39">
                  <c:v>0.2222222222222222</c:v>
                </c:pt>
                <c:pt idx="40">
                  <c:v>0.125</c:v>
                </c:pt>
                <c:pt idx="41">
                  <c:v>0.07142857142857142</c:v>
                </c:pt>
                <c:pt idx="42">
                  <c:v>0.125</c:v>
                </c:pt>
                <c:pt idx="43">
                  <c:v>0.10526315789473684</c:v>
                </c:pt>
                <c:pt idx="44">
                  <c:v>0.08695652173913043</c:v>
                </c:pt>
                <c:pt idx="45">
                  <c:v>0.09090909090909091</c:v>
                </c:pt>
                <c:pt idx="46">
                  <c:v>0.10526315789473684</c:v>
                </c:pt>
                <c:pt idx="47">
                  <c:v>0.17647058823529413</c:v>
                </c:pt>
                <c:pt idx="48">
                  <c:v>0.2857142857142857</c:v>
                </c:pt>
                <c:pt idx="49">
                  <c:v>0.2727272727272727</c:v>
                </c:pt>
                <c:pt idx="50">
                  <c:v>0.2727272727272727</c:v>
                </c:pt>
                <c:pt idx="51">
                  <c:v>0.23076923076923078</c:v>
                </c:pt>
                <c:pt idx="52">
                  <c:v>0.25</c:v>
                </c:pt>
                <c:pt idx="53">
                  <c:v>0.36363636363636365</c:v>
                </c:pt>
                <c:pt idx="54">
                  <c:v>0.2222222222222222</c:v>
                </c:pt>
                <c:pt idx="55">
                  <c:v>0.3333333333333333</c:v>
                </c:pt>
                <c:pt idx="56">
                  <c:v>0.3333333333333333</c:v>
                </c:pt>
                <c:pt idx="57">
                  <c:v>0.2</c:v>
                </c:pt>
                <c:pt idx="58">
                  <c:v>0.15384615384615385</c:v>
                </c:pt>
                <c:pt idx="59">
                  <c:v>0.16666666666666666</c:v>
                </c:pt>
                <c:pt idx="60">
                  <c:v>0.19047619047619047</c:v>
                </c:pt>
                <c:pt idx="61">
                  <c:v>0.3333333333333333</c:v>
                </c:pt>
                <c:pt idx="62">
                  <c:v>0.2222222222222222</c:v>
                </c:pt>
                <c:pt idx="63">
                  <c:v>0.3125</c:v>
                </c:pt>
                <c:pt idx="64">
                  <c:v>0.23076923076923078</c:v>
                </c:pt>
                <c:pt idx="65">
                  <c:v>0.3076923076923077</c:v>
                </c:pt>
                <c:pt idx="66">
                  <c:v>0.46153846153846156</c:v>
                </c:pt>
                <c:pt idx="67">
                  <c:v>0.3125</c:v>
                </c:pt>
                <c:pt idx="68">
                  <c:v>0.4</c:v>
                </c:pt>
                <c:pt idx="69">
                  <c:v>0.3333333333333333</c:v>
                </c:pt>
                <c:pt idx="70">
                  <c:v>0.375</c:v>
                </c:pt>
                <c:pt idx="71">
                  <c:v>0.5</c:v>
                </c:pt>
                <c:pt idx="72">
                  <c:v>0.5833333333333334</c:v>
                </c:pt>
                <c:pt idx="73">
                  <c:v>0.5</c:v>
                </c:pt>
                <c:pt idx="74">
                  <c:v>0.375</c:v>
                </c:pt>
                <c:pt idx="75">
                  <c:v>0.5</c:v>
                </c:pt>
                <c:pt idx="76">
                  <c:v>0.375</c:v>
                </c:pt>
                <c:pt idx="77">
                  <c:v>0.25</c:v>
                </c:pt>
                <c:pt idx="78">
                  <c:v>0.3333333333333333</c:v>
                </c:pt>
                <c:pt idx="79">
                  <c:v>0.25</c:v>
                </c:pt>
                <c:pt idx="80">
                  <c:v>0.25</c:v>
                </c:pt>
                <c:pt idx="81">
                  <c:v>0.42857142857142855</c:v>
                </c:pt>
                <c:pt idx="82">
                  <c:v>0.375</c:v>
                </c:pt>
                <c:pt idx="83">
                  <c:v>0.25</c:v>
                </c:pt>
                <c:pt idx="84">
                  <c:v>0.2</c:v>
                </c:pt>
                <c:pt idx="85">
                  <c:v>0.16666666666666666</c:v>
                </c:pt>
                <c:pt idx="86">
                  <c:v>0.3333333333333333</c:v>
                </c:pt>
                <c:pt idx="87">
                  <c:v>0.3</c:v>
                </c:pt>
                <c:pt idx="88">
                  <c:v>0.16666666666666666</c:v>
                </c:pt>
                <c:pt idx="89">
                  <c:v>0.3333333333333333</c:v>
                </c:pt>
                <c:pt idx="90">
                  <c:v>0.25</c:v>
                </c:pt>
                <c:pt idx="91">
                  <c:v>0.14285714285714285</c:v>
                </c:pt>
                <c:pt idx="92">
                  <c:v>0.375</c:v>
                </c:pt>
                <c:pt idx="93">
                  <c:v>0.25</c:v>
                </c:pt>
                <c:pt idx="94">
                  <c:v>0.2222222222222222</c:v>
                </c:pt>
                <c:pt idx="95">
                  <c:v>0.2727272727272727</c:v>
                </c:pt>
                <c:pt idx="96">
                  <c:v>0.3333333333333333</c:v>
                </c:pt>
                <c:pt idx="97">
                  <c:v>0.375</c:v>
                </c:pt>
                <c:pt idx="98">
                  <c:v>0.4166666666666667</c:v>
                </c:pt>
                <c:pt idx="99">
                  <c:v>0.4</c:v>
                </c:pt>
                <c:pt idx="100">
                  <c:v>0.2</c:v>
                </c:pt>
                <c:pt idx="101">
                  <c:v>0.2857142857142857</c:v>
                </c:pt>
                <c:pt idx="102">
                  <c:v>0.14285714285714285</c:v>
                </c:pt>
                <c:pt idx="103">
                  <c:v>0.13333333333333333</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0.0</c:v>
                </c:pt>
                <c:pt idx="1">
                  <c:v>1150.0</c:v>
                </c:pt>
                <c:pt idx="2">
                  <c:v>1800.6667</c:v>
                </c:pt>
                <c:pt idx="3">
                  <c:v>1537.5</c:v>
                </c:pt>
                <c:pt idx="4">
                  <c:v>2073.0</c:v>
                </c:pt>
                <c:pt idx="5">
                  <c:v>1470.0</c:v>
                </c:pt>
                <c:pt idx="6">
                  <c:v>1779.0</c:v>
                </c:pt>
                <c:pt idx="7">
                  <c:v>2416.0</c:v>
                </c:pt>
                <c:pt idx="8">
                  <c:v>1763.5</c:v>
                </c:pt>
                <c:pt idx="9">
                  <c:v>0.0</c:v>
                </c:pt>
                <c:pt idx="10">
                  <c:v>2697.0</c:v>
                </c:pt>
                <c:pt idx="11">
                  <c:v>2367.0</c:v>
                </c:pt>
                <c:pt idx="12">
                  <c:v>1499.0</c:v>
                </c:pt>
                <c:pt idx="13">
                  <c:v>1523.5</c:v>
                </c:pt>
                <c:pt idx="14">
                  <c:v>1674.3333</c:v>
                </c:pt>
                <c:pt idx="15">
                  <c:v>1570.0</c:v>
                </c:pt>
                <c:pt idx="16">
                  <c:v>2624.0</c:v>
                </c:pt>
                <c:pt idx="17">
                  <c:v>1487.0</c:v>
                </c:pt>
                <c:pt idx="18">
                  <c:v>1527.5</c:v>
                </c:pt>
                <c:pt idx="19">
                  <c:v>0.0</c:v>
                </c:pt>
                <c:pt idx="20">
                  <c:v>1636.5</c:v>
                </c:pt>
                <c:pt idx="21">
                  <c:v>0.0</c:v>
                </c:pt>
                <c:pt idx="22">
                  <c:v>1877.0</c:v>
                </c:pt>
                <c:pt idx="23">
                  <c:v>0.0</c:v>
                </c:pt>
                <c:pt idx="24">
                  <c:v>882.0</c:v>
                </c:pt>
                <c:pt idx="25">
                  <c:v>952.0</c:v>
                </c:pt>
                <c:pt idx="26">
                  <c:v>1289.0</c:v>
                </c:pt>
                <c:pt idx="27">
                  <c:v>0.0</c:v>
                </c:pt>
                <c:pt idx="28">
                  <c:v>1540.0</c:v>
                </c:pt>
                <c:pt idx="29">
                  <c:v>1554.0</c:v>
                </c:pt>
                <c:pt idx="30">
                  <c:v>940.0</c:v>
                </c:pt>
                <c:pt idx="31">
                  <c:v>0.0</c:v>
                </c:pt>
                <c:pt idx="32">
                  <c:v>0.0</c:v>
                </c:pt>
                <c:pt idx="33">
                  <c:v>1891.0</c:v>
                </c:pt>
                <c:pt idx="34">
                  <c:v>1929.5</c:v>
                </c:pt>
                <c:pt idx="35">
                  <c:v>1861.5</c:v>
                </c:pt>
                <c:pt idx="36">
                  <c:v>1819.0</c:v>
                </c:pt>
                <c:pt idx="37">
                  <c:v>1231.0</c:v>
                </c:pt>
                <c:pt idx="38">
                  <c:v>2338.0</c:v>
                </c:pt>
                <c:pt idx="39">
                  <c:v>1283.0</c:v>
                </c:pt>
                <c:pt idx="40">
                  <c:v>1226.5</c:v>
                </c:pt>
                <c:pt idx="41">
                  <c:v>1616.0</c:v>
                </c:pt>
                <c:pt idx="42">
                  <c:v>1725.0</c:v>
                </c:pt>
                <c:pt idx="43">
                  <c:v>1946.0</c:v>
                </c:pt>
                <c:pt idx="44">
                  <c:v>2632.0</c:v>
                </c:pt>
                <c:pt idx="45">
                  <c:v>1736.0</c:v>
                </c:pt>
                <c:pt idx="46">
                  <c:v>1910.0</c:v>
                </c:pt>
                <c:pt idx="47">
                  <c:v>2158.5</c:v>
                </c:pt>
                <c:pt idx="48">
                  <c:v>1661.0</c:v>
                </c:pt>
                <c:pt idx="49">
                  <c:v>1385.0</c:v>
                </c:pt>
                <c:pt idx="50">
                  <c:v>1430.0</c:v>
                </c:pt>
                <c:pt idx="51">
                  <c:v>1620.0</c:v>
                </c:pt>
              </c:numCache>
            </c:numRef>
          </c:xVal>
          <c:yVal>
            <c:numRef>
              <c:f>Sheet1!$B$108:$B$159</c:f>
              <c:numCache>
                <c:formatCode>General</c:formatCode>
                <c:ptCount val="52"/>
                <c:pt idx="0">
                  <c:v>0.0</c:v>
                </c:pt>
                <c:pt idx="1">
                  <c:v>0.36363636363636365</c:v>
                </c:pt>
                <c:pt idx="2">
                  <c:v>0.3333333333333333</c:v>
                </c:pt>
                <c:pt idx="3">
                  <c:v>0.2857142857142857</c:v>
                </c:pt>
                <c:pt idx="4">
                  <c:v>0.16666666666666666</c:v>
                </c:pt>
                <c:pt idx="5">
                  <c:v>0.25</c:v>
                </c:pt>
                <c:pt idx="6">
                  <c:v>0.375</c:v>
                </c:pt>
                <c:pt idx="7">
                  <c:v>0.2</c:v>
                </c:pt>
                <c:pt idx="8">
                  <c:v>0.6666666666666666</c:v>
                </c:pt>
                <c:pt idx="9">
                  <c:v>0.0</c:v>
                </c:pt>
                <c:pt idx="10">
                  <c:v>0.3333333333333333</c:v>
                </c:pt>
                <c:pt idx="11">
                  <c:v>0.25</c:v>
                </c:pt>
                <c:pt idx="12">
                  <c:v>0.16666666666666666</c:v>
                </c:pt>
                <c:pt idx="13">
                  <c:v>0.15384615384615385</c:v>
                </c:pt>
                <c:pt idx="14">
                  <c:v>0.2727272727272727</c:v>
                </c:pt>
                <c:pt idx="15">
                  <c:v>0.375</c:v>
                </c:pt>
                <c:pt idx="16">
                  <c:v>0.16666666666666666</c:v>
                </c:pt>
                <c:pt idx="17">
                  <c:v>0.2857142857142857</c:v>
                </c:pt>
                <c:pt idx="18">
                  <c:v>0.5</c:v>
                </c:pt>
                <c:pt idx="19">
                  <c:v>0.0</c:v>
                </c:pt>
                <c:pt idx="20">
                  <c:v>0.4</c:v>
                </c:pt>
                <c:pt idx="21">
                  <c:v>0.0</c:v>
                </c:pt>
                <c:pt idx="22">
                  <c:v>0.3333333333333333</c:v>
                </c:pt>
                <c:pt idx="23">
                  <c:v>0.0</c:v>
                </c:pt>
                <c:pt idx="24">
                  <c:v>0.3333333333333333</c:v>
                </c:pt>
                <c:pt idx="25">
                  <c:v>0.5</c:v>
                </c:pt>
                <c:pt idx="26">
                  <c:v>0.3333333333333333</c:v>
                </c:pt>
                <c:pt idx="27">
                  <c:v>0.0</c:v>
                </c:pt>
                <c:pt idx="28">
                  <c:v>0.25</c:v>
                </c:pt>
                <c:pt idx="29">
                  <c:v>0.5</c:v>
                </c:pt>
                <c:pt idx="30">
                  <c:v>0.5</c:v>
                </c:pt>
                <c:pt idx="31">
                  <c:v>0.0</c:v>
                </c:pt>
                <c:pt idx="32">
                  <c:v>0.0</c:v>
                </c:pt>
                <c:pt idx="33">
                  <c:v>0.5</c:v>
                </c:pt>
                <c:pt idx="34">
                  <c:v>0.4</c:v>
                </c:pt>
                <c:pt idx="35">
                  <c:v>0.3333333333333333</c:v>
                </c:pt>
                <c:pt idx="36">
                  <c:v>0.3333333333333333</c:v>
                </c:pt>
                <c:pt idx="37">
                  <c:v>0.3333333333333333</c:v>
                </c:pt>
                <c:pt idx="38">
                  <c:v>0.5</c:v>
                </c:pt>
                <c:pt idx="39">
                  <c:v>0.5</c:v>
                </c:pt>
                <c:pt idx="40">
                  <c:v>0.4</c:v>
                </c:pt>
                <c:pt idx="41">
                  <c:v>0.4</c:v>
                </c:pt>
                <c:pt idx="42">
                  <c:v>0.3333333333333333</c:v>
                </c:pt>
                <c:pt idx="43">
                  <c:v>0.5</c:v>
                </c:pt>
                <c:pt idx="44">
                  <c:v>0.2</c:v>
                </c:pt>
                <c:pt idx="45">
                  <c:v>0.2</c:v>
                </c:pt>
                <c:pt idx="46">
                  <c:v>0.3333333333333333</c:v>
                </c:pt>
                <c:pt idx="47">
                  <c:v>0.2857142857142857</c:v>
                </c:pt>
                <c:pt idx="48">
                  <c:v>0.2857142857142857</c:v>
                </c:pt>
                <c:pt idx="49">
                  <c:v>0.6</c:v>
                </c:pt>
                <c:pt idx="50">
                  <c:v>0.3</c:v>
                </c:pt>
                <c:pt idx="51">
                  <c:v>0.2857142857142857</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2185.940464822486</c:v>
                </c:pt>
              </c:numCache>
            </c:numRef>
          </c:xVal>
          <c:yVal>
            <c:numRef>
              <c:f>Sheet1!$B$162:$B$163</c:f>
              <c:numCache>
                <c:formatCode>General</c:formatCode>
                <c:ptCount val="2"/>
                <c:pt idx="0">
                  <c:v>0.3835819346565953</c:v>
                </c:pt>
                <c:pt idx="1">
                  <c:v>0.3835819346565953</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2185.940464822486</c:v>
                </c:pt>
                <c:pt idx="1">
                  <c:v>2185.940464822486</c:v>
                </c:pt>
              </c:numCache>
            </c:numRef>
          </c:xVal>
          <c:yVal>
            <c:numRef>
              <c:f>Sheet1!$B$166:$B$167</c:f>
              <c:numCache>
                <c:formatCode>General</c:formatCode>
                <c:ptCount val="2"/>
                <c:pt idx="0">
                  <c:v>0.383581934656595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2054.635220585908</c:v>
                </c:pt>
              </c:numCache>
            </c:numRef>
          </c:xVal>
          <c:yVal>
            <c:numRef>
              <c:f>Sheet1!$B$170:$B$171</c:f>
              <c:numCache>
                <c:formatCode>General</c:formatCode>
                <c:ptCount val="2"/>
                <c:pt idx="0">
                  <c:v>0.3678571428571428</c:v>
                </c:pt>
                <c:pt idx="1">
                  <c:v>0.3678571428571428</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2054.635220585908</c:v>
                </c:pt>
                <c:pt idx="1">
                  <c:v>2054.635220585908</c:v>
                </c:pt>
              </c:numCache>
            </c:numRef>
          </c:xVal>
          <c:yVal>
            <c:numRef>
              <c:f>Sheet1!$B$174:$B$175</c:f>
              <c:numCache>
                <c:formatCode>General</c:formatCode>
                <c:ptCount val="2"/>
                <c:pt idx="0">
                  <c:v>0.36785714285714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952.9339987716694</c:v>
                </c:pt>
              </c:numCache>
            </c:numRef>
          </c:xVal>
          <c:yVal>
            <c:numRef>
              <c:f>Sheet1!$B$178:$B$179</c:f>
              <c:numCache>
                <c:formatCode>General</c:formatCode>
                <c:ptCount val="2"/>
                <c:pt idx="0">
                  <c:v>0.35567765567765564</c:v>
                </c:pt>
                <c:pt idx="1">
                  <c:v>0.3556776556776556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952.9339987716694</c:v>
                </c:pt>
                <c:pt idx="1">
                  <c:v>1952.9339987716694</c:v>
                </c:pt>
              </c:numCache>
            </c:numRef>
          </c:xVal>
          <c:yVal>
            <c:numRef>
              <c:f>Sheet1!$B$182:$B$183</c:f>
              <c:numCache>
                <c:formatCode>General</c:formatCode>
                <c:ptCount val="2"/>
                <c:pt idx="0">
                  <c:v>0.355677655677655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0.0</c:v>
                </c:pt>
                <c:pt idx="1">
                  <c:v>1150.0</c:v>
                </c:pt>
                <c:pt idx="2">
                  <c:v>1800.6667</c:v>
                </c:pt>
                <c:pt idx="3">
                  <c:v>1537.5</c:v>
                </c:pt>
                <c:pt idx="4">
                  <c:v>2073.0</c:v>
                </c:pt>
                <c:pt idx="5">
                  <c:v>1470.0</c:v>
                </c:pt>
                <c:pt idx="6">
                  <c:v>1779.0</c:v>
                </c:pt>
                <c:pt idx="7">
                  <c:v>2416.0</c:v>
                </c:pt>
                <c:pt idx="8">
                  <c:v>1763.5</c:v>
                </c:pt>
                <c:pt idx="9">
                  <c:v>0.0</c:v>
                </c:pt>
                <c:pt idx="10">
                  <c:v>2697.0</c:v>
                </c:pt>
                <c:pt idx="11">
                  <c:v>2367.0</c:v>
                </c:pt>
                <c:pt idx="12">
                  <c:v>1499.0</c:v>
                </c:pt>
                <c:pt idx="13">
                  <c:v>1523.5</c:v>
                </c:pt>
                <c:pt idx="14">
                  <c:v>1674.3333</c:v>
                </c:pt>
                <c:pt idx="15">
                  <c:v>1570.0</c:v>
                </c:pt>
                <c:pt idx="16">
                  <c:v>2624.0</c:v>
                </c:pt>
                <c:pt idx="17">
                  <c:v>1487.0</c:v>
                </c:pt>
                <c:pt idx="18">
                  <c:v>1527.5</c:v>
                </c:pt>
                <c:pt idx="19">
                  <c:v>0.0</c:v>
                </c:pt>
                <c:pt idx="20">
                  <c:v>1636.5</c:v>
                </c:pt>
                <c:pt idx="21">
                  <c:v>0.0</c:v>
                </c:pt>
                <c:pt idx="22">
                  <c:v>1877.0</c:v>
                </c:pt>
                <c:pt idx="23">
                  <c:v>0.0</c:v>
                </c:pt>
                <c:pt idx="24">
                  <c:v>882.0</c:v>
                </c:pt>
                <c:pt idx="25">
                  <c:v>952.0</c:v>
                </c:pt>
                <c:pt idx="26">
                  <c:v>1289.0</c:v>
                </c:pt>
                <c:pt idx="27">
                  <c:v>0.0</c:v>
                </c:pt>
                <c:pt idx="28">
                  <c:v>1540.0</c:v>
                </c:pt>
                <c:pt idx="29">
                  <c:v>1554.0</c:v>
                </c:pt>
                <c:pt idx="30">
                  <c:v>940.0</c:v>
                </c:pt>
                <c:pt idx="31">
                  <c:v>0.0</c:v>
                </c:pt>
                <c:pt idx="32">
                  <c:v>0.0</c:v>
                </c:pt>
                <c:pt idx="33">
                  <c:v>1891.0</c:v>
                </c:pt>
                <c:pt idx="34">
                  <c:v>1929.5</c:v>
                </c:pt>
                <c:pt idx="35">
                  <c:v>1861.5</c:v>
                </c:pt>
                <c:pt idx="36">
                  <c:v>1819.0</c:v>
                </c:pt>
                <c:pt idx="37">
                  <c:v>1231.0</c:v>
                </c:pt>
                <c:pt idx="38">
                  <c:v>2338.0</c:v>
                </c:pt>
                <c:pt idx="39">
                  <c:v>1283.0</c:v>
                </c:pt>
                <c:pt idx="40">
                  <c:v>1226.5</c:v>
                </c:pt>
                <c:pt idx="41">
                  <c:v>1616.0</c:v>
                </c:pt>
                <c:pt idx="42">
                  <c:v>1725.0</c:v>
                </c:pt>
                <c:pt idx="43">
                  <c:v>1946.0</c:v>
                </c:pt>
                <c:pt idx="44">
                  <c:v>2632.0</c:v>
                </c:pt>
                <c:pt idx="45">
                  <c:v>1736.0</c:v>
                </c:pt>
                <c:pt idx="46">
                  <c:v>1910.0</c:v>
                </c:pt>
                <c:pt idx="47">
                  <c:v>2158.5</c:v>
                </c:pt>
                <c:pt idx="48">
                  <c:v>1661.0</c:v>
                </c:pt>
                <c:pt idx="49">
                  <c:v>1385.0</c:v>
                </c:pt>
                <c:pt idx="50">
                  <c:v>1430.0</c:v>
                </c:pt>
                <c:pt idx="51">
                  <c:v>1620.0</c:v>
                </c:pt>
                <c:pt idx="52">
                  <c:v>2054.635220585908</c:v>
                </c:pt>
                <c:pt idx="53">
                  <c:v>2185.940464822486</c:v>
                </c:pt>
                <c:pt idx="54">
                  <c:v>1952.9339987716694</c:v>
                </c:pt>
              </c:numCache>
            </c:numRef>
          </c:xVal>
          <c:yVal>
            <c:numRef>
              <c:f>Sheet1!$B$186:$B$240</c:f>
              <c:numCache>
                <c:formatCode>General</c:formatCode>
                <c:ptCount val="55"/>
                <c:pt idx="0">
                  <c:v>0.12179910263657383</c:v>
                </c:pt>
                <c:pt idx="1">
                  <c:v>0.2595202627814692</c:v>
                </c:pt>
                <c:pt idx="2">
                  <c:v>0.3374424999916002</c:v>
                </c:pt>
                <c:pt idx="3">
                  <c:v>0.30592630587377095</c:v>
                </c:pt>
                <c:pt idx="4">
                  <c:v>0.3700564634890679</c:v>
                </c:pt>
                <c:pt idx="5">
                  <c:v>0.2978426725609184</c:v>
                </c:pt>
                <c:pt idx="6">
                  <c:v>0.334847749504199</c:v>
                </c:pt>
                <c:pt idx="7">
                  <c:v>0.411133296471415</c:v>
                </c:pt>
                <c:pt idx="8">
                  <c:v>0.3329915077805069</c:v>
                </c:pt>
                <c:pt idx="9">
                  <c:v>0.12179910263657383</c:v>
                </c:pt>
                <c:pt idx="10">
                  <c:v>0.44478516255899375</c:v>
                </c:pt>
                <c:pt idx="11">
                  <c:v>0.4052651774739368</c:v>
                </c:pt>
                <c:pt idx="12">
                  <c:v>0.301315640947181</c:v>
                </c:pt>
                <c:pt idx="13">
                  <c:v>0.30424970044592003</c:v>
                </c:pt>
                <c:pt idx="14">
                  <c:v>0.32231312398025314</c:v>
                </c:pt>
                <c:pt idx="15">
                  <c:v>0.30981842561699624</c:v>
                </c:pt>
                <c:pt idx="16">
                  <c:v>0.43604286282805693</c:v>
                </c:pt>
                <c:pt idx="17">
                  <c:v>0.29987855058045165</c:v>
                </c:pt>
                <c:pt idx="18">
                  <c:v>0.3047287305681632</c:v>
                </c:pt>
                <c:pt idx="19">
                  <c:v>0.12179910263657383</c:v>
                </c:pt>
                <c:pt idx="20">
                  <c:v>0.31778230139928804</c:v>
                </c:pt>
                <c:pt idx="21">
                  <c:v>0.12179910263657383</c:v>
                </c:pt>
                <c:pt idx="22">
                  <c:v>0.3465839874991553</c:v>
                </c:pt>
                <c:pt idx="23">
                  <c:v>0.12179910263657383</c:v>
                </c:pt>
                <c:pt idx="24">
                  <c:v>0.22742524459118058</c:v>
                </c:pt>
                <c:pt idx="25">
                  <c:v>0.23580827173043506</c:v>
                </c:pt>
                <c:pt idx="26">
                  <c:v>0.2761665595294175</c:v>
                </c:pt>
                <c:pt idx="27">
                  <c:v>0.12179910263657383</c:v>
                </c:pt>
                <c:pt idx="28">
                  <c:v>0.3062256997001729</c:v>
                </c:pt>
                <c:pt idx="29">
                  <c:v>0.3079023051280238</c:v>
                </c:pt>
                <c:pt idx="30">
                  <c:v>0.23437118136370572</c:v>
                </c:pt>
                <c:pt idx="31">
                  <c:v>0.12179910263657383</c:v>
                </c:pt>
                <c:pt idx="32">
                  <c:v>0.12179910263657383</c:v>
                </c:pt>
                <c:pt idx="33">
                  <c:v>0.3482605929270062</c:v>
                </c:pt>
                <c:pt idx="34">
                  <c:v>0.3528712578535962</c:v>
                </c:pt>
                <c:pt idx="35">
                  <c:v>0.3447277457754632</c:v>
                </c:pt>
                <c:pt idx="36">
                  <c:v>0.3396380507266301</c:v>
                </c:pt>
                <c:pt idx="37">
                  <c:v>0.2692206227568923</c:v>
                </c:pt>
                <c:pt idx="38">
                  <c:v>0.40179220908767427</c:v>
                </c:pt>
                <c:pt idx="39">
                  <c:v>0.2754480143460528</c:v>
                </c:pt>
                <c:pt idx="40">
                  <c:v>0.2686817138693688</c:v>
                </c:pt>
                <c:pt idx="41">
                  <c:v>0.3153272720227921</c:v>
                </c:pt>
                <c:pt idx="42">
                  <c:v>0.32838084285391694</c:v>
                </c:pt>
                <c:pt idx="43">
                  <c:v>0.35484725710784903</c:v>
                </c:pt>
                <c:pt idx="44">
                  <c:v>0.4370009230725432</c:v>
                </c:pt>
                <c:pt idx="45">
                  <c:v>0.3296981756900855</c:v>
                </c:pt>
                <c:pt idx="46">
                  <c:v>0.350535986007661</c:v>
                </c:pt>
                <c:pt idx="47">
                  <c:v>0.38029573235201447</c:v>
                </c:pt>
                <c:pt idx="48">
                  <c:v>0.32071636089802713</c:v>
                </c:pt>
                <c:pt idx="49">
                  <c:v>0.28766328246325223</c:v>
                </c:pt>
                <c:pt idx="50">
                  <c:v>0.29305237133848727</c:v>
                </c:pt>
                <c:pt idx="51">
                  <c:v>0.3158063021450352</c:v>
                </c:pt>
                <c:pt idx="52">
                  <c:v>0.3678571428571428</c:v>
                </c:pt>
                <c:pt idx="53">
                  <c:v>0.3835819346565953</c:v>
                </c:pt>
                <c:pt idx="54">
                  <c:v>0.355677655677655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3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4</c:f>
              <c:numCache>
                <c:formatCode>General</c:formatCode>
                <c:ptCount val="103"/>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6584992343032159</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6430484660336012</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numCache>
            </c:numRef>
          </c:xVal>
          <c:yVal>
            <c:numRef>
              <c:f>Sheet1!$B$2:$B$104</c:f>
              <c:numCache>
                <c:formatCode>General</c:formatCode>
                <c:ptCount val="103"/>
                <c:pt idx="0">
                  <c:v>0.21739130434782608</c:v>
                </c:pt>
                <c:pt idx="1">
                  <c:v>0.25</c:v>
                </c:pt>
                <c:pt idx="2">
                  <c:v>0.2692307692307692</c:v>
                </c:pt>
                <c:pt idx="3">
                  <c:v>0.47619047619047616</c:v>
                </c:pt>
                <c:pt idx="4">
                  <c:v>0.25</c:v>
                </c:pt>
                <c:pt idx="5">
                  <c:v>0.1111111111111111</c:v>
                </c:pt>
                <c:pt idx="6">
                  <c:v>0.4</c:v>
                </c:pt>
                <c:pt idx="7">
                  <c:v>0.2</c:v>
                </c:pt>
                <c:pt idx="8">
                  <c:v>0.3333333333333333</c:v>
                </c:pt>
                <c:pt idx="9">
                  <c:v>0.08695652173913043</c:v>
                </c:pt>
                <c:pt idx="10">
                  <c:v>0.2857142857142857</c:v>
                </c:pt>
                <c:pt idx="11">
                  <c:v>0.23076923076923078</c:v>
                </c:pt>
                <c:pt idx="12">
                  <c:v>0.15384615384615385</c:v>
                </c:pt>
                <c:pt idx="13">
                  <c:v>0.16666666666666666</c:v>
                </c:pt>
                <c:pt idx="14">
                  <c:v>0.19047619047619047</c:v>
                </c:pt>
                <c:pt idx="15">
                  <c:v>0.3333333333333333</c:v>
                </c:pt>
                <c:pt idx="16">
                  <c:v>0.2222222222222222</c:v>
                </c:pt>
                <c:pt idx="17">
                  <c:v>0.3125</c:v>
                </c:pt>
                <c:pt idx="18">
                  <c:v>0.3076923076923077</c:v>
                </c:pt>
                <c:pt idx="19">
                  <c:v>0.46153846153846156</c:v>
                </c:pt>
                <c:pt idx="20">
                  <c:v>0.3125</c:v>
                </c:pt>
                <c:pt idx="21">
                  <c:v>0.4</c:v>
                </c:pt>
                <c:pt idx="22">
                  <c:v>0.3333333333333333</c:v>
                </c:pt>
                <c:pt idx="23">
                  <c:v>0.375</c:v>
                </c:pt>
                <c:pt idx="24">
                  <c:v>0.5</c:v>
                </c:pt>
                <c:pt idx="25">
                  <c:v>0.5833333333333334</c:v>
                </c:pt>
                <c:pt idx="26">
                  <c:v>0.5</c:v>
                </c:pt>
                <c:pt idx="27">
                  <c:v>0.375</c:v>
                </c:pt>
                <c:pt idx="28">
                  <c:v>0.5</c:v>
                </c:pt>
                <c:pt idx="29">
                  <c:v>0.375</c:v>
                </c:pt>
                <c:pt idx="30">
                  <c:v>0.25</c:v>
                </c:pt>
                <c:pt idx="31">
                  <c:v>0.25</c:v>
                </c:pt>
                <c:pt idx="32">
                  <c:v>0.25</c:v>
                </c:pt>
                <c:pt idx="33">
                  <c:v>0.42857142857142855</c:v>
                </c:pt>
                <c:pt idx="34">
                  <c:v>0.375</c:v>
                </c:pt>
                <c:pt idx="35">
                  <c:v>0.25</c:v>
                </c:pt>
                <c:pt idx="36">
                  <c:v>0.2</c:v>
                </c:pt>
                <c:pt idx="37">
                  <c:v>0.16666666666666666</c:v>
                </c:pt>
                <c:pt idx="38">
                  <c:v>0.3333333333333333</c:v>
                </c:pt>
                <c:pt idx="39">
                  <c:v>0.3</c:v>
                </c:pt>
                <c:pt idx="40">
                  <c:v>0.16666666666666666</c:v>
                </c:pt>
                <c:pt idx="41">
                  <c:v>0.3333333333333333</c:v>
                </c:pt>
                <c:pt idx="42">
                  <c:v>0.0</c:v>
                </c:pt>
                <c:pt idx="43">
                  <c:v>0.25</c:v>
                </c:pt>
                <c:pt idx="44">
                  <c:v>0.14285714285714285</c:v>
                </c:pt>
                <c:pt idx="45">
                  <c:v>0.375</c:v>
                </c:pt>
                <c:pt idx="46">
                  <c:v>0.25</c:v>
                </c:pt>
                <c:pt idx="47">
                  <c:v>0.2222222222222222</c:v>
                </c:pt>
                <c:pt idx="48">
                  <c:v>0.2727272727272727</c:v>
                </c:pt>
                <c:pt idx="49">
                  <c:v>0.3333333333333333</c:v>
                </c:pt>
                <c:pt idx="50">
                  <c:v>0.375</c:v>
                </c:pt>
                <c:pt idx="51">
                  <c:v>0.4166666666666667</c:v>
                </c:pt>
                <c:pt idx="52">
                  <c:v>0.4</c:v>
                </c:pt>
                <c:pt idx="53">
                  <c:v>0.2</c:v>
                </c:pt>
                <c:pt idx="54">
                  <c:v>0.2857142857142857</c:v>
                </c:pt>
                <c:pt idx="55">
                  <c:v>0.14285714285714285</c:v>
                </c:pt>
                <c:pt idx="56">
                  <c:v>0.13333333333333333</c:v>
                </c:pt>
                <c:pt idx="57">
                  <c:v>0.36363636363636365</c:v>
                </c:pt>
                <c:pt idx="58">
                  <c:v>0.3333333333333333</c:v>
                </c:pt>
                <c:pt idx="59">
                  <c:v>0.2857142857142857</c:v>
                </c:pt>
                <c:pt idx="60">
                  <c:v>0.25</c:v>
                </c:pt>
                <c:pt idx="61">
                  <c:v>0.375</c:v>
                </c:pt>
                <c:pt idx="62">
                  <c:v>0.2</c:v>
                </c:pt>
                <c:pt idx="63">
                  <c:v>0.6666666666666666</c:v>
                </c:pt>
                <c:pt idx="64">
                  <c:v>0.0</c:v>
                </c:pt>
                <c:pt idx="65">
                  <c:v>0.3333333333333333</c:v>
                </c:pt>
                <c:pt idx="66">
                  <c:v>0.25</c:v>
                </c:pt>
                <c:pt idx="67">
                  <c:v>0.16666666666666666</c:v>
                </c:pt>
                <c:pt idx="68">
                  <c:v>0.375</c:v>
                </c:pt>
                <c:pt idx="69">
                  <c:v>0.16666666666666666</c:v>
                </c:pt>
                <c:pt idx="70">
                  <c:v>0.2857142857142857</c:v>
                </c:pt>
                <c:pt idx="71">
                  <c:v>0.5</c:v>
                </c:pt>
                <c:pt idx="72">
                  <c:v>0.0</c:v>
                </c:pt>
                <c:pt idx="73">
                  <c:v>0.4</c:v>
                </c:pt>
                <c:pt idx="74">
                  <c:v>0.0</c:v>
                </c:pt>
                <c:pt idx="75">
                  <c:v>0.3333333333333333</c:v>
                </c:pt>
                <c:pt idx="76">
                  <c:v>0.0</c:v>
                </c:pt>
                <c:pt idx="77">
                  <c:v>0.3333333333333333</c:v>
                </c:pt>
                <c:pt idx="78">
                  <c:v>0.5</c:v>
                </c:pt>
                <c:pt idx="79">
                  <c:v>0.3333333333333333</c:v>
                </c:pt>
                <c:pt idx="80">
                  <c:v>0.0</c:v>
                </c:pt>
                <c:pt idx="81">
                  <c:v>0.25</c:v>
                </c:pt>
                <c:pt idx="82">
                  <c:v>0.5</c:v>
                </c:pt>
                <c:pt idx="83">
                  <c:v>0.5</c:v>
                </c:pt>
                <c:pt idx="84">
                  <c:v>0.0</c:v>
                </c:pt>
                <c:pt idx="85">
                  <c:v>0.0</c:v>
                </c:pt>
                <c:pt idx="86">
                  <c:v>0.5</c:v>
                </c:pt>
                <c:pt idx="87">
                  <c:v>0.4</c:v>
                </c:pt>
                <c:pt idx="88">
                  <c:v>0.3333333333333333</c:v>
                </c:pt>
                <c:pt idx="89">
                  <c:v>0.3333333333333333</c:v>
                </c:pt>
                <c:pt idx="90">
                  <c:v>0.3333333333333333</c:v>
                </c:pt>
                <c:pt idx="91">
                  <c:v>0.5</c:v>
                </c:pt>
                <c:pt idx="92">
                  <c:v>0.5</c:v>
                </c:pt>
                <c:pt idx="93">
                  <c:v>0.4</c:v>
                </c:pt>
                <c:pt idx="94">
                  <c:v>0.4</c:v>
                </c:pt>
                <c:pt idx="95">
                  <c:v>0.3333333333333333</c:v>
                </c:pt>
                <c:pt idx="96">
                  <c:v>0.5</c:v>
                </c:pt>
                <c:pt idx="97">
                  <c:v>0.2</c:v>
                </c:pt>
                <c:pt idx="98">
                  <c:v>0.2</c:v>
                </c:pt>
                <c:pt idx="99">
                  <c:v>0.3333333333333333</c:v>
                </c:pt>
                <c:pt idx="100">
                  <c:v>0.2857142857142857</c:v>
                </c:pt>
                <c:pt idx="101">
                  <c:v>0.2857142857142857</c:v>
                </c:pt>
                <c:pt idx="102">
                  <c:v>0.6</c:v>
                </c:pt>
              </c:numCache>
            </c:numRef>
          </c:yVal>
          <c:smooth val="0"/>
          <c:extLst>
            <c:ext xmlns:c16="http://schemas.microsoft.com/office/drawing/2014/chart" uri="{C3380CC4-5D6E-409C-BE32-E72D297353CC}">
              <c16:uniqueId val="{00000000-096C-4121-9522-6AB7243CCAAE}"/>
            </c:ext>
          </c:extLst>
        </c:ser>
        <c:ser>
          <c:idx val="1"/>
          <c:order val="1"/>
          <c:tx>
            <c:strRef>
              <c:f>Sheet1!$B$10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7:$A$111</c:f>
              <c:numCache>
                <c:formatCode>General</c:formatCode>
                <c:ptCount val="5"/>
                <c:pt idx="0">
                  <c:v>0.43605384938998737</c:v>
                </c:pt>
                <c:pt idx="1">
                  <c:v>0.5283509623721172</c:v>
                </c:pt>
                <c:pt idx="2">
                  <c:v>0.3986507857142857</c:v>
                </c:pt>
                <c:pt idx="3">
                  <c:v>0.18504140786749482</c:v>
                </c:pt>
                <c:pt idx="4">
                  <c:v>0.3125</c:v>
                </c:pt>
              </c:numCache>
            </c:numRef>
          </c:xVal>
          <c:yVal>
            <c:numRef>
              <c:f>Sheet1!$B$107:$B$111</c:f>
              <c:numCache>
                <c:formatCode>General</c:formatCode>
                <c:ptCount val="5"/>
                <c:pt idx="0">
                  <c:v>0.16666666666666666</c:v>
                </c:pt>
                <c:pt idx="1">
                  <c:v>0.15384615384615385</c:v>
                </c:pt>
                <c:pt idx="2">
                  <c:v>0.2727272727272727</c:v>
                </c:pt>
                <c:pt idx="3">
                  <c:v>0.3</c:v>
                </c:pt>
                <c:pt idx="4">
                  <c:v>0.2857142857142857</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04453985156015943</c:v>
                </c:pt>
              </c:numCache>
            </c:numRef>
          </c:xVal>
          <c:yVal>
            <c:numRef>
              <c:f>Sheet1!$B$114:$B$115</c:f>
              <c:numCache>
                <c:formatCode>General</c:formatCode>
                <c:ptCount val="2"/>
                <c:pt idx="0">
                  <c:v>0.38678774928774934</c:v>
                </c:pt>
                <c:pt idx="1">
                  <c:v>0.38678774928774934</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04453985156015943</c:v>
                </c:pt>
                <c:pt idx="1">
                  <c:v>0.04453985156015943</c:v>
                </c:pt>
              </c:numCache>
            </c:numRef>
          </c:xVal>
          <c:yVal>
            <c:numRef>
              <c:f>Sheet1!$B$118:$B$119</c:f>
              <c:numCache>
                <c:formatCode>General</c:formatCode>
                <c:ptCount val="2"/>
                <c:pt idx="0">
                  <c:v>0.386787749287749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0856087782395679</c:v>
                </c:pt>
              </c:numCache>
            </c:numRef>
          </c:xVal>
          <c:yVal>
            <c:numRef>
              <c:f>Sheet1!$B$122:$B$123</c:f>
              <c:numCache>
                <c:formatCode>General</c:formatCode>
                <c:ptCount val="2"/>
                <c:pt idx="0">
                  <c:v>0.3678571428571428</c:v>
                </c:pt>
                <c:pt idx="1">
                  <c:v>0.3678571428571428</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0856087782395679</c:v>
                </c:pt>
                <c:pt idx="1">
                  <c:v>0.0856087782395679</c:v>
                </c:pt>
              </c:numCache>
            </c:numRef>
          </c:xVal>
          <c:yVal>
            <c:numRef>
              <c:f>Sheet1!$B$126:$B$127</c:f>
              <c:numCache>
                <c:formatCode>General</c:formatCode>
                <c:ptCount val="2"/>
                <c:pt idx="0">
                  <c:v>0.36785714285714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0.11203151687716628</c:v>
                </c:pt>
              </c:numCache>
            </c:numRef>
          </c:xVal>
          <c:yVal>
            <c:numRef>
              <c:f>Sheet1!$B$130:$B$131</c:f>
              <c:numCache>
                <c:formatCode>General</c:formatCode>
                <c:ptCount val="2"/>
                <c:pt idx="0">
                  <c:v>0.35567765567765564</c:v>
                </c:pt>
                <c:pt idx="1">
                  <c:v>0.35567765567765564</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0.11203151687716628</c:v>
                </c:pt>
                <c:pt idx="1">
                  <c:v>0.11203151687716628</c:v>
                </c:pt>
              </c:numCache>
            </c:numRef>
          </c:xVal>
          <c:yVal>
            <c:numRef>
              <c:f>Sheet1!$B$134:$B$135</c:f>
              <c:numCache>
                <c:formatCode>General</c:formatCode>
                <c:ptCount val="2"/>
                <c:pt idx="0">
                  <c:v>0.355677655677655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45</c:f>
              <c:numCache>
                <c:formatCode>General</c:formatCode>
                <c:ptCount val="8"/>
                <c:pt idx="0">
                  <c:v>0.43605384938998737</c:v>
                </c:pt>
                <c:pt idx="1">
                  <c:v>0.5283509623721172</c:v>
                </c:pt>
                <c:pt idx="2">
                  <c:v>0.3986507857142857</c:v>
                </c:pt>
                <c:pt idx="3">
                  <c:v>0.18504140786749482</c:v>
                </c:pt>
                <c:pt idx="4">
                  <c:v>0.3125</c:v>
                </c:pt>
                <c:pt idx="5">
                  <c:v>0.0856087782395679</c:v>
                </c:pt>
                <c:pt idx="6">
                  <c:v>0.04453985156015943</c:v>
                </c:pt>
                <c:pt idx="7">
                  <c:v>0.11203151687716628</c:v>
                </c:pt>
              </c:numCache>
            </c:numRef>
          </c:xVal>
          <c:yVal>
            <c:numRef>
              <c:f>Sheet1!$B$138:$B$145</c:f>
              <c:numCache>
                <c:formatCode>General</c:formatCode>
                <c:ptCount val="8"/>
                <c:pt idx="0">
                  <c:v>0.20632047136626663</c:v>
                </c:pt>
                <c:pt idx="1">
                  <c:v>0.16377637630906683</c:v>
                </c:pt>
                <c:pt idx="2">
                  <c:v>0.22356130853912215</c:v>
                </c:pt>
                <c:pt idx="3">
                  <c:v>0.3220239514387188</c:v>
                </c:pt>
                <c:pt idx="4">
                  <c:v>0.263272271301204</c:v>
                </c:pt>
                <c:pt idx="5">
                  <c:v>0.3678571428571428</c:v>
                </c:pt>
                <c:pt idx="6">
                  <c:v>0.38678774928774934</c:v>
                </c:pt>
                <c:pt idx="7">
                  <c:v>0.355677655677655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1168.2</c:v>
                </c:pt>
                <c:pt idx="1">
                  <c:v>1000.6667</c:v>
                </c:pt>
                <c:pt idx="2">
                  <c:v>1072.8571</c:v>
                </c:pt>
                <c:pt idx="3">
                  <c:v>1240.2</c:v>
                </c:pt>
                <c:pt idx="4">
                  <c:v>978.0</c:v>
                </c:pt>
                <c:pt idx="5">
                  <c:v>909.0</c:v>
                </c:pt>
                <c:pt idx="6">
                  <c:v>1078.75</c:v>
                </c:pt>
                <c:pt idx="7">
                  <c:v>1125.0</c:v>
                </c:pt>
                <c:pt idx="8">
                  <c:v>1397.3333</c:v>
                </c:pt>
                <c:pt idx="9">
                  <c:v>1882.0</c:v>
                </c:pt>
                <c:pt idx="10">
                  <c:v>1520.6667</c:v>
                </c:pt>
                <c:pt idx="11">
                  <c:v>1407.6667</c:v>
                </c:pt>
                <c:pt idx="12">
                  <c:v>1524.5</c:v>
                </c:pt>
                <c:pt idx="13">
                  <c:v>1700.5</c:v>
                </c:pt>
                <c:pt idx="14">
                  <c:v>1509.75</c:v>
                </c:pt>
                <c:pt idx="15">
                  <c:v>1690.1667</c:v>
                </c:pt>
                <c:pt idx="16">
                  <c:v>1702.25</c:v>
                </c:pt>
                <c:pt idx="17">
                  <c:v>1766.2</c:v>
                </c:pt>
                <c:pt idx="18">
                  <c:v>1607.5</c:v>
                </c:pt>
                <c:pt idx="19">
                  <c:v>1415.5</c:v>
                </c:pt>
                <c:pt idx="20">
                  <c:v>1462.0</c:v>
                </c:pt>
                <c:pt idx="21">
                  <c:v>1445.75</c:v>
                </c:pt>
                <c:pt idx="22">
                  <c:v>1230.6667</c:v>
                </c:pt>
                <c:pt idx="23">
                  <c:v>955.3333</c:v>
                </c:pt>
                <c:pt idx="24">
                  <c:v>1031.0</c:v>
                </c:pt>
                <c:pt idx="25">
                  <c:v>873.5714</c:v>
                </c:pt>
                <c:pt idx="26">
                  <c:v>998.25</c:v>
                </c:pt>
                <c:pt idx="27">
                  <c:v>968.6667</c:v>
                </c:pt>
                <c:pt idx="28">
                  <c:v>598.2</c:v>
                </c:pt>
                <c:pt idx="29">
                  <c:v>1191.6667</c:v>
                </c:pt>
                <c:pt idx="30">
                  <c:v>1720.0</c:v>
                </c:pt>
                <c:pt idx="31">
                  <c:v>2086.0</c:v>
                </c:pt>
                <c:pt idx="32">
                  <c:v>2053.0</c:v>
                </c:pt>
                <c:pt idx="33">
                  <c:v>1619.3333</c:v>
                </c:pt>
                <c:pt idx="34">
                  <c:v>1191.6667</c:v>
                </c:pt>
                <c:pt idx="35">
                  <c:v>1418.0</c:v>
                </c:pt>
                <c:pt idx="36">
                  <c:v>2594.0</c:v>
                </c:pt>
                <c:pt idx="37">
                  <c:v>1788.0</c:v>
                </c:pt>
                <c:pt idx="38">
                  <c:v>2078.5</c:v>
                </c:pt>
                <c:pt idx="39">
                  <c:v>1400.6667</c:v>
                </c:pt>
                <c:pt idx="40">
                  <c:v>2674.0</c:v>
                </c:pt>
                <c:pt idx="41">
                  <c:v>1079.3333</c:v>
                </c:pt>
                <c:pt idx="42">
                  <c:v>1517.0</c:v>
                </c:pt>
                <c:pt idx="43">
                  <c:v>1458.0</c:v>
                </c:pt>
                <c:pt idx="44">
                  <c:v>1470.6667</c:v>
                </c:pt>
                <c:pt idx="45">
                  <c:v>1508.5</c:v>
                </c:pt>
                <c:pt idx="46">
                  <c:v>1914.0</c:v>
                </c:pt>
                <c:pt idx="47">
                  <c:v>1760.6667</c:v>
                </c:pt>
                <c:pt idx="48">
                  <c:v>1911.0</c:v>
                </c:pt>
                <c:pt idx="49">
                  <c:v>1933.3333</c:v>
                </c:pt>
                <c:pt idx="50">
                  <c:v>1511.2</c:v>
                </c:pt>
                <c:pt idx="51">
                  <c:v>1653.125</c:v>
                </c:pt>
                <c:pt idx="52">
                  <c:v>2152.5</c:v>
                </c:pt>
                <c:pt idx="53">
                  <c:v>1455.5</c:v>
                </c:pt>
                <c:pt idx="54">
                  <c:v>1948.5</c:v>
                </c:pt>
                <c:pt idx="55">
                  <c:v>1877.0</c:v>
                </c:pt>
              </c:numCache>
            </c:numRef>
          </c:xVal>
          <c:yVal>
            <c:numRef>
              <c:f>Sheet1!$B$2:$B$57</c:f>
              <c:numCache>
                <c:formatCode>General</c:formatCode>
                <c:ptCount val="56"/>
                <c:pt idx="0">
                  <c:v>0.21739130434782608</c:v>
                </c:pt>
                <c:pt idx="1">
                  <c:v>0.25</c:v>
                </c:pt>
                <c:pt idx="2">
                  <c:v>0.2692307692307692</c:v>
                </c:pt>
                <c:pt idx="3">
                  <c:v>0.47619047619047616</c:v>
                </c:pt>
                <c:pt idx="4">
                  <c:v>0.25</c:v>
                </c:pt>
                <c:pt idx="5">
                  <c:v>0.1111111111111111</c:v>
                </c:pt>
                <c:pt idx="6">
                  <c:v>0.4</c:v>
                </c:pt>
                <c:pt idx="7">
                  <c:v>0.2</c:v>
                </c:pt>
                <c:pt idx="8">
                  <c:v>0.3333333333333333</c:v>
                </c:pt>
                <c:pt idx="9">
                  <c:v>0.08695652173913043</c:v>
                </c:pt>
                <c:pt idx="10">
                  <c:v>0.2857142857142857</c:v>
                </c:pt>
                <c:pt idx="11">
                  <c:v>0.23076923076923078</c:v>
                </c:pt>
                <c:pt idx="12">
                  <c:v>0.15384615384615385</c:v>
                </c:pt>
                <c:pt idx="13">
                  <c:v>0.16666666666666666</c:v>
                </c:pt>
                <c:pt idx="14">
                  <c:v>0.19047619047619047</c:v>
                </c:pt>
                <c:pt idx="15">
                  <c:v>0.3333333333333333</c:v>
                </c:pt>
                <c:pt idx="16">
                  <c:v>0.2222222222222222</c:v>
                </c:pt>
                <c:pt idx="17">
                  <c:v>0.3125</c:v>
                </c:pt>
                <c:pt idx="18">
                  <c:v>0.3076923076923077</c:v>
                </c:pt>
                <c:pt idx="19">
                  <c:v>0.46153846153846156</c:v>
                </c:pt>
                <c:pt idx="20">
                  <c:v>0.3125</c:v>
                </c:pt>
                <c:pt idx="21">
                  <c:v>0.4</c:v>
                </c:pt>
                <c:pt idx="22">
                  <c:v>0.3333333333333333</c:v>
                </c:pt>
                <c:pt idx="23">
                  <c:v>0.375</c:v>
                </c:pt>
                <c:pt idx="24">
                  <c:v>0.5</c:v>
                </c:pt>
                <c:pt idx="25">
                  <c:v>0.5833333333333334</c:v>
                </c:pt>
                <c:pt idx="26">
                  <c:v>0.5</c:v>
                </c:pt>
                <c:pt idx="27">
                  <c:v>0.375</c:v>
                </c:pt>
                <c:pt idx="28">
                  <c:v>0.5</c:v>
                </c:pt>
                <c:pt idx="29">
                  <c:v>0.375</c:v>
                </c:pt>
                <c:pt idx="30">
                  <c:v>0.25</c:v>
                </c:pt>
                <c:pt idx="31">
                  <c:v>0.25</c:v>
                </c:pt>
                <c:pt idx="32">
                  <c:v>0.25</c:v>
                </c:pt>
                <c:pt idx="33">
                  <c:v>0.42857142857142855</c:v>
                </c:pt>
                <c:pt idx="34">
                  <c:v>0.375</c:v>
                </c:pt>
                <c:pt idx="35">
                  <c:v>0.25</c:v>
                </c:pt>
                <c:pt idx="36">
                  <c:v>0.2</c:v>
                </c:pt>
                <c:pt idx="37">
                  <c:v>0.16666666666666666</c:v>
                </c:pt>
                <c:pt idx="38">
                  <c:v>0.3333333333333333</c:v>
                </c:pt>
                <c:pt idx="39">
                  <c:v>0.3</c:v>
                </c:pt>
                <c:pt idx="40">
                  <c:v>0.16666666666666666</c:v>
                </c:pt>
                <c:pt idx="41">
                  <c:v>0.3333333333333333</c:v>
                </c:pt>
                <c:pt idx="42">
                  <c:v>0.25</c:v>
                </c:pt>
                <c:pt idx="43">
                  <c:v>0.14285714285714285</c:v>
                </c:pt>
                <c:pt idx="44">
                  <c:v>0.375</c:v>
                </c:pt>
                <c:pt idx="45">
                  <c:v>0.25</c:v>
                </c:pt>
                <c:pt idx="46">
                  <c:v>0.2222222222222222</c:v>
                </c:pt>
                <c:pt idx="47">
                  <c:v>0.2727272727272727</c:v>
                </c:pt>
                <c:pt idx="48">
                  <c:v>0.3333333333333333</c:v>
                </c:pt>
                <c:pt idx="49">
                  <c:v>0.375</c:v>
                </c:pt>
                <c:pt idx="50">
                  <c:v>0.4166666666666667</c:v>
                </c:pt>
                <c:pt idx="51">
                  <c:v>0.4</c:v>
                </c:pt>
                <c:pt idx="52">
                  <c:v>0.2</c:v>
                </c:pt>
                <c:pt idx="53">
                  <c:v>0.2857142857142857</c:v>
                </c:pt>
                <c:pt idx="54">
                  <c:v>0.14285714285714285</c:v>
                </c:pt>
                <c:pt idx="55">
                  <c:v>0.13333333333333333</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0.0</c:v>
                </c:pt>
                <c:pt idx="1">
                  <c:v>1150.0</c:v>
                </c:pt>
                <c:pt idx="2">
                  <c:v>1800.6667</c:v>
                </c:pt>
                <c:pt idx="3">
                  <c:v>1537.5</c:v>
                </c:pt>
                <c:pt idx="4">
                  <c:v>2073.0</c:v>
                </c:pt>
                <c:pt idx="5">
                  <c:v>1470.0</c:v>
                </c:pt>
                <c:pt idx="6">
                  <c:v>1779.0</c:v>
                </c:pt>
                <c:pt idx="7">
                  <c:v>2416.0</c:v>
                </c:pt>
                <c:pt idx="8">
                  <c:v>1763.5</c:v>
                </c:pt>
                <c:pt idx="9">
                  <c:v>0.0</c:v>
                </c:pt>
                <c:pt idx="10">
                  <c:v>2697.0</c:v>
                </c:pt>
                <c:pt idx="11">
                  <c:v>2367.0</c:v>
                </c:pt>
                <c:pt idx="12">
                  <c:v>1499.0</c:v>
                </c:pt>
                <c:pt idx="13">
                  <c:v>1523.5</c:v>
                </c:pt>
                <c:pt idx="14">
                  <c:v>1674.3333</c:v>
                </c:pt>
                <c:pt idx="15">
                  <c:v>1570.0</c:v>
                </c:pt>
                <c:pt idx="16">
                  <c:v>2624.0</c:v>
                </c:pt>
                <c:pt idx="17">
                  <c:v>1487.0</c:v>
                </c:pt>
                <c:pt idx="18">
                  <c:v>1527.5</c:v>
                </c:pt>
                <c:pt idx="19">
                  <c:v>0.0</c:v>
                </c:pt>
                <c:pt idx="20">
                  <c:v>1636.5</c:v>
                </c:pt>
                <c:pt idx="21">
                  <c:v>0.0</c:v>
                </c:pt>
                <c:pt idx="22">
                  <c:v>1877.0</c:v>
                </c:pt>
                <c:pt idx="23">
                  <c:v>0.0</c:v>
                </c:pt>
                <c:pt idx="24">
                  <c:v>882.0</c:v>
                </c:pt>
                <c:pt idx="25">
                  <c:v>952.0</c:v>
                </c:pt>
                <c:pt idx="26">
                  <c:v>1289.0</c:v>
                </c:pt>
                <c:pt idx="27">
                  <c:v>0.0</c:v>
                </c:pt>
                <c:pt idx="28">
                  <c:v>1540.0</c:v>
                </c:pt>
                <c:pt idx="29">
                  <c:v>1554.0</c:v>
                </c:pt>
                <c:pt idx="30">
                  <c:v>940.0</c:v>
                </c:pt>
                <c:pt idx="31">
                  <c:v>0.0</c:v>
                </c:pt>
                <c:pt idx="32">
                  <c:v>0.0</c:v>
                </c:pt>
                <c:pt idx="33">
                  <c:v>1891.0</c:v>
                </c:pt>
                <c:pt idx="34">
                  <c:v>1929.5</c:v>
                </c:pt>
                <c:pt idx="35">
                  <c:v>1861.5</c:v>
                </c:pt>
                <c:pt idx="36">
                  <c:v>1819.0</c:v>
                </c:pt>
                <c:pt idx="37">
                  <c:v>1231.0</c:v>
                </c:pt>
                <c:pt idx="38">
                  <c:v>2338.0</c:v>
                </c:pt>
                <c:pt idx="39">
                  <c:v>1283.0</c:v>
                </c:pt>
                <c:pt idx="40">
                  <c:v>1226.5</c:v>
                </c:pt>
                <c:pt idx="41">
                  <c:v>1616.0</c:v>
                </c:pt>
                <c:pt idx="42">
                  <c:v>1725.0</c:v>
                </c:pt>
                <c:pt idx="43">
                  <c:v>1946.0</c:v>
                </c:pt>
                <c:pt idx="44">
                  <c:v>2632.0</c:v>
                </c:pt>
                <c:pt idx="45">
                  <c:v>1736.0</c:v>
                </c:pt>
                <c:pt idx="46">
                  <c:v>1910.0</c:v>
                </c:pt>
                <c:pt idx="47">
                  <c:v>2158.5</c:v>
                </c:pt>
                <c:pt idx="48">
                  <c:v>1661.0</c:v>
                </c:pt>
                <c:pt idx="49">
                  <c:v>1385.0</c:v>
                </c:pt>
                <c:pt idx="50">
                  <c:v>1430.0</c:v>
                </c:pt>
                <c:pt idx="51">
                  <c:v>1620.0</c:v>
                </c:pt>
              </c:numCache>
            </c:numRef>
          </c:xVal>
          <c:yVal>
            <c:numRef>
              <c:f>Sheet1!$B$60:$B$111</c:f>
              <c:numCache>
                <c:formatCode>General</c:formatCode>
                <c:ptCount val="52"/>
                <c:pt idx="0">
                  <c:v>0.0</c:v>
                </c:pt>
                <c:pt idx="1">
                  <c:v>0.36363636363636365</c:v>
                </c:pt>
                <c:pt idx="2">
                  <c:v>0.3333333333333333</c:v>
                </c:pt>
                <c:pt idx="3">
                  <c:v>0.2857142857142857</c:v>
                </c:pt>
                <c:pt idx="4">
                  <c:v>0.16666666666666666</c:v>
                </c:pt>
                <c:pt idx="5">
                  <c:v>0.25</c:v>
                </c:pt>
                <c:pt idx="6">
                  <c:v>0.375</c:v>
                </c:pt>
                <c:pt idx="7">
                  <c:v>0.2</c:v>
                </c:pt>
                <c:pt idx="8">
                  <c:v>0.6666666666666666</c:v>
                </c:pt>
                <c:pt idx="9">
                  <c:v>0.0</c:v>
                </c:pt>
                <c:pt idx="10">
                  <c:v>0.3333333333333333</c:v>
                </c:pt>
                <c:pt idx="11">
                  <c:v>0.25</c:v>
                </c:pt>
                <c:pt idx="12">
                  <c:v>0.16666666666666666</c:v>
                </c:pt>
                <c:pt idx="13">
                  <c:v>0.15384615384615385</c:v>
                </c:pt>
                <c:pt idx="14">
                  <c:v>0.2727272727272727</c:v>
                </c:pt>
                <c:pt idx="15">
                  <c:v>0.375</c:v>
                </c:pt>
                <c:pt idx="16">
                  <c:v>0.16666666666666666</c:v>
                </c:pt>
                <c:pt idx="17">
                  <c:v>0.2857142857142857</c:v>
                </c:pt>
                <c:pt idx="18">
                  <c:v>0.5</c:v>
                </c:pt>
                <c:pt idx="19">
                  <c:v>0.0</c:v>
                </c:pt>
                <c:pt idx="20">
                  <c:v>0.4</c:v>
                </c:pt>
                <c:pt idx="21">
                  <c:v>0.0</c:v>
                </c:pt>
                <c:pt idx="22">
                  <c:v>0.3333333333333333</c:v>
                </c:pt>
                <c:pt idx="23">
                  <c:v>0.0</c:v>
                </c:pt>
                <c:pt idx="24">
                  <c:v>0.3333333333333333</c:v>
                </c:pt>
                <c:pt idx="25">
                  <c:v>0.5</c:v>
                </c:pt>
                <c:pt idx="26">
                  <c:v>0.3333333333333333</c:v>
                </c:pt>
                <c:pt idx="27">
                  <c:v>0.0</c:v>
                </c:pt>
                <c:pt idx="28">
                  <c:v>0.25</c:v>
                </c:pt>
                <c:pt idx="29">
                  <c:v>0.5</c:v>
                </c:pt>
                <c:pt idx="30">
                  <c:v>0.5</c:v>
                </c:pt>
                <c:pt idx="31">
                  <c:v>0.0</c:v>
                </c:pt>
                <c:pt idx="32">
                  <c:v>0.0</c:v>
                </c:pt>
                <c:pt idx="33">
                  <c:v>0.5</c:v>
                </c:pt>
                <c:pt idx="34">
                  <c:v>0.4</c:v>
                </c:pt>
                <c:pt idx="35">
                  <c:v>0.3333333333333333</c:v>
                </c:pt>
                <c:pt idx="36">
                  <c:v>0.3333333333333333</c:v>
                </c:pt>
                <c:pt idx="37">
                  <c:v>0.3333333333333333</c:v>
                </c:pt>
                <c:pt idx="38">
                  <c:v>0.5</c:v>
                </c:pt>
                <c:pt idx="39">
                  <c:v>0.5</c:v>
                </c:pt>
                <c:pt idx="40">
                  <c:v>0.4</c:v>
                </c:pt>
                <c:pt idx="41">
                  <c:v>0.4</c:v>
                </c:pt>
                <c:pt idx="42">
                  <c:v>0.3333333333333333</c:v>
                </c:pt>
                <c:pt idx="43">
                  <c:v>0.5</c:v>
                </c:pt>
                <c:pt idx="44">
                  <c:v>0.2</c:v>
                </c:pt>
                <c:pt idx="45">
                  <c:v>0.2</c:v>
                </c:pt>
                <c:pt idx="46">
                  <c:v>0.3333333333333333</c:v>
                </c:pt>
                <c:pt idx="47">
                  <c:v>0.2857142857142857</c:v>
                </c:pt>
                <c:pt idx="48">
                  <c:v>0.2857142857142857</c:v>
                </c:pt>
                <c:pt idx="49">
                  <c:v>0.6</c:v>
                </c:pt>
                <c:pt idx="50">
                  <c:v>0.3</c:v>
                </c:pt>
                <c:pt idx="51">
                  <c:v>0.2857142857142857</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2212.709676045717</c:v>
                </c:pt>
              </c:numCache>
            </c:numRef>
          </c:xVal>
          <c:yVal>
            <c:numRef>
              <c:f>Sheet1!$B$114:$B$115</c:f>
              <c:numCache>
                <c:formatCode>General</c:formatCode>
                <c:ptCount val="2"/>
                <c:pt idx="0">
                  <c:v>0.38678774928774934</c:v>
                </c:pt>
                <c:pt idx="1">
                  <c:v>0.38678774928774934</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2212.709676045717</c:v>
                </c:pt>
                <c:pt idx="1">
                  <c:v>2212.709676045717</c:v>
                </c:pt>
              </c:numCache>
            </c:numRef>
          </c:xVal>
          <c:yVal>
            <c:numRef>
              <c:f>Sheet1!$B$118:$B$119</c:f>
              <c:numCache>
                <c:formatCode>General</c:formatCode>
                <c:ptCount val="2"/>
                <c:pt idx="0">
                  <c:v>0.386787749287749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2054.635220585908</c:v>
                </c:pt>
              </c:numCache>
            </c:numRef>
          </c:xVal>
          <c:yVal>
            <c:numRef>
              <c:f>Sheet1!$B$122:$B$123</c:f>
              <c:numCache>
                <c:formatCode>General</c:formatCode>
                <c:ptCount val="2"/>
                <c:pt idx="0">
                  <c:v>0.3678571428571428</c:v>
                </c:pt>
                <c:pt idx="1">
                  <c:v>0.3678571428571428</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054.635220585908</c:v>
                </c:pt>
                <c:pt idx="1">
                  <c:v>2054.635220585908</c:v>
                </c:pt>
              </c:numCache>
            </c:numRef>
          </c:xVal>
          <c:yVal>
            <c:numRef>
              <c:f>Sheet1!$B$126:$B$127</c:f>
              <c:numCache>
                <c:formatCode>General</c:formatCode>
                <c:ptCount val="2"/>
                <c:pt idx="0">
                  <c:v>0.36785714285714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1952.9339987716694</c:v>
                </c:pt>
              </c:numCache>
            </c:numRef>
          </c:xVal>
          <c:yVal>
            <c:numRef>
              <c:f>Sheet1!$B$130:$B$131</c:f>
              <c:numCache>
                <c:formatCode>General</c:formatCode>
                <c:ptCount val="2"/>
                <c:pt idx="0">
                  <c:v>0.35567765567765564</c:v>
                </c:pt>
                <c:pt idx="1">
                  <c:v>0.35567765567765564</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1952.9339987716694</c:v>
                </c:pt>
                <c:pt idx="1">
                  <c:v>1952.9339987716694</c:v>
                </c:pt>
              </c:numCache>
            </c:numRef>
          </c:xVal>
          <c:yVal>
            <c:numRef>
              <c:f>Sheet1!$B$134:$B$135</c:f>
              <c:numCache>
                <c:formatCode>General</c:formatCode>
                <c:ptCount val="2"/>
                <c:pt idx="0">
                  <c:v>0.355677655677655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0.0</c:v>
                </c:pt>
                <c:pt idx="1">
                  <c:v>1150.0</c:v>
                </c:pt>
                <c:pt idx="2">
                  <c:v>1800.6667</c:v>
                </c:pt>
                <c:pt idx="3">
                  <c:v>1537.5</c:v>
                </c:pt>
                <c:pt idx="4">
                  <c:v>2073.0</c:v>
                </c:pt>
                <c:pt idx="5">
                  <c:v>1470.0</c:v>
                </c:pt>
                <c:pt idx="6">
                  <c:v>1779.0</c:v>
                </c:pt>
                <c:pt idx="7">
                  <c:v>2416.0</c:v>
                </c:pt>
                <c:pt idx="8">
                  <c:v>1763.5</c:v>
                </c:pt>
                <c:pt idx="9">
                  <c:v>0.0</c:v>
                </c:pt>
                <c:pt idx="10">
                  <c:v>2697.0</c:v>
                </c:pt>
                <c:pt idx="11">
                  <c:v>2367.0</c:v>
                </c:pt>
                <c:pt idx="12">
                  <c:v>1499.0</c:v>
                </c:pt>
                <c:pt idx="13">
                  <c:v>1523.5</c:v>
                </c:pt>
                <c:pt idx="14">
                  <c:v>1674.3333</c:v>
                </c:pt>
                <c:pt idx="15">
                  <c:v>1570.0</c:v>
                </c:pt>
                <c:pt idx="16">
                  <c:v>2624.0</c:v>
                </c:pt>
                <c:pt idx="17">
                  <c:v>1487.0</c:v>
                </c:pt>
                <c:pt idx="18">
                  <c:v>1527.5</c:v>
                </c:pt>
                <c:pt idx="19">
                  <c:v>0.0</c:v>
                </c:pt>
                <c:pt idx="20">
                  <c:v>1636.5</c:v>
                </c:pt>
                <c:pt idx="21">
                  <c:v>0.0</c:v>
                </c:pt>
                <c:pt idx="22">
                  <c:v>1877.0</c:v>
                </c:pt>
                <c:pt idx="23">
                  <c:v>0.0</c:v>
                </c:pt>
                <c:pt idx="24">
                  <c:v>882.0</c:v>
                </c:pt>
                <c:pt idx="25">
                  <c:v>952.0</c:v>
                </c:pt>
                <c:pt idx="26">
                  <c:v>1289.0</c:v>
                </c:pt>
                <c:pt idx="27">
                  <c:v>0.0</c:v>
                </c:pt>
                <c:pt idx="28">
                  <c:v>1540.0</c:v>
                </c:pt>
                <c:pt idx="29">
                  <c:v>1554.0</c:v>
                </c:pt>
                <c:pt idx="30">
                  <c:v>940.0</c:v>
                </c:pt>
                <c:pt idx="31">
                  <c:v>0.0</c:v>
                </c:pt>
                <c:pt idx="32">
                  <c:v>0.0</c:v>
                </c:pt>
                <c:pt idx="33">
                  <c:v>1891.0</c:v>
                </c:pt>
                <c:pt idx="34">
                  <c:v>1929.5</c:v>
                </c:pt>
                <c:pt idx="35">
                  <c:v>1861.5</c:v>
                </c:pt>
                <c:pt idx="36">
                  <c:v>1819.0</c:v>
                </c:pt>
                <c:pt idx="37">
                  <c:v>1231.0</c:v>
                </c:pt>
                <c:pt idx="38">
                  <c:v>2338.0</c:v>
                </c:pt>
                <c:pt idx="39">
                  <c:v>1283.0</c:v>
                </c:pt>
                <c:pt idx="40">
                  <c:v>1226.5</c:v>
                </c:pt>
                <c:pt idx="41">
                  <c:v>1616.0</c:v>
                </c:pt>
                <c:pt idx="42">
                  <c:v>1725.0</c:v>
                </c:pt>
                <c:pt idx="43">
                  <c:v>1946.0</c:v>
                </c:pt>
                <c:pt idx="44">
                  <c:v>2632.0</c:v>
                </c:pt>
                <c:pt idx="45">
                  <c:v>1736.0</c:v>
                </c:pt>
                <c:pt idx="46">
                  <c:v>1910.0</c:v>
                </c:pt>
                <c:pt idx="47">
                  <c:v>2158.5</c:v>
                </c:pt>
                <c:pt idx="48">
                  <c:v>1661.0</c:v>
                </c:pt>
                <c:pt idx="49">
                  <c:v>1385.0</c:v>
                </c:pt>
                <c:pt idx="50">
                  <c:v>1430.0</c:v>
                </c:pt>
                <c:pt idx="51">
                  <c:v>1620.0</c:v>
                </c:pt>
                <c:pt idx="52">
                  <c:v>2054.635220585908</c:v>
                </c:pt>
                <c:pt idx="53">
                  <c:v>2212.709676045717</c:v>
                </c:pt>
                <c:pt idx="54">
                  <c:v>1952.9339987716694</c:v>
                </c:pt>
              </c:numCache>
            </c:numRef>
          </c:xVal>
          <c:yVal>
            <c:numRef>
              <c:f>Sheet1!$B$138:$B$192</c:f>
              <c:numCache>
                <c:formatCode>General</c:formatCode>
                <c:ptCount val="55"/>
                <c:pt idx="0">
                  <c:v>0.12179910263657383</c:v>
                </c:pt>
                <c:pt idx="1">
                  <c:v>0.2595202627814692</c:v>
                </c:pt>
                <c:pt idx="2">
                  <c:v>0.3374424999916002</c:v>
                </c:pt>
                <c:pt idx="3">
                  <c:v>0.30592630587377095</c:v>
                </c:pt>
                <c:pt idx="4">
                  <c:v>0.3700564634890679</c:v>
                </c:pt>
                <c:pt idx="5">
                  <c:v>0.2978426725609184</c:v>
                </c:pt>
                <c:pt idx="6">
                  <c:v>0.334847749504199</c:v>
                </c:pt>
                <c:pt idx="7">
                  <c:v>0.411133296471415</c:v>
                </c:pt>
                <c:pt idx="8">
                  <c:v>0.3329915077805069</c:v>
                </c:pt>
                <c:pt idx="9">
                  <c:v>0.12179910263657383</c:v>
                </c:pt>
                <c:pt idx="10">
                  <c:v>0.44478516255899375</c:v>
                </c:pt>
                <c:pt idx="11">
                  <c:v>0.4052651774739368</c:v>
                </c:pt>
                <c:pt idx="12">
                  <c:v>0.301315640947181</c:v>
                </c:pt>
                <c:pt idx="13">
                  <c:v>0.30424970044592003</c:v>
                </c:pt>
                <c:pt idx="14">
                  <c:v>0.32231312398025314</c:v>
                </c:pt>
                <c:pt idx="15">
                  <c:v>0.30981842561699624</c:v>
                </c:pt>
                <c:pt idx="16">
                  <c:v>0.43604286282805693</c:v>
                </c:pt>
                <c:pt idx="17">
                  <c:v>0.29987855058045165</c:v>
                </c:pt>
                <c:pt idx="18">
                  <c:v>0.3047287305681632</c:v>
                </c:pt>
                <c:pt idx="19">
                  <c:v>0.12179910263657383</c:v>
                </c:pt>
                <c:pt idx="20">
                  <c:v>0.31778230139928804</c:v>
                </c:pt>
                <c:pt idx="21">
                  <c:v>0.12179910263657383</c:v>
                </c:pt>
                <c:pt idx="22">
                  <c:v>0.3465839874991553</c:v>
                </c:pt>
                <c:pt idx="23">
                  <c:v>0.12179910263657383</c:v>
                </c:pt>
                <c:pt idx="24">
                  <c:v>0.22742524459118058</c:v>
                </c:pt>
                <c:pt idx="25">
                  <c:v>0.23580827173043506</c:v>
                </c:pt>
                <c:pt idx="26">
                  <c:v>0.2761665595294175</c:v>
                </c:pt>
                <c:pt idx="27">
                  <c:v>0.12179910263657383</c:v>
                </c:pt>
                <c:pt idx="28">
                  <c:v>0.3062256997001729</c:v>
                </c:pt>
                <c:pt idx="29">
                  <c:v>0.3079023051280238</c:v>
                </c:pt>
                <c:pt idx="30">
                  <c:v>0.23437118136370572</c:v>
                </c:pt>
                <c:pt idx="31">
                  <c:v>0.12179910263657383</c:v>
                </c:pt>
                <c:pt idx="32">
                  <c:v>0.12179910263657383</c:v>
                </c:pt>
                <c:pt idx="33">
                  <c:v>0.3482605929270062</c:v>
                </c:pt>
                <c:pt idx="34">
                  <c:v>0.3528712578535962</c:v>
                </c:pt>
                <c:pt idx="35">
                  <c:v>0.3447277457754632</c:v>
                </c:pt>
                <c:pt idx="36">
                  <c:v>0.3396380507266301</c:v>
                </c:pt>
                <c:pt idx="37">
                  <c:v>0.2692206227568923</c:v>
                </c:pt>
                <c:pt idx="38">
                  <c:v>0.40179220908767427</c:v>
                </c:pt>
                <c:pt idx="39">
                  <c:v>0.2754480143460528</c:v>
                </c:pt>
                <c:pt idx="40">
                  <c:v>0.2686817138693688</c:v>
                </c:pt>
                <c:pt idx="41">
                  <c:v>0.3153272720227921</c:v>
                </c:pt>
                <c:pt idx="42">
                  <c:v>0.32838084285391694</c:v>
                </c:pt>
                <c:pt idx="43">
                  <c:v>0.35484725710784903</c:v>
                </c:pt>
                <c:pt idx="44">
                  <c:v>0.4370009230725432</c:v>
                </c:pt>
                <c:pt idx="45">
                  <c:v>0.3296981756900855</c:v>
                </c:pt>
                <c:pt idx="46">
                  <c:v>0.350535986007661</c:v>
                </c:pt>
                <c:pt idx="47">
                  <c:v>0.38029573235201447</c:v>
                </c:pt>
                <c:pt idx="48">
                  <c:v>0.32071636089802713</c:v>
                </c:pt>
                <c:pt idx="49">
                  <c:v>0.28766328246325223</c:v>
                </c:pt>
                <c:pt idx="50">
                  <c:v>0.29305237133848727</c:v>
                </c:pt>
                <c:pt idx="51">
                  <c:v>0.3158063021450352</c:v>
                </c:pt>
                <c:pt idx="52">
                  <c:v>0.3678571428571428</c:v>
                </c:pt>
                <c:pt idx="53">
                  <c:v>0.38678774928774934</c:v>
                </c:pt>
                <c:pt idx="54">
                  <c:v>0.355677655677655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3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66669898142083</c:v>
                </c:pt>
                <c:pt idx="1">
                  <c:v>2.309356921466495</c:v>
                </c:pt>
                <c:pt idx="2">
                  <c:v>2.1129840771339636</c:v>
                </c:pt>
                <c:pt idx="3">
                  <c:v>1.9889552361388918</c:v>
                </c:pt>
                <c:pt idx="4">
                  <c:v>2.0922355891310604</c:v>
                </c:pt>
                <c:pt idx="5">
                  <c:v>1.503401925647199</c:v>
                </c:pt>
                <c:pt idx="6">
                  <c:v>1.4993096889265305</c:v>
                </c:pt>
                <c:pt idx="7">
                  <c:v>1.6234561673083525</c:v>
                </c:pt>
                <c:pt idx="8">
                  <c:v>1.66626816503281</c:v>
                </c:pt>
                <c:pt idx="9">
                  <c:v>1.6736747199889592</c:v>
                </c:pt>
                <c:pt idx="10">
                  <c:v>1.659549689440994</c:v>
                </c:pt>
                <c:pt idx="11">
                  <c:v>1.653354455342359</c:v>
                </c:pt>
                <c:pt idx="12">
                  <c:v>1.5991281951837701</c:v>
                </c:pt>
                <c:pt idx="13">
                  <c:v>1.6086322237771769</c:v>
                </c:pt>
                <c:pt idx="14">
                  <c:v>1.5294006386313301</c:v>
                </c:pt>
                <c:pt idx="15">
                  <c:v>1.5185119486779117</c:v>
                </c:pt>
                <c:pt idx="16">
                  <c:v>1.375929599154255</c:v>
                </c:pt>
                <c:pt idx="17">
                  <c:v>1.8663858589846642</c:v>
                </c:pt>
                <c:pt idx="18">
                  <c:v>1.96507848678614</c:v>
                </c:pt>
                <c:pt idx="19">
                  <c:v>2.115144847818115</c:v>
                </c:pt>
                <c:pt idx="20">
                  <c:v>3.2379262811159215</c:v>
                </c:pt>
                <c:pt idx="21">
                  <c:v>1.9299214859640637</c:v>
                </c:pt>
                <c:pt idx="22">
                  <c:v>2.135577055036279</c:v>
                </c:pt>
                <c:pt idx="23">
                  <c:v>2.4149428906477732</c:v>
                </c:pt>
                <c:pt idx="24">
                  <c:v>2.627633823995054</c:v>
                </c:pt>
                <c:pt idx="25">
                  <c:v>2.484279360779606</c:v>
                </c:pt>
                <c:pt idx="26">
                  <c:v>2.159341568654964</c:v>
                </c:pt>
                <c:pt idx="27">
                  <c:v>1.7171361027977259</c:v>
                </c:pt>
                <c:pt idx="28">
                  <c:v>1.9368916292119613</c:v>
                </c:pt>
                <c:pt idx="29">
                  <c:v>1.9178648456448097</c:v>
                </c:pt>
                <c:pt idx="30">
                  <c:v>1.6653600394361971</c:v>
                </c:pt>
                <c:pt idx="31">
                  <c:v>1.8266725331356886</c:v>
                </c:pt>
                <c:pt idx="32">
                  <c:v>1.925047224794501</c:v>
                </c:pt>
                <c:pt idx="33">
                  <c:v>1.9622340487991417</c:v>
                </c:pt>
                <c:pt idx="34">
                  <c:v>1.805681041601178</c:v>
                </c:pt>
                <c:pt idx="35">
                  <c:v>1.848542564447634</c:v>
                </c:pt>
                <c:pt idx="36">
                  <c:v>2.7287738707262013</c:v>
                </c:pt>
                <c:pt idx="37">
                  <c:v>2.5312108963639246</c:v>
                </c:pt>
                <c:pt idx="38">
                  <c:v>2.279428372328374</c:v>
                </c:pt>
                <c:pt idx="39">
                  <c:v>2.108448380408568</c:v>
                </c:pt>
                <c:pt idx="40">
                  <c:v>2.3871503483263936</c:v>
                </c:pt>
                <c:pt idx="41">
                  <c:v>1.7956076870820135</c:v>
                </c:pt>
                <c:pt idx="42">
                  <c:v>1.6585925913138262</c:v>
                </c:pt>
                <c:pt idx="43">
                  <c:v>2.0454821478414837</c:v>
                </c:pt>
                <c:pt idx="44">
                  <c:v>2.5815473149218815</c:v>
                </c:pt>
                <c:pt idx="45">
                  <c:v>2.4122480170029026</c:v>
                </c:pt>
                <c:pt idx="46">
                  <c:v>2.3673111159723796</c:v>
                </c:pt>
                <c:pt idx="47">
                  <c:v>2.076213542472032</c:v>
                </c:pt>
                <c:pt idx="48">
                  <c:v>2.2511781021922945</c:v>
                </c:pt>
                <c:pt idx="49">
                  <c:v>2.102679988939598</c:v>
                </c:pt>
                <c:pt idx="50">
                  <c:v>2.064471806638604</c:v>
                </c:pt>
                <c:pt idx="51">
                  <c:v>1.9363566889505464</c:v>
                </c:pt>
                <c:pt idx="52">
                  <c:v>1.9889365669931607</c:v>
                </c:pt>
                <c:pt idx="53">
                  <c:v>2.022233324736211</c:v>
                </c:pt>
                <c:pt idx="54">
                  <c:v>2.176440353613878</c:v>
                </c:pt>
                <c:pt idx="55">
                  <c:v>2.0255198623321666</c:v>
                </c:pt>
                <c:pt idx="56">
                  <c:v>1.909609281210336</c:v>
                </c:pt>
                <c:pt idx="57">
                  <c:v>2.2290681923400073</c:v>
                </c:pt>
                <c:pt idx="58">
                  <c:v>2.4946040860762073</c:v>
                </c:pt>
                <c:pt idx="59">
                  <c:v>2.612184711326039</c:v>
                </c:pt>
                <c:pt idx="60">
                  <c:v>2.723356359818728</c:v>
                </c:pt>
                <c:pt idx="61">
                  <c:v>2.226168931060582</c:v>
                </c:pt>
                <c:pt idx="62">
                  <c:v>2.0607713005417163</c:v>
                </c:pt>
                <c:pt idx="63">
                  <c:v>2.6913676351656783</c:v>
                </c:pt>
                <c:pt idx="64">
                  <c:v>2.5862832553874733</c:v>
                </c:pt>
                <c:pt idx="65">
                  <c:v>2.478409963524669</c:v>
                </c:pt>
                <c:pt idx="66">
                  <c:v>2.39172302978536</c:v>
                </c:pt>
                <c:pt idx="67">
                  <c:v>2.406784686533255</c:v>
                </c:pt>
                <c:pt idx="68">
                  <c:v>2.412105455040932</c:v>
                </c:pt>
                <c:pt idx="69">
                  <c:v>2.3528928926006576</c:v>
                </c:pt>
                <c:pt idx="70">
                  <c:v>2.599335669767515</c:v>
                </c:pt>
                <c:pt idx="71">
                  <c:v>2.5653015740385943</c:v>
                </c:pt>
                <c:pt idx="72">
                  <c:v>2.7659857992701142</c:v>
                </c:pt>
                <c:pt idx="73">
                  <c:v>3.094982799446008</c:v>
                </c:pt>
                <c:pt idx="74">
                  <c:v>2.7276286788158575</c:v>
                </c:pt>
                <c:pt idx="75">
                  <c:v>2.2009462756768117</c:v>
                </c:pt>
                <c:pt idx="76">
                  <c:v>2.4124066628374496</c:v>
                </c:pt>
                <c:pt idx="77">
                  <c:v>4.229660454031438</c:v>
                </c:pt>
                <c:pt idx="78">
                  <c:v>2.3662811569566826</c:v>
                </c:pt>
                <c:pt idx="79">
                  <c:v>2.519853876827755</c:v>
                </c:pt>
                <c:pt idx="80">
                  <c:v>1.7765364655381577</c:v>
                </c:pt>
                <c:pt idx="81">
                  <c:v>1.8541484614151307</c:v>
                </c:pt>
                <c:pt idx="82">
                  <c:v>1.327443077687696</c:v>
                </c:pt>
                <c:pt idx="83">
                  <c:v>1.3715739906285005</c:v>
                </c:pt>
                <c:pt idx="84">
                  <c:v>1.6176347702367033</c:v>
                </c:pt>
                <c:pt idx="85">
                  <c:v>1.2194076852050715</c:v>
                </c:pt>
                <c:pt idx="86">
                  <c:v>1.5656609408630242</c:v>
                </c:pt>
                <c:pt idx="87">
                  <c:v>1.3217426668700116</c:v>
                </c:pt>
                <c:pt idx="88">
                  <c:v>1.5570590885679327</c:v>
                </c:pt>
                <c:pt idx="89">
                  <c:v>1.5129971193174092</c:v>
                </c:pt>
                <c:pt idx="90">
                  <c:v>1.42341860509188</c:v>
                </c:pt>
                <c:pt idx="91">
                  <c:v>1.4283299526707236</c:v>
                </c:pt>
                <c:pt idx="92">
                  <c:v>1.5342567417473376</c:v>
                </c:pt>
                <c:pt idx="93">
                  <c:v>1.5194805194805194</c:v>
                </c:pt>
                <c:pt idx="94">
                  <c:v>1.3458505574435449</c:v>
                </c:pt>
                <c:pt idx="95">
                  <c:v>1.499704232089987</c:v>
                </c:pt>
                <c:pt idx="96">
                  <c:v>1.3137228084345332</c:v>
                </c:pt>
                <c:pt idx="97">
                  <c:v>1.401458085728499</c:v>
                </c:pt>
                <c:pt idx="98">
                  <c:v>1.43900676596012</c:v>
                </c:pt>
                <c:pt idx="99">
                  <c:v>1.928354757016575</c:v>
                </c:pt>
                <c:pt idx="100">
                  <c:v>2.189381059642744</c:v>
                </c:pt>
                <c:pt idx="101">
                  <c:v>2.0530471613706736</c:v>
                </c:pt>
                <c:pt idx="102">
                  <c:v>1.1513170122258616</c:v>
                </c:pt>
                <c:pt idx="103">
                  <c:v>1.3383226959157295</c:v>
                </c:pt>
                <c:pt idx="104">
                  <c:v>1.3895179630160743</c:v>
                </c:pt>
              </c:numCache>
            </c:numRef>
          </c:xVal>
          <c:yVal>
            <c:numRef>
              <c:f>Sheet1!$B$2:$B$106</c:f>
              <c:numCache>
                <c:formatCode>General</c:formatCode>
                <c:ptCount val="105"/>
                <c:pt idx="0">
                  <c:v>0.01179245283018868</c:v>
                </c:pt>
                <c:pt idx="1">
                  <c:v>0.011056511056511056</c:v>
                </c:pt>
                <c:pt idx="2">
                  <c:v>0.012626262626262626</c:v>
                </c:pt>
                <c:pt idx="3">
                  <c:v>0.016417910447761194</c:v>
                </c:pt>
                <c:pt idx="4">
                  <c:v>0.020257826887661142</c:v>
                </c:pt>
                <c:pt idx="5">
                  <c:v>0.015105740181268883</c:v>
                </c:pt>
                <c:pt idx="6">
                  <c:v>0.01580135440180587</c:v>
                </c:pt>
                <c:pt idx="7">
                  <c:v>0.018867924528301886</c:v>
                </c:pt>
                <c:pt idx="8">
                  <c:v>0.015151515151515152</c:v>
                </c:pt>
                <c:pt idx="9">
                  <c:v>0.019704433497536946</c:v>
                </c:pt>
                <c:pt idx="10">
                  <c:v>0.01597444089456869</c:v>
                </c:pt>
                <c:pt idx="11">
                  <c:v>0.012311901504787962</c:v>
                </c:pt>
                <c:pt idx="12">
                  <c:v>0.012239902080783354</c:v>
                </c:pt>
                <c:pt idx="13">
                  <c:v>0.013630731102850062</c:v>
                </c:pt>
                <c:pt idx="14">
                  <c:v>0.009535160905840286</c:v>
                </c:pt>
                <c:pt idx="15">
                  <c:v>0.00819672131147541</c:v>
                </c:pt>
                <c:pt idx="16">
                  <c:v>0.00741839762611276</c:v>
                </c:pt>
                <c:pt idx="17">
                  <c:v>0.006472491909385114</c:v>
                </c:pt>
                <c:pt idx="18">
                  <c:v>0.004319654427645789</c:v>
                </c:pt>
                <c:pt idx="19">
                  <c:v>0.00558659217877095</c:v>
                </c:pt>
                <c:pt idx="20">
                  <c:v>0.0026595744680851063</c:v>
                </c:pt>
                <c:pt idx="21">
                  <c:v>0.0084985835694051</c:v>
                </c:pt>
                <c:pt idx="22">
                  <c:v>0.015060240963855422</c:v>
                </c:pt>
                <c:pt idx="23">
                  <c:v>0.02786377708978328</c:v>
                </c:pt>
                <c:pt idx="24">
                  <c:v>0.011267605633802818</c:v>
                </c:pt>
                <c:pt idx="25">
                  <c:v>0.017142857142857144</c:v>
                </c:pt>
                <c:pt idx="26">
                  <c:v>0.021634615384615384</c:v>
                </c:pt>
                <c:pt idx="27">
                  <c:v>0.010282776349614395</c:v>
                </c:pt>
                <c:pt idx="28">
                  <c:v>0.012594458438287154</c:v>
                </c:pt>
                <c:pt idx="29">
                  <c:v>0.010482180293501049</c:v>
                </c:pt>
                <c:pt idx="30">
                  <c:v>0.007614213197969543</c:v>
                </c:pt>
                <c:pt idx="31">
                  <c:v>0.014326647564469915</c:v>
                </c:pt>
                <c:pt idx="32">
                  <c:v>0.015060240963855422</c:v>
                </c:pt>
                <c:pt idx="33">
                  <c:v>0.012448132780082987</c:v>
                </c:pt>
                <c:pt idx="34">
                  <c:v>0.013435700575815739</c:v>
                </c:pt>
                <c:pt idx="35">
                  <c:v>0.011686143572621035</c:v>
                </c:pt>
                <c:pt idx="36">
                  <c:v>0.00505902192242833</c:v>
                </c:pt>
                <c:pt idx="37">
                  <c:v>0.004246284501061571</c:v>
                </c:pt>
                <c:pt idx="38">
                  <c:v>0.007285974499089253</c:v>
                </c:pt>
                <c:pt idx="39">
                  <c:v>0.00423728813559322</c:v>
                </c:pt>
                <c:pt idx="40">
                  <c:v>0.0038022813688212928</c:v>
                </c:pt>
                <c:pt idx="41">
                  <c:v>0.00398406374501992</c:v>
                </c:pt>
                <c:pt idx="42">
                  <c:v>0.0017605633802816902</c:v>
                </c:pt>
                <c:pt idx="43">
                  <c:v>0.005610098176718092</c:v>
                </c:pt>
                <c:pt idx="44">
                  <c:v>0.002028397565922921</c:v>
                </c:pt>
                <c:pt idx="45">
                  <c:v>0.002976190476190476</c:v>
                </c:pt>
                <c:pt idx="46">
                  <c:v>0.003952569169960474</c:v>
                </c:pt>
                <c:pt idx="47">
                  <c:v>0.0056925996204933585</c:v>
                </c:pt>
                <c:pt idx="48">
                  <c:v>0.005157593123209169</c:v>
                </c:pt>
                <c:pt idx="49">
                  <c:v>0.006794564348521183</c:v>
                </c:pt>
                <c:pt idx="50">
                  <c:v>0.009598603839441536</c:v>
                </c:pt>
                <c:pt idx="51">
                  <c:v>0.005082592121982211</c:v>
                </c:pt>
                <c:pt idx="52">
                  <c:v>0.006430868167202572</c:v>
                </c:pt>
                <c:pt idx="53">
                  <c:v>0.006165228113440197</c:v>
                </c:pt>
                <c:pt idx="54">
                  <c:v>0.007518796992481203</c:v>
                </c:pt>
                <c:pt idx="55">
                  <c:v>0.008305647840531562</c:v>
                </c:pt>
                <c:pt idx="56">
                  <c:v>0.007518796992481203</c:v>
                </c:pt>
                <c:pt idx="57">
                  <c:v>0.005660377358490566</c:v>
                </c:pt>
                <c:pt idx="58">
                  <c:v>0.011741682974559686</c:v>
                </c:pt>
                <c:pt idx="59">
                  <c:v>0.003061224489795918</c:v>
                </c:pt>
                <c:pt idx="60">
                  <c:v>0.005076142131979695</c:v>
                </c:pt>
                <c:pt idx="61">
                  <c:v>0.006191950464396285</c:v>
                </c:pt>
                <c:pt idx="62">
                  <c:v>0.018433179723502304</c:v>
                </c:pt>
                <c:pt idx="63">
                  <c:v>0.012453300124533</c:v>
                </c:pt>
                <c:pt idx="64">
                  <c:v>0.016260162601626018</c:v>
                </c:pt>
                <c:pt idx="65">
                  <c:v>0.0160857908847185</c:v>
                </c:pt>
                <c:pt idx="66">
                  <c:v>0.014265335235378032</c:v>
                </c:pt>
                <c:pt idx="67">
                  <c:v>0.009655172413793104</c:v>
                </c:pt>
                <c:pt idx="68">
                  <c:v>0.013008130081300813</c:v>
                </c:pt>
                <c:pt idx="69">
                  <c:v>0.010917030567685589</c:v>
                </c:pt>
                <c:pt idx="70">
                  <c:v>0.0064794816414686825</c:v>
                </c:pt>
                <c:pt idx="71">
                  <c:v>0.012077294685990338</c:v>
                </c:pt>
                <c:pt idx="72">
                  <c:v>0.006355932203389831</c:v>
                </c:pt>
                <c:pt idx="73">
                  <c:v>0.004640371229698376</c:v>
                </c:pt>
                <c:pt idx="74">
                  <c:v>0.0069124423963133645</c:v>
                </c:pt>
                <c:pt idx="75">
                  <c:v>0.009174311926605505</c:v>
                </c:pt>
                <c:pt idx="76">
                  <c:v>0.006211180124223602</c:v>
                </c:pt>
                <c:pt idx="77">
                  <c:v>0.002506265664160401</c:v>
                </c:pt>
                <c:pt idx="78">
                  <c:v>0.002544529262086514</c:v>
                </c:pt>
                <c:pt idx="79">
                  <c:v>0.00804289544235925</c:v>
                </c:pt>
                <c:pt idx="80">
                  <c:v>0.005681818181818182</c:v>
                </c:pt>
                <c:pt idx="81">
                  <c:v>0.008438818565400843</c:v>
                </c:pt>
                <c:pt idx="82">
                  <c:v>0.007792207792207792</c:v>
                </c:pt>
                <c:pt idx="83">
                  <c:v>0.007731958762886598</c:v>
                </c:pt>
                <c:pt idx="84">
                  <c:v>0.011527377521613832</c:v>
                </c:pt>
                <c:pt idx="85">
                  <c:v>0.01804123711340206</c:v>
                </c:pt>
                <c:pt idx="86">
                  <c:v>0.010273972602739725</c:v>
                </c:pt>
                <c:pt idx="87">
                  <c:v>0.00865051903114187</c:v>
                </c:pt>
                <c:pt idx="88">
                  <c:v>0.0057251908396946565</c:v>
                </c:pt>
                <c:pt idx="89">
                  <c:v>0.006756756756756757</c:v>
                </c:pt>
                <c:pt idx="90">
                  <c:v>0.005319148936170213</c:v>
                </c:pt>
                <c:pt idx="91">
                  <c:v>0.00516795865633075</c:v>
                </c:pt>
                <c:pt idx="92">
                  <c:v>0.013133208255159476</c:v>
                </c:pt>
                <c:pt idx="93">
                  <c:v>0.0074211502782931356</c:v>
                </c:pt>
                <c:pt idx="94">
                  <c:v>0.007575757575757576</c:v>
                </c:pt>
                <c:pt idx="95">
                  <c:v>0.004739336492890996</c:v>
                </c:pt>
                <c:pt idx="96">
                  <c:v>0.009512485136741973</c:v>
                </c:pt>
                <c:pt idx="97">
                  <c:v>0.008008008008008008</c:v>
                </c:pt>
                <c:pt idx="98">
                  <c:v>0.007252215954875101</c:v>
                </c:pt>
                <c:pt idx="99">
                  <c:v>0.005043227665706052</c:v>
                </c:pt>
                <c:pt idx="100">
                  <c:v>0.004699248120300752</c:v>
                </c:pt>
                <c:pt idx="101">
                  <c:v>0.0019212295869356388</c:v>
                </c:pt>
                <c:pt idx="102">
                  <c:v>0.003105590062111801</c:v>
                </c:pt>
                <c:pt idx="103">
                  <c:v>0.0028368794326241137</c:v>
                </c:pt>
                <c:pt idx="104">
                  <c:v>0.00444444444444444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776472759640904</c:v>
                </c:pt>
                <c:pt idx="1">
                  <c:v>1.3201058311519667</c:v>
                </c:pt>
                <c:pt idx="2">
                  <c:v>1.1598323962130006</c:v>
                </c:pt>
                <c:pt idx="3">
                  <c:v>1.038152975824778</c:v>
                </c:pt>
                <c:pt idx="4">
                  <c:v>1.0516297068545637</c:v>
                </c:pt>
                <c:pt idx="5">
                  <c:v>0.973650376333901</c:v>
                </c:pt>
                <c:pt idx="6">
                  <c:v>0.9984821741857968</c:v>
                </c:pt>
                <c:pt idx="7">
                  <c:v>1.0771795836784281</c:v>
                </c:pt>
                <c:pt idx="8">
                  <c:v>1.02891809908999</c:v>
                </c:pt>
                <c:pt idx="9">
                  <c:v>1.582428094564863</c:v>
                </c:pt>
                <c:pt idx="10">
                  <c:v>0.851017319601612</c:v>
                </c:pt>
                <c:pt idx="11">
                  <c:v>1.0763052208835342</c:v>
                </c:pt>
                <c:pt idx="12">
                  <c:v>1.5099071963463309</c:v>
                </c:pt>
                <c:pt idx="13">
                  <c:v>1.302832301254051</c:v>
                </c:pt>
                <c:pt idx="14">
                  <c:v>1.3364581484958502</c:v>
                </c:pt>
                <c:pt idx="15">
                  <c:v>1.283272708216036</c:v>
                </c:pt>
                <c:pt idx="16">
                  <c:v>1.6361720050391786</c:v>
                </c:pt>
                <c:pt idx="17">
                  <c:v>1.494829537643339</c:v>
                </c:pt>
                <c:pt idx="18">
                  <c:v>0.9791465155765007</c:v>
                </c:pt>
                <c:pt idx="19">
                  <c:v>0.0</c:v>
                </c:pt>
                <c:pt idx="20">
                  <c:v>1.152083123884259</c:v>
                </c:pt>
                <c:pt idx="21">
                  <c:v>0.8555780463605682</c:v>
                </c:pt>
                <c:pt idx="22">
                  <c:v>0.8703831601842585</c:v>
                </c:pt>
                <c:pt idx="23">
                  <c:v>1.063013999025236</c:v>
                </c:pt>
                <c:pt idx="24">
                  <c:v>1.4424285925271674</c:v>
                </c:pt>
                <c:pt idx="25">
                  <c:v>0.0</c:v>
                </c:pt>
                <c:pt idx="26">
                  <c:v>0.0</c:v>
                </c:pt>
                <c:pt idx="27">
                  <c:v>0.8290802011994085</c:v>
                </c:pt>
                <c:pt idx="28">
                  <c:v>0.0</c:v>
                </c:pt>
                <c:pt idx="29">
                  <c:v>0.5957749881667095</c:v>
                </c:pt>
                <c:pt idx="30">
                  <c:v>1.0440365608083697</c:v>
                </c:pt>
                <c:pt idx="31">
                  <c:v>0.0</c:v>
                </c:pt>
                <c:pt idx="32">
                  <c:v>0.0</c:v>
                </c:pt>
                <c:pt idx="33">
                  <c:v>0.8798231183998444</c:v>
                </c:pt>
                <c:pt idx="34">
                  <c:v>1.0354169580133539</c:v>
                </c:pt>
                <c:pt idx="35">
                  <c:v>1.1546395612272842</c:v>
                </c:pt>
                <c:pt idx="36">
                  <c:v>0.9997753649376578</c:v>
                </c:pt>
                <c:pt idx="37">
                  <c:v>0.8225320754716982</c:v>
                </c:pt>
                <c:pt idx="38">
                  <c:v>0.6952151929954371</c:v>
                </c:pt>
                <c:pt idx="39">
                  <c:v>0.6876481104228163</c:v>
                </c:pt>
                <c:pt idx="40">
                  <c:v>0.5662776177639023</c:v>
                </c:pt>
                <c:pt idx="41">
                  <c:v>0.6324151336407211</c:v>
                </c:pt>
                <c:pt idx="42">
                  <c:v>0.6354091111561045</c:v>
                </c:pt>
                <c:pt idx="43">
                  <c:v>0.5574419880690235</c:v>
                </c:pt>
                <c:pt idx="44">
                  <c:v>0.5607476635514018</c:v>
                </c:pt>
                <c:pt idx="45">
                  <c:v>0.5640329359082397</c:v>
                </c:pt>
                <c:pt idx="46">
                  <c:v>0.6017764506681612</c:v>
                </c:pt>
                <c:pt idx="47">
                  <c:v>0.6333217623735667</c:v>
                </c:pt>
                <c:pt idx="48">
                  <c:v>0.6590031529471412</c:v>
                </c:pt>
                <c:pt idx="49">
                  <c:v>0.5774482073209999</c:v>
                </c:pt>
                <c:pt idx="50">
                  <c:v>0.47221953103344344</c:v>
                </c:pt>
                <c:pt idx="51">
                  <c:v>0.6820974278214842</c:v>
                </c:pt>
              </c:numCache>
            </c:numRef>
          </c:xVal>
          <c:yVal>
            <c:numRef>
              <c:f>Sheet1!$B$109:$B$160</c:f>
              <c:numCache>
                <c:formatCode>General</c:formatCode>
                <c:ptCount val="52"/>
                <c:pt idx="0">
                  <c:v>0.003978779840848806</c:v>
                </c:pt>
                <c:pt idx="1">
                  <c:v>0.0091324200913242</c:v>
                </c:pt>
                <c:pt idx="2">
                  <c:v>0.008438818565400843</c:v>
                </c:pt>
                <c:pt idx="3">
                  <c:v>0.00964630225080386</c:v>
                </c:pt>
                <c:pt idx="4">
                  <c:v>0.009852216748768473</c:v>
                </c:pt>
                <c:pt idx="5">
                  <c:v>0.011131725417439703</c:v>
                </c:pt>
                <c:pt idx="6">
                  <c:v>0.009779951100244499</c:v>
                </c:pt>
                <c:pt idx="7">
                  <c:v>0.00398406374501992</c:v>
                </c:pt>
                <c:pt idx="8">
                  <c:v>0.003246753246753247</c:v>
                </c:pt>
                <c:pt idx="9">
                  <c:v>0.0030864197530864196</c:v>
                </c:pt>
                <c:pt idx="10">
                  <c:v>0.004514672686230248</c:v>
                </c:pt>
                <c:pt idx="11">
                  <c:v>0.009174311926605505</c:v>
                </c:pt>
                <c:pt idx="12">
                  <c:v>0.0030349013657056147</c:v>
                </c:pt>
                <c:pt idx="13">
                  <c:v>0.006369426751592357</c:v>
                </c:pt>
                <c:pt idx="14">
                  <c:v>0.005405405405405406</c:v>
                </c:pt>
                <c:pt idx="15">
                  <c:v>0.005110732538330494</c:v>
                </c:pt>
                <c:pt idx="16">
                  <c:v>0.001968503937007874</c:v>
                </c:pt>
                <c:pt idx="17">
                  <c:v>0.0022026431718061676</c:v>
                </c:pt>
                <c:pt idx="18">
                  <c:v>0.0029154518950437317</c:v>
                </c:pt>
                <c:pt idx="19">
                  <c:v>0.0</c:v>
                </c:pt>
                <c:pt idx="20">
                  <c:v>0.0026595744680851063</c:v>
                </c:pt>
                <c:pt idx="21">
                  <c:v>0.0036101083032490976</c:v>
                </c:pt>
                <c:pt idx="22">
                  <c:v>0.00411522633744856</c:v>
                </c:pt>
                <c:pt idx="23">
                  <c:v>0.004273504273504274</c:v>
                </c:pt>
                <c:pt idx="24">
                  <c:v>0.004219409282700422</c:v>
                </c:pt>
                <c:pt idx="25">
                  <c:v>0.0</c:v>
                </c:pt>
                <c:pt idx="26">
                  <c:v>0.0</c:v>
                </c:pt>
                <c:pt idx="27">
                  <c:v>0.006920415224913495</c:v>
                </c:pt>
                <c:pt idx="28">
                  <c:v>0.0</c:v>
                </c:pt>
                <c:pt idx="29">
                  <c:v>0.0038022813688212928</c:v>
                </c:pt>
                <c:pt idx="30">
                  <c:v>0.0035971223021582736</c:v>
                </c:pt>
                <c:pt idx="31">
                  <c:v>0.0</c:v>
                </c:pt>
                <c:pt idx="32">
                  <c:v>0.0</c:v>
                </c:pt>
                <c:pt idx="33">
                  <c:v>0.005277044854881266</c:v>
                </c:pt>
                <c:pt idx="34">
                  <c:v>0.002105263157894737</c:v>
                </c:pt>
                <c:pt idx="35">
                  <c:v>0.0041753653444676405</c:v>
                </c:pt>
                <c:pt idx="36">
                  <c:v>0.0037313432835820895</c:v>
                </c:pt>
                <c:pt idx="37">
                  <c:v>0.010238907849829351</c:v>
                </c:pt>
                <c:pt idx="38">
                  <c:v>0.00425531914893617</c:v>
                </c:pt>
                <c:pt idx="39">
                  <c:v>0.010958904109589041</c:v>
                </c:pt>
                <c:pt idx="40">
                  <c:v>0.0070921985815602835</c:v>
                </c:pt>
                <c:pt idx="41">
                  <c:v>0.023622047244094488</c:v>
                </c:pt>
                <c:pt idx="42">
                  <c:v>0.01728395061728395</c:v>
                </c:pt>
                <c:pt idx="43">
                  <c:v>0.006048387096774193</c:v>
                </c:pt>
                <c:pt idx="44">
                  <c:v>0.006462035541195477</c:v>
                </c:pt>
                <c:pt idx="45">
                  <c:v>0.003740648379052369</c:v>
                </c:pt>
                <c:pt idx="46">
                  <c:v>0.006920415224913495</c:v>
                </c:pt>
                <c:pt idx="47">
                  <c:v>0.004484304932735426</c:v>
                </c:pt>
                <c:pt idx="48">
                  <c:v>0.007009345794392523</c:v>
                </c:pt>
                <c:pt idx="49">
                  <c:v>0.004048582995951417</c:v>
                </c:pt>
                <c:pt idx="50">
                  <c:v>0.0032076984763432237</c:v>
                </c:pt>
                <c:pt idx="51">
                  <c:v>0.00286944045911047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646052850683144</c:v>
                </c:pt>
              </c:numCache>
            </c:numRef>
          </c:xVal>
          <c:yVal>
            <c:numRef>
              <c:f>Sheet1!$B$163:$B$164</c:f>
              <c:numCache>
                <c:formatCode>General</c:formatCode>
                <c:ptCount val="2"/>
                <c:pt idx="0">
                  <c:v>0.015230833123475165</c:v>
                </c:pt>
                <c:pt idx="1">
                  <c:v>0.0152308331234751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646052850683144</c:v>
                </c:pt>
                <c:pt idx="1">
                  <c:v>6.9646052850683144</c:v>
                </c:pt>
              </c:numCache>
            </c:numRef>
          </c:xVal>
          <c:yVal>
            <c:numRef>
              <c:f>Sheet1!$B$167:$B$168</c:f>
              <c:numCache>
                <c:formatCode>General</c:formatCode>
                <c:ptCount val="2"/>
                <c:pt idx="0">
                  <c:v>0.0152308331234751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7167979334592736</c:v>
                </c:pt>
              </c:numCache>
            </c:numRef>
          </c:xVal>
          <c:yVal>
            <c:numRef>
              <c:f>Sheet1!$B$171:$B$172</c:f>
              <c:numCache>
                <c:formatCode>General</c:formatCode>
                <c:ptCount val="2"/>
                <c:pt idx="0">
                  <c:v>0.008385679027231845</c:v>
                </c:pt>
                <c:pt idx="1">
                  <c:v>0.0083856790272318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7167979334592736</c:v>
                </c:pt>
                <c:pt idx="1">
                  <c:v>2.7167979334592736</c:v>
                </c:pt>
              </c:numCache>
            </c:numRef>
          </c:xVal>
          <c:yVal>
            <c:numRef>
              <c:f>Sheet1!$B$175:$B$176</c:f>
              <c:numCache>
                <c:formatCode>General</c:formatCode>
                <c:ptCount val="2"/>
                <c:pt idx="0">
                  <c:v>0.0083856790272318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654309746303458</c:v>
                </c:pt>
              </c:numCache>
            </c:numRef>
          </c:xVal>
          <c:yVal>
            <c:numRef>
              <c:f>Sheet1!$B$179:$B$180</c:f>
              <c:numCache>
                <c:formatCode>General</c:formatCode>
                <c:ptCount val="2"/>
                <c:pt idx="0">
                  <c:v>0.007980612265615104</c:v>
                </c:pt>
                <c:pt idx="1">
                  <c:v>0.00798061226561510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654309746303458</c:v>
                </c:pt>
                <c:pt idx="1">
                  <c:v>2.4654309746303458</c:v>
                </c:pt>
              </c:numCache>
            </c:numRef>
          </c:xVal>
          <c:yVal>
            <c:numRef>
              <c:f>Sheet1!$B$183:$B$184</c:f>
              <c:numCache>
                <c:formatCode>General</c:formatCode>
                <c:ptCount val="2"/>
                <c:pt idx="0">
                  <c:v>0.0079806122656151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776472759640904</c:v>
                </c:pt>
                <c:pt idx="1">
                  <c:v>1.3201058311519667</c:v>
                </c:pt>
                <c:pt idx="2">
                  <c:v>1.1598323962130006</c:v>
                </c:pt>
                <c:pt idx="3">
                  <c:v>1.038152975824778</c:v>
                </c:pt>
                <c:pt idx="4">
                  <c:v>1.0516297068545637</c:v>
                </c:pt>
                <c:pt idx="5">
                  <c:v>0.973650376333901</c:v>
                </c:pt>
                <c:pt idx="6">
                  <c:v>0.9984821741857968</c:v>
                </c:pt>
                <c:pt idx="7">
                  <c:v>1.0771795836784281</c:v>
                </c:pt>
                <c:pt idx="8">
                  <c:v>1.02891809908999</c:v>
                </c:pt>
                <c:pt idx="9">
                  <c:v>1.582428094564863</c:v>
                </c:pt>
                <c:pt idx="10">
                  <c:v>0.851017319601612</c:v>
                </c:pt>
                <c:pt idx="11">
                  <c:v>1.0763052208835342</c:v>
                </c:pt>
                <c:pt idx="12">
                  <c:v>1.5099071963463309</c:v>
                </c:pt>
                <c:pt idx="13">
                  <c:v>1.302832301254051</c:v>
                </c:pt>
                <c:pt idx="14">
                  <c:v>1.3364581484958502</c:v>
                </c:pt>
                <c:pt idx="15">
                  <c:v>1.283272708216036</c:v>
                </c:pt>
                <c:pt idx="16">
                  <c:v>1.6361720050391786</c:v>
                </c:pt>
                <c:pt idx="17">
                  <c:v>1.494829537643339</c:v>
                </c:pt>
                <c:pt idx="18">
                  <c:v>0.9791465155765007</c:v>
                </c:pt>
                <c:pt idx="19">
                  <c:v>0.0</c:v>
                </c:pt>
                <c:pt idx="20">
                  <c:v>1.152083123884259</c:v>
                </c:pt>
                <c:pt idx="21">
                  <c:v>0.8555780463605682</c:v>
                </c:pt>
                <c:pt idx="22">
                  <c:v>0.8703831601842585</c:v>
                </c:pt>
                <c:pt idx="23">
                  <c:v>1.063013999025236</c:v>
                </c:pt>
                <c:pt idx="24">
                  <c:v>1.4424285925271674</c:v>
                </c:pt>
                <c:pt idx="25">
                  <c:v>0.0</c:v>
                </c:pt>
                <c:pt idx="26">
                  <c:v>0.0</c:v>
                </c:pt>
                <c:pt idx="27">
                  <c:v>0.8290802011994085</c:v>
                </c:pt>
                <c:pt idx="28">
                  <c:v>0.0</c:v>
                </c:pt>
                <c:pt idx="29">
                  <c:v>0.5957749881667095</c:v>
                </c:pt>
                <c:pt idx="30">
                  <c:v>1.0440365608083697</c:v>
                </c:pt>
                <c:pt idx="31">
                  <c:v>0.0</c:v>
                </c:pt>
                <c:pt idx="32">
                  <c:v>0.0</c:v>
                </c:pt>
                <c:pt idx="33">
                  <c:v>0.8798231183998444</c:v>
                </c:pt>
                <c:pt idx="34">
                  <c:v>1.0354169580133539</c:v>
                </c:pt>
                <c:pt idx="35">
                  <c:v>1.1546395612272842</c:v>
                </c:pt>
                <c:pt idx="36">
                  <c:v>0.9997753649376578</c:v>
                </c:pt>
                <c:pt idx="37">
                  <c:v>0.8225320754716982</c:v>
                </c:pt>
                <c:pt idx="38">
                  <c:v>0.6952151929954371</c:v>
                </c:pt>
                <c:pt idx="39">
                  <c:v>0.6876481104228163</c:v>
                </c:pt>
                <c:pt idx="40">
                  <c:v>0.5662776177639023</c:v>
                </c:pt>
                <c:pt idx="41">
                  <c:v>0.6324151336407211</c:v>
                </c:pt>
                <c:pt idx="42">
                  <c:v>0.6354091111561045</c:v>
                </c:pt>
                <c:pt idx="43">
                  <c:v>0.5574419880690235</c:v>
                </c:pt>
                <c:pt idx="44">
                  <c:v>0.5607476635514018</c:v>
                </c:pt>
                <c:pt idx="45">
                  <c:v>0.5640329359082397</c:v>
                </c:pt>
                <c:pt idx="46">
                  <c:v>0.6017764506681612</c:v>
                </c:pt>
                <c:pt idx="47">
                  <c:v>0.6333217623735667</c:v>
                </c:pt>
                <c:pt idx="48">
                  <c:v>0.6590031529471412</c:v>
                </c:pt>
                <c:pt idx="49">
                  <c:v>0.5774482073209999</c:v>
                </c:pt>
                <c:pt idx="50">
                  <c:v>0.47221953103344344</c:v>
                </c:pt>
                <c:pt idx="51">
                  <c:v>0.6820974278214842</c:v>
                </c:pt>
                <c:pt idx="52">
                  <c:v>2.7167979334592736</c:v>
                </c:pt>
                <c:pt idx="53">
                  <c:v>6.9646052850683144</c:v>
                </c:pt>
                <c:pt idx="54">
                  <c:v>2.4654309746303458</c:v>
                </c:pt>
              </c:numCache>
            </c:numRef>
          </c:xVal>
          <c:yVal>
            <c:numRef>
              <c:f>Sheet1!$B$187:$B$241</c:f>
              <c:numCache>
                <c:formatCode>General</c:formatCode>
                <c:ptCount val="55"/>
                <c:pt idx="0">
                  <c:v>0.0060665512507490325</c:v>
                </c:pt>
                <c:pt idx="1">
                  <c:v>0.00613497133878687</c:v>
                </c:pt>
                <c:pt idx="2">
                  <c:v>0.005876697771065896</c:v>
                </c:pt>
                <c:pt idx="3">
                  <c:v>0.005680616754683773</c:v>
                </c:pt>
                <c:pt idx="4">
                  <c:v>0.005702333912025563</c:v>
                </c:pt>
                <c:pt idx="5">
                  <c:v>0.005576673662030084</c:v>
                </c:pt>
                <c:pt idx="6">
                  <c:v>0.005616689008469608</c:v>
                </c:pt>
                <c:pt idx="7">
                  <c:v>0.0057435064110404116</c:v>
                </c:pt>
                <c:pt idx="8">
                  <c:v>0.005665735158350198</c:v>
                </c:pt>
                <c:pt idx="9">
                  <c:v>0.00655769209029563</c:v>
                </c:pt>
                <c:pt idx="10">
                  <c:v>0.005379055902762378</c:v>
                </c:pt>
                <c:pt idx="11">
                  <c:v>0.005742097413981069</c:v>
                </c:pt>
                <c:pt idx="12">
                  <c:v>0.0064408278630806665</c:v>
                </c:pt>
                <c:pt idx="13">
                  <c:v>0.006107135807617476</c:v>
                </c:pt>
                <c:pt idx="14">
                  <c:v>0.006161322376577498</c:v>
                </c:pt>
                <c:pt idx="15">
                  <c:v>0.006075616386579159</c:v>
                </c:pt>
                <c:pt idx="16">
                  <c:v>0.006644298030367757</c:v>
                </c:pt>
                <c:pt idx="17">
                  <c:v>0.00641653088144061</c:v>
                </c:pt>
                <c:pt idx="18">
                  <c:v>0.005585530447881202</c:v>
                </c:pt>
                <c:pt idx="19">
                  <c:v>0.004007679046644272</c:v>
                </c:pt>
                <c:pt idx="20">
                  <c:v>0.005864210160674644</c:v>
                </c:pt>
                <c:pt idx="21">
                  <c:v>0.005386405312674786</c:v>
                </c:pt>
                <c:pt idx="22">
                  <c:v>0.005410263100268942</c:v>
                </c:pt>
                <c:pt idx="23">
                  <c:v>0.005720679196482823</c:v>
                </c:pt>
                <c:pt idx="24">
                  <c:v>0.006332089070779607</c:v>
                </c:pt>
                <c:pt idx="25">
                  <c:v>0.004007679046644272</c:v>
                </c:pt>
                <c:pt idx="26">
                  <c:v>0.004007679046644272</c:v>
                </c:pt>
                <c:pt idx="27">
                  <c:v>0.0053437052045171435</c:v>
                </c:pt>
                <c:pt idx="28">
                  <c:v>0.004007679046644272</c:v>
                </c:pt>
                <c:pt idx="29">
                  <c:v>0.004967744149206864</c:v>
                </c:pt>
                <c:pt idx="30">
                  <c:v>0.005690097892248962</c:v>
                </c:pt>
                <c:pt idx="31">
                  <c:v>0.004007679046644272</c:v>
                </c:pt>
                <c:pt idx="32">
                  <c:v>0.004007679046644272</c:v>
                </c:pt>
                <c:pt idx="33">
                  <c:v>0.005425475176358811</c:v>
                </c:pt>
                <c:pt idx="34">
                  <c:v>0.005676207782717996</c:v>
                </c:pt>
                <c:pt idx="35">
                  <c:v>0.005868329746640276</c:v>
                </c:pt>
                <c:pt idx="36">
                  <c:v>0.005618772928299204</c:v>
                </c:pt>
                <c:pt idx="37">
                  <c:v>0.005333153188868229</c:v>
                </c:pt>
                <c:pt idx="38">
                  <c:v>0.0051279876511059795</c:v>
                </c:pt>
                <c:pt idx="39">
                  <c:v>0.0051157936314668905</c:v>
                </c:pt>
                <c:pt idx="40">
                  <c:v>0.004920210438487922</c:v>
                </c:pt>
                <c:pt idx="41">
                  <c:v>0.005026788126750567</c:v>
                </c:pt>
                <c:pt idx="42">
                  <c:v>0.005031612789395808</c:v>
                </c:pt>
                <c:pt idx="43">
                  <c:v>0.004905972211140846</c:v>
                </c:pt>
                <c:pt idx="44">
                  <c:v>0.004911299161305024</c:v>
                </c:pt>
                <c:pt idx="45">
                  <c:v>0.004916593232732761</c:v>
                </c:pt>
                <c:pt idx="46">
                  <c:v>0.004977415241190285</c:v>
                </c:pt>
                <c:pt idx="47">
                  <c:v>0.005028249118945061</c:v>
                </c:pt>
                <c:pt idx="48">
                  <c:v>0.005069633546564015</c:v>
                </c:pt>
                <c:pt idx="49">
                  <c:v>0.004938211350613857</c:v>
                </c:pt>
                <c:pt idx="50">
                  <c:v>0.004768639982397457</c:v>
                </c:pt>
                <c:pt idx="51">
                  <c:v>0.005106848951400111</c:v>
                </c:pt>
                <c:pt idx="52">
                  <c:v>0.008385679027231845</c:v>
                </c:pt>
                <c:pt idx="53">
                  <c:v>0.015230833123475165</c:v>
                </c:pt>
                <c:pt idx="54">
                  <c:v>0.0079806122656151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4365325077399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0.8238</c:v>
                </c:pt>
                <c:pt idx="1">
                  <c:v>847.6719</c:v>
                </c:pt>
                <c:pt idx="2">
                  <c:v>848.1064</c:v>
                </c:pt>
                <c:pt idx="3">
                  <c:v>857.9881</c:v>
                </c:pt>
                <c:pt idx="4">
                  <c:v>841.9736</c:v>
                </c:pt>
                <c:pt idx="5">
                  <c:v>844.3321</c:v>
                </c:pt>
                <c:pt idx="6">
                  <c:v>829.9803</c:v>
                </c:pt>
                <c:pt idx="7">
                  <c:v>866.6427</c:v>
                </c:pt>
                <c:pt idx="8">
                  <c:v>878.4123</c:v>
                </c:pt>
                <c:pt idx="9">
                  <c:v>863.4343</c:v>
                </c:pt>
                <c:pt idx="10">
                  <c:v>864.9706</c:v>
                </c:pt>
                <c:pt idx="11">
                  <c:v>883.0815</c:v>
                </c:pt>
                <c:pt idx="12">
                  <c:v>876.7748</c:v>
                </c:pt>
                <c:pt idx="13">
                  <c:v>862.3852</c:v>
                </c:pt>
                <c:pt idx="14">
                  <c:v>884.3104</c:v>
                </c:pt>
                <c:pt idx="15">
                  <c:v>885.6593</c:v>
                </c:pt>
                <c:pt idx="16">
                  <c:v>872.4008</c:v>
                </c:pt>
                <c:pt idx="17">
                  <c:v>915.1496</c:v>
                </c:pt>
                <c:pt idx="18">
                  <c:v>933.2134</c:v>
                </c:pt>
                <c:pt idx="19">
                  <c:v>994.5115</c:v>
                </c:pt>
                <c:pt idx="20">
                  <c:v>1016.9246</c:v>
                </c:pt>
                <c:pt idx="21">
                  <c:v>1033.1526</c:v>
                </c:pt>
                <c:pt idx="22">
                  <c:v>1007.8818</c:v>
                </c:pt>
                <c:pt idx="23">
                  <c:v>987.4493</c:v>
                </c:pt>
                <c:pt idx="24">
                  <c:v>969.8275</c:v>
                </c:pt>
                <c:pt idx="25">
                  <c:v>957.9625</c:v>
                </c:pt>
                <c:pt idx="26">
                  <c:v>970.6012</c:v>
                </c:pt>
                <c:pt idx="27">
                  <c:v>978.1092</c:v>
                </c:pt>
                <c:pt idx="28">
                  <c:v>1048.3176</c:v>
                </c:pt>
                <c:pt idx="29">
                  <c:v>942.9357</c:v>
                </c:pt>
                <c:pt idx="30">
                  <c:v>973.5095</c:v>
                </c:pt>
                <c:pt idx="31">
                  <c:v>949.8024</c:v>
                </c:pt>
                <c:pt idx="32">
                  <c:v>934.3252</c:v>
                </c:pt>
                <c:pt idx="33">
                  <c:v>911.0866</c:v>
                </c:pt>
                <c:pt idx="34">
                  <c:v>973.8066</c:v>
                </c:pt>
                <c:pt idx="35">
                  <c:v>993.6598</c:v>
                </c:pt>
                <c:pt idx="36">
                  <c:v>1058.4175</c:v>
                </c:pt>
                <c:pt idx="37">
                  <c:v>1088.2295</c:v>
                </c:pt>
                <c:pt idx="38">
                  <c:v>1085.548</c:v>
                </c:pt>
                <c:pt idx="39">
                  <c:v>1142.2879</c:v>
                </c:pt>
                <c:pt idx="40">
                  <c:v>1121.8299</c:v>
                </c:pt>
                <c:pt idx="41">
                  <c:v>1151.4411</c:v>
                </c:pt>
                <c:pt idx="42">
                  <c:v>1169.9832</c:v>
                </c:pt>
                <c:pt idx="43">
                  <c:v>1182.3993</c:v>
                </c:pt>
                <c:pt idx="44">
                  <c:v>1025.9151</c:v>
                </c:pt>
                <c:pt idx="45">
                  <c:v>995.7923</c:v>
                </c:pt>
                <c:pt idx="46">
                  <c:v>991.2042</c:v>
                </c:pt>
                <c:pt idx="47">
                  <c:v>967.4004</c:v>
                </c:pt>
                <c:pt idx="48">
                  <c:v>972.7173</c:v>
                </c:pt>
                <c:pt idx="49">
                  <c:v>956.2506</c:v>
                </c:pt>
                <c:pt idx="50">
                  <c:v>951.9882</c:v>
                </c:pt>
                <c:pt idx="51">
                  <c:v>1007.7841</c:v>
                </c:pt>
                <c:pt idx="52">
                  <c:v>985.4137</c:v>
                </c:pt>
                <c:pt idx="53">
                  <c:v>983.1362</c:v>
                </c:pt>
                <c:pt idx="54">
                  <c:v>1017.8995</c:v>
                </c:pt>
                <c:pt idx="55">
                  <c:v>990.1993</c:v>
                </c:pt>
                <c:pt idx="56">
                  <c:v>1021.4268</c:v>
                </c:pt>
                <c:pt idx="57">
                  <c:v>997.4431</c:v>
                </c:pt>
                <c:pt idx="58">
                  <c:v>1014.0697</c:v>
                </c:pt>
                <c:pt idx="59">
                  <c:v>1014.0964</c:v>
                </c:pt>
                <c:pt idx="60">
                  <c:v>1023.5959</c:v>
                </c:pt>
                <c:pt idx="61">
                  <c:v>1000.4482</c:v>
                </c:pt>
                <c:pt idx="62">
                  <c:v>1013.4628</c:v>
                </c:pt>
                <c:pt idx="63">
                  <c:v>1052.7467</c:v>
                </c:pt>
                <c:pt idx="64">
                  <c:v>1036.7312</c:v>
                </c:pt>
                <c:pt idx="65">
                  <c:v>1007.2956</c:v>
                </c:pt>
                <c:pt idx="66">
                  <c:v>926.0844</c:v>
                </c:pt>
                <c:pt idx="67">
                  <c:v>927.1577</c:v>
                </c:pt>
                <c:pt idx="68">
                  <c:v>960.9388</c:v>
                </c:pt>
                <c:pt idx="69">
                  <c:v>918.8074</c:v>
                </c:pt>
                <c:pt idx="70">
                  <c:v>851.3011</c:v>
                </c:pt>
                <c:pt idx="71">
                  <c:v>923.9236</c:v>
                </c:pt>
                <c:pt idx="72">
                  <c:v>985.2315</c:v>
                </c:pt>
                <c:pt idx="73">
                  <c:v>950.2606</c:v>
                </c:pt>
                <c:pt idx="74">
                  <c:v>960.2854</c:v>
                </c:pt>
                <c:pt idx="75">
                  <c:v>931.104</c:v>
                </c:pt>
                <c:pt idx="76">
                  <c:v>942.1913</c:v>
                </c:pt>
                <c:pt idx="77">
                  <c:v>978.7124</c:v>
                </c:pt>
                <c:pt idx="78">
                  <c:v>968.5752</c:v>
                </c:pt>
                <c:pt idx="79">
                  <c:v>558.9587</c:v>
                </c:pt>
                <c:pt idx="80">
                  <c:v>671.2695</c:v>
                </c:pt>
                <c:pt idx="81">
                  <c:v>826.4073</c:v>
                </c:pt>
                <c:pt idx="82">
                  <c:v>855.0098</c:v>
                </c:pt>
                <c:pt idx="83">
                  <c:v>759.2573</c:v>
                </c:pt>
                <c:pt idx="84">
                  <c:v>912.8451</c:v>
                </c:pt>
                <c:pt idx="85">
                  <c:v>782.7791</c:v>
                </c:pt>
                <c:pt idx="86">
                  <c:v>1020.966</c:v>
                </c:pt>
                <c:pt idx="87">
                  <c:v>1070.2081</c:v>
                </c:pt>
                <c:pt idx="88">
                  <c:v>1050.6106</c:v>
                </c:pt>
                <c:pt idx="89">
                  <c:v>995.5332</c:v>
                </c:pt>
                <c:pt idx="90">
                  <c:v>1024.9614</c:v>
                </c:pt>
                <c:pt idx="91">
                  <c:v>1077.238</c:v>
                </c:pt>
                <c:pt idx="92">
                  <c:v>1048.9482</c:v>
                </c:pt>
                <c:pt idx="93">
                  <c:v>1081.0924</c:v>
                </c:pt>
                <c:pt idx="94">
                  <c:v>1154.6172</c:v>
                </c:pt>
                <c:pt idx="95">
                  <c:v>1118.0899</c:v>
                </c:pt>
                <c:pt idx="96">
                  <c:v>988.1788</c:v>
                </c:pt>
                <c:pt idx="97">
                  <c:v>1078.4871</c:v>
                </c:pt>
                <c:pt idx="98">
                  <c:v>1115.6307</c:v>
                </c:pt>
                <c:pt idx="99">
                  <c:v>1061.716</c:v>
                </c:pt>
                <c:pt idx="100">
                  <c:v>1065.0996</c:v>
                </c:pt>
                <c:pt idx="101">
                  <c:v>1080.058</c:v>
                </c:pt>
                <c:pt idx="102">
                  <c:v>1123.0362</c:v>
                </c:pt>
                <c:pt idx="103">
                  <c:v>926.1989</c:v>
                </c:pt>
                <c:pt idx="104">
                  <c:v>1004.0658</c:v>
                </c:pt>
              </c:numCache>
            </c:numRef>
          </c:xVal>
          <c:yVal>
            <c:numRef>
              <c:f>Sheet1!$B$2:$B$106</c:f>
              <c:numCache>
                <c:formatCode>General</c:formatCode>
                <c:ptCount val="105"/>
                <c:pt idx="0">
                  <c:v>0.1932658622031919</c:v>
                </c:pt>
                <c:pt idx="1">
                  <c:v>0.19517632752330766</c:v>
                </c:pt>
                <c:pt idx="2">
                  <c:v>0.19149361022364217</c:v>
                </c:pt>
                <c:pt idx="3">
                  <c:v>0.19909793814432988</c:v>
                </c:pt>
                <c:pt idx="4">
                  <c:v>0.20557963163596965</c:v>
                </c:pt>
                <c:pt idx="5">
                  <c:v>0.20494972931167826</c:v>
                </c:pt>
                <c:pt idx="6">
                  <c:v>0.2293552036199095</c:v>
                </c:pt>
                <c:pt idx="7">
                  <c:v>0.21510673234811165</c:v>
                </c:pt>
                <c:pt idx="8">
                  <c:v>0.1958041958041958</c:v>
                </c:pt>
                <c:pt idx="9">
                  <c:v>0.20620358235037134</c:v>
                </c:pt>
                <c:pt idx="10">
                  <c:v>0.2218110579016108</c:v>
                </c:pt>
                <c:pt idx="11">
                  <c:v>0.1958806221101303</c:v>
                </c:pt>
                <c:pt idx="12">
                  <c:v>0.1860377358490566</c:v>
                </c:pt>
                <c:pt idx="13">
                  <c:v>0.18076616121308858</c:v>
                </c:pt>
                <c:pt idx="14">
                  <c:v>0.17138040831616408</c:v>
                </c:pt>
                <c:pt idx="15">
                  <c:v>0.17079152731326644</c:v>
                </c:pt>
                <c:pt idx="16">
                  <c:v>0.15866993974559251</c:v>
                </c:pt>
                <c:pt idx="17">
                  <c:v>0.17523714428357465</c:v>
                </c:pt>
                <c:pt idx="18">
                  <c:v>0.14909090909090908</c:v>
                </c:pt>
                <c:pt idx="19">
                  <c:v>0.13666550157287663</c:v>
                </c:pt>
                <c:pt idx="20">
                  <c:v>0.14344783715012724</c:v>
                </c:pt>
                <c:pt idx="21">
                  <c:v>0.1486623772434812</c:v>
                </c:pt>
                <c:pt idx="22">
                  <c:v>0.1385192766973729</c:v>
                </c:pt>
                <c:pt idx="23">
                  <c:v>0.16251682368775236</c:v>
                </c:pt>
                <c:pt idx="24">
                  <c:v>0.16421656507708857</c:v>
                </c:pt>
                <c:pt idx="25">
                  <c:v>0.16025641025641027</c:v>
                </c:pt>
                <c:pt idx="26">
                  <c:v>0.15835492227979275</c:v>
                </c:pt>
                <c:pt idx="27">
                  <c:v>0.15927694406548432</c:v>
                </c:pt>
                <c:pt idx="28">
                  <c:v>0.1446562287270252</c:v>
                </c:pt>
                <c:pt idx="29">
                  <c:v>0.16246928746928746</c:v>
                </c:pt>
                <c:pt idx="30">
                  <c:v>0.1514059120403749</c:v>
                </c:pt>
                <c:pt idx="31">
                  <c:v>0.14922689679971232</c:v>
                </c:pt>
                <c:pt idx="32">
                  <c:v>0.15461432506887052</c:v>
                </c:pt>
                <c:pt idx="33">
                  <c:v>0.16825649178590354</c:v>
                </c:pt>
                <c:pt idx="34">
                  <c:v>0.1629611531883704</c:v>
                </c:pt>
                <c:pt idx="35">
                  <c:v>0.1618712481887808</c:v>
                </c:pt>
                <c:pt idx="36">
                  <c:v>0.13385986229242608</c:v>
                </c:pt>
                <c:pt idx="37">
                  <c:v>0.1211734693877551</c:v>
                </c:pt>
                <c:pt idx="38">
                  <c:v>0.12521913348359628</c:v>
                </c:pt>
                <c:pt idx="39">
                  <c:v>0.11323991993136974</c:v>
                </c:pt>
                <c:pt idx="40">
                  <c:v>0.11071519470603207</c:v>
                </c:pt>
                <c:pt idx="41">
                  <c:v>0.11320261437908496</c:v>
                </c:pt>
                <c:pt idx="42">
                  <c:v>0.11833406787130894</c:v>
                </c:pt>
                <c:pt idx="43">
                  <c:v>0.11017282010997644</c:v>
                </c:pt>
                <c:pt idx="44">
                  <c:v>0.12159449383424147</c:v>
                </c:pt>
                <c:pt idx="45">
                  <c:v>0.1348173036539269</c:v>
                </c:pt>
                <c:pt idx="46">
                  <c:v>0.1263698155083923</c:v>
                </c:pt>
                <c:pt idx="47">
                  <c:v>0.13572114724852477</c:v>
                </c:pt>
                <c:pt idx="48">
                  <c:v>0.15048975957257346</c:v>
                </c:pt>
                <c:pt idx="49">
                  <c:v>0.1858269935193012</c:v>
                </c:pt>
                <c:pt idx="50">
                  <c:v>0.16553436111836947</c:v>
                </c:pt>
                <c:pt idx="51">
                  <c:v>0.14753237661883095</c:v>
                </c:pt>
                <c:pt idx="52">
                  <c:v>0.1516269708151627</c:v>
                </c:pt>
                <c:pt idx="53">
                  <c:v>0.16302610548748003</c:v>
                </c:pt>
                <c:pt idx="54">
                  <c:v>0.17082141397629752</c:v>
                </c:pt>
                <c:pt idx="55">
                  <c:v>0.1698763429961484</c:v>
                </c:pt>
                <c:pt idx="56">
                  <c:v>0.17553191489361702</c:v>
                </c:pt>
                <c:pt idx="57">
                  <c:v>0.17515716453500976</c:v>
                </c:pt>
                <c:pt idx="58">
                  <c:v>0.1855486173059768</c:v>
                </c:pt>
                <c:pt idx="59">
                  <c:v>0.16924386437792593</c:v>
                </c:pt>
                <c:pt idx="60">
                  <c:v>0.1728102806898884</c:v>
                </c:pt>
                <c:pt idx="61">
                  <c:v>0.1924450291298628</c:v>
                </c:pt>
                <c:pt idx="62">
                  <c:v>0.18572524942440521</c:v>
                </c:pt>
                <c:pt idx="63">
                  <c:v>0.18723051409618574</c:v>
                </c:pt>
                <c:pt idx="64">
                  <c:v>0.17141522652965904</c:v>
                </c:pt>
                <c:pt idx="65">
                  <c:v>0.17081790642881184</c:v>
                </c:pt>
                <c:pt idx="66">
                  <c:v>0.1916235446313066</c:v>
                </c:pt>
                <c:pt idx="67">
                  <c:v>0.1853705796867431</c:v>
                </c:pt>
                <c:pt idx="68">
                  <c:v>0.15956448282335273</c:v>
                </c:pt>
                <c:pt idx="69">
                  <c:v>0.16431800053177348</c:v>
                </c:pt>
                <c:pt idx="70">
                  <c:v>0.156227501799856</c:v>
                </c:pt>
                <c:pt idx="71">
                  <c:v>0.15561426684280052</c:v>
                </c:pt>
                <c:pt idx="72">
                  <c:v>0.158203125</c:v>
                </c:pt>
                <c:pt idx="73">
                  <c:v>0.17004805125467165</c:v>
                </c:pt>
                <c:pt idx="74">
                  <c:v>0.14450056116722784</c:v>
                </c:pt>
                <c:pt idx="75">
                  <c:v>0.15537283810603914</c:v>
                </c:pt>
                <c:pt idx="76">
                  <c:v>0.1575774184708139</c:v>
                </c:pt>
                <c:pt idx="77">
                  <c:v>0.14366197183098592</c:v>
                </c:pt>
                <c:pt idx="78">
                  <c:v>0.13839435673496808</c:v>
                </c:pt>
                <c:pt idx="79">
                  <c:v>0.2158671586715867</c:v>
                </c:pt>
                <c:pt idx="80">
                  <c:v>0.1882065383440269</c:v>
                </c:pt>
                <c:pt idx="81">
                  <c:v>0.15307542443640412</c:v>
                </c:pt>
                <c:pt idx="82">
                  <c:v>0.16313423249839434</c:v>
                </c:pt>
                <c:pt idx="83">
                  <c:v>0.14956110735989198</c:v>
                </c:pt>
                <c:pt idx="84">
                  <c:v>0.13146997929606624</c:v>
                </c:pt>
                <c:pt idx="85">
                  <c:v>0.16322517207472959</c:v>
                </c:pt>
                <c:pt idx="86">
                  <c:v>0.13327289211242066</c:v>
                </c:pt>
                <c:pt idx="87">
                  <c:v>0.13840155945419103</c:v>
                </c:pt>
                <c:pt idx="88">
                  <c:v>0.13089357880556804</c:v>
                </c:pt>
                <c:pt idx="89">
                  <c:v>0.13103084629580808</c:v>
                </c:pt>
                <c:pt idx="90">
                  <c:v>0.13881441763479296</c:v>
                </c:pt>
                <c:pt idx="91">
                  <c:v>0.11154190277363556</c:v>
                </c:pt>
                <c:pt idx="92">
                  <c:v>0.12187424132070891</c:v>
                </c:pt>
                <c:pt idx="93">
                  <c:v>0.11663807890222985</c:v>
                </c:pt>
                <c:pt idx="94">
                  <c:v>0.11528934924566539</c:v>
                </c:pt>
                <c:pt idx="95">
                  <c:v>0.10895551636292378</c:v>
                </c:pt>
                <c:pt idx="96">
                  <c:v>0.1154068090017311</c:v>
                </c:pt>
                <c:pt idx="97">
                  <c:v>0.11563475546305932</c:v>
                </c:pt>
                <c:pt idx="98">
                  <c:v>0.1286556467460409</c:v>
                </c:pt>
                <c:pt idx="99">
                  <c:v>0.13838394452033204</c:v>
                </c:pt>
                <c:pt idx="100">
                  <c:v>0.14323290291726445</c:v>
                </c:pt>
                <c:pt idx="101">
                  <c:v>0.14793140990745782</c:v>
                </c:pt>
                <c:pt idx="102">
                  <c:v>0.12843842573000422</c:v>
                </c:pt>
                <c:pt idx="103">
                  <c:v>0.15569395017793594</c:v>
                </c:pt>
                <c:pt idx="104">
                  <c:v>0.16092192691029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numCache>
            </c:numRef>
          </c:xVal>
          <c:yVal>
            <c:numRef>
              <c:f>Sheet1!$B$109:$B$160</c:f>
              <c:numCache>
                <c:formatCode>General</c:formatCode>
                <c:ptCount val="52"/>
                <c:pt idx="0">
                  <c:v>0.15264623955431755</c:v>
                </c:pt>
                <c:pt idx="1">
                  <c:v>0.14997059400117624</c:v>
                </c:pt>
                <c:pt idx="2">
                  <c:v>0.15307820299500832</c:v>
                </c:pt>
                <c:pt idx="3">
                  <c:v>0.17684296508066163</c:v>
                </c:pt>
                <c:pt idx="4">
                  <c:v>0.1594290309609972</c:v>
                </c:pt>
                <c:pt idx="5">
                  <c:v>0.1623705662040097</c:v>
                </c:pt>
                <c:pt idx="6">
                  <c:v>0.1491395793499044</c:v>
                </c:pt>
                <c:pt idx="7">
                  <c:v>0.14110150204824762</c:v>
                </c:pt>
                <c:pt idx="8">
                  <c:v>0.15404447309055752</c:v>
                </c:pt>
                <c:pt idx="9">
                  <c:v>0.14248366013071895</c:v>
                </c:pt>
                <c:pt idx="10">
                  <c:v>0.16762854144805875</c:v>
                </c:pt>
                <c:pt idx="11">
                  <c:v>0.15941758446891918</c:v>
                </c:pt>
                <c:pt idx="12">
                  <c:v>0.15942835931700075</c:v>
                </c:pt>
                <c:pt idx="13">
                  <c:v>0.15648854961832062</c:v>
                </c:pt>
                <c:pt idx="14">
                  <c:v>0.159937541824671</c:v>
                </c:pt>
                <c:pt idx="15">
                  <c:v>0.1465645607317592</c:v>
                </c:pt>
                <c:pt idx="16">
                  <c:v>0.1460763520678685</c:v>
                </c:pt>
                <c:pt idx="17">
                  <c:v>0.12916666666666668</c:v>
                </c:pt>
                <c:pt idx="18">
                  <c:v>0.12013201320132014</c:v>
                </c:pt>
                <c:pt idx="19">
                  <c:v>0.12877319302132373</c:v>
                </c:pt>
                <c:pt idx="20">
                  <c:v>0.12544112929098492</c:v>
                </c:pt>
                <c:pt idx="21">
                  <c:v>0.13634389926183238</c:v>
                </c:pt>
                <c:pt idx="22">
                  <c:v>0.13385826771653545</c:v>
                </c:pt>
                <c:pt idx="23">
                  <c:v>0.15547703180212014</c:v>
                </c:pt>
                <c:pt idx="24">
                  <c:v>0.15804878048780488</c:v>
                </c:pt>
                <c:pt idx="25">
                  <c:v>0.16881188118811882</c:v>
                </c:pt>
                <c:pt idx="26">
                  <c:v>0.1435089174616342</c:v>
                </c:pt>
                <c:pt idx="27">
                  <c:v>0.14151962549513863</c:v>
                </c:pt>
                <c:pt idx="28">
                  <c:v>0.1473533619456366</c:v>
                </c:pt>
                <c:pt idx="29">
                  <c:v>0.14854215918045705</c:v>
                </c:pt>
                <c:pt idx="30">
                  <c:v>0.17468738158393332</c:v>
                </c:pt>
                <c:pt idx="31">
                  <c:v>0.17276840806252572</c:v>
                </c:pt>
                <c:pt idx="32">
                  <c:v>0.14675907052588666</c:v>
                </c:pt>
                <c:pt idx="33">
                  <c:v>0.16127116127116128</c:v>
                </c:pt>
                <c:pt idx="34">
                  <c:v>0.17178062333897076</c:v>
                </c:pt>
                <c:pt idx="35">
                  <c:v>0.17702312138728324</c:v>
                </c:pt>
                <c:pt idx="36">
                  <c:v>0.15700934579439252</c:v>
                </c:pt>
                <c:pt idx="37">
                  <c:v>0.15435356200527706</c:v>
                </c:pt>
                <c:pt idx="38">
                  <c:v>0.1470292044310171</c:v>
                </c:pt>
                <c:pt idx="39">
                  <c:v>0.1684500152858453</c:v>
                </c:pt>
                <c:pt idx="40">
                  <c:v>0.1595399587142436</c:v>
                </c:pt>
                <c:pt idx="41">
                  <c:v>0.1630407601900475</c:v>
                </c:pt>
                <c:pt idx="42">
                  <c:v>0.17200365965233302</c:v>
                </c:pt>
                <c:pt idx="43">
                  <c:v>0.13423331635252164</c:v>
                </c:pt>
                <c:pt idx="44">
                  <c:v>0.13266998341625208</c:v>
                </c:pt>
                <c:pt idx="45">
                  <c:v>0.15223880597014924</c:v>
                </c:pt>
                <c:pt idx="46">
                  <c:v>0.15176908752327747</c:v>
                </c:pt>
                <c:pt idx="47">
                  <c:v>0.1515101501898003</c:v>
                </c:pt>
                <c:pt idx="48">
                  <c:v>0.13914835164835165</c:v>
                </c:pt>
                <c:pt idx="49">
                  <c:v>0.1500609384521633</c:v>
                </c:pt>
                <c:pt idx="50">
                  <c:v>0.15172209026128267</c:v>
                </c:pt>
                <c:pt idx="51">
                  <c:v>0.1455169034786869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12.43608861454302</c:v>
                </c:pt>
              </c:numCache>
            </c:numRef>
          </c:xVal>
          <c:yVal>
            <c:numRef>
              <c:f>Sheet1!$B$163:$B$164</c:f>
              <c:numCache>
                <c:formatCode>General</c:formatCode>
                <c:ptCount val="2"/>
                <c:pt idx="0">
                  <c:v>0.20331435897937072</c:v>
                </c:pt>
                <c:pt idx="1">
                  <c:v>0.203314358979370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2.43608861454302</c:v>
                </c:pt>
                <c:pt idx="1">
                  <c:v>212.43608861454302</c:v>
                </c:pt>
              </c:numCache>
            </c:numRef>
          </c:xVal>
          <c:yVal>
            <c:numRef>
              <c:f>Sheet1!$B$167:$B$168</c:f>
              <c:numCache>
                <c:formatCode>General</c:formatCode>
                <c:ptCount val="2"/>
                <c:pt idx="0">
                  <c:v>0.203314358979370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0.2529136159376</c:v>
                </c:pt>
              </c:numCache>
            </c:numRef>
          </c:xVal>
          <c:yVal>
            <c:numRef>
              <c:f>Sheet1!$B$171:$B$172</c:f>
              <c:numCache>
                <c:formatCode>General</c:formatCode>
                <c:ptCount val="2"/>
                <c:pt idx="0">
                  <c:v>0.15572205154307103</c:v>
                </c:pt>
                <c:pt idx="1">
                  <c:v>0.155722051543071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0.2529136159376</c:v>
                </c:pt>
                <c:pt idx="1">
                  <c:v>1070.2529136159376</c:v>
                </c:pt>
              </c:numCache>
            </c:numRef>
          </c:xVal>
          <c:yVal>
            <c:numRef>
              <c:f>Sheet1!$B$175:$B$176</c:f>
              <c:numCache>
                <c:formatCode>General</c:formatCode>
                <c:ptCount val="2"/>
                <c:pt idx="0">
                  <c:v>0.155722051543071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3.0191969691834</c:v>
                </c:pt>
              </c:numCache>
            </c:numRef>
          </c:xVal>
          <c:yVal>
            <c:numRef>
              <c:f>Sheet1!$B$179:$B$180</c:f>
              <c:numCache>
                <c:formatCode>General</c:formatCode>
                <c:ptCount val="2"/>
                <c:pt idx="0">
                  <c:v>0.15168492470268882</c:v>
                </c:pt>
                <c:pt idx="1">
                  <c:v>0.151684924702688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3.0191969691834</c:v>
                </c:pt>
                <c:pt idx="1">
                  <c:v>1143.0191969691834</c:v>
                </c:pt>
              </c:numCache>
            </c:numRef>
          </c:xVal>
          <c:yVal>
            <c:numRef>
              <c:f>Sheet1!$B$183:$B$184</c:f>
              <c:numCache>
                <c:formatCode>General</c:formatCode>
                <c:ptCount val="2"/>
                <c:pt idx="0">
                  <c:v>0.151684924702688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31.6326</c:v>
                </c:pt>
                <c:pt idx="1">
                  <c:v>1077.2392</c:v>
                </c:pt>
                <c:pt idx="2">
                  <c:v>1047.4976</c:v>
                </c:pt>
                <c:pt idx="3">
                  <c:v>1074.0982</c:v>
                </c:pt>
                <c:pt idx="4">
                  <c:v>1105.0542</c:v>
                </c:pt>
                <c:pt idx="5">
                  <c:v>1115.019</c:v>
                </c:pt>
                <c:pt idx="6">
                  <c:v>1077.2784</c:v>
                </c:pt>
                <c:pt idx="7">
                  <c:v>1135.4839</c:v>
                </c:pt>
                <c:pt idx="8">
                  <c:v>1203.6757</c:v>
                </c:pt>
                <c:pt idx="9">
                  <c:v>1152.2798</c:v>
                </c:pt>
                <c:pt idx="10">
                  <c:v>1205.2113</c:v>
                </c:pt>
                <c:pt idx="11">
                  <c:v>1108.8185</c:v>
                </c:pt>
                <c:pt idx="12">
                  <c:v>1116.6636</c:v>
                </c:pt>
                <c:pt idx="13">
                  <c:v>1146.6329</c:v>
                </c:pt>
                <c:pt idx="14">
                  <c:v>1154.3975</c:v>
                </c:pt>
                <c:pt idx="15">
                  <c:v>1190.5138</c:v>
                </c:pt>
                <c:pt idx="16">
                  <c:v>1236.7659</c:v>
                </c:pt>
                <c:pt idx="17">
                  <c:v>1173.2065</c:v>
                </c:pt>
                <c:pt idx="18">
                  <c:v>1215.7445</c:v>
                </c:pt>
                <c:pt idx="19">
                  <c:v>1343.3161</c:v>
                </c:pt>
                <c:pt idx="20">
                  <c:v>1294.2532</c:v>
                </c:pt>
                <c:pt idx="21">
                  <c:v>1216.1656</c:v>
                </c:pt>
                <c:pt idx="22">
                  <c:v>1197.1176</c:v>
                </c:pt>
                <c:pt idx="23">
                  <c:v>1163.4286</c:v>
                </c:pt>
                <c:pt idx="24">
                  <c:v>1082.3364</c:v>
                </c:pt>
                <c:pt idx="25">
                  <c:v>1035.7361</c:v>
                </c:pt>
                <c:pt idx="26">
                  <c:v>1094.8844</c:v>
                </c:pt>
                <c:pt idx="27">
                  <c:v>1113.7786</c:v>
                </c:pt>
                <c:pt idx="28">
                  <c:v>1145.4053</c:v>
                </c:pt>
                <c:pt idx="29">
                  <c:v>1146.3077</c:v>
                </c:pt>
                <c:pt idx="30">
                  <c:v>1076.2928</c:v>
                </c:pt>
                <c:pt idx="31">
                  <c:v>914.2</c:v>
                </c:pt>
                <c:pt idx="32">
                  <c:v>1050.7139</c:v>
                </c:pt>
                <c:pt idx="33">
                  <c:v>1190.7735</c:v>
                </c:pt>
                <c:pt idx="34">
                  <c:v>1228.7707</c:v>
                </c:pt>
                <c:pt idx="35">
                  <c:v>1135.7605</c:v>
                </c:pt>
                <c:pt idx="36">
                  <c:v>1196.8452</c:v>
                </c:pt>
                <c:pt idx="37">
                  <c:v>1287.0064</c:v>
                </c:pt>
                <c:pt idx="38">
                  <c:v>1244.6918</c:v>
                </c:pt>
                <c:pt idx="39">
                  <c:v>1143.1343</c:v>
                </c:pt>
                <c:pt idx="40">
                  <c:v>1182.939</c:v>
                </c:pt>
                <c:pt idx="41">
                  <c:v>1184.2592</c:v>
                </c:pt>
                <c:pt idx="42">
                  <c:v>1114.5709</c:v>
                </c:pt>
                <c:pt idx="43">
                  <c:v>1261.074</c:v>
                </c:pt>
                <c:pt idx="44">
                  <c:v>1170.9359</c:v>
                </c:pt>
                <c:pt idx="45">
                  <c:v>1097.6254</c:v>
                </c:pt>
                <c:pt idx="46">
                  <c:v>1082.081</c:v>
                </c:pt>
                <c:pt idx="47">
                  <c:v>1046.683</c:v>
                </c:pt>
                <c:pt idx="48">
                  <c:v>976.922</c:v>
                </c:pt>
                <c:pt idx="49">
                  <c:v>1054.6802</c:v>
                </c:pt>
                <c:pt idx="50">
                  <c:v>1030.6719</c:v>
                </c:pt>
                <c:pt idx="51">
                  <c:v>995.2132</c:v>
                </c:pt>
                <c:pt idx="52">
                  <c:v>1070.2529136159376</c:v>
                </c:pt>
                <c:pt idx="53">
                  <c:v>212.43608861454302</c:v>
                </c:pt>
                <c:pt idx="54">
                  <c:v>1143.0191969691834</c:v>
                </c:pt>
              </c:numCache>
            </c:numRef>
          </c:xVal>
          <c:yVal>
            <c:numRef>
              <c:f>Sheet1!$B$187:$B$241</c:f>
              <c:numCache>
                <c:formatCode>General</c:formatCode>
                <c:ptCount val="55"/>
                <c:pt idx="0">
                  <c:v>0.15786473490544622</c:v>
                </c:pt>
                <c:pt idx="1">
                  <c:v>0.1553344472437175</c:v>
                </c:pt>
                <c:pt idx="2">
                  <c:v>0.15698453305410617</c:v>
                </c:pt>
                <c:pt idx="3">
                  <c:v>0.15550871223048457</c:v>
                </c:pt>
                <c:pt idx="4">
                  <c:v>0.1537912506162341</c:v>
                </c:pt>
                <c:pt idx="5">
                  <c:v>0.15323839619403218</c:v>
                </c:pt>
                <c:pt idx="6">
                  <c:v>0.15533227239892883</c:v>
                </c:pt>
                <c:pt idx="7">
                  <c:v>0.15210298851250115</c:v>
                </c:pt>
                <c:pt idx="8">
                  <c:v>0.14831965736808184</c:v>
                </c:pt>
                <c:pt idx="9">
                  <c:v>0.15117113964550316</c:v>
                </c:pt>
                <c:pt idx="10">
                  <c:v>0.14823446115232908</c:v>
                </c:pt>
                <c:pt idx="11">
                  <c:v>0.1535824044877122</c:v>
                </c:pt>
                <c:pt idx="12">
                  <c:v>0.1531471525782292</c:v>
                </c:pt>
                <c:pt idx="13">
                  <c:v>0.15148443380461646</c:v>
                </c:pt>
                <c:pt idx="14">
                  <c:v>0.1510536480942531</c:v>
                </c:pt>
                <c:pt idx="15">
                  <c:v>0.14904988924625096</c:v>
                </c:pt>
                <c:pt idx="16">
                  <c:v>0.14648378877046359</c:v>
                </c:pt>
                <c:pt idx="17">
                  <c:v>0.15001011096082378</c:v>
                </c:pt>
                <c:pt idx="18">
                  <c:v>0.14765007148069115</c:v>
                </c:pt>
                <c:pt idx="19">
                  <c:v>0.14057230542343205</c:v>
                </c:pt>
                <c:pt idx="20">
                  <c:v>0.14329435114748582</c:v>
                </c:pt>
                <c:pt idx="21">
                  <c:v>0.14762670854343307</c:v>
                </c:pt>
                <c:pt idx="22">
                  <c:v>0.14868350557238524</c:v>
                </c:pt>
                <c:pt idx="23">
                  <c:v>0.15055259603376536</c:v>
                </c:pt>
                <c:pt idx="24">
                  <c:v>0.1550516508443068</c:v>
                </c:pt>
                <c:pt idx="25">
                  <c:v>0.15763706971181407</c:v>
                </c:pt>
                <c:pt idx="26">
                  <c:v>0.15435547858898913</c:v>
                </c:pt>
                <c:pt idx="27">
                  <c:v>0.1533072144969885</c:v>
                </c:pt>
                <c:pt idx="28">
                  <c:v>0.15155254195417242</c:v>
                </c:pt>
                <c:pt idx="29">
                  <c:v>0.15150247613944506</c:v>
                </c:pt>
                <c:pt idx="30">
                  <c:v>0.15538695421075868</c:v>
                </c:pt>
                <c:pt idx="31">
                  <c:v>0.16437998179657</c:v>
                </c:pt>
                <c:pt idx="32">
                  <c:v>0.1568060903680384</c:v>
                </c:pt>
                <c:pt idx="33">
                  <c:v>0.1490354808995259</c:v>
                </c:pt>
                <c:pt idx="34">
                  <c:v>0.14692736833818085</c:v>
                </c:pt>
                <c:pt idx="35">
                  <c:v>0.15208764254136464</c:v>
                </c:pt>
                <c:pt idx="36">
                  <c:v>0.14869861852443725</c:v>
                </c:pt>
                <c:pt idx="37">
                  <c:v>0.14369640893357416</c:v>
                </c:pt>
                <c:pt idx="38">
                  <c:v>0.14604405401764065</c:v>
                </c:pt>
                <c:pt idx="39">
                  <c:v>0.15167853870200687</c:v>
                </c:pt>
                <c:pt idx="40">
                  <c:v>0.14947014471322423</c:v>
                </c:pt>
                <c:pt idx="41">
                  <c:v>0.14939689904766235</c:v>
                </c:pt>
                <c:pt idx="42">
                  <c:v>0.15326325711111918</c:v>
                </c:pt>
                <c:pt idx="43">
                  <c:v>0.14513515753046613</c:v>
                </c:pt>
                <c:pt idx="44">
                  <c:v>0.15013608551636448</c:v>
                </c:pt>
                <c:pt idx="45">
                  <c:v>0.1542034058959842</c:v>
                </c:pt>
                <c:pt idx="46">
                  <c:v>0.15506582062387392</c:v>
                </c:pt>
                <c:pt idx="47">
                  <c:v>0.15702972766035272</c:v>
                </c:pt>
                <c:pt idx="48">
                  <c:v>0.16090011917320082</c:v>
                </c:pt>
                <c:pt idx="49">
                  <c:v>0.15658603713116664</c:v>
                </c:pt>
                <c:pt idx="50">
                  <c:v>0.1579180352469894</c:v>
                </c:pt>
                <c:pt idx="51">
                  <c:v>0.1598853099640466</c:v>
                </c:pt>
                <c:pt idx="52">
                  <c:v>0.15572205154307103</c:v>
                </c:pt>
                <c:pt idx="53">
                  <c:v>0.20331435897937072</c:v>
                </c:pt>
                <c:pt idx="54">
                  <c:v>0.151684924702688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2.0"/>
          <c:min val="1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2624434389137"/>
          <c:min val="0.087164413090339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1.2</c:v>
                </c:pt>
                <c:pt idx="1">
                  <c:v>762.8889</c:v>
                </c:pt>
                <c:pt idx="2">
                  <c:v>694.2</c:v>
                </c:pt>
                <c:pt idx="3">
                  <c:v>663.5455</c:v>
                </c:pt>
                <c:pt idx="4">
                  <c:v>694.1818</c:v>
                </c:pt>
                <c:pt idx="5">
                  <c:v>628.0</c:v>
                </c:pt>
                <c:pt idx="6">
                  <c:v>688.2857</c:v>
                </c:pt>
                <c:pt idx="7">
                  <c:v>757.8571</c:v>
                </c:pt>
                <c:pt idx="8">
                  <c:v>784.0</c:v>
                </c:pt>
                <c:pt idx="9">
                  <c:v>739.75</c:v>
                </c:pt>
                <c:pt idx="10">
                  <c:v>718.2</c:v>
                </c:pt>
                <c:pt idx="11">
                  <c:v>736.1111</c:v>
                </c:pt>
                <c:pt idx="12">
                  <c:v>702.6</c:v>
                </c:pt>
                <c:pt idx="13">
                  <c:v>717.7273</c:v>
                </c:pt>
                <c:pt idx="14">
                  <c:v>672.75</c:v>
                </c:pt>
                <c:pt idx="15">
                  <c:v>672.0</c:v>
                </c:pt>
                <c:pt idx="16">
                  <c:v>621.6</c:v>
                </c:pt>
                <c:pt idx="17">
                  <c:v>684.5</c:v>
                </c:pt>
                <c:pt idx="18">
                  <c:v>684.0</c:v>
                </c:pt>
                <c:pt idx="19">
                  <c:v>721.0</c:v>
                </c:pt>
                <c:pt idx="20">
                  <c:v>1236.0</c:v>
                </c:pt>
                <c:pt idx="21">
                  <c:v>750.6667</c:v>
                </c:pt>
                <c:pt idx="22">
                  <c:v>865.2</c:v>
                </c:pt>
                <c:pt idx="23">
                  <c:v>868.2222</c:v>
                </c:pt>
                <c:pt idx="24">
                  <c:v>875.5</c:v>
                </c:pt>
                <c:pt idx="25">
                  <c:v>850.3333</c:v>
                </c:pt>
                <c:pt idx="26">
                  <c:v>883.3333</c:v>
                </c:pt>
                <c:pt idx="27">
                  <c:v>769.0</c:v>
                </c:pt>
                <c:pt idx="28">
                  <c:v>865.2</c:v>
                </c:pt>
                <c:pt idx="29">
                  <c:v>821.2</c:v>
                </c:pt>
                <c:pt idx="30">
                  <c:v>750.6667</c:v>
                </c:pt>
                <c:pt idx="31">
                  <c:v>821.2</c:v>
                </c:pt>
                <c:pt idx="32">
                  <c:v>859.6</c:v>
                </c:pt>
                <c:pt idx="33">
                  <c:v>885.6667</c:v>
                </c:pt>
                <c:pt idx="34">
                  <c:v>822.0</c:v>
                </c:pt>
                <c:pt idx="35">
                  <c:v>849.4286</c:v>
                </c:pt>
                <c:pt idx="36">
                  <c:v>1222.6667</c:v>
                </c:pt>
                <c:pt idx="37">
                  <c:v>1116.0</c:v>
                </c:pt>
                <c:pt idx="38">
                  <c:v>1041.5</c:v>
                </c:pt>
                <c:pt idx="39">
                  <c:v>967.0</c:v>
                </c:pt>
                <c:pt idx="40">
                  <c:v>1087.5</c:v>
                </c:pt>
                <c:pt idx="41">
                  <c:v>840.0</c:v>
                </c:pt>
                <c:pt idx="42">
                  <c:v>759.0</c:v>
                </c:pt>
                <c:pt idx="43">
                  <c:v>960.0</c:v>
                </c:pt>
                <c:pt idx="44">
                  <c:v>1200.0</c:v>
                </c:pt>
                <c:pt idx="45">
                  <c:v>1120.0</c:v>
                </c:pt>
                <c:pt idx="46">
                  <c:v>1080.0</c:v>
                </c:pt>
                <c:pt idx="47">
                  <c:v>956.0</c:v>
                </c:pt>
                <c:pt idx="48">
                  <c:v>1046.0</c:v>
                </c:pt>
                <c:pt idx="49">
                  <c:v>974.1176</c:v>
                </c:pt>
                <c:pt idx="50">
                  <c:v>970.6364</c:v>
                </c:pt>
                <c:pt idx="51">
                  <c:v>900.0</c:v>
                </c:pt>
                <c:pt idx="52">
                  <c:v>933.0</c:v>
                </c:pt>
                <c:pt idx="53">
                  <c:v>935.4</c:v>
                </c:pt>
                <c:pt idx="54">
                  <c:v>1018.8</c:v>
                </c:pt>
                <c:pt idx="55">
                  <c:v>960.0</c:v>
                </c:pt>
                <c:pt idx="56">
                  <c:v>900.0</c:v>
                </c:pt>
                <c:pt idx="57">
                  <c:v>1053.0</c:v>
                </c:pt>
                <c:pt idx="58">
                  <c:v>1170.0</c:v>
                </c:pt>
                <c:pt idx="59">
                  <c:v>1201.3333</c:v>
                </c:pt>
                <c:pt idx="60">
                  <c:v>1241.25</c:v>
                </c:pt>
                <c:pt idx="61">
                  <c:v>1041.5</c:v>
                </c:pt>
                <c:pt idx="62">
                  <c:v>951.0</c:v>
                </c:pt>
                <c:pt idx="63">
                  <c:v>1199.7</c:v>
                </c:pt>
                <c:pt idx="64">
                  <c:v>1168.2857</c:v>
                </c:pt>
                <c:pt idx="65">
                  <c:v>1136.0833</c:v>
                </c:pt>
                <c:pt idx="66">
                  <c:v>1112.2</c:v>
                </c:pt>
                <c:pt idx="67">
                  <c:v>1110.4286</c:v>
                </c:pt>
                <c:pt idx="68">
                  <c:v>1113.5</c:v>
                </c:pt>
                <c:pt idx="69">
                  <c:v>1112.2</c:v>
                </c:pt>
                <c:pt idx="70">
                  <c:v>1109.3333</c:v>
                </c:pt>
                <c:pt idx="71">
                  <c:v>1112.0</c:v>
                </c:pt>
                <c:pt idx="72">
                  <c:v>1289.0</c:v>
                </c:pt>
                <c:pt idx="73">
                  <c:v>1385.5</c:v>
                </c:pt>
                <c:pt idx="74">
                  <c:v>1116.0</c:v>
                </c:pt>
                <c:pt idx="75">
                  <c:v>922.5</c:v>
                </c:pt>
                <c:pt idx="76">
                  <c:v>924.0</c:v>
                </c:pt>
                <c:pt idx="77">
                  <c:v>1590.0</c:v>
                </c:pt>
                <c:pt idx="78">
                  <c:v>963.0</c:v>
                </c:pt>
                <c:pt idx="79">
                  <c:v>829.3333</c:v>
                </c:pt>
                <c:pt idx="80">
                  <c:v>689.0</c:v>
                </c:pt>
                <c:pt idx="81">
                  <c:v>698.5</c:v>
                </c:pt>
                <c:pt idx="82">
                  <c:v>547.0</c:v>
                </c:pt>
                <c:pt idx="83">
                  <c:v>545.0</c:v>
                </c:pt>
                <c:pt idx="84">
                  <c:v>656.25</c:v>
                </c:pt>
                <c:pt idx="85">
                  <c:v>531.4286</c:v>
                </c:pt>
                <c:pt idx="86">
                  <c:v>713.1667</c:v>
                </c:pt>
                <c:pt idx="87">
                  <c:v>598.0</c:v>
                </c:pt>
                <c:pt idx="88">
                  <c:v>724.3333</c:v>
                </c:pt>
                <c:pt idx="89">
                  <c:v>724.3333</c:v>
                </c:pt>
                <c:pt idx="90">
                  <c:v>676.0</c:v>
                </c:pt>
                <c:pt idx="91">
                  <c:v>676.0</c:v>
                </c:pt>
                <c:pt idx="92">
                  <c:v>668.5714</c:v>
                </c:pt>
                <c:pt idx="93">
                  <c:v>760.5</c:v>
                </c:pt>
                <c:pt idx="94">
                  <c:v>702.75</c:v>
                </c:pt>
                <c:pt idx="95">
                  <c:v>784.6667</c:v>
                </c:pt>
                <c:pt idx="96">
                  <c:v>690.625</c:v>
                </c:pt>
                <c:pt idx="97">
                  <c:v>713.875</c:v>
                </c:pt>
                <c:pt idx="98">
                  <c:v>723.8889</c:v>
                </c:pt>
                <c:pt idx="99">
                  <c:v>808.4286</c:v>
                </c:pt>
                <c:pt idx="100">
                  <c:v>1089.2</c:v>
                </c:pt>
                <c:pt idx="101">
                  <c:v>1056.0</c:v>
                </c:pt>
                <c:pt idx="102">
                  <c:v>573.0</c:v>
                </c:pt>
                <c:pt idx="103">
                  <c:v>709.5</c:v>
                </c:pt>
                <c:pt idx="104">
                  <c:v>692.3333</c:v>
                </c:pt>
              </c:numCache>
            </c:numRef>
          </c:xVal>
          <c:yVal>
            <c:numRef>
              <c:f>Sheet1!$B$2:$B$106</c:f>
              <c:numCache>
                <c:formatCode>General</c:formatCode>
                <c:ptCount val="105"/>
                <c:pt idx="0">
                  <c:v>0.01179245283018868</c:v>
                </c:pt>
                <c:pt idx="1">
                  <c:v>0.011056511056511056</c:v>
                </c:pt>
                <c:pt idx="2">
                  <c:v>0.012626262626262626</c:v>
                </c:pt>
                <c:pt idx="3">
                  <c:v>0.016417910447761194</c:v>
                </c:pt>
                <c:pt idx="4">
                  <c:v>0.020257826887661142</c:v>
                </c:pt>
                <c:pt idx="5">
                  <c:v>0.015105740181268883</c:v>
                </c:pt>
                <c:pt idx="6">
                  <c:v>0.01580135440180587</c:v>
                </c:pt>
                <c:pt idx="7">
                  <c:v>0.018867924528301886</c:v>
                </c:pt>
                <c:pt idx="8">
                  <c:v>0.015151515151515152</c:v>
                </c:pt>
                <c:pt idx="9">
                  <c:v>0.019704433497536946</c:v>
                </c:pt>
                <c:pt idx="10">
                  <c:v>0.01597444089456869</c:v>
                </c:pt>
                <c:pt idx="11">
                  <c:v>0.012311901504787962</c:v>
                </c:pt>
                <c:pt idx="12">
                  <c:v>0.012239902080783354</c:v>
                </c:pt>
                <c:pt idx="13">
                  <c:v>0.013630731102850062</c:v>
                </c:pt>
                <c:pt idx="14">
                  <c:v>0.009535160905840286</c:v>
                </c:pt>
                <c:pt idx="15">
                  <c:v>0.00819672131147541</c:v>
                </c:pt>
                <c:pt idx="16">
                  <c:v>0.00741839762611276</c:v>
                </c:pt>
                <c:pt idx="17">
                  <c:v>0.006472491909385114</c:v>
                </c:pt>
                <c:pt idx="18">
                  <c:v>0.004319654427645789</c:v>
                </c:pt>
                <c:pt idx="19">
                  <c:v>0.00558659217877095</c:v>
                </c:pt>
                <c:pt idx="20">
                  <c:v>0.0026595744680851063</c:v>
                </c:pt>
                <c:pt idx="21">
                  <c:v>0.0084985835694051</c:v>
                </c:pt>
                <c:pt idx="22">
                  <c:v>0.015060240963855422</c:v>
                </c:pt>
                <c:pt idx="23">
                  <c:v>0.02786377708978328</c:v>
                </c:pt>
                <c:pt idx="24">
                  <c:v>0.011267605633802818</c:v>
                </c:pt>
                <c:pt idx="25">
                  <c:v>0.017142857142857144</c:v>
                </c:pt>
                <c:pt idx="26">
                  <c:v>0.021634615384615384</c:v>
                </c:pt>
                <c:pt idx="27">
                  <c:v>0.010282776349614395</c:v>
                </c:pt>
                <c:pt idx="28">
                  <c:v>0.012594458438287154</c:v>
                </c:pt>
                <c:pt idx="29">
                  <c:v>0.010482180293501049</c:v>
                </c:pt>
                <c:pt idx="30">
                  <c:v>0.007614213197969543</c:v>
                </c:pt>
                <c:pt idx="31">
                  <c:v>0.014326647564469915</c:v>
                </c:pt>
                <c:pt idx="32">
                  <c:v>0.015060240963855422</c:v>
                </c:pt>
                <c:pt idx="33">
                  <c:v>0.012448132780082987</c:v>
                </c:pt>
                <c:pt idx="34">
                  <c:v>0.013435700575815739</c:v>
                </c:pt>
                <c:pt idx="35">
                  <c:v>0.011686143572621035</c:v>
                </c:pt>
                <c:pt idx="36">
                  <c:v>0.00505902192242833</c:v>
                </c:pt>
                <c:pt idx="37">
                  <c:v>0.004246284501061571</c:v>
                </c:pt>
                <c:pt idx="38">
                  <c:v>0.007285974499089253</c:v>
                </c:pt>
                <c:pt idx="39">
                  <c:v>0.00423728813559322</c:v>
                </c:pt>
                <c:pt idx="40">
                  <c:v>0.0038022813688212928</c:v>
                </c:pt>
                <c:pt idx="41">
                  <c:v>0.00398406374501992</c:v>
                </c:pt>
                <c:pt idx="42">
                  <c:v>0.0017605633802816902</c:v>
                </c:pt>
                <c:pt idx="43">
                  <c:v>0.005610098176718092</c:v>
                </c:pt>
                <c:pt idx="44">
                  <c:v>0.002028397565922921</c:v>
                </c:pt>
                <c:pt idx="45">
                  <c:v>0.002976190476190476</c:v>
                </c:pt>
                <c:pt idx="46">
                  <c:v>0.003952569169960474</c:v>
                </c:pt>
                <c:pt idx="47">
                  <c:v>0.0056925996204933585</c:v>
                </c:pt>
                <c:pt idx="48">
                  <c:v>0.005157593123209169</c:v>
                </c:pt>
                <c:pt idx="49">
                  <c:v>0.006794564348521183</c:v>
                </c:pt>
                <c:pt idx="50">
                  <c:v>0.009598603839441536</c:v>
                </c:pt>
                <c:pt idx="51">
                  <c:v>0.005082592121982211</c:v>
                </c:pt>
                <c:pt idx="52">
                  <c:v>0.006430868167202572</c:v>
                </c:pt>
                <c:pt idx="53">
                  <c:v>0.006165228113440197</c:v>
                </c:pt>
                <c:pt idx="54">
                  <c:v>0.007518796992481203</c:v>
                </c:pt>
                <c:pt idx="55">
                  <c:v>0.008305647840531562</c:v>
                </c:pt>
                <c:pt idx="56">
                  <c:v>0.007518796992481203</c:v>
                </c:pt>
                <c:pt idx="57">
                  <c:v>0.005660377358490566</c:v>
                </c:pt>
                <c:pt idx="58">
                  <c:v>0.011741682974559686</c:v>
                </c:pt>
                <c:pt idx="59">
                  <c:v>0.003061224489795918</c:v>
                </c:pt>
                <c:pt idx="60">
                  <c:v>0.005076142131979695</c:v>
                </c:pt>
                <c:pt idx="61">
                  <c:v>0.006191950464396285</c:v>
                </c:pt>
                <c:pt idx="62">
                  <c:v>0.018433179723502304</c:v>
                </c:pt>
                <c:pt idx="63">
                  <c:v>0.012453300124533</c:v>
                </c:pt>
                <c:pt idx="64">
                  <c:v>0.016260162601626018</c:v>
                </c:pt>
                <c:pt idx="65">
                  <c:v>0.0160857908847185</c:v>
                </c:pt>
                <c:pt idx="66">
                  <c:v>0.014265335235378032</c:v>
                </c:pt>
                <c:pt idx="67">
                  <c:v>0.009655172413793104</c:v>
                </c:pt>
                <c:pt idx="68">
                  <c:v>0.013008130081300813</c:v>
                </c:pt>
                <c:pt idx="69">
                  <c:v>0.010917030567685589</c:v>
                </c:pt>
                <c:pt idx="70">
                  <c:v>0.0064794816414686825</c:v>
                </c:pt>
                <c:pt idx="71">
                  <c:v>0.012077294685990338</c:v>
                </c:pt>
                <c:pt idx="72">
                  <c:v>0.006355932203389831</c:v>
                </c:pt>
                <c:pt idx="73">
                  <c:v>0.004640371229698376</c:v>
                </c:pt>
                <c:pt idx="74">
                  <c:v>0.0069124423963133645</c:v>
                </c:pt>
                <c:pt idx="75">
                  <c:v>0.009174311926605505</c:v>
                </c:pt>
                <c:pt idx="76">
                  <c:v>0.006211180124223602</c:v>
                </c:pt>
                <c:pt idx="77">
                  <c:v>0.002506265664160401</c:v>
                </c:pt>
                <c:pt idx="78">
                  <c:v>0.002544529262086514</c:v>
                </c:pt>
                <c:pt idx="79">
                  <c:v>0.00804289544235925</c:v>
                </c:pt>
                <c:pt idx="80">
                  <c:v>0.005681818181818182</c:v>
                </c:pt>
                <c:pt idx="81">
                  <c:v>0.008438818565400843</c:v>
                </c:pt>
                <c:pt idx="82">
                  <c:v>0.007792207792207792</c:v>
                </c:pt>
                <c:pt idx="83">
                  <c:v>0.007731958762886598</c:v>
                </c:pt>
                <c:pt idx="84">
                  <c:v>0.011527377521613832</c:v>
                </c:pt>
                <c:pt idx="85">
                  <c:v>0.01804123711340206</c:v>
                </c:pt>
                <c:pt idx="86">
                  <c:v>0.010273972602739725</c:v>
                </c:pt>
                <c:pt idx="87">
                  <c:v>0.00865051903114187</c:v>
                </c:pt>
                <c:pt idx="88">
                  <c:v>0.0057251908396946565</c:v>
                </c:pt>
                <c:pt idx="89">
                  <c:v>0.006756756756756757</c:v>
                </c:pt>
                <c:pt idx="90">
                  <c:v>0.005319148936170213</c:v>
                </c:pt>
                <c:pt idx="91">
                  <c:v>0.00516795865633075</c:v>
                </c:pt>
                <c:pt idx="92">
                  <c:v>0.013133208255159476</c:v>
                </c:pt>
                <c:pt idx="93">
                  <c:v>0.0074211502782931356</c:v>
                </c:pt>
                <c:pt idx="94">
                  <c:v>0.007575757575757576</c:v>
                </c:pt>
                <c:pt idx="95">
                  <c:v>0.004739336492890996</c:v>
                </c:pt>
                <c:pt idx="96">
                  <c:v>0.009512485136741973</c:v>
                </c:pt>
                <c:pt idx="97">
                  <c:v>0.008008008008008008</c:v>
                </c:pt>
                <c:pt idx="98">
                  <c:v>0.007252215954875101</c:v>
                </c:pt>
                <c:pt idx="99">
                  <c:v>0.005043227665706052</c:v>
                </c:pt>
                <c:pt idx="100">
                  <c:v>0.004699248120300752</c:v>
                </c:pt>
                <c:pt idx="101">
                  <c:v>0.0019212295869356388</c:v>
                </c:pt>
                <c:pt idx="102">
                  <c:v>0.003105590062111801</c:v>
                </c:pt>
                <c:pt idx="103">
                  <c:v>0.0028368794326241137</c:v>
                </c:pt>
                <c:pt idx="104">
                  <c:v>0.00444444444444444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5.0</c:v>
                </c:pt>
                <c:pt idx="1">
                  <c:v>727.1667</c:v>
                </c:pt>
                <c:pt idx="2">
                  <c:v>639.1667</c:v>
                </c:pt>
                <c:pt idx="3">
                  <c:v>609.3333</c:v>
                </c:pt>
                <c:pt idx="4">
                  <c:v>620.6667</c:v>
                </c:pt>
                <c:pt idx="5">
                  <c:v>607.5</c:v>
                </c:pt>
                <c:pt idx="6">
                  <c:v>601.0</c:v>
                </c:pt>
                <c:pt idx="7">
                  <c:v>646.0</c:v>
                </c:pt>
                <c:pt idx="8">
                  <c:v>636.0</c:v>
                </c:pt>
                <c:pt idx="9">
                  <c:v>974.0</c:v>
                </c:pt>
                <c:pt idx="10">
                  <c:v>517.0</c:v>
                </c:pt>
                <c:pt idx="11">
                  <c:v>603.0</c:v>
                </c:pt>
                <c:pt idx="12">
                  <c:v>739.5</c:v>
                </c:pt>
                <c:pt idx="13">
                  <c:v>684.25</c:v>
                </c:pt>
                <c:pt idx="14">
                  <c:v>653.0</c:v>
                </c:pt>
                <c:pt idx="15">
                  <c:v>573.0</c:v>
                </c:pt>
                <c:pt idx="16">
                  <c:v>849.0</c:v>
                </c:pt>
                <c:pt idx="17">
                  <c:v>635.0</c:v>
                </c:pt>
                <c:pt idx="18">
                  <c:v>461.0</c:v>
                </c:pt>
                <c:pt idx="19">
                  <c:v>0.0</c:v>
                </c:pt>
                <c:pt idx="20">
                  <c:v>636.0</c:v>
                </c:pt>
                <c:pt idx="21">
                  <c:v>451.0</c:v>
                </c:pt>
                <c:pt idx="22">
                  <c:v>477.0</c:v>
                </c:pt>
                <c:pt idx="23">
                  <c:v>477.0</c:v>
                </c:pt>
                <c:pt idx="24">
                  <c:v>795.0</c:v>
                </c:pt>
                <c:pt idx="25">
                  <c:v>0.0</c:v>
                </c:pt>
                <c:pt idx="26">
                  <c:v>0.0</c:v>
                </c:pt>
                <c:pt idx="27">
                  <c:v>476.5</c:v>
                </c:pt>
                <c:pt idx="28">
                  <c:v>0.0</c:v>
                </c:pt>
                <c:pt idx="29">
                  <c:v>308.0</c:v>
                </c:pt>
                <c:pt idx="30">
                  <c:v>556.0</c:v>
                </c:pt>
                <c:pt idx="31">
                  <c:v>0.0</c:v>
                </c:pt>
                <c:pt idx="32">
                  <c:v>0.0</c:v>
                </c:pt>
                <c:pt idx="33">
                  <c:v>556.5</c:v>
                </c:pt>
                <c:pt idx="34">
                  <c:v>636.0</c:v>
                </c:pt>
                <c:pt idx="35">
                  <c:v>715.5</c:v>
                </c:pt>
                <c:pt idx="36">
                  <c:v>636.0</c:v>
                </c:pt>
                <c:pt idx="37">
                  <c:v>501.3333</c:v>
                </c:pt>
                <c:pt idx="38">
                  <c:v>451.0</c:v>
                </c:pt>
                <c:pt idx="39">
                  <c:v>413.5</c:v>
                </c:pt>
                <c:pt idx="40">
                  <c:v>350.0</c:v>
                </c:pt>
                <c:pt idx="41">
                  <c:v>374.4167</c:v>
                </c:pt>
                <c:pt idx="42">
                  <c:v>392.2857</c:v>
                </c:pt>
                <c:pt idx="43">
                  <c:v>346.3333</c:v>
                </c:pt>
                <c:pt idx="44">
                  <c:v>360.0</c:v>
                </c:pt>
                <c:pt idx="45">
                  <c:v>353.3333</c:v>
                </c:pt>
                <c:pt idx="46">
                  <c:v>365.5</c:v>
                </c:pt>
                <c:pt idx="47">
                  <c:v>370.0</c:v>
                </c:pt>
                <c:pt idx="48">
                  <c:v>391.5</c:v>
                </c:pt>
                <c:pt idx="49">
                  <c:v>339.6667</c:v>
                </c:pt>
                <c:pt idx="50">
                  <c:v>280.75</c:v>
                </c:pt>
                <c:pt idx="51">
                  <c:v>376.0</c:v>
                </c:pt>
              </c:numCache>
            </c:numRef>
          </c:xVal>
          <c:yVal>
            <c:numRef>
              <c:f>Sheet1!$B$109:$B$160</c:f>
              <c:numCache>
                <c:formatCode>General</c:formatCode>
                <c:ptCount val="52"/>
                <c:pt idx="0">
                  <c:v>0.003978779840848806</c:v>
                </c:pt>
                <c:pt idx="1">
                  <c:v>0.0091324200913242</c:v>
                </c:pt>
                <c:pt idx="2">
                  <c:v>0.008438818565400843</c:v>
                </c:pt>
                <c:pt idx="3">
                  <c:v>0.00964630225080386</c:v>
                </c:pt>
                <c:pt idx="4">
                  <c:v>0.009852216748768473</c:v>
                </c:pt>
                <c:pt idx="5">
                  <c:v>0.011131725417439703</c:v>
                </c:pt>
                <c:pt idx="6">
                  <c:v>0.009779951100244499</c:v>
                </c:pt>
                <c:pt idx="7">
                  <c:v>0.00398406374501992</c:v>
                </c:pt>
                <c:pt idx="8">
                  <c:v>0.003246753246753247</c:v>
                </c:pt>
                <c:pt idx="9">
                  <c:v>0.0030864197530864196</c:v>
                </c:pt>
                <c:pt idx="10">
                  <c:v>0.004514672686230248</c:v>
                </c:pt>
                <c:pt idx="11">
                  <c:v>0.009174311926605505</c:v>
                </c:pt>
                <c:pt idx="12">
                  <c:v>0.0030349013657056147</c:v>
                </c:pt>
                <c:pt idx="13">
                  <c:v>0.006369426751592357</c:v>
                </c:pt>
                <c:pt idx="14">
                  <c:v>0.005405405405405406</c:v>
                </c:pt>
                <c:pt idx="15">
                  <c:v>0.005110732538330494</c:v>
                </c:pt>
                <c:pt idx="16">
                  <c:v>0.001968503937007874</c:v>
                </c:pt>
                <c:pt idx="17">
                  <c:v>0.0022026431718061676</c:v>
                </c:pt>
                <c:pt idx="18">
                  <c:v>0.0029154518950437317</c:v>
                </c:pt>
                <c:pt idx="19">
                  <c:v>0.0</c:v>
                </c:pt>
                <c:pt idx="20">
                  <c:v>0.0026595744680851063</c:v>
                </c:pt>
                <c:pt idx="21">
                  <c:v>0.0036101083032490976</c:v>
                </c:pt>
                <c:pt idx="22">
                  <c:v>0.00411522633744856</c:v>
                </c:pt>
                <c:pt idx="23">
                  <c:v>0.004273504273504274</c:v>
                </c:pt>
                <c:pt idx="24">
                  <c:v>0.004219409282700422</c:v>
                </c:pt>
                <c:pt idx="25">
                  <c:v>0.0</c:v>
                </c:pt>
                <c:pt idx="26">
                  <c:v>0.0</c:v>
                </c:pt>
                <c:pt idx="27">
                  <c:v>0.006920415224913495</c:v>
                </c:pt>
                <c:pt idx="28">
                  <c:v>0.0</c:v>
                </c:pt>
                <c:pt idx="29">
                  <c:v>0.0038022813688212928</c:v>
                </c:pt>
                <c:pt idx="30">
                  <c:v>0.0035971223021582736</c:v>
                </c:pt>
                <c:pt idx="31">
                  <c:v>0.0</c:v>
                </c:pt>
                <c:pt idx="32">
                  <c:v>0.0</c:v>
                </c:pt>
                <c:pt idx="33">
                  <c:v>0.005277044854881266</c:v>
                </c:pt>
                <c:pt idx="34">
                  <c:v>0.002105263157894737</c:v>
                </c:pt>
                <c:pt idx="35">
                  <c:v>0.0041753653444676405</c:v>
                </c:pt>
                <c:pt idx="36">
                  <c:v>0.0037313432835820895</c:v>
                </c:pt>
                <c:pt idx="37">
                  <c:v>0.010238907849829351</c:v>
                </c:pt>
                <c:pt idx="38">
                  <c:v>0.00425531914893617</c:v>
                </c:pt>
                <c:pt idx="39">
                  <c:v>0.010958904109589041</c:v>
                </c:pt>
                <c:pt idx="40">
                  <c:v>0.0070921985815602835</c:v>
                </c:pt>
                <c:pt idx="41">
                  <c:v>0.023622047244094488</c:v>
                </c:pt>
                <c:pt idx="42">
                  <c:v>0.01728395061728395</c:v>
                </c:pt>
                <c:pt idx="43">
                  <c:v>0.006048387096774193</c:v>
                </c:pt>
                <c:pt idx="44">
                  <c:v>0.006462035541195477</c:v>
                </c:pt>
                <c:pt idx="45">
                  <c:v>0.003740648379052369</c:v>
                </c:pt>
                <c:pt idx="46">
                  <c:v>0.006920415224913495</c:v>
                </c:pt>
                <c:pt idx="47">
                  <c:v>0.004484304932735426</c:v>
                </c:pt>
                <c:pt idx="48">
                  <c:v>0.007009345794392523</c:v>
                </c:pt>
                <c:pt idx="49">
                  <c:v>0.004048582995951417</c:v>
                </c:pt>
                <c:pt idx="50">
                  <c:v>0.0032076984763432237</c:v>
                </c:pt>
                <c:pt idx="51">
                  <c:v>0.00286944045911047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818.968071149449</c:v>
                </c:pt>
              </c:numCache>
            </c:numRef>
          </c:xVal>
          <c:yVal>
            <c:numRef>
              <c:f>Sheet1!$B$163:$B$164</c:f>
              <c:numCache>
                <c:formatCode>General</c:formatCode>
                <c:ptCount val="2"/>
                <c:pt idx="0">
                  <c:v>0.015230833123475165</c:v>
                </c:pt>
                <c:pt idx="1">
                  <c:v>0.0152308331234751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818.968071149449</c:v>
                </c:pt>
                <c:pt idx="1">
                  <c:v>2818.968071149449</c:v>
                </c:pt>
              </c:numCache>
            </c:numRef>
          </c:xVal>
          <c:yVal>
            <c:numRef>
              <c:f>Sheet1!$B$167:$B$168</c:f>
              <c:numCache>
                <c:formatCode>General</c:formatCode>
                <c:ptCount val="2"/>
                <c:pt idx="0">
                  <c:v>0.0152308331234751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2.4669277399842</c:v>
                </c:pt>
              </c:numCache>
            </c:numRef>
          </c:xVal>
          <c:yVal>
            <c:numRef>
              <c:f>Sheet1!$B$171:$B$172</c:f>
              <c:numCache>
                <c:formatCode>General</c:formatCode>
                <c:ptCount val="2"/>
                <c:pt idx="0">
                  <c:v>0.008385679027231845</c:v>
                </c:pt>
                <c:pt idx="1">
                  <c:v>0.0083856790272318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2.4669277399842</c:v>
                </c:pt>
                <c:pt idx="1">
                  <c:v>1192.4669277399842</c:v>
                </c:pt>
              </c:numCache>
            </c:numRef>
          </c:xVal>
          <c:yVal>
            <c:numRef>
              <c:f>Sheet1!$B$175:$B$176</c:f>
              <c:numCache>
                <c:formatCode>General</c:formatCode>
                <c:ptCount val="2"/>
                <c:pt idx="0">
                  <c:v>0.0083856790272318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6.2175896442388</c:v>
                </c:pt>
              </c:numCache>
            </c:numRef>
          </c:xVal>
          <c:yVal>
            <c:numRef>
              <c:f>Sheet1!$B$179:$B$180</c:f>
              <c:numCache>
                <c:formatCode>General</c:formatCode>
                <c:ptCount val="2"/>
                <c:pt idx="0">
                  <c:v>0.007980612265615104</c:v>
                </c:pt>
                <c:pt idx="1">
                  <c:v>0.00798061226561510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6.2175896442388</c:v>
                </c:pt>
                <c:pt idx="1">
                  <c:v>1096.2175896442388</c:v>
                </c:pt>
              </c:numCache>
            </c:numRef>
          </c:xVal>
          <c:yVal>
            <c:numRef>
              <c:f>Sheet1!$B$183:$B$184</c:f>
              <c:numCache>
                <c:formatCode>General</c:formatCode>
                <c:ptCount val="2"/>
                <c:pt idx="0">
                  <c:v>0.0079806122656151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5.0</c:v>
                </c:pt>
                <c:pt idx="1">
                  <c:v>727.1667</c:v>
                </c:pt>
                <c:pt idx="2">
                  <c:v>639.1667</c:v>
                </c:pt>
                <c:pt idx="3">
                  <c:v>609.3333</c:v>
                </c:pt>
                <c:pt idx="4">
                  <c:v>620.6667</c:v>
                </c:pt>
                <c:pt idx="5">
                  <c:v>607.5</c:v>
                </c:pt>
                <c:pt idx="6">
                  <c:v>601.0</c:v>
                </c:pt>
                <c:pt idx="7">
                  <c:v>646.0</c:v>
                </c:pt>
                <c:pt idx="8">
                  <c:v>636.0</c:v>
                </c:pt>
                <c:pt idx="9">
                  <c:v>974.0</c:v>
                </c:pt>
                <c:pt idx="10">
                  <c:v>517.0</c:v>
                </c:pt>
                <c:pt idx="11">
                  <c:v>603.0</c:v>
                </c:pt>
                <c:pt idx="12">
                  <c:v>739.5</c:v>
                </c:pt>
                <c:pt idx="13">
                  <c:v>684.25</c:v>
                </c:pt>
                <c:pt idx="14">
                  <c:v>653.0</c:v>
                </c:pt>
                <c:pt idx="15">
                  <c:v>573.0</c:v>
                </c:pt>
                <c:pt idx="16">
                  <c:v>849.0</c:v>
                </c:pt>
                <c:pt idx="17">
                  <c:v>635.0</c:v>
                </c:pt>
                <c:pt idx="18">
                  <c:v>461.0</c:v>
                </c:pt>
                <c:pt idx="19">
                  <c:v>0.0</c:v>
                </c:pt>
                <c:pt idx="20">
                  <c:v>636.0</c:v>
                </c:pt>
                <c:pt idx="21">
                  <c:v>451.0</c:v>
                </c:pt>
                <c:pt idx="22">
                  <c:v>477.0</c:v>
                </c:pt>
                <c:pt idx="23">
                  <c:v>477.0</c:v>
                </c:pt>
                <c:pt idx="24">
                  <c:v>795.0</c:v>
                </c:pt>
                <c:pt idx="25">
                  <c:v>0.0</c:v>
                </c:pt>
                <c:pt idx="26">
                  <c:v>0.0</c:v>
                </c:pt>
                <c:pt idx="27">
                  <c:v>476.5</c:v>
                </c:pt>
                <c:pt idx="28">
                  <c:v>0.0</c:v>
                </c:pt>
                <c:pt idx="29">
                  <c:v>308.0</c:v>
                </c:pt>
                <c:pt idx="30">
                  <c:v>556.0</c:v>
                </c:pt>
                <c:pt idx="31">
                  <c:v>0.0</c:v>
                </c:pt>
                <c:pt idx="32">
                  <c:v>0.0</c:v>
                </c:pt>
                <c:pt idx="33">
                  <c:v>556.5</c:v>
                </c:pt>
                <c:pt idx="34">
                  <c:v>636.0</c:v>
                </c:pt>
                <c:pt idx="35">
                  <c:v>715.5</c:v>
                </c:pt>
                <c:pt idx="36">
                  <c:v>636.0</c:v>
                </c:pt>
                <c:pt idx="37">
                  <c:v>501.3333</c:v>
                </c:pt>
                <c:pt idx="38">
                  <c:v>451.0</c:v>
                </c:pt>
                <c:pt idx="39">
                  <c:v>413.5</c:v>
                </c:pt>
                <c:pt idx="40">
                  <c:v>350.0</c:v>
                </c:pt>
                <c:pt idx="41">
                  <c:v>374.4167</c:v>
                </c:pt>
                <c:pt idx="42">
                  <c:v>392.2857</c:v>
                </c:pt>
                <c:pt idx="43">
                  <c:v>346.3333</c:v>
                </c:pt>
                <c:pt idx="44">
                  <c:v>360.0</c:v>
                </c:pt>
                <c:pt idx="45">
                  <c:v>353.3333</c:v>
                </c:pt>
                <c:pt idx="46">
                  <c:v>365.5</c:v>
                </c:pt>
                <c:pt idx="47">
                  <c:v>370.0</c:v>
                </c:pt>
                <c:pt idx="48">
                  <c:v>391.5</c:v>
                </c:pt>
                <c:pt idx="49">
                  <c:v>339.6667</c:v>
                </c:pt>
                <c:pt idx="50">
                  <c:v>280.75</c:v>
                </c:pt>
                <c:pt idx="51">
                  <c:v>376.0</c:v>
                </c:pt>
                <c:pt idx="52">
                  <c:v>1192.4669277399842</c:v>
                </c:pt>
                <c:pt idx="53">
                  <c:v>2818.968071149449</c:v>
                </c:pt>
                <c:pt idx="54">
                  <c:v>1096.2175896442388</c:v>
                </c:pt>
              </c:numCache>
            </c:numRef>
          </c:xVal>
          <c:yVal>
            <c:numRef>
              <c:f>Sheet1!$B$187:$B$241</c:f>
              <c:numCache>
                <c:formatCode>General</c:formatCode>
                <c:ptCount val="55"/>
                <c:pt idx="0">
                  <c:v>0.0062920821109537</c:v>
                </c:pt>
                <c:pt idx="1">
                  <c:v>0.006427456143219105</c:v>
                </c:pt>
                <c:pt idx="2">
                  <c:v>0.006057106842875719</c:v>
                </c:pt>
                <c:pt idx="3">
                  <c:v>0.0059315525381386245</c:v>
                </c:pt>
                <c:pt idx="4">
                  <c:v>0.005979249319508075</c:v>
                </c:pt>
                <c:pt idx="5">
                  <c:v>0.00592383706799863</c:v>
                </c:pt>
                <c:pt idx="6">
                  <c:v>0.005896481721950539</c:v>
                </c:pt>
                <c:pt idx="7">
                  <c:v>0.0060858648868988615</c:v>
                </c:pt>
                <c:pt idx="8">
                  <c:v>0.006043779739132567</c:v>
                </c:pt>
                <c:pt idx="9">
                  <c:v>0.007466257733633299</c:v>
                </c:pt>
                <c:pt idx="10">
                  <c:v>0.00554296648071367</c:v>
                </c:pt>
                <c:pt idx="11">
                  <c:v>0.005904898751503797</c:v>
                </c:pt>
                <c:pt idx="12">
                  <c:v>0.006479361018513708</c:v>
                </c:pt>
                <c:pt idx="13">
                  <c:v>0.006246840577104935</c:v>
                </c:pt>
                <c:pt idx="14">
                  <c:v>0.006115324490335266</c:v>
                </c:pt>
                <c:pt idx="15">
                  <c:v>0.005778643308204916</c:v>
                </c:pt>
                <c:pt idx="16">
                  <c:v>0.006940193386554626</c:v>
                </c:pt>
                <c:pt idx="17">
                  <c:v>0.006039571224355937</c:v>
                </c:pt>
                <c:pt idx="18">
                  <c:v>0.0053072896532224256</c:v>
                </c:pt>
                <c:pt idx="19">
                  <c:v>0.0033671643411962797</c:v>
                </c:pt>
                <c:pt idx="20">
                  <c:v>0.006043779739132567</c:v>
                </c:pt>
                <c:pt idx="21">
                  <c:v>0.005265204505456131</c:v>
                </c:pt>
                <c:pt idx="22">
                  <c:v>0.005374625889648495</c:v>
                </c:pt>
                <c:pt idx="23">
                  <c:v>0.005374625889648495</c:v>
                </c:pt>
                <c:pt idx="24">
                  <c:v>0.006712933588616639</c:v>
                </c:pt>
                <c:pt idx="25">
                  <c:v>0.0033671643411962797</c:v>
                </c:pt>
                <c:pt idx="26">
                  <c:v>0.0033671643411962797</c:v>
                </c:pt>
                <c:pt idx="27">
                  <c:v>0.005372521632260181</c:v>
                </c:pt>
                <c:pt idx="28">
                  <c:v>0.0033671643411962797</c:v>
                </c:pt>
                <c:pt idx="29">
                  <c:v>0.00466338689239813</c:v>
                </c:pt>
                <c:pt idx="30">
                  <c:v>0.005707098557002216</c:v>
                </c:pt>
                <c:pt idx="31">
                  <c:v>0.0033671643411962797</c:v>
                </c:pt>
                <c:pt idx="32">
                  <c:v>0.0033671643411962797</c:v>
                </c:pt>
                <c:pt idx="33">
                  <c:v>0.005709202814390531</c:v>
                </c:pt>
                <c:pt idx="34">
                  <c:v>0.006043779739132567</c:v>
                </c:pt>
                <c:pt idx="35">
                  <c:v>0.006378356663874603</c:v>
                </c:pt>
                <c:pt idx="36">
                  <c:v>0.006043779739132567</c:v>
                </c:pt>
                <c:pt idx="37">
                  <c:v>0.005477032942262651</c:v>
                </c:pt>
                <c:pt idx="38">
                  <c:v>0.005265204505456131</c:v>
                </c:pt>
                <c:pt idx="39">
                  <c:v>0.0051073852013325295</c:v>
                </c:pt>
                <c:pt idx="40">
                  <c:v>0.0048401445130165635</c:v>
                </c:pt>
                <c:pt idx="41">
                  <c:v>0.00494290255576309</c:v>
                </c:pt>
                <c:pt idx="42">
                  <c:v>0.005018104506306681</c:v>
                </c:pt>
                <c:pt idx="43">
                  <c:v>0.004824713151885097</c:v>
                </c:pt>
                <c:pt idx="44">
                  <c:v>0.004882229660782857</c:v>
                </c:pt>
                <c:pt idx="45">
                  <c:v>0.004854172755321502</c:v>
                </c:pt>
                <c:pt idx="46">
                  <c:v>0.004905376492054319</c:v>
                </c:pt>
                <c:pt idx="47">
                  <c:v>0.004924314808549151</c:v>
                </c:pt>
                <c:pt idx="48">
                  <c:v>0.0050147978762466825</c:v>
                </c:pt>
                <c:pt idx="49">
                  <c:v>0.004796656667275219</c:v>
                </c:pt>
                <c:pt idx="50">
                  <c:v>0.004548704864734979</c:v>
                </c:pt>
                <c:pt idx="51">
                  <c:v>0.004949565897208927</c:v>
                </c:pt>
                <c:pt idx="52">
                  <c:v>0.008385679027231845</c:v>
                </c:pt>
                <c:pt idx="53">
                  <c:v>0.015230833123475165</c:v>
                </c:pt>
                <c:pt idx="54">
                  <c:v>0.0079806122656151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38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4365325077399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837387174026926</c:v>
                </c:pt>
                <c:pt idx="1">
                  <c:v>0.6616181808279359</c:v>
                </c:pt>
                <c:pt idx="2">
                  <c:v>0.6035497803807373</c:v>
                </c:pt>
                <c:pt idx="3">
                  <c:v>0.5835621250089924</c:v>
                </c:pt>
                <c:pt idx="4">
                  <c:v>0.6113905880724098</c:v>
                </c:pt>
                <c:pt idx="5">
                  <c:v>0.5491670674653492</c:v>
                </c:pt>
                <c:pt idx="6">
                  <c:v>0.587897699745874</c:v>
                </c:pt>
                <c:pt idx="7">
                  <c:v>0.6616043228542976</c:v>
                </c:pt>
                <c:pt idx="8">
                  <c:v>0.698930199962682</c:v>
                </c:pt>
                <c:pt idx="9">
                  <c:v>0.6835940478017749</c:v>
                </c:pt>
                <c:pt idx="10">
                  <c:v>0.6739585946189728</c:v>
                </c:pt>
                <c:pt idx="11">
                  <c:v>0.6766575331686804</c:v>
                </c:pt>
                <c:pt idx="12">
                  <c:v>0.6481771056761163</c:v>
                </c:pt>
                <c:pt idx="13">
                  <c:v>0.6918120216683052</c:v>
                </c:pt>
                <c:pt idx="14">
                  <c:v>0.5964518760195758</c:v>
                </c:pt>
                <c:pt idx="15">
                  <c:v>0.5627130741944725</c:v>
                </c:pt>
                <c:pt idx="16">
                  <c:v>0.5355982406597302</c:v>
                </c:pt>
                <c:pt idx="17">
                  <c:v>0.5511163870854711</c:v>
                </c:pt>
                <c:pt idx="18">
                  <c:v>0.5731104615114431</c:v>
                </c:pt>
                <c:pt idx="19">
                  <c:v>0.6306481164570031</c:v>
                </c:pt>
                <c:pt idx="20">
                  <c:v>1.0436054847040872</c:v>
                </c:pt>
                <c:pt idx="21">
                  <c:v>0.6609025809976136</c:v>
                </c:pt>
                <c:pt idx="22">
                  <c:v>0.7462664681912975</c:v>
                </c:pt>
                <c:pt idx="23">
                  <c:v>0.7162873996288964</c:v>
                </c:pt>
                <c:pt idx="24">
                  <c:v>0.7457251762100465</c:v>
                </c:pt>
                <c:pt idx="25">
                  <c:v>0.7375105574452518</c:v>
                </c:pt>
                <c:pt idx="26">
                  <c:v>0.7379858132943721</c:v>
                </c:pt>
                <c:pt idx="27">
                  <c:v>0.668725715756091</c:v>
                </c:pt>
                <c:pt idx="28">
                  <c:v>0.7231414629188571</c:v>
                </c:pt>
                <c:pt idx="29">
                  <c:v>0.6819112414297117</c:v>
                </c:pt>
                <c:pt idx="30">
                  <c:v>0.6227638885121056</c:v>
                </c:pt>
                <c:pt idx="31">
                  <c:v>0.6811051785806853</c:v>
                </c:pt>
                <c:pt idx="32">
                  <c:v>0.7277696881554298</c:v>
                </c:pt>
                <c:pt idx="33">
                  <c:v>0.7384023863207753</c:v>
                </c:pt>
                <c:pt idx="34">
                  <c:v>0.7154499679831787</c:v>
                </c:pt>
                <c:pt idx="35">
                  <c:v>0.7205989779444244</c:v>
                </c:pt>
                <c:pt idx="36">
                  <c:v>1.0396145864271291</c:v>
                </c:pt>
                <c:pt idx="37">
                  <c:v>0.9586027900494968</c:v>
                </c:pt>
                <c:pt idx="38">
                  <c:v>0.8785156653303219</c:v>
                </c:pt>
                <c:pt idx="39">
                  <c:v>0.8229902102463388</c:v>
                </c:pt>
                <c:pt idx="40">
                  <c:v>0.9025609326147592</c:v>
                </c:pt>
                <c:pt idx="41">
                  <c:v>0.7059362769811576</c:v>
                </c:pt>
                <c:pt idx="42">
                  <c:v>0.6239396519649825</c:v>
                </c:pt>
                <c:pt idx="43">
                  <c:v>0.7930649772179693</c:v>
                </c:pt>
                <c:pt idx="44">
                  <c:v>0.9847992946210918</c:v>
                </c:pt>
                <c:pt idx="45">
                  <c:v>0.9318409124586214</c:v>
                </c:pt>
                <c:pt idx="46">
                  <c:v>0.9164066574907207</c:v>
                </c:pt>
                <c:pt idx="47">
                  <c:v>0.8055856409584008</c:v>
                </c:pt>
                <c:pt idx="48">
                  <c:v>0.8965597989100369</c:v>
                </c:pt>
                <c:pt idx="49">
                  <c:v>0.8211439784748005</c:v>
                </c:pt>
                <c:pt idx="50">
                  <c:v>0.8266240987401481</c:v>
                </c:pt>
                <c:pt idx="51">
                  <c:v>0.7536946109830388</c:v>
                </c:pt>
                <c:pt idx="52">
                  <c:v>0.7693787584008038</c:v>
                </c:pt>
                <c:pt idx="53">
                  <c:v>0.7930639041296467</c:v>
                </c:pt>
                <c:pt idx="54">
                  <c:v>0.8270823185582075</c:v>
                </c:pt>
                <c:pt idx="55">
                  <c:v>0.7716436395343902</c:v>
                </c:pt>
                <c:pt idx="56">
                  <c:v>0.7197806108698068</c:v>
                </c:pt>
                <c:pt idx="57">
                  <c:v>0.8607336262388883</c:v>
                </c:pt>
                <c:pt idx="58">
                  <c:v>0.961719139542488</c:v>
                </c:pt>
                <c:pt idx="59">
                  <c:v>1.0207007116243993</c:v>
                </c:pt>
                <c:pt idx="60">
                  <c:v>1.0725779009116891</c:v>
                </c:pt>
                <c:pt idx="61">
                  <c:v>0.8470804637787905</c:v>
                </c:pt>
                <c:pt idx="62">
                  <c:v>0.8138580078792752</c:v>
                </c:pt>
                <c:pt idx="63">
                  <c:v>1.018128923959</c:v>
                </c:pt>
                <c:pt idx="64">
                  <c:v>0.9036272069448424</c:v>
                </c:pt>
                <c:pt idx="65">
                  <c:v>0.8851367607429492</c:v>
                </c:pt>
                <c:pt idx="66">
                  <c:v>0.891748384878667</c:v>
                </c:pt>
                <c:pt idx="67">
                  <c:v>0.8752290086804969</c:v>
                </c:pt>
                <c:pt idx="68">
                  <c:v>0.8771169751870815</c:v>
                </c:pt>
                <c:pt idx="69">
                  <c:v>0.897922909418777</c:v>
                </c:pt>
                <c:pt idx="70">
                  <c:v>0.8893470041578311</c:v>
                </c:pt>
                <c:pt idx="71">
                  <c:v>0.9463292594369324</c:v>
                </c:pt>
                <c:pt idx="72">
                  <c:v>1.02298786263392</c:v>
                </c:pt>
                <c:pt idx="73">
                  <c:v>1.15302607553282</c:v>
                </c:pt>
                <c:pt idx="74">
                  <c:v>0.9872829813115117</c:v>
                </c:pt>
                <c:pt idx="75">
                  <c:v>0.7411126732275557</c:v>
                </c:pt>
                <c:pt idx="76">
                  <c:v>0.81176197416998</c:v>
                </c:pt>
                <c:pt idx="77">
                  <c:v>1.412458236985619</c:v>
                </c:pt>
                <c:pt idx="78">
                  <c:v>0.8505613218941814</c:v>
                </c:pt>
                <c:pt idx="79">
                  <c:v>0.7104880461952036</c:v>
                </c:pt>
                <c:pt idx="80">
                  <c:v>0.5959232277900537</c:v>
                </c:pt>
                <c:pt idx="81">
                  <c:v>0.6160562697065244</c:v>
                </c:pt>
                <c:pt idx="82">
                  <c:v>0.4596814416013385</c:v>
                </c:pt>
                <c:pt idx="83">
                  <c:v>0.46453061567864984</c:v>
                </c:pt>
                <c:pt idx="84">
                  <c:v>0.5866941258887802</c:v>
                </c:pt>
                <c:pt idx="85">
                  <c:v>0.4461802802119956</c:v>
                </c:pt>
                <c:pt idx="86">
                  <c:v>0.6053579566738017</c:v>
                </c:pt>
                <c:pt idx="87">
                  <c:v>0.4812948925195264</c:v>
                </c:pt>
                <c:pt idx="88">
                  <c:v>0.5790269500951757</c:v>
                </c:pt>
                <c:pt idx="89">
                  <c:v>0.5827299275945294</c:v>
                </c:pt>
                <c:pt idx="90">
                  <c:v>0.5514377188620413</c:v>
                </c:pt>
                <c:pt idx="91">
                  <c:v>0.5492434983300886</c:v>
                </c:pt>
                <c:pt idx="92">
                  <c:v>0.5623475473330835</c:v>
                </c:pt>
                <c:pt idx="93">
                  <c:v>0.5821288509488356</c:v>
                </c:pt>
                <c:pt idx="94">
                  <c:v>0.5353605755368062</c:v>
                </c:pt>
                <c:pt idx="95">
                  <c:v>0.6181215695928315</c:v>
                </c:pt>
                <c:pt idx="96">
                  <c:v>0.5398495120385757</c:v>
                </c:pt>
                <c:pt idx="97">
                  <c:v>0.5744991043809444</c:v>
                </c:pt>
                <c:pt idx="98">
                  <c:v>0.6235706067790806</c:v>
                </c:pt>
                <c:pt idx="99">
                  <c:v>0.7253126970449846</c:v>
                </c:pt>
                <c:pt idx="100">
                  <c:v>0.9674375375712523</c:v>
                </c:pt>
                <c:pt idx="101">
                  <c:v>0.88056032988992</c:v>
                </c:pt>
                <c:pt idx="102">
                  <c:v>0.45704192733543836</c:v>
                </c:pt>
                <c:pt idx="103">
                  <c:v>0.5687313203424251</c:v>
                </c:pt>
                <c:pt idx="104">
                  <c:v>0.5869660798588161</c:v>
                </c:pt>
              </c:numCache>
            </c:numRef>
          </c:xVal>
          <c:yVal>
            <c:numRef>
              <c:f>Sheet1!$B$2:$B$106</c:f>
              <c:numCache>
                <c:formatCode>General</c:formatCode>
                <c:ptCount val="105"/>
                <c:pt idx="0">
                  <c:v>0.01179245283018868</c:v>
                </c:pt>
                <c:pt idx="1">
                  <c:v>0.011056511056511056</c:v>
                </c:pt>
                <c:pt idx="2">
                  <c:v>0.012626262626262626</c:v>
                </c:pt>
                <c:pt idx="3">
                  <c:v>0.016417910447761194</c:v>
                </c:pt>
                <c:pt idx="4">
                  <c:v>0.020257826887661142</c:v>
                </c:pt>
                <c:pt idx="5">
                  <c:v>0.015105740181268883</c:v>
                </c:pt>
                <c:pt idx="6">
                  <c:v>0.01580135440180587</c:v>
                </c:pt>
                <c:pt idx="7">
                  <c:v>0.018867924528301886</c:v>
                </c:pt>
                <c:pt idx="8">
                  <c:v>0.015151515151515152</c:v>
                </c:pt>
                <c:pt idx="9">
                  <c:v>0.019704433497536946</c:v>
                </c:pt>
                <c:pt idx="10">
                  <c:v>0.01597444089456869</c:v>
                </c:pt>
                <c:pt idx="11">
                  <c:v>0.012311901504787962</c:v>
                </c:pt>
                <c:pt idx="12">
                  <c:v>0.012239902080783354</c:v>
                </c:pt>
                <c:pt idx="13">
                  <c:v>0.013630731102850062</c:v>
                </c:pt>
                <c:pt idx="14">
                  <c:v>0.009535160905840286</c:v>
                </c:pt>
                <c:pt idx="15">
                  <c:v>0.00819672131147541</c:v>
                </c:pt>
                <c:pt idx="16">
                  <c:v>0.00741839762611276</c:v>
                </c:pt>
                <c:pt idx="17">
                  <c:v>0.006472491909385114</c:v>
                </c:pt>
                <c:pt idx="18">
                  <c:v>0.004319654427645789</c:v>
                </c:pt>
                <c:pt idx="19">
                  <c:v>0.00558659217877095</c:v>
                </c:pt>
                <c:pt idx="20">
                  <c:v>0.0026595744680851063</c:v>
                </c:pt>
                <c:pt idx="21">
                  <c:v>0.0084985835694051</c:v>
                </c:pt>
                <c:pt idx="22">
                  <c:v>0.015060240963855422</c:v>
                </c:pt>
                <c:pt idx="23">
                  <c:v>0.02786377708978328</c:v>
                </c:pt>
                <c:pt idx="24">
                  <c:v>0.011267605633802818</c:v>
                </c:pt>
                <c:pt idx="25">
                  <c:v>0.017142857142857144</c:v>
                </c:pt>
                <c:pt idx="26">
                  <c:v>0.021634615384615384</c:v>
                </c:pt>
                <c:pt idx="27">
                  <c:v>0.010282776349614395</c:v>
                </c:pt>
                <c:pt idx="28">
                  <c:v>0.012594458438287154</c:v>
                </c:pt>
                <c:pt idx="29">
                  <c:v>0.010482180293501049</c:v>
                </c:pt>
                <c:pt idx="30">
                  <c:v>0.007614213197969543</c:v>
                </c:pt>
                <c:pt idx="31">
                  <c:v>0.014326647564469915</c:v>
                </c:pt>
                <c:pt idx="32">
                  <c:v>0.015060240963855422</c:v>
                </c:pt>
                <c:pt idx="33">
                  <c:v>0.012448132780082987</c:v>
                </c:pt>
                <c:pt idx="34">
                  <c:v>0.013435700575815739</c:v>
                </c:pt>
                <c:pt idx="35">
                  <c:v>0.011686143572621035</c:v>
                </c:pt>
                <c:pt idx="36">
                  <c:v>0.00505902192242833</c:v>
                </c:pt>
                <c:pt idx="37">
                  <c:v>0.004246284501061571</c:v>
                </c:pt>
                <c:pt idx="38">
                  <c:v>0.007285974499089253</c:v>
                </c:pt>
                <c:pt idx="39">
                  <c:v>0.00423728813559322</c:v>
                </c:pt>
                <c:pt idx="40">
                  <c:v>0.0038022813688212928</c:v>
                </c:pt>
                <c:pt idx="41">
                  <c:v>0.00398406374501992</c:v>
                </c:pt>
                <c:pt idx="42">
                  <c:v>0.0017605633802816902</c:v>
                </c:pt>
                <c:pt idx="43">
                  <c:v>0.005610098176718092</c:v>
                </c:pt>
                <c:pt idx="44">
                  <c:v>0.002028397565922921</c:v>
                </c:pt>
                <c:pt idx="45">
                  <c:v>0.002976190476190476</c:v>
                </c:pt>
                <c:pt idx="46">
                  <c:v>0.003952569169960474</c:v>
                </c:pt>
                <c:pt idx="47">
                  <c:v>0.0056925996204933585</c:v>
                </c:pt>
                <c:pt idx="48">
                  <c:v>0.005157593123209169</c:v>
                </c:pt>
                <c:pt idx="49">
                  <c:v>0.006794564348521183</c:v>
                </c:pt>
                <c:pt idx="50">
                  <c:v>0.009598603839441536</c:v>
                </c:pt>
                <c:pt idx="51">
                  <c:v>0.005082592121982211</c:v>
                </c:pt>
                <c:pt idx="52">
                  <c:v>0.006430868167202572</c:v>
                </c:pt>
                <c:pt idx="53">
                  <c:v>0.006165228113440197</c:v>
                </c:pt>
                <c:pt idx="54">
                  <c:v>0.007518796992481203</c:v>
                </c:pt>
                <c:pt idx="55">
                  <c:v>0.008305647840531562</c:v>
                </c:pt>
                <c:pt idx="56">
                  <c:v>0.007518796992481203</c:v>
                </c:pt>
                <c:pt idx="57">
                  <c:v>0.005660377358490566</c:v>
                </c:pt>
                <c:pt idx="58">
                  <c:v>0.011741682974559686</c:v>
                </c:pt>
                <c:pt idx="59">
                  <c:v>0.003061224489795918</c:v>
                </c:pt>
                <c:pt idx="60">
                  <c:v>0.005076142131979695</c:v>
                </c:pt>
                <c:pt idx="61">
                  <c:v>0.006191950464396285</c:v>
                </c:pt>
                <c:pt idx="62">
                  <c:v>0.018433179723502304</c:v>
                </c:pt>
                <c:pt idx="63">
                  <c:v>0.012453300124533</c:v>
                </c:pt>
                <c:pt idx="64">
                  <c:v>0.016260162601626018</c:v>
                </c:pt>
                <c:pt idx="65">
                  <c:v>0.0160857908847185</c:v>
                </c:pt>
                <c:pt idx="66">
                  <c:v>0.014265335235378032</c:v>
                </c:pt>
                <c:pt idx="67">
                  <c:v>0.009655172413793104</c:v>
                </c:pt>
                <c:pt idx="68">
                  <c:v>0.013008130081300813</c:v>
                </c:pt>
                <c:pt idx="69">
                  <c:v>0.010917030567685589</c:v>
                </c:pt>
                <c:pt idx="70">
                  <c:v>0.0064794816414686825</c:v>
                </c:pt>
                <c:pt idx="71">
                  <c:v>0.012077294685990338</c:v>
                </c:pt>
                <c:pt idx="72">
                  <c:v>0.006355932203389831</c:v>
                </c:pt>
                <c:pt idx="73">
                  <c:v>0.004640371229698376</c:v>
                </c:pt>
                <c:pt idx="74">
                  <c:v>0.0069124423963133645</c:v>
                </c:pt>
                <c:pt idx="75">
                  <c:v>0.009174311926605505</c:v>
                </c:pt>
                <c:pt idx="76">
                  <c:v>0.006211180124223602</c:v>
                </c:pt>
                <c:pt idx="77">
                  <c:v>0.002506265664160401</c:v>
                </c:pt>
                <c:pt idx="78">
                  <c:v>0.002544529262086514</c:v>
                </c:pt>
                <c:pt idx="79">
                  <c:v>0.00804289544235925</c:v>
                </c:pt>
                <c:pt idx="80">
                  <c:v>0.005681818181818182</c:v>
                </c:pt>
                <c:pt idx="81">
                  <c:v>0.008438818565400843</c:v>
                </c:pt>
                <c:pt idx="82">
                  <c:v>0.007792207792207792</c:v>
                </c:pt>
                <c:pt idx="83">
                  <c:v>0.007731958762886598</c:v>
                </c:pt>
                <c:pt idx="84">
                  <c:v>0.011527377521613832</c:v>
                </c:pt>
                <c:pt idx="85">
                  <c:v>0.01804123711340206</c:v>
                </c:pt>
                <c:pt idx="86">
                  <c:v>0.010273972602739725</c:v>
                </c:pt>
                <c:pt idx="87">
                  <c:v>0.00865051903114187</c:v>
                </c:pt>
                <c:pt idx="88">
                  <c:v>0.0057251908396946565</c:v>
                </c:pt>
                <c:pt idx="89">
                  <c:v>0.006756756756756757</c:v>
                </c:pt>
                <c:pt idx="90">
                  <c:v>0.005319148936170213</c:v>
                </c:pt>
                <c:pt idx="91">
                  <c:v>0.00516795865633075</c:v>
                </c:pt>
                <c:pt idx="92">
                  <c:v>0.013133208255159476</c:v>
                </c:pt>
                <c:pt idx="93">
                  <c:v>0.0074211502782931356</c:v>
                </c:pt>
                <c:pt idx="94">
                  <c:v>0.007575757575757576</c:v>
                </c:pt>
                <c:pt idx="95">
                  <c:v>0.004739336492890996</c:v>
                </c:pt>
                <c:pt idx="96">
                  <c:v>0.009512485136741973</c:v>
                </c:pt>
                <c:pt idx="97">
                  <c:v>0.008008008008008008</c:v>
                </c:pt>
                <c:pt idx="98">
                  <c:v>0.007252215954875101</c:v>
                </c:pt>
                <c:pt idx="99">
                  <c:v>0.005043227665706052</c:v>
                </c:pt>
                <c:pt idx="100">
                  <c:v>0.004699248120300752</c:v>
                </c:pt>
                <c:pt idx="101">
                  <c:v>0.0019212295869356388</c:v>
                </c:pt>
                <c:pt idx="102">
                  <c:v>0.003105590062111801</c:v>
                </c:pt>
                <c:pt idx="103">
                  <c:v>0.0028368794326241137</c:v>
                </c:pt>
                <c:pt idx="104">
                  <c:v>0.004444444444444444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882723878907303</c:v>
                </c:pt>
                <c:pt idx="1">
                  <c:v>0.5974619030756072</c:v>
                </c:pt>
                <c:pt idx="2">
                  <c:v>0.5145337599871199</c:v>
                </c:pt>
                <c:pt idx="3">
                  <c:v>0.5072176971260899</c:v>
                </c:pt>
                <c:pt idx="4">
                  <c:v>0.5236049507154757</c:v>
                </c:pt>
                <c:pt idx="5">
                  <c:v>0.5199984558399764</c:v>
                </c:pt>
                <c:pt idx="6">
                  <c:v>0.5819636771389466</c:v>
                </c:pt>
                <c:pt idx="7">
                  <c:v>0.5568197490001379</c:v>
                </c:pt>
                <c:pt idx="8">
                  <c:v>0.5594590136895926</c:v>
                </c:pt>
                <c:pt idx="9">
                  <c:v>0.9071353271745611</c:v>
                </c:pt>
                <c:pt idx="10">
                  <c:v>0.537971249026683</c:v>
                </c:pt>
                <c:pt idx="11">
                  <c:v>0.5982778527361389</c:v>
                </c:pt>
                <c:pt idx="12">
                  <c:v>0.75224720501254</c:v>
                </c:pt>
                <c:pt idx="13">
                  <c:v>0.6621113790843829</c:v>
                </c:pt>
                <c:pt idx="14">
                  <c:v>0.6456234295061771</c:v>
                </c:pt>
                <c:pt idx="15">
                  <c:v>0.559994409828928</c:v>
                </c:pt>
                <c:pt idx="16">
                  <c:v>0.8037380540999965</c:v>
                </c:pt>
                <c:pt idx="17">
                  <c:v>0.7603013954464053</c:v>
                </c:pt>
                <c:pt idx="18">
                  <c:v>0.5737648094484751</c:v>
                </c:pt>
                <c:pt idx="19">
                  <c:v>0.0</c:v>
                </c:pt>
                <c:pt idx="20">
                  <c:v>0.9791764879402715</c:v>
                </c:pt>
                <c:pt idx="21">
                  <c:v>0.8403240781542384</c:v>
                </c:pt>
                <c:pt idx="22">
                  <c:v>0.6751251210660693</c:v>
                </c:pt>
                <c:pt idx="23">
                  <c:v>0.8109217732496117</c:v>
                </c:pt>
                <c:pt idx="24">
                  <c:v>1.298102451797129</c:v>
                </c:pt>
                <c:pt idx="25">
                  <c:v>0.0</c:v>
                </c:pt>
                <c:pt idx="26">
                  <c:v>0.0</c:v>
                </c:pt>
                <c:pt idx="27">
                  <c:v>0.6870325313147697</c:v>
                </c:pt>
                <c:pt idx="28">
                  <c:v>0.0</c:v>
                </c:pt>
                <c:pt idx="29">
                  <c:v>0.38838683025654464</c:v>
                </c:pt>
                <c:pt idx="30">
                  <c:v>0.5673083270761061</c:v>
                </c:pt>
                <c:pt idx="31">
                  <c:v>0.0</c:v>
                </c:pt>
                <c:pt idx="32">
                  <c:v>0.0</c:v>
                </c:pt>
                <c:pt idx="33">
                  <c:v>0.6826359733579385</c:v>
                </c:pt>
                <c:pt idx="34">
                  <c:v>0.8377606657404757</c:v>
                </c:pt>
                <c:pt idx="35">
                  <c:v>1.0131730910289647</c:v>
                </c:pt>
                <c:pt idx="36">
                  <c:v>0.9737348795508326</c:v>
                </c:pt>
                <c:pt idx="37">
                  <c:v>0.5672402016131725</c:v>
                </c:pt>
                <c:pt idx="38">
                  <c:v>0.5019703169703252</c:v>
                </c:pt>
                <c:pt idx="39">
                  <c:v>0.5186037006105226</c:v>
                </c:pt>
                <c:pt idx="40">
                  <c:v>0.4145418436168136</c:v>
                </c:pt>
                <c:pt idx="41">
                  <c:v>0.4319864050342631</c:v>
                </c:pt>
                <c:pt idx="42">
                  <c:v>0.4463236687026731</c:v>
                </c:pt>
                <c:pt idx="43">
                  <c:v>0.3738632433312363</c:v>
                </c:pt>
                <c:pt idx="44">
                  <c:v>0.4236874721145971</c:v>
                </c:pt>
                <c:pt idx="45">
                  <c:v>0.4222146170475222</c:v>
                </c:pt>
                <c:pt idx="46">
                  <c:v>0.3860213994210418</c:v>
                </c:pt>
                <c:pt idx="47">
                  <c:v>0.4278522073589192</c:v>
                </c:pt>
                <c:pt idx="48">
                  <c:v>0.5144166075492707</c:v>
                </c:pt>
                <c:pt idx="49">
                  <c:v>0.39214793681331306</c:v>
                </c:pt>
                <c:pt idx="50">
                  <c:v>0.30601166037948496</c:v>
                </c:pt>
                <c:pt idx="51">
                  <c:v>0.4002744008765158</c:v>
                </c:pt>
              </c:numCache>
            </c:numRef>
          </c:xVal>
          <c:yVal>
            <c:numRef>
              <c:f>Sheet1!$B$109:$B$160</c:f>
              <c:numCache>
                <c:formatCode>General</c:formatCode>
                <c:ptCount val="52"/>
                <c:pt idx="0">
                  <c:v>0.003978779840848806</c:v>
                </c:pt>
                <c:pt idx="1">
                  <c:v>0.0091324200913242</c:v>
                </c:pt>
                <c:pt idx="2">
                  <c:v>0.008438818565400843</c:v>
                </c:pt>
                <c:pt idx="3">
                  <c:v>0.00964630225080386</c:v>
                </c:pt>
                <c:pt idx="4">
                  <c:v>0.009852216748768473</c:v>
                </c:pt>
                <c:pt idx="5">
                  <c:v>0.011131725417439703</c:v>
                </c:pt>
                <c:pt idx="6">
                  <c:v>0.009779951100244499</c:v>
                </c:pt>
                <c:pt idx="7">
                  <c:v>0.00398406374501992</c:v>
                </c:pt>
                <c:pt idx="8">
                  <c:v>0.003246753246753247</c:v>
                </c:pt>
                <c:pt idx="9">
                  <c:v>0.0030864197530864196</c:v>
                </c:pt>
                <c:pt idx="10">
                  <c:v>0.004514672686230248</c:v>
                </c:pt>
                <c:pt idx="11">
                  <c:v>0.009174311926605505</c:v>
                </c:pt>
                <c:pt idx="12">
                  <c:v>0.0030349013657056147</c:v>
                </c:pt>
                <c:pt idx="13">
                  <c:v>0.006369426751592357</c:v>
                </c:pt>
                <c:pt idx="14">
                  <c:v>0.005405405405405406</c:v>
                </c:pt>
                <c:pt idx="15">
                  <c:v>0.005110732538330494</c:v>
                </c:pt>
                <c:pt idx="16">
                  <c:v>0.001968503937007874</c:v>
                </c:pt>
                <c:pt idx="17">
                  <c:v>0.0022026431718061676</c:v>
                </c:pt>
                <c:pt idx="18">
                  <c:v>0.0029154518950437317</c:v>
                </c:pt>
                <c:pt idx="19">
                  <c:v>0.0</c:v>
                </c:pt>
                <c:pt idx="20">
                  <c:v>0.0026595744680851063</c:v>
                </c:pt>
                <c:pt idx="21">
                  <c:v>0.0036101083032490976</c:v>
                </c:pt>
                <c:pt idx="22">
                  <c:v>0.00411522633744856</c:v>
                </c:pt>
                <c:pt idx="23">
                  <c:v>0.004273504273504274</c:v>
                </c:pt>
                <c:pt idx="24">
                  <c:v>0.004219409282700422</c:v>
                </c:pt>
                <c:pt idx="25">
                  <c:v>0.0</c:v>
                </c:pt>
                <c:pt idx="26">
                  <c:v>0.0</c:v>
                </c:pt>
                <c:pt idx="27">
                  <c:v>0.006920415224913495</c:v>
                </c:pt>
                <c:pt idx="28">
                  <c:v>0.0</c:v>
                </c:pt>
                <c:pt idx="29">
                  <c:v>0.0038022813688212928</c:v>
                </c:pt>
                <c:pt idx="30">
                  <c:v>0.0035971223021582736</c:v>
                </c:pt>
                <c:pt idx="31">
                  <c:v>0.0</c:v>
                </c:pt>
                <c:pt idx="32">
                  <c:v>0.0</c:v>
                </c:pt>
                <c:pt idx="33">
                  <c:v>0.005277044854881266</c:v>
                </c:pt>
                <c:pt idx="34">
                  <c:v>0.002105263157894737</c:v>
                </c:pt>
                <c:pt idx="35">
                  <c:v>0.0041753653444676405</c:v>
                </c:pt>
                <c:pt idx="36">
                  <c:v>0.0037313432835820895</c:v>
                </c:pt>
                <c:pt idx="37">
                  <c:v>0.010238907849829351</c:v>
                </c:pt>
                <c:pt idx="38">
                  <c:v>0.00425531914893617</c:v>
                </c:pt>
                <c:pt idx="39">
                  <c:v>0.010958904109589041</c:v>
                </c:pt>
                <c:pt idx="40">
                  <c:v>0.0070921985815602835</c:v>
                </c:pt>
                <c:pt idx="41">
                  <c:v>0.023622047244094488</c:v>
                </c:pt>
                <c:pt idx="42">
                  <c:v>0.01728395061728395</c:v>
                </c:pt>
                <c:pt idx="43">
                  <c:v>0.006048387096774193</c:v>
                </c:pt>
                <c:pt idx="44">
                  <c:v>0.006462035541195477</c:v>
                </c:pt>
                <c:pt idx="45">
                  <c:v>0.003740648379052369</c:v>
                </c:pt>
                <c:pt idx="46">
                  <c:v>0.006920415224913495</c:v>
                </c:pt>
                <c:pt idx="47">
                  <c:v>0.004484304932735426</c:v>
                </c:pt>
                <c:pt idx="48">
                  <c:v>0.007009345794392523</c:v>
                </c:pt>
                <c:pt idx="49">
                  <c:v>0.004048582995951417</c:v>
                </c:pt>
                <c:pt idx="50">
                  <c:v>0.0032076984763432237</c:v>
                </c:pt>
                <c:pt idx="51">
                  <c:v>0.002869440459110473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734823597196875</c:v>
                </c:pt>
              </c:numCache>
            </c:numRef>
          </c:xVal>
          <c:yVal>
            <c:numRef>
              <c:f>Sheet1!$B$163:$B$164</c:f>
              <c:numCache>
                <c:formatCode>General</c:formatCode>
                <c:ptCount val="2"/>
                <c:pt idx="0">
                  <c:v>0.015230833123475165</c:v>
                </c:pt>
                <c:pt idx="1">
                  <c:v>0.01523083312347516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734823597196875</c:v>
                </c:pt>
                <c:pt idx="1">
                  <c:v>5.734823597196875</c:v>
                </c:pt>
              </c:numCache>
            </c:numRef>
          </c:xVal>
          <c:yVal>
            <c:numRef>
              <c:f>Sheet1!$B$167:$B$168</c:f>
              <c:numCache>
                <c:formatCode>General</c:formatCode>
                <c:ptCount val="2"/>
                <c:pt idx="0">
                  <c:v>0.01523083312347516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24796793913128</c:v>
                </c:pt>
              </c:numCache>
            </c:numRef>
          </c:xVal>
          <c:yVal>
            <c:numRef>
              <c:f>Sheet1!$B$171:$B$172</c:f>
              <c:numCache>
                <c:formatCode>General</c:formatCode>
                <c:ptCount val="2"/>
                <c:pt idx="0">
                  <c:v>0.008385679027231845</c:v>
                </c:pt>
                <c:pt idx="1">
                  <c:v>0.0083856790272318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24796793913128</c:v>
                </c:pt>
                <c:pt idx="1">
                  <c:v>2.124796793913128</c:v>
                </c:pt>
              </c:numCache>
            </c:numRef>
          </c:xVal>
          <c:yVal>
            <c:numRef>
              <c:f>Sheet1!$B$175:$B$176</c:f>
              <c:numCache>
                <c:formatCode>General</c:formatCode>
                <c:ptCount val="2"/>
                <c:pt idx="0">
                  <c:v>0.0083856790272318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111709432754767</c:v>
                </c:pt>
              </c:numCache>
            </c:numRef>
          </c:xVal>
          <c:yVal>
            <c:numRef>
              <c:f>Sheet1!$B$179:$B$180</c:f>
              <c:numCache>
                <c:formatCode>General</c:formatCode>
                <c:ptCount val="2"/>
                <c:pt idx="0">
                  <c:v>0.007980612265615104</c:v>
                </c:pt>
                <c:pt idx="1">
                  <c:v>0.00798061226561510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111709432754767</c:v>
                </c:pt>
                <c:pt idx="1">
                  <c:v>1.9111709432754767</c:v>
                </c:pt>
              </c:numCache>
            </c:numRef>
          </c:xVal>
          <c:yVal>
            <c:numRef>
              <c:f>Sheet1!$B$183:$B$184</c:f>
              <c:numCache>
                <c:formatCode>General</c:formatCode>
                <c:ptCount val="2"/>
                <c:pt idx="0">
                  <c:v>0.0079806122656151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882723878907303</c:v>
                </c:pt>
                <c:pt idx="1">
                  <c:v>0.5974619030756072</c:v>
                </c:pt>
                <c:pt idx="2">
                  <c:v>0.5145337599871199</c:v>
                </c:pt>
                <c:pt idx="3">
                  <c:v>0.5072176971260899</c:v>
                </c:pt>
                <c:pt idx="4">
                  <c:v>0.5236049507154757</c:v>
                </c:pt>
                <c:pt idx="5">
                  <c:v>0.5199984558399764</c:v>
                </c:pt>
                <c:pt idx="6">
                  <c:v>0.5819636771389466</c:v>
                </c:pt>
                <c:pt idx="7">
                  <c:v>0.5568197490001379</c:v>
                </c:pt>
                <c:pt idx="8">
                  <c:v>0.5594590136895926</c:v>
                </c:pt>
                <c:pt idx="9">
                  <c:v>0.9071353271745611</c:v>
                </c:pt>
                <c:pt idx="10">
                  <c:v>0.537971249026683</c:v>
                </c:pt>
                <c:pt idx="11">
                  <c:v>0.5982778527361389</c:v>
                </c:pt>
                <c:pt idx="12">
                  <c:v>0.75224720501254</c:v>
                </c:pt>
                <c:pt idx="13">
                  <c:v>0.6621113790843829</c:v>
                </c:pt>
                <c:pt idx="14">
                  <c:v>0.6456234295061771</c:v>
                </c:pt>
                <c:pt idx="15">
                  <c:v>0.559994409828928</c:v>
                </c:pt>
                <c:pt idx="16">
                  <c:v>0.8037380540999965</c:v>
                </c:pt>
                <c:pt idx="17">
                  <c:v>0.7603013954464053</c:v>
                </c:pt>
                <c:pt idx="18">
                  <c:v>0.5737648094484751</c:v>
                </c:pt>
                <c:pt idx="19">
                  <c:v>0.0</c:v>
                </c:pt>
                <c:pt idx="20">
                  <c:v>0.9791764879402715</c:v>
                </c:pt>
                <c:pt idx="21">
                  <c:v>0.8403240781542384</c:v>
                </c:pt>
                <c:pt idx="22">
                  <c:v>0.6751251210660693</c:v>
                </c:pt>
                <c:pt idx="23">
                  <c:v>0.8109217732496117</c:v>
                </c:pt>
                <c:pt idx="24">
                  <c:v>1.298102451797129</c:v>
                </c:pt>
                <c:pt idx="25">
                  <c:v>0.0</c:v>
                </c:pt>
                <c:pt idx="26">
                  <c:v>0.0</c:v>
                </c:pt>
                <c:pt idx="27">
                  <c:v>0.6870325313147697</c:v>
                </c:pt>
                <c:pt idx="28">
                  <c:v>0.0</c:v>
                </c:pt>
                <c:pt idx="29">
                  <c:v>0.38838683025654464</c:v>
                </c:pt>
                <c:pt idx="30">
                  <c:v>0.5673083270761061</c:v>
                </c:pt>
                <c:pt idx="31">
                  <c:v>0.0</c:v>
                </c:pt>
                <c:pt idx="32">
                  <c:v>0.0</c:v>
                </c:pt>
                <c:pt idx="33">
                  <c:v>0.6826359733579385</c:v>
                </c:pt>
                <c:pt idx="34">
                  <c:v>0.8377606657404757</c:v>
                </c:pt>
                <c:pt idx="35">
                  <c:v>1.0131730910289647</c:v>
                </c:pt>
                <c:pt idx="36">
                  <c:v>0.9737348795508326</c:v>
                </c:pt>
                <c:pt idx="37">
                  <c:v>0.5672402016131725</c:v>
                </c:pt>
                <c:pt idx="38">
                  <c:v>0.5019703169703252</c:v>
                </c:pt>
                <c:pt idx="39">
                  <c:v>0.5186037006105226</c:v>
                </c:pt>
                <c:pt idx="40">
                  <c:v>0.4145418436168136</c:v>
                </c:pt>
                <c:pt idx="41">
                  <c:v>0.4319864050342631</c:v>
                </c:pt>
                <c:pt idx="42">
                  <c:v>0.4463236687026731</c:v>
                </c:pt>
                <c:pt idx="43">
                  <c:v>0.3738632433312363</c:v>
                </c:pt>
                <c:pt idx="44">
                  <c:v>0.4236874721145971</c:v>
                </c:pt>
                <c:pt idx="45">
                  <c:v>0.4222146170475222</c:v>
                </c:pt>
                <c:pt idx="46">
                  <c:v>0.3860213994210418</c:v>
                </c:pt>
                <c:pt idx="47">
                  <c:v>0.4278522073589192</c:v>
                </c:pt>
                <c:pt idx="48">
                  <c:v>0.5144166075492707</c:v>
                </c:pt>
                <c:pt idx="49">
                  <c:v>0.39214793681331306</c:v>
                </c:pt>
                <c:pt idx="50">
                  <c:v>0.30601166037948496</c:v>
                </c:pt>
                <c:pt idx="51">
                  <c:v>0.4002744008765158</c:v>
                </c:pt>
                <c:pt idx="52">
                  <c:v>2.124796793913128</c:v>
                </c:pt>
                <c:pt idx="53">
                  <c:v>5.734823597196875</c:v>
                </c:pt>
                <c:pt idx="54">
                  <c:v>1.9111709432754767</c:v>
                </c:pt>
              </c:numCache>
            </c:numRef>
          </c:xVal>
          <c:yVal>
            <c:numRef>
              <c:f>Sheet1!$B$187:$B$241</c:f>
              <c:numCache>
                <c:formatCode>General</c:formatCode>
                <c:ptCount val="55"/>
                <c:pt idx="0">
                  <c:v>0.005472197520032255</c:v>
                </c:pt>
                <c:pt idx="1">
                  <c:v>0.0054896222237638265</c:v>
                </c:pt>
                <c:pt idx="2">
                  <c:v>0.005332377984513397</c:v>
                </c:pt>
                <c:pt idx="3">
                  <c:v>0.005318505628325903</c:v>
                </c:pt>
                <c:pt idx="4">
                  <c:v>0.0053495783272686165</c:v>
                </c:pt>
                <c:pt idx="5">
                  <c:v>0.005342739870238976</c:v>
                </c:pt>
                <c:pt idx="6">
                  <c:v>0.005460235255041506</c:v>
                </c:pt>
                <c:pt idx="7">
                  <c:v>0.005412558583350743</c:v>
                </c:pt>
                <c:pt idx="8">
                  <c:v>0.005417563026388024</c:v>
                </c:pt>
                <c:pt idx="9">
                  <c:v>0.006076809638976498</c:v>
                </c:pt>
                <c:pt idx="10">
                  <c:v>0.005376818990867945</c:v>
                </c:pt>
                <c:pt idx="11">
                  <c:v>0.005491169387113427</c:v>
                </c:pt>
                <c:pt idx="12">
                  <c:v>0.00578311845006001</c:v>
                </c:pt>
                <c:pt idx="13">
                  <c:v>0.0056122073594528235</c:v>
                </c:pt>
                <c:pt idx="14">
                  <c:v>0.005580943725761449</c:v>
                </c:pt>
                <c:pt idx="15">
                  <c:v>0.005418578218040604</c:v>
                </c:pt>
                <c:pt idx="16">
                  <c:v>0.005880752848848807</c:v>
                </c:pt>
                <c:pt idx="17">
                  <c:v>0.005798390407207294</c:v>
                </c:pt>
                <c:pt idx="18">
                  <c:v>0.005444688968043045</c:v>
                </c:pt>
                <c:pt idx="19">
                  <c:v>0.004356744542781724</c:v>
                </c:pt>
                <c:pt idx="20">
                  <c:v>0.006213410521348054</c:v>
                </c:pt>
                <c:pt idx="21">
                  <c:v>0.005950125456329823</c:v>
                </c:pt>
                <c:pt idx="22">
                  <c:v>0.005636883372703574</c:v>
                </c:pt>
                <c:pt idx="23">
                  <c:v>0.005894374261442896</c:v>
                </c:pt>
                <c:pt idx="24">
                  <c:v>0.006818142144367399</c:v>
                </c:pt>
                <c:pt idx="25">
                  <c:v>0.004356744542781724</c:v>
                </c:pt>
                <c:pt idx="26">
                  <c:v>0.004356744542781724</c:v>
                </c:pt>
                <c:pt idx="27">
                  <c:v>0.005659461614495408</c:v>
                </c:pt>
                <c:pt idx="28">
                  <c:v>0.004356744542781724</c:v>
                </c:pt>
                <c:pt idx="29">
                  <c:v>0.005093184421743084</c:v>
                </c:pt>
                <c:pt idx="30">
                  <c:v>0.005432446505821339</c:v>
                </c:pt>
                <c:pt idx="31">
                  <c:v>0.004356744542781724</c:v>
                </c:pt>
                <c:pt idx="32">
                  <c:v>0.004356744542781724</c:v>
                </c:pt>
                <c:pt idx="33">
                  <c:v>0.0056511250789660315</c:v>
                </c:pt>
                <c:pt idx="34">
                  <c:v>0.0059452648406223526</c:v>
                </c:pt>
                <c:pt idx="35">
                  <c:v>0.006277873196993356</c:v>
                </c:pt>
                <c:pt idx="36">
                  <c:v>0.006203092412927574</c:v>
                </c:pt>
                <c:pt idx="37">
                  <c:v>0.005432317329691336</c:v>
                </c:pt>
                <c:pt idx="38">
                  <c:v>0.005308555805866107</c:v>
                </c:pt>
                <c:pt idx="39">
                  <c:v>0.005340095204425563</c:v>
                </c:pt>
                <c:pt idx="40">
                  <c:v>0.00514277826317315</c:v>
                </c:pt>
                <c:pt idx="41">
                  <c:v>0.005175855776873382</c:v>
                </c:pt>
                <c:pt idx="42">
                  <c:v>0.00520304138642051</c:v>
                </c:pt>
                <c:pt idx="43">
                  <c:v>0.005065645515260868</c:v>
                </c:pt>
                <c:pt idx="44">
                  <c:v>0.005160119751141432</c:v>
                </c:pt>
                <c:pt idx="45">
                  <c:v>0.0051573269962825515</c:v>
                </c:pt>
                <c:pt idx="46">
                  <c:v>0.005088699208902477</c:v>
                </c:pt>
                <c:pt idx="47">
                  <c:v>0.005168016715920616</c:v>
                </c:pt>
                <c:pt idx="48">
                  <c:v>0.005332155845860826</c:v>
                </c:pt>
                <c:pt idx="49">
                  <c:v>0.005100316045788105</c:v>
                </c:pt>
                <c:pt idx="50">
                  <c:v>0.004936988702919116</c:v>
                </c:pt>
                <c:pt idx="51">
                  <c:v>0.005115725044613158</c:v>
                </c:pt>
                <c:pt idx="52">
                  <c:v>0.008385679027231845</c:v>
                </c:pt>
                <c:pt idx="53">
                  <c:v>0.015230833123475167</c:v>
                </c:pt>
                <c:pt idx="54">
                  <c:v>0.0079806122656151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4365325077399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51.2</c:v>
                </c:pt>
                <c:pt idx="1">
                  <c:v>762.8889</c:v>
                </c:pt>
                <c:pt idx="2">
                  <c:v>694.2</c:v>
                </c:pt>
                <c:pt idx="3">
                  <c:v>663.5455</c:v>
                </c:pt>
                <c:pt idx="4">
                  <c:v>694.1818</c:v>
                </c:pt>
                <c:pt idx="5">
                  <c:v>628.0</c:v>
                </c:pt>
                <c:pt idx="6">
                  <c:v>688.2857</c:v>
                </c:pt>
                <c:pt idx="7">
                  <c:v>757.8571</c:v>
                </c:pt>
                <c:pt idx="8">
                  <c:v>784.0</c:v>
                </c:pt>
                <c:pt idx="9">
                  <c:v>739.75</c:v>
                </c:pt>
                <c:pt idx="10">
                  <c:v>718.2</c:v>
                </c:pt>
                <c:pt idx="11">
                  <c:v>736.1111</c:v>
                </c:pt>
                <c:pt idx="12">
                  <c:v>702.6</c:v>
                </c:pt>
                <c:pt idx="13">
                  <c:v>717.7273</c:v>
                </c:pt>
                <c:pt idx="14">
                  <c:v>672.75</c:v>
                </c:pt>
                <c:pt idx="15">
                  <c:v>672.0</c:v>
                </c:pt>
                <c:pt idx="16">
                  <c:v>621.6</c:v>
                </c:pt>
                <c:pt idx="17">
                  <c:v>684.5</c:v>
                </c:pt>
                <c:pt idx="18">
                  <c:v>684.0</c:v>
                </c:pt>
                <c:pt idx="19">
                  <c:v>721.0</c:v>
                </c:pt>
                <c:pt idx="20">
                  <c:v>1236.0</c:v>
                </c:pt>
                <c:pt idx="21">
                  <c:v>750.6667</c:v>
                </c:pt>
                <c:pt idx="22">
                  <c:v>865.2</c:v>
                </c:pt>
                <c:pt idx="23">
                  <c:v>868.2222</c:v>
                </c:pt>
                <c:pt idx="24">
                  <c:v>875.5</c:v>
                </c:pt>
                <c:pt idx="25">
                  <c:v>850.3333</c:v>
                </c:pt>
                <c:pt idx="26">
                  <c:v>883.3333</c:v>
                </c:pt>
                <c:pt idx="27">
                  <c:v>769.0</c:v>
                </c:pt>
                <c:pt idx="28">
                  <c:v>865.2</c:v>
                </c:pt>
                <c:pt idx="29">
                  <c:v>821.2</c:v>
                </c:pt>
                <c:pt idx="30">
                  <c:v>750.6667</c:v>
                </c:pt>
                <c:pt idx="31">
                  <c:v>821.2</c:v>
                </c:pt>
                <c:pt idx="32">
                  <c:v>859.6</c:v>
                </c:pt>
                <c:pt idx="33">
                  <c:v>885.6667</c:v>
                </c:pt>
                <c:pt idx="34">
                  <c:v>822.0</c:v>
                </c:pt>
                <c:pt idx="35">
                  <c:v>849.4286</c:v>
                </c:pt>
                <c:pt idx="36">
                  <c:v>1222.6667</c:v>
                </c:pt>
                <c:pt idx="37">
                  <c:v>1116.0</c:v>
                </c:pt>
                <c:pt idx="38">
                  <c:v>1041.5</c:v>
                </c:pt>
                <c:pt idx="39">
                  <c:v>967.0</c:v>
                </c:pt>
                <c:pt idx="40">
                  <c:v>1087.5</c:v>
                </c:pt>
                <c:pt idx="41">
                  <c:v>840.0</c:v>
                </c:pt>
                <c:pt idx="42">
                  <c:v>759.0</c:v>
                </c:pt>
                <c:pt idx="43">
                  <c:v>960.0</c:v>
                </c:pt>
                <c:pt idx="44">
                  <c:v>1200.0</c:v>
                </c:pt>
                <c:pt idx="45">
                  <c:v>1120.0</c:v>
                </c:pt>
                <c:pt idx="46">
                  <c:v>1080.0</c:v>
                </c:pt>
                <c:pt idx="47">
                  <c:v>956.0</c:v>
                </c:pt>
                <c:pt idx="48">
                  <c:v>1046.0</c:v>
                </c:pt>
                <c:pt idx="49">
                  <c:v>974.1176</c:v>
                </c:pt>
                <c:pt idx="50">
                  <c:v>970.6364</c:v>
                </c:pt>
                <c:pt idx="51">
                  <c:v>900.0</c:v>
                </c:pt>
                <c:pt idx="52">
                  <c:v>933.0</c:v>
                </c:pt>
                <c:pt idx="53">
                  <c:v>935.4</c:v>
                </c:pt>
                <c:pt idx="54">
                  <c:v>1018.8</c:v>
                </c:pt>
                <c:pt idx="55">
                  <c:v>960.0</c:v>
                </c:pt>
                <c:pt idx="56">
                  <c:v>900.0</c:v>
                </c:pt>
                <c:pt idx="57">
                  <c:v>1053.0</c:v>
                </c:pt>
                <c:pt idx="58">
                  <c:v>1170.0</c:v>
                </c:pt>
                <c:pt idx="59">
                  <c:v>1201.3333</c:v>
                </c:pt>
                <c:pt idx="60">
                  <c:v>1241.25</c:v>
                </c:pt>
                <c:pt idx="61">
                  <c:v>1041.5</c:v>
                </c:pt>
                <c:pt idx="62">
                  <c:v>951.0</c:v>
                </c:pt>
                <c:pt idx="63">
                  <c:v>1199.7</c:v>
                </c:pt>
                <c:pt idx="64">
                  <c:v>1168.2857</c:v>
                </c:pt>
                <c:pt idx="65">
                  <c:v>1136.0833</c:v>
                </c:pt>
                <c:pt idx="66">
                  <c:v>1112.2</c:v>
                </c:pt>
                <c:pt idx="67">
                  <c:v>1110.4286</c:v>
                </c:pt>
                <c:pt idx="68">
                  <c:v>1113.5</c:v>
                </c:pt>
                <c:pt idx="69">
                  <c:v>1112.2</c:v>
                </c:pt>
                <c:pt idx="70">
                  <c:v>1109.3333</c:v>
                </c:pt>
                <c:pt idx="71">
                  <c:v>1112.0</c:v>
                </c:pt>
                <c:pt idx="72">
                  <c:v>1289.0</c:v>
                </c:pt>
                <c:pt idx="73">
                  <c:v>1385.5</c:v>
                </c:pt>
                <c:pt idx="74">
                  <c:v>1116.0</c:v>
                </c:pt>
                <c:pt idx="75">
                  <c:v>922.5</c:v>
                </c:pt>
                <c:pt idx="76">
                  <c:v>924.0</c:v>
                </c:pt>
                <c:pt idx="77">
                  <c:v>1590.0</c:v>
                </c:pt>
                <c:pt idx="78">
                  <c:v>963.0</c:v>
                </c:pt>
                <c:pt idx="79">
                  <c:v>829.3333</c:v>
                </c:pt>
                <c:pt idx="80">
                  <c:v>689.0</c:v>
                </c:pt>
                <c:pt idx="81">
                  <c:v>698.5</c:v>
                </c:pt>
                <c:pt idx="82">
                  <c:v>547.0</c:v>
                </c:pt>
                <c:pt idx="83">
                  <c:v>545.0</c:v>
                </c:pt>
                <c:pt idx="84">
                  <c:v>656.25</c:v>
                </c:pt>
                <c:pt idx="85">
                  <c:v>531.4286</c:v>
                </c:pt>
                <c:pt idx="86">
                  <c:v>713.1667</c:v>
                </c:pt>
                <c:pt idx="87">
                  <c:v>598.0</c:v>
                </c:pt>
                <c:pt idx="88">
                  <c:v>724.3333</c:v>
                </c:pt>
                <c:pt idx="89">
                  <c:v>724.3333</c:v>
                </c:pt>
                <c:pt idx="90">
                  <c:v>676.0</c:v>
                </c:pt>
                <c:pt idx="91">
                  <c:v>676.0</c:v>
                </c:pt>
                <c:pt idx="92">
                  <c:v>668.5714</c:v>
                </c:pt>
                <c:pt idx="93">
                  <c:v>760.5</c:v>
                </c:pt>
                <c:pt idx="94">
                  <c:v>702.75</c:v>
                </c:pt>
                <c:pt idx="95">
                  <c:v>784.6667</c:v>
                </c:pt>
                <c:pt idx="96">
                  <c:v>690.625</c:v>
                </c:pt>
                <c:pt idx="97">
                  <c:v>713.875</c:v>
                </c:pt>
                <c:pt idx="98">
                  <c:v>723.8889</c:v>
                </c:pt>
                <c:pt idx="99">
                  <c:v>808.4286</c:v>
                </c:pt>
                <c:pt idx="100">
                  <c:v>1089.2</c:v>
                </c:pt>
                <c:pt idx="101">
                  <c:v>1056.0</c:v>
                </c:pt>
                <c:pt idx="102">
                  <c:v>573.0</c:v>
                </c:pt>
                <c:pt idx="103">
                  <c:v>709.5</c:v>
                </c:pt>
                <c:pt idx="104">
                  <c:v>692.3333</c:v>
                </c:pt>
              </c:numCache>
            </c:numRef>
          </c:xVal>
          <c:yVal>
            <c:numRef>
              <c:f>Sheet1!$B$2:$B$106</c:f>
              <c:numCache>
                <c:formatCode>General</c:formatCode>
                <c:ptCount val="105"/>
                <c:pt idx="0">
                  <c:v>0.01179245283018868</c:v>
                </c:pt>
                <c:pt idx="1">
                  <c:v>0.011056511056511056</c:v>
                </c:pt>
                <c:pt idx="2">
                  <c:v>0.012626262626262626</c:v>
                </c:pt>
                <c:pt idx="3">
                  <c:v>0.016417910447761194</c:v>
                </c:pt>
                <c:pt idx="4">
                  <c:v>0.020257826887661142</c:v>
                </c:pt>
                <c:pt idx="5">
                  <c:v>0.015105740181268883</c:v>
                </c:pt>
                <c:pt idx="6">
                  <c:v>0.01580135440180587</c:v>
                </c:pt>
                <c:pt idx="7">
                  <c:v>0.018867924528301886</c:v>
                </c:pt>
                <c:pt idx="8">
                  <c:v>0.015151515151515152</c:v>
                </c:pt>
                <c:pt idx="9">
                  <c:v>0.019704433497536946</c:v>
                </c:pt>
                <c:pt idx="10">
                  <c:v>0.01597444089456869</c:v>
                </c:pt>
                <c:pt idx="11">
                  <c:v>0.012311901504787962</c:v>
                </c:pt>
                <c:pt idx="12">
                  <c:v>0.012239902080783354</c:v>
                </c:pt>
                <c:pt idx="13">
                  <c:v>0.013630731102850062</c:v>
                </c:pt>
                <c:pt idx="14">
                  <c:v>0.009535160905840286</c:v>
                </c:pt>
                <c:pt idx="15">
                  <c:v>0.00819672131147541</c:v>
                </c:pt>
                <c:pt idx="16">
                  <c:v>0.00741839762611276</c:v>
                </c:pt>
                <c:pt idx="17">
                  <c:v>0.006472491909385114</c:v>
                </c:pt>
                <c:pt idx="18">
                  <c:v>0.004319654427645789</c:v>
                </c:pt>
                <c:pt idx="19">
                  <c:v>0.00558659217877095</c:v>
                </c:pt>
                <c:pt idx="20">
                  <c:v>0.0026595744680851063</c:v>
                </c:pt>
                <c:pt idx="21">
                  <c:v>0.0084985835694051</c:v>
                </c:pt>
                <c:pt idx="22">
                  <c:v>0.015060240963855422</c:v>
                </c:pt>
                <c:pt idx="23">
                  <c:v>0.02786377708978328</c:v>
                </c:pt>
                <c:pt idx="24">
                  <c:v>0.011267605633802818</c:v>
                </c:pt>
                <c:pt idx="25">
                  <c:v>0.017142857142857144</c:v>
                </c:pt>
                <c:pt idx="26">
                  <c:v>0.021634615384615384</c:v>
                </c:pt>
                <c:pt idx="27">
                  <c:v>0.010282776349614395</c:v>
                </c:pt>
                <c:pt idx="28">
                  <c:v>0.012594458438287154</c:v>
                </c:pt>
                <c:pt idx="29">
                  <c:v>0.010482180293501049</c:v>
                </c:pt>
                <c:pt idx="30">
                  <c:v>0.007614213197969543</c:v>
                </c:pt>
                <c:pt idx="31">
                  <c:v>0.014326647564469915</c:v>
                </c:pt>
                <c:pt idx="32">
                  <c:v>0.015060240963855422</c:v>
                </c:pt>
                <c:pt idx="33">
                  <c:v>0.012448132780082987</c:v>
                </c:pt>
                <c:pt idx="34">
                  <c:v>0.013435700575815739</c:v>
                </c:pt>
                <c:pt idx="35">
                  <c:v>0.011686143572621035</c:v>
                </c:pt>
                <c:pt idx="36">
                  <c:v>0.00505902192242833</c:v>
                </c:pt>
                <c:pt idx="37">
                  <c:v>0.004246284501061571</c:v>
                </c:pt>
                <c:pt idx="38">
                  <c:v>0.007285974499089253</c:v>
                </c:pt>
                <c:pt idx="39">
                  <c:v>0.00423728813559322</c:v>
                </c:pt>
                <c:pt idx="40">
                  <c:v>0.0038022813688212928</c:v>
                </c:pt>
                <c:pt idx="41">
                  <c:v>0.00398406374501992</c:v>
                </c:pt>
                <c:pt idx="42">
                  <c:v>0.0017605633802816902</c:v>
                </c:pt>
                <c:pt idx="43">
                  <c:v>0.005610098176718092</c:v>
                </c:pt>
                <c:pt idx="44">
                  <c:v>0.002028397565922921</c:v>
                </c:pt>
                <c:pt idx="45">
                  <c:v>0.002976190476190476</c:v>
                </c:pt>
                <c:pt idx="46">
                  <c:v>0.003952569169960474</c:v>
                </c:pt>
                <c:pt idx="47">
                  <c:v>0.0056925996204933585</c:v>
                </c:pt>
                <c:pt idx="48">
                  <c:v>0.005157593123209169</c:v>
                </c:pt>
                <c:pt idx="49">
                  <c:v>0.006794564348521183</c:v>
                </c:pt>
                <c:pt idx="50">
                  <c:v>0.009598603839441536</c:v>
                </c:pt>
                <c:pt idx="51">
                  <c:v>0.005082592121982211</c:v>
                </c:pt>
                <c:pt idx="52">
                  <c:v>0.006430868167202572</c:v>
                </c:pt>
                <c:pt idx="53">
                  <c:v>0.006165228113440197</c:v>
                </c:pt>
                <c:pt idx="54">
                  <c:v>0.007518796992481203</c:v>
                </c:pt>
                <c:pt idx="55">
                  <c:v>0.008305647840531562</c:v>
                </c:pt>
                <c:pt idx="56">
                  <c:v>0.007518796992481203</c:v>
                </c:pt>
                <c:pt idx="57">
                  <c:v>0.005660377358490566</c:v>
                </c:pt>
                <c:pt idx="58">
                  <c:v>0.011741682974559686</c:v>
                </c:pt>
                <c:pt idx="59">
                  <c:v>0.003061224489795918</c:v>
                </c:pt>
                <c:pt idx="60">
                  <c:v>0.005076142131979695</c:v>
                </c:pt>
                <c:pt idx="61">
                  <c:v>0.006191950464396285</c:v>
                </c:pt>
                <c:pt idx="62">
                  <c:v>0.018433179723502304</c:v>
                </c:pt>
                <c:pt idx="63">
                  <c:v>0.012453300124533</c:v>
                </c:pt>
                <c:pt idx="64">
                  <c:v>0.016260162601626018</c:v>
                </c:pt>
                <c:pt idx="65">
                  <c:v>0.0160857908847185</c:v>
                </c:pt>
                <c:pt idx="66">
                  <c:v>0.014265335235378032</c:v>
                </c:pt>
                <c:pt idx="67">
                  <c:v>0.009655172413793104</c:v>
                </c:pt>
                <c:pt idx="68">
                  <c:v>0.013008130081300813</c:v>
                </c:pt>
                <c:pt idx="69">
                  <c:v>0.010917030567685589</c:v>
                </c:pt>
                <c:pt idx="70">
                  <c:v>0.0064794816414686825</c:v>
                </c:pt>
                <c:pt idx="71">
                  <c:v>0.012077294685990338</c:v>
                </c:pt>
                <c:pt idx="72">
                  <c:v>0.006355932203389831</c:v>
                </c:pt>
                <c:pt idx="73">
                  <c:v>0.004640371229698376</c:v>
                </c:pt>
                <c:pt idx="74">
                  <c:v>0.0069124423963133645</c:v>
                </c:pt>
                <c:pt idx="75">
                  <c:v>0.009174311926605505</c:v>
                </c:pt>
                <c:pt idx="76">
                  <c:v>0.006211180124223602</c:v>
                </c:pt>
                <c:pt idx="77">
                  <c:v>0.002506265664160401</c:v>
                </c:pt>
                <c:pt idx="78">
                  <c:v>0.002544529262086514</c:v>
                </c:pt>
                <c:pt idx="79">
                  <c:v>0.00804289544235925</c:v>
                </c:pt>
                <c:pt idx="80">
                  <c:v>0.005681818181818182</c:v>
                </c:pt>
                <c:pt idx="81">
                  <c:v>0.008438818565400843</c:v>
                </c:pt>
                <c:pt idx="82">
                  <c:v>0.007792207792207792</c:v>
                </c:pt>
                <c:pt idx="83">
                  <c:v>0.007731958762886598</c:v>
                </c:pt>
                <c:pt idx="84">
                  <c:v>0.011527377521613832</c:v>
                </c:pt>
                <c:pt idx="85">
                  <c:v>0.01804123711340206</c:v>
                </c:pt>
                <c:pt idx="86">
                  <c:v>0.010273972602739725</c:v>
                </c:pt>
                <c:pt idx="87">
                  <c:v>0.00865051903114187</c:v>
                </c:pt>
                <c:pt idx="88">
                  <c:v>0.0057251908396946565</c:v>
                </c:pt>
                <c:pt idx="89">
                  <c:v>0.006756756756756757</c:v>
                </c:pt>
                <c:pt idx="90">
                  <c:v>0.005319148936170213</c:v>
                </c:pt>
                <c:pt idx="91">
                  <c:v>0.00516795865633075</c:v>
                </c:pt>
                <c:pt idx="92">
                  <c:v>0.013133208255159476</c:v>
                </c:pt>
                <c:pt idx="93">
                  <c:v>0.0074211502782931356</c:v>
                </c:pt>
                <c:pt idx="94">
                  <c:v>0.007575757575757576</c:v>
                </c:pt>
                <c:pt idx="95">
                  <c:v>0.004739336492890996</c:v>
                </c:pt>
                <c:pt idx="96">
                  <c:v>0.009512485136741973</c:v>
                </c:pt>
                <c:pt idx="97">
                  <c:v>0.008008008008008008</c:v>
                </c:pt>
                <c:pt idx="98">
                  <c:v>0.007252215954875101</c:v>
                </c:pt>
                <c:pt idx="99">
                  <c:v>0.005043227665706052</c:v>
                </c:pt>
                <c:pt idx="100">
                  <c:v>0.004699248120300752</c:v>
                </c:pt>
                <c:pt idx="101">
                  <c:v>0.0019212295869356388</c:v>
                </c:pt>
                <c:pt idx="102">
                  <c:v>0.003105590062111801</c:v>
                </c:pt>
                <c:pt idx="103">
                  <c:v>0.0028368794326241137</c:v>
                </c:pt>
                <c:pt idx="104">
                  <c:v>0.004444444444444444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5.0</c:v>
                </c:pt>
                <c:pt idx="1">
                  <c:v>727.1667</c:v>
                </c:pt>
                <c:pt idx="2">
                  <c:v>639.1667</c:v>
                </c:pt>
                <c:pt idx="3">
                  <c:v>609.3333</c:v>
                </c:pt>
                <c:pt idx="4">
                  <c:v>620.6667</c:v>
                </c:pt>
                <c:pt idx="5">
                  <c:v>607.5</c:v>
                </c:pt>
                <c:pt idx="6">
                  <c:v>601.0</c:v>
                </c:pt>
                <c:pt idx="7">
                  <c:v>646.0</c:v>
                </c:pt>
                <c:pt idx="8">
                  <c:v>636.0</c:v>
                </c:pt>
                <c:pt idx="9">
                  <c:v>974.0</c:v>
                </c:pt>
                <c:pt idx="10">
                  <c:v>517.0</c:v>
                </c:pt>
                <c:pt idx="11">
                  <c:v>603.0</c:v>
                </c:pt>
                <c:pt idx="12">
                  <c:v>739.5</c:v>
                </c:pt>
                <c:pt idx="13">
                  <c:v>684.25</c:v>
                </c:pt>
                <c:pt idx="14">
                  <c:v>653.0</c:v>
                </c:pt>
                <c:pt idx="15">
                  <c:v>573.0</c:v>
                </c:pt>
                <c:pt idx="16">
                  <c:v>849.0</c:v>
                </c:pt>
                <c:pt idx="17">
                  <c:v>635.0</c:v>
                </c:pt>
                <c:pt idx="18">
                  <c:v>461.0</c:v>
                </c:pt>
                <c:pt idx="19">
                  <c:v>0.0</c:v>
                </c:pt>
                <c:pt idx="20">
                  <c:v>636.0</c:v>
                </c:pt>
                <c:pt idx="21">
                  <c:v>451.0</c:v>
                </c:pt>
                <c:pt idx="22">
                  <c:v>477.0</c:v>
                </c:pt>
                <c:pt idx="23">
                  <c:v>477.0</c:v>
                </c:pt>
                <c:pt idx="24">
                  <c:v>795.0</c:v>
                </c:pt>
                <c:pt idx="25">
                  <c:v>0.0</c:v>
                </c:pt>
                <c:pt idx="26">
                  <c:v>0.0</c:v>
                </c:pt>
                <c:pt idx="27">
                  <c:v>476.5</c:v>
                </c:pt>
                <c:pt idx="28">
                  <c:v>0.0</c:v>
                </c:pt>
                <c:pt idx="29">
                  <c:v>308.0</c:v>
                </c:pt>
                <c:pt idx="30">
                  <c:v>556.0</c:v>
                </c:pt>
                <c:pt idx="31">
                  <c:v>0.0</c:v>
                </c:pt>
                <c:pt idx="32">
                  <c:v>0.0</c:v>
                </c:pt>
                <c:pt idx="33">
                  <c:v>556.5</c:v>
                </c:pt>
                <c:pt idx="34">
                  <c:v>636.0</c:v>
                </c:pt>
                <c:pt idx="35">
                  <c:v>715.5</c:v>
                </c:pt>
                <c:pt idx="36">
                  <c:v>636.0</c:v>
                </c:pt>
                <c:pt idx="37">
                  <c:v>501.3333</c:v>
                </c:pt>
                <c:pt idx="38">
                  <c:v>451.0</c:v>
                </c:pt>
                <c:pt idx="39">
                  <c:v>413.5</c:v>
                </c:pt>
                <c:pt idx="40">
                  <c:v>350.0</c:v>
                </c:pt>
                <c:pt idx="41">
                  <c:v>374.4167</c:v>
                </c:pt>
                <c:pt idx="42">
                  <c:v>392.2857</c:v>
                </c:pt>
                <c:pt idx="43">
                  <c:v>346.3333</c:v>
                </c:pt>
                <c:pt idx="44">
                  <c:v>360.0</c:v>
                </c:pt>
                <c:pt idx="45">
                  <c:v>353.3333</c:v>
                </c:pt>
                <c:pt idx="46">
                  <c:v>365.5</c:v>
                </c:pt>
                <c:pt idx="47">
                  <c:v>370.0</c:v>
                </c:pt>
                <c:pt idx="48">
                  <c:v>391.5</c:v>
                </c:pt>
                <c:pt idx="49">
                  <c:v>339.6667</c:v>
                </c:pt>
                <c:pt idx="50">
                  <c:v>280.75</c:v>
                </c:pt>
                <c:pt idx="51">
                  <c:v>376.0</c:v>
                </c:pt>
              </c:numCache>
            </c:numRef>
          </c:xVal>
          <c:yVal>
            <c:numRef>
              <c:f>Sheet1!$B$109:$B$160</c:f>
              <c:numCache>
                <c:formatCode>General</c:formatCode>
                <c:ptCount val="52"/>
                <c:pt idx="0">
                  <c:v>0.003978779840848806</c:v>
                </c:pt>
                <c:pt idx="1">
                  <c:v>0.0091324200913242</c:v>
                </c:pt>
                <c:pt idx="2">
                  <c:v>0.008438818565400843</c:v>
                </c:pt>
                <c:pt idx="3">
                  <c:v>0.00964630225080386</c:v>
                </c:pt>
                <c:pt idx="4">
                  <c:v>0.009852216748768473</c:v>
                </c:pt>
                <c:pt idx="5">
                  <c:v>0.011131725417439703</c:v>
                </c:pt>
                <c:pt idx="6">
                  <c:v>0.009779951100244499</c:v>
                </c:pt>
                <c:pt idx="7">
                  <c:v>0.00398406374501992</c:v>
                </c:pt>
                <c:pt idx="8">
                  <c:v>0.003246753246753247</c:v>
                </c:pt>
                <c:pt idx="9">
                  <c:v>0.0030864197530864196</c:v>
                </c:pt>
                <c:pt idx="10">
                  <c:v>0.004514672686230248</c:v>
                </c:pt>
                <c:pt idx="11">
                  <c:v>0.009174311926605505</c:v>
                </c:pt>
                <c:pt idx="12">
                  <c:v>0.0030349013657056147</c:v>
                </c:pt>
                <c:pt idx="13">
                  <c:v>0.006369426751592357</c:v>
                </c:pt>
                <c:pt idx="14">
                  <c:v>0.005405405405405406</c:v>
                </c:pt>
                <c:pt idx="15">
                  <c:v>0.005110732538330494</c:v>
                </c:pt>
                <c:pt idx="16">
                  <c:v>0.001968503937007874</c:v>
                </c:pt>
                <c:pt idx="17">
                  <c:v>0.0022026431718061676</c:v>
                </c:pt>
                <c:pt idx="18">
                  <c:v>0.0029154518950437317</c:v>
                </c:pt>
                <c:pt idx="19">
                  <c:v>0.0</c:v>
                </c:pt>
                <c:pt idx="20">
                  <c:v>0.0026595744680851063</c:v>
                </c:pt>
                <c:pt idx="21">
                  <c:v>0.0036101083032490976</c:v>
                </c:pt>
                <c:pt idx="22">
                  <c:v>0.00411522633744856</c:v>
                </c:pt>
                <c:pt idx="23">
                  <c:v>0.004273504273504274</c:v>
                </c:pt>
                <c:pt idx="24">
                  <c:v>0.004219409282700422</c:v>
                </c:pt>
                <c:pt idx="25">
                  <c:v>0.0</c:v>
                </c:pt>
                <c:pt idx="26">
                  <c:v>0.0</c:v>
                </c:pt>
                <c:pt idx="27">
                  <c:v>0.006920415224913495</c:v>
                </c:pt>
                <c:pt idx="28">
                  <c:v>0.0</c:v>
                </c:pt>
                <c:pt idx="29">
                  <c:v>0.0038022813688212928</c:v>
                </c:pt>
                <c:pt idx="30">
                  <c:v>0.0035971223021582736</c:v>
                </c:pt>
                <c:pt idx="31">
                  <c:v>0.0</c:v>
                </c:pt>
                <c:pt idx="32">
                  <c:v>0.0</c:v>
                </c:pt>
                <c:pt idx="33">
                  <c:v>0.005277044854881266</c:v>
                </c:pt>
                <c:pt idx="34">
                  <c:v>0.002105263157894737</c:v>
                </c:pt>
                <c:pt idx="35">
                  <c:v>0.0041753653444676405</c:v>
                </c:pt>
                <c:pt idx="36">
                  <c:v>0.0037313432835820895</c:v>
                </c:pt>
                <c:pt idx="37">
                  <c:v>0.010238907849829351</c:v>
                </c:pt>
                <c:pt idx="38">
                  <c:v>0.00425531914893617</c:v>
                </c:pt>
                <c:pt idx="39">
                  <c:v>0.010958904109589041</c:v>
                </c:pt>
                <c:pt idx="40">
                  <c:v>0.0070921985815602835</c:v>
                </c:pt>
                <c:pt idx="41">
                  <c:v>0.023622047244094488</c:v>
                </c:pt>
                <c:pt idx="42">
                  <c:v>0.01728395061728395</c:v>
                </c:pt>
                <c:pt idx="43">
                  <c:v>0.006048387096774193</c:v>
                </c:pt>
                <c:pt idx="44">
                  <c:v>0.006462035541195477</c:v>
                </c:pt>
                <c:pt idx="45">
                  <c:v>0.003740648379052369</c:v>
                </c:pt>
                <c:pt idx="46">
                  <c:v>0.006920415224913495</c:v>
                </c:pt>
                <c:pt idx="47">
                  <c:v>0.004484304932735426</c:v>
                </c:pt>
                <c:pt idx="48">
                  <c:v>0.007009345794392523</c:v>
                </c:pt>
                <c:pt idx="49">
                  <c:v>0.004048582995951417</c:v>
                </c:pt>
                <c:pt idx="50">
                  <c:v>0.0032076984763432237</c:v>
                </c:pt>
                <c:pt idx="51">
                  <c:v>0.002869440459110473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818.968071149449</c:v>
                </c:pt>
              </c:numCache>
            </c:numRef>
          </c:xVal>
          <c:yVal>
            <c:numRef>
              <c:f>Sheet1!$B$163:$B$164</c:f>
              <c:numCache>
                <c:formatCode>General</c:formatCode>
                <c:ptCount val="2"/>
                <c:pt idx="0">
                  <c:v>0.015230833123475165</c:v>
                </c:pt>
                <c:pt idx="1">
                  <c:v>0.01523083312347516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818.968071149449</c:v>
                </c:pt>
                <c:pt idx="1">
                  <c:v>2818.968071149449</c:v>
                </c:pt>
              </c:numCache>
            </c:numRef>
          </c:xVal>
          <c:yVal>
            <c:numRef>
              <c:f>Sheet1!$B$167:$B$168</c:f>
              <c:numCache>
                <c:formatCode>General</c:formatCode>
                <c:ptCount val="2"/>
                <c:pt idx="0">
                  <c:v>0.01523083312347516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2.4669277399842</c:v>
                </c:pt>
              </c:numCache>
            </c:numRef>
          </c:xVal>
          <c:yVal>
            <c:numRef>
              <c:f>Sheet1!$B$171:$B$172</c:f>
              <c:numCache>
                <c:formatCode>General</c:formatCode>
                <c:ptCount val="2"/>
                <c:pt idx="0">
                  <c:v>0.008385679027231845</c:v>
                </c:pt>
                <c:pt idx="1">
                  <c:v>0.0083856790272318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2.4669277399842</c:v>
                </c:pt>
                <c:pt idx="1">
                  <c:v>1192.4669277399842</c:v>
                </c:pt>
              </c:numCache>
            </c:numRef>
          </c:xVal>
          <c:yVal>
            <c:numRef>
              <c:f>Sheet1!$B$175:$B$176</c:f>
              <c:numCache>
                <c:formatCode>General</c:formatCode>
                <c:ptCount val="2"/>
                <c:pt idx="0">
                  <c:v>0.0083856790272318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6.2175896442388</c:v>
                </c:pt>
              </c:numCache>
            </c:numRef>
          </c:xVal>
          <c:yVal>
            <c:numRef>
              <c:f>Sheet1!$B$179:$B$180</c:f>
              <c:numCache>
                <c:formatCode>General</c:formatCode>
                <c:ptCount val="2"/>
                <c:pt idx="0">
                  <c:v>0.007980612265615104</c:v>
                </c:pt>
                <c:pt idx="1">
                  <c:v>0.00798061226561510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6.2175896442388</c:v>
                </c:pt>
                <c:pt idx="1">
                  <c:v>1096.2175896442388</c:v>
                </c:pt>
              </c:numCache>
            </c:numRef>
          </c:xVal>
          <c:yVal>
            <c:numRef>
              <c:f>Sheet1!$B$183:$B$184</c:f>
              <c:numCache>
                <c:formatCode>General</c:formatCode>
                <c:ptCount val="2"/>
                <c:pt idx="0">
                  <c:v>0.0079806122656151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5.0</c:v>
                </c:pt>
                <c:pt idx="1">
                  <c:v>727.1667</c:v>
                </c:pt>
                <c:pt idx="2">
                  <c:v>639.1667</c:v>
                </c:pt>
                <c:pt idx="3">
                  <c:v>609.3333</c:v>
                </c:pt>
                <c:pt idx="4">
                  <c:v>620.6667</c:v>
                </c:pt>
                <c:pt idx="5">
                  <c:v>607.5</c:v>
                </c:pt>
                <c:pt idx="6">
                  <c:v>601.0</c:v>
                </c:pt>
                <c:pt idx="7">
                  <c:v>646.0</c:v>
                </c:pt>
                <c:pt idx="8">
                  <c:v>636.0</c:v>
                </c:pt>
                <c:pt idx="9">
                  <c:v>974.0</c:v>
                </c:pt>
                <c:pt idx="10">
                  <c:v>517.0</c:v>
                </c:pt>
                <c:pt idx="11">
                  <c:v>603.0</c:v>
                </c:pt>
                <c:pt idx="12">
                  <c:v>739.5</c:v>
                </c:pt>
                <c:pt idx="13">
                  <c:v>684.25</c:v>
                </c:pt>
                <c:pt idx="14">
                  <c:v>653.0</c:v>
                </c:pt>
                <c:pt idx="15">
                  <c:v>573.0</c:v>
                </c:pt>
                <c:pt idx="16">
                  <c:v>849.0</c:v>
                </c:pt>
                <c:pt idx="17">
                  <c:v>635.0</c:v>
                </c:pt>
                <c:pt idx="18">
                  <c:v>461.0</c:v>
                </c:pt>
                <c:pt idx="19">
                  <c:v>0.0</c:v>
                </c:pt>
                <c:pt idx="20">
                  <c:v>636.0</c:v>
                </c:pt>
                <c:pt idx="21">
                  <c:v>451.0</c:v>
                </c:pt>
                <c:pt idx="22">
                  <c:v>477.0</c:v>
                </c:pt>
                <c:pt idx="23">
                  <c:v>477.0</c:v>
                </c:pt>
                <c:pt idx="24">
                  <c:v>795.0</c:v>
                </c:pt>
                <c:pt idx="25">
                  <c:v>0.0</c:v>
                </c:pt>
                <c:pt idx="26">
                  <c:v>0.0</c:v>
                </c:pt>
                <c:pt idx="27">
                  <c:v>476.5</c:v>
                </c:pt>
                <c:pt idx="28">
                  <c:v>0.0</c:v>
                </c:pt>
                <c:pt idx="29">
                  <c:v>308.0</c:v>
                </c:pt>
                <c:pt idx="30">
                  <c:v>556.0</c:v>
                </c:pt>
                <c:pt idx="31">
                  <c:v>0.0</c:v>
                </c:pt>
                <c:pt idx="32">
                  <c:v>0.0</c:v>
                </c:pt>
                <c:pt idx="33">
                  <c:v>556.5</c:v>
                </c:pt>
                <c:pt idx="34">
                  <c:v>636.0</c:v>
                </c:pt>
                <c:pt idx="35">
                  <c:v>715.5</c:v>
                </c:pt>
                <c:pt idx="36">
                  <c:v>636.0</c:v>
                </c:pt>
                <c:pt idx="37">
                  <c:v>501.3333</c:v>
                </c:pt>
                <c:pt idx="38">
                  <c:v>451.0</c:v>
                </c:pt>
                <c:pt idx="39">
                  <c:v>413.5</c:v>
                </c:pt>
                <c:pt idx="40">
                  <c:v>350.0</c:v>
                </c:pt>
                <c:pt idx="41">
                  <c:v>374.4167</c:v>
                </c:pt>
                <c:pt idx="42">
                  <c:v>392.2857</c:v>
                </c:pt>
                <c:pt idx="43">
                  <c:v>346.3333</c:v>
                </c:pt>
                <c:pt idx="44">
                  <c:v>360.0</c:v>
                </c:pt>
                <c:pt idx="45">
                  <c:v>353.3333</c:v>
                </c:pt>
                <c:pt idx="46">
                  <c:v>365.5</c:v>
                </c:pt>
                <c:pt idx="47">
                  <c:v>370.0</c:v>
                </c:pt>
                <c:pt idx="48">
                  <c:v>391.5</c:v>
                </c:pt>
                <c:pt idx="49">
                  <c:v>339.6667</c:v>
                </c:pt>
                <c:pt idx="50">
                  <c:v>280.75</c:v>
                </c:pt>
                <c:pt idx="51">
                  <c:v>376.0</c:v>
                </c:pt>
                <c:pt idx="52">
                  <c:v>1192.4669277399842</c:v>
                </c:pt>
                <c:pt idx="53">
                  <c:v>2818.968071149449</c:v>
                </c:pt>
                <c:pt idx="54">
                  <c:v>1096.2175896442388</c:v>
                </c:pt>
              </c:numCache>
            </c:numRef>
          </c:xVal>
          <c:yVal>
            <c:numRef>
              <c:f>Sheet1!$B$187:$B$241</c:f>
              <c:numCache>
                <c:formatCode>General</c:formatCode>
                <c:ptCount val="55"/>
                <c:pt idx="0">
                  <c:v>0.0062920821109537</c:v>
                </c:pt>
                <c:pt idx="1">
                  <c:v>0.006427456143219105</c:v>
                </c:pt>
                <c:pt idx="2">
                  <c:v>0.006057106842875719</c:v>
                </c:pt>
                <c:pt idx="3">
                  <c:v>0.0059315525381386245</c:v>
                </c:pt>
                <c:pt idx="4">
                  <c:v>0.005979249319508075</c:v>
                </c:pt>
                <c:pt idx="5">
                  <c:v>0.00592383706799863</c:v>
                </c:pt>
                <c:pt idx="6">
                  <c:v>0.005896481721950539</c:v>
                </c:pt>
                <c:pt idx="7">
                  <c:v>0.0060858648868988615</c:v>
                </c:pt>
                <c:pt idx="8">
                  <c:v>0.006043779739132567</c:v>
                </c:pt>
                <c:pt idx="9">
                  <c:v>0.007466257733633299</c:v>
                </c:pt>
                <c:pt idx="10">
                  <c:v>0.00554296648071367</c:v>
                </c:pt>
                <c:pt idx="11">
                  <c:v>0.005904898751503797</c:v>
                </c:pt>
                <c:pt idx="12">
                  <c:v>0.006479361018513708</c:v>
                </c:pt>
                <c:pt idx="13">
                  <c:v>0.006246840577104935</c:v>
                </c:pt>
                <c:pt idx="14">
                  <c:v>0.006115324490335266</c:v>
                </c:pt>
                <c:pt idx="15">
                  <c:v>0.005778643308204916</c:v>
                </c:pt>
                <c:pt idx="16">
                  <c:v>0.006940193386554626</c:v>
                </c:pt>
                <c:pt idx="17">
                  <c:v>0.006039571224355937</c:v>
                </c:pt>
                <c:pt idx="18">
                  <c:v>0.0053072896532224256</c:v>
                </c:pt>
                <c:pt idx="19">
                  <c:v>0.0033671643411962797</c:v>
                </c:pt>
                <c:pt idx="20">
                  <c:v>0.006043779739132567</c:v>
                </c:pt>
                <c:pt idx="21">
                  <c:v>0.005265204505456131</c:v>
                </c:pt>
                <c:pt idx="22">
                  <c:v>0.005374625889648495</c:v>
                </c:pt>
                <c:pt idx="23">
                  <c:v>0.005374625889648495</c:v>
                </c:pt>
                <c:pt idx="24">
                  <c:v>0.006712933588616639</c:v>
                </c:pt>
                <c:pt idx="25">
                  <c:v>0.0033671643411962797</c:v>
                </c:pt>
                <c:pt idx="26">
                  <c:v>0.0033671643411962797</c:v>
                </c:pt>
                <c:pt idx="27">
                  <c:v>0.005372521632260181</c:v>
                </c:pt>
                <c:pt idx="28">
                  <c:v>0.0033671643411962797</c:v>
                </c:pt>
                <c:pt idx="29">
                  <c:v>0.00466338689239813</c:v>
                </c:pt>
                <c:pt idx="30">
                  <c:v>0.005707098557002216</c:v>
                </c:pt>
                <c:pt idx="31">
                  <c:v>0.0033671643411962797</c:v>
                </c:pt>
                <c:pt idx="32">
                  <c:v>0.0033671643411962797</c:v>
                </c:pt>
                <c:pt idx="33">
                  <c:v>0.005709202814390531</c:v>
                </c:pt>
                <c:pt idx="34">
                  <c:v>0.006043779739132567</c:v>
                </c:pt>
                <c:pt idx="35">
                  <c:v>0.006378356663874603</c:v>
                </c:pt>
                <c:pt idx="36">
                  <c:v>0.006043779739132567</c:v>
                </c:pt>
                <c:pt idx="37">
                  <c:v>0.005477032942262651</c:v>
                </c:pt>
                <c:pt idx="38">
                  <c:v>0.005265204505456131</c:v>
                </c:pt>
                <c:pt idx="39">
                  <c:v>0.0051073852013325295</c:v>
                </c:pt>
                <c:pt idx="40">
                  <c:v>0.0048401445130165635</c:v>
                </c:pt>
                <c:pt idx="41">
                  <c:v>0.00494290255576309</c:v>
                </c:pt>
                <c:pt idx="42">
                  <c:v>0.005018104506306681</c:v>
                </c:pt>
                <c:pt idx="43">
                  <c:v>0.004824713151885097</c:v>
                </c:pt>
                <c:pt idx="44">
                  <c:v>0.004882229660782857</c:v>
                </c:pt>
                <c:pt idx="45">
                  <c:v>0.004854172755321502</c:v>
                </c:pt>
                <c:pt idx="46">
                  <c:v>0.004905376492054319</c:v>
                </c:pt>
                <c:pt idx="47">
                  <c:v>0.004924314808549151</c:v>
                </c:pt>
                <c:pt idx="48">
                  <c:v>0.0050147978762466825</c:v>
                </c:pt>
                <c:pt idx="49">
                  <c:v>0.004796656667275219</c:v>
                </c:pt>
                <c:pt idx="50">
                  <c:v>0.004548704864734979</c:v>
                </c:pt>
                <c:pt idx="51">
                  <c:v>0.004949565897208927</c:v>
                </c:pt>
                <c:pt idx="52">
                  <c:v>0.008385679027231845</c:v>
                </c:pt>
                <c:pt idx="53">
                  <c:v>0.015230833123475165</c:v>
                </c:pt>
                <c:pt idx="54">
                  <c:v>0.0079806122656151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38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34365325077399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752307324817041</c:v>
                </c:pt>
                <c:pt idx="1">
                  <c:v>0.7483058744051343</c:v>
                </c:pt>
                <c:pt idx="2">
                  <c:v>0.7238297087806166</c:v>
                </c:pt>
                <c:pt idx="3">
                  <c:v>0.6941313108638016</c:v>
                </c:pt>
                <c:pt idx="4">
                  <c:v>0.7035916584099294</c:v>
                </c:pt>
                <c:pt idx="5">
                  <c:v>0.6799651434631835</c:v>
                </c:pt>
                <c:pt idx="6">
                  <c:v>0.6481764178974612</c:v>
                </c:pt>
                <c:pt idx="7">
                  <c:v>0.6861397873473384</c:v>
                </c:pt>
                <c:pt idx="8">
                  <c:v>0.7547186307448812</c:v>
                </c:pt>
                <c:pt idx="9">
                  <c:v>0.7131363888703298</c:v>
                </c:pt>
                <c:pt idx="10">
                  <c:v>0.7729601317957167</c:v>
                </c:pt>
                <c:pt idx="11">
                  <c:v>0.8106810499205215</c:v>
                </c:pt>
                <c:pt idx="12">
                  <c:v>0.853669057136499</c:v>
                </c:pt>
                <c:pt idx="13">
                  <c:v>0.8492281626991764</c:v>
                </c:pt>
                <c:pt idx="14">
                  <c:v>0.9020041042996454</c:v>
                </c:pt>
                <c:pt idx="15">
                  <c:v>0.837644490798798</c:v>
                </c:pt>
                <c:pt idx="16">
                  <c:v>0.8390375287193363</c:v>
                </c:pt>
                <c:pt idx="17">
                  <c:v>0.8176998875976932</c:v>
                </c:pt>
                <c:pt idx="18">
                  <c:v>0.8403045599734211</c:v>
                </c:pt>
                <c:pt idx="19">
                  <c:v>0.9283907260128704</c:v>
                </c:pt>
                <c:pt idx="20">
                  <c:v>0.9328869367405501</c:v>
                </c:pt>
                <c:pt idx="21">
                  <c:v>0.8626332694491766</c:v>
                </c:pt>
                <c:pt idx="22">
                  <c:v>0.8518872816106857</c:v>
                </c:pt>
                <c:pt idx="23">
                  <c:v>0.7408833049156677</c:v>
                </c:pt>
                <c:pt idx="24">
                  <c:v>0.6052156079823325</c:v>
                </c:pt>
                <c:pt idx="25">
                  <c:v>0.6009240614485764</c:v>
                </c:pt>
                <c:pt idx="26">
                  <c:v>0.6437258205834825</c:v>
                </c:pt>
                <c:pt idx="27">
                  <c:v>0.6761057618139197</c:v>
                </c:pt>
                <c:pt idx="28">
                  <c:v>0.7005632020723253</c:v>
                </c:pt>
                <c:pt idx="29">
                  <c:v>0.6632611740636357</c:v>
                </c:pt>
                <c:pt idx="30">
                  <c:v>0.7308627324853644</c:v>
                </c:pt>
                <c:pt idx="31">
                  <c:v>0.6613206326967779</c:v>
                </c:pt>
                <c:pt idx="32">
                  <c:v>0.6299620116844643</c:v>
                </c:pt>
                <c:pt idx="33">
                  <c:v>0.6206180290245735</c:v>
                </c:pt>
                <c:pt idx="34">
                  <c:v>0.7041682921483956</c:v>
                </c:pt>
                <c:pt idx="35">
                  <c:v>0.7740548213179489</c:v>
                </c:pt>
                <c:pt idx="36">
                  <c:v>0.9042060592141158</c:v>
                </c:pt>
                <c:pt idx="37">
                  <c:v>0.8484317839178219</c:v>
                </c:pt>
                <c:pt idx="38">
                  <c:v>0.9094240727820705</c:v>
                </c:pt>
                <c:pt idx="39">
                  <c:v>0.9518332617014704</c:v>
                </c:pt>
                <c:pt idx="40">
                  <c:v>0.9969514314136165</c:v>
                </c:pt>
                <c:pt idx="41">
                  <c:v>0.9124943802242403</c:v>
                </c:pt>
                <c:pt idx="42">
                  <c:v>0.9503468285112522</c:v>
                </c:pt>
                <c:pt idx="43">
                  <c:v>0.9824944990382133</c:v>
                </c:pt>
                <c:pt idx="44">
                  <c:v>0.9513293829381405</c:v>
                </c:pt>
                <c:pt idx="45">
                  <c:v>0.8705555346867269</c:v>
                </c:pt>
                <c:pt idx="46">
                  <c:v>1.026009291110972</c:v>
                </c:pt>
                <c:pt idx="47">
                  <c:v>1.0273290940261863</c:v>
                </c:pt>
                <c:pt idx="48">
                  <c:v>0.9859806510109006</c:v>
                </c:pt>
                <c:pt idx="49">
                  <c:v>0.9539360583433777</c:v>
                </c:pt>
                <c:pt idx="50">
                  <c:v>0.9662200556797775</c:v>
                </c:pt>
                <c:pt idx="51">
                  <c:v>1.0490000180556474</c:v>
                </c:pt>
                <c:pt idx="52">
                  <c:v>0.9759065155741115</c:v>
                </c:pt>
                <c:pt idx="53">
                  <c:v>0.9064931988858491</c:v>
                </c:pt>
                <c:pt idx="54">
                  <c:v>0.897796275536156</c:v>
                </c:pt>
                <c:pt idx="55">
                  <c:v>0.7746311970230214</c:v>
                </c:pt>
                <c:pt idx="56">
                  <c:v>0.7907800192440869</c:v>
                </c:pt>
                <c:pt idx="57">
                  <c:v>0.788222437174703</c:v>
                </c:pt>
                <c:pt idx="58">
                  <c:v>0.6993191764846514</c:v>
                </c:pt>
                <c:pt idx="59">
                  <c:v>0.6897777154965431</c:v>
                </c:pt>
                <c:pt idx="60">
                  <c:v>0.7437450293187885</c:v>
                </c:pt>
                <c:pt idx="61">
                  <c:v>0.77572044853935</c:v>
                </c:pt>
                <c:pt idx="62">
                  <c:v>0.8451859806114839</c:v>
                </c:pt>
                <c:pt idx="63">
                  <c:v>0.9214118460873324</c:v>
                </c:pt>
                <c:pt idx="64">
                  <c:v>0.9172175153570926</c:v>
                </c:pt>
                <c:pt idx="65">
                  <c:v>0.9103014795020472</c:v>
                </c:pt>
                <c:pt idx="66">
                  <c:v>0.8894467098092704</c:v>
                </c:pt>
                <c:pt idx="67">
                  <c:v>0.9071129332615095</c:v>
                </c:pt>
                <c:pt idx="68">
                  <c:v>0.961902866069163</c:v>
                </c:pt>
                <c:pt idx="69">
                  <c:v>1.0031260985671895</c:v>
                </c:pt>
                <c:pt idx="70">
                  <c:v>0.8372806401847357</c:v>
                </c:pt>
                <c:pt idx="71">
                  <c:v>0.9349812737621831</c:v>
                </c:pt>
                <c:pt idx="72">
                  <c:v>1.1479068363864433</c:v>
                </c:pt>
                <c:pt idx="73">
                  <c:v>0.9622041123466359</c:v>
                </c:pt>
                <c:pt idx="74">
                  <c:v>1.0601084393518385</c:v>
                </c:pt>
                <c:pt idx="75">
                  <c:v>0.7977807600704153</c:v>
                </c:pt>
                <c:pt idx="76">
                  <c:v>0.8282663833549145</c:v>
                </c:pt>
                <c:pt idx="77">
                  <c:v>0.9815467714012075</c:v>
                </c:pt>
                <c:pt idx="78">
                  <c:v>0.9919092998020467</c:v>
                </c:pt>
                <c:pt idx="79">
                  <c:v>0.9016880194407607</c:v>
                </c:pt>
                <c:pt idx="80">
                  <c:v>0.9993680406279046</c:v>
                </c:pt>
                <c:pt idx="81">
                  <c:v>0.9747925957078142</c:v>
                </c:pt>
                <c:pt idx="82">
                  <c:v>0.9525926649434545</c:v>
                </c:pt>
                <c:pt idx="83">
                  <c:v>0.8397010641023942</c:v>
                </c:pt>
                <c:pt idx="84">
                  <c:v>0.9607278121586572</c:v>
                </c:pt>
                <c:pt idx="85">
                  <c:v>0.9221559893522626</c:v>
                </c:pt>
                <c:pt idx="86">
                  <c:v>1.0251204207887392</c:v>
                </c:pt>
                <c:pt idx="87">
                  <c:v>0.9519442226646588</c:v>
                </c:pt>
                <c:pt idx="88">
                  <c:v>1.0051925820793304</c:v>
                </c:pt>
                <c:pt idx="89">
                  <c:v>0.9602262056408811</c:v>
                </c:pt>
                <c:pt idx="90">
                  <c:v>0.9775515027300835</c:v>
                </c:pt>
                <c:pt idx="91">
                  <c:v>1.0475244767100396</c:v>
                </c:pt>
                <c:pt idx="92">
                  <c:v>1.017030269819927</c:v>
                </c:pt>
                <c:pt idx="93">
                  <c:v>1.0292603006926733</c:v>
                </c:pt>
                <c:pt idx="94">
                  <c:v>1.1249028170600184</c:v>
                </c:pt>
                <c:pt idx="95">
                  <c:v>1.1145793662858003</c:v>
                </c:pt>
                <c:pt idx="96">
                  <c:v>1.1074448598965898</c:v>
                </c:pt>
                <c:pt idx="97">
                  <c:v>1.1083865578791745</c:v>
                </c:pt>
                <c:pt idx="98">
                  <c:v>1.0641608836226262</c:v>
                </c:pt>
                <c:pt idx="99">
                  <c:v>1.0229925294728148</c:v>
                </c:pt>
                <c:pt idx="100">
                  <c:v>1.0413953092526864</c:v>
                </c:pt>
                <c:pt idx="101">
                  <c:v>0.9181147370211565</c:v>
                </c:pt>
                <c:pt idx="102">
                  <c:v>0.967946585761074</c:v>
                </c:pt>
                <c:pt idx="103">
                  <c:v>0.9058184405561356</c:v>
                </c:pt>
                <c:pt idx="104">
                  <c:v>0.8884736160004294</c:v>
                </c:pt>
              </c:numCache>
            </c:numRef>
          </c:xVal>
          <c:yVal>
            <c:numRef>
              <c:f>Sheet1!$B$2:$B$106</c:f>
              <c:numCache>
                <c:formatCode>General</c:formatCode>
                <c:ptCount val="105"/>
                <c:pt idx="0">
                  <c:v>0.17452830188679244</c:v>
                </c:pt>
                <c:pt idx="1">
                  <c:v>0.18304668304668303</c:v>
                </c:pt>
                <c:pt idx="2">
                  <c:v>0.17676767676767677</c:v>
                </c:pt>
                <c:pt idx="3">
                  <c:v>0.1880597014925373</c:v>
                </c:pt>
                <c:pt idx="4">
                  <c:v>0.20441988950276244</c:v>
                </c:pt>
                <c:pt idx="5">
                  <c:v>0.22356495468277945</c:v>
                </c:pt>
                <c:pt idx="6">
                  <c:v>0.31376975169300225</c:v>
                </c:pt>
                <c:pt idx="7">
                  <c:v>0.29110512129380056</c:v>
                </c:pt>
                <c:pt idx="8">
                  <c:v>0.2727272727272727</c:v>
                </c:pt>
                <c:pt idx="9">
                  <c:v>0.270935960591133</c:v>
                </c:pt>
                <c:pt idx="10">
                  <c:v>0.29073482428115016</c:v>
                </c:pt>
                <c:pt idx="11">
                  <c:v>0.2448700410396717</c:v>
                </c:pt>
                <c:pt idx="12">
                  <c:v>0.22888616891064872</c:v>
                </c:pt>
                <c:pt idx="13">
                  <c:v>0.22057001239157373</c:v>
                </c:pt>
                <c:pt idx="14">
                  <c:v>0.20143027413587605</c:v>
                </c:pt>
                <c:pt idx="15">
                  <c:v>0.19398907103825136</c:v>
                </c:pt>
                <c:pt idx="16">
                  <c:v>0.17804154302670624</c:v>
                </c:pt>
                <c:pt idx="17">
                  <c:v>0.16828478964401294</c:v>
                </c:pt>
                <c:pt idx="18">
                  <c:v>0.16414686825053995</c:v>
                </c:pt>
                <c:pt idx="19">
                  <c:v>0.14804469273743018</c:v>
                </c:pt>
                <c:pt idx="20">
                  <c:v>0.15159574468085107</c:v>
                </c:pt>
                <c:pt idx="21">
                  <c:v>0.20396600566572237</c:v>
                </c:pt>
                <c:pt idx="22">
                  <c:v>0.1746987951807229</c:v>
                </c:pt>
                <c:pt idx="23">
                  <c:v>0.2043343653250774</c:v>
                </c:pt>
                <c:pt idx="24">
                  <c:v>0.2028169014084507</c:v>
                </c:pt>
                <c:pt idx="25">
                  <c:v>0.19428571428571428</c:v>
                </c:pt>
                <c:pt idx="26">
                  <c:v>0.22115384615384615</c:v>
                </c:pt>
                <c:pt idx="27">
                  <c:v>0.2493573264781491</c:v>
                </c:pt>
                <c:pt idx="28">
                  <c:v>0.20654911838790932</c:v>
                </c:pt>
                <c:pt idx="29">
                  <c:v>0.24528301886792453</c:v>
                </c:pt>
                <c:pt idx="30">
                  <c:v>0.2512690355329949</c:v>
                </c:pt>
                <c:pt idx="31">
                  <c:v>0.2148997134670487</c:v>
                </c:pt>
                <c:pt idx="32">
                  <c:v>0.2289156626506024</c:v>
                </c:pt>
                <c:pt idx="33">
                  <c:v>0.2551867219917012</c:v>
                </c:pt>
                <c:pt idx="34">
                  <c:v>0.2571976967370441</c:v>
                </c:pt>
                <c:pt idx="35">
                  <c:v>0.2353923205342237</c:v>
                </c:pt>
                <c:pt idx="36">
                  <c:v>0.15008431703204048</c:v>
                </c:pt>
                <c:pt idx="37">
                  <c:v>0.15074309978768577</c:v>
                </c:pt>
                <c:pt idx="38">
                  <c:v>0.16029143897996356</c:v>
                </c:pt>
                <c:pt idx="39">
                  <c:v>0.1271186440677966</c:v>
                </c:pt>
                <c:pt idx="40">
                  <c:v>0.11977186311787072</c:v>
                </c:pt>
                <c:pt idx="41">
                  <c:v>0.1294820717131474</c:v>
                </c:pt>
                <c:pt idx="42">
                  <c:v>0.125</c:v>
                </c:pt>
                <c:pt idx="43">
                  <c:v>0.12622720897615708</c:v>
                </c:pt>
                <c:pt idx="44">
                  <c:v>0.1328600405679513</c:v>
                </c:pt>
                <c:pt idx="45">
                  <c:v>0.14384920634920634</c:v>
                </c:pt>
                <c:pt idx="46">
                  <c:v>0.12450592885375494</c:v>
                </c:pt>
                <c:pt idx="47">
                  <c:v>0.12428842504743833</c:v>
                </c:pt>
                <c:pt idx="48">
                  <c:v>0.14555873925501434</c:v>
                </c:pt>
                <c:pt idx="49">
                  <c:v>0.17146282973621102</c:v>
                </c:pt>
                <c:pt idx="50">
                  <c:v>0.16404886561954624</c:v>
                </c:pt>
                <c:pt idx="51">
                  <c:v>0.12579415501905972</c:v>
                </c:pt>
                <c:pt idx="52">
                  <c:v>0.15005359056806003</c:v>
                </c:pt>
                <c:pt idx="53">
                  <c:v>0.16646115906288533</c:v>
                </c:pt>
                <c:pt idx="54">
                  <c:v>0.17443609022556392</c:v>
                </c:pt>
                <c:pt idx="55">
                  <c:v>0.18272425249169436</c:v>
                </c:pt>
                <c:pt idx="56">
                  <c:v>0.19924812030075187</c:v>
                </c:pt>
                <c:pt idx="57">
                  <c:v>0.19622641509433963</c:v>
                </c:pt>
                <c:pt idx="58">
                  <c:v>0.21330724070450097</c:v>
                </c:pt>
                <c:pt idx="59">
                  <c:v>0.17653061224489797</c:v>
                </c:pt>
                <c:pt idx="60">
                  <c:v>0.17893401015228427</c:v>
                </c:pt>
                <c:pt idx="61">
                  <c:v>0.22445820433436534</c:v>
                </c:pt>
                <c:pt idx="62">
                  <c:v>0.21812596006144394</c:v>
                </c:pt>
                <c:pt idx="63">
                  <c:v>0.20797011207970112</c:v>
                </c:pt>
                <c:pt idx="64">
                  <c:v>0.20209059233449478</c:v>
                </c:pt>
                <c:pt idx="65">
                  <c:v>0.2131367292225201</c:v>
                </c:pt>
                <c:pt idx="66">
                  <c:v>0.23395149786019973</c:v>
                </c:pt>
                <c:pt idx="67">
                  <c:v>0.2096551724137931</c:v>
                </c:pt>
                <c:pt idx="68">
                  <c:v>0.191869918699187</c:v>
                </c:pt>
                <c:pt idx="69">
                  <c:v>0.17903930131004367</c:v>
                </c:pt>
                <c:pt idx="70">
                  <c:v>0.17278617710583152</c:v>
                </c:pt>
                <c:pt idx="71">
                  <c:v>0.16666666666666666</c:v>
                </c:pt>
                <c:pt idx="72">
                  <c:v>0.1483050847457627</c:v>
                </c:pt>
                <c:pt idx="73">
                  <c:v>0.17633410672853828</c:v>
                </c:pt>
                <c:pt idx="74">
                  <c:v>0.11981566820276497</c:v>
                </c:pt>
                <c:pt idx="75">
                  <c:v>0.21788990825688073</c:v>
                </c:pt>
                <c:pt idx="76">
                  <c:v>0.20082815734989648</c:v>
                </c:pt>
                <c:pt idx="77">
                  <c:v>0.16290726817042606</c:v>
                </c:pt>
                <c:pt idx="78">
                  <c:v>0.13486005089058525</c:v>
                </c:pt>
                <c:pt idx="79">
                  <c:v>0.1447721179624665</c:v>
                </c:pt>
                <c:pt idx="80">
                  <c:v>0.13920454545454544</c:v>
                </c:pt>
                <c:pt idx="81">
                  <c:v>0.16033755274261605</c:v>
                </c:pt>
                <c:pt idx="82">
                  <c:v>0.17662337662337663</c:v>
                </c:pt>
                <c:pt idx="83">
                  <c:v>0.16494845360824742</c:v>
                </c:pt>
                <c:pt idx="84">
                  <c:v>0.1440922190201729</c:v>
                </c:pt>
                <c:pt idx="85">
                  <c:v>0.16237113402061856</c:v>
                </c:pt>
                <c:pt idx="86">
                  <c:v>0.1934931506849315</c:v>
                </c:pt>
                <c:pt idx="87">
                  <c:v>0.19896193771626297</c:v>
                </c:pt>
                <c:pt idx="88">
                  <c:v>0.16984732824427481</c:v>
                </c:pt>
                <c:pt idx="89">
                  <c:v>0.16666666666666666</c:v>
                </c:pt>
                <c:pt idx="90">
                  <c:v>0.16489361702127658</c:v>
                </c:pt>
                <c:pt idx="91">
                  <c:v>0.14987080103359174</c:v>
                </c:pt>
                <c:pt idx="92">
                  <c:v>0.16135084427767354</c:v>
                </c:pt>
                <c:pt idx="93">
                  <c:v>0.16512059369202226</c:v>
                </c:pt>
                <c:pt idx="94">
                  <c:v>0.13636363636363635</c:v>
                </c:pt>
                <c:pt idx="95">
                  <c:v>0.12796208530805686</c:v>
                </c:pt>
                <c:pt idx="96">
                  <c:v>0.12960760998810938</c:v>
                </c:pt>
                <c:pt idx="97">
                  <c:v>0.15315315315315314</c:v>
                </c:pt>
                <c:pt idx="98">
                  <c:v>0.17566478646253023</c:v>
                </c:pt>
                <c:pt idx="99">
                  <c:v>0.17002881844380405</c:v>
                </c:pt>
                <c:pt idx="100">
                  <c:v>0.1724624060150376</c:v>
                </c:pt>
                <c:pt idx="101">
                  <c:v>0.19980787704130643</c:v>
                </c:pt>
                <c:pt idx="102">
                  <c:v>0.17857142857142858</c:v>
                </c:pt>
                <c:pt idx="103">
                  <c:v>0.1900709219858156</c:v>
                </c:pt>
                <c:pt idx="104">
                  <c:v>0.210370370370370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749308513183324</c:v>
                </c:pt>
                <c:pt idx="1">
                  <c:v>0.8597087954706238</c:v>
                </c:pt>
                <c:pt idx="2">
                  <c:v>0.82510312682336</c:v>
                </c:pt>
                <c:pt idx="3">
                  <c:v>0.7698969467887479</c:v>
                </c:pt>
                <c:pt idx="4">
                  <c:v>0.8780123458145548</c:v>
                </c:pt>
                <c:pt idx="5">
                  <c:v>0.8937378279058233</c:v>
                </c:pt>
                <c:pt idx="6">
                  <c:v>0.8459293155398216</c:v>
                </c:pt>
                <c:pt idx="7">
                  <c:v>0.8904590432371077</c:v>
                </c:pt>
                <c:pt idx="8">
                  <c:v>0.939548729788966</c:v>
                </c:pt>
                <c:pt idx="9">
                  <c:v>0.8748916218321873</c:v>
                </c:pt>
                <c:pt idx="10">
                  <c:v>0.8788645926319637</c:v>
                </c:pt>
                <c:pt idx="11">
                  <c:v>0.884258573957306</c:v>
                </c:pt>
                <c:pt idx="12">
                  <c:v>0.8416267203882791</c:v>
                </c:pt>
                <c:pt idx="13">
                  <c:v>0.8153206409987015</c:v>
                </c:pt>
                <c:pt idx="14">
                  <c:v>0.8051753330608875</c:v>
                </c:pt>
                <c:pt idx="15">
                  <c:v>0.869450121063259</c:v>
                </c:pt>
                <c:pt idx="16">
                  <c:v>0.9355490368417199</c:v>
                </c:pt>
                <c:pt idx="17">
                  <c:v>0.9414629139072848</c:v>
                </c:pt>
                <c:pt idx="18">
                  <c:v>0.8873099325304811</c:v>
                </c:pt>
                <c:pt idx="19">
                  <c:v>0.9548893648850809</c:v>
                </c:pt>
                <c:pt idx="20">
                  <c:v>0.9102851795750931</c:v>
                </c:pt>
                <c:pt idx="21">
                  <c:v>0.7414073675033138</c:v>
                </c:pt>
                <c:pt idx="22">
                  <c:v>0.8950368590446082</c:v>
                </c:pt>
                <c:pt idx="23">
                  <c:v>0.9087658367263883</c:v>
                </c:pt>
                <c:pt idx="24">
                  <c:v>0.7482464271938631</c:v>
                </c:pt>
                <c:pt idx="25">
                  <c:v>0.657083002650686</c:v>
                </c:pt>
                <c:pt idx="26">
                  <c:v>0.6466857082242571</c:v>
                </c:pt>
                <c:pt idx="27">
                  <c:v>0.6944583259044295</c:v>
                </c:pt>
                <c:pt idx="28">
                  <c:v>0.702859509274641</c:v>
                </c:pt>
                <c:pt idx="29">
                  <c:v>0.7021793511544487</c:v>
                </c:pt>
                <c:pt idx="30">
                  <c:v>0.5560772342832112</c:v>
                </c:pt>
                <c:pt idx="31">
                  <c:v>0.39161378592017715</c:v>
                </c:pt>
                <c:pt idx="32">
                  <c:v>0.5339979718344419</c:v>
                </c:pt>
                <c:pt idx="33">
                  <c:v>0.7233147444070436</c:v>
                </c:pt>
                <c:pt idx="34">
                  <c:v>0.7010964964193542</c:v>
                </c:pt>
                <c:pt idx="35">
                  <c:v>0.6619835381456141</c:v>
                </c:pt>
                <c:pt idx="36">
                  <c:v>0.6453253859501237</c:v>
                </c:pt>
                <c:pt idx="37">
                  <c:v>0.7528102611757377</c:v>
                </c:pt>
                <c:pt idx="38">
                  <c:v>0.6260356731658212</c:v>
                </c:pt>
                <c:pt idx="39">
                  <c:v>0.6304481865664742</c:v>
                </c:pt>
                <c:pt idx="40">
                  <c:v>0.7485738296422063</c:v>
                </c:pt>
                <c:pt idx="41">
                  <c:v>0.6906804800660323</c:v>
                </c:pt>
                <c:pt idx="42">
                  <c:v>0.5531330308308293</c:v>
                </c:pt>
                <c:pt idx="43">
                  <c:v>0.7240426366072298</c:v>
                </c:pt>
                <c:pt idx="44">
                  <c:v>0.7784090207726296</c:v>
                </c:pt>
                <c:pt idx="45">
                  <c:v>0.7208570714414733</c:v>
                </c:pt>
                <c:pt idx="46">
                  <c:v>0.8094436214354667</c:v>
                </c:pt>
                <c:pt idx="47">
                  <c:v>0.8328821359423233</c:v>
                </c:pt>
                <c:pt idx="48">
                  <c:v>0.8042353430413705</c:v>
                </c:pt>
                <c:pt idx="49">
                  <c:v>0.9000558175492849</c:v>
                </c:pt>
                <c:pt idx="50">
                  <c:v>0.9138267218779266</c:v>
                </c:pt>
                <c:pt idx="51">
                  <c:v>0.9199503675357067</c:v>
                </c:pt>
              </c:numCache>
            </c:numRef>
          </c:xVal>
          <c:yVal>
            <c:numRef>
              <c:f>Sheet1!$B$109:$B$160</c:f>
              <c:numCache>
                <c:formatCode>General</c:formatCode>
                <c:ptCount val="52"/>
                <c:pt idx="0">
                  <c:v>0.2002652519893899</c:v>
                </c:pt>
                <c:pt idx="1">
                  <c:v>0.2024353120243531</c:v>
                </c:pt>
                <c:pt idx="2">
                  <c:v>0.21940928270042195</c:v>
                </c:pt>
                <c:pt idx="3">
                  <c:v>0.25241157556270094</c:v>
                </c:pt>
                <c:pt idx="4">
                  <c:v>0.21510673234811165</c:v>
                </c:pt>
                <c:pt idx="5">
                  <c:v>0.20593692022263452</c:v>
                </c:pt>
                <c:pt idx="6">
                  <c:v>0.20293398533007334</c:v>
                </c:pt>
                <c:pt idx="7">
                  <c:v>0.20717131474103587</c:v>
                </c:pt>
                <c:pt idx="8">
                  <c:v>0.25</c:v>
                </c:pt>
                <c:pt idx="9">
                  <c:v>0.21604938271604937</c:v>
                </c:pt>
                <c:pt idx="10">
                  <c:v>0.2686230248306998</c:v>
                </c:pt>
                <c:pt idx="11">
                  <c:v>0.2400611620795107</c:v>
                </c:pt>
                <c:pt idx="12">
                  <c:v>0.2488619119878604</c:v>
                </c:pt>
                <c:pt idx="13">
                  <c:v>0.25477707006369427</c:v>
                </c:pt>
                <c:pt idx="14">
                  <c:v>0.26306306306306304</c:v>
                </c:pt>
                <c:pt idx="15">
                  <c:v>0.23339011925042588</c:v>
                </c:pt>
                <c:pt idx="16">
                  <c:v>0.23228346456692914</c:v>
                </c:pt>
                <c:pt idx="17">
                  <c:v>0.20704845814977973</c:v>
                </c:pt>
                <c:pt idx="18">
                  <c:v>0.19533527696793002</c:v>
                </c:pt>
                <c:pt idx="19">
                  <c:v>0.16590909090909092</c:v>
                </c:pt>
                <c:pt idx="20">
                  <c:v>0.1675531914893617</c:v>
                </c:pt>
                <c:pt idx="21">
                  <c:v>0.24187725631768953</c:v>
                </c:pt>
                <c:pt idx="22">
                  <c:v>0.21810699588477367</c:v>
                </c:pt>
                <c:pt idx="23">
                  <c:v>0.19658119658119658</c:v>
                </c:pt>
                <c:pt idx="24">
                  <c:v>0.24050632911392406</c:v>
                </c:pt>
                <c:pt idx="25">
                  <c:v>0.3148936170212766</c:v>
                </c:pt>
                <c:pt idx="26">
                  <c:v>0.29856115107913667</c:v>
                </c:pt>
                <c:pt idx="27">
                  <c:v>0.29411764705882354</c:v>
                </c:pt>
                <c:pt idx="28">
                  <c:v>0.2691029900332226</c:v>
                </c:pt>
                <c:pt idx="29">
                  <c:v>0.2661596958174905</c:v>
                </c:pt>
                <c:pt idx="30">
                  <c:v>0.381294964028777</c:v>
                </c:pt>
                <c:pt idx="31">
                  <c:v>0.42857142857142855</c:v>
                </c:pt>
                <c:pt idx="32">
                  <c:v>0.3359375</c:v>
                </c:pt>
                <c:pt idx="33">
                  <c:v>0.34300791556728233</c:v>
                </c:pt>
                <c:pt idx="34">
                  <c:v>0.32</c:v>
                </c:pt>
                <c:pt idx="35">
                  <c:v>0.35490605427974947</c:v>
                </c:pt>
                <c:pt idx="36">
                  <c:v>0.2798507462686567</c:v>
                </c:pt>
                <c:pt idx="37">
                  <c:v>0.24232081911262798</c:v>
                </c:pt>
                <c:pt idx="38">
                  <c:v>0.3021276595744681</c:v>
                </c:pt>
                <c:pt idx="39">
                  <c:v>0.2876712328767123</c:v>
                </c:pt>
                <c:pt idx="40">
                  <c:v>0.29314420803782504</c:v>
                </c:pt>
                <c:pt idx="41">
                  <c:v>0.2736220472440945</c:v>
                </c:pt>
                <c:pt idx="42">
                  <c:v>0.30617283950617286</c:v>
                </c:pt>
                <c:pt idx="43">
                  <c:v>0.22782258064516128</c:v>
                </c:pt>
                <c:pt idx="44">
                  <c:v>0.19709208400646203</c:v>
                </c:pt>
                <c:pt idx="45">
                  <c:v>0.23690773067331672</c:v>
                </c:pt>
                <c:pt idx="46">
                  <c:v>0.22145328719723184</c:v>
                </c:pt>
                <c:pt idx="47">
                  <c:v>0.21225710014947682</c:v>
                </c:pt>
                <c:pt idx="48">
                  <c:v>0.205607476635514</c:v>
                </c:pt>
                <c:pt idx="49">
                  <c:v>0.23076923076923078</c:v>
                </c:pt>
                <c:pt idx="50">
                  <c:v>0.21892542101042503</c:v>
                </c:pt>
                <c:pt idx="51">
                  <c:v>0.218077474892395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507280121398297</c:v>
                </c:pt>
              </c:numCache>
            </c:numRef>
          </c:xVal>
          <c:yVal>
            <c:numRef>
              <c:f>Sheet1!$B$163:$B$164</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507280121398297</c:v>
                </c:pt>
                <c:pt idx="1">
                  <c:v>0.6507280121398297</c:v>
                </c:pt>
              </c:numCache>
            </c:numRef>
          </c:xVal>
          <c:yVal>
            <c:numRef>
              <c:f>Sheet1!$B$167:$B$168</c:f>
              <c:numCache>
                <c:formatCode>General</c:formatCode>
                <c:ptCount val="2"/>
                <c:pt idx="0">
                  <c:v>0.3005262639044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507280121398297</c:v>
                </c:pt>
              </c:numCache>
            </c:numRef>
          </c:xVal>
          <c:yVal>
            <c:numRef>
              <c:f>Sheet1!$B$171:$B$172</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507280121398297</c:v>
                </c:pt>
                <c:pt idx="1">
                  <c:v>0.6507280121398297</c:v>
                </c:pt>
              </c:numCache>
            </c:numRef>
          </c:xVal>
          <c:yVal>
            <c:numRef>
              <c:f>Sheet1!$B$175:$B$176</c:f>
              <c:numCache>
                <c:formatCode>General</c:formatCode>
                <c:ptCount val="2"/>
                <c:pt idx="0">
                  <c:v>0.3005262639044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132757464710914</c:v>
                </c:pt>
              </c:numCache>
            </c:numRef>
          </c:xVal>
          <c:yVal>
            <c:numRef>
              <c:f>Sheet1!$B$179:$B$180</c:f>
              <c:numCache>
                <c:formatCode>General</c:formatCode>
                <c:ptCount val="2"/>
                <c:pt idx="0">
                  <c:v>0.24073251643415536</c:v>
                </c:pt>
                <c:pt idx="1">
                  <c:v>0.240732516434155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132757464710914</c:v>
                </c:pt>
                <c:pt idx="1">
                  <c:v>0.8132757464710914</c:v>
                </c:pt>
              </c:numCache>
            </c:numRef>
          </c:xVal>
          <c:yVal>
            <c:numRef>
              <c:f>Sheet1!$B$183:$B$184</c:f>
              <c:numCache>
                <c:formatCode>General</c:formatCode>
                <c:ptCount val="2"/>
                <c:pt idx="0">
                  <c:v>0.240732516434155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749308513183324</c:v>
                </c:pt>
                <c:pt idx="1">
                  <c:v>0.8597087954706238</c:v>
                </c:pt>
                <c:pt idx="2">
                  <c:v>0.82510312682336</c:v>
                </c:pt>
                <c:pt idx="3">
                  <c:v>0.7698969467887479</c:v>
                </c:pt>
                <c:pt idx="4">
                  <c:v>0.8780123458145548</c:v>
                </c:pt>
                <c:pt idx="5">
                  <c:v>0.8937378279058233</c:v>
                </c:pt>
                <c:pt idx="6">
                  <c:v>0.8459293155398216</c:v>
                </c:pt>
                <c:pt idx="7">
                  <c:v>0.8904590432371077</c:v>
                </c:pt>
                <c:pt idx="8">
                  <c:v>0.939548729788966</c:v>
                </c:pt>
                <c:pt idx="9">
                  <c:v>0.8748916218321873</c:v>
                </c:pt>
                <c:pt idx="10">
                  <c:v>0.8788645926319637</c:v>
                </c:pt>
                <c:pt idx="11">
                  <c:v>0.884258573957306</c:v>
                </c:pt>
                <c:pt idx="12">
                  <c:v>0.8416267203882791</c:v>
                </c:pt>
                <c:pt idx="13">
                  <c:v>0.8153206409987015</c:v>
                </c:pt>
                <c:pt idx="14">
                  <c:v>0.8051753330608875</c:v>
                </c:pt>
                <c:pt idx="15">
                  <c:v>0.869450121063259</c:v>
                </c:pt>
                <c:pt idx="16">
                  <c:v>0.9355490368417199</c:v>
                </c:pt>
                <c:pt idx="17">
                  <c:v>0.9414629139072848</c:v>
                </c:pt>
                <c:pt idx="18">
                  <c:v>0.8873099325304811</c:v>
                </c:pt>
                <c:pt idx="19">
                  <c:v>0.9548893648850809</c:v>
                </c:pt>
                <c:pt idx="20">
                  <c:v>0.9102851795750931</c:v>
                </c:pt>
                <c:pt idx="21">
                  <c:v>0.7414073675033138</c:v>
                </c:pt>
                <c:pt idx="22">
                  <c:v>0.8950368590446082</c:v>
                </c:pt>
                <c:pt idx="23">
                  <c:v>0.9087658367263883</c:v>
                </c:pt>
                <c:pt idx="24">
                  <c:v>0.7482464271938631</c:v>
                </c:pt>
                <c:pt idx="25">
                  <c:v>0.657083002650686</c:v>
                </c:pt>
                <c:pt idx="26">
                  <c:v>0.6466857082242571</c:v>
                </c:pt>
                <c:pt idx="27">
                  <c:v>0.6944583259044295</c:v>
                </c:pt>
                <c:pt idx="28">
                  <c:v>0.702859509274641</c:v>
                </c:pt>
                <c:pt idx="29">
                  <c:v>0.7021793511544487</c:v>
                </c:pt>
                <c:pt idx="30">
                  <c:v>0.5560772342832112</c:v>
                </c:pt>
                <c:pt idx="31">
                  <c:v>0.39161378592017715</c:v>
                </c:pt>
                <c:pt idx="32">
                  <c:v>0.5339979718344419</c:v>
                </c:pt>
                <c:pt idx="33">
                  <c:v>0.7233147444070436</c:v>
                </c:pt>
                <c:pt idx="34">
                  <c:v>0.7010964964193542</c:v>
                </c:pt>
                <c:pt idx="35">
                  <c:v>0.6619835381456141</c:v>
                </c:pt>
                <c:pt idx="36">
                  <c:v>0.6453253859501237</c:v>
                </c:pt>
                <c:pt idx="37">
                  <c:v>0.7528102611757377</c:v>
                </c:pt>
                <c:pt idx="38">
                  <c:v>0.6260356731658212</c:v>
                </c:pt>
                <c:pt idx="39">
                  <c:v>0.6304481865664742</c:v>
                </c:pt>
                <c:pt idx="40">
                  <c:v>0.7485738296422063</c:v>
                </c:pt>
                <c:pt idx="41">
                  <c:v>0.6906804800660323</c:v>
                </c:pt>
                <c:pt idx="42">
                  <c:v>0.5531330308308293</c:v>
                </c:pt>
                <c:pt idx="43">
                  <c:v>0.7240426366072298</c:v>
                </c:pt>
                <c:pt idx="44">
                  <c:v>0.7784090207726296</c:v>
                </c:pt>
                <c:pt idx="45">
                  <c:v>0.7208570714414733</c:v>
                </c:pt>
                <c:pt idx="46">
                  <c:v>0.8094436214354667</c:v>
                </c:pt>
                <c:pt idx="47">
                  <c:v>0.8328821359423233</c:v>
                </c:pt>
                <c:pt idx="48">
                  <c:v>0.8042353430413705</c:v>
                </c:pt>
                <c:pt idx="49">
                  <c:v>0.9000558175492849</c:v>
                </c:pt>
                <c:pt idx="50">
                  <c:v>0.9138267218779266</c:v>
                </c:pt>
                <c:pt idx="51">
                  <c:v>0.9199503675357067</c:v>
                </c:pt>
                <c:pt idx="52">
                  <c:v>0.6507280121398297</c:v>
                </c:pt>
                <c:pt idx="53">
                  <c:v>0.6507280121398297</c:v>
                </c:pt>
                <c:pt idx="54">
                  <c:v>0.8132757464710914</c:v>
                </c:pt>
              </c:numCache>
            </c:numRef>
          </c:xVal>
          <c:yVal>
            <c:numRef>
              <c:f>Sheet1!$B$187:$B$241</c:f>
              <c:numCache>
                <c:formatCode>General</c:formatCode>
                <c:ptCount val="55"/>
                <c:pt idx="0">
                  <c:v>0.21805247241720843</c:v>
                </c:pt>
                <c:pt idx="1">
                  <c:v>0.22365195842100044</c:v>
                </c:pt>
                <c:pt idx="2">
                  <c:v>0.23638177357743267</c:v>
                </c:pt>
                <c:pt idx="3">
                  <c:v>0.25668955824984047</c:v>
                </c:pt>
                <c:pt idx="4">
                  <c:v>0.21691893398619838</c:v>
                </c:pt>
                <c:pt idx="5">
                  <c:v>0.2111342608938187</c:v>
                </c:pt>
                <c:pt idx="6">
                  <c:v>0.22872078787373662</c:v>
                </c:pt>
                <c:pt idx="7">
                  <c:v>0.2123403731985955</c:v>
                </c:pt>
                <c:pt idx="8">
                  <c:v>0.19428256185381282</c:v>
                </c:pt>
                <c:pt idx="9">
                  <c:v>0.21806690311965776</c:v>
                </c:pt>
                <c:pt idx="10">
                  <c:v>0.21660543204049532</c:v>
                </c:pt>
                <c:pt idx="11">
                  <c:v>0.214621237314228</c:v>
                </c:pt>
                <c:pt idx="12">
                  <c:v>0.23030351241318653</c:v>
                </c:pt>
                <c:pt idx="13">
                  <c:v>0.2399802948944934</c:v>
                </c:pt>
                <c:pt idx="14">
                  <c:v>0.2437122815834334</c:v>
                </c:pt>
                <c:pt idx="15">
                  <c:v>0.22006857803795232</c:v>
                </c:pt>
                <c:pt idx="16">
                  <c:v>0.19575386276754203</c:v>
                </c:pt>
                <c:pt idx="17">
                  <c:v>0.19357842259125585</c:v>
                </c:pt>
                <c:pt idx="18">
                  <c:v>0.21349878448696308</c:v>
                </c:pt>
                <c:pt idx="19">
                  <c:v>0.18863945606249444</c:v>
                </c:pt>
                <c:pt idx="20">
                  <c:v>0.20504726022854075</c:v>
                </c:pt>
                <c:pt idx="21">
                  <c:v>0.26716954873593013</c:v>
                </c:pt>
                <c:pt idx="22">
                  <c:v>0.2106564077869264</c:v>
                </c:pt>
                <c:pt idx="23">
                  <c:v>0.20560615576153568</c:v>
                </c:pt>
                <c:pt idx="24">
                  <c:v>0.264653776924326</c:v>
                </c:pt>
                <c:pt idx="25">
                  <c:v>0.2981885586183579</c:v>
                </c:pt>
                <c:pt idx="26">
                  <c:v>0.3020132394105295</c:v>
                </c:pt>
                <c:pt idx="27">
                  <c:v>0.2844399164152062</c:v>
                </c:pt>
                <c:pt idx="28">
                  <c:v>0.2813495119936595</c:v>
                </c:pt>
                <c:pt idx="29">
                  <c:v>0.2815997105156256</c:v>
                </c:pt>
                <c:pt idx="30">
                  <c:v>0.335343880602088</c:v>
                </c:pt>
                <c:pt idx="31">
                  <c:v>0.3958423301188664</c:v>
                </c:pt>
                <c:pt idx="32">
                  <c:v>0.3434658138214136</c:v>
                </c:pt>
                <c:pt idx="33">
                  <c:v>0.2738249828515985</c:v>
                </c:pt>
                <c:pt idx="34">
                  <c:v>0.2819980423831449</c:v>
                </c:pt>
                <c:pt idx="35">
                  <c:v>0.29638587965111013</c:v>
                </c:pt>
                <c:pt idx="36">
                  <c:v>0.3025136386739971</c:v>
                </c:pt>
                <c:pt idx="37">
                  <c:v>0.2629749547756749</c:v>
                </c:pt>
                <c:pt idx="38">
                  <c:v>0.3096094263805656</c:v>
                </c:pt>
                <c:pt idx="39">
                  <c:v>0.30798626803219964</c:v>
                </c:pt>
                <c:pt idx="40">
                  <c:v>0.2645333407989139</c:v>
                </c:pt>
                <c:pt idx="41">
                  <c:v>0.28582961010101493</c:v>
                </c:pt>
                <c:pt idx="42">
                  <c:v>0.33642691604676545</c:v>
                </c:pt>
                <c:pt idx="43">
                  <c:v>0.2735572251828585</c:v>
                </c:pt>
                <c:pt idx="44">
                  <c:v>0.2535583623317042</c:v>
                </c:pt>
                <c:pt idx="45">
                  <c:v>0.27472904637036955</c:v>
                </c:pt>
                <c:pt idx="46">
                  <c:v>0.24214217691079803</c:v>
                </c:pt>
                <c:pt idx="47">
                  <c:v>0.23352023811068673</c:v>
                </c:pt>
                <c:pt idx="48">
                  <c:v>0.24405806017015313</c:v>
                </c:pt>
                <c:pt idx="49">
                  <c:v>0.208810166505084</c:v>
                </c:pt>
                <c:pt idx="50">
                  <c:v>0.20374449161732594</c:v>
                </c:pt>
                <c:pt idx="51">
                  <c:v>0.20149188733732765</c:v>
                </c:pt>
                <c:pt idx="52">
                  <c:v>0.3005262639044102</c:v>
                </c:pt>
                <c:pt idx="53">
                  <c:v>0.3005262639044102</c:v>
                </c:pt>
                <c:pt idx="54">
                  <c:v>0.240732516434155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42857142857142"/>
          <c:min val="0.09581749049429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5.3446</c:v>
                </c:pt>
                <c:pt idx="1">
                  <c:v>935.9866</c:v>
                </c:pt>
                <c:pt idx="2">
                  <c:v>925.7643</c:v>
                </c:pt>
                <c:pt idx="3">
                  <c:v>937.8413</c:v>
                </c:pt>
                <c:pt idx="4">
                  <c:v>946.1622</c:v>
                </c:pt>
                <c:pt idx="5">
                  <c:v>950.7973</c:v>
                </c:pt>
                <c:pt idx="6">
                  <c:v>899.8921</c:v>
                </c:pt>
                <c:pt idx="7">
                  <c:v>934.713</c:v>
                </c:pt>
                <c:pt idx="8">
                  <c:v>965.0926</c:v>
                </c:pt>
                <c:pt idx="9">
                  <c:v>908.3333</c:v>
                </c:pt>
                <c:pt idx="10">
                  <c:v>938.3736</c:v>
                </c:pt>
                <c:pt idx="11">
                  <c:v>966.9609</c:v>
                </c:pt>
                <c:pt idx="12">
                  <c:v>976.2888</c:v>
                </c:pt>
                <c:pt idx="13">
                  <c:v>954.4663</c:v>
                </c:pt>
                <c:pt idx="14">
                  <c:v>977.9349</c:v>
                </c:pt>
                <c:pt idx="15">
                  <c:v>909.6268</c:v>
                </c:pt>
                <c:pt idx="16">
                  <c:v>923.525</c:v>
                </c:pt>
                <c:pt idx="17">
                  <c:v>977.5096</c:v>
                </c:pt>
                <c:pt idx="18">
                  <c:v>1013.2105</c:v>
                </c:pt>
                <c:pt idx="19">
                  <c:v>1123.1321</c:v>
                </c:pt>
                <c:pt idx="20">
                  <c:v>1040.5614</c:v>
                </c:pt>
                <c:pt idx="21">
                  <c:v>972.2222</c:v>
                </c:pt>
                <c:pt idx="22">
                  <c:v>971.4828</c:v>
                </c:pt>
                <c:pt idx="23">
                  <c:v>939.9545</c:v>
                </c:pt>
                <c:pt idx="24">
                  <c:v>858.2361</c:v>
                </c:pt>
                <c:pt idx="25">
                  <c:v>867.5882</c:v>
                </c:pt>
                <c:pt idx="26">
                  <c:v>897.1413</c:v>
                </c:pt>
                <c:pt idx="27">
                  <c:v>898.433</c:v>
                </c:pt>
                <c:pt idx="28">
                  <c:v>941.3659</c:v>
                </c:pt>
                <c:pt idx="29">
                  <c:v>872.8462</c:v>
                </c:pt>
                <c:pt idx="30">
                  <c:v>931.4646</c:v>
                </c:pt>
                <c:pt idx="31">
                  <c:v>849.2667</c:v>
                </c:pt>
                <c:pt idx="32">
                  <c:v>798.4737</c:v>
                </c:pt>
                <c:pt idx="33">
                  <c:v>762.9106</c:v>
                </c:pt>
                <c:pt idx="34">
                  <c:v>857.5672</c:v>
                </c:pt>
                <c:pt idx="35">
                  <c:v>936.7589</c:v>
                </c:pt>
                <c:pt idx="36">
                  <c:v>1050.382</c:v>
                </c:pt>
                <c:pt idx="37">
                  <c:v>990.1831</c:v>
                </c:pt>
                <c:pt idx="38">
                  <c:v>1027.0227</c:v>
                </c:pt>
                <c:pt idx="39">
                  <c:v>1067.9</c:v>
                </c:pt>
                <c:pt idx="40">
                  <c:v>1143.2063</c:v>
                </c:pt>
                <c:pt idx="41">
                  <c:v>1060.4923</c:v>
                </c:pt>
                <c:pt idx="42">
                  <c:v>1126.1972</c:v>
                </c:pt>
                <c:pt idx="43">
                  <c:v>1191.1556</c:v>
                </c:pt>
                <c:pt idx="44">
                  <c:v>1086.8473</c:v>
                </c:pt>
                <c:pt idx="45">
                  <c:v>987.269</c:v>
                </c:pt>
                <c:pt idx="46">
                  <c:v>1103.6508</c:v>
                </c:pt>
                <c:pt idx="47">
                  <c:v>1081.6183</c:v>
                </c:pt>
                <c:pt idx="48">
                  <c:v>1068.0945</c:v>
                </c:pt>
                <c:pt idx="49">
                  <c:v>1063.4545</c:v>
                </c:pt>
                <c:pt idx="50">
                  <c:v>1040.2872</c:v>
                </c:pt>
                <c:pt idx="51">
                  <c:v>1115.4848</c:v>
                </c:pt>
                <c:pt idx="52">
                  <c:v>1043.2143</c:v>
                </c:pt>
                <c:pt idx="53">
                  <c:v>1065.4815</c:v>
                </c:pt>
                <c:pt idx="54">
                  <c:v>1116.5517</c:v>
                </c:pt>
                <c:pt idx="55">
                  <c:v>1050.1545</c:v>
                </c:pt>
                <c:pt idx="56">
                  <c:v>1123.0472</c:v>
                </c:pt>
                <c:pt idx="57">
                  <c:v>1105.5481</c:v>
                </c:pt>
                <c:pt idx="58">
                  <c:v>1129.6881</c:v>
                </c:pt>
                <c:pt idx="59">
                  <c:v>1081.9249</c:v>
                </c:pt>
                <c:pt idx="60">
                  <c:v>1169.0496</c:v>
                </c:pt>
                <c:pt idx="61">
                  <c:v>1107.4483</c:v>
                </c:pt>
                <c:pt idx="62">
                  <c:v>1133.3944</c:v>
                </c:pt>
                <c:pt idx="63">
                  <c:v>1198.8144</c:v>
                </c:pt>
                <c:pt idx="64">
                  <c:v>1194.8333</c:v>
                </c:pt>
                <c:pt idx="65">
                  <c:v>1191.9057</c:v>
                </c:pt>
                <c:pt idx="66">
                  <c:v>1207.4634</c:v>
                </c:pt>
                <c:pt idx="67">
                  <c:v>1210.0921</c:v>
                </c:pt>
                <c:pt idx="68">
                  <c:v>1240.4153</c:v>
                </c:pt>
                <c:pt idx="69">
                  <c:v>1240.1341</c:v>
                </c:pt>
                <c:pt idx="70">
                  <c:v>1050.3375</c:v>
                </c:pt>
                <c:pt idx="71">
                  <c:v>1147.6667</c:v>
                </c:pt>
                <c:pt idx="72">
                  <c:v>1387.6714</c:v>
                </c:pt>
                <c:pt idx="73">
                  <c:v>1178.1842</c:v>
                </c:pt>
                <c:pt idx="74">
                  <c:v>1250.8846</c:v>
                </c:pt>
                <c:pt idx="75">
                  <c:v>963.0211</c:v>
                </c:pt>
                <c:pt idx="76">
                  <c:v>977.0</c:v>
                </c:pt>
                <c:pt idx="77">
                  <c:v>1089.5231</c:v>
                </c:pt>
                <c:pt idx="78">
                  <c:v>1115.6604</c:v>
                </c:pt>
                <c:pt idx="79">
                  <c:v>979.9815</c:v>
                </c:pt>
                <c:pt idx="80">
                  <c:v>1086.4082</c:v>
                </c:pt>
                <c:pt idx="81">
                  <c:v>1080.5921</c:v>
                </c:pt>
                <c:pt idx="82">
                  <c:v>1051.3529</c:v>
                </c:pt>
                <c:pt idx="83">
                  <c:v>924.7344</c:v>
                </c:pt>
                <c:pt idx="84">
                  <c:v>1082.46</c:v>
                </c:pt>
                <c:pt idx="85">
                  <c:v>1039.2698</c:v>
                </c:pt>
                <c:pt idx="86">
                  <c:v>1147.2301</c:v>
                </c:pt>
                <c:pt idx="87">
                  <c:v>1130.3043</c:v>
                </c:pt>
                <c:pt idx="88">
                  <c:v>1175.9551</c:v>
                </c:pt>
                <c:pt idx="89">
                  <c:v>1115.1081</c:v>
                </c:pt>
                <c:pt idx="90">
                  <c:v>1225.9839</c:v>
                </c:pt>
                <c:pt idx="91">
                  <c:v>1193.7414</c:v>
                </c:pt>
                <c:pt idx="92">
                  <c:v>1114.5233</c:v>
                </c:pt>
                <c:pt idx="93">
                  <c:v>1128.7978</c:v>
                </c:pt>
                <c:pt idx="94">
                  <c:v>1246.6389</c:v>
                </c:pt>
                <c:pt idx="95">
                  <c:v>1239.1481</c:v>
                </c:pt>
                <c:pt idx="96">
                  <c:v>1214.6422</c:v>
                </c:pt>
                <c:pt idx="97">
                  <c:v>1207.2614</c:v>
                </c:pt>
                <c:pt idx="98">
                  <c:v>1172.445</c:v>
                </c:pt>
                <c:pt idx="99">
                  <c:v>1135.6059</c:v>
                </c:pt>
                <c:pt idx="100">
                  <c:v>1142.8747</c:v>
                </c:pt>
                <c:pt idx="101">
                  <c:v>1104.3365</c:v>
                </c:pt>
                <c:pt idx="102">
                  <c:v>1160.5304</c:v>
                </c:pt>
                <c:pt idx="103">
                  <c:v>1081.3358</c:v>
                </c:pt>
                <c:pt idx="104">
                  <c:v>1096.1338</c:v>
                </c:pt>
              </c:numCache>
            </c:numRef>
          </c:xVal>
          <c:yVal>
            <c:numRef>
              <c:f>Sheet1!$B$2:$B$106</c:f>
              <c:numCache>
                <c:formatCode>General</c:formatCode>
                <c:ptCount val="105"/>
                <c:pt idx="0">
                  <c:v>0.17452830188679244</c:v>
                </c:pt>
                <c:pt idx="1">
                  <c:v>0.18304668304668303</c:v>
                </c:pt>
                <c:pt idx="2">
                  <c:v>0.17676767676767677</c:v>
                </c:pt>
                <c:pt idx="3">
                  <c:v>0.1880597014925373</c:v>
                </c:pt>
                <c:pt idx="4">
                  <c:v>0.20441988950276244</c:v>
                </c:pt>
                <c:pt idx="5">
                  <c:v>0.22356495468277945</c:v>
                </c:pt>
                <c:pt idx="6">
                  <c:v>0.31376975169300225</c:v>
                </c:pt>
                <c:pt idx="7">
                  <c:v>0.29110512129380056</c:v>
                </c:pt>
                <c:pt idx="8">
                  <c:v>0.2727272727272727</c:v>
                </c:pt>
                <c:pt idx="9">
                  <c:v>0.270935960591133</c:v>
                </c:pt>
                <c:pt idx="10">
                  <c:v>0.29073482428115016</c:v>
                </c:pt>
                <c:pt idx="11">
                  <c:v>0.2448700410396717</c:v>
                </c:pt>
                <c:pt idx="12">
                  <c:v>0.22888616891064872</c:v>
                </c:pt>
                <c:pt idx="13">
                  <c:v>0.22057001239157373</c:v>
                </c:pt>
                <c:pt idx="14">
                  <c:v>0.20143027413587605</c:v>
                </c:pt>
                <c:pt idx="15">
                  <c:v>0.19398907103825136</c:v>
                </c:pt>
                <c:pt idx="16">
                  <c:v>0.17804154302670624</c:v>
                </c:pt>
                <c:pt idx="17">
                  <c:v>0.16828478964401294</c:v>
                </c:pt>
                <c:pt idx="18">
                  <c:v>0.16414686825053995</c:v>
                </c:pt>
                <c:pt idx="19">
                  <c:v>0.14804469273743018</c:v>
                </c:pt>
                <c:pt idx="20">
                  <c:v>0.15159574468085107</c:v>
                </c:pt>
                <c:pt idx="21">
                  <c:v>0.20396600566572237</c:v>
                </c:pt>
                <c:pt idx="22">
                  <c:v>0.1746987951807229</c:v>
                </c:pt>
                <c:pt idx="23">
                  <c:v>0.2043343653250774</c:v>
                </c:pt>
                <c:pt idx="24">
                  <c:v>0.2028169014084507</c:v>
                </c:pt>
                <c:pt idx="25">
                  <c:v>0.19428571428571428</c:v>
                </c:pt>
                <c:pt idx="26">
                  <c:v>0.22115384615384615</c:v>
                </c:pt>
                <c:pt idx="27">
                  <c:v>0.2493573264781491</c:v>
                </c:pt>
                <c:pt idx="28">
                  <c:v>0.20654911838790932</c:v>
                </c:pt>
                <c:pt idx="29">
                  <c:v>0.24528301886792453</c:v>
                </c:pt>
                <c:pt idx="30">
                  <c:v>0.2512690355329949</c:v>
                </c:pt>
                <c:pt idx="31">
                  <c:v>0.2148997134670487</c:v>
                </c:pt>
                <c:pt idx="32">
                  <c:v>0.2289156626506024</c:v>
                </c:pt>
                <c:pt idx="33">
                  <c:v>0.2551867219917012</c:v>
                </c:pt>
                <c:pt idx="34">
                  <c:v>0.2571976967370441</c:v>
                </c:pt>
                <c:pt idx="35">
                  <c:v>0.2353923205342237</c:v>
                </c:pt>
                <c:pt idx="36">
                  <c:v>0.15008431703204048</c:v>
                </c:pt>
                <c:pt idx="37">
                  <c:v>0.15074309978768577</c:v>
                </c:pt>
                <c:pt idx="38">
                  <c:v>0.16029143897996356</c:v>
                </c:pt>
                <c:pt idx="39">
                  <c:v>0.1271186440677966</c:v>
                </c:pt>
                <c:pt idx="40">
                  <c:v>0.11977186311787072</c:v>
                </c:pt>
                <c:pt idx="41">
                  <c:v>0.1294820717131474</c:v>
                </c:pt>
                <c:pt idx="42">
                  <c:v>0.125</c:v>
                </c:pt>
                <c:pt idx="43">
                  <c:v>0.12622720897615708</c:v>
                </c:pt>
                <c:pt idx="44">
                  <c:v>0.1328600405679513</c:v>
                </c:pt>
                <c:pt idx="45">
                  <c:v>0.14384920634920634</c:v>
                </c:pt>
                <c:pt idx="46">
                  <c:v>0.12450592885375494</c:v>
                </c:pt>
                <c:pt idx="47">
                  <c:v>0.12428842504743833</c:v>
                </c:pt>
                <c:pt idx="48">
                  <c:v>0.14555873925501434</c:v>
                </c:pt>
                <c:pt idx="49">
                  <c:v>0.17146282973621102</c:v>
                </c:pt>
                <c:pt idx="50">
                  <c:v>0.16404886561954624</c:v>
                </c:pt>
                <c:pt idx="51">
                  <c:v>0.12579415501905972</c:v>
                </c:pt>
                <c:pt idx="52">
                  <c:v>0.15005359056806003</c:v>
                </c:pt>
                <c:pt idx="53">
                  <c:v>0.16646115906288533</c:v>
                </c:pt>
                <c:pt idx="54">
                  <c:v>0.17443609022556392</c:v>
                </c:pt>
                <c:pt idx="55">
                  <c:v>0.18272425249169436</c:v>
                </c:pt>
                <c:pt idx="56">
                  <c:v>0.19924812030075187</c:v>
                </c:pt>
                <c:pt idx="57">
                  <c:v>0.19622641509433963</c:v>
                </c:pt>
                <c:pt idx="58">
                  <c:v>0.21330724070450097</c:v>
                </c:pt>
                <c:pt idx="59">
                  <c:v>0.17653061224489797</c:v>
                </c:pt>
                <c:pt idx="60">
                  <c:v>0.17893401015228427</c:v>
                </c:pt>
                <c:pt idx="61">
                  <c:v>0.22445820433436534</c:v>
                </c:pt>
                <c:pt idx="62">
                  <c:v>0.21812596006144394</c:v>
                </c:pt>
                <c:pt idx="63">
                  <c:v>0.20797011207970112</c:v>
                </c:pt>
                <c:pt idx="64">
                  <c:v>0.20209059233449478</c:v>
                </c:pt>
                <c:pt idx="65">
                  <c:v>0.2131367292225201</c:v>
                </c:pt>
                <c:pt idx="66">
                  <c:v>0.23395149786019973</c:v>
                </c:pt>
                <c:pt idx="67">
                  <c:v>0.2096551724137931</c:v>
                </c:pt>
                <c:pt idx="68">
                  <c:v>0.191869918699187</c:v>
                </c:pt>
                <c:pt idx="69">
                  <c:v>0.17903930131004367</c:v>
                </c:pt>
                <c:pt idx="70">
                  <c:v>0.17278617710583152</c:v>
                </c:pt>
                <c:pt idx="71">
                  <c:v>0.16666666666666666</c:v>
                </c:pt>
                <c:pt idx="72">
                  <c:v>0.1483050847457627</c:v>
                </c:pt>
                <c:pt idx="73">
                  <c:v>0.17633410672853828</c:v>
                </c:pt>
                <c:pt idx="74">
                  <c:v>0.11981566820276497</c:v>
                </c:pt>
                <c:pt idx="75">
                  <c:v>0.21788990825688073</c:v>
                </c:pt>
                <c:pt idx="76">
                  <c:v>0.20082815734989648</c:v>
                </c:pt>
                <c:pt idx="77">
                  <c:v>0.16290726817042606</c:v>
                </c:pt>
                <c:pt idx="78">
                  <c:v>0.13486005089058525</c:v>
                </c:pt>
                <c:pt idx="79">
                  <c:v>0.1447721179624665</c:v>
                </c:pt>
                <c:pt idx="80">
                  <c:v>0.13920454545454544</c:v>
                </c:pt>
                <c:pt idx="81">
                  <c:v>0.16033755274261605</c:v>
                </c:pt>
                <c:pt idx="82">
                  <c:v>0.17662337662337663</c:v>
                </c:pt>
                <c:pt idx="83">
                  <c:v>0.16494845360824742</c:v>
                </c:pt>
                <c:pt idx="84">
                  <c:v>0.1440922190201729</c:v>
                </c:pt>
                <c:pt idx="85">
                  <c:v>0.16237113402061856</c:v>
                </c:pt>
                <c:pt idx="86">
                  <c:v>0.1934931506849315</c:v>
                </c:pt>
                <c:pt idx="87">
                  <c:v>0.19896193771626297</c:v>
                </c:pt>
                <c:pt idx="88">
                  <c:v>0.16984732824427481</c:v>
                </c:pt>
                <c:pt idx="89">
                  <c:v>0.16666666666666666</c:v>
                </c:pt>
                <c:pt idx="90">
                  <c:v>0.16489361702127658</c:v>
                </c:pt>
                <c:pt idx="91">
                  <c:v>0.14987080103359174</c:v>
                </c:pt>
                <c:pt idx="92">
                  <c:v>0.16135084427767354</c:v>
                </c:pt>
                <c:pt idx="93">
                  <c:v>0.16512059369202226</c:v>
                </c:pt>
                <c:pt idx="94">
                  <c:v>0.13636363636363635</c:v>
                </c:pt>
                <c:pt idx="95">
                  <c:v>0.12796208530805686</c:v>
                </c:pt>
                <c:pt idx="96">
                  <c:v>0.12960760998810938</c:v>
                </c:pt>
                <c:pt idx="97">
                  <c:v>0.15315315315315314</c:v>
                </c:pt>
                <c:pt idx="98">
                  <c:v>0.17566478646253023</c:v>
                </c:pt>
                <c:pt idx="99">
                  <c:v>0.17002881844380405</c:v>
                </c:pt>
                <c:pt idx="100">
                  <c:v>0.1724624060150376</c:v>
                </c:pt>
                <c:pt idx="101">
                  <c:v>0.19980787704130643</c:v>
                </c:pt>
                <c:pt idx="102">
                  <c:v>0.17857142857142858</c:v>
                </c:pt>
                <c:pt idx="103">
                  <c:v>0.1900709219858156</c:v>
                </c:pt>
                <c:pt idx="104">
                  <c:v>0.210370370370370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0.7152</c:v>
                </c:pt>
                <c:pt idx="1">
                  <c:v>1109.1429</c:v>
                </c:pt>
                <c:pt idx="2">
                  <c:v>1077.2756</c:v>
                </c:pt>
                <c:pt idx="3">
                  <c:v>1060.6242</c:v>
                </c:pt>
                <c:pt idx="4">
                  <c:v>1151.6031</c:v>
                </c:pt>
                <c:pt idx="5">
                  <c:v>1223.1712</c:v>
                </c:pt>
                <c:pt idx="6">
                  <c:v>1140.494</c:v>
                </c:pt>
                <c:pt idx="7">
                  <c:v>1246.9423</c:v>
                </c:pt>
                <c:pt idx="8">
                  <c:v>1309.3506</c:v>
                </c:pt>
                <c:pt idx="9">
                  <c:v>1237.7286</c:v>
                </c:pt>
                <c:pt idx="10">
                  <c:v>1301.6555</c:v>
                </c:pt>
                <c:pt idx="11">
                  <c:v>1243.1274</c:v>
                </c:pt>
                <c:pt idx="12">
                  <c:v>1165.5</c:v>
                </c:pt>
                <c:pt idx="13">
                  <c:v>1200.1188</c:v>
                </c:pt>
                <c:pt idx="14">
                  <c:v>1160.274</c:v>
                </c:pt>
                <c:pt idx="15">
                  <c:v>1213.6496</c:v>
                </c:pt>
                <c:pt idx="16">
                  <c:v>1277.3051</c:v>
                </c:pt>
                <c:pt idx="17">
                  <c:v>1137.2872</c:v>
                </c:pt>
                <c:pt idx="18">
                  <c:v>1187.2836</c:v>
                </c:pt>
                <c:pt idx="19">
                  <c:v>1404.2603</c:v>
                </c:pt>
                <c:pt idx="20">
                  <c:v>1351.7937</c:v>
                </c:pt>
                <c:pt idx="21">
                  <c:v>1045.9701</c:v>
                </c:pt>
                <c:pt idx="22">
                  <c:v>1200.5849</c:v>
                </c:pt>
                <c:pt idx="23">
                  <c:v>1288.0</c:v>
                </c:pt>
                <c:pt idx="24">
                  <c:v>1066.3509</c:v>
                </c:pt>
                <c:pt idx="25">
                  <c:v>934.8243</c:v>
                </c:pt>
                <c:pt idx="26">
                  <c:v>911.4217</c:v>
                </c:pt>
                <c:pt idx="27">
                  <c:v>979.9882</c:v>
                </c:pt>
                <c:pt idx="28">
                  <c:v>1040.5679</c:v>
                </c:pt>
                <c:pt idx="29">
                  <c:v>1103.5714</c:v>
                </c:pt>
                <c:pt idx="30">
                  <c:v>859.1698</c:v>
                </c:pt>
                <c:pt idx="31">
                  <c:v>599.7674</c:v>
                </c:pt>
                <c:pt idx="32">
                  <c:v>835.686</c:v>
                </c:pt>
                <c:pt idx="33">
                  <c:v>1147.5</c:v>
                </c:pt>
                <c:pt idx="34">
                  <c:v>1131.3618</c:v>
                </c:pt>
                <c:pt idx="35">
                  <c:v>1081.6059</c:v>
                </c:pt>
                <c:pt idx="36">
                  <c:v>1066.12</c:v>
                </c:pt>
                <c:pt idx="37">
                  <c:v>1317.5634</c:v>
                </c:pt>
                <c:pt idx="38">
                  <c:v>1076.4366</c:v>
                </c:pt>
                <c:pt idx="39">
                  <c:v>1045.0857</c:v>
                </c:pt>
                <c:pt idx="40">
                  <c:v>1115.2339</c:v>
                </c:pt>
                <c:pt idx="41">
                  <c:v>1057.8561</c:v>
                </c:pt>
                <c:pt idx="42">
                  <c:v>863.2339</c:v>
                </c:pt>
                <c:pt idx="43">
                  <c:v>1080.7434</c:v>
                </c:pt>
                <c:pt idx="44">
                  <c:v>1059.4016</c:v>
                </c:pt>
                <c:pt idx="45">
                  <c:v>987.7526</c:v>
                </c:pt>
                <c:pt idx="46">
                  <c:v>1119.8438</c:v>
                </c:pt>
                <c:pt idx="47">
                  <c:v>1138.1127</c:v>
                </c:pt>
                <c:pt idx="48">
                  <c:v>1031.9545</c:v>
                </c:pt>
                <c:pt idx="49">
                  <c:v>1164.2222</c:v>
                </c:pt>
                <c:pt idx="50">
                  <c:v>1195.7875</c:v>
                </c:pt>
                <c:pt idx="51">
                  <c:v>1117.75</c:v>
                </c:pt>
              </c:numCache>
            </c:numRef>
          </c:xVal>
          <c:yVal>
            <c:numRef>
              <c:f>Sheet1!$B$109:$B$160</c:f>
              <c:numCache>
                <c:formatCode>General</c:formatCode>
                <c:ptCount val="52"/>
                <c:pt idx="0">
                  <c:v>0.2002652519893899</c:v>
                </c:pt>
                <c:pt idx="1">
                  <c:v>0.2024353120243531</c:v>
                </c:pt>
                <c:pt idx="2">
                  <c:v>0.21940928270042195</c:v>
                </c:pt>
                <c:pt idx="3">
                  <c:v>0.25241157556270094</c:v>
                </c:pt>
                <c:pt idx="4">
                  <c:v>0.21510673234811165</c:v>
                </c:pt>
                <c:pt idx="5">
                  <c:v>0.20593692022263452</c:v>
                </c:pt>
                <c:pt idx="6">
                  <c:v>0.20293398533007334</c:v>
                </c:pt>
                <c:pt idx="7">
                  <c:v>0.20717131474103587</c:v>
                </c:pt>
                <c:pt idx="8">
                  <c:v>0.25</c:v>
                </c:pt>
                <c:pt idx="9">
                  <c:v>0.21604938271604937</c:v>
                </c:pt>
                <c:pt idx="10">
                  <c:v>0.2686230248306998</c:v>
                </c:pt>
                <c:pt idx="11">
                  <c:v>0.2400611620795107</c:v>
                </c:pt>
                <c:pt idx="12">
                  <c:v>0.2488619119878604</c:v>
                </c:pt>
                <c:pt idx="13">
                  <c:v>0.25477707006369427</c:v>
                </c:pt>
                <c:pt idx="14">
                  <c:v>0.26306306306306304</c:v>
                </c:pt>
                <c:pt idx="15">
                  <c:v>0.23339011925042588</c:v>
                </c:pt>
                <c:pt idx="16">
                  <c:v>0.23228346456692914</c:v>
                </c:pt>
                <c:pt idx="17">
                  <c:v>0.20704845814977973</c:v>
                </c:pt>
                <c:pt idx="18">
                  <c:v>0.19533527696793002</c:v>
                </c:pt>
                <c:pt idx="19">
                  <c:v>0.16590909090909092</c:v>
                </c:pt>
                <c:pt idx="20">
                  <c:v>0.1675531914893617</c:v>
                </c:pt>
                <c:pt idx="21">
                  <c:v>0.24187725631768953</c:v>
                </c:pt>
                <c:pt idx="22">
                  <c:v>0.21810699588477367</c:v>
                </c:pt>
                <c:pt idx="23">
                  <c:v>0.19658119658119658</c:v>
                </c:pt>
                <c:pt idx="24">
                  <c:v>0.24050632911392406</c:v>
                </c:pt>
                <c:pt idx="25">
                  <c:v>0.3148936170212766</c:v>
                </c:pt>
                <c:pt idx="26">
                  <c:v>0.29856115107913667</c:v>
                </c:pt>
                <c:pt idx="27">
                  <c:v>0.29411764705882354</c:v>
                </c:pt>
                <c:pt idx="28">
                  <c:v>0.2691029900332226</c:v>
                </c:pt>
                <c:pt idx="29">
                  <c:v>0.2661596958174905</c:v>
                </c:pt>
                <c:pt idx="30">
                  <c:v>0.381294964028777</c:v>
                </c:pt>
                <c:pt idx="31">
                  <c:v>0.42857142857142855</c:v>
                </c:pt>
                <c:pt idx="32">
                  <c:v>0.3359375</c:v>
                </c:pt>
                <c:pt idx="33">
                  <c:v>0.34300791556728233</c:v>
                </c:pt>
                <c:pt idx="34">
                  <c:v>0.32</c:v>
                </c:pt>
                <c:pt idx="35">
                  <c:v>0.35490605427974947</c:v>
                </c:pt>
                <c:pt idx="36">
                  <c:v>0.2798507462686567</c:v>
                </c:pt>
                <c:pt idx="37">
                  <c:v>0.24232081911262798</c:v>
                </c:pt>
                <c:pt idx="38">
                  <c:v>0.3021276595744681</c:v>
                </c:pt>
                <c:pt idx="39">
                  <c:v>0.2876712328767123</c:v>
                </c:pt>
                <c:pt idx="40">
                  <c:v>0.29314420803782504</c:v>
                </c:pt>
                <c:pt idx="41">
                  <c:v>0.2736220472440945</c:v>
                </c:pt>
                <c:pt idx="42">
                  <c:v>0.30617283950617286</c:v>
                </c:pt>
                <c:pt idx="43">
                  <c:v>0.22782258064516128</c:v>
                </c:pt>
                <c:pt idx="44">
                  <c:v>0.19709208400646203</c:v>
                </c:pt>
                <c:pt idx="45">
                  <c:v>0.23690773067331672</c:v>
                </c:pt>
                <c:pt idx="46">
                  <c:v>0.22145328719723184</c:v>
                </c:pt>
                <c:pt idx="47">
                  <c:v>0.21225710014947682</c:v>
                </c:pt>
                <c:pt idx="48">
                  <c:v>0.205607476635514</c:v>
                </c:pt>
                <c:pt idx="49">
                  <c:v>0.23076923076923078</c:v>
                </c:pt>
                <c:pt idx="50">
                  <c:v>0.21892542101042503</c:v>
                </c:pt>
                <c:pt idx="51">
                  <c:v>0.218077474892395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8.5573567176256</c:v>
                </c:pt>
              </c:numCache>
            </c:numRef>
          </c:xVal>
          <c:yVal>
            <c:numRef>
              <c:f>Sheet1!$B$163:$B$164</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8.5573567176256</c:v>
                </c:pt>
                <c:pt idx="1">
                  <c:v>928.5573567176256</c:v>
                </c:pt>
              </c:numCache>
            </c:numRef>
          </c:xVal>
          <c:yVal>
            <c:numRef>
              <c:f>Sheet1!$B$167:$B$168</c:f>
              <c:numCache>
                <c:formatCode>General</c:formatCode>
                <c:ptCount val="2"/>
                <c:pt idx="0">
                  <c:v>0.3005262639044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8.5573567176256</c:v>
                </c:pt>
              </c:numCache>
            </c:numRef>
          </c:xVal>
          <c:yVal>
            <c:numRef>
              <c:f>Sheet1!$B$171:$B$172</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8.5573567176256</c:v>
                </c:pt>
                <c:pt idx="1">
                  <c:v>928.5573567176256</c:v>
                </c:pt>
              </c:numCache>
            </c:numRef>
          </c:xVal>
          <c:yVal>
            <c:numRef>
              <c:f>Sheet1!$B$175:$B$176</c:f>
              <c:numCache>
                <c:formatCode>General</c:formatCode>
                <c:ptCount val="2"/>
                <c:pt idx="0">
                  <c:v>0.3005262639044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7.596689383921</c:v>
                </c:pt>
              </c:numCache>
            </c:numRef>
          </c:xVal>
          <c:yVal>
            <c:numRef>
              <c:f>Sheet1!$B$179:$B$180</c:f>
              <c:numCache>
                <c:formatCode>General</c:formatCode>
                <c:ptCount val="2"/>
                <c:pt idx="0">
                  <c:v>0.24073251643415536</c:v>
                </c:pt>
                <c:pt idx="1">
                  <c:v>0.240732516434155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7.596689383921</c:v>
                </c:pt>
                <c:pt idx="1">
                  <c:v>1157.596689383921</c:v>
                </c:pt>
              </c:numCache>
            </c:numRef>
          </c:xVal>
          <c:yVal>
            <c:numRef>
              <c:f>Sheet1!$B$183:$B$184</c:f>
              <c:numCache>
                <c:formatCode>General</c:formatCode>
                <c:ptCount val="2"/>
                <c:pt idx="0">
                  <c:v>0.240732516434155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0.7152</c:v>
                </c:pt>
                <c:pt idx="1">
                  <c:v>1109.1429</c:v>
                </c:pt>
                <c:pt idx="2">
                  <c:v>1077.2756</c:v>
                </c:pt>
                <c:pt idx="3">
                  <c:v>1060.6242</c:v>
                </c:pt>
                <c:pt idx="4">
                  <c:v>1151.6031</c:v>
                </c:pt>
                <c:pt idx="5">
                  <c:v>1223.1712</c:v>
                </c:pt>
                <c:pt idx="6">
                  <c:v>1140.494</c:v>
                </c:pt>
                <c:pt idx="7">
                  <c:v>1246.9423</c:v>
                </c:pt>
                <c:pt idx="8">
                  <c:v>1309.3506</c:v>
                </c:pt>
                <c:pt idx="9">
                  <c:v>1237.7286</c:v>
                </c:pt>
                <c:pt idx="10">
                  <c:v>1301.6555</c:v>
                </c:pt>
                <c:pt idx="11">
                  <c:v>1243.1274</c:v>
                </c:pt>
                <c:pt idx="12">
                  <c:v>1165.5</c:v>
                </c:pt>
                <c:pt idx="13">
                  <c:v>1200.1188</c:v>
                </c:pt>
                <c:pt idx="14">
                  <c:v>1160.274</c:v>
                </c:pt>
                <c:pt idx="15">
                  <c:v>1213.6496</c:v>
                </c:pt>
                <c:pt idx="16">
                  <c:v>1277.3051</c:v>
                </c:pt>
                <c:pt idx="17">
                  <c:v>1137.2872</c:v>
                </c:pt>
                <c:pt idx="18">
                  <c:v>1187.2836</c:v>
                </c:pt>
                <c:pt idx="19">
                  <c:v>1404.2603</c:v>
                </c:pt>
                <c:pt idx="20">
                  <c:v>1351.7937</c:v>
                </c:pt>
                <c:pt idx="21">
                  <c:v>1045.9701</c:v>
                </c:pt>
                <c:pt idx="22">
                  <c:v>1200.5849</c:v>
                </c:pt>
                <c:pt idx="23">
                  <c:v>1288.0</c:v>
                </c:pt>
                <c:pt idx="24">
                  <c:v>1066.3509</c:v>
                </c:pt>
                <c:pt idx="25">
                  <c:v>934.8243</c:v>
                </c:pt>
                <c:pt idx="26">
                  <c:v>911.4217</c:v>
                </c:pt>
                <c:pt idx="27">
                  <c:v>979.9882</c:v>
                </c:pt>
                <c:pt idx="28">
                  <c:v>1040.5679</c:v>
                </c:pt>
                <c:pt idx="29">
                  <c:v>1103.5714</c:v>
                </c:pt>
                <c:pt idx="30">
                  <c:v>859.1698</c:v>
                </c:pt>
                <c:pt idx="31">
                  <c:v>599.7674</c:v>
                </c:pt>
                <c:pt idx="32">
                  <c:v>835.686</c:v>
                </c:pt>
                <c:pt idx="33">
                  <c:v>1147.5</c:v>
                </c:pt>
                <c:pt idx="34">
                  <c:v>1131.3618</c:v>
                </c:pt>
                <c:pt idx="35">
                  <c:v>1081.6059</c:v>
                </c:pt>
                <c:pt idx="36">
                  <c:v>1066.12</c:v>
                </c:pt>
                <c:pt idx="37">
                  <c:v>1317.5634</c:v>
                </c:pt>
                <c:pt idx="38">
                  <c:v>1076.4366</c:v>
                </c:pt>
                <c:pt idx="39">
                  <c:v>1045.0857</c:v>
                </c:pt>
                <c:pt idx="40">
                  <c:v>1115.2339</c:v>
                </c:pt>
                <c:pt idx="41">
                  <c:v>1057.8561</c:v>
                </c:pt>
                <c:pt idx="42">
                  <c:v>863.2339</c:v>
                </c:pt>
                <c:pt idx="43">
                  <c:v>1080.7434</c:v>
                </c:pt>
                <c:pt idx="44">
                  <c:v>1059.4016</c:v>
                </c:pt>
                <c:pt idx="45">
                  <c:v>987.7526</c:v>
                </c:pt>
                <c:pt idx="46">
                  <c:v>1119.8438</c:v>
                </c:pt>
                <c:pt idx="47">
                  <c:v>1138.1127</c:v>
                </c:pt>
                <c:pt idx="48">
                  <c:v>1031.9545</c:v>
                </c:pt>
                <c:pt idx="49">
                  <c:v>1164.2222</c:v>
                </c:pt>
                <c:pt idx="50">
                  <c:v>1195.7875</c:v>
                </c:pt>
                <c:pt idx="51">
                  <c:v>1117.75</c:v>
                </c:pt>
                <c:pt idx="52">
                  <c:v>928.5573567176256</c:v>
                </c:pt>
                <c:pt idx="53">
                  <c:v>928.5573567176256</c:v>
                </c:pt>
                <c:pt idx="54">
                  <c:v>1157.596689383921</c:v>
                </c:pt>
              </c:numCache>
            </c:numRef>
          </c:xVal>
          <c:yVal>
            <c:numRef>
              <c:f>Sheet1!$B$187:$B$241</c:f>
              <c:numCache>
                <c:formatCode>General</c:formatCode>
                <c:ptCount val="55"/>
                <c:pt idx="0">
                  <c:v>0.2608034462078506</c:v>
                </c:pt>
                <c:pt idx="1">
                  <c:v>0.2533820190880086</c:v>
                </c:pt>
                <c:pt idx="2">
                  <c:v>0.2617013992860599</c:v>
                </c:pt>
                <c:pt idx="3">
                  <c:v>0.2660484675168115</c:v>
                </c:pt>
                <c:pt idx="4">
                  <c:v>0.2422972222246002</c:v>
                </c:pt>
                <c:pt idx="5">
                  <c:v>0.22361342303382625</c:v>
                </c:pt>
                <c:pt idx="6">
                  <c:v>0.24519739972812804</c:v>
                </c:pt>
                <c:pt idx="7">
                  <c:v>0.2174076629403795</c:v>
                </c:pt>
                <c:pt idx="8">
                  <c:v>0.20111515070325736</c:v>
                </c:pt>
                <c:pt idx="9">
                  <c:v>0.21981302120200774</c:v>
                </c:pt>
                <c:pt idx="10">
                  <c:v>0.2031240583472066</c:v>
                </c:pt>
                <c:pt idx="11">
                  <c:v>0.2184035930479677</c:v>
                </c:pt>
                <c:pt idx="12">
                  <c:v>0.23866925265471828</c:v>
                </c:pt>
                <c:pt idx="13">
                  <c:v>0.22963155698548066</c:v>
                </c:pt>
                <c:pt idx="14">
                  <c:v>0.2400335690830011</c:v>
                </c:pt>
                <c:pt idx="15">
                  <c:v>0.22609916266328228</c:v>
                </c:pt>
                <c:pt idx="16">
                  <c:v>0.20948105236849573</c:v>
                </c:pt>
                <c:pt idx="17">
                  <c:v>0.2460345772869143</c:v>
                </c:pt>
                <c:pt idx="18">
                  <c:v>0.232982355726448</c:v>
                </c:pt>
                <c:pt idx="19">
                  <c:v>0.1763377180753603</c:v>
                </c:pt>
                <c:pt idx="20">
                  <c:v>0.19003481802104366</c:v>
                </c:pt>
                <c:pt idx="21">
                  <c:v>0.2698741141627546</c:v>
                </c:pt>
                <c:pt idx="22">
                  <c:v>0.22950987541502088</c:v>
                </c:pt>
                <c:pt idx="23">
                  <c:v>0.20668900725390688</c:v>
                </c:pt>
                <c:pt idx="24">
                  <c:v>0.26455343673038845</c:v>
                </c:pt>
                <c:pt idx="25">
                  <c:v>0.29889019546291384</c:v>
                </c:pt>
                <c:pt idx="26">
                  <c:v>0.30499975375693045</c:v>
                </c:pt>
                <c:pt idx="27">
                  <c:v>0.28709956195060604</c:v>
                </c:pt>
                <c:pt idx="28">
                  <c:v>0.271284429931769</c:v>
                </c:pt>
                <c:pt idx="29">
                  <c:v>0.2548365328614831</c:v>
                </c:pt>
                <c:pt idx="30">
                  <c:v>0.31864080342761336</c:v>
                </c:pt>
                <c:pt idx="31">
                  <c:v>0.38636123126075167</c:v>
                </c:pt>
                <c:pt idx="32">
                  <c:v>0.32477156005572416</c:v>
                </c:pt>
                <c:pt idx="33">
                  <c:v>0.24336839075442934</c:v>
                </c:pt>
                <c:pt idx="34">
                  <c:v>0.24758148133669367</c:v>
                </c:pt>
                <c:pt idx="35">
                  <c:v>0.26057091719088327</c:v>
                </c:pt>
                <c:pt idx="36">
                  <c:v>0.26461371622967866</c:v>
                </c:pt>
                <c:pt idx="37">
                  <c:v>0.19897109062629587</c:v>
                </c:pt>
                <c:pt idx="38">
                  <c:v>0.261920431334152</c:v>
                </c:pt>
                <c:pt idx="39">
                  <c:v>0.2701049984813871</c:v>
                </c:pt>
                <c:pt idx="40">
                  <c:v>0.251791882967712</c:v>
                </c:pt>
                <c:pt idx="41">
                  <c:v>0.26677111663757874</c:v>
                </c:pt>
                <c:pt idx="42">
                  <c:v>0.31757981636366694</c:v>
                </c:pt>
                <c:pt idx="43">
                  <c:v>0.26079608422482775</c:v>
                </c:pt>
                <c:pt idx="44">
                  <c:v>0.266367643419073</c:v>
                </c:pt>
                <c:pt idx="45">
                  <c:v>0.2850725626249729</c:v>
                </c:pt>
                <c:pt idx="46">
                  <c:v>0.25058840759405315</c:v>
                </c:pt>
                <c:pt idx="47">
                  <c:v>0.24581906959239702</c:v>
                </c:pt>
                <c:pt idx="48">
                  <c:v>0.2735330719377718</c:v>
                </c:pt>
                <c:pt idx="49">
                  <c:v>0.23900283924715227</c:v>
                </c:pt>
                <c:pt idx="50">
                  <c:v>0.23076230014388505</c:v>
                </c:pt>
                <c:pt idx="51">
                  <c:v>0.2511350217803407</c:v>
                </c:pt>
                <c:pt idx="52">
                  <c:v>0.3005262639044102</c:v>
                </c:pt>
                <c:pt idx="53">
                  <c:v>0.3005262639044102</c:v>
                </c:pt>
                <c:pt idx="54">
                  <c:v>0.240732516434155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5.0"/>
          <c:min val="4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42857142857142"/>
          <c:min val="0.09581749049429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846629823239757</c:v>
                </c:pt>
                <c:pt idx="1">
                  <c:v>0.8117377924509386</c:v>
                </c:pt>
                <c:pt idx="2">
                  <c:v>0.8048758858388461</c:v>
                </c:pt>
                <c:pt idx="3">
                  <c:v>0.8247944744545718</c:v>
                </c:pt>
                <c:pt idx="4">
                  <c:v>0.833318683765384</c:v>
                </c:pt>
                <c:pt idx="5">
                  <c:v>0.8314435748327577</c:v>
                </c:pt>
                <c:pt idx="6">
                  <c:v>0.7686408356435185</c:v>
                </c:pt>
                <c:pt idx="7">
                  <c:v>0.815998374136904</c:v>
                </c:pt>
                <c:pt idx="8">
                  <c:v>0.8603729131383988</c:v>
                </c:pt>
                <c:pt idx="9">
                  <c:v>0.8393798408923879</c:v>
                </c:pt>
                <c:pt idx="10">
                  <c:v>0.8805694133716876</c:v>
                </c:pt>
                <c:pt idx="11">
                  <c:v>0.8888622617762008</c:v>
                </c:pt>
                <c:pt idx="12">
                  <c:v>0.9006661666495998</c:v>
                </c:pt>
                <c:pt idx="13">
                  <c:v>0.9200029880670099</c:v>
                </c:pt>
                <c:pt idx="14">
                  <c:v>0.8670250549684374</c:v>
                </c:pt>
                <c:pt idx="15">
                  <c:v>0.7616947812465484</c:v>
                </c:pt>
                <c:pt idx="16">
                  <c:v>0.7957502657742557</c:v>
                </c:pt>
                <c:pt idx="17">
                  <c:v>0.7870293047382966</c:v>
                </c:pt>
                <c:pt idx="18">
                  <c:v>0.8489496158819299</c:v>
                </c:pt>
                <c:pt idx="19">
                  <c:v>0.982387161438833</c:v>
                </c:pt>
                <c:pt idx="20">
                  <c:v>0.8785886603651808</c:v>
                </c:pt>
                <c:pt idx="21">
                  <c:v>0.8559646528654836</c:v>
                </c:pt>
                <c:pt idx="22">
                  <c:v>0.8379392488032739</c:v>
                </c:pt>
                <c:pt idx="23">
                  <c:v>0.7754668845999095</c:v>
                </c:pt>
                <c:pt idx="24">
                  <c:v>0.7310202934349779</c:v>
                </c:pt>
                <c:pt idx="25">
                  <c:v>0.7524760667551449</c:v>
                </c:pt>
                <c:pt idx="26">
                  <c:v>0.7495217851749394</c:v>
                </c:pt>
                <c:pt idx="27">
                  <c:v>0.7812812106422523</c:v>
                </c:pt>
                <c:pt idx="28">
                  <c:v>0.7868015650345891</c:v>
                </c:pt>
                <c:pt idx="29">
                  <c:v>0.7247974133210014</c:v>
                </c:pt>
                <c:pt idx="30">
                  <c:v>0.7727564261307623</c:v>
                </c:pt>
                <c:pt idx="31">
                  <c:v>0.7043837644497434</c:v>
                </c:pt>
                <c:pt idx="32">
                  <c:v>0.6760178637148816</c:v>
                </c:pt>
                <c:pt idx="33">
                  <c:v>0.6360575683712784</c:v>
                </c:pt>
                <c:pt idx="34">
                  <c:v>0.7464068440187642</c:v>
                </c:pt>
                <c:pt idx="35">
                  <c:v>0.7946842217466462</c:v>
                </c:pt>
                <c:pt idx="36">
                  <c:v>0.8931235704059829</c:v>
                </c:pt>
                <c:pt idx="37">
                  <c:v>0.8505307189246056</c:v>
                </c:pt>
                <c:pt idx="38">
                  <c:v>0.8663039180027302</c:v>
                </c:pt>
                <c:pt idx="39">
                  <c:v>0.9088637492472236</c:v>
                </c:pt>
                <c:pt idx="40">
                  <c:v>0.9487938798152352</c:v>
                </c:pt>
                <c:pt idx="41">
                  <c:v>0.8912380786061723</c:v>
                </c:pt>
                <c:pt idx="42">
                  <c:v>0.925795901201499</c:v>
                </c:pt>
                <c:pt idx="43">
                  <c:v>0.9840247799761007</c:v>
                </c:pt>
                <c:pt idx="44">
                  <c:v>0.8919387120006984</c:v>
                </c:pt>
                <c:pt idx="45">
                  <c:v>0.8214086123233132</c:v>
                </c:pt>
                <c:pt idx="46">
                  <c:v>0.936474945060148</c:v>
                </c:pt>
                <c:pt idx="47">
                  <c:v>0.9114395099140543</c:v>
                </c:pt>
                <c:pt idx="48">
                  <c:v>0.9154976961155988</c:v>
                </c:pt>
                <c:pt idx="49">
                  <c:v>0.8964515773628663</c:v>
                </c:pt>
                <c:pt idx="50">
                  <c:v>0.8859408828382206</c:v>
                </c:pt>
                <c:pt idx="51">
                  <c:v>0.9341498693261031</c:v>
                </c:pt>
                <c:pt idx="52">
                  <c:v>0.8602646547480854</c:v>
                </c:pt>
                <c:pt idx="53">
                  <c:v>0.9033514198929999</c:v>
                </c:pt>
                <c:pt idx="54">
                  <c:v>0.9064391134924501</c:v>
                </c:pt>
                <c:pt idx="55">
                  <c:v>0.8441094171389769</c:v>
                </c:pt>
                <c:pt idx="56">
                  <c:v>0.8981639996129179</c:v>
                </c:pt>
                <c:pt idx="57">
                  <c:v>0.9036870133851027</c:v>
                </c:pt>
                <c:pt idx="58">
                  <c:v>0.9285834764815284</c:v>
                </c:pt>
                <c:pt idx="59">
                  <c:v>0.919246569918737</c:v>
                </c:pt>
                <c:pt idx="60">
                  <c:v>1.0101887339614501</c:v>
                </c:pt>
                <c:pt idx="61">
                  <c:v>0.9007180216755</c:v>
                </c:pt>
                <c:pt idx="62">
                  <c:v>0.9699496409311529</c:v>
                </c:pt>
                <c:pt idx="63">
                  <c:v>1.0173773569213587</c:v>
                </c:pt>
                <c:pt idx="64">
                  <c:v>0.9241608261093062</c:v>
                </c:pt>
                <c:pt idx="65">
                  <c:v>0.9286286933441038</c:v>
                </c:pt>
                <c:pt idx="66">
                  <c:v>0.9681294162471713</c:v>
                </c:pt>
                <c:pt idx="67">
                  <c:v>0.9537828088137328</c:v>
                </c:pt>
                <c:pt idx="68">
                  <c:v>0.9770896415911775</c:v>
                </c:pt>
                <c:pt idx="69">
                  <c:v>1.00120915225808</c:v>
                </c:pt>
                <c:pt idx="70">
                  <c:v>0.842050363925455</c:v>
                </c:pt>
                <c:pt idx="71">
                  <c:v>0.9766821747225072</c:v>
                </c:pt>
                <c:pt idx="72">
                  <c:v>1.1012963533934983</c:v>
                </c:pt>
                <c:pt idx="73">
                  <c:v>0.9804959252116745</c:v>
                </c:pt>
                <c:pt idx="74">
                  <c:v>1.1066102841977221</c:v>
                </c:pt>
                <c:pt idx="75">
                  <c:v>0.7736662783691505</c:v>
                </c:pt>
                <c:pt idx="76">
                  <c:v>0.858324078748994</c:v>
                </c:pt>
                <c:pt idx="77">
                  <c:v>0.967865331434658</c:v>
                </c:pt>
                <c:pt idx="78">
                  <c:v>0.9853972841214862</c:v>
                </c:pt>
                <c:pt idx="79">
                  <c:v>0.8395480336342999</c:v>
                </c:pt>
                <c:pt idx="80">
                  <c:v>0.939645691206941</c:v>
                </c:pt>
                <c:pt idx="81">
                  <c:v>0.9530501620620466</c:v>
                </c:pt>
                <c:pt idx="82">
                  <c:v>0.8835236137180036</c:v>
                </c:pt>
                <c:pt idx="83">
                  <c:v>0.7881971379288566</c:v>
                </c:pt>
                <c:pt idx="84">
                  <c:v>0.9677301691574385</c:v>
                </c:pt>
                <c:pt idx="85">
                  <c:v>0.872556897727869</c:v>
                </c:pt>
                <c:pt idx="86">
                  <c:v>0.9738043982853956</c:v>
                </c:pt>
                <c:pt idx="87">
                  <c:v>0.909715194954613</c:v>
                </c:pt>
                <c:pt idx="88">
                  <c:v>0.9400502434471358</c:v>
                </c:pt>
                <c:pt idx="89">
                  <c:v>0.8971102976669347</c:v>
                </c:pt>
                <c:pt idx="90">
                  <c:v>1.0000795342863742</c:v>
                </c:pt>
                <c:pt idx="91">
                  <c:v>0.9699034062684284</c:v>
                </c:pt>
                <c:pt idx="92">
                  <c:v>0.9374457899344398</c:v>
                </c:pt>
                <c:pt idx="93">
                  <c:v>0.8640444000888541</c:v>
                </c:pt>
                <c:pt idx="94">
                  <c:v>0.9496994934052947</c:v>
                </c:pt>
                <c:pt idx="95">
                  <c:v>0.9761395106100144</c:v>
                </c:pt>
                <c:pt idx="96">
                  <c:v>0.9494646138953298</c:v>
                </c:pt>
                <c:pt idx="97">
                  <c:v>0.971557475823758</c:v>
                </c:pt>
                <c:pt idx="98">
                  <c:v>1.009964705999911</c:v>
                </c:pt>
                <c:pt idx="99">
                  <c:v>1.0188523490005144</c:v>
                </c:pt>
                <c:pt idx="100">
                  <c:v>1.0151119037095884</c:v>
                </c:pt>
                <c:pt idx="101">
                  <c:v>0.9208663946491283</c:v>
                </c:pt>
                <c:pt idx="102">
                  <c:v>0.9256737360337998</c:v>
                </c:pt>
                <c:pt idx="103">
                  <c:v>0.8667928643657965</c:v>
                </c:pt>
                <c:pt idx="104">
                  <c:v>0.9293115896443919</c:v>
                </c:pt>
              </c:numCache>
            </c:numRef>
          </c:xVal>
          <c:yVal>
            <c:numRef>
              <c:f>Sheet1!$B$2:$B$106</c:f>
              <c:numCache>
                <c:formatCode>General</c:formatCode>
                <c:ptCount val="105"/>
                <c:pt idx="0">
                  <c:v>0.17452830188679244</c:v>
                </c:pt>
                <c:pt idx="1">
                  <c:v>0.18304668304668303</c:v>
                </c:pt>
                <c:pt idx="2">
                  <c:v>0.17676767676767677</c:v>
                </c:pt>
                <c:pt idx="3">
                  <c:v>0.1880597014925373</c:v>
                </c:pt>
                <c:pt idx="4">
                  <c:v>0.20441988950276244</c:v>
                </c:pt>
                <c:pt idx="5">
                  <c:v>0.22356495468277945</c:v>
                </c:pt>
                <c:pt idx="6">
                  <c:v>0.31376975169300225</c:v>
                </c:pt>
                <c:pt idx="7">
                  <c:v>0.29110512129380056</c:v>
                </c:pt>
                <c:pt idx="8">
                  <c:v>0.2727272727272727</c:v>
                </c:pt>
                <c:pt idx="9">
                  <c:v>0.270935960591133</c:v>
                </c:pt>
                <c:pt idx="10">
                  <c:v>0.29073482428115016</c:v>
                </c:pt>
                <c:pt idx="11">
                  <c:v>0.2448700410396717</c:v>
                </c:pt>
                <c:pt idx="12">
                  <c:v>0.22888616891064872</c:v>
                </c:pt>
                <c:pt idx="13">
                  <c:v>0.22057001239157373</c:v>
                </c:pt>
                <c:pt idx="14">
                  <c:v>0.20143027413587605</c:v>
                </c:pt>
                <c:pt idx="15">
                  <c:v>0.19398907103825136</c:v>
                </c:pt>
                <c:pt idx="16">
                  <c:v>0.17804154302670624</c:v>
                </c:pt>
                <c:pt idx="17">
                  <c:v>0.16828478964401294</c:v>
                </c:pt>
                <c:pt idx="18">
                  <c:v>0.16414686825053995</c:v>
                </c:pt>
                <c:pt idx="19">
                  <c:v>0.14804469273743018</c:v>
                </c:pt>
                <c:pt idx="20">
                  <c:v>0.15159574468085107</c:v>
                </c:pt>
                <c:pt idx="21">
                  <c:v>0.20396600566572237</c:v>
                </c:pt>
                <c:pt idx="22">
                  <c:v>0.1746987951807229</c:v>
                </c:pt>
                <c:pt idx="23">
                  <c:v>0.2043343653250774</c:v>
                </c:pt>
                <c:pt idx="24">
                  <c:v>0.2028169014084507</c:v>
                </c:pt>
                <c:pt idx="25">
                  <c:v>0.19428571428571428</c:v>
                </c:pt>
                <c:pt idx="26">
                  <c:v>0.22115384615384615</c:v>
                </c:pt>
                <c:pt idx="27">
                  <c:v>0.2493573264781491</c:v>
                </c:pt>
                <c:pt idx="28">
                  <c:v>0.20654911838790932</c:v>
                </c:pt>
                <c:pt idx="29">
                  <c:v>0.24528301886792453</c:v>
                </c:pt>
                <c:pt idx="30">
                  <c:v>0.2512690355329949</c:v>
                </c:pt>
                <c:pt idx="31">
                  <c:v>0.2148997134670487</c:v>
                </c:pt>
                <c:pt idx="32">
                  <c:v>0.2289156626506024</c:v>
                </c:pt>
                <c:pt idx="33">
                  <c:v>0.2551867219917012</c:v>
                </c:pt>
                <c:pt idx="34">
                  <c:v>0.2571976967370441</c:v>
                </c:pt>
                <c:pt idx="35">
                  <c:v>0.2353923205342237</c:v>
                </c:pt>
                <c:pt idx="36">
                  <c:v>0.15008431703204048</c:v>
                </c:pt>
                <c:pt idx="37">
                  <c:v>0.15074309978768577</c:v>
                </c:pt>
                <c:pt idx="38">
                  <c:v>0.16029143897996356</c:v>
                </c:pt>
                <c:pt idx="39">
                  <c:v>0.1271186440677966</c:v>
                </c:pt>
                <c:pt idx="40">
                  <c:v>0.11977186311787072</c:v>
                </c:pt>
                <c:pt idx="41">
                  <c:v>0.1294820717131474</c:v>
                </c:pt>
                <c:pt idx="42">
                  <c:v>0.125</c:v>
                </c:pt>
                <c:pt idx="43">
                  <c:v>0.12622720897615708</c:v>
                </c:pt>
                <c:pt idx="44">
                  <c:v>0.1328600405679513</c:v>
                </c:pt>
                <c:pt idx="45">
                  <c:v>0.14384920634920634</c:v>
                </c:pt>
                <c:pt idx="46">
                  <c:v>0.12450592885375494</c:v>
                </c:pt>
                <c:pt idx="47">
                  <c:v>0.12428842504743833</c:v>
                </c:pt>
                <c:pt idx="48">
                  <c:v>0.14555873925501434</c:v>
                </c:pt>
                <c:pt idx="49">
                  <c:v>0.17146282973621102</c:v>
                </c:pt>
                <c:pt idx="50">
                  <c:v>0.16404886561954624</c:v>
                </c:pt>
                <c:pt idx="51">
                  <c:v>0.12579415501905972</c:v>
                </c:pt>
                <c:pt idx="52">
                  <c:v>0.15005359056806003</c:v>
                </c:pt>
                <c:pt idx="53">
                  <c:v>0.16646115906288533</c:v>
                </c:pt>
                <c:pt idx="54">
                  <c:v>0.17443609022556392</c:v>
                </c:pt>
                <c:pt idx="55">
                  <c:v>0.18272425249169436</c:v>
                </c:pt>
                <c:pt idx="56">
                  <c:v>0.19924812030075187</c:v>
                </c:pt>
                <c:pt idx="57">
                  <c:v>0.19622641509433963</c:v>
                </c:pt>
                <c:pt idx="58">
                  <c:v>0.21330724070450097</c:v>
                </c:pt>
                <c:pt idx="59">
                  <c:v>0.17653061224489797</c:v>
                </c:pt>
                <c:pt idx="60">
                  <c:v>0.17893401015228427</c:v>
                </c:pt>
                <c:pt idx="61">
                  <c:v>0.22445820433436534</c:v>
                </c:pt>
                <c:pt idx="62">
                  <c:v>0.21812596006144394</c:v>
                </c:pt>
                <c:pt idx="63">
                  <c:v>0.20797011207970112</c:v>
                </c:pt>
                <c:pt idx="64">
                  <c:v>0.20209059233449478</c:v>
                </c:pt>
                <c:pt idx="65">
                  <c:v>0.2131367292225201</c:v>
                </c:pt>
                <c:pt idx="66">
                  <c:v>0.23395149786019973</c:v>
                </c:pt>
                <c:pt idx="67">
                  <c:v>0.2096551724137931</c:v>
                </c:pt>
                <c:pt idx="68">
                  <c:v>0.191869918699187</c:v>
                </c:pt>
                <c:pt idx="69">
                  <c:v>0.17903930131004367</c:v>
                </c:pt>
                <c:pt idx="70">
                  <c:v>0.17278617710583152</c:v>
                </c:pt>
                <c:pt idx="71">
                  <c:v>0.16666666666666666</c:v>
                </c:pt>
                <c:pt idx="72">
                  <c:v>0.1483050847457627</c:v>
                </c:pt>
                <c:pt idx="73">
                  <c:v>0.17633410672853828</c:v>
                </c:pt>
                <c:pt idx="74">
                  <c:v>0.11981566820276497</c:v>
                </c:pt>
                <c:pt idx="75">
                  <c:v>0.21788990825688073</c:v>
                </c:pt>
                <c:pt idx="76">
                  <c:v>0.20082815734989648</c:v>
                </c:pt>
                <c:pt idx="77">
                  <c:v>0.16290726817042606</c:v>
                </c:pt>
                <c:pt idx="78">
                  <c:v>0.13486005089058525</c:v>
                </c:pt>
                <c:pt idx="79">
                  <c:v>0.1447721179624665</c:v>
                </c:pt>
                <c:pt idx="80">
                  <c:v>0.13920454545454544</c:v>
                </c:pt>
                <c:pt idx="81">
                  <c:v>0.16033755274261605</c:v>
                </c:pt>
                <c:pt idx="82">
                  <c:v>0.17662337662337663</c:v>
                </c:pt>
                <c:pt idx="83">
                  <c:v>0.16494845360824742</c:v>
                </c:pt>
                <c:pt idx="84">
                  <c:v>0.1440922190201729</c:v>
                </c:pt>
                <c:pt idx="85">
                  <c:v>0.16237113402061856</c:v>
                </c:pt>
                <c:pt idx="86">
                  <c:v>0.1934931506849315</c:v>
                </c:pt>
                <c:pt idx="87">
                  <c:v>0.19896193771626297</c:v>
                </c:pt>
                <c:pt idx="88">
                  <c:v>0.16984732824427481</c:v>
                </c:pt>
                <c:pt idx="89">
                  <c:v>0.16666666666666666</c:v>
                </c:pt>
                <c:pt idx="90">
                  <c:v>0.16489361702127658</c:v>
                </c:pt>
                <c:pt idx="91">
                  <c:v>0.14987080103359174</c:v>
                </c:pt>
                <c:pt idx="92">
                  <c:v>0.16135084427767354</c:v>
                </c:pt>
                <c:pt idx="93">
                  <c:v>0.16512059369202226</c:v>
                </c:pt>
                <c:pt idx="94">
                  <c:v>0.13636363636363635</c:v>
                </c:pt>
                <c:pt idx="95">
                  <c:v>0.12796208530805686</c:v>
                </c:pt>
                <c:pt idx="96">
                  <c:v>0.12960760998810938</c:v>
                </c:pt>
                <c:pt idx="97">
                  <c:v>0.15315315315315314</c:v>
                </c:pt>
                <c:pt idx="98">
                  <c:v>0.17566478646253023</c:v>
                </c:pt>
                <c:pt idx="99">
                  <c:v>0.17002881844380405</c:v>
                </c:pt>
                <c:pt idx="100">
                  <c:v>0.1724624060150376</c:v>
                </c:pt>
                <c:pt idx="101">
                  <c:v>0.19980787704130643</c:v>
                </c:pt>
                <c:pt idx="102">
                  <c:v>0.17857142857142858</c:v>
                </c:pt>
                <c:pt idx="103">
                  <c:v>0.1900709219858156</c:v>
                </c:pt>
                <c:pt idx="104">
                  <c:v>0.210370370370370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147552681061989</c:v>
                </c:pt>
                <c:pt idx="1">
                  <c:v>0.9113049701214286</c:v>
                </c:pt>
                <c:pt idx="2">
                  <c:v>0.8672145545291715</c:v>
                </c:pt>
                <c:pt idx="3">
                  <c:v>0.8828786548186377</c:v>
                </c:pt>
                <c:pt idx="4">
                  <c:v>0.9715118990905893</c:v>
                </c:pt>
                <c:pt idx="5">
                  <c:v>1.0469911690994749</c:v>
                </c:pt>
                <c:pt idx="6">
                  <c:v>1.1043695207901925</c:v>
                </c:pt>
                <c:pt idx="7">
                  <c:v>1.0748020100675768</c:v>
                </c:pt>
                <c:pt idx="8">
                  <c:v>1.1517735774369124</c:v>
                </c:pt>
                <c:pt idx="9">
                  <c:v>1.1527590744500118</c:v>
                </c:pt>
                <c:pt idx="10">
                  <c:v>1.354455000265864</c:v>
                </c:pt>
                <c:pt idx="11">
                  <c:v>1.2333923574617898</c:v>
                </c:pt>
                <c:pt idx="12">
                  <c:v>1.1855904225045508</c:v>
                </c:pt>
                <c:pt idx="13">
                  <c:v>1.161289461064077</c:v>
                </c:pt>
                <c:pt idx="14">
                  <c:v>1.1471670429507659</c:v>
                </c:pt>
                <c:pt idx="15">
                  <c:v>1.1861029519914739</c:v>
                </c:pt>
                <c:pt idx="16">
                  <c:v>1.209209323399295</c:v>
                </c:pt>
                <c:pt idx="17">
                  <c:v>1.3617024333595826</c:v>
                </c:pt>
                <c:pt idx="18">
                  <c:v>1.477704009794576</c:v>
                </c:pt>
                <c:pt idx="19">
                  <c:v>1.899757785195621</c:v>
                </c:pt>
                <c:pt idx="20">
                  <c:v>2.0812022131851964</c:v>
                </c:pt>
                <c:pt idx="21">
                  <c:v>1.9488999114399035</c:v>
                </c:pt>
                <c:pt idx="22">
                  <c:v>1.6992558196280811</c:v>
                </c:pt>
                <c:pt idx="23">
                  <c:v>2.189658792338574</c:v>
                </c:pt>
                <c:pt idx="24">
                  <c:v>1.7411732298944338</c:v>
                </c:pt>
                <c:pt idx="25">
                  <c:v>1.520039512195122</c:v>
                </c:pt>
                <c:pt idx="26">
                  <c:v>1.5263915933564525</c:v>
                </c:pt>
                <c:pt idx="27">
                  <c:v>1.4129774894115528</c:v>
                </c:pt>
                <c:pt idx="28">
                  <c:v>1.2534251929853726</c:v>
                </c:pt>
                <c:pt idx="29">
                  <c:v>1.3915993441810952</c:v>
                </c:pt>
                <c:pt idx="30">
                  <c:v>0.8766442120725049</c:v>
                </c:pt>
                <c:pt idx="31">
                  <c:v>0.810259759243313</c:v>
                </c:pt>
                <c:pt idx="32">
                  <c:v>1.1542624309392266</c:v>
                </c:pt>
                <c:pt idx="33">
                  <c:v>1.407591697085776</c:v>
                </c:pt>
                <c:pt idx="34">
                  <c:v>1.4902679477379606</c:v>
                </c:pt>
                <c:pt idx="35">
                  <c:v>1.5315918839666882</c:v>
                </c:pt>
                <c:pt idx="36">
                  <c:v>1.6322613675892037</c:v>
                </c:pt>
                <c:pt idx="37">
                  <c:v>1.4907745578722518</c:v>
                </c:pt>
                <c:pt idx="38">
                  <c:v>1.1980913997792888</c:v>
                </c:pt>
                <c:pt idx="39">
                  <c:v>1.3107262671708306</c:v>
                </c:pt>
                <c:pt idx="40">
                  <c:v>1.3208889056284832</c:v>
                </c:pt>
                <c:pt idx="41">
                  <c:v>1.2205103396364692</c:v>
                </c:pt>
                <c:pt idx="42">
                  <c:v>0.98214571980706</c:v>
                </c:pt>
                <c:pt idx="43">
                  <c:v>1.1666514098783674</c:v>
                </c:pt>
                <c:pt idx="44">
                  <c:v>1.2468199607171098</c:v>
                </c:pt>
                <c:pt idx="45">
                  <c:v>1.1803121464823565</c:v>
                </c:pt>
                <c:pt idx="46">
                  <c:v>1.1827186615840692</c:v>
                </c:pt>
                <c:pt idx="47">
                  <c:v>1.31606494842762</c:v>
                </c:pt>
                <c:pt idx="48">
                  <c:v>1.3559502759519895</c:v>
                </c:pt>
                <c:pt idx="49">
                  <c:v>1.3441038927933067</c:v>
                </c:pt>
                <c:pt idx="50">
                  <c:v>1.303383502532621</c:v>
                </c:pt>
                <c:pt idx="51">
                  <c:v>1.1899114669673552</c:v>
                </c:pt>
              </c:numCache>
            </c:numRef>
          </c:xVal>
          <c:yVal>
            <c:numRef>
              <c:f>Sheet1!$B$109:$B$160</c:f>
              <c:numCache>
                <c:formatCode>General</c:formatCode>
                <c:ptCount val="52"/>
                <c:pt idx="0">
                  <c:v>0.2002652519893899</c:v>
                </c:pt>
                <c:pt idx="1">
                  <c:v>0.2024353120243531</c:v>
                </c:pt>
                <c:pt idx="2">
                  <c:v>0.21940928270042195</c:v>
                </c:pt>
                <c:pt idx="3">
                  <c:v>0.25241157556270094</c:v>
                </c:pt>
                <c:pt idx="4">
                  <c:v>0.21510673234811165</c:v>
                </c:pt>
                <c:pt idx="5">
                  <c:v>0.20593692022263452</c:v>
                </c:pt>
                <c:pt idx="6">
                  <c:v>0.20293398533007334</c:v>
                </c:pt>
                <c:pt idx="7">
                  <c:v>0.20717131474103587</c:v>
                </c:pt>
                <c:pt idx="8">
                  <c:v>0.25</c:v>
                </c:pt>
                <c:pt idx="9">
                  <c:v>0.21604938271604937</c:v>
                </c:pt>
                <c:pt idx="10">
                  <c:v>0.2686230248306998</c:v>
                </c:pt>
                <c:pt idx="11">
                  <c:v>0.2400611620795107</c:v>
                </c:pt>
                <c:pt idx="12">
                  <c:v>0.2488619119878604</c:v>
                </c:pt>
                <c:pt idx="13">
                  <c:v>0.25477707006369427</c:v>
                </c:pt>
                <c:pt idx="14">
                  <c:v>0.26306306306306304</c:v>
                </c:pt>
                <c:pt idx="15">
                  <c:v>0.23339011925042588</c:v>
                </c:pt>
                <c:pt idx="16">
                  <c:v>0.23228346456692914</c:v>
                </c:pt>
                <c:pt idx="17">
                  <c:v>0.20704845814977973</c:v>
                </c:pt>
                <c:pt idx="18">
                  <c:v>0.19533527696793002</c:v>
                </c:pt>
                <c:pt idx="19">
                  <c:v>0.16590909090909092</c:v>
                </c:pt>
                <c:pt idx="20">
                  <c:v>0.1675531914893617</c:v>
                </c:pt>
                <c:pt idx="21">
                  <c:v>0.24187725631768953</c:v>
                </c:pt>
                <c:pt idx="22">
                  <c:v>0.21810699588477367</c:v>
                </c:pt>
                <c:pt idx="23">
                  <c:v>0.19658119658119658</c:v>
                </c:pt>
                <c:pt idx="24">
                  <c:v>0.24050632911392406</c:v>
                </c:pt>
                <c:pt idx="25">
                  <c:v>0.3148936170212766</c:v>
                </c:pt>
                <c:pt idx="26">
                  <c:v>0.29856115107913667</c:v>
                </c:pt>
                <c:pt idx="27">
                  <c:v>0.29411764705882354</c:v>
                </c:pt>
                <c:pt idx="28">
                  <c:v>0.2691029900332226</c:v>
                </c:pt>
                <c:pt idx="29">
                  <c:v>0.2661596958174905</c:v>
                </c:pt>
                <c:pt idx="30">
                  <c:v>0.381294964028777</c:v>
                </c:pt>
                <c:pt idx="31">
                  <c:v>0.42857142857142855</c:v>
                </c:pt>
                <c:pt idx="32">
                  <c:v>0.3359375</c:v>
                </c:pt>
                <c:pt idx="33">
                  <c:v>0.34300791556728233</c:v>
                </c:pt>
                <c:pt idx="34">
                  <c:v>0.32</c:v>
                </c:pt>
                <c:pt idx="35">
                  <c:v>0.35490605427974947</c:v>
                </c:pt>
                <c:pt idx="36">
                  <c:v>0.2798507462686567</c:v>
                </c:pt>
                <c:pt idx="37">
                  <c:v>0.24232081911262798</c:v>
                </c:pt>
                <c:pt idx="38">
                  <c:v>0.3021276595744681</c:v>
                </c:pt>
                <c:pt idx="39">
                  <c:v>0.2876712328767123</c:v>
                </c:pt>
                <c:pt idx="40">
                  <c:v>0.29314420803782504</c:v>
                </c:pt>
                <c:pt idx="41">
                  <c:v>0.2736220472440945</c:v>
                </c:pt>
                <c:pt idx="42">
                  <c:v>0.30617283950617286</c:v>
                </c:pt>
                <c:pt idx="43">
                  <c:v>0.22782258064516128</c:v>
                </c:pt>
                <c:pt idx="44">
                  <c:v>0.19709208400646203</c:v>
                </c:pt>
                <c:pt idx="45">
                  <c:v>0.23690773067331672</c:v>
                </c:pt>
                <c:pt idx="46">
                  <c:v>0.22145328719723184</c:v>
                </c:pt>
                <c:pt idx="47">
                  <c:v>0.21225710014947682</c:v>
                </c:pt>
                <c:pt idx="48">
                  <c:v>0.205607476635514</c:v>
                </c:pt>
                <c:pt idx="49">
                  <c:v>0.23076923076923078</c:v>
                </c:pt>
                <c:pt idx="50">
                  <c:v>0.21892542101042503</c:v>
                </c:pt>
                <c:pt idx="51">
                  <c:v>0.218077474892395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309121740466718</c:v>
                </c:pt>
              </c:numCache>
            </c:numRef>
          </c:xVal>
          <c:yVal>
            <c:numRef>
              <c:f>Sheet1!$B$163:$B$164</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309121740466718</c:v>
                </c:pt>
                <c:pt idx="1">
                  <c:v>0.06309121740466718</c:v>
                </c:pt>
              </c:numCache>
            </c:numRef>
          </c:xVal>
          <c:yVal>
            <c:numRef>
              <c:f>Sheet1!$B$167:$B$168</c:f>
              <c:numCache>
                <c:formatCode>General</c:formatCode>
                <c:ptCount val="2"/>
                <c:pt idx="0">
                  <c:v>0.3005262639044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6309121740466718</c:v>
                </c:pt>
              </c:numCache>
            </c:numRef>
          </c:xVal>
          <c:yVal>
            <c:numRef>
              <c:f>Sheet1!$B$171:$B$172</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6309121740466718</c:v>
                </c:pt>
                <c:pt idx="1">
                  <c:v>0.06309121740466718</c:v>
                </c:pt>
              </c:numCache>
            </c:numRef>
          </c:xVal>
          <c:yVal>
            <c:numRef>
              <c:f>Sheet1!$B$175:$B$176</c:f>
              <c:numCache>
                <c:formatCode>General</c:formatCode>
                <c:ptCount val="2"/>
                <c:pt idx="0">
                  <c:v>0.3005262639044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925170369183312</c:v>
                </c:pt>
              </c:numCache>
            </c:numRef>
          </c:xVal>
          <c:yVal>
            <c:numRef>
              <c:f>Sheet1!$B$179:$B$180</c:f>
              <c:numCache>
                <c:formatCode>General</c:formatCode>
                <c:ptCount val="2"/>
                <c:pt idx="0">
                  <c:v>0.24073251643415536</c:v>
                </c:pt>
                <c:pt idx="1">
                  <c:v>0.240732516434155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925170369183312</c:v>
                </c:pt>
                <c:pt idx="1">
                  <c:v>1.5925170369183312</c:v>
                </c:pt>
              </c:numCache>
            </c:numRef>
          </c:xVal>
          <c:yVal>
            <c:numRef>
              <c:f>Sheet1!$B$183:$B$184</c:f>
              <c:numCache>
                <c:formatCode>General</c:formatCode>
                <c:ptCount val="2"/>
                <c:pt idx="0">
                  <c:v>0.240732516434155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147552681061989</c:v>
                </c:pt>
                <c:pt idx="1">
                  <c:v>0.9113049701214286</c:v>
                </c:pt>
                <c:pt idx="2">
                  <c:v>0.8672145545291715</c:v>
                </c:pt>
                <c:pt idx="3">
                  <c:v>0.8828786548186377</c:v>
                </c:pt>
                <c:pt idx="4">
                  <c:v>0.9715118990905893</c:v>
                </c:pt>
                <c:pt idx="5">
                  <c:v>1.0469911690994749</c:v>
                </c:pt>
                <c:pt idx="6">
                  <c:v>1.1043695207901925</c:v>
                </c:pt>
                <c:pt idx="7">
                  <c:v>1.0748020100675768</c:v>
                </c:pt>
                <c:pt idx="8">
                  <c:v>1.1517735774369124</c:v>
                </c:pt>
                <c:pt idx="9">
                  <c:v>1.1527590744500118</c:v>
                </c:pt>
                <c:pt idx="10">
                  <c:v>1.354455000265864</c:v>
                </c:pt>
                <c:pt idx="11">
                  <c:v>1.2333923574617898</c:v>
                </c:pt>
                <c:pt idx="12">
                  <c:v>1.1855904225045508</c:v>
                </c:pt>
                <c:pt idx="13">
                  <c:v>1.161289461064077</c:v>
                </c:pt>
                <c:pt idx="14">
                  <c:v>1.1471670429507659</c:v>
                </c:pt>
                <c:pt idx="15">
                  <c:v>1.1861029519914739</c:v>
                </c:pt>
                <c:pt idx="16">
                  <c:v>1.209209323399295</c:v>
                </c:pt>
                <c:pt idx="17">
                  <c:v>1.3617024333595826</c:v>
                </c:pt>
                <c:pt idx="18">
                  <c:v>1.477704009794576</c:v>
                </c:pt>
                <c:pt idx="19">
                  <c:v>1.899757785195621</c:v>
                </c:pt>
                <c:pt idx="20">
                  <c:v>2.0812022131851964</c:v>
                </c:pt>
                <c:pt idx="21">
                  <c:v>1.9488999114399035</c:v>
                </c:pt>
                <c:pt idx="22">
                  <c:v>1.6992558196280811</c:v>
                </c:pt>
                <c:pt idx="23">
                  <c:v>2.189658792338574</c:v>
                </c:pt>
                <c:pt idx="24">
                  <c:v>1.7411732298944338</c:v>
                </c:pt>
                <c:pt idx="25">
                  <c:v>1.520039512195122</c:v>
                </c:pt>
                <c:pt idx="26">
                  <c:v>1.5263915933564525</c:v>
                </c:pt>
                <c:pt idx="27">
                  <c:v>1.4129774894115528</c:v>
                </c:pt>
                <c:pt idx="28">
                  <c:v>1.2534251929853726</c:v>
                </c:pt>
                <c:pt idx="29">
                  <c:v>1.3915993441810952</c:v>
                </c:pt>
                <c:pt idx="30">
                  <c:v>0.8766442120725049</c:v>
                </c:pt>
                <c:pt idx="31">
                  <c:v>0.810259759243313</c:v>
                </c:pt>
                <c:pt idx="32">
                  <c:v>1.1542624309392266</c:v>
                </c:pt>
                <c:pt idx="33">
                  <c:v>1.407591697085776</c:v>
                </c:pt>
                <c:pt idx="34">
                  <c:v>1.4902679477379606</c:v>
                </c:pt>
                <c:pt idx="35">
                  <c:v>1.5315918839666882</c:v>
                </c:pt>
                <c:pt idx="36">
                  <c:v>1.6322613675892037</c:v>
                </c:pt>
                <c:pt idx="37">
                  <c:v>1.4907745578722518</c:v>
                </c:pt>
                <c:pt idx="38">
                  <c:v>1.1980913997792888</c:v>
                </c:pt>
                <c:pt idx="39">
                  <c:v>1.3107262671708306</c:v>
                </c:pt>
                <c:pt idx="40">
                  <c:v>1.3208889056284832</c:v>
                </c:pt>
                <c:pt idx="41">
                  <c:v>1.2205103396364692</c:v>
                </c:pt>
                <c:pt idx="42">
                  <c:v>0.98214571980706</c:v>
                </c:pt>
                <c:pt idx="43">
                  <c:v>1.1666514098783674</c:v>
                </c:pt>
                <c:pt idx="44">
                  <c:v>1.2468199607171098</c:v>
                </c:pt>
                <c:pt idx="45">
                  <c:v>1.1803121464823565</c:v>
                </c:pt>
                <c:pt idx="46">
                  <c:v>1.1827186615840692</c:v>
                </c:pt>
                <c:pt idx="47">
                  <c:v>1.31606494842762</c:v>
                </c:pt>
                <c:pt idx="48">
                  <c:v>1.3559502759519895</c:v>
                </c:pt>
                <c:pt idx="49">
                  <c:v>1.3441038927933067</c:v>
                </c:pt>
                <c:pt idx="50">
                  <c:v>1.303383502532621</c:v>
                </c:pt>
                <c:pt idx="51">
                  <c:v>1.1899114669673552</c:v>
                </c:pt>
                <c:pt idx="52">
                  <c:v>0.06309121740466718</c:v>
                </c:pt>
                <c:pt idx="53">
                  <c:v>0.06309121740466718</c:v>
                </c:pt>
                <c:pt idx="54">
                  <c:v>1.5925170369183312</c:v>
                </c:pt>
              </c:numCache>
            </c:numRef>
          </c:xVal>
          <c:yVal>
            <c:numRef>
              <c:f>Sheet1!$B$187:$B$241</c:f>
              <c:numCache>
                <c:formatCode>General</c:formatCode>
                <c:ptCount val="55"/>
                <c:pt idx="0">
                  <c:v>0.2672299872707812</c:v>
                </c:pt>
                <c:pt idx="1">
                  <c:v>0.26736487857689506</c:v>
                </c:pt>
                <c:pt idx="2">
                  <c:v>0.2690886177358301</c:v>
                </c:pt>
                <c:pt idx="3">
                  <c:v>0.2684762210801002</c:v>
                </c:pt>
                <c:pt idx="4">
                  <c:v>0.26501105542260417</c:v>
                </c:pt>
                <c:pt idx="5">
                  <c:v>0.2620601516569115</c:v>
                </c:pt>
                <c:pt idx="6">
                  <c:v>0.2598169132942002</c:v>
                </c:pt>
                <c:pt idx="7">
                  <c:v>0.26097287146289017</c:v>
                </c:pt>
                <c:pt idx="8">
                  <c:v>0.25796362550734897</c:v>
                </c:pt>
                <c:pt idx="9">
                  <c:v>0.2579250969571034</c:v>
                </c:pt>
                <c:pt idx="10">
                  <c:v>0.25003968329392406</c:v>
                </c:pt>
                <c:pt idx="11">
                  <c:v>0.2547726942053067</c:v>
                </c:pt>
                <c:pt idx="12">
                  <c:v>0.2566415372645481</c:v>
                </c:pt>
                <c:pt idx="13">
                  <c:v>0.25759159677911686</c:v>
                </c:pt>
                <c:pt idx="14">
                  <c:v>0.25814372051834156</c:v>
                </c:pt>
                <c:pt idx="15">
                  <c:v>0.256621499641068</c:v>
                </c:pt>
                <c:pt idx="16">
                  <c:v>0.2557181432838747</c:v>
                </c:pt>
                <c:pt idx="17">
                  <c:v>0.24975634089268803</c:v>
                </c:pt>
                <c:pt idx="18">
                  <c:v>0.24522119516740465</c:v>
                </c:pt>
                <c:pt idx="19">
                  <c:v>0.22872076961997764</c:v>
                </c:pt>
                <c:pt idx="20">
                  <c:v>0.22162709945391268</c:v>
                </c:pt>
                <c:pt idx="21">
                  <c:v>0.226799531041871</c:v>
                </c:pt>
                <c:pt idx="22">
                  <c:v>0.23655950474754822</c:v>
                </c:pt>
                <c:pt idx="23">
                  <c:v>0.21738692956620484</c:v>
                </c:pt>
                <c:pt idx="24">
                  <c:v>0.23492072043248394</c:v>
                </c:pt>
                <c:pt idx="25">
                  <c:v>0.24356606530934485</c:v>
                </c:pt>
                <c:pt idx="26">
                  <c:v>0.24331772718661593</c:v>
                </c:pt>
                <c:pt idx="27">
                  <c:v>0.24775171424523834</c:v>
                </c:pt>
                <c:pt idx="28">
                  <c:v>0.253989499431734</c:v>
                </c:pt>
                <c:pt idx="29">
                  <c:v>0.2485875046451277</c:v>
                </c:pt>
                <c:pt idx="30">
                  <c:v>0.268719960063988</c:v>
                </c:pt>
                <c:pt idx="31">
                  <c:v>0.27131529692686507</c:v>
                </c:pt>
                <c:pt idx="32">
                  <c:v>0.2578663224045053</c:v>
                </c:pt>
                <c:pt idx="33">
                  <c:v>0.247962274772036</c:v>
                </c:pt>
                <c:pt idx="34">
                  <c:v>0.24473000107153303</c:v>
                </c:pt>
                <c:pt idx="35">
                  <c:v>0.24311441895188296</c:v>
                </c:pt>
                <c:pt idx="36">
                  <c:v>0.23917868986657187</c:v>
                </c:pt>
                <c:pt idx="37">
                  <c:v>0.24471019486841472</c:v>
                </c:pt>
                <c:pt idx="38">
                  <c:v>0.256152804650805</c:v>
                </c:pt>
                <c:pt idx="39">
                  <c:v>0.2517492822757891</c:v>
                </c:pt>
                <c:pt idx="40">
                  <c:v>0.2513519683101064</c:v>
                </c:pt>
                <c:pt idx="41">
                  <c:v>0.25527632380991183</c:v>
                </c:pt>
                <c:pt idx="42">
                  <c:v>0.2645953203261699</c:v>
                </c:pt>
                <c:pt idx="43">
                  <c:v>0.25738196842757505</c:v>
                </c:pt>
                <c:pt idx="44">
                  <c:v>0.25424773463686245</c:v>
                </c:pt>
                <c:pt idx="45">
                  <c:v>0.256847894382051</c:v>
                </c:pt>
                <c:pt idx="46">
                  <c:v>0.2567538103444735</c:v>
                </c:pt>
                <c:pt idx="47">
                  <c:v>0.25154056358226384</c:v>
                </c:pt>
                <c:pt idx="48">
                  <c:v>0.24998122466478767</c:v>
                </c:pt>
                <c:pt idx="49">
                  <c:v>0.25044436555987953</c:v>
                </c:pt>
                <c:pt idx="50">
                  <c:v>0.2520363517164307</c:v>
                </c:pt>
                <c:pt idx="51">
                  <c:v>0.25647260364376034</c:v>
                </c:pt>
                <c:pt idx="52">
                  <c:v>0.3005262639044102</c:v>
                </c:pt>
                <c:pt idx="53">
                  <c:v>0.3005262639044102</c:v>
                </c:pt>
                <c:pt idx="54">
                  <c:v>0.240732516434155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42857142857142"/>
          <c:min val="0.09581749049429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5.3446</c:v>
                </c:pt>
                <c:pt idx="1">
                  <c:v>935.9866</c:v>
                </c:pt>
                <c:pt idx="2">
                  <c:v>925.7643</c:v>
                </c:pt>
                <c:pt idx="3">
                  <c:v>937.8413</c:v>
                </c:pt>
                <c:pt idx="4">
                  <c:v>946.1622</c:v>
                </c:pt>
                <c:pt idx="5">
                  <c:v>950.7973</c:v>
                </c:pt>
                <c:pt idx="6">
                  <c:v>899.8921</c:v>
                </c:pt>
                <c:pt idx="7">
                  <c:v>934.713</c:v>
                </c:pt>
                <c:pt idx="8">
                  <c:v>965.0926</c:v>
                </c:pt>
                <c:pt idx="9">
                  <c:v>908.3333</c:v>
                </c:pt>
                <c:pt idx="10">
                  <c:v>938.3736</c:v>
                </c:pt>
                <c:pt idx="11">
                  <c:v>966.9609</c:v>
                </c:pt>
                <c:pt idx="12">
                  <c:v>976.2888</c:v>
                </c:pt>
                <c:pt idx="13">
                  <c:v>954.4663</c:v>
                </c:pt>
                <c:pt idx="14">
                  <c:v>977.9349</c:v>
                </c:pt>
                <c:pt idx="15">
                  <c:v>909.6268</c:v>
                </c:pt>
                <c:pt idx="16">
                  <c:v>923.525</c:v>
                </c:pt>
                <c:pt idx="17">
                  <c:v>977.5096</c:v>
                </c:pt>
                <c:pt idx="18">
                  <c:v>1013.2105</c:v>
                </c:pt>
                <c:pt idx="19">
                  <c:v>1123.1321</c:v>
                </c:pt>
                <c:pt idx="20">
                  <c:v>1040.5614</c:v>
                </c:pt>
                <c:pt idx="21">
                  <c:v>972.2222</c:v>
                </c:pt>
                <c:pt idx="22">
                  <c:v>971.4828</c:v>
                </c:pt>
                <c:pt idx="23">
                  <c:v>939.9545</c:v>
                </c:pt>
                <c:pt idx="24">
                  <c:v>858.2361</c:v>
                </c:pt>
                <c:pt idx="25">
                  <c:v>867.5882</c:v>
                </c:pt>
                <c:pt idx="26">
                  <c:v>897.1413</c:v>
                </c:pt>
                <c:pt idx="27">
                  <c:v>898.433</c:v>
                </c:pt>
                <c:pt idx="28">
                  <c:v>941.3659</c:v>
                </c:pt>
                <c:pt idx="29">
                  <c:v>872.8462</c:v>
                </c:pt>
                <c:pt idx="30">
                  <c:v>931.4646</c:v>
                </c:pt>
                <c:pt idx="31">
                  <c:v>849.2667</c:v>
                </c:pt>
                <c:pt idx="32">
                  <c:v>798.4737</c:v>
                </c:pt>
                <c:pt idx="33">
                  <c:v>762.9106</c:v>
                </c:pt>
                <c:pt idx="34">
                  <c:v>857.5672</c:v>
                </c:pt>
                <c:pt idx="35">
                  <c:v>936.7589</c:v>
                </c:pt>
                <c:pt idx="36">
                  <c:v>1050.382</c:v>
                </c:pt>
                <c:pt idx="37">
                  <c:v>990.1831</c:v>
                </c:pt>
                <c:pt idx="38">
                  <c:v>1027.0227</c:v>
                </c:pt>
                <c:pt idx="39">
                  <c:v>1067.9</c:v>
                </c:pt>
                <c:pt idx="40">
                  <c:v>1143.2063</c:v>
                </c:pt>
                <c:pt idx="41">
                  <c:v>1060.4923</c:v>
                </c:pt>
                <c:pt idx="42">
                  <c:v>1126.1972</c:v>
                </c:pt>
                <c:pt idx="43">
                  <c:v>1191.1556</c:v>
                </c:pt>
                <c:pt idx="44">
                  <c:v>1086.8473</c:v>
                </c:pt>
                <c:pt idx="45">
                  <c:v>987.269</c:v>
                </c:pt>
                <c:pt idx="46">
                  <c:v>1103.6508</c:v>
                </c:pt>
                <c:pt idx="47">
                  <c:v>1081.6183</c:v>
                </c:pt>
                <c:pt idx="48">
                  <c:v>1068.0945</c:v>
                </c:pt>
                <c:pt idx="49">
                  <c:v>1063.4545</c:v>
                </c:pt>
                <c:pt idx="50">
                  <c:v>1040.2872</c:v>
                </c:pt>
                <c:pt idx="51">
                  <c:v>1115.4848</c:v>
                </c:pt>
                <c:pt idx="52">
                  <c:v>1043.2143</c:v>
                </c:pt>
                <c:pt idx="53">
                  <c:v>1065.4815</c:v>
                </c:pt>
                <c:pt idx="54">
                  <c:v>1116.5517</c:v>
                </c:pt>
                <c:pt idx="55">
                  <c:v>1050.1545</c:v>
                </c:pt>
                <c:pt idx="56">
                  <c:v>1123.0472</c:v>
                </c:pt>
                <c:pt idx="57">
                  <c:v>1105.5481</c:v>
                </c:pt>
                <c:pt idx="58">
                  <c:v>1129.6881</c:v>
                </c:pt>
                <c:pt idx="59">
                  <c:v>1081.9249</c:v>
                </c:pt>
                <c:pt idx="60">
                  <c:v>1169.0496</c:v>
                </c:pt>
                <c:pt idx="61">
                  <c:v>1107.4483</c:v>
                </c:pt>
                <c:pt idx="62">
                  <c:v>1133.3944</c:v>
                </c:pt>
                <c:pt idx="63">
                  <c:v>1198.8144</c:v>
                </c:pt>
                <c:pt idx="64">
                  <c:v>1194.8333</c:v>
                </c:pt>
                <c:pt idx="65">
                  <c:v>1191.9057</c:v>
                </c:pt>
                <c:pt idx="66">
                  <c:v>1207.4634</c:v>
                </c:pt>
                <c:pt idx="67">
                  <c:v>1210.0921</c:v>
                </c:pt>
                <c:pt idx="68">
                  <c:v>1240.4153</c:v>
                </c:pt>
                <c:pt idx="69">
                  <c:v>1240.1341</c:v>
                </c:pt>
                <c:pt idx="70">
                  <c:v>1050.3375</c:v>
                </c:pt>
                <c:pt idx="71">
                  <c:v>1147.6667</c:v>
                </c:pt>
                <c:pt idx="72">
                  <c:v>1387.6714</c:v>
                </c:pt>
                <c:pt idx="73">
                  <c:v>1178.1842</c:v>
                </c:pt>
                <c:pt idx="74">
                  <c:v>1250.8846</c:v>
                </c:pt>
                <c:pt idx="75">
                  <c:v>963.0211</c:v>
                </c:pt>
                <c:pt idx="76">
                  <c:v>977.0</c:v>
                </c:pt>
                <c:pt idx="77">
                  <c:v>1089.5231</c:v>
                </c:pt>
                <c:pt idx="78">
                  <c:v>1115.6604</c:v>
                </c:pt>
                <c:pt idx="79">
                  <c:v>979.9815</c:v>
                </c:pt>
                <c:pt idx="80">
                  <c:v>1086.4082</c:v>
                </c:pt>
                <c:pt idx="81">
                  <c:v>1080.5921</c:v>
                </c:pt>
                <c:pt idx="82">
                  <c:v>1051.3529</c:v>
                </c:pt>
                <c:pt idx="83">
                  <c:v>924.7344</c:v>
                </c:pt>
                <c:pt idx="84">
                  <c:v>1082.46</c:v>
                </c:pt>
                <c:pt idx="85">
                  <c:v>1039.2698</c:v>
                </c:pt>
                <c:pt idx="86">
                  <c:v>1147.2301</c:v>
                </c:pt>
                <c:pt idx="87">
                  <c:v>1130.3043</c:v>
                </c:pt>
                <c:pt idx="88">
                  <c:v>1175.9551</c:v>
                </c:pt>
                <c:pt idx="89">
                  <c:v>1115.1081</c:v>
                </c:pt>
                <c:pt idx="90">
                  <c:v>1225.9839</c:v>
                </c:pt>
                <c:pt idx="91">
                  <c:v>1193.7414</c:v>
                </c:pt>
                <c:pt idx="92">
                  <c:v>1114.5233</c:v>
                </c:pt>
                <c:pt idx="93">
                  <c:v>1128.7978</c:v>
                </c:pt>
                <c:pt idx="94">
                  <c:v>1246.6389</c:v>
                </c:pt>
                <c:pt idx="95">
                  <c:v>1239.1481</c:v>
                </c:pt>
                <c:pt idx="96">
                  <c:v>1214.6422</c:v>
                </c:pt>
                <c:pt idx="97">
                  <c:v>1207.2614</c:v>
                </c:pt>
                <c:pt idx="98">
                  <c:v>1172.445</c:v>
                </c:pt>
                <c:pt idx="99">
                  <c:v>1135.6059</c:v>
                </c:pt>
                <c:pt idx="100">
                  <c:v>1142.8747</c:v>
                </c:pt>
                <c:pt idx="101">
                  <c:v>1104.3365</c:v>
                </c:pt>
                <c:pt idx="102">
                  <c:v>1160.5304</c:v>
                </c:pt>
                <c:pt idx="103">
                  <c:v>1081.3358</c:v>
                </c:pt>
                <c:pt idx="104">
                  <c:v>1096.1338</c:v>
                </c:pt>
              </c:numCache>
            </c:numRef>
          </c:xVal>
          <c:yVal>
            <c:numRef>
              <c:f>Sheet1!$B$2:$B$106</c:f>
              <c:numCache>
                <c:formatCode>General</c:formatCode>
                <c:ptCount val="105"/>
                <c:pt idx="0">
                  <c:v>0.17452830188679244</c:v>
                </c:pt>
                <c:pt idx="1">
                  <c:v>0.18304668304668303</c:v>
                </c:pt>
                <c:pt idx="2">
                  <c:v>0.17676767676767677</c:v>
                </c:pt>
                <c:pt idx="3">
                  <c:v>0.1880597014925373</c:v>
                </c:pt>
                <c:pt idx="4">
                  <c:v>0.20441988950276244</c:v>
                </c:pt>
                <c:pt idx="5">
                  <c:v>0.22356495468277945</c:v>
                </c:pt>
                <c:pt idx="6">
                  <c:v>0.31376975169300225</c:v>
                </c:pt>
                <c:pt idx="7">
                  <c:v>0.29110512129380056</c:v>
                </c:pt>
                <c:pt idx="8">
                  <c:v>0.2727272727272727</c:v>
                </c:pt>
                <c:pt idx="9">
                  <c:v>0.270935960591133</c:v>
                </c:pt>
                <c:pt idx="10">
                  <c:v>0.29073482428115016</c:v>
                </c:pt>
                <c:pt idx="11">
                  <c:v>0.2448700410396717</c:v>
                </c:pt>
                <c:pt idx="12">
                  <c:v>0.22888616891064872</c:v>
                </c:pt>
                <c:pt idx="13">
                  <c:v>0.22057001239157373</c:v>
                </c:pt>
                <c:pt idx="14">
                  <c:v>0.20143027413587605</c:v>
                </c:pt>
                <c:pt idx="15">
                  <c:v>0.19398907103825136</c:v>
                </c:pt>
                <c:pt idx="16">
                  <c:v>0.17804154302670624</c:v>
                </c:pt>
                <c:pt idx="17">
                  <c:v>0.16828478964401294</c:v>
                </c:pt>
                <c:pt idx="18">
                  <c:v>0.16414686825053995</c:v>
                </c:pt>
                <c:pt idx="19">
                  <c:v>0.14804469273743018</c:v>
                </c:pt>
                <c:pt idx="20">
                  <c:v>0.15159574468085107</c:v>
                </c:pt>
                <c:pt idx="21">
                  <c:v>0.20396600566572237</c:v>
                </c:pt>
                <c:pt idx="22">
                  <c:v>0.1746987951807229</c:v>
                </c:pt>
                <c:pt idx="23">
                  <c:v>0.2043343653250774</c:v>
                </c:pt>
                <c:pt idx="24">
                  <c:v>0.2028169014084507</c:v>
                </c:pt>
                <c:pt idx="25">
                  <c:v>0.19428571428571428</c:v>
                </c:pt>
                <c:pt idx="26">
                  <c:v>0.22115384615384615</c:v>
                </c:pt>
                <c:pt idx="27">
                  <c:v>0.2493573264781491</c:v>
                </c:pt>
                <c:pt idx="28">
                  <c:v>0.20654911838790932</c:v>
                </c:pt>
                <c:pt idx="29">
                  <c:v>0.24528301886792453</c:v>
                </c:pt>
                <c:pt idx="30">
                  <c:v>0.2512690355329949</c:v>
                </c:pt>
                <c:pt idx="31">
                  <c:v>0.2148997134670487</c:v>
                </c:pt>
                <c:pt idx="32">
                  <c:v>0.2289156626506024</c:v>
                </c:pt>
                <c:pt idx="33">
                  <c:v>0.2551867219917012</c:v>
                </c:pt>
                <c:pt idx="34">
                  <c:v>0.2571976967370441</c:v>
                </c:pt>
                <c:pt idx="35">
                  <c:v>0.2353923205342237</c:v>
                </c:pt>
                <c:pt idx="36">
                  <c:v>0.15008431703204048</c:v>
                </c:pt>
                <c:pt idx="37">
                  <c:v>0.15074309978768577</c:v>
                </c:pt>
                <c:pt idx="38">
                  <c:v>0.16029143897996356</c:v>
                </c:pt>
                <c:pt idx="39">
                  <c:v>0.1271186440677966</c:v>
                </c:pt>
                <c:pt idx="40">
                  <c:v>0.11977186311787072</c:v>
                </c:pt>
                <c:pt idx="41">
                  <c:v>0.1294820717131474</c:v>
                </c:pt>
                <c:pt idx="42">
                  <c:v>0.125</c:v>
                </c:pt>
                <c:pt idx="43">
                  <c:v>0.12622720897615708</c:v>
                </c:pt>
                <c:pt idx="44">
                  <c:v>0.1328600405679513</c:v>
                </c:pt>
                <c:pt idx="45">
                  <c:v>0.14384920634920634</c:v>
                </c:pt>
                <c:pt idx="46">
                  <c:v>0.12450592885375494</c:v>
                </c:pt>
                <c:pt idx="47">
                  <c:v>0.12428842504743833</c:v>
                </c:pt>
                <c:pt idx="48">
                  <c:v>0.14555873925501434</c:v>
                </c:pt>
                <c:pt idx="49">
                  <c:v>0.17146282973621102</c:v>
                </c:pt>
                <c:pt idx="50">
                  <c:v>0.16404886561954624</c:v>
                </c:pt>
                <c:pt idx="51">
                  <c:v>0.12579415501905972</c:v>
                </c:pt>
                <c:pt idx="52">
                  <c:v>0.15005359056806003</c:v>
                </c:pt>
                <c:pt idx="53">
                  <c:v>0.16646115906288533</c:v>
                </c:pt>
                <c:pt idx="54">
                  <c:v>0.17443609022556392</c:v>
                </c:pt>
                <c:pt idx="55">
                  <c:v>0.18272425249169436</c:v>
                </c:pt>
                <c:pt idx="56">
                  <c:v>0.19924812030075187</c:v>
                </c:pt>
                <c:pt idx="57">
                  <c:v>0.19622641509433963</c:v>
                </c:pt>
                <c:pt idx="58">
                  <c:v>0.21330724070450097</c:v>
                </c:pt>
                <c:pt idx="59">
                  <c:v>0.17653061224489797</c:v>
                </c:pt>
                <c:pt idx="60">
                  <c:v>0.17893401015228427</c:v>
                </c:pt>
                <c:pt idx="61">
                  <c:v>0.22445820433436534</c:v>
                </c:pt>
                <c:pt idx="62">
                  <c:v>0.21812596006144394</c:v>
                </c:pt>
                <c:pt idx="63">
                  <c:v>0.20797011207970112</c:v>
                </c:pt>
                <c:pt idx="64">
                  <c:v>0.20209059233449478</c:v>
                </c:pt>
                <c:pt idx="65">
                  <c:v>0.2131367292225201</c:v>
                </c:pt>
                <c:pt idx="66">
                  <c:v>0.23395149786019973</c:v>
                </c:pt>
                <c:pt idx="67">
                  <c:v>0.2096551724137931</c:v>
                </c:pt>
                <c:pt idx="68">
                  <c:v>0.191869918699187</c:v>
                </c:pt>
                <c:pt idx="69">
                  <c:v>0.17903930131004367</c:v>
                </c:pt>
                <c:pt idx="70">
                  <c:v>0.17278617710583152</c:v>
                </c:pt>
                <c:pt idx="71">
                  <c:v>0.16666666666666666</c:v>
                </c:pt>
                <c:pt idx="72">
                  <c:v>0.1483050847457627</c:v>
                </c:pt>
                <c:pt idx="73">
                  <c:v>0.17633410672853828</c:v>
                </c:pt>
                <c:pt idx="74">
                  <c:v>0.11981566820276497</c:v>
                </c:pt>
                <c:pt idx="75">
                  <c:v>0.21788990825688073</c:v>
                </c:pt>
                <c:pt idx="76">
                  <c:v>0.20082815734989648</c:v>
                </c:pt>
                <c:pt idx="77">
                  <c:v>0.16290726817042606</c:v>
                </c:pt>
                <c:pt idx="78">
                  <c:v>0.13486005089058525</c:v>
                </c:pt>
                <c:pt idx="79">
                  <c:v>0.1447721179624665</c:v>
                </c:pt>
                <c:pt idx="80">
                  <c:v>0.13920454545454544</c:v>
                </c:pt>
                <c:pt idx="81">
                  <c:v>0.16033755274261605</c:v>
                </c:pt>
                <c:pt idx="82">
                  <c:v>0.17662337662337663</c:v>
                </c:pt>
                <c:pt idx="83">
                  <c:v>0.16494845360824742</c:v>
                </c:pt>
                <c:pt idx="84">
                  <c:v>0.1440922190201729</c:v>
                </c:pt>
                <c:pt idx="85">
                  <c:v>0.16237113402061856</c:v>
                </c:pt>
                <c:pt idx="86">
                  <c:v>0.1934931506849315</c:v>
                </c:pt>
                <c:pt idx="87">
                  <c:v>0.19896193771626297</c:v>
                </c:pt>
                <c:pt idx="88">
                  <c:v>0.16984732824427481</c:v>
                </c:pt>
                <c:pt idx="89">
                  <c:v>0.16666666666666666</c:v>
                </c:pt>
                <c:pt idx="90">
                  <c:v>0.16489361702127658</c:v>
                </c:pt>
                <c:pt idx="91">
                  <c:v>0.14987080103359174</c:v>
                </c:pt>
                <c:pt idx="92">
                  <c:v>0.16135084427767354</c:v>
                </c:pt>
                <c:pt idx="93">
                  <c:v>0.16512059369202226</c:v>
                </c:pt>
                <c:pt idx="94">
                  <c:v>0.13636363636363635</c:v>
                </c:pt>
                <c:pt idx="95">
                  <c:v>0.12796208530805686</c:v>
                </c:pt>
                <c:pt idx="96">
                  <c:v>0.12960760998810938</c:v>
                </c:pt>
                <c:pt idx="97">
                  <c:v>0.15315315315315314</c:v>
                </c:pt>
                <c:pt idx="98">
                  <c:v>0.17566478646253023</c:v>
                </c:pt>
                <c:pt idx="99">
                  <c:v>0.17002881844380405</c:v>
                </c:pt>
                <c:pt idx="100">
                  <c:v>0.1724624060150376</c:v>
                </c:pt>
                <c:pt idx="101">
                  <c:v>0.19980787704130643</c:v>
                </c:pt>
                <c:pt idx="102">
                  <c:v>0.17857142857142858</c:v>
                </c:pt>
                <c:pt idx="103">
                  <c:v>0.1900709219858156</c:v>
                </c:pt>
                <c:pt idx="104">
                  <c:v>0.210370370370370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0.7152</c:v>
                </c:pt>
                <c:pt idx="1">
                  <c:v>1109.1429</c:v>
                </c:pt>
                <c:pt idx="2">
                  <c:v>1077.2756</c:v>
                </c:pt>
                <c:pt idx="3">
                  <c:v>1060.6242</c:v>
                </c:pt>
                <c:pt idx="4">
                  <c:v>1151.6031</c:v>
                </c:pt>
                <c:pt idx="5">
                  <c:v>1223.1712</c:v>
                </c:pt>
                <c:pt idx="6">
                  <c:v>1140.494</c:v>
                </c:pt>
                <c:pt idx="7">
                  <c:v>1246.9423</c:v>
                </c:pt>
                <c:pt idx="8">
                  <c:v>1309.3506</c:v>
                </c:pt>
                <c:pt idx="9">
                  <c:v>1237.7286</c:v>
                </c:pt>
                <c:pt idx="10">
                  <c:v>1301.6555</c:v>
                </c:pt>
                <c:pt idx="11">
                  <c:v>1243.1274</c:v>
                </c:pt>
                <c:pt idx="12">
                  <c:v>1165.5</c:v>
                </c:pt>
                <c:pt idx="13">
                  <c:v>1200.1188</c:v>
                </c:pt>
                <c:pt idx="14">
                  <c:v>1160.274</c:v>
                </c:pt>
                <c:pt idx="15">
                  <c:v>1213.6496</c:v>
                </c:pt>
                <c:pt idx="16">
                  <c:v>1277.3051</c:v>
                </c:pt>
                <c:pt idx="17">
                  <c:v>1137.2872</c:v>
                </c:pt>
                <c:pt idx="18">
                  <c:v>1187.2836</c:v>
                </c:pt>
                <c:pt idx="19">
                  <c:v>1404.2603</c:v>
                </c:pt>
                <c:pt idx="20">
                  <c:v>1351.7937</c:v>
                </c:pt>
                <c:pt idx="21">
                  <c:v>1045.9701</c:v>
                </c:pt>
                <c:pt idx="22">
                  <c:v>1200.5849</c:v>
                </c:pt>
                <c:pt idx="23">
                  <c:v>1288.0</c:v>
                </c:pt>
                <c:pt idx="24">
                  <c:v>1066.3509</c:v>
                </c:pt>
                <c:pt idx="25">
                  <c:v>934.8243</c:v>
                </c:pt>
                <c:pt idx="26">
                  <c:v>911.4217</c:v>
                </c:pt>
                <c:pt idx="27">
                  <c:v>979.9882</c:v>
                </c:pt>
                <c:pt idx="28">
                  <c:v>1040.5679</c:v>
                </c:pt>
                <c:pt idx="29">
                  <c:v>1103.5714</c:v>
                </c:pt>
                <c:pt idx="30">
                  <c:v>859.1698</c:v>
                </c:pt>
                <c:pt idx="31">
                  <c:v>599.7674</c:v>
                </c:pt>
                <c:pt idx="32">
                  <c:v>835.686</c:v>
                </c:pt>
                <c:pt idx="33">
                  <c:v>1147.5</c:v>
                </c:pt>
                <c:pt idx="34">
                  <c:v>1131.3618</c:v>
                </c:pt>
                <c:pt idx="35">
                  <c:v>1081.6059</c:v>
                </c:pt>
                <c:pt idx="36">
                  <c:v>1066.12</c:v>
                </c:pt>
                <c:pt idx="37">
                  <c:v>1317.5634</c:v>
                </c:pt>
                <c:pt idx="38">
                  <c:v>1076.4366</c:v>
                </c:pt>
                <c:pt idx="39">
                  <c:v>1045.0857</c:v>
                </c:pt>
                <c:pt idx="40">
                  <c:v>1115.2339</c:v>
                </c:pt>
                <c:pt idx="41">
                  <c:v>1057.8561</c:v>
                </c:pt>
                <c:pt idx="42">
                  <c:v>863.2339</c:v>
                </c:pt>
                <c:pt idx="43">
                  <c:v>1080.7434</c:v>
                </c:pt>
                <c:pt idx="44">
                  <c:v>1059.4016</c:v>
                </c:pt>
                <c:pt idx="45">
                  <c:v>987.7526</c:v>
                </c:pt>
                <c:pt idx="46">
                  <c:v>1119.8438</c:v>
                </c:pt>
                <c:pt idx="47">
                  <c:v>1138.1127</c:v>
                </c:pt>
                <c:pt idx="48">
                  <c:v>1031.9545</c:v>
                </c:pt>
                <c:pt idx="49">
                  <c:v>1164.2222</c:v>
                </c:pt>
                <c:pt idx="50">
                  <c:v>1195.7875</c:v>
                </c:pt>
                <c:pt idx="51">
                  <c:v>1117.75</c:v>
                </c:pt>
              </c:numCache>
            </c:numRef>
          </c:xVal>
          <c:yVal>
            <c:numRef>
              <c:f>Sheet1!$B$109:$B$160</c:f>
              <c:numCache>
                <c:formatCode>General</c:formatCode>
                <c:ptCount val="52"/>
                <c:pt idx="0">
                  <c:v>0.2002652519893899</c:v>
                </c:pt>
                <c:pt idx="1">
                  <c:v>0.2024353120243531</c:v>
                </c:pt>
                <c:pt idx="2">
                  <c:v>0.21940928270042195</c:v>
                </c:pt>
                <c:pt idx="3">
                  <c:v>0.25241157556270094</c:v>
                </c:pt>
                <c:pt idx="4">
                  <c:v>0.21510673234811165</c:v>
                </c:pt>
                <c:pt idx="5">
                  <c:v>0.20593692022263452</c:v>
                </c:pt>
                <c:pt idx="6">
                  <c:v>0.20293398533007334</c:v>
                </c:pt>
                <c:pt idx="7">
                  <c:v>0.20717131474103587</c:v>
                </c:pt>
                <c:pt idx="8">
                  <c:v>0.25</c:v>
                </c:pt>
                <c:pt idx="9">
                  <c:v>0.21604938271604937</c:v>
                </c:pt>
                <c:pt idx="10">
                  <c:v>0.2686230248306998</c:v>
                </c:pt>
                <c:pt idx="11">
                  <c:v>0.2400611620795107</c:v>
                </c:pt>
                <c:pt idx="12">
                  <c:v>0.2488619119878604</c:v>
                </c:pt>
                <c:pt idx="13">
                  <c:v>0.25477707006369427</c:v>
                </c:pt>
                <c:pt idx="14">
                  <c:v>0.26306306306306304</c:v>
                </c:pt>
                <c:pt idx="15">
                  <c:v>0.23339011925042588</c:v>
                </c:pt>
                <c:pt idx="16">
                  <c:v>0.23228346456692914</c:v>
                </c:pt>
                <c:pt idx="17">
                  <c:v>0.20704845814977973</c:v>
                </c:pt>
                <c:pt idx="18">
                  <c:v>0.19533527696793002</c:v>
                </c:pt>
                <c:pt idx="19">
                  <c:v>0.16590909090909092</c:v>
                </c:pt>
                <c:pt idx="20">
                  <c:v>0.1675531914893617</c:v>
                </c:pt>
                <c:pt idx="21">
                  <c:v>0.24187725631768953</c:v>
                </c:pt>
                <c:pt idx="22">
                  <c:v>0.21810699588477367</c:v>
                </c:pt>
                <c:pt idx="23">
                  <c:v>0.19658119658119658</c:v>
                </c:pt>
                <c:pt idx="24">
                  <c:v>0.24050632911392406</c:v>
                </c:pt>
                <c:pt idx="25">
                  <c:v>0.3148936170212766</c:v>
                </c:pt>
                <c:pt idx="26">
                  <c:v>0.29856115107913667</c:v>
                </c:pt>
                <c:pt idx="27">
                  <c:v>0.29411764705882354</c:v>
                </c:pt>
                <c:pt idx="28">
                  <c:v>0.2691029900332226</c:v>
                </c:pt>
                <c:pt idx="29">
                  <c:v>0.2661596958174905</c:v>
                </c:pt>
                <c:pt idx="30">
                  <c:v>0.381294964028777</c:v>
                </c:pt>
                <c:pt idx="31">
                  <c:v>0.42857142857142855</c:v>
                </c:pt>
                <c:pt idx="32">
                  <c:v>0.3359375</c:v>
                </c:pt>
                <c:pt idx="33">
                  <c:v>0.34300791556728233</c:v>
                </c:pt>
                <c:pt idx="34">
                  <c:v>0.32</c:v>
                </c:pt>
                <c:pt idx="35">
                  <c:v>0.35490605427974947</c:v>
                </c:pt>
                <c:pt idx="36">
                  <c:v>0.2798507462686567</c:v>
                </c:pt>
                <c:pt idx="37">
                  <c:v>0.24232081911262798</c:v>
                </c:pt>
                <c:pt idx="38">
                  <c:v>0.3021276595744681</c:v>
                </c:pt>
                <c:pt idx="39">
                  <c:v>0.2876712328767123</c:v>
                </c:pt>
                <c:pt idx="40">
                  <c:v>0.29314420803782504</c:v>
                </c:pt>
                <c:pt idx="41">
                  <c:v>0.2736220472440945</c:v>
                </c:pt>
                <c:pt idx="42">
                  <c:v>0.30617283950617286</c:v>
                </c:pt>
                <c:pt idx="43">
                  <c:v>0.22782258064516128</c:v>
                </c:pt>
                <c:pt idx="44">
                  <c:v>0.19709208400646203</c:v>
                </c:pt>
                <c:pt idx="45">
                  <c:v>0.23690773067331672</c:v>
                </c:pt>
                <c:pt idx="46">
                  <c:v>0.22145328719723184</c:v>
                </c:pt>
                <c:pt idx="47">
                  <c:v>0.21225710014947682</c:v>
                </c:pt>
                <c:pt idx="48">
                  <c:v>0.205607476635514</c:v>
                </c:pt>
                <c:pt idx="49">
                  <c:v>0.23076923076923078</c:v>
                </c:pt>
                <c:pt idx="50">
                  <c:v>0.21892542101042503</c:v>
                </c:pt>
                <c:pt idx="51">
                  <c:v>0.218077474892395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8.5573567176256</c:v>
                </c:pt>
              </c:numCache>
            </c:numRef>
          </c:xVal>
          <c:yVal>
            <c:numRef>
              <c:f>Sheet1!$B$163:$B$164</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8.5573567176256</c:v>
                </c:pt>
                <c:pt idx="1">
                  <c:v>928.5573567176256</c:v>
                </c:pt>
              </c:numCache>
            </c:numRef>
          </c:xVal>
          <c:yVal>
            <c:numRef>
              <c:f>Sheet1!$B$167:$B$168</c:f>
              <c:numCache>
                <c:formatCode>General</c:formatCode>
                <c:ptCount val="2"/>
                <c:pt idx="0">
                  <c:v>0.3005262639044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28.5573567176256</c:v>
                </c:pt>
              </c:numCache>
            </c:numRef>
          </c:xVal>
          <c:yVal>
            <c:numRef>
              <c:f>Sheet1!$B$171:$B$172</c:f>
              <c:numCache>
                <c:formatCode>General</c:formatCode>
                <c:ptCount val="2"/>
                <c:pt idx="0">
                  <c:v>0.3005262639044102</c:v>
                </c:pt>
                <c:pt idx="1">
                  <c:v>0.300526263904410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28.5573567176256</c:v>
                </c:pt>
                <c:pt idx="1">
                  <c:v>928.5573567176256</c:v>
                </c:pt>
              </c:numCache>
            </c:numRef>
          </c:xVal>
          <c:yVal>
            <c:numRef>
              <c:f>Sheet1!$B$175:$B$176</c:f>
              <c:numCache>
                <c:formatCode>General</c:formatCode>
                <c:ptCount val="2"/>
                <c:pt idx="0">
                  <c:v>0.3005262639044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7.596689383921</c:v>
                </c:pt>
              </c:numCache>
            </c:numRef>
          </c:xVal>
          <c:yVal>
            <c:numRef>
              <c:f>Sheet1!$B$179:$B$180</c:f>
              <c:numCache>
                <c:formatCode>General</c:formatCode>
                <c:ptCount val="2"/>
                <c:pt idx="0">
                  <c:v>0.24073251643415536</c:v>
                </c:pt>
                <c:pt idx="1">
                  <c:v>0.240732516434155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7.596689383921</c:v>
                </c:pt>
                <c:pt idx="1">
                  <c:v>1157.596689383921</c:v>
                </c:pt>
              </c:numCache>
            </c:numRef>
          </c:xVal>
          <c:yVal>
            <c:numRef>
              <c:f>Sheet1!$B$183:$B$184</c:f>
              <c:numCache>
                <c:formatCode>General</c:formatCode>
                <c:ptCount val="2"/>
                <c:pt idx="0">
                  <c:v>0.240732516434155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0.7152</c:v>
                </c:pt>
                <c:pt idx="1">
                  <c:v>1109.1429</c:v>
                </c:pt>
                <c:pt idx="2">
                  <c:v>1077.2756</c:v>
                </c:pt>
                <c:pt idx="3">
                  <c:v>1060.6242</c:v>
                </c:pt>
                <c:pt idx="4">
                  <c:v>1151.6031</c:v>
                </c:pt>
                <c:pt idx="5">
                  <c:v>1223.1712</c:v>
                </c:pt>
                <c:pt idx="6">
                  <c:v>1140.494</c:v>
                </c:pt>
                <c:pt idx="7">
                  <c:v>1246.9423</c:v>
                </c:pt>
                <c:pt idx="8">
                  <c:v>1309.3506</c:v>
                </c:pt>
                <c:pt idx="9">
                  <c:v>1237.7286</c:v>
                </c:pt>
                <c:pt idx="10">
                  <c:v>1301.6555</c:v>
                </c:pt>
                <c:pt idx="11">
                  <c:v>1243.1274</c:v>
                </c:pt>
                <c:pt idx="12">
                  <c:v>1165.5</c:v>
                </c:pt>
                <c:pt idx="13">
                  <c:v>1200.1188</c:v>
                </c:pt>
                <c:pt idx="14">
                  <c:v>1160.274</c:v>
                </c:pt>
                <c:pt idx="15">
                  <c:v>1213.6496</c:v>
                </c:pt>
                <c:pt idx="16">
                  <c:v>1277.3051</c:v>
                </c:pt>
                <c:pt idx="17">
                  <c:v>1137.2872</c:v>
                </c:pt>
                <c:pt idx="18">
                  <c:v>1187.2836</c:v>
                </c:pt>
                <c:pt idx="19">
                  <c:v>1404.2603</c:v>
                </c:pt>
                <c:pt idx="20">
                  <c:v>1351.7937</c:v>
                </c:pt>
                <c:pt idx="21">
                  <c:v>1045.9701</c:v>
                </c:pt>
                <c:pt idx="22">
                  <c:v>1200.5849</c:v>
                </c:pt>
                <c:pt idx="23">
                  <c:v>1288.0</c:v>
                </c:pt>
                <c:pt idx="24">
                  <c:v>1066.3509</c:v>
                </c:pt>
                <c:pt idx="25">
                  <c:v>934.8243</c:v>
                </c:pt>
                <c:pt idx="26">
                  <c:v>911.4217</c:v>
                </c:pt>
                <c:pt idx="27">
                  <c:v>979.9882</c:v>
                </c:pt>
                <c:pt idx="28">
                  <c:v>1040.5679</c:v>
                </c:pt>
                <c:pt idx="29">
                  <c:v>1103.5714</c:v>
                </c:pt>
                <c:pt idx="30">
                  <c:v>859.1698</c:v>
                </c:pt>
                <c:pt idx="31">
                  <c:v>599.7674</c:v>
                </c:pt>
                <c:pt idx="32">
                  <c:v>835.686</c:v>
                </c:pt>
                <c:pt idx="33">
                  <c:v>1147.5</c:v>
                </c:pt>
                <c:pt idx="34">
                  <c:v>1131.3618</c:v>
                </c:pt>
                <c:pt idx="35">
                  <c:v>1081.6059</c:v>
                </c:pt>
                <c:pt idx="36">
                  <c:v>1066.12</c:v>
                </c:pt>
                <c:pt idx="37">
                  <c:v>1317.5634</c:v>
                </c:pt>
                <c:pt idx="38">
                  <c:v>1076.4366</c:v>
                </c:pt>
                <c:pt idx="39">
                  <c:v>1045.0857</c:v>
                </c:pt>
                <c:pt idx="40">
                  <c:v>1115.2339</c:v>
                </c:pt>
                <c:pt idx="41">
                  <c:v>1057.8561</c:v>
                </c:pt>
                <c:pt idx="42">
                  <c:v>863.2339</c:v>
                </c:pt>
                <c:pt idx="43">
                  <c:v>1080.7434</c:v>
                </c:pt>
                <c:pt idx="44">
                  <c:v>1059.4016</c:v>
                </c:pt>
                <c:pt idx="45">
                  <c:v>987.7526</c:v>
                </c:pt>
                <c:pt idx="46">
                  <c:v>1119.8438</c:v>
                </c:pt>
                <c:pt idx="47">
                  <c:v>1138.1127</c:v>
                </c:pt>
                <c:pt idx="48">
                  <c:v>1031.9545</c:v>
                </c:pt>
                <c:pt idx="49">
                  <c:v>1164.2222</c:v>
                </c:pt>
                <c:pt idx="50">
                  <c:v>1195.7875</c:v>
                </c:pt>
                <c:pt idx="51">
                  <c:v>1117.75</c:v>
                </c:pt>
                <c:pt idx="52">
                  <c:v>928.5573567176256</c:v>
                </c:pt>
                <c:pt idx="53">
                  <c:v>928.5573567176256</c:v>
                </c:pt>
                <c:pt idx="54">
                  <c:v>1157.596689383921</c:v>
                </c:pt>
              </c:numCache>
            </c:numRef>
          </c:xVal>
          <c:yVal>
            <c:numRef>
              <c:f>Sheet1!$B$187:$B$241</c:f>
              <c:numCache>
                <c:formatCode>General</c:formatCode>
                <c:ptCount val="55"/>
                <c:pt idx="0">
                  <c:v>0.2608034462078506</c:v>
                </c:pt>
                <c:pt idx="1">
                  <c:v>0.2533820190880086</c:v>
                </c:pt>
                <c:pt idx="2">
                  <c:v>0.2617013992860599</c:v>
                </c:pt>
                <c:pt idx="3">
                  <c:v>0.2660484675168115</c:v>
                </c:pt>
                <c:pt idx="4">
                  <c:v>0.2422972222246002</c:v>
                </c:pt>
                <c:pt idx="5">
                  <c:v>0.22361342303382625</c:v>
                </c:pt>
                <c:pt idx="6">
                  <c:v>0.24519739972812804</c:v>
                </c:pt>
                <c:pt idx="7">
                  <c:v>0.2174076629403795</c:v>
                </c:pt>
                <c:pt idx="8">
                  <c:v>0.20111515070325736</c:v>
                </c:pt>
                <c:pt idx="9">
                  <c:v>0.21981302120200774</c:v>
                </c:pt>
                <c:pt idx="10">
                  <c:v>0.2031240583472066</c:v>
                </c:pt>
                <c:pt idx="11">
                  <c:v>0.2184035930479677</c:v>
                </c:pt>
                <c:pt idx="12">
                  <c:v>0.23866925265471828</c:v>
                </c:pt>
                <c:pt idx="13">
                  <c:v>0.22963155698548066</c:v>
                </c:pt>
                <c:pt idx="14">
                  <c:v>0.2400335690830011</c:v>
                </c:pt>
                <c:pt idx="15">
                  <c:v>0.22609916266328228</c:v>
                </c:pt>
                <c:pt idx="16">
                  <c:v>0.20948105236849573</c:v>
                </c:pt>
                <c:pt idx="17">
                  <c:v>0.2460345772869143</c:v>
                </c:pt>
                <c:pt idx="18">
                  <c:v>0.232982355726448</c:v>
                </c:pt>
                <c:pt idx="19">
                  <c:v>0.1763377180753603</c:v>
                </c:pt>
                <c:pt idx="20">
                  <c:v>0.19003481802104366</c:v>
                </c:pt>
                <c:pt idx="21">
                  <c:v>0.2698741141627546</c:v>
                </c:pt>
                <c:pt idx="22">
                  <c:v>0.22950987541502088</c:v>
                </c:pt>
                <c:pt idx="23">
                  <c:v>0.20668900725390688</c:v>
                </c:pt>
                <c:pt idx="24">
                  <c:v>0.26455343673038845</c:v>
                </c:pt>
                <c:pt idx="25">
                  <c:v>0.29889019546291384</c:v>
                </c:pt>
                <c:pt idx="26">
                  <c:v>0.30499975375693045</c:v>
                </c:pt>
                <c:pt idx="27">
                  <c:v>0.28709956195060604</c:v>
                </c:pt>
                <c:pt idx="28">
                  <c:v>0.271284429931769</c:v>
                </c:pt>
                <c:pt idx="29">
                  <c:v>0.2548365328614831</c:v>
                </c:pt>
                <c:pt idx="30">
                  <c:v>0.31864080342761336</c:v>
                </c:pt>
                <c:pt idx="31">
                  <c:v>0.38636123126075167</c:v>
                </c:pt>
                <c:pt idx="32">
                  <c:v>0.32477156005572416</c:v>
                </c:pt>
                <c:pt idx="33">
                  <c:v>0.24336839075442934</c:v>
                </c:pt>
                <c:pt idx="34">
                  <c:v>0.24758148133669367</c:v>
                </c:pt>
                <c:pt idx="35">
                  <c:v>0.26057091719088327</c:v>
                </c:pt>
                <c:pt idx="36">
                  <c:v>0.26461371622967866</c:v>
                </c:pt>
                <c:pt idx="37">
                  <c:v>0.19897109062629587</c:v>
                </c:pt>
                <c:pt idx="38">
                  <c:v>0.261920431334152</c:v>
                </c:pt>
                <c:pt idx="39">
                  <c:v>0.2701049984813871</c:v>
                </c:pt>
                <c:pt idx="40">
                  <c:v>0.251791882967712</c:v>
                </c:pt>
                <c:pt idx="41">
                  <c:v>0.26677111663757874</c:v>
                </c:pt>
                <c:pt idx="42">
                  <c:v>0.31757981636366694</c:v>
                </c:pt>
                <c:pt idx="43">
                  <c:v>0.26079608422482775</c:v>
                </c:pt>
                <c:pt idx="44">
                  <c:v>0.266367643419073</c:v>
                </c:pt>
                <c:pt idx="45">
                  <c:v>0.2850725626249729</c:v>
                </c:pt>
                <c:pt idx="46">
                  <c:v>0.25058840759405315</c:v>
                </c:pt>
                <c:pt idx="47">
                  <c:v>0.24581906959239702</c:v>
                </c:pt>
                <c:pt idx="48">
                  <c:v>0.2735330719377718</c:v>
                </c:pt>
                <c:pt idx="49">
                  <c:v>0.23900283924715227</c:v>
                </c:pt>
                <c:pt idx="50">
                  <c:v>0.23076230014388505</c:v>
                </c:pt>
                <c:pt idx="51">
                  <c:v>0.2511350217803407</c:v>
                </c:pt>
                <c:pt idx="52">
                  <c:v>0.3005262639044102</c:v>
                </c:pt>
                <c:pt idx="53">
                  <c:v>0.3005262639044102</c:v>
                </c:pt>
                <c:pt idx="54">
                  <c:v>0.240732516434155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5.0"/>
          <c:min val="48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42857142857142"/>
          <c:min val="0.09581749049429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46746611371978</c:v>
                </c:pt>
                <c:pt idx="1">
                  <c:v>0.6201160017990631</c:v>
                </c:pt>
                <c:pt idx="2">
                  <c:v>0.6316715302391772</c:v>
                </c:pt>
                <c:pt idx="3">
                  <c:v>0.6321330152802669</c:v>
                </c:pt>
                <c:pt idx="4">
                  <c:v>0.6401227187831482</c:v>
                </c:pt>
                <c:pt idx="5">
                  <c:v>0.6480296200486464</c:v>
                </c:pt>
                <c:pt idx="6">
                  <c:v>0.613045950101359</c:v>
                </c:pt>
                <c:pt idx="7">
                  <c:v>0.5820473062075785</c:v>
                </c:pt>
                <c:pt idx="8">
                  <c:v>0.5892345199621069</c:v>
                </c:pt>
                <c:pt idx="9">
                  <c:v>0.6256227929313743</c:v>
                </c:pt>
                <c:pt idx="10">
                  <c:v>0.6433208214172835</c:v>
                </c:pt>
                <c:pt idx="11">
                  <c:v>0.681378188400206</c:v>
                </c:pt>
                <c:pt idx="12">
                  <c:v>0.7118555025775939</c:v>
                </c:pt>
                <c:pt idx="13">
                  <c:v>0.7096409882763204</c:v>
                </c:pt>
                <c:pt idx="14">
                  <c:v>0.6884741737928235</c:v>
                </c:pt>
                <c:pt idx="15">
                  <c:v>0.743971276836541</c:v>
                </c:pt>
                <c:pt idx="16">
                  <c:v>0.7393392898481862</c:v>
                </c:pt>
                <c:pt idx="17">
                  <c:v>0.768507283073842</c:v>
                </c:pt>
                <c:pt idx="18">
                  <c:v>0.7960157743467133</c:v>
                </c:pt>
                <c:pt idx="19">
                  <c:v>0.7298944685156327</c:v>
                </c:pt>
                <c:pt idx="20">
                  <c:v>0.8113960191740179</c:v>
                </c:pt>
                <c:pt idx="21">
                  <c:v>0.6676702154990989</c:v>
                </c:pt>
                <c:pt idx="22">
                  <c:v>0.6040669907132941</c:v>
                </c:pt>
                <c:pt idx="23">
                  <c:v>0.6070697310637639</c:v>
                </c:pt>
                <c:pt idx="24">
                  <c:v>0.6109835993172722</c:v>
                </c:pt>
                <c:pt idx="25">
                  <c:v>0.5745887433097767</c:v>
                </c:pt>
                <c:pt idx="26">
                  <c:v>0.5805620320368106</c:v>
                </c:pt>
                <c:pt idx="27">
                  <c:v>0.5965500338287455</c:v>
                </c:pt>
                <c:pt idx="28">
                  <c:v>0.586434623169694</c:v>
                </c:pt>
                <c:pt idx="29">
                  <c:v>0.5936534823250637</c:v>
                </c:pt>
                <c:pt idx="30">
                  <c:v>0.5687100626717504</c:v>
                </c:pt>
                <c:pt idx="31">
                  <c:v>0.5912077347548107</c:v>
                </c:pt>
                <c:pt idx="32">
                  <c:v>0.5378486327001458</c:v>
                </c:pt>
                <c:pt idx="33">
                  <c:v>0.531754189386723</c:v>
                </c:pt>
                <c:pt idx="34">
                  <c:v>0.6155659582978096</c:v>
                </c:pt>
                <c:pt idx="35">
                  <c:v>0.6877136006476816</c:v>
                </c:pt>
                <c:pt idx="36">
                  <c:v>0.6945469083267062</c:v>
                </c:pt>
                <c:pt idx="37">
                  <c:v>0.6754454723854444</c:v>
                </c:pt>
                <c:pt idx="38">
                  <c:v>0.727439275974609</c:v>
                </c:pt>
                <c:pt idx="39">
                  <c:v>0.7334046284206097</c:v>
                </c:pt>
                <c:pt idx="40">
                  <c:v>0.7152338451520199</c:v>
                </c:pt>
                <c:pt idx="41">
                  <c:v>0.6908918429862514</c:v>
                </c:pt>
                <c:pt idx="42">
                  <c:v>0.715206066896362</c:v>
                </c:pt>
                <c:pt idx="43">
                  <c:v>0.7245831846740202</c:v>
                </c:pt>
                <c:pt idx="44">
                  <c:v>0.7206373219767956</c:v>
                </c:pt>
                <c:pt idx="45">
                  <c:v>0.7221711118807538</c:v>
                </c:pt>
                <c:pt idx="46">
                  <c:v>0.7250329583737171</c:v>
                </c:pt>
                <c:pt idx="47">
                  <c:v>0.7280514276797403</c:v>
                </c:pt>
                <c:pt idx="48">
                  <c:v>0.7362179761426787</c:v>
                </c:pt>
                <c:pt idx="49">
                  <c:v>0.7405899968269783</c:v>
                </c:pt>
                <c:pt idx="50">
                  <c:v>0.7009846202982164</c:v>
                </c:pt>
                <c:pt idx="51">
                  <c:v>0.6960000797273325</c:v>
                </c:pt>
                <c:pt idx="52">
                  <c:v>0.7279469785055167</c:v>
                </c:pt>
                <c:pt idx="53">
                  <c:v>0.6932155347917707</c:v>
                </c:pt>
                <c:pt idx="54">
                  <c:v>0.6601832103316218</c:v>
                </c:pt>
                <c:pt idx="55">
                  <c:v>0.6800088715298915</c:v>
                </c:pt>
                <c:pt idx="56">
                  <c:v>0.6820651413494179</c:v>
                </c:pt>
                <c:pt idx="57">
                  <c:v>0.6644571041539926</c:v>
                </c:pt>
                <c:pt idx="58">
                  <c:v>0.6197554632802308</c:v>
                </c:pt>
                <c:pt idx="59">
                  <c:v>0.6475855464870042</c:v>
                </c:pt>
                <c:pt idx="60">
                  <c:v>0.6334997377947998</c:v>
                </c:pt>
                <c:pt idx="61">
                  <c:v>0.6889355608393086</c:v>
                </c:pt>
                <c:pt idx="62">
                  <c:v>0.6872040111578629</c:v>
                </c:pt>
                <c:pt idx="63">
                  <c:v>0.6924674239454833</c:v>
                </c:pt>
                <c:pt idx="64">
                  <c:v>0.7736992507213095</c:v>
                </c:pt>
                <c:pt idx="65">
                  <c:v>0.7859955388196191</c:v>
                </c:pt>
                <c:pt idx="66">
                  <c:v>0.7774077330582676</c:v>
                </c:pt>
                <c:pt idx="67">
                  <c:v>0.8125374087400108</c:v>
                </c:pt>
                <c:pt idx="68">
                  <c:v>0.8205972958057789</c:v>
                </c:pt>
                <c:pt idx="69">
                  <c:v>0.8527821255110836</c:v>
                </c:pt>
                <c:pt idx="70">
                  <c:v>0.8077566296488252</c:v>
                </c:pt>
                <c:pt idx="71">
                  <c:v>0.7550536181136783</c:v>
                </c:pt>
                <c:pt idx="72">
                  <c:v>0.8105699182805474</c:v>
                </c:pt>
                <c:pt idx="73">
                  <c:v>0.7635018386373379</c:v>
                </c:pt>
                <c:pt idx="74">
                  <c:v>0.7372766867064386</c:v>
                </c:pt>
                <c:pt idx="75">
                  <c:v>0.6944007715331013</c:v>
                </c:pt>
                <c:pt idx="76">
                  <c:v>0.7025537512102413</c:v>
                </c:pt>
                <c:pt idx="77">
                  <c:v>0.7212895393637802</c:v>
                </c:pt>
                <c:pt idx="78">
                  <c:v>0.7285832885498988</c:v>
                </c:pt>
                <c:pt idx="79">
                  <c:v>0.6898658645228196</c:v>
                </c:pt>
                <c:pt idx="80">
                  <c:v>0.7219408894740738</c:v>
                </c:pt>
                <c:pt idx="81">
                  <c:v>0.7074963230603869</c:v>
                </c:pt>
                <c:pt idx="82">
                  <c:v>0.7114062538644066</c:v>
                </c:pt>
                <c:pt idx="83">
                  <c:v>0.6737069619356282</c:v>
                </c:pt>
                <c:pt idx="84">
                  <c:v>0.6941994004498424</c:v>
                </c:pt>
                <c:pt idx="85">
                  <c:v>0.6763102128987671</c:v>
                </c:pt>
                <c:pt idx="86">
                  <c:v>0.6958981222835892</c:v>
                </c:pt>
                <c:pt idx="87">
                  <c:v>0.7167477526374728</c:v>
                </c:pt>
                <c:pt idx="88">
                  <c:v>0.6567654484659057</c:v>
                </c:pt>
                <c:pt idx="89">
                  <c:v>0.6378107645182746</c:v>
                </c:pt>
                <c:pt idx="90">
                  <c:v>0.6827488062012158</c:v>
                </c:pt>
                <c:pt idx="91">
                  <c:v>0.7183874184913828</c:v>
                </c:pt>
                <c:pt idx="92">
                  <c:v>0.7128048477859796</c:v>
                </c:pt>
                <c:pt idx="93">
                  <c:v>0.7281827817821472</c:v>
                </c:pt>
                <c:pt idx="94">
                  <c:v>0.7006989017134255</c:v>
                </c:pt>
                <c:pt idx="95">
                  <c:v>0.7054108406845355</c:v>
                </c:pt>
                <c:pt idx="96">
                  <c:v>0.7182898724739879</c:v>
                </c:pt>
                <c:pt idx="97">
                  <c:v>0.7568450026594522</c:v>
                </c:pt>
                <c:pt idx="98">
                  <c:v>0.7745597738164306</c:v>
                </c:pt>
                <c:pt idx="99">
                  <c:v>0.7784088128563225</c:v>
                </c:pt>
                <c:pt idx="100">
                  <c:v>0.763415869746031</c:v>
                </c:pt>
                <c:pt idx="101">
                  <c:v>0.6958965067121599</c:v>
                </c:pt>
                <c:pt idx="102">
                  <c:v>0.711991503225724</c:v>
                </c:pt>
                <c:pt idx="103">
                  <c:v>0.7187575728105426</c:v>
                </c:pt>
                <c:pt idx="104">
                  <c:v>0.7068461981325503</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21553920122731</c:v>
                </c:pt>
                <c:pt idx="1">
                  <c:v>0.6826181949619086</c:v>
                </c:pt>
                <c:pt idx="2">
                  <c:v>0.699493631924723</c:v>
                </c:pt>
                <c:pt idx="3">
                  <c:v>0.6577981475391866</c:v>
                </c:pt>
                <c:pt idx="4">
                  <c:v>0.6624978954146874</c:v>
                </c:pt>
                <c:pt idx="5">
                  <c:v>0.7027928781261469</c:v>
                </c:pt>
                <c:pt idx="6">
                  <c:v>0.6803761714941238</c:v>
                </c:pt>
                <c:pt idx="7">
                  <c:v>0.6749525518224827</c:v>
                </c:pt>
                <c:pt idx="8">
                  <c:v>0.6985805112338089</c:v>
                </c:pt>
                <c:pt idx="9">
                  <c:v>0.6740321036356834</c:v>
                </c:pt>
                <c:pt idx="10">
                  <c:v>0.6874910722444018</c:v>
                </c:pt>
                <c:pt idx="11">
                  <c:v>0.6943794368246575</c:v>
                </c:pt>
                <c:pt idx="12">
                  <c:v>0.7071087943682779</c:v>
                </c:pt>
                <c:pt idx="13">
                  <c:v>0.6651766690445926</c:v>
                </c:pt>
                <c:pt idx="14">
                  <c:v>0.6526130901657852</c:v>
                </c:pt>
                <c:pt idx="15">
                  <c:v>0.6679974975919198</c:v>
                </c:pt>
                <c:pt idx="16">
                  <c:v>0.679856707843342</c:v>
                </c:pt>
                <c:pt idx="17">
                  <c:v>0.6695035743899247</c:v>
                </c:pt>
                <c:pt idx="18">
                  <c:v>0.6560367711840362</c:v>
                </c:pt>
                <c:pt idx="19">
                  <c:v>0.6992669101361606</c:v>
                </c:pt>
                <c:pt idx="20">
                  <c:v>0.667430435236012</c:v>
                </c:pt>
                <c:pt idx="21">
                  <c:v>0.5908636750858293</c:v>
                </c:pt>
                <c:pt idx="22">
                  <c:v>0.6252139193110441</c:v>
                </c:pt>
                <c:pt idx="23">
                  <c:v>0.6648421391663667</c:v>
                </c:pt>
                <c:pt idx="24">
                  <c:v>0.6729990785346086</c:v>
                </c:pt>
                <c:pt idx="25">
                  <c:v>0.7003993773413364</c:v>
                </c:pt>
                <c:pt idx="26">
                  <c:v>0.6786547114179252</c:v>
                </c:pt>
                <c:pt idx="27">
                  <c:v>0.6790336317746525</c:v>
                </c:pt>
                <c:pt idx="28">
                  <c:v>0.6996297303996666</c:v>
                </c:pt>
                <c:pt idx="29">
                  <c:v>0.6391607792745997</c:v>
                </c:pt>
                <c:pt idx="30">
                  <c:v>0.651532398462373</c:v>
                </c:pt>
                <c:pt idx="31">
                  <c:v>0.645532810892487</c:v>
                </c:pt>
                <c:pt idx="32">
                  <c:v>0.6793813220322422</c:v>
                </c:pt>
                <c:pt idx="33">
                  <c:v>0.7008563579712227</c:v>
                </c:pt>
                <c:pt idx="34">
                  <c:v>0.7458078547771879</c:v>
                </c:pt>
                <c:pt idx="35">
                  <c:v>0.7262803422256072</c:v>
                </c:pt>
                <c:pt idx="36">
                  <c:v>0.6536060503232926</c:v>
                </c:pt>
                <c:pt idx="37">
                  <c:v>0.6474920860800625</c:v>
                </c:pt>
                <c:pt idx="38">
                  <c:v>0.6835175924017062</c:v>
                </c:pt>
                <c:pt idx="39">
                  <c:v>0.7071797948755741</c:v>
                </c:pt>
                <c:pt idx="40">
                  <c:v>0.7169398743427554</c:v>
                </c:pt>
                <c:pt idx="41">
                  <c:v>0.7287545220703442</c:v>
                </c:pt>
                <c:pt idx="42">
                  <c:v>0.707509350508629</c:v>
                </c:pt>
                <c:pt idx="43">
                  <c:v>0.7695601786323754</c:v>
                </c:pt>
                <c:pt idx="44">
                  <c:v>0.7977157374625372</c:v>
                </c:pt>
                <c:pt idx="45">
                  <c:v>0.7835102823717368</c:v>
                </c:pt>
                <c:pt idx="46">
                  <c:v>0.762674545143128</c:v>
                </c:pt>
                <c:pt idx="47">
                  <c:v>0.7605789616656562</c:v>
                </c:pt>
                <c:pt idx="48">
                  <c:v>0.8073981486756228</c:v>
                </c:pt>
                <c:pt idx="49">
                  <c:v>0.8358270989193682</c:v>
                </c:pt>
                <c:pt idx="50">
                  <c:v>0.8132545578652132</c:v>
                </c:pt>
                <c:pt idx="51">
                  <c:v>0.788786841001973</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9690759572952</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9690759572952</c:v>
                </c:pt>
                <c:pt idx="1">
                  <c:v>-3.39690759572952</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2763226852652924</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2763226852652924</c:v>
                </c:pt>
                <c:pt idx="1">
                  <c:v>-0.052763226852652924</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234008437556967</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234008437556967</c:v>
                </c:pt>
                <c:pt idx="1">
                  <c:v>1.0234008437556967</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21553920122731</c:v>
                </c:pt>
                <c:pt idx="1">
                  <c:v>0.6826181949619086</c:v>
                </c:pt>
                <c:pt idx="2">
                  <c:v>0.699493631924723</c:v>
                </c:pt>
                <c:pt idx="3">
                  <c:v>0.6577981475391866</c:v>
                </c:pt>
                <c:pt idx="4">
                  <c:v>0.6624978954146874</c:v>
                </c:pt>
                <c:pt idx="5">
                  <c:v>0.7027928781261469</c:v>
                </c:pt>
                <c:pt idx="6">
                  <c:v>0.6803761714941238</c:v>
                </c:pt>
                <c:pt idx="7">
                  <c:v>0.6749525518224827</c:v>
                </c:pt>
                <c:pt idx="8">
                  <c:v>0.6985805112338089</c:v>
                </c:pt>
                <c:pt idx="9">
                  <c:v>0.6740321036356834</c:v>
                </c:pt>
                <c:pt idx="10">
                  <c:v>0.6874910722444018</c:v>
                </c:pt>
                <c:pt idx="11">
                  <c:v>0.6943794368246575</c:v>
                </c:pt>
                <c:pt idx="12">
                  <c:v>0.7071087943682779</c:v>
                </c:pt>
                <c:pt idx="13">
                  <c:v>0.6651766690445926</c:v>
                </c:pt>
                <c:pt idx="14">
                  <c:v>0.6526130901657852</c:v>
                </c:pt>
                <c:pt idx="15">
                  <c:v>0.6679974975919198</c:v>
                </c:pt>
                <c:pt idx="16">
                  <c:v>0.679856707843342</c:v>
                </c:pt>
                <c:pt idx="17">
                  <c:v>0.6695035743899247</c:v>
                </c:pt>
                <c:pt idx="18">
                  <c:v>0.6560367711840362</c:v>
                </c:pt>
                <c:pt idx="19">
                  <c:v>0.6992669101361606</c:v>
                </c:pt>
                <c:pt idx="20">
                  <c:v>0.667430435236012</c:v>
                </c:pt>
                <c:pt idx="21">
                  <c:v>0.5908636750858293</c:v>
                </c:pt>
                <c:pt idx="22">
                  <c:v>0.6252139193110441</c:v>
                </c:pt>
                <c:pt idx="23">
                  <c:v>0.6648421391663667</c:v>
                </c:pt>
                <c:pt idx="24">
                  <c:v>0.6729990785346086</c:v>
                </c:pt>
                <c:pt idx="25">
                  <c:v>0.7003993773413364</c:v>
                </c:pt>
                <c:pt idx="26">
                  <c:v>0.6786547114179252</c:v>
                </c:pt>
                <c:pt idx="27">
                  <c:v>0.6790336317746525</c:v>
                </c:pt>
                <c:pt idx="28">
                  <c:v>0.6996297303996666</c:v>
                </c:pt>
                <c:pt idx="29">
                  <c:v>0.6391607792745997</c:v>
                </c:pt>
                <c:pt idx="30">
                  <c:v>0.651532398462373</c:v>
                </c:pt>
                <c:pt idx="31">
                  <c:v>0.645532810892487</c:v>
                </c:pt>
                <c:pt idx="32">
                  <c:v>0.6793813220322422</c:v>
                </c:pt>
                <c:pt idx="33">
                  <c:v>0.7008563579712227</c:v>
                </c:pt>
                <c:pt idx="34">
                  <c:v>0.7458078547771879</c:v>
                </c:pt>
                <c:pt idx="35">
                  <c:v>0.7262803422256072</c:v>
                </c:pt>
                <c:pt idx="36">
                  <c:v>0.6536060503232926</c:v>
                </c:pt>
                <c:pt idx="37">
                  <c:v>0.6474920860800625</c:v>
                </c:pt>
                <c:pt idx="38">
                  <c:v>0.6835175924017062</c:v>
                </c:pt>
                <c:pt idx="39">
                  <c:v>0.7071797948755741</c:v>
                </c:pt>
                <c:pt idx="40">
                  <c:v>0.7169398743427554</c:v>
                </c:pt>
                <c:pt idx="41">
                  <c:v>0.7287545220703442</c:v>
                </c:pt>
                <c:pt idx="42">
                  <c:v>0.707509350508629</c:v>
                </c:pt>
                <c:pt idx="43">
                  <c:v>0.7695601786323754</c:v>
                </c:pt>
                <c:pt idx="44">
                  <c:v>0.7977157374625372</c:v>
                </c:pt>
                <c:pt idx="45">
                  <c:v>0.7835102823717368</c:v>
                </c:pt>
                <c:pt idx="46">
                  <c:v>0.762674545143128</c:v>
                </c:pt>
                <c:pt idx="47">
                  <c:v>0.7605789616656562</c:v>
                </c:pt>
                <c:pt idx="48">
                  <c:v>0.8073981486756228</c:v>
                </c:pt>
                <c:pt idx="49">
                  <c:v>0.8358270989193682</c:v>
                </c:pt>
                <c:pt idx="50">
                  <c:v>0.8132545578652132</c:v>
                </c:pt>
                <c:pt idx="51">
                  <c:v>0.788786841001973</c:v>
                </c:pt>
                <c:pt idx="52">
                  <c:v>-0.052763226852652924</c:v>
                </c:pt>
                <c:pt idx="53">
                  <c:v>-3.39690759572952</c:v>
                </c:pt>
                <c:pt idx="54">
                  <c:v>1.0234008437556967</c:v>
                </c:pt>
              </c:numCache>
            </c:numRef>
          </c:xVal>
          <c:yVal>
            <c:numRef>
              <c:f>Sheet1!$B$187:$B$241</c:f>
              <c:numCache>
                <c:formatCode>General</c:formatCode>
                <c:ptCount val="55"/>
                <c:pt idx="0">
                  <c:v>0.22638020578346368</c:v>
                </c:pt>
                <c:pt idx="1">
                  <c:v>0.2268479991718289</c:v>
                </c:pt>
                <c:pt idx="2">
                  <c:v>0.2266452491831136</c:v>
                </c:pt>
                <c:pt idx="3">
                  <c:v>0.22714619970707778</c:v>
                </c:pt>
                <c:pt idx="4">
                  <c:v>0.2270897345719336</c:v>
                </c:pt>
                <c:pt idx="5">
                  <c:v>0.22660561037959215</c:v>
                </c:pt>
                <c:pt idx="6">
                  <c:v>0.22687493596960157</c:v>
                </c:pt>
                <c:pt idx="7">
                  <c:v>0.2269400980646421</c:v>
                </c:pt>
                <c:pt idx="8">
                  <c:v>0.2266562198744318</c:v>
                </c:pt>
                <c:pt idx="9">
                  <c:v>0.2269511567921819</c:v>
                </c:pt>
                <c:pt idx="10">
                  <c:v>0.22678945397289785</c:v>
                </c:pt>
                <c:pt idx="11">
                  <c:v>0.22670669369569785</c:v>
                </c:pt>
                <c:pt idx="12">
                  <c:v>0.22655375679077447</c:v>
                </c:pt>
                <c:pt idx="13">
                  <c:v>0.2270575504380098</c:v>
                </c:pt>
                <c:pt idx="14">
                  <c:v>0.22720849559466053</c:v>
                </c:pt>
                <c:pt idx="15">
                  <c:v>0.22702365958484855</c:v>
                </c:pt>
                <c:pt idx="16">
                  <c:v>0.2268811770672138</c:v>
                </c:pt>
                <c:pt idx="17">
                  <c:v>0.22700556482057827</c:v>
                </c:pt>
                <c:pt idx="18">
                  <c:v>0.22716736176865385</c:v>
                </c:pt>
                <c:pt idx="19">
                  <c:v>0.22664797313273186</c:v>
                </c:pt>
                <c:pt idx="20">
                  <c:v>0.2270304725572483</c:v>
                </c:pt>
                <c:pt idx="21">
                  <c:v>0.22795038412994556</c:v>
                </c:pt>
                <c:pt idx="22">
                  <c:v>0.22753768301622765</c:v>
                </c:pt>
                <c:pt idx="23">
                  <c:v>0.22706156964824917</c:v>
                </c:pt>
                <c:pt idx="24">
                  <c:v>0.22696356807540063</c:v>
                </c:pt>
                <c:pt idx="25">
                  <c:v>0.22663436710205093</c:v>
                </c:pt>
                <c:pt idx="26">
                  <c:v>0.22689561845692277</c:v>
                </c:pt>
                <c:pt idx="27">
                  <c:v>0.22689106591714442</c:v>
                </c:pt>
                <c:pt idx="28">
                  <c:v>0.22664361402757247</c:v>
                </c:pt>
                <c:pt idx="29">
                  <c:v>0.22737011842477703</c:v>
                </c:pt>
                <c:pt idx="30">
                  <c:v>0.22722147956841804</c:v>
                </c:pt>
                <c:pt idx="31">
                  <c:v>0.22729356163152378</c:v>
                </c:pt>
                <c:pt idx="32">
                  <c:v>0.22688688859148712</c:v>
                </c:pt>
                <c:pt idx="33">
                  <c:v>0.22662887670688328</c:v>
                </c:pt>
                <c:pt idx="34">
                  <c:v>0.22608880681179092</c:v>
                </c:pt>
                <c:pt idx="35">
                  <c:v>0.22632342017073356</c:v>
                </c:pt>
                <c:pt idx="36">
                  <c:v>0.22719656567182814</c:v>
                </c:pt>
                <c:pt idx="37">
                  <c:v>0.22727002191382364</c:v>
                </c:pt>
                <c:pt idx="38">
                  <c:v>0.22683719335855299</c:v>
                </c:pt>
                <c:pt idx="39">
                  <c:v>0.22655290375496362</c:v>
                </c:pt>
                <c:pt idx="40">
                  <c:v>0.22643564125052051</c:v>
                </c:pt>
                <c:pt idx="41">
                  <c:v>0.2262936941294639</c:v>
                </c:pt>
                <c:pt idx="42">
                  <c:v>0.22654894430780798</c:v>
                </c:pt>
                <c:pt idx="43">
                  <c:v>0.22580343444459158</c:v>
                </c:pt>
                <c:pt idx="44">
                  <c:v>0.22546515939739326</c:v>
                </c:pt>
                <c:pt idx="45">
                  <c:v>0.22563583088078668</c:v>
                </c:pt>
                <c:pt idx="46">
                  <c:v>0.22588616190909036</c:v>
                </c:pt>
                <c:pt idx="47">
                  <c:v>0.22591133930315402</c:v>
                </c:pt>
                <c:pt idx="48">
                  <c:v>0.2253488300384252</c:v>
                </c:pt>
                <c:pt idx="49">
                  <c:v>0.2250072703292569</c:v>
                </c:pt>
                <c:pt idx="50">
                  <c:v>0.225278468192405</c:v>
                </c:pt>
                <c:pt idx="51">
                  <c:v>0.22557243565107538</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3.6701</c:v>
                </c:pt>
                <c:pt idx="1">
                  <c:v>886.5383</c:v>
                </c:pt>
                <c:pt idx="2">
                  <c:v>921.0738</c:v>
                </c:pt>
                <c:pt idx="3">
                  <c:v>943.6158</c:v>
                </c:pt>
                <c:pt idx="4">
                  <c:v>955.2278</c:v>
                </c:pt>
                <c:pt idx="5">
                  <c:v>945.1153</c:v>
                </c:pt>
                <c:pt idx="6">
                  <c:v>886.3731</c:v>
                </c:pt>
                <c:pt idx="7">
                  <c:v>893.6908</c:v>
                </c:pt>
                <c:pt idx="8">
                  <c:v>889.9513</c:v>
                </c:pt>
                <c:pt idx="9">
                  <c:v>849.9822</c:v>
                </c:pt>
                <c:pt idx="10">
                  <c:v>841.0393</c:v>
                </c:pt>
                <c:pt idx="11">
                  <c:v>906.9575</c:v>
                </c:pt>
                <c:pt idx="12">
                  <c:v>926.2898</c:v>
                </c:pt>
                <c:pt idx="13">
                  <c:v>932.6671</c:v>
                </c:pt>
                <c:pt idx="14">
                  <c:v>912.0037</c:v>
                </c:pt>
                <c:pt idx="15">
                  <c:v>966.3309</c:v>
                </c:pt>
                <c:pt idx="16">
                  <c:v>997.7156</c:v>
                </c:pt>
                <c:pt idx="17">
                  <c:v>1027.4605</c:v>
                </c:pt>
                <c:pt idx="18">
                  <c:v>1080.4463</c:v>
                </c:pt>
                <c:pt idx="19">
                  <c:v>1019.5209</c:v>
                </c:pt>
                <c:pt idx="20">
                  <c:v>1099.6619</c:v>
                </c:pt>
                <c:pt idx="21">
                  <c:v>1099.2903</c:v>
                </c:pt>
                <c:pt idx="22">
                  <c:v>1026.6667</c:v>
                </c:pt>
                <c:pt idx="23">
                  <c:v>1021.137</c:v>
                </c:pt>
                <c:pt idx="24">
                  <c:v>1041.7172</c:v>
                </c:pt>
                <c:pt idx="25">
                  <c:v>1005.486</c:v>
                </c:pt>
                <c:pt idx="26">
                  <c:v>996.6401</c:v>
                </c:pt>
                <c:pt idx="27">
                  <c:v>1012.0389</c:v>
                </c:pt>
                <c:pt idx="28">
                  <c:v>1017.334</c:v>
                </c:pt>
                <c:pt idx="29">
                  <c:v>990.9968</c:v>
                </c:pt>
                <c:pt idx="30">
                  <c:v>997.5787</c:v>
                </c:pt>
                <c:pt idx="31">
                  <c:v>983.3239</c:v>
                </c:pt>
                <c:pt idx="32">
                  <c:v>948.066</c:v>
                </c:pt>
                <c:pt idx="33">
                  <c:v>908.1381</c:v>
                </c:pt>
                <c:pt idx="34">
                  <c:v>935.7292</c:v>
                </c:pt>
                <c:pt idx="35">
                  <c:v>969.3883</c:v>
                </c:pt>
                <c:pt idx="36">
                  <c:v>1063.3891</c:v>
                </c:pt>
                <c:pt idx="37">
                  <c:v>1085.4839</c:v>
                </c:pt>
                <c:pt idx="38">
                  <c:v>1146.171</c:v>
                </c:pt>
                <c:pt idx="39">
                  <c:v>1153.5717</c:v>
                </c:pt>
                <c:pt idx="40">
                  <c:v>1146.2422</c:v>
                </c:pt>
                <c:pt idx="41">
                  <c:v>1195.7965</c:v>
                </c:pt>
                <c:pt idx="42">
                  <c:v>1210.7996</c:v>
                </c:pt>
                <c:pt idx="43">
                  <c:v>1217.7174</c:v>
                </c:pt>
                <c:pt idx="44">
                  <c:v>1135.4175</c:v>
                </c:pt>
                <c:pt idx="45">
                  <c:v>1094.4982</c:v>
                </c:pt>
                <c:pt idx="46">
                  <c:v>1089.033</c:v>
                </c:pt>
                <c:pt idx="47">
                  <c:v>1070.7638</c:v>
                </c:pt>
                <c:pt idx="48">
                  <c:v>1073.8016</c:v>
                </c:pt>
                <c:pt idx="49">
                  <c:v>1039.8065</c:v>
                </c:pt>
                <c:pt idx="50">
                  <c:v>1031.5567</c:v>
                </c:pt>
                <c:pt idx="51">
                  <c:v>1047.5706</c:v>
                </c:pt>
                <c:pt idx="52">
                  <c:v>1069.9503</c:v>
                </c:pt>
                <c:pt idx="53">
                  <c:v>1164.8676</c:v>
                </c:pt>
                <c:pt idx="54">
                  <c:v>1137.9951</c:v>
                </c:pt>
                <c:pt idx="55">
                  <c:v>1158.3452</c:v>
                </c:pt>
                <c:pt idx="56">
                  <c:v>1182.1345</c:v>
                </c:pt>
                <c:pt idx="57">
                  <c:v>1141.9197</c:v>
                </c:pt>
                <c:pt idx="58">
                  <c:v>1065.5152</c:v>
                </c:pt>
                <c:pt idx="59">
                  <c:v>1089.122</c:v>
                </c:pt>
                <c:pt idx="60">
                  <c:v>1111.0186</c:v>
                </c:pt>
                <c:pt idx="61">
                  <c:v>1124.8388</c:v>
                </c:pt>
                <c:pt idx="62">
                  <c:v>1046.6471</c:v>
                </c:pt>
                <c:pt idx="63">
                  <c:v>1076.9619</c:v>
                </c:pt>
                <c:pt idx="64">
                  <c:v>1093.2259</c:v>
                </c:pt>
                <c:pt idx="65">
                  <c:v>1083.2945</c:v>
                </c:pt>
                <c:pt idx="66">
                  <c:v>1100.9611</c:v>
                </c:pt>
                <c:pt idx="67">
                  <c:v>1124.8516</c:v>
                </c:pt>
                <c:pt idx="68">
                  <c:v>1149.4213</c:v>
                </c:pt>
                <c:pt idx="69">
                  <c:v>1205.0874</c:v>
                </c:pt>
                <c:pt idx="70">
                  <c:v>1184.9461</c:v>
                </c:pt>
                <c:pt idx="71">
                  <c:v>1266.3717</c:v>
                </c:pt>
                <c:pt idx="72">
                  <c:v>1331.8848</c:v>
                </c:pt>
                <c:pt idx="73">
                  <c:v>1309.0888</c:v>
                </c:pt>
                <c:pt idx="74">
                  <c:v>1278.2306</c:v>
                </c:pt>
                <c:pt idx="75">
                  <c:v>1234.5493</c:v>
                </c:pt>
                <c:pt idx="76">
                  <c:v>1243.8091</c:v>
                </c:pt>
                <c:pt idx="77">
                  <c:v>1238.4457</c:v>
                </c:pt>
                <c:pt idx="78">
                  <c:v>1282.0</c:v>
                </c:pt>
                <c:pt idx="79">
                  <c:v>1208.098</c:v>
                </c:pt>
                <c:pt idx="80">
                  <c:v>1249.2141</c:v>
                </c:pt>
                <c:pt idx="81">
                  <c:v>1206.1981</c:v>
                </c:pt>
                <c:pt idx="82">
                  <c:v>1228.2387</c:v>
                </c:pt>
                <c:pt idx="83">
                  <c:v>1214.7014</c:v>
                </c:pt>
                <c:pt idx="84">
                  <c:v>1216.3857</c:v>
                </c:pt>
                <c:pt idx="85">
                  <c:v>1174.9187</c:v>
                </c:pt>
                <c:pt idx="86">
                  <c:v>1184.8621</c:v>
                </c:pt>
                <c:pt idx="87">
                  <c:v>1180.1866</c:v>
                </c:pt>
                <c:pt idx="88">
                  <c:v>1223.9253</c:v>
                </c:pt>
                <c:pt idx="89">
                  <c:v>1207.7945</c:v>
                </c:pt>
                <c:pt idx="90">
                  <c:v>1290.75</c:v>
                </c:pt>
                <c:pt idx="91">
                  <c:v>1307.0845</c:v>
                </c:pt>
                <c:pt idx="92">
                  <c:v>1245.1933</c:v>
                </c:pt>
                <c:pt idx="93">
                  <c:v>1297.8626</c:v>
                </c:pt>
                <c:pt idx="94">
                  <c:v>1286.0786</c:v>
                </c:pt>
                <c:pt idx="95">
                  <c:v>1224.9831</c:v>
                </c:pt>
                <c:pt idx="96">
                  <c:v>1167.4927</c:v>
                </c:pt>
                <c:pt idx="97">
                  <c:v>1140.0547</c:v>
                </c:pt>
                <c:pt idx="98">
                  <c:v>1142.1306</c:v>
                </c:pt>
                <c:pt idx="99">
                  <c:v>1111.847</c:v>
                </c:pt>
                <c:pt idx="100">
                  <c:v>1108.2128</c:v>
                </c:pt>
                <c:pt idx="101">
                  <c:v>1111.6454</c:v>
                </c:pt>
                <c:pt idx="102">
                  <c:v>1131.1723</c:v>
                </c:pt>
                <c:pt idx="103">
                  <c:v>1122.6419</c:v>
                </c:pt>
                <c:pt idx="104">
                  <c:v>1181.099</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60.0109175154442</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60.0109175154442</c:v>
                </c:pt>
                <c:pt idx="1">
                  <c:v>860.0109175154442</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1.1776070655858</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1.1776070655858</c:v>
                </c:pt>
                <c:pt idx="1">
                  <c:v>1151.1776070655858</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4.876650913108</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4.876650913108</c:v>
                </c:pt>
                <c:pt idx="1">
                  <c:v>1244.876650913108</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pt idx="52">
                  <c:v>1151.1776070655858</c:v>
                </c:pt>
                <c:pt idx="53">
                  <c:v>860.0109175154442</c:v>
                </c:pt>
                <c:pt idx="54">
                  <c:v>1244.876650913108</c:v>
                </c:pt>
              </c:numCache>
            </c:numRef>
          </c:xVal>
          <c:yVal>
            <c:numRef>
              <c:f>Sheet1!$B$187:$B$241</c:f>
              <c:numCache>
                <c:formatCode>General</c:formatCode>
                <c:ptCount val="55"/>
                <c:pt idx="0">
                  <c:v>0.22568744633022322</c:v>
                </c:pt>
                <c:pt idx="1">
                  <c:v>0.22514426058528547</c:v>
                </c:pt>
                <c:pt idx="2">
                  <c:v>0.22387535528192465</c:v>
                </c:pt>
                <c:pt idx="3">
                  <c:v>0.22891606490267685</c:v>
                </c:pt>
                <c:pt idx="4">
                  <c:v>0.22572492454593432</c:v>
                </c:pt>
                <c:pt idx="5">
                  <c:v>0.223716307448977</c:v>
                </c:pt>
                <c:pt idx="6">
                  <c:v>0.24093536731855572</c:v>
                </c:pt>
                <c:pt idx="7">
                  <c:v>0.23767777074426363</c:v>
                </c:pt>
                <c:pt idx="8">
                  <c:v>0.22851321548092826</c:v>
                </c:pt>
                <c:pt idx="9">
                  <c:v>0.23578438950128391</c:v>
                </c:pt>
                <c:pt idx="10">
                  <c:v>0.23381503069729348</c:v>
                </c:pt>
                <c:pt idx="11">
                  <c:v>0.25196732021655566</c:v>
                </c:pt>
                <c:pt idx="12">
                  <c:v>0.24584864272646115</c:v>
                </c:pt>
                <c:pt idx="13">
                  <c:v>0.2354640031933385</c:v>
                </c:pt>
                <c:pt idx="14">
                  <c:v>0.23891148847396348</c:v>
                </c:pt>
                <c:pt idx="15">
                  <c:v>0.23192843858617304</c:v>
                </c:pt>
                <c:pt idx="16">
                  <c:v>0.23170762621216398</c:v>
                </c:pt>
                <c:pt idx="17">
                  <c:v>0.23380377067372196</c:v>
                </c:pt>
                <c:pt idx="18">
                  <c:v>0.23691436598440208</c:v>
                </c:pt>
                <c:pt idx="19">
                  <c:v>0.21280556539295278</c:v>
                </c:pt>
                <c:pt idx="20">
                  <c:v>0.21127772094459255</c:v>
                </c:pt>
                <c:pt idx="21">
                  <c:v>0.2328627721597361</c:v>
                </c:pt>
                <c:pt idx="22">
                  <c:v>0.22269388074982505</c:v>
                </c:pt>
                <c:pt idx="23">
                  <c:v>0.22499713513023706</c:v>
                </c:pt>
                <c:pt idx="24">
                  <c:v>0.22334585819309347</c:v>
                </c:pt>
                <c:pt idx="25">
                  <c:v>0.22944387850759174</c:v>
                </c:pt>
                <c:pt idx="26">
                  <c:v>0.2275852156706242</c:v>
                </c:pt>
                <c:pt idx="27">
                  <c:v>0.22944563098675053</c:v>
                </c:pt>
                <c:pt idx="28">
                  <c:v>0.2246059735025633</c:v>
                </c:pt>
                <c:pt idx="29">
                  <c:v>0.22542478144213032</c:v>
                </c:pt>
                <c:pt idx="30">
                  <c:v>0.2261922293232008</c:v>
                </c:pt>
                <c:pt idx="31">
                  <c:v>0.23078889936244823</c:v>
                </c:pt>
                <c:pt idx="32">
                  <c:v>0.22278484407750085</c:v>
                </c:pt>
                <c:pt idx="33">
                  <c:v>0.22588554547041037</c:v>
                </c:pt>
                <c:pt idx="34">
                  <c:v>0.22328721223699183</c:v>
                </c:pt>
                <c:pt idx="35">
                  <c:v>0.2146177392355423</c:v>
                </c:pt>
                <c:pt idx="36">
                  <c:v>0.2078959467328984</c:v>
                </c:pt>
                <c:pt idx="37">
                  <c:v>0.2145137496060877</c:v>
                </c:pt>
                <c:pt idx="38">
                  <c:v>0.20503432765420468</c:v>
                </c:pt>
                <c:pt idx="39">
                  <c:v>0.21709658650804692</c:v>
                </c:pt>
                <c:pt idx="40">
                  <c:v>0.21221486952404844</c:v>
                </c:pt>
                <c:pt idx="41">
                  <c:v>0.20718634446311693</c:v>
                </c:pt>
                <c:pt idx="42">
                  <c:v>0.20766528183826424</c:v>
                </c:pt>
                <c:pt idx="43">
                  <c:v>0.2092211659531653</c:v>
                </c:pt>
                <c:pt idx="44">
                  <c:v>0.22163036048425644</c:v>
                </c:pt>
                <c:pt idx="45">
                  <c:v>0.23111710973089006</c:v>
                </c:pt>
                <c:pt idx="46">
                  <c:v>0.23029373430627137</c:v>
                </c:pt>
                <c:pt idx="47">
                  <c:v>0.23408110395036455</c:v>
                </c:pt>
                <c:pt idx="48">
                  <c:v>0.23494626289382461</c:v>
                </c:pt>
                <c:pt idx="49">
                  <c:v>0.23150421443830646</c:v>
                </c:pt>
                <c:pt idx="50">
                  <c:v>0.2378393852002313</c:v>
                </c:pt>
                <c:pt idx="51">
                  <c:v>0.23902337115915692</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334425095029432</c:v>
                </c:pt>
                <c:pt idx="1">
                  <c:v>0.22574575510640812</c:v>
                </c:pt>
                <c:pt idx="2">
                  <c:v>0.21446227973624699</c:v>
                </c:pt>
                <c:pt idx="3">
                  <c:v>0.24753670215805054</c:v>
                </c:pt>
                <c:pt idx="4">
                  <c:v>0.23472236423019804</c:v>
                </c:pt>
                <c:pt idx="5">
                  <c:v>0.20770623592110324</c:v>
                </c:pt>
                <c:pt idx="6">
                  <c:v>0.19951375150424858</c:v>
                </c:pt>
                <c:pt idx="7">
                  <c:v>0.1843304623590619</c:v>
                </c:pt>
                <c:pt idx="8">
                  <c:v>0.15912351616129877</c:v>
                </c:pt>
                <c:pt idx="9">
                  <c:v>0.19057012803598863</c:v>
                </c:pt>
                <c:pt idx="10">
                  <c:v>0.20342393160321748</c:v>
                </c:pt>
                <c:pt idx="11">
                  <c:v>0.20752593400599445</c:v>
                </c:pt>
                <c:pt idx="12">
                  <c:v>0.22844663186962533</c:v>
                </c:pt>
                <c:pt idx="13">
                  <c:v>0.23895185312840567</c:v>
                </c:pt>
                <c:pt idx="14">
                  <c:v>0.22191983874279808</c:v>
                </c:pt>
                <c:pt idx="15">
                  <c:v>0.22330371897990414</c:v>
                </c:pt>
                <c:pt idx="16">
                  <c:v>0.2495646943893346</c:v>
                </c:pt>
                <c:pt idx="17">
                  <c:v>0.190032123969258</c:v>
                </c:pt>
                <c:pt idx="18">
                  <c:v>0.24730195719300507</c:v>
                </c:pt>
                <c:pt idx="19">
                  <c:v>0.21214415160735905</c:v>
                </c:pt>
                <c:pt idx="20">
                  <c:v>0.22863220581545135</c:v>
                </c:pt>
                <c:pt idx="21">
                  <c:v>0.1691124031127602</c:v>
                </c:pt>
                <c:pt idx="22">
                  <c:v>0.177075775453459</c:v>
                </c:pt>
                <c:pt idx="23">
                  <c:v>0.17606998210068897</c:v>
                </c:pt>
                <c:pt idx="24">
                  <c:v>0.20979099788540934</c:v>
                </c:pt>
                <c:pt idx="25">
                  <c:v>0.1742828192464575</c:v>
                </c:pt>
                <c:pt idx="26">
                  <c:v>0.18475247251277999</c:v>
                </c:pt>
                <c:pt idx="27">
                  <c:v>0.2018981607764577</c:v>
                </c:pt>
                <c:pt idx="28">
                  <c:v>0.187166186152141</c:v>
                </c:pt>
                <c:pt idx="29">
                  <c:v>0.20367461430459732</c:v>
                </c:pt>
                <c:pt idx="30">
                  <c:v>0.1935658246418786</c:v>
                </c:pt>
                <c:pt idx="31">
                  <c:v>0.17418452518023841</c:v>
                </c:pt>
                <c:pt idx="32">
                  <c:v>0.18469585749018141</c:v>
                </c:pt>
                <c:pt idx="33">
                  <c:v>0.19290941803278375</c:v>
                </c:pt>
                <c:pt idx="34">
                  <c:v>0.2113023993895387</c:v>
                </c:pt>
                <c:pt idx="35">
                  <c:v>0.23282963402193593</c:v>
                </c:pt>
                <c:pt idx="36">
                  <c:v>0.20181352394867297</c:v>
                </c:pt>
                <c:pt idx="37">
                  <c:v>0.20058892154700314</c:v>
                </c:pt>
                <c:pt idx="38">
                  <c:v>0.18984046570955856</c:v>
                </c:pt>
                <c:pt idx="39">
                  <c:v>0.19744487804878047</c:v>
                </c:pt>
                <c:pt idx="40">
                  <c:v>0.2528993438538411</c:v>
                </c:pt>
                <c:pt idx="41">
                  <c:v>0.22302701135824052</c:v>
                </c:pt>
                <c:pt idx="42">
                  <c:v>0.22924936164502036</c:v>
                </c:pt>
                <c:pt idx="43">
                  <c:v>0.2123332337390717</c:v>
                </c:pt>
                <c:pt idx="44">
                  <c:v>0.23719698651242346</c:v>
                </c:pt>
                <c:pt idx="45">
                  <c:v>0.24019546083160526</c:v>
                </c:pt>
                <c:pt idx="46">
                  <c:v>0.2717985299664148</c:v>
                </c:pt>
                <c:pt idx="47">
                  <c:v>0.22742584637697297</c:v>
                </c:pt>
                <c:pt idx="48">
                  <c:v>0.2804874340876409</c:v>
                </c:pt>
                <c:pt idx="49">
                  <c:v>0.29247981928584343</c:v>
                </c:pt>
                <c:pt idx="50">
                  <c:v>0.24040006991377302</c:v>
                </c:pt>
                <c:pt idx="51">
                  <c:v>0.20799310387015627</c:v>
                </c:pt>
                <c:pt idx="52">
                  <c:v>0.25010342958453813</c:v>
                </c:pt>
                <c:pt idx="53">
                  <c:v>0.24774272747254875</c:v>
                </c:pt>
                <c:pt idx="54">
                  <c:v>0.2443997583739331</c:v>
                </c:pt>
                <c:pt idx="55">
                  <c:v>0.24402501223026785</c:v>
                </c:pt>
                <c:pt idx="56">
                  <c:v>0.2415304381582845</c:v>
                </c:pt>
                <c:pt idx="57">
                  <c:v>0.2404061313516524</c:v>
                </c:pt>
                <c:pt idx="58">
                  <c:v>0.21942993800878627</c:v>
                </c:pt>
                <c:pt idx="59">
                  <c:v>0.2447327678220325</c:v>
                </c:pt>
                <c:pt idx="60">
                  <c:v>0.2555378859394116</c:v>
                </c:pt>
                <c:pt idx="61">
                  <c:v>0.24247899663893194</c:v>
                </c:pt>
                <c:pt idx="62">
                  <c:v>0.24885553834748098</c:v>
                </c:pt>
                <c:pt idx="63">
                  <c:v>0.2530026272327567</c:v>
                </c:pt>
                <c:pt idx="64">
                  <c:v>0.27488930825362246</c:v>
                </c:pt>
                <c:pt idx="65">
                  <c:v>0.2283728515097761</c:v>
                </c:pt>
                <c:pt idx="66">
                  <c:v>0.24065871294670274</c:v>
                </c:pt>
                <c:pt idx="67">
                  <c:v>0.25858095132000114</c:v>
                </c:pt>
                <c:pt idx="68">
                  <c:v>0.2315162318089955</c:v>
                </c:pt>
                <c:pt idx="69">
                  <c:v>0.21798232430845238</c:v>
                </c:pt>
                <c:pt idx="70">
                  <c:v>0.20650578942223655</c:v>
                </c:pt>
                <c:pt idx="71">
                  <c:v>0.22115963447489112</c:v>
                </c:pt>
                <c:pt idx="72">
                  <c:v>0.2471477159877932</c:v>
                </c:pt>
                <c:pt idx="73">
                  <c:v>0.23069032259826738</c:v>
                </c:pt>
                <c:pt idx="74">
                  <c:v>0.22460167630159372</c:v>
                </c:pt>
                <c:pt idx="75">
                  <c:v>0.23016747767399368</c:v>
                </c:pt>
                <c:pt idx="76">
                  <c:v>0.1938756293352038</c:v>
                </c:pt>
                <c:pt idx="77">
                  <c:v>0.2100339829024333</c:v>
                </c:pt>
                <c:pt idx="78">
                  <c:v>0.19943995021779715</c:v>
                </c:pt>
                <c:pt idx="79">
                  <c:v>0.1918024473118313</c:v>
                </c:pt>
                <c:pt idx="80">
                  <c:v>0.18508160707396082</c:v>
                </c:pt>
                <c:pt idx="81">
                  <c:v>0.20298577022408795</c:v>
                </c:pt>
                <c:pt idx="82">
                  <c:v>0.1933835924844265</c:v>
                </c:pt>
                <c:pt idx="83">
                  <c:v>0.18895774933239515</c:v>
                </c:pt>
                <c:pt idx="84">
                  <c:v>0.18241648476542005</c:v>
                </c:pt>
                <c:pt idx="85">
                  <c:v>0.1775459949614249</c:v>
                </c:pt>
                <c:pt idx="86">
                  <c:v>0.18913636160619438</c:v>
                </c:pt>
                <c:pt idx="87">
                  <c:v>0.20169956285113994</c:v>
                </c:pt>
                <c:pt idx="88">
                  <c:v>0.17380949419031871</c:v>
                </c:pt>
                <c:pt idx="89">
                  <c:v>0.1675456216403676</c:v>
                </c:pt>
                <c:pt idx="90">
                  <c:v>0.21655773514785143</c:v>
                </c:pt>
                <c:pt idx="91">
                  <c:v>0.21321900422265416</c:v>
                </c:pt>
                <c:pt idx="92">
                  <c:v>0.2131853302365024</c:v>
                </c:pt>
                <c:pt idx="93">
                  <c:v>0.20124681725398735</c:v>
                </c:pt>
                <c:pt idx="94">
                  <c:v>0.22341144195524415</c:v>
                </c:pt>
                <c:pt idx="95">
                  <c:v>0.20338935013433346</c:v>
                </c:pt>
                <c:pt idx="96">
                  <c:v>0.20496831556265946</c:v>
                </c:pt>
                <c:pt idx="97">
                  <c:v>0.21966892894896983</c:v>
                </c:pt>
                <c:pt idx="98">
                  <c:v>0.23639644847292626</c:v>
                </c:pt>
                <c:pt idx="99">
                  <c:v>0.2247149249493377</c:v>
                </c:pt>
                <c:pt idx="100">
                  <c:v>0.23875783930830743</c:v>
                </c:pt>
                <c:pt idx="101">
                  <c:v>0.24107189424046688</c:v>
                </c:pt>
                <c:pt idx="102">
                  <c:v>0.21461801118757928</c:v>
                </c:pt>
                <c:pt idx="103">
                  <c:v>0.20915241084242447</c:v>
                </c:pt>
                <c:pt idx="104">
                  <c:v>0.2208886768003368</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4672196344578112</c:v>
                </c:pt>
                <c:pt idx="1">
                  <c:v>0.26582198715200106</c:v>
                </c:pt>
                <c:pt idx="2">
                  <c:v>0.2787857323948625</c:v>
                </c:pt>
                <c:pt idx="3">
                  <c:v>0.25311009881285346</c:v>
                </c:pt>
                <c:pt idx="4">
                  <c:v>0.20516113596892704</c:v>
                </c:pt>
                <c:pt idx="5">
                  <c:v>0.2500389177066082</c:v>
                </c:pt>
                <c:pt idx="6">
                  <c:v>0.21827864549578105</c:v>
                </c:pt>
                <c:pt idx="7">
                  <c:v>0.19126514016448226</c:v>
                </c:pt>
                <c:pt idx="8">
                  <c:v>0.23849102949336018</c:v>
                </c:pt>
                <c:pt idx="9">
                  <c:v>0.20425637520526715</c:v>
                </c:pt>
                <c:pt idx="10">
                  <c:v>0.1842607776056695</c:v>
                </c:pt>
                <c:pt idx="11">
                  <c:v>0.1900280426710036</c:v>
                </c:pt>
                <c:pt idx="12">
                  <c:v>0.19829104001847042</c:v>
                </c:pt>
                <c:pt idx="13">
                  <c:v>0.20636387601752368</c:v>
                </c:pt>
                <c:pt idx="14">
                  <c:v>0.21209491570048988</c:v>
                </c:pt>
                <c:pt idx="15">
                  <c:v>0.20744374915588704</c:v>
                </c:pt>
                <c:pt idx="16">
                  <c:v>0.20576647019844452</c:v>
                </c:pt>
                <c:pt idx="17">
                  <c:v>0.19970174983658906</c:v>
                </c:pt>
                <c:pt idx="18">
                  <c:v>0.15988127764402887</c:v>
                </c:pt>
                <c:pt idx="19">
                  <c:v>0.22599334455535708</c:v>
                </c:pt>
                <c:pt idx="20">
                  <c:v>0.19520207091182074</c:v>
                </c:pt>
                <c:pt idx="21">
                  <c:v>0.161530501366716</c:v>
                </c:pt>
                <c:pt idx="22">
                  <c:v>0.16711082930756843</c:v>
                </c:pt>
                <c:pt idx="23">
                  <c:v>0.18741912752263973</c:v>
                </c:pt>
                <c:pt idx="24">
                  <c:v>0.19094196221187634</c:v>
                </c:pt>
                <c:pt idx="25">
                  <c:v>0.16876671683333008</c:v>
                </c:pt>
                <c:pt idx="26">
                  <c:v>0.16539204677652677</c:v>
                </c:pt>
                <c:pt idx="27">
                  <c:v>0.17178945322476766</c:v>
                </c:pt>
                <c:pt idx="28">
                  <c:v>0.1951134479279297</c:v>
                </c:pt>
                <c:pt idx="29">
                  <c:v>0.17589864953455772</c:v>
                </c:pt>
                <c:pt idx="30">
                  <c:v>0.17033692608677112</c:v>
                </c:pt>
                <c:pt idx="31">
                  <c:v>0.16057789276735512</c:v>
                </c:pt>
                <c:pt idx="32">
                  <c:v>0.19767496006877525</c:v>
                </c:pt>
                <c:pt idx="33">
                  <c:v>0.18792728121057012</c:v>
                </c:pt>
                <c:pt idx="34">
                  <c:v>0.2103300857231337</c:v>
                </c:pt>
                <c:pt idx="35">
                  <c:v>0.1933953591166777</c:v>
                </c:pt>
                <c:pt idx="36">
                  <c:v>0.16085386888563835</c:v>
                </c:pt>
                <c:pt idx="37">
                  <c:v>0.16554874118065074</c:v>
                </c:pt>
                <c:pt idx="38">
                  <c:v>0.18550936735604703</c:v>
                </c:pt>
                <c:pt idx="39">
                  <c:v>0.18055248910469965</c:v>
                </c:pt>
                <c:pt idx="40">
                  <c:v>0.19251670484022185</c:v>
                </c:pt>
                <c:pt idx="41">
                  <c:v>0.19848275843517782</c:v>
                </c:pt>
                <c:pt idx="42">
                  <c:v>0.20376959370182934</c:v>
                </c:pt>
                <c:pt idx="43">
                  <c:v>0.22511168167441942</c:v>
                </c:pt>
                <c:pt idx="44">
                  <c:v>0.18970530734913782</c:v>
                </c:pt>
                <c:pt idx="45">
                  <c:v>0.20195036527697574</c:v>
                </c:pt>
                <c:pt idx="46">
                  <c:v>0.19598842717302462</c:v>
                </c:pt>
                <c:pt idx="47">
                  <c:v>0.18307157828743822</c:v>
                </c:pt>
                <c:pt idx="48">
                  <c:v>0.16765809032949458</c:v>
                </c:pt>
                <c:pt idx="49">
                  <c:v>0.20879471980538125</c:v>
                </c:pt>
                <c:pt idx="50">
                  <c:v>0.21753695865078204</c:v>
                </c:pt>
                <c:pt idx="51">
                  <c:v>0.1924470172304795</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370726906380644</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370726906380644</c:v>
                </c:pt>
                <c:pt idx="1">
                  <c:v>0.9370726906380644</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39307791317395</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39307791317395</c:v>
                </c:pt>
                <c:pt idx="1">
                  <c:v>0.3339307791317395</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98363911376167</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98363911376167</c:v>
                </c:pt>
                <c:pt idx="1">
                  <c:v>0.1398363911376167</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4672196344578112</c:v>
                </c:pt>
                <c:pt idx="1">
                  <c:v>0.26582198715200106</c:v>
                </c:pt>
                <c:pt idx="2">
                  <c:v>0.2787857323948625</c:v>
                </c:pt>
                <c:pt idx="3">
                  <c:v>0.25311009881285346</c:v>
                </c:pt>
                <c:pt idx="4">
                  <c:v>0.20516113596892704</c:v>
                </c:pt>
                <c:pt idx="5">
                  <c:v>0.2500389177066082</c:v>
                </c:pt>
                <c:pt idx="6">
                  <c:v>0.21827864549578105</c:v>
                </c:pt>
                <c:pt idx="7">
                  <c:v>0.19126514016448226</c:v>
                </c:pt>
                <c:pt idx="8">
                  <c:v>0.23849102949336018</c:v>
                </c:pt>
                <c:pt idx="9">
                  <c:v>0.20425637520526715</c:v>
                </c:pt>
                <c:pt idx="10">
                  <c:v>0.1842607776056695</c:v>
                </c:pt>
                <c:pt idx="11">
                  <c:v>0.1900280426710036</c:v>
                </c:pt>
                <c:pt idx="12">
                  <c:v>0.19829104001847042</c:v>
                </c:pt>
                <c:pt idx="13">
                  <c:v>0.20636387601752368</c:v>
                </c:pt>
                <c:pt idx="14">
                  <c:v>0.21209491570048988</c:v>
                </c:pt>
                <c:pt idx="15">
                  <c:v>0.20744374915588704</c:v>
                </c:pt>
                <c:pt idx="16">
                  <c:v>0.20576647019844452</c:v>
                </c:pt>
                <c:pt idx="17">
                  <c:v>0.19970174983658906</c:v>
                </c:pt>
                <c:pt idx="18">
                  <c:v>0.15988127764402887</c:v>
                </c:pt>
                <c:pt idx="19">
                  <c:v>0.22599334455535708</c:v>
                </c:pt>
                <c:pt idx="20">
                  <c:v>0.19520207091182074</c:v>
                </c:pt>
                <c:pt idx="21">
                  <c:v>0.161530501366716</c:v>
                </c:pt>
                <c:pt idx="22">
                  <c:v>0.16711082930756843</c:v>
                </c:pt>
                <c:pt idx="23">
                  <c:v>0.18741912752263973</c:v>
                </c:pt>
                <c:pt idx="24">
                  <c:v>0.19094196221187634</c:v>
                </c:pt>
                <c:pt idx="25">
                  <c:v>0.16876671683333008</c:v>
                </c:pt>
                <c:pt idx="26">
                  <c:v>0.16539204677652677</c:v>
                </c:pt>
                <c:pt idx="27">
                  <c:v>0.17178945322476766</c:v>
                </c:pt>
                <c:pt idx="28">
                  <c:v>0.1951134479279297</c:v>
                </c:pt>
                <c:pt idx="29">
                  <c:v>0.17589864953455772</c:v>
                </c:pt>
                <c:pt idx="30">
                  <c:v>0.17033692608677112</c:v>
                </c:pt>
                <c:pt idx="31">
                  <c:v>0.16057789276735512</c:v>
                </c:pt>
                <c:pt idx="32">
                  <c:v>0.19767496006877525</c:v>
                </c:pt>
                <c:pt idx="33">
                  <c:v>0.18792728121057012</c:v>
                </c:pt>
                <c:pt idx="34">
                  <c:v>0.2103300857231337</c:v>
                </c:pt>
                <c:pt idx="35">
                  <c:v>0.1933953591166777</c:v>
                </c:pt>
                <c:pt idx="36">
                  <c:v>0.16085386888563835</c:v>
                </c:pt>
                <c:pt idx="37">
                  <c:v>0.16554874118065074</c:v>
                </c:pt>
                <c:pt idx="38">
                  <c:v>0.18550936735604703</c:v>
                </c:pt>
                <c:pt idx="39">
                  <c:v>0.18055248910469965</c:v>
                </c:pt>
                <c:pt idx="40">
                  <c:v>0.19251670484022185</c:v>
                </c:pt>
                <c:pt idx="41">
                  <c:v>0.19848275843517782</c:v>
                </c:pt>
                <c:pt idx="42">
                  <c:v>0.20376959370182934</c:v>
                </c:pt>
                <c:pt idx="43">
                  <c:v>0.22511168167441942</c:v>
                </c:pt>
                <c:pt idx="44">
                  <c:v>0.18970530734913782</c:v>
                </c:pt>
                <c:pt idx="45">
                  <c:v>0.20195036527697574</c:v>
                </c:pt>
                <c:pt idx="46">
                  <c:v>0.19598842717302462</c:v>
                </c:pt>
                <c:pt idx="47">
                  <c:v>0.18307157828743822</c:v>
                </c:pt>
                <c:pt idx="48">
                  <c:v>0.16765809032949458</c:v>
                </c:pt>
                <c:pt idx="49">
                  <c:v>0.20879471980538125</c:v>
                </c:pt>
                <c:pt idx="50">
                  <c:v>0.21753695865078204</c:v>
                </c:pt>
                <c:pt idx="51">
                  <c:v>0.1924470172304795</c:v>
                </c:pt>
                <c:pt idx="52">
                  <c:v>0.3339307791317395</c:v>
                </c:pt>
                <c:pt idx="53">
                  <c:v>0.9370726906380644</c:v>
                </c:pt>
                <c:pt idx="54">
                  <c:v>0.1398363911376167</c:v>
                </c:pt>
              </c:numCache>
            </c:numRef>
          </c:xVal>
          <c:yVal>
            <c:numRef>
              <c:f>Sheet1!$B$187:$B$241</c:f>
              <c:numCache>
                <c:formatCode>General</c:formatCode>
                <c:ptCount val="55"/>
                <c:pt idx="0">
                  <c:v>0.22987383574991535</c:v>
                </c:pt>
                <c:pt idx="1">
                  <c:v>0.23114618174715026</c:v>
                </c:pt>
                <c:pt idx="2">
                  <c:v>0.23200976022341974</c:v>
                </c:pt>
                <c:pt idx="3">
                  <c:v>0.23029938069106862</c:v>
                </c:pt>
                <c:pt idx="4">
                  <c:v>0.2271052657577888</c:v>
                </c:pt>
                <c:pt idx="5">
                  <c:v>0.23009479429644325</c:v>
                </c:pt>
                <c:pt idx="6">
                  <c:v>0.2279790872250757</c:v>
                </c:pt>
                <c:pt idx="7">
                  <c:v>0.22617958551197734</c:v>
                </c:pt>
                <c:pt idx="8">
                  <c:v>0.2293255329818692</c:v>
                </c:pt>
                <c:pt idx="9">
                  <c:v>0.227044995218139</c:v>
                </c:pt>
                <c:pt idx="10">
                  <c:v>0.22571299066361675</c:v>
                </c:pt>
                <c:pt idx="11">
                  <c:v>0.22609717639729626</c:v>
                </c:pt>
                <c:pt idx="12">
                  <c:v>0.22664761506490844</c:v>
                </c:pt>
                <c:pt idx="13">
                  <c:v>0.22718538615502412</c:v>
                </c:pt>
                <c:pt idx="14">
                  <c:v>0.22756715873880587</c:v>
                </c:pt>
                <c:pt idx="15">
                  <c:v>0.22725732178642705</c:v>
                </c:pt>
                <c:pt idx="16">
                  <c:v>0.22714559003150503</c:v>
                </c:pt>
                <c:pt idx="17">
                  <c:v>0.22674158934567115</c:v>
                </c:pt>
                <c:pt idx="18">
                  <c:v>0.22408895293110434</c:v>
                </c:pt>
                <c:pt idx="19">
                  <c:v>0.228493001062006</c:v>
                </c:pt>
                <c:pt idx="20">
                  <c:v>0.22644184372457504</c:v>
                </c:pt>
                <c:pt idx="21">
                  <c:v>0.22419881578962125</c:v>
                </c:pt>
                <c:pt idx="22">
                  <c:v>0.2245705487271301</c:v>
                </c:pt>
                <c:pt idx="23">
                  <c:v>0.2259233837990669</c:v>
                </c:pt>
                <c:pt idx="24">
                  <c:v>0.22615805704789177</c:v>
                </c:pt>
                <c:pt idx="25">
                  <c:v>0.22468085549416245</c:v>
                </c:pt>
                <c:pt idx="26">
                  <c:v>0.22445605221617676</c:v>
                </c:pt>
                <c:pt idx="27">
                  <c:v>0.2248822147493915</c:v>
                </c:pt>
                <c:pt idx="28">
                  <c:v>0.2264359401141633</c:v>
                </c:pt>
                <c:pt idx="29">
                  <c:v>0.2251559484136545</c:v>
                </c:pt>
                <c:pt idx="30">
                  <c:v>0.2247854548124233</c:v>
                </c:pt>
                <c:pt idx="31">
                  <c:v>0.22413535787161176</c:v>
                </c:pt>
                <c:pt idx="32">
                  <c:v>0.2266065749662139</c:v>
                </c:pt>
                <c:pt idx="33">
                  <c:v>0.22595723440159826</c:v>
                </c:pt>
                <c:pt idx="34">
                  <c:v>0.2274495947822356</c:v>
                </c:pt>
                <c:pt idx="35">
                  <c:v>0.22632148981527814</c:v>
                </c:pt>
                <c:pt idx="36">
                  <c:v>0.22415374199064905</c:v>
                </c:pt>
                <c:pt idx="37">
                  <c:v>0.22446649039682737</c:v>
                </c:pt>
                <c:pt idx="38">
                  <c:v>0.22579616533373845</c:v>
                </c:pt>
                <c:pt idx="39">
                  <c:v>0.22546596342933825</c:v>
                </c:pt>
                <c:pt idx="40">
                  <c:v>0.22626295835642776</c:v>
                </c:pt>
                <c:pt idx="41">
                  <c:v>0.22666038636633956</c:v>
                </c:pt>
                <c:pt idx="42">
                  <c:v>0.227012568321348</c:v>
                </c:pt>
                <c:pt idx="43">
                  <c:v>0.22843426918529602</c:v>
                </c:pt>
                <c:pt idx="44">
                  <c:v>0.22607567741900922</c:v>
                </c:pt>
                <c:pt idx="45">
                  <c:v>0.22689138061812728</c:v>
                </c:pt>
                <c:pt idx="46">
                  <c:v>0.22649422676120015</c:v>
                </c:pt>
                <c:pt idx="47">
                  <c:v>0.22563377228065876</c:v>
                </c:pt>
                <c:pt idx="48">
                  <c:v>0.22460700446045276</c:v>
                </c:pt>
                <c:pt idx="49">
                  <c:v>0.2273473165489836</c:v>
                </c:pt>
                <c:pt idx="50">
                  <c:v>0.22792967983674198</c:v>
                </c:pt>
                <c:pt idx="51">
                  <c:v>0.2262583161239009</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3.6701</c:v>
                </c:pt>
                <c:pt idx="1">
                  <c:v>886.5383</c:v>
                </c:pt>
                <c:pt idx="2">
                  <c:v>921.0738</c:v>
                </c:pt>
                <c:pt idx="3">
                  <c:v>943.6158</c:v>
                </c:pt>
                <c:pt idx="4">
                  <c:v>955.2278</c:v>
                </c:pt>
                <c:pt idx="5">
                  <c:v>945.1153</c:v>
                </c:pt>
                <c:pt idx="6">
                  <c:v>886.3731</c:v>
                </c:pt>
                <c:pt idx="7">
                  <c:v>893.6908</c:v>
                </c:pt>
                <c:pt idx="8">
                  <c:v>889.9513</c:v>
                </c:pt>
                <c:pt idx="9">
                  <c:v>849.9822</c:v>
                </c:pt>
                <c:pt idx="10">
                  <c:v>841.0393</c:v>
                </c:pt>
                <c:pt idx="11">
                  <c:v>906.9575</c:v>
                </c:pt>
                <c:pt idx="12">
                  <c:v>926.2898</c:v>
                </c:pt>
                <c:pt idx="13">
                  <c:v>932.6671</c:v>
                </c:pt>
                <c:pt idx="14">
                  <c:v>912.0037</c:v>
                </c:pt>
                <c:pt idx="15">
                  <c:v>966.3309</c:v>
                </c:pt>
                <c:pt idx="16">
                  <c:v>997.7156</c:v>
                </c:pt>
                <c:pt idx="17">
                  <c:v>1027.4605</c:v>
                </c:pt>
                <c:pt idx="18">
                  <c:v>1080.4463</c:v>
                </c:pt>
                <c:pt idx="19">
                  <c:v>1019.5209</c:v>
                </c:pt>
                <c:pt idx="20">
                  <c:v>1099.6619</c:v>
                </c:pt>
                <c:pt idx="21">
                  <c:v>1099.2903</c:v>
                </c:pt>
                <c:pt idx="22">
                  <c:v>1026.6667</c:v>
                </c:pt>
                <c:pt idx="23">
                  <c:v>1021.137</c:v>
                </c:pt>
                <c:pt idx="24">
                  <c:v>1041.7172</c:v>
                </c:pt>
                <c:pt idx="25">
                  <c:v>1005.486</c:v>
                </c:pt>
                <c:pt idx="26">
                  <c:v>996.6401</c:v>
                </c:pt>
                <c:pt idx="27">
                  <c:v>1012.0389</c:v>
                </c:pt>
                <c:pt idx="28">
                  <c:v>1017.334</c:v>
                </c:pt>
                <c:pt idx="29">
                  <c:v>990.9968</c:v>
                </c:pt>
                <c:pt idx="30">
                  <c:v>997.5787</c:v>
                </c:pt>
                <c:pt idx="31">
                  <c:v>983.3239</c:v>
                </c:pt>
                <c:pt idx="32">
                  <c:v>948.066</c:v>
                </c:pt>
                <c:pt idx="33">
                  <c:v>908.1381</c:v>
                </c:pt>
                <c:pt idx="34">
                  <c:v>935.7292</c:v>
                </c:pt>
                <c:pt idx="35">
                  <c:v>969.3883</c:v>
                </c:pt>
                <c:pt idx="36">
                  <c:v>1063.3891</c:v>
                </c:pt>
                <c:pt idx="37">
                  <c:v>1085.4839</c:v>
                </c:pt>
                <c:pt idx="38">
                  <c:v>1146.171</c:v>
                </c:pt>
                <c:pt idx="39">
                  <c:v>1153.5717</c:v>
                </c:pt>
                <c:pt idx="40">
                  <c:v>1146.2422</c:v>
                </c:pt>
                <c:pt idx="41">
                  <c:v>1195.7965</c:v>
                </c:pt>
                <c:pt idx="42">
                  <c:v>1210.7996</c:v>
                </c:pt>
                <c:pt idx="43">
                  <c:v>1217.7174</c:v>
                </c:pt>
                <c:pt idx="44">
                  <c:v>1135.4175</c:v>
                </c:pt>
                <c:pt idx="45">
                  <c:v>1094.4982</c:v>
                </c:pt>
                <c:pt idx="46">
                  <c:v>1089.033</c:v>
                </c:pt>
                <c:pt idx="47">
                  <c:v>1070.7638</c:v>
                </c:pt>
                <c:pt idx="48">
                  <c:v>1073.8016</c:v>
                </c:pt>
                <c:pt idx="49">
                  <c:v>1039.8065</c:v>
                </c:pt>
                <c:pt idx="50">
                  <c:v>1031.5567</c:v>
                </c:pt>
                <c:pt idx="51">
                  <c:v>1047.5706</c:v>
                </c:pt>
                <c:pt idx="52">
                  <c:v>1069.9503</c:v>
                </c:pt>
                <c:pt idx="53">
                  <c:v>1164.8676</c:v>
                </c:pt>
                <c:pt idx="54">
                  <c:v>1137.9951</c:v>
                </c:pt>
                <c:pt idx="55">
                  <c:v>1158.3452</c:v>
                </c:pt>
                <c:pt idx="56">
                  <c:v>1182.1345</c:v>
                </c:pt>
                <c:pt idx="57">
                  <c:v>1141.9197</c:v>
                </c:pt>
                <c:pt idx="58">
                  <c:v>1065.5152</c:v>
                </c:pt>
                <c:pt idx="59">
                  <c:v>1089.122</c:v>
                </c:pt>
                <c:pt idx="60">
                  <c:v>1111.0186</c:v>
                </c:pt>
                <c:pt idx="61">
                  <c:v>1124.8388</c:v>
                </c:pt>
                <c:pt idx="62">
                  <c:v>1046.6471</c:v>
                </c:pt>
                <c:pt idx="63">
                  <c:v>1076.9619</c:v>
                </c:pt>
                <c:pt idx="64">
                  <c:v>1093.2259</c:v>
                </c:pt>
                <c:pt idx="65">
                  <c:v>1083.2945</c:v>
                </c:pt>
                <c:pt idx="66">
                  <c:v>1100.9611</c:v>
                </c:pt>
                <c:pt idx="67">
                  <c:v>1124.8516</c:v>
                </c:pt>
                <c:pt idx="68">
                  <c:v>1149.4213</c:v>
                </c:pt>
                <c:pt idx="69">
                  <c:v>1205.0874</c:v>
                </c:pt>
                <c:pt idx="70">
                  <c:v>1184.9461</c:v>
                </c:pt>
                <c:pt idx="71">
                  <c:v>1266.3717</c:v>
                </c:pt>
                <c:pt idx="72">
                  <c:v>1331.8848</c:v>
                </c:pt>
                <c:pt idx="73">
                  <c:v>1309.0888</c:v>
                </c:pt>
                <c:pt idx="74">
                  <c:v>1278.2306</c:v>
                </c:pt>
                <c:pt idx="75">
                  <c:v>1234.5493</c:v>
                </c:pt>
                <c:pt idx="76">
                  <c:v>1243.8091</c:v>
                </c:pt>
                <c:pt idx="77">
                  <c:v>1238.4457</c:v>
                </c:pt>
                <c:pt idx="78">
                  <c:v>1282.0</c:v>
                </c:pt>
                <c:pt idx="79">
                  <c:v>1208.098</c:v>
                </c:pt>
                <c:pt idx="80">
                  <c:v>1249.2141</c:v>
                </c:pt>
                <c:pt idx="81">
                  <c:v>1206.1981</c:v>
                </c:pt>
                <c:pt idx="82">
                  <c:v>1228.2387</c:v>
                </c:pt>
                <c:pt idx="83">
                  <c:v>1214.7014</c:v>
                </c:pt>
                <c:pt idx="84">
                  <c:v>1216.3857</c:v>
                </c:pt>
                <c:pt idx="85">
                  <c:v>1174.9187</c:v>
                </c:pt>
                <c:pt idx="86">
                  <c:v>1184.8621</c:v>
                </c:pt>
                <c:pt idx="87">
                  <c:v>1180.1866</c:v>
                </c:pt>
                <c:pt idx="88">
                  <c:v>1223.9253</c:v>
                </c:pt>
                <c:pt idx="89">
                  <c:v>1207.7945</c:v>
                </c:pt>
                <c:pt idx="90">
                  <c:v>1290.75</c:v>
                </c:pt>
                <c:pt idx="91">
                  <c:v>1307.0845</c:v>
                </c:pt>
                <c:pt idx="92">
                  <c:v>1245.1933</c:v>
                </c:pt>
                <c:pt idx="93">
                  <c:v>1297.8626</c:v>
                </c:pt>
                <c:pt idx="94">
                  <c:v>1286.0786</c:v>
                </c:pt>
                <c:pt idx="95">
                  <c:v>1224.9831</c:v>
                </c:pt>
                <c:pt idx="96">
                  <c:v>1167.4927</c:v>
                </c:pt>
                <c:pt idx="97">
                  <c:v>1140.0547</c:v>
                </c:pt>
                <c:pt idx="98">
                  <c:v>1142.1306</c:v>
                </c:pt>
                <c:pt idx="99">
                  <c:v>1111.847</c:v>
                </c:pt>
                <c:pt idx="100">
                  <c:v>1108.2128</c:v>
                </c:pt>
                <c:pt idx="101">
                  <c:v>1111.6454</c:v>
                </c:pt>
                <c:pt idx="102">
                  <c:v>1131.1723</c:v>
                </c:pt>
                <c:pt idx="103">
                  <c:v>1122.6419</c:v>
                </c:pt>
                <c:pt idx="104">
                  <c:v>1181.099</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60.0109175154442</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60.0109175154442</c:v>
                </c:pt>
                <c:pt idx="1">
                  <c:v>860.0109175154442</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1.1776070655858</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1.1776070655858</c:v>
                </c:pt>
                <c:pt idx="1">
                  <c:v>1151.1776070655858</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4.876650913108</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4.876650913108</c:v>
                </c:pt>
                <c:pt idx="1">
                  <c:v>1244.876650913108</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pt idx="52">
                  <c:v>1151.1776070655858</c:v>
                </c:pt>
                <c:pt idx="53">
                  <c:v>860.0109175154442</c:v>
                </c:pt>
                <c:pt idx="54">
                  <c:v>1244.876650913108</c:v>
                </c:pt>
              </c:numCache>
            </c:numRef>
          </c:xVal>
          <c:yVal>
            <c:numRef>
              <c:f>Sheet1!$B$187:$B$241</c:f>
              <c:numCache>
                <c:formatCode>General</c:formatCode>
                <c:ptCount val="55"/>
                <c:pt idx="0">
                  <c:v>0.22568744633022322</c:v>
                </c:pt>
                <c:pt idx="1">
                  <c:v>0.22514426058528547</c:v>
                </c:pt>
                <c:pt idx="2">
                  <c:v>0.22387535528192465</c:v>
                </c:pt>
                <c:pt idx="3">
                  <c:v>0.22891606490267685</c:v>
                </c:pt>
                <c:pt idx="4">
                  <c:v>0.22572492454593432</c:v>
                </c:pt>
                <c:pt idx="5">
                  <c:v>0.223716307448977</c:v>
                </c:pt>
                <c:pt idx="6">
                  <c:v>0.24093536731855572</c:v>
                </c:pt>
                <c:pt idx="7">
                  <c:v>0.23767777074426363</c:v>
                </c:pt>
                <c:pt idx="8">
                  <c:v>0.22851321548092826</c:v>
                </c:pt>
                <c:pt idx="9">
                  <c:v>0.23578438950128391</c:v>
                </c:pt>
                <c:pt idx="10">
                  <c:v>0.23381503069729348</c:v>
                </c:pt>
                <c:pt idx="11">
                  <c:v>0.25196732021655566</c:v>
                </c:pt>
                <c:pt idx="12">
                  <c:v>0.24584864272646115</c:v>
                </c:pt>
                <c:pt idx="13">
                  <c:v>0.2354640031933385</c:v>
                </c:pt>
                <c:pt idx="14">
                  <c:v>0.23891148847396348</c:v>
                </c:pt>
                <c:pt idx="15">
                  <c:v>0.23192843858617304</c:v>
                </c:pt>
                <c:pt idx="16">
                  <c:v>0.23170762621216398</c:v>
                </c:pt>
                <c:pt idx="17">
                  <c:v>0.23380377067372196</c:v>
                </c:pt>
                <c:pt idx="18">
                  <c:v>0.23691436598440208</c:v>
                </c:pt>
                <c:pt idx="19">
                  <c:v>0.21280556539295278</c:v>
                </c:pt>
                <c:pt idx="20">
                  <c:v>0.21127772094459255</c:v>
                </c:pt>
                <c:pt idx="21">
                  <c:v>0.2328627721597361</c:v>
                </c:pt>
                <c:pt idx="22">
                  <c:v>0.22269388074982505</c:v>
                </c:pt>
                <c:pt idx="23">
                  <c:v>0.22499713513023706</c:v>
                </c:pt>
                <c:pt idx="24">
                  <c:v>0.22334585819309347</c:v>
                </c:pt>
                <c:pt idx="25">
                  <c:v>0.22944387850759174</c:v>
                </c:pt>
                <c:pt idx="26">
                  <c:v>0.2275852156706242</c:v>
                </c:pt>
                <c:pt idx="27">
                  <c:v>0.22944563098675053</c:v>
                </c:pt>
                <c:pt idx="28">
                  <c:v>0.2246059735025633</c:v>
                </c:pt>
                <c:pt idx="29">
                  <c:v>0.22542478144213032</c:v>
                </c:pt>
                <c:pt idx="30">
                  <c:v>0.2261922293232008</c:v>
                </c:pt>
                <c:pt idx="31">
                  <c:v>0.23078889936244823</c:v>
                </c:pt>
                <c:pt idx="32">
                  <c:v>0.22278484407750085</c:v>
                </c:pt>
                <c:pt idx="33">
                  <c:v>0.22588554547041037</c:v>
                </c:pt>
                <c:pt idx="34">
                  <c:v>0.22328721223699183</c:v>
                </c:pt>
                <c:pt idx="35">
                  <c:v>0.2146177392355423</c:v>
                </c:pt>
                <c:pt idx="36">
                  <c:v>0.2078959467328984</c:v>
                </c:pt>
                <c:pt idx="37">
                  <c:v>0.2145137496060877</c:v>
                </c:pt>
                <c:pt idx="38">
                  <c:v>0.20503432765420468</c:v>
                </c:pt>
                <c:pt idx="39">
                  <c:v>0.21709658650804692</c:v>
                </c:pt>
                <c:pt idx="40">
                  <c:v>0.21221486952404844</c:v>
                </c:pt>
                <c:pt idx="41">
                  <c:v>0.20718634446311693</c:v>
                </c:pt>
                <c:pt idx="42">
                  <c:v>0.20766528183826424</c:v>
                </c:pt>
                <c:pt idx="43">
                  <c:v>0.2092211659531653</c:v>
                </c:pt>
                <c:pt idx="44">
                  <c:v>0.22163036048425644</c:v>
                </c:pt>
                <c:pt idx="45">
                  <c:v>0.23111710973089006</c:v>
                </c:pt>
                <c:pt idx="46">
                  <c:v>0.23029373430627137</c:v>
                </c:pt>
                <c:pt idx="47">
                  <c:v>0.23408110395036455</c:v>
                </c:pt>
                <c:pt idx="48">
                  <c:v>0.23494626289382461</c:v>
                </c:pt>
                <c:pt idx="49">
                  <c:v>0.23150421443830646</c:v>
                </c:pt>
                <c:pt idx="50">
                  <c:v>0.2378393852002313</c:v>
                </c:pt>
                <c:pt idx="51">
                  <c:v>0.23902337115915692</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769831032295316</c:v>
                </c:pt>
                <c:pt idx="1">
                  <c:v>0.42527336724627984</c:v>
                </c:pt>
                <c:pt idx="2">
                  <c:v>0.45631215671268344</c:v>
                </c:pt>
                <c:pt idx="3">
                  <c:v>0.45416886684117896</c:v>
                </c:pt>
                <c:pt idx="4">
                  <c:v>0.5109625067031119</c:v>
                </c:pt>
                <c:pt idx="5">
                  <c:v>0.4728472689522332</c:v>
                </c:pt>
                <c:pt idx="6">
                  <c:v>0.45837852054980405</c:v>
                </c:pt>
                <c:pt idx="7">
                  <c:v>0.38470356062156713</c:v>
                </c:pt>
                <c:pt idx="8">
                  <c:v>0.39060688269433425</c:v>
                </c:pt>
                <c:pt idx="9">
                  <c:v>0.4043761071514461</c:v>
                </c:pt>
                <c:pt idx="10">
                  <c:v>0.479968308734062</c:v>
                </c:pt>
                <c:pt idx="11">
                  <c:v>0.43322825344228394</c:v>
                </c:pt>
                <c:pt idx="12">
                  <c:v>0.45084211742086655</c:v>
                </c:pt>
                <c:pt idx="13">
                  <c:v>0.41092496228759207</c:v>
                </c:pt>
                <c:pt idx="14">
                  <c:v>0.37206037797427816</c:v>
                </c:pt>
                <c:pt idx="15">
                  <c:v>0.3760530110772732</c:v>
                </c:pt>
                <c:pt idx="16">
                  <c:v>0.3514041045978097</c:v>
                </c:pt>
                <c:pt idx="17">
                  <c:v>0.38519987562158275</c:v>
                </c:pt>
                <c:pt idx="18">
                  <c:v>0.3682650333905681</c:v>
                </c:pt>
                <c:pt idx="19">
                  <c:v>0.3508330695113558</c:v>
                </c:pt>
                <c:pt idx="20">
                  <c:v>0.43227283859040444</c:v>
                </c:pt>
                <c:pt idx="21">
                  <c:v>0.4190007241957615</c:v>
                </c:pt>
                <c:pt idx="22">
                  <c:v>0.35942227865151816</c:v>
                </c:pt>
                <c:pt idx="23">
                  <c:v>0.346142116240487</c:v>
                </c:pt>
                <c:pt idx="24">
                  <c:v>0.3663121722185235</c:v>
                </c:pt>
                <c:pt idx="25">
                  <c:v>0.34586416715471285</c:v>
                </c:pt>
                <c:pt idx="26">
                  <c:v>0.3152532364427821</c:v>
                </c:pt>
                <c:pt idx="27">
                  <c:v>0.32019196225676666</c:v>
                </c:pt>
                <c:pt idx="28">
                  <c:v>0.3519374959416801</c:v>
                </c:pt>
                <c:pt idx="29">
                  <c:v>0.31479748307322747</c:v>
                </c:pt>
                <c:pt idx="30">
                  <c:v>0.2993759816169139</c:v>
                </c:pt>
                <c:pt idx="31">
                  <c:v>0.3283375023135494</c:v>
                </c:pt>
                <c:pt idx="32">
                  <c:v>0.33392288221602284</c:v>
                </c:pt>
                <c:pt idx="33">
                  <c:v>0.32533686411061946</c:v>
                </c:pt>
                <c:pt idx="34">
                  <c:v>0.3193501446126045</c:v>
                </c:pt>
                <c:pt idx="35">
                  <c:v>0.34791143131822805</c:v>
                </c:pt>
                <c:pt idx="36">
                  <c:v>0.300781598924303</c:v>
                </c:pt>
                <c:pt idx="37">
                  <c:v>0.4116732389349371</c:v>
                </c:pt>
                <c:pt idx="38">
                  <c:v>0.37860190426183343</c:v>
                </c:pt>
                <c:pt idx="39">
                  <c:v>0.405878964669403</c:v>
                </c:pt>
                <c:pt idx="40">
                  <c:v>0.4108545186956655</c:v>
                </c:pt>
                <c:pt idx="41">
                  <c:v>0.4489925442163016</c:v>
                </c:pt>
                <c:pt idx="42">
                  <c:v>0.46495980638495854</c:v>
                </c:pt>
                <c:pt idx="43">
                  <c:v>0.44418323067936344</c:v>
                </c:pt>
                <c:pt idx="44">
                  <c:v>0.47221788764065886</c:v>
                </c:pt>
                <c:pt idx="45">
                  <c:v>0.48235955964840804</c:v>
                </c:pt>
                <c:pt idx="46">
                  <c:v>0.5038833469055374</c:v>
                </c:pt>
                <c:pt idx="47">
                  <c:v>0.511963291163147</c:v>
                </c:pt>
                <c:pt idx="48">
                  <c:v>0.5139451568973439</c:v>
                </c:pt>
                <c:pt idx="49">
                  <c:v>0.4430128348511476</c:v>
                </c:pt>
                <c:pt idx="50">
                  <c:v>0.2893724651495762</c:v>
                </c:pt>
                <c:pt idx="51">
                  <c:v>0.25395511156823447</c:v>
                </c:pt>
                <c:pt idx="52">
                  <c:v>0.2628242708215988</c:v>
                </c:pt>
                <c:pt idx="53">
                  <c:v>0.2427696947469129</c:v>
                </c:pt>
                <c:pt idx="54">
                  <c:v>0.2249580129282227</c:v>
                </c:pt>
                <c:pt idx="55">
                  <c:v>0.29150868316198</c:v>
                </c:pt>
                <c:pt idx="56">
                  <c:v>0.3532802176293249</c:v>
                </c:pt>
                <c:pt idx="57">
                  <c:v>0.5136812333427035</c:v>
                </c:pt>
                <c:pt idx="58">
                  <c:v>0.45494503035898176</c:v>
                </c:pt>
                <c:pt idx="59">
                  <c:v>0.4011547542821144</c:v>
                </c:pt>
                <c:pt idx="60">
                  <c:v>0.31166365574506283</c:v>
                </c:pt>
                <c:pt idx="61">
                  <c:v>0.3079037041388353</c:v>
                </c:pt>
                <c:pt idx="62">
                  <c:v>0.404603684828145</c:v>
                </c:pt>
                <c:pt idx="63">
                  <c:v>0.3937611187979104</c:v>
                </c:pt>
                <c:pt idx="64">
                  <c:v>0.39226804606449683</c:v>
                </c:pt>
                <c:pt idx="65">
                  <c:v>0.33975050964403325</c:v>
                </c:pt>
                <c:pt idx="66">
                  <c:v>0.4072047156637919</c:v>
                </c:pt>
                <c:pt idx="67">
                  <c:v>0.39900422365331695</c:v>
                </c:pt>
                <c:pt idx="68">
                  <c:v>0.390246165598608</c:v>
                </c:pt>
                <c:pt idx="69">
                  <c:v>0.43783254239746394</c:v>
                </c:pt>
                <c:pt idx="70">
                  <c:v>0.4069575319296746</c:v>
                </c:pt>
                <c:pt idx="71">
                  <c:v>0.4177122735936678</c:v>
                </c:pt>
                <c:pt idx="72">
                  <c:v>0.4392204639829009</c:v>
                </c:pt>
                <c:pt idx="73">
                  <c:v>0.40317727725042507</c:v>
                </c:pt>
                <c:pt idx="74">
                  <c:v>0.4091829178960614</c:v>
                </c:pt>
                <c:pt idx="75">
                  <c:v>0.37369004470449985</c:v>
                </c:pt>
                <c:pt idx="76">
                  <c:v>0.3959770263692728</c:v>
                </c:pt>
                <c:pt idx="77">
                  <c:v>0.40194556675170806</c:v>
                </c:pt>
                <c:pt idx="78">
                  <c:v>0.4204810480303169</c:v>
                </c:pt>
                <c:pt idx="79">
                  <c:v>0.3979714982625572</c:v>
                </c:pt>
                <c:pt idx="80">
                  <c:v>0.4235983459505462</c:v>
                </c:pt>
                <c:pt idx="81">
                  <c:v>0.4106424654819092</c:v>
                </c:pt>
                <c:pt idx="82">
                  <c:v>0.47907995675232407</c:v>
                </c:pt>
                <c:pt idx="83">
                  <c:v>0.35630583753657574</c:v>
                </c:pt>
                <c:pt idx="84">
                  <c:v>0.3709512651404423</c:v>
                </c:pt>
                <c:pt idx="85">
                  <c:v>0.3514939331389542</c:v>
                </c:pt>
                <c:pt idx="86">
                  <c:v>0.31504546143205975</c:v>
                </c:pt>
                <c:pt idx="87">
                  <c:v>0.3231968358445956</c:v>
                </c:pt>
                <c:pt idx="88">
                  <c:v>0.313311506168812</c:v>
                </c:pt>
                <c:pt idx="89">
                  <c:v>0.2972418010798998</c:v>
                </c:pt>
                <c:pt idx="90">
                  <c:v>0.31339269572493755</c:v>
                </c:pt>
                <c:pt idx="91">
                  <c:v>0.3273408863632818</c:v>
                </c:pt>
                <c:pt idx="92">
                  <c:v>0.3244313549115216</c:v>
                </c:pt>
                <c:pt idx="93">
                  <c:v>0.34320295247135457</c:v>
                </c:pt>
                <c:pt idx="94">
                  <c:v>0.32575746139098144</c:v>
                </c:pt>
                <c:pt idx="95">
                  <c:v>0.43311533836727545</c:v>
                </c:pt>
                <c:pt idx="96">
                  <c:v>0.39197090177842764</c:v>
                </c:pt>
                <c:pt idx="97">
                  <c:v>0.36988137532557325</c:v>
                </c:pt>
                <c:pt idx="98">
                  <c:v>0.41554827107298303</c:v>
                </c:pt>
                <c:pt idx="99">
                  <c:v>0.4453583112252468</c:v>
                </c:pt>
                <c:pt idx="100">
                  <c:v>0.4251851579021679</c:v>
                </c:pt>
                <c:pt idx="101">
                  <c:v>0.3978413372191068</c:v>
                </c:pt>
                <c:pt idx="102">
                  <c:v>0.3834288838776917</c:v>
                </c:pt>
                <c:pt idx="103">
                  <c:v>0.381170778065605</c:v>
                </c:pt>
                <c:pt idx="104">
                  <c:v>0.3746156705125042</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7567791005443296</c:v>
                </c:pt>
                <c:pt idx="1">
                  <c:v>0.4059705051430386</c:v>
                </c:pt>
                <c:pt idx="2">
                  <c:v>0.3950067043459147</c:v>
                </c:pt>
                <c:pt idx="3">
                  <c:v>0.3975669555602055</c:v>
                </c:pt>
                <c:pt idx="4">
                  <c:v>0.36201534483472403</c:v>
                </c:pt>
                <c:pt idx="5">
                  <c:v>0.3549154973750628</c:v>
                </c:pt>
                <c:pt idx="6">
                  <c:v>0.393570381306586</c:v>
                </c:pt>
                <c:pt idx="7">
                  <c:v>0.3986615671399958</c:v>
                </c:pt>
                <c:pt idx="8">
                  <c:v>0.35602859549589927</c:v>
                </c:pt>
                <c:pt idx="9">
                  <c:v>0.35892732686663137</c:v>
                </c:pt>
                <c:pt idx="10">
                  <c:v>0.3990120931825968</c:v>
                </c:pt>
                <c:pt idx="11">
                  <c:v>0.3872796835366431</c:v>
                </c:pt>
                <c:pt idx="12">
                  <c:v>0.4653706608753653</c:v>
                </c:pt>
                <c:pt idx="13">
                  <c:v>0.5168458410788117</c:v>
                </c:pt>
                <c:pt idx="14">
                  <c:v>0.4901716017788657</c:v>
                </c:pt>
                <c:pt idx="15">
                  <c:v>0.41082388130864056</c:v>
                </c:pt>
                <c:pt idx="16">
                  <c:v>0.407352255768087</c:v>
                </c:pt>
                <c:pt idx="17">
                  <c:v>0.3680401136641869</c:v>
                </c:pt>
                <c:pt idx="18">
                  <c:v>0.33974775422595277</c:v>
                </c:pt>
                <c:pt idx="19">
                  <c:v>0.40917726143050276</c:v>
                </c:pt>
                <c:pt idx="20">
                  <c:v>0.3504369281878165</c:v>
                </c:pt>
                <c:pt idx="21">
                  <c:v>0.3094059479805814</c:v>
                </c:pt>
                <c:pt idx="22">
                  <c:v>0.3531066975156917</c:v>
                </c:pt>
                <c:pt idx="23">
                  <c:v>0.34819500338341486</c:v>
                </c:pt>
                <c:pt idx="24">
                  <c:v>0.34979201702210017</c:v>
                </c:pt>
                <c:pt idx="25">
                  <c:v>0.31659157940151483</c:v>
                </c:pt>
                <c:pt idx="26">
                  <c:v>0.3304267868711543</c:v>
                </c:pt>
                <c:pt idx="27">
                  <c:v>0.35029820037413756</c:v>
                </c:pt>
                <c:pt idx="28">
                  <c:v>0.41789389557508705</c:v>
                </c:pt>
                <c:pt idx="29">
                  <c:v>0.4093999684511456</c:v>
                </c:pt>
                <c:pt idx="30">
                  <c:v>0.4007776011448181</c:v>
                </c:pt>
                <c:pt idx="31">
                  <c:v>0.30030986689473066</c:v>
                </c:pt>
                <c:pt idx="32">
                  <c:v>0.32076700859889107</c:v>
                </c:pt>
                <c:pt idx="33">
                  <c:v>0.30312248974967165</c:v>
                </c:pt>
                <c:pt idx="34">
                  <c:v>0.32362947423234073</c:v>
                </c:pt>
                <c:pt idx="35">
                  <c:v>0.3127586038818204</c:v>
                </c:pt>
                <c:pt idx="36">
                  <c:v>0.3563789669940405</c:v>
                </c:pt>
                <c:pt idx="37">
                  <c:v>0.3174787927529707</c:v>
                </c:pt>
                <c:pt idx="38">
                  <c:v>0.35855076392976754</c:v>
                </c:pt>
                <c:pt idx="39">
                  <c:v>0.3521718926595489</c:v>
                </c:pt>
                <c:pt idx="40">
                  <c:v>0.36653370936663476</c:v>
                </c:pt>
                <c:pt idx="41">
                  <c:v>0.36136869590213677</c:v>
                </c:pt>
                <c:pt idx="42">
                  <c:v>0.3578759001598816</c:v>
                </c:pt>
                <c:pt idx="43">
                  <c:v>0.37055688786130636</c:v>
                </c:pt>
                <c:pt idx="44">
                  <c:v>0.4035995239329963</c:v>
                </c:pt>
                <c:pt idx="45">
                  <c:v>0.40087416842920587</c:v>
                </c:pt>
                <c:pt idx="46">
                  <c:v>0.38357547534643893</c:v>
                </c:pt>
                <c:pt idx="47">
                  <c:v>0.4064221579657601</c:v>
                </c:pt>
                <c:pt idx="48">
                  <c:v>0.42259348713591444</c:v>
                </c:pt>
                <c:pt idx="49">
                  <c:v>0.46532149891763536</c:v>
                </c:pt>
                <c:pt idx="50">
                  <c:v>0.46629068655687766</c:v>
                </c:pt>
                <c:pt idx="51">
                  <c:v>0.3811191341624644</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409438903644086</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409438903644086</c:v>
                </c:pt>
                <c:pt idx="1">
                  <c:v>0.8409438903644086</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630602271382328</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630602271382328</c:v>
                </c:pt>
                <c:pt idx="1">
                  <c:v>0.4630602271382328</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414551837021282</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414551837021282</c:v>
                </c:pt>
                <c:pt idx="1">
                  <c:v>0.3414551837021282</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7567791005443296</c:v>
                </c:pt>
                <c:pt idx="1">
                  <c:v>0.4059705051430386</c:v>
                </c:pt>
                <c:pt idx="2">
                  <c:v>0.3950067043459147</c:v>
                </c:pt>
                <c:pt idx="3">
                  <c:v>0.3975669555602055</c:v>
                </c:pt>
                <c:pt idx="4">
                  <c:v>0.36201534483472403</c:v>
                </c:pt>
                <c:pt idx="5">
                  <c:v>0.3549154973750628</c:v>
                </c:pt>
                <c:pt idx="6">
                  <c:v>0.393570381306586</c:v>
                </c:pt>
                <c:pt idx="7">
                  <c:v>0.3986615671399958</c:v>
                </c:pt>
                <c:pt idx="8">
                  <c:v>0.35602859549589927</c:v>
                </c:pt>
                <c:pt idx="9">
                  <c:v>0.35892732686663137</c:v>
                </c:pt>
                <c:pt idx="10">
                  <c:v>0.3990120931825968</c:v>
                </c:pt>
                <c:pt idx="11">
                  <c:v>0.3872796835366431</c:v>
                </c:pt>
                <c:pt idx="12">
                  <c:v>0.4653706608753653</c:v>
                </c:pt>
                <c:pt idx="13">
                  <c:v>0.5168458410788117</c:v>
                </c:pt>
                <c:pt idx="14">
                  <c:v>0.4901716017788657</c:v>
                </c:pt>
                <c:pt idx="15">
                  <c:v>0.41082388130864056</c:v>
                </c:pt>
                <c:pt idx="16">
                  <c:v>0.407352255768087</c:v>
                </c:pt>
                <c:pt idx="17">
                  <c:v>0.3680401136641869</c:v>
                </c:pt>
                <c:pt idx="18">
                  <c:v>0.33974775422595277</c:v>
                </c:pt>
                <c:pt idx="19">
                  <c:v>0.40917726143050276</c:v>
                </c:pt>
                <c:pt idx="20">
                  <c:v>0.3504369281878165</c:v>
                </c:pt>
                <c:pt idx="21">
                  <c:v>0.3094059479805814</c:v>
                </c:pt>
                <c:pt idx="22">
                  <c:v>0.3531066975156917</c:v>
                </c:pt>
                <c:pt idx="23">
                  <c:v>0.34819500338341486</c:v>
                </c:pt>
                <c:pt idx="24">
                  <c:v>0.34979201702210017</c:v>
                </c:pt>
                <c:pt idx="25">
                  <c:v>0.31659157940151483</c:v>
                </c:pt>
                <c:pt idx="26">
                  <c:v>0.3304267868711543</c:v>
                </c:pt>
                <c:pt idx="27">
                  <c:v>0.35029820037413756</c:v>
                </c:pt>
                <c:pt idx="28">
                  <c:v>0.41789389557508705</c:v>
                </c:pt>
                <c:pt idx="29">
                  <c:v>0.4093999684511456</c:v>
                </c:pt>
                <c:pt idx="30">
                  <c:v>0.4007776011448181</c:v>
                </c:pt>
                <c:pt idx="31">
                  <c:v>0.30030986689473066</c:v>
                </c:pt>
                <c:pt idx="32">
                  <c:v>0.32076700859889107</c:v>
                </c:pt>
                <c:pt idx="33">
                  <c:v>0.30312248974967165</c:v>
                </c:pt>
                <c:pt idx="34">
                  <c:v>0.32362947423234073</c:v>
                </c:pt>
                <c:pt idx="35">
                  <c:v>0.3127586038818204</c:v>
                </c:pt>
                <c:pt idx="36">
                  <c:v>0.3563789669940405</c:v>
                </c:pt>
                <c:pt idx="37">
                  <c:v>0.3174787927529707</c:v>
                </c:pt>
                <c:pt idx="38">
                  <c:v>0.35855076392976754</c:v>
                </c:pt>
                <c:pt idx="39">
                  <c:v>0.3521718926595489</c:v>
                </c:pt>
                <c:pt idx="40">
                  <c:v>0.36653370936663476</c:v>
                </c:pt>
                <c:pt idx="41">
                  <c:v>0.36136869590213677</c:v>
                </c:pt>
                <c:pt idx="42">
                  <c:v>0.3578759001598816</c:v>
                </c:pt>
                <c:pt idx="43">
                  <c:v>0.37055688786130636</c:v>
                </c:pt>
                <c:pt idx="44">
                  <c:v>0.4035995239329963</c:v>
                </c:pt>
                <c:pt idx="45">
                  <c:v>0.40087416842920587</c:v>
                </c:pt>
                <c:pt idx="46">
                  <c:v>0.38357547534643893</c:v>
                </c:pt>
                <c:pt idx="47">
                  <c:v>0.4064221579657601</c:v>
                </c:pt>
                <c:pt idx="48">
                  <c:v>0.42259348713591444</c:v>
                </c:pt>
                <c:pt idx="49">
                  <c:v>0.46532149891763536</c:v>
                </c:pt>
                <c:pt idx="50">
                  <c:v>0.46629068655687766</c:v>
                </c:pt>
                <c:pt idx="51">
                  <c:v>0.3811191341624644</c:v>
                </c:pt>
                <c:pt idx="52">
                  <c:v>0.4630602271382328</c:v>
                </c:pt>
                <c:pt idx="53">
                  <c:v>0.8409438903644086</c:v>
                </c:pt>
                <c:pt idx="54">
                  <c:v>0.3414551837021282</c:v>
                </c:pt>
              </c:numCache>
            </c:numRef>
          </c:xVal>
          <c:yVal>
            <c:numRef>
              <c:f>Sheet1!$B$187:$B$241</c:f>
              <c:numCache>
                <c:formatCode>General</c:formatCode>
                <c:ptCount val="55"/>
                <c:pt idx="0">
                  <c:v>0.22639237393888131</c:v>
                </c:pt>
                <c:pt idx="1">
                  <c:v>0.2296132142469523</c:v>
                </c:pt>
                <c:pt idx="2">
                  <c:v>0.22844749531683922</c:v>
                </c:pt>
                <c:pt idx="3">
                  <c:v>0.2287197123482839</c:v>
                </c:pt>
                <c:pt idx="4">
                  <c:v>0.22493971065128338</c:v>
                </c:pt>
                <c:pt idx="5">
                  <c:v>0.22418482402594325</c:v>
                </c:pt>
                <c:pt idx="6">
                  <c:v>0.22829477921156832</c:v>
                </c:pt>
                <c:pt idx="7">
                  <c:v>0.2288360962067007</c:v>
                </c:pt>
                <c:pt idx="8">
                  <c:v>0.22430317345371403</c:v>
                </c:pt>
                <c:pt idx="9">
                  <c:v>0.22461137916582996</c:v>
                </c:pt>
                <c:pt idx="10">
                  <c:v>0.22887336565831867</c:v>
                </c:pt>
                <c:pt idx="11">
                  <c:v>0.2276259248963781</c:v>
                </c:pt>
                <c:pt idx="12">
                  <c:v>0.23592889685284213</c:v>
                </c:pt>
                <c:pt idx="13">
                  <c:v>0.24140196163251956</c:v>
                </c:pt>
                <c:pt idx="14">
                  <c:v>0.23856584063089853</c:v>
                </c:pt>
                <c:pt idx="15">
                  <c:v>0.2301292462851015</c:v>
                </c:pt>
                <c:pt idx="16">
                  <c:v>0.22976012797606135</c:v>
                </c:pt>
                <c:pt idx="17">
                  <c:v>0.22558029024626308</c:v>
                </c:pt>
                <c:pt idx="18">
                  <c:v>0.22257212368203985</c:v>
                </c:pt>
                <c:pt idx="19">
                  <c:v>0.2299541705063488</c:v>
                </c:pt>
                <c:pt idx="20">
                  <c:v>0.22370864309398364</c:v>
                </c:pt>
                <c:pt idx="21">
                  <c:v>0.21934605102999655</c:v>
                </c:pt>
                <c:pt idx="22">
                  <c:v>0.22399250456703737</c:v>
                </c:pt>
                <c:pt idx="23">
                  <c:v>0.22347027190932417</c:v>
                </c:pt>
                <c:pt idx="24">
                  <c:v>0.22364007333719693</c:v>
                </c:pt>
                <c:pt idx="25">
                  <c:v>0.2201100585787651</c:v>
                </c:pt>
                <c:pt idx="26">
                  <c:v>0.2215810779403747</c:v>
                </c:pt>
                <c:pt idx="27">
                  <c:v>0.22369389295016662</c:v>
                </c:pt>
                <c:pt idx="28">
                  <c:v>0.2308809609157365</c:v>
                </c:pt>
                <c:pt idx="29">
                  <c:v>0.22997784968427593</c:v>
                </c:pt>
                <c:pt idx="30">
                  <c:v>0.22906108213464926</c:v>
                </c:pt>
                <c:pt idx="31">
                  <c:v>0.2183789161734055</c:v>
                </c:pt>
                <c:pt idx="32">
                  <c:v>0.2205540083500894</c:v>
                </c:pt>
                <c:pt idx="33">
                  <c:v>0.2186779664540466</c:v>
                </c:pt>
                <c:pt idx="34">
                  <c:v>0.22085835813147048</c:v>
                </c:pt>
                <c:pt idx="35">
                  <c:v>0.2197025199701523</c:v>
                </c:pt>
                <c:pt idx="36">
                  <c:v>0.22434042647349367</c:v>
                </c:pt>
                <c:pt idx="37">
                  <c:v>0.22020439095655808</c:v>
                </c:pt>
                <c:pt idx="38">
                  <c:v>0.22457134135850348</c:v>
                </c:pt>
                <c:pt idx="39">
                  <c:v>0.22389311205371726</c:v>
                </c:pt>
                <c:pt idx="40">
                  <c:v>0.22542012279716817</c:v>
                </c:pt>
                <c:pt idx="41">
                  <c:v>0.22487095612757366</c:v>
                </c:pt>
                <c:pt idx="42">
                  <c:v>0.22449958691072022</c:v>
                </c:pt>
                <c:pt idx="43">
                  <c:v>0.22584788461236757</c:v>
                </c:pt>
                <c:pt idx="44">
                  <c:v>0.22936112122459332</c:v>
                </c:pt>
                <c:pt idx="45">
                  <c:v>0.22907134958783668</c:v>
                </c:pt>
                <c:pt idx="46">
                  <c:v>0.22723207738963264</c:v>
                </c:pt>
                <c:pt idx="47">
                  <c:v>0.22966123593715151</c:v>
                </c:pt>
                <c:pt idx="48">
                  <c:v>0.23138064190662913</c:v>
                </c:pt>
                <c:pt idx="49">
                  <c:v>0.23592366973992504</c:v>
                </c:pt>
                <c:pt idx="50">
                  <c:v>0.2360267179801113</c:v>
                </c:pt>
                <c:pt idx="51">
                  <c:v>0.22697090852402113</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3.6701</c:v>
                </c:pt>
                <c:pt idx="1">
                  <c:v>886.5383</c:v>
                </c:pt>
                <c:pt idx="2">
                  <c:v>921.0738</c:v>
                </c:pt>
                <c:pt idx="3">
                  <c:v>943.6158</c:v>
                </c:pt>
                <c:pt idx="4">
                  <c:v>955.2278</c:v>
                </c:pt>
                <c:pt idx="5">
                  <c:v>945.1153</c:v>
                </c:pt>
                <c:pt idx="6">
                  <c:v>886.3731</c:v>
                </c:pt>
                <c:pt idx="7">
                  <c:v>893.6908</c:v>
                </c:pt>
                <c:pt idx="8">
                  <c:v>889.9513</c:v>
                </c:pt>
                <c:pt idx="9">
                  <c:v>849.9822</c:v>
                </c:pt>
                <c:pt idx="10">
                  <c:v>841.0393</c:v>
                </c:pt>
                <c:pt idx="11">
                  <c:v>906.9575</c:v>
                </c:pt>
                <c:pt idx="12">
                  <c:v>926.2898</c:v>
                </c:pt>
                <c:pt idx="13">
                  <c:v>932.6671</c:v>
                </c:pt>
                <c:pt idx="14">
                  <c:v>912.0037</c:v>
                </c:pt>
                <c:pt idx="15">
                  <c:v>966.3309</c:v>
                </c:pt>
                <c:pt idx="16">
                  <c:v>997.7156</c:v>
                </c:pt>
                <c:pt idx="17">
                  <c:v>1027.4605</c:v>
                </c:pt>
                <c:pt idx="18">
                  <c:v>1080.4463</c:v>
                </c:pt>
                <c:pt idx="19">
                  <c:v>1019.5209</c:v>
                </c:pt>
                <c:pt idx="20">
                  <c:v>1099.6619</c:v>
                </c:pt>
                <c:pt idx="21">
                  <c:v>1099.2903</c:v>
                </c:pt>
                <c:pt idx="22">
                  <c:v>1026.6667</c:v>
                </c:pt>
                <c:pt idx="23">
                  <c:v>1021.137</c:v>
                </c:pt>
                <c:pt idx="24">
                  <c:v>1041.7172</c:v>
                </c:pt>
                <c:pt idx="25">
                  <c:v>1005.486</c:v>
                </c:pt>
                <c:pt idx="26">
                  <c:v>996.6401</c:v>
                </c:pt>
                <c:pt idx="27">
                  <c:v>1012.0389</c:v>
                </c:pt>
                <c:pt idx="28">
                  <c:v>1017.334</c:v>
                </c:pt>
                <c:pt idx="29">
                  <c:v>990.9968</c:v>
                </c:pt>
                <c:pt idx="30">
                  <c:v>997.5787</c:v>
                </c:pt>
                <c:pt idx="31">
                  <c:v>983.3239</c:v>
                </c:pt>
                <c:pt idx="32">
                  <c:v>948.066</c:v>
                </c:pt>
                <c:pt idx="33">
                  <c:v>908.1381</c:v>
                </c:pt>
                <c:pt idx="34">
                  <c:v>935.7292</c:v>
                </c:pt>
                <c:pt idx="35">
                  <c:v>969.3883</c:v>
                </c:pt>
                <c:pt idx="36">
                  <c:v>1063.3891</c:v>
                </c:pt>
                <c:pt idx="37">
                  <c:v>1085.4839</c:v>
                </c:pt>
                <c:pt idx="38">
                  <c:v>1146.171</c:v>
                </c:pt>
                <c:pt idx="39">
                  <c:v>1153.5717</c:v>
                </c:pt>
                <c:pt idx="40">
                  <c:v>1146.2422</c:v>
                </c:pt>
                <c:pt idx="41">
                  <c:v>1195.7965</c:v>
                </c:pt>
                <c:pt idx="42">
                  <c:v>1210.7996</c:v>
                </c:pt>
                <c:pt idx="43">
                  <c:v>1217.7174</c:v>
                </c:pt>
                <c:pt idx="44">
                  <c:v>1135.4175</c:v>
                </c:pt>
                <c:pt idx="45">
                  <c:v>1094.4982</c:v>
                </c:pt>
                <c:pt idx="46">
                  <c:v>1089.033</c:v>
                </c:pt>
                <c:pt idx="47">
                  <c:v>1070.7638</c:v>
                </c:pt>
                <c:pt idx="48">
                  <c:v>1073.8016</c:v>
                </c:pt>
                <c:pt idx="49">
                  <c:v>1039.8065</c:v>
                </c:pt>
                <c:pt idx="50">
                  <c:v>1031.5567</c:v>
                </c:pt>
                <c:pt idx="51">
                  <c:v>1047.5706</c:v>
                </c:pt>
                <c:pt idx="52">
                  <c:v>1069.9503</c:v>
                </c:pt>
                <c:pt idx="53">
                  <c:v>1164.8676</c:v>
                </c:pt>
                <c:pt idx="54">
                  <c:v>1137.9951</c:v>
                </c:pt>
                <c:pt idx="55">
                  <c:v>1158.3452</c:v>
                </c:pt>
                <c:pt idx="56">
                  <c:v>1182.1345</c:v>
                </c:pt>
                <c:pt idx="57">
                  <c:v>1141.9197</c:v>
                </c:pt>
                <c:pt idx="58">
                  <c:v>1065.5152</c:v>
                </c:pt>
                <c:pt idx="59">
                  <c:v>1089.122</c:v>
                </c:pt>
                <c:pt idx="60">
                  <c:v>1111.0186</c:v>
                </c:pt>
                <c:pt idx="61">
                  <c:v>1124.8388</c:v>
                </c:pt>
                <c:pt idx="62">
                  <c:v>1046.6471</c:v>
                </c:pt>
                <c:pt idx="63">
                  <c:v>1076.9619</c:v>
                </c:pt>
                <c:pt idx="64">
                  <c:v>1093.2259</c:v>
                </c:pt>
                <c:pt idx="65">
                  <c:v>1083.2945</c:v>
                </c:pt>
                <c:pt idx="66">
                  <c:v>1100.9611</c:v>
                </c:pt>
                <c:pt idx="67">
                  <c:v>1124.8516</c:v>
                </c:pt>
                <c:pt idx="68">
                  <c:v>1149.4213</c:v>
                </c:pt>
                <c:pt idx="69">
                  <c:v>1205.0874</c:v>
                </c:pt>
                <c:pt idx="70">
                  <c:v>1184.9461</c:v>
                </c:pt>
                <c:pt idx="71">
                  <c:v>1266.3717</c:v>
                </c:pt>
                <c:pt idx="72">
                  <c:v>1331.8848</c:v>
                </c:pt>
                <c:pt idx="73">
                  <c:v>1309.0888</c:v>
                </c:pt>
                <c:pt idx="74">
                  <c:v>1278.2306</c:v>
                </c:pt>
                <c:pt idx="75">
                  <c:v>1234.5493</c:v>
                </c:pt>
                <c:pt idx="76">
                  <c:v>1243.8091</c:v>
                </c:pt>
                <c:pt idx="77">
                  <c:v>1238.4457</c:v>
                </c:pt>
                <c:pt idx="78">
                  <c:v>1282.0</c:v>
                </c:pt>
                <c:pt idx="79">
                  <c:v>1208.098</c:v>
                </c:pt>
                <c:pt idx="80">
                  <c:v>1249.2141</c:v>
                </c:pt>
                <c:pt idx="81">
                  <c:v>1206.1981</c:v>
                </c:pt>
                <c:pt idx="82">
                  <c:v>1228.2387</c:v>
                </c:pt>
                <c:pt idx="83">
                  <c:v>1214.7014</c:v>
                </c:pt>
                <c:pt idx="84">
                  <c:v>1216.3857</c:v>
                </c:pt>
                <c:pt idx="85">
                  <c:v>1174.9187</c:v>
                </c:pt>
                <c:pt idx="86">
                  <c:v>1184.8621</c:v>
                </c:pt>
                <c:pt idx="87">
                  <c:v>1180.1866</c:v>
                </c:pt>
                <c:pt idx="88">
                  <c:v>1223.9253</c:v>
                </c:pt>
                <c:pt idx="89">
                  <c:v>1207.7945</c:v>
                </c:pt>
                <c:pt idx="90">
                  <c:v>1290.75</c:v>
                </c:pt>
                <c:pt idx="91">
                  <c:v>1307.0845</c:v>
                </c:pt>
                <c:pt idx="92">
                  <c:v>1245.1933</c:v>
                </c:pt>
                <c:pt idx="93">
                  <c:v>1297.8626</c:v>
                </c:pt>
                <c:pt idx="94">
                  <c:v>1286.0786</c:v>
                </c:pt>
                <c:pt idx="95">
                  <c:v>1224.9831</c:v>
                </c:pt>
                <c:pt idx="96">
                  <c:v>1167.4927</c:v>
                </c:pt>
                <c:pt idx="97">
                  <c:v>1140.0547</c:v>
                </c:pt>
                <c:pt idx="98">
                  <c:v>1142.1306</c:v>
                </c:pt>
                <c:pt idx="99">
                  <c:v>1111.847</c:v>
                </c:pt>
                <c:pt idx="100">
                  <c:v>1108.2128</c:v>
                </c:pt>
                <c:pt idx="101">
                  <c:v>1111.6454</c:v>
                </c:pt>
                <c:pt idx="102">
                  <c:v>1131.1723</c:v>
                </c:pt>
                <c:pt idx="103">
                  <c:v>1122.6419</c:v>
                </c:pt>
                <c:pt idx="104">
                  <c:v>1181.099</c:v>
                </c:pt>
              </c:numCache>
            </c:numRef>
          </c:xVal>
          <c:yVal>
            <c:numRef>
              <c:f>Sheet1!$B$2:$B$106</c:f>
              <c:numCache>
                <c:formatCode>General</c:formatCode>
                <c:ptCount val="105"/>
                <c:pt idx="0">
                  <c:v>0.27754973160719926</c:v>
                </c:pt>
                <c:pt idx="1">
                  <c:v>0.2659537771645395</c:v>
                </c:pt>
                <c:pt idx="2">
                  <c:v>0.2489872234340916</c:v>
                </c:pt>
                <c:pt idx="3">
                  <c:v>0.25494648070061626</c:v>
                </c:pt>
                <c:pt idx="4">
                  <c:v>0.25299806576402323</c:v>
                </c:pt>
                <c:pt idx="5">
                  <c:v>0.26311475409836066</c:v>
                </c:pt>
                <c:pt idx="6">
                  <c:v>0.3054042731462086</c:v>
                </c:pt>
                <c:pt idx="7">
                  <c:v>0.30457653866386114</c:v>
                </c:pt>
                <c:pt idx="8">
                  <c:v>0.3092224231464738</c:v>
                </c:pt>
                <c:pt idx="9">
                  <c:v>0.29174379859311367</c:v>
                </c:pt>
                <c:pt idx="10">
                  <c:v>0.2935267857142857</c:v>
                </c:pt>
                <c:pt idx="11">
                  <c:v>0.2683982683982684</c:v>
                </c:pt>
                <c:pt idx="12">
                  <c:v>0.2497427101200686</c:v>
                </c:pt>
                <c:pt idx="13">
                  <c:v>0.24668874172185432</c:v>
                </c:pt>
                <c:pt idx="14">
                  <c:v>0.24349667271627345</c:v>
                </c:pt>
                <c:pt idx="15">
                  <c:v>0.20426157237325496</c:v>
                </c:pt>
                <c:pt idx="16">
                  <c:v>0.1958443854995579</c:v>
                </c:pt>
                <c:pt idx="17">
                  <c:v>0.17230046948356809</c:v>
                </c:pt>
                <c:pt idx="18">
                  <c:v>0.1616640337019484</c:v>
                </c:pt>
                <c:pt idx="19">
                  <c:v>0.16635041113219481</c:v>
                </c:pt>
                <c:pt idx="20">
                  <c:v>0.16706558161799903</c:v>
                </c:pt>
                <c:pt idx="21">
                  <c:v>0.17162629757785466</c:v>
                </c:pt>
                <c:pt idx="22">
                  <c:v>0.210880195599022</c:v>
                </c:pt>
                <c:pt idx="23">
                  <c:v>0.21291123525760397</c:v>
                </c:pt>
                <c:pt idx="24">
                  <c:v>0.22077185017026107</c:v>
                </c:pt>
                <c:pt idx="25">
                  <c:v>0.2394648829431438</c:v>
                </c:pt>
                <c:pt idx="26">
                  <c:v>0.27015384615384613</c:v>
                </c:pt>
                <c:pt idx="27">
                  <c:v>0.26082308925708175</c:v>
                </c:pt>
                <c:pt idx="28">
                  <c:v>0.2593201754385965</c:v>
                </c:pt>
                <c:pt idx="29">
                  <c:v>0.2595955427156418</c:v>
                </c:pt>
                <c:pt idx="30">
                  <c:v>0.26887871853546913</c:v>
                </c:pt>
                <c:pt idx="31">
                  <c:v>0.26290580095795635</c:v>
                </c:pt>
                <c:pt idx="32">
                  <c:v>0.27082268778742974</c:v>
                </c:pt>
                <c:pt idx="33">
                  <c:v>0.28856088560885607</c:v>
                </c:pt>
                <c:pt idx="34">
                  <c:v>0.27109826589595376</c:v>
                </c:pt>
                <c:pt idx="35">
                  <c:v>0.29112271540469975</c:v>
                </c:pt>
                <c:pt idx="36">
                  <c:v>0.2528823981552652</c:v>
                </c:pt>
                <c:pt idx="37">
                  <c:v>0.2529890004782401</c:v>
                </c:pt>
                <c:pt idx="38">
                  <c:v>0.22950819672131148</c:v>
                </c:pt>
                <c:pt idx="39">
                  <c:v>0.2222222222222222</c:v>
                </c:pt>
                <c:pt idx="40">
                  <c:v>0.239880059970015</c:v>
                </c:pt>
                <c:pt idx="41">
                  <c:v>0.21255813953488373</c:v>
                </c:pt>
                <c:pt idx="42">
                  <c:v>0.20461783439490447</c:v>
                </c:pt>
                <c:pt idx="43">
                  <c:v>0.19777857398781798</c:v>
                </c:pt>
                <c:pt idx="44">
                  <c:v>0.21973595882747818</c:v>
                </c:pt>
                <c:pt idx="45">
                  <c:v>0.2373305526590198</c:v>
                </c:pt>
                <c:pt idx="46">
                  <c:v>0.2422857142857143</c:v>
                </c:pt>
                <c:pt idx="47">
                  <c:v>0.21701680672268908</c:v>
                </c:pt>
                <c:pt idx="48">
                  <c:v>0.2269639692852924</c:v>
                </c:pt>
                <c:pt idx="49">
                  <c:v>0.2439285020400233</c:v>
                </c:pt>
                <c:pt idx="50">
                  <c:v>0.23177966101694916</c:v>
                </c:pt>
                <c:pt idx="51">
                  <c:v>0.21584454409566517</c:v>
                </c:pt>
                <c:pt idx="52">
                  <c:v>0.2178329571106095</c:v>
                </c:pt>
                <c:pt idx="53">
                  <c:v>0.20069304071614208</c:v>
                </c:pt>
                <c:pt idx="54">
                  <c:v>0.20223978919631094</c:v>
                </c:pt>
                <c:pt idx="55">
                  <c:v>0.1977135171486214</c:v>
                </c:pt>
                <c:pt idx="56">
                  <c:v>0.19446550416982564</c:v>
                </c:pt>
                <c:pt idx="57">
                  <c:v>0.20116241524055536</c:v>
                </c:pt>
                <c:pt idx="58">
                  <c:v>0.23537803138373753</c:v>
                </c:pt>
                <c:pt idx="59">
                  <c:v>0.23318892446788472</c:v>
                </c:pt>
                <c:pt idx="60">
                  <c:v>0.24347075329160373</c:v>
                </c:pt>
                <c:pt idx="61">
                  <c:v>0.23201267828843106</c:v>
                </c:pt>
                <c:pt idx="62">
                  <c:v>0.24238188426055354</c:v>
                </c:pt>
                <c:pt idx="63">
                  <c:v>0.262987012987013</c:v>
                </c:pt>
                <c:pt idx="64">
                  <c:v>0.24061433447098976</c:v>
                </c:pt>
                <c:pt idx="65">
                  <c:v>0.2219638242894057</c:v>
                </c:pt>
                <c:pt idx="66">
                  <c:v>0.22082103568553796</c:v>
                </c:pt>
                <c:pt idx="67">
                  <c:v>0.19221540922420688</c:v>
                </c:pt>
                <c:pt idx="68">
                  <c:v>0.17740863787375416</c:v>
                </c:pt>
                <c:pt idx="69">
                  <c:v>0.17216882574174677</c:v>
                </c:pt>
                <c:pt idx="70">
                  <c:v>0.17651922281934684</c:v>
                </c:pt>
                <c:pt idx="71">
                  <c:v>0.17954872779644743</c:v>
                </c:pt>
                <c:pt idx="72">
                  <c:v>0.18113522537562604</c:v>
                </c:pt>
                <c:pt idx="73">
                  <c:v>0.18584905660377357</c:v>
                </c:pt>
                <c:pt idx="74">
                  <c:v>0.18737017033651848</c:v>
                </c:pt>
                <c:pt idx="75">
                  <c:v>0.20790629575402636</c:v>
                </c:pt>
                <c:pt idx="76">
                  <c:v>0.19772318753744758</c:v>
                </c:pt>
                <c:pt idx="77">
                  <c:v>0.18666666666666668</c:v>
                </c:pt>
                <c:pt idx="78">
                  <c:v>0.18225255972696247</c:v>
                </c:pt>
                <c:pt idx="79">
                  <c:v>0.16087158089939732</c:v>
                </c:pt>
                <c:pt idx="80">
                  <c:v>0.1462891462891463</c:v>
                </c:pt>
                <c:pt idx="81">
                  <c:v>0.17453213995117983</c:v>
                </c:pt>
                <c:pt idx="82">
                  <c:v>0.17724413950829046</c:v>
                </c:pt>
                <c:pt idx="83">
                  <c:v>0.18147448015122875</c:v>
                </c:pt>
                <c:pt idx="84">
                  <c:v>0.1720958819913952</c:v>
                </c:pt>
                <c:pt idx="85">
                  <c:v>0.20010845986984815</c:v>
                </c:pt>
                <c:pt idx="86">
                  <c:v>0.2149824424502536</c:v>
                </c:pt>
                <c:pt idx="87">
                  <c:v>0.22364568081991215</c:v>
                </c:pt>
                <c:pt idx="88">
                  <c:v>0.22267002518891688</c:v>
                </c:pt>
                <c:pt idx="89">
                  <c:v>0.22440944881889763</c:v>
                </c:pt>
                <c:pt idx="90">
                  <c:v>0.19389978213507625</c:v>
                </c:pt>
                <c:pt idx="91">
                  <c:v>0.1871375856615709</c:v>
                </c:pt>
                <c:pt idx="92">
                  <c:v>0.20652640618291113</c:v>
                </c:pt>
                <c:pt idx="93">
                  <c:v>0.1963470319634703</c:v>
                </c:pt>
                <c:pt idx="94">
                  <c:v>0.19728550654386814</c:v>
                </c:pt>
                <c:pt idx="95">
                  <c:v>0.2098546614675647</c:v>
                </c:pt>
                <c:pt idx="96">
                  <c:v>0.2239292364990689</c:v>
                </c:pt>
                <c:pt idx="97">
                  <c:v>0.23255813953488372</c:v>
                </c:pt>
                <c:pt idx="98">
                  <c:v>0.2321860465116279</c:v>
                </c:pt>
                <c:pt idx="99">
                  <c:v>0.2291632686348067</c:v>
                </c:pt>
                <c:pt idx="100">
                  <c:v>0.23895043731778426</c:v>
                </c:pt>
                <c:pt idx="101">
                  <c:v>0.2442331040064751</c:v>
                </c:pt>
                <c:pt idx="102">
                  <c:v>0.21585365853658536</c:v>
                </c:pt>
                <c:pt idx="103">
                  <c:v>0.22084157017791584</c:v>
                </c:pt>
                <c:pt idx="104">
                  <c:v>0.2149337055129099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numCache>
            </c:numRef>
          </c:xVal>
          <c:yVal>
            <c:numRef>
              <c:f>Sheet1!$B$109:$B$160</c:f>
              <c:numCache>
                <c:formatCode>General</c:formatCode>
                <c:ptCount val="52"/>
                <c:pt idx="0">
                  <c:v>0.21501501501501502</c:v>
                </c:pt>
                <c:pt idx="1">
                  <c:v>0.20563112938943373</c:v>
                </c:pt>
                <c:pt idx="2">
                  <c:v>0.22625311548047633</c:v>
                </c:pt>
                <c:pt idx="3">
                  <c:v>0.2537313432835821</c:v>
                </c:pt>
                <c:pt idx="4">
                  <c:v>0.23334395919668474</c:v>
                </c:pt>
                <c:pt idx="5">
                  <c:v>0.23455233291298866</c:v>
                </c:pt>
                <c:pt idx="6">
                  <c:v>0.2573393282200476</c:v>
                </c:pt>
                <c:pt idx="7">
                  <c:v>0.25237927388086007</c:v>
                </c:pt>
                <c:pt idx="8">
                  <c:v>0.24290367612843183</c:v>
                </c:pt>
                <c:pt idx="9">
                  <c:v>0.24491525423728813</c:v>
                </c:pt>
                <c:pt idx="10">
                  <c:v>0.2529058116232465</c:v>
                </c:pt>
                <c:pt idx="11">
                  <c:v>0.24701093869244467</c:v>
                </c:pt>
                <c:pt idx="12">
                  <c:v>0.24689532820816085</c:v>
                </c:pt>
                <c:pt idx="13">
                  <c:v>0.24016763378465505</c:v>
                </c:pt>
                <c:pt idx="14">
                  <c:v>0.24722719141323793</c:v>
                </c:pt>
                <c:pt idx="15">
                  <c:v>0.23512632436837816</c:v>
                </c:pt>
                <c:pt idx="16">
                  <c:v>0.23454545454545456</c:v>
                </c:pt>
                <c:pt idx="17">
                  <c:v>0.22955523672883787</c:v>
                </c:pt>
                <c:pt idx="18">
                  <c:v>0.22932551319648095</c:v>
                </c:pt>
                <c:pt idx="19">
                  <c:v>0.21273122959738847</c:v>
                </c:pt>
                <c:pt idx="20">
                  <c:v>0.20634920634920634</c:v>
                </c:pt>
                <c:pt idx="21">
                  <c:v>0.23616236162361623</c:v>
                </c:pt>
                <c:pt idx="22">
                  <c:v>0.20630861040068202</c:v>
                </c:pt>
                <c:pt idx="23">
                  <c:v>0.21293375394321767</c:v>
                </c:pt>
                <c:pt idx="24">
                  <c:v>0.2175084175084175</c:v>
                </c:pt>
                <c:pt idx="25">
                  <c:v>0.21815622800844475</c:v>
                </c:pt>
                <c:pt idx="26">
                  <c:v>0.21304347826086956</c:v>
                </c:pt>
                <c:pt idx="27">
                  <c:v>0.21466244725738395</c:v>
                </c:pt>
                <c:pt idx="28">
                  <c:v>0.20381613183000868</c:v>
                </c:pt>
                <c:pt idx="29">
                  <c:v>0.21680672268907564</c:v>
                </c:pt>
                <c:pt idx="30">
                  <c:v>0.21424533634821932</c:v>
                </c:pt>
                <c:pt idx="31">
                  <c:v>0.22782608695652173</c:v>
                </c:pt>
                <c:pt idx="32">
                  <c:v>0.20540540540540542</c:v>
                </c:pt>
                <c:pt idx="33">
                  <c:v>0.21973587674247982</c:v>
                </c:pt>
                <c:pt idx="34">
                  <c:v>0.24042093901780895</c:v>
                </c:pt>
                <c:pt idx="35">
                  <c:v>0.22241620111731844</c:v>
                </c:pt>
                <c:pt idx="36">
                  <c:v>0.2317624273724984</c:v>
                </c:pt>
                <c:pt idx="37">
                  <c:v>0.22418710781517398</c:v>
                </c:pt>
                <c:pt idx="38">
                  <c:v>0.21654501216545013</c:v>
                </c:pt>
                <c:pt idx="39">
                  <c:v>0.23336330935251798</c:v>
                </c:pt>
                <c:pt idx="40">
                  <c:v>0.20601733809280978</c:v>
                </c:pt>
                <c:pt idx="41">
                  <c:v>0.2070108953102795</c:v>
                </c:pt>
                <c:pt idx="42">
                  <c:v>0.21645702306079664</c:v>
                </c:pt>
                <c:pt idx="43">
                  <c:v>0.19678864824495892</c:v>
                </c:pt>
                <c:pt idx="44">
                  <c:v>0.20031104199066874</c:v>
                </c:pt>
                <c:pt idx="45">
                  <c:v>0.22644281217208814</c:v>
                </c:pt>
                <c:pt idx="46">
                  <c:v>0.2280797596285168</c:v>
                </c:pt>
                <c:pt idx="47">
                  <c:v>0.24046094750320102</c:v>
                </c:pt>
                <c:pt idx="48">
                  <c:v>0.23090665475658775</c:v>
                </c:pt>
                <c:pt idx="49">
                  <c:v>0.23317515099223468</c:v>
                </c:pt>
                <c:pt idx="50">
                  <c:v>0.2454443509952341</c:v>
                </c:pt>
                <c:pt idx="51">
                  <c:v>0.2313397129186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60.0109175154442</c:v>
                </c:pt>
              </c:numCache>
            </c:numRef>
          </c:xVal>
          <c:yVal>
            <c:numRef>
              <c:f>Sheet1!$B$163:$B$164</c:f>
              <c:numCache>
                <c:formatCode>General</c:formatCode>
                <c:ptCount val="2"/>
                <c:pt idx="0">
                  <c:v>0.27586147419170826</c:v>
                </c:pt>
                <c:pt idx="1">
                  <c:v>0.275861474191708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60.0109175154442</c:v>
                </c:pt>
                <c:pt idx="1">
                  <c:v>860.0109175154442</c:v>
                </c:pt>
              </c:numCache>
            </c:numRef>
          </c:xVal>
          <c:yVal>
            <c:numRef>
              <c:f>Sheet1!$B$167:$B$168</c:f>
              <c:numCache>
                <c:formatCode>General</c:formatCode>
                <c:ptCount val="2"/>
                <c:pt idx="0">
                  <c:v>0.275861474191708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1.1776070655858</c:v>
                </c:pt>
              </c:numCache>
            </c:numRef>
          </c:xVal>
          <c:yVal>
            <c:numRef>
              <c:f>Sheet1!$B$171:$B$172</c:f>
              <c:numCache>
                <c:formatCode>General</c:formatCode>
                <c:ptCount val="2"/>
                <c:pt idx="0">
                  <c:v>0.23568324150083558</c:v>
                </c:pt>
                <c:pt idx="1">
                  <c:v>0.235683241500835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1.1776070655858</c:v>
                </c:pt>
                <c:pt idx="1">
                  <c:v>1151.1776070655858</c:v>
                </c:pt>
              </c:numCache>
            </c:numRef>
          </c:xVal>
          <c:yVal>
            <c:numRef>
              <c:f>Sheet1!$B$175:$B$176</c:f>
              <c:numCache>
                <c:formatCode>General</c:formatCode>
                <c:ptCount val="2"/>
                <c:pt idx="0">
                  <c:v>0.235683241500835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4.876650913108</c:v>
                </c:pt>
              </c:numCache>
            </c:numRef>
          </c:xVal>
          <c:yVal>
            <c:numRef>
              <c:f>Sheet1!$B$179:$B$180</c:f>
              <c:numCache>
                <c:formatCode>General</c:formatCode>
                <c:ptCount val="2"/>
                <c:pt idx="0">
                  <c:v>0.22275366500142726</c:v>
                </c:pt>
                <c:pt idx="1">
                  <c:v>0.2227536650014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4.876650913108</c:v>
                </c:pt>
                <c:pt idx="1">
                  <c:v>1244.876650913108</c:v>
                </c:pt>
              </c:numCache>
            </c:numRef>
          </c:xVal>
          <c:yVal>
            <c:numRef>
              <c:f>Sheet1!$B$183:$B$184</c:f>
              <c:numCache>
                <c:formatCode>General</c:formatCode>
                <c:ptCount val="2"/>
                <c:pt idx="0">
                  <c:v>0.2227536650014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3.6159</c:v>
                </c:pt>
                <c:pt idx="1">
                  <c:v>1227.5523</c:v>
                </c:pt>
                <c:pt idx="2">
                  <c:v>1236.7479</c:v>
                </c:pt>
                <c:pt idx="3">
                  <c:v>1200.2185</c:v>
                </c:pt>
                <c:pt idx="4">
                  <c:v>1223.3443</c:v>
                </c:pt>
                <c:pt idx="5">
                  <c:v>1237.9005</c:v>
                </c:pt>
                <c:pt idx="6">
                  <c:v>1113.1161</c:v>
                </c:pt>
                <c:pt idx="7">
                  <c:v>1136.7235</c:v>
                </c:pt>
                <c:pt idx="8">
                  <c:v>1203.1379</c:v>
                </c:pt>
                <c:pt idx="9">
                  <c:v>1150.4446</c:v>
                </c:pt>
                <c:pt idx="10">
                  <c:v>1164.7163</c:v>
                </c:pt>
                <c:pt idx="11">
                  <c:v>1033.1689</c:v>
                </c:pt>
                <c:pt idx="12">
                  <c:v>1077.5102</c:v>
                </c:pt>
                <c:pt idx="13">
                  <c:v>1152.7664</c:v>
                </c:pt>
                <c:pt idx="14">
                  <c:v>1127.7829</c:v>
                </c:pt>
                <c:pt idx="15">
                  <c:v>1178.3882</c:v>
                </c:pt>
                <c:pt idx="16">
                  <c:v>1179.9884</c:v>
                </c:pt>
                <c:pt idx="17">
                  <c:v>1164.7979</c:v>
                </c:pt>
                <c:pt idx="18">
                  <c:v>1142.2558</c:v>
                </c:pt>
                <c:pt idx="19">
                  <c:v>1316.9693</c:v>
                </c:pt>
                <c:pt idx="20">
                  <c:v>1328.0414</c:v>
                </c:pt>
                <c:pt idx="21">
                  <c:v>1171.6172</c:v>
                </c:pt>
                <c:pt idx="22">
                  <c:v>1245.3099</c:v>
                </c:pt>
                <c:pt idx="23">
                  <c:v>1228.6185</c:v>
                </c:pt>
                <c:pt idx="24">
                  <c:v>1240.5851</c:v>
                </c:pt>
                <c:pt idx="25">
                  <c:v>1196.3935</c:v>
                </c:pt>
                <c:pt idx="26">
                  <c:v>1209.863</c:v>
                </c:pt>
                <c:pt idx="27">
                  <c:v>1196.3808</c:v>
                </c:pt>
                <c:pt idx="28">
                  <c:v>1231.4532</c:v>
                </c:pt>
                <c:pt idx="29">
                  <c:v>1225.5194</c:v>
                </c:pt>
                <c:pt idx="30">
                  <c:v>1219.9578</c:v>
                </c:pt>
                <c:pt idx="31">
                  <c:v>1186.6463</c:v>
                </c:pt>
                <c:pt idx="32">
                  <c:v>1244.6507</c:v>
                </c:pt>
                <c:pt idx="33">
                  <c:v>1222.1803</c:v>
                </c:pt>
                <c:pt idx="34">
                  <c:v>1241.0101</c:v>
                </c:pt>
                <c:pt idx="35">
                  <c:v>1303.8367</c:v>
                </c:pt>
                <c:pt idx="36">
                  <c:v>1352.5487</c:v>
                </c:pt>
                <c:pt idx="37">
                  <c:v>1304.5903</c:v>
                </c:pt>
                <c:pt idx="38">
                  <c:v>1373.2865</c:v>
                </c:pt>
                <c:pt idx="39">
                  <c:v>1285.8728</c:v>
                </c:pt>
                <c:pt idx="40">
                  <c:v>1321.25</c:v>
                </c:pt>
                <c:pt idx="41">
                  <c:v>1357.6911</c:v>
                </c:pt>
                <c:pt idx="42">
                  <c:v>1354.2203</c:v>
                </c:pt>
                <c:pt idx="43">
                  <c:v>1342.945</c:v>
                </c:pt>
                <c:pt idx="44">
                  <c:v>1253.0171</c:v>
                </c:pt>
                <c:pt idx="45">
                  <c:v>1184.2678</c:v>
                </c:pt>
                <c:pt idx="46">
                  <c:v>1190.2347</c:v>
                </c:pt>
                <c:pt idx="47">
                  <c:v>1162.7881</c:v>
                </c:pt>
                <c:pt idx="48">
                  <c:v>1156.5184</c:v>
                </c:pt>
                <c:pt idx="49">
                  <c:v>1181.4625</c:v>
                </c:pt>
                <c:pt idx="50">
                  <c:v>1135.5523</c:v>
                </c:pt>
                <c:pt idx="51">
                  <c:v>1126.9721</c:v>
                </c:pt>
                <c:pt idx="52">
                  <c:v>1151.1776070655858</c:v>
                </c:pt>
                <c:pt idx="53">
                  <c:v>860.0109175154442</c:v>
                </c:pt>
                <c:pt idx="54">
                  <c:v>1244.876650913108</c:v>
                </c:pt>
              </c:numCache>
            </c:numRef>
          </c:xVal>
          <c:yVal>
            <c:numRef>
              <c:f>Sheet1!$B$187:$B$241</c:f>
              <c:numCache>
                <c:formatCode>General</c:formatCode>
                <c:ptCount val="55"/>
                <c:pt idx="0">
                  <c:v>0.22568744633022322</c:v>
                </c:pt>
                <c:pt idx="1">
                  <c:v>0.22514426058528547</c:v>
                </c:pt>
                <c:pt idx="2">
                  <c:v>0.22387535528192465</c:v>
                </c:pt>
                <c:pt idx="3">
                  <c:v>0.22891606490267685</c:v>
                </c:pt>
                <c:pt idx="4">
                  <c:v>0.22572492454593432</c:v>
                </c:pt>
                <c:pt idx="5">
                  <c:v>0.223716307448977</c:v>
                </c:pt>
                <c:pt idx="6">
                  <c:v>0.24093536731855572</c:v>
                </c:pt>
                <c:pt idx="7">
                  <c:v>0.23767777074426363</c:v>
                </c:pt>
                <c:pt idx="8">
                  <c:v>0.22851321548092826</c:v>
                </c:pt>
                <c:pt idx="9">
                  <c:v>0.23578438950128391</c:v>
                </c:pt>
                <c:pt idx="10">
                  <c:v>0.23381503069729348</c:v>
                </c:pt>
                <c:pt idx="11">
                  <c:v>0.25196732021655566</c:v>
                </c:pt>
                <c:pt idx="12">
                  <c:v>0.24584864272646115</c:v>
                </c:pt>
                <c:pt idx="13">
                  <c:v>0.2354640031933385</c:v>
                </c:pt>
                <c:pt idx="14">
                  <c:v>0.23891148847396348</c:v>
                </c:pt>
                <c:pt idx="15">
                  <c:v>0.23192843858617304</c:v>
                </c:pt>
                <c:pt idx="16">
                  <c:v>0.23170762621216398</c:v>
                </c:pt>
                <c:pt idx="17">
                  <c:v>0.23380377067372196</c:v>
                </c:pt>
                <c:pt idx="18">
                  <c:v>0.23691436598440208</c:v>
                </c:pt>
                <c:pt idx="19">
                  <c:v>0.21280556539295278</c:v>
                </c:pt>
                <c:pt idx="20">
                  <c:v>0.21127772094459255</c:v>
                </c:pt>
                <c:pt idx="21">
                  <c:v>0.2328627721597361</c:v>
                </c:pt>
                <c:pt idx="22">
                  <c:v>0.22269388074982505</c:v>
                </c:pt>
                <c:pt idx="23">
                  <c:v>0.22499713513023706</c:v>
                </c:pt>
                <c:pt idx="24">
                  <c:v>0.22334585819309347</c:v>
                </c:pt>
                <c:pt idx="25">
                  <c:v>0.22944387850759174</c:v>
                </c:pt>
                <c:pt idx="26">
                  <c:v>0.2275852156706242</c:v>
                </c:pt>
                <c:pt idx="27">
                  <c:v>0.22944563098675053</c:v>
                </c:pt>
                <c:pt idx="28">
                  <c:v>0.2246059735025633</c:v>
                </c:pt>
                <c:pt idx="29">
                  <c:v>0.22542478144213032</c:v>
                </c:pt>
                <c:pt idx="30">
                  <c:v>0.2261922293232008</c:v>
                </c:pt>
                <c:pt idx="31">
                  <c:v>0.23078889936244823</c:v>
                </c:pt>
                <c:pt idx="32">
                  <c:v>0.22278484407750085</c:v>
                </c:pt>
                <c:pt idx="33">
                  <c:v>0.22588554547041037</c:v>
                </c:pt>
                <c:pt idx="34">
                  <c:v>0.22328721223699183</c:v>
                </c:pt>
                <c:pt idx="35">
                  <c:v>0.2146177392355423</c:v>
                </c:pt>
                <c:pt idx="36">
                  <c:v>0.2078959467328984</c:v>
                </c:pt>
                <c:pt idx="37">
                  <c:v>0.2145137496060877</c:v>
                </c:pt>
                <c:pt idx="38">
                  <c:v>0.20503432765420468</c:v>
                </c:pt>
                <c:pt idx="39">
                  <c:v>0.21709658650804692</c:v>
                </c:pt>
                <c:pt idx="40">
                  <c:v>0.21221486952404844</c:v>
                </c:pt>
                <c:pt idx="41">
                  <c:v>0.20718634446311693</c:v>
                </c:pt>
                <c:pt idx="42">
                  <c:v>0.20766528183826424</c:v>
                </c:pt>
                <c:pt idx="43">
                  <c:v>0.2092211659531653</c:v>
                </c:pt>
                <c:pt idx="44">
                  <c:v>0.22163036048425644</c:v>
                </c:pt>
                <c:pt idx="45">
                  <c:v>0.23111710973089006</c:v>
                </c:pt>
                <c:pt idx="46">
                  <c:v>0.23029373430627137</c:v>
                </c:pt>
                <c:pt idx="47">
                  <c:v>0.23408110395036455</c:v>
                </c:pt>
                <c:pt idx="48">
                  <c:v>0.23494626289382461</c:v>
                </c:pt>
                <c:pt idx="49">
                  <c:v>0.23150421443830646</c:v>
                </c:pt>
                <c:pt idx="50">
                  <c:v>0.2378393852002313</c:v>
                </c:pt>
                <c:pt idx="51">
                  <c:v>0.23902337115915692</c:v>
                </c:pt>
                <c:pt idx="52">
                  <c:v>0.23568324150083558</c:v>
                </c:pt>
                <c:pt idx="53">
                  <c:v>0.27586147419170826</c:v>
                </c:pt>
                <c:pt idx="54">
                  <c:v>0.2227536650014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48.0"/>
          <c:min val="6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106690777576856"/>
          <c:min val="0.117031317031317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8122155796148159</c:v>
                </c:pt>
                <c:pt idx="5">
                  <c:v>1.0411801577519084</c:v>
                </c:pt>
                <c:pt idx="6">
                  <c:v>1.366431559999973</c:v>
                </c:pt>
                <c:pt idx="7">
                  <c:v>1.5370458582654625</c:v>
                </c:pt>
                <c:pt idx="8">
                  <c:v>1.192732139752457</c:v>
                </c:pt>
                <c:pt idx="9">
                  <c:v>1.4543672631907927</c:v>
                </c:pt>
                <c:pt idx="10">
                  <c:v>1.0825360452941206</c:v>
                </c:pt>
                <c:pt idx="11">
                  <c:v>1.5135625371417725</c:v>
                </c:pt>
                <c:pt idx="12">
                  <c:v>1.0185145723430675</c:v>
                </c:pt>
                <c:pt idx="13">
                  <c:v>1.0994400708781884</c:v>
                </c:pt>
                <c:pt idx="14">
                  <c:v>0.5898276769083207</c:v>
                </c:pt>
                <c:pt idx="15">
                  <c:v>0.6561190893298812</c:v>
                </c:pt>
                <c:pt idx="16">
                  <c:v>0.9003130465973413</c:v>
                </c:pt>
                <c:pt idx="17">
                  <c:v>0.5568585775787072</c:v>
                </c:pt>
                <c:pt idx="18">
                  <c:v>0.44296433247695505</c:v>
                </c:pt>
                <c:pt idx="19">
                  <c:v>0.48306559482822764</c:v>
                </c:pt>
                <c:pt idx="20">
                  <c:v>1.6317344622993404</c:v>
                </c:pt>
                <c:pt idx="21">
                  <c:v>0.0</c:v>
                </c:pt>
                <c:pt idx="22">
                  <c:v>1.323596672149717</c:v>
                </c:pt>
                <c:pt idx="23">
                  <c:v>1.9118207353212633</c:v>
                </c:pt>
                <c:pt idx="24">
                  <c:v>2.0724752086717784</c:v>
                </c:pt>
                <c:pt idx="25">
                  <c:v>1.5077829978366868</c:v>
                </c:pt>
                <c:pt idx="26">
                  <c:v>1.9901664777484667</c:v>
                </c:pt>
                <c:pt idx="27">
                  <c:v>2.0687395919858633</c:v>
                </c:pt>
                <c:pt idx="28">
                  <c:v>1.5973275822145339</c:v>
                </c:pt>
                <c:pt idx="29">
                  <c:v>1.5501819213033206</c:v>
                </c:pt>
                <c:pt idx="30">
                  <c:v>2.063464506683616</c:v>
                </c:pt>
                <c:pt idx="31">
                  <c:v>2.7568995463684485</c:v>
                </c:pt>
                <c:pt idx="32">
                  <c:v>2.2799906497426763</c:v>
                </c:pt>
                <c:pt idx="33">
                  <c:v>2.9230707933872777</c:v>
                </c:pt>
                <c:pt idx="34">
                  <c:v>1.7957322249309735</c:v>
                </c:pt>
                <c:pt idx="35">
                  <c:v>1.8008805621480992</c:v>
                </c:pt>
                <c:pt idx="36">
                  <c:v>1.9751903603587464</c:v>
                </c:pt>
                <c:pt idx="37">
                  <c:v>2.0495443823296946</c:v>
                </c:pt>
                <c:pt idx="38">
                  <c:v>2.789717823425371</c:v>
                </c:pt>
                <c:pt idx="39">
                  <c:v>2.55445258220096</c:v>
                </c:pt>
                <c:pt idx="40">
                  <c:v>2.5666614667093026</c:v>
                </c:pt>
                <c:pt idx="41">
                  <c:v>2.185810785452887</c:v>
                </c:pt>
                <c:pt idx="42">
                  <c:v>2.359633231920969</c:v>
                </c:pt>
                <c:pt idx="43">
                  <c:v>2.098633858565418</c:v>
                </c:pt>
                <c:pt idx="44">
                  <c:v>2.4072251598985606</c:v>
                </c:pt>
                <c:pt idx="45">
                  <c:v>2.884041210478943</c:v>
                </c:pt>
                <c:pt idx="46">
                  <c:v>2.0399652141077675</c:v>
                </c:pt>
                <c:pt idx="47">
                  <c:v>3.0727100733214368</c:v>
                </c:pt>
                <c:pt idx="48">
                  <c:v>2.893809997067071</c:v>
                </c:pt>
                <c:pt idx="49">
                  <c:v>2.8124426820320516</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2.343869872897063</c:v>
                </c:pt>
                <c:pt idx="1">
                  <c:v>2.024829005171551</c:v>
                </c:pt>
                <c:pt idx="2">
                  <c:v>2.2503613985869384</c:v>
                </c:pt>
                <c:pt idx="3">
                  <c:v>1.9946837663049437</c:v>
                </c:pt>
                <c:pt idx="4">
                  <c:v>2.661005068171776</c:v>
                </c:pt>
                <c:pt idx="5">
                  <c:v>2.443934421315389</c:v>
                </c:pt>
                <c:pt idx="6">
                  <c:v>2.7822832631960868</c:v>
                </c:pt>
                <c:pt idx="7">
                  <c:v>2.4103507923150933</c:v>
                </c:pt>
                <c:pt idx="8">
                  <c:v>1.9635394962517003</c:v>
                </c:pt>
                <c:pt idx="9">
                  <c:v>2.5335410541936194</c:v>
                </c:pt>
                <c:pt idx="10">
                  <c:v>2.4777171483975375</c:v>
                </c:pt>
                <c:pt idx="11">
                  <c:v>2.6627640588008963</c:v>
                </c:pt>
                <c:pt idx="12">
                  <c:v>2.5973287487304972</c:v>
                </c:pt>
                <c:pt idx="13">
                  <c:v>1.862150811740572</c:v>
                </c:pt>
                <c:pt idx="14">
                  <c:v>2.2065892006230645</c:v>
                </c:pt>
                <c:pt idx="15">
                  <c:v>2.0165012453085516</c:v>
                </c:pt>
                <c:pt idx="16">
                  <c:v>2.0120676904257024</c:v>
                </c:pt>
                <c:pt idx="17">
                  <c:v>1.8048119966428198</c:v>
                </c:pt>
                <c:pt idx="18">
                  <c:v>2.5491421167437998</c:v>
                </c:pt>
                <c:pt idx="19">
                  <c:v>2.4816500811237554</c:v>
                </c:pt>
                <c:pt idx="20">
                  <c:v>1.9483703872156881</c:v>
                </c:pt>
                <c:pt idx="21">
                  <c:v>2.1754871628732455</c:v>
                </c:pt>
                <c:pt idx="22">
                  <c:v>2.0313140669101597</c:v>
                </c:pt>
                <c:pt idx="23">
                  <c:v>2.0789126407012004</c:v>
                </c:pt>
                <c:pt idx="24">
                  <c:v>2.47924787896417</c:v>
                </c:pt>
                <c:pt idx="25">
                  <c:v>2.4290478813740406</c:v>
                </c:pt>
                <c:pt idx="26">
                  <c:v>2.4020045691535463</c:v>
                </c:pt>
                <c:pt idx="27">
                  <c:v>2.1581023282191585</c:v>
                </c:pt>
                <c:pt idx="28">
                  <c:v>1.9474903813589968</c:v>
                </c:pt>
                <c:pt idx="29">
                  <c:v>2.0300679836212625</c:v>
                </c:pt>
                <c:pt idx="30">
                  <c:v>1.8081317046738599</c:v>
                </c:pt>
                <c:pt idx="31">
                  <c:v>2.1447107760278947</c:v>
                </c:pt>
                <c:pt idx="32">
                  <c:v>2.865301081774889</c:v>
                </c:pt>
                <c:pt idx="33">
                  <c:v>2.77048918234114</c:v>
                </c:pt>
                <c:pt idx="34">
                  <c:v>2.829659713662596</c:v>
                </c:pt>
                <c:pt idx="35">
                  <c:v>2.377640553265437</c:v>
                </c:pt>
                <c:pt idx="36">
                  <c:v>1.9475188461303903</c:v>
                </c:pt>
                <c:pt idx="37">
                  <c:v>2.209795348593898</c:v>
                </c:pt>
                <c:pt idx="38">
                  <c:v>1.8420052442187123</c:v>
                </c:pt>
                <c:pt idx="39">
                  <c:v>2.1732098634392027</c:v>
                </c:pt>
                <c:pt idx="40">
                  <c:v>1.9410282293345913</c:v>
                </c:pt>
                <c:pt idx="41">
                  <c:v>2.5878741902838467</c:v>
                </c:pt>
                <c:pt idx="42">
                  <c:v>2.737495604908292</c:v>
                </c:pt>
                <c:pt idx="43">
                  <c:v>2.4688440285758624</c:v>
                </c:pt>
                <c:pt idx="44">
                  <c:v>2.7523363902894173</c:v>
                </c:pt>
                <c:pt idx="45">
                  <c:v>3.1788882068539266</c:v>
                </c:pt>
                <c:pt idx="46">
                  <c:v>3.0279440753250837</c:v>
                </c:pt>
                <c:pt idx="47">
                  <c:v>3.1027203534857644</c:v>
                </c:pt>
                <c:pt idx="48">
                  <c:v>2.279705984690327</c:v>
                </c:pt>
                <c:pt idx="49">
                  <c:v>3.0080040324720114</c:v>
                </c:pt>
                <c:pt idx="50">
                  <c:v>3.392021276710028</c:v>
                </c:pt>
                <c:pt idx="51">
                  <c:v>2.7088184632484125</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1.863084713212358</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1.863084713212358</c:v>
                </c:pt>
                <c:pt idx="1">
                  <c:v>1.863084713212358</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1.863084713212358</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863084713212358</c:v>
                </c:pt>
                <c:pt idx="1">
                  <c:v>1.863084713212358</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2.905680452808907</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2.905680452808907</c:v>
                </c:pt>
                <c:pt idx="1">
                  <c:v>2.905680452808907</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2.343869872897063</c:v>
                </c:pt>
                <c:pt idx="1">
                  <c:v>2.024829005171551</c:v>
                </c:pt>
                <c:pt idx="2">
                  <c:v>2.2503613985869384</c:v>
                </c:pt>
                <c:pt idx="3">
                  <c:v>1.9946837663049437</c:v>
                </c:pt>
                <c:pt idx="4">
                  <c:v>2.661005068171776</c:v>
                </c:pt>
                <c:pt idx="5">
                  <c:v>2.443934421315389</c:v>
                </c:pt>
                <c:pt idx="6">
                  <c:v>2.7822832631960868</c:v>
                </c:pt>
                <c:pt idx="7">
                  <c:v>2.4103507923150933</c:v>
                </c:pt>
                <c:pt idx="8">
                  <c:v>1.9635394962517003</c:v>
                </c:pt>
                <c:pt idx="9">
                  <c:v>2.5335410541936194</c:v>
                </c:pt>
                <c:pt idx="10">
                  <c:v>2.4777171483975375</c:v>
                </c:pt>
                <c:pt idx="11">
                  <c:v>2.6627640588008963</c:v>
                </c:pt>
                <c:pt idx="12">
                  <c:v>2.5973287487304972</c:v>
                </c:pt>
                <c:pt idx="13">
                  <c:v>1.862150811740572</c:v>
                </c:pt>
                <c:pt idx="14">
                  <c:v>2.2065892006230645</c:v>
                </c:pt>
                <c:pt idx="15">
                  <c:v>2.0165012453085516</c:v>
                </c:pt>
                <c:pt idx="16">
                  <c:v>2.0120676904257024</c:v>
                </c:pt>
                <c:pt idx="17">
                  <c:v>1.8048119966428198</c:v>
                </c:pt>
                <c:pt idx="18">
                  <c:v>2.5491421167437998</c:v>
                </c:pt>
                <c:pt idx="19">
                  <c:v>2.4816500811237554</c:v>
                </c:pt>
                <c:pt idx="20">
                  <c:v>1.9483703872156881</c:v>
                </c:pt>
                <c:pt idx="21">
                  <c:v>2.1754871628732455</c:v>
                </c:pt>
                <c:pt idx="22">
                  <c:v>2.0313140669101597</c:v>
                </c:pt>
                <c:pt idx="23">
                  <c:v>2.0789126407012004</c:v>
                </c:pt>
                <c:pt idx="24">
                  <c:v>2.47924787896417</c:v>
                </c:pt>
                <c:pt idx="25">
                  <c:v>2.4290478813740406</c:v>
                </c:pt>
                <c:pt idx="26">
                  <c:v>2.4020045691535463</c:v>
                </c:pt>
                <c:pt idx="27">
                  <c:v>2.1581023282191585</c:v>
                </c:pt>
                <c:pt idx="28">
                  <c:v>1.9474903813589968</c:v>
                </c:pt>
                <c:pt idx="29">
                  <c:v>2.0300679836212625</c:v>
                </c:pt>
                <c:pt idx="30">
                  <c:v>1.8081317046738599</c:v>
                </c:pt>
                <c:pt idx="31">
                  <c:v>2.1447107760278947</c:v>
                </c:pt>
                <c:pt idx="32">
                  <c:v>2.865301081774889</c:v>
                </c:pt>
                <c:pt idx="33">
                  <c:v>2.77048918234114</c:v>
                </c:pt>
                <c:pt idx="34">
                  <c:v>2.829659713662596</c:v>
                </c:pt>
                <c:pt idx="35">
                  <c:v>2.377640553265437</c:v>
                </c:pt>
                <c:pt idx="36">
                  <c:v>1.9475188461303903</c:v>
                </c:pt>
                <c:pt idx="37">
                  <c:v>2.209795348593898</c:v>
                </c:pt>
                <c:pt idx="38">
                  <c:v>1.8420052442187123</c:v>
                </c:pt>
                <c:pt idx="39">
                  <c:v>2.1732098634392027</c:v>
                </c:pt>
                <c:pt idx="40">
                  <c:v>1.9410282293345913</c:v>
                </c:pt>
                <c:pt idx="41">
                  <c:v>2.5878741902838467</c:v>
                </c:pt>
                <c:pt idx="42">
                  <c:v>2.737495604908292</c:v>
                </c:pt>
                <c:pt idx="43">
                  <c:v>2.4688440285758624</c:v>
                </c:pt>
                <c:pt idx="44">
                  <c:v>2.7523363902894173</c:v>
                </c:pt>
                <c:pt idx="45">
                  <c:v>3.1788882068539266</c:v>
                </c:pt>
                <c:pt idx="46">
                  <c:v>3.0279440753250837</c:v>
                </c:pt>
                <c:pt idx="47">
                  <c:v>3.1027203534857644</c:v>
                </c:pt>
                <c:pt idx="48">
                  <c:v>2.279705984690327</c:v>
                </c:pt>
                <c:pt idx="49">
                  <c:v>3.0080040324720114</c:v>
                </c:pt>
                <c:pt idx="50">
                  <c:v>3.392021276710028</c:v>
                </c:pt>
                <c:pt idx="51">
                  <c:v>2.7088184632484125</c:v>
                </c:pt>
                <c:pt idx="52">
                  <c:v>1.863084713212358</c:v>
                </c:pt>
                <c:pt idx="53">
                  <c:v>1.863084713212358</c:v>
                </c:pt>
                <c:pt idx="54">
                  <c:v>2.905680452808907</c:v>
                </c:pt>
              </c:numCache>
            </c:numRef>
          </c:xVal>
          <c:yVal>
            <c:numRef>
              <c:f>Sheet1!$B$132:$B$186</c:f>
              <c:numCache>
                <c:formatCode>General</c:formatCode>
                <c:ptCount val="55"/>
                <c:pt idx="0">
                  <c:v>0.0036781819900111217</c:v>
                </c:pt>
                <c:pt idx="1">
                  <c:v>0.00443558818542949</c:v>
                </c:pt>
                <c:pt idx="2">
                  <c:v>0.0039001720387203086</c:v>
                </c:pt>
                <c:pt idx="3">
                  <c:v>0.00450715328253667</c:v>
                </c:pt>
                <c:pt idx="4">
                  <c:v>0.0029252998799582514</c:v>
                </c:pt>
                <c:pt idx="5">
                  <c:v>0.0034406277561159606</c:v>
                </c:pt>
                <c:pt idx="6">
                  <c:v>0.002637384237879445</c:v>
                </c:pt>
                <c:pt idx="7">
                  <c:v>0.0035203556256230735</c:v>
                </c:pt>
                <c:pt idx="8">
                  <c:v>0.004581090089624357</c:v>
                </c:pt>
                <c:pt idx="9">
                  <c:v>0.0032279007178014135</c:v>
                </c:pt>
                <c:pt idx="10">
                  <c:v>0.003360427225780889</c:v>
                </c:pt>
                <c:pt idx="11">
                  <c:v>0.0029211240186973525</c:v>
                </c:pt>
                <c:pt idx="12">
                  <c:v>0.0030764680960870937</c:v>
                </c:pt>
                <c:pt idx="13">
                  <c:v>0.0048217878357830575</c:v>
                </c:pt>
                <c:pt idx="14">
                  <c:v>0.004004087672354558</c:v>
                </c:pt>
                <c:pt idx="15">
                  <c:v>0.004455358370231078</c:v>
                </c:pt>
                <c:pt idx="16">
                  <c:v>0.004465883673650471</c:v>
                </c:pt>
                <c:pt idx="17">
                  <c:v>0.004957910753522706</c:v>
                </c:pt>
                <c:pt idx="18">
                  <c:v>0.003190863640028724</c:v>
                </c:pt>
                <c:pt idx="19">
                  <c:v>0.0033510904043440697</c:v>
                </c:pt>
                <c:pt idx="20">
                  <c:v>0.004617101705455145</c:v>
                </c:pt>
                <c:pt idx="21">
                  <c:v>0.004077924219533575</c:v>
                </c:pt>
                <c:pt idx="22">
                  <c:v>0.0044201925843157215</c:v>
                </c:pt>
                <c:pt idx="23">
                  <c:v>0.004307193096383569</c:v>
                </c:pt>
                <c:pt idx="24">
                  <c:v>0.0033567932561802266</c:v>
                </c:pt>
                <c:pt idx="25">
                  <c:v>0.0034759685501035845</c:v>
                </c:pt>
                <c:pt idx="26">
                  <c:v>0.0035401696424791794</c:v>
                </c:pt>
                <c:pt idx="27">
                  <c:v>0.004119195990034958</c:v>
                </c:pt>
                <c:pt idx="28">
                  <c:v>0.0046191908481176954</c:v>
                </c:pt>
                <c:pt idx="29">
                  <c:v>0.004423150798445925</c:v>
                </c:pt>
                <c:pt idx="30">
                  <c:v>0.004950029733615711</c:v>
                </c:pt>
                <c:pt idx="31">
                  <c:v>0.004150987668224154</c:v>
                </c:pt>
                <c:pt idx="32">
                  <c:v>0.0024402991102907105</c:v>
                </c:pt>
                <c:pt idx="33">
                  <c:v>0.0026653835032164723</c:v>
                </c:pt>
                <c:pt idx="34">
                  <c:v>0.00252491207293054</c:v>
                </c:pt>
                <c:pt idx="35">
                  <c:v>0.0035980100586944534</c:v>
                </c:pt>
                <c:pt idx="36">
                  <c:v>0.004619123272467095</c:v>
                </c:pt>
                <c:pt idx="37">
                  <c:v>0.0039964762451607655</c:v>
                </c:pt>
                <c:pt idx="38">
                  <c:v>0.0048696136135903175</c:v>
                </c:pt>
                <c:pt idx="39">
                  <c:v>0.004083330551056126</c:v>
                </c:pt>
                <c:pt idx="40">
                  <c:v>0.004634532061341924</c:v>
                </c:pt>
                <c:pt idx="41">
                  <c:v>0.0030989133119413807</c:v>
                </c:pt>
                <c:pt idx="42">
                  <c:v>0.0027437105844296365</c:v>
                </c:pt>
                <c:pt idx="43">
                  <c:v>0.0033814921005523822</c:v>
                </c:pt>
                <c:pt idx="44">
                  <c:v>0.0027084784122233807</c:v>
                </c:pt>
                <c:pt idx="45">
                  <c:v>0.0016958401541965866</c:v>
                </c:pt>
                <c:pt idx="46">
                  <c:v>0.002054183024804473</c:v>
                </c:pt>
                <c:pt idx="47">
                  <c:v>0.0018766633961970368</c:v>
                </c:pt>
                <c:pt idx="48">
                  <c:v>0.0038305076992419685</c:v>
                </c:pt>
                <c:pt idx="49">
                  <c:v>0.002101520885002428</c:v>
                </c:pt>
                <c:pt idx="50">
                  <c:v>0.0011898601250285596</c:v>
                </c:pt>
                <c:pt idx="51">
                  <c:v>0.002811790404155961</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14.69538332807</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14.69538332807</c:v>
                </c:pt>
                <c:pt idx="1">
                  <c:v>3314.69538332807</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14.69538332807</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14.69538332807</c:v>
                </c:pt>
                <c:pt idx="1">
                  <c:v>3314.69538332807</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44.405976405639</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44.405976405639</c:v>
                </c:pt>
                <c:pt idx="1">
                  <c:v>4944.405976405639</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14.69538332807</c:v>
                </c:pt>
                <c:pt idx="53">
                  <c:v>3314.69538332807</c:v>
                </c:pt>
                <c:pt idx="54">
                  <c:v>4944.405976405639</c:v>
                </c:pt>
              </c:numCache>
            </c:numRef>
          </c:xVal>
          <c:yVal>
            <c:numRef>
              <c:f>Sheet1!$B$132:$B$186</c:f>
              <c:numCache>
                <c:formatCode>General</c:formatCode>
                <c:ptCount val="55"/>
                <c:pt idx="0">
                  <c:v>0.003817108866855332</c:v>
                </c:pt>
                <c:pt idx="1">
                  <c:v>0.004323613976757871</c:v>
                </c:pt>
                <c:pt idx="2">
                  <c:v>0.003810991621632947</c:v>
                </c:pt>
                <c:pt idx="3">
                  <c:v>0.004326271799673402</c:v>
                </c:pt>
                <c:pt idx="4">
                  <c:v>0.0023910512477666934</c:v>
                </c:pt>
                <c:pt idx="5">
                  <c:v>0.0033159194027838537</c:v>
                </c:pt>
                <c:pt idx="6">
                  <c:v>0.0029405588693133507</c:v>
                </c:pt>
                <c:pt idx="7">
                  <c:v>0.0036885461755412387</c:v>
                </c:pt>
                <c:pt idx="8">
                  <c:v>0.004717765621992365</c:v>
                </c:pt>
                <c:pt idx="9">
                  <c:v>0.003286269185964979</c:v>
                </c:pt>
                <c:pt idx="10">
                  <c:v>0.003478598820295267</c:v>
                </c:pt>
                <c:pt idx="11">
                  <c:v>0.0038365743062618914</c:v>
                </c:pt>
                <c:pt idx="12">
                  <c:v>0.0038427378735408045</c:v>
                </c:pt>
                <c:pt idx="13">
                  <c:v>0.00495253081636999</c:v>
                </c:pt>
                <c:pt idx="14">
                  <c:v>0.004062442172647486</c:v>
                </c:pt>
                <c:pt idx="15">
                  <c:v>0.0044512186368176115</c:v>
                </c:pt>
                <c:pt idx="16">
                  <c:v>0.004549937773680176</c:v>
                </c:pt>
                <c:pt idx="17">
                  <c:v>0.005084890397563412</c:v>
                </c:pt>
                <c:pt idx="18">
                  <c:v>0.003112894233414685</c:v>
                </c:pt>
                <c:pt idx="19">
                  <c:v>0.002755371944224057</c:v>
                </c:pt>
                <c:pt idx="20">
                  <c:v>0.003965820437754264</c:v>
                </c:pt>
                <c:pt idx="21">
                  <c:v>0.0033022505992182675</c:v>
                </c:pt>
                <c:pt idx="22">
                  <c:v>0.0037088975052944444</c:v>
                </c:pt>
                <c:pt idx="23">
                  <c:v>0.004019027470638068</c:v>
                </c:pt>
                <c:pt idx="24">
                  <c:v>0.0029128162099698526</c:v>
                </c:pt>
                <c:pt idx="25">
                  <c:v>0.003552161891075728</c:v>
                </c:pt>
                <c:pt idx="26">
                  <c:v>0.0033502540704602483</c:v>
                </c:pt>
                <c:pt idx="27">
                  <c:v>0.00407896775615828</c:v>
                </c:pt>
                <c:pt idx="28">
                  <c:v>0.004647678527958634</c:v>
                </c:pt>
                <c:pt idx="29">
                  <c:v>0.003942134983060222</c:v>
                </c:pt>
                <c:pt idx="30">
                  <c:v>0.0047118459669193</c:v>
                </c:pt>
                <c:pt idx="31">
                  <c:v>0.003866088746298681</c:v>
                </c:pt>
                <c:pt idx="32">
                  <c:v>0.0018813278940024332</c:v>
                </c:pt>
                <c:pt idx="33">
                  <c:v>0.0025162401746096083</c:v>
                </c:pt>
                <c:pt idx="34">
                  <c:v>0.0027027216872721584</c:v>
                </c:pt>
                <c:pt idx="35">
                  <c:v>0.003371126181629303</c:v>
                </c:pt>
                <c:pt idx="36">
                  <c:v>0.0037330077560281854</c:v>
                </c:pt>
                <c:pt idx="37">
                  <c:v>0.0030917130554094533</c:v>
                </c:pt>
                <c:pt idx="38">
                  <c:v>0.004233085338867401</c:v>
                </c:pt>
                <c:pt idx="39">
                  <c:v>0.003852311503558141</c:v>
                </c:pt>
                <c:pt idx="40">
                  <c:v>0.0044210042021626695</c:v>
                </c:pt>
                <c:pt idx="41">
                  <c:v>0.002531427734126926</c:v>
                </c:pt>
                <c:pt idx="42">
                  <c:v>0.0018958825879146646</c:v>
                </c:pt>
                <c:pt idx="43">
                  <c:v>0.0033104772445820127</c:v>
                </c:pt>
                <c:pt idx="44">
                  <c:v>0.003287822417676816</c:v>
                </c:pt>
                <c:pt idx="45">
                  <c:v>0.002556378768155546</c:v>
                </c:pt>
                <c:pt idx="46">
                  <c:v>0.0026770112752676715</c:v>
                </c:pt>
                <c:pt idx="47">
                  <c:v>0.002649565228961547</c:v>
                </c:pt>
                <c:pt idx="48">
                  <c:v>0.0048943556290168815</c:v>
                </c:pt>
                <c:pt idx="49">
                  <c:v>0.003396202513023941</c:v>
                </c:pt>
                <c:pt idx="50">
                  <c:v>0.0026605002718140154</c:v>
                </c:pt>
                <c:pt idx="51">
                  <c:v>0.003975894801608887</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306949047806303</c:v>
                </c:pt>
                <c:pt idx="5">
                  <c:v>0.41998592978134264</c:v>
                </c:pt>
                <c:pt idx="6">
                  <c:v>0.4809317046153255</c:v>
                </c:pt>
                <c:pt idx="7">
                  <c:v>0.5566067256780752</c:v>
                </c:pt>
                <c:pt idx="8">
                  <c:v>0.4357813154919999</c:v>
                </c:pt>
                <c:pt idx="9">
                  <c:v>0.5167253432810128</c:v>
                </c:pt>
                <c:pt idx="10">
                  <c:v>0.31453339276862013</c:v>
                </c:pt>
                <c:pt idx="11">
                  <c:v>0.46854693703642875</c:v>
                </c:pt>
                <c:pt idx="12">
                  <c:v>0.3241308821192072</c:v>
                </c:pt>
                <c:pt idx="13">
                  <c:v>0.3101865234147419</c:v>
                </c:pt>
                <c:pt idx="14">
                  <c:v>0.15076770972055228</c:v>
                </c:pt>
                <c:pt idx="15">
                  <c:v>0.1677391252808062</c:v>
                </c:pt>
                <c:pt idx="16">
                  <c:v>0.26370697328208265</c:v>
                </c:pt>
                <c:pt idx="17">
                  <c:v>0.1697895794957873</c:v>
                </c:pt>
                <c:pt idx="18">
                  <c:v>0.13384065314238736</c:v>
                </c:pt>
                <c:pt idx="19">
                  <c:v>0.14715960007731368</c:v>
                </c:pt>
                <c:pt idx="20">
                  <c:v>0.5408579898204597</c:v>
                </c:pt>
                <c:pt idx="21">
                  <c:v>0.0</c:v>
                </c:pt>
                <c:pt idx="22">
                  <c:v>0.385421201384986</c:v>
                </c:pt>
                <c:pt idx="23">
                  <c:v>0.523335407591786</c:v>
                </c:pt>
                <c:pt idx="24">
                  <c:v>0.5762074012624181</c:v>
                </c:pt>
                <c:pt idx="25">
                  <c:v>0.3865453590829337</c:v>
                </c:pt>
                <c:pt idx="26">
                  <c:v>0.5709930386810677</c:v>
                </c:pt>
                <c:pt idx="27">
                  <c:v>0.5623513878881982</c:v>
                </c:pt>
                <c:pt idx="28">
                  <c:v>0.44800995378559544</c:v>
                </c:pt>
                <c:pt idx="29">
                  <c:v>0.4073451182006433</c:v>
                </c:pt>
                <c:pt idx="30">
                  <c:v>0.5417038689042637</c:v>
                </c:pt>
                <c:pt idx="31">
                  <c:v>0.7492906401339668</c:v>
                </c:pt>
                <c:pt idx="32">
                  <c:v>0.6416108256573575</c:v>
                </c:pt>
                <c:pt idx="33">
                  <c:v>0.7735751892366958</c:v>
                </c:pt>
                <c:pt idx="34">
                  <c:v>0.47171839778047514</c:v>
                </c:pt>
                <c:pt idx="35">
                  <c:v>0.571212446317548</c:v>
                </c:pt>
                <c:pt idx="36">
                  <c:v>0.5862409487492006</c:v>
                </c:pt>
                <c:pt idx="37">
                  <c:v>0.6129767457929997</c:v>
                </c:pt>
                <c:pt idx="38">
                  <c:v>0.7709902610263027</c:v>
                </c:pt>
                <c:pt idx="39">
                  <c:v>0.8144638637227632</c:v>
                </c:pt>
                <c:pt idx="40">
                  <c:v>0.7400391057532618</c:v>
                </c:pt>
                <c:pt idx="41">
                  <c:v>0.6237341942325612</c:v>
                </c:pt>
                <c:pt idx="42">
                  <c:v>0.6848669185197822</c:v>
                </c:pt>
                <c:pt idx="43">
                  <c:v>0.6405052361103836</c:v>
                </c:pt>
                <c:pt idx="44">
                  <c:v>0.6949297235700853</c:v>
                </c:pt>
                <c:pt idx="45">
                  <c:v>0.9019820980655581</c:v>
                </c:pt>
                <c:pt idx="46">
                  <c:v>0.7066830679652066</c:v>
                </c:pt>
                <c:pt idx="47">
                  <c:v>0.9262174083603049</c:v>
                </c:pt>
                <c:pt idx="48">
                  <c:v>0.8420743798772112</c:v>
                </c:pt>
                <c:pt idx="49">
                  <c:v>0.8788853137388647</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0.8014427764514326</c:v>
                </c:pt>
                <c:pt idx="1">
                  <c:v>0.7884994478175992</c:v>
                </c:pt>
                <c:pt idx="2">
                  <c:v>0.8968897242594223</c:v>
                </c:pt>
                <c:pt idx="3">
                  <c:v>0.76752208421165</c:v>
                </c:pt>
                <c:pt idx="4">
                  <c:v>0.8240551802258458</c:v>
                </c:pt>
                <c:pt idx="5">
                  <c:v>0.8695004412693279</c:v>
                </c:pt>
                <c:pt idx="6">
                  <c:v>0.8926135974785072</c:v>
                </c:pt>
                <c:pt idx="7">
                  <c:v>0.6830348013247718</c:v>
                </c:pt>
                <c:pt idx="8">
                  <c:v>0.6703401374379457</c:v>
                </c:pt>
                <c:pt idx="9">
                  <c:v>0.7677555851894943</c:v>
                </c:pt>
                <c:pt idx="10">
                  <c:v>0.6640756613175786</c:v>
                </c:pt>
                <c:pt idx="11">
                  <c:v>0.7287079878150322</c:v>
                </c:pt>
                <c:pt idx="12">
                  <c:v>0.7283561213741676</c:v>
                </c:pt>
                <c:pt idx="13">
                  <c:v>0.577712173507097</c:v>
                </c:pt>
                <c:pt idx="14">
                  <c:v>0.7171268206907576</c:v>
                </c:pt>
                <c:pt idx="15">
                  <c:v>0.6262157867541404</c:v>
                </c:pt>
                <c:pt idx="16">
                  <c:v>0.6089754821609179</c:v>
                </c:pt>
                <c:pt idx="17">
                  <c:v>0.5383453168029317</c:v>
                </c:pt>
                <c:pt idx="18">
                  <c:v>0.6212458149039808</c:v>
                </c:pt>
                <c:pt idx="19">
                  <c:v>0.802034807767502</c:v>
                </c:pt>
                <c:pt idx="20">
                  <c:v>0.5698360674146965</c:v>
                </c:pt>
                <c:pt idx="21">
                  <c:v>0.5947353796706564</c:v>
                </c:pt>
                <c:pt idx="22">
                  <c:v>0.5429414922168545</c:v>
                </c:pt>
                <c:pt idx="23">
                  <c:v>0.5860458751976121</c:v>
                </c:pt>
                <c:pt idx="24">
                  <c:v>0.7034072852667468</c:v>
                </c:pt>
                <c:pt idx="25">
                  <c:v>0.5852981159500225</c:v>
                </c:pt>
                <c:pt idx="26">
                  <c:v>0.5853822943759516</c:v>
                </c:pt>
                <c:pt idx="27">
                  <c:v>0.5459806431073839</c:v>
                </c:pt>
                <c:pt idx="28">
                  <c:v>0.5431180903309619</c:v>
                </c:pt>
                <c:pt idx="29">
                  <c:v>0.5586798007030237</c:v>
                </c:pt>
                <c:pt idx="30">
                  <c:v>0.47271877386457506</c:v>
                </c:pt>
                <c:pt idx="31">
                  <c:v>0.5335021414850386</c:v>
                </c:pt>
                <c:pt idx="32">
                  <c:v>0.83369715733514</c:v>
                </c:pt>
                <c:pt idx="33">
                  <c:v>0.7428776149906083</c:v>
                </c:pt>
                <c:pt idx="34">
                  <c:v>0.798010595262178</c:v>
                </c:pt>
                <c:pt idx="35">
                  <c:v>0.6331228066011848</c:v>
                </c:pt>
                <c:pt idx="36">
                  <c:v>0.47928861884435897</c:v>
                </c:pt>
                <c:pt idx="37">
                  <c:v>0.5649935282472971</c:v>
                </c:pt>
                <c:pt idx="38">
                  <c:v>0.49992748002411364</c:v>
                </c:pt>
                <c:pt idx="39">
                  <c:v>0.5548496337623307</c:v>
                </c:pt>
                <c:pt idx="40">
                  <c:v>0.5212157561412137</c:v>
                </c:pt>
                <c:pt idx="41">
                  <c:v>0.7048304912215138</c:v>
                </c:pt>
                <c:pt idx="42">
                  <c:v>0.7884254346203202</c:v>
                </c:pt>
                <c:pt idx="43">
                  <c:v>0.7221860570439601</c:v>
                </c:pt>
                <c:pt idx="44">
                  <c:v>0.6545349381083148</c:v>
                </c:pt>
                <c:pt idx="45">
                  <c:v>0.8193608290698019</c:v>
                </c:pt>
                <c:pt idx="46">
                  <c:v>0.7781064684405754</c:v>
                </c:pt>
                <c:pt idx="47">
                  <c:v>0.7468256955901623</c:v>
                </c:pt>
                <c:pt idx="48">
                  <c:v>0.4733862129023235</c:v>
                </c:pt>
                <c:pt idx="49">
                  <c:v>0.7514177991422585</c:v>
                </c:pt>
                <c:pt idx="50">
                  <c:v>0.907329673197526</c:v>
                </c:pt>
                <c:pt idx="51">
                  <c:v>0.6608934205961281</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0.4807754718303207</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0.4807754718303207</c:v>
                </c:pt>
                <c:pt idx="1">
                  <c:v>0.4807754718303207</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0.4807754718303207</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4807754718303207</c:v>
                </c:pt>
                <c:pt idx="1">
                  <c:v>0.4807754718303207</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0.8676496016809782</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0.8676496016809782</c:v>
                </c:pt>
                <c:pt idx="1">
                  <c:v>0.8676496016809782</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0.8014427764514326</c:v>
                </c:pt>
                <c:pt idx="1">
                  <c:v>0.7884994478175992</c:v>
                </c:pt>
                <c:pt idx="2">
                  <c:v>0.8968897242594223</c:v>
                </c:pt>
                <c:pt idx="3">
                  <c:v>0.76752208421165</c:v>
                </c:pt>
                <c:pt idx="4">
                  <c:v>0.8240551802258458</c:v>
                </c:pt>
                <c:pt idx="5">
                  <c:v>0.8695004412693279</c:v>
                </c:pt>
                <c:pt idx="6">
                  <c:v>0.8926135974785072</c:v>
                </c:pt>
                <c:pt idx="7">
                  <c:v>0.6830348013247718</c:v>
                </c:pt>
                <c:pt idx="8">
                  <c:v>0.6703401374379457</c:v>
                </c:pt>
                <c:pt idx="9">
                  <c:v>0.7677555851894943</c:v>
                </c:pt>
                <c:pt idx="10">
                  <c:v>0.6640756613175786</c:v>
                </c:pt>
                <c:pt idx="11">
                  <c:v>0.7287079878150322</c:v>
                </c:pt>
                <c:pt idx="12">
                  <c:v>0.7283561213741676</c:v>
                </c:pt>
                <c:pt idx="13">
                  <c:v>0.577712173507097</c:v>
                </c:pt>
                <c:pt idx="14">
                  <c:v>0.7171268206907576</c:v>
                </c:pt>
                <c:pt idx="15">
                  <c:v>0.6262157867541404</c:v>
                </c:pt>
                <c:pt idx="16">
                  <c:v>0.6089754821609179</c:v>
                </c:pt>
                <c:pt idx="17">
                  <c:v>0.5383453168029317</c:v>
                </c:pt>
                <c:pt idx="18">
                  <c:v>0.6212458149039808</c:v>
                </c:pt>
                <c:pt idx="19">
                  <c:v>0.802034807767502</c:v>
                </c:pt>
                <c:pt idx="20">
                  <c:v>0.5698360674146965</c:v>
                </c:pt>
                <c:pt idx="21">
                  <c:v>0.5947353796706564</c:v>
                </c:pt>
                <c:pt idx="22">
                  <c:v>0.5429414922168545</c:v>
                </c:pt>
                <c:pt idx="23">
                  <c:v>0.5860458751976121</c:v>
                </c:pt>
                <c:pt idx="24">
                  <c:v>0.7034072852667468</c:v>
                </c:pt>
                <c:pt idx="25">
                  <c:v>0.5852981159500225</c:v>
                </c:pt>
                <c:pt idx="26">
                  <c:v>0.5853822943759516</c:v>
                </c:pt>
                <c:pt idx="27">
                  <c:v>0.5459806431073839</c:v>
                </c:pt>
                <c:pt idx="28">
                  <c:v>0.5431180903309619</c:v>
                </c:pt>
                <c:pt idx="29">
                  <c:v>0.5586798007030237</c:v>
                </c:pt>
                <c:pt idx="30">
                  <c:v>0.47271877386457506</c:v>
                </c:pt>
                <c:pt idx="31">
                  <c:v>0.5335021414850386</c:v>
                </c:pt>
                <c:pt idx="32">
                  <c:v>0.83369715733514</c:v>
                </c:pt>
                <c:pt idx="33">
                  <c:v>0.7428776149906083</c:v>
                </c:pt>
                <c:pt idx="34">
                  <c:v>0.798010595262178</c:v>
                </c:pt>
                <c:pt idx="35">
                  <c:v>0.6331228066011848</c:v>
                </c:pt>
                <c:pt idx="36">
                  <c:v>0.47928861884435897</c:v>
                </c:pt>
                <c:pt idx="37">
                  <c:v>0.5649935282472971</c:v>
                </c:pt>
                <c:pt idx="38">
                  <c:v>0.49992748002411364</c:v>
                </c:pt>
                <c:pt idx="39">
                  <c:v>0.5548496337623307</c:v>
                </c:pt>
                <c:pt idx="40">
                  <c:v>0.5212157561412137</c:v>
                </c:pt>
                <c:pt idx="41">
                  <c:v>0.7048304912215138</c:v>
                </c:pt>
                <c:pt idx="42">
                  <c:v>0.7884254346203202</c:v>
                </c:pt>
                <c:pt idx="43">
                  <c:v>0.7221860570439601</c:v>
                </c:pt>
                <c:pt idx="44">
                  <c:v>0.6545349381083148</c:v>
                </c:pt>
                <c:pt idx="45">
                  <c:v>0.8193608290698019</c:v>
                </c:pt>
                <c:pt idx="46">
                  <c:v>0.7781064684405754</c:v>
                </c:pt>
                <c:pt idx="47">
                  <c:v>0.7468256955901623</c:v>
                </c:pt>
                <c:pt idx="48">
                  <c:v>0.4733862129023235</c:v>
                </c:pt>
                <c:pt idx="49">
                  <c:v>0.7514177991422585</c:v>
                </c:pt>
                <c:pt idx="50">
                  <c:v>0.907329673197526</c:v>
                </c:pt>
                <c:pt idx="51">
                  <c:v>0.6608934205961281</c:v>
                </c:pt>
                <c:pt idx="52">
                  <c:v>0.4807754718303207</c:v>
                </c:pt>
                <c:pt idx="53">
                  <c:v>0.4807754718303207</c:v>
                </c:pt>
                <c:pt idx="54">
                  <c:v>0.8676496016809782</c:v>
                </c:pt>
              </c:numCache>
            </c:numRef>
          </c:xVal>
          <c:yVal>
            <c:numRef>
              <c:f>Sheet1!$B$132:$B$186</c:f>
              <c:numCache>
                <c:formatCode>General</c:formatCode>
                <c:ptCount val="55"/>
                <c:pt idx="0">
                  <c:v>0.002768014286281875</c:v>
                </c:pt>
                <c:pt idx="1">
                  <c:v>0.0028508227580703585</c:v>
                </c:pt>
                <c:pt idx="2">
                  <c:v>0.0021573664298877695</c:v>
                </c:pt>
                <c:pt idx="3">
                  <c:v>0.0029850311577411578</c:v>
                </c:pt>
                <c:pt idx="4">
                  <c:v>0.00262334527161059</c:v>
                </c:pt>
                <c:pt idx="5">
                  <c:v>0.00233259683096585</c:v>
                </c:pt>
                <c:pt idx="6">
                  <c:v>0.002184724116145984</c:v>
                </c:pt>
                <c:pt idx="7">
                  <c:v>0.003525561571466088</c:v>
                </c:pt>
                <c:pt idx="8">
                  <c:v>0.0036067791427783586</c:v>
                </c:pt>
                <c:pt idx="9">
                  <c:v>0.0029835372716100535</c:v>
                </c:pt>
                <c:pt idx="10">
                  <c:v>0.0036468578357296494</c:v>
                </c:pt>
                <c:pt idx="11">
                  <c:v>0.0032333549156694837</c:v>
                </c:pt>
                <c:pt idx="12">
                  <c:v>0.0032356060771029874</c:v>
                </c:pt>
                <c:pt idx="13">
                  <c:v>0.004199391781689673</c:v>
                </c:pt>
                <c:pt idx="14">
                  <c:v>0.0033074485880329723</c:v>
                </c:pt>
                <c:pt idx="15">
                  <c:v>0.0038890766994697642</c:v>
                </c:pt>
                <c:pt idx="16">
                  <c:v>0.003999376245816823</c:v>
                </c:pt>
                <c:pt idx="17">
                  <c:v>0.004451251974304027</c:v>
                </c:pt>
                <c:pt idx="18">
                  <c:v>0.003920873448620342</c:v>
                </c:pt>
                <c:pt idx="19">
                  <c:v>0.002764226604618096</c:v>
                </c:pt>
                <c:pt idx="20">
                  <c:v>0.004249781316530874</c:v>
                </c:pt>
                <c:pt idx="21">
                  <c:v>0.004090481181702292</c:v>
                </c:pt>
                <c:pt idx="22">
                  <c:v>0.0044218466897079246</c:v>
                </c:pt>
                <c:pt idx="23">
                  <c:v>0.0041460746543219296</c:v>
                </c:pt>
                <c:pt idx="24">
                  <c:v>0.0033952230542657613</c:v>
                </c:pt>
                <c:pt idx="25">
                  <c:v>0.004150858647861022</c:v>
                </c:pt>
                <c:pt idx="26">
                  <c:v>0.004150320093443843</c:v>
                </c:pt>
                <c:pt idx="27">
                  <c:v>0.004402402893764932</c:v>
                </c:pt>
                <c:pt idx="28">
                  <c:v>0.004420716855152713</c:v>
                </c:pt>
                <c:pt idx="29">
                  <c:v>0.004321156572726061</c:v>
                </c:pt>
                <c:pt idx="30">
                  <c:v>0.004871115664953217</c:v>
                </c:pt>
                <c:pt idx="31">
                  <c:v>0.004482237508089369</c:v>
                </c:pt>
                <c:pt idx="32">
                  <c:v>0.002561658095766726</c:v>
                </c:pt>
                <c:pt idx="33">
                  <c:v>0.00314270086481313</c:v>
                </c:pt>
                <c:pt idx="34">
                  <c:v>0.0027899726006555383</c:v>
                </c:pt>
                <c:pt idx="35">
                  <c:v>0.003844887157943993</c:v>
                </c:pt>
                <c:pt idx="36">
                  <c:v>0.004829083291515596</c:v>
                </c:pt>
                <c:pt idx="37">
                  <c:v>0.004280762780370092</c:v>
                </c:pt>
                <c:pt idx="38">
                  <c:v>0.0046970405533529646</c:v>
                </c:pt>
                <c:pt idx="39">
                  <c:v>0.004345661109389411</c:v>
                </c:pt>
                <c:pt idx="40">
                  <c:v>0.004560843006173307</c:v>
                </c:pt>
                <c:pt idx="41">
                  <c:v>0.003386117706368895</c:v>
                </c:pt>
                <c:pt idx="42">
                  <c:v>0.0028512962776673827</c:v>
                </c:pt>
                <c:pt idx="43">
                  <c:v>0.0032750807449010034</c:v>
                </c:pt>
                <c:pt idx="44">
                  <c:v>0.0037078972121579734</c:v>
                </c:pt>
                <c:pt idx="45">
                  <c:v>0.002653378662268258</c:v>
                </c:pt>
                <c:pt idx="46">
                  <c:v>0.0029173146755583313</c:v>
                </c:pt>
                <c:pt idx="47">
                  <c:v>0.0031174419433875993</c:v>
                </c:pt>
                <c:pt idx="48">
                  <c:v>0.0048668455418425785</c:v>
                </c:pt>
                <c:pt idx="49">
                  <c:v>0.0030880627096370513</c:v>
                </c:pt>
                <c:pt idx="50">
                  <c:v>0.0020905740118343204</c:v>
                </c:pt>
                <c:pt idx="51">
                  <c:v>0.0036672170878556884</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14.69538332807</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14.69538332807</c:v>
                </c:pt>
                <c:pt idx="1">
                  <c:v>3314.69538332807</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14.69538332807</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14.69538332807</c:v>
                </c:pt>
                <c:pt idx="1">
                  <c:v>3314.69538332807</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44.405976405639</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44.405976405639</c:v>
                </c:pt>
                <c:pt idx="1">
                  <c:v>4944.405976405639</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14.69538332807</c:v>
                </c:pt>
                <c:pt idx="53">
                  <c:v>3314.69538332807</c:v>
                </c:pt>
                <c:pt idx="54">
                  <c:v>4944.405976405639</c:v>
                </c:pt>
              </c:numCache>
            </c:numRef>
          </c:xVal>
          <c:yVal>
            <c:numRef>
              <c:f>Sheet1!$B$132:$B$186</c:f>
              <c:numCache>
                <c:formatCode>General</c:formatCode>
                <c:ptCount val="55"/>
                <c:pt idx="0">
                  <c:v>0.003817108866855332</c:v>
                </c:pt>
                <c:pt idx="1">
                  <c:v>0.004323613976757871</c:v>
                </c:pt>
                <c:pt idx="2">
                  <c:v>0.003810991621632947</c:v>
                </c:pt>
                <c:pt idx="3">
                  <c:v>0.004326271799673402</c:v>
                </c:pt>
                <c:pt idx="4">
                  <c:v>0.0023910512477666934</c:v>
                </c:pt>
                <c:pt idx="5">
                  <c:v>0.0033159194027838537</c:v>
                </c:pt>
                <c:pt idx="6">
                  <c:v>0.0029405588693133507</c:v>
                </c:pt>
                <c:pt idx="7">
                  <c:v>0.0036885461755412387</c:v>
                </c:pt>
                <c:pt idx="8">
                  <c:v>0.004717765621992365</c:v>
                </c:pt>
                <c:pt idx="9">
                  <c:v>0.003286269185964979</c:v>
                </c:pt>
                <c:pt idx="10">
                  <c:v>0.003478598820295267</c:v>
                </c:pt>
                <c:pt idx="11">
                  <c:v>0.0038365743062618914</c:v>
                </c:pt>
                <c:pt idx="12">
                  <c:v>0.0038427378735408045</c:v>
                </c:pt>
                <c:pt idx="13">
                  <c:v>0.00495253081636999</c:v>
                </c:pt>
                <c:pt idx="14">
                  <c:v>0.004062442172647486</c:v>
                </c:pt>
                <c:pt idx="15">
                  <c:v>0.0044512186368176115</c:v>
                </c:pt>
                <c:pt idx="16">
                  <c:v>0.004549937773680176</c:v>
                </c:pt>
                <c:pt idx="17">
                  <c:v>0.005084890397563412</c:v>
                </c:pt>
                <c:pt idx="18">
                  <c:v>0.003112894233414685</c:v>
                </c:pt>
                <c:pt idx="19">
                  <c:v>0.002755371944224057</c:v>
                </c:pt>
                <c:pt idx="20">
                  <c:v>0.003965820437754264</c:v>
                </c:pt>
                <c:pt idx="21">
                  <c:v>0.0033022505992182675</c:v>
                </c:pt>
                <c:pt idx="22">
                  <c:v>0.0037088975052944444</c:v>
                </c:pt>
                <c:pt idx="23">
                  <c:v>0.004019027470638068</c:v>
                </c:pt>
                <c:pt idx="24">
                  <c:v>0.0029128162099698526</c:v>
                </c:pt>
                <c:pt idx="25">
                  <c:v>0.003552161891075728</c:v>
                </c:pt>
                <c:pt idx="26">
                  <c:v>0.0033502540704602483</c:v>
                </c:pt>
                <c:pt idx="27">
                  <c:v>0.00407896775615828</c:v>
                </c:pt>
                <c:pt idx="28">
                  <c:v>0.004647678527958634</c:v>
                </c:pt>
                <c:pt idx="29">
                  <c:v>0.003942134983060222</c:v>
                </c:pt>
                <c:pt idx="30">
                  <c:v>0.0047118459669193</c:v>
                </c:pt>
                <c:pt idx="31">
                  <c:v>0.003866088746298681</c:v>
                </c:pt>
                <c:pt idx="32">
                  <c:v>0.0018813278940024332</c:v>
                </c:pt>
                <c:pt idx="33">
                  <c:v>0.0025162401746096083</c:v>
                </c:pt>
                <c:pt idx="34">
                  <c:v>0.0027027216872721584</c:v>
                </c:pt>
                <c:pt idx="35">
                  <c:v>0.003371126181629303</c:v>
                </c:pt>
                <c:pt idx="36">
                  <c:v>0.0037330077560281854</c:v>
                </c:pt>
                <c:pt idx="37">
                  <c:v>0.0030917130554094533</c:v>
                </c:pt>
                <c:pt idx="38">
                  <c:v>0.004233085338867401</c:v>
                </c:pt>
                <c:pt idx="39">
                  <c:v>0.003852311503558141</c:v>
                </c:pt>
                <c:pt idx="40">
                  <c:v>0.0044210042021626695</c:v>
                </c:pt>
                <c:pt idx="41">
                  <c:v>0.002531427734126926</c:v>
                </c:pt>
                <c:pt idx="42">
                  <c:v>0.0018958825879146646</c:v>
                </c:pt>
                <c:pt idx="43">
                  <c:v>0.0033104772445820127</c:v>
                </c:pt>
                <c:pt idx="44">
                  <c:v>0.003287822417676816</c:v>
                </c:pt>
                <c:pt idx="45">
                  <c:v>0.002556378768155546</c:v>
                </c:pt>
                <c:pt idx="46">
                  <c:v>0.0026770112752676715</c:v>
                </c:pt>
                <c:pt idx="47">
                  <c:v>0.002649565228961547</c:v>
                </c:pt>
                <c:pt idx="48">
                  <c:v>0.0048943556290168815</c:v>
                </c:pt>
                <c:pt idx="49">
                  <c:v>0.003396202513023941</c:v>
                </c:pt>
                <c:pt idx="50">
                  <c:v>0.0026605002718140154</c:v>
                </c:pt>
                <c:pt idx="51">
                  <c:v>0.003975894801608887</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5031368334762939</c:v>
                </c:pt>
                <c:pt idx="5">
                  <c:v>0.5122307001795332</c:v>
                </c:pt>
                <c:pt idx="6">
                  <c:v>0.6106947626039763</c:v>
                </c:pt>
                <c:pt idx="7">
                  <c:v>0.9049633120683062</c:v>
                </c:pt>
                <c:pt idx="8">
                  <c:v>0.678229076971176</c:v>
                </c:pt>
                <c:pt idx="9">
                  <c:v>0.7373689506098795</c:v>
                </c:pt>
                <c:pt idx="10">
                  <c:v>0.4679316292927709</c:v>
                </c:pt>
                <c:pt idx="11">
                  <c:v>0.7928012243351177</c:v>
                </c:pt>
                <c:pt idx="12">
                  <c:v>0.5001512691551285</c:v>
                </c:pt>
                <c:pt idx="13">
                  <c:v>0.5228536264482452</c:v>
                </c:pt>
                <c:pt idx="14">
                  <c:v>0.3028273501891118</c:v>
                </c:pt>
                <c:pt idx="15">
                  <c:v>0.33056071029923795</c:v>
                </c:pt>
                <c:pt idx="16">
                  <c:v>0.49807298530631916</c:v>
                </c:pt>
                <c:pt idx="17">
                  <c:v>0.30174285684794533</c:v>
                </c:pt>
                <c:pt idx="18">
                  <c:v>0.23391319372047017</c:v>
                </c:pt>
                <c:pt idx="19">
                  <c:v>0.26809770767336616</c:v>
                </c:pt>
                <c:pt idx="20">
                  <c:v>0.8781138344882251</c:v>
                </c:pt>
                <c:pt idx="21">
                  <c:v>0.0</c:v>
                </c:pt>
                <c:pt idx="22">
                  <c:v>0.7375870375260956</c:v>
                </c:pt>
                <c:pt idx="23">
                  <c:v>1.1033527656583355</c:v>
                </c:pt>
                <c:pt idx="24">
                  <c:v>1.1955745403892655</c:v>
                </c:pt>
                <c:pt idx="25">
                  <c:v>0.8846906903988476</c:v>
                </c:pt>
                <c:pt idx="26">
                  <c:v>1.1551252529581317</c:v>
                </c:pt>
                <c:pt idx="27">
                  <c:v>1.393144449991452</c:v>
                </c:pt>
                <c:pt idx="28">
                  <c:v>0.8447844154171044</c:v>
                </c:pt>
                <c:pt idx="29">
                  <c:v>0.8283526959727711</c:v>
                </c:pt>
                <c:pt idx="30">
                  <c:v>1.0724298428647583</c:v>
                </c:pt>
                <c:pt idx="31">
                  <c:v>1.2480974756151693</c:v>
                </c:pt>
                <c:pt idx="32">
                  <c:v>1.0280963714786973</c:v>
                </c:pt>
                <c:pt idx="33">
                  <c:v>1.3944578160338092</c:v>
                </c:pt>
                <c:pt idx="34">
                  <c:v>0.8368731142360718</c:v>
                </c:pt>
                <c:pt idx="35">
                  <c:v>0.8266331759559344</c:v>
                </c:pt>
                <c:pt idx="36">
                  <c:v>0.9000165463000763</c:v>
                </c:pt>
                <c:pt idx="37">
                  <c:v>0.9328450318146101</c:v>
                </c:pt>
                <c:pt idx="38">
                  <c:v>1.314833881705251</c:v>
                </c:pt>
                <c:pt idx="39">
                  <c:v>1.187574272467963</c:v>
                </c:pt>
                <c:pt idx="40">
                  <c:v>1.5759049698602368</c:v>
                </c:pt>
                <c:pt idx="41">
                  <c:v>1.1927973058286556</c:v>
                </c:pt>
                <c:pt idx="42">
                  <c:v>1.1531877491692588</c:v>
                </c:pt>
                <c:pt idx="43">
                  <c:v>1.1259088078446542</c:v>
                </c:pt>
                <c:pt idx="44">
                  <c:v>1.377268235205901</c:v>
                </c:pt>
                <c:pt idx="45">
                  <c:v>1.6062693560218904</c:v>
                </c:pt>
                <c:pt idx="46">
                  <c:v>1.1662402107685625</c:v>
                </c:pt>
                <c:pt idx="47">
                  <c:v>1.6547469858216308</c:v>
                </c:pt>
                <c:pt idx="48">
                  <c:v>1.5346423465743866</c:v>
                </c:pt>
                <c:pt idx="49">
                  <c:v>1.4905436343732736</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1.2203386479277178</c:v>
                </c:pt>
                <c:pt idx="1">
                  <c:v>1.2042176140699579</c:v>
                </c:pt>
                <c:pt idx="2">
                  <c:v>1.2707876084549559</c:v>
                </c:pt>
                <c:pt idx="3">
                  <c:v>1.2055679318068901</c:v>
                </c:pt>
                <c:pt idx="4">
                  <c:v>1.454079588823698</c:v>
                </c:pt>
                <c:pt idx="5">
                  <c:v>1.2342045966742088</c:v>
                </c:pt>
                <c:pt idx="6">
                  <c:v>1.609439499320375</c:v>
                </c:pt>
                <c:pt idx="7">
                  <c:v>1.4236767038317575</c:v>
                </c:pt>
                <c:pt idx="8">
                  <c:v>1.0007095786519065</c:v>
                </c:pt>
                <c:pt idx="9">
                  <c:v>1.3491302761152955</c:v>
                </c:pt>
                <c:pt idx="10">
                  <c:v>1.4380391915039399</c:v>
                </c:pt>
                <c:pt idx="11">
                  <c:v>1.4851165909245703</c:v>
                </c:pt>
                <c:pt idx="12">
                  <c:v>1.7093841936828875</c:v>
                </c:pt>
                <c:pt idx="13">
                  <c:v>1.4469011727245757</c:v>
                </c:pt>
                <c:pt idx="14">
                  <c:v>1.6573485564970671</c:v>
                </c:pt>
                <c:pt idx="15">
                  <c:v>1.240164628232564</c:v>
                </c:pt>
                <c:pt idx="16">
                  <c:v>1.2055780328372643</c:v>
                </c:pt>
                <c:pt idx="17">
                  <c:v>0.9921428918317476</c:v>
                </c:pt>
                <c:pt idx="18">
                  <c:v>1.3201475091150685</c:v>
                </c:pt>
                <c:pt idx="19">
                  <c:v>1.452141906479285</c:v>
                </c:pt>
                <c:pt idx="20">
                  <c:v>1.022999398021956</c:v>
                </c:pt>
                <c:pt idx="21">
                  <c:v>1.1391945322254002</c:v>
                </c:pt>
                <c:pt idx="22">
                  <c:v>1.147240295888187</c:v>
                </c:pt>
                <c:pt idx="23">
                  <c:v>1.0887802552203172</c:v>
                </c:pt>
                <c:pt idx="24">
                  <c:v>1.2885918330957185</c:v>
                </c:pt>
                <c:pt idx="25">
                  <c:v>1.097968002377784</c:v>
                </c:pt>
                <c:pt idx="26">
                  <c:v>1.1694999511268023</c:v>
                </c:pt>
                <c:pt idx="27">
                  <c:v>1.1133165228100081</c:v>
                </c:pt>
                <c:pt idx="28">
                  <c:v>1.1632500831492838</c:v>
                </c:pt>
                <c:pt idx="29">
                  <c:v>1.3003140921623413</c:v>
                </c:pt>
                <c:pt idx="30">
                  <c:v>1.1122373789289473</c:v>
                </c:pt>
                <c:pt idx="31">
                  <c:v>0.9977460429720932</c:v>
                </c:pt>
                <c:pt idx="32">
                  <c:v>1.3528397483563424</c:v>
                </c:pt>
                <c:pt idx="33">
                  <c:v>1.1982449316815083</c:v>
                </c:pt>
                <c:pt idx="34">
                  <c:v>1.2278783060854832</c:v>
                </c:pt>
                <c:pt idx="35">
                  <c:v>1.0238849886716352</c:v>
                </c:pt>
                <c:pt idx="36">
                  <c:v>1.0618854495641135</c:v>
                </c:pt>
                <c:pt idx="37">
                  <c:v>1.0835084699644846</c:v>
                </c:pt>
                <c:pt idx="38">
                  <c:v>0.9662551407881051</c:v>
                </c:pt>
                <c:pt idx="39">
                  <c:v>1.0822473100895698</c:v>
                </c:pt>
                <c:pt idx="40">
                  <c:v>0.9923458051982013</c:v>
                </c:pt>
                <c:pt idx="41">
                  <c:v>1.2832534042394628</c:v>
                </c:pt>
                <c:pt idx="42">
                  <c:v>1.3846936483397418</c:v>
                </c:pt>
                <c:pt idx="43">
                  <c:v>1.1887922286595745</c:v>
                </c:pt>
                <c:pt idx="44">
                  <c:v>1.3925281960184952</c:v>
                </c:pt>
                <c:pt idx="45">
                  <c:v>1.6264421732851857</c:v>
                </c:pt>
                <c:pt idx="46">
                  <c:v>1.5228580728327425</c:v>
                </c:pt>
                <c:pt idx="47">
                  <c:v>1.6579663193238587</c:v>
                </c:pt>
                <c:pt idx="48">
                  <c:v>1.1932017720069683</c:v>
                </c:pt>
                <c:pt idx="49">
                  <c:v>1.6746154162144422</c:v>
                </c:pt>
                <c:pt idx="50">
                  <c:v>1.9448620541205717</c:v>
                </c:pt>
                <c:pt idx="51">
                  <c:v>1.3088232379803986</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0.763714491239589</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0.763714491239589</c:v>
                </c:pt>
                <c:pt idx="1">
                  <c:v>0.763714491239589</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0.763714491239589</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763714491239589</c:v>
                </c:pt>
                <c:pt idx="1">
                  <c:v>0.763714491239589</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1.8055899280368963</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1.8055899280368963</c:v>
                </c:pt>
                <c:pt idx="1">
                  <c:v>1.8055899280368963</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1.2203386479277178</c:v>
                </c:pt>
                <c:pt idx="1">
                  <c:v>1.2042176140699579</c:v>
                </c:pt>
                <c:pt idx="2">
                  <c:v>1.2707876084549559</c:v>
                </c:pt>
                <c:pt idx="3">
                  <c:v>1.2055679318068901</c:v>
                </c:pt>
                <c:pt idx="4">
                  <c:v>1.454079588823698</c:v>
                </c:pt>
                <c:pt idx="5">
                  <c:v>1.2342045966742088</c:v>
                </c:pt>
                <c:pt idx="6">
                  <c:v>1.609439499320375</c:v>
                </c:pt>
                <c:pt idx="7">
                  <c:v>1.4236767038317575</c:v>
                </c:pt>
                <c:pt idx="8">
                  <c:v>1.0007095786519065</c:v>
                </c:pt>
                <c:pt idx="9">
                  <c:v>1.3491302761152955</c:v>
                </c:pt>
                <c:pt idx="10">
                  <c:v>1.4380391915039399</c:v>
                </c:pt>
                <c:pt idx="11">
                  <c:v>1.4851165909245703</c:v>
                </c:pt>
                <c:pt idx="12">
                  <c:v>1.7093841936828875</c:v>
                </c:pt>
                <c:pt idx="13">
                  <c:v>1.4469011727245757</c:v>
                </c:pt>
                <c:pt idx="14">
                  <c:v>1.6573485564970671</c:v>
                </c:pt>
                <c:pt idx="15">
                  <c:v>1.240164628232564</c:v>
                </c:pt>
                <c:pt idx="16">
                  <c:v>1.2055780328372643</c:v>
                </c:pt>
                <c:pt idx="17">
                  <c:v>0.9921428918317476</c:v>
                </c:pt>
                <c:pt idx="18">
                  <c:v>1.3201475091150685</c:v>
                </c:pt>
                <c:pt idx="19">
                  <c:v>1.452141906479285</c:v>
                </c:pt>
                <c:pt idx="20">
                  <c:v>1.022999398021956</c:v>
                </c:pt>
                <c:pt idx="21">
                  <c:v>1.1391945322254002</c:v>
                </c:pt>
                <c:pt idx="22">
                  <c:v>1.147240295888187</c:v>
                </c:pt>
                <c:pt idx="23">
                  <c:v>1.0887802552203172</c:v>
                </c:pt>
                <c:pt idx="24">
                  <c:v>1.2885918330957185</c:v>
                </c:pt>
                <c:pt idx="25">
                  <c:v>1.097968002377784</c:v>
                </c:pt>
                <c:pt idx="26">
                  <c:v>1.1694999511268023</c:v>
                </c:pt>
                <c:pt idx="27">
                  <c:v>1.1133165228100081</c:v>
                </c:pt>
                <c:pt idx="28">
                  <c:v>1.1632500831492838</c:v>
                </c:pt>
                <c:pt idx="29">
                  <c:v>1.3003140921623413</c:v>
                </c:pt>
                <c:pt idx="30">
                  <c:v>1.1122373789289473</c:v>
                </c:pt>
                <c:pt idx="31">
                  <c:v>0.9977460429720932</c:v>
                </c:pt>
                <c:pt idx="32">
                  <c:v>1.3528397483563424</c:v>
                </c:pt>
                <c:pt idx="33">
                  <c:v>1.1982449316815083</c:v>
                </c:pt>
                <c:pt idx="34">
                  <c:v>1.2278783060854832</c:v>
                </c:pt>
                <c:pt idx="35">
                  <c:v>1.0238849886716352</c:v>
                </c:pt>
                <c:pt idx="36">
                  <c:v>1.0618854495641135</c:v>
                </c:pt>
                <c:pt idx="37">
                  <c:v>1.0835084699644846</c:v>
                </c:pt>
                <c:pt idx="38">
                  <c:v>0.9662551407881051</c:v>
                </c:pt>
                <c:pt idx="39">
                  <c:v>1.0822473100895698</c:v>
                </c:pt>
                <c:pt idx="40">
                  <c:v>0.9923458051982013</c:v>
                </c:pt>
                <c:pt idx="41">
                  <c:v>1.2832534042394628</c:v>
                </c:pt>
                <c:pt idx="42">
                  <c:v>1.3846936483397418</c:v>
                </c:pt>
                <c:pt idx="43">
                  <c:v>1.1887922286595745</c:v>
                </c:pt>
                <c:pt idx="44">
                  <c:v>1.3925281960184952</c:v>
                </c:pt>
                <c:pt idx="45">
                  <c:v>1.6264421732851857</c:v>
                </c:pt>
                <c:pt idx="46">
                  <c:v>1.5228580728327425</c:v>
                </c:pt>
                <c:pt idx="47">
                  <c:v>1.6579663193238587</c:v>
                </c:pt>
                <c:pt idx="48">
                  <c:v>1.1932017720069683</c:v>
                </c:pt>
                <c:pt idx="49">
                  <c:v>1.6746154162144422</c:v>
                </c:pt>
                <c:pt idx="50">
                  <c:v>1.9448620541205717</c:v>
                </c:pt>
                <c:pt idx="51">
                  <c:v>1.3088232379803986</c:v>
                </c:pt>
                <c:pt idx="52">
                  <c:v>0.763714491239589</c:v>
                </c:pt>
                <c:pt idx="53">
                  <c:v>0.763714491239589</c:v>
                </c:pt>
                <c:pt idx="54">
                  <c:v>1.8055899280368963</c:v>
                </c:pt>
              </c:numCache>
            </c:numRef>
          </c:xVal>
          <c:yVal>
            <c:numRef>
              <c:f>Sheet1!$B$132:$B$186</c:f>
              <c:numCache>
                <c:formatCode>General</c:formatCode>
                <c:ptCount val="55"/>
                <c:pt idx="0">
                  <c:v>0.003734791004952697</c:v>
                </c:pt>
                <c:pt idx="1">
                  <c:v>0.003773088958864248</c:v>
                </c:pt>
                <c:pt idx="2">
                  <c:v>0.003614941869828662</c:v>
                </c:pt>
                <c:pt idx="3">
                  <c:v>0.0037698810748717404</c:v>
                </c:pt>
                <c:pt idx="4">
                  <c:v>0.0031795040512336715</c:v>
                </c:pt>
                <c:pt idx="5">
                  <c:v>0.0037018503467592763</c:v>
                </c:pt>
                <c:pt idx="6">
                  <c:v>0.0028104230887840845</c:v>
                </c:pt>
                <c:pt idx="7">
                  <c:v>0.003251730702357479</c:v>
                </c:pt>
                <c:pt idx="8">
                  <c:v>0.004256553073500987</c:v>
                </c:pt>
                <c:pt idx="9">
                  <c:v>0.003428827015047224</c:v>
                </c:pt>
                <c:pt idx="10">
                  <c:v>0.0032176104408545426</c:v>
                </c:pt>
                <c:pt idx="11">
                  <c:v>0.003105770959020125</c:v>
                </c:pt>
                <c:pt idx="12">
                  <c:v>0.0025729893526991576</c:v>
                </c:pt>
                <c:pt idx="13">
                  <c:v>0.0031965574642683313</c:v>
                </c:pt>
                <c:pt idx="14">
                  <c:v>0.0026966078781786177</c:v>
                </c:pt>
                <c:pt idx="15">
                  <c:v>0.003687691390457388</c:v>
                </c:pt>
                <c:pt idx="16">
                  <c:v>0.0037698570783465087</c:v>
                </c:pt>
                <c:pt idx="17">
                  <c:v>0.004276904533581521</c:v>
                </c:pt>
                <c:pt idx="18">
                  <c:v>0.0034976799611174053</c:v>
                </c:pt>
                <c:pt idx="19">
                  <c:v>0.0031841073086783436</c:v>
                </c:pt>
                <c:pt idx="20">
                  <c:v>0.004203600236700136</c:v>
                </c:pt>
                <c:pt idx="21">
                  <c:v>0.003927561123220579</c:v>
                </c:pt>
                <c:pt idx="22">
                  <c:v>0.003908447194879543</c:v>
                </c:pt>
                <c:pt idx="23">
                  <c:v>0.00404732786239255</c:v>
                </c:pt>
                <c:pt idx="24">
                  <c:v>0.0035726452416633037</c:v>
                </c:pt>
                <c:pt idx="25">
                  <c:v>0.004025500979557844</c:v>
                </c:pt>
                <c:pt idx="26">
                  <c:v>0.0038555660175346334</c:v>
                </c:pt>
                <c:pt idx="27">
                  <c:v>0.003989038248115786</c:v>
                </c:pt>
                <c:pt idx="28">
                  <c:v>0.003870413524082178</c:v>
                </c:pt>
                <c:pt idx="29">
                  <c:v>0.0035447972424943993</c:v>
                </c:pt>
                <c:pt idx="30">
                  <c:v>0.003991601917604074</c:v>
                </c:pt>
                <c:pt idx="31">
                  <c:v>0.004263593400683607</c:v>
                </c:pt>
                <c:pt idx="32">
                  <c:v>0.0034200146027554773</c:v>
                </c:pt>
                <c:pt idx="33">
                  <c:v>0.003787277969126209</c:v>
                </c:pt>
                <c:pt idx="34">
                  <c:v>0.003716879406777128</c:v>
                </c:pt>
                <c:pt idx="35">
                  <c:v>0.004201496382184032</c:v>
                </c:pt>
                <c:pt idx="36">
                  <c:v>0.0041112205405278044</c:v>
                </c:pt>
                <c:pt idx="37">
                  <c:v>0.004059851785519371</c:v>
                </c:pt>
                <c:pt idx="38">
                  <c:v>0.004338404801187862</c:v>
                </c:pt>
                <c:pt idx="39">
                  <c:v>0.0040628478615273205</c:v>
                </c:pt>
                <c:pt idx="40">
                  <c:v>0.00427642248219294</c:v>
                </c:pt>
                <c:pt idx="41">
                  <c:v>0.003585327486741436</c:v>
                </c:pt>
                <c:pt idx="42">
                  <c:v>0.003344340846082597</c:v>
                </c:pt>
                <c:pt idx="43">
                  <c:v>0.0038097342946862064</c:v>
                </c:pt>
                <c:pt idx="44">
                  <c:v>0.0033257286932538064</c:v>
                </c:pt>
                <c:pt idx="45">
                  <c:v>0.0027700306654678836</c:v>
                </c:pt>
                <c:pt idx="46">
                  <c:v>0.0030161103611064835</c:v>
                </c:pt>
                <c:pt idx="47">
                  <c:v>0.002695140289159359</c:v>
                </c:pt>
                <c:pt idx="48">
                  <c:v>0.0037992587576096445</c:v>
                </c:pt>
                <c:pt idx="49">
                  <c:v>0.002655587841654413</c:v>
                </c:pt>
                <c:pt idx="50">
                  <c:v>0.002013576083934634</c:v>
                </c:pt>
                <c:pt idx="51">
                  <c:v>0.003524582479766278</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8835938971557733</c:v>
                </c:pt>
                <c:pt idx="5">
                  <c:v>0.0002158428663932657</c:v>
                </c:pt>
                <c:pt idx="6">
                  <c:v>0.0003169572107765452</c:v>
                </c:pt>
                <c:pt idx="7">
                  <c:v>0.0002795638803466592</c:v>
                </c:pt>
                <c:pt idx="8">
                  <c:v>0.00027056277056277056</c:v>
                </c:pt>
                <c:pt idx="9">
                  <c:v>0.00024378352023403217</c:v>
                </c:pt>
                <c:pt idx="10">
                  <c:v>0.0005167958656330749</c:v>
                </c:pt>
                <c:pt idx="11">
                  <c:v>0.0005366246310705661</c:v>
                </c:pt>
                <c:pt idx="12">
                  <c:v>0.0005331911490269261</c:v>
                </c:pt>
                <c:pt idx="13">
                  <c:v>0.000664451827242525</c:v>
                </c:pt>
                <c:pt idx="14">
                  <c:v>0.0008357709987463436</c:v>
                </c:pt>
                <c:pt idx="15">
                  <c:v>0.0008267879288962381</c:v>
                </c:pt>
                <c:pt idx="16">
                  <c:v>0.00048007681228996637</c:v>
                </c:pt>
                <c:pt idx="17">
                  <c:v>0.0008347245409015025</c:v>
                </c:pt>
                <c:pt idx="18">
                  <c:v>0.0009433962264150943</c:v>
                </c:pt>
                <c:pt idx="19">
                  <c:v>0.0008309098462816784</c:v>
                </c:pt>
                <c:pt idx="20">
                  <c:v>0.0009760858955588092</c:v>
                </c:pt>
                <c:pt idx="21">
                  <c:v>0.0</c:v>
                </c:pt>
                <c:pt idx="22">
                  <c:v>0.0026666666666666666</c:v>
                </c:pt>
                <c:pt idx="23">
                  <c:v>0.0013651877133105802</c:v>
                </c:pt>
                <c:pt idx="24">
                  <c:v>0.0013908205841446453</c:v>
                </c:pt>
                <c:pt idx="25">
                  <c:v>0.001716001716001716</c:v>
                </c:pt>
                <c:pt idx="26">
                  <c:v>0.0012205044751830757</c:v>
                </c:pt>
                <c:pt idx="27">
                  <c:v>0.0017152658662092624</c:v>
                </c:pt>
                <c:pt idx="28">
                  <c:v>0.001890359168241966</c:v>
                </c:pt>
                <c:pt idx="29">
                  <c:v>0.002458512599877074</c:v>
                </c:pt>
                <c:pt idx="30">
                  <c:v>0.0021691973969631237</c:v>
                </c:pt>
                <c:pt idx="31">
                  <c:v>0.0015606710885680843</c:v>
                </c:pt>
                <c:pt idx="32">
                  <c:v>0.0018301610541727673</c:v>
                </c:pt>
                <c:pt idx="33">
                  <c:v>0.0015113350125944584</c:v>
                </c:pt>
                <c:pt idx="34">
                  <c:v>0.0022497187851518562</c:v>
                </c:pt>
                <c:pt idx="35">
                  <c:v>0.0027233115468409588</c:v>
                </c:pt>
                <c:pt idx="36">
                  <c:v>0.002635740643120717</c:v>
                </c:pt>
                <c:pt idx="37">
                  <c:v>0.0025762129669386004</c:v>
                </c:pt>
                <c:pt idx="38">
                  <c:v>0.0020755500207555004</c:v>
                </c:pt>
                <c:pt idx="39">
                  <c:v>0.0019389238972370335</c:v>
                </c:pt>
                <c:pt idx="40">
                  <c:v>0.0024813895781637717</c:v>
                </c:pt>
                <c:pt idx="41">
                  <c:v>0.003026070763500931</c:v>
                </c:pt>
                <c:pt idx="42">
                  <c:v>0.0035103115401491883</c:v>
                </c:pt>
                <c:pt idx="43">
                  <c:v>0.0037209302325581397</c:v>
                </c:pt>
                <c:pt idx="44">
                  <c:v>0.0034252161148262926</c:v>
                </c:pt>
                <c:pt idx="45">
                  <c:v>0.0024489795918367346</c:v>
                </c:pt>
                <c:pt idx="46">
                  <c:v>0.004046944556859571</c:v>
                </c:pt>
                <c:pt idx="47">
                  <c:v>0.0024390243902439024</c:v>
                </c:pt>
                <c:pt idx="48">
                  <c:v>0.002824060999717594</c:v>
                </c:pt>
                <c:pt idx="49">
                  <c:v>0.0024424284717376133</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4024024024024023</c:v>
                </c:pt>
                <c:pt idx="1">
                  <c:v>0.002530844669408415</c:v>
                </c:pt>
                <c:pt idx="2">
                  <c:v>0.0024923843810578787</c:v>
                </c:pt>
                <c:pt idx="3">
                  <c:v>0.003045994517209869</c:v>
                </c:pt>
                <c:pt idx="4">
                  <c:v>0.0022314313037934334</c:v>
                </c:pt>
                <c:pt idx="5">
                  <c:v>0.0025220680958385876</c:v>
                </c:pt>
                <c:pt idx="6">
                  <c:v>0.0026448029621793175</c:v>
                </c:pt>
                <c:pt idx="7">
                  <c:v>0.0035248501938667607</c:v>
                </c:pt>
                <c:pt idx="8">
                  <c:v>0.005118659841786877</c:v>
                </c:pt>
                <c:pt idx="9">
                  <c:v>0.004661016949152543</c:v>
                </c:pt>
                <c:pt idx="10">
                  <c:v>0.004408817635270541</c:v>
                </c:pt>
                <c:pt idx="11">
                  <c:v>0.003815822945815314</c:v>
                </c:pt>
                <c:pt idx="12">
                  <c:v>0.004730928444707274</c:v>
                </c:pt>
                <c:pt idx="13">
                  <c:v>0.006447453255963894</c:v>
                </c:pt>
                <c:pt idx="14">
                  <c:v>0.005008944543828265</c:v>
                </c:pt>
                <c:pt idx="15">
                  <c:v>0.005297473512632437</c:v>
                </c:pt>
                <c:pt idx="16">
                  <c:v>0.005909090909090909</c:v>
                </c:pt>
                <c:pt idx="17">
                  <c:v>0.007651841224294596</c:v>
                </c:pt>
                <c:pt idx="18">
                  <c:v>0.004105571847507331</c:v>
                </c:pt>
                <c:pt idx="19">
                  <c:v>0.003264417845484222</c:v>
                </c:pt>
                <c:pt idx="20">
                  <c:v>0.003663003663003663</c:v>
                </c:pt>
                <c:pt idx="21">
                  <c:v>0.0036900369003690036</c:v>
                </c:pt>
                <c:pt idx="22">
                  <c:v>0.005115089514066497</c:v>
                </c:pt>
                <c:pt idx="23">
                  <c:v>0.003943217665615142</c:v>
                </c:pt>
                <c:pt idx="24">
                  <c:v>0.00404040404040404</c:v>
                </c:pt>
                <c:pt idx="25">
                  <c:v>0.003518648838845883</c:v>
                </c:pt>
                <c:pt idx="26">
                  <c:v>0.004347826086956522</c:v>
                </c:pt>
                <c:pt idx="27">
                  <c:v>0.004746835443037975</c:v>
                </c:pt>
                <c:pt idx="28">
                  <c:v>0.003469210754553339</c:v>
                </c:pt>
                <c:pt idx="29">
                  <c:v>0.00392156862745098</c:v>
                </c:pt>
                <c:pt idx="30">
                  <c:v>0.0045223289994347085</c:v>
                </c:pt>
                <c:pt idx="31">
                  <c:v>0.0034782608695652175</c:v>
                </c:pt>
                <c:pt idx="32">
                  <c:v>0.0029484029484029483</c:v>
                </c:pt>
                <c:pt idx="33">
                  <c:v>0.0025678650036683784</c:v>
                </c:pt>
                <c:pt idx="34">
                  <c:v>0.002698327037236913</c:v>
                </c:pt>
                <c:pt idx="35">
                  <c:v>0.0034916201117318434</c:v>
                </c:pt>
                <c:pt idx="36">
                  <c:v>0.005164622336991607</c:v>
                </c:pt>
                <c:pt idx="37">
                  <c:v>0.004563605248146035</c:v>
                </c:pt>
                <c:pt idx="38">
                  <c:v>0.004257907542579075</c:v>
                </c:pt>
                <c:pt idx="39">
                  <c:v>0.003147482014388489</c:v>
                </c:pt>
                <c:pt idx="40">
                  <c:v>0.00407955124936257</c:v>
                </c:pt>
                <c:pt idx="41">
                  <c:v>0.0033159639981051635</c:v>
                </c:pt>
                <c:pt idx="42">
                  <c:v>0.0020964360587002098</c:v>
                </c:pt>
                <c:pt idx="43">
                  <c:v>0.0022404779686333084</c:v>
                </c:pt>
                <c:pt idx="44">
                  <c:v>0.002488335925349922</c:v>
                </c:pt>
                <c:pt idx="45">
                  <c:v>0.0014690451206715634</c:v>
                </c:pt>
                <c:pt idx="46">
                  <c:v>0.0019120458891013384</c:v>
                </c:pt>
                <c:pt idx="47">
                  <c:v>0.0015364916773367477</c:v>
                </c:pt>
                <c:pt idx="48">
                  <c:v>0.0024564537740062527</c:v>
                </c:pt>
                <c:pt idx="49">
                  <c:v>0.0019413287316652286</c:v>
                </c:pt>
                <c:pt idx="50">
                  <c:v>0.0014017381553125877</c:v>
                </c:pt>
                <c:pt idx="51">
                  <c:v>0.0023923444976076554</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14.69538332807</c:v>
                </c:pt>
              </c:numCache>
            </c:numRef>
          </c:xVal>
          <c:yVal>
            <c:numRef>
              <c:f>Sheet1!$B$108:$B$109</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14.69538332807</c:v>
                </c:pt>
                <c:pt idx="1">
                  <c:v>3314.69538332807</c:v>
                </c:pt>
              </c:numCache>
            </c:numRef>
          </c:xVal>
          <c:yVal>
            <c:numRef>
              <c:f>Sheet1!$B$112:$B$113</c:f>
              <c:numCache>
                <c:formatCode>General</c:formatCode>
                <c:ptCount val="2"/>
                <c:pt idx="0">
                  <c:v>0.0048195707443938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14.69538332807</c:v>
                </c:pt>
              </c:numCache>
            </c:numRef>
          </c:xVal>
          <c:yVal>
            <c:numRef>
              <c:f>Sheet1!$B$116:$B$117</c:f>
              <c:numCache>
                <c:formatCode>General</c:formatCode>
                <c:ptCount val="2"/>
                <c:pt idx="0">
                  <c:v>0.004819570744393846</c:v>
                </c:pt>
                <c:pt idx="1">
                  <c:v>0.004819570744393846</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14.69538332807</c:v>
                </c:pt>
                <c:pt idx="1">
                  <c:v>3314.69538332807</c:v>
                </c:pt>
              </c:numCache>
            </c:numRef>
          </c:xVal>
          <c:yVal>
            <c:numRef>
              <c:f>Sheet1!$B$120:$B$121</c:f>
              <c:numCache>
                <c:formatCode>General</c:formatCode>
                <c:ptCount val="2"/>
                <c:pt idx="0">
                  <c:v>0.0048195707443938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44.405976405639</c:v>
                </c:pt>
              </c:numCache>
            </c:numRef>
          </c:xVal>
          <c:yVal>
            <c:numRef>
              <c:f>Sheet1!$B$124:$B$125</c:f>
              <c:numCache>
                <c:formatCode>General</c:formatCode>
                <c:ptCount val="2"/>
                <c:pt idx="0">
                  <c:v>0.002344438081557003</c:v>
                </c:pt>
                <c:pt idx="1">
                  <c:v>0.002344438081557003</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44.405976405639</c:v>
                </c:pt>
                <c:pt idx="1">
                  <c:v>4944.405976405639</c:v>
                </c:pt>
              </c:numCache>
            </c:numRef>
          </c:xVal>
          <c:yVal>
            <c:numRef>
              <c:f>Sheet1!$B$128:$B$129</c:f>
              <c:numCache>
                <c:formatCode>General</c:formatCode>
                <c:ptCount val="2"/>
                <c:pt idx="0">
                  <c:v>0.0023444380815570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14.69538332807</c:v>
                </c:pt>
                <c:pt idx="53">
                  <c:v>3314.69538332807</c:v>
                </c:pt>
                <c:pt idx="54">
                  <c:v>4944.405976405639</c:v>
                </c:pt>
              </c:numCache>
            </c:numRef>
          </c:xVal>
          <c:yVal>
            <c:numRef>
              <c:f>Sheet1!$B$132:$B$186</c:f>
              <c:numCache>
                <c:formatCode>General</c:formatCode>
                <c:ptCount val="55"/>
                <c:pt idx="0">
                  <c:v>0.003817108866855332</c:v>
                </c:pt>
                <c:pt idx="1">
                  <c:v>0.004323613976757871</c:v>
                </c:pt>
                <c:pt idx="2">
                  <c:v>0.003810991621632947</c:v>
                </c:pt>
                <c:pt idx="3">
                  <c:v>0.004326271799673402</c:v>
                </c:pt>
                <c:pt idx="4">
                  <c:v>0.0023910512477666934</c:v>
                </c:pt>
                <c:pt idx="5">
                  <c:v>0.0033159194027838537</c:v>
                </c:pt>
                <c:pt idx="6">
                  <c:v>0.0029405588693133507</c:v>
                </c:pt>
                <c:pt idx="7">
                  <c:v>0.0036885461755412387</c:v>
                </c:pt>
                <c:pt idx="8">
                  <c:v>0.004717765621992365</c:v>
                </c:pt>
                <c:pt idx="9">
                  <c:v>0.003286269185964979</c:v>
                </c:pt>
                <c:pt idx="10">
                  <c:v>0.003478598820295267</c:v>
                </c:pt>
                <c:pt idx="11">
                  <c:v>0.0038365743062618914</c:v>
                </c:pt>
                <c:pt idx="12">
                  <c:v>0.0038427378735408045</c:v>
                </c:pt>
                <c:pt idx="13">
                  <c:v>0.00495253081636999</c:v>
                </c:pt>
                <c:pt idx="14">
                  <c:v>0.004062442172647486</c:v>
                </c:pt>
                <c:pt idx="15">
                  <c:v>0.0044512186368176115</c:v>
                </c:pt>
                <c:pt idx="16">
                  <c:v>0.004549937773680176</c:v>
                </c:pt>
                <c:pt idx="17">
                  <c:v>0.005084890397563412</c:v>
                </c:pt>
                <c:pt idx="18">
                  <c:v>0.003112894233414685</c:v>
                </c:pt>
                <c:pt idx="19">
                  <c:v>0.002755371944224057</c:v>
                </c:pt>
                <c:pt idx="20">
                  <c:v>0.003965820437754264</c:v>
                </c:pt>
                <c:pt idx="21">
                  <c:v>0.0033022505992182675</c:v>
                </c:pt>
                <c:pt idx="22">
                  <c:v>0.0037088975052944444</c:v>
                </c:pt>
                <c:pt idx="23">
                  <c:v>0.004019027470638068</c:v>
                </c:pt>
                <c:pt idx="24">
                  <c:v>0.0029128162099698526</c:v>
                </c:pt>
                <c:pt idx="25">
                  <c:v>0.003552161891075728</c:v>
                </c:pt>
                <c:pt idx="26">
                  <c:v>0.0033502540704602483</c:v>
                </c:pt>
                <c:pt idx="27">
                  <c:v>0.00407896775615828</c:v>
                </c:pt>
                <c:pt idx="28">
                  <c:v>0.004647678527958634</c:v>
                </c:pt>
                <c:pt idx="29">
                  <c:v>0.003942134983060222</c:v>
                </c:pt>
                <c:pt idx="30">
                  <c:v>0.0047118459669193</c:v>
                </c:pt>
                <c:pt idx="31">
                  <c:v>0.003866088746298681</c:v>
                </c:pt>
                <c:pt idx="32">
                  <c:v>0.0018813278940024332</c:v>
                </c:pt>
                <c:pt idx="33">
                  <c:v>0.0025162401746096083</c:v>
                </c:pt>
                <c:pt idx="34">
                  <c:v>0.0027027216872721584</c:v>
                </c:pt>
                <c:pt idx="35">
                  <c:v>0.003371126181629303</c:v>
                </c:pt>
                <c:pt idx="36">
                  <c:v>0.0037330077560281854</c:v>
                </c:pt>
                <c:pt idx="37">
                  <c:v>0.0030917130554094533</c:v>
                </c:pt>
                <c:pt idx="38">
                  <c:v>0.004233085338867401</c:v>
                </c:pt>
                <c:pt idx="39">
                  <c:v>0.003852311503558141</c:v>
                </c:pt>
                <c:pt idx="40">
                  <c:v>0.0044210042021626695</c:v>
                </c:pt>
                <c:pt idx="41">
                  <c:v>0.002531427734126926</c:v>
                </c:pt>
                <c:pt idx="42">
                  <c:v>0.0018958825879146646</c:v>
                </c:pt>
                <c:pt idx="43">
                  <c:v>0.0033104772445820127</c:v>
                </c:pt>
                <c:pt idx="44">
                  <c:v>0.003287822417676816</c:v>
                </c:pt>
                <c:pt idx="45">
                  <c:v>0.002556378768155546</c:v>
                </c:pt>
                <c:pt idx="46">
                  <c:v>0.0026770112752676715</c:v>
                </c:pt>
                <c:pt idx="47">
                  <c:v>0.002649565228961547</c:v>
                </c:pt>
                <c:pt idx="48">
                  <c:v>0.0048943556290168815</c:v>
                </c:pt>
                <c:pt idx="49">
                  <c:v>0.003396202513023941</c:v>
                </c:pt>
                <c:pt idx="50">
                  <c:v>0.0026605002718140154</c:v>
                </c:pt>
                <c:pt idx="51">
                  <c:v>0.003975894801608887</c:v>
                </c:pt>
                <c:pt idx="52">
                  <c:v>0.004819570744393846</c:v>
                </c:pt>
                <c:pt idx="53">
                  <c:v>0.004819570744393846</c:v>
                </c:pt>
                <c:pt idx="54">
                  <c:v>0.00234443808155700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18220946915351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7</c:f>
              <c:numCache>
                <c:formatCode>General</c:formatCode>
                <c:ptCount val="96"/>
                <c:pt idx="0">
                  <c:v>0.8242705953121454</c:v>
                </c:pt>
                <c:pt idx="1">
                  <c:v>0.914605137963844</c:v>
                </c:pt>
                <c:pt idx="2">
                  <c:v>1.005181347150259</c:v>
                </c:pt>
                <c:pt idx="3">
                  <c:v>1.092503022974607</c:v>
                </c:pt>
                <c:pt idx="4">
                  <c:v>0.8864826273203237</c:v>
                </c:pt>
                <c:pt idx="5">
                  <c:v>1.277350680070964</c:v>
                </c:pt>
                <c:pt idx="6">
                  <c:v>0.9824418048917627</c:v>
                </c:pt>
                <c:pt idx="7">
                  <c:v>1.2856051928216876</c:v>
                </c:pt>
                <c:pt idx="8">
                  <c:v>1.152449097135741</c:v>
                </c:pt>
                <c:pt idx="9">
                  <c:v>1.2063767111419166</c:v>
                </c:pt>
                <c:pt idx="10">
                  <c:v>0.8531615333773959</c:v>
                </c:pt>
                <c:pt idx="11">
                  <c:v>0.7898966704936854</c:v>
                </c:pt>
                <c:pt idx="12">
                  <c:v>1.308087068965517</c:v>
                </c:pt>
                <c:pt idx="13">
                  <c:v>1.2771460423634338</c:v>
                </c:pt>
                <c:pt idx="14">
                  <c:v>1.0399930317848411</c:v>
                </c:pt>
                <c:pt idx="15">
                  <c:v>1.763975155279503</c:v>
                </c:pt>
                <c:pt idx="16">
                  <c:v>1.0244533947065593</c:v>
                </c:pt>
                <c:pt idx="17">
                  <c:v>1.2206755463567114</c:v>
                </c:pt>
                <c:pt idx="18">
                  <c:v>0.9084664605873262</c:v>
                </c:pt>
                <c:pt idx="19">
                  <c:v>1.059042259414226</c:v>
                </c:pt>
                <c:pt idx="20">
                  <c:v>1.5092921021810664</c:v>
                </c:pt>
                <c:pt idx="21">
                  <c:v>1.0647356155365373</c:v>
                </c:pt>
                <c:pt idx="22">
                  <c:v>1.1722943722943724</c:v>
                </c:pt>
                <c:pt idx="23">
                  <c:v>1.171505322580645</c:v>
                </c:pt>
                <c:pt idx="24">
                  <c:v>1.3039486225895316</c:v>
                </c:pt>
                <c:pt idx="25">
                  <c:v>0.872617853560682</c:v>
                </c:pt>
                <c:pt idx="26">
                  <c:v>0.8957889878439392</c:v>
                </c:pt>
                <c:pt idx="27">
                  <c:v>1.138423539979136</c:v>
                </c:pt>
                <c:pt idx="28">
                  <c:v>1.1861110714285714</c:v>
                </c:pt>
                <c:pt idx="29">
                  <c:v>1.7072452277693861</c:v>
                </c:pt>
                <c:pt idx="30">
                  <c:v>1.3204577968526467</c:v>
                </c:pt>
                <c:pt idx="31">
                  <c:v>0.8357183743560389</c:v>
                </c:pt>
                <c:pt idx="32">
                  <c:v>0.8466750952986023</c:v>
                </c:pt>
                <c:pt idx="33">
                  <c:v>0.9798510187880393</c:v>
                </c:pt>
                <c:pt idx="34">
                  <c:v>1.4248574143853783</c:v>
                </c:pt>
                <c:pt idx="35">
                  <c:v>0.8838977735967388</c:v>
                </c:pt>
                <c:pt idx="36">
                  <c:v>0.9618585298196949</c:v>
                </c:pt>
                <c:pt idx="37">
                  <c:v>1.9494556765163298</c:v>
                </c:pt>
                <c:pt idx="38">
                  <c:v>1.22433234421365</c:v>
                </c:pt>
                <c:pt idx="39">
                  <c:v>1.02379423815621</c:v>
                </c:pt>
                <c:pt idx="40">
                  <c:v>1.198671169957549</c:v>
                </c:pt>
                <c:pt idx="41">
                  <c:v>1.1286467720685112</c:v>
                </c:pt>
                <c:pt idx="42">
                  <c:v>1.1937219899062725</c:v>
                </c:pt>
                <c:pt idx="43">
                  <c:v>1.2478959878879639</c:v>
                </c:pt>
                <c:pt idx="44">
                  <c:v>1.2828790628056914</c:v>
                </c:pt>
                <c:pt idx="45">
                  <c:v>1.348935248447205</c:v>
                </c:pt>
                <c:pt idx="46">
                  <c:v>1.3859747819191117</c:v>
                </c:pt>
                <c:pt idx="47">
                  <c:v>1.1009313368438365</c:v>
                </c:pt>
                <c:pt idx="48">
                  <c:v>1.265709077190341</c:v>
                </c:pt>
                <c:pt idx="49">
                  <c:v>1.2585540017851828</c:v>
                </c:pt>
                <c:pt idx="50">
                  <c:v>1.6319626044748883</c:v>
                </c:pt>
                <c:pt idx="51">
                  <c:v>1.164</c:v>
                </c:pt>
                <c:pt idx="52">
                  <c:v>1.4120111731843576</c:v>
                </c:pt>
                <c:pt idx="53">
                  <c:v>0.8820818650040662</c:v>
                </c:pt>
                <c:pt idx="54">
                  <c:v>1.0642683912691997</c:v>
                </c:pt>
                <c:pt idx="55">
                  <c:v>0.5615147082723875</c:v>
                </c:pt>
                <c:pt idx="56">
                  <c:v>0.8527278353487502</c:v>
                </c:pt>
                <c:pt idx="57">
                  <c:v>0.5983507826325144</c:v>
                </c:pt>
                <c:pt idx="58">
                  <c:v>0.8919762806131092</c:v>
                </c:pt>
                <c:pt idx="59">
                  <c:v>0.9977490212084646</c:v>
                </c:pt>
                <c:pt idx="60">
                  <c:v>1.1158634923658424</c:v>
                </c:pt>
                <c:pt idx="61">
                  <c:v>0.6557843462246776</c:v>
                </c:pt>
                <c:pt idx="62">
                  <c:v>0.6880644566205799</c:v>
                </c:pt>
                <c:pt idx="63">
                  <c:v>0.9145833333333333</c:v>
                </c:pt>
                <c:pt idx="64">
                  <c:v>0.8082428424885435</c:v>
                </c:pt>
                <c:pt idx="65">
                  <c:v>0.614282462173315</c:v>
                </c:pt>
                <c:pt idx="66">
                  <c:v>0.5644981700329651</c:v>
                </c:pt>
                <c:pt idx="67">
                  <c:v>0.7189098960154732</c:v>
                </c:pt>
                <c:pt idx="68">
                  <c:v>0.7209694738456819</c:v>
                </c:pt>
                <c:pt idx="69">
                  <c:v>0.6934477379095164</c:v>
                </c:pt>
                <c:pt idx="70">
                  <c:v>1.1043794356932664</c:v>
                </c:pt>
                <c:pt idx="71">
                  <c:v>0.5778339122197663</c:v>
                </c:pt>
                <c:pt idx="72">
                  <c:v>0.718089152593945</c:v>
                </c:pt>
                <c:pt idx="73">
                  <c:v>0.8869047619047619</c:v>
                </c:pt>
                <c:pt idx="74">
                  <c:v>1.3651199563161613</c:v>
                </c:pt>
                <c:pt idx="75">
                  <c:v>0.9180909088006801</c:v>
                </c:pt>
                <c:pt idx="76">
                  <c:v>0.6709677419354839</c:v>
                </c:pt>
                <c:pt idx="77">
                  <c:v>0.793859649122807</c:v>
                </c:pt>
                <c:pt idx="78">
                  <c:v>0.7792761099814092</c:v>
                </c:pt>
                <c:pt idx="79">
                  <c:v>1.751208868185005</c:v>
                </c:pt>
                <c:pt idx="80">
                  <c:v>1.022787807043504</c:v>
                </c:pt>
                <c:pt idx="81">
                  <c:v>0.8603491271820449</c:v>
                </c:pt>
                <c:pt idx="82">
                  <c:v>0.8349796872451972</c:v>
                </c:pt>
                <c:pt idx="83">
                  <c:v>0.6794013391098858</c:v>
                </c:pt>
                <c:pt idx="84">
                  <c:v>1.6335227272727273</c:v>
                </c:pt>
                <c:pt idx="85">
                  <c:v>1.5582655826558265</c:v>
                </c:pt>
                <c:pt idx="86">
                  <c:v>0.8964365256124721</c:v>
                </c:pt>
                <c:pt idx="87">
                  <c:v>0.7521179227715469</c:v>
                </c:pt>
                <c:pt idx="88">
                  <c:v>0.8888569787478462</c:v>
                </c:pt>
                <c:pt idx="89">
                  <c:v>0.9884410195613516</c:v>
                </c:pt>
                <c:pt idx="90">
                  <c:v>0.8317246138996139</c:v>
                </c:pt>
                <c:pt idx="91">
                  <c:v>0.9617217524980783</c:v>
                </c:pt>
                <c:pt idx="92">
                  <c:v>0.9567387687188019</c:v>
                </c:pt>
                <c:pt idx="93">
                  <c:v>0.8945065629557608</c:v>
                </c:pt>
                <c:pt idx="94">
                  <c:v>1.2423745490324696</c:v>
                </c:pt>
                <c:pt idx="95">
                  <c:v>0.5981654127745519</c:v>
                </c:pt>
              </c:numCache>
            </c:numRef>
          </c:xVal>
          <c:yVal>
            <c:numRef>
              <c:f>Sheet1!$B$2:$B$97</c:f>
              <c:numCache>
                <c:formatCode>General</c:formatCode>
                <c:ptCount val="96"/>
                <c:pt idx="0">
                  <c:v>0.4230769230769231</c:v>
                </c:pt>
                <c:pt idx="1">
                  <c:v>0.43478260869565216</c:v>
                </c:pt>
                <c:pt idx="2">
                  <c:v>0.3684210526315789</c:v>
                </c:pt>
                <c:pt idx="3">
                  <c:v>0.3333333333333333</c:v>
                </c:pt>
                <c:pt idx="4">
                  <c:v>0.35294117647058826</c:v>
                </c:pt>
                <c:pt idx="5">
                  <c:v>0.35714285714285715</c:v>
                </c:pt>
                <c:pt idx="6">
                  <c:v>0.55</c:v>
                </c:pt>
                <c:pt idx="7">
                  <c:v>0.3076923076923077</c:v>
                </c:pt>
                <c:pt idx="8">
                  <c:v>0.25</c:v>
                </c:pt>
                <c:pt idx="9">
                  <c:v>0.22727272727272727</c:v>
                </c:pt>
                <c:pt idx="10">
                  <c:v>0.5714285714285714</c:v>
                </c:pt>
                <c:pt idx="11">
                  <c:v>0.46153846153846156</c:v>
                </c:pt>
                <c:pt idx="12">
                  <c:v>0.3684210526315789</c:v>
                </c:pt>
                <c:pt idx="13">
                  <c:v>0.3125</c:v>
                </c:pt>
                <c:pt idx="14">
                  <c:v>0.4666666666666667</c:v>
                </c:pt>
                <c:pt idx="15">
                  <c:v>0.2727272727272727</c:v>
                </c:pt>
                <c:pt idx="16">
                  <c:v>0.4</c:v>
                </c:pt>
                <c:pt idx="17">
                  <c:v>0.46153846153846156</c:v>
                </c:pt>
                <c:pt idx="18">
                  <c:v>0.5454545454545454</c:v>
                </c:pt>
                <c:pt idx="19">
                  <c:v>0.5</c:v>
                </c:pt>
                <c:pt idx="20">
                  <c:v>0.2857142857142857</c:v>
                </c:pt>
                <c:pt idx="21">
                  <c:v>0.375</c:v>
                </c:pt>
                <c:pt idx="22">
                  <c:v>0.375</c:v>
                </c:pt>
                <c:pt idx="23">
                  <c:v>0.3333333333333333</c:v>
                </c:pt>
                <c:pt idx="24">
                  <c:v>0.3333333333333333</c:v>
                </c:pt>
                <c:pt idx="25">
                  <c:v>0.3333333333333333</c:v>
                </c:pt>
                <c:pt idx="26">
                  <c:v>0.4375</c:v>
                </c:pt>
                <c:pt idx="27">
                  <c:v>0.375</c:v>
                </c:pt>
                <c:pt idx="28">
                  <c:v>0.3333333333333333</c:v>
                </c:pt>
                <c:pt idx="29">
                  <c:v>0.14285714285714285</c:v>
                </c:pt>
                <c:pt idx="30">
                  <c:v>0.2222222222222222</c:v>
                </c:pt>
                <c:pt idx="31">
                  <c:v>0.4444444444444444</c:v>
                </c:pt>
                <c:pt idx="32">
                  <c:v>0.2727272727272727</c:v>
                </c:pt>
                <c:pt idx="33">
                  <c:v>0.3181818181818182</c:v>
                </c:pt>
                <c:pt idx="34">
                  <c:v>0.23809523809523808</c:v>
                </c:pt>
                <c:pt idx="35">
                  <c:v>0.25</c:v>
                </c:pt>
                <c:pt idx="36">
                  <c:v>0.2222222222222222</c:v>
                </c:pt>
                <c:pt idx="37">
                  <c:v>0.2222222222222222</c:v>
                </c:pt>
                <c:pt idx="38">
                  <c:v>0.5555555555555556</c:v>
                </c:pt>
                <c:pt idx="39">
                  <c:v>0.8</c:v>
                </c:pt>
                <c:pt idx="40">
                  <c:v>0.7647058823529411</c:v>
                </c:pt>
                <c:pt idx="41">
                  <c:v>0.6363636363636364</c:v>
                </c:pt>
                <c:pt idx="42">
                  <c:v>0.6190476190476191</c:v>
                </c:pt>
                <c:pt idx="43">
                  <c:v>0.6071428571428571</c:v>
                </c:pt>
                <c:pt idx="44">
                  <c:v>0.5555555555555556</c:v>
                </c:pt>
                <c:pt idx="45">
                  <c:v>0.5833333333333334</c:v>
                </c:pt>
                <c:pt idx="46">
                  <c:v>0.4117647058823529</c:v>
                </c:pt>
                <c:pt idx="47">
                  <c:v>0.38461538461538464</c:v>
                </c:pt>
                <c:pt idx="48">
                  <c:v>0.2826086956521739</c:v>
                </c:pt>
                <c:pt idx="49">
                  <c:v>0.4375</c:v>
                </c:pt>
                <c:pt idx="50">
                  <c:v>0.4</c:v>
                </c:pt>
                <c:pt idx="51">
                  <c:v>0.3</c:v>
                </c:pt>
                <c:pt idx="52">
                  <c:v>0.15384615384615385</c:v>
                </c:pt>
                <c:pt idx="53">
                  <c:v>0.3333333333333333</c:v>
                </c:pt>
                <c:pt idx="54">
                  <c:v>0.13333333333333333</c:v>
                </c:pt>
                <c:pt idx="55">
                  <c:v>0.1875</c:v>
                </c:pt>
                <c:pt idx="56">
                  <c:v>0.2</c:v>
                </c:pt>
                <c:pt idx="57">
                  <c:v>0.5</c:v>
                </c:pt>
                <c:pt idx="58">
                  <c:v>0.2</c:v>
                </c:pt>
                <c:pt idx="59">
                  <c:v>0.10256410256410256</c:v>
                </c:pt>
                <c:pt idx="60">
                  <c:v>0.09523809523809523</c:v>
                </c:pt>
                <c:pt idx="61">
                  <c:v>0.4230769230769231</c:v>
                </c:pt>
                <c:pt idx="62">
                  <c:v>0.21739130434782608</c:v>
                </c:pt>
                <c:pt idx="63">
                  <c:v>0.17391304347826086</c:v>
                </c:pt>
                <c:pt idx="64">
                  <c:v>0.26666666666666666</c:v>
                </c:pt>
                <c:pt idx="65">
                  <c:v>0.3</c:v>
                </c:pt>
                <c:pt idx="66">
                  <c:v>0.391304347826087</c:v>
                </c:pt>
                <c:pt idx="67">
                  <c:v>0.14285714285714285</c:v>
                </c:pt>
                <c:pt idx="68">
                  <c:v>0.09090909090909091</c:v>
                </c:pt>
                <c:pt idx="69">
                  <c:v>0.09090909090909091</c:v>
                </c:pt>
                <c:pt idx="70">
                  <c:v>0.1111111111111111</c:v>
                </c:pt>
                <c:pt idx="71">
                  <c:v>0.1111111111111111</c:v>
                </c:pt>
                <c:pt idx="72">
                  <c:v>0.1111111111111111</c:v>
                </c:pt>
                <c:pt idx="73">
                  <c:v>0.16666666666666666</c:v>
                </c:pt>
                <c:pt idx="74">
                  <c:v>0.2</c:v>
                </c:pt>
                <c:pt idx="75">
                  <c:v>0.16666666666666666</c:v>
                </c:pt>
                <c:pt idx="76">
                  <c:v>0.2</c:v>
                </c:pt>
                <c:pt idx="77">
                  <c:v>0.25</c:v>
                </c:pt>
                <c:pt idx="78">
                  <c:v>0.16666666666666666</c:v>
                </c:pt>
                <c:pt idx="79">
                  <c:v>0.2</c:v>
                </c:pt>
                <c:pt idx="80">
                  <c:v>0.1111111111111111</c:v>
                </c:pt>
                <c:pt idx="81">
                  <c:v>0.09090909090909091</c:v>
                </c:pt>
                <c:pt idx="82">
                  <c:v>0.14285714285714285</c:v>
                </c:pt>
                <c:pt idx="83">
                  <c:v>0.1111111111111111</c:v>
                </c:pt>
                <c:pt idx="84">
                  <c:v>0.1</c:v>
                </c:pt>
                <c:pt idx="85">
                  <c:v>0.125</c:v>
                </c:pt>
                <c:pt idx="86">
                  <c:v>0.2222222222222222</c:v>
                </c:pt>
                <c:pt idx="87">
                  <c:v>0.21052631578947367</c:v>
                </c:pt>
                <c:pt idx="88">
                  <c:v>0.14285714285714285</c:v>
                </c:pt>
                <c:pt idx="89">
                  <c:v>0.18181818181818182</c:v>
                </c:pt>
                <c:pt idx="90">
                  <c:v>0.17647058823529413</c:v>
                </c:pt>
                <c:pt idx="91">
                  <c:v>0.18518518518518517</c:v>
                </c:pt>
                <c:pt idx="92">
                  <c:v>0.15</c:v>
                </c:pt>
                <c:pt idx="93">
                  <c:v>0.1111111111111111</c:v>
                </c:pt>
                <c:pt idx="94">
                  <c:v>0.1111111111111111</c:v>
                </c:pt>
                <c:pt idx="95">
                  <c:v>0.2</c:v>
                </c:pt>
              </c:numCache>
            </c:numRef>
          </c:yVal>
          <c:smooth val="0"/>
          <c:extLst>
            <c:ext xmlns:c16="http://schemas.microsoft.com/office/drawing/2014/chart" uri="{C3380CC4-5D6E-409C-BE32-E72D297353CC}">
              <c16:uniqueId val="{00000000-096C-4121-9522-6AB7243CCAAE}"/>
            </c:ext>
          </c:extLst>
        </c:ser>
        <c:ser>
          <c:idx val="1"/>
          <c:order val="1"/>
          <c:tx>
            <c:strRef>
              <c:f>Sheet1!$B$9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0:$A$145</c:f>
              <c:numCache>
                <c:formatCode>General</c:formatCode>
                <c:ptCount val="46"/>
                <c:pt idx="0">
                  <c:v>0.0</c:v>
                </c:pt>
                <c:pt idx="1">
                  <c:v>0.0</c:v>
                </c:pt>
                <c:pt idx="2">
                  <c:v>0.0</c:v>
                </c:pt>
                <c:pt idx="3">
                  <c:v>0.0</c:v>
                </c:pt>
                <c:pt idx="4">
                  <c:v>0.0</c:v>
                </c:pt>
                <c:pt idx="5">
                  <c:v>0.0</c:v>
                </c:pt>
                <c:pt idx="6">
                  <c:v>0.0</c:v>
                </c:pt>
                <c:pt idx="7">
                  <c:v>0.0</c:v>
                </c:pt>
                <c:pt idx="8">
                  <c:v>0.7834949043002735</c:v>
                </c:pt>
                <c:pt idx="9">
                  <c:v>0.7729673646481795</c:v>
                </c:pt>
                <c:pt idx="10">
                  <c:v>1.426356589147287</c:v>
                </c:pt>
                <c:pt idx="11">
                  <c:v>1.183533447684391</c:v>
                </c:pt>
                <c:pt idx="12">
                  <c:v>1.0753734153382704</c:v>
                </c:pt>
                <c:pt idx="13">
                  <c:v>0.9873598855234915</c:v>
                </c:pt>
                <c:pt idx="14">
                  <c:v>1.0577528708845456</c:v>
                </c:pt>
                <c:pt idx="15">
                  <c:v>0.5862934356351237</c:v>
                </c:pt>
                <c:pt idx="16">
                  <c:v>0.6226950638297872</c:v>
                </c:pt>
                <c:pt idx="17">
                  <c:v>1.1121710892161543</c:v>
                </c:pt>
                <c:pt idx="18">
                  <c:v>0.6112804878048781</c:v>
                </c:pt>
                <c:pt idx="19">
                  <c:v>0.8704763502496982</c:v>
                </c:pt>
                <c:pt idx="20">
                  <c:v>1.0733519034354688</c:v>
                </c:pt>
                <c:pt idx="21">
                  <c:v>0.7307454150712832</c:v>
                </c:pt>
                <c:pt idx="22">
                  <c:v>0.6276531421362384</c:v>
                </c:pt>
                <c:pt idx="23">
                  <c:v>0.8711906140612823</c:v>
                </c:pt>
                <c:pt idx="24">
                  <c:v>0.8849395058651702</c:v>
                </c:pt>
                <c:pt idx="25">
                  <c:v>0.9602023932614635</c:v>
                </c:pt>
                <c:pt idx="26">
                  <c:v>0.7084188911704312</c:v>
                </c:pt>
                <c:pt idx="27">
                  <c:v>0.9249329448749013</c:v>
                </c:pt>
                <c:pt idx="28">
                  <c:v>1.924149362847219</c:v>
                </c:pt>
                <c:pt idx="29">
                  <c:v>0.5178236397748592</c:v>
                </c:pt>
                <c:pt idx="30">
                  <c:v>0.0</c:v>
                </c:pt>
                <c:pt idx="31">
                  <c:v>1.41961018819701</c:v>
                </c:pt>
                <c:pt idx="32">
                  <c:v>0.3580765406162465</c:v>
                </c:pt>
                <c:pt idx="33">
                  <c:v>0.4118945035971223</c:v>
                </c:pt>
                <c:pt idx="34">
                  <c:v>0.5346711083228628</c:v>
                </c:pt>
                <c:pt idx="35">
                  <c:v>0.6955593509820666</c:v>
                </c:pt>
                <c:pt idx="36">
                  <c:v>0.40909092261457597</c:v>
                </c:pt>
                <c:pt idx="37">
                  <c:v>0.28014422560247815</c:v>
                </c:pt>
                <c:pt idx="38">
                  <c:v>0.30904282630769897</c:v>
                </c:pt>
                <c:pt idx="39">
                  <c:v>0.29279112754158965</c:v>
                </c:pt>
                <c:pt idx="40">
                  <c:v>0.39156300703082747</c:v>
                </c:pt>
                <c:pt idx="41">
                  <c:v>0.3130434782608696</c:v>
                </c:pt>
                <c:pt idx="42">
                  <c:v>0.0</c:v>
                </c:pt>
                <c:pt idx="43">
                  <c:v>0.34035383319292334</c:v>
                </c:pt>
                <c:pt idx="44">
                  <c:v>0.4325788970353841</c:v>
                </c:pt>
                <c:pt idx="45">
                  <c:v>0.21371649876156723</c:v>
                </c:pt>
              </c:numCache>
            </c:numRef>
          </c:xVal>
          <c:yVal>
            <c:numRef>
              <c:f>Sheet1!$B$100:$B$145</c:f>
              <c:numCache>
                <c:formatCode>General</c:formatCode>
                <c:ptCount val="46"/>
                <c:pt idx="0">
                  <c:v>0.0</c:v>
                </c:pt>
                <c:pt idx="1">
                  <c:v>0.0</c:v>
                </c:pt>
                <c:pt idx="2">
                  <c:v>0.0</c:v>
                </c:pt>
                <c:pt idx="3">
                  <c:v>0.0</c:v>
                </c:pt>
                <c:pt idx="4">
                  <c:v>0.0</c:v>
                </c:pt>
                <c:pt idx="5">
                  <c:v>0.0</c:v>
                </c:pt>
                <c:pt idx="6">
                  <c:v>0.0</c:v>
                </c:pt>
                <c:pt idx="7">
                  <c:v>0.0</c:v>
                </c:pt>
                <c:pt idx="8">
                  <c:v>0.23076923076923078</c:v>
                </c:pt>
                <c:pt idx="9">
                  <c:v>0.18181818181818182</c:v>
                </c:pt>
                <c:pt idx="10">
                  <c:v>0.09090909090909091</c:v>
                </c:pt>
                <c:pt idx="11">
                  <c:v>0.125</c:v>
                </c:pt>
                <c:pt idx="12">
                  <c:v>0.21052631578947367</c:v>
                </c:pt>
                <c:pt idx="13">
                  <c:v>0.15384615384615385</c:v>
                </c:pt>
                <c:pt idx="14">
                  <c:v>0.4666666666666667</c:v>
                </c:pt>
                <c:pt idx="15">
                  <c:v>0.8181818181818182</c:v>
                </c:pt>
                <c:pt idx="16">
                  <c:v>0.3333333333333333</c:v>
                </c:pt>
                <c:pt idx="17">
                  <c:v>0.16666666666666666</c:v>
                </c:pt>
                <c:pt idx="18">
                  <c:v>0.5714285714285714</c:v>
                </c:pt>
                <c:pt idx="19">
                  <c:v>0.2222222222222222</c:v>
                </c:pt>
                <c:pt idx="20">
                  <c:v>0.125</c:v>
                </c:pt>
                <c:pt idx="21">
                  <c:v>0.3333333333333333</c:v>
                </c:pt>
                <c:pt idx="22">
                  <c:v>0.36363636363636365</c:v>
                </c:pt>
                <c:pt idx="23">
                  <c:v>0.2222222222222222</c:v>
                </c:pt>
                <c:pt idx="24">
                  <c:v>0.18181818181818182</c:v>
                </c:pt>
                <c:pt idx="25">
                  <c:v>0.1</c:v>
                </c:pt>
                <c:pt idx="26">
                  <c:v>0.1111111111111111</c:v>
                </c:pt>
                <c:pt idx="27">
                  <c:v>0.2857142857142857</c:v>
                </c:pt>
                <c:pt idx="28">
                  <c:v>0.2</c:v>
                </c:pt>
                <c:pt idx="29">
                  <c:v>0.16666666666666666</c:v>
                </c:pt>
                <c:pt idx="30">
                  <c:v>0.0</c:v>
                </c:pt>
                <c:pt idx="31">
                  <c:v>0.2</c:v>
                </c:pt>
                <c:pt idx="32">
                  <c:v>0.5</c:v>
                </c:pt>
                <c:pt idx="33">
                  <c:v>0.42857142857142855</c:v>
                </c:pt>
                <c:pt idx="34">
                  <c:v>0.375</c:v>
                </c:pt>
                <c:pt idx="35">
                  <c:v>0.25</c:v>
                </c:pt>
                <c:pt idx="36">
                  <c:v>0.4444444444444444</c:v>
                </c:pt>
                <c:pt idx="37">
                  <c:v>0.5555555555555556</c:v>
                </c:pt>
                <c:pt idx="38">
                  <c:v>0.5555555555555556</c:v>
                </c:pt>
                <c:pt idx="39">
                  <c:v>0.2857142857142857</c:v>
                </c:pt>
                <c:pt idx="40">
                  <c:v>0.2</c:v>
                </c:pt>
                <c:pt idx="41">
                  <c:v>0.13333333333333333</c:v>
                </c:pt>
                <c:pt idx="42">
                  <c:v>0.0</c:v>
                </c:pt>
                <c:pt idx="43">
                  <c:v>0.2</c:v>
                </c:pt>
                <c:pt idx="44">
                  <c:v>0.2857142857142857</c:v>
                </c:pt>
                <c:pt idx="45">
                  <c:v>0.09090909090909091</c:v>
                </c:pt>
              </c:numCache>
            </c:numRef>
          </c:yVal>
          <c:smooth val="0"/>
          <c:extLst>
            <c:ext xmlns:c16="http://schemas.microsoft.com/office/drawing/2014/chart" uri="{C3380CC4-5D6E-409C-BE32-E72D297353CC}">
              <c16:uniqueId val="{00000002-096C-4121-9522-6AB7243CCAAE}"/>
            </c:ext>
          </c:extLst>
        </c:ser>
        <c:ser>
          <c:idx val="2"/>
          <c:order val="2"/>
          <c:tx>
            <c:strRef>
              <c:f>Sheet1!$B$14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8:$A$149</c:f>
              <c:numCache>
                <c:formatCode>General</c:formatCode>
                <c:ptCount val="2"/>
                <c:pt idx="0">
                  <c:v>0</c:v>
                </c:pt>
                <c:pt idx="1">
                  <c:v>3.8882364406428986</c:v>
                </c:pt>
              </c:numCache>
            </c:numRef>
          </c:xVal>
          <c:yVal>
            <c:numRef>
              <c:f>Sheet1!$B$148:$B$149</c:f>
              <c:numCache>
                <c:formatCode>General</c:formatCode>
                <c:ptCount val="2"/>
                <c:pt idx="0">
                  <c:v>0.497385294444118</c:v>
                </c:pt>
                <c:pt idx="1">
                  <c:v>0.497385294444118</c:v>
                </c:pt>
              </c:numCache>
            </c:numRef>
          </c:yVal>
          <c:smooth val="0"/>
          <c:extLst>
            <c:ext xmlns:c16="http://schemas.microsoft.com/office/drawing/2014/chart" uri="{C3380CC4-5D6E-409C-BE32-E72D297353CC}">
              <c16:uniqueId val="{00000005-096C-4121-9522-6AB7243CCAAE}"/>
            </c:ext>
          </c:extLst>
        </c:ser>
        <c:ser>
          <c:idx val="3"/>
          <c:order val="3"/>
          <c:tx>
            <c:strRef>
              <c:f>Sheet1!$B$15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3.8882364406428986</c:v>
                </c:pt>
                <c:pt idx="1">
                  <c:v>3.8882364406428986</c:v>
                </c:pt>
              </c:numCache>
            </c:numRef>
          </c:xVal>
          <c:yVal>
            <c:numRef>
              <c:f>Sheet1!$B$152:$B$153</c:f>
              <c:numCache>
                <c:formatCode>General</c:formatCode>
                <c:ptCount val="2"/>
                <c:pt idx="0">
                  <c:v>0.4973852944441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6:$A$157</c:f>
              <c:numCache>
                <c:formatCode>General</c:formatCode>
                <c:ptCount val="2"/>
                <c:pt idx="0">
                  <c:v>0</c:v>
                </c:pt>
                <c:pt idx="1">
                  <c:v>1.8534725816368052</c:v>
                </c:pt>
              </c:numCache>
            </c:numRef>
          </c:xVal>
          <c:yVal>
            <c:numRef>
              <c:f>Sheet1!$B$156:$B$157</c:f>
              <c:numCache>
                <c:formatCode>General</c:formatCode>
                <c:ptCount val="2"/>
                <c:pt idx="0">
                  <c:v>0.3273478835978836</c:v>
                </c:pt>
                <c:pt idx="1">
                  <c:v>0.3273478835978836</c:v>
                </c:pt>
              </c:numCache>
            </c:numRef>
          </c:yVal>
          <c:smooth val="0"/>
          <c:extLst>
            <c:ext xmlns:c16="http://schemas.microsoft.com/office/drawing/2014/chart" uri="{C3380CC4-5D6E-409C-BE32-E72D297353CC}">
              <c16:uniqueId val="{0000000D-096C-4121-9522-6AB7243CCAAE}"/>
            </c:ext>
          </c:extLst>
        </c:ser>
        <c:ser>
          <c:idx val="5"/>
          <c:order val="5"/>
          <c:tx>
            <c:strRef>
              <c:f>Sheet1!$B$15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1.8534725816368052</c:v>
                </c:pt>
                <c:pt idx="1">
                  <c:v>1.8534725816368052</c:v>
                </c:pt>
              </c:numCache>
            </c:numRef>
          </c:xVal>
          <c:yVal>
            <c:numRef>
              <c:f>Sheet1!$B$160:$B$161</c:f>
              <c:numCache>
                <c:formatCode>General</c:formatCode>
                <c:ptCount val="2"/>
                <c:pt idx="0">
                  <c:v>0.3273478835978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4:$A$165</c:f>
              <c:numCache>
                <c:formatCode>General</c:formatCode>
                <c:ptCount val="2"/>
                <c:pt idx="0">
                  <c:v>0</c:v>
                </c:pt>
                <c:pt idx="1">
                  <c:v>-0.9758877799206147</c:v>
                </c:pt>
              </c:numCache>
            </c:numRef>
          </c:xVal>
          <c:yVal>
            <c:numRef>
              <c:f>Sheet1!$B$164:$B$165</c:f>
              <c:numCache>
                <c:formatCode>General</c:formatCode>
                <c:ptCount val="2"/>
                <c:pt idx="0">
                  <c:v>0.09090909090909091</c:v>
                </c:pt>
                <c:pt idx="1">
                  <c:v>0.09090909090909091</c:v>
                </c:pt>
              </c:numCache>
            </c:numRef>
          </c:yVal>
          <c:smooth val="0"/>
          <c:extLst>
            <c:ext xmlns:c16="http://schemas.microsoft.com/office/drawing/2014/chart" uri="{C3380CC4-5D6E-409C-BE32-E72D297353CC}">
              <c16:uniqueId val="{00000015-096C-4121-9522-6AB7243CCAAE}"/>
            </c:ext>
          </c:extLst>
        </c:ser>
        <c:ser>
          <c:idx val="7"/>
          <c:order val="7"/>
          <c:tx>
            <c:strRef>
              <c:f>Sheet1!$B$16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8:$A$169</c:f>
              <c:numCache>
                <c:formatCode>General</c:formatCode>
                <c:ptCount val="2"/>
                <c:pt idx="0">
                  <c:v>-0.9758877799206147</c:v>
                </c:pt>
                <c:pt idx="1">
                  <c:v>-0.9758877799206147</c:v>
                </c:pt>
              </c:numCache>
            </c:numRef>
          </c:xVal>
          <c:yVal>
            <c:numRef>
              <c:f>Sheet1!$B$168:$B$169</c:f>
              <c:numCache>
                <c:formatCode>General</c:formatCode>
                <c:ptCount val="2"/>
                <c:pt idx="0">
                  <c:v>0.090909090909090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2:$A$220</c:f>
              <c:numCache>
                <c:formatCode>General</c:formatCode>
                <c:ptCount val="49"/>
                <c:pt idx="0">
                  <c:v>0.0</c:v>
                </c:pt>
                <c:pt idx="1">
                  <c:v>0.0</c:v>
                </c:pt>
                <c:pt idx="2">
                  <c:v>0.0</c:v>
                </c:pt>
                <c:pt idx="3">
                  <c:v>0.0</c:v>
                </c:pt>
                <c:pt idx="4">
                  <c:v>0.0</c:v>
                </c:pt>
                <c:pt idx="5">
                  <c:v>0.0</c:v>
                </c:pt>
                <c:pt idx="6">
                  <c:v>0.0</c:v>
                </c:pt>
                <c:pt idx="7">
                  <c:v>0.0</c:v>
                </c:pt>
                <c:pt idx="8">
                  <c:v>0.7834949043002735</c:v>
                </c:pt>
                <c:pt idx="9">
                  <c:v>0.7729673646481795</c:v>
                </c:pt>
                <c:pt idx="10">
                  <c:v>1.426356589147287</c:v>
                </c:pt>
                <c:pt idx="11">
                  <c:v>1.183533447684391</c:v>
                </c:pt>
                <c:pt idx="12">
                  <c:v>1.0753734153382704</c:v>
                </c:pt>
                <c:pt idx="13">
                  <c:v>0.9873598855234915</c:v>
                </c:pt>
                <c:pt idx="14">
                  <c:v>1.0577528708845456</c:v>
                </c:pt>
                <c:pt idx="15">
                  <c:v>0.5862934356351237</c:v>
                </c:pt>
                <c:pt idx="16">
                  <c:v>0.6226950638297872</c:v>
                </c:pt>
                <c:pt idx="17">
                  <c:v>1.1121710892161543</c:v>
                </c:pt>
                <c:pt idx="18">
                  <c:v>0.6112804878048781</c:v>
                </c:pt>
                <c:pt idx="19">
                  <c:v>0.8704763502496982</c:v>
                </c:pt>
                <c:pt idx="20">
                  <c:v>1.0733519034354688</c:v>
                </c:pt>
                <c:pt idx="21">
                  <c:v>0.7307454150712832</c:v>
                </c:pt>
                <c:pt idx="22">
                  <c:v>0.6276531421362384</c:v>
                </c:pt>
                <c:pt idx="23">
                  <c:v>0.8711906140612823</c:v>
                </c:pt>
                <c:pt idx="24">
                  <c:v>0.8849395058651702</c:v>
                </c:pt>
                <c:pt idx="25">
                  <c:v>0.9602023932614635</c:v>
                </c:pt>
                <c:pt idx="26">
                  <c:v>0.7084188911704312</c:v>
                </c:pt>
                <c:pt idx="27">
                  <c:v>0.9249329448749013</c:v>
                </c:pt>
                <c:pt idx="28">
                  <c:v>1.924149362847219</c:v>
                </c:pt>
                <c:pt idx="29">
                  <c:v>0.5178236397748592</c:v>
                </c:pt>
                <c:pt idx="30">
                  <c:v>0.0</c:v>
                </c:pt>
                <c:pt idx="31">
                  <c:v>1.41961018819701</c:v>
                </c:pt>
                <c:pt idx="32">
                  <c:v>0.3580765406162465</c:v>
                </c:pt>
                <c:pt idx="33">
                  <c:v>0.4118945035971223</c:v>
                </c:pt>
                <c:pt idx="34">
                  <c:v>0.5346711083228628</c:v>
                </c:pt>
                <c:pt idx="35">
                  <c:v>0.6955593509820666</c:v>
                </c:pt>
                <c:pt idx="36">
                  <c:v>0.40909092261457597</c:v>
                </c:pt>
                <c:pt idx="37">
                  <c:v>0.28014422560247815</c:v>
                </c:pt>
                <c:pt idx="38">
                  <c:v>0.30904282630769897</c:v>
                </c:pt>
                <c:pt idx="39">
                  <c:v>0.29279112754158965</c:v>
                </c:pt>
                <c:pt idx="40">
                  <c:v>0.39156300703082747</c:v>
                </c:pt>
                <c:pt idx="41">
                  <c:v>0.3130434782608696</c:v>
                </c:pt>
                <c:pt idx="42">
                  <c:v>0.0</c:v>
                </c:pt>
                <c:pt idx="43">
                  <c:v>0.34035383319292334</c:v>
                </c:pt>
                <c:pt idx="44">
                  <c:v>0.4325788970353841</c:v>
                </c:pt>
                <c:pt idx="45">
                  <c:v>0.21371649876156723</c:v>
                </c:pt>
                <c:pt idx="46">
                  <c:v>1.8534725816368052</c:v>
                </c:pt>
                <c:pt idx="47">
                  <c:v>3.8882364406428986</c:v>
                </c:pt>
                <c:pt idx="48">
                  <c:v>-0.9758877799206147</c:v>
                </c:pt>
              </c:numCache>
            </c:numRef>
          </c:xVal>
          <c:yVal>
            <c:numRef>
              <c:f>Sheet1!$B$172:$B$220</c:f>
              <c:numCache>
                <c:formatCode>General</c:formatCode>
                <c:ptCount val="49"/>
                <c:pt idx="0">
                  <c:v>0.17246028941289934</c:v>
                </c:pt>
                <c:pt idx="1">
                  <c:v>0.17246028941289934</c:v>
                </c:pt>
                <c:pt idx="2">
                  <c:v>0.17246028941289934</c:v>
                </c:pt>
                <c:pt idx="3">
                  <c:v>0.17246028941289934</c:v>
                </c:pt>
                <c:pt idx="4">
                  <c:v>0.17246028941289934</c:v>
                </c:pt>
                <c:pt idx="5">
                  <c:v>0.17246028941289934</c:v>
                </c:pt>
                <c:pt idx="6">
                  <c:v>0.17246028941289934</c:v>
                </c:pt>
                <c:pt idx="7">
                  <c:v>0.17246028941289934</c:v>
                </c:pt>
                <c:pt idx="8">
                  <c:v>0.2379339532726022</c:v>
                </c:pt>
                <c:pt idx="9">
                  <c:v>0.23705420716491502</c:v>
                </c:pt>
                <c:pt idx="10">
                  <c:v>0.29165543841684305</c:v>
                </c:pt>
                <c:pt idx="11">
                  <c:v>0.27136363989430207</c:v>
                </c:pt>
                <c:pt idx="12">
                  <c:v>0.2623251208662696</c:v>
                </c:pt>
                <c:pt idx="13">
                  <c:v>0.2549701677777805</c:v>
                </c:pt>
                <c:pt idx="14">
                  <c:v>0.26085263955432225</c:v>
                </c:pt>
                <c:pt idx="15">
                  <c:v>0.22145458295231557</c:v>
                </c:pt>
                <c:pt idx="16">
                  <c:v>0.22449652739290105</c:v>
                </c:pt>
                <c:pt idx="17">
                  <c:v>0.2654001613254685</c:v>
                </c:pt>
                <c:pt idx="18">
                  <c:v>0.22354265505798987</c:v>
                </c:pt>
                <c:pt idx="19">
                  <c:v>0.24520265907128208</c:v>
                </c:pt>
                <c:pt idx="20">
                  <c:v>0.2621561908705721</c:v>
                </c:pt>
                <c:pt idx="21">
                  <c:v>0.23352588079172962</c:v>
                </c:pt>
                <c:pt idx="22">
                  <c:v>0.22491085497900906</c:v>
                </c:pt>
                <c:pt idx="23">
                  <c:v>0.24526234735827684</c:v>
                </c:pt>
                <c:pt idx="24">
                  <c:v>0.2464112895089793</c:v>
                </c:pt>
                <c:pt idx="25">
                  <c:v>0.25270072031886626</c:v>
                </c:pt>
                <c:pt idx="26">
                  <c:v>0.23166013882835906</c:v>
                </c:pt>
                <c:pt idx="27">
                  <c:v>0.24975338780208206</c:v>
                </c:pt>
                <c:pt idx="28">
                  <c:v>0.3332540711049856</c:v>
                </c:pt>
                <c:pt idx="29">
                  <c:v>0.21573282474547553</c:v>
                </c:pt>
                <c:pt idx="30">
                  <c:v>0.17246028941289934</c:v>
                </c:pt>
                <c:pt idx="31">
                  <c:v>0.2910916675669539</c:v>
                </c:pt>
                <c:pt idx="32">
                  <c:v>0.20238337241915236</c:v>
                </c:pt>
                <c:pt idx="33">
                  <c:v>0.20688073315306899</c:v>
                </c:pt>
                <c:pt idx="34">
                  <c:v>0.21714070306930972</c:v>
                </c:pt>
                <c:pt idx="35">
                  <c:v>0.23058551638083305</c:v>
                </c:pt>
                <c:pt idx="36">
                  <c:v>0.20664644864420081</c:v>
                </c:pt>
                <c:pt idx="37">
                  <c:v>0.19587086778253712</c:v>
                </c:pt>
                <c:pt idx="38">
                  <c:v>0.19828581299558762</c:v>
                </c:pt>
                <c:pt idx="39">
                  <c:v>0.1969277208672008</c:v>
                </c:pt>
                <c:pt idx="40">
                  <c:v>0.20518170797161595</c:v>
                </c:pt>
                <c:pt idx="41">
                  <c:v>0.1986201321338027</c:v>
                </c:pt>
                <c:pt idx="42">
                  <c:v>0.17246028941289934</c:v>
                </c:pt>
                <c:pt idx="43">
                  <c:v>0.20090235373970758</c:v>
                </c:pt>
                <c:pt idx="44">
                  <c:v>0.20860924857248714</c:v>
                </c:pt>
                <c:pt idx="45">
                  <c:v>0.1903197574507728</c:v>
                </c:pt>
                <c:pt idx="46">
                  <c:v>0.3273478835978836</c:v>
                </c:pt>
                <c:pt idx="47">
                  <c:v>0.49738529444411805</c:v>
                </c:pt>
                <c:pt idx="48">
                  <c:v>0.090909090909090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81818181818181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683.9091</c:v>
                </c:pt>
                <c:pt idx="1">
                  <c:v>769.0</c:v>
                </c:pt>
                <c:pt idx="2">
                  <c:v>873.0</c:v>
                </c:pt>
                <c:pt idx="3">
                  <c:v>903.5</c:v>
                </c:pt>
                <c:pt idx="4">
                  <c:v>745.0</c:v>
                </c:pt>
                <c:pt idx="5">
                  <c:v>864.0</c:v>
                </c:pt>
                <c:pt idx="6">
                  <c:v>698.9091</c:v>
                </c:pt>
                <c:pt idx="7">
                  <c:v>841.75</c:v>
                </c:pt>
                <c:pt idx="8">
                  <c:v>740.3333</c:v>
                </c:pt>
                <c:pt idx="9">
                  <c:v>696.2</c:v>
                </c:pt>
                <c:pt idx="10">
                  <c:v>645.4167</c:v>
                </c:pt>
                <c:pt idx="11">
                  <c:v>688.0</c:v>
                </c:pt>
                <c:pt idx="12">
                  <c:v>910.4286</c:v>
                </c:pt>
                <c:pt idx="13">
                  <c:v>859.2</c:v>
                </c:pt>
                <c:pt idx="14">
                  <c:v>850.7143</c:v>
                </c:pt>
                <c:pt idx="15">
                  <c:v>1136.0</c:v>
                </c:pt>
                <c:pt idx="16">
                  <c:v>890.25</c:v>
                </c:pt>
                <c:pt idx="17">
                  <c:v>891.5</c:v>
                </c:pt>
                <c:pt idx="18">
                  <c:v>881.6667</c:v>
                </c:pt>
                <c:pt idx="19">
                  <c:v>759.3333</c:v>
                </c:pt>
                <c:pt idx="20">
                  <c:v>1137.0</c:v>
                </c:pt>
                <c:pt idx="21">
                  <c:v>808.6667</c:v>
                </c:pt>
                <c:pt idx="22">
                  <c:v>677.0</c:v>
                </c:pt>
                <c:pt idx="23">
                  <c:v>726.3333</c:v>
                </c:pt>
                <c:pt idx="24">
                  <c:v>946.6667</c:v>
                </c:pt>
                <c:pt idx="25">
                  <c:v>870.0</c:v>
                </c:pt>
                <c:pt idx="26">
                  <c:v>702.0</c:v>
                </c:pt>
                <c:pt idx="27">
                  <c:v>770.3333</c:v>
                </c:pt>
                <c:pt idx="28">
                  <c:v>996.3333</c:v>
                </c:pt>
                <c:pt idx="29">
                  <c:v>1351.0</c:v>
                </c:pt>
                <c:pt idx="30">
                  <c:v>923.0</c:v>
                </c:pt>
                <c:pt idx="31">
                  <c:v>730.0</c:v>
                </c:pt>
                <c:pt idx="32">
                  <c:v>666.3333</c:v>
                </c:pt>
                <c:pt idx="33">
                  <c:v>740.5714</c:v>
                </c:pt>
                <c:pt idx="34">
                  <c:v>963.0</c:v>
                </c:pt>
                <c:pt idx="35">
                  <c:v>563.75</c:v>
                </c:pt>
                <c:pt idx="36">
                  <c:v>693.5</c:v>
                </c:pt>
                <c:pt idx="37">
                  <c:v>1253.5</c:v>
                </c:pt>
                <c:pt idx="38">
                  <c:v>825.2</c:v>
                </c:pt>
                <c:pt idx="39">
                  <c:v>799.5833</c:v>
                </c:pt>
                <c:pt idx="40">
                  <c:v>874.2308</c:v>
                </c:pt>
                <c:pt idx="41">
                  <c:v>856.6429</c:v>
                </c:pt>
                <c:pt idx="42">
                  <c:v>827.8462</c:v>
                </c:pt>
                <c:pt idx="43">
                  <c:v>824.2353</c:v>
                </c:pt>
                <c:pt idx="44">
                  <c:v>847.0667</c:v>
                </c:pt>
                <c:pt idx="45">
                  <c:v>868.7143</c:v>
                </c:pt>
                <c:pt idx="46">
                  <c:v>873.8571</c:v>
                </c:pt>
                <c:pt idx="47">
                  <c:v>810.6</c:v>
                </c:pt>
                <c:pt idx="48">
                  <c:v>903.1538</c:v>
                </c:pt>
                <c:pt idx="49">
                  <c:v>846.0</c:v>
                </c:pt>
                <c:pt idx="50">
                  <c:v>1045.0</c:v>
                </c:pt>
                <c:pt idx="51">
                  <c:v>873.0</c:v>
                </c:pt>
                <c:pt idx="52">
                  <c:v>1011.0</c:v>
                </c:pt>
                <c:pt idx="53">
                  <c:v>813.5</c:v>
                </c:pt>
                <c:pt idx="54">
                  <c:v>1316.5</c:v>
                </c:pt>
                <c:pt idx="55">
                  <c:v>691.0</c:v>
                </c:pt>
                <c:pt idx="56">
                  <c:v>1040.0</c:v>
                </c:pt>
                <c:pt idx="57">
                  <c:v>706.8824</c:v>
                </c:pt>
                <c:pt idx="58">
                  <c:v>861.9</c:v>
                </c:pt>
                <c:pt idx="59">
                  <c:v>980.25</c:v>
                </c:pt>
                <c:pt idx="60">
                  <c:v>1338.0</c:v>
                </c:pt>
                <c:pt idx="61">
                  <c:v>712.1818</c:v>
                </c:pt>
                <c:pt idx="62">
                  <c:v>822.8</c:v>
                </c:pt>
                <c:pt idx="63">
                  <c:v>987.75</c:v>
                </c:pt>
                <c:pt idx="64">
                  <c:v>903.5</c:v>
                </c:pt>
                <c:pt idx="65">
                  <c:v>893.1667</c:v>
                </c:pt>
                <c:pt idx="66">
                  <c:v>733.4444</c:v>
                </c:pt>
                <c:pt idx="67">
                  <c:v>863.0</c:v>
                </c:pt>
                <c:pt idx="68">
                  <c:v>940.0</c:v>
                </c:pt>
                <c:pt idx="69">
                  <c:v>889.0</c:v>
                </c:pt>
                <c:pt idx="70">
                  <c:v>1276.0</c:v>
                </c:pt>
                <c:pt idx="71">
                  <c:v>732.0</c:v>
                </c:pt>
                <c:pt idx="72">
                  <c:v>944.0</c:v>
                </c:pt>
                <c:pt idx="73">
                  <c:v>1043.0</c:v>
                </c:pt>
                <c:pt idx="74">
                  <c:v>1422.0</c:v>
                </c:pt>
                <c:pt idx="75">
                  <c:v>949.0</c:v>
                </c:pt>
                <c:pt idx="76">
                  <c:v>728.0</c:v>
                </c:pt>
                <c:pt idx="77">
                  <c:v>732.0</c:v>
                </c:pt>
                <c:pt idx="78">
                  <c:v>1328.0</c:v>
                </c:pt>
                <c:pt idx="79">
                  <c:v>864.0</c:v>
                </c:pt>
                <c:pt idx="80">
                  <c:v>690.0</c:v>
                </c:pt>
                <c:pt idx="81">
                  <c:v>958.0</c:v>
                </c:pt>
                <c:pt idx="82">
                  <c:v>1380.0</c:v>
                </c:pt>
                <c:pt idx="83">
                  <c:v>1380.0</c:v>
                </c:pt>
                <c:pt idx="84">
                  <c:v>805.0</c:v>
                </c:pt>
                <c:pt idx="85">
                  <c:v>710.25</c:v>
                </c:pt>
                <c:pt idx="86">
                  <c:v>928.5</c:v>
                </c:pt>
                <c:pt idx="87">
                  <c:v>833.75</c:v>
                </c:pt>
                <c:pt idx="88">
                  <c:v>861.6667</c:v>
                </c:pt>
                <c:pt idx="89">
                  <c:v>938.4</c:v>
                </c:pt>
                <c:pt idx="90">
                  <c:v>920.0</c:v>
                </c:pt>
                <c:pt idx="91">
                  <c:v>920.0</c:v>
                </c:pt>
                <c:pt idx="92">
                  <c:v>947.0</c:v>
                </c:pt>
                <c:pt idx="93">
                  <c:v>592.3333</c:v>
                </c:pt>
              </c:numCache>
            </c:numRef>
          </c:xVal>
          <c:yVal>
            <c:numRef>
              <c:f>Sheet1!$B$2:$B$95</c:f>
              <c:numCache>
                <c:formatCode>General</c:formatCode>
                <c:ptCount val="94"/>
                <c:pt idx="0">
                  <c:v>0.4230769230769231</c:v>
                </c:pt>
                <c:pt idx="1">
                  <c:v>0.43478260869565216</c:v>
                </c:pt>
                <c:pt idx="2">
                  <c:v>0.3684210526315789</c:v>
                </c:pt>
                <c:pt idx="3">
                  <c:v>0.3333333333333333</c:v>
                </c:pt>
                <c:pt idx="4">
                  <c:v>0.35294117647058826</c:v>
                </c:pt>
                <c:pt idx="5">
                  <c:v>0.35714285714285715</c:v>
                </c:pt>
                <c:pt idx="6">
                  <c:v>0.55</c:v>
                </c:pt>
                <c:pt idx="7">
                  <c:v>0.3076923076923077</c:v>
                </c:pt>
                <c:pt idx="8">
                  <c:v>0.25</c:v>
                </c:pt>
                <c:pt idx="9">
                  <c:v>0.22727272727272727</c:v>
                </c:pt>
                <c:pt idx="10">
                  <c:v>0.5714285714285714</c:v>
                </c:pt>
                <c:pt idx="11">
                  <c:v>0.46153846153846156</c:v>
                </c:pt>
                <c:pt idx="12">
                  <c:v>0.3684210526315789</c:v>
                </c:pt>
                <c:pt idx="13">
                  <c:v>0.3125</c:v>
                </c:pt>
                <c:pt idx="14">
                  <c:v>0.4666666666666667</c:v>
                </c:pt>
                <c:pt idx="15">
                  <c:v>0.2727272727272727</c:v>
                </c:pt>
                <c:pt idx="16">
                  <c:v>0.4</c:v>
                </c:pt>
                <c:pt idx="17">
                  <c:v>0.46153846153846156</c:v>
                </c:pt>
                <c:pt idx="18">
                  <c:v>0.5454545454545454</c:v>
                </c:pt>
                <c:pt idx="19">
                  <c:v>0.5</c:v>
                </c:pt>
                <c:pt idx="20">
                  <c:v>0.2857142857142857</c:v>
                </c:pt>
                <c:pt idx="21">
                  <c:v>0.375</c:v>
                </c:pt>
                <c:pt idx="22">
                  <c:v>0.375</c:v>
                </c:pt>
                <c:pt idx="23">
                  <c:v>0.3333333333333333</c:v>
                </c:pt>
                <c:pt idx="24">
                  <c:v>0.3333333333333333</c:v>
                </c:pt>
                <c:pt idx="25">
                  <c:v>0.3333333333333333</c:v>
                </c:pt>
                <c:pt idx="26">
                  <c:v>0.4375</c:v>
                </c:pt>
                <c:pt idx="27">
                  <c:v>0.375</c:v>
                </c:pt>
                <c:pt idx="28">
                  <c:v>0.3333333333333333</c:v>
                </c:pt>
                <c:pt idx="29">
                  <c:v>0.14285714285714285</c:v>
                </c:pt>
                <c:pt idx="30">
                  <c:v>0.2222222222222222</c:v>
                </c:pt>
                <c:pt idx="31">
                  <c:v>0.4444444444444444</c:v>
                </c:pt>
                <c:pt idx="32">
                  <c:v>0.2727272727272727</c:v>
                </c:pt>
                <c:pt idx="33">
                  <c:v>0.3181818181818182</c:v>
                </c:pt>
                <c:pt idx="34">
                  <c:v>0.23809523809523808</c:v>
                </c:pt>
                <c:pt idx="35">
                  <c:v>0.25</c:v>
                </c:pt>
                <c:pt idx="36">
                  <c:v>0.2222222222222222</c:v>
                </c:pt>
                <c:pt idx="37">
                  <c:v>0.2222222222222222</c:v>
                </c:pt>
                <c:pt idx="38">
                  <c:v>0.5555555555555556</c:v>
                </c:pt>
                <c:pt idx="39">
                  <c:v>0.8</c:v>
                </c:pt>
                <c:pt idx="40">
                  <c:v>0.7647058823529411</c:v>
                </c:pt>
                <c:pt idx="41">
                  <c:v>0.6363636363636364</c:v>
                </c:pt>
                <c:pt idx="42">
                  <c:v>0.6190476190476191</c:v>
                </c:pt>
                <c:pt idx="43">
                  <c:v>0.6071428571428571</c:v>
                </c:pt>
                <c:pt idx="44">
                  <c:v>0.5555555555555556</c:v>
                </c:pt>
                <c:pt idx="45">
                  <c:v>0.5833333333333334</c:v>
                </c:pt>
                <c:pt idx="46">
                  <c:v>0.4117647058823529</c:v>
                </c:pt>
                <c:pt idx="47">
                  <c:v>0.38461538461538464</c:v>
                </c:pt>
                <c:pt idx="48">
                  <c:v>0.2826086956521739</c:v>
                </c:pt>
                <c:pt idx="49">
                  <c:v>0.4375</c:v>
                </c:pt>
                <c:pt idx="50">
                  <c:v>0.4</c:v>
                </c:pt>
                <c:pt idx="51">
                  <c:v>0.3</c:v>
                </c:pt>
                <c:pt idx="52">
                  <c:v>0.15384615384615385</c:v>
                </c:pt>
                <c:pt idx="53">
                  <c:v>0.3333333333333333</c:v>
                </c:pt>
                <c:pt idx="54">
                  <c:v>0.13333333333333333</c:v>
                </c:pt>
                <c:pt idx="55">
                  <c:v>0.1875</c:v>
                </c:pt>
                <c:pt idx="56">
                  <c:v>0.2</c:v>
                </c:pt>
                <c:pt idx="57">
                  <c:v>0.5</c:v>
                </c:pt>
                <c:pt idx="58">
                  <c:v>0.2</c:v>
                </c:pt>
                <c:pt idx="59">
                  <c:v>0.10256410256410256</c:v>
                </c:pt>
                <c:pt idx="60">
                  <c:v>0.09523809523809523</c:v>
                </c:pt>
                <c:pt idx="61">
                  <c:v>0.4230769230769231</c:v>
                </c:pt>
                <c:pt idx="62">
                  <c:v>0.21739130434782608</c:v>
                </c:pt>
                <c:pt idx="63">
                  <c:v>0.17391304347826086</c:v>
                </c:pt>
                <c:pt idx="64">
                  <c:v>0.26666666666666666</c:v>
                </c:pt>
                <c:pt idx="65">
                  <c:v>0.3</c:v>
                </c:pt>
                <c:pt idx="66">
                  <c:v>0.391304347826087</c:v>
                </c:pt>
                <c:pt idx="67">
                  <c:v>0.14285714285714285</c:v>
                </c:pt>
                <c:pt idx="68">
                  <c:v>0.09090909090909091</c:v>
                </c:pt>
                <c:pt idx="69">
                  <c:v>0.09090909090909091</c:v>
                </c:pt>
                <c:pt idx="70">
                  <c:v>0.1111111111111111</c:v>
                </c:pt>
                <c:pt idx="71">
                  <c:v>0.1111111111111111</c:v>
                </c:pt>
                <c:pt idx="72">
                  <c:v>0.1111111111111111</c:v>
                </c:pt>
                <c:pt idx="73">
                  <c:v>0.16666666666666666</c:v>
                </c:pt>
                <c:pt idx="74">
                  <c:v>0.2</c:v>
                </c:pt>
                <c:pt idx="75">
                  <c:v>0.16666666666666666</c:v>
                </c:pt>
                <c:pt idx="76">
                  <c:v>0.2</c:v>
                </c:pt>
                <c:pt idx="77">
                  <c:v>0.16666666666666666</c:v>
                </c:pt>
                <c:pt idx="78">
                  <c:v>0.2</c:v>
                </c:pt>
                <c:pt idx="79">
                  <c:v>0.1111111111111111</c:v>
                </c:pt>
                <c:pt idx="80">
                  <c:v>0.09090909090909091</c:v>
                </c:pt>
                <c:pt idx="81">
                  <c:v>0.14285714285714285</c:v>
                </c:pt>
                <c:pt idx="82">
                  <c:v>0.1</c:v>
                </c:pt>
                <c:pt idx="83">
                  <c:v>0.125</c:v>
                </c:pt>
                <c:pt idx="84">
                  <c:v>0.2222222222222222</c:v>
                </c:pt>
                <c:pt idx="85">
                  <c:v>0.21052631578947367</c:v>
                </c:pt>
                <c:pt idx="86">
                  <c:v>0.14285714285714285</c:v>
                </c:pt>
                <c:pt idx="87">
                  <c:v>0.18181818181818182</c:v>
                </c:pt>
                <c:pt idx="88">
                  <c:v>0.17647058823529413</c:v>
                </c:pt>
                <c:pt idx="89">
                  <c:v>0.18518518518518517</c:v>
                </c:pt>
                <c:pt idx="90">
                  <c:v>0.15</c:v>
                </c:pt>
                <c:pt idx="91">
                  <c:v>0.1111111111111111</c:v>
                </c:pt>
                <c:pt idx="92">
                  <c:v>0.1111111111111111</c:v>
                </c:pt>
                <c:pt idx="93">
                  <c:v>0.2</c:v>
                </c:pt>
              </c:numCache>
            </c:numRef>
          </c:yVal>
          <c:smooth val="0"/>
          <c:extLst>
            <c:ext xmlns:c16="http://schemas.microsoft.com/office/drawing/2014/chart" uri="{C3380CC4-5D6E-409C-BE32-E72D297353CC}">
              <c16:uniqueId val="{00000000-F32D-48B7-BC20-E66FC6253BAD}"/>
            </c:ext>
          </c:extLst>
        </c:ser>
        <c:ser>
          <c:idx val="1"/>
          <c:order val="1"/>
          <c:tx>
            <c:strRef>
              <c:f>Sheet1!$B$9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8:$A$145</c:f>
              <c:numCache>
                <c:formatCode>General</c:formatCode>
                <c:ptCount val="48"/>
                <c:pt idx="0">
                  <c:v>0.0</c:v>
                </c:pt>
                <c:pt idx="1">
                  <c:v>0.0</c:v>
                </c:pt>
                <c:pt idx="2">
                  <c:v>0.0</c:v>
                </c:pt>
                <c:pt idx="3">
                  <c:v>0.0</c:v>
                </c:pt>
                <c:pt idx="4">
                  <c:v>814.5</c:v>
                </c:pt>
                <c:pt idx="5">
                  <c:v>0.0</c:v>
                </c:pt>
                <c:pt idx="6">
                  <c:v>0.0</c:v>
                </c:pt>
                <c:pt idx="7">
                  <c:v>690.0</c:v>
                </c:pt>
                <c:pt idx="8">
                  <c:v>0.0</c:v>
                </c:pt>
                <c:pt idx="9">
                  <c:v>0.0</c:v>
                </c:pt>
                <c:pt idx="10">
                  <c:v>788.0</c:v>
                </c:pt>
                <c:pt idx="11">
                  <c:v>819.5</c:v>
                </c:pt>
                <c:pt idx="12">
                  <c:v>1380.0</c:v>
                </c:pt>
                <c:pt idx="13">
                  <c:v>1035.0</c:v>
                </c:pt>
                <c:pt idx="14">
                  <c:v>856.75</c:v>
                </c:pt>
                <c:pt idx="15">
                  <c:v>1035.0</c:v>
                </c:pt>
                <c:pt idx="16">
                  <c:v>722.3571</c:v>
                </c:pt>
                <c:pt idx="17">
                  <c:v>687.7222</c:v>
                </c:pt>
                <c:pt idx="18">
                  <c:v>731.6667</c:v>
                </c:pt>
                <c:pt idx="19">
                  <c:v>1127.0</c:v>
                </c:pt>
                <c:pt idx="20">
                  <c:v>701.75</c:v>
                </c:pt>
                <c:pt idx="21">
                  <c:v>673.5</c:v>
                </c:pt>
                <c:pt idx="22">
                  <c:v>1156.0</c:v>
                </c:pt>
                <c:pt idx="23">
                  <c:v>787.5</c:v>
                </c:pt>
                <c:pt idx="24">
                  <c:v>690.0</c:v>
                </c:pt>
                <c:pt idx="25">
                  <c:v>819.5</c:v>
                </c:pt>
                <c:pt idx="26">
                  <c:v>805.0</c:v>
                </c:pt>
                <c:pt idx="27">
                  <c:v>949.0</c:v>
                </c:pt>
                <c:pt idx="28">
                  <c:v>690.0</c:v>
                </c:pt>
                <c:pt idx="29">
                  <c:v>920.0</c:v>
                </c:pt>
                <c:pt idx="30">
                  <c:v>1150.0</c:v>
                </c:pt>
                <c:pt idx="31">
                  <c:v>552.0</c:v>
                </c:pt>
                <c:pt idx="32">
                  <c:v>0.0</c:v>
                </c:pt>
                <c:pt idx="33">
                  <c:v>1554.0</c:v>
                </c:pt>
                <c:pt idx="34">
                  <c:v>511.3333</c:v>
                </c:pt>
                <c:pt idx="35">
                  <c:v>715.6667</c:v>
                </c:pt>
                <c:pt idx="36">
                  <c:v>701.6667</c:v>
                </c:pt>
                <c:pt idx="37">
                  <c:v>814.5</c:v>
                </c:pt>
                <c:pt idx="38">
                  <c:v>412.5</c:v>
                </c:pt>
                <c:pt idx="39">
                  <c:v>362.6</c:v>
                </c:pt>
                <c:pt idx="40">
                  <c:v>389.6</c:v>
                </c:pt>
                <c:pt idx="41">
                  <c:v>396.0</c:v>
                </c:pt>
                <c:pt idx="42">
                  <c:v>362.0</c:v>
                </c:pt>
                <c:pt idx="43">
                  <c:v>396.0</c:v>
                </c:pt>
                <c:pt idx="44">
                  <c:v>0.0</c:v>
                </c:pt>
                <c:pt idx="45">
                  <c:v>404.0</c:v>
                </c:pt>
                <c:pt idx="46">
                  <c:v>678.5</c:v>
                </c:pt>
                <c:pt idx="47">
                  <c:v>295.0</c:v>
                </c:pt>
              </c:numCache>
            </c:numRef>
          </c:xVal>
          <c:yVal>
            <c:numRef>
              <c:f>Sheet1!$B$98:$B$145</c:f>
              <c:numCache>
                <c:formatCode>General</c:formatCode>
                <c:ptCount val="48"/>
                <c:pt idx="0">
                  <c:v>0.0</c:v>
                </c:pt>
                <c:pt idx="1">
                  <c:v>0.0</c:v>
                </c:pt>
                <c:pt idx="2">
                  <c:v>0.0</c:v>
                </c:pt>
                <c:pt idx="3">
                  <c:v>0.0</c:v>
                </c:pt>
                <c:pt idx="4">
                  <c:v>0.25</c:v>
                </c:pt>
                <c:pt idx="5">
                  <c:v>0.0</c:v>
                </c:pt>
                <c:pt idx="6">
                  <c:v>0.0</c:v>
                </c:pt>
                <c:pt idx="7">
                  <c:v>0.1111111111111111</c:v>
                </c:pt>
                <c:pt idx="8">
                  <c:v>0.0</c:v>
                </c:pt>
                <c:pt idx="9">
                  <c:v>0.0</c:v>
                </c:pt>
                <c:pt idx="10">
                  <c:v>0.23076923076923078</c:v>
                </c:pt>
                <c:pt idx="11">
                  <c:v>0.18181818181818182</c:v>
                </c:pt>
                <c:pt idx="12">
                  <c:v>0.09090909090909091</c:v>
                </c:pt>
                <c:pt idx="13">
                  <c:v>0.125</c:v>
                </c:pt>
                <c:pt idx="14">
                  <c:v>0.21052631578947367</c:v>
                </c:pt>
                <c:pt idx="15">
                  <c:v>0.15384615384615385</c:v>
                </c:pt>
                <c:pt idx="16">
                  <c:v>0.4666666666666667</c:v>
                </c:pt>
                <c:pt idx="17">
                  <c:v>0.8181818181818182</c:v>
                </c:pt>
                <c:pt idx="18">
                  <c:v>0.3333333333333333</c:v>
                </c:pt>
                <c:pt idx="19">
                  <c:v>0.16666666666666666</c:v>
                </c:pt>
                <c:pt idx="20">
                  <c:v>0.5714285714285714</c:v>
                </c:pt>
                <c:pt idx="21">
                  <c:v>0.2222222222222222</c:v>
                </c:pt>
                <c:pt idx="22">
                  <c:v>0.125</c:v>
                </c:pt>
                <c:pt idx="23">
                  <c:v>0.3333333333333333</c:v>
                </c:pt>
                <c:pt idx="24">
                  <c:v>0.36363636363636365</c:v>
                </c:pt>
                <c:pt idx="25">
                  <c:v>0.2222222222222222</c:v>
                </c:pt>
                <c:pt idx="26">
                  <c:v>0.18181818181818182</c:v>
                </c:pt>
                <c:pt idx="27">
                  <c:v>0.1</c:v>
                </c:pt>
                <c:pt idx="28">
                  <c:v>0.1111111111111111</c:v>
                </c:pt>
                <c:pt idx="29">
                  <c:v>0.2857142857142857</c:v>
                </c:pt>
                <c:pt idx="30">
                  <c:v>0.2</c:v>
                </c:pt>
                <c:pt idx="31">
                  <c:v>0.16666666666666666</c:v>
                </c:pt>
                <c:pt idx="32">
                  <c:v>0.0</c:v>
                </c:pt>
                <c:pt idx="33">
                  <c:v>0.2</c:v>
                </c:pt>
                <c:pt idx="34">
                  <c:v>0.5</c:v>
                </c:pt>
                <c:pt idx="35">
                  <c:v>0.42857142857142855</c:v>
                </c:pt>
                <c:pt idx="36">
                  <c:v>0.375</c:v>
                </c:pt>
                <c:pt idx="37">
                  <c:v>0.25</c:v>
                </c:pt>
                <c:pt idx="38">
                  <c:v>0.4444444444444444</c:v>
                </c:pt>
                <c:pt idx="39">
                  <c:v>0.5555555555555556</c:v>
                </c:pt>
                <c:pt idx="40">
                  <c:v>0.5555555555555556</c:v>
                </c:pt>
                <c:pt idx="41">
                  <c:v>0.2857142857142857</c:v>
                </c:pt>
                <c:pt idx="42">
                  <c:v>0.2</c:v>
                </c:pt>
                <c:pt idx="43">
                  <c:v>0.13333333333333333</c:v>
                </c:pt>
                <c:pt idx="44">
                  <c:v>0.0</c:v>
                </c:pt>
                <c:pt idx="45">
                  <c:v>0.2</c:v>
                </c:pt>
                <c:pt idx="46">
                  <c:v>0.2857142857142857</c:v>
                </c:pt>
                <c:pt idx="47">
                  <c:v>0.09090909090909091</c:v>
                </c:pt>
              </c:numCache>
            </c:numRef>
          </c:yVal>
          <c:smooth val="0"/>
          <c:extLst>
            <c:ext xmlns:c16="http://schemas.microsoft.com/office/drawing/2014/chart" uri="{C3380CC4-5D6E-409C-BE32-E72D297353CC}">
              <c16:uniqueId val="{00000002-F32D-48B7-BC20-E66FC6253BAD}"/>
            </c:ext>
          </c:extLst>
        </c:ser>
        <c:ser>
          <c:idx val="2"/>
          <c:order val="2"/>
          <c:tx>
            <c:strRef>
              <c:f>Sheet1!$B$147</c:f>
              <c:strCache>
                <c:ptCount val="1"/>
                <c:pt idx="0">
                  <c:v>Custom Linep3yQ</c:v>
                </c:pt>
              </c:strCache>
            </c:strRef>
          </c:tx>
          <c:spPr>
            <a:ln w="19050" cap="rnd">
              <a:solidFill>
                <a:srgbClr val="C00000"/>
              </a:solidFill>
              <a:prstDash val="sysDot"/>
              <a:round/>
            </a:ln>
            <a:effectLst/>
          </c:spPr>
          <c:marker>
            <c:symbol val="none"/>
          </c:marker>
          <c:xVal>
            <c:numRef>
              <c:f>Sheet1!$A$148:$A$149</c:f>
              <c:numCache>
                <c:formatCode>General</c:formatCode>
                <c:ptCount val="2"/>
                <c:pt idx="0">
                  <c:v>0</c:v>
                </c:pt>
                <c:pt idx="1">
                  <c:v>2592.461752361497</c:v>
                </c:pt>
              </c:numCache>
            </c:numRef>
          </c:xVal>
          <c:yVal>
            <c:numRef>
              <c:f>Sheet1!$B$148:$B$149</c:f>
              <c:numCache>
                <c:formatCode>General</c:formatCode>
                <c:ptCount val="2"/>
                <c:pt idx="0">
                  <c:v>0.497385294444118</c:v>
                </c:pt>
                <c:pt idx="1">
                  <c:v>0.497385294444118</c:v>
                </c:pt>
              </c:numCache>
            </c:numRef>
          </c:yVal>
          <c:smooth val="0"/>
          <c:extLst>
            <c:ext xmlns:c16="http://schemas.microsoft.com/office/drawing/2014/chart" uri="{C3380CC4-5D6E-409C-BE32-E72D297353CC}">
              <c16:uniqueId val="{00000003-F32D-48B7-BC20-E66FC6253BAD}"/>
            </c:ext>
          </c:extLst>
        </c:ser>
        <c:ser>
          <c:idx val="3"/>
          <c:order val="3"/>
          <c:tx>
            <c:strRef>
              <c:f>Sheet1!$B$15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2592.461752361497</c:v>
                </c:pt>
                <c:pt idx="1">
                  <c:v>2592.461752361497</c:v>
                </c:pt>
              </c:numCache>
            </c:numRef>
          </c:xVal>
          <c:yVal>
            <c:numRef>
              <c:f>Sheet1!$B$152:$B$153</c:f>
              <c:numCache>
                <c:formatCode>General</c:formatCode>
                <c:ptCount val="2"/>
                <c:pt idx="0">
                  <c:v>0.4973852944441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6:$A$157</c:f>
              <c:numCache>
                <c:formatCode>General</c:formatCode>
                <c:ptCount val="2"/>
                <c:pt idx="0">
                  <c:v>0</c:v>
                </c:pt>
                <c:pt idx="1">
                  <c:v>1371.256061758956</c:v>
                </c:pt>
              </c:numCache>
            </c:numRef>
          </c:xVal>
          <c:yVal>
            <c:numRef>
              <c:f>Sheet1!$B$156:$B$157</c:f>
              <c:numCache>
                <c:formatCode>General</c:formatCode>
                <c:ptCount val="2"/>
                <c:pt idx="0">
                  <c:v>0.3273478835978836</c:v>
                </c:pt>
                <c:pt idx="1">
                  <c:v>0.3273478835978836</c:v>
                </c:pt>
              </c:numCache>
            </c:numRef>
          </c:yVal>
          <c:smooth val="0"/>
          <c:extLst>
            <c:ext xmlns:c16="http://schemas.microsoft.com/office/drawing/2014/chart" uri="{C3380CC4-5D6E-409C-BE32-E72D297353CC}">
              <c16:uniqueId val="{0000000A-F32D-48B7-BC20-E66FC6253BAD}"/>
            </c:ext>
          </c:extLst>
        </c:ser>
        <c:ser>
          <c:idx val="5"/>
          <c:order val="5"/>
          <c:tx>
            <c:strRef>
              <c:f>Sheet1!$B$15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1371.256061758956</c:v>
                </c:pt>
                <c:pt idx="1">
                  <c:v>1371.256061758956</c:v>
                </c:pt>
              </c:numCache>
            </c:numRef>
          </c:xVal>
          <c:yVal>
            <c:numRef>
              <c:f>Sheet1!$B$160:$B$161</c:f>
              <c:numCache>
                <c:formatCode>General</c:formatCode>
                <c:ptCount val="2"/>
                <c:pt idx="0">
                  <c:v>0.3273478835978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4:$A$165</c:f>
              <c:numCache>
                <c:formatCode>General</c:formatCode>
                <c:ptCount val="2"/>
                <c:pt idx="0">
                  <c:v>0</c:v>
                </c:pt>
                <c:pt idx="1">
                  <c:v>-326.8431840114783</c:v>
                </c:pt>
              </c:numCache>
            </c:numRef>
          </c:xVal>
          <c:yVal>
            <c:numRef>
              <c:f>Sheet1!$B$164:$B$165</c:f>
              <c:numCache>
                <c:formatCode>General</c:formatCode>
                <c:ptCount val="2"/>
                <c:pt idx="0">
                  <c:v>0.09090909090909091</c:v>
                </c:pt>
                <c:pt idx="1">
                  <c:v>0.09090909090909091</c:v>
                </c:pt>
              </c:numCache>
            </c:numRef>
          </c:yVal>
          <c:smooth val="0"/>
          <c:extLst>
            <c:ext xmlns:c16="http://schemas.microsoft.com/office/drawing/2014/chart" uri="{C3380CC4-5D6E-409C-BE32-E72D297353CC}">
              <c16:uniqueId val="{00000011-F32D-48B7-BC20-E66FC6253BAD}"/>
            </c:ext>
          </c:extLst>
        </c:ser>
        <c:ser>
          <c:idx val="7"/>
          <c:order val="7"/>
          <c:tx>
            <c:strRef>
              <c:f>Sheet1!$B$16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8:$A$169</c:f>
              <c:numCache>
                <c:formatCode>General</c:formatCode>
                <c:ptCount val="2"/>
                <c:pt idx="0">
                  <c:v>-326.8431840114783</c:v>
                </c:pt>
                <c:pt idx="1">
                  <c:v>-326.8431840114783</c:v>
                </c:pt>
              </c:numCache>
            </c:numRef>
          </c:xVal>
          <c:yVal>
            <c:numRef>
              <c:f>Sheet1!$B$168:$B$169</c:f>
              <c:numCache>
                <c:formatCode>General</c:formatCode>
                <c:ptCount val="2"/>
                <c:pt idx="0">
                  <c:v>0.090909090909090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2:$A$222</c:f>
              <c:numCache>
                <c:formatCode>General</c:formatCode>
                <c:ptCount val="51"/>
                <c:pt idx="0">
                  <c:v>0.0</c:v>
                </c:pt>
                <c:pt idx="1">
                  <c:v>0.0</c:v>
                </c:pt>
                <c:pt idx="2">
                  <c:v>0.0</c:v>
                </c:pt>
                <c:pt idx="3">
                  <c:v>0.0</c:v>
                </c:pt>
                <c:pt idx="4">
                  <c:v>814.5</c:v>
                </c:pt>
                <c:pt idx="5">
                  <c:v>0.0</c:v>
                </c:pt>
                <c:pt idx="6">
                  <c:v>0.0</c:v>
                </c:pt>
                <c:pt idx="7">
                  <c:v>690.0</c:v>
                </c:pt>
                <c:pt idx="8">
                  <c:v>0.0</c:v>
                </c:pt>
                <c:pt idx="9">
                  <c:v>0.0</c:v>
                </c:pt>
                <c:pt idx="10">
                  <c:v>788.0</c:v>
                </c:pt>
                <c:pt idx="11">
                  <c:v>819.5</c:v>
                </c:pt>
                <c:pt idx="12">
                  <c:v>1380.0</c:v>
                </c:pt>
                <c:pt idx="13">
                  <c:v>1035.0</c:v>
                </c:pt>
                <c:pt idx="14">
                  <c:v>856.75</c:v>
                </c:pt>
                <c:pt idx="15">
                  <c:v>1035.0</c:v>
                </c:pt>
                <c:pt idx="16">
                  <c:v>722.3571</c:v>
                </c:pt>
                <c:pt idx="17">
                  <c:v>687.7222</c:v>
                </c:pt>
                <c:pt idx="18">
                  <c:v>731.6667</c:v>
                </c:pt>
                <c:pt idx="19">
                  <c:v>1127.0</c:v>
                </c:pt>
                <c:pt idx="20">
                  <c:v>701.75</c:v>
                </c:pt>
                <c:pt idx="21">
                  <c:v>673.5</c:v>
                </c:pt>
                <c:pt idx="22">
                  <c:v>1156.0</c:v>
                </c:pt>
                <c:pt idx="23">
                  <c:v>787.5</c:v>
                </c:pt>
                <c:pt idx="24">
                  <c:v>690.0</c:v>
                </c:pt>
                <c:pt idx="25">
                  <c:v>819.5</c:v>
                </c:pt>
                <c:pt idx="26">
                  <c:v>805.0</c:v>
                </c:pt>
                <c:pt idx="27">
                  <c:v>949.0</c:v>
                </c:pt>
                <c:pt idx="28">
                  <c:v>690.0</c:v>
                </c:pt>
                <c:pt idx="29">
                  <c:v>920.0</c:v>
                </c:pt>
                <c:pt idx="30">
                  <c:v>1150.0</c:v>
                </c:pt>
                <c:pt idx="31">
                  <c:v>552.0</c:v>
                </c:pt>
                <c:pt idx="32">
                  <c:v>0.0</c:v>
                </c:pt>
                <c:pt idx="33">
                  <c:v>1554.0</c:v>
                </c:pt>
                <c:pt idx="34">
                  <c:v>511.3333</c:v>
                </c:pt>
                <c:pt idx="35">
                  <c:v>715.6667</c:v>
                </c:pt>
                <c:pt idx="36">
                  <c:v>701.6667</c:v>
                </c:pt>
                <c:pt idx="37">
                  <c:v>814.5</c:v>
                </c:pt>
                <c:pt idx="38">
                  <c:v>412.5</c:v>
                </c:pt>
                <c:pt idx="39">
                  <c:v>362.6</c:v>
                </c:pt>
                <c:pt idx="40">
                  <c:v>389.6</c:v>
                </c:pt>
                <c:pt idx="41">
                  <c:v>396.0</c:v>
                </c:pt>
                <c:pt idx="42">
                  <c:v>362.0</c:v>
                </c:pt>
                <c:pt idx="43">
                  <c:v>396.0</c:v>
                </c:pt>
                <c:pt idx="44">
                  <c:v>0.0</c:v>
                </c:pt>
                <c:pt idx="45">
                  <c:v>404.0</c:v>
                </c:pt>
                <c:pt idx="46">
                  <c:v>678.5</c:v>
                </c:pt>
                <c:pt idx="47">
                  <c:v>295.0</c:v>
                </c:pt>
                <c:pt idx="48">
                  <c:v>1371.256061758956</c:v>
                </c:pt>
                <c:pt idx="49">
                  <c:v>2592.461752361497</c:v>
                </c:pt>
                <c:pt idx="50">
                  <c:v>-326.8431840114783</c:v>
                </c:pt>
              </c:numCache>
            </c:numRef>
          </c:xVal>
          <c:yVal>
            <c:numRef>
              <c:f>Sheet1!$B$172:$B$222</c:f>
              <c:numCache>
                <c:formatCode>General</c:formatCode>
                <c:ptCount val="51"/>
                <c:pt idx="0">
                  <c:v>0.1364178607991413</c:v>
                </c:pt>
                <c:pt idx="1">
                  <c:v>0.1364178607991413</c:v>
                </c:pt>
                <c:pt idx="2">
                  <c:v>0.1364178607991413</c:v>
                </c:pt>
                <c:pt idx="3">
                  <c:v>0.1364178607991413</c:v>
                </c:pt>
                <c:pt idx="4">
                  <c:v>0.24982666015211882</c:v>
                </c:pt>
                <c:pt idx="5">
                  <c:v>0.1364178607991413</c:v>
                </c:pt>
                <c:pt idx="6">
                  <c:v>0.1364178607991413</c:v>
                </c:pt>
                <c:pt idx="7">
                  <c:v>0.23249161347385522</c:v>
                </c:pt>
                <c:pt idx="8">
                  <c:v>0.1364178607991413</c:v>
                </c:pt>
                <c:pt idx="9">
                  <c:v>0.1364178607991413</c:v>
                </c:pt>
                <c:pt idx="10">
                  <c:v>0.24613687110011895</c:v>
                </c:pt>
                <c:pt idx="11">
                  <c:v>0.2505228467657037</c:v>
                </c:pt>
                <c:pt idx="12">
                  <c:v>0.3285653661485691</c:v>
                </c:pt>
                <c:pt idx="13">
                  <c:v>0.28052848981121214</c:v>
                </c:pt>
                <c:pt idx="14">
                  <c:v>0.25570943703691107</c:v>
                </c:pt>
                <c:pt idx="15">
                  <c:v>0.28052848981121214</c:v>
                </c:pt>
                <c:pt idx="16">
                  <c:v>0.2369969294487407</c:v>
                </c:pt>
                <c:pt idx="17">
                  <c:v>0.2321744587001705</c:v>
                </c:pt>
                <c:pt idx="18">
                  <c:v>0.23829317322830668</c:v>
                </c:pt>
                <c:pt idx="19">
                  <c:v>0.29333832350117406</c:v>
                </c:pt>
                <c:pt idx="20">
                  <c:v>0.2341276520157797</c:v>
                </c:pt>
                <c:pt idx="21">
                  <c:v>0.2301941976490251</c:v>
                </c:pt>
                <c:pt idx="22">
                  <c:v>0.2973762058599664</c:v>
                </c:pt>
                <c:pt idx="23">
                  <c:v>0.24606725243876043</c:v>
                </c:pt>
                <c:pt idx="24">
                  <c:v>0.23249161347385522</c:v>
                </c:pt>
                <c:pt idx="25">
                  <c:v>0.2505228467657037</c:v>
                </c:pt>
                <c:pt idx="26">
                  <c:v>0.24850390558630753</c:v>
                </c:pt>
                <c:pt idx="27">
                  <c:v>0.2685540800575522</c:v>
                </c:pt>
                <c:pt idx="28">
                  <c:v>0.23249161347385522</c:v>
                </c:pt>
                <c:pt idx="29">
                  <c:v>0.2645161976987599</c:v>
                </c:pt>
                <c:pt idx="30">
                  <c:v>0.2965407819236645</c:v>
                </c:pt>
                <c:pt idx="31">
                  <c:v>0.21327686293891246</c:v>
                </c:pt>
                <c:pt idx="32">
                  <c:v>0.1364178607991413</c:v>
                </c:pt>
                <c:pt idx="33">
                  <c:v>0.35279266030132306</c:v>
                </c:pt>
                <c:pt idx="34">
                  <c:v>0.20761454050717798</c:v>
                </c:pt>
                <c:pt idx="35">
                  <c:v>0.23606537606483505</c:v>
                </c:pt>
                <c:pt idx="36">
                  <c:v>0.23411605354679738</c:v>
                </c:pt>
                <c:pt idx="37">
                  <c:v>0.24982666015211882</c:v>
                </c:pt>
                <c:pt idx="38">
                  <c:v>0.1938532564198942</c:v>
                </c:pt>
                <c:pt idx="39">
                  <c:v>0.18690531401631705</c:v>
                </c:pt>
                <c:pt idx="40">
                  <c:v>0.19066472172967544</c:v>
                </c:pt>
                <c:pt idx="41">
                  <c:v>0.1915558405950641</c:v>
                </c:pt>
                <c:pt idx="42">
                  <c:v>0.18682177162268687</c:v>
                </c:pt>
                <c:pt idx="43">
                  <c:v>0.1915558405950641</c:v>
                </c:pt>
                <c:pt idx="44">
                  <c:v>0.1364178607991413</c:v>
                </c:pt>
                <c:pt idx="45">
                  <c:v>0.1926697391767999</c:v>
                </c:pt>
                <c:pt idx="46">
                  <c:v>0.23089038426261</c:v>
                </c:pt>
                <c:pt idx="47">
                  <c:v>0.17749287100064942</c:v>
                </c:pt>
                <c:pt idx="48">
                  <c:v>0.3273478835978836</c:v>
                </c:pt>
                <c:pt idx="49">
                  <c:v>0.49738529444411794</c:v>
                </c:pt>
                <c:pt idx="50">
                  <c:v>0.090909090909090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1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81818181818181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1</c:f>
              <c:numCache>
                <c:formatCode>General</c:formatCode>
                <c:ptCount val="120"/>
                <c:pt idx="0">
                  <c:v>0.0</c:v>
                </c:pt>
                <c:pt idx="1">
                  <c:v>0.0</c:v>
                </c:pt>
                <c:pt idx="2">
                  <c:v>0.0</c:v>
                </c:pt>
                <c:pt idx="3">
                  <c:v>0.0</c:v>
                </c:pt>
                <c:pt idx="4">
                  <c:v>0.0</c:v>
                </c:pt>
                <c:pt idx="5">
                  <c:v>0.0</c:v>
                </c:pt>
                <c:pt idx="6">
                  <c:v>0.0</c:v>
                </c:pt>
                <c:pt idx="7">
                  <c:v>0.47006503442999237</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3940420977524081</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4165964329812045</c:v>
                </c:pt>
                <c:pt idx="48">
                  <c:v>0.36884302654429446</c:v>
                </c:pt>
                <c:pt idx="49">
                  <c:v>0.0</c:v>
                </c:pt>
                <c:pt idx="50">
                  <c:v>0.0</c:v>
                </c:pt>
                <c:pt idx="51">
                  <c:v>0.0</c:v>
                </c:pt>
                <c:pt idx="52">
                  <c:v>0.0</c:v>
                </c:pt>
                <c:pt idx="53">
                  <c:v>0.29866980538627874</c:v>
                </c:pt>
                <c:pt idx="54">
                  <c:v>0.0</c:v>
                </c:pt>
                <c:pt idx="55">
                  <c:v>0.0</c:v>
                </c:pt>
                <c:pt idx="56">
                  <c:v>0.21496296296296297</c:v>
                </c:pt>
                <c:pt idx="57">
                  <c:v>0.4330824027603513</c:v>
                </c:pt>
                <c:pt idx="58">
                  <c:v>0.30754168523394776</c:v>
                </c:pt>
                <c:pt idx="59">
                  <c:v>0.1938278816199377</c:v>
                </c:pt>
                <c:pt idx="60">
                  <c:v>0.42043998291328494</c:v>
                </c:pt>
                <c:pt idx="61">
                  <c:v>0.2577881571261682</c:v>
                </c:pt>
                <c:pt idx="62">
                  <c:v>0.34976035393879806</c:v>
                </c:pt>
                <c:pt idx="63">
                  <c:v>0.23110574181626187</c:v>
                </c:pt>
                <c:pt idx="64">
                  <c:v>0.1920332303759719</c:v>
                </c:pt>
                <c:pt idx="65">
                  <c:v>0.20973097437425509</c:v>
                </c:pt>
                <c:pt idx="66">
                  <c:v>0.3147886850152905</c:v>
                </c:pt>
                <c:pt idx="67">
                  <c:v>0.31826751339551496</c:v>
                </c:pt>
                <c:pt idx="68">
                  <c:v>0.24933119315141786</c:v>
                </c:pt>
                <c:pt idx="69">
                  <c:v>0.20312271997665257</c:v>
                </c:pt>
                <c:pt idx="70">
                  <c:v>0.0</c:v>
                </c:pt>
                <c:pt idx="71">
                  <c:v>0.0</c:v>
                </c:pt>
                <c:pt idx="72">
                  <c:v>0.0</c:v>
                </c:pt>
                <c:pt idx="73">
                  <c:v>0.0</c:v>
                </c:pt>
                <c:pt idx="74">
                  <c:v>0.0</c:v>
                </c:pt>
                <c:pt idx="75">
                  <c:v>0.0</c:v>
                </c:pt>
                <c:pt idx="76">
                  <c:v>0.0</c:v>
                </c:pt>
                <c:pt idx="77">
                  <c:v>0.0</c:v>
                </c:pt>
                <c:pt idx="78">
                  <c:v>0.0</c:v>
                </c:pt>
                <c:pt idx="79">
                  <c:v>0.0</c:v>
                </c:pt>
                <c:pt idx="80">
                  <c:v>0.0</c:v>
                </c:pt>
                <c:pt idx="81">
                  <c:v>0.4244626097487133</c:v>
                </c:pt>
                <c:pt idx="82">
                  <c:v>0.0</c:v>
                </c:pt>
                <c:pt idx="83">
                  <c:v>0.0</c:v>
                </c:pt>
                <c:pt idx="84">
                  <c:v>0.0</c:v>
                </c:pt>
                <c:pt idx="85">
                  <c:v>0.25802813649066036</c:v>
                </c:pt>
                <c:pt idx="86">
                  <c:v>0.0</c:v>
                </c:pt>
                <c:pt idx="87">
                  <c:v>0.0</c:v>
                </c:pt>
                <c:pt idx="88">
                  <c:v>0.4387115165336374</c:v>
                </c:pt>
                <c:pt idx="89">
                  <c:v>0.0</c:v>
                </c:pt>
                <c:pt idx="90">
                  <c:v>0.33323975294778213</c:v>
                </c:pt>
                <c:pt idx="91">
                  <c:v>0.527744826677211</c:v>
                </c:pt>
                <c:pt idx="92">
                  <c:v>0.0</c:v>
                </c:pt>
                <c:pt idx="93">
                  <c:v>0.0</c:v>
                </c:pt>
                <c:pt idx="94">
                  <c:v>0.0</c:v>
                </c:pt>
                <c:pt idx="95">
                  <c:v>0.17298241237370587</c:v>
                </c:pt>
                <c:pt idx="96">
                  <c:v>0.1251040049920581</c:v>
                </c:pt>
                <c:pt idx="97">
                  <c:v>0.4192884448069603</c:v>
                </c:pt>
                <c:pt idx="98">
                  <c:v>0.2775890709290709</c:v>
                </c:pt>
                <c:pt idx="99">
                  <c:v>0.2626358355039861</c:v>
                </c:pt>
                <c:pt idx="100">
                  <c:v>0.16147048164649797</c:v>
                </c:pt>
                <c:pt idx="101">
                  <c:v>0.0</c:v>
                </c:pt>
                <c:pt idx="102">
                  <c:v>0.0</c:v>
                </c:pt>
                <c:pt idx="103">
                  <c:v>0.2580976863753213</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numCache>
            </c:numRef>
          </c:xVal>
          <c:yVal>
            <c:numRef>
              <c:f>Sheet1!$B$2:$B$121</c:f>
              <c:numCache>
                <c:formatCode>General</c:formatCode>
                <c:ptCount val="120"/>
                <c:pt idx="0">
                  <c:v>0.3076923076923077</c:v>
                </c:pt>
                <c:pt idx="1">
                  <c:v>0.34782608695652173</c:v>
                </c:pt>
                <c:pt idx="2">
                  <c:v>0.3157894736842105</c:v>
                </c:pt>
                <c:pt idx="3">
                  <c:v>0.2777777777777778</c:v>
                </c:pt>
                <c:pt idx="4">
                  <c:v>0.35294117647058826</c:v>
                </c:pt>
                <c:pt idx="5">
                  <c:v>0.2857142857142857</c:v>
                </c:pt>
                <c:pt idx="6">
                  <c:v>0.2</c:v>
                </c:pt>
                <c:pt idx="7">
                  <c:v>0.3076923076923077</c:v>
                </c:pt>
                <c:pt idx="8">
                  <c:v>0.3333333333333333</c:v>
                </c:pt>
                <c:pt idx="9">
                  <c:v>0.3181818181818182</c:v>
                </c:pt>
                <c:pt idx="10">
                  <c:v>0.23809523809523808</c:v>
                </c:pt>
                <c:pt idx="11">
                  <c:v>0.3076923076923077</c:v>
                </c:pt>
                <c:pt idx="12">
                  <c:v>0.42105263157894735</c:v>
                </c:pt>
                <c:pt idx="13">
                  <c:v>0.4375</c:v>
                </c:pt>
                <c:pt idx="14">
                  <c:v>0.3333333333333333</c:v>
                </c:pt>
                <c:pt idx="15">
                  <c:v>0.5454545454545454</c:v>
                </c:pt>
                <c:pt idx="16">
                  <c:v>0.4</c:v>
                </c:pt>
                <c:pt idx="17">
                  <c:v>0.3076923076923077</c:v>
                </c:pt>
                <c:pt idx="18">
                  <c:v>0.2727272727272727</c:v>
                </c:pt>
                <c:pt idx="19">
                  <c:v>0.16666666666666666</c:v>
                </c:pt>
                <c:pt idx="20">
                  <c:v>0.2857142857142857</c:v>
                </c:pt>
                <c:pt idx="21">
                  <c:v>0.375</c:v>
                </c:pt>
                <c:pt idx="22">
                  <c:v>0.125</c:v>
                </c:pt>
                <c:pt idx="23">
                  <c:v>0.3333333333333333</c:v>
                </c:pt>
                <c:pt idx="24">
                  <c:v>0.3333333333333333</c:v>
                </c:pt>
                <c:pt idx="25">
                  <c:v>0.4</c:v>
                </c:pt>
                <c:pt idx="26">
                  <c:v>0.4444444444444444</c:v>
                </c:pt>
                <c:pt idx="27">
                  <c:v>0.375</c:v>
                </c:pt>
                <c:pt idx="28">
                  <c:v>0.25</c:v>
                </c:pt>
                <c:pt idx="29">
                  <c:v>0.4444444444444444</c:v>
                </c:pt>
                <c:pt idx="30">
                  <c:v>0.42857142857142855</c:v>
                </c:pt>
                <c:pt idx="31">
                  <c:v>0.4444444444444444</c:v>
                </c:pt>
                <c:pt idx="32">
                  <c:v>0.45454545454545453</c:v>
                </c:pt>
                <c:pt idx="33">
                  <c:v>0.45454545454545453</c:v>
                </c:pt>
                <c:pt idx="34">
                  <c:v>0.42857142857142855</c:v>
                </c:pt>
                <c:pt idx="35">
                  <c:v>0.4375</c:v>
                </c:pt>
                <c:pt idx="36">
                  <c:v>0.4444444444444444</c:v>
                </c:pt>
                <c:pt idx="37">
                  <c:v>0.3333333333333333</c:v>
                </c:pt>
                <c:pt idx="38">
                  <c:v>0.2222222222222222</c:v>
                </c:pt>
                <c:pt idx="39">
                  <c:v>0.1</c:v>
                </c:pt>
                <c:pt idx="40">
                  <c:v>0.058823529411764705</c:v>
                </c:pt>
                <c:pt idx="41">
                  <c:v>0.18181818181818182</c:v>
                </c:pt>
                <c:pt idx="42">
                  <c:v>0.19047619047619047</c:v>
                </c:pt>
                <c:pt idx="43">
                  <c:v>0.17857142857142858</c:v>
                </c:pt>
                <c:pt idx="44">
                  <c:v>0.18518518518518517</c:v>
                </c:pt>
                <c:pt idx="45">
                  <c:v>0.25</c:v>
                </c:pt>
                <c:pt idx="46">
                  <c:v>0.35294117647058826</c:v>
                </c:pt>
                <c:pt idx="47">
                  <c:v>0.2692307692307692</c:v>
                </c:pt>
                <c:pt idx="48">
                  <c:v>0.45652173913043476</c:v>
                </c:pt>
                <c:pt idx="49">
                  <c:v>0.25</c:v>
                </c:pt>
                <c:pt idx="50">
                  <c:v>0.3</c:v>
                </c:pt>
                <c:pt idx="51">
                  <c:v>0.3</c:v>
                </c:pt>
                <c:pt idx="52">
                  <c:v>0.3076923076923077</c:v>
                </c:pt>
                <c:pt idx="53">
                  <c:v>0.25</c:v>
                </c:pt>
                <c:pt idx="54">
                  <c:v>0.26666666666666666</c:v>
                </c:pt>
                <c:pt idx="55">
                  <c:v>0.1875</c:v>
                </c:pt>
                <c:pt idx="56">
                  <c:v>0.1</c:v>
                </c:pt>
                <c:pt idx="57">
                  <c:v>0.08823529411764706</c:v>
                </c:pt>
                <c:pt idx="58">
                  <c:v>0.12</c:v>
                </c:pt>
                <c:pt idx="59">
                  <c:v>0.20512820512820512</c:v>
                </c:pt>
                <c:pt idx="60">
                  <c:v>0.19047619047619047</c:v>
                </c:pt>
                <c:pt idx="61">
                  <c:v>0.11538461538461539</c:v>
                </c:pt>
                <c:pt idx="62">
                  <c:v>0.21739130434782608</c:v>
                </c:pt>
                <c:pt idx="63">
                  <c:v>0.30434782608695654</c:v>
                </c:pt>
                <c:pt idx="64">
                  <c:v>0.2</c:v>
                </c:pt>
                <c:pt idx="65">
                  <c:v>0.35</c:v>
                </c:pt>
                <c:pt idx="66">
                  <c:v>0.2608695652173913</c:v>
                </c:pt>
                <c:pt idx="67">
                  <c:v>0.2857142857142857</c:v>
                </c:pt>
                <c:pt idx="68">
                  <c:v>0.36363636363636365</c:v>
                </c:pt>
                <c:pt idx="69">
                  <c:v>0.36363636363636365</c:v>
                </c:pt>
                <c:pt idx="70">
                  <c:v>0.3333333333333333</c:v>
                </c:pt>
                <c:pt idx="71">
                  <c:v>0.3333333333333333</c:v>
                </c:pt>
                <c:pt idx="72">
                  <c:v>0.3333333333333333</c:v>
                </c:pt>
                <c:pt idx="73">
                  <c:v>0.3333333333333333</c:v>
                </c:pt>
                <c:pt idx="74">
                  <c:v>0.2857142857142857</c:v>
                </c:pt>
                <c:pt idx="75">
                  <c:v>0.2857142857142857</c:v>
                </c:pt>
                <c:pt idx="76">
                  <c:v>0.3333333333333333</c:v>
                </c:pt>
                <c:pt idx="77">
                  <c:v>0.2</c:v>
                </c:pt>
                <c:pt idx="78">
                  <c:v>0.3333333333333333</c:v>
                </c:pt>
                <c:pt idx="79">
                  <c:v>0.0</c:v>
                </c:pt>
                <c:pt idx="80">
                  <c:v>0.375</c:v>
                </c:pt>
                <c:pt idx="81">
                  <c:v>0.16666666666666666</c:v>
                </c:pt>
                <c:pt idx="82">
                  <c:v>0.4</c:v>
                </c:pt>
                <c:pt idx="83">
                  <c:v>0.0</c:v>
                </c:pt>
                <c:pt idx="84">
                  <c:v>0.2</c:v>
                </c:pt>
                <c:pt idx="85">
                  <c:v>0.3333333333333333</c:v>
                </c:pt>
                <c:pt idx="86">
                  <c:v>0.6363636363636364</c:v>
                </c:pt>
                <c:pt idx="87">
                  <c:v>0.42857142857142855</c:v>
                </c:pt>
                <c:pt idx="88">
                  <c:v>0.2857142857142857</c:v>
                </c:pt>
                <c:pt idx="89">
                  <c:v>0.3333333333333333</c:v>
                </c:pt>
                <c:pt idx="90">
                  <c:v>0.2</c:v>
                </c:pt>
                <c:pt idx="91">
                  <c:v>0.2</c:v>
                </c:pt>
                <c:pt idx="92">
                  <c:v>0.25</c:v>
                </c:pt>
                <c:pt idx="93">
                  <c:v>0.2222222222222222</c:v>
                </c:pt>
                <c:pt idx="94">
                  <c:v>0.5</c:v>
                </c:pt>
                <c:pt idx="95">
                  <c:v>0.2631578947368421</c:v>
                </c:pt>
                <c:pt idx="96">
                  <c:v>0.42857142857142855</c:v>
                </c:pt>
                <c:pt idx="97">
                  <c:v>0.3181818181818182</c:v>
                </c:pt>
                <c:pt idx="98">
                  <c:v>0.35294117647058826</c:v>
                </c:pt>
                <c:pt idx="99">
                  <c:v>0.3333333333333333</c:v>
                </c:pt>
                <c:pt idx="100">
                  <c:v>0.45</c:v>
                </c:pt>
                <c:pt idx="101">
                  <c:v>0.4444444444444444</c:v>
                </c:pt>
                <c:pt idx="102">
                  <c:v>0.3333333333333333</c:v>
                </c:pt>
                <c:pt idx="103">
                  <c:v>0.3333333333333333</c:v>
                </c:pt>
                <c:pt idx="104">
                  <c:v>0.375</c:v>
                </c:pt>
                <c:pt idx="105">
                  <c:v>0.09090909090909091</c:v>
                </c:pt>
                <c:pt idx="106">
                  <c:v>0.25</c:v>
                </c:pt>
                <c:pt idx="107">
                  <c:v>0.2857142857142857</c:v>
                </c:pt>
                <c:pt idx="108">
                  <c:v>0.2</c:v>
                </c:pt>
                <c:pt idx="109">
                  <c:v>0.5</c:v>
                </c:pt>
                <c:pt idx="110">
                  <c:v>0.5</c:v>
                </c:pt>
                <c:pt idx="111">
                  <c:v>0.3333333333333333</c:v>
                </c:pt>
                <c:pt idx="112">
                  <c:v>0.2</c:v>
                </c:pt>
                <c:pt idx="113">
                  <c:v>0.3333333333333333</c:v>
                </c:pt>
                <c:pt idx="114">
                  <c:v>0.25</c:v>
                </c:pt>
                <c:pt idx="115">
                  <c:v>0.2222222222222222</c:v>
                </c:pt>
                <c:pt idx="116">
                  <c:v>0.1111111111111111</c:v>
                </c:pt>
                <c:pt idx="117">
                  <c:v>0.1111111111111111</c:v>
                </c:pt>
                <c:pt idx="118">
                  <c:v>0.4</c:v>
                </c:pt>
                <c:pt idx="119">
                  <c:v>0.2</c:v>
                </c:pt>
              </c:numCache>
            </c:numRef>
          </c:yVal>
          <c:smooth val="0"/>
          <c:extLst>
            <c:ext xmlns:c16="http://schemas.microsoft.com/office/drawing/2014/chart" uri="{C3380CC4-5D6E-409C-BE32-E72D297353CC}">
              <c16:uniqueId val="{00000000-096C-4121-9522-6AB7243CCAAE}"/>
            </c:ext>
          </c:extLst>
        </c:ser>
        <c:ser>
          <c:idx val="1"/>
          <c:order val="1"/>
          <c:tx>
            <c:strRef>
              <c:f>Sheet1!$B$12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4:$A$159</c:f>
              <c:numCache>
                <c:formatCode>General</c:formatCode>
                <c:ptCount val="36"/>
                <c:pt idx="0">
                  <c:v>0.3538784067085954</c:v>
                </c:pt>
                <c:pt idx="1">
                  <c:v>0.29741003027245205</c:v>
                </c:pt>
                <c:pt idx="2">
                  <c:v>0.4248082742180037</c:v>
                </c:pt>
                <c:pt idx="3">
                  <c:v>0.14876410682840932</c:v>
                </c:pt>
                <c:pt idx="4">
                  <c:v>0.4329111010853224</c:v>
                </c:pt>
                <c:pt idx="5">
                  <c:v>0.16896159022673155</c:v>
                </c:pt>
                <c:pt idx="6">
                  <c:v>0.1626625475737393</c:v>
                </c:pt>
                <c:pt idx="7">
                  <c:v>0.11681772406847936</c:v>
                </c:pt>
                <c:pt idx="8">
                  <c:v>0.29290206648697215</c:v>
                </c:pt>
                <c:pt idx="9">
                  <c:v>0.1760647737355812</c:v>
                </c:pt>
                <c:pt idx="10">
                  <c:v>0.36184011312217196</c:v>
                </c:pt>
                <c:pt idx="11">
                  <c:v>0.38671791586589793</c:v>
                </c:pt>
                <c:pt idx="12">
                  <c:v>0.23213624583487596</c:v>
                </c:pt>
                <c:pt idx="13">
                  <c:v>0.2992898207642881</c:v>
                </c:pt>
                <c:pt idx="14">
                  <c:v>0.2857038169618304</c:v>
                </c:pt>
                <c:pt idx="15">
                  <c:v>0.14829685273928248</c:v>
                </c:pt>
                <c:pt idx="16">
                  <c:v>0.16800677105374523</c:v>
                </c:pt>
                <c:pt idx="17">
                  <c:v>0.24401776758847973</c:v>
                </c:pt>
                <c:pt idx="18">
                  <c:v>0.1833995490175024</c:v>
                </c:pt>
                <c:pt idx="19">
                  <c:v>0.3821985631538584</c:v>
                </c:pt>
                <c:pt idx="20">
                  <c:v>0.3981996561140892</c:v>
                </c:pt>
                <c:pt idx="21">
                  <c:v>0.24273240369799692</c:v>
                </c:pt>
                <c:pt idx="22">
                  <c:v>0.19059948217486555</c:v>
                </c:pt>
                <c:pt idx="23">
                  <c:v>0.2726155771096023</c:v>
                </c:pt>
                <c:pt idx="24">
                  <c:v>0.1735806632939854</c:v>
                </c:pt>
                <c:pt idx="25">
                  <c:v>0.13939256572982775</c:v>
                </c:pt>
                <c:pt idx="26">
                  <c:v>0.16283385378842896</c:v>
                </c:pt>
                <c:pt idx="27">
                  <c:v>0.2962823118330343</c:v>
                </c:pt>
                <c:pt idx="28">
                  <c:v>0.312259835315645</c:v>
                </c:pt>
                <c:pt idx="29">
                  <c:v>0.23996453607858673</c:v>
                </c:pt>
                <c:pt idx="30">
                  <c:v>0.15430589125625802</c:v>
                </c:pt>
                <c:pt idx="31">
                  <c:v>0.1098987774418299</c:v>
                </c:pt>
                <c:pt idx="32">
                  <c:v>0.14943812956945574</c:v>
                </c:pt>
                <c:pt idx="33">
                  <c:v>0.28974216286403265</c:v>
                </c:pt>
                <c:pt idx="34">
                  <c:v>0.25366777094178894</c:v>
                </c:pt>
                <c:pt idx="35">
                  <c:v>0.15034182346179442</c:v>
                </c:pt>
              </c:numCache>
            </c:numRef>
          </c:xVal>
          <c:yVal>
            <c:numRef>
              <c:f>Sheet1!$B$124:$B$159</c:f>
              <c:numCache>
                <c:formatCode>General</c:formatCode>
                <c:ptCount val="36"/>
                <c:pt idx="0">
                  <c:v>0.23076923076923078</c:v>
                </c:pt>
                <c:pt idx="1">
                  <c:v>0.2727272727272727</c:v>
                </c:pt>
                <c:pt idx="2">
                  <c:v>0.2727272727272727</c:v>
                </c:pt>
                <c:pt idx="3">
                  <c:v>0.15789473684210525</c:v>
                </c:pt>
                <c:pt idx="4">
                  <c:v>0.15384615384615385</c:v>
                </c:pt>
                <c:pt idx="5">
                  <c:v>0.1</c:v>
                </c:pt>
                <c:pt idx="6">
                  <c:v>0.3333333333333333</c:v>
                </c:pt>
                <c:pt idx="7">
                  <c:v>0.16666666666666666</c:v>
                </c:pt>
                <c:pt idx="8">
                  <c:v>0.14285714285714285</c:v>
                </c:pt>
                <c:pt idx="9">
                  <c:v>0.2777777777777778</c:v>
                </c:pt>
                <c:pt idx="10">
                  <c:v>0.375</c:v>
                </c:pt>
                <c:pt idx="11">
                  <c:v>0.18181818181818182</c:v>
                </c:pt>
                <c:pt idx="12">
                  <c:v>0.2222222222222222</c:v>
                </c:pt>
                <c:pt idx="13">
                  <c:v>0.2727272727272727</c:v>
                </c:pt>
                <c:pt idx="14">
                  <c:v>0.3</c:v>
                </c:pt>
                <c:pt idx="15">
                  <c:v>0.3333333333333333</c:v>
                </c:pt>
                <c:pt idx="16">
                  <c:v>0.14285714285714285</c:v>
                </c:pt>
                <c:pt idx="17">
                  <c:v>0.125</c:v>
                </c:pt>
                <c:pt idx="18">
                  <c:v>0.2857142857142857</c:v>
                </c:pt>
                <c:pt idx="19">
                  <c:v>0.4</c:v>
                </c:pt>
                <c:pt idx="20">
                  <c:v>0.36363636363636365</c:v>
                </c:pt>
                <c:pt idx="21">
                  <c:v>0.42857142857142855</c:v>
                </c:pt>
                <c:pt idx="22">
                  <c:v>0.2857142857142857</c:v>
                </c:pt>
                <c:pt idx="23">
                  <c:v>0.2727272727272727</c:v>
                </c:pt>
                <c:pt idx="24">
                  <c:v>0.04878048780487805</c:v>
                </c:pt>
                <c:pt idx="25">
                  <c:v>0.12903225806451613</c:v>
                </c:pt>
                <c:pt idx="26">
                  <c:v>0.25</c:v>
                </c:pt>
                <c:pt idx="27">
                  <c:v>0.2</c:v>
                </c:pt>
                <c:pt idx="28">
                  <c:v>0.16666666666666666</c:v>
                </c:pt>
                <c:pt idx="29">
                  <c:v>0.23076923076923078</c:v>
                </c:pt>
                <c:pt idx="30">
                  <c:v>0.2727272727272727</c:v>
                </c:pt>
                <c:pt idx="31">
                  <c:v>0.375</c:v>
                </c:pt>
                <c:pt idx="32">
                  <c:v>0.23076923076923078</c:v>
                </c:pt>
                <c:pt idx="33">
                  <c:v>0.25</c:v>
                </c:pt>
                <c:pt idx="34">
                  <c:v>0.2631578947368421</c:v>
                </c:pt>
                <c:pt idx="35">
                  <c:v>0.2</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289475559308034</c:v>
                </c:pt>
              </c:numCache>
            </c:numRef>
          </c:xVal>
          <c:yVal>
            <c:numRef>
              <c:f>Sheet1!$B$162:$B$163</c:f>
              <c:numCache>
                <c:formatCode>General</c:formatCode>
                <c:ptCount val="2"/>
                <c:pt idx="0">
                  <c:v>0.37397186147186146</c:v>
                </c:pt>
                <c:pt idx="1">
                  <c:v>0.37397186147186146</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289475559308034</c:v>
                </c:pt>
                <c:pt idx="1">
                  <c:v>1.0289475559308034</c:v>
                </c:pt>
              </c:numCache>
            </c:numRef>
          </c:xVal>
          <c:yVal>
            <c:numRef>
              <c:f>Sheet1!$B$166:$B$167</c:f>
              <c:numCache>
                <c:formatCode>General</c:formatCode>
                <c:ptCount val="2"/>
                <c:pt idx="0">
                  <c:v>0.373971861471861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40971839425949386</c:v>
                </c:pt>
              </c:numCache>
            </c:numRef>
          </c:xVal>
          <c:yVal>
            <c:numRef>
              <c:f>Sheet1!$B$170:$B$171</c:f>
              <c:numCache>
                <c:formatCode>General</c:formatCode>
                <c:ptCount val="2"/>
                <c:pt idx="0">
                  <c:v>0.26985514485514484</c:v>
                </c:pt>
                <c:pt idx="1">
                  <c:v>0.26985514485514484</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40971839425949386</c:v>
                </c:pt>
                <c:pt idx="1">
                  <c:v>0.40971839425949386</c:v>
                </c:pt>
              </c:numCache>
            </c:numRef>
          </c:xVal>
          <c:yVal>
            <c:numRef>
              <c:f>Sheet1!$B$174:$B$175</c:f>
              <c:numCache>
                <c:formatCode>General</c:formatCode>
                <c:ptCount val="2"/>
                <c:pt idx="0">
                  <c:v>0.269855144855144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12676307850374555</c:v>
                </c:pt>
              </c:numCache>
            </c:numRef>
          </c:xVal>
          <c:yVal>
            <c:numRef>
              <c:f>Sheet1!$B$178:$B$179</c:f>
              <c:numCache>
                <c:formatCode>General</c:formatCode>
                <c:ptCount val="2"/>
                <c:pt idx="0">
                  <c:v>0.22227925494353154</c:v>
                </c:pt>
                <c:pt idx="1">
                  <c:v>0.2222792549435315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12676307850374555</c:v>
                </c:pt>
                <c:pt idx="1">
                  <c:v>0.12676307850374555</c:v>
                </c:pt>
              </c:numCache>
            </c:numRef>
          </c:xVal>
          <c:yVal>
            <c:numRef>
              <c:f>Sheet1!$B$182:$B$183</c:f>
              <c:numCache>
                <c:formatCode>General</c:formatCode>
                <c:ptCount val="2"/>
                <c:pt idx="0">
                  <c:v>0.222279254943531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24</c:f>
              <c:numCache>
                <c:formatCode>General</c:formatCode>
                <c:ptCount val="39"/>
                <c:pt idx="0">
                  <c:v>0.3538784067085954</c:v>
                </c:pt>
                <c:pt idx="1">
                  <c:v>0.29741003027245205</c:v>
                </c:pt>
                <c:pt idx="2">
                  <c:v>0.4248082742180037</c:v>
                </c:pt>
                <c:pt idx="3">
                  <c:v>0.14876410682840932</c:v>
                </c:pt>
                <c:pt idx="4">
                  <c:v>0.4329111010853224</c:v>
                </c:pt>
                <c:pt idx="5">
                  <c:v>0.16896159022673155</c:v>
                </c:pt>
                <c:pt idx="6">
                  <c:v>0.1626625475737393</c:v>
                </c:pt>
                <c:pt idx="7">
                  <c:v>0.11681772406847936</c:v>
                </c:pt>
                <c:pt idx="8">
                  <c:v>0.29290206648697215</c:v>
                </c:pt>
                <c:pt idx="9">
                  <c:v>0.1760647737355812</c:v>
                </c:pt>
                <c:pt idx="10">
                  <c:v>0.36184011312217196</c:v>
                </c:pt>
                <c:pt idx="11">
                  <c:v>0.38671791586589793</c:v>
                </c:pt>
                <c:pt idx="12">
                  <c:v>0.23213624583487596</c:v>
                </c:pt>
                <c:pt idx="13">
                  <c:v>0.2992898207642881</c:v>
                </c:pt>
                <c:pt idx="14">
                  <c:v>0.2857038169618304</c:v>
                </c:pt>
                <c:pt idx="15">
                  <c:v>0.14829685273928248</c:v>
                </c:pt>
                <c:pt idx="16">
                  <c:v>0.16800677105374523</c:v>
                </c:pt>
                <c:pt idx="17">
                  <c:v>0.24401776758847973</c:v>
                </c:pt>
                <c:pt idx="18">
                  <c:v>0.1833995490175024</c:v>
                </c:pt>
                <c:pt idx="19">
                  <c:v>0.3821985631538584</c:v>
                </c:pt>
                <c:pt idx="20">
                  <c:v>0.3981996561140892</c:v>
                </c:pt>
                <c:pt idx="21">
                  <c:v>0.24273240369799692</c:v>
                </c:pt>
                <c:pt idx="22">
                  <c:v>0.19059948217486555</c:v>
                </c:pt>
                <c:pt idx="23">
                  <c:v>0.2726155771096023</c:v>
                </c:pt>
                <c:pt idx="24">
                  <c:v>0.1735806632939854</c:v>
                </c:pt>
                <c:pt idx="25">
                  <c:v>0.13939256572982775</c:v>
                </c:pt>
                <c:pt idx="26">
                  <c:v>0.16283385378842896</c:v>
                </c:pt>
                <c:pt idx="27">
                  <c:v>0.2962823118330343</c:v>
                </c:pt>
                <c:pt idx="28">
                  <c:v>0.312259835315645</c:v>
                </c:pt>
                <c:pt idx="29">
                  <c:v>0.23996453607858673</c:v>
                </c:pt>
                <c:pt idx="30">
                  <c:v>0.15430589125625802</c:v>
                </c:pt>
                <c:pt idx="31">
                  <c:v>0.1098987774418299</c:v>
                </c:pt>
                <c:pt idx="32">
                  <c:v>0.14943812956945574</c:v>
                </c:pt>
                <c:pt idx="33">
                  <c:v>0.28974216286403265</c:v>
                </c:pt>
                <c:pt idx="34">
                  <c:v>0.25366777094178894</c:v>
                </c:pt>
                <c:pt idx="35">
                  <c:v>0.15034182346179442</c:v>
                </c:pt>
                <c:pt idx="36">
                  <c:v>0.40971839425949386</c:v>
                </c:pt>
                <c:pt idx="37">
                  <c:v>1.0289475559308034</c:v>
                </c:pt>
                <c:pt idx="38">
                  <c:v>0.12676307850374555</c:v>
                </c:pt>
              </c:numCache>
            </c:numRef>
          </c:xVal>
          <c:yVal>
            <c:numRef>
              <c:f>Sheet1!$B$186:$B$224</c:f>
              <c:numCache>
                <c:formatCode>General</c:formatCode>
                <c:ptCount val="39"/>
                <c:pt idx="0">
                  <c:v>0.26046625214856406</c:v>
                </c:pt>
                <c:pt idx="1">
                  <c:v>0.2509717026164657</c:v>
                </c:pt>
                <c:pt idx="2">
                  <c:v>0.2723923457052792</c:v>
                </c:pt>
                <c:pt idx="3">
                  <c:v>0.22597849098269482</c:v>
                </c:pt>
                <c:pt idx="4">
                  <c:v>0.27375474880409634</c:v>
                </c:pt>
                <c:pt idx="5">
                  <c:v>0.22937448036032393</c:v>
                </c:pt>
                <c:pt idx="6">
                  <c:v>0.2283153641567393</c:v>
                </c:pt>
                <c:pt idx="7">
                  <c:v>0.22060705067170003</c:v>
                </c:pt>
                <c:pt idx="8">
                  <c:v>0.25021373704083866</c:v>
                </c:pt>
                <c:pt idx="9">
                  <c:v>0.23056880419105463</c:v>
                </c:pt>
                <c:pt idx="10">
                  <c:v>0.26180492736245503</c:v>
                </c:pt>
                <c:pt idx="11">
                  <c:v>0.2659878620474497</c:v>
                </c:pt>
                <c:pt idx="12">
                  <c:v>0.23999661853217452</c:v>
                </c:pt>
                <c:pt idx="13">
                  <c:v>0.2512877691489414</c:v>
                </c:pt>
                <c:pt idx="14">
                  <c:v>0.24900342888299482</c:v>
                </c:pt>
                <c:pt idx="15">
                  <c:v>0.2258999272382899</c:v>
                </c:pt>
                <c:pt idx="16">
                  <c:v>0.2292139377964277</c:v>
                </c:pt>
                <c:pt idx="17">
                  <c:v>0.241994368492878</c:v>
                </c:pt>
                <c:pt idx="18">
                  <c:v>0.23180206768499914</c:v>
                </c:pt>
                <c:pt idx="19">
                  <c:v>0.26522798154644034</c:v>
                </c:pt>
                <c:pt idx="20">
                  <c:v>0.2679183930522576</c:v>
                </c:pt>
                <c:pt idx="21">
                  <c:v>0.2417782483935378</c:v>
                </c:pt>
                <c:pt idx="22">
                  <c:v>0.23301265892747425</c:v>
                </c:pt>
                <c:pt idx="23">
                  <c:v>0.24680278226611377</c:v>
                </c:pt>
                <c:pt idx="24">
                  <c:v>0.2301511277654254</c:v>
                </c:pt>
                <c:pt idx="25">
                  <c:v>0.22440276724547709</c:v>
                </c:pt>
                <c:pt idx="26">
                  <c:v>0.22834416745237449</c:v>
                </c:pt>
                <c:pt idx="27">
                  <c:v>0.2507820889024355</c:v>
                </c:pt>
                <c:pt idx="28">
                  <c:v>0.2534685374543513</c:v>
                </c:pt>
                <c:pt idx="29">
                  <c:v>0.24131286125352502</c:v>
                </c:pt>
                <c:pt idx="30">
                  <c:v>0.226910282368727</c:v>
                </c:pt>
                <c:pt idx="31">
                  <c:v>0.2194437042891286</c:v>
                </c:pt>
                <c:pt idx="32">
                  <c:v>0.2260918206497495</c:v>
                </c:pt>
                <c:pt idx="33">
                  <c:v>0.2496824332676802</c:v>
                </c:pt>
                <c:pt idx="34">
                  <c:v>0.24361691266016994</c:v>
                </c:pt>
                <c:pt idx="35">
                  <c:v>0.22624376704814414</c:v>
                </c:pt>
                <c:pt idx="36">
                  <c:v>0.26985514485514484</c:v>
                </c:pt>
                <c:pt idx="37">
                  <c:v>0.37397186147186146</c:v>
                </c:pt>
                <c:pt idx="38">
                  <c:v>0.222279254943531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3636363636363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881.0</c:v>
                </c:pt>
                <c:pt idx="1">
                  <c:v>1006.25</c:v>
                </c:pt>
                <c:pt idx="2">
                  <c:v>1255.1667</c:v>
                </c:pt>
                <c:pt idx="3">
                  <c:v>1253.2</c:v>
                </c:pt>
                <c:pt idx="4">
                  <c:v>1191.3333</c:v>
                </c:pt>
                <c:pt idx="5">
                  <c:v>1131.75</c:v>
                </c:pt>
                <c:pt idx="6">
                  <c:v>1242.75</c:v>
                </c:pt>
                <c:pt idx="7">
                  <c:v>1228.75</c:v>
                </c:pt>
                <c:pt idx="8">
                  <c:v>1086.5</c:v>
                </c:pt>
                <c:pt idx="9">
                  <c:v>1157.8571</c:v>
                </c:pt>
                <c:pt idx="10">
                  <c:v>1257.2</c:v>
                </c:pt>
                <c:pt idx="11">
                  <c:v>1309.0</c:v>
                </c:pt>
                <c:pt idx="12">
                  <c:v>1172.875</c:v>
                </c:pt>
                <c:pt idx="13">
                  <c:v>1115.4286</c:v>
                </c:pt>
                <c:pt idx="14">
                  <c:v>1120.6</c:v>
                </c:pt>
                <c:pt idx="15">
                  <c:v>1233.8333</c:v>
                </c:pt>
                <c:pt idx="16">
                  <c:v>1199.5</c:v>
                </c:pt>
                <c:pt idx="17">
                  <c:v>1201.75</c:v>
                </c:pt>
                <c:pt idx="18">
                  <c:v>1478.6667</c:v>
                </c:pt>
                <c:pt idx="19">
                  <c:v>1250.0</c:v>
                </c:pt>
                <c:pt idx="20">
                  <c:v>1375.0</c:v>
                </c:pt>
                <c:pt idx="21">
                  <c:v>1486.3333</c:v>
                </c:pt>
                <c:pt idx="22">
                  <c:v>1764.0</c:v>
                </c:pt>
                <c:pt idx="23">
                  <c:v>1250.0</c:v>
                </c:pt>
                <c:pt idx="24">
                  <c:v>1589.3333</c:v>
                </c:pt>
                <c:pt idx="25">
                  <c:v>1104.5</c:v>
                </c:pt>
                <c:pt idx="26">
                  <c:v>1312.5</c:v>
                </c:pt>
                <c:pt idx="27">
                  <c:v>1241.5</c:v>
                </c:pt>
                <c:pt idx="28">
                  <c:v>1444.5</c:v>
                </c:pt>
                <c:pt idx="29">
                  <c:v>1210.0</c:v>
                </c:pt>
                <c:pt idx="30">
                  <c:v>1066.0</c:v>
                </c:pt>
                <c:pt idx="31">
                  <c:v>1200.0</c:v>
                </c:pt>
                <c:pt idx="32">
                  <c:v>1247.4</c:v>
                </c:pt>
                <c:pt idx="33">
                  <c:v>1163.1</c:v>
                </c:pt>
                <c:pt idx="34">
                  <c:v>1335.3333</c:v>
                </c:pt>
                <c:pt idx="35">
                  <c:v>1307.4286</c:v>
                </c:pt>
                <c:pt idx="36">
                  <c:v>1340.0</c:v>
                </c:pt>
                <c:pt idx="37">
                  <c:v>1241.6667</c:v>
                </c:pt>
                <c:pt idx="38">
                  <c:v>1375.0</c:v>
                </c:pt>
                <c:pt idx="39">
                  <c:v>1266.0</c:v>
                </c:pt>
                <c:pt idx="40">
                  <c:v>1963.0</c:v>
                </c:pt>
                <c:pt idx="41">
                  <c:v>1529.0</c:v>
                </c:pt>
                <c:pt idx="42">
                  <c:v>1768.0</c:v>
                </c:pt>
                <c:pt idx="43">
                  <c:v>1532.0</c:v>
                </c:pt>
                <c:pt idx="44">
                  <c:v>1455.6</c:v>
                </c:pt>
                <c:pt idx="45">
                  <c:v>1406.5</c:v>
                </c:pt>
                <c:pt idx="46">
                  <c:v>1414.8333</c:v>
                </c:pt>
                <c:pt idx="47">
                  <c:v>1518.2857</c:v>
                </c:pt>
                <c:pt idx="48">
                  <c:v>1509.4286</c:v>
                </c:pt>
                <c:pt idx="49">
                  <c:v>1461.25</c:v>
                </c:pt>
                <c:pt idx="50">
                  <c:v>1658.0</c:v>
                </c:pt>
                <c:pt idx="51">
                  <c:v>1524.0</c:v>
                </c:pt>
                <c:pt idx="52">
                  <c:v>1775.25</c:v>
                </c:pt>
                <c:pt idx="53">
                  <c:v>1519.3333</c:v>
                </c:pt>
                <c:pt idx="54">
                  <c:v>1284.75</c:v>
                </c:pt>
                <c:pt idx="55">
                  <c:v>1514.6667</c:v>
                </c:pt>
                <c:pt idx="56">
                  <c:v>1451.0</c:v>
                </c:pt>
                <c:pt idx="57">
                  <c:v>1380.6667</c:v>
                </c:pt>
                <c:pt idx="58">
                  <c:v>1518.3333</c:v>
                </c:pt>
                <c:pt idx="59">
                  <c:v>1493.25</c:v>
                </c:pt>
                <c:pt idx="60">
                  <c:v>1968.5</c:v>
                </c:pt>
                <c:pt idx="61">
                  <c:v>1765.3333</c:v>
                </c:pt>
                <c:pt idx="62">
                  <c:v>1423.0</c:v>
                </c:pt>
                <c:pt idx="63">
                  <c:v>1750.8571</c:v>
                </c:pt>
                <c:pt idx="64">
                  <c:v>1803.0</c:v>
                </c:pt>
                <c:pt idx="65">
                  <c:v>1407.7143</c:v>
                </c:pt>
                <c:pt idx="66">
                  <c:v>1338.1667</c:v>
                </c:pt>
                <c:pt idx="67">
                  <c:v>1603.75</c:v>
                </c:pt>
                <c:pt idx="68">
                  <c:v>1398.0</c:v>
                </c:pt>
                <c:pt idx="69">
                  <c:v>1392.0</c:v>
                </c:pt>
                <c:pt idx="70">
                  <c:v>1276.3333</c:v>
                </c:pt>
                <c:pt idx="71">
                  <c:v>1176.3333</c:v>
                </c:pt>
                <c:pt idx="72">
                  <c:v>1311.0</c:v>
                </c:pt>
                <c:pt idx="73">
                  <c:v>1453.6667</c:v>
                </c:pt>
                <c:pt idx="74">
                  <c:v>1202.0</c:v>
                </c:pt>
                <c:pt idx="75">
                  <c:v>1456.5</c:v>
                </c:pt>
                <c:pt idx="76">
                  <c:v>1470.5</c:v>
                </c:pt>
                <c:pt idx="77">
                  <c:v>1447.0</c:v>
                </c:pt>
                <c:pt idx="78">
                  <c:v>1787.0</c:v>
                </c:pt>
                <c:pt idx="79">
                  <c:v>0.0</c:v>
                </c:pt>
                <c:pt idx="80">
                  <c:v>1297.6667</c:v>
                </c:pt>
                <c:pt idx="81">
                  <c:v>1402.0</c:v>
                </c:pt>
                <c:pt idx="82">
                  <c:v>1019.0</c:v>
                </c:pt>
                <c:pt idx="83">
                  <c:v>0.0</c:v>
                </c:pt>
                <c:pt idx="84">
                  <c:v>2102.0</c:v>
                </c:pt>
                <c:pt idx="85">
                  <c:v>1754.3333</c:v>
                </c:pt>
                <c:pt idx="86">
                  <c:v>1331.0</c:v>
                </c:pt>
                <c:pt idx="87">
                  <c:v>1503.6667</c:v>
                </c:pt>
                <c:pt idx="88">
                  <c:v>1539.0</c:v>
                </c:pt>
                <c:pt idx="89">
                  <c:v>1130.3333</c:v>
                </c:pt>
                <c:pt idx="90">
                  <c:v>1780.5</c:v>
                </c:pt>
                <c:pt idx="91">
                  <c:v>2002.0</c:v>
                </c:pt>
                <c:pt idx="92">
                  <c:v>2066.0</c:v>
                </c:pt>
                <c:pt idx="93">
                  <c:v>1344.0</c:v>
                </c:pt>
                <c:pt idx="94">
                  <c:v>1243.75</c:v>
                </c:pt>
                <c:pt idx="95">
                  <c:v>1386.8</c:v>
                </c:pt>
                <c:pt idx="96">
                  <c:v>1102.6667</c:v>
                </c:pt>
                <c:pt idx="97">
                  <c:v>1542.1429</c:v>
                </c:pt>
                <c:pt idx="98">
                  <c:v>1389.3333</c:v>
                </c:pt>
                <c:pt idx="99">
                  <c:v>1663.6667</c:v>
                </c:pt>
                <c:pt idx="100">
                  <c:v>1015.1111</c:v>
                </c:pt>
                <c:pt idx="101">
                  <c:v>1262.5</c:v>
                </c:pt>
                <c:pt idx="102">
                  <c:v>1960.3333</c:v>
                </c:pt>
                <c:pt idx="103">
                  <c:v>1255.0</c:v>
                </c:pt>
              </c:numCache>
            </c:numRef>
          </c:xVal>
          <c:yVal>
            <c:numRef>
              <c:f>Sheet1!$B$2:$B$105</c:f>
              <c:numCache>
                <c:formatCode>General</c:formatCode>
                <c:ptCount val="104"/>
                <c:pt idx="0">
                  <c:v>0.3076923076923077</c:v>
                </c:pt>
                <c:pt idx="1">
                  <c:v>0.34782608695652173</c:v>
                </c:pt>
                <c:pt idx="2">
                  <c:v>0.3157894736842105</c:v>
                </c:pt>
                <c:pt idx="3">
                  <c:v>0.2777777777777778</c:v>
                </c:pt>
                <c:pt idx="4">
                  <c:v>0.35294117647058826</c:v>
                </c:pt>
                <c:pt idx="5">
                  <c:v>0.2857142857142857</c:v>
                </c:pt>
                <c:pt idx="6">
                  <c:v>0.2</c:v>
                </c:pt>
                <c:pt idx="7">
                  <c:v>0.3076923076923077</c:v>
                </c:pt>
                <c:pt idx="8">
                  <c:v>0.3333333333333333</c:v>
                </c:pt>
                <c:pt idx="9">
                  <c:v>0.3181818181818182</c:v>
                </c:pt>
                <c:pt idx="10">
                  <c:v>0.23809523809523808</c:v>
                </c:pt>
                <c:pt idx="11">
                  <c:v>0.3076923076923077</c:v>
                </c:pt>
                <c:pt idx="12">
                  <c:v>0.42105263157894735</c:v>
                </c:pt>
                <c:pt idx="13">
                  <c:v>0.4375</c:v>
                </c:pt>
                <c:pt idx="14">
                  <c:v>0.3333333333333333</c:v>
                </c:pt>
                <c:pt idx="15">
                  <c:v>0.5454545454545454</c:v>
                </c:pt>
                <c:pt idx="16">
                  <c:v>0.4</c:v>
                </c:pt>
                <c:pt idx="17">
                  <c:v>0.3076923076923077</c:v>
                </c:pt>
                <c:pt idx="18">
                  <c:v>0.2727272727272727</c:v>
                </c:pt>
                <c:pt idx="19">
                  <c:v>0.16666666666666666</c:v>
                </c:pt>
                <c:pt idx="20">
                  <c:v>0.2857142857142857</c:v>
                </c:pt>
                <c:pt idx="21">
                  <c:v>0.375</c:v>
                </c:pt>
                <c:pt idx="22">
                  <c:v>0.125</c:v>
                </c:pt>
                <c:pt idx="23">
                  <c:v>0.3333333333333333</c:v>
                </c:pt>
                <c:pt idx="24">
                  <c:v>0.3333333333333333</c:v>
                </c:pt>
                <c:pt idx="25">
                  <c:v>0.4</c:v>
                </c:pt>
                <c:pt idx="26">
                  <c:v>0.4444444444444444</c:v>
                </c:pt>
                <c:pt idx="27">
                  <c:v>0.375</c:v>
                </c:pt>
                <c:pt idx="28">
                  <c:v>0.25</c:v>
                </c:pt>
                <c:pt idx="29">
                  <c:v>0.4444444444444444</c:v>
                </c:pt>
                <c:pt idx="30">
                  <c:v>0.42857142857142855</c:v>
                </c:pt>
                <c:pt idx="31">
                  <c:v>0.4444444444444444</c:v>
                </c:pt>
                <c:pt idx="32">
                  <c:v>0.45454545454545453</c:v>
                </c:pt>
                <c:pt idx="33">
                  <c:v>0.45454545454545453</c:v>
                </c:pt>
                <c:pt idx="34">
                  <c:v>0.42857142857142855</c:v>
                </c:pt>
                <c:pt idx="35">
                  <c:v>0.4375</c:v>
                </c:pt>
                <c:pt idx="36">
                  <c:v>0.4444444444444444</c:v>
                </c:pt>
                <c:pt idx="37">
                  <c:v>0.3333333333333333</c:v>
                </c:pt>
                <c:pt idx="38">
                  <c:v>0.2222222222222222</c:v>
                </c:pt>
                <c:pt idx="39">
                  <c:v>0.1</c:v>
                </c:pt>
                <c:pt idx="40">
                  <c:v>0.058823529411764705</c:v>
                </c:pt>
                <c:pt idx="41">
                  <c:v>0.18181818181818182</c:v>
                </c:pt>
                <c:pt idx="42">
                  <c:v>0.19047619047619047</c:v>
                </c:pt>
                <c:pt idx="43">
                  <c:v>0.17857142857142858</c:v>
                </c:pt>
                <c:pt idx="44">
                  <c:v>0.18518518518518517</c:v>
                </c:pt>
                <c:pt idx="45">
                  <c:v>0.25</c:v>
                </c:pt>
                <c:pt idx="46">
                  <c:v>0.35294117647058826</c:v>
                </c:pt>
                <c:pt idx="47">
                  <c:v>0.2692307692307692</c:v>
                </c:pt>
                <c:pt idx="48">
                  <c:v>0.45652173913043476</c:v>
                </c:pt>
                <c:pt idx="49">
                  <c:v>0.25</c:v>
                </c:pt>
                <c:pt idx="50">
                  <c:v>0.3</c:v>
                </c:pt>
                <c:pt idx="51">
                  <c:v>0.3</c:v>
                </c:pt>
                <c:pt idx="52">
                  <c:v>0.3076923076923077</c:v>
                </c:pt>
                <c:pt idx="53">
                  <c:v>0.25</c:v>
                </c:pt>
                <c:pt idx="54">
                  <c:v>0.26666666666666666</c:v>
                </c:pt>
                <c:pt idx="55">
                  <c:v>0.1875</c:v>
                </c:pt>
                <c:pt idx="56">
                  <c:v>0.1</c:v>
                </c:pt>
                <c:pt idx="57">
                  <c:v>0.08823529411764706</c:v>
                </c:pt>
                <c:pt idx="58">
                  <c:v>0.12</c:v>
                </c:pt>
                <c:pt idx="59">
                  <c:v>0.20512820512820512</c:v>
                </c:pt>
                <c:pt idx="60">
                  <c:v>0.19047619047619047</c:v>
                </c:pt>
                <c:pt idx="61">
                  <c:v>0.11538461538461539</c:v>
                </c:pt>
                <c:pt idx="62">
                  <c:v>0.21739130434782608</c:v>
                </c:pt>
                <c:pt idx="63">
                  <c:v>0.30434782608695654</c:v>
                </c:pt>
                <c:pt idx="64">
                  <c:v>0.2</c:v>
                </c:pt>
                <c:pt idx="65">
                  <c:v>0.35</c:v>
                </c:pt>
                <c:pt idx="66">
                  <c:v>0.2608695652173913</c:v>
                </c:pt>
                <c:pt idx="67">
                  <c:v>0.2857142857142857</c:v>
                </c:pt>
                <c:pt idx="68">
                  <c:v>0.36363636363636365</c:v>
                </c:pt>
                <c:pt idx="69">
                  <c:v>0.36363636363636365</c:v>
                </c:pt>
                <c:pt idx="70">
                  <c:v>0.3333333333333333</c:v>
                </c:pt>
                <c:pt idx="71">
                  <c:v>0.3333333333333333</c:v>
                </c:pt>
                <c:pt idx="72">
                  <c:v>0.3333333333333333</c:v>
                </c:pt>
                <c:pt idx="73">
                  <c:v>0.3333333333333333</c:v>
                </c:pt>
                <c:pt idx="74">
                  <c:v>0.2857142857142857</c:v>
                </c:pt>
                <c:pt idx="75">
                  <c:v>0.2857142857142857</c:v>
                </c:pt>
                <c:pt idx="76">
                  <c:v>0.3333333333333333</c:v>
                </c:pt>
                <c:pt idx="77">
                  <c:v>0.2</c:v>
                </c:pt>
                <c:pt idx="78">
                  <c:v>0.3333333333333333</c:v>
                </c:pt>
                <c:pt idx="79">
                  <c:v>0.0</c:v>
                </c:pt>
                <c:pt idx="80">
                  <c:v>0.375</c:v>
                </c:pt>
                <c:pt idx="81">
                  <c:v>0.16666666666666666</c:v>
                </c:pt>
                <c:pt idx="82">
                  <c:v>0.4</c:v>
                </c:pt>
                <c:pt idx="83">
                  <c:v>0.0</c:v>
                </c:pt>
                <c:pt idx="84">
                  <c:v>0.2</c:v>
                </c:pt>
                <c:pt idx="85">
                  <c:v>0.3333333333333333</c:v>
                </c:pt>
                <c:pt idx="86">
                  <c:v>0.6363636363636364</c:v>
                </c:pt>
                <c:pt idx="87">
                  <c:v>0.42857142857142855</c:v>
                </c:pt>
                <c:pt idx="88">
                  <c:v>0.2857142857142857</c:v>
                </c:pt>
                <c:pt idx="89">
                  <c:v>0.3333333333333333</c:v>
                </c:pt>
                <c:pt idx="90">
                  <c:v>0.2</c:v>
                </c:pt>
                <c:pt idx="91">
                  <c:v>0.2</c:v>
                </c:pt>
                <c:pt idx="92">
                  <c:v>0.25</c:v>
                </c:pt>
                <c:pt idx="93">
                  <c:v>0.2222222222222222</c:v>
                </c:pt>
                <c:pt idx="94">
                  <c:v>0.5</c:v>
                </c:pt>
                <c:pt idx="95">
                  <c:v>0.2631578947368421</c:v>
                </c:pt>
                <c:pt idx="96">
                  <c:v>0.42857142857142855</c:v>
                </c:pt>
                <c:pt idx="97">
                  <c:v>0.3181818181818182</c:v>
                </c:pt>
                <c:pt idx="98">
                  <c:v>0.35294117647058826</c:v>
                </c:pt>
                <c:pt idx="99">
                  <c:v>0.3333333333333333</c:v>
                </c:pt>
                <c:pt idx="100">
                  <c:v>0.45</c:v>
                </c:pt>
                <c:pt idx="101">
                  <c:v>0.4444444444444444</c:v>
                </c:pt>
                <c:pt idx="102">
                  <c:v>0.3333333333333333</c:v>
                </c:pt>
                <c:pt idx="103">
                  <c:v>0.3333333333333333</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8.0</c:v>
                </c:pt>
                <c:pt idx="1">
                  <c:v>1473.6667</c:v>
                </c:pt>
                <c:pt idx="2">
                  <c:v>1698.6667</c:v>
                </c:pt>
                <c:pt idx="3">
                  <c:v>1274.1667</c:v>
                </c:pt>
                <c:pt idx="4">
                  <c:v>1520.6667</c:v>
                </c:pt>
                <c:pt idx="5">
                  <c:v>1902.5</c:v>
                </c:pt>
                <c:pt idx="6">
                  <c:v>1632.0</c:v>
                </c:pt>
                <c:pt idx="7">
                  <c:v>1857.0</c:v>
                </c:pt>
                <c:pt idx="8">
                  <c:v>1367.6667</c:v>
                </c:pt>
                <c:pt idx="9">
                  <c:v>928.0</c:v>
                </c:pt>
                <c:pt idx="10">
                  <c:v>1956.0</c:v>
                </c:pt>
                <c:pt idx="11">
                  <c:v>1587.4</c:v>
                </c:pt>
                <c:pt idx="12">
                  <c:v>1599.3333</c:v>
                </c:pt>
                <c:pt idx="13">
                  <c:v>1397.6667</c:v>
                </c:pt>
                <c:pt idx="14">
                  <c:v>1811.0</c:v>
                </c:pt>
                <c:pt idx="15">
                  <c:v>1881.0</c:v>
                </c:pt>
                <c:pt idx="16">
                  <c:v>1770.0</c:v>
                </c:pt>
                <c:pt idx="17">
                  <c:v>1298.6667</c:v>
                </c:pt>
                <c:pt idx="18">
                  <c:v>1145.0</c:v>
                </c:pt>
                <c:pt idx="19">
                  <c:v>1512.5</c:v>
                </c:pt>
                <c:pt idx="20">
                  <c:v>2673.0</c:v>
                </c:pt>
                <c:pt idx="21">
                  <c:v>1162.0</c:v>
                </c:pt>
                <c:pt idx="22">
                  <c:v>1370.0</c:v>
                </c:pt>
                <c:pt idx="23">
                  <c:v>1660.0</c:v>
                </c:pt>
                <c:pt idx="24">
                  <c:v>1985.0</c:v>
                </c:pt>
                <c:pt idx="25">
                  <c:v>1095.0</c:v>
                </c:pt>
                <c:pt idx="26">
                  <c:v>1191.0</c:v>
                </c:pt>
                <c:pt idx="27">
                  <c:v>1703.0</c:v>
                </c:pt>
                <c:pt idx="28">
                  <c:v>1541.0</c:v>
                </c:pt>
                <c:pt idx="29">
                  <c:v>1327.0</c:v>
                </c:pt>
                <c:pt idx="30">
                  <c:v>1819.0</c:v>
                </c:pt>
                <c:pt idx="31">
                  <c:v>2519.0</c:v>
                </c:pt>
                <c:pt idx="32">
                  <c:v>1708.0</c:v>
                </c:pt>
                <c:pt idx="33">
                  <c:v>1595.75</c:v>
                </c:pt>
                <c:pt idx="34">
                  <c:v>1699.0</c:v>
                </c:pt>
                <c:pt idx="35">
                  <c:v>1968.5</c:v>
                </c:pt>
                <c:pt idx="36">
                  <c:v>1575.3333</c:v>
                </c:pt>
                <c:pt idx="37">
                  <c:v>2069.0</c:v>
                </c:pt>
                <c:pt idx="38">
                  <c:v>1914.0</c:v>
                </c:pt>
                <c:pt idx="39">
                  <c:v>1405.3333</c:v>
                </c:pt>
                <c:pt idx="40">
                  <c:v>1544.0</c:v>
                </c:pt>
                <c:pt idx="41">
                  <c:v>1537.5</c:v>
                </c:pt>
                <c:pt idx="42">
                  <c:v>1345.3333</c:v>
                </c:pt>
                <c:pt idx="43">
                  <c:v>1568.6667</c:v>
                </c:pt>
                <c:pt idx="44">
                  <c:v>1706.5</c:v>
                </c:pt>
                <c:pt idx="45">
                  <c:v>1624.0</c:v>
                </c:pt>
                <c:pt idx="46">
                  <c:v>1325.3333</c:v>
                </c:pt>
                <c:pt idx="47">
                  <c:v>1672.0</c:v>
                </c:pt>
                <c:pt idx="48">
                  <c:v>1471.6667</c:v>
                </c:pt>
                <c:pt idx="49">
                  <c:v>1562.0</c:v>
                </c:pt>
                <c:pt idx="50">
                  <c:v>1500.8</c:v>
                </c:pt>
                <c:pt idx="51">
                  <c:v>1242.5</c:v>
                </c:pt>
              </c:numCache>
            </c:numRef>
          </c:xVal>
          <c:yVal>
            <c:numRef>
              <c:f>Sheet1!$B$108:$B$159</c:f>
              <c:numCache>
                <c:formatCode>General</c:formatCode>
                <c:ptCount val="52"/>
                <c:pt idx="0">
                  <c:v>0.23076923076923078</c:v>
                </c:pt>
                <c:pt idx="1">
                  <c:v>0.2727272727272727</c:v>
                </c:pt>
                <c:pt idx="2">
                  <c:v>0.2727272727272727</c:v>
                </c:pt>
                <c:pt idx="3">
                  <c:v>0.375</c:v>
                </c:pt>
                <c:pt idx="4">
                  <c:v>0.15789473684210525</c:v>
                </c:pt>
                <c:pt idx="5">
                  <c:v>0.15384615384615385</c:v>
                </c:pt>
                <c:pt idx="6">
                  <c:v>0.1</c:v>
                </c:pt>
                <c:pt idx="7">
                  <c:v>0.09090909090909091</c:v>
                </c:pt>
                <c:pt idx="8">
                  <c:v>0.3333333333333333</c:v>
                </c:pt>
                <c:pt idx="9">
                  <c:v>0.16666666666666666</c:v>
                </c:pt>
                <c:pt idx="10">
                  <c:v>0.14285714285714285</c:v>
                </c:pt>
                <c:pt idx="11">
                  <c:v>0.2777777777777778</c:v>
                </c:pt>
                <c:pt idx="12">
                  <c:v>0.375</c:v>
                </c:pt>
                <c:pt idx="13">
                  <c:v>0.25</c:v>
                </c:pt>
                <c:pt idx="14">
                  <c:v>0.18181818181818182</c:v>
                </c:pt>
                <c:pt idx="15">
                  <c:v>0.2222222222222222</c:v>
                </c:pt>
                <c:pt idx="16">
                  <c:v>0.2727272727272727</c:v>
                </c:pt>
                <c:pt idx="17">
                  <c:v>0.3</c:v>
                </c:pt>
                <c:pt idx="18">
                  <c:v>0.3333333333333333</c:v>
                </c:pt>
                <c:pt idx="19">
                  <c:v>0.2857142857142857</c:v>
                </c:pt>
                <c:pt idx="20">
                  <c:v>0.2</c:v>
                </c:pt>
                <c:pt idx="21">
                  <c:v>0.5</c:v>
                </c:pt>
                <c:pt idx="22">
                  <c:v>0.5</c:v>
                </c:pt>
                <c:pt idx="23">
                  <c:v>0.3333333333333333</c:v>
                </c:pt>
                <c:pt idx="24">
                  <c:v>0.2</c:v>
                </c:pt>
                <c:pt idx="25">
                  <c:v>0.3333333333333333</c:v>
                </c:pt>
                <c:pt idx="26">
                  <c:v>0.14285714285714285</c:v>
                </c:pt>
                <c:pt idx="27">
                  <c:v>0.125</c:v>
                </c:pt>
                <c:pt idx="28">
                  <c:v>0.25</c:v>
                </c:pt>
                <c:pt idx="29">
                  <c:v>0.2222222222222222</c:v>
                </c:pt>
                <c:pt idx="30">
                  <c:v>0.1111111111111111</c:v>
                </c:pt>
                <c:pt idx="31">
                  <c:v>0.1111111111111111</c:v>
                </c:pt>
                <c:pt idx="32">
                  <c:v>0.2857142857142857</c:v>
                </c:pt>
                <c:pt idx="33">
                  <c:v>0.4</c:v>
                </c:pt>
                <c:pt idx="34">
                  <c:v>0.4</c:v>
                </c:pt>
                <c:pt idx="35">
                  <c:v>0.36363636363636365</c:v>
                </c:pt>
                <c:pt idx="36">
                  <c:v>0.42857142857142855</c:v>
                </c:pt>
                <c:pt idx="37">
                  <c:v>0.2</c:v>
                </c:pt>
                <c:pt idx="38">
                  <c:v>0.2857142857142857</c:v>
                </c:pt>
                <c:pt idx="39">
                  <c:v>0.2727272727272727</c:v>
                </c:pt>
                <c:pt idx="40">
                  <c:v>0.04878048780487805</c:v>
                </c:pt>
                <c:pt idx="41">
                  <c:v>0.12903225806451613</c:v>
                </c:pt>
                <c:pt idx="42">
                  <c:v>0.25</c:v>
                </c:pt>
                <c:pt idx="43">
                  <c:v>0.2</c:v>
                </c:pt>
                <c:pt idx="44">
                  <c:v>0.16666666666666666</c:v>
                </c:pt>
                <c:pt idx="45">
                  <c:v>0.23076923076923078</c:v>
                </c:pt>
                <c:pt idx="46">
                  <c:v>0.2727272727272727</c:v>
                </c:pt>
                <c:pt idx="47">
                  <c:v>0.375</c:v>
                </c:pt>
                <c:pt idx="48">
                  <c:v>0.23076923076923078</c:v>
                </c:pt>
                <c:pt idx="49">
                  <c:v>0.25</c:v>
                </c:pt>
                <c:pt idx="50">
                  <c:v>0.2631578947368421</c:v>
                </c:pt>
                <c:pt idx="51">
                  <c:v>0.2</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354.17504196266754</c:v>
                </c:pt>
              </c:numCache>
            </c:numRef>
          </c:xVal>
          <c:yVal>
            <c:numRef>
              <c:f>Sheet1!$B$162:$B$163</c:f>
              <c:numCache>
                <c:formatCode>General</c:formatCode>
                <c:ptCount val="2"/>
                <c:pt idx="0">
                  <c:v>0.37397186147186146</c:v>
                </c:pt>
                <c:pt idx="1">
                  <c:v>0.37397186147186146</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354.17504196266754</c:v>
                </c:pt>
                <c:pt idx="1">
                  <c:v>354.17504196266754</c:v>
                </c:pt>
              </c:numCache>
            </c:numRef>
          </c:xVal>
          <c:yVal>
            <c:numRef>
              <c:f>Sheet1!$B$166:$B$167</c:f>
              <c:numCache>
                <c:formatCode>General</c:formatCode>
                <c:ptCount val="2"/>
                <c:pt idx="0">
                  <c:v>0.373971861471861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16.1727465646893</c:v>
                </c:pt>
              </c:numCache>
            </c:numRef>
          </c:xVal>
          <c:yVal>
            <c:numRef>
              <c:f>Sheet1!$B$170:$B$171</c:f>
              <c:numCache>
                <c:formatCode>General</c:formatCode>
                <c:ptCount val="2"/>
                <c:pt idx="0">
                  <c:v>0.26985514485514484</c:v>
                </c:pt>
                <c:pt idx="1">
                  <c:v>0.26985514485514484</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16.1727465646893</c:v>
                </c:pt>
                <c:pt idx="1">
                  <c:v>1416.1727465646893</c:v>
                </c:pt>
              </c:numCache>
            </c:numRef>
          </c:xVal>
          <c:yVal>
            <c:numRef>
              <c:f>Sheet1!$B$174:$B$175</c:f>
              <c:numCache>
                <c:formatCode>General</c:formatCode>
                <c:ptCount val="2"/>
                <c:pt idx="0">
                  <c:v>0.269855144855144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901.450111452506</c:v>
                </c:pt>
              </c:numCache>
            </c:numRef>
          </c:xVal>
          <c:yVal>
            <c:numRef>
              <c:f>Sheet1!$B$178:$B$179</c:f>
              <c:numCache>
                <c:formatCode>General</c:formatCode>
                <c:ptCount val="2"/>
                <c:pt idx="0">
                  <c:v>0.22227925494353154</c:v>
                </c:pt>
                <c:pt idx="1">
                  <c:v>0.2222792549435315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901.450111452506</c:v>
                </c:pt>
                <c:pt idx="1">
                  <c:v>1901.450111452506</c:v>
                </c:pt>
              </c:numCache>
            </c:numRef>
          </c:xVal>
          <c:yVal>
            <c:numRef>
              <c:f>Sheet1!$B$182:$B$183</c:f>
              <c:numCache>
                <c:formatCode>General</c:formatCode>
                <c:ptCount val="2"/>
                <c:pt idx="0">
                  <c:v>0.222279254943531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8.0</c:v>
                </c:pt>
                <c:pt idx="1">
                  <c:v>1473.6667</c:v>
                </c:pt>
                <c:pt idx="2">
                  <c:v>1698.6667</c:v>
                </c:pt>
                <c:pt idx="3">
                  <c:v>1274.1667</c:v>
                </c:pt>
                <c:pt idx="4">
                  <c:v>1520.6667</c:v>
                </c:pt>
                <c:pt idx="5">
                  <c:v>1902.5</c:v>
                </c:pt>
                <c:pt idx="6">
                  <c:v>1632.0</c:v>
                </c:pt>
                <c:pt idx="7">
                  <c:v>1857.0</c:v>
                </c:pt>
                <c:pt idx="8">
                  <c:v>1367.6667</c:v>
                </c:pt>
                <c:pt idx="9">
                  <c:v>928.0</c:v>
                </c:pt>
                <c:pt idx="10">
                  <c:v>1956.0</c:v>
                </c:pt>
                <c:pt idx="11">
                  <c:v>1587.4</c:v>
                </c:pt>
                <c:pt idx="12">
                  <c:v>1599.3333</c:v>
                </c:pt>
                <c:pt idx="13">
                  <c:v>1397.6667</c:v>
                </c:pt>
                <c:pt idx="14">
                  <c:v>1811.0</c:v>
                </c:pt>
                <c:pt idx="15">
                  <c:v>1881.0</c:v>
                </c:pt>
                <c:pt idx="16">
                  <c:v>1770.0</c:v>
                </c:pt>
                <c:pt idx="17">
                  <c:v>1298.6667</c:v>
                </c:pt>
                <c:pt idx="18">
                  <c:v>1145.0</c:v>
                </c:pt>
                <c:pt idx="19">
                  <c:v>1512.5</c:v>
                </c:pt>
                <c:pt idx="20">
                  <c:v>2673.0</c:v>
                </c:pt>
                <c:pt idx="21">
                  <c:v>1162.0</c:v>
                </c:pt>
                <c:pt idx="22">
                  <c:v>1370.0</c:v>
                </c:pt>
                <c:pt idx="23">
                  <c:v>1660.0</c:v>
                </c:pt>
                <c:pt idx="24">
                  <c:v>1985.0</c:v>
                </c:pt>
                <c:pt idx="25">
                  <c:v>1095.0</c:v>
                </c:pt>
                <c:pt idx="26">
                  <c:v>1191.0</c:v>
                </c:pt>
                <c:pt idx="27">
                  <c:v>1703.0</c:v>
                </c:pt>
                <c:pt idx="28">
                  <c:v>1541.0</c:v>
                </c:pt>
                <c:pt idx="29">
                  <c:v>1327.0</c:v>
                </c:pt>
                <c:pt idx="30">
                  <c:v>1819.0</c:v>
                </c:pt>
                <c:pt idx="31">
                  <c:v>2519.0</c:v>
                </c:pt>
                <c:pt idx="32">
                  <c:v>1708.0</c:v>
                </c:pt>
                <c:pt idx="33">
                  <c:v>1595.75</c:v>
                </c:pt>
                <c:pt idx="34">
                  <c:v>1699.0</c:v>
                </c:pt>
                <c:pt idx="35">
                  <c:v>1968.5</c:v>
                </c:pt>
                <c:pt idx="36">
                  <c:v>1575.3333</c:v>
                </c:pt>
                <c:pt idx="37">
                  <c:v>2069.0</c:v>
                </c:pt>
                <c:pt idx="38">
                  <c:v>1914.0</c:v>
                </c:pt>
                <c:pt idx="39">
                  <c:v>1405.3333</c:v>
                </c:pt>
                <c:pt idx="40">
                  <c:v>1544.0</c:v>
                </c:pt>
                <c:pt idx="41">
                  <c:v>1537.5</c:v>
                </c:pt>
                <c:pt idx="42">
                  <c:v>1345.3333</c:v>
                </c:pt>
                <c:pt idx="43">
                  <c:v>1568.6667</c:v>
                </c:pt>
                <c:pt idx="44">
                  <c:v>1706.5</c:v>
                </c:pt>
                <c:pt idx="45">
                  <c:v>1624.0</c:v>
                </c:pt>
                <c:pt idx="46">
                  <c:v>1325.3333</c:v>
                </c:pt>
                <c:pt idx="47">
                  <c:v>1672.0</c:v>
                </c:pt>
                <c:pt idx="48">
                  <c:v>1471.6667</c:v>
                </c:pt>
                <c:pt idx="49">
                  <c:v>1562.0</c:v>
                </c:pt>
                <c:pt idx="50">
                  <c:v>1500.8</c:v>
                </c:pt>
                <c:pt idx="51">
                  <c:v>1242.5</c:v>
                </c:pt>
                <c:pt idx="52">
                  <c:v>1416.1727465646893</c:v>
                </c:pt>
                <c:pt idx="53">
                  <c:v>354.17504196266754</c:v>
                </c:pt>
                <c:pt idx="54">
                  <c:v>1901.450111452506</c:v>
                </c:pt>
              </c:numCache>
            </c:numRef>
          </c:xVal>
          <c:yVal>
            <c:numRef>
              <c:f>Sheet1!$B$186:$B$240</c:f>
              <c:numCache>
                <c:formatCode>General</c:formatCode>
                <c:ptCount val="55"/>
                <c:pt idx="0">
                  <c:v>0.24320559468005232</c:v>
                </c:pt>
                <c:pt idx="1">
                  <c:v>0.2642185209424386</c:v>
                </c:pt>
                <c:pt idx="2">
                  <c:v>0.2421598468631569</c:v>
                </c:pt>
                <c:pt idx="3">
                  <c:v>0.28377721195940164</c:v>
                </c:pt>
                <c:pt idx="4">
                  <c:v>0.25961070902365524</c:v>
                </c:pt>
                <c:pt idx="5">
                  <c:v>0.22217632539113713</c:v>
                </c:pt>
                <c:pt idx="6">
                  <c:v>0.24869575356200688</c:v>
                </c:pt>
                <c:pt idx="7">
                  <c:v>0.2266370794827252</c:v>
                </c:pt>
                <c:pt idx="8">
                  <c:v>0.2746106073975668</c:v>
                </c:pt>
                <c:pt idx="9">
                  <c:v>0.3177148937922926</c:v>
                </c:pt>
                <c:pt idx="10">
                  <c:v>0.2169312628878413</c:v>
                </c:pt>
                <c:pt idx="11">
                  <c:v>0.2530682729572778</c:v>
                </c:pt>
                <c:pt idx="12">
                  <c:v>0.25189834951109874</c:v>
                </c:pt>
                <c:pt idx="13">
                  <c:v>0.27166945085366256</c:v>
                </c:pt>
                <c:pt idx="14">
                  <c:v>0.23114685285004502</c:v>
                </c:pt>
                <c:pt idx="15">
                  <c:v>0.22428415424760184</c:v>
                </c:pt>
                <c:pt idx="16">
                  <c:v>0.23516643346004745</c:v>
                </c:pt>
                <c:pt idx="17">
                  <c:v>0.2813752674485465</c:v>
                </c:pt>
                <c:pt idx="18">
                  <c:v>0.2964405281247187</c:v>
                </c:pt>
                <c:pt idx="19">
                  <c:v>0.26041136046189206</c:v>
                </c:pt>
                <c:pt idx="20">
                  <c:v>0.14663762148853038</c:v>
                </c:pt>
                <c:pt idx="21">
                  <c:v>0.2947738727498397</c:v>
                </c:pt>
                <c:pt idx="22">
                  <c:v>0.2743818540454371</c:v>
                </c:pt>
                <c:pt idx="23">
                  <c:v>0.2459506741210296</c:v>
                </c:pt>
                <c:pt idx="24">
                  <c:v>0.21408814489540054</c:v>
                </c:pt>
                <c:pt idx="25">
                  <c:v>0.3013424556978924</c:v>
                </c:pt>
                <c:pt idx="26">
                  <c:v>0.29193075475739894</c:v>
                </c:pt>
                <c:pt idx="27">
                  <c:v>0.24173501640810022</c:v>
                </c:pt>
                <c:pt idx="28">
                  <c:v>0.257617261745183</c:v>
                </c:pt>
                <c:pt idx="29">
                  <c:v>0.27859751175836645</c:v>
                </c:pt>
                <c:pt idx="30">
                  <c:v>0.23036254443833723</c:v>
                </c:pt>
                <c:pt idx="31">
                  <c:v>0.16173555841390538</c:v>
                </c:pt>
                <c:pt idx="32">
                  <c:v>0.24124482365078284</c:v>
                </c:pt>
                <c:pt idx="33">
                  <c:v>0.2522496510525578</c:v>
                </c:pt>
                <c:pt idx="34">
                  <c:v>0.2421271706139541</c:v>
                </c:pt>
                <c:pt idx="35">
                  <c:v>0.21570578099454785</c:v>
                </c:pt>
                <c:pt idx="36">
                  <c:v>0.2542512747462221</c:v>
                </c:pt>
                <c:pt idx="37">
                  <c:v>0.2058529065724687</c:v>
                </c:pt>
                <c:pt idx="38">
                  <c:v>0.2210488820493072</c:v>
                </c:pt>
                <c:pt idx="39">
                  <c:v>0.27091782849501267</c:v>
                </c:pt>
                <c:pt idx="40">
                  <c:v>0.2573231460907926</c:v>
                </c:pt>
                <c:pt idx="41">
                  <c:v>0.2579603966753052</c:v>
                </c:pt>
                <c:pt idx="42">
                  <c:v>0.2768001415828212</c:v>
                </c:pt>
                <c:pt idx="43">
                  <c:v>0.2549048585534085</c:v>
                </c:pt>
                <c:pt idx="44">
                  <c:v>0.24139188147797805</c:v>
                </c:pt>
                <c:pt idx="45">
                  <c:v>0.24948006197371467</c:v>
                </c:pt>
                <c:pt idx="46">
                  <c:v>0.27876091261209063</c:v>
                </c:pt>
                <c:pt idx="47">
                  <c:v>0.2447742115034679</c:v>
                </c:pt>
                <c:pt idx="48">
                  <c:v>0.2644145980453655</c:v>
                </c:pt>
                <c:pt idx="49">
                  <c:v>0.25555845216445006</c:v>
                </c:pt>
                <c:pt idx="50">
                  <c:v>0.2615584115140147</c:v>
                </c:pt>
                <c:pt idx="51">
                  <c:v>0.28688176935703</c:v>
                </c:pt>
                <c:pt idx="52">
                  <c:v>0.26985514485514484</c:v>
                </c:pt>
                <c:pt idx="53">
                  <c:v>0.37397186147186146</c:v>
                </c:pt>
                <c:pt idx="54">
                  <c:v>0.222279254943531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0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3636363636363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618112764839656</c:v>
                </c:pt>
                <c:pt idx="1">
                  <c:v>1.1967768791627023</c:v>
                </c:pt>
                <c:pt idx="2">
                  <c:v>1.4452120898100174</c:v>
                </c:pt>
                <c:pt idx="3">
                  <c:v>1.5153567110036277</c:v>
                </c:pt>
                <c:pt idx="4">
                  <c:v>1.4175788910042837</c:v>
                </c:pt>
                <c:pt idx="5">
                  <c:v>1.6731963335304554</c:v>
                </c:pt>
                <c:pt idx="6">
                  <c:v>1.7469075063255552</c:v>
                </c:pt>
                <c:pt idx="7">
                  <c:v>1.8766704849179077</c:v>
                </c:pt>
                <c:pt idx="8">
                  <c:v>1.6913138231631384</c:v>
                </c:pt>
                <c:pt idx="9">
                  <c:v>2.006337029977473</c:v>
                </c:pt>
                <c:pt idx="10">
                  <c:v>1.6618638466622604</c:v>
                </c:pt>
                <c:pt idx="11">
                  <c:v>1.502870264064294</c:v>
                </c:pt>
                <c:pt idx="12">
                  <c:v>1.6851652298850575</c:v>
                </c:pt>
                <c:pt idx="13">
                  <c:v>1.6580135265700482</c:v>
                </c:pt>
                <c:pt idx="14">
                  <c:v>1.369926650366748</c:v>
                </c:pt>
                <c:pt idx="15">
                  <c:v>1.9158902173913044</c:v>
                </c:pt>
                <c:pt idx="16">
                  <c:v>1.3803222094361336</c:v>
                </c:pt>
                <c:pt idx="17">
                  <c:v>1.6454815903916746</c:v>
                </c:pt>
                <c:pt idx="18">
                  <c:v>1.5236132921174652</c:v>
                </c:pt>
                <c:pt idx="19">
                  <c:v>1.7433751743375174</c:v>
                </c:pt>
                <c:pt idx="20">
                  <c:v>1.8252213197000584</c:v>
                </c:pt>
                <c:pt idx="21">
                  <c:v>1.9569892034233047</c:v>
                </c:pt>
                <c:pt idx="22">
                  <c:v>3.0545454545454547</c:v>
                </c:pt>
                <c:pt idx="23">
                  <c:v>2.0161290322580645</c:v>
                </c:pt>
                <c:pt idx="24">
                  <c:v>2.1891643250688704</c:v>
                </c:pt>
                <c:pt idx="25">
                  <c:v>1.4485245901639345</c:v>
                </c:pt>
                <c:pt idx="26">
                  <c:v>1.3164493480441324</c:v>
                </c:pt>
                <c:pt idx="27">
                  <c:v>1.5842194136869667</c:v>
                </c:pt>
                <c:pt idx="28">
                  <c:v>2.134728958880347</c:v>
                </c:pt>
                <c:pt idx="29">
                  <c:v>1.4404761904761905</c:v>
                </c:pt>
                <c:pt idx="30">
                  <c:v>1.347093569801751</c:v>
                </c:pt>
                <c:pt idx="31">
                  <c:v>1.7167381974248928</c:v>
                </c:pt>
                <c:pt idx="32">
                  <c:v>1.2963174585002861</c:v>
                </c:pt>
                <c:pt idx="33">
                  <c:v>1.5850063532401526</c:v>
                </c:pt>
                <c:pt idx="34">
                  <c:v>1.5388991796771632</c:v>
                </c:pt>
                <c:pt idx="35">
                  <c:v>1.9757627758885719</c:v>
                </c:pt>
                <c:pt idx="36">
                  <c:v>2.049903731577297</c:v>
                </c:pt>
                <c:pt idx="37">
                  <c:v>1.8585298196948683</c:v>
                </c:pt>
                <c:pt idx="38">
                  <c:v>1.9310524105754276</c:v>
                </c:pt>
                <c:pt idx="39">
                  <c:v>2.040059347181009</c:v>
                </c:pt>
                <c:pt idx="40">
                  <c:v>1.6209987195902689</c:v>
                </c:pt>
                <c:pt idx="41">
                  <c:v>2.6914992089350642</c:v>
                </c:pt>
                <c:pt idx="42">
                  <c:v>2.0144927536231885</c:v>
                </c:pt>
                <c:pt idx="43">
                  <c:v>2.549387166546503</c:v>
                </c:pt>
                <c:pt idx="44">
                  <c:v>2.319454958364875</c:v>
                </c:pt>
                <c:pt idx="45">
                  <c:v>2.204500264052364</c:v>
                </c:pt>
                <c:pt idx="46">
                  <c:v>2.184006211180124</c:v>
                </c:pt>
                <c:pt idx="47">
                  <c:v>2.2439862014274388</c:v>
                </c:pt>
                <c:pt idx="48">
                  <c:v>2.0620877194817173</c:v>
                </c:pt>
                <c:pt idx="49">
                  <c:v>2.1153622787068027</c:v>
                </c:pt>
                <c:pt idx="50">
                  <c:v>2.173832192799762</c:v>
                </c:pt>
                <c:pt idx="51">
                  <c:v>2.589276553319966</c:v>
                </c:pt>
                <c:pt idx="52">
                  <c:v>2.032</c:v>
                </c:pt>
                <c:pt idx="53">
                  <c:v>2.479399441340782</c:v>
                </c:pt>
                <c:pt idx="54">
                  <c:v>1.6474202222824614</c:v>
                </c:pt>
                <c:pt idx="55">
                  <c:v>1.0386014551333873</c:v>
                </c:pt>
                <c:pt idx="56">
                  <c:v>1.2308359336908825</c:v>
                </c:pt>
                <c:pt idx="57">
                  <c:v>1.189719316433689</c:v>
                </c:pt>
                <c:pt idx="58">
                  <c:v>1.1686852020925276</c:v>
                </c:pt>
                <c:pt idx="59">
                  <c:v>1.5713160339540877</c:v>
                </c:pt>
                <c:pt idx="60">
                  <c:v>1.5199068869365364</c:v>
                </c:pt>
                <c:pt idx="61">
                  <c:v>1.6416870588356955</c:v>
                </c:pt>
                <c:pt idx="62">
                  <c:v>1.625537108655617</c:v>
                </c:pt>
                <c:pt idx="63">
                  <c:v>1.1899802160562534</c:v>
                </c:pt>
                <c:pt idx="64">
                  <c:v>1.6211639814814813</c:v>
                </c:pt>
                <c:pt idx="65">
                  <c:v>1.6129074100795173</c:v>
                </c:pt>
                <c:pt idx="66">
                  <c:v>0.968166643741403</c:v>
                </c:pt>
                <c:pt idx="67">
                  <c:v>1.029924904122319</c:v>
                </c:pt>
                <c:pt idx="68">
                  <c:v>1.3359811653937603</c:v>
                </c:pt>
                <c:pt idx="69">
                  <c:v>1.072250345144961</c:v>
                </c:pt>
                <c:pt idx="70">
                  <c:v>1.0858034321372856</c:v>
                </c:pt>
                <c:pt idx="71">
                  <c:v>1.1046679072182792</c:v>
                </c:pt>
                <c:pt idx="72">
                  <c:v>0.9527537269774912</c:v>
                </c:pt>
                <c:pt idx="73">
                  <c:v>1.034891064098516</c:v>
                </c:pt>
                <c:pt idx="74">
                  <c:v>1.1057863228358438</c:v>
                </c:pt>
                <c:pt idx="75">
                  <c:v>0.8938132064247472</c:v>
                </c:pt>
                <c:pt idx="76">
                  <c:v>1.5257699560025142</c:v>
                </c:pt>
                <c:pt idx="77">
                  <c:v>1.2504251700680271</c:v>
                </c:pt>
                <c:pt idx="78">
                  <c:v>1.3891199555481615</c:v>
                </c:pt>
                <c:pt idx="79">
                  <c:v>1.7287971064560752</c:v>
                </c:pt>
                <c:pt idx="80">
                  <c:v>0.0</c:v>
                </c:pt>
                <c:pt idx="81">
                  <c:v>1.264782358674464</c:v>
                </c:pt>
                <c:pt idx="82">
                  <c:v>1.4925479592813329</c:v>
                </c:pt>
                <c:pt idx="83">
                  <c:v>0.8536721347759806</c:v>
                </c:pt>
                <c:pt idx="84">
                  <c:v>0.0</c:v>
                </c:pt>
                <c:pt idx="85">
                  <c:v>2.7718682537084947</c:v>
                </c:pt>
                <c:pt idx="86">
                  <c:v>2.076748505474993</c:v>
                </c:pt>
                <c:pt idx="87">
                  <c:v>1.6596009975062345</c:v>
                </c:pt>
                <c:pt idx="88">
                  <c:v>1.3105753140783065</c:v>
                </c:pt>
                <c:pt idx="89">
                  <c:v>1.3846153846153846</c:v>
                </c:pt>
                <c:pt idx="90">
                  <c:v>1.112970953131154</c:v>
                </c:pt>
                <c:pt idx="91">
                  <c:v>1.9897031604263966</c:v>
                </c:pt>
                <c:pt idx="92">
                  <c:v>2.369791666666667</c:v>
                </c:pt>
                <c:pt idx="93">
                  <c:v>2.332881662149955</c:v>
                </c:pt>
                <c:pt idx="94">
                  <c:v>1.4966592427616927</c:v>
                </c:pt>
                <c:pt idx="95">
                  <c:v>1.3074901445466491</c:v>
                </c:pt>
                <c:pt idx="96">
                  <c:v>1.4685492929244366</c:v>
                </c:pt>
                <c:pt idx="97">
                  <c:v>1.0555874976067394</c:v>
                </c:pt>
                <c:pt idx="98">
                  <c:v>1.8282666271487849</c:v>
                </c:pt>
                <c:pt idx="99">
                  <c:v>1.341055308880309</c:v>
                </c:pt>
                <c:pt idx="100">
                  <c:v>1.7050132718421727</c:v>
                </c:pt>
                <c:pt idx="101">
                  <c:v>1.055647982529118</c:v>
                </c:pt>
                <c:pt idx="102">
                  <c:v>1.227515799708313</c:v>
                </c:pt>
                <c:pt idx="103">
                  <c:v>2.5717721220072156</c:v>
                </c:pt>
                <c:pt idx="104">
                  <c:v>1.2673567280989648</c:v>
                </c:pt>
              </c:numCache>
            </c:numRef>
          </c:xVal>
          <c:yVal>
            <c:numRef>
              <c:f>Sheet1!$B$2:$B$106</c:f>
              <c:numCache>
                <c:formatCode>General</c:formatCode>
                <c:ptCount val="105"/>
                <c:pt idx="0">
                  <c:v>0.3076923076923077</c:v>
                </c:pt>
                <c:pt idx="1">
                  <c:v>0.34782608695652173</c:v>
                </c:pt>
                <c:pt idx="2">
                  <c:v>0.3157894736842105</c:v>
                </c:pt>
                <c:pt idx="3">
                  <c:v>0.2777777777777778</c:v>
                </c:pt>
                <c:pt idx="4">
                  <c:v>0.35294117647058826</c:v>
                </c:pt>
                <c:pt idx="5">
                  <c:v>0.2857142857142857</c:v>
                </c:pt>
                <c:pt idx="6">
                  <c:v>0.2</c:v>
                </c:pt>
                <c:pt idx="7">
                  <c:v>0.3076923076923077</c:v>
                </c:pt>
                <c:pt idx="8">
                  <c:v>0.3333333333333333</c:v>
                </c:pt>
                <c:pt idx="9">
                  <c:v>0.3181818181818182</c:v>
                </c:pt>
                <c:pt idx="10">
                  <c:v>0.23809523809523808</c:v>
                </c:pt>
                <c:pt idx="11">
                  <c:v>0.3076923076923077</c:v>
                </c:pt>
                <c:pt idx="12">
                  <c:v>0.42105263157894735</c:v>
                </c:pt>
                <c:pt idx="13">
                  <c:v>0.4375</c:v>
                </c:pt>
                <c:pt idx="14">
                  <c:v>0.3333333333333333</c:v>
                </c:pt>
                <c:pt idx="15">
                  <c:v>0.5454545454545454</c:v>
                </c:pt>
                <c:pt idx="16">
                  <c:v>0.4</c:v>
                </c:pt>
                <c:pt idx="17">
                  <c:v>0.3076923076923077</c:v>
                </c:pt>
                <c:pt idx="18">
                  <c:v>0.2727272727272727</c:v>
                </c:pt>
                <c:pt idx="19">
                  <c:v>0.16666666666666666</c:v>
                </c:pt>
                <c:pt idx="20">
                  <c:v>0.2857142857142857</c:v>
                </c:pt>
                <c:pt idx="21">
                  <c:v>0.375</c:v>
                </c:pt>
                <c:pt idx="22">
                  <c:v>0.125</c:v>
                </c:pt>
                <c:pt idx="23">
                  <c:v>0.3333333333333333</c:v>
                </c:pt>
                <c:pt idx="24">
                  <c:v>0.3333333333333333</c:v>
                </c:pt>
                <c:pt idx="25">
                  <c:v>0.4</c:v>
                </c:pt>
                <c:pt idx="26">
                  <c:v>0.4444444444444444</c:v>
                </c:pt>
                <c:pt idx="27">
                  <c:v>0.375</c:v>
                </c:pt>
                <c:pt idx="28">
                  <c:v>0.25</c:v>
                </c:pt>
                <c:pt idx="29">
                  <c:v>0.4444444444444444</c:v>
                </c:pt>
                <c:pt idx="30">
                  <c:v>0.42857142857142855</c:v>
                </c:pt>
                <c:pt idx="31">
                  <c:v>0.4444444444444444</c:v>
                </c:pt>
                <c:pt idx="32">
                  <c:v>0.3333333333333333</c:v>
                </c:pt>
                <c:pt idx="33">
                  <c:v>0.45454545454545453</c:v>
                </c:pt>
                <c:pt idx="34">
                  <c:v>0.45454545454545453</c:v>
                </c:pt>
                <c:pt idx="35">
                  <c:v>0.42857142857142855</c:v>
                </c:pt>
                <c:pt idx="36">
                  <c:v>0.4375</c:v>
                </c:pt>
                <c:pt idx="37">
                  <c:v>0.4444444444444444</c:v>
                </c:pt>
                <c:pt idx="38">
                  <c:v>0.3333333333333333</c:v>
                </c:pt>
                <c:pt idx="39">
                  <c:v>0.2222222222222222</c:v>
                </c:pt>
                <c:pt idx="40">
                  <c:v>0.1</c:v>
                </c:pt>
                <c:pt idx="41">
                  <c:v>0.058823529411764705</c:v>
                </c:pt>
                <c:pt idx="42">
                  <c:v>0.18181818181818182</c:v>
                </c:pt>
                <c:pt idx="43">
                  <c:v>0.19047619047619047</c:v>
                </c:pt>
                <c:pt idx="44">
                  <c:v>0.17857142857142858</c:v>
                </c:pt>
                <c:pt idx="45">
                  <c:v>0.18518518518518517</c:v>
                </c:pt>
                <c:pt idx="46">
                  <c:v>0.25</c:v>
                </c:pt>
                <c:pt idx="47">
                  <c:v>0.35294117647058826</c:v>
                </c:pt>
                <c:pt idx="48">
                  <c:v>0.2692307692307692</c:v>
                </c:pt>
                <c:pt idx="49">
                  <c:v>0.45652173913043476</c:v>
                </c:pt>
                <c:pt idx="50">
                  <c:v>0.25</c:v>
                </c:pt>
                <c:pt idx="51">
                  <c:v>0.3</c:v>
                </c:pt>
                <c:pt idx="52">
                  <c:v>0.3</c:v>
                </c:pt>
                <c:pt idx="53">
                  <c:v>0.3076923076923077</c:v>
                </c:pt>
                <c:pt idx="54">
                  <c:v>0.25</c:v>
                </c:pt>
                <c:pt idx="55">
                  <c:v>0.26666666666666666</c:v>
                </c:pt>
                <c:pt idx="56">
                  <c:v>0.1875</c:v>
                </c:pt>
                <c:pt idx="57">
                  <c:v>0.1</c:v>
                </c:pt>
                <c:pt idx="58">
                  <c:v>0.08823529411764706</c:v>
                </c:pt>
                <c:pt idx="59">
                  <c:v>0.12</c:v>
                </c:pt>
                <c:pt idx="60">
                  <c:v>0.20512820512820512</c:v>
                </c:pt>
                <c:pt idx="61">
                  <c:v>0.19047619047619047</c:v>
                </c:pt>
                <c:pt idx="62">
                  <c:v>0.11538461538461539</c:v>
                </c:pt>
                <c:pt idx="63">
                  <c:v>0.21739130434782608</c:v>
                </c:pt>
                <c:pt idx="64">
                  <c:v>0.30434782608695654</c:v>
                </c:pt>
                <c:pt idx="65">
                  <c:v>0.2</c:v>
                </c:pt>
                <c:pt idx="66">
                  <c:v>0.35</c:v>
                </c:pt>
                <c:pt idx="67">
                  <c:v>0.2608695652173913</c:v>
                </c:pt>
                <c:pt idx="68">
                  <c:v>0.2857142857142857</c:v>
                </c:pt>
                <c:pt idx="69">
                  <c:v>0.36363636363636365</c:v>
                </c:pt>
                <c:pt idx="70">
                  <c:v>0.36363636363636365</c:v>
                </c:pt>
                <c:pt idx="71">
                  <c:v>0.3333333333333333</c:v>
                </c:pt>
                <c:pt idx="72">
                  <c:v>0.3333333333333333</c:v>
                </c:pt>
                <c:pt idx="73">
                  <c:v>0.3333333333333333</c:v>
                </c:pt>
                <c:pt idx="74">
                  <c:v>0.3333333333333333</c:v>
                </c:pt>
                <c:pt idx="75">
                  <c:v>0.2857142857142857</c:v>
                </c:pt>
                <c:pt idx="76">
                  <c:v>0.2857142857142857</c:v>
                </c:pt>
                <c:pt idx="77">
                  <c:v>0.3333333333333333</c:v>
                </c:pt>
                <c:pt idx="78">
                  <c:v>0.2</c:v>
                </c:pt>
                <c:pt idx="79">
                  <c:v>0.3333333333333333</c:v>
                </c:pt>
                <c:pt idx="80">
                  <c:v>0.0</c:v>
                </c:pt>
                <c:pt idx="81">
                  <c:v>0.375</c:v>
                </c:pt>
                <c:pt idx="82">
                  <c:v>0.16666666666666666</c:v>
                </c:pt>
                <c:pt idx="83">
                  <c:v>0.4</c:v>
                </c:pt>
                <c:pt idx="84">
                  <c:v>0.0</c:v>
                </c:pt>
                <c:pt idx="85">
                  <c:v>0.2</c:v>
                </c:pt>
                <c:pt idx="86">
                  <c:v>0.3333333333333333</c:v>
                </c:pt>
                <c:pt idx="87">
                  <c:v>0.6363636363636364</c:v>
                </c:pt>
                <c:pt idx="88">
                  <c:v>0.42857142857142855</c:v>
                </c:pt>
                <c:pt idx="89">
                  <c:v>0.2857142857142857</c:v>
                </c:pt>
                <c:pt idx="90">
                  <c:v>0.3333333333333333</c:v>
                </c:pt>
                <c:pt idx="91">
                  <c:v>0.2</c:v>
                </c:pt>
                <c:pt idx="92">
                  <c:v>0.2</c:v>
                </c:pt>
                <c:pt idx="93">
                  <c:v>0.25</c:v>
                </c:pt>
                <c:pt idx="94">
                  <c:v>0.2222222222222222</c:v>
                </c:pt>
                <c:pt idx="95">
                  <c:v>0.5</c:v>
                </c:pt>
                <c:pt idx="96">
                  <c:v>0.2631578947368421</c:v>
                </c:pt>
                <c:pt idx="97">
                  <c:v>0.42857142857142855</c:v>
                </c:pt>
                <c:pt idx="98">
                  <c:v>0.3181818181818182</c:v>
                </c:pt>
                <c:pt idx="99">
                  <c:v>0.35294117647058826</c:v>
                </c:pt>
                <c:pt idx="100">
                  <c:v>0.3333333333333333</c:v>
                </c:pt>
                <c:pt idx="101">
                  <c:v>0.45</c:v>
                </c:pt>
                <c:pt idx="102">
                  <c:v>0.4444444444444444</c:v>
                </c:pt>
                <c:pt idx="103">
                  <c:v>0.3333333333333333</c:v>
                </c:pt>
                <c:pt idx="104">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783494904300273</c:v>
                </c:pt>
                <c:pt idx="1">
                  <c:v>1.389989341633654</c:v>
                </c:pt>
                <c:pt idx="2">
                  <c:v>1.7557278552971576</c:v>
                </c:pt>
                <c:pt idx="3">
                  <c:v>1.457023098913665</c:v>
                </c:pt>
                <c:pt idx="4">
                  <c:v>1.9087067905108572</c:v>
                </c:pt>
                <c:pt idx="5">
                  <c:v>1.8149296446458383</c:v>
                </c:pt>
                <c:pt idx="6">
                  <c:v>2.389749730823686</c:v>
                </c:pt>
                <c:pt idx="7">
                  <c:v>1.5831202046035806</c:v>
                </c:pt>
                <c:pt idx="8">
                  <c:v>1.163971659574468</c:v>
                </c:pt>
                <c:pt idx="9">
                  <c:v>0.9157895038088653</c:v>
                </c:pt>
                <c:pt idx="10">
                  <c:v>1.7038327526132404</c:v>
                </c:pt>
                <c:pt idx="11">
                  <c:v>2.051661705102258</c:v>
                </c:pt>
                <c:pt idx="12">
                  <c:v>1.4849891364902508</c:v>
                </c:pt>
                <c:pt idx="13">
                  <c:v>1.2969378194575374</c:v>
                </c:pt>
                <c:pt idx="14">
                  <c:v>1.6473620875488808</c:v>
                </c:pt>
                <c:pt idx="15">
                  <c:v>1.9996455705299232</c:v>
                </c:pt>
                <c:pt idx="16">
                  <c:v>1.9457676091693803</c:v>
                </c:pt>
                <c:pt idx="17">
                  <c:v>1.3139967053624522</c:v>
                </c:pt>
                <c:pt idx="18">
                  <c:v>1.175564681724846</c:v>
                </c:pt>
                <c:pt idx="19">
                  <c:v>1.5206098686122698</c:v>
                </c:pt>
                <c:pt idx="20">
                  <c:v>4.472392388600536</c:v>
                </c:pt>
                <c:pt idx="21">
                  <c:v>1.0900562851782365</c:v>
                </c:pt>
                <c:pt idx="22">
                  <c:v>1.3085004775549187</c:v>
                </c:pt>
                <c:pt idx="23">
                  <c:v>2.088050314465409</c:v>
                </c:pt>
                <c:pt idx="24">
                  <c:v>1.8133373382053186</c:v>
                </c:pt>
                <c:pt idx="25">
                  <c:v>0.7668067226890757</c:v>
                </c:pt>
                <c:pt idx="26">
                  <c:v>0.6854676258992806</c:v>
                </c:pt>
                <c:pt idx="27">
                  <c:v>1.2976886283385478</c:v>
                </c:pt>
                <c:pt idx="28">
                  <c:v>1.3159692570452604</c:v>
                </c:pt>
                <c:pt idx="29">
                  <c:v>1.3160331013564661</c:v>
                </c:pt>
                <c:pt idx="30">
                  <c:v>1.4053567191696297</c:v>
                </c:pt>
                <c:pt idx="31">
                  <c:v>1.9981490746126633</c:v>
                </c:pt>
                <c:pt idx="32">
                  <c:v>1.2628465804066544</c:v>
                </c:pt>
                <c:pt idx="33">
                  <c:v>1.7260681449432125</c:v>
                </c:pt>
                <c:pt idx="34">
                  <c:v>1.3430830039525692</c:v>
                </c:pt>
                <c:pt idx="35">
                  <c:v>1.9115362206253643</c:v>
                </c:pt>
                <c:pt idx="36">
                  <c:v>1.642683315954119</c:v>
                </c:pt>
                <c:pt idx="37">
                  <c:v>1.743049705139006</c:v>
                </c:pt>
                <c:pt idx="38">
                  <c:v>1.220274147274466</c:v>
                </c:pt>
                <c:pt idx="39">
                  <c:v>1.0181115676916583</c:v>
                </c:pt>
                <c:pt idx="40">
                  <c:v>4.590807146554679</c:v>
                </c:pt>
                <c:pt idx="41">
                  <c:v>4.537004249291785</c:v>
                </c:pt>
                <c:pt idx="42">
                  <c:v>2.5335843691148776</c:v>
                </c:pt>
                <c:pt idx="43">
                  <c:v>3.0569782803191856</c:v>
                </c:pt>
                <c:pt idx="44">
                  <c:v>2.0634824667472795</c:v>
                </c:pt>
                <c:pt idx="45">
                  <c:v>1.8727656401012631</c:v>
                </c:pt>
                <c:pt idx="46">
                  <c:v>1.4370651124966116</c:v>
                </c:pt>
                <c:pt idx="47">
                  <c:v>1.8373626373626373</c:v>
                </c:pt>
                <c:pt idx="48">
                  <c:v>2.1033825105582413</c:v>
                </c:pt>
                <c:pt idx="49">
                  <c:v>1.6674673071790767</c:v>
                </c:pt>
                <c:pt idx="50">
                  <c:v>1.4920961554961443</c:v>
                </c:pt>
                <c:pt idx="51">
                  <c:v>1.156244183882375</c:v>
                </c:pt>
              </c:numCache>
            </c:numRef>
          </c:xVal>
          <c:yVal>
            <c:numRef>
              <c:f>Sheet1!$B$109:$B$160</c:f>
              <c:numCache>
                <c:formatCode>General</c:formatCode>
                <c:ptCount val="52"/>
                <c:pt idx="0">
                  <c:v>0.23076923076923078</c:v>
                </c:pt>
                <c:pt idx="1">
                  <c:v>0.2727272727272727</c:v>
                </c:pt>
                <c:pt idx="2">
                  <c:v>0.2727272727272727</c:v>
                </c:pt>
                <c:pt idx="3">
                  <c:v>0.375</c:v>
                </c:pt>
                <c:pt idx="4">
                  <c:v>0.15789473684210525</c:v>
                </c:pt>
                <c:pt idx="5">
                  <c:v>0.15384615384615385</c:v>
                </c:pt>
                <c:pt idx="6">
                  <c:v>0.1</c:v>
                </c:pt>
                <c:pt idx="7">
                  <c:v>0.09090909090909091</c:v>
                </c:pt>
                <c:pt idx="8">
                  <c:v>0.3333333333333333</c:v>
                </c:pt>
                <c:pt idx="9">
                  <c:v>0.16666666666666666</c:v>
                </c:pt>
                <c:pt idx="10">
                  <c:v>0.14285714285714285</c:v>
                </c:pt>
                <c:pt idx="11">
                  <c:v>0.2777777777777778</c:v>
                </c:pt>
                <c:pt idx="12">
                  <c:v>0.375</c:v>
                </c:pt>
                <c:pt idx="13">
                  <c:v>0.25</c:v>
                </c:pt>
                <c:pt idx="14">
                  <c:v>0.18181818181818182</c:v>
                </c:pt>
                <c:pt idx="15">
                  <c:v>0.2222222222222222</c:v>
                </c:pt>
                <c:pt idx="16">
                  <c:v>0.2727272727272727</c:v>
                </c:pt>
                <c:pt idx="17">
                  <c:v>0.3</c:v>
                </c:pt>
                <c:pt idx="18">
                  <c:v>0.3333333333333333</c:v>
                </c:pt>
                <c:pt idx="19">
                  <c:v>0.2857142857142857</c:v>
                </c:pt>
                <c:pt idx="20">
                  <c:v>0.2</c:v>
                </c:pt>
                <c:pt idx="21">
                  <c:v>0.5</c:v>
                </c:pt>
                <c:pt idx="22">
                  <c:v>0.5</c:v>
                </c:pt>
                <c:pt idx="23">
                  <c:v>0.3333333333333333</c:v>
                </c:pt>
                <c:pt idx="24">
                  <c:v>0.2</c:v>
                </c:pt>
                <c:pt idx="25">
                  <c:v>0.3333333333333333</c:v>
                </c:pt>
                <c:pt idx="26">
                  <c:v>0.14285714285714285</c:v>
                </c:pt>
                <c:pt idx="27">
                  <c:v>0.125</c:v>
                </c:pt>
                <c:pt idx="28">
                  <c:v>0.25</c:v>
                </c:pt>
                <c:pt idx="29">
                  <c:v>0.2222222222222222</c:v>
                </c:pt>
                <c:pt idx="30">
                  <c:v>0.1111111111111111</c:v>
                </c:pt>
                <c:pt idx="31">
                  <c:v>0.1111111111111111</c:v>
                </c:pt>
                <c:pt idx="32">
                  <c:v>0.2857142857142857</c:v>
                </c:pt>
                <c:pt idx="33">
                  <c:v>0.4</c:v>
                </c:pt>
                <c:pt idx="34">
                  <c:v>0.4</c:v>
                </c:pt>
                <c:pt idx="35">
                  <c:v>0.36363636363636365</c:v>
                </c:pt>
                <c:pt idx="36">
                  <c:v>0.42857142857142855</c:v>
                </c:pt>
                <c:pt idx="37">
                  <c:v>0.2</c:v>
                </c:pt>
                <c:pt idx="38">
                  <c:v>0.2857142857142857</c:v>
                </c:pt>
                <c:pt idx="39">
                  <c:v>0.2727272727272727</c:v>
                </c:pt>
                <c:pt idx="40">
                  <c:v>0.04878048780487805</c:v>
                </c:pt>
                <c:pt idx="41">
                  <c:v>0.12903225806451613</c:v>
                </c:pt>
                <c:pt idx="42">
                  <c:v>0.25</c:v>
                </c:pt>
                <c:pt idx="43">
                  <c:v>0.2</c:v>
                </c:pt>
                <c:pt idx="44">
                  <c:v>0.16666666666666666</c:v>
                </c:pt>
                <c:pt idx="45">
                  <c:v>0.23076923076923078</c:v>
                </c:pt>
                <c:pt idx="46">
                  <c:v>0.2727272727272727</c:v>
                </c:pt>
                <c:pt idx="47">
                  <c:v>0.375</c:v>
                </c:pt>
                <c:pt idx="48">
                  <c:v>0.23076923076923078</c:v>
                </c:pt>
                <c:pt idx="49">
                  <c:v>0.25</c:v>
                </c:pt>
                <c:pt idx="50">
                  <c:v>0.2631578947368421</c:v>
                </c:pt>
                <c:pt idx="51">
                  <c:v>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019897336902602</c:v>
                </c:pt>
              </c:numCache>
            </c:numRef>
          </c:xVal>
          <c:yVal>
            <c:numRef>
              <c:f>Sheet1!$B$163:$B$164</c:f>
              <c:numCache>
                <c:formatCode>General</c:formatCode>
                <c:ptCount val="2"/>
                <c:pt idx="0">
                  <c:v>0.3708458208458208</c:v>
                </c:pt>
                <c:pt idx="1">
                  <c:v>0.370845820845820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019897336902602</c:v>
                </c:pt>
                <c:pt idx="1">
                  <c:v>-0.8019897336902602</c:v>
                </c:pt>
              </c:numCache>
            </c:numRef>
          </c:xVal>
          <c:yVal>
            <c:numRef>
              <c:f>Sheet1!$B$167:$B$168</c:f>
              <c:numCache>
                <c:formatCode>General</c:formatCode>
                <c:ptCount val="2"/>
                <c:pt idx="0">
                  <c:v>0.37084582084582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3731626887146777</c:v>
                </c:pt>
              </c:numCache>
            </c:numRef>
          </c:xVal>
          <c:yVal>
            <c:numRef>
              <c:f>Sheet1!$B$171:$B$172</c:f>
              <c:numCache>
                <c:formatCode>General</c:formatCode>
                <c:ptCount val="2"/>
                <c:pt idx="0">
                  <c:v>0.26985514485514484</c:v>
                </c:pt>
                <c:pt idx="1">
                  <c:v>0.269855144855144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3731626887146777</c:v>
                </c:pt>
                <c:pt idx="1">
                  <c:v>1.3731626887146777</c:v>
                </c:pt>
              </c:numCache>
            </c:numRef>
          </c:xVal>
          <c:yVal>
            <c:numRef>
              <c:f>Sheet1!$B$175:$B$176</c:f>
              <c:numCache>
                <c:formatCode>General</c:formatCode>
                <c:ptCount val="2"/>
                <c:pt idx="0">
                  <c:v>0.269855144855144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978593864461653</c:v>
                </c:pt>
              </c:numCache>
            </c:numRef>
          </c:xVal>
          <c:yVal>
            <c:numRef>
              <c:f>Sheet1!$B$179:$B$180</c:f>
              <c:numCache>
                <c:formatCode>General</c:formatCode>
                <c:ptCount val="2"/>
                <c:pt idx="0">
                  <c:v>0.22227925494353154</c:v>
                </c:pt>
                <c:pt idx="1">
                  <c:v>0.222279254943531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978593864461653</c:v>
                </c:pt>
                <c:pt idx="1">
                  <c:v>2.3978593864461653</c:v>
                </c:pt>
              </c:numCache>
            </c:numRef>
          </c:xVal>
          <c:yVal>
            <c:numRef>
              <c:f>Sheet1!$B$183:$B$184</c:f>
              <c:numCache>
                <c:formatCode>General</c:formatCode>
                <c:ptCount val="2"/>
                <c:pt idx="0">
                  <c:v>0.222279254943531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783494904300273</c:v>
                </c:pt>
                <c:pt idx="1">
                  <c:v>1.389989341633654</c:v>
                </c:pt>
                <c:pt idx="2">
                  <c:v>1.7557278552971576</c:v>
                </c:pt>
                <c:pt idx="3">
                  <c:v>1.457023098913665</c:v>
                </c:pt>
                <c:pt idx="4">
                  <c:v>1.9087067905108572</c:v>
                </c:pt>
                <c:pt idx="5">
                  <c:v>1.8149296446458383</c:v>
                </c:pt>
                <c:pt idx="6">
                  <c:v>2.389749730823686</c:v>
                </c:pt>
                <c:pt idx="7">
                  <c:v>1.5831202046035806</c:v>
                </c:pt>
                <c:pt idx="8">
                  <c:v>1.163971659574468</c:v>
                </c:pt>
                <c:pt idx="9">
                  <c:v>0.9157895038088653</c:v>
                </c:pt>
                <c:pt idx="10">
                  <c:v>1.7038327526132404</c:v>
                </c:pt>
                <c:pt idx="11">
                  <c:v>2.051661705102258</c:v>
                </c:pt>
                <c:pt idx="12">
                  <c:v>1.4849891364902508</c:v>
                </c:pt>
                <c:pt idx="13">
                  <c:v>1.2969378194575374</c:v>
                </c:pt>
                <c:pt idx="14">
                  <c:v>1.6473620875488808</c:v>
                </c:pt>
                <c:pt idx="15">
                  <c:v>1.9996455705299232</c:v>
                </c:pt>
                <c:pt idx="16">
                  <c:v>1.9457676091693803</c:v>
                </c:pt>
                <c:pt idx="17">
                  <c:v>1.3139967053624522</c:v>
                </c:pt>
                <c:pt idx="18">
                  <c:v>1.175564681724846</c:v>
                </c:pt>
                <c:pt idx="19">
                  <c:v>1.5206098686122698</c:v>
                </c:pt>
                <c:pt idx="20">
                  <c:v>4.472392388600536</c:v>
                </c:pt>
                <c:pt idx="21">
                  <c:v>1.0900562851782365</c:v>
                </c:pt>
                <c:pt idx="22">
                  <c:v>1.3085004775549187</c:v>
                </c:pt>
                <c:pt idx="23">
                  <c:v>2.088050314465409</c:v>
                </c:pt>
                <c:pt idx="24">
                  <c:v>1.8133373382053186</c:v>
                </c:pt>
                <c:pt idx="25">
                  <c:v>0.7668067226890757</c:v>
                </c:pt>
                <c:pt idx="26">
                  <c:v>0.6854676258992806</c:v>
                </c:pt>
                <c:pt idx="27">
                  <c:v>1.2976886283385478</c:v>
                </c:pt>
                <c:pt idx="28">
                  <c:v>1.3159692570452604</c:v>
                </c:pt>
                <c:pt idx="29">
                  <c:v>1.3160331013564661</c:v>
                </c:pt>
                <c:pt idx="30">
                  <c:v>1.4053567191696297</c:v>
                </c:pt>
                <c:pt idx="31">
                  <c:v>1.9981490746126633</c:v>
                </c:pt>
                <c:pt idx="32">
                  <c:v>1.2628465804066544</c:v>
                </c:pt>
                <c:pt idx="33">
                  <c:v>1.7260681449432125</c:v>
                </c:pt>
                <c:pt idx="34">
                  <c:v>1.3430830039525692</c:v>
                </c:pt>
                <c:pt idx="35">
                  <c:v>1.9115362206253643</c:v>
                </c:pt>
                <c:pt idx="36">
                  <c:v>1.642683315954119</c:v>
                </c:pt>
                <c:pt idx="37">
                  <c:v>1.743049705139006</c:v>
                </c:pt>
                <c:pt idx="38">
                  <c:v>1.220274147274466</c:v>
                </c:pt>
                <c:pt idx="39">
                  <c:v>1.0181115676916583</c:v>
                </c:pt>
                <c:pt idx="40">
                  <c:v>4.590807146554679</c:v>
                </c:pt>
                <c:pt idx="41">
                  <c:v>4.537004249291785</c:v>
                </c:pt>
                <c:pt idx="42">
                  <c:v>2.5335843691148776</c:v>
                </c:pt>
                <c:pt idx="43">
                  <c:v>3.0569782803191856</c:v>
                </c:pt>
                <c:pt idx="44">
                  <c:v>2.0634824667472795</c:v>
                </c:pt>
                <c:pt idx="45">
                  <c:v>1.8727656401012631</c:v>
                </c:pt>
                <c:pt idx="46">
                  <c:v>1.4370651124966116</c:v>
                </c:pt>
                <c:pt idx="47">
                  <c:v>1.8373626373626373</c:v>
                </c:pt>
                <c:pt idx="48">
                  <c:v>2.1033825105582413</c:v>
                </c:pt>
                <c:pt idx="49">
                  <c:v>1.6674673071790767</c:v>
                </c:pt>
                <c:pt idx="50">
                  <c:v>1.4920961554961443</c:v>
                </c:pt>
                <c:pt idx="51">
                  <c:v>1.156244183882375</c:v>
                </c:pt>
                <c:pt idx="52">
                  <c:v>1.3731626887146777</c:v>
                </c:pt>
                <c:pt idx="53">
                  <c:v>-0.8019897336902602</c:v>
                </c:pt>
                <c:pt idx="54">
                  <c:v>2.3978593864461653</c:v>
                </c:pt>
              </c:numCache>
            </c:numRef>
          </c:xVal>
          <c:yVal>
            <c:numRef>
              <c:f>Sheet1!$B$187:$B$241</c:f>
              <c:numCache>
                <c:formatCode>General</c:formatCode>
                <c:ptCount val="55"/>
                <c:pt idx="0">
                  <c:v>0.2556855532940217</c:v>
                </c:pt>
                <c:pt idx="1">
                  <c:v>0.2690738961318627</c:v>
                </c:pt>
                <c:pt idx="2">
                  <c:v>0.25209293454487464</c:v>
                </c:pt>
                <c:pt idx="3">
                  <c:v>0.2659615696612339</c:v>
                </c:pt>
                <c:pt idx="4">
                  <c:v>0.24499023869679065</c:v>
                </c:pt>
                <c:pt idx="5">
                  <c:v>0.2493442404006866</c:v>
                </c:pt>
                <c:pt idx="6">
                  <c:v>0.22265578009870216</c:v>
                </c:pt>
                <c:pt idx="7">
                  <c:v>0.2601069767541252</c:v>
                </c:pt>
                <c:pt idx="8">
                  <c:v>0.2795677255582005</c:v>
                </c:pt>
                <c:pt idx="9">
                  <c:v>0.2910906346754749</c:v>
                </c:pt>
                <c:pt idx="10">
                  <c:v>0.25450238477313025</c:v>
                </c:pt>
                <c:pt idx="11">
                  <c:v>0.23835295051777988</c:v>
                </c:pt>
                <c:pt idx="12">
                  <c:v>0.26466312776330136</c:v>
                </c:pt>
                <c:pt idx="13">
                  <c:v>0.2733942076786449</c:v>
                </c:pt>
                <c:pt idx="14">
                  <c:v>0.25712427488977196</c:v>
                </c:pt>
                <c:pt idx="15">
                  <c:v>0.24076802016474927</c:v>
                </c:pt>
                <c:pt idx="16">
                  <c:v>0.24326953301633358</c:v>
                </c:pt>
                <c:pt idx="17">
                  <c:v>0.27260217655409485</c:v>
                </c:pt>
                <c:pt idx="18">
                  <c:v>0.2790294703390802</c:v>
                </c:pt>
                <c:pt idx="19">
                  <c:v>0.26300928420768144</c:v>
                </c:pt>
                <c:pt idx="20">
                  <c:v>0.12596026226305762</c:v>
                </c:pt>
                <c:pt idx="21">
                  <c:v>0.2829995602882586</c:v>
                </c:pt>
                <c:pt idx="22">
                  <c:v>0.2728573622394584</c:v>
                </c:pt>
                <c:pt idx="23">
                  <c:v>0.2366634550046875</c:v>
                </c:pt>
                <c:pt idx="24">
                  <c:v>0.2494181699801294</c:v>
                </c:pt>
                <c:pt idx="25">
                  <c:v>0.29800779212213474</c:v>
                </c:pt>
                <c:pt idx="26">
                  <c:v>0.3017843046481812</c:v>
                </c:pt>
                <c:pt idx="27">
                  <c:v>0.27335934819217766</c:v>
                </c:pt>
                <c:pt idx="28">
                  <c:v>0.2725105924766659</c:v>
                </c:pt>
                <c:pt idx="29">
                  <c:v>0.2725076282337556</c:v>
                </c:pt>
                <c:pt idx="30">
                  <c:v>0.26836040045699583</c:v>
                </c:pt>
                <c:pt idx="31">
                  <c:v>0.2408375013343191</c:v>
                </c:pt>
                <c:pt idx="32">
                  <c:v>0.274977038031886</c:v>
                </c:pt>
                <c:pt idx="33">
                  <c:v>0.2534700123843305</c:v>
                </c:pt>
                <c:pt idx="34">
                  <c:v>0.27125172178760326</c:v>
                </c:pt>
                <c:pt idx="35">
                  <c:v>0.24485887040416476</c:v>
                </c:pt>
                <c:pt idx="36">
                  <c:v>0.2573415067036411</c:v>
                </c:pt>
                <c:pt idx="37">
                  <c:v>0.25268157143376324</c:v>
                </c:pt>
                <c:pt idx="38">
                  <c:v>0.27695364378893633</c:v>
                </c:pt>
                <c:pt idx="39">
                  <c:v>0.2863398989137672</c:v>
                </c:pt>
                <c:pt idx="40">
                  <c:v>0.12046235493027443</c:v>
                </c:pt>
                <c:pt idx="41">
                  <c:v>0.12296038261278003</c:v>
                </c:pt>
                <c:pt idx="42">
                  <c:v>0.21597764701603694</c:v>
                </c:pt>
                <c:pt idx="43">
                  <c:v>0.19167686498464026</c:v>
                </c:pt>
                <c:pt idx="44">
                  <c:v>0.23780412152678188</c:v>
                </c:pt>
                <c:pt idx="45">
                  <c:v>0.2466589590302992</c:v>
                </c:pt>
                <c:pt idx="46">
                  <c:v>0.2668882038220908</c:v>
                </c:pt>
                <c:pt idx="47">
                  <c:v>0.24830269357590887</c:v>
                </c:pt>
                <c:pt idx="48">
                  <c:v>0.23595159277752237</c:v>
                </c:pt>
                <c:pt idx="49">
                  <c:v>0.25619080480258166</c:v>
                </c:pt>
                <c:pt idx="50">
                  <c:v>0.2643331542652188</c:v>
                </c:pt>
                <c:pt idx="51">
                  <c:v>0.279926506389285</c:v>
                </c:pt>
                <c:pt idx="52">
                  <c:v>0.26985514485514484</c:v>
                </c:pt>
                <c:pt idx="53">
                  <c:v>0.3708458208458208</c:v>
                </c:pt>
                <c:pt idx="54">
                  <c:v>0.222279254943531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3636363636363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1.0</c:v>
                </c:pt>
                <c:pt idx="1">
                  <c:v>1006.25</c:v>
                </c:pt>
                <c:pt idx="2">
                  <c:v>1255.1667</c:v>
                </c:pt>
                <c:pt idx="3">
                  <c:v>1253.2</c:v>
                </c:pt>
                <c:pt idx="4">
                  <c:v>1191.3333</c:v>
                </c:pt>
                <c:pt idx="5">
                  <c:v>1131.75</c:v>
                </c:pt>
                <c:pt idx="6">
                  <c:v>1242.75</c:v>
                </c:pt>
                <c:pt idx="7">
                  <c:v>1228.75</c:v>
                </c:pt>
                <c:pt idx="8">
                  <c:v>1086.5</c:v>
                </c:pt>
                <c:pt idx="9">
                  <c:v>1157.8571</c:v>
                </c:pt>
                <c:pt idx="10">
                  <c:v>1257.2</c:v>
                </c:pt>
                <c:pt idx="11">
                  <c:v>1309.0</c:v>
                </c:pt>
                <c:pt idx="12">
                  <c:v>1172.875</c:v>
                </c:pt>
                <c:pt idx="13">
                  <c:v>1115.4286</c:v>
                </c:pt>
                <c:pt idx="14">
                  <c:v>1120.6</c:v>
                </c:pt>
                <c:pt idx="15">
                  <c:v>1233.8333</c:v>
                </c:pt>
                <c:pt idx="16">
                  <c:v>1199.5</c:v>
                </c:pt>
                <c:pt idx="17">
                  <c:v>1201.75</c:v>
                </c:pt>
                <c:pt idx="18">
                  <c:v>1478.6667</c:v>
                </c:pt>
                <c:pt idx="19">
                  <c:v>1250.0</c:v>
                </c:pt>
                <c:pt idx="20">
                  <c:v>1375.0</c:v>
                </c:pt>
                <c:pt idx="21">
                  <c:v>1486.3333</c:v>
                </c:pt>
                <c:pt idx="22">
                  <c:v>1764.0</c:v>
                </c:pt>
                <c:pt idx="23">
                  <c:v>1250.0</c:v>
                </c:pt>
                <c:pt idx="24">
                  <c:v>1589.3333</c:v>
                </c:pt>
                <c:pt idx="25">
                  <c:v>1104.5</c:v>
                </c:pt>
                <c:pt idx="26">
                  <c:v>1312.5</c:v>
                </c:pt>
                <c:pt idx="27">
                  <c:v>1241.5</c:v>
                </c:pt>
                <c:pt idx="28">
                  <c:v>1444.5</c:v>
                </c:pt>
                <c:pt idx="29">
                  <c:v>1210.0</c:v>
                </c:pt>
                <c:pt idx="30">
                  <c:v>1066.0</c:v>
                </c:pt>
                <c:pt idx="31">
                  <c:v>1200.0</c:v>
                </c:pt>
                <c:pt idx="32">
                  <c:v>1132.3333</c:v>
                </c:pt>
                <c:pt idx="33">
                  <c:v>1247.4</c:v>
                </c:pt>
                <c:pt idx="34">
                  <c:v>1163.1</c:v>
                </c:pt>
                <c:pt idx="35">
                  <c:v>1335.3333</c:v>
                </c:pt>
                <c:pt idx="36">
                  <c:v>1307.4286</c:v>
                </c:pt>
                <c:pt idx="37">
                  <c:v>1340.0</c:v>
                </c:pt>
                <c:pt idx="38">
                  <c:v>1241.6667</c:v>
                </c:pt>
                <c:pt idx="39">
                  <c:v>1375.0</c:v>
                </c:pt>
                <c:pt idx="40">
                  <c:v>1266.0</c:v>
                </c:pt>
                <c:pt idx="41">
                  <c:v>1963.0</c:v>
                </c:pt>
                <c:pt idx="42">
                  <c:v>1529.0</c:v>
                </c:pt>
                <c:pt idx="43">
                  <c:v>1768.0</c:v>
                </c:pt>
                <c:pt idx="44">
                  <c:v>1532.0</c:v>
                </c:pt>
                <c:pt idx="45">
                  <c:v>1455.6</c:v>
                </c:pt>
                <c:pt idx="46">
                  <c:v>1406.5</c:v>
                </c:pt>
                <c:pt idx="47">
                  <c:v>1414.8333</c:v>
                </c:pt>
                <c:pt idx="48">
                  <c:v>1518.2857</c:v>
                </c:pt>
                <c:pt idx="49">
                  <c:v>1509.4286</c:v>
                </c:pt>
                <c:pt idx="50">
                  <c:v>1461.25</c:v>
                </c:pt>
                <c:pt idx="51">
                  <c:v>1658.0</c:v>
                </c:pt>
                <c:pt idx="52">
                  <c:v>1524.0</c:v>
                </c:pt>
                <c:pt idx="53">
                  <c:v>1775.25</c:v>
                </c:pt>
                <c:pt idx="54">
                  <c:v>1519.3333</c:v>
                </c:pt>
                <c:pt idx="55">
                  <c:v>1284.75</c:v>
                </c:pt>
                <c:pt idx="56">
                  <c:v>1514.6667</c:v>
                </c:pt>
                <c:pt idx="57">
                  <c:v>1451.0</c:v>
                </c:pt>
                <c:pt idx="58">
                  <c:v>1380.6667</c:v>
                </c:pt>
                <c:pt idx="59">
                  <c:v>1518.3333</c:v>
                </c:pt>
                <c:pt idx="60">
                  <c:v>1493.25</c:v>
                </c:pt>
                <c:pt idx="61">
                  <c:v>1968.5</c:v>
                </c:pt>
                <c:pt idx="62">
                  <c:v>1765.3333</c:v>
                </c:pt>
                <c:pt idx="63">
                  <c:v>1423.0</c:v>
                </c:pt>
                <c:pt idx="64">
                  <c:v>1750.8571</c:v>
                </c:pt>
                <c:pt idx="65">
                  <c:v>1803.0</c:v>
                </c:pt>
                <c:pt idx="66">
                  <c:v>1407.7143</c:v>
                </c:pt>
                <c:pt idx="67">
                  <c:v>1338.1667</c:v>
                </c:pt>
                <c:pt idx="68">
                  <c:v>1603.75</c:v>
                </c:pt>
                <c:pt idx="69">
                  <c:v>1398.0</c:v>
                </c:pt>
                <c:pt idx="70">
                  <c:v>1392.0</c:v>
                </c:pt>
                <c:pt idx="71">
                  <c:v>1276.3333</c:v>
                </c:pt>
                <c:pt idx="72">
                  <c:v>1176.3333</c:v>
                </c:pt>
                <c:pt idx="73">
                  <c:v>1311.0</c:v>
                </c:pt>
                <c:pt idx="74">
                  <c:v>1453.6667</c:v>
                </c:pt>
                <c:pt idx="75">
                  <c:v>1202.0</c:v>
                </c:pt>
                <c:pt idx="76">
                  <c:v>1456.5</c:v>
                </c:pt>
                <c:pt idx="77">
                  <c:v>1470.5</c:v>
                </c:pt>
                <c:pt idx="78">
                  <c:v>1447.0</c:v>
                </c:pt>
                <c:pt idx="79">
                  <c:v>1787.0</c:v>
                </c:pt>
                <c:pt idx="80">
                  <c:v>0.0</c:v>
                </c:pt>
                <c:pt idx="81">
                  <c:v>1297.6667</c:v>
                </c:pt>
                <c:pt idx="82">
                  <c:v>1402.0</c:v>
                </c:pt>
                <c:pt idx="83">
                  <c:v>1019.0</c:v>
                </c:pt>
                <c:pt idx="84">
                  <c:v>0.0</c:v>
                </c:pt>
                <c:pt idx="85">
                  <c:v>2102.0</c:v>
                </c:pt>
                <c:pt idx="86">
                  <c:v>1754.3333</c:v>
                </c:pt>
                <c:pt idx="87">
                  <c:v>1331.0</c:v>
                </c:pt>
                <c:pt idx="88">
                  <c:v>1503.6667</c:v>
                </c:pt>
                <c:pt idx="89">
                  <c:v>1539.0</c:v>
                </c:pt>
                <c:pt idx="90">
                  <c:v>1130.3333</c:v>
                </c:pt>
                <c:pt idx="91">
                  <c:v>1780.5</c:v>
                </c:pt>
                <c:pt idx="92">
                  <c:v>2002.0</c:v>
                </c:pt>
                <c:pt idx="93">
                  <c:v>2066.0</c:v>
                </c:pt>
                <c:pt idx="94">
                  <c:v>1344.0</c:v>
                </c:pt>
                <c:pt idx="95">
                  <c:v>1243.75</c:v>
                </c:pt>
                <c:pt idx="96">
                  <c:v>1386.8</c:v>
                </c:pt>
                <c:pt idx="97">
                  <c:v>1102.6667</c:v>
                </c:pt>
                <c:pt idx="98">
                  <c:v>1542.1429</c:v>
                </c:pt>
                <c:pt idx="99">
                  <c:v>1389.3333</c:v>
                </c:pt>
                <c:pt idx="100">
                  <c:v>1663.6667</c:v>
                </c:pt>
                <c:pt idx="101">
                  <c:v>1015.1111</c:v>
                </c:pt>
                <c:pt idx="102">
                  <c:v>1262.5</c:v>
                </c:pt>
                <c:pt idx="103">
                  <c:v>1960.3333</c:v>
                </c:pt>
                <c:pt idx="104">
                  <c:v>1255.0</c:v>
                </c:pt>
              </c:numCache>
            </c:numRef>
          </c:xVal>
          <c:yVal>
            <c:numRef>
              <c:f>Sheet1!$B$2:$B$106</c:f>
              <c:numCache>
                <c:formatCode>General</c:formatCode>
                <c:ptCount val="105"/>
                <c:pt idx="0">
                  <c:v>0.3076923076923077</c:v>
                </c:pt>
                <c:pt idx="1">
                  <c:v>0.34782608695652173</c:v>
                </c:pt>
                <c:pt idx="2">
                  <c:v>0.3157894736842105</c:v>
                </c:pt>
                <c:pt idx="3">
                  <c:v>0.2777777777777778</c:v>
                </c:pt>
                <c:pt idx="4">
                  <c:v>0.35294117647058826</c:v>
                </c:pt>
                <c:pt idx="5">
                  <c:v>0.2857142857142857</c:v>
                </c:pt>
                <c:pt idx="6">
                  <c:v>0.2</c:v>
                </c:pt>
                <c:pt idx="7">
                  <c:v>0.3076923076923077</c:v>
                </c:pt>
                <c:pt idx="8">
                  <c:v>0.3333333333333333</c:v>
                </c:pt>
                <c:pt idx="9">
                  <c:v>0.3181818181818182</c:v>
                </c:pt>
                <c:pt idx="10">
                  <c:v>0.23809523809523808</c:v>
                </c:pt>
                <c:pt idx="11">
                  <c:v>0.3076923076923077</c:v>
                </c:pt>
                <c:pt idx="12">
                  <c:v>0.42105263157894735</c:v>
                </c:pt>
                <c:pt idx="13">
                  <c:v>0.4375</c:v>
                </c:pt>
                <c:pt idx="14">
                  <c:v>0.3333333333333333</c:v>
                </c:pt>
                <c:pt idx="15">
                  <c:v>0.5454545454545454</c:v>
                </c:pt>
                <c:pt idx="16">
                  <c:v>0.4</c:v>
                </c:pt>
                <c:pt idx="17">
                  <c:v>0.3076923076923077</c:v>
                </c:pt>
                <c:pt idx="18">
                  <c:v>0.2727272727272727</c:v>
                </c:pt>
                <c:pt idx="19">
                  <c:v>0.16666666666666666</c:v>
                </c:pt>
                <c:pt idx="20">
                  <c:v>0.2857142857142857</c:v>
                </c:pt>
                <c:pt idx="21">
                  <c:v>0.375</c:v>
                </c:pt>
                <c:pt idx="22">
                  <c:v>0.125</c:v>
                </c:pt>
                <c:pt idx="23">
                  <c:v>0.3333333333333333</c:v>
                </c:pt>
                <c:pt idx="24">
                  <c:v>0.3333333333333333</c:v>
                </c:pt>
                <c:pt idx="25">
                  <c:v>0.4</c:v>
                </c:pt>
                <c:pt idx="26">
                  <c:v>0.4444444444444444</c:v>
                </c:pt>
                <c:pt idx="27">
                  <c:v>0.375</c:v>
                </c:pt>
                <c:pt idx="28">
                  <c:v>0.25</c:v>
                </c:pt>
                <c:pt idx="29">
                  <c:v>0.4444444444444444</c:v>
                </c:pt>
                <c:pt idx="30">
                  <c:v>0.42857142857142855</c:v>
                </c:pt>
                <c:pt idx="31">
                  <c:v>0.4444444444444444</c:v>
                </c:pt>
                <c:pt idx="32">
                  <c:v>0.3333333333333333</c:v>
                </c:pt>
                <c:pt idx="33">
                  <c:v>0.45454545454545453</c:v>
                </c:pt>
                <c:pt idx="34">
                  <c:v>0.45454545454545453</c:v>
                </c:pt>
                <c:pt idx="35">
                  <c:v>0.42857142857142855</c:v>
                </c:pt>
                <c:pt idx="36">
                  <c:v>0.4375</c:v>
                </c:pt>
                <c:pt idx="37">
                  <c:v>0.4444444444444444</c:v>
                </c:pt>
                <c:pt idx="38">
                  <c:v>0.3333333333333333</c:v>
                </c:pt>
                <c:pt idx="39">
                  <c:v>0.2222222222222222</c:v>
                </c:pt>
                <c:pt idx="40">
                  <c:v>0.1</c:v>
                </c:pt>
                <c:pt idx="41">
                  <c:v>0.058823529411764705</c:v>
                </c:pt>
                <c:pt idx="42">
                  <c:v>0.18181818181818182</c:v>
                </c:pt>
                <c:pt idx="43">
                  <c:v>0.19047619047619047</c:v>
                </c:pt>
                <c:pt idx="44">
                  <c:v>0.17857142857142858</c:v>
                </c:pt>
                <c:pt idx="45">
                  <c:v>0.18518518518518517</c:v>
                </c:pt>
                <c:pt idx="46">
                  <c:v>0.25</c:v>
                </c:pt>
                <c:pt idx="47">
                  <c:v>0.35294117647058826</c:v>
                </c:pt>
                <c:pt idx="48">
                  <c:v>0.2692307692307692</c:v>
                </c:pt>
                <c:pt idx="49">
                  <c:v>0.45652173913043476</c:v>
                </c:pt>
                <c:pt idx="50">
                  <c:v>0.25</c:v>
                </c:pt>
                <c:pt idx="51">
                  <c:v>0.3</c:v>
                </c:pt>
                <c:pt idx="52">
                  <c:v>0.3</c:v>
                </c:pt>
                <c:pt idx="53">
                  <c:v>0.3076923076923077</c:v>
                </c:pt>
                <c:pt idx="54">
                  <c:v>0.25</c:v>
                </c:pt>
                <c:pt idx="55">
                  <c:v>0.26666666666666666</c:v>
                </c:pt>
                <c:pt idx="56">
                  <c:v>0.1875</c:v>
                </c:pt>
                <c:pt idx="57">
                  <c:v>0.1</c:v>
                </c:pt>
                <c:pt idx="58">
                  <c:v>0.08823529411764706</c:v>
                </c:pt>
                <c:pt idx="59">
                  <c:v>0.12</c:v>
                </c:pt>
                <c:pt idx="60">
                  <c:v>0.20512820512820512</c:v>
                </c:pt>
                <c:pt idx="61">
                  <c:v>0.19047619047619047</c:v>
                </c:pt>
                <c:pt idx="62">
                  <c:v>0.11538461538461539</c:v>
                </c:pt>
                <c:pt idx="63">
                  <c:v>0.21739130434782608</c:v>
                </c:pt>
                <c:pt idx="64">
                  <c:v>0.30434782608695654</c:v>
                </c:pt>
                <c:pt idx="65">
                  <c:v>0.2</c:v>
                </c:pt>
                <c:pt idx="66">
                  <c:v>0.35</c:v>
                </c:pt>
                <c:pt idx="67">
                  <c:v>0.2608695652173913</c:v>
                </c:pt>
                <c:pt idx="68">
                  <c:v>0.2857142857142857</c:v>
                </c:pt>
                <c:pt idx="69">
                  <c:v>0.36363636363636365</c:v>
                </c:pt>
                <c:pt idx="70">
                  <c:v>0.36363636363636365</c:v>
                </c:pt>
                <c:pt idx="71">
                  <c:v>0.3333333333333333</c:v>
                </c:pt>
                <c:pt idx="72">
                  <c:v>0.3333333333333333</c:v>
                </c:pt>
                <c:pt idx="73">
                  <c:v>0.3333333333333333</c:v>
                </c:pt>
                <c:pt idx="74">
                  <c:v>0.3333333333333333</c:v>
                </c:pt>
                <c:pt idx="75">
                  <c:v>0.2857142857142857</c:v>
                </c:pt>
                <c:pt idx="76">
                  <c:v>0.2857142857142857</c:v>
                </c:pt>
                <c:pt idx="77">
                  <c:v>0.3333333333333333</c:v>
                </c:pt>
                <c:pt idx="78">
                  <c:v>0.2</c:v>
                </c:pt>
                <c:pt idx="79">
                  <c:v>0.3333333333333333</c:v>
                </c:pt>
                <c:pt idx="80">
                  <c:v>0.0</c:v>
                </c:pt>
                <c:pt idx="81">
                  <c:v>0.375</c:v>
                </c:pt>
                <c:pt idx="82">
                  <c:v>0.16666666666666666</c:v>
                </c:pt>
                <c:pt idx="83">
                  <c:v>0.4</c:v>
                </c:pt>
                <c:pt idx="84">
                  <c:v>0.0</c:v>
                </c:pt>
                <c:pt idx="85">
                  <c:v>0.2</c:v>
                </c:pt>
                <c:pt idx="86">
                  <c:v>0.3333333333333333</c:v>
                </c:pt>
                <c:pt idx="87">
                  <c:v>0.6363636363636364</c:v>
                </c:pt>
                <c:pt idx="88">
                  <c:v>0.42857142857142855</c:v>
                </c:pt>
                <c:pt idx="89">
                  <c:v>0.2857142857142857</c:v>
                </c:pt>
                <c:pt idx="90">
                  <c:v>0.3333333333333333</c:v>
                </c:pt>
                <c:pt idx="91">
                  <c:v>0.2</c:v>
                </c:pt>
                <c:pt idx="92">
                  <c:v>0.2</c:v>
                </c:pt>
                <c:pt idx="93">
                  <c:v>0.25</c:v>
                </c:pt>
                <c:pt idx="94">
                  <c:v>0.2222222222222222</c:v>
                </c:pt>
                <c:pt idx="95">
                  <c:v>0.5</c:v>
                </c:pt>
                <c:pt idx="96">
                  <c:v>0.2631578947368421</c:v>
                </c:pt>
                <c:pt idx="97">
                  <c:v>0.42857142857142855</c:v>
                </c:pt>
                <c:pt idx="98">
                  <c:v>0.3181818181818182</c:v>
                </c:pt>
                <c:pt idx="99">
                  <c:v>0.35294117647058826</c:v>
                </c:pt>
                <c:pt idx="100">
                  <c:v>0.3333333333333333</c:v>
                </c:pt>
                <c:pt idx="101">
                  <c:v>0.45</c:v>
                </c:pt>
                <c:pt idx="102">
                  <c:v>0.4444444444444444</c:v>
                </c:pt>
                <c:pt idx="103">
                  <c:v>0.3333333333333333</c:v>
                </c:pt>
                <c:pt idx="104">
                  <c:v>0.33333333333333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688.0</c:v>
                </c:pt>
                <c:pt idx="1">
                  <c:v>1473.6667</c:v>
                </c:pt>
                <c:pt idx="2">
                  <c:v>1698.6667</c:v>
                </c:pt>
                <c:pt idx="3">
                  <c:v>1274.1667</c:v>
                </c:pt>
                <c:pt idx="4">
                  <c:v>1520.6667</c:v>
                </c:pt>
                <c:pt idx="5">
                  <c:v>1902.5</c:v>
                </c:pt>
                <c:pt idx="6">
                  <c:v>1632.0</c:v>
                </c:pt>
                <c:pt idx="7">
                  <c:v>1857.0</c:v>
                </c:pt>
                <c:pt idx="8">
                  <c:v>1367.6667</c:v>
                </c:pt>
                <c:pt idx="9">
                  <c:v>928.0</c:v>
                </c:pt>
                <c:pt idx="10">
                  <c:v>1956.0</c:v>
                </c:pt>
                <c:pt idx="11">
                  <c:v>1587.4</c:v>
                </c:pt>
                <c:pt idx="12">
                  <c:v>1599.3333</c:v>
                </c:pt>
                <c:pt idx="13">
                  <c:v>1397.6667</c:v>
                </c:pt>
                <c:pt idx="14">
                  <c:v>1811.0</c:v>
                </c:pt>
                <c:pt idx="15">
                  <c:v>1881.0</c:v>
                </c:pt>
                <c:pt idx="16">
                  <c:v>1770.0</c:v>
                </c:pt>
                <c:pt idx="17">
                  <c:v>1298.6667</c:v>
                </c:pt>
                <c:pt idx="18">
                  <c:v>1145.0</c:v>
                </c:pt>
                <c:pt idx="19">
                  <c:v>1512.5</c:v>
                </c:pt>
                <c:pt idx="20">
                  <c:v>2673.0</c:v>
                </c:pt>
                <c:pt idx="21">
                  <c:v>1162.0</c:v>
                </c:pt>
                <c:pt idx="22">
                  <c:v>1370.0</c:v>
                </c:pt>
                <c:pt idx="23">
                  <c:v>1660.0</c:v>
                </c:pt>
                <c:pt idx="24">
                  <c:v>1985.0</c:v>
                </c:pt>
                <c:pt idx="25">
                  <c:v>1095.0</c:v>
                </c:pt>
                <c:pt idx="26">
                  <c:v>1191.0</c:v>
                </c:pt>
                <c:pt idx="27">
                  <c:v>1703.0</c:v>
                </c:pt>
                <c:pt idx="28">
                  <c:v>1541.0</c:v>
                </c:pt>
                <c:pt idx="29">
                  <c:v>1327.0</c:v>
                </c:pt>
                <c:pt idx="30">
                  <c:v>1819.0</c:v>
                </c:pt>
                <c:pt idx="31">
                  <c:v>2519.0</c:v>
                </c:pt>
                <c:pt idx="32">
                  <c:v>1708.0</c:v>
                </c:pt>
                <c:pt idx="33">
                  <c:v>1595.75</c:v>
                </c:pt>
                <c:pt idx="34">
                  <c:v>1699.0</c:v>
                </c:pt>
                <c:pt idx="35">
                  <c:v>1968.5</c:v>
                </c:pt>
                <c:pt idx="36">
                  <c:v>1575.3333</c:v>
                </c:pt>
                <c:pt idx="37">
                  <c:v>2069.0</c:v>
                </c:pt>
                <c:pt idx="38">
                  <c:v>1914.0</c:v>
                </c:pt>
                <c:pt idx="39">
                  <c:v>1405.3333</c:v>
                </c:pt>
                <c:pt idx="40">
                  <c:v>1544.0</c:v>
                </c:pt>
                <c:pt idx="41">
                  <c:v>1537.5</c:v>
                </c:pt>
                <c:pt idx="42">
                  <c:v>1345.3333</c:v>
                </c:pt>
                <c:pt idx="43">
                  <c:v>1568.6667</c:v>
                </c:pt>
                <c:pt idx="44">
                  <c:v>1706.5</c:v>
                </c:pt>
                <c:pt idx="45">
                  <c:v>1624.0</c:v>
                </c:pt>
                <c:pt idx="46">
                  <c:v>1325.3333</c:v>
                </c:pt>
                <c:pt idx="47">
                  <c:v>1672.0</c:v>
                </c:pt>
                <c:pt idx="48">
                  <c:v>1471.6667</c:v>
                </c:pt>
                <c:pt idx="49">
                  <c:v>1562.0</c:v>
                </c:pt>
                <c:pt idx="50">
                  <c:v>1500.8</c:v>
                </c:pt>
                <c:pt idx="51">
                  <c:v>1242.5</c:v>
                </c:pt>
              </c:numCache>
            </c:numRef>
          </c:xVal>
          <c:yVal>
            <c:numRef>
              <c:f>Sheet1!$B$109:$B$160</c:f>
              <c:numCache>
                <c:formatCode>General</c:formatCode>
                <c:ptCount val="52"/>
                <c:pt idx="0">
                  <c:v>0.23076923076923078</c:v>
                </c:pt>
                <c:pt idx="1">
                  <c:v>0.2727272727272727</c:v>
                </c:pt>
                <c:pt idx="2">
                  <c:v>0.2727272727272727</c:v>
                </c:pt>
                <c:pt idx="3">
                  <c:v>0.375</c:v>
                </c:pt>
                <c:pt idx="4">
                  <c:v>0.15789473684210525</c:v>
                </c:pt>
                <c:pt idx="5">
                  <c:v>0.15384615384615385</c:v>
                </c:pt>
                <c:pt idx="6">
                  <c:v>0.1</c:v>
                </c:pt>
                <c:pt idx="7">
                  <c:v>0.09090909090909091</c:v>
                </c:pt>
                <c:pt idx="8">
                  <c:v>0.3333333333333333</c:v>
                </c:pt>
                <c:pt idx="9">
                  <c:v>0.16666666666666666</c:v>
                </c:pt>
                <c:pt idx="10">
                  <c:v>0.14285714285714285</c:v>
                </c:pt>
                <c:pt idx="11">
                  <c:v>0.2777777777777778</c:v>
                </c:pt>
                <c:pt idx="12">
                  <c:v>0.375</c:v>
                </c:pt>
                <c:pt idx="13">
                  <c:v>0.25</c:v>
                </c:pt>
                <c:pt idx="14">
                  <c:v>0.18181818181818182</c:v>
                </c:pt>
                <c:pt idx="15">
                  <c:v>0.2222222222222222</c:v>
                </c:pt>
                <c:pt idx="16">
                  <c:v>0.2727272727272727</c:v>
                </c:pt>
                <c:pt idx="17">
                  <c:v>0.3</c:v>
                </c:pt>
                <c:pt idx="18">
                  <c:v>0.3333333333333333</c:v>
                </c:pt>
                <c:pt idx="19">
                  <c:v>0.2857142857142857</c:v>
                </c:pt>
                <c:pt idx="20">
                  <c:v>0.2</c:v>
                </c:pt>
                <c:pt idx="21">
                  <c:v>0.5</c:v>
                </c:pt>
                <c:pt idx="22">
                  <c:v>0.5</c:v>
                </c:pt>
                <c:pt idx="23">
                  <c:v>0.3333333333333333</c:v>
                </c:pt>
                <c:pt idx="24">
                  <c:v>0.2</c:v>
                </c:pt>
                <c:pt idx="25">
                  <c:v>0.3333333333333333</c:v>
                </c:pt>
                <c:pt idx="26">
                  <c:v>0.14285714285714285</c:v>
                </c:pt>
                <c:pt idx="27">
                  <c:v>0.125</c:v>
                </c:pt>
                <c:pt idx="28">
                  <c:v>0.25</c:v>
                </c:pt>
                <c:pt idx="29">
                  <c:v>0.2222222222222222</c:v>
                </c:pt>
                <c:pt idx="30">
                  <c:v>0.1111111111111111</c:v>
                </c:pt>
                <c:pt idx="31">
                  <c:v>0.1111111111111111</c:v>
                </c:pt>
                <c:pt idx="32">
                  <c:v>0.2857142857142857</c:v>
                </c:pt>
                <c:pt idx="33">
                  <c:v>0.4</c:v>
                </c:pt>
                <c:pt idx="34">
                  <c:v>0.4</c:v>
                </c:pt>
                <c:pt idx="35">
                  <c:v>0.36363636363636365</c:v>
                </c:pt>
                <c:pt idx="36">
                  <c:v>0.42857142857142855</c:v>
                </c:pt>
                <c:pt idx="37">
                  <c:v>0.2</c:v>
                </c:pt>
                <c:pt idx="38">
                  <c:v>0.2857142857142857</c:v>
                </c:pt>
                <c:pt idx="39">
                  <c:v>0.2727272727272727</c:v>
                </c:pt>
                <c:pt idx="40">
                  <c:v>0.04878048780487805</c:v>
                </c:pt>
                <c:pt idx="41">
                  <c:v>0.12903225806451613</c:v>
                </c:pt>
                <c:pt idx="42">
                  <c:v>0.25</c:v>
                </c:pt>
                <c:pt idx="43">
                  <c:v>0.2</c:v>
                </c:pt>
                <c:pt idx="44">
                  <c:v>0.16666666666666666</c:v>
                </c:pt>
                <c:pt idx="45">
                  <c:v>0.23076923076923078</c:v>
                </c:pt>
                <c:pt idx="46">
                  <c:v>0.2727272727272727</c:v>
                </c:pt>
                <c:pt idx="47">
                  <c:v>0.375</c:v>
                </c:pt>
                <c:pt idx="48">
                  <c:v>0.23076923076923078</c:v>
                </c:pt>
                <c:pt idx="49">
                  <c:v>0.25</c:v>
                </c:pt>
                <c:pt idx="50">
                  <c:v>0.2631578947368421</c:v>
                </c:pt>
                <c:pt idx="51">
                  <c:v>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86.0608723770971</c:v>
                </c:pt>
              </c:numCache>
            </c:numRef>
          </c:xVal>
          <c:yVal>
            <c:numRef>
              <c:f>Sheet1!$B$163:$B$164</c:f>
              <c:numCache>
                <c:formatCode>General</c:formatCode>
                <c:ptCount val="2"/>
                <c:pt idx="0">
                  <c:v>0.3708458208458208</c:v>
                </c:pt>
                <c:pt idx="1">
                  <c:v>0.370845820845820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86.0608723770971</c:v>
                </c:pt>
                <c:pt idx="1">
                  <c:v>386.0608723770971</c:v>
                </c:pt>
              </c:numCache>
            </c:numRef>
          </c:xVal>
          <c:yVal>
            <c:numRef>
              <c:f>Sheet1!$B$167:$B$168</c:f>
              <c:numCache>
                <c:formatCode>General</c:formatCode>
                <c:ptCount val="2"/>
                <c:pt idx="0">
                  <c:v>0.37084582084582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16.1727465646893</c:v>
                </c:pt>
              </c:numCache>
            </c:numRef>
          </c:xVal>
          <c:yVal>
            <c:numRef>
              <c:f>Sheet1!$B$171:$B$172</c:f>
              <c:numCache>
                <c:formatCode>General</c:formatCode>
                <c:ptCount val="2"/>
                <c:pt idx="0">
                  <c:v>0.26985514485514484</c:v>
                </c:pt>
                <c:pt idx="1">
                  <c:v>0.269855144855144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16.1727465646893</c:v>
                </c:pt>
                <c:pt idx="1">
                  <c:v>1416.1727465646893</c:v>
                </c:pt>
              </c:numCache>
            </c:numRef>
          </c:xVal>
          <c:yVal>
            <c:numRef>
              <c:f>Sheet1!$B$175:$B$176</c:f>
              <c:numCache>
                <c:formatCode>General</c:formatCode>
                <c:ptCount val="2"/>
                <c:pt idx="0">
                  <c:v>0.269855144855144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901.450111452506</c:v>
                </c:pt>
              </c:numCache>
            </c:numRef>
          </c:xVal>
          <c:yVal>
            <c:numRef>
              <c:f>Sheet1!$B$179:$B$180</c:f>
              <c:numCache>
                <c:formatCode>General</c:formatCode>
                <c:ptCount val="2"/>
                <c:pt idx="0">
                  <c:v>0.22227925494353154</c:v>
                </c:pt>
                <c:pt idx="1">
                  <c:v>0.222279254943531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901.450111452506</c:v>
                </c:pt>
                <c:pt idx="1">
                  <c:v>1901.450111452506</c:v>
                </c:pt>
              </c:numCache>
            </c:numRef>
          </c:xVal>
          <c:yVal>
            <c:numRef>
              <c:f>Sheet1!$B$183:$B$184</c:f>
              <c:numCache>
                <c:formatCode>General</c:formatCode>
                <c:ptCount val="2"/>
                <c:pt idx="0">
                  <c:v>0.222279254943531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688.0</c:v>
                </c:pt>
                <c:pt idx="1">
                  <c:v>1473.6667</c:v>
                </c:pt>
                <c:pt idx="2">
                  <c:v>1698.6667</c:v>
                </c:pt>
                <c:pt idx="3">
                  <c:v>1274.1667</c:v>
                </c:pt>
                <c:pt idx="4">
                  <c:v>1520.6667</c:v>
                </c:pt>
                <c:pt idx="5">
                  <c:v>1902.5</c:v>
                </c:pt>
                <c:pt idx="6">
                  <c:v>1632.0</c:v>
                </c:pt>
                <c:pt idx="7">
                  <c:v>1857.0</c:v>
                </c:pt>
                <c:pt idx="8">
                  <c:v>1367.6667</c:v>
                </c:pt>
                <c:pt idx="9">
                  <c:v>928.0</c:v>
                </c:pt>
                <c:pt idx="10">
                  <c:v>1956.0</c:v>
                </c:pt>
                <c:pt idx="11">
                  <c:v>1587.4</c:v>
                </c:pt>
                <c:pt idx="12">
                  <c:v>1599.3333</c:v>
                </c:pt>
                <c:pt idx="13">
                  <c:v>1397.6667</c:v>
                </c:pt>
                <c:pt idx="14">
                  <c:v>1811.0</c:v>
                </c:pt>
                <c:pt idx="15">
                  <c:v>1881.0</c:v>
                </c:pt>
                <c:pt idx="16">
                  <c:v>1770.0</c:v>
                </c:pt>
                <c:pt idx="17">
                  <c:v>1298.6667</c:v>
                </c:pt>
                <c:pt idx="18">
                  <c:v>1145.0</c:v>
                </c:pt>
                <c:pt idx="19">
                  <c:v>1512.5</c:v>
                </c:pt>
                <c:pt idx="20">
                  <c:v>2673.0</c:v>
                </c:pt>
                <c:pt idx="21">
                  <c:v>1162.0</c:v>
                </c:pt>
                <c:pt idx="22">
                  <c:v>1370.0</c:v>
                </c:pt>
                <c:pt idx="23">
                  <c:v>1660.0</c:v>
                </c:pt>
                <c:pt idx="24">
                  <c:v>1985.0</c:v>
                </c:pt>
                <c:pt idx="25">
                  <c:v>1095.0</c:v>
                </c:pt>
                <c:pt idx="26">
                  <c:v>1191.0</c:v>
                </c:pt>
                <c:pt idx="27">
                  <c:v>1703.0</c:v>
                </c:pt>
                <c:pt idx="28">
                  <c:v>1541.0</c:v>
                </c:pt>
                <c:pt idx="29">
                  <c:v>1327.0</c:v>
                </c:pt>
                <c:pt idx="30">
                  <c:v>1819.0</c:v>
                </c:pt>
                <c:pt idx="31">
                  <c:v>2519.0</c:v>
                </c:pt>
                <c:pt idx="32">
                  <c:v>1708.0</c:v>
                </c:pt>
                <c:pt idx="33">
                  <c:v>1595.75</c:v>
                </c:pt>
                <c:pt idx="34">
                  <c:v>1699.0</c:v>
                </c:pt>
                <c:pt idx="35">
                  <c:v>1968.5</c:v>
                </c:pt>
                <c:pt idx="36">
                  <c:v>1575.3333</c:v>
                </c:pt>
                <c:pt idx="37">
                  <c:v>2069.0</c:v>
                </c:pt>
                <c:pt idx="38">
                  <c:v>1914.0</c:v>
                </c:pt>
                <c:pt idx="39">
                  <c:v>1405.3333</c:v>
                </c:pt>
                <c:pt idx="40">
                  <c:v>1544.0</c:v>
                </c:pt>
                <c:pt idx="41">
                  <c:v>1537.5</c:v>
                </c:pt>
                <c:pt idx="42">
                  <c:v>1345.3333</c:v>
                </c:pt>
                <c:pt idx="43">
                  <c:v>1568.6667</c:v>
                </c:pt>
                <c:pt idx="44">
                  <c:v>1706.5</c:v>
                </c:pt>
                <c:pt idx="45">
                  <c:v>1624.0</c:v>
                </c:pt>
                <c:pt idx="46">
                  <c:v>1325.3333</c:v>
                </c:pt>
                <c:pt idx="47">
                  <c:v>1672.0</c:v>
                </c:pt>
                <c:pt idx="48">
                  <c:v>1471.6667</c:v>
                </c:pt>
                <c:pt idx="49">
                  <c:v>1562.0</c:v>
                </c:pt>
                <c:pt idx="50">
                  <c:v>1500.8</c:v>
                </c:pt>
                <c:pt idx="51">
                  <c:v>1242.5</c:v>
                </c:pt>
                <c:pt idx="52">
                  <c:v>1416.1727465646893</c:v>
                </c:pt>
                <c:pt idx="53">
                  <c:v>386.0608723770971</c:v>
                </c:pt>
                <c:pt idx="54">
                  <c:v>1901.450111452506</c:v>
                </c:pt>
              </c:numCache>
            </c:numRef>
          </c:xVal>
          <c:yVal>
            <c:numRef>
              <c:f>Sheet1!$B$187:$B$241</c:f>
              <c:numCache>
                <c:formatCode>General</c:formatCode>
                <c:ptCount val="55"/>
                <c:pt idx="0">
                  <c:v>0.24320559468005232</c:v>
                </c:pt>
                <c:pt idx="1">
                  <c:v>0.2642185209424386</c:v>
                </c:pt>
                <c:pt idx="2">
                  <c:v>0.2421598468631569</c:v>
                </c:pt>
                <c:pt idx="3">
                  <c:v>0.28377721195940164</c:v>
                </c:pt>
                <c:pt idx="4">
                  <c:v>0.25961070902365524</c:v>
                </c:pt>
                <c:pt idx="5">
                  <c:v>0.22217632539113713</c:v>
                </c:pt>
                <c:pt idx="6">
                  <c:v>0.24869575356200688</c:v>
                </c:pt>
                <c:pt idx="7">
                  <c:v>0.2266370794827252</c:v>
                </c:pt>
                <c:pt idx="8">
                  <c:v>0.2746106073975668</c:v>
                </c:pt>
                <c:pt idx="9">
                  <c:v>0.3177148937922926</c:v>
                </c:pt>
                <c:pt idx="10">
                  <c:v>0.2169312628878413</c:v>
                </c:pt>
                <c:pt idx="11">
                  <c:v>0.2530682729572778</c:v>
                </c:pt>
                <c:pt idx="12">
                  <c:v>0.25189834951109874</c:v>
                </c:pt>
                <c:pt idx="13">
                  <c:v>0.27166945085366256</c:v>
                </c:pt>
                <c:pt idx="14">
                  <c:v>0.23114685285004502</c:v>
                </c:pt>
                <c:pt idx="15">
                  <c:v>0.22428415424760184</c:v>
                </c:pt>
                <c:pt idx="16">
                  <c:v>0.23516643346004745</c:v>
                </c:pt>
                <c:pt idx="17">
                  <c:v>0.2813752674485465</c:v>
                </c:pt>
                <c:pt idx="18">
                  <c:v>0.2964405281247187</c:v>
                </c:pt>
                <c:pt idx="19">
                  <c:v>0.26041136046189206</c:v>
                </c:pt>
                <c:pt idx="20">
                  <c:v>0.14663762148853038</c:v>
                </c:pt>
                <c:pt idx="21">
                  <c:v>0.2947738727498397</c:v>
                </c:pt>
                <c:pt idx="22">
                  <c:v>0.2743818540454371</c:v>
                </c:pt>
                <c:pt idx="23">
                  <c:v>0.2459506741210296</c:v>
                </c:pt>
                <c:pt idx="24">
                  <c:v>0.21408814489540054</c:v>
                </c:pt>
                <c:pt idx="25">
                  <c:v>0.3013424556978924</c:v>
                </c:pt>
                <c:pt idx="26">
                  <c:v>0.29193075475739894</c:v>
                </c:pt>
                <c:pt idx="27">
                  <c:v>0.24173501640810022</c:v>
                </c:pt>
                <c:pt idx="28">
                  <c:v>0.257617261745183</c:v>
                </c:pt>
                <c:pt idx="29">
                  <c:v>0.27859751175836645</c:v>
                </c:pt>
                <c:pt idx="30">
                  <c:v>0.23036254443833723</c:v>
                </c:pt>
                <c:pt idx="31">
                  <c:v>0.16173555841390538</c:v>
                </c:pt>
                <c:pt idx="32">
                  <c:v>0.24124482365078284</c:v>
                </c:pt>
                <c:pt idx="33">
                  <c:v>0.2522496510525578</c:v>
                </c:pt>
                <c:pt idx="34">
                  <c:v>0.2421271706139541</c:v>
                </c:pt>
                <c:pt idx="35">
                  <c:v>0.21570578099454785</c:v>
                </c:pt>
                <c:pt idx="36">
                  <c:v>0.2542512747462221</c:v>
                </c:pt>
                <c:pt idx="37">
                  <c:v>0.2058529065724687</c:v>
                </c:pt>
                <c:pt idx="38">
                  <c:v>0.2210488820493072</c:v>
                </c:pt>
                <c:pt idx="39">
                  <c:v>0.27091782849501267</c:v>
                </c:pt>
                <c:pt idx="40">
                  <c:v>0.2573231460907926</c:v>
                </c:pt>
                <c:pt idx="41">
                  <c:v>0.2579603966753052</c:v>
                </c:pt>
                <c:pt idx="42">
                  <c:v>0.2768001415828212</c:v>
                </c:pt>
                <c:pt idx="43">
                  <c:v>0.2549048585534085</c:v>
                </c:pt>
                <c:pt idx="44">
                  <c:v>0.24139188147797805</c:v>
                </c:pt>
                <c:pt idx="45">
                  <c:v>0.24948006197371467</c:v>
                </c:pt>
                <c:pt idx="46">
                  <c:v>0.27876091261209063</c:v>
                </c:pt>
                <c:pt idx="47">
                  <c:v>0.2447742115034679</c:v>
                </c:pt>
                <c:pt idx="48">
                  <c:v>0.2644145980453655</c:v>
                </c:pt>
                <c:pt idx="49">
                  <c:v>0.25555845216445006</c:v>
                </c:pt>
                <c:pt idx="50">
                  <c:v>0.2615584115140147</c:v>
                </c:pt>
                <c:pt idx="51">
                  <c:v>0.28688176935703</c:v>
                </c:pt>
                <c:pt idx="52">
                  <c:v>0.26985514485514484</c:v>
                </c:pt>
                <c:pt idx="53">
                  <c:v>0.3708458208458208</c:v>
                </c:pt>
                <c:pt idx="54">
                  <c:v>0.222279254943531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0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63636363636363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11268278766617</c:v>
                </c:pt>
                <c:pt idx="1">
                  <c:v>0.5719892208201157</c:v>
                </c:pt>
                <c:pt idx="2">
                  <c:v>0.5867394776575356</c:v>
                </c:pt>
                <c:pt idx="3">
                  <c:v>0.5670557307368255</c:v>
                </c:pt>
                <c:pt idx="4">
                  <c:v>0.5617203313408491</c:v>
                </c:pt>
                <c:pt idx="5">
                  <c:v>0.5852021692791102</c:v>
                </c:pt>
                <c:pt idx="6">
                  <c:v>0.6376303618727075</c:v>
                </c:pt>
                <c:pt idx="7">
                  <c:v>0.6053908053785421</c:v>
                </c:pt>
                <c:pt idx="8">
                  <c:v>0.6190221931418023</c:v>
                </c:pt>
                <c:pt idx="9">
                  <c:v>0.7205175463593155</c:v>
                </c:pt>
                <c:pt idx="10">
                  <c:v>0.6820728341054338</c:v>
                </c:pt>
                <c:pt idx="11">
                  <c:v>0.6971118484496821</c:v>
                </c:pt>
                <c:pt idx="12">
                  <c:v>0.6618294641702402</c:v>
                </c:pt>
                <c:pt idx="13">
                  <c:v>0.7265523350854712</c:v>
                </c:pt>
                <c:pt idx="14">
                  <c:v>0.7061999334110204</c:v>
                </c:pt>
                <c:pt idx="15">
                  <c:v>0.6754416984911465</c:v>
                </c:pt>
                <c:pt idx="16">
                  <c:v>0.6888362424790699</c:v>
                </c:pt>
                <c:pt idx="17">
                  <c:v>0.6680170880583256</c:v>
                </c:pt>
                <c:pt idx="18">
                  <c:v>0.730744737201839</c:v>
                </c:pt>
                <c:pt idx="19">
                  <c:v>0.6741484049354208</c:v>
                </c:pt>
                <c:pt idx="20">
                  <c:v>0.6727077195563232</c:v>
                </c:pt>
                <c:pt idx="21">
                  <c:v>0.5735194515316554</c:v>
                </c:pt>
                <c:pt idx="22">
                  <c:v>0.6156047518655765</c:v>
                </c:pt>
                <c:pt idx="23">
                  <c:v>0.6268822104556514</c:v>
                </c:pt>
                <c:pt idx="24">
                  <c:v>0.553819976649498</c:v>
                </c:pt>
                <c:pt idx="25">
                  <c:v>0.6028557805089898</c:v>
                </c:pt>
                <c:pt idx="26">
                  <c:v>0.5395716533631328</c:v>
                </c:pt>
                <c:pt idx="27">
                  <c:v>0.5862951950260107</c:v>
                </c:pt>
                <c:pt idx="28">
                  <c:v>0.5783793991286217</c:v>
                </c:pt>
                <c:pt idx="29">
                  <c:v>0.557771508040213</c:v>
                </c:pt>
                <c:pt idx="30">
                  <c:v>0.5353017539512772</c:v>
                </c:pt>
                <c:pt idx="31">
                  <c:v>0.6830111907736461</c:v>
                </c:pt>
                <c:pt idx="32">
                  <c:v>0.5538098193055112</c:v>
                </c:pt>
                <c:pt idx="33">
                  <c:v>0.5386042147178692</c:v>
                </c:pt>
                <c:pt idx="34">
                  <c:v>0.5559804556309627</c:v>
                </c:pt>
                <c:pt idx="35">
                  <c:v>0.5868856260106301</c:v>
                </c:pt>
                <c:pt idx="36">
                  <c:v>0.6893482153967377</c:v>
                </c:pt>
                <c:pt idx="37">
                  <c:v>0.6864127668135278</c:v>
                </c:pt>
                <c:pt idx="38">
                  <c:v>0.888492022042245</c:v>
                </c:pt>
                <c:pt idx="39">
                  <c:v>0.8021851638872916</c:v>
                </c:pt>
                <c:pt idx="40">
                  <c:v>0.7586072244239872</c:v>
                </c:pt>
                <c:pt idx="41">
                  <c:v>0.7190682447528058</c:v>
                </c:pt>
                <c:pt idx="42">
                  <c:v>0.7230370354341275</c:v>
                </c:pt>
                <c:pt idx="43">
                  <c:v>0.7893039070739257</c:v>
                </c:pt>
                <c:pt idx="44">
                  <c:v>0.7473136885367972</c:v>
                </c:pt>
                <c:pt idx="45">
                  <c:v>0.8908498228358336</c:v>
                </c:pt>
                <c:pt idx="46">
                  <c:v>0.7600858488360879</c:v>
                </c:pt>
                <c:pt idx="47">
                  <c:v>0.9465187355169331</c:v>
                </c:pt>
                <c:pt idx="48">
                  <c:v>0.8754025000755105</c:v>
                </c:pt>
                <c:pt idx="49">
                  <c:v>0.850275868239528</c:v>
                </c:pt>
                <c:pt idx="50">
                  <c:v>0.8299458740361423</c:v>
                </c:pt>
                <c:pt idx="51">
                  <c:v>0.8308055418928739</c:v>
                </c:pt>
                <c:pt idx="52">
                  <c:v>0.826852139694631</c:v>
                </c:pt>
                <c:pt idx="53">
                  <c:v>0.7669109231171924</c:v>
                </c:pt>
                <c:pt idx="54">
                  <c:v>0.7184483788220405</c:v>
                </c:pt>
                <c:pt idx="55">
                  <c:v>0.8644878739308436</c:v>
                </c:pt>
                <c:pt idx="56">
                  <c:v>0.7392469715193695</c:v>
                </c:pt>
                <c:pt idx="57">
                  <c:v>0.7044925015846965</c:v>
                </c:pt>
                <c:pt idx="58">
                  <c:v>0.7487970937010866</c:v>
                </c:pt>
                <c:pt idx="59">
                  <c:v>0.7569549861374135</c:v>
                </c:pt>
                <c:pt idx="60">
                  <c:v>0.7276914332538202</c:v>
                </c:pt>
                <c:pt idx="61">
                  <c:v>0.8380060900887519</c:v>
                </c:pt>
                <c:pt idx="62">
                  <c:v>0.8389055297579224</c:v>
                </c:pt>
                <c:pt idx="63">
                  <c:v>0.9817484709590123</c:v>
                </c:pt>
                <c:pt idx="64">
                  <c:v>0.9560402276672134</c:v>
                </c:pt>
                <c:pt idx="65">
                  <c:v>0.888686165099415</c:v>
                </c:pt>
                <c:pt idx="66">
                  <c:v>0.8630542484502723</c:v>
                </c:pt>
                <c:pt idx="67">
                  <c:v>0.9477769417550697</c:v>
                </c:pt>
                <c:pt idx="68">
                  <c:v>0.9431522321495527</c:v>
                </c:pt>
                <c:pt idx="69">
                  <c:v>0.9696384344220154</c:v>
                </c:pt>
                <c:pt idx="70">
                  <c:v>0.8495329902992873</c:v>
                </c:pt>
                <c:pt idx="71">
                  <c:v>0.8622597625667019</c:v>
                </c:pt>
                <c:pt idx="72">
                  <c:v>0.8797580246499821</c:v>
                </c:pt>
                <c:pt idx="73">
                  <c:v>0.7814646401871267</c:v>
                </c:pt>
                <c:pt idx="74">
                  <c:v>0.8728157388457849</c:v>
                </c:pt>
                <c:pt idx="75">
                  <c:v>0.9720952976172342</c:v>
                </c:pt>
                <c:pt idx="76">
                  <c:v>0.8388013599150338</c:v>
                </c:pt>
                <c:pt idx="77">
                  <c:v>0.8652012178400815</c:v>
                </c:pt>
                <c:pt idx="78">
                  <c:v>0.9101293456808454</c:v>
                </c:pt>
                <c:pt idx="79">
                  <c:v>0.5271867824181585</c:v>
                </c:pt>
                <c:pt idx="80">
                  <c:v>0.510692902375657</c:v>
                </c:pt>
                <c:pt idx="81">
                  <c:v>0.4760125758776751</c:v>
                </c:pt>
                <c:pt idx="82">
                  <c:v>0.49984197373534534</c:v>
                </c:pt>
                <c:pt idx="83">
                  <c:v>0.4622019790923527</c:v>
                </c:pt>
                <c:pt idx="84">
                  <c:v>0.3716062890736317</c:v>
                </c:pt>
                <c:pt idx="85">
                  <c:v>0.461821192925488</c:v>
                </c:pt>
                <c:pt idx="86">
                  <c:v>0.44628822197391227</c:v>
                </c:pt>
                <c:pt idx="87">
                  <c:v>0.4663296577166992</c:v>
                </c:pt>
                <c:pt idx="88">
                  <c:v>0.5580723849603125</c:v>
                </c:pt>
                <c:pt idx="89">
                  <c:v>0.40673309740189456</c:v>
                </c:pt>
                <c:pt idx="90">
                  <c:v>0.41044706006268306</c:v>
                </c:pt>
                <c:pt idx="91">
                  <c:v>0.4326287031993021</c:v>
                </c:pt>
                <c:pt idx="92">
                  <c:v>0.41277610162627776</c:v>
                </c:pt>
                <c:pt idx="93">
                  <c:v>0.4709839670147425</c:v>
                </c:pt>
                <c:pt idx="94">
                  <c:v>0.479817402212439</c:v>
                </c:pt>
                <c:pt idx="95">
                  <c:v>0.48116184830645153</c:v>
                </c:pt>
                <c:pt idx="96">
                  <c:v>0.5032395104606219</c:v>
                </c:pt>
                <c:pt idx="97">
                  <c:v>0.5040441339850714</c:v>
                </c:pt>
                <c:pt idx="98">
                  <c:v>0.506956158695982</c:v>
                </c:pt>
                <c:pt idx="99">
                  <c:v>0.5628908551967652</c:v>
                </c:pt>
                <c:pt idx="100">
                  <c:v>0.7007744119618238</c:v>
                </c:pt>
                <c:pt idx="101">
                  <c:v>0.5687892558182572</c:v>
                </c:pt>
                <c:pt idx="102">
                  <c:v>0.43897277542470436</c:v>
                </c:pt>
                <c:pt idx="103">
                  <c:v>0.5848181915053544</c:v>
                </c:pt>
                <c:pt idx="104">
                  <c:v>0.575401364196346</c:v>
                </c:pt>
              </c:numCache>
            </c:numRef>
          </c:xVal>
          <c:yVal>
            <c:numRef>
              <c:f>Sheet1!$B$2:$B$106</c:f>
              <c:numCache>
                <c:formatCode>General</c:formatCode>
                <c:ptCount val="105"/>
                <c:pt idx="0">
                  <c:v>0.011162790697674419</c:v>
                </c:pt>
                <c:pt idx="1">
                  <c:v>0.015486725663716814</c:v>
                </c:pt>
                <c:pt idx="2">
                  <c:v>0.014192139737991267</c:v>
                </c:pt>
                <c:pt idx="3">
                  <c:v>0.009603841536614645</c:v>
                </c:pt>
                <c:pt idx="4">
                  <c:v>0.015235457063711912</c:v>
                </c:pt>
                <c:pt idx="5">
                  <c:v>0.014539579967689823</c:v>
                </c:pt>
                <c:pt idx="6">
                  <c:v>0.012704174228675136</c:v>
                </c:pt>
                <c:pt idx="7">
                  <c:v>0.01627906976744186</c:v>
                </c:pt>
                <c:pt idx="8">
                  <c:v>0.017699115044247787</c:v>
                </c:pt>
                <c:pt idx="9">
                  <c:v>0.01858736059479554</c:v>
                </c:pt>
                <c:pt idx="10">
                  <c:v>0.013937282229965157</c:v>
                </c:pt>
                <c:pt idx="11">
                  <c:v>0.011494252873563218</c:v>
                </c:pt>
                <c:pt idx="12">
                  <c:v>0.011049723756906077</c:v>
                </c:pt>
                <c:pt idx="13">
                  <c:v>0.011124845488257108</c:v>
                </c:pt>
                <c:pt idx="14">
                  <c:v>0.007658643326039387</c:v>
                </c:pt>
                <c:pt idx="15">
                  <c:v>0.006775067750677507</c:v>
                </c:pt>
                <c:pt idx="16">
                  <c:v>0.013377926421404682</c:v>
                </c:pt>
                <c:pt idx="17">
                  <c:v>0.008912655971479501</c:v>
                </c:pt>
                <c:pt idx="18">
                  <c:v>0.012919896640826873</c:v>
                </c:pt>
                <c:pt idx="19">
                  <c:v>0.011764705882352941</c:v>
                </c:pt>
                <c:pt idx="20">
                  <c:v>0.0121580547112462</c:v>
                </c:pt>
                <c:pt idx="21">
                  <c:v>0.015306122448979591</c:v>
                </c:pt>
                <c:pt idx="22">
                  <c:v>0.02262443438914027</c:v>
                </c:pt>
                <c:pt idx="23">
                  <c:v>0.02112676056338028</c:v>
                </c:pt>
                <c:pt idx="24">
                  <c:v>0.025510204081632654</c:v>
                </c:pt>
                <c:pt idx="25">
                  <c:v>0.012012012012012012</c:v>
                </c:pt>
                <c:pt idx="26">
                  <c:v>0.0196078431372549</c:v>
                </c:pt>
                <c:pt idx="27">
                  <c:v>0.020202020202020204</c:v>
                </c:pt>
                <c:pt idx="28">
                  <c:v>0.015</c:v>
                </c:pt>
                <c:pt idx="29">
                  <c:v>0.01509433962264151</c:v>
                </c:pt>
                <c:pt idx="30">
                  <c:v>0.01928374655647383</c:v>
                </c:pt>
                <c:pt idx="31">
                  <c:v>0.01775147928994083</c:v>
                </c:pt>
                <c:pt idx="32">
                  <c:v>0.027777777777777776</c:v>
                </c:pt>
                <c:pt idx="33">
                  <c:v>0.02466367713004484</c:v>
                </c:pt>
                <c:pt idx="34">
                  <c:v>0.022764227642276424</c:v>
                </c:pt>
                <c:pt idx="35">
                  <c:v>0.02102496714848883</c:v>
                </c:pt>
                <c:pt idx="36">
                  <c:v>0.009505703422053232</c:v>
                </c:pt>
                <c:pt idx="37">
                  <c:v>0.0049504950495049506</c:v>
                </c:pt>
                <c:pt idx="38">
                  <c:v>0.004750593824228029</c:v>
                </c:pt>
                <c:pt idx="39">
                  <c:v>0.008948545861297539</c:v>
                </c:pt>
                <c:pt idx="40">
                  <c:v>0.012089810017271158</c:v>
                </c:pt>
                <c:pt idx="41">
                  <c:v>0.006507592190889371</c:v>
                </c:pt>
                <c:pt idx="42">
                  <c:v>0.005681818181818182</c:v>
                </c:pt>
                <c:pt idx="43">
                  <c:v>0.005008347245409015</c:v>
                </c:pt>
                <c:pt idx="44">
                  <c:v>0.004259850905218318</c:v>
                </c:pt>
                <c:pt idx="45">
                  <c:v>0.003134796238244514</c:v>
                </c:pt>
                <c:pt idx="46">
                  <c:v>0.0029411764705882353</c:v>
                </c:pt>
                <c:pt idx="47">
                  <c:v>0.005252100840336135</c:v>
                </c:pt>
                <c:pt idx="48">
                  <c:v>0.007957559681697613</c:v>
                </c:pt>
                <c:pt idx="49">
                  <c:v>0.007894736842105263</c:v>
                </c:pt>
                <c:pt idx="50">
                  <c:v>0.010427528675703858</c:v>
                </c:pt>
                <c:pt idx="51">
                  <c:v>0.010835913312693499</c:v>
                </c:pt>
                <c:pt idx="52">
                  <c:v>0.010604453870625663</c:v>
                </c:pt>
                <c:pt idx="53">
                  <c:v>0.0121765601217656</c:v>
                </c:pt>
                <c:pt idx="54">
                  <c:v>0.014678899082568808</c:v>
                </c:pt>
                <c:pt idx="55">
                  <c:v>0.006185567010309278</c:v>
                </c:pt>
                <c:pt idx="56">
                  <c:v>0.012958963282937365</c:v>
                </c:pt>
                <c:pt idx="57">
                  <c:v>0.011385199240986717</c:v>
                </c:pt>
                <c:pt idx="58">
                  <c:v>0.00974025974025974</c:v>
                </c:pt>
                <c:pt idx="59">
                  <c:v>0.010387157695939566</c:v>
                </c:pt>
                <c:pt idx="60">
                  <c:v>0.013201320132013201</c:v>
                </c:pt>
                <c:pt idx="61">
                  <c:v>0.014173228346456693</c:v>
                </c:pt>
                <c:pt idx="62">
                  <c:v>0.0077279752704791345</c:v>
                </c:pt>
                <c:pt idx="63">
                  <c:v>0.007863695937090432</c:v>
                </c:pt>
                <c:pt idx="64">
                  <c:v>0.014457831325301205</c:v>
                </c:pt>
                <c:pt idx="65">
                  <c:v>0.013630731102850062</c:v>
                </c:pt>
                <c:pt idx="66">
                  <c:v>0.01227830832196453</c:v>
                </c:pt>
                <c:pt idx="67">
                  <c:v>0.00909090909090909</c:v>
                </c:pt>
                <c:pt idx="68">
                  <c:v>0.014842300556586271</c:v>
                </c:pt>
                <c:pt idx="69">
                  <c:v>0.011655011655011656</c:v>
                </c:pt>
                <c:pt idx="70">
                  <c:v>0.01038961038961039</c:v>
                </c:pt>
                <c:pt idx="71">
                  <c:v>0.016025641025641024</c:v>
                </c:pt>
                <c:pt idx="72">
                  <c:v>0.008379888268156424</c:v>
                </c:pt>
                <c:pt idx="73">
                  <c:v>0.017191977077363897</c:v>
                </c:pt>
                <c:pt idx="74">
                  <c:v>0.007371007371007371</c:v>
                </c:pt>
                <c:pt idx="75">
                  <c:v>0.0034482758620689655</c:v>
                </c:pt>
                <c:pt idx="76">
                  <c:v>0.011857707509881422</c:v>
                </c:pt>
                <c:pt idx="77">
                  <c:v>0.006920415224913495</c:v>
                </c:pt>
                <c:pt idx="78">
                  <c:v>0.009216589861751152</c:v>
                </c:pt>
                <c:pt idx="79">
                  <c:v>0.006644518272425249</c:v>
                </c:pt>
                <c:pt idx="80">
                  <c:v>0.013559322033898305</c:v>
                </c:pt>
                <c:pt idx="81">
                  <c:v>0.015306122448979591</c:v>
                </c:pt>
                <c:pt idx="82">
                  <c:v>0.014652014652014652</c:v>
                </c:pt>
                <c:pt idx="83">
                  <c:v>0.01818181818181818</c:v>
                </c:pt>
                <c:pt idx="84">
                  <c:v>0.004629629629629629</c:v>
                </c:pt>
                <c:pt idx="85">
                  <c:v>0.011111111111111112</c:v>
                </c:pt>
                <c:pt idx="86">
                  <c:v>0.012658227848101266</c:v>
                </c:pt>
                <c:pt idx="87">
                  <c:v>0.010351966873706004</c:v>
                </c:pt>
                <c:pt idx="88">
                  <c:v>0.00625</c:v>
                </c:pt>
                <c:pt idx="89">
                  <c:v>0.011278195488721804</c:v>
                </c:pt>
                <c:pt idx="90">
                  <c:v>0.017857142857142856</c:v>
                </c:pt>
                <c:pt idx="91">
                  <c:v>0.013651877133105802</c:v>
                </c:pt>
                <c:pt idx="92">
                  <c:v>0.010554089709762533</c:v>
                </c:pt>
                <c:pt idx="93">
                  <c:v>0.015306122448979591</c:v>
                </c:pt>
                <c:pt idx="94">
                  <c:v>0.0125</c:v>
                </c:pt>
                <c:pt idx="95">
                  <c:v>0.012396694214876033</c:v>
                </c:pt>
                <c:pt idx="96">
                  <c:v>0.013054830287206266</c:v>
                </c:pt>
                <c:pt idx="97">
                  <c:v>0.009876543209876543</c:v>
                </c:pt>
                <c:pt idx="98">
                  <c:v>0.010328638497652582</c:v>
                </c:pt>
                <c:pt idx="99">
                  <c:v>0.004531722054380665</c:v>
                </c:pt>
                <c:pt idx="100">
                  <c:v>0.0030596634370219276</c:v>
                </c:pt>
                <c:pt idx="101">
                  <c:v>0.005035246727089627</c:v>
                </c:pt>
                <c:pt idx="102">
                  <c:v>0.005199306759098787</c:v>
                </c:pt>
                <c:pt idx="103">
                  <c:v>0.0029717682020802376</c:v>
                </c:pt>
                <c:pt idx="104">
                  <c:v>0.0033726812816188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417910392521041</c:v>
                </c:pt>
                <c:pt idx="1">
                  <c:v>0.398487017557898</c:v>
                </c:pt>
                <c:pt idx="2">
                  <c:v>0.43603187440227476</c:v>
                </c:pt>
                <c:pt idx="3">
                  <c:v>0.413130939275818</c:v>
                </c:pt>
                <c:pt idx="4">
                  <c:v>0.4270880802138092</c:v>
                </c:pt>
                <c:pt idx="5">
                  <c:v>0.42575491244921776</c:v>
                </c:pt>
                <c:pt idx="6">
                  <c:v>0.42332447634923875</c:v>
                </c:pt>
                <c:pt idx="7">
                  <c:v>0.44669633366394645</c:v>
                </c:pt>
                <c:pt idx="8">
                  <c:v>0.43864231291654104</c:v>
                </c:pt>
                <c:pt idx="9">
                  <c:v>0.45714321134582964</c:v>
                </c:pt>
                <c:pt idx="10">
                  <c:v>0.4310259367888377</c:v>
                </c:pt>
                <c:pt idx="11">
                  <c:v>0.474704572698214</c:v>
                </c:pt>
                <c:pt idx="12">
                  <c:v>0.4639752729493415</c:v>
                </c:pt>
                <c:pt idx="13">
                  <c:v>0.4613348737984255</c:v>
                </c:pt>
                <c:pt idx="14">
                  <c:v>0.45566064001384243</c:v>
                </c:pt>
                <c:pt idx="15">
                  <c:v>0.3969571067822325</c:v>
                </c:pt>
                <c:pt idx="16">
                  <c:v>0.4175592963197947</c:v>
                </c:pt>
                <c:pt idx="17">
                  <c:v>0.5066965660460062</c:v>
                </c:pt>
                <c:pt idx="18">
                  <c:v>0.413428760545883</c:v>
                </c:pt>
                <c:pt idx="19">
                  <c:v>0.4340207859091016</c:v>
                </c:pt>
                <c:pt idx="20">
                  <c:v>0.31501835123549576</c:v>
                </c:pt>
                <c:pt idx="21">
                  <c:v>0.0</c:v>
                </c:pt>
                <c:pt idx="22">
                  <c:v>0.4842286658702931</c:v>
                </c:pt>
                <c:pt idx="23">
                  <c:v>0.39952894753695295</c:v>
                </c:pt>
                <c:pt idx="24">
                  <c:v>0.35299094029693534</c:v>
                </c:pt>
                <c:pt idx="25">
                  <c:v>0.35399638166717307</c:v>
                </c:pt>
                <c:pt idx="26">
                  <c:v>0.5378206187068505</c:v>
                </c:pt>
                <c:pt idx="27">
                  <c:v>0.41458548396615313</c:v>
                </c:pt>
                <c:pt idx="28">
                  <c:v>0.28727232914578665</c:v>
                </c:pt>
                <c:pt idx="29">
                  <c:v>0.5262025714427547</c:v>
                </c:pt>
                <c:pt idx="30">
                  <c:v>0.5080717259234875</c:v>
                </c:pt>
                <c:pt idx="31">
                  <c:v>0.6442477365117647</c:v>
                </c:pt>
                <c:pt idx="32">
                  <c:v>0.5242021840570796</c:v>
                </c:pt>
                <c:pt idx="33">
                  <c:v>0.3628454831801069</c:v>
                </c:pt>
                <c:pt idx="34">
                  <c:v>0.46543691736641946</c:v>
                </c:pt>
                <c:pt idx="35">
                  <c:v>0.4007664721794027</c:v>
                </c:pt>
                <c:pt idx="36">
                  <c:v>0.0</c:v>
                </c:pt>
                <c:pt idx="37">
                  <c:v>0.23498089234484978</c:v>
                </c:pt>
                <c:pt idx="38">
                  <c:v>0.22337454558130113</c:v>
                </c:pt>
                <c:pt idx="39">
                  <c:v>0.23607772362572743</c:v>
                </c:pt>
                <c:pt idx="40">
                  <c:v>0.2531605773831241</c:v>
                </c:pt>
                <c:pt idx="41">
                  <c:v>0.26197761797684765</c:v>
                </c:pt>
                <c:pt idx="42">
                  <c:v>0.23464674789217452</c:v>
                </c:pt>
                <c:pt idx="43">
                  <c:v>0.2398035208453972</c:v>
                </c:pt>
                <c:pt idx="44">
                  <c:v>0.28006294521552505</c:v>
                </c:pt>
                <c:pt idx="45">
                  <c:v>0.28297078991362723</c:v>
                </c:pt>
                <c:pt idx="46">
                  <c:v>0.33922712999372884</c:v>
                </c:pt>
                <c:pt idx="47">
                  <c:v>0.3236331953240645</c:v>
                </c:pt>
                <c:pt idx="48">
                  <c:v>0.21280984828533156</c:v>
                </c:pt>
                <c:pt idx="49">
                  <c:v>0.0</c:v>
                </c:pt>
                <c:pt idx="50">
                  <c:v>0.0</c:v>
                </c:pt>
                <c:pt idx="51">
                  <c:v>0.0</c:v>
                </c:pt>
              </c:numCache>
            </c:numRef>
          </c:xVal>
          <c:yVal>
            <c:numRef>
              <c:f>Sheet1!$B$109:$B$160</c:f>
              <c:numCache>
                <c:formatCode>General</c:formatCode>
                <c:ptCount val="52"/>
                <c:pt idx="0">
                  <c:v>0.004830917874396135</c:v>
                </c:pt>
                <c:pt idx="1">
                  <c:v>0.012389380530973451</c:v>
                </c:pt>
                <c:pt idx="2">
                  <c:v>0.023076923076923078</c:v>
                </c:pt>
                <c:pt idx="3">
                  <c:v>0.02145214521452145</c:v>
                </c:pt>
                <c:pt idx="4">
                  <c:v>0.023853211009174313</c:v>
                </c:pt>
                <c:pt idx="5">
                  <c:v>0.020366598778004074</c:v>
                </c:pt>
                <c:pt idx="6">
                  <c:v>0.02033271719038817</c:v>
                </c:pt>
                <c:pt idx="7">
                  <c:v>0.020512820512820513</c:v>
                </c:pt>
                <c:pt idx="8">
                  <c:v>0.020689655172413793</c:v>
                </c:pt>
                <c:pt idx="9">
                  <c:v>0.011976047904191617</c:v>
                </c:pt>
                <c:pt idx="10">
                  <c:v>0.013850415512465374</c:v>
                </c:pt>
                <c:pt idx="11">
                  <c:v>0.014150943396226415</c:v>
                </c:pt>
                <c:pt idx="12">
                  <c:v>0.010869565217391304</c:v>
                </c:pt>
                <c:pt idx="13">
                  <c:v>0.011363636363636364</c:v>
                </c:pt>
                <c:pt idx="14">
                  <c:v>0.012422360248447204</c:v>
                </c:pt>
                <c:pt idx="15">
                  <c:v>0.008676789587852495</c:v>
                </c:pt>
                <c:pt idx="16">
                  <c:v>0.004739336492890996</c:v>
                </c:pt>
                <c:pt idx="17">
                  <c:v>0.00847457627118644</c:v>
                </c:pt>
                <c:pt idx="18">
                  <c:v>0.013793103448275862</c:v>
                </c:pt>
                <c:pt idx="19">
                  <c:v>0.00684931506849315</c:v>
                </c:pt>
                <c:pt idx="20">
                  <c:v>0.011538461538461539</c:v>
                </c:pt>
                <c:pt idx="21">
                  <c:v>0.0</c:v>
                </c:pt>
                <c:pt idx="22">
                  <c:v>0.006666666666666667</c:v>
                </c:pt>
                <c:pt idx="23">
                  <c:v>0.01282051282051282</c:v>
                </c:pt>
                <c:pt idx="24">
                  <c:v>0.009708737864077669</c:v>
                </c:pt>
                <c:pt idx="25">
                  <c:v>0.005050505050505051</c:v>
                </c:pt>
                <c:pt idx="26">
                  <c:v>0.004310344827586207</c:v>
                </c:pt>
                <c:pt idx="27">
                  <c:v>0.007407407407407408</c:v>
                </c:pt>
                <c:pt idx="28">
                  <c:v>0.0028089887640449437</c:v>
                </c:pt>
                <c:pt idx="29">
                  <c:v>0.004098360655737705</c:v>
                </c:pt>
                <c:pt idx="30">
                  <c:v>0.008333333333333333</c:v>
                </c:pt>
                <c:pt idx="31">
                  <c:v>0.004132231404958678</c:v>
                </c:pt>
                <c:pt idx="32">
                  <c:v>0.007326007326007326</c:v>
                </c:pt>
                <c:pt idx="33">
                  <c:v>0.005012531328320802</c:v>
                </c:pt>
                <c:pt idx="34">
                  <c:v>0.004975124378109453</c:v>
                </c:pt>
                <c:pt idx="35">
                  <c:v>0.00411522633744856</c:v>
                </c:pt>
                <c:pt idx="36">
                  <c:v>0.0</c:v>
                </c:pt>
                <c:pt idx="37">
                  <c:v>0.024896265560165973</c:v>
                </c:pt>
                <c:pt idx="38">
                  <c:v>0.021834061135371178</c:v>
                </c:pt>
                <c:pt idx="39">
                  <c:v>0.02197802197802198</c:v>
                </c:pt>
                <c:pt idx="40">
                  <c:v>0.032679738562091505</c:v>
                </c:pt>
                <c:pt idx="41">
                  <c:v>0.016025641025641024</c:v>
                </c:pt>
                <c:pt idx="42">
                  <c:v>0.011538461538461539</c:v>
                </c:pt>
                <c:pt idx="43">
                  <c:v>0.02358490566037736</c:v>
                </c:pt>
                <c:pt idx="44">
                  <c:v>0.015267175572519083</c:v>
                </c:pt>
                <c:pt idx="45">
                  <c:v>0.0038809831824062097</c:v>
                </c:pt>
                <c:pt idx="46">
                  <c:v>0.005607476635514018</c:v>
                </c:pt>
                <c:pt idx="47">
                  <c:v>0.0017331022530329288</c:v>
                </c:pt>
                <c:pt idx="48">
                  <c:v>0.0014814814814814814</c:v>
                </c:pt>
                <c:pt idx="49">
                  <c:v>0.0</c:v>
                </c:pt>
                <c:pt idx="50">
                  <c:v>0.0</c:v>
                </c:pt>
                <c:pt idx="51">
                  <c:v>0.0</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297571228834972</c:v>
                </c:pt>
              </c:numCache>
            </c:numRef>
          </c:xVal>
          <c:yVal>
            <c:numRef>
              <c:f>Sheet1!$B$163:$B$164</c:f>
              <c:numCache>
                <c:formatCode>General</c:formatCode>
                <c:ptCount val="2"/>
                <c:pt idx="0">
                  <c:v>0.02026296326189196</c:v>
                </c:pt>
                <c:pt idx="1">
                  <c:v>0.020262963261891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297571228834972</c:v>
                </c:pt>
                <c:pt idx="1">
                  <c:v>1.3297571228834972</c:v>
                </c:pt>
              </c:numCache>
            </c:numRef>
          </c:xVal>
          <c:yVal>
            <c:numRef>
              <c:f>Sheet1!$B$167:$B$168</c:f>
              <c:numCache>
                <c:formatCode>General</c:formatCode>
                <c:ptCount val="2"/>
                <c:pt idx="0">
                  <c:v>0.020262963261891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590120890165199</c:v>
                </c:pt>
              </c:numCache>
            </c:numRef>
          </c:xVal>
          <c:yVal>
            <c:numRef>
              <c:f>Sheet1!$B$171:$B$172</c:f>
              <c:numCache>
                <c:formatCode>General</c:formatCode>
                <c:ptCount val="2"/>
                <c:pt idx="0">
                  <c:v>0.018611596595512776</c:v>
                </c:pt>
                <c:pt idx="1">
                  <c:v>0.018611596595512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590120890165199</c:v>
                </c:pt>
                <c:pt idx="1">
                  <c:v>1.1590120890165199</c:v>
                </c:pt>
              </c:numCache>
            </c:numRef>
          </c:xVal>
          <c:yVal>
            <c:numRef>
              <c:f>Sheet1!$B$175:$B$176</c:f>
              <c:numCache>
                <c:formatCode>General</c:formatCode>
                <c:ptCount val="2"/>
                <c:pt idx="0">
                  <c:v>0.018611596595512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9864622304487015</c:v>
                </c:pt>
              </c:numCache>
            </c:numRef>
          </c:xVal>
          <c:yVal>
            <c:numRef>
              <c:f>Sheet1!$B$179:$B$180</c:f>
              <c:numCache>
                <c:formatCode>General</c:formatCode>
                <c:ptCount val="2"/>
                <c:pt idx="0">
                  <c:v>0.010290537529965164</c:v>
                </c:pt>
                <c:pt idx="1">
                  <c:v>0.01029053752996516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9864622304487015</c:v>
                </c:pt>
                <c:pt idx="1">
                  <c:v>0.29864622304487015</c:v>
                </c:pt>
              </c:numCache>
            </c:numRef>
          </c:xVal>
          <c:yVal>
            <c:numRef>
              <c:f>Sheet1!$B$183:$B$184</c:f>
              <c:numCache>
                <c:formatCode>General</c:formatCode>
                <c:ptCount val="2"/>
                <c:pt idx="0">
                  <c:v>0.0102905375299651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417910392521041</c:v>
                </c:pt>
                <c:pt idx="1">
                  <c:v>0.398487017557898</c:v>
                </c:pt>
                <c:pt idx="2">
                  <c:v>0.43603187440227476</c:v>
                </c:pt>
                <c:pt idx="3">
                  <c:v>0.413130939275818</c:v>
                </c:pt>
                <c:pt idx="4">
                  <c:v>0.4270880802138092</c:v>
                </c:pt>
                <c:pt idx="5">
                  <c:v>0.42575491244921776</c:v>
                </c:pt>
                <c:pt idx="6">
                  <c:v>0.42332447634923875</c:v>
                </c:pt>
                <c:pt idx="7">
                  <c:v>0.44669633366394645</c:v>
                </c:pt>
                <c:pt idx="8">
                  <c:v>0.43864231291654104</c:v>
                </c:pt>
                <c:pt idx="9">
                  <c:v>0.45714321134582964</c:v>
                </c:pt>
                <c:pt idx="10">
                  <c:v>0.4310259367888377</c:v>
                </c:pt>
                <c:pt idx="11">
                  <c:v>0.474704572698214</c:v>
                </c:pt>
                <c:pt idx="12">
                  <c:v>0.4639752729493415</c:v>
                </c:pt>
                <c:pt idx="13">
                  <c:v>0.4613348737984255</c:v>
                </c:pt>
                <c:pt idx="14">
                  <c:v>0.45566064001384243</c:v>
                </c:pt>
                <c:pt idx="15">
                  <c:v>0.3969571067822325</c:v>
                </c:pt>
                <c:pt idx="16">
                  <c:v>0.4175592963197947</c:v>
                </c:pt>
                <c:pt idx="17">
                  <c:v>0.5066965660460062</c:v>
                </c:pt>
                <c:pt idx="18">
                  <c:v>0.413428760545883</c:v>
                </c:pt>
                <c:pt idx="19">
                  <c:v>0.4340207859091016</c:v>
                </c:pt>
                <c:pt idx="20">
                  <c:v>0.31501835123549576</c:v>
                </c:pt>
                <c:pt idx="21">
                  <c:v>0.0</c:v>
                </c:pt>
                <c:pt idx="22">
                  <c:v>0.4842286658702931</c:v>
                </c:pt>
                <c:pt idx="23">
                  <c:v>0.39952894753695295</c:v>
                </c:pt>
                <c:pt idx="24">
                  <c:v>0.35299094029693534</c:v>
                </c:pt>
                <c:pt idx="25">
                  <c:v>0.35399638166717307</c:v>
                </c:pt>
                <c:pt idx="26">
                  <c:v>0.5378206187068505</c:v>
                </c:pt>
                <c:pt idx="27">
                  <c:v>0.41458548396615313</c:v>
                </c:pt>
                <c:pt idx="28">
                  <c:v>0.28727232914578665</c:v>
                </c:pt>
                <c:pt idx="29">
                  <c:v>0.5262025714427547</c:v>
                </c:pt>
                <c:pt idx="30">
                  <c:v>0.5080717259234875</c:v>
                </c:pt>
                <c:pt idx="31">
                  <c:v>0.6442477365117647</c:v>
                </c:pt>
                <c:pt idx="32">
                  <c:v>0.5242021840570796</c:v>
                </c:pt>
                <c:pt idx="33">
                  <c:v>0.3628454831801069</c:v>
                </c:pt>
                <c:pt idx="34">
                  <c:v>0.46543691736641946</c:v>
                </c:pt>
                <c:pt idx="35">
                  <c:v>0.4007664721794027</c:v>
                </c:pt>
                <c:pt idx="36">
                  <c:v>0.0</c:v>
                </c:pt>
                <c:pt idx="37">
                  <c:v>0.23498089234484978</c:v>
                </c:pt>
                <c:pt idx="38">
                  <c:v>0.22337454558130113</c:v>
                </c:pt>
                <c:pt idx="39">
                  <c:v>0.23607772362572743</c:v>
                </c:pt>
                <c:pt idx="40">
                  <c:v>0.2531605773831241</c:v>
                </c:pt>
                <c:pt idx="41">
                  <c:v>0.26197761797684765</c:v>
                </c:pt>
                <c:pt idx="42">
                  <c:v>0.23464674789217452</c:v>
                </c:pt>
                <c:pt idx="43">
                  <c:v>0.2398035208453972</c:v>
                </c:pt>
                <c:pt idx="44">
                  <c:v>0.28006294521552505</c:v>
                </c:pt>
                <c:pt idx="45">
                  <c:v>0.28297078991362723</c:v>
                </c:pt>
                <c:pt idx="46">
                  <c:v>0.33922712999372884</c:v>
                </c:pt>
                <c:pt idx="47">
                  <c:v>0.3236331953240645</c:v>
                </c:pt>
                <c:pt idx="48">
                  <c:v>0.21280984828533156</c:v>
                </c:pt>
                <c:pt idx="49">
                  <c:v>0.0</c:v>
                </c:pt>
                <c:pt idx="50">
                  <c:v>0.0</c:v>
                </c:pt>
                <c:pt idx="51">
                  <c:v>0.0</c:v>
                </c:pt>
                <c:pt idx="52">
                  <c:v>1.1590120890165199</c:v>
                </c:pt>
                <c:pt idx="53">
                  <c:v>1.3297571228834972</c:v>
                </c:pt>
                <c:pt idx="54">
                  <c:v>0.29864622304487015</c:v>
                </c:pt>
              </c:numCache>
            </c:numRef>
          </c:xVal>
          <c:yVal>
            <c:numRef>
              <c:f>Sheet1!$B$187:$B$241</c:f>
              <c:numCache>
                <c:formatCode>General</c:formatCode>
                <c:ptCount val="55"/>
                <c:pt idx="0">
                  <c:v>0.011674967709842384</c:v>
                </c:pt>
                <c:pt idx="1">
                  <c:v>0.011256151324226828</c:v>
                </c:pt>
                <c:pt idx="2">
                  <c:v>0.011619267742213456</c:v>
                </c:pt>
                <c:pt idx="3">
                  <c:v>0.011397780533828785</c:v>
                </c:pt>
                <c:pt idx="4">
                  <c:v>0.011532767518697178</c:v>
                </c:pt>
                <c:pt idx="5">
                  <c:v>0.011519873739257287</c:v>
                </c:pt>
                <c:pt idx="6">
                  <c:v>0.011496367690095138</c:v>
                </c:pt>
                <c:pt idx="7">
                  <c:v>0.011722409439168482</c:v>
                </c:pt>
                <c:pt idx="8">
                  <c:v>0.01164451469112589</c:v>
                </c:pt>
                <c:pt idx="9">
                  <c:v>0.01182344678813784</c:v>
                </c:pt>
                <c:pt idx="10">
                  <c:v>0.011570852638584473</c:v>
                </c:pt>
                <c:pt idx="11">
                  <c:v>0.011993292118902543</c:v>
                </c:pt>
                <c:pt idx="12">
                  <c:v>0.011889523314869963</c:v>
                </c:pt>
                <c:pt idx="13">
                  <c:v>0.01186398660059483</c:v>
                </c:pt>
                <c:pt idx="14">
                  <c:v>0.011809108046783402</c:v>
                </c:pt>
                <c:pt idx="15">
                  <c:v>0.011241354737759566</c:v>
                </c:pt>
                <c:pt idx="16">
                  <c:v>0.01144060954644268</c:v>
                </c:pt>
                <c:pt idx="17">
                  <c:v>0.012302703820133792</c:v>
                </c:pt>
                <c:pt idx="18">
                  <c:v>0.011400660922832116</c:v>
                </c:pt>
                <c:pt idx="19">
                  <c:v>0.011599817428341649</c:v>
                </c:pt>
                <c:pt idx="20">
                  <c:v>0.010448881149919285</c:v>
                </c:pt>
                <c:pt idx="21">
                  <c:v>0.007402169964554385</c:v>
                </c:pt>
                <c:pt idx="22">
                  <c:v>0.012085404724673052</c:v>
                </c:pt>
                <c:pt idx="23">
                  <c:v>0.0112662283870681</c:v>
                </c:pt>
                <c:pt idx="24">
                  <c:v>0.010816134395252495</c:v>
                </c:pt>
                <c:pt idx="25">
                  <c:v>0.010825858557216132</c:v>
                </c:pt>
                <c:pt idx="26">
                  <c:v>0.012603721202149077</c:v>
                </c:pt>
                <c:pt idx="27">
                  <c:v>0.011411848214521915</c:v>
                </c:pt>
                <c:pt idx="28">
                  <c:v>0.010180534510688405</c:v>
                </c:pt>
                <c:pt idx="29">
                  <c:v>0.01249135684492102</c:v>
                </c:pt>
                <c:pt idx="30">
                  <c:v>0.01231600372778665</c:v>
                </c:pt>
                <c:pt idx="31">
                  <c:v>0.01363303485632404</c:v>
                </c:pt>
                <c:pt idx="32">
                  <c:v>0.01247201002719089</c:v>
                </c:pt>
                <c:pt idx="33">
                  <c:v>0.010911442957153933</c:v>
                </c:pt>
                <c:pt idx="34">
                  <c:v>0.011903659660822737</c:v>
                </c:pt>
                <c:pt idx="35">
                  <c:v>0.011278197150651328</c:v>
                </c:pt>
                <c:pt idx="36">
                  <c:v>0.007402169964554385</c:v>
                </c:pt>
                <c:pt idx="37">
                  <c:v>0.009674796020294502</c:v>
                </c:pt>
                <c:pt idx="38">
                  <c:v>0.009562544824873532</c:v>
                </c:pt>
                <c:pt idx="39">
                  <c:v>0.009685404063028525</c:v>
                </c:pt>
                <c:pt idx="40">
                  <c:v>0.00985062149057358</c:v>
                </c:pt>
                <c:pt idx="41">
                  <c:v>0.009935895812191219</c:v>
                </c:pt>
                <c:pt idx="42">
                  <c:v>0.009671564330338977</c:v>
                </c:pt>
                <c:pt idx="43">
                  <c:v>0.009721438243320083</c:v>
                </c:pt>
                <c:pt idx="44">
                  <c:v>0.010110808697656333</c:v>
                </c:pt>
                <c:pt idx="45">
                  <c:v>0.010138932021050876</c:v>
                </c:pt>
                <c:pt idx="46">
                  <c:v>0.010683017214492854</c:v>
                </c:pt>
                <c:pt idx="47">
                  <c:v>0.010532199920847637</c:v>
                </c:pt>
                <c:pt idx="48">
                  <c:v>0.00946036797931712</c:v>
                </c:pt>
                <c:pt idx="49">
                  <c:v>0.007402169964554385</c:v>
                </c:pt>
                <c:pt idx="50">
                  <c:v>0.007402169964554385</c:v>
                </c:pt>
                <c:pt idx="51">
                  <c:v>0.007402169964554385</c:v>
                </c:pt>
                <c:pt idx="52">
                  <c:v>0.018611596595512776</c:v>
                </c:pt>
                <c:pt idx="53">
                  <c:v>0.02026296326189196</c:v>
                </c:pt>
                <c:pt idx="54">
                  <c:v>0.0102905375299651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8350998576919</c:v>
                </c:pt>
                <c:pt idx="1">
                  <c:v>0.6612617950254789</c:v>
                </c:pt>
                <c:pt idx="2">
                  <c:v>0.6563317162124966</c:v>
                </c:pt>
                <c:pt idx="3">
                  <c:v>0.6531955040912574</c:v>
                </c:pt>
                <c:pt idx="4">
                  <c:v>0.6485773245913117</c:v>
                </c:pt>
                <c:pt idx="5">
                  <c:v>0.6558631356028976</c:v>
                </c:pt>
                <c:pt idx="6">
                  <c:v>0.6248143427974587</c:v>
                </c:pt>
                <c:pt idx="7">
                  <c:v>0.6320738864171872</c:v>
                </c:pt>
                <c:pt idx="8">
                  <c:v>0.6437197594821049</c:v>
                </c:pt>
                <c:pt idx="9">
                  <c:v>0.6713434939401164</c:v>
                </c:pt>
                <c:pt idx="10">
                  <c:v>0.6881492636439451</c:v>
                </c:pt>
                <c:pt idx="11">
                  <c:v>0.7174668021089096</c:v>
                </c:pt>
                <c:pt idx="12">
                  <c:v>0.7355769314415802</c:v>
                </c:pt>
                <c:pt idx="13">
                  <c:v>0.7123532458305257</c:v>
                </c:pt>
                <c:pt idx="14">
                  <c:v>0.7107371702995907</c:v>
                </c:pt>
                <c:pt idx="15">
                  <c:v>0.7159842386703208</c:v>
                </c:pt>
                <c:pt idx="16">
                  <c:v>0.7081421730976848</c:v>
                </c:pt>
                <c:pt idx="17">
                  <c:v>0.7041084872205573</c:v>
                </c:pt>
                <c:pt idx="18">
                  <c:v>0.7231504318020012</c:v>
                </c:pt>
                <c:pt idx="19">
                  <c:v>0.7361773909095775</c:v>
                </c:pt>
                <c:pt idx="20">
                  <c:v>0.7511060449218087</c:v>
                </c:pt>
                <c:pt idx="21">
                  <c:v>0.6758801194705425</c:v>
                </c:pt>
                <c:pt idx="22">
                  <c:v>0.6416889826283404</c:v>
                </c:pt>
                <c:pt idx="23">
                  <c:v>0.6204056817623235</c:v>
                </c:pt>
                <c:pt idx="24">
                  <c:v>0.5913151845584689</c:v>
                </c:pt>
                <c:pt idx="25">
                  <c:v>0.5752344917781598</c:v>
                </c:pt>
                <c:pt idx="26">
                  <c:v>0.5866083889224171</c:v>
                </c:pt>
                <c:pt idx="27">
                  <c:v>0.6037054094940696</c:v>
                </c:pt>
                <c:pt idx="28">
                  <c:v>0.5989140342760633</c:v>
                </c:pt>
                <c:pt idx="29">
                  <c:v>0.5464875463770859</c:v>
                </c:pt>
                <c:pt idx="30">
                  <c:v>0.5604911637850447</c:v>
                </c:pt>
                <c:pt idx="31">
                  <c:v>0.5813101059661857</c:v>
                </c:pt>
                <c:pt idx="32">
                  <c:v>0.5491723783773647</c:v>
                </c:pt>
                <c:pt idx="33">
                  <c:v>0.5361851868081963</c:v>
                </c:pt>
                <c:pt idx="34">
                  <c:v>0.6179827696602598</c:v>
                </c:pt>
                <c:pt idx="35">
                  <c:v>0.6860535965120309</c:v>
                </c:pt>
                <c:pt idx="36">
                  <c:v>0.7106838432099133</c:v>
                </c:pt>
                <c:pt idx="37">
                  <c:v>0.6815552291537326</c:v>
                </c:pt>
                <c:pt idx="38">
                  <c:v>0.7239878147284491</c:v>
                </c:pt>
                <c:pt idx="39">
                  <c:v>0.7322189985128827</c:v>
                </c:pt>
                <c:pt idx="40">
                  <c:v>0.7364105454943102</c:v>
                </c:pt>
                <c:pt idx="41">
                  <c:v>0.7153791446833473</c:v>
                </c:pt>
                <c:pt idx="42">
                  <c:v>0.7476312862840514</c:v>
                </c:pt>
                <c:pt idx="43">
                  <c:v>0.7552945481518488</c:v>
                </c:pt>
                <c:pt idx="44">
                  <c:v>0.6908135628575243</c:v>
                </c:pt>
                <c:pt idx="45">
                  <c:v>0.6797813271287934</c:v>
                </c:pt>
                <c:pt idx="46">
                  <c:v>0.6822089394549548</c:v>
                </c:pt>
                <c:pt idx="47">
                  <c:v>0.6839136627489376</c:v>
                </c:pt>
                <c:pt idx="48">
                  <c:v>0.6942233153428513</c:v>
                </c:pt>
                <c:pt idx="49">
                  <c:v>0.7038888110407718</c:v>
                </c:pt>
                <c:pt idx="50">
                  <c:v>0.666275236791458</c:v>
                </c:pt>
                <c:pt idx="51">
                  <c:v>0.6730454627038202</c:v>
                </c:pt>
                <c:pt idx="52">
                  <c:v>0.6909792241217756</c:v>
                </c:pt>
                <c:pt idx="53">
                  <c:v>0.6411448057498935</c:v>
                </c:pt>
                <c:pt idx="54">
                  <c:v>0.6257122961090731</c:v>
                </c:pt>
                <c:pt idx="55">
                  <c:v>0.6307066173025017</c:v>
                </c:pt>
                <c:pt idx="56">
                  <c:v>0.6335999676507438</c:v>
                </c:pt>
                <c:pt idx="57">
                  <c:v>0.6319961315130551</c:v>
                </c:pt>
                <c:pt idx="58">
                  <c:v>0.6150117265616339</c:v>
                </c:pt>
                <c:pt idx="59">
                  <c:v>0.6388249219563598</c:v>
                </c:pt>
                <c:pt idx="60">
                  <c:v>0.646662111016381</c:v>
                </c:pt>
                <c:pt idx="61">
                  <c:v>0.6695101835876477</c:v>
                </c:pt>
                <c:pt idx="62">
                  <c:v>0.6854848437229893</c:v>
                </c:pt>
                <c:pt idx="63">
                  <c:v>0.7086589503247904</c:v>
                </c:pt>
                <c:pt idx="64">
                  <c:v>0.7460840078370117</c:v>
                </c:pt>
                <c:pt idx="65">
                  <c:v>0.7398879811186857</c:v>
                </c:pt>
                <c:pt idx="66">
                  <c:v>0.6945860084936547</c:v>
                </c:pt>
                <c:pt idx="67">
                  <c:v>0.6890517078493008</c:v>
                </c:pt>
                <c:pt idx="68">
                  <c:v>0.670754144175686</c:v>
                </c:pt>
                <c:pt idx="69">
                  <c:v>0.66039706101252</c:v>
                </c:pt>
                <c:pt idx="70">
                  <c:v>0.6260241526073747</c:v>
                </c:pt>
                <c:pt idx="71">
                  <c:v>0.6136911485834383</c:v>
                </c:pt>
                <c:pt idx="72">
                  <c:v>0.6263255956479303</c:v>
                </c:pt>
                <c:pt idx="73">
                  <c:v>0.6138035127267949</c:v>
                </c:pt>
                <c:pt idx="74">
                  <c:v>0.6012156506181366</c:v>
                </c:pt>
                <c:pt idx="75">
                  <c:v>0.6029729404942293</c:v>
                </c:pt>
                <c:pt idx="76">
                  <c:v>0.6102512659666897</c:v>
                </c:pt>
                <c:pt idx="77">
                  <c:v>0.6052010436222943</c:v>
                </c:pt>
                <c:pt idx="78">
                  <c:v>0.6294338967176616</c:v>
                </c:pt>
                <c:pt idx="79">
                  <c:v>0.41576973771269016</c:v>
                </c:pt>
                <c:pt idx="80">
                  <c:v>0.43601691348870764</c:v>
                </c:pt>
                <c:pt idx="81">
                  <c:v>0.5618970399760701</c:v>
                </c:pt>
                <c:pt idx="82">
                  <c:v>0.5446704457798709</c:v>
                </c:pt>
                <c:pt idx="83">
                  <c:v>0.5430419348137666</c:v>
                </c:pt>
                <c:pt idx="84">
                  <c:v>0.5531657656658826</c:v>
                </c:pt>
                <c:pt idx="85">
                  <c:v>0.5788115377104545</c:v>
                </c:pt>
                <c:pt idx="86">
                  <c:v>0.6665220346039025</c:v>
                </c:pt>
                <c:pt idx="87">
                  <c:v>0.7012686380518363</c:v>
                </c:pt>
                <c:pt idx="88">
                  <c:v>0.6474931447429741</c:v>
                </c:pt>
                <c:pt idx="89">
                  <c:v>0.5988835036011264</c:v>
                </c:pt>
                <c:pt idx="90">
                  <c:v>0.6192352454001754</c:v>
                </c:pt>
                <c:pt idx="91">
                  <c:v>0.6529528373874668</c:v>
                </c:pt>
                <c:pt idx="92">
                  <c:v>0.685047698356816</c:v>
                </c:pt>
                <c:pt idx="93">
                  <c:v>0.7069307243400149</c:v>
                </c:pt>
                <c:pt idx="94">
                  <c:v>0.7026142171385272</c:v>
                </c:pt>
                <c:pt idx="95">
                  <c:v>0.7294785923453712</c:v>
                </c:pt>
                <c:pt idx="96">
                  <c:v>0.7413611825548532</c:v>
                </c:pt>
                <c:pt idx="97">
                  <c:v>0.7919202183880223</c:v>
                </c:pt>
                <c:pt idx="98">
                  <c:v>0.808606918941639</c:v>
                </c:pt>
                <c:pt idx="99">
                  <c:v>0.7932001915484734</c:v>
                </c:pt>
                <c:pt idx="100">
                  <c:v>0.7888961682399545</c:v>
                </c:pt>
                <c:pt idx="101">
                  <c:v>0.7289459850665055</c:v>
                </c:pt>
                <c:pt idx="102">
                  <c:v>0.733381275951238</c:v>
                </c:pt>
                <c:pt idx="103">
                  <c:v>0.660951943302911</c:v>
                </c:pt>
                <c:pt idx="104">
                  <c:v>0.6915110464708247</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06305576371309</c:v>
                </c:pt>
                <c:pt idx="1">
                  <c:v>0.6643504429936903</c:v>
                </c:pt>
                <c:pt idx="2">
                  <c:v>0.6631586788395798</c:v>
                </c:pt>
                <c:pt idx="3">
                  <c:v>0.6522803086851903</c:v>
                </c:pt>
                <c:pt idx="4">
                  <c:v>0.650652516312041</c:v>
                </c:pt>
                <c:pt idx="5">
                  <c:v>0.6734698382841485</c:v>
                </c:pt>
                <c:pt idx="6">
                  <c:v>0.6887278622385018</c:v>
                </c:pt>
                <c:pt idx="7">
                  <c:v>0.6916580274039408</c:v>
                </c:pt>
                <c:pt idx="8">
                  <c:v>0.728271344875335</c:v>
                </c:pt>
                <c:pt idx="9">
                  <c:v>0.7208571800876012</c:v>
                </c:pt>
                <c:pt idx="10">
                  <c:v>0.7311885231019372</c:v>
                </c:pt>
                <c:pt idx="11">
                  <c:v>0.7140033577616222</c:v>
                </c:pt>
                <c:pt idx="12">
                  <c:v>0.7139635391161407</c:v>
                </c:pt>
                <c:pt idx="13">
                  <c:v>0.6846413055408685</c:v>
                </c:pt>
                <c:pt idx="14">
                  <c:v>0.6868582298589709</c:v>
                </c:pt>
                <c:pt idx="15">
                  <c:v>0.695993844421292</c:v>
                </c:pt>
                <c:pt idx="16">
                  <c:v>0.7191241568977804</c:v>
                </c:pt>
                <c:pt idx="17">
                  <c:v>0.7050079347998213</c:v>
                </c:pt>
                <c:pt idx="18">
                  <c:v>0.7074051450111535</c:v>
                </c:pt>
                <c:pt idx="19">
                  <c:v>0.7164388975728772</c:v>
                </c:pt>
                <c:pt idx="20">
                  <c:v>0.6730212974827491</c:v>
                </c:pt>
                <c:pt idx="21">
                  <c:v>0.6511463532719959</c:v>
                </c:pt>
                <c:pt idx="22">
                  <c:v>0.6226672087558522</c:v>
                </c:pt>
                <c:pt idx="23">
                  <c:v>0.6249300798246122</c:v>
                </c:pt>
                <c:pt idx="24">
                  <c:v>0.627513587086103</c:v>
                </c:pt>
                <c:pt idx="25">
                  <c:v>0.6344566912002525</c:v>
                </c:pt>
                <c:pt idx="26">
                  <c:v>0.6618671054330304</c:v>
                </c:pt>
                <c:pt idx="27">
                  <c:v>0.6879925917971517</c:v>
                </c:pt>
                <c:pt idx="28">
                  <c:v>0.6735855298502624</c:v>
                </c:pt>
                <c:pt idx="29">
                  <c:v>0.636428970973575</c:v>
                </c:pt>
                <c:pt idx="30">
                  <c:v>0.629020465754306</c:v>
                </c:pt>
                <c:pt idx="31">
                  <c:v>0.5909118361421669</c:v>
                </c:pt>
                <c:pt idx="32">
                  <c:v>0.6086686086569225</c:v>
                </c:pt>
                <c:pt idx="33">
                  <c:v>0.6558573106042617</c:v>
                </c:pt>
                <c:pt idx="34">
                  <c:v>0.7011064015472993</c:v>
                </c:pt>
                <c:pt idx="35">
                  <c:v>0.6508921221943994</c:v>
                </c:pt>
                <c:pt idx="36">
                  <c:v>0.59974500414647</c:v>
                </c:pt>
                <c:pt idx="37">
                  <c:v>0.6271390123485895</c:v>
                </c:pt>
                <c:pt idx="38">
                  <c:v>0.6175489188933694</c:v>
                </c:pt>
                <c:pt idx="39">
                  <c:v>0.6575432788182628</c:v>
                </c:pt>
                <c:pt idx="40">
                  <c:v>0.6832218780301323</c:v>
                </c:pt>
                <c:pt idx="41">
                  <c:v>0.7135355873670438</c:v>
                </c:pt>
                <c:pt idx="42">
                  <c:v>0.6808437778570107</c:v>
                </c:pt>
                <c:pt idx="43">
                  <c:v>0.7292705502329151</c:v>
                </c:pt>
                <c:pt idx="44">
                  <c:v>0.7733240439696547</c:v>
                </c:pt>
                <c:pt idx="45">
                  <c:v>0.768921609627178</c:v>
                </c:pt>
                <c:pt idx="46">
                  <c:v>0.7307450718455074</c:v>
                </c:pt>
                <c:pt idx="47">
                  <c:v>0.7423933773157955</c:v>
                </c:pt>
                <c:pt idx="48">
                  <c:v>0.7793775332787347</c:v>
                </c:pt>
                <c:pt idx="49">
                  <c:v>0.8153359702081102</c:v>
                </c:pt>
                <c:pt idx="50">
                  <c:v>0.7552724779648757</c:v>
                </c:pt>
                <c:pt idx="51">
                  <c:v>0.720701220247727</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9785255264091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97852552640917</c:v>
                </c:pt>
                <c:pt idx="1">
                  <c:v>-1.69785255264091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2219652521832435</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2219652521832435</c:v>
                </c:pt>
                <c:pt idx="1">
                  <c:v>-0.42219652521832435</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188462763052062</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188462763052062</c:v>
                </c:pt>
                <c:pt idx="1">
                  <c:v>1.5188462763052062</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06305576371309</c:v>
                </c:pt>
                <c:pt idx="1">
                  <c:v>0.6643504429936903</c:v>
                </c:pt>
                <c:pt idx="2">
                  <c:v>0.6631586788395798</c:v>
                </c:pt>
                <c:pt idx="3">
                  <c:v>0.6522803086851903</c:v>
                </c:pt>
                <c:pt idx="4">
                  <c:v>0.650652516312041</c:v>
                </c:pt>
                <c:pt idx="5">
                  <c:v>0.6734698382841485</c:v>
                </c:pt>
                <c:pt idx="6">
                  <c:v>0.6887278622385018</c:v>
                </c:pt>
                <c:pt idx="7">
                  <c:v>0.6916580274039408</c:v>
                </c:pt>
                <c:pt idx="8">
                  <c:v>0.728271344875335</c:v>
                </c:pt>
                <c:pt idx="9">
                  <c:v>0.7208571800876012</c:v>
                </c:pt>
                <c:pt idx="10">
                  <c:v>0.7311885231019372</c:v>
                </c:pt>
                <c:pt idx="11">
                  <c:v>0.7140033577616222</c:v>
                </c:pt>
                <c:pt idx="12">
                  <c:v>0.7139635391161407</c:v>
                </c:pt>
                <c:pt idx="13">
                  <c:v>0.6846413055408685</c:v>
                </c:pt>
                <c:pt idx="14">
                  <c:v>0.6868582298589709</c:v>
                </c:pt>
                <c:pt idx="15">
                  <c:v>0.695993844421292</c:v>
                </c:pt>
                <c:pt idx="16">
                  <c:v>0.7191241568977804</c:v>
                </c:pt>
                <c:pt idx="17">
                  <c:v>0.7050079347998213</c:v>
                </c:pt>
                <c:pt idx="18">
                  <c:v>0.7074051450111535</c:v>
                </c:pt>
                <c:pt idx="19">
                  <c:v>0.7164388975728772</c:v>
                </c:pt>
                <c:pt idx="20">
                  <c:v>0.6730212974827491</c:v>
                </c:pt>
                <c:pt idx="21">
                  <c:v>0.6511463532719959</c:v>
                </c:pt>
                <c:pt idx="22">
                  <c:v>0.6226672087558522</c:v>
                </c:pt>
                <c:pt idx="23">
                  <c:v>0.6249300798246122</c:v>
                </c:pt>
                <c:pt idx="24">
                  <c:v>0.627513587086103</c:v>
                </c:pt>
                <c:pt idx="25">
                  <c:v>0.6344566912002525</c:v>
                </c:pt>
                <c:pt idx="26">
                  <c:v>0.6618671054330304</c:v>
                </c:pt>
                <c:pt idx="27">
                  <c:v>0.6879925917971517</c:v>
                </c:pt>
                <c:pt idx="28">
                  <c:v>0.6735855298502624</c:v>
                </c:pt>
                <c:pt idx="29">
                  <c:v>0.636428970973575</c:v>
                </c:pt>
                <c:pt idx="30">
                  <c:v>0.629020465754306</c:v>
                </c:pt>
                <c:pt idx="31">
                  <c:v>0.5909118361421669</c:v>
                </c:pt>
                <c:pt idx="32">
                  <c:v>0.6086686086569225</c:v>
                </c:pt>
                <c:pt idx="33">
                  <c:v>0.6558573106042617</c:v>
                </c:pt>
                <c:pt idx="34">
                  <c:v>0.7011064015472993</c:v>
                </c:pt>
                <c:pt idx="35">
                  <c:v>0.6508921221943994</c:v>
                </c:pt>
                <c:pt idx="36">
                  <c:v>0.59974500414647</c:v>
                </c:pt>
                <c:pt idx="37">
                  <c:v>0.6271390123485895</c:v>
                </c:pt>
                <c:pt idx="38">
                  <c:v>0.6175489188933694</c:v>
                </c:pt>
                <c:pt idx="39">
                  <c:v>0.6575432788182628</c:v>
                </c:pt>
                <c:pt idx="40">
                  <c:v>0.6832218780301323</c:v>
                </c:pt>
                <c:pt idx="41">
                  <c:v>0.7135355873670438</c:v>
                </c:pt>
                <c:pt idx="42">
                  <c:v>0.6808437778570107</c:v>
                </c:pt>
                <c:pt idx="43">
                  <c:v>0.7292705502329151</c:v>
                </c:pt>
                <c:pt idx="44">
                  <c:v>0.7733240439696547</c:v>
                </c:pt>
                <c:pt idx="45">
                  <c:v>0.768921609627178</c:v>
                </c:pt>
                <c:pt idx="46">
                  <c:v>0.7307450718455074</c:v>
                </c:pt>
                <c:pt idx="47">
                  <c:v>0.7423933773157955</c:v>
                </c:pt>
                <c:pt idx="48">
                  <c:v>0.7793775332787347</c:v>
                </c:pt>
                <c:pt idx="49">
                  <c:v>0.8153359702081102</c:v>
                </c:pt>
                <c:pt idx="50">
                  <c:v>0.7552724779648757</c:v>
                </c:pt>
                <c:pt idx="51">
                  <c:v>0.720701220247727</c:v>
                </c:pt>
                <c:pt idx="52">
                  <c:v>-0.42219652521832435</c:v>
                </c:pt>
                <c:pt idx="53">
                  <c:v>-1.697852552640917</c:v>
                </c:pt>
                <c:pt idx="54">
                  <c:v>1.5188462763052062</c:v>
                </c:pt>
              </c:numCache>
            </c:numRef>
          </c:xVal>
          <c:yVal>
            <c:numRef>
              <c:f>Sheet1!$B$187:$B$241</c:f>
              <c:numCache>
                <c:formatCode>General</c:formatCode>
                <c:ptCount val="55"/>
                <c:pt idx="0">
                  <c:v>0.17635466513990217</c:v>
                </c:pt>
                <c:pt idx="1">
                  <c:v>0.17692850582615838</c:v>
                </c:pt>
                <c:pt idx="2">
                  <c:v>0.1769432828586986</c:v>
                </c:pt>
                <c:pt idx="3">
                  <c:v>0.17707816695401335</c:v>
                </c:pt>
                <c:pt idx="4">
                  <c:v>0.17709835042805372</c:v>
                </c:pt>
                <c:pt idx="5">
                  <c:v>0.17681543177498035</c:v>
                </c:pt>
                <c:pt idx="6">
                  <c:v>0.1766262430704074</c:v>
                </c:pt>
                <c:pt idx="7">
                  <c:v>0.17658991109495026</c:v>
                </c:pt>
                <c:pt idx="8">
                  <c:v>0.1761359318560099</c:v>
                </c:pt>
                <c:pt idx="9">
                  <c:v>0.1762278622551152</c:v>
                </c:pt>
                <c:pt idx="10">
                  <c:v>0.17609976090940826</c:v>
                </c:pt>
                <c:pt idx="11">
                  <c:v>0.17631284480404186</c:v>
                </c:pt>
                <c:pt idx="12">
                  <c:v>0.1763133385270809</c:v>
                </c:pt>
                <c:pt idx="13">
                  <c:v>0.17667691348291312</c:v>
                </c:pt>
                <c:pt idx="14">
                  <c:v>0.17664942518946614</c:v>
                </c:pt>
                <c:pt idx="15">
                  <c:v>0.17653615003078937</c:v>
                </c:pt>
                <c:pt idx="16">
                  <c:v>0.17624935051684934</c:v>
                </c:pt>
                <c:pt idx="17">
                  <c:v>0.17642438168603392</c:v>
                </c:pt>
                <c:pt idx="18">
                  <c:v>0.17639465797503256</c:v>
                </c:pt>
                <c:pt idx="19">
                  <c:v>0.17628264583311312</c:v>
                </c:pt>
                <c:pt idx="20">
                  <c:v>0.17682099336365123</c:v>
                </c:pt>
                <c:pt idx="21">
                  <c:v>0.17709222719905607</c:v>
                </c:pt>
                <c:pt idx="22">
                  <c:v>0.17744534844689744</c:v>
                </c:pt>
                <c:pt idx="23">
                  <c:v>0.17741729044624185</c:v>
                </c:pt>
                <c:pt idx="24">
                  <c:v>0.17738525678359204</c:v>
                </c:pt>
                <c:pt idx="25">
                  <c:v>0.17729916720364378</c:v>
                </c:pt>
                <c:pt idx="26">
                  <c:v>0.17695929745537092</c:v>
                </c:pt>
                <c:pt idx="27">
                  <c:v>0.17663535990380116</c:v>
                </c:pt>
                <c:pt idx="28">
                  <c:v>0.17681399728139266</c:v>
                </c:pt>
                <c:pt idx="29">
                  <c:v>0.17727471232950762</c:v>
                </c:pt>
                <c:pt idx="30">
                  <c:v>0.17736657255396712</c:v>
                </c:pt>
                <c:pt idx="31">
                  <c:v>0.17783909260577327</c:v>
                </c:pt>
                <c:pt idx="32">
                  <c:v>0.17761892118649164</c:v>
                </c:pt>
                <c:pt idx="33">
                  <c:v>0.17703381466033832</c:v>
                </c:pt>
                <c:pt idx="34">
                  <c:v>0.1764727579386929</c:v>
                </c:pt>
                <c:pt idx="35">
                  <c:v>0.17709537948459295</c:v>
                </c:pt>
                <c:pt idx="36">
                  <c:v>0.17772956757048636</c:v>
                </c:pt>
                <c:pt idx="37">
                  <c:v>0.1773899012453892</c:v>
                </c:pt>
                <c:pt idx="38">
                  <c:v>0.17750881162087126</c:v>
                </c:pt>
                <c:pt idx="39">
                  <c:v>0.17701290984702092</c:v>
                </c:pt>
                <c:pt idx="40">
                  <c:v>0.1766945133800423</c:v>
                </c:pt>
                <c:pt idx="41">
                  <c:v>0.1763186448260665</c:v>
                </c:pt>
                <c:pt idx="42">
                  <c:v>0.17672400014008696</c:v>
                </c:pt>
                <c:pt idx="43">
                  <c:v>0.17612354241634404</c:v>
                </c:pt>
                <c:pt idx="44">
                  <c:v>0.1755773102543747</c:v>
                </c:pt>
                <c:pt idx="45">
                  <c:v>0.17563189732624668</c:v>
                </c:pt>
                <c:pt idx="46">
                  <c:v>0.17610525939132154</c:v>
                </c:pt>
                <c:pt idx="47">
                  <c:v>0.17596082864268814</c:v>
                </c:pt>
                <c:pt idx="48">
                  <c:v>0.17550225126875788</c:v>
                </c:pt>
                <c:pt idx="49">
                  <c:v>0.17505639208532178</c:v>
                </c:pt>
                <c:pt idx="50">
                  <c:v>0.1758011369044163</c:v>
                </c:pt>
                <c:pt idx="51">
                  <c:v>0.17622979604681452</c:v>
                </c:pt>
                <c:pt idx="52">
                  <c:v>0.19040091968450995</c:v>
                </c:pt>
                <c:pt idx="53">
                  <c:v>0.2062181521145252</c:v>
                </c:pt>
                <c:pt idx="54">
                  <c:v>0.166333361903798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6.25</c:v>
                </c:pt>
                <c:pt idx="1">
                  <c:v>784.7143</c:v>
                </c:pt>
                <c:pt idx="2">
                  <c:v>854.3077</c:v>
                </c:pt>
                <c:pt idx="3">
                  <c:v>851.25</c:v>
                </c:pt>
                <c:pt idx="4">
                  <c:v>841.7273</c:v>
                </c:pt>
                <c:pt idx="5">
                  <c:v>842.0</c:v>
                </c:pt>
                <c:pt idx="6">
                  <c:v>860.8571</c:v>
                </c:pt>
                <c:pt idx="7">
                  <c:v>823.4286</c:v>
                </c:pt>
                <c:pt idx="8">
                  <c:v>828.0</c:v>
                </c:pt>
                <c:pt idx="9">
                  <c:v>883.7</c:v>
                </c:pt>
                <c:pt idx="10">
                  <c:v>825.875</c:v>
                </c:pt>
                <c:pt idx="11">
                  <c:v>853.0</c:v>
                </c:pt>
                <c:pt idx="12">
                  <c:v>817.75</c:v>
                </c:pt>
                <c:pt idx="13">
                  <c:v>869.4444</c:v>
                </c:pt>
                <c:pt idx="14">
                  <c:v>848.4286</c:v>
                </c:pt>
                <c:pt idx="15">
                  <c:v>828.0</c:v>
                </c:pt>
                <c:pt idx="16">
                  <c:v>853.875</c:v>
                </c:pt>
                <c:pt idx="17">
                  <c:v>811.0</c:v>
                </c:pt>
                <c:pt idx="18">
                  <c:v>867.6</c:v>
                </c:pt>
                <c:pt idx="19">
                  <c:v>824.0</c:v>
                </c:pt>
                <c:pt idx="20">
                  <c:v>815.0</c:v>
                </c:pt>
                <c:pt idx="21">
                  <c:v>824.0</c:v>
                </c:pt>
                <c:pt idx="22">
                  <c:v>906.4</c:v>
                </c:pt>
                <c:pt idx="23">
                  <c:v>927.0</c:v>
                </c:pt>
                <c:pt idx="24">
                  <c:v>824.0</c:v>
                </c:pt>
                <c:pt idx="25">
                  <c:v>927.0</c:v>
                </c:pt>
                <c:pt idx="26">
                  <c:v>818.7143</c:v>
                </c:pt>
                <c:pt idx="27">
                  <c:v>845.125</c:v>
                </c:pt>
                <c:pt idx="28">
                  <c:v>854.8333</c:v>
                </c:pt>
                <c:pt idx="29">
                  <c:v>849.75</c:v>
                </c:pt>
                <c:pt idx="30">
                  <c:v>824.0</c:v>
                </c:pt>
                <c:pt idx="31">
                  <c:v>824.0</c:v>
                </c:pt>
                <c:pt idx="32">
                  <c:v>847.125</c:v>
                </c:pt>
                <c:pt idx="33">
                  <c:v>842.7273</c:v>
                </c:pt>
                <c:pt idx="34">
                  <c:v>836.0714</c:v>
                </c:pt>
                <c:pt idx="35">
                  <c:v>833.25</c:v>
                </c:pt>
                <c:pt idx="36">
                  <c:v>987.2</c:v>
                </c:pt>
                <c:pt idx="37">
                  <c:v>976.5</c:v>
                </c:pt>
                <c:pt idx="38">
                  <c:v>1255.5</c:v>
                </c:pt>
                <c:pt idx="39">
                  <c:v>1116.0</c:v>
                </c:pt>
                <c:pt idx="40">
                  <c:v>1112.0</c:v>
                </c:pt>
                <c:pt idx="41">
                  <c:v>1079.3333</c:v>
                </c:pt>
                <c:pt idx="42">
                  <c:v>1116.0</c:v>
                </c:pt>
                <c:pt idx="43">
                  <c:v>1209.0</c:v>
                </c:pt>
                <c:pt idx="44">
                  <c:v>1046.25</c:v>
                </c:pt>
                <c:pt idx="45">
                  <c:v>1209.0</c:v>
                </c:pt>
                <c:pt idx="46">
                  <c:v>1023.0</c:v>
                </c:pt>
                <c:pt idx="47">
                  <c:v>1216.8</c:v>
                </c:pt>
                <c:pt idx="48">
                  <c:v>1182.5</c:v>
                </c:pt>
                <c:pt idx="49">
                  <c:v>1160.3333</c:v>
                </c:pt>
                <c:pt idx="50">
                  <c:v>1112.1</c:v>
                </c:pt>
                <c:pt idx="51">
                  <c:v>1110.4286</c:v>
                </c:pt>
                <c:pt idx="52">
                  <c:v>1136.0</c:v>
                </c:pt>
                <c:pt idx="53">
                  <c:v>1150.875</c:v>
                </c:pt>
                <c:pt idx="54">
                  <c:v>1112.5</c:v>
                </c:pt>
                <c:pt idx="55">
                  <c:v>1302.0</c:v>
                </c:pt>
                <c:pt idx="56">
                  <c:v>1109.5</c:v>
                </c:pt>
                <c:pt idx="57">
                  <c:v>1069.5</c:v>
                </c:pt>
                <c:pt idx="58">
                  <c:v>1116.0</c:v>
                </c:pt>
                <c:pt idx="59">
                  <c:v>1141.3636</c:v>
                </c:pt>
                <c:pt idx="60">
                  <c:v>1134.5833</c:v>
                </c:pt>
                <c:pt idx="61">
                  <c:v>1128.3333</c:v>
                </c:pt>
                <c:pt idx="62">
                  <c:v>1060.2</c:v>
                </c:pt>
                <c:pt idx="63">
                  <c:v>1255.5</c:v>
                </c:pt>
                <c:pt idx="64">
                  <c:v>1205.75</c:v>
                </c:pt>
                <c:pt idx="65">
                  <c:v>1116.0</c:v>
                </c:pt>
                <c:pt idx="66">
                  <c:v>1116.0</c:v>
                </c:pt>
                <c:pt idx="67">
                  <c:v>1209.0</c:v>
                </c:pt>
                <c:pt idx="68">
                  <c:v>1182.25</c:v>
                </c:pt>
                <c:pt idx="69">
                  <c:v>1171.8</c:v>
                </c:pt>
                <c:pt idx="70">
                  <c:v>1046.25</c:v>
                </c:pt>
                <c:pt idx="71">
                  <c:v>1227.6</c:v>
                </c:pt>
                <c:pt idx="72">
                  <c:v>1302.0</c:v>
                </c:pt>
                <c:pt idx="73">
                  <c:v>1162.5</c:v>
                </c:pt>
                <c:pt idx="74">
                  <c:v>1262.0</c:v>
                </c:pt>
                <c:pt idx="75">
                  <c:v>1554.0</c:v>
                </c:pt>
                <c:pt idx="76">
                  <c:v>1222.3333</c:v>
                </c:pt>
                <c:pt idx="77">
                  <c:v>1200.5</c:v>
                </c:pt>
                <c:pt idx="78">
                  <c:v>1340.0</c:v>
                </c:pt>
                <c:pt idx="79">
                  <c:v>747.0</c:v>
                </c:pt>
                <c:pt idx="80">
                  <c:v>710.0</c:v>
                </c:pt>
                <c:pt idx="81">
                  <c:v>666.1667</c:v>
                </c:pt>
                <c:pt idx="82">
                  <c:v>688.75</c:v>
                </c:pt>
                <c:pt idx="83">
                  <c:v>633.75</c:v>
                </c:pt>
                <c:pt idx="84">
                  <c:v>507.0</c:v>
                </c:pt>
                <c:pt idx="85">
                  <c:v>659.0</c:v>
                </c:pt>
                <c:pt idx="86">
                  <c:v>639.8</c:v>
                </c:pt>
                <c:pt idx="87">
                  <c:v>664.2</c:v>
                </c:pt>
                <c:pt idx="88">
                  <c:v>845.0</c:v>
                </c:pt>
                <c:pt idx="89">
                  <c:v>619.6667</c:v>
                </c:pt>
                <c:pt idx="90">
                  <c:v>642.2</c:v>
                </c:pt>
                <c:pt idx="91">
                  <c:v>676.0</c:v>
                </c:pt>
                <c:pt idx="92">
                  <c:v>618.0</c:v>
                </c:pt>
                <c:pt idx="93">
                  <c:v>732.3333</c:v>
                </c:pt>
                <c:pt idx="94">
                  <c:v>743.5</c:v>
                </c:pt>
                <c:pt idx="95">
                  <c:v>704.1667</c:v>
                </c:pt>
                <c:pt idx="96">
                  <c:v>703.5</c:v>
                </c:pt>
                <c:pt idx="97">
                  <c:v>676.0</c:v>
                </c:pt>
                <c:pt idx="98">
                  <c:v>685.8182</c:v>
                </c:pt>
                <c:pt idx="99">
                  <c:v>739.5</c:v>
                </c:pt>
                <c:pt idx="100">
                  <c:v>975.6667</c:v>
                </c:pt>
                <c:pt idx="101">
                  <c:v>828.0</c:v>
                </c:pt>
                <c:pt idx="102">
                  <c:v>619.6667</c:v>
                </c:pt>
                <c:pt idx="103">
                  <c:v>815.0</c:v>
                </c:pt>
                <c:pt idx="104">
                  <c:v>860.0</c:v>
                </c:pt>
              </c:numCache>
            </c:numRef>
          </c:xVal>
          <c:yVal>
            <c:numRef>
              <c:f>Sheet1!$B$2:$B$106</c:f>
              <c:numCache>
                <c:formatCode>General</c:formatCode>
                <c:ptCount val="105"/>
                <c:pt idx="0">
                  <c:v>0.011162790697674419</c:v>
                </c:pt>
                <c:pt idx="1">
                  <c:v>0.015486725663716814</c:v>
                </c:pt>
                <c:pt idx="2">
                  <c:v>0.014192139737991267</c:v>
                </c:pt>
                <c:pt idx="3">
                  <c:v>0.009603841536614645</c:v>
                </c:pt>
                <c:pt idx="4">
                  <c:v>0.015235457063711912</c:v>
                </c:pt>
                <c:pt idx="5">
                  <c:v>0.014539579967689823</c:v>
                </c:pt>
                <c:pt idx="6">
                  <c:v>0.012704174228675136</c:v>
                </c:pt>
                <c:pt idx="7">
                  <c:v>0.01627906976744186</c:v>
                </c:pt>
                <c:pt idx="8">
                  <c:v>0.017699115044247787</c:v>
                </c:pt>
                <c:pt idx="9">
                  <c:v>0.01858736059479554</c:v>
                </c:pt>
                <c:pt idx="10">
                  <c:v>0.013937282229965157</c:v>
                </c:pt>
                <c:pt idx="11">
                  <c:v>0.011494252873563218</c:v>
                </c:pt>
                <c:pt idx="12">
                  <c:v>0.011049723756906077</c:v>
                </c:pt>
                <c:pt idx="13">
                  <c:v>0.011124845488257108</c:v>
                </c:pt>
                <c:pt idx="14">
                  <c:v>0.007658643326039387</c:v>
                </c:pt>
                <c:pt idx="15">
                  <c:v>0.006775067750677507</c:v>
                </c:pt>
                <c:pt idx="16">
                  <c:v>0.013377926421404682</c:v>
                </c:pt>
                <c:pt idx="17">
                  <c:v>0.008912655971479501</c:v>
                </c:pt>
                <c:pt idx="18">
                  <c:v>0.012919896640826873</c:v>
                </c:pt>
                <c:pt idx="19">
                  <c:v>0.011764705882352941</c:v>
                </c:pt>
                <c:pt idx="20">
                  <c:v>0.0121580547112462</c:v>
                </c:pt>
                <c:pt idx="21">
                  <c:v>0.015306122448979591</c:v>
                </c:pt>
                <c:pt idx="22">
                  <c:v>0.02262443438914027</c:v>
                </c:pt>
                <c:pt idx="23">
                  <c:v>0.02112676056338028</c:v>
                </c:pt>
                <c:pt idx="24">
                  <c:v>0.025510204081632654</c:v>
                </c:pt>
                <c:pt idx="25">
                  <c:v>0.012012012012012012</c:v>
                </c:pt>
                <c:pt idx="26">
                  <c:v>0.0196078431372549</c:v>
                </c:pt>
                <c:pt idx="27">
                  <c:v>0.020202020202020204</c:v>
                </c:pt>
                <c:pt idx="28">
                  <c:v>0.015</c:v>
                </c:pt>
                <c:pt idx="29">
                  <c:v>0.01509433962264151</c:v>
                </c:pt>
                <c:pt idx="30">
                  <c:v>0.01928374655647383</c:v>
                </c:pt>
                <c:pt idx="31">
                  <c:v>0.01775147928994083</c:v>
                </c:pt>
                <c:pt idx="32">
                  <c:v>0.027777777777777776</c:v>
                </c:pt>
                <c:pt idx="33">
                  <c:v>0.02466367713004484</c:v>
                </c:pt>
                <c:pt idx="34">
                  <c:v>0.022764227642276424</c:v>
                </c:pt>
                <c:pt idx="35">
                  <c:v>0.02102496714848883</c:v>
                </c:pt>
                <c:pt idx="36">
                  <c:v>0.009505703422053232</c:v>
                </c:pt>
                <c:pt idx="37">
                  <c:v>0.0049504950495049506</c:v>
                </c:pt>
                <c:pt idx="38">
                  <c:v>0.004750593824228029</c:v>
                </c:pt>
                <c:pt idx="39">
                  <c:v>0.008948545861297539</c:v>
                </c:pt>
                <c:pt idx="40">
                  <c:v>0.012089810017271158</c:v>
                </c:pt>
                <c:pt idx="41">
                  <c:v>0.006507592190889371</c:v>
                </c:pt>
                <c:pt idx="42">
                  <c:v>0.005681818181818182</c:v>
                </c:pt>
                <c:pt idx="43">
                  <c:v>0.005008347245409015</c:v>
                </c:pt>
                <c:pt idx="44">
                  <c:v>0.004259850905218318</c:v>
                </c:pt>
                <c:pt idx="45">
                  <c:v>0.003134796238244514</c:v>
                </c:pt>
                <c:pt idx="46">
                  <c:v>0.0029411764705882353</c:v>
                </c:pt>
                <c:pt idx="47">
                  <c:v>0.005252100840336135</c:v>
                </c:pt>
                <c:pt idx="48">
                  <c:v>0.007957559681697613</c:v>
                </c:pt>
                <c:pt idx="49">
                  <c:v>0.007894736842105263</c:v>
                </c:pt>
                <c:pt idx="50">
                  <c:v>0.010427528675703858</c:v>
                </c:pt>
                <c:pt idx="51">
                  <c:v>0.010835913312693499</c:v>
                </c:pt>
                <c:pt idx="52">
                  <c:v>0.010604453870625663</c:v>
                </c:pt>
                <c:pt idx="53">
                  <c:v>0.0121765601217656</c:v>
                </c:pt>
                <c:pt idx="54">
                  <c:v>0.014678899082568808</c:v>
                </c:pt>
                <c:pt idx="55">
                  <c:v>0.006185567010309278</c:v>
                </c:pt>
                <c:pt idx="56">
                  <c:v>0.012958963282937365</c:v>
                </c:pt>
                <c:pt idx="57">
                  <c:v>0.011385199240986717</c:v>
                </c:pt>
                <c:pt idx="58">
                  <c:v>0.00974025974025974</c:v>
                </c:pt>
                <c:pt idx="59">
                  <c:v>0.010387157695939566</c:v>
                </c:pt>
                <c:pt idx="60">
                  <c:v>0.013201320132013201</c:v>
                </c:pt>
                <c:pt idx="61">
                  <c:v>0.014173228346456693</c:v>
                </c:pt>
                <c:pt idx="62">
                  <c:v>0.0077279752704791345</c:v>
                </c:pt>
                <c:pt idx="63">
                  <c:v>0.007863695937090432</c:v>
                </c:pt>
                <c:pt idx="64">
                  <c:v>0.014457831325301205</c:v>
                </c:pt>
                <c:pt idx="65">
                  <c:v>0.013630731102850062</c:v>
                </c:pt>
                <c:pt idx="66">
                  <c:v>0.01227830832196453</c:v>
                </c:pt>
                <c:pt idx="67">
                  <c:v>0.00909090909090909</c:v>
                </c:pt>
                <c:pt idx="68">
                  <c:v>0.014842300556586271</c:v>
                </c:pt>
                <c:pt idx="69">
                  <c:v>0.011655011655011656</c:v>
                </c:pt>
                <c:pt idx="70">
                  <c:v>0.01038961038961039</c:v>
                </c:pt>
                <c:pt idx="71">
                  <c:v>0.016025641025641024</c:v>
                </c:pt>
                <c:pt idx="72">
                  <c:v>0.008379888268156424</c:v>
                </c:pt>
                <c:pt idx="73">
                  <c:v>0.017191977077363897</c:v>
                </c:pt>
                <c:pt idx="74">
                  <c:v>0.007371007371007371</c:v>
                </c:pt>
                <c:pt idx="75">
                  <c:v>0.0034482758620689655</c:v>
                </c:pt>
                <c:pt idx="76">
                  <c:v>0.011857707509881422</c:v>
                </c:pt>
                <c:pt idx="77">
                  <c:v>0.006920415224913495</c:v>
                </c:pt>
                <c:pt idx="78">
                  <c:v>0.009216589861751152</c:v>
                </c:pt>
                <c:pt idx="79">
                  <c:v>0.006644518272425249</c:v>
                </c:pt>
                <c:pt idx="80">
                  <c:v>0.013559322033898305</c:v>
                </c:pt>
                <c:pt idx="81">
                  <c:v>0.015306122448979591</c:v>
                </c:pt>
                <c:pt idx="82">
                  <c:v>0.014652014652014652</c:v>
                </c:pt>
                <c:pt idx="83">
                  <c:v>0.01818181818181818</c:v>
                </c:pt>
                <c:pt idx="84">
                  <c:v>0.004629629629629629</c:v>
                </c:pt>
                <c:pt idx="85">
                  <c:v>0.011111111111111112</c:v>
                </c:pt>
                <c:pt idx="86">
                  <c:v>0.012658227848101266</c:v>
                </c:pt>
                <c:pt idx="87">
                  <c:v>0.010351966873706004</c:v>
                </c:pt>
                <c:pt idx="88">
                  <c:v>0.00625</c:v>
                </c:pt>
                <c:pt idx="89">
                  <c:v>0.011278195488721804</c:v>
                </c:pt>
                <c:pt idx="90">
                  <c:v>0.017857142857142856</c:v>
                </c:pt>
                <c:pt idx="91">
                  <c:v>0.013651877133105802</c:v>
                </c:pt>
                <c:pt idx="92">
                  <c:v>0.010554089709762533</c:v>
                </c:pt>
                <c:pt idx="93">
                  <c:v>0.015306122448979591</c:v>
                </c:pt>
                <c:pt idx="94">
                  <c:v>0.0125</c:v>
                </c:pt>
                <c:pt idx="95">
                  <c:v>0.012396694214876033</c:v>
                </c:pt>
                <c:pt idx="96">
                  <c:v>0.013054830287206266</c:v>
                </c:pt>
                <c:pt idx="97">
                  <c:v>0.009876543209876543</c:v>
                </c:pt>
                <c:pt idx="98">
                  <c:v>0.010328638497652582</c:v>
                </c:pt>
                <c:pt idx="99">
                  <c:v>0.004531722054380665</c:v>
                </c:pt>
                <c:pt idx="100">
                  <c:v>0.0030596634370219276</c:v>
                </c:pt>
                <c:pt idx="101">
                  <c:v>0.005035246727089627</c:v>
                </c:pt>
                <c:pt idx="102">
                  <c:v>0.005199306759098787</c:v>
                </c:pt>
                <c:pt idx="103">
                  <c:v>0.0029717682020802376</c:v>
                </c:pt>
                <c:pt idx="104">
                  <c:v>0.0033726812816188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2.3333</c:v>
                </c:pt>
                <c:pt idx="1">
                  <c:v>637.4286</c:v>
                </c:pt>
                <c:pt idx="2">
                  <c:v>679.3333</c:v>
                </c:pt>
                <c:pt idx="3">
                  <c:v>685.6923</c:v>
                </c:pt>
                <c:pt idx="4">
                  <c:v>649.7692</c:v>
                </c:pt>
                <c:pt idx="5">
                  <c:v>685.7</c:v>
                </c:pt>
                <c:pt idx="6">
                  <c:v>625.1818</c:v>
                </c:pt>
                <c:pt idx="7">
                  <c:v>618.0</c:v>
                </c:pt>
                <c:pt idx="8">
                  <c:v>637.6667</c:v>
                </c:pt>
                <c:pt idx="9">
                  <c:v>663.75</c:v>
                </c:pt>
                <c:pt idx="10">
                  <c:v>634.8</c:v>
                </c:pt>
                <c:pt idx="11">
                  <c:v>627.5556</c:v>
                </c:pt>
                <c:pt idx="12">
                  <c:v>633.3333</c:v>
                </c:pt>
                <c:pt idx="13">
                  <c:v>688.0</c:v>
                </c:pt>
                <c:pt idx="14">
                  <c:v>681.0</c:v>
                </c:pt>
                <c:pt idx="15">
                  <c:v>592.25</c:v>
                </c:pt>
                <c:pt idx="16">
                  <c:v>612.0</c:v>
                </c:pt>
                <c:pt idx="17">
                  <c:v>710.0</c:v>
                </c:pt>
                <c:pt idx="18">
                  <c:v>584.25</c:v>
                </c:pt>
                <c:pt idx="19">
                  <c:v>700.5</c:v>
                </c:pt>
                <c:pt idx="20">
                  <c:v>519.3333</c:v>
                </c:pt>
                <c:pt idx="21">
                  <c:v>0.0</c:v>
                </c:pt>
                <c:pt idx="22">
                  <c:v>747.0</c:v>
                </c:pt>
                <c:pt idx="23">
                  <c:v>612.0</c:v>
                </c:pt>
                <c:pt idx="24">
                  <c:v>532.5</c:v>
                </c:pt>
                <c:pt idx="25">
                  <c:v>477.0</c:v>
                </c:pt>
                <c:pt idx="26">
                  <c:v>757.0</c:v>
                </c:pt>
                <c:pt idx="27">
                  <c:v>588.0</c:v>
                </c:pt>
                <c:pt idx="28">
                  <c:v>429.0</c:v>
                </c:pt>
                <c:pt idx="29">
                  <c:v>795.0</c:v>
                </c:pt>
                <c:pt idx="30">
                  <c:v>795.0</c:v>
                </c:pt>
                <c:pt idx="31">
                  <c:v>964.0</c:v>
                </c:pt>
                <c:pt idx="32">
                  <c:v>795.0</c:v>
                </c:pt>
                <c:pt idx="33">
                  <c:v>556.5</c:v>
                </c:pt>
                <c:pt idx="34">
                  <c:v>726.0</c:v>
                </c:pt>
                <c:pt idx="35">
                  <c:v>636.0</c:v>
                </c:pt>
                <c:pt idx="36">
                  <c:v>0.0</c:v>
                </c:pt>
                <c:pt idx="37">
                  <c:v>392.6667</c:v>
                </c:pt>
                <c:pt idx="38">
                  <c:v>376.8</c:v>
                </c:pt>
                <c:pt idx="39">
                  <c:v>367.625</c:v>
                </c:pt>
                <c:pt idx="40">
                  <c:v>383.3</c:v>
                </c:pt>
                <c:pt idx="41">
                  <c:v>408.4</c:v>
                </c:pt>
                <c:pt idx="42">
                  <c:v>377.3333</c:v>
                </c:pt>
                <c:pt idx="43">
                  <c:v>351.3</c:v>
                </c:pt>
                <c:pt idx="44">
                  <c:v>376.75</c:v>
                </c:pt>
                <c:pt idx="45">
                  <c:v>384.6667</c:v>
                </c:pt>
                <c:pt idx="46">
                  <c:v>462.3333</c:v>
                </c:pt>
                <c:pt idx="47">
                  <c:v>436.0</c:v>
                </c:pt>
                <c:pt idx="48">
                  <c:v>261.0</c:v>
                </c:pt>
                <c:pt idx="49">
                  <c:v>0.0</c:v>
                </c:pt>
                <c:pt idx="50">
                  <c:v>0.0</c:v>
                </c:pt>
                <c:pt idx="51">
                  <c:v>0.0</c:v>
                </c:pt>
              </c:numCache>
            </c:numRef>
          </c:xVal>
          <c:yVal>
            <c:numRef>
              <c:f>Sheet1!$B$109:$B$160</c:f>
              <c:numCache>
                <c:formatCode>General</c:formatCode>
                <c:ptCount val="52"/>
                <c:pt idx="0">
                  <c:v>0.004830917874396135</c:v>
                </c:pt>
                <c:pt idx="1">
                  <c:v>0.012389380530973451</c:v>
                </c:pt>
                <c:pt idx="2">
                  <c:v>0.023076923076923078</c:v>
                </c:pt>
                <c:pt idx="3">
                  <c:v>0.02145214521452145</c:v>
                </c:pt>
                <c:pt idx="4">
                  <c:v>0.023853211009174313</c:v>
                </c:pt>
                <c:pt idx="5">
                  <c:v>0.020366598778004074</c:v>
                </c:pt>
                <c:pt idx="6">
                  <c:v>0.02033271719038817</c:v>
                </c:pt>
                <c:pt idx="7">
                  <c:v>0.020512820512820513</c:v>
                </c:pt>
                <c:pt idx="8">
                  <c:v>0.020689655172413793</c:v>
                </c:pt>
                <c:pt idx="9">
                  <c:v>0.011976047904191617</c:v>
                </c:pt>
                <c:pt idx="10">
                  <c:v>0.013850415512465374</c:v>
                </c:pt>
                <c:pt idx="11">
                  <c:v>0.014150943396226415</c:v>
                </c:pt>
                <c:pt idx="12">
                  <c:v>0.010869565217391304</c:v>
                </c:pt>
                <c:pt idx="13">
                  <c:v>0.011363636363636364</c:v>
                </c:pt>
                <c:pt idx="14">
                  <c:v>0.012422360248447204</c:v>
                </c:pt>
                <c:pt idx="15">
                  <c:v>0.008676789587852495</c:v>
                </c:pt>
                <c:pt idx="16">
                  <c:v>0.004739336492890996</c:v>
                </c:pt>
                <c:pt idx="17">
                  <c:v>0.00847457627118644</c:v>
                </c:pt>
                <c:pt idx="18">
                  <c:v>0.013793103448275862</c:v>
                </c:pt>
                <c:pt idx="19">
                  <c:v>0.00684931506849315</c:v>
                </c:pt>
                <c:pt idx="20">
                  <c:v>0.011538461538461539</c:v>
                </c:pt>
                <c:pt idx="21">
                  <c:v>0.0</c:v>
                </c:pt>
                <c:pt idx="22">
                  <c:v>0.006666666666666667</c:v>
                </c:pt>
                <c:pt idx="23">
                  <c:v>0.01282051282051282</c:v>
                </c:pt>
                <c:pt idx="24">
                  <c:v>0.009708737864077669</c:v>
                </c:pt>
                <c:pt idx="25">
                  <c:v>0.005050505050505051</c:v>
                </c:pt>
                <c:pt idx="26">
                  <c:v>0.004310344827586207</c:v>
                </c:pt>
                <c:pt idx="27">
                  <c:v>0.007407407407407408</c:v>
                </c:pt>
                <c:pt idx="28">
                  <c:v>0.0028089887640449437</c:v>
                </c:pt>
                <c:pt idx="29">
                  <c:v>0.004098360655737705</c:v>
                </c:pt>
                <c:pt idx="30">
                  <c:v>0.008333333333333333</c:v>
                </c:pt>
                <c:pt idx="31">
                  <c:v>0.004132231404958678</c:v>
                </c:pt>
                <c:pt idx="32">
                  <c:v>0.007326007326007326</c:v>
                </c:pt>
                <c:pt idx="33">
                  <c:v>0.005012531328320802</c:v>
                </c:pt>
                <c:pt idx="34">
                  <c:v>0.004975124378109453</c:v>
                </c:pt>
                <c:pt idx="35">
                  <c:v>0.00411522633744856</c:v>
                </c:pt>
                <c:pt idx="36">
                  <c:v>0.0</c:v>
                </c:pt>
                <c:pt idx="37">
                  <c:v>0.024896265560165973</c:v>
                </c:pt>
                <c:pt idx="38">
                  <c:v>0.021834061135371178</c:v>
                </c:pt>
                <c:pt idx="39">
                  <c:v>0.02197802197802198</c:v>
                </c:pt>
                <c:pt idx="40">
                  <c:v>0.032679738562091505</c:v>
                </c:pt>
                <c:pt idx="41">
                  <c:v>0.016025641025641024</c:v>
                </c:pt>
                <c:pt idx="42">
                  <c:v>0.011538461538461539</c:v>
                </c:pt>
                <c:pt idx="43">
                  <c:v>0.02358490566037736</c:v>
                </c:pt>
                <c:pt idx="44">
                  <c:v>0.015267175572519083</c:v>
                </c:pt>
                <c:pt idx="45">
                  <c:v>0.0038809831824062097</c:v>
                </c:pt>
                <c:pt idx="46">
                  <c:v>0.005607476635514018</c:v>
                </c:pt>
                <c:pt idx="47">
                  <c:v>0.0017331022530329288</c:v>
                </c:pt>
                <c:pt idx="48">
                  <c:v>0.0014814814814814814</c:v>
                </c:pt>
                <c:pt idx="49">
                  <c:v>0.0</c:v>
                </c:pt>
                <c:pt idx="50">
                  <c:v>0.0</c:v>
                </c:pt>
                <c:pt idx="51">
                  <c:v>0.0</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776.5104788770982</c:v>
                </c:pt>
              </c:numCache>
            </c:numRef>
          </c:xVal>
          <c:yVal>
            <c:numRef>
              <c:f>Sheet1!$B$163:$B$164</c:f>
              <c:numCache>
                <c:formatCode>General</c:formatCode>
                <c:ptCount val="2"/>
                <c:pt idx="0">
                  <c:v>0.02026296326189196</c:v>
                </c:pt>
                <c:pt idx="1">
                  <c:v>0.020262963261891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776.5104788770982</c:v>
                </c:pt>
                <c:pt idx="1">
                  <c:v>1776.5104788770982</c:v>
                </c:pt>
              </c:numCache>
            </c:numRef>
          </c:xVal>
          <c:yVal>
            <c:numRef>
              <c:f>Sheet1!$B$167:$B$168</c:f>
              <c:numCache>
                <c:formatCode>General</c:formatCode>
                <c:ptCount val="2"/>
                <c:pt idx="0">
                  <c:v>0.020262963261891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558.1016839604551</c:v>
                </c:pt>
              </c:numCache>
            </c:numRef>
          </c:xVal>
          <c:yVal>
            <c:numRef>
              <c:f>Sheet1!$B$171:$B$172</c:f>
              <c:numCache>
                <c:formatCode>General</c:formatCode>
                <c:ptCount val="2"/>
                <c:pt idx="0">
                  <c:v>0.018611596595512776</c:v>
                </c:pt>
                <c:pt idx="1">
                  <c:v>0.018611596595512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558.1016839604551</c:v>
                </c:pt>
                <c:pt idx="1">
                  <c:v>1558.1016839604551</c:v>
                </c:pt>
              </c:numCache>
            </c:numRef>
          </c:xVal>
          <c:yVal>
            <c:numRef>
              <c:f>Sheet1!$B$175:$B$176</c:f>
              <c:numCache>
                <c:formatCode>General</c:formatCode>
                <c:ptCount val="2"/>
                <c:pt idx="0">
                  <c:v>0.018611596595512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57.5632511959709</c:v>
                </c:pt>
              </c:numCache>
            </c:numRef>
          </c:xVal>
          <c:yVal>
            <c:numRef>
              <c:f>Sheet1!$B$179:$B$180</c:f>
              <c:numCache>
                <c:formatCode>General</c:formatCode>
                <c:ptCount val="2"/>
                <c:pt idx="0">
                  <c:v>0.010290537529965164</c:v>
                </c:pt>
                <c:pt idx="1">
                  <c:v>0.01029053752996516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57.5632511959709</c:v>
                </c:pt>
                <c:pt idx="1">
                  <c:v>457.5632511959709</c:v>
                </c:pt>
              </c:numCache>
            </c:numRef>
          </c:xVal>
          <c:yVal>
            <c:numRef>
              <c:f>Sheet1!$B$183:$B$184</c:f>
              <c:numCache>
                <c:formatCode>General</c:formatCode>
                <c:ptCount val="2"/>
                <c:pt idx="0">
                  <c:v>0.0102905375299651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2.3333</c:v>
                </c:pt>
                <c:pt idx="1">
                  <c:v>637.4286</c:v>
                </c:pt>
                <c:pt idx="2">
                  <c:v>679.3333</c:v>
                </c:pt>
                <c:pt idx="3">
                  <c:v>685.6923</c:v>
                </c:pt>
                <c:pt idx="4">
                  <c:v>649.7692</c:v>
                </c:pt>
                <c:pt idx="5">
                  <c:v>685.7</c:v>
                </c:pt>
                <c:pt idx="6">
                  <c:v>625.1818</c:v>
                </c:pt>
                <c:pt idx="7">
                  <c:v>618.0</c:v>
                </c:pt>
                <c:pt idx="8">
                  <c:v>637.6667</c:v>
                </c:pt>
                <c:pt idx="9">
                  <c:v>663.75</c:v>
                </c:pt>
                <c:pt idx="10">
                  <c:v>634.8</c:v>
                </c:pt>
                <c:pt idx="11">
                  <c:v>627.5556</c:v>
                </c:pt>
                <c:pt idx="12">
                  <c:v>633.3333</c:v>
                </c:pt>
                <c:pt idx="13">
                  <c:v>688.0</c:v>
                </c:pt>
                <c:pt idx="14">
                  <c:v>681.0</c:v>
                </c:pt>
                <c:pt idx="15">
                  <c:v>592.25</c:v>
                </c:pt>
                <c:pt idx="16">
                  <c:v>612.0</c:v>
                </c:pt>
                <c:pt idx="17">
                  <c:v>710.0</c:v>
                </c:pt>
                <c:pt idx="18">
                  <c:v>584.25</c:v>
                </c:pt>
                <c:pt idx="19">
                  <c:v>700.5</c:v>
                </c:pt>
                <c:pt idx="20">
                  <c:v>519.3333</c:v>
                </c:pt>
                <c:pt idx="21">
                  <c:v>0.0</c:v>
                </c:pt>
                <c:pt idx="22">
                  <c:v>747.0</c:v>
                </c:pt>
                <c:pt idx="23">
                  <c:v>612.0</c:v>
                </c:pt>
                <c:pt idx="24">
                  <c:v>532.5</c:v>
                </c:pt>
                <c:pt idx="25">
                  <c:v>477.0</c:v>
                </c:pt>
                <c:pt idx="26">
                  <c:v>757.0</c:v>
                </c:pt>
                <c:pt idx="27">
                  <c:v>588.0</c:v>
                </c:pt>
                <c:pt idx="28">
                  <c:v>429.0</c:v>
                </c:pt>
                <c:pt idx="29">
                  <c:v>795.0</c:v>
                </c:pt>
                <c:pt idx="30">
                  <c:v>795.0</c:v>
                </c:pt>
                <c:pt idx="31">
                  <c:v>964.0</c:v>
                </c:pt>
                <c:pt idx="32">
                  <c:v>795.0</c:v>
                </c:pt>
                <c:pt idx="33">
                  <c:v>556.5</c:v>
                </c:pt>
                <c:pt idx="34">
                  <c:v>726.0</c:v>
                </c:pt>
                <c:pt idx="35">
                  <c:v>636.0</c:v>
                </c:pt>
                <c:pt idx="36">
                  <c:v>0.0</c:v>
                </c:pt>
                <c:pt idx="37">
                  <c:v>392.6667</c:v>
                </c:pt>
                <c:pt idx="38">
                  <c:v>376.8</c:v>
                </c:pt>
                <c:pt idx="39">
                  <c:v>367.625</c:v>
                </c:pt>
                <c:pt idx="40">
                  <c:v>383.3</c:v>
                </c:pt>
                <c:pt idx="41">
                  <c:v>408.4</c:v>
                </c:pt>
                <c:pt idx="42">
                  <c:v>377.3333</c:v>
                </c:pt>
                <c:pt idx="43">
                  <c:v>351.3</c:v>
                </c:pt>
                <c:pt idx="44">
                  <c:v>376.75</c:v>
                </c:pt>
                <c:pt idx="45">
                  <c:v>384.6667</c:v>
                </c:pt>
                <c:pt idx="46">
                  <c:v>462.3333</c:v>
                </c:pt>
                <c:pt idx="47">
                  <c:v>436.0</c:v>
                </c:pt>
                <c:pt idx="48">
                  <c:v>261.0</c:v>
                </c:pt>
                <c:pt idx="49">
                  <c:v>0.0</c:v>
                </c:pt>
                <c:pt idx="50">
                  <c:v>0.0</c:v>
                </c:pt>
                <c:pt idx="51">
                  <c:v>0.0</c:v>
                </c:pt>
                <c:pt idx="52">
                  <c:v>1558.1016839604551</c:v>
                </c:pt>
                <c:pt idx="53">
                  <c:v>1776.5104788770982</c:v>
                </c:pt>
                <c:pt idx="54">
                  <c:v>457.5632511959709</c:v>
                </c:pt>
              </c:numCache>
            </c:numRef>
          </c:xVal>
          <c:yVal>
            <c:numRef>
              <c:f>Sheet1!$B$187:$B$241</c:f>
              <c:numCache>
                <c:formatCode>General</c:formatCode>
                <c:ptCount val="55"/>
                <c:pt idx="0">
                  <c:v>0.012065609971563284</c:v>
                </c:pt>
                <c:pt idx="1">
                  <c:v>0.011650481123651489</c:v>
                </c:pt>
                <c:pt idx="2">
                  <c:v>0.01196731829484247</c:v>
                </c:pt>
                <c:pt idx="3">
                  <c:v>0.012015398046555367</c:v>
                </c:pt>
                <c:pt idx="4">
                  <c:v>0.011743787144093097</c:v>
                </c:pt>
                <c:pt idx="5">
                  <c:v>0.012015456265471578</c:v>
                </c:pt>
                <c:pt idx="6">
                  <c:v>0.011557884315461914</c:v>
                </c:pt>
                <c:pt idx="7">
                  <c:v>0.011503583456702412</c:v>
                </c:pt>
                <c:pt idx="8">
                  <c:v>0.011652281373515122</c:v>
                </c:pt>
                <c:pt idx="9">
                  <c:v>0.011849494549777587</c:v>
                </c:pt>
                <c:pt idx="10">
                  <c:v>0.01163060654661854</c:v>
                </c:pt>
                <c:pt idx="11">
                  <c:v>0.011575832375631135</c:v>
                </c:pt>
                <c:pt idx="12">
                  <c:v>0.01161951697721497</c:v>
                </c:pt>
                <c:pt idx="13">
                  <c:v>0.012032846331352952</c:v>
                </c:pt>
                <c:pt idx="14">
                  <c:v>0.011979920043887898</c:v>
                </c:pt>
                <c:pt idx="15">
                  <c:v>0.011308890327813105</c:v>
                </c:pt>
                <c:pt idx="16">
                  <c:v>0.011458218067446652</c:v>
                </c:pt>
                <c:pt idx="17">
                  <c:v>0.012199186091957408</c:v>
                </c:pt>
                <c:pt idx="18">
                  <c:v>0.011248403142138756</c:v>
                </c:pt>
                <c:pt idx="19">
                  <c:v>0.012127357558969121</c:v>
                </c:pt>
                <c:pt idx="20">
                  <c:v>0.010757574581355518</c:v>
                </c:pt>
                <c:pt idx="21">
                  <c:v>0.006830948363359058</c:v>
                </c:pt>
                <c:pt idx="22">
                  <c:v>0.012478939325701266</c:v>
                </c:pt>
                <c:pt idx="23">
                  <c:v>0.011458218067446652</c:v>
                </c:pt>
                <c:pt idx="24">
                  <c:v>0.010857126659807821</c:v>
                </c:pt>
                <c:pt idx="25">
                  <c:v>0.010437496809192034</c:v>
                </c:pt>
                <c:pt idx="26">
                  <c:v>0.012554548307794202</c:v>
                </c:pt>
                <c:pt idx="27">
                  <c:v>0.011276756510423609</c:v>
                </c:pt>
                <c:pt idx="28">
                  <c:v>0.01007457369514595</c:v>
                </c:pt>
                <c:pt idx="29">
                  <c:v>0.012841862439747352</c:v>
                </c:pt>
                <c:pt idx="30">
                  <c:v>0.012841862439747352</c:v>
                </c:pt>
                <c:pt idx="31">
                  <c:v>0.014119654237117946</c:v>
                </c:pt>
                <c:pt idx="32">
                  <c:v>0.012841862439747352</c:v>
                </c:pt>
                <c:pt idx="33">
                  <c:v>0.011038588216830864</c:v>
                </c:pt>
                <c:pt idx="34">
                  <c:v>0.012320160463306104</c:v>
                </c:pt>
                <c:pt idx="35">
                  <c:v>0.011639679624469693</c:v>
                </c:pt>
                <c:pt idx="36">
                  <c:v>0.006830948363359058</c:v>
                </c:pt>
                <c:pt idx="37">
                  <c:v>0.009799861312238227</c:v>
                </c:pt>
                <c:pt idx="38">
                  <c:v>0.009679894808620831</c:v>
                </c:pt>
                <c:pt idx="39">
                  <c:v>0.009610523567550563</c:v>
                </c:pt>
                <c:pt idx="40">
                  <c:v>0.009729040646981237</c:v>
                </c:pt>
                <c:pt idx="41">
                  <c:v>0.009918819192034503</c:v>
                </c:pt>
                <c:pt idx="42">
                  <c:v>0.009683927035635847</c:v>
                </c:pt>
                <c:pt idx="43">
                  <c:v>0.009487091904283847</c:v>
                </c:pt>
                <c:pt idx="44">
                  <c:v>0.009679516763710365</c:v>
                </c:pt>
                <c:pt idx="45">
                  <c:v>0.00973937412656388</c:v>
                </c:pt>
                <c:pt idx="46">
                  <c:v>0.010326603383425791</c:v>
                </c:pt>
                <c:pt idx="47">
                  <c:v>0.010127499982611003</c:v>
                </c:pt>
                <c:pt idx="48">
                  <c:v>0.00880434279598465</c:v>
                </c:pt>
                <c:pt idx="49">
                  <c:v>0.006830948363359058</c:v>
                </c:pt>
                <c:pt idx="50">
                  <c:v>0.006830948363359058</c:v>
                </c:pt>
                <c:pt idx="51">
                  <c:v>0.006830948363359058</c:v>
                </c:pt>
                <c:pt idx="52">
                  <c:v>0.018611596595512776</c:v>
                </c:pt>
                <c:pt idx="53">
                  <c:v>0.02026296326189196</c:v>
                </c:pt>
                <c:pt idx="54">
                  <c:v>0.0102905375299651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3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4435039007259087</c:v>
                </c:pt>
                <c:pt idx="1">
                  <c:v>1.610018122888903</c:v>
                </c:pt>
                <c:pt idx="2">
                  <c:v>1.7599238684767988</c:v>
                </c:pt>
                <c:pt idx="3">
                  <c:v>1.7767615246857664</c:v>
                </c:pt>
                <c:pt idx="4">
                  <c:v>1.7272107200554527</c:v>
                </c:pt>
                <c:pt idx="5">
                  <c:v>1.7369090280488115</c:v>
                </c:pt>
                <c:pt idx="6">
                  <c:v>1.783306762278272</c:v>
                </c:pt>
                <c:pt idx="7">
                  <c:v>1.689153606301797</c:v>
                </c:pt>
                <c:pt idx="8">
                  <c:v>1.707737971120666</c:v>
                </c:pt>
                <c:pt idx="9">
                  <c:v>2.1662796763401175</c:v>
                </c:pt>
                <c:pt idx="10">
                  <c:v>1.9044297375824377</c:v>
                </c:pt>
                <c:pt idx="11">
                  <c:v>1.7719377000830299</c:v>
                </c:pt>
                <c:pt idx="12">
                  <c:v>1.7246168145025143</c:v>
                </c:pt>
                <c:pt idx="13">
                  <c:v>1.8396707466451632</c:v>
                </c:pt>
                <c:pt idx="14">
                  <c:v>1.7761743992058145</c:v>
                </c:pt>
                <c:pt idx="15">
                  <c:v>1.6877441037497882</c:v>
                </c:pt>
                <c:pt idx="16">
                  <c:v>1.7606555876213155</c:v>
                </c:pt>
                <c:pt idx="17">
                  <c:v>1.6635897435897435</c:v>
                </c:pt>
                <c:pt idx="18">
                  <c:v>1.7820277693165463</c:v>
                </c:pt>
                <c:pt idx="19">
                  <c:v>1.683923820430778</c:v>
                </c:pt>
                <c:pt idx="20">
                  <c:v>1.6667801713286405</c:v>
                </c:pt>
                <c:pt idx="21">
                  <c:v>1.6995532278826557</c:v>
                </c:pt>
                <c:pt idx="22">
                  <c:v>1.8382733210646571</c:v>
                </c:pt>
                <c:pt idx="23">
                  <c:v>1.6565898231773535</c:v>
                </c:pt>
                <c:pt idx="24">
                  <c:v>1.4693093550605671</c:v>
                </c:pt>
                <c:pt idx="25">
                  <c:v>1.6431800053177348</c:v>
                </c:pt>
                <c:pt idx="26">
                  <c:v>1.5092169942202074</c:v>
                </c:pt>
                <c:pt idx="27">
                  <c:v>1.579251074806374</c:v>
                </c:pt>
                <c:pt idx="28">
                  <c:v>1.5898628062105642</c:v>
                </c:pt>
                <c:pt idx="29">
                  <c:v>1.520268275691058</c:v>
                </c:pt>
                <c:pt idx="30">
                  <c:v>1.48656954773106</c:v>
                </c:pt>
                <c:pt idx="31">
                  <c:v>1.549208230507144</c:v>
                </c:pt>
                <c:pt idx="32">
                  <c:v>1.5710268251729265</c:v>
                </c:pt>
                <c:pt idx="33">
                  <c:v>1.5619490980856316</c:v>
                </c:pt>
                <c:pt idx="34">
                  <c:v>1.5700871361502349</c:v>
                </c:pt>
                <c:pt idx="35">
                  <c:v>1.5367134820996162</c:v>
                </c:pt>
                <c:pt idx="36">
                  <c:v>1.7676427198707074</c:v>
                </c:pt>
                <c:pt idx="37">
                  <c:v>1.7511410661140485</c:v>
                </c:pt>
                <c:pt idx="38">
                  <c:v>2.3575618585361484</c:v>
                </c:pt>
                <c:pt idx="39">
                  <c:v>2.0290909090909093</c:v>
                </c:pt>
                <c:pt idx="40">
                  <c:v>2.0765639589169003</c:v>
                </c:pt>
                <c:pt idx="41">
                  <c:v>1.9550515048613943</c:v>
                </c:pt>
                <c:pt idx="42">
                  <c:v>2.0048994280647117</c:v>
                </c:pt>
                <c:pt idx="43">
                  <c:v>2.037677310791802</c:v>
                </c:pt>
                <c:pt idx="44">
                  <c:v>1.7843730365500994</c:v>
                </c:pt>
                <c:pt idx="45">
                  <c:v>2.1093994946164947</c:v>
                </c:pt>
                <c:pt idx="46">
                  <c:v>1.9112732050145977</c:v>
                </c:pt>
                <c:pt idx="47">
                  <c:v>2.4199875699192046</c:v>
                </c:pt>
                <c:pt idx="48">
                  <c:v>2.1597443739343967</c:v>
                </c:pt>
                <c:pt idx="49">
                  <c:v>2.1924105810108645</c:v>
                </c:pt>
                <c:pt idx="50">
                  <c:v>1.9684035912347364</c:v>
                </c:pt>
                <c:pt idx="51">
                  <c:v>2.0037638174759653</c:v>
                </c:pt>
                <c:pt idx="52">
                  <c:v>2.0599671674599174</c:v>
                </c:pt>
                <c:pt idx="53">
                  <c:v>1.9939122763491817</c:v>
                </c:pt>
                <c:pt idx="54">
                  <c:v>1.8854791328728076</c:v>
                </c:pt>
                <c:pt idx="55">
                  <c:v>2.1539174166225514</c:v>
                </c:pt>
                <c:pt idx="56">
                  <c:v>1.8775708717428716</c:v>
                </c:pt>
                <c:pt idx="57">
                  <c:v>1.796894623345181</c:v>
                </c:pt>
                <c:pt idx="58">
                  <c:v>1.8267940599073869</c:v>
                </c:pt>
                <c:pt idx="59">
                  <c:v>2.001779104155113</c:v>
                </c:pt>
                <c:pt idx="60">
                  <c:v>2.2406848072777312</c:v>
                </c:pt>
                <c:pt idx="61">
                  <c:v>2.1654625159387</c:v>
                </c:pt>
                <c:pt idx="62">
                  <c:v>1.9715481171548117</c:v>
                </c:pt>
                <c:pt idx="63">
                  <c:v>2.2180673822547186</c:v>
                </c:pt>
                <c:pt idx="64">
                  <c:v>2.1888306915180107</c:v>
                </c:pt>
                <c:pt idx="65">
                  <c:v>2.154559112723212</c:v>
                </c:pt>
                <c:pt idx="66">
                  <c:v>1.9732256616936428</c:v>
                </c:pt>
                <c:pt idx="67">
                  <c:v>1.9945508672336865</c:v>
                </c:pt>
                <c:pt idx="68">
                  <c:v>1.9386445443369524</c:v>
                </c:pt>
                <c:pt idx="69">
                  <c:v>1.8878816141307246</c:v>
                </c:pt>
                <c:pt idx="70">
                  <c:v>1.7308373762275506</c:v>
                </c:pt>
                <c:pt idx="71">
                  <c:v>1.9991935478617617</c:v>
                </c:pt>
                <c:pt idx="72">
                  <c:v>2.078942326116114</c:v>
                </c:pt>
                <c:pt idx="73">
                  <c:v>1.810747663551402</c:v>
                </c:pt>
                <c:pt idx="74">
                  <c:v>1.954491326596275</c:v>
                </c:pt>
                <c:pt idx="75">
                  <c:v>2.385351913086004</c:v>
                </c:pt>
                <c:pt idx="76">
                  <c:v>1.969718279786484</c:v>
                </c:pt>
                <c:pt idx="77">
                  <c:v>1.7559726106302969</c:v>
                </c:pt>
                <c:pt idx="78">
                  <c:v>1.9315315315315316</c:v>
                </c:pt>
                <c:pt idx="79">
                  <c:v>1.1260903064126397</c:v>
                </c:pt>
                <c:pt idx="80">
                  <c:v>1.0233707613172194</c:v>
                </c:pt>
                <c:pt idx="81">
                  <c:v>0.9831848102013107</c:v>
                </c:pt>
                <c:pt idx="82">
                  <c:v>0.9906185012010396</c:v>
                </c:pt>
                <c:pt idx="83">
                  <c:v>0.9728382038436435</c:v>
                </c:pt>
                <c:pt idx="84">
                  <c:v>0.7306645199253079</c:v>
                </c:pt>
                <c:pt idx="85">
                  <c:v>0.9510627007207728</c:v>
                </c:pt>
                <c:pt idx="86">
                  <c:v>0.967634603750756</c:v>
                </c:pt>
                <c:pt idx="87">
                  <c:v>1.0081821831652398</c:v>
                </c:pt>
                <c:pt idx="88">
                  <c:v>1.237994384633281</c:v>
                </c:pt>
                <c:pt idx="89">
                  <c:v>0.9464688643580872</c:v>
                </c:pt>
                <c:pt idx="90">
                  <c:v>0.936236902050114</c:v>
                </c:pt>
                <c:pt idx="91">
                  <c:v>0.9658867654938382</c:v>
                </c:pt>
                <c:pt idx="92">
                  <c:v>0.9687153533389251</c:v>
                </c:pt>
                <c:pt idx="93">
                  <c:v>1.12522407811647</c:v>
                </c:pt>
                <c:pt idx="94">
                  <c:v>1.093543168112958</c:v>
                </c:pt>
                <c:pt idx="95">
                  <c:v>1.0230249614204592</c:v>
                </c:pt>
                <c:pt idx="96">
                  <c:v>1.0309202813599063</c:v>
                </c:pt>
                <c:pt idx="97">
                  <c:v>0.9820358620320966</c:v>
                </c:pt>
                <c:pt idx="98">
                  <c:v>1.068019746472732</c:v>
                </c:pt>
                <c:pt idx="99">
                  <c:v>1.1639151366573302</c:v>
                </c:pt>
                <c:pt idx="100">
                  <c:v>1.539741667443902</c:v>
                </c:pt>
                <c:pt idx="101">
                  <c:v>1.3095414327522006</c:v>
                </c:pt>
                <c:pt idx="102">
                  <c:v>0.9799280282699996</c:v>
                </c:pt>
                <c:pt idx="103">
                  <c:v>1.2973893342816745</c:v>
                </c:pt>
                <c:pt idx="104">
                  <c:v>1.3703456250680195</c:v>
                </c:pt>
              </c:numCache>
            </c:numRef>
          </c:xVal>
          <c:yVal>
            <c:numRef>
              <c:f>Sheet1!$B$2:$B$106</c:f>
              <c:numCache>
                <c:formatCode>General</c:formatCode>
                <c:ptCount val="105"/>
                <c:pt idx="0">
                  <c:v>0.011162790697674419</c:v>
                </c:pt>
                <c:pt idx="1">
                  <c:v>0.015486725663716814</c:v>
                </c:pt>
                <c:pt idx="2">
                  <c:v>0.014192139737991267</c:v>
                </c:pt>
                <c:pt idx="3">
                  <c:v>0.009603841536614645</c:v>
                </c:pt>
                <c:pt idx="4">
                  <c:v>0.015235457063711912</c:v>
                </c:pt>
                <c:pt idx="5">
                  <c:v>0.014539579967689823</c:v>
                </c:pt>
                <c:pt idx="6">
                  <c:v>0.012704174228675136</c:v>
                </c:pt>
                <c:pt idx="7">
                  <c:v>0.01627906976744186</c:v>
                </c:pt>
                <c:pt idx="8">
                  <c:v>0.017699115044247787</c:v>
                </c:pt>
                <c:pt idx="9">
                  <c:v>0.01858736059479554</c:v>
                </c:pt>
                <c:pt idx="10">
                  <c:v>0.013937282229965157</c:v>
                </c:pt>
                <c:pt idx="11">
                  <c:v>0.011494252873563218</c:v>
                </c:pt>
                <c:pt idx="12">
                  <c:v>0.011049723756906077</c:v>
                </c:pt>
                <c:pt idx="13">
                  <c:v>0.011124845488257108</c:v>
                </c:pt>
                <c:pt idx="14">
                  <c:v>0.007658643326039387</c:v>
                </c:pt>
                <c:pt idx="15">
                  <c:v>0.006775067750677507</c:v>
                </c:pt>
                <c:pt idx="16">
                  <c:v>0.013377926421404682</c:v>
                </c:pt>
                <c:pt idx="17">
                  <c:v>0.008912655971479501</c:v>
                </c:pt>
                <c:pt idx="18">
                  <c:v>0.012919896640826873</c:v>
                </c:pt>
                <c:pt idx="19">
                  <c:v>0.011764705882352941</c:v>
                </c:pt>
                <c:pt idx="20">
                  <c:v>0.0121580547112462</c:v>
                </c:pt>
                <c:pt idx="21">
                  <c:v>0.015306122448979591</c:v>
                </c:pt>
                <c:pt idx="22">
                  <c:v>0.02262443438914027</c:v>
                </c:pt>
                <c:pt idx="23">
                  <c:v>0.02112676056338028</c:v>
                </c:pt>
                <c:pt idx="24">
                  <c:v>0.025510204081632654</c:v>
                </c:pt>
                <c:pt idx="25">
                  <c:v>0.012012012012012012</c:v>
                </c:pt>
                <c:pt idx="26">
                  <c:v>0.0196078431372549</c:v>
                </c:pt>
                <c:pt idx="27">
                  <c:v>0.020202020202020204</c:v>
                </c:pt>
                <c:pt idx="28">
                  <c:v>0.015</c:v>
                </c:pt>
                <c:pt idx="29">
                  <c:v>0.01509433962264151</c:v>
                </c:pt>
                <c:pt idx="30">
                  <c:v>0.01928374655647383</c:v>
                </c:pt>
                <c:pt idx="31">
                  <c:v>0.01775147928994083</c:v>
                </c:pt>
                <c:pt idx="32">
                  <c:v>0.027777777777777776</c:v>
                </c:pt>
                <c:pt idx="33">
                  <c:v>0.02466367713004484</c:v>
                </c:pt>
                <c:pt idx="34">
                  <c:v>0.022764227642276424</c:v>
                </c:pt>
                <c:pt idx="35">
                  <c:v>0.02102496714848883</c:v>
                </c:pt>
                <c:pt idx="36">
                  <c:v>0.009505703422053232</c:v>
                </c:pt>
                <c:pt idx="37">
                  <c:v>0.0049504950495049506</c:v>
                </c:pt>
                <c:pt idx="38">
                  <c:v>0.004750593824228029</c:v>
                </c:pt>
                <c:pt idx="39">
                  <c:v>0.008948545861297539</c:v>
                </c:pt>
                <c:pt idx="40">
                  <c:v>0.012089810017271158</c:v>
                </c:pt>
                <c:pt idx="41">
                  <c:v>0.006507592190889371</c:v>
                </c:pt>
                <c:pt idx="42">
                  <c:v>0.005681818181818182</c:v>
                </c:pt>
                <c:pt idx="43">
                  <c:v>0.005008347245409015</c:v>
                </c:pt>
                <c:pt idx="44">
                  <c:v>0.004259850905218318</c:v>
                </c:pt>
                <c:pt idx="45">
                  <c:v>0.003134796238244514</c:v>
                </c:pt>
                <c:pt idx="46">
                  <c:v>0.0029411764705882353</c:v>
                </c:pt>
                <c:pt idx="47">
                  <c:v>0.005252100840336135</c:v>
                </c:pt>
                <c:pt idx="48">
                  <c:v>0.007957559681697613</c:v>
                </c:pt>
                <c:pt idx="49">
                  <c:v>0.007894736842105263</c:v>
                </c:pt>
                <c:pt idx="50">
                  <c:v>0.010427528675703858</c:v>
                </c:pt>
                <c:pt idx="51">
                  <c:v>0.010835913312693499</c:v>
                </c:pt>
                <c:pt idx="52">
                  <c:v>0.010604453870625663</c:v>
                </c:pt>
                <c:pt idx="53">
                  <c:v>0.0121765601217656</c:v>
                </c:pt>
                <c:pt idx="54">
                  <c:v>0.014678899082568808</c:v>
                </c:pt>
                <c:pt idx="55">
                  <c:v>0.006185567010309278</c:v>
                </c:pt>
                <c:pt idx="56">
                  <c:v>0.012958963282937365</c:v>
                </c:pt>
                <c:pt idx="57">
                  <c:v>0.011385199240986717</c:v>
                </c:pt>
                <c:pt idx="58">
                  <c:v>0.00974025974025974</c:v>
                </c:pt>
                <c:pt idx="59">
                  <c:v>0.010387157695939566</c:v>
                </c:pt>
                <c:pt idx="60">
                  <c:v>0.013201320132013201</c:v>
                </c:pt>
                <c:pt idx="61">
                  <c:v>0.014173228346456693</c:v>
                </c:pt>
                <c:pt idx="62">
                  <c:v>0.0077279752704791345</c:v>
                </c:pt>
                <c:pt idx="63">
                  <c:v>0.007863695937090432</c:v>
                </c:pt>
                <c:pt idx="64">
                  <c:v>0.014457831325301205</c:v>
                </c:pt>
                <c:pt idx="65">
                  <c:v>0.013630731102850062</c:v>
                </c:pt>
                <c:pt idx="66">
                  <c:v>0.01227830832196453</c:v>
                </c:pt>
                <c:pt idx="67">
                  <c:v>0.00909090909090909</c:v>
                </c:pt>
                <c:pt idx="68">
                  <c:v>0.014842300556586271</c:v>
                </c:pt>
                <c:pt idx="69">
                  <c:v>0.011655011655011656</c:v>
                </c:pt>
                <c:pt idx="70">
                  <c:v>0.01038961038961039</c:v>
                </c:pt>
                <c:pt idx="71">
                  <c:v>0.016025641025641024</c:v>
                </c:pt>
                <c:pt idx="72">
                  <c:v>0.008379888268156424</c:v>
                </c:pt>
                <c:pt idx="73">
                  <c:v>0.017191977077363897</c:v>
                </c:pt>
                <c:pt idx="74">
                  <c:v>0.007371007371007371</c:v>
                </c:pt>
                <c:pt idx="75">
                  <c:v>0.0034482758620689655</c:v>
                </c:pt>
                <c:pt idx="76">
                  <c:v>0.011857707509881422</c:v>
                </c:pt>
                <c:pt idx="77">
                  <c:v>0.006920415224913495</c:v>
                </c:pt>
                <c:pt idx="78">
                  <c:v>0.009216589861751152</c:v>
                </c:pt>
                <c:pt idx="79">
                  <c:v>0.006644518272425249</c:v>
                </c:pt>
                <c:pt idx="80">
                  <c:v>0.013559322033898305</c:v>
                </c:pt>
                <c:pt idx="81">
                  <c:v>0.015306122448979591</c:v>
                </c:pt>
                <c:pt idx="82">
                  <c:v>0.014652014652014652</c:v>
                </c:pt>
                <c:pt idx="83">
                  <c:v>0.01818181818181818</c:v>
                </c:pt>
                <c:pt idx="84">
                  <c:v>0.004629629629629629</c:v>
                </c:pt>
                <c:pt idx="85">
                  <c:v>0.011111111111111112</c:v>
                </c:pt>
                <c:pt idx="86">
                  <c:v>0.012658227848101266</c:v>
                </c:pt>
                <c:pt idx="87">
                  <c:v>0.010351966873706004</c:v>
                </c:pt>
                <c:pt idx="88">
                  <c:v>0.00625</c:v>
                </c:pt>
                <c:pt idx="89">
                  <c:v>0.011278195488721804</c:v>
                </c:pt>
                <c:pt idx="90">
                  <c:v>0.017857142857142856</c:v>
                </c:pt>
                <c:pt idx="91">
                  <c:v>0.013651877133105802</c:v>
                </c:pt>
                <c:pt idx="92">
                  <c:v>0.010554089709762533</c:v>
                </c:pt>
                <c:pt idx="93">
                  <c:v>0.015306122448979591</c:v>
                </c:pt>
                <c:pt idx="94">
                  <c:v>0.0125</c:v>
                </c:pt>
                <c:pt idx="95">
                  <c:v>0.012396694214876033</c:v>
                </c:pt>
                <c:pt idx="96">
                  <c:v>0.013054830287206266</c:v>
                </c:pt>
                <c:pt idx="97">
                  <c:v>0.009876543209876543</c:v>
                </c:pt>
                <c:pt idx="98">
                  <c:v>0.010328638497652582</c:v>
                </c:pt>
                <c:pt idx="99">
                  <c:v>0.004531722054380665</c:v>
                </c:pt>
                <c:pt idx="100">
                  <c:v>0.0030596634370219276</c:v>
                </c:pt>
                <c:pt idx="101">
                  <c:v>0.005035246727089627</c:v>
                </c:pt>
                <c:pt idx="102">
                  <c:v>0.005199306759098787</c:v>
                </c:pt>
                <c:pt idx="103">
                  <c:v>0.0029717682020802376</c:v>
                </c:pt>
                <c:pt idx="104">
                  <c:v>0.0033726812816188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06708202594429</c:v>
                </c:pt>
                <c:pt idx="1">
                  <c:v>1.0224912312558367</c:v>
                </c:pt>
                <c:pt idx="2">
                  <c:v>1.1045171937240876</c:v>
                </c:pt>
                <c:pt idx="3">
                  <c:v>1.1061367646918858</c:v>
                </c:pt>
                <c:pt idx="4">
                  <c:v>1.0313200951564068</c:v>
                </c:pt>
                <c:pt idx="5">
                  <c:v>1.1060951212768697</c:v>
                </c:pt>
                <c:pt idx="6">
                  <c:v>1.0040247274785252</c:v>
                </c:pt>
                <c:pt idx="7">
                  <c:v>0.9840110935308913</c:v>
                </c:pt>
                <c:pt idx="8">
                  <c:v>1.0284946774193549</c:v>
                </c:pt>
                <c:pt idx="9">
                  <c:v>1.0732118875173695</c:v>
                </c:pt>
                <c:pt idx="10">
                  <c:v>1.0341970920945343</c:v>
                </c:pt>
                <c:pt idx="11">
                  <c:v>1.02920147601476</c:v>
                </c:pt>
                <c:pt idx="12">
                  <c:v>1.0029964785319678</c:v>
                </c:pt>
                <c:pt idx="13">
                  <c:v>1.0858918344406379</c:v>
                </c:pt>
                <c:pt idx="14">
                  <c:v>1.095956547978274</c:v>
                </c:pt>
                <c:pt idx="15">
                  <c:v>0.9569912228271451</c:v>
                </c:pt>
                <c:pt idx="16">
                  <c:v>0.9917455012511874</c:v>
                </c:pt>
                <c:pt idx="17">
                  <c:v>1.1679848444918657</c:v>
                </c:pt>
                <c:pt idx="18">
                  <c:v>1.0998878933264054</c:v>
                </c:pt>
                <c:pt idx="19">
                  <c:v>1.1938402953566005</c:v>
                </c:pt>
                <c:pt idx="20">
                  <c:v>0.8485067369696478</c:v>
                </c:pt>
                <c:pt idx="21">
                  <c:v>0.0</c:v>
                </c:pt>
                <c:pt idx="22">
                  <c:v>1.2</c:v>
                </c:pt>
                <c:pt idx="23">
                  <c:v>1.0372881355932204</c:v>
                </c:pt>
                <c:pt idx="24">
                  <c:v>0.8547351524879615</c:v>
                </c:pt>
                <c:pt idx="25">
                  <c:v>0.7648315999555532</c:v>
                </c:pt>
                <c:pt idx="26">
                  <c:v>1.231161160622294</c:v>
                </c:pt>
                <c:pt idx="27">
                  <c:v>0.9548717540653097</c:v>
                </c:pt>
                <c:pt idx="28">
                  <c:v>0.6887361931672232</c:v>
                </c:pt>
                <c:pt idx="29">
                  <c:v>1.2616692503113704</c:v>
                </c:pt>
                <c:pt idx="30">
                  <c:v>1.2556266287609572</c:v>
                </c:pt>
                <c:pt idx="31">
                  <c:v>1.529159194037929</c:v>
                </c:pt>
                <c:pt idx="32">
                  <c:v>1.2979591836734694</c:v>
                </c:pt>
                <c:pt idx="33">
                  <c:v>0.9056396696538943</c:v>
                </c:pt>
                <c:pt idx="34">
                  <c:v>1.1658453559128352</c:v>
                </c:pt>
                <c:pt idx="35">
                  <c:v>1.0318470841558907</c:v>
                </c:pt>
                <c:pt idx="36">
                  <c:v>0.0</c:v>
                </c:pt>
                <c:pt idx="37">
                  <c:v>0.623676461245235</c:v>
                </c:pt>
                <c:pt idx="38">
                  <c:v>0.6191549586457726</c:v>
                </c:pt>
                <c:pt idx="39">
                  <c:v>0.5965678907647477</c:v>
                </c:pt>
                <c:pt idx="40">
                  <c:v>0.6240299899077436</c:v>
                </c:pt>
                <c:pt idx="41">
                  <c:v>0.6520103759692347</c:v>
                </c:pt>
                <c:pt idx="42">
                  <c:v>0.6055936637349939</c:v>
                </c:pt>
                <c:pt idx="43">
                  <c:v>0.5574641964533662</c:v>
                </c:pt>
                <c:pt idx="44">
                  <c:v>0.6082961749270892</c:v>
                </c:pt>
                <c:pt idx="45">
                  <c:v>0.6233345989077169</c:v>
                </c:pt>
                <c:pt idx="46">
                  <c:v>0.7451347318659067</c:v>
                </c:pt>
                <c:pt idx="47">
                  <c:v>0.7046245999316062</c:v>
                </c:pt>
                <c:pt idx="48">
                  <c:v>0.4276175395279987</c:v>
                </c:pt>
                <c:pt idx="49">
                  <c:v>0.0</c:v>
                </c:pt>
                <c:pt idx="50">
                  <c:v>0.0</c:v>
                </c:pt>
                <c:pt idx="51">
                  <c:v>0.0</c:v>
                </c:pt>
              </c:numCache>
            </c:numRef>
          </c:xVal>
          <c:yVal>
            <c:numRef>
              <c:f>Sheet1!$B$109:$B$160</c:f>
              <c:numCache>
                <c:formatCode>General</c:formatCode>
                <c:ptCount val="52"/>
                <c:pt idx="0">
                  <c:v>0.004830917874396135</c:v>
                </c:pt>
                <c:pt idx="1">
                  <c:v>0.012389380530973451</c:v>
                </c:pt>
                <c:pt idx="2">
                  <c:v>0.023076923076923078</c:v>
                </c:pt>
                <c:pt idx="3">
                  <c:v>0.02145214521452145</c:v>
                </c:pt>
                <c:pt idx="4">
                  <c:v>0.023853211009174313</c:v>
                </c:pt>
                <c:pt idx="5">
                  <c:v>0.020366598778004074</c:v>
                </c:pt>
                <c:pt idx="6">
                  <c:v>0.02033271719038817</c:v>
                </c:pt>
                <c:pt idx="7">
                  <c:v>0.020512820512820513</c:v>
                </c:pt>
                <c:pt idx="8">
                  <c:v>0.020689655172413793</c:v>
                </c:pt>
                <c:pt idx="9">
                  <c:v>0.011976047904191617</c:v>
                </c:pt>
                <c:pt idx="10">
                  <c:v>0.013850415512465374</c:v>
                </c:pt>
                <c:pt idx="11">
                  <c:v>0.014150943396226415</c:v>
                </c:pt>
                <c:pt idx="12">
                  <c:v>0.010869565217391304</c:v>
                </c:pt>
                <c:pt idx="13">
                  <c:v>0.011363636363636364</c:v>
                </c:pt>
                <c:pt idx="14">
                  <c:v>0.012422360248447204</c:v>
                </c:pt>
                <c:pt idx="15">
                  <c:v>0.008676789587852495</c:v>
                </c:pt>
                <c:pt idx="16">
                  <c:v>0.004739336492890996</c:v>
                </c:pt>
                <c:pt idx="17">
                  <c:v>0.00847457627118644</c:v>
                </c:pt>
                <c:pt idx="18">
                  <c:v>0.013793103448275862</c:v>
                </c:pt>
                <c:pt idx="19">
                  <c:v>0.00684931506849315</c:v>
                </c:pt>
                <c:pt idx="20">
                  <c:v>0.011538461538461539</c:v>
                </c:pt>
                <c:pt idx="21">
                  <c:v>0.0</c:v>
                </c:pt>
                <c:pt idx="22">
                  <c:v>0.006666666666666667</c:v>
                </c:pt>
                <c:pt idx="23">
                  <c:v>0.01282051282051282</c:v>
                </c:pt>
                <c:pt idx="24">
                  <c:v>0.009708737864077669</c:v>
                </c:pt>
                <c:pt idx="25">
                  <c:v>0.005050505050505051</c:v>
                </c:pt>
                <c:pt idx="26">
                  <c:v>0.004310344827586207</c:v>
                </c:pt>
                <c:pt idx="27">
                  <c:v>0.007407407407407408</c:v>
                </c:pt>
                <c:pt idx="28">
                  <c:v>0.0028089887640449437</c:v>
                </c:pt>
                <c:pt idx="29">
                  <c:v>0.004098360655737705</c:v>
                </c:pt>
                <c:pt idx="30">
                  <c:v>0.008333333333333333</c:v>
                </c:pt>
                <c:pt idx="31">
                  <c:v>0.004132231404958678</c:v>
                </c:pt>
                <c:pt idx="32">
                  <c:v>0.007326007326007326</c:v>
                </c:pt>
                <c:pt idx="33">
                  <c:v>0.005012531328320802</c:v>
                </c:pt>
                <c:pt idx="34">
                  <c:v>0.004975124378109453</c:v>
                </c:pt>
                <c:pt idx="35">
                  <c:v>0.00411522633744856</c:v>
                </c:pt>
                <c:pt idx="36">
                  <c:v>0.0</c:v>
                </c:pt>
                <c:pt idx="37">
                  <c:v>0.024896265560165973</c:v>
                </c:pt>
                <c:pt idx="38">
                  <c:v>0.021834061135371178</c:v>
                </c:pt>
                <c:pt idx="39">
                  <c:v>0.02197802197802198</c:v>
                </c:pt>
                <c:pt idx="40">
                  <c:v>0.032679738562091505</c:v>
                </c:pt>
                <c:pt idx="41">
                  <c:v>0.016025641025641024</c:v>
                </c:pt>
                <c:pt idx="42">
                  <c:v>0.011538461538461539</c:v>
                </c:pt>
                <c:pt idx="43">
                  <c:v>0.02358490566037736</c:v>
                </c:pt>
                <c:pt idx="44">
                  <c:v>0.015267175572519083</c:v>
                </c:pt>
                <c:pt idx="45">
                  <c:v>0.0038809831824062097</c:v>
                </c:pt>
                <c:pt idx="46">
                  <c:v>0.005607476635514018</c:v>
                </c:pt>
                <c:pt idx="47">
                  <c:v>0.0017331022530329288</c:v>
                </c:pt>
                <c:pt idx="48">
                  <c:v>0.0014814814814814814</c:v>
                </c:pt>
                <c:pt idx="49">
                  <c:v>0.0</c:v>
                </c:pt>
                <c:pt idx="50">
                  <c:v>0.0</c:v>
                </c:pt>
                <c:pt idx="51">
                  <c:v>0.0</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8660320619123403</c:v>
                </c:pt>
              </c:numCache>
            </c:numRef>
          </c:xVal>
          <c:yVal>
            <c:numRef>
              <c:f>Sheet1!$B$163:$B$164</c:f>
              <c:numCache>
                <c:formatCode>General</c:formatCode>
                <c:ptCount val="2"/>
                <c:pt idx="0">
                  <c:v>0.02026296326189196</c:v>
                </c:pt>
                <c:pt idx="1">
                  <c:v>0.020262963261891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8660320619123403</c:v>
                </c:pt>
                <c:pt idx="1">
                  <c:v>2.8660320619123403</c:v>
                </c:pt>
              </c:numCache>
            </c:numRef>
          </c:xVal>
          <c:yVal>
            <c:numRef>
              <c:f>Sheet1!$B$167:$B$168</c:f>
              <c:numCache>
                <c:formatCode>General</c:formatCode>
                <c:ptCount val="2"/>
                <c:pt idx="0">
                  <c:v>0.020262963261891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5143525740249997</c:v>
                </c:pt>
              </c:numCache>
            </c:numRef>
          </c:xVal>
          <c:yVal>
            <c:numRef>
              <c:f>Sheet1!$B$171:$B$172</c:f>
              <c:numCache>
                <c:formatCode>General</c:formatCode>
                <c:ptCount val="2"/>
                <c:pt idx="0">
                  <c:v>0.018611596595512776</c:v>
                </c:pt>
                <c:pt idx="1">
                  <c:v>0.018611596595512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5143525740249997</c:v>
                </c:pt>
                <c:pt idx="1">
                  <c:v>2.5143525740249997</c:v>
                </c:pt>
              </c:numCache>
            </c:numRef>
          </c:xVal>
          <c:yVal>
            <c:numRef>
              <c:f>Sheet1!$B$175:$B$176</c:f>
              <c:numCache>
                <c:formatCode>General</c:formatCode>
                <c:ptCount val="2"/>
                <c:pt idx="0">
                  <c:v>0.018611596595512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422774495655412</c:v>
                </c:pt>
              </c:numCache>
            </c:numRef>
          </c:xVal>
          <c:yVal>
            <c:numRef>
              <c:f>Sheet1!$B$179:$B$180</c:f>
              <c:numCache>
                <c:formatCode>General</c:formatCode>
                <c:ptCount val="2"/>
                <c:pt idx="0">
                  <c:v>0.010290537529965164</c:v>
                </c:pt>
                <c:pt idx="1">
                  <c:v>0.01029053752996516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422774495655412</c:v>
                </c:pt>
                <c:pt idx="1">
                  <c:v>0.7422774495655412</c:v>
                </c:pt>
              </c:numCache>
            </c:numRef>
          </c:xVal>
          <c:yVal>
            <c:numRef>
              <c:f>Sheet1!$B$183:$B$184</c:f>
              <c:numCache>
                <c:formatCode>General</c:formatCode>
                <c:ptCount val="2"/>
                <c:pt idx="0">
                  <c:v>0.0102905375299651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06708202594429</c:v>
                </c:pt>
                <c:pt idx="1">
                  <c:v>1.0224912312558367</c:v>
                </c:pt>
                <c:pt idx="2">
                  <c:v>1.1045171937240876</c:v>
                </c:pt>
                <c:pt idx="3">
                  <c:v>1.1061367646918858</c:v>
                </c:pt>
                <c:pt idx="4">
                  <c:v>1.0313200951564068</c:v>
                </c:pt>
                <c:pt idx="5">
                  <c:v>1.1060951212768697</c:v>
                </c:pt>
                <c:pt idx="6">
                  <c:v>1.0040247274785252</c:v>
                </c:pt>
                <c:pt idx="7">
                  <c:v>0.9840110935308913</c:v>
                </c:pt>
                <c:pt idx="8">
                  <c:v>1.0284946774193549</c:v>
                </c:pt>
                <c:pt idx="9">
                  <c:v>1.0732118875173695</c:v>
                </c:pt>
                <c:pt idx="10">
                  <c:v>1.0341970920945343</c:v>
                </c:pt>
                <c:pt idx="11">
                  <c:v>1.02920147601476</c:v>
                </c:pt>
                <c:pt idx="12">
                  <c:v>1.0029964785319678</c:v>
                </c:pt>
                <c:pt idx="13">
                  <c:v>1.0858918344406379</c:v>
                </c:pt>
                <c:pt idx="14">
                  <c:v>1.095956547978274</c:v>
                </c:pt>
                <c:pt idx="15">
                  <c:v>0.9569912228271451</c:v>
                </c:pt>
                <c:pt idx="16">
                  <c:v>0.9917455012511874</c:v>
                </c:pt>
                <c:pt idx="17">
                  <c:v>1.1679848444918657</c:v>
                </c:pt>
                <c:pt idx="18">
                  <c:v>1.0998878933264054</c:v>
                </c:pt>
                <c:pt idx="19">
                  <c:v>1.1938402953566005</c:v>
                </c:pt>
                <c:pt idx="20">
                  <c:v>0.8485067369696478</c:v>
                </c:pt>
                <c:pt idx="21">
                  <c:v>0.0</c:v>
                </c:pt>
                <c:pt idx="22">
                  <c:v>1.2</c:v>
                </c:pt>
                <c:pt idx="23">
                  <c:v>1.0372881355932204</c:v>
                </c:pt>
                <c:pt idx="24">
                  <c:v>0.8547351524879615</c:v>
                </c:pt>
                <c:pt idx="25">
                  <c:v>0.7648315999555532</c:v>
                </c:pt>
                <c:pt idx="26">
                  <c:v>1.231161160622294</c:v>
                </c:pt>
                <c:pt idx="27">
                  <c:v>0.9548717540653097</c:v>
                </c:pt>
                <c:pt idx="28">
                  <c:v>0.6887361931672232</c:v>
                </c:pt>
                <c:pt idx="29">
                  <c:v>1.2616692503113704</c:v>
                </c:pt>
                <c:pt idx="30">
                  <c:v>1.2556266287609572</c:v>
                </c:pt>
                <c:pt idx="31">
                  <c:v>1.529159194037929</c:v>
                </c:pt>
                <c:pt idx="32">
                  <c:v>1.2979591836734694</c:v>
                </c:pt>
                <c:pt idx="33">
                  <c:v>0.9056396696538943</c:v>
                </c:pt>
                <c:pt idx="34">
                  <c:v>1.1658453559128352</c:v>
                </c:pt>
                <c:pt idx="35">
                  <c:v>1.0318470841558907</c:v>
                </c:pt>
                <c:pt idx="36">
                  <c:v>0.0</c:v>
                </c:pt>
                <c:pt idx="37">
                  <c:v>0.623676461245235</c:v>
                </c:pt>
                <c:pt idx="38">
                  <c:v>0.6191549586457726</c:v>
                </c:pt>
                <c:pt idx="39">
                  <c:v>0.5965678907647477</c:v>
                </c:pt>
                <c:pt idx="40">
                  <c:v>0.6240299899077436</c:v>
                </c:pt>
                <c:pt idx="41">
                  <c:v>0.6520103759692347</c:v>
                </c:pt>
                <c:pt idx="42">
                  <c:v>0.6055936637349939</c:v>
                </c:pt>
                <c:pt idx="43">
                  <c:v>0.5574641964533662</c:v>
                </c:pt>
                <c:pt idx="44">
                  <c:v>0.6082961749270892</c:v>
                </c:pt>
                <c:pt idx="45">
                  <c:v>0.6233345989077169</c:v>
                </c:pt>
                <c:pt idx="46">
                  <c:v>0.7451347318659067</c:v>
                </c:pt>
                <c:pt idx="47">
                  <c:v>0.7046245999316062</c:v>
                </c:pt>
                <c:pt idx="48">
                  <c:v>0.4276175395279987</c:v>
                </c:pt>
                <c:pt idx="49">
                  <c:v>0.0</c:v>
                </c:pt>
                <c:pt idx="50">
                  <c:v>0.0</c:v>
                </c:pt>
                <c:pt idx="51">
                  <c:v>0.0</c:v>
                </c:pt>
                <c:pt idx="52">
                  <c:v>2.5143525740249997</c:v>
                </c:pt>
                <c:pt idx="53">
                  <c:v>2.8660320619123403</c:v>
                </c:pt>
                <c:pt idx="54">
                  <c:v>0.7422774495655412</c:v>
                </c:pt>
              </c:numCache>
            </c:numRef>
          </c:xVal>
          <c:yVal>
            <c:numRef>
              <c:f>Sheet1!$B$187:$B$241</c:f>
              <c:numCache>
                <c:formatCode>General</c:formatCode>
                <c:ptCount val="55"/>
                <c:pt idx="0">
                  <c:v>0.01200177977889655</c:v>
                </c:pt>
                <c:pt idx="1">
                  <c:v>0.011606325667974635</c:v>
                </c:pt>
                <c:pt idx="2">
                  <c:v>0.011991491550157484</c:v>
                </c:pt>
                <c:pt idx="3">
                  <c:v>0.011999096501831305</c:v>
                </c:pt>
                <c:pt idx="4">
                  <c:v>0.01164778299502827</c:v>
                </c:pt>
                <c:pt idx="5">
                  <c:v>0.011998900958588663</c:v>
                </c:pt>
                <c:pt idx="6">
                  <c:v>0.011519613278333684</c:v>
                </c:pt>
                <c:pt idx="7">
                  <c:v>0.011425636094242627</c:v>
                </c:pt>
                <c:pt idx="8">
                  <c:v>0.011634515799100542</c:v>
                </c:pt>
                <c:pt idx="9">
                  <c:v>0.011844492532781956</c:v>
                </c:pt>
                <c:pt idx="10">
                  <c:v>0.011661292389253789</c:v>
                </c:pt>
                <c:pt idx="11">
                  <c:v>0.011637834683711379</c:v>
                </c:pt>
                <c:pt idx="12">
                  <c:v>0.011514784972749856</c:v>
                </c:pt>
                <c:pt idx="13">
                  <c:v>0.011904033229358638</c:v>
                </c:pt>
                <c:pt idx="14">
                  <c:v>0.011951293683878043</c:v>
                </c:pt>
                <c:pt idx="15">
                  <c:v>0.01129876001717004</c:v>
                </c:pt>
                <c:pt idx="16">
                  <c:v>0.011461954229173413</c:v>
                </c:pt>
                <c:pt idx="17">
                  <c:v>0.012289513944073387</c:v>
                </c:pt>
                <c:pt idx="18">
                  <c:v>0.011969753937846592</c:v>
                </c:pt>
                <c:pt idx="19">
                  <c:v>0.012410922303596209</c:v>
                </c:pt>
                <c:pt idx="20">
                  <c:v>0.010789353953027497</c:v>
                </c:pt>
                <c:pt idx="21">
                  <c:v>0.006805056347138362</c:v>
                </c:pt>
                <c:pt idx="22">
                  <c:v>0.012439846171132404</c:v>
                </c:pt>
                <c:pt idx="23">
                  <c:v>0.011675806872963723</c:v>
                </c:pt>
                <c:pt idx="24">
                  <c:v>0.010818600463345998</c:v>
                </c:pt>
                <c:pt idx="25">
                  <c:v>0.010396444110887224</c:v>
                </c:pt>
                <c:pt idx="26">
                  <c:v>0.012586168330114361</c:v>
                </c:pt>
                <c:pt idx="27">
                  <c:v>0.011288807716327154</c:v>
                </c:pt>
                <c:pt idx="28">
                  <c:v>0.010039126091034248</c:v>
                </c:pt>
                <c:pt idx="29">
                  <c:v>0.01272942389122228</c:v>
                </c:pt>
                <c:pt idx="30">
                  <c:v>0.012701049805870186</c:v>
                </c:pt>
                <c:pt idx="31">
                  <c:v>0.013985465235331574</c:v>
                </c:pt>
                <c:pt idx="32">
                  <c:v>0.012899829013907429</c:v>
                </c:pt>
                <c:pt idx="33">
                  <c:v>0.011057630676114271</c:v>
                </c:pt>
                <c:pt idx="34">
                  <c:v>0.012279467637011994</c:v>
                </c:pt>
                <c:pt idx="35">
                  <c:v>0.011650257555237978</c:v>
                </c:pt>
                <c:pt idx="36">
                  <c:v>0.006805056347138362</c:v>
                </c:pt>
                <c:pt idx="37">
                  <c:v>0.00973362782821275</c:v>
                </c:pt>
                <c:pt idx="38">
                  <c:v>0.009712396397515572</c:v>
                </c:pt>
                <c:pt idx="39">
                  <c:v>0.009606335247307354</c:v>
                </c:pt>
                <c:pt idx="40">
                  <c:v>0.009735287877971078</c:v>
                </c:pt>
                <c:pt idx="41">
                  <c:v>0.009866674206846674</c:v>
                </c:pt>
                <c:pt idx="42">
                  <c:v>0.00964871719204604</c:v>
                </c:pt>
                <c:pt idx="43">
                  <c:v>0.009422717664985399</c:v>
                </c:pt>
                <c:pt idx="44">
                  <c:v>0.009661407260849748</c:v>
                </c:pt>
                <c:pt idx="45">
                  <c:v>0.009732022559528871</c:v>
                </c:pt>
                <c:pt idx="46">
                  <c:v>0.01030395435099048</c:v>
                </c:pt>
                <c:pt idx="47">
                  <c:v>0.010113732618330436</c:v>
                </c:pt>
                <c:pt idx="48">
                  <c:v>0.008813002147383142</c:v>
                </c:pt>
                <c:pt idx="49">
                  <c:v>0.006805056347138362</c:v>
                </c:pt>
                <c:pt idx="50">
                  <c:v>0.006805056347138362</c:v>
                </c:pt>
                <c:pt idx="51">
                  <c:v>0.006805056347138362</c:v>
                </c:pt>
                <c:pt idx="52">
                  <c:v>0.018611596595512776</c:v>
                </c:pt>
                <c:pt idx="53">
                  <c:v>0.02026296326189196</c:v>
                </c:pt>
                <c:pt idx="54">
                  <c:v>0.0102905375299651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6.25</c:v>
                </c:pt>
                <c:pt idx="1">
                  <c:v>784.7143</c:v>
                </c:pt>
                <c:pt idx="2">
                  <c:v>854.3077</c:v>
                </c:pt>
                <c:pt idx="3">
                  <c:v>851.25</c:v>
                </c:pt>
                <c:pt idx="4">
                  <c:v>841.7273</c:v>
                </c:pt>
                <c:pt idx="5">
                  <c:v>842.0</c:v>
                </c:pt>
                <c:pt idx="6">
                  <c:v>860.8571</c:v>
                </c:pt>
                <c:pt idx="7">
                  <c:v>823.4286</c:v>
                </c:pt>
                <c:pt idx="8">
                  <c:v>828.0</c:v>
                </c:pt>
                <c:pt idx="9">
                  <c:v>883.7</c:v>
                </c:pt>
                <c:pt idx="10">
                  <c:v>825.875</c:v>
                </c:pt>
                <c:pt idx="11">
                  <c:v>853.0</c:v>
                </c:pt>
                <c:pt idx="12">
                  <c:v>817.75</c:v>
                </c:pt>
                <c:pt idx="13">
                  <c:v>869.4444</c:v>
                </c:pt>
                <c:pt idx="14">
                  <c:v>848.4286</c:v>
                </c:pt>
                <c:pt idx="15">
                  <c:v>828.0</c:v>
                </c:pt>
                <c:pt idx="16">
                  <c:v>853.875</c:v>
                </c:pt>
                <c:pt idx="17">
                  <c:v>811.0</c:v>
                </c:pt>
                <c:pt idx="18">
                  <c:v>867.6</c:v>
                </c:pt>
                <c:pt idx="19">
                  <c:v>824.0</c:v>
                </c:pt>
                <c:pt idx="20">
                  <c:v>815.0</c:v>
                </c:pt>
                <c:pt idx="21">
                  <c:v>824.0</c:v>
                </c:pt>
                <c:pt idx="22">
                  <c:v>906.4</c:v>
                </c:pt>
                <c:pt idx="23">
                  <c:v>927.0</c:v>
                </c:pt>
                <c:pt idx="24">
                  <c:v>824.0</c:v>
                </c:pt>
                <c:pt idx="25">
                  <c:v>927.0</c:v>
                </c:pt>
                <c:pt idx="26">
                  <c:v>818.7143</c:v>
                </c:pt>
                <c:pt idx="27">
                  <c:v>845.125</c:v>
                </c:pt>
                <c:pt idx="28">
                  <c:v>854.8333</c:v>
                </c:pt>
                <c:pt idx="29">
                  <c:v>849.75</c:v>
                </c:pt>
                <c:pt idx="30">
                  <c:v>824.0</c:v>
                </c:pt>
                <c:pt idx="31">
                  <c:v>824.0</c:v>
                </c:pt>
                <c:pt idx="32">
                  <c:v>847.125</c:v>
                </c:pt>
                <c:pt idx="33">
                  <c:v>842.7273</c:v>
                </c:pt>
                <c:pt idx="34">
                  <c:v>836.0714</c:v>
                </c:pt>
                <c:pt idx="35">
                  <c:v>833.25</c:v>
                </c:pt>
                <c:pt idx="36">
                  <c:v>987.2</c:v>
                </c:pt>
                <c:pt idx="37">
                  <c:v>976.5</c:v>
                </c:pt>
                <c:pt idx="38">
                  <c:v>1255.5</c:v>
                </c:pt>
                <c:pt idx="39">
                  <c:v>1116.0</c:v>
                </c:pt>
                <c:pt idx="40">
                  <c:v>1112.0</c:v>
                </c:pt>
                <c:pt idx="41">
                  <c:v>1079.3333</c:v>
                </c:pt>
                <c:pt idx="42">
                  <c:v>1116.0</c:v>
                </c:pt>
                <c:pt idx="43">
                  <c:v>1209.0</c:v>
                </c:pt>
                <c:pt idx="44">
                  <c:v>1046.25</c:v>
                </c:pt>
                <c:pt idx="45">
                  <c:v>1209.0</c:v>
                </c:pt>
                <c:pt idx="46">
                  <c:v>1023.0</c:v>
                </c:pt>
                <c:pt idx="47">
                  <c:v>1216.8</c:v>
                </c:pt>
                <c:pt idx="48">
                  <c:v>1182.5</c:v>
                </c:pt>
                <c:pt idx="49">
                  <c:v>1160.3333</c:v>
                </c:pt>
                <c:pt idx="50">
                  <c:v>1112.1</c:v>
                </c:pt>
                <c:pt idx="51">
                  <c:v>1110.4286</c:v>
                </c:pt>
                <c:pt idx="52">
                  <c:v>1136.0</c:v>
                </c:pt>
                <c:pt idx="53">
                  <c:v>1150.875</c:v>
                </c:pt>
                <c:pt idx="54">
                  <c:v>1112.5</c:v>
                </c:pt>
                <c:pt idx="55">
                  <c:v>1302.0</c:v>
                </c:pt>
                <c:pt idx="56">
                  <c:v>1109.5</c:v>
                </c:pt>
                <c:pt idx="57">
                  <c:v>1069.5</c:v>
                </c:pt>
                <c:pt idx="58">
                  <c:v>1116.0</c:v>
                </c:pt>
                <c:pt idx="59">
                  <c:v>1141.3636</c:v>
                </c:pt>
                <c:pt idx="60">
                  <c:v>1134.5833</c:v>
                </c:pt>
                <c:pt idx="61">
                  <c:v>1128.3333</c:v>
                </c:pt>
                <c:pt idx="62">
                  <c:v>1060.2</c:v>
                </c:pt>
                <c:pt idx="63">
                  <c:v>1255.5</c:v>
                </c:pt>
                <c:pt idx="64">
                  <c:v>1205.75</c:v>
                </c:pt>
                <c:pt idx="65">
                  <c:v>1116.0</c:v>
                </c:pt>
                <c:pt idx="66">
                  <c:v>1116.0</c:v>
                </c:pt>
                <c:pt idx="67">
                  <c:v>1209.0</c:v>
                </c:pt>
                <c:pt idx="68">
                  <c:v>1182.25</c:v>
                </c:pt>
                <c:pt idx="69">
                  <c:v>1171.8</c:v>
                </c:pt>
                <c:pt idx="70">
                  <c:v>1046.25</c:v>
                </c:pt>
                <c:pt idx="71">
                  <c:v>1227.6</c:v>
                </c:pt>
                <c:pt idx="72">
                  <c:v>1302.0</c:v>
                </c:pt>
                <c:pt idx="73">
                  <c:v>1162.5</c:v>
                </c:pt>
                <c:pt idx="74">
                  <c:v>1262.0</c:v>
                </c:pt>
                <c:pt idx="75">
                  <c:v>1554.0</c:v>
                </c:pt>
                <c:pt idx="76">
                  <c:v>1222.3333</c:v>
                </c:pt>
                <c:pt idx="77">
                  <c:v>1200.5</c:v>
                </c:pt>
                <c:pt idx="78">
                  <c:v>1340.0</c:v>
                </c:pt>
                <c:pt idx="79">
                  <c:v>747.0</c:v>
                </c:pt>
                <c:pt idx="80">
                  <c:v>710.0</c:v>
                </c:pt>
                <c:pt idx="81">
                  <c:v>666.1667</c:v>
                </c:pt>
                <c:pt idx="82">
                  <c:v>688.75</c:v>
                </c:pt>
                <c:pt idx="83">
                  <c:v>633.75</c:v>
                </c:pt>
                <c:pt idx="84">
                  <c:v>507.0</c:v>
                </c:pt>
                <c:pt idx="85">
                  <c:v>659.0</c:v>
                </c:pt>
                <c:pt idx="86">
                  <c:v>639.8</c:v>
                </c:pt>
                <c:pt idx="87">
                  <c:v>664.2</c:v>
                </c:pt>
                <c:pt idx="88">
                  <c:v>845.0</c:v>
                </c:pt>
                <c:pt idx="89">
                  <c:v>619.6667</c:v>
                </c:pt>
                <c:pt idx="90">
                  <c:v>642.2</c:v>
                </c:pt>
                <c:pt idx="91">
                  <c:v>676.0</c:v>
                </c:pt>
                <c:pt idx="92">
                  <c:v>618.0</c:v>
                </c:pt>
                <c:pt idx="93">
                  <c:v>732.3333</c:v>
                </c:pt>
                <c:pt idx="94">
                  <c:v>743.5</c:v>
                </c:pt>
                <c:pt idx="95">
                  <c:v>704.1667</c:v>
                </c:pt>
                <c:pt idx="96">
                  <c:v>703.5</c:v>
                </c:pt>
                <c:pt idx="97">
                  <c:v>676.0</c:v>
                </c:pt>
                <c:pt idx="98">
                  <c:v>685.8182</c:v>
                </c:pt>
                <c:pt idx="99">
                  <c:v>739.5</c:v>
                </c:pt>
                <c:pt idx="100">
                  <c:v>975.6667</c:v>
                </c:pt>
                <c:pt idx="101">
                  <c:v>828.0</c:v>
                </c:pt>
                <c:pt idx="102">
                  <c:v>619.6667</c:v>
                </c:pt>
                <c:pt idx="103">
                  <c:v>815.0</c:v>
                </c:pt>
                <c:pt idx="104">
                  <c:v>860.0</c:v>
                </c:pt>
              </c:numCache>
            </c:numRef>
          </c:xVal>
          <c:yVal>
            <c:numRef>
              <c:f>Sheet1!$B$2:$B$106</c:f>
              <c:numCache>
                <c:formatCode>General</c:formatCode>
                <c:ptCount val="105"/>
                <c:pt idx="0">
                  <c:v>0.011162790697674419</c:v>
                </c:pt>
                <c:pt idx="1">
                  <c:v>0.015486725663716814</c:v>
                </c:pt>
                <c:pt idx="2">
                  <c:v>0.014192139737991267</c:v>
                </c:pt>
                <c:pt idx="3">
                  <c:v>0.009603841536614645</c:v>
                </c:pt>
                <c:pt idx="4">
                  <c:v>0.015235457063711912</c:v>
                </c:pt>
                <c:pt idx="5">
                  <c:v>0.014539579967689823</c:v>
                </c:pt>
                <c:pt idx="6">
                  <c:v>0.012704174228675136</c:v>
                </c:pt>
                <c:pt idx="7">
                  <c:v>0.01627906976744186</c:v>
                </c:pt>
                <c:pt idx="8">
                  <c:v>0.017699115044247787</c:v>
                </c:pt>
                <c:pt idx="9">
                  <c:v>0.01858736059479554</c:v>
                </c:pt>
                <c:pt idx="10">
                  <c:v>0.013937282229965157</c:v>
                </c:pt>
                <c:pt idx="11">
                  <c:v>0.011494252873563218</c:v>
                </c:pt>
                <c:pt idx="12">
                  <c:v>0.011049723756906077</c:v>
                </c:pt>
                <c:pt idx="13">
                  <c:v>0.011124845488257108</c:v>
                </c:pt>
                <c:pt idx="14">
                  <c:v>0.007658643326039387</c:v>
                </c:pt>
                <c:pt idx="15">
                  <c:v>0.006775067750677507</c:v>
                </c:pt>
                <c:pt idx="16">
                  <c:v>0.013377926421404682</c:v>
                </c:pt>
                <c:pt idx="17">
                  <c:v>0.008912655971479501</c:v>
                </c:pt>
                <c:pt idx="18">
                  <c:v>0.012919896640826873</c:v>
                </c:pt>
                <c:pt idx="19">
                  <c:v>0.011764705882352941</c:v>
                </c:pt>
                <c:pt idx="20">
                  <c:v>0.0121580547112462</c:v>
                </c:pt>
                <c:pt idx="21">
                  <c:v>0.015306122448979591</c:v>
                </c:pt>
                <c:pt idx="22">
                  <c:v>0.02262443438914027</c:v>
                </c:pt>
                <c:pt idx="23">
                  <c:v>0.02112676056338028</c:v>
                </c:pt>
                <c:pt idx="24">
                  <c:v>0.025510204081632654</c:v>
                </c:pt>
                <c:pt idx="25">
                  <c:v>0.012012012012012012</c:v>
                </c:pt>
                <c:pt idx="26">
                  <c:v>0.0196078431372549</c:v>
                </c:pt>
                <c:pt idx="27">
                  <c:v>0.020202020202020204</c:v>
                </c:pt>
                <c:pt idx="28">
                  <c:v>0.015</c:v>
                </c:pt>
                <c:pt idx="29">
                  <c:v>0.01509433962264151</c:v>
                </c:pt>
                <c:pt idx="30">
                  <c:v>0.01928374655647383</c:v>
                </c:pt>
                <c:pt idx="31">
                  <c:v>0.01775147928994083</c:v>
                </c:pt>
                <c:pt idx="32">
                  <c:v>0.027777777777777776</c:v>
                </c:pt>
                <c:pt idx="33">
                  <c:v>0.02466367713004484</c:v>
                </c:pt>
                <c:pt idx="34">
                  <c:v>0.022764227642276424</c:v>
                </c:pt>
                <c:pt idx="35">
                  <c:v>0.02102496714848883</c:v>
                </c:pt>
                <c:pt idx="36">
                  <c:v>0.009505703422053232</c:v>
                </c:pt>
                <c:pt idx="37">
                  <c:v>0.0049504950495049506</c:v>
                </c:pt>
                <c:pt idx="38">
                  <c:v>0.004750593824228029</c:v>
                </c:pt>
                <c:pt idx="39">
                  <c:v>0.008948545861297539</c:v>
                </c:pt>
                <c:pt idx="40">
                  <c:v>0.012089810017271158</c:v>
                </c:pt>
                <c:pt idx="41">
                  <c:v>0.006507592190889371</c:v>
                </c:pt>
                <c:pt idx="42">
                  <c:v>0.005681818181818182</c:v>
                </c:pt>
                <c:pt idx="43">
                  <c:v>0.005008347245409015</c:v>
                </c:pt>
                <c:pt idx="44">
                  <c:v>0.004259850905218318</c:v>
                </c:pt>
                <c:pt idx="45">
                  <c:v>0.003134796238244514</c:v>
                </c:pt>
                <c:pt idx="46">
                  <c:v>0.0029411764705882353</c:v>
                </c:pt>
                <c:pt idx="47">
                  <c:v>0.005252100840336135</c:v>
                </c:pt>
                <c:pt idx="48">
                  <c:v>0.007957559681697613</c:v>
                </c:pt>
                <c:pt idx="49">
                  <c:v>0.007894736842105263</c:v>
                </c:pt>
                <c:pt idx="50">
                  <c:v>0.010427528675703858</c:v>
                </c:pt>
                <c:pt idx="51">
                  <c:v>0.010835913312693499</c:v>
                </c:pt>
                <c:pt idx="52">
                  <c:v>0.010604453870625663</c:v>
                </c:pt>
                <c:pt idx="53">
                  <c:v>0.0121765601217656</c:v>
                </c:pt>
                <c:pt idx="54">
                  <c:v>0.014678899082568808</c:v>
                </c:pt>
                <c:pt idx="55">
                  <c:v>0.006185567010309278</c:v>
                </c:pt>
                <c:pt idx="56">
                  <c:v>0.012958963282937365</c:v>
                </c:pt>
                <c:pt idx="57">
                  <c:v>0.011385199240986717</c:v>
                </c:pt>
                <c:pt idx="58">
                  <c:v>0.00974025974025974</c:v>
                </c:pt>
                <c:pt idx="59">
                  <c:v>0.010387157695939566</c:v>
                </c:pt>
                <c:pt idx="60">
                  <c:v>0.013201320132013201</c:v>
                </c:pt>
                <c:pt idx="61">
                  <c:v>0.014173228346456693</c:v>
                </c:pt>
                <c:pt idx="62">
                  <c:v>0.0077279752704791345</c:v>
                </c:pt>
                <c:pt idx="63">
                  <c:v>0.007863695937090432</c:v>
                </c:pt>
                <c:pt idx="64">
                  <c:v>0.014457831325301205</c:v>
                </c:pt>
                <c:pt idx="65">
                  <c:v>0.013630731102850062</c:v>
                </c:pt>
                <c:pt idx="66">
                  <c:v>0.01227830832196453</c:v>
                </c:pt>
                <c:pt idx="67">
                  <c:v>0.00909090909090909</c:v>
                </c:pt>
                <c:pt idx="68">
                  <c:v>0.014842300556586271</c:v>
                </c:pt>
                <c:pt idx="69">
                  <c:v>0.011655011655011656</c:v>
                </c:pt>
                <c:pt idx="70">
                  <c:v>0.01038961038961039</c:v>
                </c:pt>
                <c:pt idx="71">
                  <c:v>0.016025641025641024</c:v>
                </c:pt>
                <c:pt idx="72">
                  <c:v>0.008379888268156424</c:v>
                </c:pt>
                <c:pt idx="73">
                  <c:v>0.017191977077363897</c:v>
                </c:pt>
                <c:pt idx="74">
                  <c:v>0.007371007371007371</c:v>
                </c:pt>
                <c:pt idx="75">
                  <c:v>0.0034482758620689655</c:v>
                </c:pt>
                <c:pt idx="76">
                  <c:v>0.011857707509881422</c:v>
                </c:pt>
                <c:pt idx="77">
                  <c:v>0.006920415224913495</c:v>
                </c:pt>
                <c:pt idx="78">
                  <c:v>0.009216589861751152</c:v>
                </c:pt>
                <c:pt idx="79">
                  <c:v>0.006644518272425249</c:v>
                </c:pt>
                <c:pt idx="80">
                  <c:v>0.013559322033898305</c:v>
                </c:pt>
                <c:pt idx="81">
                  <c:v>0.015306122448979591</c:v>
                </c:pt>
                <c:pt idx="82">
                  <c:v>0.014652014652014652</c:v>
                </c:pt>
                <c:pt idx="83">
                  <c:v>0.01818181818181818</c:v>
                </c:pt>
                <c:pt idx="84">
                  <c:v>0.004629629629629629</c:v>
                </c:pt>
                <c:pt idx="85">
                  <c:v>0.011111111111111112</c:v>
                </c:pt>
                <c:pt idx="86">
                  <c:v>0.012658227848101266</c:v>
                </c:pt>
                <c:pt idx="87">
                  <c:v>0.010351966873706004</c:v>
                </c:pt>
                <c:pt idx="88">
                  <c:v>0.00625</c:v>
                </c:pt>
                <c:pt idx="89">
                  <c:v>0.011278195488721804</c:v>
                </c:pt>
                <c:pt idx="90">
                  <c:v>0.017857142857142856</c:v>
                </c:pt>
                <c:pt idx="91">
                  <c:v>0.013651877133105802</c:v>
                </c:pt>
                <c:pt idx="92">
                  <c:v>0.010554089709762533</c:v>
                </c:pt>
                <c:pt idx="93">
                  <c:v>0.015306122448979591</c:v>
                </c:pt>
                <c:pt idx="94">
                  <c:v>0.0125</c:v>
                </c:pt>
                <c:pt idx="95">
                  <c:v>0.012396694214876033</c:v>
                </c:pt>
                <c:pt idx="96">
                  <c:v>0.013054830287206266</c:v>
                </c:pt>
                <c:pt idx="97">
                  <c:v>0.009876543209876543</c:v>
                </c:pt>
                <c:pt idx="98">
                  <c:v>0.010328638497652582</c:v>
                </c:pt>
                <c:pt idx="99">
                  <c:v>0.004531722054380665</c:v>
                </c:pt>
                <c:pt idx="100">
                  <c:v>0.0030596634370219276</c:v>
                </c:pt>
                <c:pt idx="101">
                  <c:v>0.005035246727089627</c:v>
                </c:pt>
                <c:pt idx="102">
                  <c:v>0.005199306759098787</c:v>
                </c:pt>
                <c:pt idx="103">
                  <c:v>0.0029717682020802376</c:v>
                </c:pt>
                <c:pt idx="104">
                  <c:v>0.0033726812816188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692.3333</c:v>
                </c:pt>
                <c:pt idx="1">
                  <c:v>637.4286</c:v>
                </c:pt>
                <c:pt idx="2">
                  <c:v>679.3333</c:v>
                </c:pt>
                <c:pt idx="3">
                  <c:v>685.6923</c:v>
                </c:pt>
                <c:pt idx="4">
                  <c:v>649.7692</c:v>
                </c:pt>
                <c:pt idx="5">
                  <c:v>685.7</c:v>
                </c:pt>
                <c:pt idx="6">
                  <c:v>625.1818</c:v>
                </c:pt>
                <c:pt idx="7">
                  <c:v>618.0</c:v>
                </c:pt>
                <c:pt idx="8">
                  <c:v>637.6667</c:v>
                </c:pt>
                <c:pt idx="9">
                  <c:v>663.75</c:v>
                </c:pt>
                <c:pt idx="10">
                  <c:v>634.8</c:v>
                </c:pt>
                <c:pt idx="11">
                  <c:v>627.5556</c:v>
                </c:pt>
                <c:pt idx="12">
                  <c:v>633.3333</c:v>
                </c:pt>
                <c:pt idx="13">
                  <c:v>688.0</c:v>
                </c:pt>
                <c:pt idx="14">
                  <c:v>681.0</c:v>
                </c:pt>
                <c:pt idx="15">
                  <c:v>592.25</c:v>
                </c:pt>
                <c:pt idx="16">
                  <c:v>612.0</c:v>
                </c:pt>
                <c:pt idx="17">
                  <c:v>710.0</c:v>
                </c:pt>
                <c:pt idx="18">
                  <c:v>584.25</c:v>
                </c:pt>
                <c:pt idx="19">
                  <c:v>700.5</c:v>
                </c:pt>
                <c:pt idx="20">
                  <c:v>519.3333</c:v>
                </c:pt>
                <c:pt idx="21">
                  <c:v>0.0</c:v>
                </c:pt>
                <c:pt idx="22">
                  <c:v>747.0</c:v>
                </c:pt>
                <c:pt idx="23">
                  <c:v>612.0</c:v>
                </c:pt>
                <c:pt idx="24">
                  <c:v>532.5</c:v>
                </c:pt>
                <c:pt idx="25">
                  <c:v>477.0</c:v>
                </c:pt>
                <c:pt idx="26">
                  <c:v>757.0</c:v>
                </c:pt>
                <c:pt idx="27">
                  <c:v>588.0</c:v>
                </c:pt>
                <c:pt idx="28">
                  <c:v>429.0</c:v>
                </c:pt>
                <c:pt idx="29">
                  <c:v>795.0</c:v>
                </c:pt>
                <c:pt idx="30">
                  <c:v>795.0</c:v>
                </c:pt>
                <c:pt idx="31">
                  <c:v>964.0</c:v>
                </c:pt>
                <c:pt idx="32">
                  <c:v>795.0</c:v>
                </c:pt>
                <c:pt idx="33">
                  <c:v>556.5</c:v>
                </c:pt>
                <c:pt idx="34">
                  <c:v>726.0</c:v>
                </c:pt>
                <c:pt idx="35">
                  <c:v>636.0</c:v>
                </c:pt>
                <c:pt idx="36">
                  <c:v>0.0</c:v>
                </c:pt>
                <c:pt idx="37">
                  <c:v>392.6667</c:v>
                </c:pt>
                <c:pt idx="38">
                  <c:v>376.8</c:v>
                </c:pt>
                <c:pt idx="39">
                  <c:v>367.625</c:v>
                </c:pt>
                <c:pt idx="40">
                  <c:v>383.3</c:v>
                </c:pt>
                <c:pt idx="41">
                  <c:v>408.4</c:v>
                </c:pt>
                <c:pt idx="42">
                  <c:v>377.3333</c:v>
                </c:pt>
                <c:pt idx="43">
                  <c:v>351.3</c:v>
                </c:pt>
                <c:pt idx="44">
                  <c:v>376.75</c:v>
                </c:pt>
                <c:pt idx="45">
                  <c:v>384.6667</c:v>
                </c:pt>
                <c:pt idx="46">
                  <c:v>462.3333</c:v>
                </c:pt>
                <c:pt idx="47">
                  <c:v>436.0</c:v>
                </c:pt>
                <c:pt idx="48">
                  <c:v>261.0</c:v>
                </c:pt>
                <c:pt idx="49">
                  <c:v>0.0</c:v>
                </c:pt>
                <c:pt idx="50">
                  <c:v>0.0</c:v>
                </c:pt>
                <c:pt idx="51">
                  <c:v>0.0</c:v>
                </c:pt>
              </c:numCache>
            </c:numRef>
          </c:xVal>
          <c:yVal>
            <c:numRef>
              <c:f>Sheet1!$B$109:$B$160</c:f>
              <c:numCache>
                <c:formatCode>General</c:formatCode>
                <c:ptCount val="52"/>
                <c:pt idx="0">
                  <c:v>0.004830917874396135</c:v>
                </c:pt>
                <c:pt idx="1">
                  <c:v>0.012389380530973451</c:v>
                </c:pt>
                <c:pt idx="2">
                  <c:v>0.023076923076923078</c:v>
                </c:pt>
                <c:pt idx="3">
                  <c:v>0.02145214521452145</c:v>
                </c:pt>
                <c:pt idx="4">
                  <c:v>0.023853211009174313</c:v>
                </c:pt>
                <c:pt idx="5">
                  <c:v>0.020366598778004074</c:v>
                </c:pt>
                <c:pt idx="6">
                  <c:v>0.02033271719038817</c:v>
                </c:pt>
                <c:pt idx="7">
                  <c:v>0.020512820512820513</c:v>
                </c:pt>
                <c:pt idx="8">
                  <c:v>0.020689655172413793</c:v>
                </c:pt>
                <c:pt idx="9">
                  <c:v>0.011976047904191617</c:v>
                </c:pt>
                <c:pt idx="10">
                  <c:v>0.013850415512465374</c:v>
                </c:pt>
                <c:pt idx="11">
                  <c:v>0.014150943396226415</c:v>
                </c:pt>
                <c:pt idx="12">
                  <c:v>0.010869565217391304</c:v>
                </c:pt>
                <c:pt idx="13">
                  <c:v>0.011363636363636364</c:v>
                </c:pt>
                <c:pt idx="14">
                  <c:v>0.012422360248447204</c:v>
                </c:pt>
                <c:pt idx="15">
                  <c:v>0.008676789587852495</c:v>
                </c:pt>
                <c:pt idx="16">
                  <c:v>0.004739336492890996</c:v>
                </c:pt>
                <c:pt idx="17">
                  <c:v>0.00847457627118644</c:v>
                </c:pt>
                <c:pt idx="18">
                  <c:v>0.013793103448275862</c:v>
                </c:pt>
                <c:pt idx="19">
                  <c:v>0.00684931506849315</c:v>
                </c:pt>
                <c:pt idx="20">
                  <c:v>0.011538461538461539</c:v>
                </c:pt>
                <c:pt idx="21">
                  <c:v>0.0</c:v>
                </c:pt>
                <c:pt idx="22">
                  <c:v>0.006666666666666667</c:v>
                </c:pt>
                <c:pt idx="23">
                  <c:v>0.01282051282051282</c:v>
                </c:pt>
                <c:pt idx="24">
                  <c:v>0.009708737864077669</c:v>
                </c:pt>
                <c:pt idx="25">
                  <c:v>0.005050505050505051</c:v>
                </c:pt>
                <c:pt idx="26">
                  <c:v>0.004310344827586207</c:v>
                </c:pt>
                <c:pt idx="27">
                  <c:v>0.007407407407407408</c:v>
                </c:pt>
                <c:pt idx="28">
                  <c:v>0.0028089887640449437</c:v>
                </c:pt>
                <c:pt idx="29">
                  <c:v>0.004098360655737705</c:v>
                </c:pt>
                <c:pt idx="30">
                  <c:v>0.008333333333333333</c:v>
                </c:pt>
                <c:pt idx="31">
                  <c:v>0.004132231404958678</c:v>
                </c:pt>
                <c:pt idx="32">
                  <c:v>0.007326007326007326</c:v>
                </c:pt>
                <c:pt idx="33">
                  <c:v>0.005012531328320802</c:v>
                </c:pt>
                <c:pt idx="34">
                  <c:v>0.004975124378109453</c:v>
                </c:pt>
                <c:pt idx="35">
                  <c:v>0.00411522633744856</c:v>
                </c:pt>
                <c:pt idx="36">
                  <c:v>0.0</c:v>
                </c:pt>
                <c:pt idx="37">
                  <c:v>0.024896265560165973</c:v>
                </c:pt>
                <c:pt idx="38">
                  <c:v>0.021834061135371178</c:v>
                </c:pt>
                <c:pt idx="39">
                  <c:v>0.02197802197802198</c:v>
                </c:pt>
                <c:pt idx="40">
                  <c:v>0.032679738562091505</c:v>
                </c:pt>
                <c:pt idx="41">
                  <c:v>0.016025641025641024</c:v>
                </c:pt>
                <c:pt idx="42">
                  <c:v>0.011538461538461539</c:v>
                </c:pt>
                <c:pt idx="43">
                  <c:v>0.02358490566037736</c:v>
                </c:pt>
                <c:pt idx="44">
                  <c:v>0.015267175572519083</c:v>
                </c:pt>
                <c:pt idx="45">
                  <c:v>0.0038809831824062097</c:v>
                </c:pt>
                <c:pt idx="46">
                  <c:v>0.005607476635514018</c:v>
                </c:pt>
                <c:pt idx="47">
                  <c:v>0.0017331022530329288</c:v>
                </c:pt>
                <c:pt idx="48">
                  <c:v>0.0014814814814814814</c:v>
                </c:pt>
                <c:pt idx="49">
                  <c:v>0.0</c:v>
                </c:pt>
                <c:pt idx="50">
                  <c:v>0.0</c:v>
                </c:pt>
                <c:pt idx="51">
                  <c:v>0.0</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776.5104788770982</c:v>
                </c:pt>
              </c:numCache>
            </c:numRef>
          </c:xVal>
          <c:yVal>
            <c:numRef>
              <c:f>Sheet1!$B$163:$B$164</c:f>
              <c:numCache>
                <c:formatCode>General</c:formatCode>
                <c:ptCount val="2"/>
                <c:pt idx="0">
                  <c:v>0.02026296326189196</c:v>
                </c:pt>
                <c:pt idx="1">
                  <c:v>0.020262963261891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776.5104788770982</c:v>
                </c:pt>
                <c:pt idx="1">
                  <c:v>1776.5104788770982</c:v>
                </c:pt>
              </c:numCache>
            </c:numRef>
          </c:xVal>
          <c:yVal>
            <c:numRef>
              <c:f>Sheet1!$B$167:$B$168</c:f>
              <c:numCache>
                <c:formatCode>General</c:formatCode>
                <c:ptCount val="2"/>
                <c:pt idx="0">
                  <c:v>0.020262963261891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558.1016839604551</c:v>
                </c:pt>
              </c:numCache>
            </c:numRef>
          </c:xVal>
          <c:yVal>
            <c:numRef>
              <c:f>Sheet1!$B$171:$B$172</c:f>
              <c:numCache>
                <c:formatCode>General</c:formatCode>
                <c:ptCount val="2"/>
                <c:pt idx="0">
                  <c:v>0.018611596595512776</c:v>
                </c:pt>
                <c:pt idx="1">
                  <c:v>0.018611596595512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558.1016839604551</c:v>
                </c:pt>
                <c:pt idx="1">
                  <c:v>1558.1016839604551</c:v>
                </c:pt>
              </c:numCache>
            </c:numRef>
          </c:xVal>
          <c:yVal>
            <c:numRef>
              <c:f>Sheet1!$B$175:$B$176</c:f>
              <c:numCache>
                <c:formatCode>General</c:formatCode>
                <c:ptCount val="2"/>
                <c:pt idx="0">
                  <c:v>0.018611596595512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57.5632511959709</c:v>
                </c:pt>
              </c:numCache>
            </c:numRef>
          </c:xVal>
          <c:yVal>
            <c:numRef>
              <c:f>Sheet1!$B$179:$B$180</c:f>
              <c:numCache>
                <c:formatCode>General</c:formatCode>
                <c:ptCount val="2"/>
                <c:pt idx="0">
                  <c:v>0.010290537529965164</c:v>
                </c:pt>
                <c:pt idx="1">
                  <c:v>0.01029053752996516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57.5632511959709</c:v>
                </c:pt>
                <c:pt idx="1">
                  <c:v>457.5632511959709</c:v>
                </c:pt>
              </c:numCache>
            </c:numRef>
          </c:xVal>
          <c:yVal>
            <c:numRef>
              <c:f>Sheet1!$B$183:$B$184</c:f>
              <c:numCache>
                <c:formatCode>General</c:formatCode>
                <c:ptCount val="2"/>
                <c:pt idx="0">
                  <c:v>0.0102905375299651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692.3333</c:v>
                </c:pt>
                <c:pt idx="1">
                  <c:v>637.4286</c:v>
                </c:pt>
                <c:pt idx="2">
                  <c:v>679.3333</c:v>
                </c:pt>
                <c:pt idx="3">
                  <c:v>685.6923</c:v>
                </c:pt>
                <c:pt idx="4">
                  <c:v>649.7692</c:v>
                </c:pt>
                <c:pt idx="5">
                  <c:v>685.7</c:v>
                </c:pt>
                <c:pt idx="6">
                  <c:v>625.1818</c:v>
                </c:pt>
                <c:pt idx="7">
                  <c:v>618.0</c:v>
                </c:pt>
                <c:pt idx="8">
                  <c:v>637.6667</c:v>
                </c:pt>
                <c:pt idx="9">
                  <c:v>663.75</c:v>
                </c:pt>
                <c:pt idx="10">
                  <c:v>634.8</c:v>
                </c:pt>
                <c:pt idx="11">
                  <c:v>627.5556</c:v>
                </c:pt>
                <c:pt idx="12">
                  <c:v>633.3333</c:v>
                </c:pt>
                <c:pt idx="13">
                  <c:v>688.0</c:v>
                </c:pt>
                <c:pt idx="14">
                  <c:v>681.0</c:v>
                </c:pt>
                <c:pt idx="15">
                  <c:v>592.25</c:v>
                </c:pt>
                <c:pt idx="16">
                  <c:v>612.0</c:v>
                </c:pt>
                <c:pt idx="17">
                  <c:v>710.0</c:v>
                </c:pt>
                <c:pt idx="18">
                  <c:v>584.25</c:v>
                </c:pt>
                <c:pt idx="19">
                  <c:v>700.5</c:v>
                </c:pt>
                <c:pt idx="20">
                  <c:v>519.3333</c:v>
                </c:pt>
                <c:pt idx="21">
                  <c:v>0.0</c:v>
                </c:pt>
                <c:pt idx="22">
                  <c:v>747.0</c:v>
                </c:pt>
                <c:pt idx="23">
                  <c:v>612.0</c:v>
                </c:pt>
                <c:pt idx="24">
                  <c:v>532.5</c:v>
                </c:pt>
                <c:pt idx="25">
                  <c:v>477.0</c:v>
                </c:pt>
                <c:pt idx="26">
                  <c:v>757.0</c:v>
                </c:pt>
                <c:pt idx="27">
                  <c:v>588.0</c:v>
                </c:pt>
                <c:pt idx="28">
                  <c:v>429.0</c:v>
                </c:pt>
                <c:pt idx="29">
                  <c:v>795.0</c:v>
                </c:pt>
                <c:pt idx="30">
                  <c:v>795.0</c:v>
                </c:pt>
                <c:pt idx="31">
                  <c:v>964.0</c:v>
                </c:pt>
                <c:pt idx="32">
                  <c:v>795.0</c:v>
                </c:pt>
                <c:pt idx="33">
                  <c:v>556.5</c:v>
                </c:pt>
                <c:pt idx="34">
                  <c:v>726.0</c:v>
                </c:pt>
                <c:pt idx="35">
                  <c:v>636.0</c:v>
                </c:pt>
                <c:pt idx="36">
                  <c:v>0.0</c:v>
                </c:pt>
                <c:pt idx="37">
                  <c:v>392.6667</c:v>
                </c:pt>
                <c:pt idx="38">
                  <c:v>376.8</c:v>
                </c:pt>
                <c:pt idx="39">
                  <c:v>367.625</c:v>
                </c:pt>
                <c:pt idx="40">
                  <c:v>383.3</c:v>
                </c:pt>
                <c:pt idx="41">
                  <c:v>408.4</c:v>
                </c:pt>
                <c:pt idx="42">
                  <c:v>377.3333</c:v>
                </c:pt>
                <c:pt idx="43">
                  <c:v>351.3</c:v>
                </c:pt>
                <c:pt idx="44">
                  <c:v>376.75</c:v>
                </c:pt>
                <c:pt idx="45">
                  <c:v>384.6667</c:v>
                </c:pt>
                <c:pt idx="46">
                  <c:v>462.3333</c:v>
                </c:pt>
                <c:pt idx="47">
                  <c:v>436.0</c:v>
                </c:pt>
                <c:pt idx="48">
                  <c:v>261.0</c:v>
                </c:pt>
                <c:pt idx="49">
                  <c:v>0.0</c:v>
                </c:pt>
                <c:pt idx="50">
                  <c:v>0.0</c:v>
                </c:pt>
                <c:pt idx="51">
                  <c:v>0.0</c:v>
                </c:pt>
                <c:pt idx="52">
                  <c:v>1558.1016839604551</c:v>
                </c:pt>
                <c:pt idx="53">
                  <c:v>1776.5104788770982</c:v>
                </c:pt>
                <c:pt idx="54">
                  <c:v>457.5632511959709</c:v>
                </c:pt>
              </c:numCache>
            </c:numRef>
          </c:xVal>
          <c:yVal>
            <c:numRef>
              <c:f>Sheet1!$B$187:$B$241</c:f>
              <c:numCache>
                <c:formatCode>General</c:formatCode>
                <c:ptCount val="55"/>
                <c:pt idx="0">
                  <c:v>0.012065609971563284</c:v>
                </c:pt>
                <c:pt idx="1">
                  <c:v>0.011650481123651489</c:v>
                </c:pt>
                <c:pt idx="2">
                  <c:v>0.01196731829484247</c:v>
                </c:pt>
                <c:pt idx="3">
                  <c:v>0.012015398046555367</c:v>
                </c:pt>
                <c:pt idx="4">
                  <c:v>0.011743787144093097</c:v>
                </c:pt>
                <c:pt idx="5">
                  <c:v>0.012015456265471578</c:v>
                </c:pt>
                <c:pt idx="6">
                  <c:v>0.011557884315461914</c:v>
                </c:pt>
                <c:pt idx="7">
                  <c:v>0.011503583456702412</c:v>
                </c:pt>
                <c:pt idx="8">
                  <c:v>0.011652281373515122</c:v>
                </c:pt>
                <c:pt idx="9">
                  <c:v>0.011849494549777587</c:v>
                </c:pt>
                <c:pt idx="10">
                  <c:v>0.01163060654661854</c:v>
                </c:pt>
                <c:pt idx="11">
                  <c:v>0.011575832375631135</c:v>
                </c:pt>
                <c:pt idx="12">
                  <c:v>0.01161951697721497</c:v>
                </c:pt>
                <c:pt idx="13">
                  <c:v>0.012032846331352952</c:v>
                </c:pt>
                <c:pt idx="14">
                  <c:v>0.011979920043887898</c:v>
                </c:pt>
                <c:pt idx="15">
                  <c:v>0.011308890327813105</c:v>
                </c:pt>
                <c:pt idx="16">
                  <c:v>0.011458218067446652</c:v>
                </c:pt>
                <c:pt idx="17">
                  <c:v>0.012199186091957408</c:v>
                </c:pt>
                <c:pt idx="18">
                  <c:v>0.011248403142138756</c:v>
                </c:pt>
                <c:pt idx="19">
                  <c:v>0.012127357558969121</c:v>
                </c:pt>
                <c:pt idx="20">
                  <c:v>0.010757574581355518</c:v>
                </c:pt>
                <c:pt idx="21">
                  <c:v>0.006830948363359058</c:v>
                </c:pt>
                <c:pt idx="22">
                  <c:v>0.012478939325701266</c:v>
                </c:pt>
                <c:pt idx="23">
                  <c:v>0.011458218067446652</c:v>
                </c:pt>
                <c:pt idx="24">
                  <c:v>0.010857126659807821</c:v>
                </c:pt>
                <c:pt idx="25">
                  <c:v>0.010437496809192034</c:v>
                </c:pt>
                <c:pt idx="26">
                  <c:v>0.012554548307794202</c:v>
                </c:pt>
                <c:pt idx="27">
                  <c:v>0.011276756510423609</c:v>
                </c:pt>
                <c:pt idx="28">
                  <c:v>0.01007457369514595</c:v>
                </c:pt>
                <c:pt idx="29">
                  <c:v>0.012841862439747352</c:v>
                </c:pt>
                <c:pt idx="30">
                  <c:v>0.012841862439747352</c:v>
                </c:pt>
                <c:pt idx="31">
                  <c:v>0.014119654237117946</c:v>
                </c:pt>
                <c:pt idx="32">
                  <c:v>0.012841862439747352</c:v>
                </c:pt>
                <c:pt idx="33">
                  <c:v>0.011038588216830864</c:v>
                </c:pt>
                <c:pt idx="34">
                  <c:v>0.012320160463306104</c:v>
                </c:pt>
                <c:pt idx="35">
                  <c:v>0.011639679624469693</c:v>
                </c:pt>
                <c:pt idx="36">
                  <c:v>0.006830948363359058</c:v>
                </c:pt>
                <c:pt idx="37">
                  <c:v>0.009799861312238227</c:v>
                </c:pt>
                <c:pt idx="38">
                  <c:v>0.009679894808620831</c:v>
                </c:pt>
                <c:pt idx="39">
                  <c:v>0.009610523567550563</c:v>
                </c:pt>
                <c:pt idx="40">
                  <c:v>0.009729040646981237</c:v>
                </c:pt>
                <c:pt idx="41">
                  <c:v>0.009918819192034503</c:v>
                </c:pt>
                <c:pt idx="42">
                  <c:v>0.009683927035635847</c:v>
                </c:pt>
                <c:pt idx="43">
                  <c:v>0.009487091904283847</c:v>
                </c:pt>
                <c:pt idx="44">
                  <c:v>0.009679516763710365</c:v>
                </c:pt>
                <c:pt idx="45">
                  <c:v>0.00973937412656388</c:v>
                </c:pt>
                <c:pt idx="46">
                  <c:v>0.010326603383425791</c:v>
                </c:pt>
                <c:pt idx="47">
                  <c:v>0.010127499982611003</c:v>
                </c:pt>
                <c:pt idx="48">
                  <c:v>0.00880434279598465</c:v>
                </c:pt>
                <c:pt idx="49">
                  <c:v>0.006830948363359058</c:v>
                </c:pt>
                <c:pt idx="50">
                  <c:v>0.006830948363359058</c:v>
                </c:pt>
                <c:pt idx="51">
                  <c:v>0.006830948363359058</c:v>
                </c:pt>
                <c:pt idx="52">
                  <c:v>0.018611596595512776</c:v>
                </c:pt>
                <c:pt idx="53">
                  <c:v>0.02026296326189196</c:v>
                </c:pt>
                <c:pt idx="54">
                  <c:v>0.0102905375299651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3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9215686274509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786511336906118</c:v>
                </c:pt>
                <c:pt idx="1">
                  <c:v>0.701110427551782</c:v>
                </c:pt>
                <c:pt idx="2">
                  <c:v>0.7041179770465574</c:v>
                </c:pt>
                <c:pt idx="3">
                  <c:v>0.682260738120374</c:v>
                </c:pt>
                <c:pt idx="4">
                  <c:v>0.6855220930047099</c:v>
                </c:pt>
                <c:pt idx="5">
                  <c:v>0.7043650382709709</c:v>
                </c:pt>
                <c:pt idx="6">
                  <c:v>0.7068694781377214</c:v>
                </c:pt>
                <c:pt idx="7">
                  <c:v>0.7319463204486765</c:v>
                </c:pt>
                <c:pt idx="8">
                  <c:v>0.7570331911027671</c:v>
                </c:pt>
                <c:pt idx="9">
                  <c:v>0.8160266845063453</c:v>
                </c:pt>
                <c:pt idx="10">
                  <c:v>0.8170854712932298</c:v>
                </c:pt>
                <c:pt idx="11">
                  <c:v>0.84171278664945</c:v>
                </c:pt>
                <c:pt idx="12">
                  <c:v>0.8735281325475063</c:v>
                </c:pt>
                <c:pt idx="13">
                  <c:v>0.8372692787677554</c:v>
                </c:pt>
                <c:pt idx="14">
                  <c:v>0.8597557016813716</c:v>
                </c:pt>
                <c:pt idx="15">
                  <c:v>0.8442114931952104</c:v>
                </c:pt>
                <c:pt idx="16">
                  <c:v>0.8205598025219132</c:v>
                </c:pt>
                <c:pt idx="17">
                  <c:v>0.8786930389818859</c:v>
                </c:pt>
                <c:pt idx="18">
                  <c:v>0.9412183408169535</c:v>
                </c:pt>
                <c:pt idx="19">
                  <c:v>0.9604978487793496</c:v>
                </c:pt>
                <c:pt idx="20">
                  <c:v>0.9814374765222942</c:v>
                </c:pt>
                <c:pt idx="21">
                  <c:v>0.8184997468927809</c:v>
                </c:pt>
                <c:pt idx="22">
                  <c:v>0.8275107949865703</c:v>
                </c:pt>
                <c:pt idx="23">
                  <c:v>0.7999752763607183</c:v>
                </c:pt>
                <c:pt idx="24">
                  <c:v>0.68009294766045</c:v>
                </c:pt>
                <c:pt idx="25">
                  <c:v>0.6179030477838969</c:v>
                </c:pt>
                <c:pt idx="26">
                  <c:v>0.645749222389796</c:v>
                </c:pt>
                <c:pt idx="27">
                  <c:v>0.7264747773916664</c:v>
                </c:pt>
                <c:pt idx="28">
                  <c:v>0.6583893343090794</c:v>
                </c:pt>
                <c:pt idx="29">
                  <c:v>0.634488966757737</c:v>
                </c:pt>
                <c:pt idx="30">
                  <c:v>0.6337180857999062</c:v>
                </c:pt>
                <c:pt idx="31">
                  <c:v>0.8082535602787216</c:v>
                </c:pt>
                <c:pt idx="32">
                  <c:v>0.6173426333504093</c:v>
                </c:pt>
                <c:pt idx="33">
                  <c:v>0.6117926407074705</c:v>
                </c:pt>
                <c:pt idx="34">
                  <c:v>0.6692954892821974</c:v>
                </c:pt>
                <c:pt idx="35">
                  <c:v>0.7118344738131035</c:v>
                </c:pt>
                <c:pt idx="36">
                  <c:v>0.777506509075557</c:v>
                </c:pt>
                <c:pt idx="37">
                  <c:v>0.7535766217301201</c:v>
                </c:pt>
                <c:pt idx="38">
                  <c:v>0.8622806227922157</c:v>
                </c:pt>
                <c:pt idx="39">
                  <c:v>0.8447244105807935</c:v>
                </c:pt>
                <c:pt idx="40">
                  <c:v>0.8465989086698299</c:v>
                </c:pt>
                <c:pt idx="41">
                  <c:v>0.8446825201455147</c:v>
                </c:pt>
                <c:pt idx="42">
                  <c:v>0.8379414202650176</c:v>
                </c:pt>
                <c:pt idx="43">
                  <c:v>0.8662116167516273</c:v>
                </c:pt>
                <c:pt idx="44">
                  <c:v>0.8003719247193511</c:v>
                </c:pt>
                <c:pt idx="45">
                  <c:v>0.8255180358036154</c:v>
                </c:pt>
                <c:pt idx="46">
                  <c:v>0.8282434081684785</c:v>
                </c:pt>
                <c:pt idx="47">
                  <c:v>0.8539746708225954</c:v>
                </c:pt>
                <c:pt idx="48">
                  <c:v>0.8302192200337696</c:v>
                </c:pt>
                <c:pt idx="49">
                  <c:v>0.8040627261789444</c:v>
                </c:pt>
                <c:pt idx="50">
                  <c:v>0.8097509722068509</c:v>
                </c:pt>
                <c:pt idx="51">
                  <c:v>0.8474458400414314</c:v>
                </c:pt>
                <c:pt idx="52">
                  <c:v>0.7973867250781416</c:v>
                </c:pt>
                <c:pt idx="53">
                  <c:v>0.7937950367544163</c:v>
                </c:pt>
                <c:pt idx="54">
                  <c:v>0.7975105715239095</c:v>
                </c:pt>
                <c:pt idx="55">
                  <c:v>0.8370833427395634</c:v>
                </c:pt>
                <c:pt idx="56">
                  <c:v>0.8602681304400782</c:v>
                </c:pt>
                <c:pt idx="57">
                  <c:v>0.8471448226454125</c:v>
                </c:pt>
                <c:pt idx="58">
                  <c:v>0.771206255756881</c:v>
                </c:pt>
                <c:pt idx="59">
                  <c:v>0.7621515079065323</c:v>
                </c:pt>
                <c:pt idx="60">
                  <c:v>0.7658585961723868</c:v>
                </c:pt>
                <c:pt idx="61">
                  <c:v>0.8953541535147982</c:v>
                </c:pt>
                <c:pt idx="62">
                  <c:v>0.8983631372154934</c:v>
                </c:pt>
                <c:pt idx="63">
                  <c:v>0.9107458097989993</c:v>
                </c:pt>
                <c:pt idx="64">
                  <c:v>0.9645438516602987</c:v>
                </c:pt>
                <c:pt idx="65">
                  <c:v>0.9415930925832611</c:v>
                </c:pt>
                <c:pt idx="66">
                  <c:v>0.9044282648410337</c:v>
                </c:pt>
                <c:pt idx="67">
                  <c:v>1.0026627906849126</c:v>
                </c:pt>
                <c:pt idx="68">
                  <c:v>0.9986707716225778</c:v>
                </c:pt>
                <c:pt idx="69">
                  <c:v>1.0704252250967052</c:v>
                </c:pt>
                <c:pt idx="70">
                  <c:v>0.9687014588826033</c:v>
                </c:pt>
                <c:pt idx="71">
                  <c:v>0.9461633409095969</c:v>
                </c:pt>
                <c:pt idx="72">
                  <c:v>0.9162144674382772</c:v>
                </c:pt>
                <c:pt idx="73">
                  <c:v>0.8760398101279565</c:v>
                </c:pt>
                <c:pt idx="74">
                  <c:v>0.874235343905654</c:v>
                </c:pt>
                <c:pt idx="75">
                  <c:v>0.8298314653235654</c:v>
                </c:pt>
                <c:pt idx="76">
                  <c:v>0.9130844163352577</c:v>
                </c:pt>
                <c:pt idx="77">
                  <c:v>0.8560994884105918</c:v>
                </c:pt>
                <c:pt idx="78">
                  <c:v>0.7438194406616722</c:v>
                </c:pt>
                <c:pt idx="79">
                  <c:v>0.8739308676753413</c:v>
                </c:pt>
                <c:pt idx="80">
                  <c:v>0.9226821735089925</c:v>
                </c:pt>
                <c:pt idx="81">
                  <c:v>0.9436167002590762</c:v>
                </c:pt>
                <c:pt idx="82">
                  <c:v>0.9456175561192813</c:v>
                </c:pt>
                <c:pt idx="83">
                  <c:v>0.9560584669640998</c:v>
                </c:pt>
                <c:pt idx="84">
                  <c:v>0.9549166077373854</c:v>
                </c:pt>
                <c:pt idx="85">
                  <c:v>0.8763994093173791</c:v>
                </c:pt>
                <c:pt idx="86">
                  <c:v>0.8943321605072312</c:v>
                </c:pt>
                <c:pt idx="87">
                  <c:v>0.9086813914597361</c:v>
                </c:pt>
                <c:pt idx="88">
                  <c:v>0.8404255747732791</c:v>
                </c:pt>
                <c:pt idx="89">
                  <c:v>0.7921360096150911</c:v>
                </c:pt>
                <c:pt idx="90">
                  <c:v>0.8182873786442516</c:v>
                </c:pt>
                <c:pt idx="91">
                  <c:v>0.9274612861308965</c:v>
                </c:pt>
                <c:pt idx="92">
                  <c:v>0.8786478336568416</c:v>
                </c:pt>
                <c:pt idx="93">
                  <c:v>0.8597142569940318</c:v>
                </c:pt>
                <c:pt idx="94">
                  <c:v>0.8628889667037054</c:v>
                </c:pt>
                <c:pt idx="95">
                  <c:v>0.8927639593416092</c:v>
                </c:pt>
                <c:pt idx="96">
                  <c:v>0.9086173560618757</c:v>
                </c:pt>
                <c:pt idx="97">
                  <c:v>0.8937545054536682</c:v>
                </c:pt>
                <c:pt idx="98">
                  <c:v>0.8756489798018297</c:v>
                </c:pt>
                <c:pt idx="99">
                  <c:v>0.8668787104554903</c:v>
                </c:pt>
                <c:pt idx="100">
                  <c:v>0.7962731060722233</c:v>
                </c:pt>
                <c:pt idx="101">
                  <c:v>0.7718979226621095</c:v>
                </c:pt>
                <c:pt idx="102">
                  <c:v>0.8401931385654446</c:v>
                </c:pt>
                <c:pt idx="103">
                  <c:v>0.807108375421706</c:v>
                </c:pt>
                <c:pt idx="104">
                  <c:v>0.7854142980146847</c:v>
                </c:pt>
              </c:numCache>
            </c:numRef>
          </c:xVal>
          <c:yVal>
            <c:numRef>
              <c:f>Sheet1!$B$2:$B$106</c:f>
              <c:numCache>
                <c:formatCode>General</c:formatCode>
                <c:ptCount val="105"/>
                <c:pt idx="0">
                  <c:v>0.1413953488372093</c:v>
                </c:pt>
                <c:pt idx="1">
                  <c:v>0.16924778761061948</c:v>
                </c:pt>
                <c:pt idx="2">
                  <c:v>0.15829694323144106</c:v>
                </c:pt>
                <c:pt idx="3">
                  <c:v>0.16806722689075632</c:v>
                </c:pt>
                <c:pt idx="4">
                  <c:v>0.17174515235457063</c:v>
                </c:pt>
                <c:pt idx="5">
                  <c:v>0.19224555735056542</c:v>
                </c:pt>
                <c:pt idx="6">
                  <c:v>0.22686025408348456</c:v>
                </c:pt>
                <c:pt idx="7">
                  <c:v>0.23488372093023255</c:v>
                </c:pt>
                <c:pt idx="8">
                  <c:v>0.23008849557522124</c:v>
                </c:pt>
                <c:pt idx="9">
                  <c:v>0.23234200743494424</c:v>
                </c:pt>
                <c:pt idx="10">
                  <c:v>0.2421602787456446</c:v>
                </c:pt>
                <c:pt idx="11">
                  <c:v>0.23316912972085385</c:v>
                </c:pt>
                <c:pt idx="12">
                  <c:v>0.21823204419889503</c:v>
                </c:pt>
                <c:pt idx="13">
                  <c:v>0.2323856613102596</c:v>
                </c:pt>
                <c:pt idx="14">
                  <c:v>0.20787746170678337</c:v>
                </c:pt>
                <c:pt idx="15">
                  <c:v>0.1951219512195122</c:v>
                </c:pt>
                <c:pt idx="16">
                  <c:v>0.23244147157190637</c:v>
                </c:pt>
                <c:pt idx="17">
                  <c:v>0.18538324420677363</c:v>
                </c:pt>
                <c:pt idx="18">
                  <c:v>0.1524547803617571</c:v>
                </c:pt>
                <c:pt idx="19">
                  <c:v>0.14901960784313725</c:v>
                </c:pt>
                <c:pt idx="20">
                  <c:v>0.18541033434650456</c:v>
                </c:pt>
                <c:pt idx="21">
                  <c:v>0.19387755102040816</c:v>
                </c:pt>
                <c:pt idx="22">
                  <c:v>0.19004524886877827</c:v>
                </c:pt>
                <c:pt idx="23">
                  <c:v>0.1795774647887324</c:v>
                </c:pt>
                <c:pt idx="24">
                  <c:v>0.16326530612244897</c:v>
                </c:pt>
                <c:pt idx="25">
                  <c:v>0.17417417417417416</c:v>
                </c:pt>
                <c:pt idx="26">
                  <c:v>0.20448179271708683</c:v>
                </c:pt>
                <c:pt idx="27">
                  <c:v>0.18686868686868688</c:v>
                </c:pt>
                <c:pt idx="28">
                  <c:v>0.2025</c:v>
                </c:pt>
                <c:pt idx="29">
                  <c:v>0.23773584905660378</c:v>
                </c:pt>
                <c:pt idx="30">
                  <c:v>0.23415977961432508</c:v>
                </c:pt>
                <c:pt idx="31">
                  <c:v>0.2485207100591716</c:v>
                </c:pt>
                <c:pt idx="32">
                  <c:v>0.3055555555555556</c:v>
                </c:pt>
                <c:pt idx="33">
                  <c:v>0.33408071748878926</c:v>
                </c:pt>
                <c:pt idx="34">
                  <c:v>0.3203252032520325</c:v>
                </c:pt>
                <c:pt idx="35">
                  <c:v>0.29303547963206306</c:v>
                </c:pt>
                <c:pt idx="36">
                  <c:v>0.20722433460076045</c:v>
                </c:pt>
                <c:pt idx="37">
                  <c:v>0.20544554455445543</c:v>
                </c:pt>
                <c:pt idx="38">
                  <c:v>0.18527315914489312</c:v>
                </c:pt>
                <c:pt idx="39">
                  <c:v>0.1610738255033557</c:v>
                </c:pt>
                <c:pt idx="40">
                  <c:v>0.19343696027633853</c:v>
                </c:pt>
                <c:pt idx="41">
                  <c:v>0.1475054229934924</c:v>
                </c:pt>
                <c:pt idx="42">
                  <c:v>0.1553030303030303</c:v>
                </c:pt>
                <c:pt idx="43">
                  <c:v>0.18530884808013356</c:v>
                </c:pt>
                <c:pt idx="44">
                  <c:v>0.21405750798722045</c:v>
                </c:pt>
                <c:pt idx="45">
                  <c:v>0.24242424242424243</c:v>
                </c:pt>
                <c:pt idx="46">
                  <c:v>0.25</c:v>
                </c:pt>
                <c:pt idx="47">
                  <c:v>0.24054621848739496</c:v>
                </c:pt>
                <c:pt idx="48">
                  <c:v>0.2546419098143236</c:v>
                </c:pt>
                <c:pt idx="49">
                  <c:v>0.28771929824561404</c:v>
                </c:pt>
                <c:pt idx="50">
                  <c:v>0.2638164754953076</c:v>
                </c:pt>
                <c:pt idx="51">
                  <c:v>0.1826625386996904</c:v>
                </c:pt>
                <c:pt idx="52">
                  <c:v>0.23753976670201485</c:v>
                </c:pt>
                <c:pt idx="53">
                  <c:v>0.2085235920852359</c:v>
                </c:pt>
                <c:pt idx="54">
                  <c:v>0.1981651376146789</c:v>
                </c:pt>
                <c:pt idx="55">
                  <c:v>0.1731958762886598</c:v>
                </c:pt>
                <c:pt idx="56">
                  <c:v>0.19222462203023757</c:v>
                </c:pt>
                <c:pt idx="57">
                  <c:v>0.18216318785578747</c:v>
                </c:pt>
                <c:pt idx="58">
                  <c:v>0.2077922077922078</c:v>
                </c:pt>
                <c:pt idx="59">
                  <c:v>0.19924457034938622</c:v>
                </c:pt>
                <c:pt idx="60">
                  <c:v>0.22772277227722773</c:v>
                </c:pt>
                <c:pt idx="61">
                  <c:v>0.2062992125984252</c:v>
                </c:pt>
                <c:pt idx="62">
                  <c:v>0.23956723338485317</c:v>
                </c:pt>
                <c:pt idx="63">
                  <c:v>0.2437745740498034</c:v>
                </c:pt>
                <c:pt idx="64">
                  <c:v>0.2385542168674699</c:v>
                </c:pt>
                <c:pt idx="65">
                  <c:v>0.23667905824039653</c:v>
                </c:pt>
                <c:pt idx="66">
                  <c:v>0.2728512960436562</c:v>
                </c:pt>
                <c:pt idx="67">
                  <c:v>0.22727272727272727</c:v>
                </c:pt>
                <c:pt idx="68">
                  <c:v>0.22448979591836735</c:v>
                </c:pt>
                <c:pt idx="69">
                  <c:v>0.2097902097902098</c:v>
                </c:pt>
                <c:pt idx="70">
                  <c:v>0.2</c:v>
                </c:pt>
                <c:pt idx="71">
                  <c:v>0.1794871794871795</c:v>
                </c:pt>
                <c:pt idx="72">
                  <c:v>0.18156424581005587</c:v>
                </c:pt>
                <c:pt idx="73">
                  <c:v>0.21203438395415472</c:v>
                </c:pt>
                <c:pt idx="74">
                  <c:v>0.18673218673218672</c:v>
                </c:pt>
                <c:pt idx="75">
                  <c:v>0.22758620689655173</c:v>
                </c:pt>
                <c:pt idx="76">
                  <c:v>0.16996047430830039</c:v>
                </c:pt>
                <c:pt idx="77">
                  <c:v>0.21453287197231835</c:v>
                </c:pt>
                <c:pt idx="78">
                  <c:v>0.16589861751152074</c:v>
                </c:pt>
                <c:pt idx="79">
                  <c:v>0.1760797342192691</c:v>
                </c:pt>
                <c:pt idx="80">
                  <c:v>0.16610169491525423</c:v>
                </c:pt>
                <c:pt idx="81">
                  <c:v>0.13520408163265307</c:v>
                </c:pt>
                <c:pt idx="82">
                  <c:v>0.16483516483516483</c:v>
                </c:pt>
                <c:pt idx="83">
                  <c:v>0.1409090909090909</c:v>
                </c:pt>
                <c:pt idx="84">
                  <c:v>0.1712962962962963</c:v>
                </c:pt>
                <c:pt idx="85">
                  <c:v>0.21481481481481482</c:v>
                </c:pt>
                <c:pt idx="86">
                  <c:v>0.2379746835443038</c:v>
                </c:pt>
                <c:pt idx="87">
                  <c:v>0.2505175983436853</c:v>
                </c:pt>
                <c:pt idx="88">
                  <c:v>0.209375</c:v>
                </c:pt>
                <c:pt idx="89">
                  <c:v>0.20676691729323307</c:v>
                </c:pt>
                <c:pt idx="90">
                  <c:v>0.2</c:v>
                </c:pt>
                <c:pt idx="91">
                  <c:v>0.17406143344709898</c:v>
                </c:pt>
                <c:pt idx="92">
                  <c:v>0.20844327176781002</c:v>
                </c:pt>
                <c:pt idx="93">
                  <c:v>0.18877551020408162</c:v>
                </c:pt>
                <c:pt idx="94">
                  <c:v>0.178125</c:v>
                </c:pt>
                <c:pt idx="95">
                  <c:v>0.20867768595041322</c:v>
                </c:pt>
                <c:pt idx="96">
                  <c:v>0.20757180156657964</c:v>
                </c:pt>
                <c:pt idx="97">
                  <c:v>0.21851851851851853</c:v>
                </c:pt>
                <c:pt idx="98">
                  <c:v>0.2460093896713615</c:v>
                </c:pt>
                <c:pt idx="99">
                  <c:v>0.24093655589123866</c:v>
                </c:pt>
                <c:pt idx="100">
                  <c:v>0.28403875573686893</c:v>
                </c:pt>
                <c:pt idx="101">
                  <c:v>0.2930513595166163</c:v>
                </c:pt>
                <c:pt idx="102">
                  <c:v>0.21143847487001732</c:v>
                </c:pt>
                <c:pt idx="103">
                  <c:v>0.2050520059435364</c:v>
                </c:pt>
                <c:pt idx="104">
                  <c:v>0.22428330522765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696121729624126</c:v>
                </c:pt>
                <c:pt idx="1">
                  <c:v>0.766746081261698</c:v>
                </c:pt>
                <c:pt idx="2">
                  <c:v>0.7732336536178024</c:v>
                </c:pt>
                <c:pt idx="3">
                  <c:v>0.5948405831086051</c:v>
                </c:pt>
                <c:pt idx="4">
                  <c:v>0.7560778967235244</c:v>
                </c:pt>
                <c:pt idx="5">
                  <c:v>0.7227869840818453</c:v>
                </c:pt>
                <c:pt idx="6">
                  <c:v>0.7888151329769819</c:v>
                </c:pt>
                <c:pt idx="7">
                  <c:v>0.845310432990418</c:v>
                </c:pt>
                <c:pt idx="8">
                  <c:v>0.8605906523654147</c:v>
                </c:pt>
                <c:pt idx="9">
                  <c:v>0.8363349477117701</c:v>
                </c:pt>
                <c:pt idx="10">
                  <c:v>0.826377076264431</c:v>
                </c:pt>
                <c:pt idx="11">
                  <c:v>0.8460274983530534</c:v>
                </c:pt>
                <c:pt idx="12">
                  <c:v>0.8495171335821022</c:v>
                </c:pt>
                <c:pt idx="13">
                  <c:v>0.8355454496992439</c:v>
                </c:pt>
                <c:pt idx="14">
                  <c:v>0.803557204111812</c:v>
                </c:pt>
                <c:pt idx="15">
                  <c:v>0.854780255001626</c:v>
                </c:pt>
                <c:pt idx="16">
                  <c:v>0.9212678301060389</c:v>
                </c:pt>
                <c:pt idx="17">
                  <c:v>0.9402658272916905</c:v>
                </c:pt>
                <c:pt idx="18">
                  <c:v>0.6882450651430694</c:v>
                </c:pt>
                <c:pt idx="19">
                  <c:v>0.8165666446506705</c:v>
                </c:pt>
                <c:pt idx="20">
                  <c:v>0.8668183809701567</c:v>
                </c:pt>
                <c:pt idx="21">
                  <c:v>0.8821794032869511</c:v>
                </c:pt>
                <c:pt idx="22">
                  <c:v>0.7882267092494029</c:v>
                </c:pt>
                <c:pt idx="23">
                  <c:v>0.8871167516938688</c:v>
                </c:pt>
                <c:pt idx="24">
                  <c:v>0.8169538797615413</c:v>
                </c:pt>
                <c:pt idx="25">
                  <c:v>0.8748719267807837</c:v>
                </c:pt>
                <c:pt idx="26">
                  <c:v>0.8009964956404203</c:v>
                </c:pt>
                <c:pt idx="27">
                  <c:v>0.7913002056499118</c:v>
                </c:pt>
                <c:pt idx="28">
                  <c:v>0.7672664229874112</c:v>
                </c:pt>
                <c:pt idx="29">
                  <c:v>0.8159480416328826</c:v>
                </c:pt>
                <c:pt idx="30">
                  <c:v>0.734260081724775</c:v>
                </c:pt>
                <c:pt idx="31">
                  <c:v>0.6159673326299182</c:v>
                </c:pt>
                <c:pt idx="32">
                  <c:v>0.7343633455677947</c:v>
                </c:pt>
                <c:pt idx="33">
                  <c:v>0.7649709296544647</c:v>
                </c:pt>
                <c:pt idx="34">
                  <c:v>0.7666786530563339</c:v>
                </c:pt>
                <c:pt idx="35">
                  <c:v>0.7920016338165237</c:v>
                </c:pt>
                <c:pt idx="36">
                  <c:v>0.7831568080106541</c:v>
                </c:pt>
                <c:pt idx="37">
                  <c:v>0.8042808807354382</c:v>
                </c:pt>
                <c:pt idx="38">
                  <c:v>0.8000643683868344</c:v>
                </c:pt>
                <c:pt idx="39">
                  <c:v>0.8359545425881324</c:v>
                </c:pt>
                <c:pt idx="40">
                  <c:v>0.824680917280095</c:v>
                </c:pt>
                <c:pt idx="41">
                  <c:v>0.8834122623229871</c:v>
                </c:pt>
                <c:pt idx="42">
                  <c:v>0.8423207295060248</c:v>
                </c:pt>
                <c:pt idx="43">
                  <c:v>0.9248458632663943</c:v>
                </c:pt>
                <c:pt idx="44">
                  <c:v>0.9903306734973033</c:v>
                </c:pt>
                <c:pt idx="45">
                  <c:v>0.9385977469543985</c:v>
                </c:pt>
                <c:pt idx="46">
                  <c:v>0.9439450484293843</c:v>
                </c:pt>
                <c:pt idx="47">
                  <c:v>0.9292763487524757</c:v>
                </c:pt>
                <c:pt idx="48">
                  <c:v>1.011330208317196</c:v>
                </c:pt>
                <c:pt idx="49">
                  <c:v>1.0090551665021101</c:v>
                </c:pt>
                <c:pt idx="50">
                  <c:v>0.8461857295546867</c:v>
                </c:pt>
                <c:pt idx="51">
                  <c:v>0.8988425408895083</c:v>
                </c:pt>
              </c:numCache>
            </c:numRef>
          </c:xVal>
          <c:yVal>
            <c:numRef>
              <c:f>Sheet1!$B$109:$B$160</c:f>
              <c:numCache>
                <c:formatCode>General</c:formatCode>
                <c:ptCount val="52"/>
                <c:pt idx="0">
                  <c:v>0.2528180354267311</c:v>
                </c:pt>
                <c:pt idx="1">
                  <c:v>0.2247787610619469</c:v>
                </c:pt>
                <c:pt idx="2">
                  <c:v>0.23846153846153847</c:v>
                </c:pt>
                <c:pt idx="3">
                  <c:v>0.29042904290429045</c:v>
                </c:pt>
                <c:pt idx="4">
                  <c:v>0.23853211009174313</c:v>
                </c:pt>
                <c:pt idx="5">
                  <c:v>0.26272912423625255</c:v>
                </c:pt>
                <c:pt idx="6">
                  <c:v>0.27171903881700554</c:v>
                </c:pt>
                <c:pt idx="7">
                  <c:v>0.24102564102564103</c:v>
                </c:pt>
                <c:pt idx="8">
                  <c:v>0.2655172413793103</c:v>
                </c:pt>
                <c:pt idx="9">
                  <c:v>0.2634730538922156</c:v>
                </c:pt>
                <c:pt idx="10">
                  <c:v>0.27977839335180055</c:v>
                </c:pt>
                <c:pt idx="11">
                  <c:v>0.29559748427672955</c:v>
                </c:pt>
                <c:pt idx="12">
                  <c:v>0.28804347826086957</c:v>
                </c:pt>
                <c:pt idx="13">
                  <c:v>0.2727272727272727</c:v>
                </c:pt>
                <c:pt idx="14">
                  <c:v>0.32712215320910976</c:v>
                </c:pt>
                <c:pt idx="15">
                  <c:v>0.28633405639913234</c:v>
                </c:pt>
                <c:pt idx="16">
                  <c:v>0.2677725118483412</c:v>
                </c:pt>
                <c:pt idx="17">
                  <c:v>0.2231638418079096</c:v>
                </c:pt>
                <c:pt idx="18">
                  <c:v>0.2689655172413793</c:v>
                </c:pt>
                <c:pt idx="19">
                  <c:v>0.21575342465753425</c:v>
                </c:pt>
                <c:pt idx="20">
                  <c:v>0.18846153846153846</c:v>
                </c:pt>
                <c:pt idx="21">
                  <c:v>0.17575757575757575</c:v>
                </c:pt>
                <c:pt idx="22">
                  <c:v>0.19333333333333333</c:v>
                </c:pt>
                <c:pt idx="23">
                  <c:v>0.17307692307692307</c:v>
                </c:pt>
                <c:pt idx="24">
                  <c:v>0.1796116504854369</c:v>
                </c:pt>
                <c:pt idx="25">
                  <c:v>0.18686868686868688</c:v>
                </c:pt>
                <c:pt idx="26">
                  <c:v>0.21120689655172414</c:v>
                </c:pt>
                <c:pt idx="27">
                  <c:v>0.1925925925925926</c:v>
                </c:pt>
                <c:pt idx="28">
                  <c:v>0.24157303370786518</c:v>
                </c:pt>
                <c:pt idx="29">
                  <c:v>0.21721311475409835</c:v>
                </c:pt>
                <c:pt idx="30">
                  <c:v>0.225</c:v>
                </c:pt>
                <c:pt idx="31">
                  <c:v>0.32644628099173556</c:v>
                </c:pt>
                <c:pt idx="32">
                  <c:v>0.2967032967032967</c:v>
                </c:pt>
                <c:pt idx="33">
                  <c:v>0.3182957393483709</c:v>
                </c:pt>
                <c:pt idx="34">
                  <c:v>0.3582089552238806</c:v>
                </c:pt>
                <c:pt idx="35">
                  <c:v>0.31069958847736623</c:v>
                </c:pt>
                <c:pt idx="36">
                  <c:v>0.2676056338028169</c:v>
                </c:pt>
                <c:pt idx="37">
                  <c:v>0.2074688796680498</c:v>
                </c:pt>
                <c:pt idx="38">
                  <c:v>0.19213973799126638</c:v>
                </c:pt>
                <c:pt idx="39">
                  <c:v>0.2692307692307692</c:v>
                </c:pt>
                <c:pt idx="40">
                  <c:v>0.21241830065359477</c:v>
                </c:pt>
                <c:pt idx="41">
                  <c:v>0.21794871794871795</c:v>
                </c:pt>
                <c:pt idx="42">
                  <c:v>0.20384615384615384</c:v>
                </c:pt>
                <c:pt idx="43">
                  <c:v>0.20754716981132076</c:v>
                </c:pt>
                <c:pt idx="44">
                  <c:v>0.17748091603053434</c:v>
                </c:pt>
                <c:pt idx="45">
                  <c:v>0.2186287192755498</c:v>
                </c:pt>
                <c:pt idx="46">
                  <c:v>0.20747663551401868</c:v>
                </c:pt>
                <c:pt idx="47">
                  <c:v>0.20797227036395147</c:v>
                </c:pt>
                <c:pt idx="48">
                  <c:v>0.2074074074074074</c:v>
                </c:pt>
                <c:pt idx="49">
                  <c:v>0.2303370786516854</c:v>
                </c:pt>
                <c:pt idx="50">
                  <c:v>0.30539887187751813</c:v>
                </c:pt>
                <c:pt idx="51">
                  <c:v>0.28129395218002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686842388868298</c:v>
                </c:pt>
              </c:numCache>
            </c:numRef>
          </c:xVal>
          <c:yVal>
            <c:numRef>
              <c:f>Sheet1!$B$163:$B$164</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686842388868298</c:v>
                </c:pt>
                <c:pt idx="1">
                  <c:v>0.7686842388868298</c:v>
                </c:pt>
              </c:numCache>
            </c:numRef>
          </c:xVal>
          <c:yVal>
            <c:numRef>
              <c:f>Sheet1!$B$167:$B$168</c:f>
              <c:numCache>
                <c:formatCode>General</c:formatCode>
                <c:ptCount val="2"/>
                <c:pt idx="0">
                  <c:v>0.257919253991646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686842388868298</c:v>
                </c:pt>
              </c:numCache>
            </c:numRef>
          </c:xVal>
          <c:yVal>
            <c:numRef>
              <c:f>Sheet1!$B$171:$B$172</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686842388868298</c:v>
                </c:pt>
                <c:pt idx="1">
                  <c:v>0.7686842388868298</c:v>
                </c:pt>
              </c:numCache>
            </c:numRef>
          </c:xVal>
          <c:yVal>
            <c:numRef>
              <c:f>Sheet1!$B$175:$B$176</c:f>
              <c:numCache>
                <c:formatCode>General</c:formatCode>
                <c:ptCount val="2"/>
                <c:pt idx="0">
                  <c:v>0.257919253991646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013141885629953</c:v>
                </c:pt>
              </c:numCache>
            </c:numRef>
          </c:xVal>
          <c:yVal>
            <c:numRef>
              <c:f>Sheet1!$B$179:$B$180</c:f>
              <c:numCache>
                <c:formatCode>General</c:formatCode>
                <c:ptCount val="2"/>
                <c:pt idx="0">
                  <c:v>0.22669130483009609</c:v>
                </c:pt>
                <c:pt idx="1">
                  <c:v>0.2266913048300960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013141885629953</c:v>
                </c:pt>
                <c:pt idx="1">
                  <c:v>0.9013141885629953</c:v>
                </c:pt>
              </c:numCache>
            </c:numRef>
          </c:xVal>
          <c:yVal>
            <c:numRef>
              <c:f>Sheet1!$B$183:$B$184</c:f>
              <c:numCache>
                <c:formatCode>General</c:formatCode>
                <c:ptCount val="2"/>
                <c:pt idx="0">
                  <c:v>0.2266913048300960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696121729624126</c:v>
                </c:pt>
                <c:pt idx="1">
                  <c:v>0.766746081261698</c:v>
                </c:pt>
                <c:pt idx="2">
                  <c:v>0.7732336536178024</c:v>
                </c:pt>
                <c:pt idx="3">
                  <c:v>0.5948405831086051</c:v>
                </c:pt>
                <c:pt idx="4">
                  <c:v>0.7560778967235244</c:v>
                </c:pt>
                <c:pt idx="5">
                  <c:v>0.7227869840818453</c:v>
                </c:pt>
                <c:pt idx="6">
                  <c:v>0.7888151329769819</c:v>
                </c:pt>
                <c:pt idx="7">
                  <c:v>0.845310432990418</c:v>
                </c:pt>
                <c:pt idx="8">
                  <c:v>0.8605906523654147</c:v>
                </c:pt>
                <c:pt idx="9">
                  <c:v>0.8363349477117701</c:v>
                </c:pt>
                <c:pt idx="10">
                  <c:v>0.826377076264431</c:v>
                </c:pt>
                <c:pt idx="11">
                  <c:v>0.8460274983530534</c:v>
                </c:pt>
                <c:pt idx="12">
                  <c:v>0.8495171335821022</c:v>
                </c:pt>
                <c:pt idx="13">
                  <c:v>0.8355454496992439</c:v>
                </c:pt>
                <c:pt idx="14">
                  <c:v>0.803557204111812</c:v>
                </c:pt>
                <c:pt idx="15">
                  <c:v>0.854780255001626</c:v>
                </c:pt>
                <c:pt idx="16">
                  <c:v>0.9212678301060389</c:v>
                </c:pt>
                <c:pt idx="17">
                  <c:v>0.9402658272916905</c:v>
                </c:pt>
                <c:pt idx="18">
                  <c:v>0.6882450651430694</c:v>
                </c:pt>
                <c:pt idx="19">
                  <c:v>0.8165666446506705</c:v>
                </c:pt>
                <c:pt idx="20">
                  <c:v>0.8668183809701567</c:v>
                </c:pt>
                <c:pt idx="21">
                  <c:v>0.8821794032869511</c:v>
                </c:pt>
                <c:pt idx="22">
                  <c:v>0.7882267092494029</c:v>
                </c:pt>
                <c:pt idx="23">
                  <c:v>0.8871167516938688</c:v>
                </c:pt>
                <c:pt idx="24">
                  <c:v>0.8169538797615413</c:v>
                </c:pt>
                <c:pt idx="25">
                  <c:v>0.8748719267807837</c:v>
                </c:pt>
                <c:pt idx="26">
                  <c:v>0.8009964956404203</c:v>
                </c:pt>
                <c:pt idx="27">
                  <c:v>0.7913002056499118</c:v>
                </c:pt>
                <c:pt idx="28">
                  <c:v>0.7672664229874112</c:v>
                </c:pt>
                <c:pt idx="29">
                  <c:v>0.8159480416328826</c:v>
                </c:pt>
                <c:pt idx="30">
                  <c:v>0.734260081724775</c:v>
                </c:pt>
                <c:pt idx="31">
                  <c:v>0.6159673326299182</c:v>
                </c:pt>
                <c:pt idx="32">
                  <c:v>0.7343633455677947</c:v>
                </c:pt>
                <c:pt idx="33">
                  <c:v>0.7649709296544647</c:v>
                </c:pt>
                <c:pt idx="34">
                  <c:v>0.7666786530563339</c:v>
                </c:pt>
                <c:pt idx="35">
                  <c:v>0.7920016338165237</c:v>
                </c:pt>
                <c:pt idx="36">
                  <c:v>0.7831568080106541</c:v>
                </c:pt>
                <c:pt idx="37">
                  <c:v>0.8042808807354382</c:v>
                </c:pt>
                <c:pt idx="38">
                  <c:v>0.8000643683868344</c:v>
                </c:pt>
                <c:pt idx="39">
                  <c:v>0.8359545425881324</c:v>
                </c:pt>
                <c:pt idx="40">
                  <c:v>0.824680917280095</c:v>
                </c:pt>
                <c:pt idx="41">
                  <c:v>0.8834122623229871</c:v>
                </c:pt>
                <c:pt idx="42">
                  <c:v>0.8423207295060248</c:v>
                </c:pt>
                <c:pt idx="43">
                  <c:v>0.9248458632663943</c:v>
                </c:pt>
                <c:pt idx="44">
                  <c:v>0.9903306734973033</c:v>
                </c:pt>
                <c:pt idx="45">
                  <c:v>0.9385977469543985</c:v>
                </c:pt>
                <c:pt idx="46">
                  <c:v>0.9439450484293843</c:v>
                </c:pt>
                <c:pt idx="47">
                  <c:v>0.9292763487524757</c:v>
                </c:pt>
                <c:pt idx="48">
                  <c:v>1.011330208317196</c:v>
                </c:pt>
                <c:pt idx="49">
                  <c:v>1.0090551665021101</c:v>
                </c:pt>
                <c:pt idx="50">
                  <c:v>0.8461857295546867</c:v>
                </c:pt>
                <c:pt idx="51">
                  <c:v>0.8988425408895083</c:v>
                </c:pt>
                <c:pt idx="52">
                  <c:v>0.7686842388868298</c:v>
                </c:pt>
                <c:pt idx="53">
                  <c:v>0.7686842388868298</c:v>
                </c:pt>
                <c:pt idx="54">
                  <c:v>0.9013141885629953</c:v>
                </c:pt>
              </c:numCache>
            </c:numRef>
          </c:xVal>
          <c:yVal>
            <c:numRef>
              <c:f>Sheet1!$B$187:$B$241</c:f>
              <c:numCache>
                <c:formatCode>General</c:formatCode>
                <c:ptCount val="55"/>
                <c:pt idx="0">
                  <c:v>0.25770077032179456</c:v>
                </c:pt>
                <c:pt idx="1">
                  <c:v>0.25837559652915415</c:v>
                </c:pt>
                <c:pt idx="2">
                  <c:v>0.25684808648928026</c:v>
                </c:pt>
                <c:pt idx="3">
                  <c:v>0.2988510409519499</c:v>
                </c:pt>
                <c:pt idx="4">
                  <c:v>0.2608874388786201</c:v>
                </c:pt>
                <c:pt idx="5">
                  <c:v>0.2687258413665523</c:v>
                </c:pt>
                <c:pt idx="6">
                  <c:v>0.253179400446058</c:v>
                </c:pt>
                <c:pt idx="7">
                  <c:v>0.2398774851471851</c:v>
                </c:pt>
                <c:pt idx="8">
                  <c:v>0.23627973128401303</c:v>
                </c:pt>
                <c:pt idx="9">
                  <c:v>0.24199077855237916</c:v>
                </c:pt>
                <c:pt idx="10">
                  <c:v>0.24433537646615372</c:v>
                </c:pt>
                <c:pt idx="11">
                  <c:v>0.23970865087751553</c:v>
                </c:pt>
                <c:pt idx="12">
                  <c:v>0.23888701027679773</c:v>
                </c:pt>
                <c:pt idx="13">
                  <c:v>0.24217666721371478</c:v>
                </c:pt>
                <c:pt idx="14">
                  <c:v>0.2497083545091601</c:v>
                </c:pt>
                <c:pt idx="15">
                  <c:v>0.2376477993103361</c:v>
                </c:pt>
                <c:pt idx="16">
                  <c:v>0.2219931857007789</c:v>
                </c:pt>
                <c:pt idx="17">
                  <c:v>0.21752007467469947</c:v>
                </c:pt>
                <c:pt idx="18">
                  <c:v>0.2768587954330828</c:v>
                </c:pt>
                <c:pt idx="19">
                  <c:v>0.2466452594181974</c:v>
                </c:pt>
                <c:pt idx="20">
                  <c:v>0.2348134019011273</c:v>
                </c:pt>
                <c:pt idx="21">
                  <c:v>0.2311966228467015</c:v>
                </c:pt>
                <c:pt idx="22">
                  <c:v>0.2533179458220848</c:v>
                </c:pt>
                <c:pt idx="23">
                  <c:v>0.23003411569488133</c:v>
                </c:pt>
                <c:pt idx="24">
                  <c:v>0.24655408424708886</c:v>
                </c:pt>
                <c:pt idx="25">
                  <c:v>0.232917180725152</c:v>
                </c:pt>
                <c:pt idx="26">
                  <c:v>0.25031127771132833</c:v>
                </c:pt>
                <c:pt idx="27">
                  <c:v>0.2525942858223815</c:v>
                </c:pt>
                <c:pt idx="28">
                  <c:v>0.258253081177253</c:v>
                </c:pt>
                <c:pt idx="29">
                  <c:v>0.24679091055987262</c:v>
                </c:pt>
                <c:pt idx="30">
                  <c:v>0.2660244808458425</c:v>
                </c:pt>
                <c:pt idx="31">
                  <c:v>0.2938767115368273</c:v>
                </c:pt>
                <c:pt idx="32">
                  <c:v>0.26600016719686714</c:v>
                </c:pt>
                <c:pt idx="33">
                  <c:v>0.25879355902013057</c:v>
                </c:pt>
                <c:pt idx="34">
                  <c:v>0.2583914726157719</c:v>
                </c:pt>
                <c:pt idx="35">
                  <c:v>0.2524291333573393</c:v>
                </c:pt>
                <c:pt idx="36">
                  <c:v>0.25451166276553755</c:v>
                </c:pt>
                <c:pt idx="37">
                  <c:v>0.2495379636067494</c:v>
                </c:pt>
                <c:pt idx="38">
                  <c:v>0.2505307486721343</c:v>
                </c:pt>
                <c:pt idx="39">
                  <c:v>0.24208034559127767</c:v>
                </c:pt>
                <c:pt idx="40">
                  <c:v>0.2447347400085669</c:v>
                </c:pt>
                <c:pt idx="41">
                  <c:v>0.23090634407184943</c:v>
                </c:pt>
                <c:pt idx="42">
                  <c:v>0.24058141596105254</c:v>
                </c:pt>
                <c:pt idx="43">
                  <c:v>0.22115073165549923</c:v>
                </c:pt>
                <c:pt idx="44">
                  <c:v>0.20573222075552777</c:v>
                </c:pt>
                <c:pt idx="45">
                  <c:v>0.21791282705150067</c:v>
                </c:pt>
                <c:pt idx="46">
                  <c:v>0.21665379574658</c:v>
                </c:pt>
                <c:pt idx="47">
                  <c:v>0.22010756624785072</c:v>
                </c:pt>
                <c:pt idx="48">
                  <c:v>0.20078784426007568</c:v>
                </c:pt>
                <c:pt idx="49">
                  <c:v>0.2013235067579909</c:v>
                </c:pt>
                <c:pt idx="50">
                  <c:v>0.23967139506966487</c:v>
                </c:pt>
                <c:pt idx="51">
                  <c:v>0.2272732585146249</c:v>
                </c:pt>
                <c:pt idx="52">
                  <c:v>0.25791925399164684</c:v>
                </c:pt>
                <c:pt idx="53">
                  <c:v>0.25791925399164684</c:v>
                </c:pt>
                <c:pt idx="54">
                  <c:v>0.2266913048300960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985074626865666"/>
          <c:min val="0.108163265306122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5395</c:v>
                </c:pt>
                <c:pt idx="1">
                  <c:v>961.8562</c:v>
                </c:pt>
                <c:pt idx="2">
                  <c:v>1025.2138</c:v>
                </c:pt>
                <c:pt idx="3">
                  <c:v>1024.1929</c:v>
                </c:pt>
                <c:pt idx="4">
                  <c:v>1027.2419</c:v>
                </c:pt>
                <c:pt idx="5">
                  <c:v>1013.4538</c:v>
                </c:pt>
                <c:pt idx="6">
                  <c:v>954.336</c:v>
                </c:pt>
                <c:pt idx="7">
                  <c:v>995.5644</c:v>
                </c:pt>
                <c:pt idx="8">
                  <c:v>1012.6026</c:v>
                </c:pt>
                <c:pt idx="9">
                  <c:v>1000.84</c:v>
                </c:pt>
                <c:pt idx="10">
                  <c:v>989.3525</c:v>
                </c:pt>
                <c:pt idx="11">
                  <c:v>1029.9366</c:v>
                </c:pt>
                <c:pt idx="12">
                  <c:v>1079.3228</c:v>
                </c:pt>
                <c:pt idx="13">
                  <c:v>1001.9362</c:v>
                </c:pt>
                <c:pt idx="14">
                  <c:v>1032.9105</c:v>
                </c:pt>
                <c:pt idx="15">
                  <c:v>1034.8889</c:v>
                </c:pt>
                <c:pt idx="16">
                  <c:v>1017.1583</c:v>
                </c:pt>
                <c:pt idx="17">
                  <c:v>1066.7692</c:v>
                </c:pt>
                <c:pt idx="18">
                  <c:v>1117.4915</c:v>
                </c:pt>
                <c:pt idx="19">
                  <c:v>1174.0</c:v>
                </c:pt>
                <c:pt idx="20">
                  <c:v>1189.0328</c:v>
                </c:pt>
                <c:pt idx="21">
                  <c:v>1175.9737</c:v>
                </c:pt>
                <c:pt idx="22">
                  <c:v>1218.4048</c:v>
                </c:pt>
                <c:pt idx="23">
                  <c:v>1182.9608</c:v>
                </c:pt>
                <c:pt idx="24">
                  <c:v>1011.875</c:v>
                </c:pt>
                <c:pt idx="25">
                  <c:v>950.1379</c:v>
                </c:pt>
                <c:pt idx="26">
                  <c:v>979.8219</c:v>
                </c:pt>
                <c:pt idx="27">
                  <c:v>1047.1892</c:v>
                </c:pt>
                <c:pt idx="28">
                  <c:v>973.0864</c:v>
                </c:pt>
                <c:pt idx="29">
                  <c:v>966.627</c:v>
                </c:pt>
                <c:pt idx="30">
                  <c:v>975.4941</c:v>
                </c:pt>
                <c:pt idx="31">
                  <c:v>975.0952</c:v>
                </c:pt>
                <c:pt idx="32">
                  <c:v>944.3068</c:v>
                </c:pt>
                <c:pt idx="33">
                  <c:v>957.2416</c:v>
                </c:pt>
                <c:pt idx="34">
                  <c:v>1006.4721</c:v>
                </c:pt>
                <c:pt idx="35">
                  <c:v>1010.6502</c:v>
                </c:pt>
                <c:pt idx="36">
                  <c:v>1113.4495</c:v>
                </c:pt>
                <c:pt idx="37">
                  <c:v>1072.0482</c:v>
                </c:pt>
                <c:pt idx="38">
                  <c:v>1218.4615</c:v>
                </c:pt>
                <c:pt idx="39">
                  <c:v>1175.1806</c:v>
                </c:pt>
                <c:pt idx="40">
                  <c:v>1240.9821</c:v>
                </c:pt>
                <c:pt idx="41">
                  <c:v>1267.8824</c:v>
                </c:pt>
                <c:pt idx="42">
                  <c:v>1293.3537</c:v>
                </c:pt>
                <c:pt idx="43">
                  <c:v>1326.8018</c:v>
                </c:pt>
                <c:pt idx="44">
                  <c:v>1120.5323</c:v>
                </c:pt>
                <c:pt idx="45">
                  <c:v>1120.3362</c:v>
                </c:pt>
                <c:pt idx="46">
                  <c:v>1114.7333</c:v>
                </c:pt>
                <c:pt idx="47">
                  <c:v>1097.8297</c:v>
                </c:pt>
                <c:pt idx="48">
                  <c:v>1121.4661</c:v>
                </c:pt>
                <c:pt idx="49">
                  <c:v>1097.2683</c:v>
                </c:pt>
                <c:pt idx="50">
                  <c:v>1085.0395</c:v>
                </c:pt>
                <c:pt idx="51">
                  <c:v>1132.6695</c:v>
                </c:pt>
                <c:pt idx="52">
                  <c:v>1095.5179</c:v>
                </c:pt>
                <c:pt idx="53">
                  <c:v>1191.219</c:v>
                </c:pt>
                <c:pt idx="54">
                  <c:v>1234.9259</c:v>
                </c:pt>
                <c:pt idx="55">
                  <c:v>1260.7262</c:v>
                </c:pt>
                <c:pt idx="56">
                  <c:v>1291.1348</c:v>
                </c:pt>
                <c:pt idx="57">
                  <c:v>1286.0625</c:v>
                </c:pt>
                <c:pt idx="58">
                  <c:v>1149.3984</c:v>
                </c:pt>
                <c:pt idx="59">
                  <c:v>1149.1991</c:v>
                </c:pt>
                <c:pt idx="60">
                  <c:v>1194.0918</c:v>
                </c:pt>
                <c:pt idx="61">
                  <c:v>1205.5496</c:v>
                </c:pt>
                <c:pt idx="62">
                  <c:v>1135.3419</c:v>
                </c:pt>
                <c:pt idx="63">
                  <c:v>1164.6989</c:v>
                </c:pt>
                <c:pt idx="64">
                  <c:v>1216.4747</c:v>
                </c:pt>
                <c:pt idx="65">
                  <c:v>1182.4398</c:v>
                </c:pt>
                <c:pt idx="66">
                  <c:v>1169.5</c:v>
                </c:pt>
                <c:pt idx="67">
                  <c:v>1279.0133</c:v>
                </c:pt>
                <c:pt idx="68">
                  <c:v>1251.843</c:v>
                </c:pt>
                <c:pt idx="69">
                  <c:v>1293.6</c:v>
                </c:pt>
                <c:pt idx="70">
                  <c:v>1193.013</c:v>
                </c:pt>
                <c:pt idx="71">
                  <c:v>1347.0536</c:v>
                </c:pt>
                <c:pt idx="72">
                  <c:v>1355.9538</c:v>
                </c:pt>
                <c:pt idx="73">
                  <c:v>1303.1892</c:v>
                </c:pt>
                <c:pt idx="74">
                  <c:v>1264.0526</c:v>
                </c:pt>
                <c:pt idx="75">
                  <c:v>1326.5758</c:v>
                </c:pt>
                <c:pt idx="76">
                  <c:v>1330.5814</c:v>
                </c:pt>
                <c:pt idx="77">
                  <c:v>1187.871</c:v>
                </c:pt>
                <c:pt idx="78">
                  <c:v>1095.1389</c:v>
                </c:pt>
                <c:pt idx="79">
                  <c:v>1238.3208</c:v>
                </c:pt>
                <c:pt idx="80">
                  <c:v>1282.7755</c:v>
                </c:pt>
                <c:pt idx="81">
                  <c:v>1320.566</c:v>
                </c:pt>
                <c:pt idx="82">
                  <c:v>1303.0</c:v>
                </c:pt>
                <c:pt idx="83">
                  <c:v>1310.9032</c:v>
                </c:pt>
                <c:pt idx="84">
                  <c:v>1302.8378</c:v>
                </c:pt>
                <c:pt idx="85">
                  <c:v>1250.5862</c:v>
                </c:pt>
                <c:pt idx="86">
                  <c:v>1282.117</c:v>
                </c:pt>
                <c:pt idx="87">
                  <c:v>1294.2479</c:v>
                </c:pt>
                <c:pt idx="88">
                  <c:v>1272.5224</c:v>
                </c:pt>
                <c:pt idx="89">
                  <c:v>1206.8364</c:v>
                </c:pt>
                <c:pt idx="90">
                  <c:v>1280.3214</c:v>
                </c:pt>
                <c:pt idx="91">
                  <c:v>1449.1961</c:v>
                </c:pt>
                <c:pt idx="92">
                  <c:v>1315.4937</c:v>
                </c:pt>
                <c:pt idx="93">
                  <c:v>1336.7703</c:v>
                </c:pt>
                <c:pt idx="94">
                  <c:v>1337.0877</c:v>
                </c:pt>
                <c:pt idx="95">
                  <c:v>1306.5347</c:v>
                </c:pt>
                <c:pt idx="96">
                  <c:v>1270.195</c:v>
                </c:pt>
                <c:pt idx="97">
                  <c:v>1198.661</c:v>
                </c:pt>
                <c:pt idx="98">
                  <c:v>1184.5916</c:v>
                </c:pt>
                <c:pt idx="99">
                  <c:v>1138.8652</c:v>
                </c:pt>
                <c:pt idx="100">
                  <c:v>1108.6266</c:v>
                </c:pt>
                <c:pt idx="101">
                  <c:v>1123.6701</c:v>
                </c:pt>
                <c:pt idx="102">
                  <c:v>1186.041</c:v>
                </c:pt>
                <c:pt idx="103">
                  <c:v>1124.7826</c:v>
                </c:pt>
                <c:pt idx="104">
                  <c:v>1173.8872</c:v>
                </c:pt>
              </c:numCache>
            </c:numRef>
          </c:xVal>
          <c:yVal>
            <c:numRef>
              <c:f>Sheet1!$B$2:$B$106</c:f>
              <c:numCache>
                <c:formatCode>General</c:formatCode>
                <c:ptCount val="105"/>
                <c:pt idx="0">
                  <c:v>0.1413953488372093</c:v>
                </c:pt>
                <c:pt idx="1">
                  <c:v>0.16924778761061948</c:v>
                </c:pt>
                <c:pt idx="2">
                  <c:v>0.15829694323144106</c:v>
                </c:pt>
                <c:pt idx="3">
                  <c:v>0.16806722689075632</c:v>
                </c:pt>
                <c:pt idx="4">
                  <c:v>0.17174515235457063</c:v>
                </c:pt>
                <c:pt idx="5">
                  <c:v>0.19224555735056542</c:v>
                </c:pt>
                <c:pt idx="6">
                  <c:v>0.22686025408348456</c:v>
                </c:pt>
                <c:pt idx="7">
                  <c:v>0.23488372093023255</c:v>
                </c:pt>
                <c:pt idx="8">
                  <c:v>0.23008849557522124</c:v>
                </c:pt>
                <c:pt idx="9">
                  <c:v>0.23234200743494424</c:v>
                </c:pt>
                <c:pt idx="10">
                  <c:v>0.2421602787456446</c:v>
                </c:pt>
                <c:pt idx="11">
                  <c:v>0.23316912972085385</c:v>
                </c:pt>
                <c:pt idx="12">
                  <c:v>0.21823204419889503</c:v>
                </c:pt>
                <c:pt idx="13">
                  <c:v>0.2323856613102596</c:v>
                </c:pt>
                <c:pt idx="14">
                  <c:v>0.20787746170678337</c:v>
                </c:pt>
                <c:pt idx="15">
                  <c:v>0.1951219512195122</c:v>
                </c:pt>
                <c:pt idx="16">
                  <c:v>0.23244147157190637</c:v>
                </c:pt>
                <c:pt idx="17">
                  <c:v>0.18538324420677363</c:v>
                </c:pt>
                <c:pt idx="18">
                  <c:v>0.1524547803617571</c:v>
                </c:pt>
                <c:pt idx="19">
                  <c:v>0.14901960784313725</c:v>
                </c:pt>
                <c:pt idx="20">
                  <c:v>0.18541033434650456</c:v>
                </c:pt>
                <c:pt idx="21">
                  <c:v>0.19387755102040816</c:v>
                </c:pt>
                <c:pt idx="22">
                  <c:v>0.19004524886877827</c:v>
                </c:pt>
                <c:pt idx="23">
                  <c:v>0.1795774647887324</c:v>
                </c:pt>
                <c:pt idx="24">
                  <c:v>0.16326530612244897</c:v>
                </c:pt>
                <c:pt idx="25">
                  <c:v>0.17417417417417416</c:v>
                </c:pt>
                <c:pt idx="26">
                  <c:v>0.20448179271708683</c:v>
                </c:pt>
                <c:pt idx="27">
                  <c:v>0.18686868686868688</c:v>
                </c:pt>
                <c:pt idx="28">
                  <c:v>0.2025</c:v>
                </c:pt>
                <c:pt idx="29">
                  <c:v>0.23773584905660378</c:v>
                </c:pt>
                <c:pt idx="30">
                  <c:v>0.23415977961432508</c:v>
                </c:pt>
                <c:pt idx="31">
                  <c:v>0.2485207100591716</c:v>
                </c:pt>
                <c:pt idx="32">
                  <c:v>0.3055555555555556</c:v>
                </c:pt>
                <c:pt idx="33">
                  <c:v>0.33408071748878926</c:v>
                </c:pt>
                <c:pt idx="34">
                  <c:v>0.3203252032520325</c:v>
                </c:pt>
                <c:pt idx="35">
                  <c:v>0.29303547963206306</c:v>
                </c:pt>
                <c:pt idx="36">
                  <c:v>0.20722433460076045</c:v>
                </c:pt>
                <c:pt idx="37">
                  <c:v>0.20544554455445543</c:v>
                </c:pt>
                <c:pt idx="38">
                  <c:v>0.18527315914489312</c:v>
                </c:pt>
                <c:pt idx="39">
                  <c:v>0.1610738255033557</c:v>
                </c:pt>
                <c:pt idx="40">
                  <c:v>0.19343696027633853</c:v>
                </c:pt>
                <c:pt idx="41">
                  <c:v>0.1475054229934924</c:v>
                </c:pt>
                <c:pt idx="42">
                  <c:v>0.1553030303030303</c:v>
                </c:pt>
                <c:pt idx="43">
                  <c:v>0.18530884808013356</c:v>
                </c:pt>
                <c:pt idx="44">
                  <c:v>0.21405750798722045</c:v>
                </c:pt>
                <c:pt idx="45">
                  <c:v>0.24242424242424243</c:v>
                </c:pt>
                <c:pt idx="46">
                  <c:v>0.25</c:v>
                </c:pt>
                <c:pt idx="47">
                  <c:v>0.24054621848739496</c:v>
                </c:pt>
                <c:pt idx="48">
                  <c:v>0.2546419098143236</c:v>
                </c:pt>
                <c:pt idx="49">
                  <c:v>0.28771929824561404</c:v>
                </c:pt>
                <c:pt idx="50">
                  <c:v>0.2638164754953076</c:v>
                </c:pt>
                <c:pt idx="51">
                  <c:v>0.1826625386996904</c:v>
                </c:pt>
                <c:pt idx="52">
                  <c:v>0.23753976670201485</c:v>
                </c:pt>
                <c:pt idx="53">
                  <c:v>0.2085235920852359</c:v>
                </c:pt>
                <c:pt idx="54">
                  <c:v>0.1981651376146789</c:v>
                </c:pt>
                <c:pt idx="55">
                  <c:v>0.1731958762886598</c:v>
                </c:pt>
                <c:pt idx="56">
                  <c:v>0.19222462203023757</c:v>
                </c:pt>
                <c:pt idx="57">
                  <c:v>0.18216318785578747</c:v>
                </c:pt>
                <c:pt idx="58">
                  <c:v>0.2077922077922078</c:v>
                </c:pt>
                <c:pt idx="59">
                  <c:v>0.19924457034938622</c:v>
                </c:pt>
                <c:pt idx="60">
                  <c:v>0.22772277227722773</c:v>
                </c:pt>
                <c:pt idx="61">
                  <c:v>0.2062992125984252</c:v>
                </c:pt>
                <c:pt idx="62">
                  <c:v>0.23956723338485317</c:v>
                </c:pt>
                <c:pt idx="63">
                  <c:v>0.2437745740498034</c:v>
                </c:pt>
                <c:pt idx="64">
                  <c:v>0.2385542168674699</c:v>
                </c:pt>
                <c:pt idx="65">
                  <c:v>0.23667905824039653</c:v>
                </c:pt>
                <c:pt idx="66">
                  <c:v>0.2728512960436562</c:v>
                </c:pt>
                <c:pt idx="67">
                  <c:v>0.22727272727272727</c:v>
                </c:pt>
                <c:pt idx="68">
                  <c:v>0.22448979591836735</c:v>
                </c:pt>
                <c:pt idx="69">
                  <c:v>0.2097902097902098</c:v>
                </c:pt>
                <c:pt idx="70">
                  <c:v>0.2</c:v>
                </c:pt>
                <c:pt idx="71">
                  <c:v>0.1794871794871795</c:v>
                </c:pt>
                <c:pt idx="72">
                  <c:v>0.18156424581005587</c:v>
                </c:pt>
                <c:pt idx="73">
                  <c:v>0.21203438395415472</c:v>
                </c:pt>
                <c:pt idx="74">
                  <c:v>0.18673218673218672</c:v>
                </c:pt>
                <c:pt idx="75">
                  <c:v>0.22758620689655173</c:v>
                </c:pt>
                <c:pt idx="76">
                  <c:v>0.16996047430830039</c:v>
                </c:pt>
                <c:pt idx="77">
                  <c:v>0.21453287197231835</c:v>
                </c:pt>
                <c:pt idx="78">
                  <c:v>0.16589861751152074</c:v>
                </c:pt>
                <c:pt idx="79">
                  <c:v>0.1760797342192691</c:v>
                </c:pt>
                <c:pt idx="80">
                  <c:v>0.16610169491525423</c:v>
                </c:pt>
                <c:pt idx="81">
                  <c:v>0.13520408163265307</c:v>
                </c:pt>
                <c:pt idx="82">
                  <c:v>0.16483516483516483</c:v>
                </c:pt>
                <c:pt idx="83">
                  <c:v>0.1409090909090909</c:v>
                </c:pt>
                <c:pt idx="84">
                  <c:v>0.1712962962962963</c:v>
                </c:pt>
                <c:pt idx="85">
                  <c:v>0.21481481481481482</c:v>
                </c:pt>
                <c:pt idx="86">
                  <c:v>0.2379746835443038</c:v>
                </c:pt>
                <c:pt idx="87">
                  <c:v>0.2505175983436853</c:v>
                </c:pt>
                <c:pt idx="88">
                  <c:v>0.209375</c:v>
                </c:pt>
                <c:pt idx="89">
                  <c:v>0.20676691729323307</c:v>
                </c:pt>
                <c:pt idx="90">
                  <c:v>0.2</c:v>
                </c:pt>
                <c:pt idx="91">
                  <c:v>0.17406143344709898</c:v>
                </c:pt>
                <c:pt idx="92">
                  <c:v>0.20844327176781002</c:v>
                </c:pt>
                <c:pt idx="93">
                  <c:v>0.18877551020408162</c:v>
                </c:pt>
                <c:pt idx="94">
                  <c:v>0.178125</c:v>
                </c:pt>
                <c:pt idx="95">
                  <c:v>0.20867768595041322</c:v>
                </c:pt>
                <c:pt idx="96">
                  <c:v>0.20757180156657964</c:v>
                </c:pt>
                <c:pt idx="97">
                  <c:v>0.21851851851851853</c:v>
                </c:pt>
                <c:pt idx="98">
                  <c:v>0.2460093896713615</c:v>
                </c:pt>
                <c:pt idx="99">
                  <c:v>0.24093655589123866</c:v>
                </c:pt>
                <c:pt idx="100">
                  <c:v>0.28403875573686893</c:v>
                </c:pt>
                <c:pt idx="101">
                  <c:v>0.2930513595166163</c:v>
                </c:pt>
                <c:pt idx="102">
                  <c:v>0.21143847487001732</c:v>
                </c:pt>
                <c:pt idx="103">
                  <c:v>0.2050520059435364</c:v>
                </c:pt>
                <c:pt idx="104">
                  <c:v>0.22428330522765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0637</c:v>
                </c:pt>
                <c:pt idx="1">
                  <c:v>1226.5039</c:v>
                </c:pt>
                <c:pt idx="2">
                  <c:v>1204.6903</c:v>
                </c:pt>
                <c:pt idx="3">
                  <c:v>987.2841</c:v>
                </c:pt>
                <c:pt idx="4">
                  <c:v>1150.2923</c:v>
                </c:pt>
                <c:pt idx="5">
                  <c:v>1164.0853</c:v>
                </c:pt>
                <c:pt idx="6">
                  <c:v>1164.9524</c:v>
                </c:pt>
                <c:pt idx="7">
                  <c:v>1169.4787</c:v>
                </c:pt>
                <c:pt idx="8">
                  <c:v>1251.0649</c:v>
                </c:pt>
                <c:pt idx="9">
                  <c:v>1214.3182</c:v>
                </c:pt>
                <c:pt idx="10">
                  <c:v>1217.0594</c:v>
                </c:pt>
                <c:pt idx="11">
                  <c:v>1118.4415</c:v>
                </c:pt>
                <c:pt idx="12">
                  <c:v>1159.6038</c:v>
                </c:pt>
                <c:pt idx="13">
                  <c:v>1246.0694</c:v>
                </c:pt>
                <c:pt idx="14">
                  <c:v>1200.943</c:v>
                </c:pt>
                <c:pt idx="15">
                  <c:v>1275.3106</c:v>
                </c:pt>
                <c:pt idx="16">
                  <c:v>1350.2655</c:v>
                </c:pt>
                <c:pt idx="17">
                  <c:v>1317.5316</c:v>
                </c:pt>
                <c:pt idx="18">
                  <c:v>972.6154</c:v>
                </c:pt>
                <c:pt idx="19">
                  <c:v>1317.9206</c:v>
                </c:pt>
                <c:pt idx="20">
                  <c:v>1429.0204</c:v>
                </c:pt>
                <c:pt idx="21">
                  <c:v>1223.4483</c:v>
                </c:pt>
                <c:pt idx="22">
                  <c:v>1215.9655</c:v>
                </c:pt>
                <c:pt idx="23">
                  <c:v>1358.8889</c:v>
                </c:pt>
                <c:pt idx="24">
                  <c:v>1232.4054</c:v>
                </c:pt>
                <c:pt idx="25">
                  <c:v>1178.8649</c:v>
                </c:pt>
                <c:pt idx="26">
                  <c:v>1127.4286</c:v>
                </c:pt>
                <c:pt idx="27">
                  <c:v>1122.2885</c:v>
                </c:pt>
                <c:pt idx="28">
                  <c:v>1145.8023</c:v>
                </c:pt>
                <c:pt idx="29">
                  <c:v>1232.7547</c:v>
                </c:pt>
                <c:pt idx="30">
                  <c:v>1148.9259</c:v>
                </c:pt>
                <c:pt idx="31">
                  <c:v>921.6835</c:v>
                </c:pt>
                <c:pt idx="32">
                  <c:v>1113.7284</c:v>
                </c:pt>
                <c:pt idx="33">
                  <c:v>1173.2441</c:v>
                </c:pt>
                <c:pt idx="34">
                  <c:v>1195.8843</c:v>
                </c:pt>
                <c:pt idx="35">
                  <c:v>1256.8742</c:v>
                </c:pt>
                <c:pt idx="36">
                  <c:v>1287.0175</c:v>
                </c:pt>
                <c:pt idx="37">
                  <c:v>1344.0</c:v>
                </c:pt>
                <c:pt idx="38">
                  <c:v>1349.5909</c:v>
                </c:pt>
                <c:pt idx="39">
                  <c:v>1301.7653</c:v>
                </c:pt>
                <c:pt idx="40">
                  <c:v>1248.6154</c:v>
                </c:pt>
                <c:pt idx="41">
                  <c:v>1377.1618</c:v>
                </c:pt>
                <c:pt idx="42">
                  <c:v>1354.5283</c:v>
                </c:pt>
                <c:pt idx="43">
                  <c:v>1354.8523</c:v>
                </c:pt>
                <c:pt idx="44">
                  <c:v>1332.2258</c:v>
                </c:pt>
                <c:pt idx="45">
                  <c:v>1275.9172</c:v>
                </c:pt>
                <c:pt idx="46">
                  <c:v>1286.5045</c:v>
                </c:pt>
                <c:pt idx="47">
                  <c:v>1251.925</c:v>
                </c:pt>
                <c:pt idx="48">
                  <c:v>1240.3429</c:v>
                </c:pt>
                <c:pt idx="49">
                  <c:v>1256.0305</c:v>
                </c:pt>
                <c:pt idx="50">
                  <c:v>1103.8602</c:v>
                </c:pt>
                <c:pt idx="51">
                  <c:v>1105.86</c:v>
                </c:pt>
              </c:numCache>
            </c:numRef>
          </c:xVal>
          <c:yVal>
            <c:numRef>
              <c:f>Sheet1!$B$109:$B$160</c:f>
              <c:numCache>
                <c:formatCode>General</c:formatCode>
                <c:ptCount val="52"/>
                <c:pt idx="0">
                  <c:v>0.2528180354267311</c:v>
                </c:pt>
                <c:pt idx="1">
                  <c:v>0.2247787610619469</c:v>
                </c:pt>
                <c:pt idx="2">
                  <c:v>0.23846153846153847</c:v>
                </c:pt>
                <c:pt idx="3">
                  <c:v>0.29042904290429045</c:v>
                </c:pt>
                <c:pt idx="4">
                  <c:v>0.23853211009174313</c:v>
                </c:pt>
                <c:pt idx="5">
                  <c:v>0.26272912423625255</c:v>
                </c:pt>
                <c:pt idx="6">
                  <c:v>0.27171903881700554</c:v>
                </c:pt>
                <c:pt idx="7">
                  <c:v>0.24102564102564103</c:v>
                </c:pt>
                <c:pt idx="8">
                  <c:v>0.2655172413793103</c:v>
                </c:pt>
                <c:pt idx="9">
                  <c:v>0.2634730538922156</c:v>
                </c:pt>
                <c:pt idx="10">
                  <c:v>0.27977839335180055</c:v>
                </c:pt>
                <c:pt idx="11">
                  <c:v>0.29559748427672955</c:v>
                </c:pt>
                <c:pt idx="12">
                  <c:v>0.28804347826086957</c:v>
                </c:pt>
                <c:pt idx="13">
                  <c:v>0.2727272727272727</c:v>
                </c:pt>
                <c:pt idx="14">
                  <c:v>0.32712215320910976</c:v>
                </c:pt>
                <c:pt idx="15">
                  <c:v>0.28633405639913234</c:v>
                </c:pt>
                <c:pt idx="16">
                  <c:v>0.2677725118483412</c:v>
                </c:pt>
                <c:pt idx="17">
                  <c:v>0.2231638418079096</c:v>
                </c:pt>
                <c:pt idx="18">
                  <c:v>0.2689655172413793</c:v>
                </c:pt>
                <c:pt idx="19">
                  <c:v>0.21575342465753425</c:v>
                </c:pt>
                <c:pt idx="20">
                  <c:v>0.18846153846153846</c:v>
                </c:pt>
                <c:pt idx="21">
                  <c:v>0.17575757575757575</c:v>
                </c:pt>
                <c:pt idx="22">
                  <c:v>0.19333333333333333</c:v>
                </c:pt>
                <c:pt idx="23">
                  <c:v>0.17307692307692307</c:v>
                </c:pt>
                <c:pt idx="24">
                  <c:v>0.1796116504854369</c:v>
                </c:pt>
                <c:pt idx="25">
                  <c:v>0.18686868686868688</c:v>
                </c:pt>
                <c:pt idx="26">
                  <c:v>0.21120689655172414</c:v>
                </c:pt>
                <c:pt idx="27">
                  <c:v>0.1925925925925926</c:v>
                </c:pt>
                <c:pt idx="28">
                  <c:v>0.24157303370786518</c:v>
                </c:pt>
                <c:pt idx="29">
                  <c:v>0.21721311475409835</c:v>
                </c:pt>
                <c:pt idx="30">
                  <c:v>0.225</c:v>
                </c:pt>
                <c:pt idx="31">
                  <c:v>0.32644628099173556</c:v>
                </c:pt>
                <c:pt idx="32">
                  <c:v>0.2967032967032967</c:v>
                </c:pt>
                <c:pt idx="33">
                  <c:v>0.3182957393483709</c:v>
                </c:pt>
                <c:pt idx="34">
                  <c:v>0.3582089552238806</c:v>
                </c:pt>
                <c:pt idx="35">
                  <c:v>0.31069958847736623</c:v>
                </c:pt>
                <c:pt idx="36">
                  <c:v>0.2676056338028169</c:v>
                </c:pt>
                <c:pt idx="37">
                  <c:v>0.2074688796680498</c:v>
                </c:pt>
                <c:pt idx="38">
                  <c:v>0.19213973799126638</c:v>
                </c:pt>
                <c:pt idx="39">
                  <c:v>0.2692307692307692</c:v>
                </c:pt>
                <c:pt idx="40">
                  <c:v>0.21241830065359477</c:v>
                </c:pt>
                <c:pt idx="41">
                  <c:v>0.21794871794871795</c:v>
                </c:pt>
                <c:pt idx="42">
                  <c:v>0.20384615384615384</c:v>
                </c:pt>
                <c:pt idx="43">
                  <c:v>0.20754716981132076</c:v>
                </c:pt>
                <c:pt idx="44">
                  <c:v>0.17748091603053434</c:v>
                </c:pt>
                <c:pt idx="45">
                  <c:v>0.2186287192755498</c:v>
                </c:pt>
                <c:pt idx="46">
                  <c:v>0.20747663551401868</c:v>
                </c:pt>
                <c:pt idx="47">
                  <c:v>0.20797227036395147</c:v>
                </c:pt>
                <c:pt idx="48">
                  <c:v>0.2074074074074074</c:v>
                </c:pt>
                <c:pt idx="49">
                  <c:v>0.2303370786516854</c:v>
                </c:pt>
                <c:pt idx="50">
                  <c:v>0.30539887187751813</c:v>
                </c:pt>
                <c:pt idx="51">
                  <c:v>0.28129395218002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57.5005777725016</c:v>
                </c:pt>
              </c:numCache>
            </c:numRef>
          </c:xVal>
          <c:yVal>
            <c:numRef>
              <c:f>Sheet1!$B$163:$B$164</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57.5005777725016</c:v>
                </c:pt>
                <c:pt idx="1">
                  <c:v>1157.5005777725016</c:v>
                </c:pt>
              </c:numCache>
            </c:numRef>
          </c:xVal>
          <c:yVal>
            <c:numRef>
              <c:f>Sheet1!$B$167:$B$168</c:f>
              <c:numCache>
                <c:formatCode>General</c:formatCode>
                <c:ptCount val="2"/>
                <c:pt idx="0">
                  <c:v>0.257919253991646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7.5005777725016</c:v>
                </c:pt>
              </c:numCache>
            </c:numRef>
          </c:xVal>
          <c:yVal>
            <c:numRef>
              <c:f>Sheet1!$B$171:$B$172</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7.5005777725016</c:v>
                </c:pt>
                <c:pt idx="1">
                  <c:v>1157.5005777725016</c:v>
                </c:pt>
              </c:numCache>
            </c:numRef>
          </c:xVal>
          <c:yVal>
            <c:numRef>
              <c:f>Sheet1!$B$175:$B$176</c:f>
              <c:numCache>
                <c:formatCode>General</c:formatCode>
                <c:ptCount val="2"/>
                <c:pt idx="0">
                  <c:v>0.257919253991646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7.8860120211941</c:v>
                </c:pt>
              </c:numCache>
            </c:numRef>
          </c:xVal>
          <c:yVal>
            <c:numRef>
              <c:f>Sheet1!$B$179:$B$180</c:f>
              <c:numCache>
                <c:formatCode>General</c:formatCode>
                <c:ptCount val="2"/>
                <c:pt idx="0">
                  <c:v>0.22669130483009609</c:v>
                </c:pt>
                <c:pt idx="1">
                  <c:v>0.2266913048300960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7.8860120211941</c:v>
                </c:pt>
                <c:pt idx="1">
                  <c:v>1297.8860120211941</c:v>
                </c:pt>
              </c:numCache>
            </c:numRef>
          </c:xVal>
          <c:yVal>
            <c:numRef>
              <c:f>Sheet1!$B$183:$B$184</c:f>
              <c:numCache>
                <c:formatCode>General</c:formatCode>
                <c:ptCount val="2"/>
                <c:pt idx="0">
                  <c:v>0.2266913048300960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0637</c:v>
                </c:pt>
                <c:pt idx="1">
                  <c:v>1226.5039</c:v>
                </c:pt>
                <c:pt idx="2">
                  <c:v>1204.6903</c:v>
                </c:pt>
                <c:pt idx="3">
                  <c:v>987.2841</c:v>
                </c:pt>
                <c:pt idx="4">
                  <c:v>1150.2923</c:v>
                </c:pt>
                <c:pt idx="5">
                  <c:v>1164.0853</c:v>
                </c:pt>
                <c:pt idx="6">
                  <c:v>1164.9524</c:v>
                </c:pt>
                <c:pt idx="7">
                  <c:v>1169.4787</c:v>
                </c:pt>
                <c:pt idx="8">
                  <c:v>1251.0649</c:v>
                </c:pt>
                <c:pt idx="9">
                  <c:v>1214.3182</c:v>
                </c:pt>
                <c:pt idx="10">
                  <c:v>1217.0594</c:v>
                </c:pt>
                <c:pt idx="11">
                  <c:v>1118.4415</c:v>
                </c:pt>
                <c:pt idx="12">
                  <c:v>1159.6038</c:v>
                </c:pt>
                <c:pt idx="13">
                  <c:v>1246.0694</c:v>
                </c:pt>
                <c:pt idx="14">
                  <c:v>1200.943</c:v>
                </c:pt>
                <c:pt idx="15">
                  <c:v>1275.3106</c:v>
                </c:pt>
                <c:pt idx="16">
                  <c:v>1350.2655</c:v>
                </c:pt>
                <c:pt idx="17">
                  <c:v>1317.5316</c:v>
                </c:pt>
                <c:pt idx="18">
                  <c:v>972.6154</c:v>
                </c:pt>
                <c:pt idx="19">
                  <c:v>1317.9206</c:v>
                </c:pt>
                <c:pt idx="20">
                  <c:v>1429.0204</c:v>
                </c:pt>
                <c:pt idx="21">
                  <c:v>1223.4483</c:v>
                </c:pt>
                <c:pt idx="22">
                  <c:v>1215.9655</c:v>
                </c:pt>
                <c:pt idx="23">
                  <c:v>1358.8889</c:v>
                </c:pt>
                <c:pt idx="24">
                  <c:v>1232.4054</c:v>
                </c:pt>
                <c:pt idx="25">
                  <c:v>1178.8649</c:v>
                </c:pt>
                <c:pt idx="26">
                  <c:v>1127.4286</c:v>
                </c:pt>
                <c:pt idx="27">
                  <c:v>1122.2885</c:v>
                </c:pt>
                <c:pt idx="28">
                  <c:v>1145.8023</c:v>
                </c:pt>
                <c:pt idx="29">
                  <c:v>1232.7547</c:v>
                </c:pt>
                <c:pt idx="30">
                  <c:v>1148.9259</c:v>
                </c:pt>
                <c:pt idx="31">
                  <c:v>921.6835</c:v>
                </c:pt>
                <c:pt idx="32">
                  <c:v>1113.7284</c:v>
                </c:pt>
                <c:pt idx="33">
                  <c:v>1173.2441</c:v>
                </c:pt>
                <c:pt idx="34">
                  <c:v>1195.8843</c:v>
                </c:pt>
                <c:pt idx="35">
                  <c:v>1256.8742</c:v>
                </c:pt>
                <c:pt idx="36">
                  <c:v>1287.0175</c:v>
                </c:pt>
                <c:pt idx="37">
                  <c:v>1344.0</c:v>
                </c:pt>
                <c:pt idx="38">
                  <c:v>1349.5909</c:v>
                </c:pt>
                <c:pt idx="39">
                  <c:v>1301.7653</c:v>
                </c:pt>
                <c:pt idx="40">
                  <c:v>1248.6154</c:v>
                </c:pt>
                <c:pt idx="41">
                  <c:v>1377.1618</c:v>
                </c:pt>
                <c:pt idx="42">
                  <c:v>1354.5283</c:v>
                </c:pt>
                <c:pt idx="43">
                  <c:v>1354.8523</c:v>
                </c:pt>
                <c:pt idx="44">
                  <c:v>1332.2258</c:v>
                </c:pt>
                <c:pt idx="45">
                  <c:v>1275.9172</c:v>
                </c:pt>
                <c:pt idx="46">
                  <c:v>1286.5045</c:v>
                </c:pt>
                <c:pt idx="47">
                  <c:v>1251.925</c:v>
                </c:pt>
                <c:pt idx="48">
                  <c:v>1240.3429</c:v>
                </c:pt>
                <c:pt idx="49">
                  <c:v>1256.0305</c:v>
                </c:pt>
                <c:pt idx="50">
                  <c:v>1103.8602</c:v>
                </c:pt>
                <c:pt idx="51">
                  <c:v>1105.86</c:v>
                </c:pt>
                <c:pt idx="52">
                  <c:v>1157.5005777725016</c:v>
                </c:pt>
                <c:pt idx="53">
                  <c:v>1157.5005777725016</c:v>
                </c:pt>
                <c:pt idx="54">
                  <c:v>1297.8860120211941</c:v>
                </c:pt>
              </c:numCache>
            </c:numRef>
          </c:xVal>
          <c:yVal>
            <c:numRef>
              <c:f>Sheet1!$B$187:$B$241</c:f>
              <c:numCache>
                <c:formatCode>General</c:formatCode>
                <c:ptCount val="55"/>
                <c:pt idx="0">
                  <c:v>0.24711666097220314</c:v>
                </c:pt>
                <c:pt idx="1">
                  <c:v>0.24256985360669564</c:v>
                </c:pt>
                <c:pt idx="2">
                  <c:v>0.24742216606685918</c:v>
                </c:pt>
                <c:pt idx="3">
                  <c:v>0.2957829507689172</c:v>
                </c:pt>
                <c:pt idx="4">
                  <c:v>0.25952269478325524</c:v>
                </c:pt>
                <c:pt idx="5">
                  <c:v>0.2564545196189983</c:v>
                </c:pt>
                <c:pt idx="6">
                  <c:v>0.25626163810772973</c:v>
                </c:pt>
                <c:pt idx="7">
                  <c:v>0.2552547881660219</c:v>
                </c:pt>
                <c:pt idx="8">
                  <c:v>0.2371063974905993</c:v>
                </c:pt>
                <c:pt idx="9">
                  <c:v>0.24528049393868184</c:v>
                </c:pt>
                <c:pt idx="10">
                  <c:v>0.24467072943782914</c:v>
                </c:pt>
                <c:pt idx="11">
                  <c:v>0.26660772585131276</c:v>
                </c:pt>
                <c:pt idx="12">
                  <c:v>0.2574514040530313</c:v>
                </c:pt>
                <c:pt idx="13">
                  <c:v>0.23821761832965144</c:v>
                </c:pt>
                <c:pt idx="14">
                  <c:v>0.2482557318460965</c:v>
                </c:pt>
                <c:pt idx="15">
                  <c:v>0.23171307808365194</c:v>
                </c:pt>
                <c:pt idx="16">
                  <c:v>0.2150397827440329</c:v>
                </c:pt>
                <c:pt idx="17">
                  <c:v>0.22232125443324274</c:v>
                </c:pt>
                <c:pt idx="18">
                  <c:v>0.2990459204660053</c:v>
                </c:pt>
                <c:pt idx="19">
                  <c:v>0.22223472357419138</c:v>
                </c:pt>
                <c:pt idx="20">
                  <c:v>0.19752119880699653</c:v>
                </c:pt>
                <c:pt idx="21">
                  <c:v>0.24324955461676617</c:v>
                </c:pt>
                <c:pt idx="22">
                  <c:v>0.24491406133170146</c:v>
                </c:pt>
                <c:pt idx="23">
                  <c:v>0.21312155598325183</c:v>
                </c:pt>
                <c:pt idx="24">
                  <c:v>0.24125709817046975</c:v>
                </c:pt>
                <c:pt idx="25">
                  <c:v>0.25316688084152766</c:v>
                </c:pt>
                <c:pt idx="26">
                  <c:v>0.26460859607398407</c:v>
                </c:pt>
                <c:pt idx="27">
                  <c:v>0.26575198236861153</c:v>
                </c:pt>
                <c:pt idx="28">
                  <c:v>0.2605214699944141</c:v>
                </c:pt>
                <c:pt idx="29">
                  <c:v>0.24117939835281776</c:v>
                </c:pt>
                <c:pt idx="30">
                  <c:v>0.2598266427673371</c:v>
                </c:pt>
                <c:pt idx="31">
                  <c:v>0.31037543475937296</c:v>
                </c:pt>
                <c:pt idx="32">
                  <c:v>0.2676561284009147</c:v>
                </c:pt>
                <c:pt idx="33">
                  <c:v>0.2544171961437285</c:v>
                </c:pt>
                <c:pt idx="34">
                  <c:v>0.24938101116918987</c:v>
                </c:pt>
                <c:pt idx="35">
                  <c:v>0.23581415142507928</c:v>
                </c:pt>
                <c:pt idx="36">
                  <c:v>0.22910894411494032</c:v>
                </c:pt>
                <c:pt idx="37">
                  <c:v>0.21643350793011656</c:v>
                </c:pt>
                <c:pt idx="38">
                  <c:v>0.21518984371451128</c:v>
                </c:pt>
                <c:pt idx="39">
                  <c:v>0.22582837906836384</c:v>
                </c:pt>
                <c:pt idx="40">
                  <c:v>0.23765127496938188</c:v>
                </c:pt>
                <c:pt idx="41">
                  <c:v>0.20905685229595017</c:v>
                </c:pt>
                <c:pt idx="42">
                  <c:v>0.2140915468932249</c:v>
                </c:pt>
                <c:pt idx="43">
                  <c:v>0.2140194749180767</c:v>
                </c:pt>
                <c:pt idx="44">
                  <c:v>0.21905261240477725</c:v>
                </c:pt>
                <c:pt idx="45">
                  <c:v>0.23157814333018</c:v>
                </c:pt>
                <c:pt idx="46">
                  <c:v>0.22922305807559162</c:v>
                </c:pt>
                <c:pt idx="47">
                  <c:v>0.236915073089905</c:v>
                </c:pt>
                <c:pt idx="48">
                  <c:v>0.2394914460015225</c:v>
                </c:pt>
                <c:pt idx="49">
                  <c:v>0.2360018277381427</c:v>
                </c:pt>
                <c:pt idx="50">
                  <c:v>0.2698512539106602</c:v>
                </c:pt>
                <c:pt idx="51">
                  <c:v>0.26940640966405105</c:v>
                </c:pt>
                <c:pt idx="52">
                  <c:v>0.25791925399164684</c:v>
                </c:pt>
                <c:pt idx="53">
                  <c:v>0.25791925399164684</c:v>
                </c:pt>
                <c:pt idx="54">
                  <c:v>0.2266913048300960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9.0"/>
          <c:min val="69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985074626865666"/>
          <c:min val="0.108163265306122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641067481743407</c:v>
                </c:pt>
                <c:pt idx="1">
                  <c:v>2.945073215300503</c:v>
                </c:pt>
                <c:pt idx="2">
                  <c:v>3.1635000206741752</c:v>
                </c:pt>
                <c:pt idx="3">
                  <c:v>3.0873259297687263</c:v>
                </c:pt>
                <c:pt idx="4">
                  <c:v>3.078964177029622</c:v>
                </c:pt>
                <c:pt idx="5">
                  <c:v>2.4220500487419465</c:v>
                </c:pt>
                <c:pt idx="6">
                  <c:v>2.0469039252615477</c:v>
                </c:pt>
                <c:pt idx="7">
                  <c:v>2.1344150719619033</c:v>
                </c:pt>
                <c:pt idx="8">
                  <c:v>2.1242349071357625</c:v>
                </c:pt>
                <c:pt idx="9">
                  <c:v>2.265402275044789</c:v>
                </c:pt>
                <c:pt idx="10">
                  <c:v>2.152128227232494</c:v>
                </c:pt>
                <c:pt idx="11">
                  <c:v>2.2252675454781943</c:v>
                </c:pt>
                <c:pt idx="12">
                  <c:v>2.3200909874333386</c:v>
                </c:pt>
                <c:pt idx="13">
                  <c:v>2.144322523219334</c:v>
                </c:pt>
                <c:pt idx="14">
                  <c:v>2.2188912101308786</c:v>
                </c:pt>
                <c:pt idx="15">
                  <c:v>2.244674290991773</c:v>
                </c:pt>
                <c:pt idx="16">
                  <c:v>2.185909887908427</c:v>
                </c:pt>
                <c:pt idx="17">
                  <c:v>2.95975362419366</c:v>
                </c:pt>
                <c:pt idx="18">
                  <c:v>3.116639915884944</c:v>
                </c:pt>
                <c:pt idx="19">
                  <c:v>3.3390444075841246</c:v>
                </c:pt>
                <c:pt idx="20">
                  <c:v>3.224549070506658</c:v>
                </c:pt>
                <c:pt idx="21">
                  <c:v>3.153527390445993</c:v>
                </c:pt>
                <c:pt idx="22">
                  <c:v>3.299813885163463</c:v>
                </c:pt>
                <c:pt idx="23">
                  <c:v>3.4249505638471898</c:v>
                </c:pt>
                <c:pt idx="24">
                  <c:v>2.9687770472275767</c:v>
                </c:pt>
                <c:pt idx="25">
                  <c:v>2.85003265063461</c:v>
                </c:pt>
                <c:pt idx="26">
                  <c:v>2.277504117685617</c:v>
                </c:pt>
                <c:pt idx="27">
                  <c:v>2.3347133224726724</c:v>
                </c:pt>
                <c:pt idx="28">
                  <c:v>2.150328895975971</c:v>
                </c:pt>
                <c:pt idx="29">
                  <c:v>2.148751898111192</c:v>
                </c:pt>
                <c:pt idx="30">
                  <c:v>2.1249659633070292</c:v>
                </c:pt>
                <c:pt idx="31">
                  <c:v>2.099487473635165</c:v>
                </c:pt>
                <c:pt idx="32">
                  <c:v>1.9527085234916817</c:v>
                </c:pt>
                <c:pt idx="33">
                  <c:v>1.9967284446344948</c:v>
                </c:pt>
                <c:pt idx="34">
                  <c:v>2.159235422826057</c:v>
                </c:pt>
                <c:pt idx="35">
                  <c:v>2.1642430247530764</c:v>
                </c:pt>
                <c:pt idx="36">
                  <c:v>2.3887066438661946</c:v>
                </c:pt>
                <c:pt idx="37">
                  <c:v>2.282534879482467</c:v>
                </c:pt>
                <c:pt idx="38">
                  <c:v>2.626942915815515</c:v>
                </c:pt>
                <c:pt idx="39">
                  <c:v>2.5087276429333385</c:v>
                </c:pt>
                <c:pt idx="40">
                  <c:v>2.650777932307853</c:v>
                </c:pt>
                <c:pt idx="41">
                  <c:v>2.7154592282454515</c:v>
                </c:pt>
                <c:pt idx="42">
                  <c:v>2.735273796242935</c:v>
                </c:pt>
                <c:pt idx="43">
                  <c:v>2.8128020053377023</c:v>
                </c:pt>
                <c:pt idx="44">
                  <c:v>2.394143757725191</c:v>
                </c:pt>
                <c:pt idx="45">
                  <c:v>2.398551795098403</c:v>
                </c:pt>
                <c:pt idx="46">
                  <c:v>2.394092029009163</c:v>
                </c:pt>
                <c:pt idx="47">
                  <c:v>2.399151075775327</c:v>
                </c:pt>
                <c:pt idx="48">
                  <c:v>2.402442360527204</c:v>
                </c:pt>
                <c:pt idx="49">
                  <c:v>2.344081498546469</c:v>
                </c:pt>
                <c:pt idx="50">
                  <c:v>2.315699938043943</c:v>
                </c:pt>
                <c:pt idx="51">
                  <c:v>2.4088680290985995</c:v>
                </c:pt>
                <c:pt idx="52">
                  <c:v>2.3169960462604866</c:v>
                </c:pt>
                <c:pt idx="53">
                  <c:v>2.5383257204664376</c:v>
                </c:pt>
                <c:pt idx="54">
                  <c:v>2.6269686961412515</c:v>
                </c:pt>
                <c:pt idx="55">
                  <c:v>2.6701911242717595</c:v>
                </c:pt>
                <c:pt idx="56">
                  <c:v>2.756298423651567</c:v>
                </c:pt>
                <c:pt idx="57">
                  <c:v>2.749114650679539</c:v>
                </c:pt>
                <c:pt idx="58">
                  <c:v>2.4366378929306665</c:v>
                </c:pt>
                <c:pt idx="59">
                  <c:v>2.5323504051168855</c:v>
                </c:pt>
                <c:pt idx="60">
                  <c:v>2.612106994527247</c:v>
                </c:pt>
                <c:pt idx="61">
                  <c:v>2.561849164612278</c:v>
                </c:pt>
                <c:pt idx="62">
                  <c:v>2.501086378250846</c:v>
                </c:pt>
                <c:pt idx="63">
                  <c:v>2.6078464300100337</c:v>
                </c:pt>
                <c:pt idx="64">
                  <c:v>2.6601263154395935</c:v>
                </c:pt>
                <c:pt idx="65">
                  <c:v>2.5427626280666042</c:v>
                </c:pt>
                <c:pt idx="66">
                  <c:v>2.5309782431093875</c:v>
                </c:pt>
                <c:pt idx="67">
                  <c:v>2.7584756464072147</c:v>
                </c:pt>
                <c:pt idx="68">
                  <c:v>2.73918346340981</c:v>
                </c:pt>
                <c:pt idx="69">
                  <c:v>2.7114682151827547</c:v>
                </c:pt>
                <c:pt idx="70">
                  <c:v>2.5662600920358822</c:v>
                </c:pt>
                <c:pt idx="71">
                  <c:v>2.8895177743318494</c:v>
                </c:pt>
                <c:pt idx="72">
                  <c:v>3.0087029030978267</c:v>
                </c:pt>
                <c:pt idx="73">
                  <c:v>2.845189369749963</c:v>
                </c:pt>
                <c:pt idx="74">
                  <c:v>2.8070246421636638</c:v>
                </c:pt>
                <c:pt idx="75">
                  <c:v>2.941866365067749</c:v>
                </c:pt>
                <c:pt idx="76">
                  <c:v>3.286779605081957</c:v>
                </c:pt>
                <c:pt idx="77">
                  <c:v>3.0899957546963672</c:v>
                </c:pt>
                <c:pt idx="78">
                  <c:v>2.9531694815296605</c:v>
                </c:pt>
                <c:pt idx="79">
                  <c:v>3.481885669650715</c:v>
                </c:pt>
                <c:pt idx="80">
                  <c:v>3.328580907104923</c:v>
                </c:pt>
                <c:pt idx="81">
                  <c:v>3.519991512992931</c:v>
                </c:pt>
                <c:pt idx="82">
                  <c:v>3.3071065989847717</c:v>
                </c:pt>
                <c:pt idx="83">
                  <c:v>3.387057951130782</c:v>
                </c:pt>
                <c:pt idx="84">
                  <c:v>3.298995871310482</c:v>
                </c:pt>
                <c:pt idx="85">
                  <c:v>2.921623876373717</c:v>
                </c:pt>
                <c:pt idx="86">
                  <c:v>2.8028048225704447</c:v>
                </c:pt>
                <c:pt idx="87">
                  <c:v>2.8288934697207915</c:v>
                </c:pt>
                <c:pt idx="88">
                  <c:v>2.7084551052469035</c:v>
                </c:pt>
                <c:pt idx="89">
                  <c:v>2.5704414538274842</c:v>
                </c:pt>
                <c:pt idx="90">
                  <c:v>2.6390603675741726</c:v>
                </c:pt>
                <c:pt idx="91">
                  <c:v>3.0710997966016063</c:v>
                </c:pt>
                <c:pt idx="92">
                  <c:v>2.8512276268049193</c:v>
                </c:pt>
                <c:pt idx="93">
                  <c:v>2.7887523247942236</c:v>
                </c:pt>
                <c:pt idx="94">
                  <c:v>2.789368509198054</c:v>
                </c:pt>
                <c:pt idx="95">
                  <c:v>2.6576277178428973</c:v>
                </c:pt>
                <c:pt idx="96">
                  <c:v>2.559785494693291</c:v>
                </c:pt>
                <c:pt idx="97">
                  <c:v>2.4894309449636554</c:v>
                </c:pt>
                <c:pt idx="98">
                  <c:v>2.5304086961574086</c:v>
                </c:pt>
                <c:pt idx="99">
                  <c:v>2.775704567683416</c:v>
                </c:pt>
                <c:pt idx="100">
                  <c:v>2.2289897224847715</c:v>
                </c:pt>
                <c:pt idx="101">
                  <c:v>2.208115674776407</c:v>
                </c:pt>
                <c:pt idx="102">
                  <c:v>2.3413868861993046</c:v>
                </c:pt>
                <c:pt idx="103">
                  <c:v>2.3027169737310547</c:v>
                </c:pt>
                <c:pt idx="104">
                  <c:v>2.2521503483590237</c:v>
                </c:pt>
              </c:numCache>
            </c:numRef>
          </c:xVal>
          <c:yVal>
            <c:numRef>
              <c:f>Sheet1!$B$2:$B$106</c:f>
              <c:numCache>
                <c:formatCode>General</c:formatCode>
                <c:ptCount val="105"/>
                <c:pt idx="0">
                  <c:v>0.1413953488372093</c:v>
                </c:pt>
                <c:pt idx="1">
                  <c:v>0.16924778761061948</c:v>
                </c:pt>
                <c:pt idx="2">
                  <c:v>0.15829694323144106</c:v>
                </c:pt>
                <c:pt idx="3">
                  <c:v>0.16806722689075632</c:v>
                </c:pt>
                <c:pt idx="4">
                  <c:v>0.17174515235457063</c:v>
                </c:pt>
                <c:pt idx="5">
                  <c:v>0.19224555735056542</c:v>
                </c:pt>
                <c:pt idx="6">
                  <c:v>0.22686025408348456</c:v>
                </c:pt>
                <c:pt idx="7">
                  <c:v>0.23488372093023255</c:v>
                </c:pt>
                <c:pt idx="8">
                  <c:v>0.23008849557522124</c:v>
                </c:pt>
                <c:pt idx="9">
                  <c:v>0.23234200743494424</c:v>
                </c:pt>
                <c:pt idx="10">
                  <c:v>0.2421602787456446</c:v>
                </c:pt>
                <c:pt idx="11">
                  <c:v>0.23316912972085385</c:v>
                </c:pt>
                <c:pt idx="12">
                  <c:v>0.21823204419889503</c:v>
                </c:pt>
                <c:pt idx="13">
                  <c:v>0.2323856613102596</c:v>
                </c:pt>
                <c:pt idx="14">
                  <c:v>0.20787746170678337</c:v>
                </c:pt>
                <c:pt idx="15">
                  <c:v>0.1951219512195122</c:v>
                </c:pt>
                <c:pt idx="16">
                  <c:v>0.23244147157190637</c:v>
                </c:pt>
                <c:pt idx="17">
                  <c:v>0.18538324420677363</c:v>
                </c:pt>
                <c:pt idx="18">
                  <c:v>0.1524547803617571</c:v>
                </c:pt>
                <c:pt idx="19">
                  <c:v>0.14901960784313725</c:v>
                </c:pt>
                <c:pt idx="20">
                  <c:v>0.18541033434650456</c:v>
                </c:pt>
                <c:pt idx="21">
                  <c:v>0.19387755102040816</c:v>
                </c:pt>
                <c:pt idx="22">
                  <c:v>0.19004524886877827</c:v>
                </c:pt>
                <c:pt idx="23">
                  <c:v>0.1795774647887324</c:v>
                </c:pt>
                <c:pt idx="24">
                  <c:v>0.16326530612244897</c:v>
                </c:pt>
                <c:pt idx="25">
                  <c:v>0.17417417417417416</c:v>
                </c:pt>
                <c:pt idx="26">
                  <c:v>0.20448179271708683</c:v>
                </c:pt>
                <c:pt idx="27">
                  <c:v>0.18686868686868688</c:v>
                </c:pt>
                <c:pt idx="28">
                  <c:v>0.2025</c:v>
                </c:pt>
                <c:pt idx="29">
                  <c:v>0.23773584905660378</c:v>
                </c:pt>
                <c:pt idx="30">
                  <c:v>0.23415977961432508</c:v>
                </c:pt>
                <c:pt idx="31">
                  <c:v>0.2485207100591716</c:v>
                </c:pt>
                <c:pt idx="32">
                  <c:v>0.3055555555555556</c:v>
                </c:pt>
                <c:pt idx="33">
                  <c:v>0.33408071748878926</c:v>
                </c:pt>
                <c:pt idx="34">
                  <c:v>0.3203252032520325</c:v>
                </c:pt>
                <c:pt idx="35">
                  <c:v>0.29303547963206306</c:v>
                </c:pt>
                <c:pt idx="36">
                  <c:v>0.20722433460076045</c:v>
                </c:pt>
                <c:pt idx="37">
                  <c:v>0.20544554455445543</c:v>
                </c:pt>
                <c:pt idx="38">
                  <c:v>0.18527315914489312</c:v>
                </c:pt>
                <c:pt idx="39">
                  <c:v>0.1610738255033557</c:v>
                </c:pt>
                <c:pt idx="40">
                  <c:v>0.19343696027633853</c:v>
                </c:pt>
                <c:pt idx="41">
                  <c:v>0.1475054229934924</c:v>
                </c:pt>
                <c:pt idx="42">
                  <c:v>0.1553030303030303</c:v>
                </c:pt>
                <c:pt idx="43">
                  <c:v>0.18530884808013356</c:v>
                </c:pt>
                <c:pt idx="44">
                  <c:v>0.21405750798722045</c:v>
                </c:pt>
                <c:pt idx="45">
                  <c:v>0.24242424242424243</c:v>
                </c:pt>
                <c:pt idx="46">
                  <c:v>0.25</c:v>
                </c:pt>
                <c:pt idx="47">
                  <c:v>0.24054621848739496</c:v>
                </c:pt>
                <c:pt idx="48">
                  <c:v>0.2546419098143236</c:v>
                </c:pt>
                <c:pt idx="49">
                  <c:v>0.28771929824561404</c:v>
                </c:pt>
                <c:pt idx="50">
                  <c:v>0.2638164754953076</c:v>
                </c:pt>
                <c:pt idx="51">
                  <c:v>0.1826625386996904</c:v>
                </c:pt>
                <c:pt idx="52">
                  <c:v>0.23753976670201485</c:v>
                </c:pt>
                <c:pt idx="53">
                  <c:v>0.2085235920852359</c:v>
                </c:pt>
                <c:pt idx="54">
                  <c:v>0.1981651376146789</c:v>
                </c:pt>
                <c:pt idx="55">
                  <c:v>0.1731958762886598</c:v>
                </c:pt>
                <c:pt idx="56">
                  <c:v>0.19222462203023757</c:v>
                </c:pt>
                <c:pt idx="57">
                  <c:v>0.18216318785578747</c:v>
                </c:pt>
                <c:pt idx="58">
                  <c:v>0.2077922077922078</c:v>
                </c:pt>
                <c:pt idx="59">
                  <c:v>0.19924457034938622</c:v>
                </c:pt>
                <c:pt idx="60">
                  <c:v>0.22772277227722773</c:v>
                </c:pt>
                <c:pt idx="61">
                  <c:v>0.2062992125984252</c:v>
                </c:pt>
                <c:pt idx="62">
                  <c:v>0.23956723338485317</c:v>
                </c:pt>
                <c:pt idx="63">
                  <c:v>0.2437745740498034</c:v>
                </c:pt>
                <c:pt idx="64">
                  <c:v>0.2385542168674699</c:v>
                </c:pt>
                <c:pt idx="65">
                  <c:v>0.23667905824039653</c:v>
                </c:pt>
                <c:pt idx="66">
                  <c:v>0.2728512960436562</c:v>
                </c:pt>
                <c:pt idx="67">
                  <c:v>0.22727272727272727</c:v>
                </c:pt>
                <c:pt idx="68">
                  <c:v>0.22448979591836735</c:v>
                </c:pt>
                <c:pt idx="69">
                  <c:v>0.2097902097902098</c:v>
                </c:pt>
                <c:pt idx="70">
                  <c:v>0.2</c:v>
                </c:pt>
                <c:pt idx="71">
                  <c:v>0.1794871794871795</c:v>
                </c:pt>
                <c:pt idx="72">
                  <c:v>0.18156424581005587</c:v>
                </c:pt>
                <c:pt idx="73">
                  <c:v>0.21203438395415472</c:v>
                </c:pt>
                <c:pt idx="74">
                  <c:v>0.18673218673218672</c:v>
                </c:pt>
                <c:pt idx="75">
                  <c:v>0.22758620689655173</c:v>
                </c:pt>
                <c:pt idx="76">
                  <c:v>0.16996047430830039</c:v>
                </c:pt>
                <c:pt idx="77">
                  <c:v>0.21453287197231835</c:v>
                </c:pt>
                <c:pt idx="78">
                  <c:v>0.16589861751152074</c:v>
                </c:pt>
                <c:pt idx="79">
                  <c:v>0.1760797342192691</c:v>
                </c:pt>
                <c:pt idx="80">
                  <c:v>0.16610169491525423</c:v>
                </c:pt>
                <c:pt idx="81">
                  <c:v>0.13520408163265307</c:v>
                </c:pt>
                <c:pt idx="82">
                  <c:v>0.16483516483516483</c:v>
                </c:pt>
                <c:pt idx="83">
                  <c:v>0.1409090909090909</c:v>
                </c:pt>
                <c:pt idx="84">
                  <c:v>0.1712962962962963</c:v>
                </c:pt>
                <c:pt idx="85">
                  <c:v>0.21481481481481482</c:v>
                </c:pt>
                <c:pt idx="86">
                  <c:v>0.2379746835443038</c:v>
                </c:pt>
                <c:pt idx="87">
                  <c:v>0.2505175983436853</c:v>
                </c:pt>
                <c:pt idx="88">
                  <c:v>0.209375</c:v>
                </c:pt>
                <c:pt idx="89">
                  <c:v>0.20676691729323307</c:v>
                </c:pt>
                <c:pt idx="90">
                  <c:v>0.2</c:v>
                </c:pt>
                <c:pt idx="91">
                  <c:v>0.17406143344709898</c:v>
                </c:pt>
                <c:pt idx="92">
                  <c:v>0.20844327176781002</c:v>
                </c:pt>
                <c:pt idx="93">
                  <c:v>0.18877551020408162</c:v>
                </c:pt>
                <c:pt idx="94">
                  <c:v>0.178125</c:v>
                </c:pt>
                <c:pt idx="95">
                  <c:v>0.20867768595041322</c:v>
                </c:pt>
                <c:pt idx="96">
                  <c:v>0.20757180156657964</c:v>
                </c:pt>
                <c:pt idx="97">
                  <c:v>0.21851851851851853</c:v>
                </c:pt>
                <c:pt idx="98">
                  <c:v>0.2460093896713615</c:v>
                </c:pt>
                <c:pt idx="99">
                  <c:v>0.24093655589123866</c:v>
                </c:pt>
                <c:pt idx="100">
                  <c:v>0.28403875573686893</c:v>
                </c:pt>
                <c:pt idx="101">
                  <c:v>0.2930513595166163</c:v>
                </c:pt>
                <c:pt idx="102">
                  <c:v>0.21143847487001732</c:v>
                </c:pt>
                <c:pt idx="103">
                  <c:v>0.2050520059435364</c:v>
                </c:pt>
                <c:pt idx="104">
                  <c:v>0.22428330522765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1868443779762674</c:v>
                </c:pt>
                <c:pt idx="1">
                  <c:v>2.168473309475783</c:v>
                </c:pt>
                <c:pt idx="2">
                  <c:v>2.070555694391975</c:v>
                </c:pt>
                <c:pt idx="3">
                  <c:v>1.7073551651654506</c:v>
                </c:pt>
                <c:pt idx="4">
                  <c:v>1.911550124144404</c:v>
                </c:pt>
                <c:pt idx="5">
                  <c:v>1.8296102288464067</c:v>
                </c:pt>
                <c:pt idx="6">
                  <c:v>1.9197058857456422</c:v>
                </c:pt>
                <c:pt idx="7">
                  <c:v>1.905593748691357</c:v>
                </c:pt>
                <c:pt idx="8">
                  <c:v>1.9629680419962365</c:v>
                </c:pt>
                <c:pt idx="9">
                  <c:v>1.9401999799639766</c:v>
                </c:pt>
                <c:pt idx="10">
                  <c:v>1.980395851557944</c:v>
                </c:pt>
                <c:pt idx="11">
                  <c:v>1.8786234890441211</c:v>
                </c:pt>
                <c:pt idx="12">
                  <c:v>2.037968014059754</c:v>
                </c:pt>
                <c:pt idx="13">
                  <c:v>2.0728287579490052</c:v>
                </c:pt>
                <c:pt idx="14">
                  <c:v>2.0242053184347446</c:v>
                </c:pt>
                <c:pt idx="15">
                  <c:v>2.163490164285117</c:v>
                </c:pt>
                <c:pt idx="16">
                  <c:v>2.2237998947278967</c:v>
                </c:pt>
                <c:pt idx="17">
                  <c:v>2.190438743917002</c:v>
                </c:pt>
                <c:pt idx="18">
                  <c:v>1.5854412309584205</c:v>
                </c:pt>
                <c:pt idx="19">
                  <c:v>2.1299010877694937</c:v>
                </c:pt>
                <c:pt idx="20">
                  <c:v>2.2718925278219397</c:v>
                </c:pt>
                <c:pt idx="21">
                  <c:v>2.0891758019674773</c:v>
                </c:pt>
                <c:pt idx="22">
                  <c:v>1.988264166702367</c:v>
                </c:pt>
                <c:pt idx="23">
                  <c:v>2.244772383110729</c:v>
                </c:pt>
                <c:pt idx="24">
                  <c:v>1.9683588185490652</c:v>
                </c:pt>
                <c:pt idx="25">
                  <c:v>1.9615056572379368</c:v>
                </c:pt>
                <c:pt idx="26">
                  <c:v>1.798811098035111</c:v>
                </c:pt>
                <c:pt idx="27">
                  <c:v>1.8080678382791362</c:v>
                </c:pt>
                <c:pt idx="28">
                  <c:v>1.8060803532331737</c:v>
                </c:pt>
                <c:pt idx="29">
                  <c:v>1.9175991610039826</c:v>
                </c:pt>
                <c:pt idx="30">
                  <c:v>1.748312442518049</c:v>
                </c:pt>
                <c:pt idx="31">
                  <c:v>1.4433523017159866</c:v>
                </c:pt>
                <c:pt idx="32">
                  <c:v>1.7566034587345143</c:v>
                </c:pt>
                <c:pt idx="33">
                  <c:v>1.8013967209117683</c:v>
                </c:pt>
                <c:pt idx="34">
                  <c:v>1.8672076159463091</c:v>
                </c:pt>
                <c:pt idx="35">
                  <c:v>1.9617815446088531</c:v>
                </c:pt>
                <c:pt idx="36">
                  <c:v>2.0174351365018492</c:v>
                </c:pt>
                <c:pt idx="37">
                  <c:v>2.1504</c:v>
                </c:pt>
                <c:pt idx="38">
                  <c:v>2.1319877728981704</c:v>
                </c:pt>
                <c:pt idx="39">
                  <c:v>2.1012400842971943</c:v>
                </c:pt>
                <c:pt idx="40">
                  <c:v>1.9974116832904958</c:v>
                </c:pt>
                <c:pt idx="41">
                  <c:v>2.1345140753656886</c:v>
                </c:pt>
                <c:pt idx="42">
                  <c:v>2.0913267720516884</c:v>
                </c:pt>
                <c:pt idx="43">
                  <c:v>2.081702117590733</c:v>
                </c:pt>
                <c:pt idx="44">
                  <c:v>2.0795914576370667</c:v>
                </c:pt>
                <c:pt idx="45">
                  <c:v>2.023714524805435</c:v>
                </c:pt>
                <c:pt idx="46">
                  <c:v>2.0450044047317406</c:v>
                </c:pt>
                <c:pt idx="47">
                  <c:v>2.0202169345954313</c:v>
                </c:pt>
                <c:pt idx="48">
                  <c:v>1.9466750643519983</c:v>
                </c:pt>
                <c:pt idx="49">
                  <c:v>2.040009361726456</c:v>
                </c:pt>
                <c:pt idx="50">
                  <c:v>1.8056256287366381</c:v>
                </c:pt>
                <c:pt idx="51">
                  <c:v>1.8532455929988723</c:v>
                </c:pt>
              </c:numCache>
            </c:numRef>
          </c:xVal>
          <c:yVal>
            <c:numRef>
              <c:f>Sheet1!$B$109:$B$160</c:f>
              <c:numCache>
                <c:formatCode>General</c:formatCode>
                <c:ptCount val="52"/>
                <c:pt idx="0">
                  <c:v>0.2528180354267311</c:v>
                </c:pt>
                <c:pt idx="1">
                  <c:v>0.2247787610619469</c:v>
                </c:pt>
                <c:pt idx="2">
                  <c:v>0.23846153846153847</c:v>
                </c:pt>
                <c:pt idx="3">
                  <c:v>0.29042904290429045</c:v>
                </c:pt>
                <c:pt idx="4">
                  <c:v>0.23853211009174313</c:v>
                </c:pt>
                <c:pt idx="5">
                  <c:v>0.26272912423625255</c:v>
                </c:pt>
                <c:pt idx="6">
                  <c:v>0.27171903881700554</c:v>
                </c:pt>
                <c:pt idx="7">
                  <c:v>0.24102564102564103</c:v>
                </c:pt>
                <c:pt idx="8">
                  <c:v>0.2655172413793103</c:v>
                </c:pt>
                <c:pt idx="9">
                  <c:v>0.2634730538922156</c:v>
                </c:pt>
                <c:pt idx="10">
                  <c:v>0.27977839335180055</c:v>
                </c:pt>
                <c:pt idx="11">
                  <c:v>0.29559748427672955</c:v>
                </c:pt>
                <c:pt idx="12">
                  <c:v>0.28804347826086957</c:v>
                </c:pt>
                <c:pt idx="13">
                  <c:v>0.2727272727272727</c:v>
                </c:pt>
                <c:pt idx="14">
                  <c:v>0.32712215320910976</c:v>
                </c:pt>
                <c:pt idx="15">
                  <c:v>0.28633405639913234</c:v>
                </c:pt>
                <c:pt idx="16">
                  <c:v>0.2677725118483412</c:v>
                </c:pt>
                <c:pt idx="17">
                  <c:v>0.2231638418079096</c:v>
                </c:pt>
                <c:pt idx="18">
                  <c:v>0.2689655172413793</c:v>
                </c:pt>
                <c:pt idx="19">
                  <c:v>0.21575342465753425</c:v>
                </c:pt>
                <c:pt idx="20">
                  <c:v>0.18846153846153846</c:v>
                </c:pt>
                <c:pt idx="21">
                  <c:v>0.17575757575757575</c:v>
                </c:pt>
                <c:pt idx="22">
                  <c:v>0.19333333333333333</c:v>
                </c:pt>
                <c:pt idx="23">
                  <c:v>0.17307692307692307</c:v>
                </c:pt>
                <c:pt idx="24">
                  <c:v>0.1796116504854369</c:v>
                </c:pt>
                <c:pt idx="25">
                  <c:v>0.18686868686868688</c:v>
                </c:pt>
                <c:pt idx="26">
                  <c:v>0.21120689655172414</c:v>
                </c:pt>
                <c:pt idx="27">
                  <c:v>0.1925925925925926</c:v>
                </c:pt>
                <c:pt idx="28">
                  <c:v>0.24157303370786518</c:v>
                </c:pt>
                <c:pt idx="29">
                  <c:v>0.21721311475409835</c:v>
                </c:pt>
                <c:pt idx="30">
                  <c:v>0.225</c:v>
                </c:pt>
                <c:pt idx="31">
                  <c:v>0.32644628099173556</c:v>
                </c:pt>
                <c:pt idx="32">
                  <c:v>0.2967032967032967</c:v>
                </c:pt>
                <c:pt idx="33">
                  <c:v>0.3182957393483709</c:v>
                </c:pt>
                <c:pt idx="34">
                  <c:v>0.3582089552238806</c:v>
                </c:pt>
                <c:pt idx="35">
                  <c:v>0.31069958847736623</c:v>
                </c:pt>
                <c:pt idx="36">
                  <c:v>0.2676056338028169</c:v>
                </c:pt>
                <c:pt idx="37">
                  <c:v>0.2074688796680498</c:v>
                </c:pt>
                <c:pt idx="38">
                  <c:v>0.19213973799126638</c:v>
                </c:pt>
                <c:pt idx="39">
                  <c:v>0.2692307692307692</c:v>
                </c:pt>
                <c:pt idx="40">
                  <c:v>0.21241830065359477</c:v>
                </c:pt>
                <c:pt idx="41">
                  <c:v>0.21794871794871795</c:v>
                </c:pt>
                <c:pt idx="42">
                  <c:v>0.20384615384615384</c:v>
                </c:pt>
                <c:pt idx="43">
                  <c:v>0.20754716981132076</c:v>
                </c:pt>
                <c:pt idx="44">
                  <c:v>0.17748091603053434</c:v>
                </c:pt>
                <c:pt idx="45">
                  <c:v>0.2186287192755498</c:v>
                </c:pt>
                <c:pt idx="46">
                  <c:v>0.20747663551401868</c:v>
                </c:pt>
                <c:pt idx="47">
                  <c:v>0.20797227036395147</c:v>
                </c:pt>
                <c:pt idx="48">
                  <c:v>0.2074074074074074</c:v>
                </c:pt>
                <c:pt idx="49">
                  <c:v>0.2303370786516854</c:v>
                </c:pt>
                <c:pt idx="50">
                  <c:v>0.30539887187751813</c:v>
                </c:pt>
                <c:pt idx="51">
                  <c:v>0.28129395218002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631824285390275</c:v>
                </c:pt>
              </c:numCache>
            </c:numRef>
          </c:xVal>
          <c:yVal>
            <c:numRef>
              <c:f>Sheet1!$B$163:$B$164</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631824285390275</c:v>
                </c:pt>
                <c:pt idx="1">
                  <c:v>1.8631824285390275</c:v>
                </c:pt>
              </c:numCache>
            </c:numRef>
          </c:xVal>
          <c:yVal>
            <c:numRef>
              <c:f>Sheet1!$B$167:$B$168</c:f>
              <c:numCache>
                <c:formatCode>General</c:formatCode>
                <c:ptCount val="2"/>
                <c:pt idx="0">
                  <c:v>0.257919253991646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631824285390275</c:v>
                </c:pt>
              </c:numCache>
            </c:numRef>
          </c:xVal>
          <c:yVal>
            <c:numRef>
              <c:f>Sheet1!$B$171:$B$172</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631824285390275</c:v>
                </c:pt>
                <c:pt idx="1">
                  <c:v>1.8631824285390275</c:v>
                </c:pt>
              </c:numCache>
            </c:numRef>
          </c:xVal>
          <c:yVal>
            <c:numRef>
              <c:f>Sheet1!$B$175:$B$176</c:f>
              <c:numCache>
                <c:formatCode>General</c:formatCode>
                <c:ptCount val="2"/>
                <c:pt idx="0">
                  <c:v>0.257919253991646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18810143150608</c:v>
                </c:pt>
              </c:numCache>
            </c:numRef>
          </c:xVal>
          <c:yVal>
            <c:numRef>
              <c:f>Sheet1!$B$179:$B$180</c:f>
              <c:numCache>
                <c:formatCode>General</c:formatCode>
                <c:ptCount val="2"/>
                <c:pt idx="0">
                  <c:v>0.22669130483009609</c:v>
                </c:pt>
                <c:pt idx="1">
                  <c:v>0.2266913048300960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18810143150608</c:v>
                </c:pt>
                <c:pt idx="1">
                  <c:v>2.118810143150608</c:v>
                </c:pt>
              </c:numCache>
            </c:numRef>
          </c:xVal>
          <c:yVal>
            <c:numRef>
              <c:f>Sheet1!$B$183:$B$184</c:f>
              <c:numCache>
                <c:formatCode>General</c:formatCode>
                <c:ptCount val="2"/>
                <c:pt idx="0">
                  <c:v>0.2266913048300960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1868443779762674</c:v>
                </c:pt>
                <c:pt idx="1">
                  <c:v>2.168473309475783</c:v>
                </c:pt>
                <c:pt idx="2">
                  <c:v>2.070555694391975</c:v>
                </c:pt>
                <c:pt idx="3">
                  <c:v>1.7073551651654506</c:v>
                </c:pt>
                <c:pt idx="4">
                  <c:v>1.911550124144404</c:v>
                </c:pt>
                <c:pt idx="5">
                  <c:v>1.8296102288464067</c:v>
                </c:pt>
                <c:pt idx="6">
                  <c:v>1.9197058857456422</c:v>
                </c:pt>
                <c:pt idx="7">
                  <c:v>1.905593748691357</c:v>
                </c:pt>
                <c:pt idx="8">
                  <c:v>1.9629680419962365</c:v>
                </c:pt>
                <c:pt idx="9">
                  <c:v>1.9401999799639766</c:v>
                </c:pt>
                <c:pt idx="10">
                  <c:v>1.980395851557944</c:v>
                </c:pt>
                <c:pt idx="11">
                  <c:v>1.8786234890441211</c:v>
                </c:pt>
                <c:pt idx="12">
                  <c:v>2.037968014059754</c:v>
                </c:pt>
                <c:pt idx="13">
                  <c:v>2.0728287579490052</c:v>
                </c:pt>
                <c:pt idx="14">
                  <c:v>2.0242053184347446</c:v>
                </c:pt>
                <c:pt idx="15">
                  <c:v>2.163490164285117</c:v>
                </c:pt>
                <c:pt idx="16">
                  <c:v>2.2237998947278967</c:v>
                </c:pt>
                <c:pt idx="17">
                  <c:v>2.190438743917002</c:v>
                </c:pt>
                <c:pt idx="18">
                  <c:v>1.5854412309584205</c:v>
                </c:pt>
                <c:pt idx="19">
                  <c:v>2.1299010877694937</c:v>
                </c:pt>
                <c:pt idx="20">
                  <c:v>2.2718925278219397</c:v>
                </c:pt>
                <c:pt idx="21">
                  <c:v>2.0891758019674773</c:v>
                </c:pt>
                <c:pt idx="22">
                  <c:v>1.988264166702367</c:v>
                </c:pt>
                <c:pt idx="23">
                  <c:v>2.244772383110729</c:v>
                </c:pt>
                <c:pt idx="24">
                  <c:v>1.9683588185490652</c:v>
                </c:pt>
                <c:pt idx="25">
                  <c:v>1.9615056572379368</c:v>
                </c:pt>
                <c:pt idx="26">
                  <c:v>1.798811098035111</c:v>
                </c:pt>
                <c:pt idx="27">
                  <c:v>1.8080678382791362</c:v>
                </c:pt>
                <c:pt idx="28">
                  <c:v>1.8060803532331737</c:v>
                </c:pt>
                <c:pt idx="29">
                  <c:v>1.9175991610039826</c:v>
                </c:pt>
                <c:pt idx="30">
                  <c:v>1.748312442518049</c:v>
                </c:pt>
                <c:pt idx="31">
                  <c:v>1.4433523017159866</c:v>
                </c:pt>
                <c:pt idx="32">
                  <c:v>1.7566034587345143</c:v>
                </c:pt>
                <c:pt idx="33">
                  <c:v>1.8013967209117683</c:v>
                </c:pt>
                <c:pt idx="34">
                  <c:v>1.8672076159463091</c:v>
                </c:pt>
                <c:pt idx="35">
                  <c:v>1.9617815446088531</c:v>
                </c:pt>
                <c:pt idx="36">
                  <c:v>2.0174351365018492</c:v>
                </c:pt>
                <c:pt idx="37">
                  <c:v>2.1504</c:v>
                </c:pt>
                <c:pt idx="38">
                  <c:v>2.1319877728981704</c:v>
                </c:pt>
                <c:pt idx="39">
                  <c:v>2.1012400842971943</c:v>
                </c:pt>
                <c:pt idx="40">
                  <c:v>1.9974116832904958</c:v>
                </c:pt>
                <c:pt idx="41">
                  <c:v>2.1345140753656886</c:v>
                </c:pt>
                <c:pt idx="42">
                  <c:v>2.0913267720516884</c:v>
                </c:pt>
                <c:pt idx="43">
                  <c:v>2.081702117590733</c:v>
                </c:pt>
                <c:pt idx="44">
                  <c:v>2.0795914576370667</c:v>
                </c:pt>
                <c:pt idx="45">
                  <c:v>2.023714524805435</c:v>
                </c:pt>
                <c:pt idx="46">
                  <c:v>2.0450044047317406</c:v>
                </c:pt>
                <c:pt idx="47">
                  <c:v>2.0202169345954313</c:v>
                </c:pt>
                <c:pt idx="48">
                  <c:v>1.9466750643519983</c:v>
                </c:pt>
                <c:pt idx="49">
                  <c:v>2.040009361726456</c:v>
                </c:pt>
                <c:pt idx="50">
                  <c:v>1.8056256287366381</c:v>
                </c:pt>
                <c:pt idx="51">
                  <c:v>1.8532455929988723</c:v>
                </c:pt>
                <c:pt idx="52">
                  <c:v>1.8631824285390275</c:v>
                </c:pt>
                <c:pt idx="53">
                  <c:v>1.8631824285390275</c:v>
                </c:pt>
                <c:pt idx="54">
                  <c:v>2.118810143150608</c:v>
                </c:pt>
              </c:numCache>
            </c:numRef>
          </c:xVal>
          <c:yVal>
            <c:numRef>
              <c:f>Sheet1!$B$187:$B$241</c:f>
              <c:numCache>
                <c:formatCode>General</c:formatCode>
                <c:ptCount val="55"/>
                <c:pt idx="0">
                  <c:v>0.21838011826877618</c:v>
                </c:pt>
                <c:pt idx="1">
                  <c:v>0.22062436159758814</c:v>
                </c:pt>
                <c:pt idx="2">
                  <c:v>0.23258615654812254</c:v>
                </c:pt>
                <c:pt idx="3">
                  <c:v>0.2769553974943482</c:v>
                </c:pt>
                <c:pt idx="4">
                  <c:v>0.25201056783169307</c:v>
                </c:pt>
                <c:pt idx="5">
                  <c:v>0.26202049530984894</c:v>
                </c:pt>
                <c:pt idx="6">
                  <c:v>0.25101424507754966</c:v>
                </c:pt>
                <c:pt idx="7">
                  <c:v>0.2527382095512832</c:v>
                </c:pt>
                <c:pt idx="8">
                  <c:v>0.24572926094323772</c:v>
                </c:pt>
                <c:pt idx="9">
                  <c:v>0.24851064904401854</c:v>
                </c:pt>
                <c:pt idx="10">
                  <c:v>0.24360024785161288</c:v>
                </c:pt>
                <c:pt idx="11">
                  <c:v>0.25603294579855373</c:v>
                </c:pt>
                <c:pt idx="12">
                  <c:v>0.23656712718056647</c:v>
                </c:pt>
                <c:pt idx="13">
                  <c:v>0.23230847494654905</c:v>
                </c:pt>
                <c:pt idx="14">
                  <c:v>0.23824840325016922</c:v>
                </c:pt>
                <c:pt idx="15">
                  <c:v>0.22123311172828192</c:v>
                </c:pt>
                <c:pt idx="16">
                  <c:v>0.2138655647505387</c:v>
                </c:pt>
                <c:pt idx="17">
                  <c:v>0.21794102395133946</c:v>
                </c:pt>
                <c:pt idx="18">
                  <c:v>0.29184862667838485</c:v>
                </c:pt>
                <c:pt idx="19">
                  <c:v>0.22533641475004978</c:v>
                </c:pt>
                <c:pt idx="20">
                  <c:v>0.20799048073006038</c:v>
                </c:pt>
                <c:pt idx="21">
                  <c:v>0.2303114901504124</c:v>
                </c:pt>
                <c:pt idx="22">
                  <c:v>0.2426390400823753</c:v>
                </c:pt>
                <c:pt idx="23">
                  <c:v>0.21130352721088674</c:v>
                </c:pt>
                <c:pt idx="24">
                  <c:v>0.24507071381978202</c:v>
                </c:pt>
                <c:pt idx="25">
                  <c:v>0.24590790854002198</c:v>
                </c:pt>
                <c:pt idx="26">
                  <c:v>0.265782973461549</c:v>
                </c:pt>
                <c:pt idx="27">
                  <c:v>0.2646521531427063</c:v>
                </c:pt>
                <c:pt idx="28">
                  <c:v>0.26489494795104296</c:v>
                </c:pt>
                <c:pt idx="29">
                  <c:v>0.2512716064252028</c:v>
                </c:pt>
                <c:pt idx="30">
                  <c:v>0.2719519815818526</c:v>
                </c:pt>
                <c:pt idx="31">
                  <c:v>0.3092064701561315</c:v>
                </c:pt>
                <c:pt idx="32">
                  <c:v>0.2709391358765315</c:v>
                </c:pt>
                <c:pt idx="33">
                  <c:v>0.26546710904181703</c:v>
                </c:pt>
                <c:pt idx="34">
                  <c:v>0.2574275297358818</c:v>
                </c:pt>
                <c:pt idx="35">
                  <c:v>0.2458742056341912</c:v>
                </c:pt>
                <c:pt idx="36">
                  <c:v>0.23907546105779448</c:v>
                </c:pt>
                <c:pt idx="37">
                  <c:v>0.22283223013933962</c:v>
                </c:pt>
                <c:pt idx="38">
                  <c:v>0.22508150147817124</c:v>
                </c:pt>
                <c:pt idx="39">
                  <c:v>0.22883769535537052</c:v>
                </c:pt>
                <c:pt idx="40">
                  <c:v>0.2415215627251076</c:v>
                </c:pt>
                <c:pt idx="41">
                  <c:v>0.22477288374811705</c:v>
                </c:pt>
                <c:pt idx="42">
                  <c:v>0.23004872371078822</c:v>
                </c:pt>
                <c:pt idx="43">
                  <c:v>0.23122448910328836</c:v>
                </c:pt>
                <c:pt idx="44">
                  <c:v>0.2314823311836378</c:v>
                </c:pt>
                <c:pt idx="45">
                  <c:v>0.23830835949759013</c:v>
                </c:pt>
                <c:pt idx="46">
                  <c:v>0.2357075488264765</c:v>
                </c:pt>
                <c:pt idx="47">
                  <c:v>0.23873563151475735</c:v>
                </c:pt>
                <c:pt idx="48">
                  <c:v>0.2477196408922102</c:v>
                </c:pt>
                <c:pt idx="49">
                  <c:v>0.23631775241596525</c:v>
                </c:pt>
                <c:pt idx="50">
                  <c:v>0.2649504979272336</c:v>
                </c:pt>
                <c:pt idx="51">
                  <c:v>0.25913315599576314</c:v>
                </c:pt>
                <c:pt idx="52">
                  <c:v>0.25791925399164684</c:v>
                </c:pt>
                <c:pt idx="53">
                  <c:v>0.25791925399164684</c:v>
                </c:pt>
                <c:pt idx="54">
                  <c:v>0.2266913048300960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985074626865666"/>
          <c:min val="0.108163265306122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5395</c:v>
                </c:pt>
                <c:pt idx="1">
                  <c:v>961.8562</c:v>
                </c:pt>
                <c:pt idx="2">
                  <c:v>1025.2138</c:v>
                </c:pt>
                <c:pt idx="3">
                  <c:v>1024.1929</c:v>
                </c:pt>
                <c:pt idx="4">
                  <c:v>1027.2419</c:v>
                </c:pt>
                <c:pt idx="5">
                  <c:v>1013.4538</c:v>
                </c:pt>
                <c:pt idx="6">
                  <c:v>954.336</c:v>
                </c:pt>
                <c:pt idx="7">
                  <c:v>995.5644</c:v>
                </c:pt>
                <c:pt idx="8">
                  <c:v>1012.6026</c:v>
                </c:pt>
                <c:pt idx="9">
                  <c:v>1000.84</c:v>
                </c:pt>
                <c:pt idx="10">
                  <c:v>989.3525</c:v>
                </c:pt>
                <c:pt idx="11">
                  <c:v>1029.9366</c:v>
                </c:pt>
                <c:pt idx="12">
                  <c:v>1079.3228</c:v>
                </c:pt>
                <c:pt idx="13">
                  <c:v>1001.9362</c:v>
                </c:pt>
                <c:pt idx="14">
                  <c:v>1032.9105</c:v>
                </c:pt>
                <c:pt idx="15">
                  <c:v>1034.8889</c:v>
                </c:pt>
                <c:pt idx="16">
                  <c:v>1017.1583</c:v>
                </c:pt>
                <c:pt idx="17">
                  <c:v>1066.7692</c:v>
                </c:pt>
                <c:pt idx="18">
                  <c:v>1117.4915</c:v>
                </c:pt>
                <c:pt idx="19">
                  <c:v>1174.0</c:v>
                </c:pt>
                <c:pt idx="20">
                  <c:v>1189.0328</c:v>
                </c:pt>
                <c:pt idx="21">
                  <c:v>1175.9737</c:v>
                </c:pt>
                <c:pt idx="22">
                  <c:v>1218.4048</c:v>
                </c:pt>
                <c:pt idx="23">
                  <c:v>1182.9608</c:v>
                </c:pt>
                <c:pt idx="24">
                  <c:v>1011.875</c:v>
                </c:pt>
                <c:pt idx="25">
                  <c:v>950.1379</c:v>
                </c:pt>
                <c:pt idx="26">
                  <c:v>979.8219</c:v>
                </c:pt>
                <c:pt idx="27">
                  <c:v>1047.1892</c:v>
                </c:pt>
                <c:pt idx="28">
                  <c:v>973.0864</c:v>
                </c:pt>
                <c:pt idx="29">
                  <c:v>966.627</c:v>
                </c:pt>
                <c:pt idx="30">
                  <c:v>975.4941</c:v>
                </c:pt>
                <c:pt idx="31">
                  <c:v>975.0952</c:v>
                </c:pt>
                <c:pt idx="32">
                  <c:v>944.3068</c:v>
                </c:pt>
                <c:pt idx="33">
                  <c:v>957.2416</c:v>
                </c:pt>
                <c:pt idx="34">
                  <c:v>1006.4721</c:v>
                </c:pt>
                <c:pt idx="35">
                  <c:v>1010.6502</c:v>
                </c:pt>
                <c:pt idx="36">
                  <c:v>1113.4495</c:v>
                </c:pt>
                <c:pt idx="37">
                  <c:v>1072.0482</c:v>
                </c:pt>
                <c:pt idx="38">
                  <c:v>1218.4615</c:v>
                </c:pt>
                <c:pt idx="39">
                  <c:v>1175.1806</c:v>
                </c:pt>
                <c:pt idx="40">
                  <c:v>1240.9821</c:v>
                </c:pt>
                <c:pt idx="41">
                  <c:v>1267.8824</c:v>
                </c:pt>
                <c:pt idx="42">
                  <c:v>1293.3537</c:v>
                </c:pt>
                <c:pt idx="43">
                  <c:v>1326.8018</c:v>
                </c:pt>
                <c:pt idx="44">
                  <c:v>1120.5323</c:v>
                </c:pt>
                <c:pt idx="45">
                  <c:v>1120.3362</c:v>
                </c:pt>
                <c:pt idx="46">
                  <c:v>1114.7333</c:v>
                </c:pt>
                <c:pt idx="47">
                  <c:v>1097.8297</c:v>
                </c:pt>
                <c:pt idx="48">
                  <c:v>1121.4661</c:v>
                </c:pt>
                <c:pt idx="49">
                  <c:v>1097.2683</c:v>
                </c:pt>
                <c:pt idx="50">
                  <c:v>1085.0395</c:v>
                </c:pt>
                <c:pt idx="51">
                  <c:v>1132.6695</c:v>
                </c:pt>
                <c:pt idx="52">
                  <c:v>1095.5179</c:v>
                </c:pt>
                <c:pt idx="53">
                  <c:v>1191.219</c:v>
                </c:pt>
                <c:pt idx="54">
                  <c:v>1234.9259</c:v>
                </c:pt>
                <c:pt idx="55">
                  <c:v>1260.7262</c:v>
                </c:pt>
                <c:pt idx="56">
                  <c:v>1291.1348</c:v>
                </c:pt>
                <c:pt idx="57">
                  <c:v>1286.0625</c:v>
                </c:pt>
                <c:pt idx="58">
                  <c:v>1149.3984</c:v>
                </c:pt>
                <c:pt idx="59">
                  <c:v>1149.1991</c:v>
                </c:pt>
                <c:pt idx="60">
                  <c:v>1194.0918</c:v>
                </c:pt>
                <c:pt idx="61">
                  <c:v>1205.5496</c:v>
                </c:pt>
                <c:pt idx="62">
                  <c:v>1135.3419</c:v>
                </c:pt>
                <c:pt idx="63">
                  <c:v>1164.6989</c:v>
                </c:pt>
                <c:pt idx="64">
                  <c:v>1216.4747</c:v>
                </c:pt>
                <c:pt idx="65">
                  <c:v>1182.4398</c:v>
                </c:pt>
                <c:pt idx="66">
                  <c:v>1169.5</c:v>
                </c:pt>
                <c:pt idx="67">
                  <c:v>1279.0133</c:v>
                </c:pt>
                <c:pt idx="68">
                  <c:v>1251.843</c:v>
                </c:pt>
                <c:pt idx="69">
                  <c:v>1293.6</c:v>
                </c:pt>
                <c:pt idx="70">
                  <c:v>1193.013</c:v>
                </c:pt>
                <c:pt idx="71">
                  <c:v>1347.0536</c:v>
                </c:pt>
                <c:pt idx="72">
                  <c:v>1355.9538</c:v>
                </c:pt>
                <c:pt idx="73">
                  <c:v>1303.1892</c:v>
                </c:pt>
                <c:pt idx="74">
                  <c:v>1264.0526</c:v>
                </c:pt>
                <c:pt idx="75">
                  <c:v>1326.5758</c:v>
                </c:pt>
                <c:pt idx="76">
                  <c:v>1330.5814</c:v>
                </c:pt>
                <c:pt idx="77">
                  <c:v>1187.871</c:v>
                </c:pt>
                <c:pt idx="78">
                  <c:v>1095.1389</c:v>
                </c:pt>
                <c:pt idx="79">
                  <c:v>1238.3208</c:v>
                </c:pt>
                <c:pt idx="80">
                  <c:v>1282.7755</c:v>
                </c:pt>
                <c:pt idx="81">
                  <c:v>1320.566</c:v>
                </c:pt>
                <c:pt idx="82">
                  <c:v>1303.0</c:v>
                </c:pt>
                <c:pt idx="83">
                  <c:v>1310.9032</c:v>
                </c:pt>
                <c:pt idx="84">
                  <c:v>1302.8378</c:v>
                </c:pt>
                <c:pt idx="85">
                  <c:v>1250.5862</c:v>
                </c:pt>
                <c:pt idx="86">
                  <c:v>1282.117</c:v>
                </c:pt>
                <c:pt idx="87">
                  <c:v>1294.2479</c:v>
                </c:pt>
                <c:pt idx="88">
                  <c:v>1272.5224</c:v>
                </c:pt>
                <c:pt idx="89">
                  <c:v>1206.8364</c:v>
                </c:pt>
                <c:pt idx="90">
                  <c:v>1280.3214</c:v>
                </c:pt>
                <c:pt idx="91">
                  <c:v>1449.1961</c:v>
                </c:pt>
                <c:pt idx="92">
                  <c:v>1315.4937</c:v>
                </c:pt>
                <c:pt idx="93">
                  <c:v>1336.7703</c:v>
                </c:pt>
                <c:pt idx="94">
                  <c:v>1337.0877</c:v>
                </c:pt>
                <c:pt idx="95">
                  <c:v>1306.5347</c:v>
                </c:pt>
                <c:pt idx="96">
                  <c:v>1270.195</c:v>
                </c:pt>
                <c:pt idx="97">
                  <c:v>1198.661</c:v>
                </c:pt>
                <c:pt idx="98">
                  <c:v>1184.5916</c:v>
                </c:pt>
                <c:pt idx="99">
                  <c:v>1138.8652</c:v>
                </c:pt>
                <c:pt idx="100">
                  <c:v>1108.6266</c:v>
                </c:pt>
                <c:pt idx="101">
                  <c:v>1123.6701</c:v>
                </c:pt>
                <c:pt idx="102">
                  <c:v>1186.041</c:v>
                </c:pt>
                <c:pt idx="103">
                  <c:v>1124.7826</c:v>
                </c:pt>
                <c:pt idx="104">
                  <c:v>1173.8872</c:v>
                </c:pt>
              </c:numCache>
            </c:numRef>
          </c:xVal>
          <c:yVal>
            <c:numRef>
              <c:f>Sheet1!$B$2:$B$106</c:f>
              <c:numCache>
                <c:formatCode>General</c:formatCode>
                <c:ptCount val="105"/>
                <c:pt idx="0">
                  <c:v>0.1413953488372093</c:v>
                </c:pt>
                <c:pt idx="1">
                  <c:v>0.16924778761061948</c:v>
                </c:pt>
                <c:pt idx="2">
                  <c:v>0.15829694323144106</c:v>
                </c:pt>
                <c:pt idx="3">
                  <c:v>0.16806722689075632</c:v>
                </c:pt>
                <c:pt idx="4">
                  <c:v>0.17174515235457063</c:v>
                </c:pt>
                <c:pt idx="5">
                  <c:v>0.19224555735056542</c:v>
                </c:pt>
                <c:pt idx="6">
                  <c:v>0.22686025408348456</c:v>
                </c:pt>
                <c:pt idx="7">
                  <c:v>0.23488372093023255</c:v>
                </c:pt>
                <c:pt idx="8">
                  <c:v>0.23008849557522124</c:v>
                </c:pt>
                <c:pt idx="9">
                  <c:v>0.23234200743494424</c:v>
                </c:pt>
                <c:pt idx="10">
                  <c:v>0.2421602787456446</c:v>
                </c:pt>
                <c:pt idx="11">
                  <c:v>0.23316912972085385</c:v>
                </c:pt>
                <c:pt idx="12">
                  <c:v>0.21823204419889503</c:v>
                </c:pt>
                <c:pt idx="13">
                  <c:v>0.2323856613102596</c:v>
                </c:pt>
                <c:pt idx="14">
                  <c:v>0.20787746170678337</c:v>
                </c:pt>
                <c:pt idx="15">
                  <c:v>0.1951219512195122</c:v>
                </c:pt>
                <c:pt idx="16">
                  <c:v>0.23244147157190637</c:v>
                </c:pt>
                <c:pt idx="17">
                  <c:v>0.18538324420677363</c:v>
                </c:pt>
                <c:pt idx="18">
                  <c:v>0.1524547803617571</c:v>
                </c:pt>
                <c:pt idx="19">
                  <c:v>0.14901960784313725</c:v>
                </c:pt>
                <c:pt idx="20">
                  <c:v>0.18541033434650456</c:v>
                </c:pt>
                <c:pt idx="21">
                  <c:v>0.19387755102040816</c:v>
                </c:pt>
                <c:pt idx="22">
                  <c:v>0.19004524886877827</c:v>
                </c:pt>
                <c:pt idx="23">
                  <c:v>0.1795774647887324</c:v>
                </c:pt>
                <c:pt idx="24">
                  <c:v>0.16326530612244897</c:v>
                </c:pt>
                <c:pt idx="25">
                  <c:v>0.17417417417417416</c:v>
                </c:pt>
                <c:pt idx="26">
                  <c:v>0.20448179271708683</c:v>
                </c:pt>
                <c:pt idx="27">
                  <c:v>0.18686868686868688</c:v>
                </c:pt>
                <c:pt idx="28">
                  <c:v>0.2025</c:v>
                </c:pt>
                <c:pt idx="29">
                  <c:v>0.23773584905660378</c:v>
                </c:pt>
                <c:pt idx="30">
                  <c:v>0.23415977961432508</c:v>
                </c:pt>
                <c:pt idx="31">
                  <c:v>0.2485207100591716</c:v>
                </c:pt>
                <c:pt idx="32">
                  <c:v>0.3055555555555556</c:v>
                </c:pt>
                <c:pt idx="33">
                  <c:v>0.33408071748878926</c:v>
                </c:pt>
                <c:pt idx="34">
                  <c:v>0.3203252032520325</c:v>
                </c:pt>
                <c:pt idx="35">
                  <c:v>0.29303547963206306</c:v>
                </c:pt>
                <c:pt idx="36">
                  <c:v>0.20722433460076045</c:v>
                </c:pt>
                <c:pt idx="37">
                  <c:v>0.20544554455445543</c:v>
                </c:pt>
                <c:pt idx="38">
                  <c:v>0.18527315914489312</c:v>
                </c:pt>
                <c:pt idx="39">
                  <c:v>0.1610738255033557</c:v>
                </c:pt>
                <c:pt idx="40">
                  <c:v>0.19343696027633853</c:v>
                </c:pt>
                <c:pt idx="41">
                  <c:v>0.1475054229934924</c:v>
                </c:pt>
                <c:pt idx="42">
                  <c:v>0.1553030303030303</c:v>
                </c:pt>
                <c:pt idx="43">
                  <c:v>0.18530884808013356</c:v>
                </c:pt>
                <c:pt idx="44">
                  <c:v>0.21405750798722045</c:v>
                </c:pt>
                <c:pt idx="45">
                  <c:v>0.24242424242424243</c:v>
                </c:pt>
                <c:pt idx="46">
                  <c:v>0.25</c:v>
                </c:pt>
                <c:pt idx="47">
                  <c:v>0.24054621848739496</c:v>
                </c:pt>
                <c:pt idx="48">
                  <c:v>0.2546419098143236</c:v>
                </c:pt>
                <c:pt idx="49">
                  <c:v>0.28771929824561404</c:v>
                </c:pt>
                <c:pt idx="50">
                  <c:v>0.2638164754953076</c:v>
                </c:pt>
                <c:pt idx="51">
                  <c:v>0.1826625386996904</c:v>
                </c:pt>
                <c:pt idx="52">
                  <c:v>0.23753976670201485</c:v>
                </c:pt>
                <c:pt idx="53">
                  <c:v>0.2085235920852359</c:v>
                </c:pt>
                <c:pt idx="54">
                  <c:v>0.1981651376146789</c:v>
                </c:pt>
                <c:pt idx="55">
                  <c:v>0.1731958762886598</c:v>
                </c:pt>
                <c:pt idx="56">
                  <c:v>0.19222462203023757</c:v>
                </c:pt>
                <c:pt idx="57">
                  <c:v>0.18216318785578747</c:v>
                </c:pt>
                <c:pt idx="58">
                  <c:v>0.2077922077922078</c:v>
                </c:pt>
                <c:pt idx="59">
                  <c:v>0.19924457034938622</c:v>
                </c:pt>
                <c:pt idx="60">
                  <c:v>0.22772277227722773</c:v>
                </c:pt>
                <c:pt idx="61">
                  <c:v>0.2062992125984252</c:v>
                </c:pt>
                <c:pt idx="62">
                  <c:v>0.23956723338485317</c:v>
                </c:pt>
                <c:pt idx="63">
                  <c:v>0.2437745740498034</c:v>
                </c:pt>
                <c:pt idx="64">
                  <c:v>0.2385542168674699</c:v>
                </c:pt>
                <c:pt idx="65">
                  <c:v>0.23667905824039653</c:v>
                </c:pt>
                <c:pt idx="66">
                  <c:v>0.2728512960436562</c:v>
                </c:pt>
                <c:pt idx="67">
                  <c:v>0.22727272727272727</c:v>
                </c:pt>
                <c:pt idx="68">
                  <c:v>0.22448979591836735</c:v>
                </c:pt>
                <c:pt idx="69">
                  <c:v>0.2097902097902098</c:v>
                </c:pt>
                <c:pt idx="70">
                  <c:v>0.2</c:v>
                </c:pt>
                <c:pt idx="71">
                  <c:v>0.1794871794871795</c:v>
                </c:pt>
                <c:pt idx="72">
                  <c:v>0.18156424581005587</c:v>
                </c:pt>
                <c:pt idx="73">
                  <c:v>0.21203438395415472</c:v>
                </c:pt>
                <c:pt idx="74">
                  <c:v>0.18673218673218672</c:v>
                </c:pt>
                <c:pt idx="75">
                  <c:v>0.22758620689655173</c:v>
                </c:pt>
                <c:pt idx="76">
                  <c:v>0.16996047430830039</c:v>
                </c:pt>
                <c:pt idx="77">
                  <c:v>0.21453287197231835</c:v>
                </c:pt>
                <c:pt idx="78">
                  <c:v>0.16589861751152074</c:v>
                </c:pt>
                <c:pt idx="79">
                  <c:v>0.1760797342192691</c:v>
                </c:pt>
                <c:pt idx="80">
                  <c:v>0.16610169491525423</c:v>
                </c:pt>
                <c:pt idx="81">
                  <c:v>0.13520408163265307</c:v>
                </c:pt>
                <c:pt idx="82">
                  <c:v>0.16483516483516483</c:v>
                </c:pt>
                <c:pt idx="83">
                  <c:v>0.1409090909090909</c:v>
                </c:pt>
                <c:pt idx="84">
                  <c:v>0.1712962962962963</c:v>
                </c:pt>
                <c:pt idx="85">
                  <c:v>0.21481481481481482</c:v>
                </c:pt>
                <c:pt idx="86">
                  <c:v>0.2379746835443038</c:v>
                </c:pt>
                <c:pt idx="87">
                  <c:v>0.2505175983436853</c:v>
                </c:pt>
                <c:pt idx="88">
                  <c:v>0.209375</c:v>
                </c:pt>
                <c:pt idx="89">
                  <c:v>0.20676691729323307</c:v>
                </c:pt>
                <c:pt idx="90">
                  <c:v>0.2</c:v>
                </c:pt>
                <c:pt idx="91">
                  <c:v>0.17406143344709898</c:v>
                </c:pt>
                <c:pt idx="92">
                  <c:v>0.20844327176781002</c:v>
                </c:pt>
                <c:pt idx="93">
                  <c:v>0.18877551020408162</c:v>
                </c:pt>
                <c:pt idx="94">
                  <c:v>0.178125</c:v>
                </c:pt>
                <c:pt idx="95">
                  <c:v>0.20867768595041322</c:v>
                </c:pt>
                <c:pt idx="96">
                  <c:v>0.20757180156657964</c:v>
                </c:pt>
                <c:pt idx="97">
                  <c:v>0.21851851851851853</c:v>
                </c:pt>
                <c:pt idx="98">
                  <c:v>0.2460093896713615</c:v>
                </c:pt>
                <c:pt idx="99">
                  <c:v>0.24093655589123866</c:v>
                </c:pt>
                <c:pt idx="100">
                  <c:v>0.28403875573686893</c:v>
                </c:pt>
                <c:pt idx="101">
                  <c:v>0.2930513595166163</c:v>
                </c:pt>
                <c:pt idx="102">
                  <c:v>0.21143847487001732</c:v>
                </c:pt>
                <c:pt idx="103">
                  <c:v>0.2050520059435364</c:v>
                </c:pt>
                <c:pt idx="104">
                  <c:v>0.22428330522765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0637</c:v>
                </c:pt>
                <c:pt idx="1">
                  <c:v>1226.5039</c:v>
                </c:pt>
                <c:pt idx="2">
                  <c:v>1204.6903</c:v>
                </c:pt>
                <c:pt idx="3">
                  <c:v>987.2841</c:v>
                </c:pt>
                <c:pt idx="4">
                  <c:v>1150.2923</c:v>
                </c:pt>
                <c:pt idx="5">
                  <c:v>1164.0853</c:v>
                </c:pt>
                <c:pt idx="6">
                  <c:v>1164.9524</c:v>
                </c:pt>
                <c:pt idx="7">
                  <c:v>1169.4787</c:v>
                </c:pt>
                <c:pt idx="8">
                  <c:v>1251.0649</c:v>
                </c:pt>
                <c:pt idx="9">
                  <c:v>1214.3182</c:v>
                </c:pt>
                <c:pt idx="10">
                  <c:v>1217.0594</c:v>
                </c:pt>
                <c:pt idx="11">
                  <c:v>1118.4415</c:v>
                </c:pt>
                <c:pt idx="12">
                  <c:v>1159.6038</c:v>
                </c:pt>
                <c:pt idx="13">
                  <c:v>1246.0694</c:v>
                </c:pt>
                <c:pt idx="14">
                  <c:v>1200.943</c:v>
                </c:pt>
                <c:pt idx="15">
                  <c:v>1275.3106</c:v>
                </c:pt>
                <c:pt idx="16">
                  <c:v>1350.2655</c:v>
                </c:pt>
                <c:pt idx="17">
                  <c:v>1317.5316</c:v>
                </c:pt>
                <c:pt idx="18">
                  <c:v>972.6154</c:v>
                </c:pt>
                <c:pt idx="19">
                  <c:v>1317.9206</c:v>
                </c:pt>
                <c:pt idx="20">
                  <c:v>1429.0204</c:v>
                </c:pt>
                <c:pt idx="21">
                  <c:v>1223.4483</c:v>
                </c:pt>
                <c:pt idx="22">
                  <c:v>1215.9655</c:v>
                </c:pt>
                <c:pt idx="23">
                  <c:v>1358.8889</c:v>
                </c:pt>
                <c:pt idx="24">
                  <c:v>1232.4054</c:v>
                </c:pt>
                <c:pt idx="25">
                  <c:v>1178.8649</c:v>
                </c:pt>
                <c:pt idx="26">
                  <c:v>1127.4286</c:v>
                </c:pt>
                <c:pt idx="27">
                  <c:v>1122.2885</c:v>
                </c:pt>
                <c:pt idx="28">
                  <c:v>1145.8023</c:v>
                </c:pt>
                <c:pt idx="29">
                  <c:v>1232.7547</c:v>
                </c:pt>
                <c:pt idx="30">
                  <c:v>1148.9259</c:v>
                </c:pt>
                <c:pt idx="31">
                  <c:v>921.6835</c:v>
                </c:pt>
                <c:pt idx="32">
                  <c:v>1113.7284</c:v>
                </c:pt>
                <c:pt idx="33">
                  <c:v>1173.2441</c:v>
                </c:pt>
                <c:pt idx="34">
                  <c:v>1195.8843</c:v>
                </c:pt>
                <c:pt idx="35">
                  <c:v>1256.8742</c:v>
                </c:pt>
                <c:pt idx="36">
                  <c:v>1287.0175</c:v>
                </c:pt>
                <c:pt idx="37">
                  <c:v>1344.0</c:v>
                </c:pt>
                <c:pt idx="38">
                  <c:v>1349.5909</c:v>
                </c:pt>
                <c:pt idx="39">
                  <c:v>1301.7653</c:v>
                </c:pt>
                <c:pt idx="40">
                  <c:v>1248.6154</c:v>
                </c:pt>
                <c:pt idx="41">
                  <c:v>1377.1618</c:v>
                </c:pt>
                <c:pt idx="42">
                  <c:v>1354.5283</c:v>
                </c:pt>
                <c:pt idx="43">
                  <c:v>1354.8523</c:v>
                </c:pt>
                <c:pt idx="44">
                  <c:v>1332.2258</c:v>
                </c:pt>
                <c:pt idx="45">
                  <c:v>1275.9172</c:v>
                </c:pt>
                <c:pt idx="46">
                  <c:v>1286.5045</c:v>
                </c:pt>
                <c:pt idx="47">
                  <c:v>1251.925</c:v>
                </c:pt>
                <c:pt idx="48">
                  <c:v>1240.3429</c:v>
                </c:pt>
                <c:pt idx="49">
                  <c:v>1256.0305</c:v>
                </c:pt>
                <c:pt idx="50">
                  <c:v>1103.8602</c:v>
                </c:pt>
                <c:pt idx="51">
                  <c:v>1105.86</c:v>
                </c:pt>
              </c:numCache>
            </c:numRef>
          </c:xVal>
          <c:yVal>
            <c:numRef>
              <c:f>Sheet1!$B$109:$B$160</c:f>
              <c:numCache>
                <c:formatCode>General</c:formatCode>
                <c:ptCount val="52"/>
                <c:pt idx="0">
                  <c:v>0.2528180354267311</c:v>
                </c:pt>
                <c:pt idx="1">
                  <c:v>0.2247787610619469</c:v>
                </c:pt>
                <c:pt idx="2">
                  <c:v>0.23846153846153847</c:v>
                </c:pt>
                <c:pt idx="3">
                  <c:v>0.29042904290429045</c:v>
                </c:pt>
                <c:pt idx="4">
                  <c:v>0.23853211009174313</c:v>
                </c:pt>
                <c:pt idx="5">
                  <c:v>0.26272912423625255</c:v>
                </c:pt>
                <c:pt idx="6">
                  <c:v>0.27171903881700554</c:v>
                </c:pt>
                <c:pt idx="7">
                  <c:v>0.24102564102564103</c:v>
                </c:pt>
                <c:pt idx="8">
                  <c:v>0.2655172413793103</c:v>
                </c:pt>
                <c:pt idx="9">
                  <c:v>0.2634730538922156</c:v>
                </c:pt>
                <c:pt idx="10">
                  <c:v>0.27977839335180055</c:v>
                </c:pt>
                <c:pt idx="11">
                  <c:v>0.29559748427672955</c:v>
                </c:pt>
                <c:pt idx="12">
                  <c:v>0.28804347826086957</c:v>
                </c:pt>
                <c:pt idx="13">
                  <c:v>0.2727272727272727</c:v>
                </c:pt>
                <c:pt idx="14">
                  <c:v>0.32712215320910976</c:v>
                </c:pt>
                <c:pt idx="15">
                  <c:v>0.28633405639913234</c:v>
                </c:pt>
                <c:pt idx="16">
                  <c:v>0.2677725118483412</c:v>
                </c:pt>
                <c:pt idx="17">
                  <c:v>0.2231638418079096</c:v>
                </c:pt>
                <c:pt idx="18">
                  <c:v>0.2689655172413793</c:v>
                </c:pt>
                <c:pt idx="19">
                  <c:v>0.21575342465753425</c:v>
                </c:pt>
                <c:pt idx="20">
                  <c:v>0.18846153846153846</c:v>
                </c:pt>
                <c:pt idx="21">
                  <c:v>0.17575757575757575</c:v>
                </c:pt>
                <c:pt idx="22">
                  <c:v>0.19333333333333333</c:v>
                </c:pt>
                <c:pt idx="23">
                  <c:v>0.17307692307692307</c:v>
                </c:pt>
                <c:pt idx="24">
                  <c:v>0.1796116504854369</c:v>
                </c:pt>
                <c:pt idx="25">
                  <c:v>0.18686868686868688</c:v>
                </c:pt>
                <c:pt idx="26">
                  <c:v>0.21120689655172414</c:v>
                </c:pt>
                <c:pt idx="27">
                  <c:v>0.1925925925925926</c:v>
                </c:pt>
                <c:pt idx="28">
                  <c:v>0.24157303370786518</c:v>
                </c:pt>
                <c:pt idx="29">
                  <c:v>0.21721311475409835</c:v>
                </c:pt>
                <c:pt idx="30">
                  <c:v>0.225</c:v>
                </c:pt>
                <c:pt idx="31">
                  <c:v>0.32644628099173556</c:v>
                </c:pt>
                <c:pt idx="32">
                  <c:v>0.2967032967032967</c:v>
                </c:pt>
                <c:pt idx="33">
                  <c:v>0.3182957393483709</c:v>
                </c:pt>
                <c:pt idx="34">
                  <c:v>0.3582089552238806</c:v>
                </c:pt>
                <c:pt idx="35">
                  <c:v>0.31069958847736623</c:v>
                </c:pt>
                <c:pt idx="36">
                  <c:v>0.2676056338028169</c:v>
                </c:pt>
                <c:pt idx="37">
                  <c:v>0.2074688796680498</c:v>
                </c:pt>
                <c:pt idx="38">
                  <c:v>0.19213973799126638</c:v>
                </c:pt>
                <c:pt idx="39">
                  <c:v>0.2692307692307692</c:v>
                </c:pt>
                <c:pt idx="40">
                  <c:v>0.21241830065359477</c:v>
                </c:pt>
                <c:pt idx="41">
                  <c:v>0.21794871794871795</c:v>
                </c:pt>
                <c:pt idx="42">
                  <c:v>0.20384615384615384</c:v>
                </c:pt>
                <c:pt idx="43">
                  <c:v>0.20754716981132076</c:v>
                </c:pt>
                <c:pt idx="44">
                  <c:v>0.17748091603053434</c:v>
                </c:pt>
                <c:pt idx="45">
                  <c:v>0.2186287192755498</c:v>
                </c:pt>
                <c:pt idx="46">
                  <c:v>0.20747663551401868</c:v>
                </c:pt>
                <c:pt idx="47">
                  <c:v>0.20797227036395147</c:v>
                </c:pt>
                <c:pt idx="48">
                  <c:v>0.2074074074074074</c:v>
                </c:pt>
                <c:pt idx="49">
                  <c:v>0.2303370786516854</c:v>
                </c:pt>
                <c:pt idx="50">
                  <c:v>0.30539887187751813</c:v>
                </c:pt>
                <c:pt idx="51">
                  <c:v>0.28129395218002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57.5005777725016</c:v>
                </c:pt>
              </c:numCache>
            </c:numRef>
          </c:xVal>
          <c:yVal>
            <c:numRef>
              <c:f>Sheet1!$B$163:$B$164</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57.5005777725016</c:v>
                </c:pt>
                <c:pt idx="1">
                  <c:v>1157.5005777725016</c:v>
                </c:pt>
              </c:numCache>
            </c:numRef>
          </c:xVal>
          <c:yVal>
            <c:numRef>
              <c:f>Sheet1!$B$167:$B$168</c:f>
              <c:numCache>
                <c:formatCode>General</c:formatCode>
                <c:ptCount val="2"/>
                <c:pt idx="0">
                  <c:v>0.257919253991646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7.5005777725016</c:v>
                </c:pt>
              </c:numCache>
            </c:numRef>
          </c:xVal>
          <c:yVal>
            <c:numRef>
              <c:f>Sheet1!$B$171:$B$172</c:f>
              <c:numCache>
                <c:formatCode>General</c:formatCode>
                <c:ptCount val="2"/>
                <c:pt idx="0">
                  <c:v>0.25791925399164684</c:v>
                </c:pt>
                <c:pt idx="1">
                  <c:v>0.257919253991646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7.5005777725016</c:v>
                </c:pt>
                <c:pt idx="1">
                  <c:v>1157.5005777725016</c:v>
                </c:pt>
              </c:numCache>
            </c:numRef>
          </c:xVal>
          <c:yVal>
            <c:numRef>
              <c:f>Sheet1!$B$175:$B$176</c:f>
              <c:numCache>
                <c:formatCode>General</c:formatCode>
                <c:ptCount val="2"/>
                <c:pt idx="0">
                  <c:v>0.257919253991646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7.8860120211941</c:v>
                </c:pt>
              </c:numCache>
            </c:numRef>
          </c:xVal>
          <c:yVal>
            <c:numRef>
              <c:f>Sheet1!$B$179:$B$180</c:f>
              <c:numCache>
                <c:formatCode>General</c:formatCode>
                <c:ptCount val="2"/>
                <c:pt idx="0">
                  <c:v>0.22669130483009609</c:v>
                </c:pt>
                <c:pt idx="1">
                  <c:v>0.2266913048300960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7.8860120211941</c:v>
                </c:pt>
                <c:pt idx="1">
                  <c:v>1297.8860120211941</c:v>
                </c:pt>
              </c:numCache>
            </c:numRef>
          </c:xVal>
          <c:yVal>
            <c:numRef>
              <c:f>Sheet1!$B$183:$B$184</c:f>
              <c:numCache>
                <c:formatCode>General</c:formatCode>
                <c:ptCount val="2"/>
                <c:pt idx="0">
                  <c:v>0.2266913048300960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0637</c:v>
                </c:pt>
                <c:pt idx="1">
                  <c:v>1226.5039</c:v>
                </c:pt>
                <c:pt idx="2">
                  <c:v>1204.6903</c:v>
                </c:pt>
                <c:pt idx="3">
                  <c:v>987.2841</c:v>
                </c:pt>
                <c:pt idx="4">
                  <c:v>1150.2923</c:v>
                </c:pt>
                <c:pt idx="5">
                  <c:v>1164.0853</c:v>
                </c:pt>
                <c:pt idx="6">
                  <c:v>1164.9524</c:v>
                </c:pt>
                <c:pt idx="7">
                  <c:v>1169.4787</c:v>
                </c:pt>
                <c:pt idx="8">
                  <c:v>1251.0649</c:v>
                </c:pt>
                <c:pt idx="9">
                  <c:v>1214.3182</c:v>
                </c:pt>
                <c:pt idx="10">
                  <c:v>1217.0594</c:v>
                </c:pt>
                <c:pt idx="11">
                  <c:v>1118.4415</c:v>
                </c:pt>
                <c:pt idx="12">
                  <c:v>1159.6038</c:v>
                </c:pt>
                <c:pt idx="13">
                  <c:v>1246.0694</c:v>
                </c:pt>
                <c:pt idx="14">
                  <c:v>1200.943</c:v>
                </c:pt>
                <c:pt idx="15">
                  <c:v>1275.3106</c:v>
                </c:pt>
                <c:pt idx="16">
                  <c:v>1350.2655</c:v>
                </c:pt>
                <c:pt idx="17">
                  <c:v>1317.5316</c:v>
                </c:pt>
                <c:pt idx="18">
                  <c:v>972.6154</c:v>
                </c:pt>
                <c:pt idx="19">
                  <c:v>1317.9206</c:v>
                </c:pt>
                <c:pt idx="20">
                  <c:v>1429.0204</c:v>
                </c:pt>
                <c:pt idx="21">
                  <c:v>1223.4483</c:v>
                </c:pt>
                <c:pt idx="22">
                  <c:v>1215.9655</c:v>
                </c:pt>
                <c:pt idx="23">
                  <c:v>1358.8889</c:v>
                </c:pt>
                <c:pt idx="24">
                  <c:v>1232.4054</c:v>
                </c:pt>
                <c:pt idx="25">
                  <c:v>1178.8649</c:v>
                </c:pt>
                <c:pt idx="26">
                  <c:v>1127.4286</c:v>
                </c:pt>
                <c:pt idx="27">
                  <c:v>1122.2885</c:v>
                </c:pt>
                <c:pt idx="28">
                  <c:v>1145.8023</c:v>
                </c:pt>
                <c:pt idx="29">
                  <c:v>1232.7547</c:v>
                </c:pt>
                <c:pt idx="30">
                  <c:v>1148.9259</c:v>
                </c:pt>
                <c:pt idx="31">
                  <c:v>921.6835</c:v>
                </c:pt>
                <c:pt idx="32">
                  <c:v>1113.7284</c:v>
                </c:pt>
                <c:pt idx="33">
                  <c:v>1173.2441</c:v>
                </c:pt>
                <c:pt idx="34">
                  <c:v>1195.8843</c:v>
                </c:pt>
                <c:pt idx="35">
                  <c:v>1256.8742</c:v>
                </c:pt>
                <c:pt idx="36">
                  <c:v>1287.0175</c:v>
                </c:pt>
                <c:pt idx="37">
                  <c:v>1344.0</c:v>
                </c:pt>
                <c:pt idx="38">
                  <c:v>1349.5909</c:v>
                </c:pt>
                <c:pt idx="39">
                  <c:v>1301.7653</c:v>
                </c:pt>
                <c:pt idx="40">
                  <c:v>1248.6154</c:v>
                </c:pt>
                <c:pt idx="41">
                  <c:v>1377.1618</c:v>
                </c:pt>
                <c:pt idx="42">
                  <c:v>1354.5283</c:v>
                </c:pt>
                <c:pt idx="43">
                  <c:v>1354.8523</c:v>
                </c:pt>
                <c:pt idx="44">
                  <c:v>1332.2258</c:v>
                </c:pt>
                <c:pt idx="45">
                  <c:v>1275.9172</c:v>
                </c:pt>
                <c:pt idx="46">
                  <c:v>1286.5045</c:v>
                </c:pt>
                <c:pt idx="47">
                  <c:v>1251.925</c:v>
                </c:pt>
                <c:pt idx="48">
                  <c:v>1240.3429</c:v>
                </c:pt>
                <c:pt idx="49">
                  <c:v>1256.0305</c:v>
                </c:pt>
                <c:pt idx="50">
                  <c:v>1103.8602</c:v>
                </c:pt>
                <c:pt idx="51">
                  <c:v>1105.86</c:v>
                </c:pt>
                <c:pt idx="52">
                  <c:v>1157.5005777725016</c:v>
                </c:pt>
                <c:pt idx="53">
                  <c:v>1157.5005777725016</c:v>
                </c:pt>
                <c:pt idx="54">
                  <c:v>1297.8860120211941</c:v>
                </c:pt>
              </c:numCache>
            </c:numRef>
          </c:xVal>
          <c:yVal>
            <c:numRef>
              <c:f>Sheet1!$B$187:$B$241</c:f>
              <c:numCache>
                <c:formatCode>General</c:formatCode>
                <c:ptCount val="55"/>
                <c:pt idx="0">
                  <c:v>0.24711666097220314</c:v>
                </c:pt>
                <c:pt idx="1">
                  <c:v>0.24256985360669564</c:v>
                </c:pt>
                <c:pt idx="2">
                  <c:v>0.24742216606685918</c:v>
                </c:pt>
                <c:pt idx="3">
                  <c:v>0.2957829507689172</c:v>
                </c:pt>
                <c:pt idx="4">
                  <c:v>0.25952269478325524</c:v>
                </c:pt>
                <c:pt idx="5">
                  <c:v>0.2564545196189983</c:v>
                </c:pt>
                <c:pt idx="6">
                  <c:v>0.25626163810772973</c:v>
                </c:pt>
                <c:pt idx="7">
                  <c:v>0.2552547881660219</c:v>
                </c:pt>
                <c:pt idx="8">
                  <c:v>0.2371063974905993</c:v>
                </c:pt>
                <c:pt idx="9">
                  <c:v>0.24528049393868184</c:v>
                </c:pt>
                <c:pt idx="10">
                  <c:v>0.24467072943782914</c:v>
                </c:pt>
                <c:pt idx="11">
                  <c:v>0.26660772585131276</c:v>
                </c:pt>
                <c:pt idx="12">
                  <c:v>0.2574514040530313</c:v>
                </c:pt>
                <c:pt idx="13">
                  <c:v>0.23821761832965144</c:v>
                </c:pt>
                <c:pt idx="14">
                  <c:v>0.2482557318460965</c:v>
                </c:pt>
                <c:pt idx="15">
                  <c:v>0.23171307808365194</c:v>
                </c:pt>
                <c:pt idx="16">
                  <c:v>0.2150397827440329</c:v>
                </c:pt>
                <c:pt idx="17">
                  <c:v>0.22232125443324274</c:v>
                </c:pt>
                <c:pt idx="18">
                  <c:v>0.2990459204660053</c:v>
                </c:pt>
                <c:pt idx="19">
                  <c:v>0.22223472357419138</c:v>
                </c:pt>
                <c:pt idx="20">
                  <c:v>0.19752119880699653</c:v>
                </c:pt>
                <c:pt idx="21">
                  <c:v>0.24324955461676617</c:v>
                </c:pt>
                <c:pt idx="22">
                  <c:v>0.24491406133170146</c:v>
                </c:pt>
                <c:pt idx="23">
                  <c:v>0.21312155598325183</c:v>
                </c:pt>
                <c:pt idx="24">
                  <c:v>0.24125709817046975</c:v>
                </c:pt>
                <c:pt idx="25">
                  <c:v>0.25316688084152766</c:v>
                </c:pt>
                <c:pt idx="26">
                  <c:v>0.26460859607398407</c:v>
                </c:pt>
                <c:pt idx="27">
                  <c:v>0.26575198236861153</c:v>
                </c:pt>
                <c:pt idx="28">
                  <c:v>0.2605214699944141</c:v>
                </c:pt>
                <c:pt idx="29">
                  <c:v>0.24117939835281776</c:v>
                </c:pt>
                <c:pt idx="30">
                  <c:v>0.2598266427673371</c:v>
                </c:pt>
                <c:pt idx="31">
                  <c:v>0.31037543475937296</c:v>
                </c:pt>
                <c:pt idx="32">
                  <c:v>0.2676561284009147</c:v>
                </c:pt>
                <c:pt idx="33">
                  <c:v>0.2544171961437285</c:v>
                </c:pt>
                <c:pt idx="34">
                  <c:v>0.24938101116918987</c:v>
                </c:pt>
                <c:pt idx="35">
                  <c:v>0.23581415142507928</c:v>
                </c:pt>
                <c:pt idx="36">
                  <c:v>0.22910894411494032</c:v>
                </c:pt>
                <c:pt idx="37">
                  <c:v>0.21643350793011656</c:v>
                </c:pt>
                <c:pt idx="38">
                  <c:v>0.21518984371451128</c:v>
                </c:pt>
                <c:pt idx="39">
                  <c:v>0.22582837906836384</c:v>
                </c:pt>
                <c:pt idx="40">
                  <c:v>0.23765127496938188</c:v>
                </c:pt>
                <c:pt idx="41">
                  <c:v>0.20905685229595017</c:v>
                </c:pt>
                <c:pt idx="42">
                  <c:v>0.2140915468932249</c:v>
                </c:pt>
                <c:pt idx="43">
                  <c:v>0.2140194749180767</c:v>
                </c:pt>
                <c:pt idx="44">
                  <c:v>0.21905261240477725</c:v>
                </c:pt>
                <c:pt idx="45">
                  <c:v>0.23157814333018</c:v>
                </c:pt>
                <c:pt idx="46">
                  <c:v>0.22922305807559162</c:v>
                </c:pt>
                <c:pt idx="47">
                  <c:v>0.236915073089905</c:v>
                </c:pt>
                <c:pt idx="48">
                  <c:v>0.2394914460015225</c:v>
                </c:pt>
                <c:pt idx="49">
                  <c:v>0.2360018277381427</c:v>
                </c:pt>
                <c:pt idx="50">
                  <c:v>0.2698512539106602</c:v>
                </c:pt>
                <c:pt idx="51">
                  <c:v>0.26940640966405105</c:v>
                </c:pt>
                <c:pt idx="52">
                  <c:v>0.25791925399164684</c:v>
                </c:pt>
                <c:pt idx="53">
                  <c:v>0.25791925399164684</c:v>
                </c:pt>
                <c:pt idx="54">
                  <c:v>0.2266913048300960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9.0"/>
          <c:min val="69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2985074626865666"/>
          <c:min val="0.108163265306122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12133171939998</c:v>
                </c:pt>
                <c:pt idx="1">
                  <c:v>0.5984664763112159</c:v>
                </c:pt>
                <c:pt idx="2">
                  <c:v>0.6076291374227253</c:v>
                </c:pt>
                <c:pt idx="3">
                  <c:v>0.6095449102484086</c:v>
                </c:pt>
                <c:pt idx="4">
                  <c:v>0.614632205853452</c:v>
                </c:pt>
                <c:pt idx="5">
                  <c:v>0.6449457499119462</c:v>
                </c:pt>
                <c:pt idx="6">
                  <c:v>0.5946736317802269</c:v>
                </c:pt>
                <c:pt idx="7">
                  <c:v>0.5732049450693129</c:v>
                </c:pt>
                <c:pt idx="8">
                  <c:v>0.6026954180323411</c:v>
                </c:pt>
                <c:pt idx="9">
                  <c:v>0.6239385627555739</c:v>
                </c:pt>
                <c:pt idx="10">
                  <c:v>0.6235280864688759</c:v>
                </c:pt>
                <c:pt idx="11">
                  <c:v>0.6851704728968293</c:v>
                </c:pt>
                <c:pt idx="12">
                  <c:v>0.7112537149594333</c:v>
                </c:pt>
                <c:pt idx="13">
                  <c:v>0.7070039797354875</c:v>
                </c:pt>
                <c:pt idx="14">
                  <c:v>0.6934960473270962</c:v>
                </c:pt>
                <c:pt idx="15">
                  <c:v>0.6691653859644426</c:v>
                </c:pt>
                <c:pt idx="16">
                  <c:v>0.6689426090162994</c:v>
                </c:pt>
                <c:pt idx="17">
                  <c:v>0.6741899161402467</c:v>
                </c:pt>
                <c:pt idx="18">
                  <c:v>0.711930869676234</c:v>
                </c:pt>
                <c:pt idx="19">
                  <c:v>0.747643819760597</c:v>
                </c:pt>
                <c:pt idx="20">
                  <c:v>0.7495207377989356</c:v>
                </c:pt>
                <c:pt idx="21">
                  <c:v>0.638885333269915</c:v>
                </c:pt>
                <c:pt idx="22">
                  <c:v>0.5750979820429799</c:v>
                </c:pt>
                <c:pt idx="23">
                  <c:v>0.5899717964507957</c:v>
                </c:pt>
                <c:pt idx="24">
                  <c:v>0.580172435421921</c:v>
                </c:pt>
                <c:pt idx="25">
                  <c:v>0.5517535202198579</c:v>
                </c:pt>
                <c:pt idx="26">
                  <c:v>0.5436907038510513</c:v>
                </c:pt>
                <c:pt idx="27">
                  <c:v>0.5966531940610439</c:v>
                </c:pt>
                <c:pt idx="28">
                  <c:v>0.5956365622004678</c:v>
                </c:pt>
                <c:pt idx="29">
                  <c:v>0.5599111681552807</c:v>
                </c:pt>
                <c:pt idx="30">
                  <c:v>0.5381449909871504</c:v>
                </c:pt>
                <c:pt idx="31">
                  <c:v>0.5853321711903346</c:v>
                </c:pt>
                <c:pt idx="32">
                  <c:v>0.5043517649331725</c:v>
                </c:pt>
                <c:pt idx="33">
                  <c:v>0.5003945332234075</c:v>
                </c:pt>
                <c:pt idx="34">
                  <c:v>0.5476185947555292</c:v>
                </c:pt>
                <c:pt idx="35">
                  <c:v>0.607107602636307</c:v>
                </c:pt>
                <c:pt idx="36">
                  <c:v>0.6354147419750115</c:v>
                </c:pt>
                <c:pt idx="37">
                  <c:v>0.6110909899754371</c:v>
                </c:pt>
                <c:pt idx="38">
                  <c:v>0.6556041931132082</c:v>
                </c:pt>
                <c:pt idx="39">
                  <c:v>0.6452404678882371</c:v>
                </c:pt>
                <c:pt idx="40">
                  <c:v>0.6398297260384949</c:v>
                </c:pt>
                <c:pt idx="41">
                  <c:v>0.6401286919455028</c:v>
                </c:pt>
                <c:pt idx="42">
                  <c:v>0.6637977253308868</c:v>
                </c:pt>
                <c:pt idx="43">
                  <c:v>0.6804622609259405</c:v>
                </c:pt>
                <c:pt idx="44">
                  <c:v>0.6708978975643725</c:v>
                </c:pt>
                <c:pt idx="45">
                  <c:v>0.6837165432658144</c:v>
                </c:pt>
                <c:pt idx="46">
                  <c:v>0.7092782825297399</c:v>
                </c:pt>
                <c:pt idx="47">
                  <c:v>0.709537884772464</c:v>
                </c:pt>
                <c:pt idx="48">
                  <c:v>0.715443559609489</c:v>
                </c:pt>
                <c:pt idx="49">
                  <c:v>0.699694756767779</c:v>
                </c:pt>
                <c:pt idx="50">
                  <c:v>0.6684774663305366</c:v>
                </c:pt>
                <c:pt idx="51">
                  <c:v>0.6726862249656191</c:v>
                </c:pt>
                <c:pt idx="52">
                  <c:v>0.6745237472804295</c:v>
                </c:pt>
                <c:pt idx="53">
                  <c:v>0.6318618892880922</c:v>
                </c:pt>
                <c:pt idx="54">
                  <c:v>0.6279241794160422</c:v>
                </c:pt>
                <c:pt idx="55">
                  <c:v>0.649807573552176</c:v>
                </c:pt>
                <c:pt idx="56">
                  <c:v>0.6510708567071748</c:v>
                </c:pt>
                <c:pt idx="57">
                  <c:v>0.6444976035532785</c:v>
                </c:pt>
                <c:pt idx="58">
                  <c:v>0.6230229358260039</c:v>
                </c:pt>
                <c:pt idx="59">
                  <c:v>0.6187845639421578</c:v>
                </c:pt>
                <c:pt idx="60">
                  <c:v>0.6266595420120449</c:v>
                </c:pt>
                <c:pt idx="61">
                  <c:v>0.6619704770819441</c:v>
                </c:pt>
                <c:pt idx="62">
                  <c:v>0.6770158701074174</c:v>
                </c:pt>
                <c:pt idx="63">
                  <c:v>0.693254967245953</c:v>
                </c:pt>
                <c:pt idx="64">
                  <c:v>0.724530451544041</c:v>
                </c:pt>
                <c:pt idx="65">
                  <c:v>0.7420119944304516</c:v>
                </c:pt>
                <c:pt idx="66">
                  <c:v>0.7611370907200393</c:v>
                </c:pt>
                <c:pt idx="67">
                  <c:v>0.7713824224510364</c:v>
                </c:pt>
                <c:pt idx="68">
                  <c:v>0.7643018387626944</c:v>
                </c:pt>
                <c:pt idx="69">
                  <c:v>0.7582229313958142</c:v>
                </c:pt>
                <c:pt idx="70">
                  <c:v>0.7491800084679069</c:v>
                </c:pt>
                <c:pt idx="71">
                  <c:v>0.6907827426877977</c:v>
                </c:pt>
                <c:pt idx="72">
                  <c:v>0.7301802229257758</c:v>
                </c:pt>
                <c:pt idx="73">
                  <c:v>0.7170394587502017</c:v>
                </c:pt>
                <c:pt idx="74">
                  <c:v>0.7090129355142041</c:v>
                </c:pt>
                <c:pt idx="75">
                  <c:v>0.6754197607853916</c:v>
                </c:pt>
                <c:pt idx="76">
                  <c:v>0.6619378569067781</c:v>
                </c:pt>
                <c:pt idx="77">
                  <c:v>0.6984344499844661</c:v>
                </c:pt>
                <c:pt idx="78">
                  <c:v>0.6992772582982271</c:v>
                </c:pt>
                <c:pt idx="79">
                  <c:v>0.7087174163363769</c:v>
                </c:pt>
                <c:pt idx="80">
                  <c:v>0.7375484038749107</c:v>
                </c:pt>
                <c:pt idx="81">
                  <c:v>0.7394076029761756</c:v>
                </c:pt>
                <c:pt idx="82">
                  <c:v>0.6961015791208297</c:v>
                </c:pt>
                <c:pt idx="83">
                  <c:v>0.6677936134314296</c:v>
                </c:pt>
                <c:pt idx="84">
                  <c:v>0.6896273433197928</c:v>
                </c:pt>
                <c:pt idx="85">
                  <c:v>0.6602600452970875</c:v>
                </c:pt>
                <c:pt idx="86">
                  <c:v>0.6737405745609492</c:v>
                </c:pt>
                <c:pt idx="87">
                  <c:v>0.7243567382591501</c:v>
                </c:pt>
                <c:pt idx="88">
                  <c:v>0.6662778043219787</c:v>
                </c:pt>
                <c:pt idx="89">
                  <c:v>0.6075728987753057</c:v>
                </c:pt>
                <c:pt idx="90">
                  <c:v>0.6617976453349138</c:v>
                </c:pt>
                <c:pt idx="91">
                  <c:v>0.7069438704121932</c:v>
                </c:pt>
                <c:pt idx="92">
                  <c:v>0.7057557045506526</c:v>
                </c:pt>
                <c:pt idx="93">
                  <c:v>0.7045026175316079</c:v>
                </c:pt>
                <c:pt idx="94">
                  <c:v>0.6753096454716925</c:v>
                </c:pt>
                <c:pt idx="95">
                  <c:v>0.7206827013486806</c:v>
                </c:pt>
                <c:pt idx="96">
                  <c:v>0.7021678605732218</c:v>
                </c:pt>
                <c:pt idx="97">
                  <c:v>0.7352362641066076</c:v>
                </c:pt>
                <c:pt idx="98">
                  <c:v>0.7563173778640713</c:v>
                </c:pt>
                <c:pt idx="99">
                  <c:v>0.7405634754473612</c:v>
                </c:pt>
                <c:pt idx="100">
                  <c:v>0.750759076258444</c:v>
                </c:pt>
                <c:pt idx="101">
                  <c:v>0.6931978209983812</c:v>
                </c:pt>
                <c:pt idx="102">
                  <c:v>0.6744280817758683</c:v>
                </c:pt>
                <c:pt idx="103">
                  <c:v>0.7116016963672936</c:v>
                </c:pt>
                <c:pt idx="104">
                  <c:v>0.7117748114418311</c:v>
                </c:pt>
              </c:numCache>
            </c:numRef>
          </c:xVal>
          <c:yVal>
            <c:numRef>
              <c:f>Sheet1!$B$2:$B$106</c:f>
              <c:numCache>
                <c:formatCode>General</c:formatCode>
                <c:ptCount val="105"/>
                <c:pt idx="0">
                  <c:v>0.30826866470430825</c:v>
                </c:pt>
                <c:pt idx="1">
                  <c:v>0.30906095551894563</c:v>
                </c:pt>
                <c:pt idx="2">
                  <c:v>0.29924480805538073</c:v>
                </c:pt>
                <c:pt idx="3">
                  <c:v>0.2953866578161301</c:v>
                </c:pt>
                <c:pt idx="4">
                  <c:v>0.31790820165538</c:v>
                </c:pt>
                <c:pt idx="5">
                  <c:v>0.30998116760828626</c:v>
                </c:pt>
                <c:pt idx="6">
                  <c:v>0.3236282194848824</c:v>
                </c:pt>
                <c:pt idx="7">
                  <c:v>0.337035454933789</c:v>
                </c:pt>
                <c:pt idx="8">
                  <c:v>0.332824427480916</c:v>
                </c:pt>
                <c:pt idx="9">
                  <c:v>0.31663685152057247</c:v>
                </c:pt>
                <c:pt idx="10">
                  <c:v>0.31366350544432736</c:v>
                </c:pt>
                <c:pt idx="11">
                  <c:v>0.2711076684740511</c:v>
                </c:pt>
                <c:pt idx="12">
                  <c:v>0.2572030920590302</c:v>
                </c:pt>
                <c:pt idx="13">
                  <c:v>0.2530755711775044</c:v>
                </c:pt>
                <c:pt idx="14">
                  <c:v>0.2406929598230741</c:v>
                </c:pt>
                <c:pt idx="15">
                  <c:v>0.24429315178213856</c:v>
                </c:pt>
                <c:pt idx="16">
                  <c:v>0.23708920187793428</c:v>
                </c:pt>
                <c:pt idx="17">
                  <c:v>0.2084343189529811</c:v>
                </c:pt>
                <c:pt idx="18">
                  <c:v>0.19080919080919082</c:v>
                </c:pt>
                <c:pt idx="19">
                  <c:v>0.1811111111111111</c:v>
                </c:pt>
                <c:pt idx="20">
                  <c:v>0.17697516930022572</c:v>
                </c:pt>
                <c:pt idx="21">
                  <c:v>0.18955399061032863</c:v>
                </c:pt>
                <c:pt idx="22">
                  <c:v>0.24528301886792453</c:v>
                </c:pt>
                <c:pt idx="23">
                  <c:v>0.24421883812746756</c:v>
                </c:pt>
                <c:pt idx="24">
                  <c:v>0.257843137254902</c:v>
                </c:pt>
                <c:pt idx="25">
                  <c:v>0.27367205542725176</c:v>
                </c:pt>
                <c:pt idx="26">
                  <c:v>0.2886710239651416</c:v>
                </c:pt>
                <c:pt idx="27">
                  <c:v>0.27521008403361347</c:v>
                </c:pt>
                <c:pt idx="28">
                  <c:v>0.2847718526663002</c:v>
                </c:pt>
                <c:pt idx="29">
                  <c:v>0.2976190476190476</c:v>
                </c:pt>
                <c:pt idx="30">
                  <c:v>0.29269764634882317</c:v>
                </c:pt>
                <c:pt idx="31">
                  <c:v>0.2897758337889557</c:v>
                </c:pt>
                <c:pt idx="32">
                  <c:v>0.2980308674827036</c:v>
                </c:pt>
                <c:pt idx="33">
                  <c:v>0.2929964539007092</c:v>
                </c:pt>
                <c:pt idx="34">
                  <c:v>0.2971150243536905</c:v>
                </c:pt>
                <c:pt idx="35">
                  <c:v>0.2952346829093515</c:v>
                </c:pt>
                <c:pt idx="36">
                  <c:v>0.28421052631578947</c:v>
                </c:pt>
                <c:pt idx="37">
                  <c:v>0.27888232133261687</c:v>
                </c:pt>
                <c:pt idx="38">
                  <c:v>0.2737397420867526</c:v>
                </c:pt>
                <c:pt idx="39">
                  <c:v>0.27152698048220436</c:v>
                </c:pt>
                <c:pt idx="40">
                  <c:v>0.26</c:v>
                </c:pt>
                <c:pt idx="41">
                  <c:v>0.2553296975706495</c:v>
                </c:pt>
                <c:pt idx="42">
                  <c:v>0.24312333629103816</c:v>
                </c:pt>
                <c:pt idx="43">
                  <c:v>0.2448290417897847</c:v>
                </c:pt>
                <c:pt idx="44">
                  <c:v>0.2469430360870862</c:v>
                </c:pt>
                <c:pt idx="45">
                  <c:v>0.2689671472465138</c:v>
                </c:pt>
                <c:pt idx="46">
                  <c:v>0.26576394502829426</c:v>
                </c:pt>
                <c:pt idx="47">
                  <c:v>0.2639412997903564</c:v>
                </c:pt>
                <c:pt idx="48">
                  <c:v>0.27108331924961976</c:v>
                </c:pt>
                <c:pt idx="49">
                  <c:v>0.28211920529801326</c:v>
                </c:pt>
                <c:pt idx="50">
                  <c:v>0.25902469917669413</c:v>
                </c:pt>
                <c:pt idx="51">
                  <c:v>0.24299792531120332</c:v>
                </c:pt>
                <c:pt idx="52">
                  <c:v>0.25635386119257086</c:v>
                </c:pt>
                <c:pt idx="53">
                  <c:v>0.24065492740191535</c:v>
                </c:pt>
                <c:pt idx="54">
                  <c:v>0.25757575757575757</c:v>
                </c:pt>
                <c:pt idx="55">
                  <c:v>0.23777777777777778</c:v>
                </c:pt>
                <c:pt idx="56">
                  <c:v>0.22939649578195975</c:v>
                </c:pt>
                <c:pt idx="57">
                  <c:v>0.2348233995584989</c:v>
                </c:pt>
                <c:pt idx="58">
                  <c:v>0.24801482265749072</c:v>
                </c:pt>
                <c:pt idx="59">
                  <c:v>0.2627587620414019</c:v>
                </c:pt>
                <c:pt idx="60">
                  <c:v>0.26578699340245054</c:v>
                </c:pt>
                <c:pt idx="61">
                  <c:v>0.2556721977649848</c:v>
                </c:pt>
                <c:pt idx="62">
                  <c:v>0.2694077055779183</c:v>
                </c:pt>
                <c:pt idx="63">
                  <c:v>0.2755131540907777</c:v>
                </c:pt>
                <c:pt idx="64">
                  <c:v>0.2650948821161587</c:v>
                </c:pt>
                <c:pt idx="65">
                  <c:v>0.26282051282051283</c:v>
                </c:pt>
                <c:pt idx="66">
                  <c:v>0.2488095238095238</c:v>
                </c:pt>
                <c:pt idx="67">
                  <c:v>0.2302325581395349</c:v>
                </c:pt>
                <c:pt idx="68">
                  <c:v>0.23242630385487528</c:v>
                </c:pt>
                <c:pt idx="69">
                  <c:v>0.2190296749882242</c:v>
                </c:pt>
                <c:pt idx="70">
                  <c:v>0.2170212765957447</c:v>
                </c:pt>
                <c:pt idx="71">
                  <c:v>0.23398760330578514</c:v>
                </c:pt>
                <c:pt idx="72">
                  <c:v>0.2141535615171138</c:v>
                </c:pt>
                <c:pt idx="73">
                  <c:v>0.21721919841662543</c:v>
                </c:pt>
                <c:pt idx="74">
                  <c:v>0.2288512911843277</c:v>
                </c:pt>
                <c:pt idx="75">
                  <c:v>0.23487544483985764</c:v>
                </c:pt>
                <c:pt idx="76">
                  <c:v>0.24514697726012202</c:v>
                </c:pt>
                <c:pt idx="77">
                  <c:v>0.23577235772357724</c:v>
                </c:pt>
                <c:pt idx="78">
                  <c:v>0.24925639500297442</c:v>
                </c:pt>
                <c:pt idx="79">
                  <c:v>0.19818260493292947</c:v>
                </c:pt>
                <c:pt idx="80">
                  <c:v>0.18915343915343916</c:v>
                </c:pt>
                <c:pt idx="81">
                  <c:v>0.21492204899777284</c:v>
                </c:pt>
                <c:pt idx="82">
                  <c:v>0.21616261774913237</c:v>
                </c:pt>
                <c:pt idx="83">
                  <c:v>0.2292713567839196</c:v>
                </c:pt>
                <c:pt idx="84">
                  <c:v>0.22866666666666666</c:v>
                </c:pt>
                <c:pt idx="85">
                  <c:v>0.2545931758530184</c:v>
                </c:pt>
                <c:pt idx="86">
                  <c:v>0.2640728476821192</c:v>
                </c:pt>
                <c:pt idx="87">
                  <c:v>0.2716697936210131</c:v>
                </c:pt>
                <c:pt idx="88">
                  <c:v>0.25942350332594233</c:v>
                </c:pt>
                <c:pt idx="89">
                  <c:v>0.2677561282212445</c:v>
                </c:pt>
                <c:pt idx="90">
                  <c:v>0.2446220036877689</c:v>
                </c:pt>
                <c:pt idx="91">
                  <c:v>0.23130034522439585</c:v>
                </c:pt>
                <c:pt idx="92">
                  <c:v>0.25654450261780104</c:v>
                </c:pt>
                <c:pt idx="93">
                  <c:v>0.2567178502879079</c:v>
                </c:pt>
                <c:pt idx="94">
                  <c:v>0.2568167406467977</c:v>
                </c:pt>
                <c:pt idx="95">
                  <c:v>0.23063829787234041</c:v>
                </c:pt>
                <c:pt idx="96">
                  <c:v>0.26046926046926044</c:v>
                </c:pt>
                <c:pt idx="97">
                  <c:v>0.2783068783068783</c:v>
                </c:pt>
                <c:pt idx="98">
                  <c:v>0.2726103729104158</c:v>
                </c:pt>
                <c:pt idx="99">
                  <c:v>0.2747004688313943</c:v>
                </c:pt>
                <c:pt idx="100">
                  <c:v>0.273318571823969</c:v>
                </c:pt>
                <c:pt idx="101">
                  <c:v>0.2731981981981982</c:v>
                </c:pt>
                <c:pt idx="102">
                  <c:v>0.2740740740740741</c:v>
                </c:pt>
                <c:pt idx="103">
                  <c:v>0.2627388535031847</c:v>
                </c:pt>
                <c:pt idx="104">
                  <c:v>0.2565682776516380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5000800742489</c:v>
                </c:pt>
                <c:pt idx="1">
                  <c:v>0.6551253874246877</c:v>
                </c:pt>
                <c:pt idx="2">
                  <c:v>0.6810480844840957</c:v>
                </c:pt>
                <c:pt idx="3">
                  <c:v>0.6694530966252465</c:v>
                </c:pt>
                <c:pt idx="4">
                  <c:v>0.6737118282674835</c:v>
                </c:pt>
                <c:pt idx="5">
                  <c:v>0.6958125535028249</c:v>
                </c:pt>
                <c:pt idx="6">
                  <c:v>0.6943653182313956</c:v>
                </c:pt>
                <c:pt idx="7">
                  <c:v>0.6873178890430115</c:v>
                </c:pt>
                <c:pt idx="8">
                  <c:v>0.7267353404158626</c:v>
                </c:pt>
                <c:pt idx="9">
                  <c:v>0.7131993661154369</c:v>
                </c:pt>
                <c:pt idx="10">
                  <c:v>0.7122418841319945</c:v>
                </c:pt>
                <c:pt idx="11">
                  <c:v>0.687468034033077</c:v>
                </c:pt>
                <c:pt idx="12">
                  <c:v>0.7093946904835531</c:v>
                </c:pt>
                <c:pt idx="13">
                  <c:v>0.6931550463403812</c:v>
                </c:pt>
                <c:pt idx="14">
                  <c:v>0.6839904707076927</c:v>
                </c:pt>
                <c:pt idx="15">
                  <c:v>0.6787780279616058</c:v>
                </c:pt>
                <c:pt idx="16">
                  <c:v>0.6845904859688005</c:v>
                </c:pt>
                <c:pt idx="17">
                  <c:v>0.6750510866290709</c:v>
                </c:pt>
                <c:pt idx="18">
                  <c:v>0.7268978958706486</c:v>
                </c:pt>
                <c:pt idx="19">
                  <c:v>0.743354746407737</c:v>
                </c:pt>
                <c:pt idx="20">
                  <c:v>0.68356111711661</c:v>
                </c:pt>
                <c:pt idx="21">
                  <c:v>0.6355753387690638</c:v>
                </c:pt>
                <c:pt idx="22">
                  <c:v>0.6995270252380725</c:v>
                </c:pt>
                <c:pt idx="23">
                  <c:v>0.7010484746943618</c:v>
                </c:pt>
                <c:pt idx="24">
                  <c:v>0.6972654879155318</c:v>
                </c:pt>
                <c:pt idx="25">
                  <c:v>0.7301206487788892</c:v>
                </c:pt>
                <c:pt idx="26">
                  <c:v>0.7218869228950732</c:v>
                </c:pt>
                <c:pt idx="27">
                  <c:v>0.7264490004495484</c:v>
                </c:pt>
                <c:pt idx="28">
                  <c:v>0.7510066637978916</c:v>
                </c:pt>
                <c:pt idx="29">
                  <c:v>0.6863983809179737</c:v>
                </c:pt>
                <c:pt idx="30">
                  <c:v>0.7020304615289423</c:v>
                </c:pt>
                <c:pt idx="31">
                  <c:v>0.7122524346889252</c:v>
                </c:pt>
                <c:pt idx="32">
                  <c:v>0.698467177397553</c:v>
                </c:pt>
                <c:pt idx="33">
                  <c:v>0.7237810661852646</c:v>
                </c:pt>
                <c:pt idx="34">
                  <c:v>0.7460317954170081</c:v>
                </c:pt>
                <c:pt idx="35">
                  <c:v>0.7398856192595042</c:v>
                </c:pt>
                <c:pt idx="36">
                  <c:v>0.6427665989467479</c:v>
                </c:pt>
                <c:pt idx="37">
                  <c:v>0.64728448687825</c:v>
                </c:pt>
                <c:pt idx="38">
                  <c:v>0.6686764140125742</c:v>
                </c:pt>
                <c:pt idx="39">
                  <c:v>0.6937692700481193</c:v>
                </c:pt>
                <c:pt idx="40">
                  <c:v>0.711497033338187</c:v>
                </c:pt>
                <c:pt idx="41">
                  <c:v>0.747165146000306</c:v>
                </c:pt>
                <c:pt idx="42">
                  <c:v>0.7138576117138302</c:v>
                </c:pt>
                <c:pt idx="43">
                  <c:v>0.7900412652950272</c:v>
                </c:pt>
                <c:pt idx="44">
                  <c:v>0.7820355750462853</c:v>
                </c:pt>
                <c:pt idx="45">
                  <c:v>0.7972512553151335</c:v>
                </c:pt>
                <c:pt idx="46">
                  <c:v>0.7539903272485694</c:v>
                </c:pt>
                <c:pt idx="47">
                  <c:v>0.7581438110852132</c:v>
                </c:pt>
                <c:pt idx="48">
                  <c:v>0.8031856610803213</c:v>
                </c:pt>
                <c:pt idx="49">
                  <c:v>0.8464676600435307</c:v>
                </c:pt>
                <c:pt idx="50">
                  <c:v>0.8330589426953084</c:v>
                </c:pt>
                <c:pt idx="51">
                  <c:v>0.7910422901275235</c:v>
                </c:pt>
              </c:numCache>
            </c:numRef>
          </c:xVal>
          <c:yVal>
            <c:numRef>
              <c:f>Sheet1!$B$109:$B$160</c:f>
              <c:numCache>
                <c:formatCode>General</c:formatCode>
                <c:ptCount val="52"/>
                <c:pt idx="0">
                  <c:v>0.2493939393939394</c:v>
                </c:pt>
                <c:pt idx="1">
                  <c:v>0.24313462826523777</c:v>
                </c:pt>
                <c:pt idx="2">
                  <c:v>0.25810185185185186</c:v>
                </c:pt>
                <c:pt idx="3">
                  <c:v>0.27251324308416713</c:v>
                </c:pt>
                <c:pt idx="4">
                  <c:v>0.2361111111111111</c:v>
                </c:pt>
                <c:pt idx="5">
                  <c:v>0.24867889337892446</c:v>
                </c:pt>
                <c:pt idx="6">
                  <c:v>0.2674865488086088</c:v>
                </c:pt>
                <c:pt idx="7">
                  <c:v>0.2746882372767105</c:v>
                </c:pt>
                <c:pt idx="8">
                  <c:v>0.24640835872877667</c:v>
                </c:pt>
                <c:pt idx="9">
                  <c:v>0.26800929512006194</c:v>
                </c:pt>
                <c:pt idx="10">
                  <c:v>0.265600624024961</c:v>
                </c:pt>
                <c:pt idx="11">
                  <c:v>0.2875589769058853</c:v>
                </c:pt>
                <c:pt idx="12">
                  <c:v>0.2799483371004198</c:v>
                </c:pt>
                <c:pt idx="13">
                  <c:v>0.2624401032067822</c:v>
                </c:pt>
                <c:pt idx="14">
                  <c:v>0.2636986301369863</c:v>
                </c:pt>
                <c:pt idx="15">
                  <c:v>0.27438752783964365</c:v>
                </c:pt>
                <c:pt idx="16">
                  <c:v>0.26464435146443516</c:v>
                </c:pt>
                <c:pt idx="17">
                  <c:v>0.2755465175394001</c:v>
                </c:pt>
                <c:pt idx="18">
                  <c:v>0.25461667599328486</c:v>
                </c:pt>
                <c:pt idx="19">
                  <c:v>0.25</c:v>
                </c:pt>
                <c:pt idx="20">
                  <c:v>0.24596774193548387</c:v>
                </c:pt>
                <c:pt idx="21">
                  <c:v>0.26046221111805123</c:v>
                </c:pt>
                <c:pt idx="22">
                  <c:v>0.2365911799761621</c:v>
                </c:pt>
                <c:pt idx="23">
                  <c:v>0.2327909887359199</c:v>
                </c:pt>
                <c:pt idx="24">
                  <c:v>0.24511930585683298</c:v>
                </c:pt>
                <c:pt idx="25">
                  <c:v>0.25565985643291</c:v>
                </c:pt>
                <c:pt idx="26">
                  <c:v>0.23563218390804597</c:v>
                </c:pt>
                <c:pt idx="27">
                  <c:v>0.24080431584109857</c:v>
                </c:pt>
                <c:pt idx="28">
                  <c:v>0.22885572139303484</c:v>
                </c:pt>
                <c:pt idx="29">
                  <c:v>0.24458874458874458</c:v>
                </c:pt>
                <c:pt idx="30">
                  <c:v>0.24178403755868544</c:v>
                </c:pt>
                <c:pt idx="31">
                  <c:v>0.23286802030456852</c:v>
                </c:pt>
                <c:pt idx="32">
                  <c:v>0.2271526677231907</c:v>
                </c:pt>
                <c:pt idx="33">
                  <c:v>0.25677365568987076</c:v>
                </c:pt>
                <c:pt idx="34">
                  <c:v>0.2763902763902764</c:v>
                </c:pt>
                <c:pt idx="35">
                  <c:v>0.25149150986691143</c:v>
                </c:pt>
                <c:pt idx="36">
                  <c:v>0.2615505090054816</c:v>
                </c:pt>
                <c:pt idx="37">
                  <c:v>0.26348547717842324</c:v>
                </c:pt>
                <c:pt idx="38">
                  <c:v>0.27342657342657345</c:v>
                </c:pt>
                <c:pt idx="39">
                  <c:v>0.25297787861599547</c:v>
                </c:pt>
                <c:pt idx="40">
                  <c:v>0.2542857142857143</c:v>
                </c:pt>
                <c:pt idx="41">
                  <c:v>0.25392670157068065</c:v>
                </c:pt>
                <c:pt idx="42">
                  <c:v>0.2637299771167048</c:v>
                </c:pt>
                <c:pt idx="43">
                  <c:v>0.24097884695147243</c:v>
                </c:pt>
                <c:pt idx="44">
                  <c:v>0.2479276563677468</c:v>
                </c:pt>
                <c:pt idx="45">
                  <c:v>0.2739292900258695</c:v>
                </c:pt>
                <c:pt idx="46">
                  <c:v>0.29678582156803845</c:v>
                </c:pt>
                <c:pt idx="47">
                  <c:v>0.29815602836879435</c:v>
                </c:pt>
                <c:pt idx="48">
                  <c:v>0.2791780821917808</c:v>
                </c:pt>
                <c:pt idx="49">
                  <c:v>0.28274428274428276</c:v>
                </c:pt>
                <c:pt idx="50">
                  <c:v>0.28562269594486295</c:v>
                </c:pt>
                <c:pt idx="51">
                  <c:v>0.28259740259740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994417172534558</c:v>
                </c:pt>
              </c:numCache>
            </c:numRef>
          </c:xVal>
          <c:yVal>
            <c:numRef>
              <c:f>Sheet1!$B$163:$B$164</c:f>
              <c:numCache>
                <c:formatCode>General</c:formatCode>
                <c:ptCount val="2"/>
                <c:pt idx="0">
                  <c:v>0.3148153952508909</c:v>
                </c:pt>
                <c:pt idx="1">
                  <c:v>0.31481539525089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994417172534558</c:v>
                </c:pt>
                <c:pt idx="1">
                  <c:v>1.2994417172534558</c:v>
                </c:pt>
              </c:numCache>
            </c:numRef>
          </c:xVal>
          <c:yVal>
            <c:numRef>
              <c:f>Sheet1!$B$167:$B$168</c:f>
              <c:numCache>
                <c:formatCode>General</c:formatCode>
                <c:ptCount val="2"/>
                <c:pt idx="0">
                  <c:v>0.31481539525089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618918235750026</c:v>
                </c:pt>
              </c:numCache>
            </c:numRef>
          </c:xVal>
          <c:yVal>
            <c:numRef>
              <c:f>Sheet1!$B$171:$B$172</c:f>
              <c:numCache>
                <c:formatCode>General</c:formatCode>
                <c:ptCount val="2"/>
                <c:pt idx="0">
                  <c:v>0.2825356158695823</c:v>
                </c:pt>
                <c:pt idx="1">
                  <c:v>0.28253561586958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618918235750026</c:v>
                </c:pt>
                <c:pt idx="1">
                  <c:v>0.9618918235750026</c:v>
                </c:pt>
              </c:numCache>
            </c:numRef>
          </c:xVal>
          <c:yVal>
            <c:numRef>
              <c:f>Sheet1!$B$175:$B$176</c:f>
              <c:numCache>
                <c:formatCode>General</c:formatCode>
                <c:ptCount val="2"/>
                <c:pt idx="0">
                  <c:v>0.28253561586958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330915532325361</c:v>
                </c:pt>
              </c:numCache>
            </c:numRef>
          </c:xVal>
          <c:yVal>
            <c:numRef>
              <c:f>Sheet1!$B$179:$B$180</c:f>
              <c:numCache>
                <c:formatCode>General</c:formatCode>
                <c:ptCount val="2"/>
                <c:pt idx="0">
                  <c:v>0.2702184906422574</c:v>
                </c:pt>
                <c:pt idx="1">
                  <c:v>0.27021849064225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330915532325361</c:v>
                </c:pt>
                <c:pt idx="1">
                  <c:v>0.8330915532325361</c:v>
                </c:pt>
              </c:numCache>
            </c:numRef>
          </c:xVal>
          <c:yVal>
            <c:numRef>
              <c:f>Sheet1!$B$183:$B$184</c:f>
              <c:numCache>
                <c:formatCode>General</c:formatCode>
                <c:ptCount val="2"/>
                <c:pt idx="0">
                  <c:v>0.27021849064225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5000800742489</c:v>
                </c:pt>
                <c:pt idx="1">
                  <c:v>0.6551253874246877</c:v>
                </c:pt>
                <c:pt idx="2">
                  <c:v>0.6810480844840957</c:v>
                </c:pt>
                <c:pt idx="3">
                  <c:v>0.6694530966252465</c:v>
                </c:pt>
                <c:pt idx="4">
                  <c:v>0.6737118282674835</c:v>
                </c:pt>
                <c:pt idx="5">
                  <c:v>0.6958125535028249</c:v>
                </c:pt>
                <c:pt idx="6">
                  <c:v>0.6943653182313956</c:v>
                </c:pt>
                <c:pt idx="7">
                  <c:v>0.6873178890430115</c:v>
                </c:pt>
                <c:pt idx="8">
                  <c:v>0.7267353404158626</c:v>
                </c:pt>
                <c:pt idx="9">
                  <c:v>0.7131993661154369</c:v>
                </c:pt>
                <c:pt idx="10">
                  <c:v>0.7122418841319945</c:v>
                </c:pt>
                <c:pt idx="11">
                  <c:v>0.687468034033077</c:v>
                </c:pt>
                <c:pt idx="12">
                  <c:v>0.7093946904835531</c:v>
                </c:pt>
                <c:pt idx="13">
                  <c:v>0.6931550463403812</c:v>
                </c:pt>
                <c:pt idx="14">
                  <c:v>0.6839904707076927</c:v>
                </c:pt>
                <c:pt idx="15">
                  <c:v>0.6787780279616058</c:v>
                </c:pt>
                <c:pt idx="16">
                  <c:v>0.6845904859688005</c:v>
                </c:pt>
                <c:pt idx="17">
                  <c:v>0.6750510866290709</c:v>
                </c:pt>
                <c:pt idx="18">
                  <c:v>0.7268978958706486</c:v>
                </c:pt>
                <c:pt idx="19">
                  <c:v>0.743354746407737</c:v>
                </c:pt>
                <c:pt idx="20">
                  <c:v>0.68356111711661</c:v>
                </c:pt>
                <c:pt idx="21">
                  <c:v>0.6355753387690638</c:v>
                </c:pt>
                <c:pt idx="22">
                  <c:v>0.6995270252380725</c:v>
                </c:pt>
                <c:pt idx="23">
                  <c:v>0.7010484746943618</c:v>
                </c:pt>
                <c:pt idx="24">
                  <c:v>0.6972654879155318</c:v>
                </c:pt>
                <c:pt idx="25">
                  <c:v>0.7301206487788892</c:v>
                </c:pt>
                <c:pt idx="26">
                  <c:v>0.7218869228950732</c:v>
                </c:pt>
                <c:pt idx="27">
                  <c:v>0.7264490004495484</c:v>
                </c:pt>
                <c:pt idx="28">
                  <c:v>0.7510066637978916</c:v>
                </c:pt>
                <c:pt idx="29">
                  <c:v>0.6863983809179737</c:v>
                </c:pt>
                <c:pt idx="30">
                  <c:v>0.7020304615289423</c:v>
                </c:pt>
                <c:pt idx="31">
                  <c:v>0.7122524346889252</c:v>
                </c:pt>
                <c:pt idx="32">
                  <c:v>0.698467177397553</c:v>
                </c:pt>
                <c:pt idx="33">
                  <c:v>0.7237810661852646</c:v>
                </c:pt>
                <c:pt idx="34">
                  <c:v>0.7460317954170081</c:v>
                </c:pt>
                <c:pt idx="35">
                  <c:v>0.7398856192595042</c:v>
                </c:pt>
                <c:pt idx="36">
                  <c:v>0.6427665989467479</c:v>
                </c:pt>
                <c:pt idx="37">
                  <c:v>0.64728448687825</c:v>
                </c:pt>
                <c:pt idx="38">
                  <c:v>0.6686764140125742</c:v>
                </c:pt>
                <c:pt idx="39">
                  <c:v>0.6937692700481193</c:v>
                </c:pt>
                <c:pt idx="40">
                  <c:v>0.711497033338187</c:v>
                </c:pt>
                <c:pt idx="41">
                  <c:v>0.747165146000306</c:v>
                </c:pt>
                <c:pt idx="42">
                  <c:v>0.7138576117138302</c:v>
                </c:pt>
                <c:pt idx="43">
                  <c:v>0.7900412652950272</c:v>
                </c:pt>
                <c:pt idx="44">
                  <c:v>0.7820355750462853</c:v>
                </c:pt>
                <c:pt idx="45">
                  <c:v>0.7972512553151335</c:v>
                </c:pt>
                <c:pt idx="46">
                  <c:v>0.7539903272485694</c:v>
                </c:pt>
                <c:pt idx="47">
                  <c:v>0.7581438110852132</c:v>
                </c:pt>
                <c:pt idx="48">
                  <c:v>0.8031856610803213</c:v>
                </c:pt>
                <c:pt idx="49">
                  <c:v>0.8464676600435307</c:v>
                </c:pt>
                <c:pt idx="50">
                  <c:v>0.8330589426953084</c:v>
                </c:pt>
                <c:pt idx="51">
                  <c:v>0.7910422901275235</c:v>
                </c:pt>
                <c:pt idx="52">
                  <c:v>0.9618918235750026</c:v>
                </c:pt>
                <c:pt idx="53">
                  <c:v>1.2994417172534558</c:v>
                </c:pt>
                <c:pt idx="54">
                  <c:v>0.8330915532325361</c:v>
                </c:pt>
              </c:numCache>
            </c:numRef>
          </c:xVal>
          <c:yVal>
            <c:numRef>
              <c:f>Sheet1!$B$187:$B$241</c:f>
              <c:numCache>
                <c:formatCode>General</c:formatCode>
                <c:ptCount val="55"/>
                <c:pt idx="0">
                  <c:v>0.25605662329074697</c:v>
                </c:pt>
                <c:pt idx="1">
                  <c:v>0.25319964786612226</c:v>
                </c:pt>
                <c:pt idx="2">
                  <c:v>0.2556786264044574</c:v>
                </c:pt>
                <c:pt idx="3">
                  <c:v>0.25456980173283966</c:v>
                </c:pt>
                <c:pt idx="4">
                  <c:v>0.25497706276426085</c:v>
                </c:pt>
                <c:pt idx="5">
                  <c:v>0.2570905474612619</c:v>
                </c:pt>
                <c:pt idx="6">
                  <c:v>0.2569521488536798</c:v>
                </c:pt>
                <c:pt idx="7">
                  <c:v>0.25627820564212267</c:v>
                </c:pt>
                <c:pt idx="8">
                  <c:v>0.2600476828599148</c:v>
                </c:pt>
                <c:pt idx="9">
                  <c:v>0.2587532423273841</c:v>
                </c:pt>
                <c:pt idx="10">
                  <c:v>0.25866167865704703</c:v>
                </c:pt>
                <c:pt idx="11">
                  <c:v>0.25629256395550176</c:v>
                </c:pt>
                <c:pt idx="12">
                  <c:v>0.2583894025149159</c:v>
                </c:pt>
                <c:pt idx="13">
                  <c:v>0.2568364109720659</c:v>
                </c:pt>
                <c:pt idx="14">
                  <c:v>0.25596000577956923</c:v>
                </c:pt>
                <c:pt idx="15">
                  <c:v>0.25546154168571983</c:v>
                </c:pt>
                <c:pt idx="16">
                  <c:v>0.2560173850311012</c:v>
                </c:pt>
                <c:pt idx="17">
                  <c:v>0.25510513557736564</c:v>
                </c:pt>
                <c:pt idx="18">
                  <c:v>0.26006322798173526</c:v>
                </c:pt>
                <c:pt idx="19">
                  <c:v>0.26163699089677983</c:v>
                </c:pt>
                <c:pt idx="20">
                  <c:v>0.2559189468444124</c:v>
                </c:pt>
                <c:pt idx="21">
                  <c:v>0.25133008348670477</c:v>
                </c:pt>
                <c:pt idx="22">
                  <c:v>0.25744576110634787</c:v>
                </c:pt>
                <c:pt idx="23">
                  <c:v>0.2575912567907151</c:v>
                </c:pt>
                <c:pt idx="24">
                  <c:v>0.25722949107574977</c:v>
                </c:pt>
                <c:pt idx="25">
                  <c:v>0.26037141872576075</c:v>
                </c:pt>
                <c:pt idx="26">
                  <c:v>0.25958403037223654</c:v>
                </c:pt>
                <c:pt idx="27">
                  <c:v>0.2600203002681446</c:v>
                </c:pt>
                <c:pt idx="28">
                  <c:v>0.2623687411056348</c:v>
                </c:pt>
                <c:pt idx="29">
                  <c:v>0.2561902733987079</c:v>
                </c:pt>
                <c:pt idx="30">
                  <c:v>0.25768516385147633</c:v>
                </c:pt>
                <c:pt idx="31">
                  <c:v>0.25866268760315086</c:v>
                </c:pt>
                <c:pt idx="32">
                  <c:v>0.2573444082245653</c:v>
                </c:pt>
                <c:pt idx="33">
                  <c:v>0.2597651666388123</c:v>
                </c:pt>
                <c:pt idx="34">
                  <c:v>0.26189299616601724</c:v>
                </c:pt>
                <c:pt idx="35">
                  <c:v>0.26130523946954537</c:v>
                </c:pt>
                <c:pt idx="36">
                  <c:v>0.25201778120593543</c:v>
                </c:pt>
                <c:pt idx="37">
                  <c:v>0.252449825263509</c:v>
                </c:pt>
                <c:pt idx="38">
                  <c:v>0.25449552784368756</c:v>
                </c:pt>
                <c:pt idx="39">
                  <c:v>0.2568951489724263</c:v>
                </c:pt>
                <c:pt idx="40">
                  <c:v>0.25859044883370425</c:v>
                </c:pt>
                <c:pt idx="41">
                  <c:v>0.2620013780896252</c:v>
                </c:pt>
                <c:pt idx="42">
                  <c:v>0.25881619012589563</c:v>
                </c:pt>
                <c:pt idx="43">
                  <c:v>0.26610160652245857</c:v>
                </c:pt>
                <c:pt idx="44">
                  <c:v>0.2653360251377088</c:v>
                </c:pt>
                <c:pt idx="45">
                  <c:v>0.26679109537003076</c:v>
                </c:pt>
                <c:pt idx="46">
                  <c:v>0.2626540678076711</c:v>
                </c:pt>
                <c:pt idx="47">
                  <c:v>0.2630512640279087</c:v>
                </c:pt>
                <c:pt idx="48">
                  <c:v>0.2673586005372577</c:v>
                </c:pt>
                <c:pt idx="49">
                  <c:v>0.2714976431021632</c:v>
                </c:pt>
                <c:pt idx="50">
                  <c:v>0.27021537210788094</c:v>
                </c:pt>
                <c:pt idx="51">
                  <c:v>0.2661973341803644</c:v>
                </c:pt>
                <c:pt idx="52">
                  <c:v>0.2825356158695823</c:v>
                </c:pt>
                <c:pt idx="53">
                  <c:v>0.3148153952508909</c:v>
                </c:pt>
                <c:pt idx="54">
                  <c:v>0.27021849064225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44425459205468"/>
          <c:min val="0.141580135440180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7.5</c:v>
                </c:pt>
                <c:pt idx="1">
                  <c:v>890.5949</c:v>
                </c:pt>
                <c:pt idx="2">
                  <c:v>944.2366</c:v>
                </c:pt>
                <c:pt idx="3">
                  <c:v>965.9944</c:v>
                </c:pt>
                <c:pt idx="4">
                  <c:v>971.0817</c:v>
                </c:pt>
                <c:pt idx="5">
                  <c:v>954.3755</c:v>
                </c:pt>
                <c:pt idx="6">
                  <c:v>895.8408</c:v>
                </c:pt>
                <c:pt idx="7">
                  <c:v>916.2712</c:v>
                </c:pt>
                <c:pt idx="8">
                  <c:v>937.5413</c:v>
                </c:pt>
                <c:pt idx="9">
                  <c:v>878.5254</c:v>
                </c:pt>
                <c:pt idx="10">
                  <c:v>870.1153</c:v>
                </c:pt>
                <c:pt idx="11">
                  <c:v>954.1943</c:v>
                </c:pt>
                <c:pt idx="12">
                  <c:v>965.9467</c:v>
                </c:pt>
                <c:pt idx="13">
                  <c:v>960.6833</c:v>
                </c:pt>
                <c:pt idx="14">
                  <c:v>972.4135</c:v>
                </c:pt>
                <c:pt idx="15">
                  <c:v>950.077</c:v>
                </c:pt>
                <c:pt idx="16">
                  <c:v>960.7525</c:v>
                </c:pt>
                <c:pt idx="17">
                  <c:v>973.0279</c:v>
                </c:pt>
                <c:pt idx="18">
                  <c:v>1037.7644</c:v>
                </c:pt>
                <c:pt idx="19">
                  <c:v>1082.184</c:v>
                </c:pt>
                <c:pt idx="20">
                  <c:v>1090.9413</c:v>
                </c:pt>
                <c:pt idx="21">
                  <c:v>1096.0681</c:v>
                </c:pt>
                <c:pt idx="22">
                  <c:v>1040.0176</c:v>
                </c:pt>
                <c:pt idx="23">
                  <c:v>1049.0554</c:v>
                </c:pt>
                <c:pt idx="24">
                  <c:v>1045.2129</c:v>
                </c:pt>
                <c:pt idx="25">
                  <c:v>1006.8481</c:v>
                </c:pt>
                <c:pt idx="26">
                  <c:v>995.8358</c:v>
                </c:pt>
                <c:pt idx="27">
                  <c:v>1047.7424</c:v>
                </c:pt>
                <c:pt idx="28">
                  <c:v>1032.5579</c:v>
                </c:pt>
                <c:pt idx="29">
                  <c:v>996.2846</c:v>
                </c:pt>
                <c:pt idx="30">
                  <c:v>987.9093</c:v>
                </c:pt>
                <c:pt idx="31">
                  <c:v>989.7377</c:v>
                </c:pt>
                <c:pt idx="32">
                  <c:v>958.3375</c:v>
                </c:pt>
                <c:pt idx="33">
                  <c:v>927.9032</c:v>
                </c:pt>
                <c:pt idx="34">
                  <c:v>929.9596</c:v>
                </c:pt>
                <c:pt idx="35">
                  <c:v>990.8058</c:v>
                </c:pt>
                <c:pt idx="36">
                  <c:v>1090.8325</c:v>
                </c:pt>
                <c:pt idx="37">
                  <c:v>1086.4239</c:v>
                </c:pt>
                <c:pt idx="38">
                  <c:v>1151.1242</c:v>
                </c:pt>
                <c:pt idx="39">
                  <c:v>1169.3171</c:v>
                </c:pt>
                <c:pt idx="40">
                  <c:v>1150.7273</c:v>
                </c:pt>
                <c:pt idx="41">
                  <c:v>1195.4194</c:v>
                </c:pt>
                <c:pt idx="42">
                  <c:v>1229.6898</c:v>
                </c:pt>
                <c:pt idx="43">
                  <c:v>1242.2879</c:v>
                </c:pt>
                <c:pt idx="44">
                  <c:v>1161.6159</c:v>
                </c:pt>
                <c:pt idx="45">
                  <c:v>1117.8559</c:v>
                </c:pt>
                <c:pt idx="46">
                  <c:v>1122.8654</c:v>
                </c:pt>
                <c:pt idx="47">
                  <c:v>1104.6823</c:v>
                </c:pt>
                <c:pt idx="48">
                  <c:v>1099.4551</c:v>
                </c:pt>
                <c:pt idx="49">
                  <c:v>1052.0525</c:v>
                </c:pt>
                <c:pt idx="50">
                  <c:v>1049.846</c:v>
                </c:pt>
                <c:pt idx="51">
                  <c:v>1063.5443</c:v>
                </c:pt>
                <c:pt idx="52">
                  <c:v>1068.4643</c:v>
                </c:pt>
                <c:pt idx="53">
                  <c:v>1152.8293</c:v>
                </c:pt>
                <c:pt idx="54">
                  <c:v>1143.1776</c:v>
                </c:pt>
                <c:pt idx="55">
                  <c:v>1175.8077</c:v>
                </c:pt>
                <c:pt idx="56">
                  <c:v>1194.1301</c:v>
                </c:pt>
                <c:pt idx="57">
                  <c:v>1150.1304</c:v>
                </c:pt>
                <c:pt idx="58">
                  <c:v>1107.5827</c:v>
                </c:pt>
                <c:pt idx="59">
                  <c:v>1100.3276</c:v>
                </c:pt>
                <c:pt idx="60">
                  <c:v>1127.9539</c:v>
                </c:pt>
                <c:pt idx="61">
                  <c:v>1159.6702</c:v>
                </c:pt>
                <c:pt idx="62">
                  <c:v>1074.46</c:v>
                </c:pt>
                <c:pt idx="63">
                  <c:v>1126.8499</c:v>
                </c:pt>
                <c:pt idx="64">
                  <c:v>1141.8818</c:v>
                </c:pt>
                <c:pt idx="65">
                  <c:v>1134.1847</c:v>
                </c:pt>
                <c:pt idx="66">
                  <c:v>1129.0598</c:v>
                </c:pt>
                <c:pt idx="67">
                  <c:v>1154.1025</c:v>
                </c:pt>
                <c:pt idx="68">
                  <c:v>1179.0098</c:v>
                </c:pt>
                <c:pt idx="69">
                  <c:v>1188.2452</c:v>
                </c:pt>
                <c:pt idx="70">
                  <c:v>1195.0915</c:v>
                </c:pt>
                <c:pt idx="71">
                  <c:v>1261.5033</c:v>
                </c:pt>
                <c:pt idx="72">
                  <c:v>1348.0929</c:v>
                </c:pt>
                <c:pt idx="73">
                  <c:v>1339.0182</c:v>
                </c:pt>
                <c:pt idx="74">
                  <c:v>1310.9942</c:v>
                </c:pt>
                <c:pt idx="75">
                  <c:v>1253.0022</c:v>
                </c:pt>
                <c:pt idx="76">
                  <c:v>1234.1086</c:v>
                </c:pt>
                <c:pt idx="77">
                  <c:v>1266.8005</c:v>
                </c:pt>
                <c:pt idx="78">
                  <c:v>1293.6802</c:v>
                </c:pt>
                <c:pt idx="79">
                  <c:v>1302.0022</c:v>
                </c:pt>
                <c:pt idx="80">
                  <c:v>1276.2261</c:v>
                </c:pt>
                <c:pt idx="81">
                  <c:v>1267.2142</c:v>
                </c:pt>
                <c:pt idx="82">
                  <c:v>1259.8739</c:v>
                </c:pt>
                <c:pt idx="83">
                  <c:v>1213.3836</c:v>
                </c:pt>
                <c:pt idx="84">
                  <c:v>1244.3382</c:v>
                </c:pt>
                <c:pt idx="85">
                  <c:v>1180.7608</c:v>
                </c:pt>
                <c:pt idx="86">
                  <c:v>1186.0141</c:v>
                </c:pt>
                <c:pt idx="87">
                  <c:v>1189.4323</c:v>
                </c:pt>
                <c:pt idx="88">
                  <c:v>1270.3739</c:v>
                </c:pt>
                <c:pt idx="89">
                  <c:v>1237.1338</c:v>
                </c:pt>
                <c:pt idx="90">
                  <c:v>1317.3417</c:v>
                </c:pt>
                <c:pt idx="91">
                  <c:v>1352.6418</c:v>
                </c:pt>
                <c:pt idx="92">
                  <c:v>1291.0965</c:v>
                </c:pt>
                <c:pt idx="93">
                  <c:v>1314.1944</c:v>
                </c:pt>
                <c:pt idx="94">
                  <c:v>1311.9333</c:v>
                </c:pt>
                <c:pt idx="95">
                  <c:v>1286.9022</c:v>
                </c:pt>
                <c:pt idx="96">
                  <c:v>1197.0821</c:v>
                </c:pt>
                <c:pt idx="97">
                  <c:v>1179.1692</c:v>
                </c:pt>
                <c:pt idx="98">
                  <c:v>1165.5983</c:v>
                </c:pt>
                <c:pt idx="99">
                  <c:v>1106.3357</c:v>
                </c:pt>
                <c:pt idx="100">
                  <c:v>1129.9322</c:v>
                </c:pt>
                <c:pt idx="101">
                  <c:v>1123.3932</c:v>
                </c:pt>
                <c:pt idx="102">
                  <c:v>1126.2083</c:v>
                </c:pt>
                <c:pt idx="103">
                  <c:v>1125.9162</c:v>
                </c:pt>
                <c:pt idx="104">
                  <c:v>1173.4716</c:v>
                </c:pt>
              </c:numCache>
            </c:numRef>
          </c:xVal>
          <c:yVal>
            <c:numRef>
              <c:f>Sheet1!$B$2:$B$106</c:f>
              <c:numCache>
                <c:formatCode>General</c:formatCode>
                <c:ptCount val="105"/>
                <c:pt idx="0">
                  <c:v>0.30826866470430825</c:v>
                </c:pt>
                <c:pt idx="1">
                  <c:v>0.30906095551894563</c:v>
                </c:pt>
                <c:pt idx="2">
                  <c:v>0.29924480805538073</c:v>
                </c:pt>
                <c:pt idx="3">
                  <c:v>0.2953866578161301</c:v>
                </c:pt>
                <c:pt idx="4">
                  <c:v>0.31790820165538</c:v>
                </c:pt>
                <c:pt idx="5">
                  <c:v>0.30998116760828626</c:v>
                </c:pt>
                <c:pt idx="6">
                  <c:v>0.3236282194848824</c:v>
                </c:pt>
                <c:pt idx="7">
                  <c:v>0.337035454933789</c:v>
                </c:pt>
                <c:pt idx="8">
                  <c:v>0.332824427480916</c:v>
                </c:pt>
                <c:pt idx="9">
                  <c:v>0.31663685152057247</c:v>
                </c:pt>
                <c:pt idx="10">
                  <c:v>0.31366350544432736</c:v>
                </c:pt>
                <c:pt idx="11">
                  <c:v>0.2711076684740511</c:v>
                </c:pt>
                <c:pt idx="12">
                  <c:v>0.2572030920590302</c:v>
                </c:pt>
                <c:pt idx="13">
                  <c:v>0.2530755711775044</c:v>
                </c:pt>
                <c:pt idx="14">
                  <c:v>0.2406929598230741</c:v>
                </c:pt>
                <c:pt idx="15">
                  <c:v>0.24429315178213856</c:v>
                </c:pt>
                <c:pt idx="16">
                  <c:v>0.23708920187793428</c:v>
                </c:pt>
                <c:pt idx="17">
                  <c:v>0.2084343189529811</c:v>
                </c:pt>
                <c:pt idx="18">
                  <c:v>0.19080919080919082</c:v>
                </c:pt>
                <c:pt idx="19">
                  <c:v>0.1811111111111111</c:v>
                </c:pt>
                <c:pt idx="20">
                  <c:v>0.17697516930022572</c:v>
                </c:pt>
                <c:pt idx="21">
                  <c:v>0.18955399061032863</c:v>
                </c:pt>
                <c:pt idx="22">
                  <c:v>0.24528301886792453</c:v>
                </c:pt>
                <c:pt idx="23">
                  <c:v>0.24421883812746756</c:v>
                </c:pt>
                <c:pt idx="24">
                  <c:v>0.257843137254902</c:v>
                </c:pt>
                <c:pt idx="25">
                  <c:v>0.27367205542725176</c:v>
                </c:pt>
                <c:pt idx="26">
                  <c:v>0.2886710239651416</c:v>
                </c:pt>
                <c:pt idx="27">
                  <c:v>0.27521008403361347</c:v>
                </c:pt>
                <c:pt idx="28">
                  <c:v>0.2847718526663002</c:v>
                </c:pt>
                <c:pt idx="29">
                  <c:v>0.2976190476190476</c:v>
                </c:pt>
                <c:pt idx="30">
                  <c:v>0.29269764634882317</c:v>
                </c:pt>
                <c:pt idx="31">
                  <c:v>0.2897758337889557</c:v>
                </c:pt>
                <c:pt idx="32">
                  <c:v>0.2980308674827036</c:v>
                </c:pt>
                <c:pt idx="33">
                  <c:v>0.2929964539007092</c:v>
                </c:pt>
                <c:pt idx="34">
                  <c:v>0.2971150243536905</c:v>
                </c:pt>
                <c:pt idx="35">
                  <c:v>0.2952346829093515</c:v>
                </c:pt>
                <c:pt idx="36">
                  <c:v>0.28421052631578947</c:v>
                </c:pt>
                <c:pt idx="37">
                  <c:v>0.27888232133261687</c:v>
                </c:pt>
                <c:pt idx="38">
                  <c:v>0.2737397420867526</c:v>
                </c:pt>
                <c:pt idx="39">
                  <c:v>0.27152698048220436</c:v>
                </c:pt>
                <c:pt idx="40">
                  <c:v>0.26</c:v>
                </c:pt>
                <c:pt idx="41">
                  <c:v>0.2553296975706495</c:v>
                </c:pt>
                <c:pt idx="42">
                  <c:v>0.24312333629103816</c:v>
                </c:pt>
                <c:pt idx="43">
                  <c:v>0.2448290417897847</c:v>
                </c:pt>
                <c:pt idx="44">
                  <c:v>0.2469430360870862</c:v>
                </c:pt>
                <c:pt idx="45">
                  <c:v>0.2689671472465138</c:v>
                </c:pt>
                <c:pt idx="46">
                  <c:v>0.26576394502829426</c:v>
                </c:pt>
                <c:pt idx="47">
                  <c:v>0.2639412997903564</c:v>
                </c:pt>
                <c:pt idx="48">
                  <c:v>0.27108331924961976</c:v>
                </c:pt>
                <c:pt idx="49">
                  <c:v>0.28211920529801326</c:v>
                </c:pt>
                <c:pt idx="50">
                  <c:v>0.25902469917669413</c:v>
                </c:pt>
                <c:pt idx="51">
                  <c:v>0.24299792531120332</c:v>
                </c:pt>
                <c:pt idx="52">
                  <c:v>0.25635386119257086</c:v>
                </c:pt>
                <c:pt idx="53">
                  <c:v>0.24065492740191535</c:v>
                </c:pt>
                <c:pt idx="54">
                  <c:v>0.25757575757575757</c:v>
                </c:pt>
                <c:pt idx="55">
                  <c:v>0.23777777777777778</c:v>
                </c:pt>
                <c:pt idx="56">
                  <c:v>0.22939649578195975</c:v>
                </c:pt>
                <c:pt idx="57">
                  <c:v>0.2348233995584989</c:v>
                </c:pt>
                <c:pt idx="58">
                  <c:v>0.24801482265749072</c:v>
                </c:pt>
                <c:pt idx="59">
                  <c:v>0.2627587620414019</c:v>
                </c:pt>
                <c:pt idx="60">
                  <c:v>0.26578699340245054</c:v>
                </c:pt>
                <c:pt idx="61">
                  <c:v>0.2556721977649848</c:v>
                </c:pt>
                <c:pt idx="62">
                  <c:v>0.2694077055779183</c:v>
                </c:pt>
                <c:pt idx="63">
                  <c:v>0.2755131540907777</c:v>
                </c:pt>
                <c:pt idx="64">
                  <c:v>0.2650948821161587</c:v>
                </c:pt>
                <c:pt idx="65">
                  <c:v>0.26282051282051283</c:v>
                </c:pt>
                <c:pt idx="66">
                  <c:v>0.2488095238095238</c:v>
                </c:pt>
                <c:pt idx="67">
                  <c:v>0.2302325581395349</c:v>
                </c:pt>
                <c:pt idx="68">
                  <c:v>0.23242630385487528</c:v>
                </c:pt>
                <c:pt idx="69">
                  <c:v>0.2190296749882242</c:v>
                </c:pt>
                <c:pt idx="70">
                  <c:v>0.2170212765957447</c:v>
                </c:pt>
                <c:pt idx="71">
                  <c:v>0.23398760330578514</c:v>
                </c:pt>
                <c:pt idx="72">
                  <c:v>0.2141535615171138</c:v>
                </c:pt>
                <c:pt idx="73">
                  <c:v>0.21721919841662543</c:v>
                </c:pt>
                <c:pt idx="74">
                  <c:v>0.2288512911843277</c:v>
                </c:pt>
                <c:pt idx="75">
                  <c:v>0.23487544483985764</c:v>
                </c:pt>
                <c:pt idx="76">
                  <c:v>0.24514697726012202</c:v>
                </c:pt>
                <c:pt idx="77">
                  <c:v>0.23577235772357724</c:v>
                </c:pt>
                <c:pt idx="78">
                  <c:v>0.24925639500297442</c:v>
                </c:pt>
                <c:pt idx="79">
                  <c:v>0.19818260493292947</c:v>
                </c:pt>
                <c:pt idx="80">
                  <c:v>0.18915343915343916</c:v>
                </c:pt>
                <c:pt idx="81">
                  <c:v>0.21492204899777284</c:v>
                </c:pt>
                <c:pt idx="82">
                  <c:v>0.21616261774913237</c:v>
                </c:pt>
                <c:pt idx="83">
                  <c:v>0.2292713567839196</c:v>
                </c:pt>
                <c:pt idx="84">
                  <c:v>0.22866666666666666</c:v>
                </c:pt>
                <c:pt idx="85">
                  <c:v>0.2545931758530184</c:v>
                </c:pt>
                <c:pt idx="86">
                  <c:v>0.2640728476821192</c:v>
                </c:pt>
                <c:pt idx="87">
                  <c:v>0.2716697936210131</c:v>
                </c:pt>
                <c:pt idx="88">
                  <c:v>0.25942350332594233</c:v>
                </c:pt>
                <c:pt idx="89">
                  <c:v>0.2677561282212445</c:v>
                </c:pt>
                <c:pt idx="90">
                  <c:v>0.2446220036877689</c:v>
                </c:pt>
                <c:pt idx="91">
                  <c:v>0.23130034522439585</c:v>
                </c:pt>
                <c:pt idx="92">
                  <c:v>0.25654450261780104</c:v>
                </c:pt>
                <c:pt idx="93">
                  <c:v>0.2567178502879079</c:v>
                </c:pt>
                <c:pt idx="94">
                  <c:v>0.2568167406467977</c:v>
                </c:pt>
                <c:pt idx="95">
                  <c:v>0.23063829787234041</c:v>
                </c:pt>
                <c:pt idx="96">
                  <c:v>0.26046926046926044</c:v>
                </c:pt>
                <c:pt idx="97">
                  <c:v>0.2783068783068783</c:v>
                </c:pt>
                <c:pt idx="98">
                  <c:v>0.2726103729104158</c:v>
                </c:pt>
                <c:pt idx="99">
                  <c:v>0.2747004688313943</c:v>
                </c:pt>
                <c:pt idx="100">
                  <c:v>0.273318571823969</c:v>
                </c:pt>
                <c:pt idx="101">
                  <c:v>0.2731981981981982</c:v>
                </c:pt>
                <c:pt idx="102">
                  <c:v>0.2740740740740741</c:v>
                </c:pt>
                <c:pt idx="103">
                  <c:v>0.2627388535031847</c:v>
                </c:pt>
                <c:pt idx="104">
                  <c:v>0.2565682776516380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5.7667</c:v>
                </c:pt>
                <c:pt idx="1">
                  <c:v>1231.7906</c:v>
                </c:pt>
                <c:pt idx="2">
                  <c:v>1253.2354</c:v>
                </c:pt>
                <c:pt idx="3">
                  <c:v>1254.6825</c:v>
                </c:pt>
                <c:pt idx="4">
                  <c:v>1287.8837</c:v>
                </c:pt>
                <c:pt idx="5">
                  <c:v>1264.5888</c:v>
                </c:pt>
                <c:pt idx="6">
                  <c:v>1144.2653</c:v>
                </c:pt>
                <c:pt idx="7">
                  <c:v>1178.4613</c:v>
                </c:pt>
                <c:pt idx="8">
                  <c:v>1279.9382</c:v>
                </c:pt>
                <c:pt idx="9">
                  <c:v>1205.2789</c:v>
                </c:pt>
                <c:pt idx="10">
                  <c:v>1213.7445</c:v>
                </c:pt>
                <c:pt idx="11">
                  <c:v>1020.4715</c:v>
                </c:pt>
                <c:pt idx="12">
                  <c:v>1114.6955</c:v>
                </c:pt>
                <c:pt idx="13">
                  <c:v>1198.6742</c:v>
                </c:pt>
                <c:pt idx="14">
                  <c:v>1177.9004</c:v>
                </c:pt>
                <c:pt idx="15">
                  <c:v>1198.625</c:v>
                </c:pt>
                <c:pt idx="16">
                  <c:v>1230.1937</c:v>
                </c:pt>
                <c:pt idx="17">
                  <c:v>1198.8266</c:v>
                </c:pt>
                <c:pt idx="18">
                  <c:v>1263.8022</c:v>
                </c:pt>
                <c:pt idx="19">
                  <c:v>1356.5231</c:v>
                </c:pt>
                <c:pt idx="20">
                  <c:v>1330.8384</c:v>
                </c:pt>
                <c:pt idx="21">
                  <c:v>1214.1151</c:v>
                </c:pt>
                <c:pt idx="22">
                  <c:v>1318.3904</c:v>
                </c:pt>
                <c:pt idx="23">
                  <c:v>1330.1855</c:v>
                </c:pt>
                <c:pt idx="24">
                  <c:v>1319.2832</c:v>
                </c:pt>
                <c:pt idx="25">
                  <c:v>1230.5184</c:v>
                </c:pt>
                <c:pt idx="26">
                  <c:v>1272.4368</c:v>
                </c:pt>
                <c:pt idx="27">
                  <c:v>1272.8859</c:v>
                </c:pt>
                <c:pt idx="28">
                  <c:v>1334.9368</c:v>
                </c:pt>
                <c:pt idx="29">
                  <c:v>1322.1593</c:v>
                </c:pt>
                <c:pt idx="30">
                  <c:v>1318.4005</c:v>
                </c:pt>
                <c:pt idx="31">
                  <c:v>1313.8202</c:v>
                </c:pt>
                <c:pt idx="32">
                  <c:v>1308.3581</c:v>
                </c:pt>
                <c:pt idx="33">
                  <c:v>1316.2516</c:v>
                </c:pt>
                <c:pt idx="34">
                  <c:v>1342.788</c:v>
                </c:pt>
                <c:pt idx="35">
                  <c:v>1371.4252</c:v>
                </c:pt>
                <c:pt idx="36">
                  <c:v>1344.2874</c:v>
                </c:pt>
                <c:pt idx="37">
                  <c:v>1342.3097</c:v>
                </c:pt>
                <c:pt idx="38">
                  <c:v>1360.2455</c:v>
                </c:pt>
                <c:pt idx="39">
                  <c:v>1326.6009</c:v>
                </c:pt>
                <c:pt idx="40">
                  <c:v>1375.4899</c:v>
                </c:pt>
                <c:pt idx="41">
                  <c:v>1399.6165</c:v>
                </c:pt>
                <c:pt idx="42">
                  <c:v>1410.5553</c:v>
                </c:pt>
                <c:pt idx="43">
                  <c:v>1404.3546</c:v>
                </c:pt>
                <c:pt idx="44">
                  <c:v>1307.9179</c:v>
                </c:pt>
                <c:pt idx="45">
                  <c:v>1252.958</c:v>
                </c:pt>
                <c:pt idx="46">
                  <c:v>1235.7247</c:v>
                </c:pt>
                <c:pt idx="47">
                  <c:v>1207.824</c:v>
                </c:pt>
                <c:pt idx="48">
                  <c:v>1212.42</c:v>
                </c:pt>
                <c:pt idx="49">
                  <c:v>1236.7998</c:v>
                </c:pt>
                <c:pt idx="50">
                  <c:v>1198.6257</c:v>
                </c:pt>
                <c:pt idx="51">
                  <c:v>1137.4458</c:v>
                </c:pt>
              </c:numCache>
            </c:numRef>
          </c:xVal>
          <c:yVal>
            <c:numRef>
              <c:f>Sheet1!$B$109:$B$160</c:f>
              <c:numCache>
                <c:formatCode>General</c:formatCode>
                <c:ptCount val="52"/>
                <c:pt idx="0">
                  <c:v>0.2493939393939394</c:v>
                </c:pt>
                <c:pt idx="1">
                  <c:v>0.24313462826523777</c:v>
                </c:pt>
                <c:pt idx="2">
                  <c:v>0.25810185185185186</c:v>
                </c:pt>
                <c:pt idx="3">
                  <c:v>0.27251324308416713</c:v>
                </c:pt>
                <c:pt idx="4">
                  <c:v>0.2361111111111111</c:v>
                </c:pt>
                <c:pt idx="5">
                  <c:v>0.24867889337892446</c:v>
                </c:pt>
                <c:pt idx="6">
                  <c:v>0.2674865488086088</c:v>
                </c:pt>
                <c:pt idx="7">
                  <c:v>0.2746882372767105</c:v>
                </c:pt>
                <c:pt idx="8">
                  <c:v>0.24640835872877667</c:v>
                </c:pt>
                <c:pt idx="9">
                  <c:v>0.26800929512006194</c:v>
                </c:pt>
                <c:pt idx="10">
                  <c:v>0.265600624024961</c:v>
                </c:pt>
                <c:pt idx="11">
                  <c:v>0.2875589769058853</c:v>
                </c:pt>
                <c:pt idx="12">
                  <c:v>0.2799483371004198</c:v>
                </c:pt>
                <c:pt idx="13">
                  <c:v>0.2624401032067822</c:v>
                </c:pt>
                <c:pt idx="14">
                  <c:v>0.2636986301369863</c:v>
                </c:pt>
                <c:pt idx="15">
                  <c:v>0.27438752783964365</c:v>
                </c:pt>
                <c:pt idx="16">
                  <c:v>0.26464435146443516</c:v>
                </c:pt>
                <c:pt idx="17">
                  <c:v>0.2755465175394001</c:v>
                </c:pt>
                <c:pt idx="18">
                  <c:v>0.25461667599328486</c:v>
                </c:pt>
                <c:pt idx="19">
                  <c:v>0.25</c:v>
                </c:pt>
                <c:pt idx="20">
                  <c:v>0.24596774193548387</c:v>
                </c:pt>
                <c:pt idx="21">
                  <c:v>0.26046221111805123</c:v>
                </c:pt>
                <c:pt idx="22">
                  <c:v>0.2365911799761621</c:v>
                </c:pt>
                <c:pt idx="23">
                  <c:v>0.2327909887359199</c:v>
                </c:pt>
                <c:pt idx="24">
                  <c:v>0.24511930585683298</c:v>
                </c:pt>
                <c:pt idx="25">
                  <c:v>0.25565985643291</c:v>
                </c:pt>
                <c:pt idx="26">
                  <c:v>0.23563218390804597</c:v>
                </c:pt>
                <c:pt idx="27">
                  <c:v>0.24080431584109857</c:v>
                </c:pt>
                <c:pt idx="28">
                  <c:v>0.22885572139303484</c:v>
                </c:pt>
                <c:pt idx="29">
                  <c:v>0.24458874458874458</c:v>
                </c:pt>
                <c:pt idx="30">
                  <c:v>0.24178403755868544</c:v>
                </c:pt>
                <c:pt idx="31">
                  <c:v>0.23286802030456852</c:v>
                </c:pt>
                <c:pt idx="32">
                  <c:v>0.2271526677231907</c:v>
                </c:pt>
                <c:pt idx="33">
                  <c:v>0.25677365568987076</c:v>
                </c:pt>
                <c:pt idx="34">
                  <c:v>0.2763902763902764</c:v>
                </c:pt>
                <c:pt idx="35">
                  <c:v>0.25149150986691143</c:v>
                </c:pt>
                <c:pt idx="36">
                  <c:v>0.2615505090054816</c:v>
                </c:pt>
                <c:pt idx="37">
                  <c:v>0.26348547717842324</c:v>
                </c:pt>
                <c:pt idx="38">
                  <c:v>0.27342657342657345</c:v>
                </c:pt>
                <c:pt idx="39">
                  <c:v>0.25297787861599547</c:v>
                </c:pt>
                <c:pt idx="40">
                  <c:v>0.2542857142857143</c:v>
                </c:pt>
                <c:pt idx="41">
                  <c:v>0.25392670157068065</c:v>
                </c:pt>
                <c:pt idx="42">
                  <c:v>0.2637299771167048</c:v>
                </c:pt>
                <c:pt idx="43">
                  <c:v>0.24097884695147243</c:v>
                </c:pt>
                <c:pt idx="44">
                  <c:v>0.2479276563677468</c:v>
                </c:pt>
                <c:pt idx="45">
                  <c:v>0.2739292900258695</c:v>
                </c:pt>
                <c:pt idx="46">
                  <c:v>0.29678582156803845</c:v>
                </c:pt>
                <c:pt idx="47">
                  <c:v>0.29815602836879435</c:v>
                </c:pt>
                <c:pt idx="48">
                  <c:v>0.2791780821917808</c:v>
                </c:pt>
                <c:pt idx="49">
                  <c:v>0.28274428274428276</c:v>
                </c:pt>
                <c:pt idx="50">
                  <c:v>0.28562269594486295</c:v>
                </c:pt>
                <c:pt idx="51">
                  <c:v>0.28259740259740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10.2321899334671</c:v>
                </c:pt>
              </c:numCache>
            </c:numRef>
          </c:xVal>
          <c:yVal>
            <c:numRef>
              <c:f>Sheet1!$B$163:$B$164</c:f>
              <c:numCache>
                <c:formatCode>General</c:formatCode>
                <c:ptCount val="2"/>
                <c:pt idx="0">
                  <c:v>0.3148153952508909</c:v>
                </c:pt>
                <c:pt idx="1">
                  <c:v>0.31481539525089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10.2321899334671</c:v>
                </c:pt>
                <c:pt idx="1">
                  <c:v>810.2321899334671</c:v>
                </c:pt>
              </c:numCache>
            </c:numRef>
          </c:xVal>
          <c:yVal>
            <c:numRef>
              <c:f>Sheet1!$B$167:$B$168</c:f>
              <c:numCache>
                <c:formatCode>General</c:formatCode>
                <c:ptCount val="2"/>
                <c:pt idx="0">
                  <c:v>0.31481539525089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5.048965434339</c:v>
                </c:pt>
              </c:numCache>
            </c:numRef>
          </c:xVal>
          <c:yVal>
            <c:numRef>
              <c:f>Sheet1!$B$171:$B$172</c:f>
              <c:numCache>
                <c:formatCode>General</c:formatCode>
                <c:ptCount val="2"/>
                <c:pt idx="0">
                  <c:v>0.2825356158695823</c:v>
                </c:pt>
                <c:pt idx="1">
                  <c:v>0.28253561586958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5.048965434339</c:v>
                </c:pt>
                <c:pt idx="1">
                  <c:v>1075.048965434339</c:v>
                </c:pt>
              </c:numCache>
            </c:numRef>
          </c:xVal>
          <c:yVal>
            <c:numRef>
              <c:f>Sheet1!$B$175:$B$176</c:f>
              <c:numCache>
                <c:formatCode>General</c:formatCode>
                <c:ptCount val="2"/>
                <c:pt idx="0">
                  <c:v>0.28253561586958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6.0961673873157</c:v>
                </c:pt>
              </c:numCache>
            </c:numRef>
          </c:xVal>
          <c:yVal>
            <c:numRef>
              <c:f>Sheet1!$B$179:$B$180</c:f>
              <c:numCache>
                <c:formatCode>General</c:formatCode>
                <c:ptCount val="2"/>
                <c:pt idx="0">
                  <c:v>0.2702184906422574</c:v>
                </c:pt>
                <c:pt idx="1">
                  <c:v>0.27021849064225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6.0961673873157</c:v>
                </c:pt>
                <c:pt idx="1">
                  <c:v>1176.0961673873157</c:v>
                </c:pt>
              </c:numCache>
            </c:numRef>
          </c:xVal>
          <c:yVal>
            <c:numRef>
              <c:f>Sheet1!$B$183:$B$184</c:f>
              <c:numCache>
                <c:formatCode>General</c:formatCode>
                <c:ptCount val="2"/>
                <c:pt idx="0">
                  <c:v>0.27021849064225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5.7667</c:v>
                </c:pt>
                <c:pt idx="1">
                  <c:v>1231.7906</c:v>
                </c:pt>
                <c:pt idx="2">
                  <c:v>1253.2354</c:v>
                </c:pt>
                <c:pt idx="3">
                  <c:v>1254.6825</c:v>
                </c:pt>
                <c:pt idx="4">
                  <c:v>1287.8837</c:v>
                </c:pt>
                <c:pt idx="5">
                  <c:v>1264.5888</c:v>
                </c:pt>
                <c:pt idx="6">
                  <c:v>1144.2653</c:v>
                </c:pt>
                <c:pt idx="7">
                  <c:v>1178.4613</c:v>
                </c:pt>
                <c:pt idx="8">
                  <c:v>1279.9382</c:v>
                </c:pt>
                <c:pt idx="9">
                  <c:v>1205.2789</c:v>
                </c:pt>
                <c:pt idx="10">
                  <c:v>1213.7445</c:v>
                </c:pt>
                <c:pt idx="11">
                  <c:v>1020.4715</c:v>
                </c:pt>
                <c:pt idx="12">
                  <c:v>1114.6955</c:v>
                </c:pt>
                <c:pt idx="13">
                  <c:v>1198.6742</c:v>
                </c:pt>
                <c:pt idx="14">
                  <c:v>1177.9004</c:v>
                </c:pt>
                <c:pt idx="15">
                  <c:v>1198.625</c:v>
                </c:pt>
                <c:pt idx="16">
                  <c:v>1230.1937</c:v>
                </c:pt>
                <c:pt idx="17">
                  <c:v>1198.8266</c:v>
                </c:pt>
                <c:pt idx="18">
                  <c:v>1263.8022</c:v>
                </c:pt>
                <c:pt idx="19">
                  <c:v>1356.5231</c:v>
                </c:pt>
                <c:pt idx="20">
                  <c:v>1330.8384</c:v>
                </c:pt>
                <c:pt idx="21">
                  <c:v>1214.1151</c:v>
                </c:pt>
                <c:pt idx="22">
                  <c:v>1318.3904</c:v>
                </c:pt>
                <c:pt idx="23">
                  <c:v>1330.1855</c:v>
                </c:pt>
                <c:pt idx="24">
                  <c:v>1319.2832</c:v>
                </c:pt>
                <c:pt idx="25">
                  <c:v>1230.5184</c:v>
                </c:pt>
                <c:pt idx="26">
                  <c:v>1272.4368</c:v>
                </c:pt>
                <c:pt idx="27">
                  <c:v>1272.8859</c:v>
                </c:pt>
                <c:pt idx="28">
                  <c:v>1334.9368</c:v>
                </c:pt>
                <c:pt idx="29">
                  <c:v>1322.1593</c:v>
                </c:pt>
                <c:pt idx="30">
                  <c:v>1318.4005</c:v>
                </c:pt>
                <c:pt idx="31">
                  <c:v>1313.8202</c:v>
                </c:pt>
                <c:pt idx="32">
                  <c:v>1308.3581</c:v>
                </c:pt>
                <c:pt idx="33">
                  <c:v>1316.2516</c:v>
                </c:pt>
                <c:pt idx="34">
                  <c:v>1342.788</c:v>
                </c:pt>
                <c:pt idx="35">
                  <c:v>1371.4252</c:v>
                </c:pt>
                <c:pt idx="36">
                  <c:v>1344.2874</c:v>
                </c:pt>
                <c:pt idx="37">
                  <c:v>1342.3097</c:v>
                </c:pt>
                <c:pt idx="38">
                  <c:v>1360.2455</c:v>
                </c:pt>
                <c:pt idx="39">
                  <c:v>1326.6009</c:v>
                </c:pt>
                <c:pt idx="40">
                  <c:v>1375.4899</c:v>
                </c:pt>
                <c:pt idx="41">
                  <c:v>1399.6165</c:v>
                </c:pt>
                <c:pt idx="42">
                  <c:v>1410.5553</c:v>
                </c:pt>
                <c:pt idx="43">
                  <c:v>1404.3546</c:v>
                </c:pt>
                <c:pt idx="44">
                  <c:v>1307.9179</c:v>
                </c:pt>
                <c:pt idx="45">
                  <c:v>1252.958</c:v>
                </c:pt>
                <c:pt idx="46">
                  <c:v>1235.7247</c:v>
                </c:pt>
                <c:pt idx="47">
                  <c:v>1207.824</c:v>
                </c:pt>
                <c:pt idx="48">
                  <c:v>1212.42</c:v>
                </c:pt>
                <c:pt idx="49">
                  <c:v>1236.7998</c:v>
                </c:pt>
                <c:pt idx="50">
                  <c:v>1198.6257</c:v>
                </c:pt>
                <c:pt idx="51">
                  <c:v>1137.4458</c:v>
                </c:pt>
                <c:pt idx="52">
                  <c:v>1075.048965434339</c:v>
                </c:pt>
                <c:pt idx="53">
                  <c:v>810.2321899334671</c:v>
                </c:pt>
                <c:pt idx="54">
                  <c:v>1176.0961673873157</c:v>
                </c:pt>
              </c:numCache>
            </c:numRef>
          </c:xVal>
          <c:yVal>
            <c:numRef>
              <c:f>Sheet1!$B$187:$B$241</c:f>
              <c:numCache>
                <c:formatCode>General</c:formatCode>
                <c:ptCount val="55"/>
                <c:pt idx="0">
                  <c:v>0.2666018079564575</c:v>
                </c:pt>
                <c:pt idx="1">
                  <c:v>0.2634296307065367</c:v>
                </c:pt>
                <c:pt idx="2">
                  <c:v>0.2608156217882308</c:v>
                </c:pt>
                <c:pt idx="3">
                  <c:v>0.2606392278696268</c:v>
                </c:pt>
                <c:pt idx="4">
                  <c:v>0.2565921753021765</c:v>
                </c:pt>
                <c:pt idx="5">
                  <c:v>0.2594317017305435</c:v>
                </c:pt>
                <c:pt idx="6">
                  <c:v>0.2740985068339615</c:v>
                </c:pt>
                <c:pt idx="7">
                  <c:v>0.26993019335142077</c:v>
                </c:pt>
                <c:pt idx="8">
                  <c:v>0.25756069018039407</c:v>
                </c:pt>
                <c:pt idx="9">
                  <c:v>0.266661268224231</c:v>
                </c:pt>
                <c:pt idx="10">
                  <c:v>0.2656293558772373</c:v>
                </c:pt>
                <c:pt idx="11">
                  <c:v>0.2891883233503652</c:v>
                </c:pt>
                <c:pt idx="12">
                  <c:v>0.2777029107413199</c:v>
                </c:pt>
                <c:pt idx="13">
                  <c:v>0.2674663465976705</c:v>
                </c:pt>
                <c:pt idx="14">
                  <c:v>0.2699985641267266</c:v>
                </c:pt>
                <c:pt idx="15">
                  <c:v>0.2674723438202503</c:v>
                </c:pt>
                <c:pt idx="16">
                  <c:v>0.2636242844613697</c:v>
                </c:pt>
                <c:pt idx="17">
                  <c:v>0.26744776983504503</c:v>
                </c:pt>
                <c:pt idx="18">
                  <c:v>0.2595275841549605</c:v>
                </c:pt>
                <c:pt idx="19">
                  <c:v>0.2482253915715208</c:v>
                </c:pt>
                <c:pt idx="20">
                  <c:v>0.2513562221161755</c:v>
                </c:pt>
                <c:pt idx="21">
                  <c:v>0.26558418167625975</c:v>
                </c:pt>
                <c:pt idx="22">
                  <c:v>0.2528735681867881</c:v>
                </c:pt>
                <c:pt idx="23">
                  <c:v>0.2514358072101266</c:v>
                </c:pt>
                <c:pt idx="24">
                  <c:v>0.2527647405380218</c:v>
                </c:pt>
                <c:pt idx="25">
                  <c:v>0.26358470523023797</c:v>
                </c:pt>
                <c:pt idx="26">
                  <c:v>0.25847507159219457</c:v>
                </c:pt>
                <c:pt idx="27">
                  <c:v>0.2584203286519381</c:v>
                </c:pt>
                <c:pt idx="28">
                  <c:v>0.2508566485994822</c:v>
                </c:pt>
                <c:pt idx="29">
                  <c:v>0.2524141589961123</c:v>
                </c:pt>
                <c:pt idx="30">
                  <c:v>0.2528723370496324</c:v>
                </c:pt>
                <c:pt idx="31">
                  <c:v>0.25343065165496875</c:v>
                </c:pt>
                <c:pt idx="32">
                  <c:v>0.25409645306662465</c:v>
                </c:pt>
                <c:pt idx="33">
                  <c:v>0.25313427671633704</c:v>
                </c:pt>
                <c:pt idx="34">
                  <c:v>0.24989962839787608</c:v>
                </c:pt>
                <c:pt idx="35">
                  <c:v>0.24640890355104564</c:v>
                </c:pt>
                <c:pt idx="36">
                  <c:v>0.24971685938291172</c:v>
                </c:pt>
                <c:pt idx="37">
                  <c:v>0.24995793066535468</c:v>
                </c:pt>
                <c:pt idx="38">
                  <c:v>0.24777165048755165</c:v>
                </c:pt>
                <c:pt idx="39">
                  <c:v>0.25187275119508146</c:v>
                </c:pt>
                <c:pt idx="40">
                  <c:v>0.24591343788803</c:v>
                </c:pt>
                <c:pt idx="41">
                  <c:v>0.2429725315812144</c:v>
                </c:pt>
                <c:pt idx="42">
                  <c:v>0.2416391490942915</c:v>
                </c:pt>
                <c:pt idx="43">
                  <c:v>0.24239498198150608</c:v>
                </c:pt>
                <c:pt idx="44">
                  <c:v>0.25415011114344693</c:v>
                </c:pt>
                <c:pt idx="45">
                  <c:v>0.2608494353968417</c:v>
                </c:pt>
                <c:pt idx="46">
                  <c:v>0.2629500845002066</c:v>
                </c:pt>
                <c:pt idx="47">
                  <c:v>0.26635103385049097</c:v>
                </c:pt>
                <c:pt idx="48">
                  <c:v>0.26579080549729883</c:v>
                </c:pt>
                <c:pt idx="49">
                  <c:v>0.2628190354352552</c:v>
                </c:pt>
                <c:pt idx="50">
                  <c:v>0.2674722584939128</c:v>
                </c:pt>
                <c:pt idx="51">
                  <c:v>0.2749297682035423</c:v>
                </c:pt>
                <c:pt idx="52">
                  <c:v>0.2825356158695823</c:v>
                </c:pt>
                <c:pt idx="53">
                  <c:v>0.3148153952508909</c:v>
                </c:pt>
                <c:pt idx="54">
                  <c:v>0.27021849064225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3.0"/>
          <c:min val="6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44425459205468"/>
          <c:min val="0.141580135440180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4326344722022645</c:v>
                </c:pt>
                <c:pt idx="1">
                  <c:v>0.4090507098558591</c:v>
                </c:pt>
                <c:pt idx="2">
                  <c:v>0.42599825880750647</c:v>
                </c:pt>
                <c:pt idx="3">
                  <c:v>0.4084653626341416</c:v>
                </c:pt>
                <c:pt idx="4">
                  <c:v>0.45935191134866105</c:v>
                </c:pt>
                <c:pt idx="5">
                  <c:v>0.44397460887572876</c:v>
                </c:pt>
                <c:pt idx="6">
                  <c:v>0.4099207467740459</c:v>
                </c:pt>
                <c:pt idx="7">
                  <c:v>0.4230579802495017</c:v>
                </c:pt>
                <c:pt idx="8">
                  <c:v>0.394231107648104</c:v>
                </c:pt>
                <c:pt idx="9">
                  <c:v>0.41293328892489944</c:v>
                </c:pt>
                <c:pt idx="10">
                  <c:v>0.44465717590780324</c:v>
                </c:pt>
                <c:pt idx="11">
                  <c:v>0.4257336420061963</c:v>
                </c:pt>
                <c:pt idx="12">
                  <c:v>0.3926131251550623</c:v>
                </c:pt>
                <c:pt idx="13">
                  <c:v>0.36895491693492566</c:v>
                </c:pt>
                <c:pt idx="14">
                  <c:v>0.32331484616957024</c:v>
                </c:pt>
                <c:pt idx="15">
                  <c:v>0.28679023546920707</c:v>
                </c:pt>
                <c:pt idx="16">
                  <c:v>0.36711979365685904</c:v>
                </c:pt>
                <c:pt idx="17">
                  <c:v>0.38471297281371086</c:v>
                </c:pt>
                <c:pt idx="18">
                  <c:v>0.3990839904491903</c:v>
                </c:pt>
                <c:pt idx="19">
                  <c:v>0.4247306303759813</c:v>
                </c:pt>
                <c:pt idx="20">
                  <c:v>0.45113918359594474</c:v>
                </c:pt>
                <c:pt idx="21">
                  <c:v>0.4119087677263376</c:v>
                </c:pt>
                <c:pt idx="22">
                  <c:v>0.33842674317411314</c:v>
                </c:pt>
                <c:pt idx="23">
                  <c:v>0.33100947921327645</c:v>
                </c:pt>
                <c:pt idx="24">
                  <c:v>0.34967132238093657</c:v>
                </c:pt>
                <c:pt idx="25">
                  <c:v>0.31791229254237957</c:v>
                </c:pt>
                <c:pt idx="26">
                  <c:v>0.3150509433740806</c:v>
                </c:pt>
                <c:pt idx="27">
                  <c:v>0.3421777884099599</c:v>
                </c:pt>
                <c:pt idx="28">
                  <c:v>0.31894149239074526</c:v>
                </c:pt>
                <c:pt idx="29">
                  <c:v>0.32275778518195225</c:v>
                </c:pt>
                <c:pt idx="30">
                  <c:v>0.3076393330078327</c:v>
                </c:pt>
                <c:pt idx="31">
                  <c:v>0.2850079738432715</c:v>
                </c:pt>
                <c:pt idx="32">
                  <c:v>0.30651666414044726</c:v>
                </c:pt>
                <c:pt idx="33">
                  <c:v>0.30373479248608737</c:v>
                </c:pt>
                <c:pt idx="34">
                  <c:v>0.34964111540060444</c:v>
                </c:pt>
                <c:pt idx="35">
                  <c:v>0.3789518203521868</c:v>
                </c:pt>
                <c:pt idx="36">
                  <c:v>0.38050025013623023</c:v>
                </c:pt>
                <c:pt idx="37">
                  <c:v>0.3995704491493794</c:v>
                </c:pt>
                <c:pt idx="38">
                  <c:v>0.3704739111680104</c:v>
                </c:pt>
                <c:pt idx="39">
                  <c:v>0.3935981405932329</c:v>
                </c:pt>
                <c:pt idx="40">
                  <c:v>0.35893129284782965</c:v>
                </c:pt>
                <c:pt idx="41">
                  <c:v>0.4019338913199693</c:v>
                </c:pt>
                <c:pt idx="42">
                  <c:v>0.4169570731045708</c:v>
                </c:pt>
                <c:pt idx="43">
                  <c:v>0.43743201700448586</c:v>
                </c:pt>
                <c:pt idx="44">
                  <c:v>0.40842645804948796</c:v>
                </c:pt>
                <c:pt idx="45">
                  <c:v>0.43457874075424374</c:v>
                </c:pt>
                <c:pt idx="46">
                  <c:v>0.4444189995392211</c:v>
                </c:pt>
                <c:pt idx="47">
                  <c:v>0.4759975458178139</c:v>
                </c:pt>
                <c:pt idx="48">
                  <c:v>0.4608774904067964</c:v>
                </c:pt>
                <c:pt idx="49">
                  <c:v>0.4066038837699637</c:v>
                </c:pt>
                <c:pt idx="50">
                  <c:v>0.32519436233459004</c:v>
                </c:pt>
                <c:pt idx="51">
                  <c:v>0.2784264510813321</c:v>
                </c:pt>
                <c:pt idx="52">
                  <c:v>0.27345540012225417</c:v>
                </c:pt>
                <c:pt idx="53">
                  <c:v>0.26573360307098</c:v>
                </c:pt>
                <c:pt idx="54">
                  <c:v>0.2384281006620952</c:v>
                </c:pt>
                <c:pt idx="55">
                  <c:v>0.270641330126906</c:v>
                </c:pt>
                <c:pt idx="56">
                  <c:v>0.35862562842744483</c:v>
                </c:pt>
                <c:pt idx="57">
                  <c:v>0.4710544661119039</c:v>
                </c:pt>
                <c:pt idx="58">
                  <c:v>0.4274112006174328</c:v>
                </c:pt>
                <c:pt idx="59">
                  <c:v>0.3344066617314835</c:v>
                </c:pt>
                <c:pt idx="60">
                  <c:v>0.3200777241770715</c:v>
                </c:pt>
                <c:pt idx="61">
                  <c:v>0.31041429930756853</c:v>
                </c:pt>
                <c:pt idx="62">
                  <c:v>0.36127932679370434</c:v>
                </c:pt>
                <c:pt idx="63">
                  <c:v>0.3921916867884553</c:v>
                </c:pt>
                <c:pt idx="64">
                  <c:v>0.4010689629386914</c:v>
                </c:pt>
                <c:pt idx="65">
                  <c:v>0.3601417876578297</c:v>
                </c:pt>
                <c:pt idx="66">
                  <c:v>0.3845989135332542</c:v>
                </c:pt>
                <c:pt idx="67">
                  <c:v>0.383774478497137</c:v>
                </c:pt>
                <c:pt idx="68">
                  <c:v>0.37559860330726635</c:v>
                </c:pt>
                <c:pt idx="69">
                  <c:v>0.3842216560972545</c:v>
                </c:pt>
                <c:pt idx="70">
                  <c:v>0.35752217986033413</c:v>
                </c:pt>
                <c:pt idx="71">
                  <c:v>0.3542572596853092</c:v>
                </c:pt>
                <c:pt idx="72">
                  <c:v>0.4308471363503658</c:v>
                </c:pt>
                <c:pt idx="73">
                  <c:v>0.36361392351388677</c:v>
                </c:pt>
                <c:pt idx="74">
                  <c:v>0.38068875583017536</c:v>
                </c:pt>
                <c:pt idx="75">
                  <c:v>0.336917632307295</c:v>
                </c:pt>
                <c:pt idx="76">
                  <c:v>0.3635061138321433</c:v>
                </c:pt>
                <c:pt idx="77">
                  <c:v>0.36461589494990776</c:v>
                </c:pt>
                <c:pt idx="78">
                  <c:v>0.41736046068370086</c:v>
                </c:pt>
                <c:pt idx="79">
                  <c:v>0.4131514057087908</c:v>
                </c:pt>
                <c:pt idx="80">
                  <c:v>0.38301617599512466</c:v>
                </c:pt>
                <c:pt idx="81">
                  <c:v>0.4104525998959239</c:v>
                </c:pt>
                <c:pt idx="82">
                  <c:v>0.40623443317482477</c:v>
                </c:pt>
                <c:pt idx="83">
                  <c:v>0.35184892526881834</c:v>
                </c:pt>
                <c:pt idx="84">
                  <c:v>0.366795354048494</c:v>
                </c:pt>
                <c:pt idx="85">
                  <c:v>0.31727804235958335</c:v>
                </c:pt>
                <c:pt idx="86">
                  <c:v>0.29452042327097894</c:v>
                </c:pt>
                <c:pt idx="87">
                  <c:v>0.30919011597979745</c:v>
                </c:pt>
                <c:pt idx="88">
                  <c:v>0.2787208189224608</c:v>
                </c:pt>
                <c:pt idx="89">
                  <c:v>0.29520690011706063</c:v>
                </c:pt>
                <c:pt idx="90">
                  <c:v>0.3133399679795861</c:v>
                </c:pt>
                <c:pt idx="91">
                  <c:v>0.33864613628866524</c:v>
                </c:pt>
                <c:pt idx="92">
                  <c:v>0.30491099082997375</c:v>
                </c:pt>
                <c:pt idx="93">
                  <c:v>0.3079282321249852</c:v>
                </c:pt>
                <c:pt idx="94">
                  <c:v>0.3043399176477411</c:v>
                </c:pt>
                <c:pt idx="95">
                  <c:v>0.3943786082102688</c:v>
                </c:pt>
                <c:pt idx="96">
                  <c:v>0.3628779712044401</c:v>
                </c:pt>
                <c:pt idx="97">
                  <c:v>0.34880318219041107</c:v>
                </c:pt>
                <c:pt idx="98">
                  <c:v>0.376320027719097</c:v>
                </c:pt>
                <c:pt idx="99">
                  <c:v>0.42218630190662315</c:v>
                </c:pt>
                <c:pt idx="100">
                  <c:v>0.41440487357637423</c:v>
                </c:pt>
                <c:pt idx="101">
                  <c:v>0.3898306402214102</c:v>
                </c:pt>
                <c:pt idx="102">
                  <c:v>0.3584477119606455</c:v>
                </c:pt>
                <c:pt idx="103">
                  <c:v>0.3487616398567951</c:v>
                </c:pt>
                <c:pt idx="104">
                  <c:v>0.33575725321888417</c:v>
                </c:pt>
              </c:numCache>
            </c:numRef>
          </c:xVal>
          <c:yVal>
            <c:numRef>
              <c:f>Sheet1!$B$2:$B$106</c:f>
              <c:numCache>
                <c:formatCode>General</c:formatCode>
                <c:ptCount val="105"/>
                <c:pt idx="0">
                  <c:v>0.30826866470430825</c:v>
                </c:pt>
                <c:pt idx="1">
                  <c:v>0.30906095551894563</c:v>
                </c:pt>
                <c:pt idx="2">
                  <c:v>0.29924480805538073</c:v>
                </c:pt>
                <c:pt idx="3">
                  <c:v>0.2953866578161301</c:v>
                </c:pt>
                <c:pt idx="4">
                  <c:v>0.31790820165538</c:v>
                </c:pt>
                <c:pt idx="5">
                  <c:v>0.30998116760828626</c:v>
                </c:pt>
                <c:pt idx="6">
                  <c:v>0.3236282194848824</c:v>
                </c:pt>
                <c:pt idx="7">
                  <c:v>0.337035454933789</c:v>
                </c:pt>
                <c:pt idx="8">
                  <c:v>0.332824427480916</c:v>
                </c:pt>
                <c:pt idx="9">
                  <c:v>0.31663685152057247</c:v>
                </c:pt>
                <c:pt idx="10">
                  <c:v>0.31366350544432736</c:v>
                </c:pt>
                <c:pt idx="11">
                  <c:v>0.2711076684740511</c:v>
                </c:pt>
                <c:pt idx="12">
                  <c:v>0.2572030920590302</c:v>
                </c:pt>
                <c:pt idx="13">
                  <c:v>0.2530755711775044</c:v>
                </c:pt>
                <c:pt idx="14">
                  <c:v>0.2406929598230741</c:v>
                </c:pt>
                <c:pt idx="15">
                  <c:v>0.24429315178213856</c:v>
                </c:pt>
                <c:pt idx="16">
                  <c:v>0.23708920187793428</c:v>
                </c:pt>
                <c:pt idx="17">
                  <c:v>0.2084343189529811</c:v>
                </c:pt>
                <c:pt idx="18">
                  <c:v>0.19080919080919082</c:v>
                </c:pt>
                <c:pt idx="19">
                  <c:v>0.1811111111111111</c:v>
                </c:pt>
                <c:pt idx="20">
                  <c:v>0.17697516930022572</c:v>
                </c:pt>
                <c:pt idx="21">
                  <c:v>0.18955399061032863</c:v>
                </c:pt>
                <c:pt idx="22">
                  <c:v>0.24528301886792453</c:v>
                </c:pt>
                <c:pt idx="23">
                  <c:v>0.24421883812746756</c:v>
                </c:pt>
                <c:pt idx="24">
                  <c:v>0.257843137254902</c:v>
                </c:pt>
                <c:pt idx="25">
                  <c:v>0.27367205542725176</c:v>
                </c:pt>
                <c:pt idx="26">
                  <c:v>0.2886710239651416</c:v>
                </c:pt>
                <c:pt idx="27">
                  <c:v>0.27521008403361347</c:v>
                </c:pt>
                <c:pt idx="28">
                  <c:v>0.2847718526663002</c:v>
                </c:pt>
                <c:pt idx="29">
                  <c:v>0.2976190476190476</c:v>
                </c:pt>
                <c:pt idx="30">
                  <c:v>0.29269764634882317</c:v>
                </c:pt>
                <c:pt idx="31">
                  <c:v>0.2897758337889557</c:v>
                </c:pt>
                <c:pt idx="32">
                  <c:v>0.2980308674827036</c:v>
                </c:pt>
                <c:pt idx="33">
                  <c:v>0.2929964539007092</c:v>
                </c:pt>
                <c:pt idx="34">
                  <c:v>0.2971150243536905</c:v>
                </c:pt>
                <c:pt idx="35">
                  <c:v>0.2952346829093515</c:v>
                </c:pt>
                <c:pt idx="36">
                  <c:v>0.28421052631578947</c:v>
                </c:pt>
                <c:pt idx="37">
                  <c:v>0.27888232133261687</c:v>
                </c:pt>
                <c:pt idx="38">
                  <c:v>0.2737397420867526</c:v>
                </c:pt>
                <c:pt idx="39">
                  <c:v>0.27152698048220436</c:v>
                </c:pt>
                <c:pt idx="40">
                  <c:v>0.26</c:v>
                </c:pt>
                <c:pt idx="41">
                  <c:v>0.2553296975706495</c:v>
                </c:pt>
                <c:pt idx="42">
                  <c:v>0.24312333629103816</c:v>
                </c:pt>
                <c:pt idx="43">
                  <c:v>0.2448290417897847</c:v>
                </c:pt>
                <c:pt idx="44">
                  <c:v>0.2469430360870862</c:v>
                </c:pt>
                <c:pt idx="45">
                  <c:v>0.2689671472465138</c:v>
                </c:pt>
                <c:pt idx="46">
                  <c:v>0.26576394502829426</c:v>
                </c:pt>
                <c:pt idx="47">
                  <c:v>0.2639412997903564</c:v>
                </c:pt>
                <c:pt idx="48">
                  <c:v>0.27108331924961976</c:v>
                </c:pt>
                <c:pt idx="49">
                  <c:v>0.28211920529801326</c:v>
                </c:pt>
                <c:pt idx="50">
                  <c:v>0.25902469917669413</c:v>
                </c:pt>
                <c:pt idx="51">
                  <c:v>0.24299792531120332</c:v>
                </c:pt>
                <c:pt idx="52">
                  <c:v>0.25635386119257086</c:v>
                </c:pt>
                <c:pt idx="53">
                  <c:v>0.24065492740191535</c:v>
                </c:pt>
                <c:pt idx="54">
                  <c:v>0.25757575757575757</c:v>
                </c:pt>
                <c:pt idx="55">
                  <c:v>0.23777777777777778</c:v>
                </c:pt>
                <c:pt idx="56">
                  <c:v>0.22939649578195975</c:v>
                </c:pt>
                <c:pt idx="57">
                  <c:v>0.2348233995584989</c:v>
                </c:pt>
                <c:pt idx="58">
                  <c:v>0.24801482265749072</c:v>
                </c:pt>
                <c:pt idx="59">
                  <c:v>0.2627587620414019</c:v>
                </c:pt>
                <c:pt idx="60">
                  <c:v>0.26578699340245054</c:v>
                </c:pt>
                <c:pt idx="61">
                  <c:v>0.2556721977649848</c:v>
                </c:pt>
                <c:pt idx="62">
                  <c:v>0.2694077055779183</c:v>
                </c:pt>
                <c:pt idx="63">
                  <c:v>0.2755131540907777</c:v>
                </c:pt>
                <c:pt idx="64">
                  <c:v>0.2650948821161587</c:v>
                </c:pt>
                <c:pt idx="65">
                  <c:v>0.26282051282051283</c:v>
                </c:pt>
                <c:pt idx="66">
                  <c:v>0.2488095238095238</c:v>
                </c:pt>
                <c:pt idx="67">
                  <c:v>0.2302325581395349</c:v>
                </c:pt>
                <c:pt idx="68">
                  <c:v>0.23242630385487528</c:v>
                </c:pt>
                <c:pt idx="69">
                  <c:v>0.2190296749882242</c:v>
                </c:pt>
                <c:pt idx="70">
                  <c:v>0.2170212765957447</c:v>
                </c:pt>
                <c:pt idx="71">
                  <c:v>0.23398760330578514</c:v>
                </c:pt>
                <c:pt idx="72">
                  <c:v>0.2141535615171138</c:v>
                </c:pt>
                <c:pt idx="73">
                  <c:v>0.21721919841662543</c:v>
                </c:pt>
                <c:pt idx="74">
                  <c:v>0.2288512911843277</c:v>
                </c:pt>
                <c:pt idx="75">
                  <c:v>0.23487544483985764</c:v>
                </c:pt>
                <c:pt idx="76">
                  <c:v>0.24514697726012202</c:v>
                </c:pt>
                <c:pt idx="77">
                  <c:v>0.23577235772357724</c:v>
                </c:pt>
                <c:pt idx="78">
                  <c:v>0.24925639500297442</c:v>
                </c:pt>
                <c:pt idx="79">
                  <c:v>0.19818260493292947</c:v>
                </c:pt>
                <c:pt idx="80">
                  <c:v>0.18915343915343916</c:v>
                </c:pt>
                <c:pt idx="81">
                  <c:v>0.21492204899777284</c:v>
                </c:pt>
                <c:pt idx="82">
                  <c:v>0.21616261774913237</c:v>
                </c:pt>
                <c:pt idx="83">
                  <c:v>0.2292713567839196</c:v>
                </c:pt>
                <c:pt idx="84">
                  <c:v>0.22866666666666666</c:v>
                </c:pt>
                <c:pt idx="85">
                  <c:v>0.2545931758530184</c:v>
                </c:pt>
                <c:pt idx="86">
                  <c:v>0.2640728476821192</c:v>
                </c:pt>
                <c:pt idx="87">
                  <c:v>0.2716697936210131</c:v>
                </c:pt>
                <c:pt idx="88">
                  <c:v>0.25942350332594233</c:v>
                </c:pt>
                <c:pt idx="89">
                  <c:v>0.2677561282212445</c:v>
                </c:pt>
                <c:pt idx="90">
                  <c:v>0.2446220036877689</c:v>
                </c:pt>
                <c:pt idx="91">
                  <c:v>0.23130034522439585</c:v>
                </c:pt>
                <c:pt idx="92">
                  <c:v>0.25654450261780104</c:v>
                </c:pt>
                <c:pt idx="93">
                  <c:v>0.2567178502879079</c:v>
                </c:pt>
                <c:pt idx="94">
                  <c:v>0.2568167406467977</c:v>
                </c:pt>
                <c:pt idx="95">
                  <c:v>0.23063829787234041</c:v>
                </c:pt>
                <c:pt idx="96">
                  <c:v>0.26046926046926044</c:v>
                </c:pt>
                <c:pt idx="97">
                  <c:v>0.2783068783068783</c:v>
                </c:pt>
                <c:pt idx="98">
                  <c:v>0.2726103729104158</c:v>
                </c:pt>
                <c:pt idx="99">
                  <c:v>0.2747004688313943</c:v>
                </c:pt>
                <c:pt idx="100">
                  <c:v>0.273318571823969</c:v>
                </c:pt>
                <c:pt idx="101">
                  <c:v>0.2731981981981982</c:v>
                </c:pt>
                <c:pt idx="102">
                  <c:v>0.2740740740740741</c:v>
                </c:pt>
                <c:pt idx="103">
                  <c:v>0.2627388535031847</c:v>
                </c:pt>
                <c:pt idx="104">
                  <c:v>0.2565682776516380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348393931736197</c:v>
                </c:pt>
                <c:pt idx="1">
                  <c:v>0.3614745904723985</c:v>
                </c:pt>
                <c:pt idx="2">
                  <c:v>0.366269795969638</c:v>
                </c:pt>
                <c:pt idx="3">
                  <c:v>0.40859778986773415</c:v>
                </c:pt>
                <c:pt idx="4">
                  <c:v>0.3719696000610455</c:v>
                </c:pt>
                <c:pt idx="5">
                  <c:v>0.33067770755426656</c:v>
                </c:pt>
                <c:pt idx="6">
                  <c:v>0.371060544143081</c:v>
                </c:pt>
                <c:pt idx="7">
                  <c:v>0.39996918931236364</c:v>
                </c:pt>
                <c:pt idx="8">
                  <c:v>0.3782606087275438</c:v>
                </c:pt>
                <c:pt idx="9">
                  <c:v>0.37021360836040695</c:v>
                </c:pt>
                <c:pt idx="10">
                  <c:v>0.3857884582377135</c:v>
                </c:pt>
                <c:pt idx="11">
                  <c:v>0.3654795252150489</c:v>
                </c:pt>
                <c:pt idx="12">
                  <c:v>0.40888629005007315</c:v>
                </c:pt>
                <c:pt idx="13">
                  <c:v>0.4292417812681902</c:v>
                </c:pt>
                <c:pt idx="14">
                  <c:v>0.4205301620059857</c:v>
                </c:pt>
                <c:pt idx="15">
                  <c:v>0.37871407168946397</c:v>
                </c:pt>
                <c:pt idx="16">
                  <c:v>0.35131113946732423</c:v>
                </c:pt>
                <c:pt idx="17">
                  <c:v>0.3388087164267315</c:v>
                </c:pt>
                <c:pt idx="18">
                  <c:v>0.3415084351058495</c:v>
                </c:pt>
                <c:pt idx="19">
                  <c:v>0.3553726185462524</c:v>
                </c:pt>
                <c:pt idx="20">
                  <c:v>0.3565172134338496</c:v>
                </c:pt>
                <c:pt idx="21">
                  <c:v>0.32875092394892397</c:v>
                </c:pt>
                <c:pt idx="22">
                  <c:v>0.35269636380616615</c:v>
                </c:pt>
                <c:pt idx="23">
                  <c:v>0.38513985011231344</c:v>
                </c:pt>
                <c:pt idx="24">
                  <c:v>0.3734609542633448</c:v>
                </c:pt>
                <c:pt idx="25">
                  <c:v>0.34145899235945243</c:v>
                </c:pt>
                <c:pt idx="26">
                  <c:v>0.32947612635939927</c:v>
                </c:pt>
                <c:pt idx="27">
                  <c:v>0.35233618863794136</c:v>
                </c:pt>
                <c:pt idx="28">
                  <c:v>0.4124991108446546</c:v>
                </c:pt>
                <c:pt idx="29">
                  <c:v>0.3946341887834419</c:v>
                </c:pt>
                <c:pt idx="30">
                  <c:v>0.409390293131288</c:v>
                </c:pt>
                <c:pt idx="31">
                  <c:v>0.3293607921784909</c:v>
                </c:pt>
                <c:pt idx="32">
                  <c:v>0.3529158637982748</c:v>
                </c:pt>
                <c:pt idx="33">
                  <c:v>0.3044202694506392</c:v>
                </c:pt>
                <c:pt idx="34">
                  <c:v>0.32318233762415394</c:v>
                </c:pt>
                <c:pt idx="35">
                  <c:v>0.3048476577720464</c:v>
                </c:pt>
                <c:pt idx="36">
                  <c:v>0.3366812430499203</c:v>
                </c:pt>
                <c:pt idx="37">
                  <c:v>0.27395412294506044</c:v>
                </c:pt>
                <c:pt idx="38">
                  <c:v>0.3498379732379559</c:v>
                </c:pt>
                <c:pt idx="39">
                  <c:v>0.30945406005270837</c:v>
                </c:pt>
                <c:pt idx="40">
                  <c:v>0.3485511025914173</c:v>
                </c:pt>
                <c:pt idx="41">
                  <c:v>0.34190654623861433</c:v>
                </c:pt>
                <c:pt idx="42">
                  <c:v>0.34593045513147663</c:v>
                </c:pt>
                <c:pt idx="43">
                  <c:v>0.3641381505565978</c:v>
                </c:pt>
                <c:pt idx="44">
                  <c:v>0.3665169504133368</c:v>
                </c:pt>
                <c:pt idx="45">
                  <c:v>0.39100274094931725</c:v>
                </c:pt>
                <c:pt idx="46">
                  <c:v>0.3680333903286737</c:v>
                </c:pt>
                <c:pt idx="47">
                  <c:v>0.4065478826337963</c:v>
                </c:pt>
                <c:pt idx="48">
                  <c:v>0.393076597122911</c:v>
                </c:pt>
                <c:pt idx="49">
                  <c:v>0.45705378823299164</c:v>
                </c:pt>
                <c:pt idx="50">
                  <c:v>0.44065483448390946</c:v>
                </c:pt>
                <c:pt idx="51">
                  <c:v>0.37300307592172877</c:v>
                </c:pt>
              </c:numCache>
            </c:numRef>
          </c:xVal>
          <c:yVal>
            <c:numRef>
              <c:f>Sheet1!$B$109:$B$160</c:f>
              <c:numCache>
                <c:formatCode>General</c:formatCode>
                <c:ptCount val="52"/>
                <c:pt idx="0">
                  <c:v>0.2493939393939394</c:v>
                </c:pt>
                <c:pt idx="1">
                  <c:v>0.24313462826523777</c:v>
                </c:pt>
                <c:pt idx="2">
                  <c:v>0.25810185185185186</c:v>
                </c:pt>
                <c:pt idx="3">
                  <c:v>0.27251324308416713</c:v>
                </c:pt>
                <c:pt idx="4">
                  <c:v>0.2361111111111111</c:v>
                </c:pt>
                <c:pt idx="5">
                  <c:v>0.24867889337892446</c:v>
                </c:pt>
                <c:pt idx="6">
                  <c:v>0.2674865488086088</c:v>
                </c:pt>
                <c:pt idx="7">
                  <c:v>0.2746882372767105</c:v>
                </c:pt>
                <c:pt idx="8">
                  <c:v>0.24640835872877667</c:v>
                </c:pt>
                <c:pt idx="9">
                  <c:v>0.26800929512006194</c:v>
                </c:pt>
                <c:pt idx="10">
                  <c:v>0.265600624024961</c:v>
                </c:pt>
                <c:pt idx="11">
                  <c:v>0.2875589769058853</c:v>
                </c:pt>
                <c:pt idx="12">
                  <c:v>0.2799483371004198</c:v>
                </c:pt>
                <c:pt idx="13">
                  <c:v>0.2624401032067822</c:v>
                </c:pt>
                <c:pt idx="14">
                  <c:v>0.2636986301369863</c:v>
                </c:pt>
                <c:pt idx="15">
                  <c:v>0.27438752783964365</c:v>
                </c:pt>
                <c:pt idx="16">
                  <c:v>0.26464435146443516</c:v>
                </c:pt>
                <c:pt idx="17">
                  <c:v>0.2755465175394001</c:v>
                </c:pt>
                <c:pt idx="18">
                  <c:v>0.25461667599328486</c:v>
                </c:pt>
                <c:pt idx="19">
                  <c:v>0.25</c:v>
                </c:pt>
                <c:pt idx="20">
                  <c:v>0.24596774193548387</c:v>
                </c:pt>
                <c:pt idx="21">
                  <c:v>0.26046221111805123</c:v>
                </c:pt>
                <c:pt idx="22">
                  <c:v>0.2365911799761621</c:v>
                </c:pt>
                <c:pt idx="23">
                  <c:v>0.2327909887359199</c:v>
                </c:pt>
                <c:pt idx="24">
                  <c:v>0.24511930585683298</c:v>
                </c:pt>
                <c:pt idx="25">
                  <c:v>0.25565985643291</c:v>
                </c:pt>
                <c:pt idx="26">
                  <c:v>0.23563218390804597</c:v>
                </c:pt>
                <c:pt idx="27">
                  <c:v>0.24080431584109857</c:v>
                </c:pt>
                <c:pt idx="28">
                  <c:v>0.22885572139303484</c:v>
                </c:pt>
                <c:pt idx="29">
                  <c:v>0.24458874458874458</c:v>
                </c:pt>
                <c:pt idx="30">
                  <c:v>0.24178403755868544</c:v>
                </c:pt>
                <c:pt idx="31">
                  <c:v>0.23286802030456852</c:v>
                </c:pt>
                <c:pt idx="32">
                  <c:v>0.2271526677231907</c:v>
                </c:pt>
                <c:pt idx="33">
                  <c:v>0.25677365568987076</c:v>
                </c:pt>
                <c:pt idx="34">
                  <c:v>0.2763902763902764</c:v>
                </c:pt>
                <c:pt idx="35">
                  <c:v>0.25149150986691143</c:v>
                </c:pt>
                <c:pt idx="36">
                  <c:v>0.2615505090054816</c:v>
                </c:pt>
                <c:pt idx="37">
                  <c:v>0.26348547717842324</c:v>
                </c:pt>
                <c:pt idx="38">
                  <c:v>0.27342657342657345</c:v>
                </c:pt>
                <c:pt idx="39">
                  <c:v>0.25297787861599547</c:v>
                </c:pt>
                <c:pt idx="40">
                  <c:v>0.2542857142857143</c:v>
                </c:pt>
                <c:pt idx="41">
                  <c:v>0.25392670157068065</c:v>
                </c:pt>
                <c:pt idx="42">
                  <c:v>0.2637299771167048</c:v>
                </c:pt>
                <c:pt idx="43">
                  <c:v>0.24097884695147243</c:v>
                </c:pt>
                <c:pt idx="44">
                  <c:v>0.2479276563677468</c:v>
                </c:pt>
                <c:pt idx="45">
                  <c:v>0.2739292900258695</c:v>
                </c:pt>
                <c:pt idx="46">
                  <c:v>0.29678582156803845</c:v>
                </c:pt>
                <c:pt idx="47">
                  <c:v>0.29815602836879435</c:v>
                </c:pt>
                <c:pt idx="48">
                  <c:v>0.2791780821917808</c:v>
                </c:pt>
                <c:pt idx="49">
                  <c:v>0.28274428274428276</c:v>
                </c:pt>
                <c:pt idx="50">
                  <c:v>0.28562269594486295</c:v>
                </c:pt>
                <c:pt idx="51">
                  <c:v>0.28259740259740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716294541106404</c:v>
                </c:pt>
              </c:numCache>
            </c:numRef>
          </c:xVal>
          <c:yVal>
            <c:numRef>
              <c:f>Sheet1!$B$163:$B$164</c:f>
              <c:numCache>
                <c:formatCode>General</c:formatCode>
                <c:ptCount val="2"/>
                <c:pt idx="0">
                  <c:v>0.3148153952508909</c:v>
                </c:pt>
                <c:pt idx="1">
                  <c:v>0.314815395250890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716294541106404</c:v>
                </c:pt>
                <c:pt idx="1">
                  <c:v>0.7716294541106404</c:v>
                </c:pt>
              </c:numCache>
            </c:numRef>
          </c:xVal>
          <c:yVal>
            <c:numRef>
              <c:f>Sheet1!$B$167:$B$168</c:f>
              <c:numCache>
                <c:formatCode>General</c:formatCode>
                <c:ptCount val="2"/>
                <c:pt idx="0">
                  <c:v>0.314815395250890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365987385638749</c:v>
                </c:pt>
              </c:numCache>
            </c:numRef>
          </c:xVal>
          <c:yVal>
            <c:numRef>
              <c:f>Sheet1!$B$171:$B$172</c:f>
              <c:numCache>
                <c:formatCode>General</c:formatCode>
                <c:ptCount val="2"/>
                <c:pt idx="0">
                  <c:v>0.2825356158695823</c:v>
                </c:pt>
                <c:pt idx="1">
                  <c:v>0.28253561586958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365987385638749</c:v>
                </c:pt>
                <c:pt idx="1">
                  <c:v>0.5365987385638749</c:v>
                </c:pt>
              </c:numCache>
            </c:numRef>
          </c:xVal>
          <c:yVal>
            <c:numRef>
              <c:f>Sheet1!$B$175:$B$176</c:f>
              <c:numCache>
                <c:formatCode>General</c:formatCode>
                <c:ptCount val="2"/>
                <c:pt idx="0">
                  <c:v>0.28253561586958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4691712328822747</c:v>
                </c:pt>
              </c:numCache>
            </c:numRef>
          </c:xVal>
          <c:yVal>
            <c:numRef>
              <c:f>Sheet1!$B$179:$B$180</c:f>
              <c:numCache>
                <c:formatCode>General</c:formatCode>
                <c:ptCount val="2"/>
                <c:pt idx="0">
                  <c:v>0.2702184906422574</c:v>
                </c:pt>
                <c:pt idx="1">
                  <c:v>0.27021849064225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4691712328822747</c:v>
                </c:pt>
                <c:pt idx="1">
                  <c:v>0.44691712328822747</c:v>
                </c:pt>
              </c:numCache>
            </c:numRef>
          </c:xVal>
          <c:yVal>
            <c:numRef>
              <c:f>Sheet1!$B$183:$B$184</c:f>
              <c:numCache>
                <c:formatCode>General</c:formatCode>
                <c:ptCount val="2"/>
                <c:pt idx="0">
                  <c:v>0.27021849064225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348393931736197</c:v>
                </c:pt>
                <c:pt idx="1">
                  <c:v>0.3614745904723985</c:v>
                </c:pt>
                <c:pt idx="2">
                  <c:v>0.366269795969638</c:v>
                </c:pt>
                <c:pt idx="3">
                  <c:v>0.40859778986773415</c:v>
                </c:pt>
                <c:pt idx="4">
                  <c:v>0.3719696000610455</c:v>
                </c:pt>
                <c:pt idx="5">
                  <c:v>0.33067770755426656</c:v>
                </c:pt>
                <c:pt idx="6">
                  <c:v>0.371060544143081</c:v>
                </c:pt>
                <c:pt idx="7">
                  <c:v>0.39996918931236364</c:v>
                </c:pt>
                <c:pt idx="8">
                  <c:v>0.3782606087275438</c:v>
                </c:pt>
                <c:pt idx="9">
                  <c:v>0.37021360836040695</c:v>
                </c:pt>
                <c:pt idx="10">
                  <c:v>0.3857884582377135</c:v>
                </c:pt>
                <c:pt idx="11">
                  <c:v>0.3654795252150489</c:v>
                </c:pt>
                <c:pt idx="12">
                  <c:v>0.40888629005007315</c:v>
                </c:pt>
                <c:pt idx="13">
                  <c:v>0.4292417812681902</c:v>
                </c:pt>
                <c:pt idx="14">
                  <c:v>0.4205301620059857</c:v>
                </c:pt>
                <c:pt idx="15">
                  <c:v>0.37871407168946397</c:v>
                </c:pt>
                <c:pt idx="16">
                  <c:v>0.35131113946732423</c:v>
                </c:pt>
                <c:pt idx="17">
                  <c:v>0.3388087164267315</c:v>
                </c:pt>
                <c:pt idx="18">
                  <c:v>0.3415084351058495</c:v>
                </c:pt>
                <c:pt idx="19">
                  <c:v>0.3553726185462524</c:v>
                </c:pt>
                <c:pt idx="20">
                  <c:v>0.3565172134338496</c:v>
                </c:pt>
                <c:pt idx="21">
                  <c:v>0.32875092394892397</c:v>
                </c:pt>
                <c:pt idx="22">
                  <c:v>0.35269636380616615</c:v>
                </c:pt>
                <c:pt idx="23">
                  <c:v>0.38513985011231344</c:v>
                </c:pt>
                <c:pt idx="24">
                  <c:v>0.3734609542633448</c:v>
                </c:pt>
                <c:pt idx="25">
                  <c:v>0.34145899235945243</c:v>
                </c:pt>
                <c:pt idx="26">
                  <c:v>0.32947612635939927</c:v>
                </c:pt>
                <c:pt idx="27">
                  <c:v>0.35233618863794136</c:v>
                </c:pt>
                <c:pt idx="28">
                  <c:v>0.4124991108446546</c:v>
                </c:pt>
                <c:pt idx="29">
                  <c:v>0.3946341887834419</c:v>
                </c:pt>
                <c:pt idx="30">
                  <c:v>0.409390293131288</c:v>
                </c:pt>
                <c:pt idx="31">
                  <c:v>0.3293607921784909</c:v>
                </c:pt>
                <c:pt idx="32">
                  <c:v>0.3529158637982748</c:v>
                </c:pt>
                <c:pt idx="33">
                  <c:v>0.3044202694506392</c:v>
                </c:pt>
                <c:pt idx="34">
                  <c:v>0.32318233762415394</c:v>
                </c:pt>
                <c:pt idx="35">
                  <c:v>0.3048476577720464</c:v>
                </c:pt>
                <c:pt idx="36">
                  <c:v>0.3366812430499203</c:v>
                </c:pt>
                <c:pt idx="37">
                  <c:v>0.27395412294506044</c:v>
                </c:pt>
                <c:pt idx="38">
                  <c:v>0.3498379732379559</c:v>
                </c:pt>
                <c:pt idx="39">
                  <c:v>0.30945406005270837</c:v>
                </c:pt>
                <c:pt idx="40">
                  <c:v>0.3485511025914173</c:v>
                </c:pt>
                <c:pt idx="41">
                  <c:v>0.34190654623861433</c:v>
                </c:pt>
                <c:pt idx="42">
                  <c:v>0.34593045513147663</c:v>
                </c:pt>
                <c:pt idx="43">
                  <c:v>0.3641381505565978</c:v>
                </c:pt>
                <c:pt idx="44">
                  <c:v>0.3665169504133368</c:v>
                </c:pt>
                <c:pt idx="45">
                  <c:v>0.39100274094931725</c:v>
                </c:pt>
                <c:pt idx="46">
                  <c:v>0.3680333903286737</c:v>
                </c:pt>
                <c:pt idx="47">
                  <c:v>0.4065478826337963</c:v>
                </c:pt>
                <c:pt idx="48">
                  <c:v>0.393076597122911</c:v>
                </c:pt>
                <c:pt idx="49">
                  <c:v>0.45705378823299164</c:v>
                </c:pt>
                <c:pt idx="50">
                  <c:v>0.44065483448390946</c:v>
                </c:pt>
                <c:pt idx="51">
                  <c:v>0.37300307592172877</c:v>
                </c:pt>
                <c:pt idx="52">
                  <c:v>0.5365987385638749</c:v>
                </c:pt>
                <c:pt idx="53">
                  <c:v>0.7716294541106404</c:v>
                </c:pt>
                <c:pt idx="54">
                  <c:v>0.44691712328822747</c:v>
                </c:pt>
              </c:numCache>
            </c:numRef>
          </c:xVal>
          <c:yVal>
            <c:numRef>
              <c:f>Sheet1!$B$187:$B$241</c:f>
              <c:numCache>
                <c:formatCode>General</c:formatCode>
                <c:ptCount val="55"/>
                <c:pt idx="0">
                  <c:v>0.2548254200249086</c:v>
                </c:pt>
                <c:pt idx="1">
                  <c:v>0.2584835729202953</c:v>
                </c:pt>
                <c:pt idx="2">
                  <c:v>0.25914215992743955</c:v>
                </c:pt>
                <c:pt idx="3">
                  <c:v>0.264955605636037</c:v>
                </c:pt>
                <c:pt idx="4">
                  <c:v>0.2599249870492449</c:v>
                </c:pt>
                <c:pt idx="5">
                  <c:v>0.25425384241925575</c:v>
                </c:pt>
                <c:pt idx="6">
                  <c:v>0.25980013475319963</c:v>
                </c:pt>
                <c:pt idx="7">
                  <c:v>0.2637705293720736</c:v>
                </c:pt>
                <c:pt idx="8">
                  <c:v>0.2607890118698648</c:v>
                </c:pt>
                <c:pt idx="9">
                  <c:v>0.2596838142112175</c:v>
                </c:pt>
                <c:pt idx="10">
                  <c:v>0.26182290788996015</c:v>
                </c:pt>
                <c:pt idx="11">
                  <c:v>0.2590336219197571</c:v>
                </c:pt>
                <c:pt idx="12">
                  <c:v>0.2649952290623441</c:v>
                </c:pt>
                <c:pt idx="13">
                  <c:v>0.26779090946603257</c:v>
                </c:pt>
                <c:pt idx="14">
                  <c:v>0.2665944311794234</c:v>
                </c:pt>
                <c:pt idx="15">
                  <c:v>0.2608512917481961</c:v>
                </c:pt>
                <c:pt idx="16">
                  <c:v>0.2570876959795587</c:v>
                </c:pt>
                <c:pt idx="17">
                  <c:v>0.2553705780422574</c:v>
                </c:pt>
                <c:pt idx="18">
                  <c:v>0.2557413649972764</c:v>
                </c:pt>
                <c:pt idx="19">
                  <c:v>0.25764551093716803</c:v>
                </c:pt>
                <c:pt idx="20">
                  <c:v>0.25780271281763995</c:v>
                </c:pt>
                <c:pt idx="21">
                  <c:v>0.2539892125407682</c:v>
                </c:pt>
                <c:pt idx="22">
                  <c:v>0.2572779465855164</c:v>
                </c:pt>
                <c:pt idx="23">
                  <c:v>0.26173382622612684</c:v>
                </c:pt>
                <c:pt idx="24">
                  <c:v>0.26012981382908773</c:v>
                </c:pt>
                <c:pt idx="25">
                  <c:v>0.25573457439145286</c:v>
                </c:pt>
                <c:pt idx="26">
                  <c:v>0.2540888138790975</c:v>
                </c:pt>
                <c:pt idx="27">
                  <c:v>0.25722847911509716</c:v>
                </c:pt>
                <c:pt idx="28">
                  <c:v>0.2654914240295507</c:v>
                </c:pt>
                <c:pt idx="29">
                  <c:v>0.26303780539737043</c:v>
                </c:pt>
                <c:pt idx="30">
                  <c:v>0.26506445026277853</c:v>
                </c:pt>
                <c:pt idx="31">
                  <c:v>0.25407297355837094</c:v>
                </c:pt>
                <c:pt idx="32">
                  <c:v>0.2573080933316682</c:v>
                </c:pt>
                <c:pt idx="33">
                  <c:v>0.25064757203399285</c:v>
                </c:pt>
                <c:pt idx="34">
                  <c:v>0.25322440723601825</c:v>
                </c:pt>
                <c:pt idx="35">
                  <c:v>0.25070627074787405</c:v>
                </c:pt>
                <c:pt idx="36">
                  <c:v>0.2550783848662152</c:v>
                </c:pt>
                <c:pt idx="37">
                  <c:v>0.24646326580188666</c:v>
                </c:pt>
                <c:pt idx="38">
                  <c:v>0.2568853671870629</c:v>
                </c:pt>
                <c:pt idx="39">
                  <c:v>0.25133892699033755</c:v>
                </c:pt>
                <c:pt idx="40">
                  <c:v>0.2567086247537775</c:v>
                </c:pt>
                <c:pt idx="41">
                  <c:v>0.25579604269974177</c:v>
                </c:pt>
                <c:pt idx="42">
                  <c:v>0.25634869766234913</c:v>
                </c:pt>
                <c:pt idx="43">
                  <c:v>0.25884939375220994</c:v>
                </c:pt>
                <c:pt idx="44">
                  <c:v>0.2591761048137373</c:v>
                </c:pt>
                <c:pt idx="45">
                  <c:v>0.2625390521401735</c:v>
                </c:pt>
                <c:pt idx="46">
                  <c:v>0.25938437693594996</c:v>
                </c:pt>
                <c:pt idx="47">
                  <c:v>0.2646740656121736</c:v>
                </c:pt>
                <c:pt idx="48">
                  <c:v>0.2628238813787538</c:v>
                </c:pt>
                <c:pt idx="49">
                  <c:v>0.2716106887101483</c:v>
                </c:pt>
                <c:pt idx="50">
                  <c:v>0.2693584102882698</c:v>
                </c:pt>
                <c:pt idx="51">
                  <c:v>0.2600669275300929</c:v>
                </c:pt>
                <c:pt idx="52">
                  <c:v>0.2825356158695823</c:v>
                </c:pt>
                <c:pt idx="53">
                  <c:v>0.3148153952508909</c:v>
                </c:pt>
                <c:pt idx="54">
                  <c:v>0.27021849064225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44425459205468"/>
          <c:min val="0.141580135440180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7.5</c:v>
                </c:pt>
                <c:pt idx="1">
                  <c:v>890.5949</c:v>
                </c:pt>
                <c:pt idx="2">
                  <c:v>944.2366</c:v>
                </c:pt>
                <c:pt idx="3">
                  <c:v>965.9944</c:v>
                </c:pt>
                <c:pt idx="4">
                  <c:v>971.0817</c:v>
                </c:pt>
                <c:pt idx="5">
                  <c:v>954.3755</c:v>
                </c:pt>
                <c:pt idx="6">
                  <c:v>895.8408</c:v>
                </c:pt>
                <c:pt idx="7">
                  <c:v>916.2712</c:v>
                </c:pt>
                <c:pt idx="8">
                  <c:v>937.5413</c:v>
                </c:pt>
                <c:pt idx="9">
                  <c:v>878.5254</c:v>
                </c:pt>
                <c:pt idx="10">
                  <c:v>870.1153</c:v>
                </c:pt>
                <c:pt idx="11">
                  <c:v>954.1943</c:v>
                </c:pt>
                <c:pt idx="12">
                  <c:v>965.9467</c:v>
                </c:pt>
                <c:pt idx="13">
                  <c:v>960.6833</c:v>
                </c:pt>
                <c:pt idx="14">
                  <c:v>972.4135</c:v>
                </c:pt>
                <c:pt idx="15">
                  <c:v>950.077</c:v>
                </c:pt>
                <c:pt idx="16">
                  <c:v>960.7525</c:v>
                </c:pt>
                <c:pt idx="17">
                  <c:v>973.0279</c:v>
                </c:pt>
                <c:pt idx="18">
                  <c:v>1037.7644</c:v>
                </c:pt>
                <c:pt idx="19">
                  <c:v>1082.184</c:v>
                </c:pt>
                <c:pt idx="20">
                  <c:v>1090.9413</c:v>
                </c:pt>
                <c:pt idx="21">
                  <c:v>1096.0681</c:v>
                </c:pt>
                <c:pt idx="22">
                  <c:v>1040.0176</c:v>
                </c:pt>
                <c:pt idx="23">
                  <c:v>1049.0554</c:v>
                </c:pt>
                <c:pt idx="24">
                  <c:v>1045.2129</c:v>
                </c:pt>
                <c:pt idx="25">
                  <c:v>1006.8481</c:v>
                </c:pt>
                <c:pt idx="26">
                  <c:v>995.8358</c:v>
                </c:pt>
                <c:pt idx="27">
                  <c:v>1047.7424</c:v>
                </c:pt>
                <c:pt idx="28">
                  <c:v>1032.5579</c:v>
                </c:pt>
                <c:pt idx="29">
                  <c:v>996.2846</c:v>
                </c:pt>
                <c:pt idx="30">
                  <c:v>987.9093</c:v>
                </c:pt>
                <c:pt idx="31">
                  <c:v>989.7377</c:v>
                </c:pt>
                <c:pt idx="32">
                  <c:v>958.3375</c:v>
                </c:pt>
                <c:pt idx="33">
                  <c:v>927.9032</c:v>
                </c:pt>
                <c:pt idx="34">
                  <c:v>929.9596</c:v>
                </c:pt>
                <c:pt idx="35">
                  <c:v>990.8058</c:v>
                </c:pt>
                <c:pt idx="36">
                  <c:v>1090.8325</c:v>
                </c:pt>
                <c:pt idx="37">
                  <c:v>1086.4239</c:v>
                </c:pt>
                <c:pt idx="38">
                  <c:v>1151.1242</c:v>
                </c:pt>
                <c:pt idx="39">
                  <c:v>1169.3171</c:v>
                </c:pt>
                <c:pt idx="40">
                  <c:v>1150.7273</c:v>
                </c:pt>
                <c:pt idx="41">
                  <c:v>1195.4194</c:v>
                </c:pt>
                <c:pt idx="42">
                  <c:v>1229.6898</c:v>
                </c:pt>
                <c:pt idx="43">
                  <c:v>1242.2879</c:v>
                </c:pt>
                <c:pt idx="44">
                  <c:v>1161.6159</c:v>
                </c:pt>
                <c:pt idx="45">
                  <c:v>1117.8559</c:v>
                </c:pt>
                <c:pt idx="46">
                  <c:v>1122.8654</c:v>
                </c:pt>
                <c:pt idx="47">
                  <c:v>1104.6823</c:v>
                </c:pt>
                <c:pt idx="48">
                  <c:v>1099.4551</c:v>
                </c:pt>
                <c:pt idx="49">
                  <c:v>1052.0525</c:v>
                </c:pt>
                <c:pt idx="50">
                  <c:v>1049.846</c:v>
                </c:pt>
                <c:pt idx="51">
                  <c:v>1063.5443</c:v>
                </c:pt>
                <c:pt idx="52">
                  <c:v>1068.4643</c:v>
                </c:pt>
                <c:pt idx="53">
                  <c:v>1152.8293</c:v>
                </c:pt>
                <c:pt idx="54">
                  <c:v>1143.1776</c:v>
                </c:pt>
                <c:pt idx="55">
                  <c:v>1175.8077</c:v>
                </c:pt>
                <c:pt idx="56">
                  <c:v>1194.1301</c:v>
                </c:pt>
                <c:pt idx="57">
                  <c:v>1150.1304</c:v>
                </c:pt>
                <c:pt idx="58">
                  <c:v>1107.5827</c:v>
                </c:pt>
                <c:pt idx="59">
                  <c:v>1100.3276</c:v>
                </c:pt>
                <c:pt idx="60">
                  <c:v>1127.9539</c:v>
                </c:pt>
                <c:pt idx="61">
                  <c:v>1159.6702</c:v>
                </c:pt>
                <c:pt idx="62">
                  <c:v>1074.46</c:v>
                </c:pt>
                <c:pt idx="63">
                  <c:v>1126.8499</c:v>
                </c:pt>
                <c:pt idx="64">
                  <c:v>1141.8818</c:v>
                </c:pt>
                <c:pt idx="65">
                  <c:v>1134.1847</c:v>
                </c:pt>
                <c:pt idx="66">
                  <c:v>1129.0598</c:v>
                </c:pt>
                <c:pt idx="67">
                  <c:v>1154.1025</c:v>
                </c:pt>
                <c:pt idx="68">
                  <c:v>1179.0098</c:v>
                </c:pt>
                <c:pt idx="69">
                  <c:v>1188.2452</c:v>
                </c:pt>
                <c:pt idx="70">
                  <c:v>1195.0915</c:v>
                </c:pt>
                <c:pt idx="71">
                  <c:v>1261.5033</c:v>
                </c:pt>
                <c:pt idx="72">
                  <c:v>1348.0929</c:v>
                </c:pt>
                <c:pt idx="73">
                  <c:v>1339.0182</c:v>
                </c:pt>
                <c:pt idx="74">
                  <c:v>1310.9942</c:v>
                </c:pt>
                <c:pt idx="75">
                  <c:v>1253.0022</c:v>
                </c:pt>
                <c:pt idx="76">
                  <c:v>1234.1086</c:v>
                </c:pt>
                <c:pt idx="77">
                  <c:v>1266.8005</c:v>
                </c:pt>
                <c:pt idx="78">
                  <c:v>1293.6802</c:v>
                </c:pt>
                <c:pt idx="79">
                  <c:v>1302.0022</c:v>
                </c:pt>
                <c:pt idx="80">
                  <c:v>1276.2261</c:v>
                </c:pt>
                <c:pt idx="81">
                  <c:v>1267.2142</c:v>
                </c:pt>
                <c:pt idx="82">
                  <c:v>1259.8739</c:v>
                </c:pt>
                <c:pt idx="83">
                  <c:v>1213.3836</c:v>
                </c:pt>
                <c:pt idx="84">
                  <c:v>1244.3382</c:v>
                </c:pt>
                <c:pt idx="85">
                  <c:v>1180.7608</c:v>
                </c:pt>
                <c:pt idx="86">
                  <c:v>1186.0141</c:v>
                </c:pt>
                <c:pt idx="87">
                  <c:v>1189.4323</c:v>
                </c:pt>
                <c:pt idx="88">
                  <c:v>1270.3739</c:v>
                </c:pt>
                <c:pt idx="89">
                  <c:v>1237.1338</c:v>
                </c:pt>
                <c:pt idx="90">
                  <c:v>1317.3417</c:v>
                </c:pt>
                <c:pt idx="91">
                  <c:v>1352.6418</c:v>
                </c:pt>
                <c:pt idx="92">
                  <c:v>1291.0965</c:v>
                </c:pt>
                <c:pt idx="93">
                  <c:v>1314.1944</c:v>
                </c:pt>
                <c:pt idx="94">
                  <c:v>1311.9333</c:v>
                </c:pt>
                <c:pt idx="95">
                  <c:v>1286.9022</c:v>
                </c:pt>
                <c:pt idx="96">
                  <c:v>1197.0821</c:v>
                </c:pt>
                <c:pt idx="97">
                  <c:v>1179.1692</c:v>
                </c:pt>
                <c:pt idx="98">
                  <c:v>1165.5983</c:v>
                </c:pt>
                <c:pt idx="99">
                  <c:v>1106.3357</c:v>
                </c:pt>
                <c:pt idx="100">
                  <c:v>1129.9322</c:v>
                </c:pt>
                <c:pt idx="101">
                  <c:v>1123.3932</c:v>
                </c:pt>
                <c:pt idx="102">
                  <c:v>1126.2083</c:v>
                </c:pt>
                <c:pt idx="103">
                  <c:v>1125.9162</c:v>
                </c:pt>
                <c:pt idx="104">
                  <c:v>1173.4716</c:v>
                </c:pt>
              </c:numCache>
            </c:numRef>
          </c:xVal>
          <c:yVal>
            <c:numRef>
              <c:f>Sheet1!$B$2:$B$106</c:f>
              <c:numCache>
                <c:formatCode>General</c:formatCode>
                <c:ptCount val="105"/>
                <c:pt idx="0">
                  <c:v>0.30826866470430825</c:v>
                </c:pt>
                <c:pt idx="1">
                  <c:v>0.30906095551894563</c:v>
                </c:pt>
                <c:pt idx="2">
                  <c:v>0.29924480805538073</c:v>
                </c:pt>
                <c:pt idx="3">
                  <c:v>0.2953866578161301</c:v>
                </c:pt>
                <c:pt idx="4">
                  <c:v>0.31790820165538</c:v>
                </c:pt>
                <c:pt idx="5">
                  <c:v>0.30998116760828626</c:v>
                </c:pt>
                <c:pt idx="6">
                  <c:v>0.3236282194848824</c:v>
                </c:pt>
                <c:pt idx="7">
                  <c:v>0.337035454933789</c:v>
                </c:pt>
                <c:pt idx="8">
                  <c:v>0.332824427480916</c:v>
                </c:pt>
                <c:pt idx="9">
                  <c:v>0.31663685152057247</c:v>
                </c:pt>
                <c:pt idx="10">
                  <c:v>0.31366350544432736</c:v>
                </c:pt>
                <c:pt idx="11">
                  <c:v>0.2711076684740511</c:v>
                </c:pt>
                <c:pt idx="12">
                  <c:v>0.2572030920590302</c:v>
                </c:pt>
                <c:pt idx="13">
                  <c:v>0.2530755711775044</c:v>
                </c:pt>
                <c:pt idx="14">
                  <c:v>0.2406929598230741</c:v>
                </c:pt>
                <c:pt idx="15">
                  <c:v>0.24429315178213856</c:v>
                </c:pt>
                <c:pt idx="16">
                  <c:v>0.23708920187793428</c:v>
                </c:pt>
                <c:pt idx="17">
                  <c:v>0.2084343189529811</c:v>
                </c:pt>
                <c:pt idx="18">
                  <c:v>0.19080919080919082</c:v>
                </c:pt>
                <c:pt idx="19">
                  <c:v>0.1811111111111111</c:v>
                </c:pt>
                <c:pt idx="20">
                  <c:v>0.17697516930022572</c:v>
                </c:pt>
                <c:pt idx="21">
                  <c:v>0.18955399061032863</c:v>
                </c:pt>
                <c:pt idx="22">
                  <c:v>0.24528301886792453</c:v>
                </c:pt>
                <c:pt idx="23">
                  <c:v>0.24421883812746756</c:v>
                </c:pt>
                <c:pt idx="24">
                  <c:v>0.257843137254902</c:v>
                </c:pt>
                <c:pt idx="25">
                  <c:v>0.27367205542725176</c:v>
                </c:pt>
                <c:pt idx="26">
                  <c:v>0.2886710239651416</c:v>
                </c:pt>
                <c:pt idx="27">
                  <c:v>0.27521008403361347</c:v>
                </c:pt>
                <c:pt idx="28">
                  <c:v>0.2847718526663002</c:v>
                </c:pt>
                <c:pt idx="29">
                  <c:v>0.2976190476190476</c:v>
                </c:pt>
                <c:pt idx="30">
                  <c:v>0.29269764634882317</c:v>
                </c:pt>
                <c:pt idx="31">
                  <c:v>0.2897758337889557</c:v>
                </c:pt>
                <c:pt idx="32">
                  <c:v>0.2980308674827036</c:v>
                </c:pt>
                <c:pt idx="33">
                  <c:v>0.2929964539007092</c:v>
                </c:pt>
                <c:pt idx="34">
                  <c:v>0.2971150243536905</c:v>
                </c:pt>
                <c:pt idx="35">
                  <c:v>0.2952346829093515</c:v>
                </c:pt>
                <c:pt idx="36">
                  <c:v>0.28421052631578947</c:v>
                </c:pt>
                <c:pt idx="37">
                  <c:v>0.27888232133261687</c:v>
                </c:pt>
                <c:pt idx="38">
                  <c:v>0.2737397420867526</c:v>
                </c:pt>
                <c:pt idx="39">
                  <c:v>0.27152698048220436</c:v>
                </c:pt>
                <c:pt idx="40">
                  <c:v>0.26</c:v>
                </c:pt>
                <c:pt idx="41">
                  <c:v>0.2553296975706495</c:v>
                </c:pt>
                <c:pt idx="42">
                  <c:v>0.24312333629103816</c:v>
                </c:pt>
                <c:pt idx="43">
                  <c:v>0.2448290417897847</c:v>
                </c:pt>
                <c:pt idx="44">
                  <c:v>0.2469430360870862</c:v>
                </c:pt>
                <c:pt idx="45">
                  <c:v>0.2689671472465138</c:v>
                </c:pt>
                <c:pt idx="46">
                  <c:v>0.26576394502829426</c:v>
                </c:pt>
                <c:pt idx="47">
                  <c:v>0.2639412997903564</c:v>
                </c:pt>
                <c:pt idx="48">
                  <c:v>0.27108331924961976</c:v>
                </c:pt>
                <c:pt idx="49">
                  <c:v>0.28211920529801326</c:v>
                </c:pt>
                <c:pt idx="50">
                  <c:v>0.25902469917669413</c:v>
                </c:pt>
                <c:pt idx="51">
                  <c:v>0.24299792531120332</c:v>
                </c:pt>
                <c:pt idx="52">
                  <c:v>0.25635386119257086</c:v>
                </c:pt>
                <c:pt idx="53">
                  <c:v>0.24065492740191535</c:v>
                </c:pt>
                <c:pt idx="54">
                  <c:v>0.25757575757575757</c:v>
                </c:pt>
                <c:pt idx="55">
                  <c:v>0.23777777777777778</c:v>
                </c:pt>
                <c:pt idx="56">
                  <c:v>0.22939649578195975</c:v>
                </c:pt>
                <c:pt idx="57">
                  <c:v>0.2348233995584989</c:v>
                </c:pt>
                <c:pt idx="58">
                  <c:v>0.24801482265749072</c:v>
                </c:pt>
                <c:pt idx="59">
                  <c:v>0.2627587620414019</c:v>
                </c:pt>
                <c:pt idx="60">
                  <c:v>0.26578699340245054</c:v>
                </c:pt>
                <c:pt idx="61">
                  <c:v>0.2556721977649848</c:v>
                </c:pt>
                <c:pt idx="62">
                  <c:v>0.2694077055779183</c:v>
                </c:pt>
                <c:pt idx="63">
                  <c:v>0.2755131540907777</c:v>
                </c:pt>
                <c:pt idx="64">
                  <c:v>0.2650948821161587</c:v>
                </c:pt>
                <c:pt idx="65">
                  <c:v>0.26282051282051283</c:v>
                </c:pt>
                <c:pt idx="66">
                  <c:v>0.2488095238095238</c:v>
                </c:pt>
                <c:pt idx="67">
                  <c:v>0.2302325581395349</c:v>
                </c:pt>
                <c:pt idx="68">
                  <c:v>0.23242630385487528</c:v>
                </c:pt>
                <c:pt idx="69">
                  <c:v>0.2190296749882242</c:v>
                </c:pt>
                <c:pt idx="70">
                  <c:v>0.2170212765957447</c:v>
                </c:pt>
                <c:pt idx="71">
                  <c:v>0.23398760330578514</c:v>
                </c:pt>
                <c:pt idx="72">
                  <c:v>0.2141535615171138</c:v>
                </c:pt>
                <c:pt idx="73">
                  <c:v>0.21721919841662543</c:v>
                </c:pt>
                <c:pt idx="74">
                  <c:v>0.2288512911843277</c:v>
                </c:pt>
                <c:pt idx="75">
                  <c:v>0.23487544483985764</c:v>
                </c:pt>
                <c:pt idx="76">
                  <c:v>0.24514697726012202</c:v>
                </c:pt>
                <c:pt idx="77">
                  <c:v>0.23577235772357724</c:v>
                </c:pt>
                <c:pt idx="78">
                  <c:v>0.24925639500297442</c:v>
                </c:pt>
                <c:pt idx="79">
                  <c:v>0.19818260493292947</c:v>
                </c:pt>
                <c:pt idx="80">
                  <c:v>0.18915343915343916</c:v>
                </c:pt>
                <c:pt idx="81">
                  <c:v>0.21492204899777284</c:v>
                </c:pt>
                <c:pt idx="82">
                  <c:v>0.21616261774913237</c:v>
                </c:pt>
                <c:pt idx="83">
                  <c:v>0.2292713567839196</c:v>
                </c:pt>
                <c:pt idx="84">
                  <c:v>0.22866666666666666</c:v>
                </c:pt>
                <c:pt idx="85">
                  <c:v>0.2545931758530184</c:v>
                </c:pt>
                <c:pt idx="86">
                  <c:v>0.2640728476821192</c:v>
                </c:pt>
                <c:pt idx="87">
                  <c:v>0.2716697936210131</c:v>
                </c:pt>
                <c:pt idx="88">
                  <c:v>0.25942350332594233</c:v>
                </c:pt>
                <c:pt idx="89">
                  <c:v>0.2677561282212445</c:v>
                </c:pt>
                <c:pt idx="90">
                  <c:v>0.2446220036877689</c:v>
                </c:pt>
                <c:pt idx="91">
                  <c:v>0.23130034522439585</c:v>
                </c:pt>
                <c:pt idx="92">
                  <c:v>0.25654450261780104</c:v>
                </c:pt>
                <c:pt idx="93">
                  <c:v>0.2567178502879079</c:v>
                </c:pt>
                <c:pt idx="94">
                  <c:v>0.2568167406467977</c:v>
                </c:pt>
                <c:pt idx="95">
                  <c:v>0.23063829787234041</c:v>
                </c:pt>
                <c:pt idx="96">
                  <c:v>0.26046926046926044</c:v>
                </c:pt>
                <c:pt idx="97">
                  <c:v>0.2783068783068783</c:v>
                </c:pt>
                <c:pt idx="98">
                  <c:v>0.2726103729104158</c:v>
                </c:pt>
                <c:pt idx="99">
                  <c:v>0.2747004688313943</c:v>
                </c:pt>
                <c:pt idx="100">
                  <c:v>0.273318571823969</c:v>
                </c:pt>
                <c:pt idx="101">
                  <c:v>0.2731981981981982</c:v>
                </c:pt>
                <c:pt idx="102">
                  <c:v>0.2740740740740741</c:v>
                </c:pt>
                <c:pt idx="103">
                  <c:v>0.2627388535031847</c:v>
                </c:pt>
                <c:pt idx="104">
                  <c:v>0.2565682776516380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5.7667</c:v>
                </c:pt>
                <c:pt idx="1">
                  <c:v>1231.7906</c:v>
                </c:pt>
                <c:pt idx="2">
                  <c:v>1253.2354</c:v>
                </c:pt>
                <c:pt idx="3">
                  <c:v>1254.6825</c:v>
                </c:pt>
                <c:pt idx="4">
                  <c:v>1287.8837</c:v>
                </c:pt>
                <c:pt idx="5">
                  <c:v>1264.5888</c:v>
                </c:pt>
                <c:pt idx="6">
                  <c:v>1144.2653</c:v>
                </c:pt>
                <c:pt idx="7">
                  <c:v>1178.4613</c:v>
                </c:pt>
                <c:pt idx="8">
                  <c:v>1279.9382</c:v>
                </c:pt>
                <c:pt idx="9">
                  <c:v>1205.2789</c:v>
                </c:pt>
                <c:pt idx="10">
                  <c:v>1213.7445</c:v>
                </c:pt>
                <c:pt idx="11">
                  <c:v>1020.4715</c:v>
                </c:pt>
                <c:pt idx="12">
                  <c:v>1114.6955</c:v>
                </c:pt>
                <c:pt idx="13">
                  <c:v>1198.6742</c:v>
                </c:pt>
                <c:pt idx="14">
                  <c:v>1177.9004</c:v>
                </c:pt>
                <c:pt idx="15">
                  <c:v>1198.625</c:v>
                </c:pt>
                <c:pt idx="16">
                  <c:v>1230.1937</c:v>
                </c:pt>
                <c:pt idx="17">
                  <c:v>1198.8266</c:v>
                </c:pt>
                <c:pt idx="18">
                  <c:v>1263.8022</c:v>
                </c:pt>
                <c:pt idx="19">
                  <c:v>1356.5231</c:v>
                </c:pt>
                <c:pt idx="20">
                  <c:v>1330.8384</c:v>
                </c:pt>
                <c:pt idx="21">
                  <c:v>1214.1151</c:v>
                </c:pt>
                <c:pt idx="22">
                  <c:v>1318.3904</c:v>
                </c:pt>
                <c:pt idx="23">
                  <c:v>1330.1855</c:v>
                </c:pt>
                <c:pt idx="24">
                  <c:v>1319.2832</c:v>
                </c:pt>
                <c:pt idx="25">
                  <c:v>1230.5184</c:v>
                </c:pt>
                <c:pt idx="26">
                  <c:v>1272.4368</c:v>
                </c:pt>
                <c:pt idx="27">
                  <c:v>1272.8859</c:v>
                </c:pt>
                <c:pt idx="28">
                  <c:v>1334.9368</c:v>
                </c:pt>
                <c:pt idx="29">
                  <c:v>1322.1593</c:v>
                </c:pt>
                <c:pt idx="30">
                  <c:v>1318.4005</c:v>
                </c:pt>
                <c:pt idx="31">
                  <c:v>1313.8202</c:v>
                </c:pt>
                <c:pt idx="32">
                  <c:v>1308.3581</c:v>
                </c:pt>
                <c:pt idx="33">
                  <c:v>1316.2516</c:v>
                </c:pt>
                <c:pt idx="34">
                  <c:v>1342.788</c:v>
                </c:pt>
                <c:pt idx="35">
                  <c:v>1371.4252</c:v>
                </c:pt>
                <c:pt idx="36">
                  <c:v>1344.2874</c:v>
                </c:pt>
                <c:pt idx="37">
                  <c:v>1342.3097</c:v>
                </c:pt>
                <c:pt idx="38">
                  <c:v>1360.2455</c:v>
                </c:pt>
                <c:pt idx="39">
                  <c:v>1326.6009</c:v>
                </c:pt>
                <c:pt idx="40">
                  <c:v>1375.4899</c:v>
                </c:pt>
                <c:pt idx="41">
                  <c:v>1399.6165</c:v>
                </c:pt>
                <c:pt idx="42">
                  <c:v>1410.5553</c:v>
                </c:pt>
                <c:pt idx="43">
                  <c:v>1404.3546</c:v>
                </c:pt>
                <c:pt idx="44">
                  <c:v>1307.9179</c:v>
                </c:pt>
                <c:pt idx="45">
                  <c:v>1252.958</c:v>
                </c:pt>
                <c:pt idx="46">
                  <c:v>1235.7247</c:v>
                </c:pt>
                <c:pt idx="47">
                  <c:v>1207.824</c:v>
                </c:pt>
                <c:pt idx="48">
                  <c:v>1212.42</c:v>
                </c:pt>
                <c:pt idx="49">
                  <c:v>1236.7998</c:v>
                </c:pt>
                <c:pt idx="50">
                  <c:v>1198.6257</c:v>
                </c:pt>
                <c:pt idx="51">
                  <c:v>1137.4458</c:v>
                </c:pt>
              </c:numCache>
            </c:numRef>
          </c:xVal>
          <c:yVal>
            <c:numRef>
              <c:f>Sheet1!$B$109:$B$160</c:f>
              <c:numCache>
                <c:formatCode>General</c:formatCode>
                <c:ptCount val="52"/>
                <c:pt idx="0">
                  <c:v>0.2493939393939394</c:v>
                </c:pt>
                <c:pt idx="1">
                  <c:v>0.24313462826523777</c:v>
                </c:pt>
                <c:pt idx="2">
                  <c:v>0.25810185185185186</c:v>
                </c:pt>
                <c:pt idx="3">
                  <c:v>0.27251324308416713</c:v>
                </c:pt>
                <c:pt idx="4">
                  <c:v>0.2361111111111111</c:v>
                </c:pt>
                <c:pt idx="5">
                  <c:v>0.24867889337892446</c:v>
                </c:pt>
                <c:pt idx="6">
                  <c:v>0.2674865488086088</c:v>
                </c:pt>
                <c:pt idx="7">
                  <c:v>0.2746882372767105</c:v>
                </c:pt>
                <c:pt idx="8">
                  <c:v>0.24640835872877667</c:v>
                </c:pt>
                <c:pt idx="9">
                  <c:v>0.26800929512006194</c:v>
                </c:pt>
                <c:pt idx="10">
                  <c:v>0.265600624024961</c:v>
                </c:pt>
                <c:pt idx="11">
                  <c:v>0.2875589769058853</c:v>
                </c:pt>
                <c:pt idx="12">
                  <c:v>0.2799483371004198</c:v>
                </c:pt>
                <c:pt idx="13">
                  <c:v>0.2624401032067822</c:v>
                </c:pt>
                <c:pt idx="14">
                  <c:v>0.2636986301369863</c:v>
                </c:pt>
                <c:pt idx="15">
                  <c:v>0.27438752783964365</c:v>
                </c:pt>
                <c:pt idx="16">
                  <c:v>0.26464435146443516</c:v>
                </c:pt>
                <c:pt idx="17">
                  <c:v>0.2755465175394001</c:v>
                </c:pt>
                <c:pt idx="18">
                  <c:v>0.25461667599328486</c:v>
                </c:pt>
                <c:pt idx="19">
                  <c:v>0.25</c:v>
                </c:pt>
                <c:pt idx="20">
                  <c:v>0.24596774193548387</c:v>
                </c:pt>
                <c:pt idx="21">
                  <c:v>0.26046221111805123</c:v>
                </c:pt>
                <c:pt idx="22">
                  <c:v>0.2365911799761621</c:v>
                </c:pt>
                <c:pt idx="23">
                  <c:v>0.2327909887359199</c:v>
                </c:pt>
                <c:pt idx="24">
                  <c:v>0.24511930585683298</c:v>
                </c:pt>
                <c:pt idx="25">
                  <c:v>0.25565985643291</c:v>
                </c:pt>
                <c:pt idx="26">
                  <c:v>0.23563218390804597</c:v>
                </c:pt>
                <c:pt idx="27">
                  <c:v>0.24080431584109857</c:v>
                </c:pt>
                <c:pt idx="28">
                  <c:v>0.22885572139303484</c:v>
                </c:pt>
                <c:pt idx="29">
                  <c:v>0.24458874458874458</c:v>
                </c:pt>
                <c:pt idx="30">
                  <c:v>0.24178403755868544</c:v>
                </c:pt>
                <c:pt idx="31">
                  <c:v>0.23286802030456852</c:v>
                </c:pt>
                <c:pt idx="32">
                  <c:v>0.2271526677231907</c:v>
                </c:pt>
                <c:pt idx="33">
                  <c:v>0.25677365568987076</c:v>
                </c:pt>
                <c:pt idx="34">
                  <c:v>0.2763902763902764</c:v>
                </c:pt>
                <c:pt idx="35">
                  <c:v>0.25149150986691143</c:v>
                </c:pt>
                <c:pt idx="36">
                  <c:v>0.2615505090054816</c:v>
                </c:pt>
                <c:pt idx="37">
                  <c:v>0.26348547717842324</c:v>
                </c:pt>
                <c:pt idx="38">
                  <c:v>0.27342657342657345</c:v>
                </c:pt>
                <c:pt idx="39">
                  <c:v>0.25297787861599547</c:v>
                </c:pt>
                <c:pt idx="40">
                  <c:v>0.2542857142857143</c:v>
                </c:pt>
                <c:pt idx="41">
                  <c:v>0.25392670157068065</c:v>
                </c:pt>
                <c:pt idx="42">
                  <c:v>0.2637299771167048</c:v>
                </c:pt>
                <c:pt idx="43">
                  <c:v>0.24097884695147243</c:v>
                </c:pt>
                <c:pt idx="44">
                  <c:v>0.2479276563677468</c:v>
                </c:pt>
                <c:pt idx="45">
                  <c:v>0.2739292900258695</c:v>
                </c:pt>
                <c:pt idx="46">
                  <c:v>0.29678582156803845</c:v>
                </c:pt>
                <c:pt idx="47">
                  <c:v>0.29815602836879435</c:v>
                </c:pt>
                <c:pt idx="48">
                  <c:v>0.2791780821917808</c:v>
                </c:pt>
                <c:pt idx="49">
                  <c:v>0.28274428274428276</c:v>
                </c:pt>
                <c:pt idx="50">
                  <c:v>0.28562269594486295</c:v>
                </c:pt>
                <c:pt idx="51">
                  <c:v>0.28259740259740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10.2321899334671</c:v>
                </c:pt>
              </c:numCache>
            </c:numRef>
          </c:xVal>
          <c:yVal>
            <c:numRef>
              <c:f>Sheet1!$B$163:$B$164</c:f>
              <c:numCache>
                <c:formatCode>General</c:formatCode>
                <c:ptCount val="2"/>
                <c:pt idx="0">
                  <c:v>0.3148153952508909</c:v>
                </c:pt>
                <c:pt idx="1">
                  <c:v>0.314815395250890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10.2321899334671</c:v>
                </c:pt>
                <c:pt idx="1">
                  <c:v>810.2321899334671</c:v>
                </c:pt>
              </c:numCache>
            </c:numRef>
          </c:xVal>
          <c:yVal>
            <c:numRef>
              <c:f>Sheet1!$B$167:$B$168</c:f>
              <c:numCache>
                <c:formatCode>General</c:formatCode>
                <c:ptCount val="2"/>
                <c:pt idx="0">
                  <c:v>0.314815395250890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5.048965434339</c:v>
                </c:pt>
              </c:numCache>
            </c:numRef>
          </c:xVal>
          <c:yVal>
            <c:numRef>
              <c:f>Sheet1!$B$171:$B$172</c:f>
              <c:numCache>
                <c:formatCode>General</c:formatCode>
                <c:ptCount val="2"/>
                <c:pt idx="0">
                  <c:v>0.2825356158695823</c:v>
                </c:pt>
                <c:pt idx="1">
                  <c:v>0.28253561586958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5.048965434339</c:v>
                </c:pt>
                <c:pt idx="1">
                  <c:v>1075.048965434339</c:v>
                </c:pt>
              </c:numCache>
            </c:numRef>
          </c:xVal>
          <c:yVal>
            <c:numRef>
              <c:f>Sheet1!$B$175:$B$176</c:f>
              <c:numCache>
                <c:formatCode>General</c:formatCode>
                <c:ptCount val="2"/>
                <c:pt idx="0">
                  <c:v>0.28253561586958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6.0961673873157</c:v>
                </c:pt>
              </c:numCache>
            </c:numRef>
          </c:xVal>
          <c:yVal>
            <c:numRef>
              <c:f>Sheet1!$B$179:$B$180</c:f>
              <c:numCache>
                <c:formatCode>General</c:formatCode>
                <c:ptCount val="2"/>
                <c:pt idx="0">
                  <c:v>0.2702184906422574</c:v>
                </c:pt>
                <c:pt idx="1">
                  <c:v>0.27021849064225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6.0961673873157</c:v>
                </c:pt>
                <c:pt idx="1">
                  <c:v>1176.0961673873157</c:v>
                </c:pt>
              </c:numCache>
            </c:numRef>
          </c:xVal>
          <c:yVal>
            <c:numRef>
              <c:f>Sheet1!$B$183:$B$184</c:f>
              <c:numCache>
                <c:formatCode>General</c:formatCode>
                <c:ptCount val="2"/>
                <c:pt idx="0">
                  <c:v>0.27021849064225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5.7667</c:v>
                </c:pt>
                <c:pt idx="1">
                  <c:v>1231.7906</c:v>
                </c:pt>
                <c:pt idx="2">
                  <c:v>1253.2354</c:v>
                </c:pt>
                <c:pt idx="3">
                  <c:v>1254.6825</c:v>
                </c:pt>
                <c:pt idx="4">
                  <c:v>1287.8837</c:v>
                </c:pt>
                <c:pt idx="5">
                  <c:v>1264.5888</c:v>
                </c:pt>
                <c:pt idx="6">
                  <c:v>1144.2653</c:v>
                </c:pt>
                <c:pt idx="7">
                  <c:v>1178.4613</c:v>
                </c:pt>
                <c:pt idx="8">
                  <c:v>1279.9382</c:v>
                </c:pt>
                <c:pt idx="9">
                  <c:v>1205.2789</c:v>
                </c:pt>
                <c:pt idx="10">
                  <c:v>1213.7445</c:v>
                </c:pt>
                <c:pt idx="11">
                  <c:v>1020.4715</c:v>
                </c:pt>
                <c:pt idx="12">
                  <c:v>1114.6955</c:v>
                </c:pt>
                <c:pt idx="13">
                  <c:v>1198.6742</c:v>
                </c:pt>
                <c:pt idx="14">
                  <c:v>1177.9004</c:v>
                </c:pt>
                <c:pt idx="15">
                  <c:v>1198.625</c:v>
                </c:pt>
                <c:pt idx="16">
                  <c:v>1230.1937</c:v>
                </c:pt>
                <c:pt idx="17">
                  <c:v>1198.8266</c:v>
                </c:pt>
                <c:pt idx="18">
                  <c:v>1263.8022</c:v>
                </c:pt>
                <c:pt idx="19">
                  <c:v>1356.5231</c:v>
                </c:pt>
                <c:pt idx="20">
                  <c:v>1330.8384</c:v>
                </c:pt>
                <c:pt idx="21">
                  <c:v>1214.1151</c:v>
                </c:pt>
                <c:pt idx="22">
                  <c:v>1318.3904</c:v>
                </c:pt>
                <c:pt idx="23">
                  <c:v>1330.1855</c:v>
                </c:pt>
                <c:pt idx="24">
                  <c:v>1319.2832</c:v>
                </c:pt>
                <c:pt idx="25">
                  <c:v>1230.5184</c:v>
                </c:pt>
                <c:pt idx="26">
                  <c:v>1272.4368</c:v>
                </c:pt>
                <c:pt idx="27">
                  <c:v>1272.8859</c:v>
                </c:pt>
                <c:pt idx="28">
                  <c:v>1334.9368</c:v>
                </c:pt>
                <c:pt idx="29">
                  <c:v>1322.1593</c:v>
                </c:pt>
                <c:pt idx="30">
                  <c:v>1318.4005</c:v>
                </c:pt>
                <c:pt idx="31">
                  <c:v>1313.8202</c:v>
                </c:pt>
                <c:pt idx="32">
                  <c:v>1308.3581</c:v>
                </c:pt>
                <c:pt idx="33">
                  <c:v>1316.2516</c:v>
                </c:pt>
                <c:pt idx="34">
                  <c:v>1342.788</c:v>
                </c:pt>
                <c:pt idx="35">
                  <c:v>1371.4252</c:v>
                </c:pt>
                <c:pt idx="36">
                  <c:v>1344.2874</c:v>
                </c:pt>
                <c:pt idx="37">
                  <c:v>1342.3097</c:v>
                </c:pt>
                <c:pt idx="38">
                  <c:v>1360.2455</c:v>
                </c:pt>
                <c:pt idx="39">
                  <c:v>1326.6009</c:v>
                </c:pt>
                <c:pt idx="40">
                  <c:v>1375.4899</c:v>
                </c:pt>
                <c:pt idx="41">
                  <c:v>1399.6165</c:v>
                </c:pt>
                <c:pt idx="42">
                  <c:v>1410.5553</c:v>
                </c:pt>
                <c:pt idx="43">
                  <c:v>1404.3546</c:v>
                </c:pt>
                <c:pt idx="44">
                  <c:v>1307.9179</c:v>
                </c:pt>
                <c:pt idx="45">
                  <c:v>1252.958</c:v>
                </c:pt>
                <c:pt idx="46">
                  <c:v>1235.7247</c:v>
                </c:pt>
                <c:pt idx="47">
                  <c:v>1207.824</c:v>
                </c:pt>
                <c:pt idx="48">
                  <c:v>1212.42</c:v>
                </c:pt>
                <c:pt idx="49">
                  <c:v>1236.7998</c:v>
                </c:pt>
                <c:pt idx="50">
                  <c:v>1198.6257</c:v>
                </c:pt>
                <c:pt idx="51">
                  <c:v>1137.4458</c:v>
                </c:pt>
                <c:pt idx="52">
                  <c:v>1075.048965434339</c:v>
                </c:pt>
                <c:pt idx="53">
                  <c:v>810.2321899334671</c:v>
                </c:pt>
                <c:pt idx="54">
                  <c:v>1176.0961673873157</c:v>
                </c:pt>
              </c:numCache>
            </c:numRef>
          </c:xVal>
          <c:yVal>
            <c:numRef>
              <c:f>Sheet1!$B$187:$B$241</c:f>
              <c:numCache>
                <c:formatCode>General</c:formatCode>
                <c:ptCount val="55"/>
                <c:pt idx="0">
                  <c:v>0.2666018079564575</c:v>
                </c:pt>
                <c:pt idx="1">
                  <c:v>0.2634296307065367</c:v>
                </c:pt>
                <c:pt idx="2">
                  <c:v>0.2608156217882308</c:v>
                </c:pt>
                <c:pt idx="3">
                  <c:v>0.2606392278696268</c:v>
                </c:pt>
                <c:pt idx="4">
                  <c:v>0.2565921753021765</c:v>
                </c:pt>
                <c:pt idx="5">
                  <c:v>0.2594317017305435</c:v>
                </c:pt>
                <c:pt idx="6">
                  <c:v>0.2740985068339615</c:v>
                </c:pt>
                <c:pt idx="7">
                  <c:v>0.26993019335142077</c:v>
                </c:pt>
                <c:pt idx="8">
                  <c:v>0.25756069018039407</c:v>
                </c:pt>
                <c:pt idx="9">
                  <c:v>0.266661268224231</c:v>
                </c:pt>
                <c:pt idx="10">
                  <c:v>0.2656293558772373</c:v>
                </c:pt>
                <c:pt idx="11">
                  <c:v>0.2891883233503652</c:v>
                </c:pt>
                <c:pt idx="12">
                  <c:v>0.2777029107413199</c:v>
                </c:pt>
                <c:pt idx="13">
                  <c:v>0.2674663465976705</c:v>
                </c:pt>
                <c:pt idx="14">
                  <c:v>0.2699985641267266</c:v>
                </c:pt>
                <c:pt idx="15">
                  <c:v>0.2674723438202503</c:v>
                </c:pt>
                <c:pt idx="16">
                  <c:v>0.2636242844613697</c:v>
                </c:pt>
                <c:pt idx="17">
                  <c:v>0.26744776983504503</c:v>
                </c:pt>
                <c:pt idx="18">
                  <c:v>0.2595275841549605</c:v>
                </c:pt>
                <c:pt idx="19">
                  <c:v>0.2482253915715208</c:v>
                </c:pt>
                <c:pt idx="20">
                  <c:v>0.2513562221161755</c:v>
                </c:pt>
                <c:pt idx="21">
                  <c:v>0.26558418167625975</c:v>
                </c:pt>
                <c:pt idx="22">
                  <c:v>0.2528735681867881</c:v>
                </c:pt>
                <c:pt idx="23">
                  <c:v>0.2514358072101266</c:v>
                </c:pt>
                <c:pt idx="24">
                  <c:v>0.2527647405380218</c:v>
                </c:pt>
                <c:pt idx="25">
                  <c:v>0.26358470523023797</c:v>
                </c:pt>
                <c:pt idx="26">
                  <c:v>0.25847507159219457</c:v>
                </c:pt>
                <c:pt idx="27">
                  <c:v>0.2584203286519381</c:v>
                </c:pt>
                <c:pt idx="28">
                  <c:v>0.2508566485994822</c:v>
                </c:pt>
                <c:pt idx="29">
                  <c:v>0.2524141589961123</c:v>
                </c:pt>
                <c:pt idx="30">
                  <c:v>0.2528723370496324</c:v>
                </c:pt>
                <c:pt idx="31">
                  <c:v>0.25343065165496875</c:v>
                </c:pt>
                <c:pt idx="32">
                  <c:v>0.25409645306662465</c:v>
                </c:pt>
                <c:pt idx="33">
                  <c:v>0.25313427671633704</c:v>
                </c:pt>
                <c:pt idx="34">
                  <c:v>0.24989962839787608</c:v>
                </c:pt>
                <c:pt idx="35">
                  <c:v>0.24640890355104564</c:v>
                </c:pt>
                <c:pt idx="36">
                  <c:v>0.24971685938291172</c:v>
                </c:pt>
                <c:pt idx="37">
                  <c:v>0.24995793066535468</c:v>
                </c:pt>
                <c:pt idx="38">
                  <c:v>0.24777165048755165</c:v>
                </c:pt>
                <c:pt idx="39">
                  <c:v>0.25187275119508146</c:v>
                </c:pt>
                <c:pt idx="40">
                  <c:v>0.24591343788803</c:v>
                </c:pt>
                <c:pt idx="41">
                  <c:v>0.2429725315812144</c:v>
                </c:pt>
                <c:pt idx="42">
                  <c:v>0.2416391490942915</c:v>
                </c:pt>
                <c:pt idx="43">
                  <c:v>0.24239498198150608</c:v>
                </c:pt>
                <c:pt idx="44">
                  <c:v>0.25415011114344693</c:v>
                </c:pt>
                <c:pt idx="45">
                  <c:v>0.2608494353968417</c:v>
                </c:pt>
                <c:pt idx="46">
                  <c:v>0.2629500845002066</c:v>
                </c:pt>
                <c:pt idx="47">
                  <c:v>0.26635103385049097</c:v>
                </c:pt>
                <c:pt idx="48">
                  <c:v>0.26579080549729883</c:v>
                </c:pt>
                <c:pt idx="49">
                  <c:v>0.2628190354352552</c:v>
                </c:pt>
                <c:pt idx="50">
                  <c:v>0.2674722584939128</c:v>
                </c:pt>
                <c:pt idx="51">
                  <c:v>0.2749297682035423</c:v>
                </c:pt>
                <c:pt idx="52">
                  <c:v>0.2825356158695823</c:v>
                </c:pt>
                <c:pt idx="53">
                  <c:v>0.3148153952508909</c:v>
                </c:pt>
                <c:pt idx="54">
                  <c:v>0.27021849064225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3.0"/>
          <c:min val="63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44425459205468"/>
          <c:min val="0.141580135440180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0269164404827</c:v>
                </c:pt>
                <c:pt idx="1">
                  <c:v>0.6146035257847055</c:v>
                </c:pt>
                <c:pt idx="2">
                  <c:v>0.64081964075722</c:v>
                </c:pt>
                <c:pt idx="3">
                  <c:v>0.6456423564738998</c:v>
                </c:pt>
                <c:pt idx="4">
                  <c:v>0.657872848928709</c:v>
                </c:pt>
                <c:pt idx="5">
                  <c:v>0.6958068800124128</c:v>
                </c:pt>
                <c:pt idx="6">
                  <c:v>0.6399116434090918</c:v>
                </c:pt>
                <c:pt idx="7">
                  <c:v>0.6175710135230071</c:v>
                </c:pt>
                <c:pt idx="8">
                  <c:v>0.6457444249433298</c:v>
                </c:pt>
                <c:pt idx="9">
                  <c:v>0.6791797827875916</c:v>
                </c:pt>
                <c:pt idx="10">
                  <c:v>0.67392275969352</c:v>
                </c:pt>
                <c:pt idx="11">
                  <c:v>0.7079128542970757</c:v>
                </c:pt>
                <c:pt idx="12">
                  <c:v>0.7222326617186398</c:v>
                </c:pt>
                <c:pt idx="13">
                  <c:v>0.7116676966128203</c:v>
                </c:pt>
                <c:pt idx="14">
                  <c:v>0.6843659035178105</c:v>
                </c:pt>
                <c:pt idx="15">
                  <c:v>0.6782975558426082</c:v>
                </c:pt>
                <c:pt idx="16">
                  <c:v>0.6761536627671865</c:v>
                </c:pt>
                <c:pt idx="17">
                  <c:v>0.6917971316085607</c:v>
                </c:pt>
                <c:pt idx="18">
                  <c:v>0.7112175423369175</c:v>
                </c:pt>
                <c:pt idx="19">
                  <c:v>0.7275709237558527</c:v>
                </c:pt>
                <c:pt idx="20">
                  <c:v>0.7202006707575342</c:v>
                </c:pt>
                <c:pt idx="21">
                  <c:v>0.6098950311332328</c:v>
                </c:pt>
                <c:pt idx="22">
                  <c:v>0.5649701249948781</c:v>
                </c:pt>
                <c:pt idx="23">
                  <c:v>0.5696086089717093</c:v>
                </c:pt>
                <c:pt idx="24">
                  <c:v>0.5664737741094419</c:v>
                </c:pt>
                <c:pt idx="25">
                  <c:v>0.5463677687875209</c:v>
                </c:pt>
                <c:pt idx="26">
                  <c:v>0.5590322980960207</c:v>
                </c:pt>
                <c:pt idx="27">
                  <c:v>0.6028049025288541</c:v>
                </c:pt>
                <c:pt idx="28">
                  <c:v>0.5938870752556277</c:v>
                </c:pt>
                <c:pt idx="29">
                  <c:v>0.5192039348487792</c:v>
                </c:pt>
                <c:pt idx="30">
                  <c:v>0.5077348285695593</c:v>
                </c:pt>
                <c:pt idx="31">
                  <c:v>0.5913594376293986</c:v>
                </c:pt>
                <c:pt idx="32">
                  <c:v>0.511607504532173</c:v>
                </c:pt>
                <c:pt idx="33">
                  <c:v>0.5067222184113491</c:v>
                </c:pt>
                <c:pt idx="34">
                  <c:v>0.5818183317105257</c:v>
                </c:pt>
                <c:pt idx="35">
                  <c:v>0.6571335154645479</c:v>
                </c:pt>
                <c:pt idx="36">
                  <c:v>0.6503676884337691</c:v>
                </c:pt>
                <c:pt idx="37">
                  <c:v>0.6451897245600582</c:v>
                </c:pt>
                <c:pt idx="38">
                  <c:v>0.6767794045626154</c:v>
                </c:pt>
                <c:pt idx="39">
                  <c:v>0.6534239154636435</c:v>
                </c:pt>
                <c:pt idx="40">
                  <c:v>0.6730206269159477</c:v>
                </c:pt>
                <c:pt idx="41">
                  <c:v>0.6837168179598111</c:v>
                </c:pt>
                <c:pt idx="42">
                  <c:v>0.7122135260178262</c:v>
                </c:pt>
                <c:pt idx="43">
                  <c:v>0.7146021020753726</c:v>
                </c:pt>
                <c:pt idx="44">
                  <c:v>0.6758703634621623</c:v>
                </c:pt>
                <c:pt idx="45">
                  <c:v>0.6548413921773968</c:v>
                </c:pt>
                <c:pt idx="46">
                  <c:v>0.6681262411489084</c:v>
                </c:pt>
                <c:pt idx="47">
                  <c:v>0.6583282372148981</c:v>
                </c:pt>
                <c:pt idx="48">
                  <c:v>0.6667430618499699</c:v>
                </c:pt>
                <c:pt idx="49">
                  <c:v>0.6592889354382897</c:v>
                </c:pt>
                <c:pt idx="50">
                  <c:v>0.6288869707492477</c:v>
                </c:pt>
                <c:pt idx="51">
                  <c:v>0.6366572979430574</c:v>
                </c:pt>
                <c:pt idx="52">
                  <c:v>0.6533610491786223</c:v>
                </c:pt>
                <c:pt idx="53">
                  <c:v>0.6065652004551175</c:v>
                </c:pt>
                <c:pt idx="54">
                  <c:v>0.603275530256712</c:v>
                </c:pt>
                <c:pt idx="55">
                  <c:v>0.6188853248016298</c:v>
                </c:pt>
                <c:pt idx="56">
                  <c:v>0.6157526387851142</c:v>
                </c:pt>
                <c:pt idx="57">
                  <c:v>0.6332641071954819</c:v>
                </c:pt>
                <c:pt idx="58">
                  <c:v>0.6186095627639316</c:v>
                </c:pt>
                <c:pt idx="59">
                  <c:v>0.6081150016260753</c:v>
                </c:pt>
                <c:pt idx="60">
                  <c:v>0.6247654305802021</c:v>
                </c:pt>
                <c:pt idx="61">
                  <c:v>0.6425334923884283</c:v>
                </c:pt>
                <c:pt idx="62">
                  <c:v>0.6916708951541565</c:v>
                </c:pt>
                <c:pt idx="63">
                  <c:v>0.6904880992809367</c:v>
                </c:pt>
                <c:pt idx="64">
                  <c:v>0.70052799118494</c:v>
                </c:pt>
                <c:pt idx="65">
                  <c:v>0.7131918781105536</c:v>
                </c:pt>
                <c:pt idx="66">
                  <c:v>0.691451501214519</c:v>
                </c:pt>
                <c:pt idx="67">
                  <c:v>0.6720247585082307</c:v>
                </c:pt>
                <c:pt idx="68">
                  <c:v>0.6241523467145116</c:v>
                </c:pt>
                <c:pt idx="69">
                  <c:v>0.615556289657708</c:v>
                </c:pt>
                <c:pt idx="70">
                  <c:v>0.6039567216487168</c:v>
                </c:pt>
                <c:pt idx="71">
                  <c:v>0.5621020548747833</c:v>
                </c:pt>
                <c:pt idx="72">
                  <c:v>0.5540826936030437</c:v>
                </c:pt>
                <c:pt idx="73">
                  <c:v>0.5735455341445641</c:v>
                </c:pt>
                <c:pt idx="74">
                  <c:v>0.5318157577118477</c:v>
                </c:pt>
                <c:pt idx="75">
                  <c:v>0.5617476770964484</c:v>
                </c:pt>
                <c:pt idx="76">
                  <c:v>0.5781121992135325</c:v>
                </c:pt>
                <c:pt idx="77">
                  <c:v>0.5941720332467457</c:v>
                </c:pt>
                <c:pt idx="78">
                  <c:v>0.6183508252619547</c:v>
                </c:pt>
                <c:pt idx="79">
                  <c:v>0.33774105468948595</c:v>
                </c:pt>
                <c:pt idx="80">
                  <c:v>0.35506415563212906</c:v>
                </c:pt>
                <c:pt idx="81">
                  <c:v>0.5002761077627826</c:v>
                </c:pt>
                <c:pt idx="82">
                  <c:v>0.41677938471169257</c:v>
                </c:pt>
                <c:pt idx="83">
                  <c:v>0.5012901733452526</c:v>
                </c:pt>
                <c:pt idx="84">
                  <c:v>0.5092257478982058</c:v>
                </c:pt>
                <c:pt idx="85">
                  <c:v>0.5332703992765528</c:v>
                </c:pt>
                <c:pt idx="86">
                  <c:v>0.6606706740688629</c:v>
                </c:pt>
                <c:pt idx="87">
                  <c:v>0.738350377442095</c:v>
                </c:pt>
                <c:pt idx="88">
                  <c:v>0.6044024853763598</c:v>
                </c:pt>
                <c:pt idx="89">
                  <c:v>0.5125476754402917</c:v>
                </c:pt>
                <c:pt idx="90">
                  <c:v>0.6013533642400248</c:v>
                </c:pt>
                <c:pt idx="91">
                  <c:v>0.5673250459452278</c:v>
                </c:pt>
                <c:pt idx="92">
                  <c:v>0.6528489190008252</c:v>
                </c:pt>
                <c:pt idx="93">
                  <c:v>0.673499277589581</c:v>
                </c:pt>
                <c:pt idx="94">
                  <c:v>0.6081145152782934</c:v>
                </c:pt>
                <c:pt idx="95">
                  <c:v>0.6986508712971202</c:v>
                </c:pt>
                <c:pt idx="96">
                  <c:v>0.7118992865888978</c:v>
                </c:pt>
                <c:pt idx="97">
                  <c:v>0.755447247259518</c:v>
                </c:pt>
                <c:pt idx="98">
                  <c:v>0.7777078372075081</c:v>
                </c:pt>
                <c:pt idx="99">
                  <c:v>0.7517799424021798</c:v>
                </c:pt>
                <c:pt idx="100">
                  <c:v>0.7784486659273793</c:v>
                </c:pt>
                <c:pt idx="101">
                  <c:v>0.7115167672325863</c:v>
                </c:pt>
                <c:pt idx="102">
                  <c:v>0.6962088582140089</c:v>
                </c:pt>
                <c:pt idx="103">
                  <c:v>0.6813074549744124</c:v>
                </c:pt>
                <c:pt idx="104">
                  <c:v>0.7099780142087884</c:v>
                </c:pt>
              </c:numCache>
            </c:numRef>
          </c:xVal>
          <c:yVal>
            <c:numRef>
              <c:f>Sheet1!$B$2:$B$106</c:f>
              <c:numCache>
                <c:formatCode>General</c:formatCode>
                <c:ptCount val="105"/>
                <c:pt idx="0">
                  <c:v>0.25474979930425473</c:v>
                </c:pt>
                <c:pt idx="1">
                  <c:v>0.24514003294892917</c:v>
                </c:pt>
                <c:pt idx="2">
                  <c:v>0.20767778477029578</c:v>
                </c:pt>
                <c:pt idx="3">
                  <c:v>0.21141719216727514</c:v>
                </c:pt>
                <c:pt idx="4">
                  <c:v>0.2110609480812641</c:v>
                </c:pt>
                <c:pt idx="5">
                  <c:v>0.19698681732580037</c:v>
                </c:pt>
                <c:pt idx="6">
                  <c:v>0.20716685330347145</c:v>
                </c:pt>
                <c:pt idx="7">
                  <c:v>0.20845792396411789</c:v>
                </c:pt>
                <c:pt idx="8">
                  <c:v>0.2035623409669211</c:v>
                </c:pt>
                <c:pt idx="9">
                  <c:v>0.2110912343470483</c:v>
                </c:pt>
                <c:pt idx="10">
                  <c:v>0.2237442922374429</c:v>
                </c:pt>
                <c:pt idx="11">
                  <c:v>0.21998450813323006</c:v>
                </c:pt>
                <c:pt idx="12">
                  <c:v>0.23612087139845397</c:v>
                </c:pt>
                <c:pt idx="13">
                  <c:v>0.24077328646748683</c:v>
                </c:pt>
                <c:pt idx="14">
                  <c:v>0.24179874677478805</c:v>
                </c:pt>
                <c:pt idx="15">
                  <c:v>0.24309171005206248</c:v>
                </c:pt>
                <c:pt idx="16">
                  <c:v>0.24507042253521127</c:v>
                </c:pt>
                <c:pt idx="17">
                  <c:v>0.2127968977217644</c:v>
                </c:pt>
                <c:pt idx="18">
                  <c:v>0.20679320679320679</c:v>
                </c:pt>
                <c:pt idx="19">
                  <c:v>0.19333333333333333</c:v>
                </c:pt>
                <c:pt idx="20">
                  <c:v>0.20586907449209932</c:v>
                </c:pt>
                <c:pt idx="21">
                  <c:v>0.22593896713615025</c:v>
                </c:pt>
                <c:pt idx="22">
                  <c:v>0.22264150943396227</c:v>
                </c:pt>
                <c:pt idx="23">
                  <c:v>0.23181049069373943</c:v>
                </c:pt>
                <c:pt idx="24">
                  <c:v>0.23774509803921567</c:v>
                </c:pt>
                <c:pt idx="25">
                  <c:v>0.22979214780600463</c:v>
                </c:pt>
                <c:pt idx="26">
                  <c:v>0.22058823529411764</c:v>
                </c:pt>
                <c:pt idx="27">
                  <c:v>0.21008403361344538</c:v>
                </c:pt>
                <c:pt idx="28">
                  <c:v>0.20835623969213854</c:v>
                </c:pt>
                <c:pt idx="29">
                  <c:v>0.21611721611721613</c:v>
                </c:pt>
                <c:pt idx="30">
                  <c:v>0.2100181050090525</c:v>
                </c:pt>
                <c:pt idx="31">
                  <c:v>0.20065609622744668</c:v>
                </c:pt>
                <c:pt idx="32">
                  <c:v>0.21394358701436936</c:v>
                </c:pt>
                <c:pt idx="33">
                  <c:v>0.22828014184397163</c:v>
                </c:pt>
                <c:pt idx="34">
                  <c:v>0.221431247658299</c:v>
                </c:pt>
                <c:pt idx="35">
                  <c:v>0.2228591902543891</c:v>
                </c:pt>
                <c:pt idx="36">
                  <c:v>0.19448621553884712</c:v>
                </c:pt>
                <c:pt idx="37">
                  <c:v>0.16335303600214937</c:v>
                </c:pt>
                <c:pt idx="38">
                  <c:v>0.1735052754982415</c:v>
                </c:pt>
                <c:pt idx="39">
                  <c:v>0.18312284730195177</c:v>
                </c:pt>
                <c:pt idx="40">
                  <c:v>0.175</c:v>
                </c:pt>
                <c:pt idx="41">
                  <c:v>0.15319781854238967</c:v>
                </c:pt>
                <c:pt idx="42">
                  <c:v>0.16326530612244897</c:v>
                </c:pt>
                <c:pt idx="43">
                  <c:v>0.15913887716336006</c:v>
                </c:pt>
                <c:pt idx="44">
                  <c:v>0.18789144050104384</c:v>
                </c:pt>
                <c:pt idx="45">
                  <c:v>0.2242968565350981</c:v>
                </c:pt>
                <c:pt idx="46">
                  <c:v>0.22797089733225545</c:v>
                </c:pt>
                <c:pt idx="47">
                  <c:v>0.23144654088050315</c:v>
                </c:pt>
                <c:pt idx="48">
                  <c:v>0.23914145681933413</c:v>
                </c:pt>
                <c:pt idx="49">
                  <c:v>0.2764599638771824</c:v>
                </c:pt>
                <c:pt idx="50">
                  <c:v>0.24488072619801562</c:v>
                </c:pt>
                <c:pt idx="51">
                  <c:v>0.23029045643153526</c:v>
                </c:pt>
                <c:pt idx="52">
                  <c:v>0.21896383186705767</c:v>
                </c:pt>
                <c:pt idx="53">
                  <c:v>0.21902996601791783</c:v>
                </c:pt>
                <c:pt idx="54">
                  <c:v>0.21271538918597743</c:v>
                </c:pt>
                <c:pt idx="55">
                  <c:v>0.20984126984126983</c:v>
                </c:pt>
                <c:pt idx="56">
                  <c:v>0.21609344581440623</c:v>
                </c:pt>
                <c:pt idx="57">
                  <c:v>0.2108167770419426</c:v>
                </c:pt>
                <c:pt idx="58">
                  <c:v>0.22022233986236103</c:v>
                </c:pt>
                <c:pt idx="59">
                  <c:v>0.22463619594179135</c:v>
                </c:pt>
                <c:pt idx="60">
                  <c:v>0.24057492931196983</c:v>
                </c:pt>
                <c:pt idx="61">
                  <c:v>0.22790382661699965</c:v>
                </c:pt>
                <c:pt idx="62">
                  <c:v>0.2153536515238643</c:v>
                </c:pt>
                <c:pt idx="63">
                  <c:v>0.2509395779126915</c:v>
                </c:pt>
                <c:pt idx="64">
                  <c:v>0.2484186313973548</c:v>
                </c:pt>
                <c:pt idx="65">
                  <c:v>0.2329059829059829</c:v>
                </c:pt>
                <c:pt idx="66">
                  <c:v>0.225</c:v>
                </c:pt>
                <c:pt idx="67">
                  <c:v>0.23322259136212625</c:v>
                </c:pt>
                <c:pt idx="68">
                  <c:v>0.2233560090702948</c:v>
                </c:pt>
                <c:pt idx="69">
                  <c:v>0.2143193593970796</c:v>
                </c:pt>
                <c:pt idx="70">
                  <c:v>0.19290780141843972</c:v>
                </c:pt>
                <c:pt idx="71">
                  <c:v>0.20867768595041322</c:v>
                </c:pt>
                <c:pt idx="72">
                  <c:v>0.22617946345975948</c:v>
                </c:pt>
                <c:pt idx="73">
                  <c:v>0.21128154379020286</c:v>
                </c:pt>
                <c:pt idx="74">
                  <c:v>0.2319679430097952</c:v>
                </c:pt>
                <c:pt idx="75">
                  <c:v>0.22979156075241486</c:v>
                </c:pt>
                <c:pt idx="76">
                  <c:v>0.22518025513033832</c:v>
                </c:pt>
                <c:pt idx="77">
                  <c:v>0.21138211382113822</c:v>
                </c:pt>
                <c:pt idx="78">
                  <c:v>0.1998810232004759</c:v>
                </c:pt>
                <c:pt idx="79">
                  <c:v>0.3297273907399394</c:v>
                </c:pt>
                <c:pt idx="80">
                  <c:v>0.31569664902998235</c:v>
                </c:pt>
                <c:pt idx="81">
                  <c:v>0.2323682256867112</c:v>
                </c:pt>
                <c:pt idx="82">
                  <c:v>0.25632126921170056</c:v>
                </c:pt>
                <c:pt idx="83">
                  <c:v>0.2041457286432161</c:v>
                </c:pt>
                <c:pt idx="84">
                  <c:v>0.21733333333333332</c:v>
                </c:pt>
                <c:pt idx="85">
                  <c:v>0.2173228346456693</c:v>
                </c:pt>
                <c:pt idx="86">
                  <c:v>0.18915562913907286</c:v>
                </c:pt>
                <c:pt idx="87">
                  <c:v>0.20562851782363978</c:v>
                </c:pt>
                <c:pt idx="88">
                  <c:v>0.21175166297117518</c:v>
                </c:pt>
                <c:pt idx="89">
                  <c:v>0.20678818353236958</c:v>
                </c:pt>
                <c:pt idx="90">
                  <c:v>0.17701290719114934</c:v>
                </c:pt>
                <c:pt idx="91">
                  <c:v>0.19217491369390102</c:v>
                </c:pt>
                <c:pt idx="92">
                  <c:v>0.18895763921941933</c:v>
                </c:pt>
                <c:pt idx="93">
                  <c:v>0.1852207293666027</c:v>
                </c:pt>
                <c:pt idx="94">
                  <c:v>0.20038046924540268</c:v>
                </c:pt>
                <c:pt idx="95">
                  <c:v>0.18595744680851065</c:v>
                </c:pt>
                <c:pt idx="96">
                  <c:v>0.1678051678051678</c:v>
                </c:pt>
                <c:pt idx="97">
                  <c:v>0.18227513227513228</c:v>
                </c:pt>
                <c:pt idx="98">
                  <c:v>0.20017145306472353</c:v>
                </c:pt>
                <c:pt idx="99">
                  <c:v>0.20732766105226602</c:v>
                </c:pt>
                <c:pt idx="100">
                  <c:v>0.220177138112372</c:v>
                </c:pt>
                <c:pt idx="101">
                  <c:v>0.21193693693693694</c:v>
                </c:pt>
                <c:pt idx="102">
                  <c:v>0.18858024691358025</c:v>
                </c:pt>
                <c:pt idx="103">
                  <c:v>0.19665605095541402</c:v>
                </c:pt>
                <c:pt idx="104">
                  <c:v>0.192345118391177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10116169868301</c:v>
                </c:pt>
                <c:pt idx="1">
                  <c:v>0.6251917578023699</c:v>
                </c:pt>
                <c:pt idx="2">
                  <c:v>0.6352368846788616</c:v>
                </c:pt>
                <c:pt idx="3">
                  <c:v>0.6399968562423997</c:v>
                </c:pt>
                <c:pt idx="4">
                  <c:v>0.6258277778475265</c:v>
                </c:pt>
                <c:pt idx="5">
                  <c:v>0.6679860774631218</c:v>
                </c:pt>
                <c:pt idx="6">
                  <c:v>0.6944366804945211</c:v>
                </c:pt>
                <c:pt idx="7">
                  <c:v>0.709663715253365</c:v>
                </c:pt>
                <c:pt idx="8">
                  <c:v>0.7395492683352256</c:v>
                </c:pt>
                <c:pt idx="9">
                  <c:v>0.7391935800637257</c:v>
                </c:pt>
                <c:pt idx="10">
                  <c:v>0.7534746411986397</c:v>
                </c:pt>
                <c:pt idx="11">
                  <c:v>0.714007533863041</c:v>
                </c:pt>
                <c:pt idx="12">
                  <c:v>0.7151426753318344</c:v>
                </c:pt>
                <c:pt idx="13">
                  <c:v>0.6827027348669119</c:v>
                </c:pt>
                <c:pt idx="14">
                  <c:v>0.6786494354627134</c:v>
                </c:pt>
                <c:pt idx="15">
                  <c:v>0.6981144170725933</c:v>
                </c:pt>
                <c:pt idx="16">
                  <c:v>0.692083011612555</c:v>
                </c:pt>
                <c:pt idx="17">
                  <c:v>0.6905795073497738</c:v>
                </c:pt>
                <c:pt idx="18">
                  <c:v>0.7861270299888284</c:v>
                </c:pt>
                <c:pt idx="19">
                  <c:v>0.7746991231796476</c:v>
                </c:pt>
                <c:pt idx="20">
                  <c:v>0.7296991852872801</c:v>
                </c:pt>
                <c:pt idx="21">
                  <c:v>0.7204460227042213</c:v>
                </c:pt>
                <c:pt idx="22">
                  <c:v>0.7445286310739023</c:v>
                </c:pt>
                <c:pt idx="23">
                  <c:v>0.7017728782669969</c:v>
                </c:pt>
                <c:pt idx="24">
                  <c:v>0.694580984245077</c:v>
                </c:pt>
                <c:pt idx="25">
                  <c:v>0.7315164310883512</c:v>
                </c:pt>
                <c:pt idx="26">
                  <c:v>0.744317588381928</c:v>
                </c:pt>
                <c:pt idx="27">
                  <c:v>0.7690782578979019</c:v>
                </c:pt>
                <c:pt idx="28">
                  <c:v>0.7309754958271025</c:v>
                </c:pt>
                <c:pt idx="29">
                  <c:v>0.6802104299944248</c:v>
                </c:pt>
                <c:pt idx="30">
                  <c:v>0.7048340561748758</c:v>
                </c:pt>
                <c:pt idx="31">
                  <c:v>0.6817749179211895</c:v>
                </c:pt>
                <c:pt idx="32">
                  <c:v>0.665457887550657</c:v>
                </c:pt>
                <c:pt idx="33">
                  <c:v>0.7213057242008449</c:v>
                </c:pt>
                <c:pt idx="34">
                  <c:v>0.7388179235018338</c:v>
                </c:pt>
                <c:pt idx="35">
                  <c:v>0.7026027374941181</c:v>
                </c:pt>
                <c:pt idx="36">
                  <c:v>0.6436242985169371</c:v>
                </c:pt>
                <c:pt idx="37">
                  <c:v>0.6940805072767984</c:v>
                </c:pt>
                <c:pt idx="38">
                  <c:v>0.7010682340759119</c:v>
                </c:pt>
                <c:pt idx="39">
                  <c:v>0.7073184711523758</c:v>
                </c:pt>
                <c:pt idx="40">
                  <c:v>0.7614621824006257</c:v>
                </c:pt>
                <c:pt idx="41">
                  <c:v>0.8035659472235156</c:v>
                </c:pt>
                <c:pt idx="42">
                  <c:v>0.7584970903029142</c:v>
                </c:pt>
                <c:pt idx="43">
                  <c:v>0.8146983929532612</c:v>
                </c:pt>
                <c:pt idx="44">
                  <c:v>0.8176632984408772</c:v>
                </c:pt>
                <c:pt idx="45">
                  <c:v>0.8154649530471353</c:v>
                </c:pt>
                <c:pt idx="46">
                  <c:v>0.775937493211965</c:v>
                </c:pt>
                <c:pt idx="47">
                  <c:v>0.7619779540077348</c:v>
                </c:pt>
                <c:pt idx="48">
                  <c:v>0.8062628104144779</c:v>
                </c:pt>
                <c:pt idx="49">
                  <c:v>0.8720450451178013</c:v>
                </c:pt>
                <c:pt idx="50">
                  <c:v>0.7786429979025936</c:v>
                </c:pt>
                <c:pt idx="51">
                  <c:v>0.7523756218844924</c:v>
                </c:pt>
              </c:numCache>
            </c:numRef>
          </c:xVal>
          <c:yVal>
            <c:numRef>
              <c:f>Sheet1!$B$109:$B$160</c:f>
              <c:numCache>
                <c:formatCode>General</c:formatCode>
                <c:ptCount val="52"/>
                <c:pt idx="0">
                  <c:v>0.18636363636363637</c:v>
                </c:pt>
                <c:pt idx="1">
                  <c:v>0.2016075016744809</c:v>
                </c:pt>
                <c:pt idx="2">
                  <c:v>0.21122685185185186</c:v>
                </c:pt>
                <c:pt idx="3">
                  <c:v>0.21336080047086523</c:v>
                </c:pt>
                <c:pt idx="4">
                  <c:v>0.20991161616161616</c:v>
                </c:pt>
                <c:pt idx="5">
                  <c:v>0.19148274790177183</c:v>
                </c:pt>
                <c:pt idx="6">
                  <c:v>0.19472200871124776</c:v>
                </c:pt>
                <c:pt idx="7">
                  <c:v>0.18570947084597236</c:v>
                </c:pt>
                <c:pt idx="8">
                  <c:v>0.17283413147583804</c:v>
                </c:pt>
                <c:pt idx="9">
                  <c:v>0.19171185127807902</c:v>
                </c:pt>
                <c:pt idx="10">
                  <c:v>0.19422776911076442</c:v>
                </c:pt>
                <c:pt idx="11">
                  <c:v>0.21206853737273404</c:v>
                </c:pt>
                <c:pt idx="12">
                  <c:v>0.21569260574749757</c:v>
                </c:pt>
                <c:pt idx="13">
                  <c:v>0.21599705123479543</c:v>
                </c:pt>
                <c:pt idx="14">
                  <c:v>0.21879756468797565</c:v>
                </c:pt>
                <c:pt idx="15">
                  <c:v>0.1977728285077951</c:v>
                </c:pt>
                <c:pt idx="16">
                  <c:v>0.17259414225941422</c:v>
                </c:pt>
                <c:pt idx="17">
                  <c:v>0.17132689374682258</c:v>
                </c:pt>
                <c:pt idx="18">
                  <c:v>0.15221040850587578</c:v>
                </c:pt>
                <c:pt idx="19">
                  <c:v>0.16649159663865545</c:v>
                </c:pt>
                <c:pt idx="20">
                  <c:v>0.15841013824884792</c:v>
                </c:pt>
                <c:pt idx="21">
                  <c:v>0.16114928169893816</c:v>
                </c:pt>
                <c:pt idx="22">
                  <c:v>0.1632896305125149</c:v>
                </c:pt>
                <c:pt idx="23">
                  <c:v>0.172090112640801</c:v>
                </c:pt>
                <c:pt idx="24">
                  <c:v>0.1675704989154013</c:v>
                </c:pt>
                <c:pt idx="25">
                  <c:v>0.17945886250690227</c:v>
                </c:pt>
                <c:pt idx="26">
                  <c:v>0.16248693834900732</c:v>
                </c:pt>
                <c:pt idx="27">
                  <c:v>0.1603727317312408</c:v>
                </c:pt>
                <c:pt idx="28">
                  <c:v>0.17639077340569878</c:v>
                </c:pt>
                <c:pt idx="29">
                  <c:v>0.18722943722943722</c:v>
                </c:pt>
                <c:pt idx="30">
                  <c:v>0.18251173708920188</c:v>
                </c:pt>
                <c:pt idx="31">
                  <c:v>0.1751269035532995</c:v>
                </c:pt>
                <c:pt idx="32">
                  <c:v>0.18594823032223984</c:v>
                </c:pt>
                <c:pt idx="33">
                  <c:v>0.21175489787411422</c:v>
                </c:pt>
                <c:pt idx="34">
                  <c:v>0.2340992340992341</c:v>
                </c:pt>
                <c:pt idx="35">
                  <c:v>0.23451124368976595</c:v>
                </c:pt>
                <c:pt idx="36">
                  <c:v>0.18324197337509787</c:v>
                </c:pt>
                <c:pt idx="37">
                  <c:v>0.16251728907330568</c:v>
                </c:pt>
                <c:pt idx="38">
                  <c:v>0.16713286713286712</c:v>
                </c:pt>
                <c:pt idx="39">
                  <c:v>0.1849120816789563</c:v>
                </c:pt>
                <c:pt idx="40">
                  <c:v>0.16285714285714287</c:v>
                </c:pt>
                <c:pt idx="41">
                  <c:v>0.16963350785340314</c:v>
                </c:pt>
                <c:pt idx="42">
                  <c:v>0.16533180778032036</c:v>
                </c:pt>
                <c:pt idx="43">
                  <c:v>0.1596847781003733</c:v>
                </c:pt>
                <c:pt idx="44">
                  <c:v>0.1586284853051997</c:v>
                </c:pt>
                <c:pt idx="45">
                  <c:v>0.17217591261856854</c:v>
                </c:pt>
                <c:pt idx="46">
                  <c:v>0.17482727545809554</c:v>
                </c:pt>
                <c:pt idx="47">
                  <c:v>0.18014184397163122</c:v>
                </c:pt>
                <c:pt idx="48">
                  <c:v>0.1728767123287671</c:v>
                </c:pt>
                <c:pt idx="49">
                  <c:v>0.17486717486717487</c:v>
                </c:pt>
                <c:pt idx="50">
                  <c:v>0.19971149222631832</c:v>
                </c:pt>
                <c:pt idx="51">
                  <c:v>0.198181818181818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5070648030925714</c:v>
                </c:pt>
              </c:numCache>
            </c:numRef>
          </c:xVal>
          <c:yVal>
            <c:numRef>
              <c:f>Sheet1!$B$163:$B$164</c:f>
              <c:numCache>
                <c:formatCode>General</c:formatCode>
                <c:ptCount val="2"/>
                <c:pt idx="0">
                  <c:v>0.23327874815481625</c:v>
                </c:pt>
                <c:pt idx="1">
                  <c:v>0.233278748154816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5070648030925714</c:v>
                </c:pt>
                <c:pt idx="1">
                  <c:v>0.45070648030925714</c:v>
                </c:pt>
              </c:numCache>
            </c:numRef>
          </c:xVal>
          <c:yVal>
            <c:numRef>
              <c:f>Sheet1!$B$167:$B$168</c:f>
              <c:numCache>
                <c:formatCode>General</c:formatCode>
                <c:ptCount val="2"/>
                <c:pt idx="0">
                  <c:v>0.233278748154816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566566076465288</c:v>
                </c:pt>
              </c:numCache>
            </c:numRef>
          </c:xVal>
          <c:yVal>
            <c:numRef>
              <c:f>Sheet1!$B$171:$B$172</c:f>
              <c:numCache>
                <c:formatCode>General</c:formatCode>
                <c:ptCount val="2"/>
                <c:pt idx="0">
                  <c:v>0.1963576406063645</c:v>
                </c:pt>
                <c:pt idx="1">
                  <c:v>0.19635764060636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566566076465288</c:v>
                </c:pt>
                <c:pt idx="1">
                  <c:v>0.6566566076465288</c:v>
                </c:pt>
              </c:numCache>
            </c:numRef>
          </c:xVal>
          <c:yVal>
            <c:numRef>
              <c:f>Sheet1!$B$175:$B$176</c:f>
              <c:numCache>
                <c:formatCode>General</c:formatCode>
                <c:ptCount val="2"/>
                <c:pt idx="0">
                  <c:v>0.19635764060636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762939663515269</c:v>
                </c:pt>
              </c:numCache>
            </c:numRef>
          </c:xVal>
          <c:yVal>
            <c:numRef>
              <c:f>Sheet1!$B$179:$B$180</c:f>
              <c:numCache>
                <c:formatCode>General</c:formatCode>
                <c:ptCount val="2"/>
                <c:pt idx="0">
                  <c:v>0.17491000255598224</c:v>
                </c:pt>
                <c:pt idx="1">
                  <c:v>0.174910002555982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762939663515269</c:v>
                </c:pt>
                <c:pt idx="1">
                  <c:v>0.7762939663515269</c:v>
                </c:pt>
              </c:numCache>
            </c:numRef>
          </c:xVal>
          <c:yVal>
            <c:numRef>
              <c:f>Sheet1!$B$183:$B$184</c:f>
              <c:numCache>
                <c:formatCode>General</c:formatCode>
                <c:ptCount val="2"/>
                <c:pt idx="0">
                  <c:v>0.174910002555982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10116169868301</c:v>
                </c:pt>
                <c:pt idx="1">
                  <c:v>0.6251917578023699</c:v>
                </c:pt>
                <c:pt idx="2">
                  <c:v>0.6352368846788616</c:v>
                </c:pt>
                <c:pt idx="3">
                  <c:v>0.6399968562423997</c:v>
                </c:pt>
                <c:pt idx="4">
                  <c:v>0.6258277778475265</c:v>
                </c:pt>
                <c:pt idx="5">
                  <c:v>0.6679860774631218</c:v>
                </c:pt>
                <c:pt idx="6">
                  <c:v>0.6944366804945211</c:v>
                </c:pt>
                <c:pt idx="7">
                  <c:v>0.709663715253365</c:v>
                </c:pt>
                <c:pt idx="8">
                  <c:v>0.7395492683352256</c:v>
                </c:pt>
                <c:pt idx="9">
                  <c:v>0.7391935800637257</c:v>
                </c:pt>
                <c:pt idx="10">
                  <c:v>0.7534746411986397</c:v>
                </c:pt>
                <c:pt idx="11">
                  <c:v>0.714007533863041</c:v>
                </c:pt>
                <c:pt idx="12">
                  <c:v>0.7151426753318344</c:v>
                </c:pt>
                <c:pt idx="13">
                  <c:v>0.6827027348669119</c:v>
                </c:pt>
                <c:pt idx="14">
                  <c:v>0.6786494354627134</c:v>
                </c:pt>
                <c:pt idx="15">
                  <c:v>0.6981144170725933</c:v>
                </c:pt>
                <c:pt idx="16">
                  <c:v>0.692083011612555</c:v>
                </c:pt>
                <c:pt idx="17">
                  <c:v>0.6905795073497738</c:v>
                </c:pt>
                <c:pt idx="18">
                  <c:v>0.7861270299888284</c:v>
                </c:pt>
                <c:pt idx="19">
                  <c:v>0.7746991231796476</c:v>
                </c:pt>
                <c:pt idx="20">
                  <c:v>0.7296991852872801</c:v>
                </c:pt>
                <c:pt idx="21">
                  <c:v>0.7204460227042213</c:v>
                </c:pt>
                <c:pt idx="22">
                  <c:v>0.7445286310739023</c:v>
                </c:pt>
                <c:pt idx="23">
                  <c:v>0.7017728782669969</c:v>
                </c:pt>
                <c:pt idx="24">
                  <c:v>0.694580984245077</c:v>
                </c:pt>
                <c:pt idx="25">
                  <c:v>0.7315164310883512</c:v>
                </c:pt>
                <c:pt idx="26">
                  <c:v>0.744317588381928</c:v>
                </c:pt>
                <c:pt idx="27">
                  <c:v>0.7690782578979019</c:v>
                </c:pt>
                <c:pt idx="28">
                  <c:v>0.7309754958271025</c:v>
                </c:pt>
                <c:pt idx="29">
                  <c:v>0.6802104299944248</c:v>
                </c:pt>
                <c:pt idx="30">
                  <c:v>0.7048340561748758</c:v>
                </c:pt>
                <c:pt idx="31">
                  <c:v>0.6817749179211895</c:v>
                </c:pt>
                <c:pt idx="32">
                  <c:v>0.665457887550657</c:v>
                </c:pt>
                <c:pt idx="33">
                  <c:v>0.7213057242008449</c:v>
                </c:pt>
                <c:pt idx="34">
                  <c:v>0.7388179235018338</c:v>
                </c:pt>
                <c:pt idx="35">
                  <c:v>0.7026027374941181</c:v>
                </c:pt>
                <c:pt idx="36">
                  <c:v>0.6436242985169371</c:v>
                </c:pt>
                <c:pt idx="37">
                  <c:v>0.6940805072767984</c:v>
                </c:pt>
                <c:pt idx="38">
                  <c:v>0.7010682340759119</c:v>
                </c:pt>
                <c:pt idx="39">
                  <c:v>0.7073184711523758</c:v>
                </c:pt>
                <c:pt idx="40">
                  <c:v>0.7614621824006257</c:v>
                </c:pt>
                <c:pt idx="41">
                  <c:v>0.8035659472235156</c:v>
                </c:pt>
                <c:pt idx="42">
                  <c:v>0.7584970903029142</c:v>
                </c:pt>
                <c:pt idx="43">
                  <c:v>0.8146983929532612</c:v>
                </c:pt>
                <c:pt idx="44">
                  <c:v>0.8176632984408772</c:v>
                </c:pt>
                <c:pt idx="45">
                  <c:v>0.8154649530471353</c:v>
                </c:pt>
                <c:pt idx="46">
                  <c:v>0.775937493211965</c:v>
                </c:pt>
                <c:pt idx="47">
                  <c:v>0.7619779540077348</c:v>
                </c:pt>
                <c:pt idx="48">
                  <c:v>0.8062628104144779</c:v>
                </c:pt>
                <c:pt idx="49">
                  <c:v>0.8720450451178013</c:v>
                </c:pt>
                <c:pt idx="50">
                  <c:v>0.7786429979025936</c:v>
                </c:pt>
                <c:pt idx="51">
                  <c:v>0.7523756218844924</c:v>
                </c:pt>
                <c:pt idx="52">
                  <c:v>0.6566566076465288</c:v>
                </c:pt>
                <c:pt idx="53">
                  <c:v>0.45070648030925714</c:v>
                </c:pt>
                <c:pt idx="54">
                  <c:v>0.7762939663515269</c:v>
                </c:pt>
              </c:numCache>
            </c:numRef>
          </c:xVal>
          <c:yVal>
            <c:numRef>
              <c:f>Sheet1!$B$187:$B$241</c:f>
              <c:numCache>
                <c:formatCode>General</c:formatCode>
                <c:ptCount val="55"/>
                <c:pt idx="0">
                  <c:v>0.1884060258570131</c:v>
                </c:pt>
                <c:pt idx="1">
                  <c:v>0.20199840966104735</c:v>
                </c:pt>
                <c:pt idx="2">
                  <c:v>0.2001975988796224</c:v>
                </c:pt>
                <c:pt idx="3">
                  <c:v>0.1993442688802816</c:v>
                </c:pt>
                <c:pt idx="4">
                  <c:v>0.20188438902511086</c:v>
                </c:pt>
                <c:pt idx="5">
                  <c:v>0.19432658299560443</c:v>
                </c:pt>
                <c:pt idx="6">
                  <c:v>0.1895847283928908</c:v>
                </c:pt>
                <c:pt idx="7">
                  <c:v>0.1868549462109424</c:v>
                </c:pt>
                <c:pt idx="8">
                  <c:v>0.1814973009705811</c:v>
                </c:pt>
                <c:pt idx="9">
                  <c:v>0.1815610659465758</c:v>
                </c:pt>
                <c:pt idx="10">
                  <c:v>0.17900087042309992</c:v>
                </c:pt>
                <c:pt idx="11">
                  <c:v>0.1860762208169242</c:v>
                </c:pt>
                <c:pt idx="12">
                  <c:v>0.1858727216455768</c:v>
                </c:pt>
                <c:pt idx="13">
                  <c:v>0.1916882972232959</c:v>
                </c:pt>
                <c:pt idx="14">
                  <c:v>0.19241494063528763</c:v>
                </c:pt>
                <c:pt idx="15">
                  <c:v>0.18892541290962575</c:v>
                </c:pt>
                <c:pt idx="16">
                  <c:v>0.19000667550721428</c:v>
                </c:pt>
                <c:pt idx="17">
                  <c:v>0.19027621184255628</c:v>
                </c:pt>
                <c:pt idx="18">
                  <c:v>0.1731472087923783</c:v>
                </c:pt>
                <c:pt idx="19">
                  <c:v>0.17519591340747415</c:v>
                </c:pt>
                <c:pt idx="20">
                  <c:v>0.18326314583931871</c:v>
                </c:pt>
                <c:pt idx="21">
                  <c:v>0.1849219795351724</c:v>
                </c:pt>
                <c:pt idx="22">
                  <c:v>0.18060464025910522</c:v>
                </c:pt>
                <c:pt idx="23">
                  <c:v>0.18826955296446915</c:v>
                </c:pt>
                <c:pt idx="24">
                  <c:v>0.18955885875948586</c:v>
                </c:pt>
                <c:pt idx="25">
                  <c:v>0.1829373644060621</c:v>
                </c:pt>
                <c:pt idx="26">
                  <c:v>0.18064247432130484</c:v>
                </c:pt>
                <c:pt idx="27">
                  <c:v>0.17620357761368674</c:v>
                </c:pt>
                <c:pt idx="28">
                  <c:v>0.18303433899508287</c:v>
                </c:pt>
                <c:pt idx="29">
                  <c:v>0.19213509789989822</c:v>
                </c:pt>
                <c:pt idx="30">
                  <c:v>0.18772076923598593</c:v>
                </c:pt>
                <c:pt idx="31">
                  <c:v>0.191854628896314</c:v>
                </c:pt>
                <c:pt idx="32">
                  <c:v>0.19477981685793733</c:v>
                </c:pt>
                <c:pt idx="33">
                  <c:v>0.18476785906034293</c:v>
                </c:pt>
                <c:pt idx="34">
                  <c:v>0.18162841067950808</c:v>
                </c:pt>
                <c:pt idx="35">
                  <c:v>0.1881207823753428</c:v>
                </c:pt>
                <c:pt idx="36">
                  <c:v>0.19869396976138531</c:v>
                </c:pt>
                <c:pt idx="37">
                  <c:v>0.1896485803062032</c:v>
                </c:pt>
                <c:pt idx="38">
                  <c:v>0.18839587599373261</c:v>
                </c:pt>
                <c:pt idx="39">
                  <c:v>0.18727538299726298</c:v>
                </c:pt>
                <c:pt idx="40">
                  <c:v>0.17756892730376764</c:v>
                </c:pt>
                <c:pt idx="41">
                  <c:v>0.17002089783994068</c:v>
                </c:pt>
                <c:pt idx="42">
                  <c:v>0.17810048552927624</c:v>
                </c:pt>
                <c:pt idx="43">
                  <c:v>0.16802516114689103</c:v>
                </c:pt>
                <c:pt idx="44">
                  <c:v>0.16749363637536227</c:v>
                </c:pt>
                <c:pt idx="45">
                  <c:v>0.16788773832499626</c:v>
                </c:pt>
                <c:pt idx="46">
                  <c:v>0.17497390823690637</c:v>
                </c:pt>
                <c:pt idx="47">
                  <c:v>0.17747646385534582</c:v>
                </c:pt>
                <c:pt idx="48">
                  <c:v>0.16953742556825852</c:v>
                </c:pt>
                <c:pt idx="49">
                  <c:v>0.1577445075756346</c:v>
                </c:pt>
                <c:pt idx="50">
                  <c:v>0.17448888678561125</c:v>
                </c:pt>
                <c:pt idx="51">
                  <c:v>0.17919789390067714</c:v>
                </c:pt>
                <c:pt idx="52">
                  <c:v>0.1963576406063645</c:v>
                </c:pt>
                <c:pt idx="53">
                  <c:v>0.23327874815481625</c:v>
                </c:pt>
                <c:pt idx="54">
                  <c:v>0.174910002555982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67286888792724"/>
          <c:min val="0.1217683268047006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7.6702</c:v>
                </c:pt>
                <c:pt idx="1">
                  <c:v>914.6089</c:v>
                </c:pt>
                <c:pt idx="2">
                  <c:v>995.8136</c:v>
                </c:pt>
                <c:pt idx="3">
                  <c:v>1023.2009</c:v>
                </c:pt>
                <c:pt idx="4">
                  <c:v>1039.3993</c:v>
                </c:pt>
                <c:pt idx="5">
                  <c:v>1029.6386</c:v>
                </c:pt>
                <c:pt idx="6">
                  <c:v>963.9892</c:v>
                </c:pt>
                <c:pt idx="7">
                  <c:v>987.1906</c:v>
                </c:pt>
                <c:pt idx="8">
                  <c:v>1004.5075</c:v>
                </c:pt>
                <c:pt idx="9">
                  <c:v>956.3068</c:v>
                </c:pt>
                <c:pt idx="10">
                  <c:v>940.4396</c:v>
                </c:pt>
                <c:pt idx="11">
                  <c:v>985.8662</c:v>
                </c:pt>
                <c:pt idx="12">
                  <c:v>980.8571</c:v>
                </c:pt>
                <c:pt idx="13">
                  <c:v>967.0204</c:v>
                </c:pt>
                <c:pt idx="14">
                  <c:v>959.6113</c:v>
                </c:pt>
                <c:pt idx="15">
                  <c:v>963.0428</c:v>
                </c:pt>
                <c:pt idx="16">
                  <c:v>971.1092</c:v>
                </c:pt>
                <c:pt idx="17">
                  <c:v>998.4396</c:v>
                </c:pt>
                <c:pt idx="18">
                  <c:v>1036.7246</c:v>
                </c:pt>
                <c:pt idx="19">
                  <c:v>1053.1293</c:v>
                </c:pt>
                <c:pt idx="20">
                  <c:v>1048.2654</c:v>
                </c:pt>
                <c:pt idx="21">
                  <c:v>1046.3325</c:v>
                </c:pt>
                <c:pt idx="22">
                  <c:v>1021.7022</c:v>
                </c:pt>
                <c:pt idx="23">
                  <c:v>1012.8467</c:v>
                </c:pt>
                <c:pt idx="24">
                  <c:v>1020.534</c:v>
                </c:pt>
                <c:pt idx="25">
                  <c:v>997.0201</c:v>
                </c:pt>
                <c:pt idx="26">
                  <c:v>1023.9358</c:v>
                </c:pt>
                <c:pt idx="27">
                  <c:v>1058.545</c:v>
                </c:pt>
                <c:pt idx="28">
                  <c:v>1029.5251</c:v>
                </c:pt>
                <c:pt idx="29">
                  <c:v>923.8517</c:v>
                </c:pt>
                <c:pt idx="30">
                  <c:v>932.0833</c:v>
                </c:pt>
                <c:pt idx="31">
                  <c:v>999.9292</c:v>
                </c:pt>
                <c:pt idx="32">
                  <c:v>972.1244</c:v>
                </c:pt>
                <c:pt idx="33">
                  <c:v>939.6369</c:v>
                </c:pt>
                <c:pt idx="34">
                  <c:v>988.0372</c:v>
                </c:pt>
                <c:pt idx="35">
                  <c:v>1072.4486</c:v>
                </c:pt>
                <c:pt idx="36">
                  <c:v>1116.5026</c:v>
                </c:pt>
                <c:pt idx="37">
                  <c:v>1147.0461</c:v>
                </c:pt>
                <c:pt idx="38">
                  <c:v>1188.3041</c:v>
                </c:pt>
                <c:pt idx="39">
                  <c:v>1184.1473</c:v>
                </c:pt>
                <c:pt idx="40">
                  <c:v>1210.4208</c:v>
                </c:pt>
                <c:pt idx="41">
                  <c:v>1276.8188</c:v>
                </c:pt>
                <c:pt idx="42">
                  <c:v>1319.3804</c:v>
                </c:pt>
                <c:pt idx="43">
                  <c:v>1304.6154</c:v>
                </c:pt>
                <c:pt idx="44">
                  <c:v>1170.2254</c:v>
                </c:pt>
                <c:pt idx="45">
                  <c:v>1070.6459</c:v>
                </c:pt>
                <c:pt idx="46">
                  <c:v>1057.7172</c:v>
                </c:pt>
                <c:pt idx="47">
                  <c:v>1024.9538</c:v>
                </c:pt>
                <c:pt idx="48">
                  <c:v>1024.6148</c:v>
                </c:pt>
                <c:pt idx="49">
                  <c:v>991.2988</c:v>
                </c:pt>
                <c:pt idx="50">
                  <c:v>987.669</c:v>
                </c:pt>
                <c:pt idx="51">
                  <c:v>1006.5811</c:v>
                </c:pt>
                <c:pt idx="52">
                  <c:v>1034.942</c:v>
                </c:pt>
                <c:pt idx="53">
                  <c:v>1106.6756</c:v>
                </c:pt>
                <c:pt idx="54">
                  <c:v>1098.3031</c:v>
                </c:pt>
                <c:pt idx="55">
                  <c:v>1119.8548</c:v>
                </c:pt>
                <c:pt idx="56">
                  <c:v>1129.3529</c:v>
                </c:pt>
                <c:pt idx="57">
                  <c:v>1130.0838</c:v>
                </c:pt>
                <c:pt idx="58">
                  <c:v>1099.7368</c:v>
                </c:pt>
                <c:pt idx="59">
                  <c:v>1081.3549</c:v>
                </c:pt>
                <c:pt idx="60">
                  <c:v>1124.5446</c:v>
                </c:pt>
                <c:pt idx="61">
                  <c:v>1125.6196</c:v>
                </c:pt>
                <c:pt idx="62">
                  <c:v>1097.7183</c:v>
                </c:pt>
                <c:pt idx="63">
                  <c:v>1122.3525</c:v>
                </c:pt>
                <c:pt idx="64">
                  <c:v>1104.0532</c:v>
                </c:pt>
                <c:pt idx="65">
                  <c:v>1090.1324</c:v>
                </c:pt>
                <c:pt idx="66">
                  <c:v>1025.6892</c:v>
                </c:pt>
                <c:pt idx="67">
                  <c:v>1005.4487</c:v>
                </c:pt>
                <c:pt idx="68">
                  <c:v>962.8156</c:v>
                </c:pt>
                <c:pt idx="69">
                  <c:v>964.6659</c:v>
                </c:pt>
                <c:pt idx="70">
                  <c:v>963.4314</c:v>
                </c:pt>
                <c:pt idx="71">
                  <c:v>1026.5074</c:v>
                </c:pt>
                <c:pt idx="72">
                  <c:v>1022.9734</c:v>
                </c:pt>
                <c:pt idx="73">
                  <c:v>1071.0539</c:v>
                </c:pt>
                <c:pt idx="74">
                  <c:v>983.3493</c:v>
                </c:pt>
                <c:pt idx="75">
                  <c:v>1042.1239</c:v>
                </c:pt>
                <c:pt idx="76">
                  <c:v>1077.8251</c:v>
                </c:pt>
                <c:pt idx="77">
                  <c:v>1077.6923</c:v>
                </c:pt>
                <c:pt idx="78">
                  <c:v>1143.9643</c:v>
                </c:pt>
                <c:pt idx="79">
                  <c:v>620.4724</c:v>
                </c:pt>
                <c:pt idx="80">
                  <c:v>614.3897</c:v>
                </c:pt>
                <c:pt idx="81">
                  <c:v>857.385</c:v>
                </c:pt>
                <c:pt idx="82">
                  <c:v>754.3288</c:v>
                </c:pt>
                <c:pt idx="83">
                  <c:v>910.8462</c:v>
                </c:pt>
                <c:pt idx="84">
                  <c:v>918.8282</c:v>
                </c:pt>
                <c:pt idx="85">
                  <c:v>953.6618</c:v>
                </c:pt>
                <c:pt idx="86">
                  <c:v>1163.0066</c:v>
                </c:pt>
                <c:pt idx="87">
                  <c:v>1212.4106</c:v>
                </c:pt>
                <c:pt idx="88">
                  <c:v>1152.3979</c:v>
                </c:pt>
                <c:pt idx="89">
                  <c:v>1043.6444</c:v>
                </c:pt>
                <c:pt idx="90">
                  <c:v>1197.0243</c:v>
                </c:pt>
                <c:pt idx="91">
                  <c:v>1085.5</c:v>
                </c:pt>
                <c:pt idx="92">
                  <c:v>1194.3098</c:v>
                </c:pt>
                <c:pt idx="93">
                  <c:v>1256.3601</c:v>
                </c:pt>
                <c:pt idx="94">
                  <c:v>1181.3924</c:v>
                </c:pt>
                <c:pt idx="95">
                  <c:v>1247.5606</c:v>
                </c:pt>
                <c:pt idx="96">
                  <c:v>1213.6726</c:v>
                </c:pt>
                <c:pt idx="97">
                  <c:v>1211.5835</c:v>
                </c:pt>
                <c:pt idx="98">
                  <c:v>1198.5642</c:v>
                </c:pt>
                <c:pt idx="99">
                  <c:v>1123.0921</c:v>
                </c:pt>
                <c:pt idx="100">
                  <c:v>1171.6065</c:v>
                </c:pt>
                <c:pt idx="101">
                  <c:v>1153.0808</c:v>
                </c:pt>
                <c:pt idx="102">
                  <c:v>1162.5794</c:v>
                </c:pt>
                <c:pt idx="103">
                  <c:v>1077.9838</c:v>
                </c:pt>
                <c:pt idx="104">
                  <c:v>1170.5093</c:v>
                </c:pt>
              </c:numCache>
            </c:numRef>
          </c:xVal>
          <c:yVal>
            <c:numRef>
              <c:f>Sheet1!$B$2:$B$106</c:f>
              <c:numCache>
                <c:formatCode>General</c:formatCode>
                <c:ptCount val="105"/>
                <c:pt idx="0">
                  <c:v>0.25474979930425473</c:v>
                </c:pt>
                <c:pt idx="1">
                  <c:v>0.24514003294892917</c:v>
                </c:pt>
                <c:pt idx="2">
                  <c:v>0.20767778477029578</c:v>
                </c:pt>
                <c:pt idx="3">
                  <c:v>0.21141719216727514</c:v>
                </c:pt>
                <c:pt idx="4">
                  <c:v>0.2110609480812641</c:v>
                </c:pt>
                <c:pt idx="5">
                  <c:v>0.19698681732580037</c:v>
                </c:pt>
                <c:pt idx="6">
                  <c:v>0.20716685330347145</c:v>
                </c:pt>
                <c:pt idx="7">
                  <c:v>0.20845792396411789</c:v>
                </c:pt>
                <c:pt idx="8">
                  <c:v>0.2035623409669211</c:v>
                </c:pt>
                <c:pt idx="9">
                  <c:v>0.2110912343470483</c:v>
                </c:pt>
                <c:pt idx="10">
                  <c:v>0.2237442922374429</c:v>
                </c:pt>
                <c:pt idx="11">
                  <c:v>0.21998450813323006</c:v>
                </c:pt>
                <c:pt idx="12">
                  <c:v>0.23612087139845397</c:v>
                </c:pt>
                <c:pt idx="13">
                  <c:v>0.24077328646748683</c:v>
                </c:pt>
                <c:pt idx="14">
                  <c:v>0.24179874677478805</c:v>
                </c:pt>
                <c:pt idx="15">
                  <c:v>0.24309171005206248</c:v>
                </c:pt>
                <c:pt idx="16">
                  <c:v>0.24507042253521127</c:v>
                </c:pt>
                <c:pt idx="17">
                  <c:v>0.2127968977217644</c:v>
                </c:pt>
                <c:pt idx="18">
                  <c:v>0.20679320679320679</c:v>
                </c:pt>
                <c:pt idx="19">
                  <c:v>0.19333333333333333</c:v>
                </c:pt>
                <c:pt idx="20">
                  <c:v>0.20586907449209932</c:v>
                </c:pt>
                <c:pt idx="21">
                  <c:v>0.22593896713615025</c:v>
                </c:pt>
                <c:pt idx="22">
                  <c:v>0.22264150943396227</c:v>
                </c:pt>
                <c:pt idx="23">
                  <c:v>0.23181049069373943</c:v>
                </c:pt>
                <c:pt idx="24">
                  <c:v>0.23774509803921567</c:v>
                </c:pt>
                <c:pt idx="25">
                  <c:v>0.22979214780600463</c:v>
                </c:pt>
                <c:pt idx="26">
                  <c:v>0.22058823529411764</c:v>
                </c:pt>
                <c:pt idx="27">
                  <c:v>0.21008403361344538</c:v>
                </c:pt>
                <c:pt idx="28">
                  <c:v>0.20835623969213854</c:v>
                </c:pt>
                <c:pt idx="29">
                  <c:v>0.21611721611721613</c:v>
                </c:pt>
                <c:pt idx="30">
                  <c:v>0.2100181050090525</c:v>
                </c:pt>
                <c:pt idx="31">
                  <c:v>0.20065609622744668</c:v>
                </c:pt>
                <c:pt idx="32">
                  <c:v>0.21394358701436936</c:v>
                </c:pt>
                <c:pt idx="33">
                  <c:v>0.22828014184397163</c:v>
                </c:pt>
                <c:pt idx="34">
                  <c:v>0.221431247658299</c:v>
                </c:pt>
                <c:pt idx="35">
                  <c:v>0.2228591902543891</c:v>
                </c:pt>
                <c:pt idx="36">
                  <c:v>0.19448621553884712</c:v>
                </c:pt>
                <c:pt idx="37">
                  <c:v>0.16335303600214937</c:v>
                </c:pt>
                <c:pt idx="38">
                  <c:v>0.1735052754982415</c:v>
                </c:pt>
                <c:pt idx="39">
                  <c:v>0.18312284730195177</c:v>
                </c:pt>
                <c:pt idx="40">
                  <c:v>0.175</c:v>
                </c:pt>
                <c:pt idx="41">
                  <c:v>0.15319781854238967</c:v>
                </c:pt>
                <c:pt idx="42">
                  <c:v>0.16326530612244897</c:v>
                </c:pt>
                <c:pt idx="43">
                  <c:v>0.15913887716336006</c:v>
                </c:pt>
                <c:pt idx="44">
                  <c:v>0.18789144050104384</c:v>
                </c:pt>
                <c:pt idx="45">
                  <c:v>0.2242968565350981</c:v>
                </c:pt>
                <c:pt idx="46">
                  <c:v>0.22797089733225545</c:v>
                </c:pt>
                <c:pt idx="47">
                  <c:v>0.23144654088050315</c:v>
                </c:pt>
                <c:pt idx="48">
                  <c:v>0.23914145681933413</c:v>
                </c:pt>
                <c:pt idx="49">
                  <c:v>0.2764599638771824</c:v>
                </c:pt>
                <c:pt idx="50">
                  <c:v>0.24488072619801562</c:v>
                </c:pt>
                <c:pt idx="51">
                  <c:v>0.23029045643153526</c:v>
                </c:pt>
                <c:pt idx="52">
                  <c:v>0.21896383186705767</c:v>
                </c:pt>
                <c:pt idx="53">
                  <c:v>0.21902996601791783</c:v>
                </c:pt>
                <c:pt idx="54">
                  <c:v>0.21271538918597743</c:v>
                </c:pt>
                <c:pt idx="55">
                  <c:v>0.20984126984126983</c:v>
                </c:pt>
                <c:pt idx="56">
                  <c:v>0.21609344581440623</c:v>
                </c:pt>
                <c:pt idx="57">
                  <c:v>0.2108167770419426</c:v>
                </c:pt>
                <c:pt idx="58">
                  <c:v>0.22022233986236103</c:v>
                </c:pt>
                <c:pt idx="59">
                  <c:v>0.22463619594179135</c:v>
                </c:pt>
                <c:pt idx="60">
                  <c:v>0.24057492931196983</c:v>
                </c:pt>
                <c:pt idx="61">
                  <c:v>0.22790382661699965</c:v>
                </c:pt>
                <c:pt idx="62">
                  <c:v>0.2153536515238643</c:v>
                </c:pt>
                <c:pt idx="63">
                  <c:v>0.2509395779126915</c:v>
                </c:pt>
                <c:pt idx="64">
                  <c:v>0.2484186313973548</c:v>
                </c:pt>
                <c:pt idx="65">
                  <c:v>0.2329059829059829</c:v>
                </c:pt>
                <c:pt idx="66">
                  <c:v>0.225</c:v>
                </c:pt>
                <c:pt idx="67">
                  <c:v>0.23322259136212625</c:v>
                </c:pt>
                <c:pt idx="68">
                  <c:v>0.2233560090702948</c:v>
                </c:pt>
                <c:pt idx="69">
                  <c:v>0.2143193593970796</c:v>
                </c:pt>
                <c:pt idx="70">
                  <c:v>0.19290780141843972</c:v>
                </c:pt>
                <c:pt idx="71">
                  <c:v>0.20867768595041322</c:v>
                </c:pt>
                <c:pt idx="72">
                  <c:v>0.22617946345975948</c:v>
                </c:pt>
                <c:pt idx="73">
                  <c:v>0.21128154379020286</c:v>
                </c:pt>
                <c:pt idx="74">
                  <c:v>0.2319679430097952</c:v>
                </c:pt>
                <c:pt idx="75">
                  <c:v>0.22979156075241486</c:v>
                </c:pt>
                <c:pt idx="76">
                  <c:v>0.22518025513033832</c:v>
                </c:pt>
                <c:pt idx="77">
                  <c:v>0.21138211382113822</c:v>
                </c:pt>
                <c:pt idx="78">
                  <c:v>0.1998810232004759</c:v>
                </c:pt>
                <c:pt idx="79">
                  <c:v>0.3297273907399394</c:v>
                </c:pt>
                <c:pt idx="80">
                  <c:v>0.31569664902998235</c:v>
                </c:pt>
                <c:pt idx="81">
                  <c:v>0.2323682256867112</c:v>
                </c:pt>
                <c:pt idx="82">
                  <c:v>0.25632126921170056</c:v>
                </c:pt>
                <c:pt idx="83">
                  <c:v>0.2041457286432161</c:v>
                </c:pt>
                <c:pt idx="84">
                  <c:v>0.21733333333333332</c:v>
                </c:pt>
                <c:pt idx="85">
                  <c:v>0.2173228346456693</c:v>
                </c:pt>
                <c:pt idx="86">
                  <c:v>0.18915562913907286</c:v>
                </c:pt>
                <c:pt idx="87">
                  <c:v>0.20562851782363978</c:v>
                </c:pt>
                <c:pt idx="88">
                  <c:v>0.21175166297117518</c:v>
                </c:pt>
                <c:pt idx="89">
                  <c:v>0.20678818353236958</c:v>
                </c:pt>
                <c:pt idx="90">
                  <c:v>0.17701290719114934</c:v>
                </c:pt>
                <c:pt idx="91">
                  <c:v>0.19217491369390102</c:v>
                </c:pt>
                <c:pt idx="92">
                  <c:v>0.18895763921941933</c:v>
                </c:pt>
                <c:pt idx="93">
                  <c:v>0.1852207293666027</c:v>
                </c:pt>
                <c:pt idx="94">
                  <c:v>0.20038046924540268</c:v>
                </c:pt>
                <c:pt idx="95">
                  <c:v>0.18595744680851065</c:v>
                </c:pt>
                <c:pt idx="96">
                  <c:v>0.1678051678051678</c:v>
                </c:pt>
                <c:pt idx="97">
                  <c:v>0.18227513227513228</c:v>
                </c:pt>
                <c:pt idx="98">
                  <c:v>0.20017145306472353</c:v>
                </c:pt>
                <c:pt idx="99">
                  <c:v>0.20732766105226602</c:v>
                </c:pt>
                <c:pt idx="100">
                  <c:v>0.220177138112372</c:v>
                </c:pt>
                <c:pt idx="101">
                  <c:v>0.21193693693693694</c:v>
                </c:pt>
                <c:pt idx="102">
                  <c:v>0.18858024691358025</c:v>
                </c:pt>
                <c:pt idx="103">
                  <c:v>0.19665605095541402</c:v>
                </c:pt>
                <c:pt idx="104">
                  <c:v>0.192345118391177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3.9496</c:v>
                </c:pt>
                <c:pt idx="1">
                  <c:v>1175.5083</c:v>
                </c:pt>
                <c:pt idx="2">
                  <c:v>1168.9356</c:v>
                </c:pt>
                <c:pt idx="3">
                  <c:v>1199.4759</c:v>
                </c:pt>
                <c:pt idx="4">
                  <c:v>1196.3474</c:v>
                </c:pt>
                <c:pt idx="5">
                  <c:v>1214.0162</c:v>
                </c:pt>
                <c:pt idx="6">
                  <c:v>1144.3829</c:v>
                </c:pt>
                <c:pt idx="7">
                  <c:v>1216.775</c:v>
                </c:pt>
                <c:pt idx="8">
                  <c:v>1302.5063</c:v>
                </c:pt>
                <c:pt idx="9">
                  <c:v>1249.2081</c:v>
                </c:pt>
                <c:pt idx="10">
                  <c:v>1284.01</c:v>
                </c:pt>
                <c:pt idx="11">
                  <c:v>1059.8665</c:v>
                </c:pt>
                <c:pt idx="12">
                  <c:v>1123.7275</c:v>
                </c:pt>
                <c:pt idx="13">
                  <c:v>1180.599</c:v>
                </c:pt>
                <c:pt idx="14">
                  <c:v>1168.7026</c:v>
                </c:pt>
                <c:pt idx="15">
                  <c:v>1232.7703</c:v>
                </c:pt>
                <c:pt idx="16">
                  <c:v>1243.6576</c:v>
                </c:pt>
                <c:pt idx="17">
                  <c:v>1226.4036</c:v>
                </c:pt>
                <c:pt idx="18">
                  <c:v>1366.7794</c:v>
                </c:pt>
                <c:pt idx="19">
                  <c:v>1413.7224</c:v>
                </c:pt>
                <c:pt idx="20">
                  <c:v>1420.6655</c:v>
                </c:pt>
                <c:pt idx="21">
                  <c:v>1376.2403</c:v>
                </c:pt>
                <c:pt idx="22">
                  <c:v>1403.2044</c:v>
                </c:pt>
                <c:pt idx="23">
                  <c:v>1331.56</c:v>
                </c:pt>
                <c:pt idx="24">
                  <c:v>1314.2039</c:v>
                </c:pt>
                <c:pt idx="25">
                  <c:v>1232.8708</c:v>
                </c:pt>
                <c:pt idx="26">
                  <c:v>1311.9743</c:v>
                </c:pt>
                <c:pt idx="27">
                  <c:v>1347.581</c:v>
                </c:pt>
                <c:pt idx="28">
                  <c:v>1299.3308</c:v>
                </c:pt>
                <c:pt idx="29">
                  <c:v>1310.2399</c:v>
                </c:pt>
                <c:pt idx="30">
                  <c:v>1323.6656</c:v>
                </c:pt>
                <c:pt idx="31">
                  <c:v>1257.6014</c:v>
                </c:pt>
                <c:pt idx="32">
                  <c:v>1246.5256</c:v>
                </c:pt>
                <c:pt idx="33">
                  <c:v>1311.75</c:v>
                </c:pt>
                <c:pt idx="34">
                  <c:v>1329.8037</c:v>
                </c:pt>
                <c:pt idx="35">
                  <c:v>1302.319</c:v>
                </c:pt>
                <c:pt idx="36">
                  <c:v>1346.0812</c:v>
                </c:pt>
                <c:pt idx="37">
                  <c:v>1439.3532</c:v>
                </c:pt>
                <c:pt idx="38">
                  <c:v>1426.1381</c:v>
                </c:pt>
                <c:pt idx="39">
                  <c:v>1352.5092</c:v>
                </c:pt>
                <c:pt idx="40">
                  <c:v>1472.0842</c:v>
                </c:pt>
                <c:pt idx="41">
                  <c:v>1505.2685</c:v>
                </c:pt>
                <c:pt idx="42">
                  <c:v>1498.7612</c:v>
                </c:pt>
                <c:pt idx="43">
                  <c:v>1448.1844</c:v>
                </c:pt>
                <c:pt idx="44">
                  <c:v>1367.5036</c:v>
                </c:pt>
                <c:pt idx="45">
                  <c:v>1281.5826</c:v>
                </c:pt>
                <c:pt idx="46">
                  <c:v>1271.6942</c:v>
                </c:pt>
                <c:pt idx="47">
                  <c:v>1213.9323</c:v>
                </c:pt>
                <c:pt idx="48">
                  <c:v>1217.065</c:v>
                </c:pt>
                <c:pt idx="49">
                  <c:v>1274.1717</c:v>
                </c:pt>
                <c:pt idx="50">
                  <c:v>1120.3307</c:v>
                </c:pt>
                <c:pt idx="51">
                  <c:v>1081.8467</c:v>
                </c:pt>
              </c:numCache>
            </c:numRef>
          </c:xVal>
          <c:yVal>
            <c:numRef>
              <c:f>Sheet1!$B$109:$B$160</c:f>
              <c:numCache>
                <c:formatCode>General</c:formatCode>
                <c:ptCount val="52"/>
                <c:pt idx="0">
                  <c:v>0.18636363636363637</c:v>
                </c:pt>
                <c:pt idx="1">
                  <c:v>0.2016075016744809</c:v>
                </c:pt>
                <c:pt idx="2">
                  <c:v>0.21122685185185186</c:v>
                </c:pt>
                <c:pt idx="3">
                  <c:v>0.21336080047086523</c:v>
                </c:pt>
                <c:pt idx="4">
                  <c:v>0.20991161616161616</c:v>
                </c:pt>
                <c:pt idx="5">
                  <c:v>0.19148274790177183</c:v>
                </c:pt>
                <c:pt idx="6">
                  <c:v>0.19472200871124776</c:v>
                </c:pt>
                <c:pt idx="7">
                  <c:v>0.18570947084597236</c:v>
                </c:pt>
                <c:pt idx="8">
                  <c:v>0.17283413147583804</c:v>
                </c:pt>
                <c:pt idx="9">
                  <c:v>0.19171185127807902</c:v>
                </c:pt>
                <c:pt idx="10">
                  <c:v>0.19422776911076442</c:v>
                </c:pt>
                <c:pt idx="11">
                  <c:v>0.21206853737273404</c:v>
                </c:pt>
                <c:pt idx="12">
                  <c:v>0.21569260574749757</c:v>
                </c:pt>
                <c:pt idx="13">
                  <c:v>0.21599705123479543</c:v>
                </c:pt>
                <c:pt idx="14">
                  <c:v>0.21879756468797565</c:v>
                </c:pt>
                <c:pt idx="15">
                  <c:v>0.1977728285077951</c:v>
                </c:pt>
                <c:pt idx="16">
                  <c:v>0.17259414225941422</c:v>
                </c:pt>
                <c:pt idx="17">
                  <c:v>0.17132689374682258</c:v>
                </c:pt>
                <c:pt idx="18">
                  <c:v>0.15221040850587578</c:v>
                </c:pt>
                <c:pt idx="19">
                  <c:v>0.16649159663865545</c:v>
                </c:pt>
                <c:pt idx="20">
                  <c:v>0.15841013824884792</c:v>
                </c:pt>
                <c:pt idx="21">
                  <c:v>0.16114928169893816</c:v>
                </c:pt>
                <c:pt idx="22">
                  <c:v>0.1632896305125149</c:v>
                </c:pt>
                <c:pt idx="23">
                  <c:v>0.172090112640801</c:v>
                </c:pt>
                <c:pt idx="24">
                  <c:v>0.1675704989154013</c:v>
                </c:pt>
                <c:pt idx="25">
                  <c:v>0.17945886250690227</c:v>
                </c:pt>
                <c:pt idx="26">
                  <c:v>0.16248693834900732</c:v>
                </c:pt>
                <c:pt idx="27">
                  <c:v>0.1603727317312408</c:v>
                </c:pt>
                <c:pt idx="28">
                  <c:v>0.17639077340569878</c:v>
                </c:pt>
                <c:pt idx="29">
                  <c:v>0.18722943722943722</c:v>
                </c:pt>
                <c:pt idx="30">
                  <c:v>0.18251173708920188</c:v>
                </c:pt>
                <c:pt idx="31">
                  <c:v>0.1751269035532995</c:v>
                </c:pt>
                <c:pt idx="32">
                  <c:v>0.18594823032223984</c:v>
                </c:pt>
                <c:pt idx="33">
                  <c:v>0.21175489787411422</c:v>
                </c:pt>
                <c:pt idx="34">
                  <c:v>0.2340992340992341</c:v>
                </c:pt>
                <c:pt idx="35">
                  <c:v>0.23451124368976595</c:v>
                </c:pt>
                <c:pt idx="36">
                  <c:v>0.18324197337509787</c:v>
                </c:pt>
                <c:pt idx="37">
                  <c:v>0.16251728907330568</c:v>
                </c:pt>
                <c:pt idx="38">
                  <c:v>0.16713286713286712</c:v>
                </c:pt>
                <c:pt idx="39">
                  <c:v>0.1849120816789563</c:v>
                </c:pt>
                <c:pt idx="40">
                  <c:v>0.16285714285714287</c:v>
                </c:pt>
                <c:pt idx="41">
                  <c:v>0.16963350785340314</c:v>
                </c:pt>
                <c:pt idx="42">
                  <c:v>0.16533180778032036</c:v>
                </c:pt>
                <c:pt idx="43">
                  <c:v>0.1596847781003733</c:v>
                </c:pt>
                <c:pt idx="44">
                  <c:v>0.1586284853051997</c:v>
                </c:pt>
                <c:pt idx="45">
                  <c:v>0.17217591261856854</c:v>
                </c:pt>
                <c:pt idx="46">
                  <c:v>0.17482727545809554</c:v>
                </c:pt>
                <c:pt idx="47">
                  <c:v>0.18014184397163122</c:v>
                </c:pt>
                <c:pt idx="48">
                  <c:v>0.1728767123287671</c:v>
                </c:pt>
                <c:pt idx="49">
                  <c:v>0.17486717486717487</c:v>
                </c:pt>
                <c:pt idx="50">
                  <c:v>0.19971149222631832</c:v>
                </c:pt>
                <c:pt idx="51">
                  <c:v>0.198181818181818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2.2024763030862</c:v>
                </c:pt>
              </c:numCache>
            </c:numRef>
          </c:xVal>
          <c:yVal>
            <c:numRef>
              <c:f>Sheet1!$B$163:$B$164</c:f>
              <c:numCache>
                <c:formatCode>General</c:formatCode>
                <c:ptCount val="2"/>
                <c:pt idx="0">
                  <c:v>0.23327874815481625</c:v>
                </c:pt>
                <c:pt idx="1">
                  <c:v>0.233278748154816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2.2024763030862</c:v>
                </c:pt>
                <c:pt idx="1">
                  <c:v>892.2024763030862</c:v>
                </c:pt>
              </c:numCache>
            </c:numRef>
          </c:xVal>
          <c:yVal>
            <c:numRef>
              <c:f>Sheet1!$B$167:$B$168</c:f>
              <c:numCache>
                <c:formatCode>General</c:formatCode>
                <c:ptCount val="2"/>
                <c:pt idx="0">
                  <c:v>0.233278748154816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7.582344462233</c:v>
                </c:pt>
              </c:numCache>
            </c:numRef>
          </c:xVal>
          <c:yVal>
            <c:numRef>
              <c:f>Sheet1!$B$171:$B$172</c:f>
              <c:numCache>
                <c:formatCode>General</c:formatCode>
                <c:ptCount val="2"/>
                <c:pt idx="0">
                  <c:v>0.1963576406063645</c:v>
                </c:pt>
                <c:pt idx="1">
                  <c:v>0.19635764060636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7.582344462233</c:v>
                </c:pt>
                <c:pt idx="1">
                  <c:v>1187.582344462233</c:v>
                </c:pt>
              </c:numCache>
            </c:numRef>
          </c:xVal>
          <c:yVal>
            <c:numRef>
              <c:f>Sheet1!$B$175:$B$176</c:f>
              <c:numCache>
                <c:formatCode>General</c:formatCode>
                <c:ptCount val="2"/>
                <c:pt idx="0">
                  <c:v>0.19635764060636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9.1698433294675</c:v>
                </c:pt>
              </c:numCache>
            </c:numRef>
          </c:xVal>
          <c:yVal>
            <c:numRef>
              <c:f>Sheet1!$B$179:$B$180</c:f>
              <c:numCache>
                <c:formatCode>General</c:formatCode>
                <c:ptCount val="2"/>
                <c:pt idx="0">
                  <c:v>0.17491000255598224</c:v>
                </c:pt>
                <c:pt idx="1">
                  <c:v>0.174910002555982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9.1698433294675</c:v>
                </c:pt>
                <c:pt idx="1">
                  <c:v>1359.1698433294675</c:v>
                </c:pt>
              </c:numCache>
            </c:numRef>
          </c:xVal>
          <c:yVal>
            <c:numRef>
              <c:f>Sheet1!$B$183:$B$184</c:f>
              <c:numCache>
                <c:formatCode>General</c:formatCode>
                <c:ptCount val="2"/>
                <c:pt idx="0">
                  <c:v>0.174910002555982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3.9496</c:v>
                </c:pt>
                <c:pt idx="1">
                  <c:v>1175.5083</c:v>
                </c:pt>
                <c:pt idx="2">
                  <c:v>1168.9356</c:v>
                </c:pt>
                <c:pt idx="3">
                  <c:v>1199.4759</c:v>
                </c:pt>
                <c:pt idx="4">
                  <c:v>1196.3474</c:v>
                </c:pt>
                <c:pt idx="5">
                  <c:v>1214.0162</c:v>
                </c:pt>
                <c:pt idx="6">
                  <c:v>1144.3829</c:v>
                </c:pt>
                <c:pt idx="7">
                  <c:v>1216.775</c:v>
                </c:pt>
                <c:pt idx="8">
                  <c:v>1302.5063</c:v>
                </c:pt>
                <c:pt idx="9">
                  <c:v>1249.2081</c:v>
                </c:pt>
                <c:pt idx="10">
                  <c:v>1284.01</c:v>
                </c:pt>
                <c:pt idx="11">
                  <c:v>1059.8665</c:v>
                </c:pt>
                <c:pt idx="12">
                  <c:v>1123.7275</c:v>
                </c:pt>
                <c:pt idx="13">
                  <c:v>1180.599</c:v>
                </c:pt>
                <c:pt idx="14">
                  <c:v>1168.7026</c:v>
                </c:pt>
                <c:pt idx="15">
                  <c:v>1232.7703</c:v>
                </c:pt>
                <c:pt idx="16">
                  <c:v>1243.6576</c:v>
                </c:pt>
                <c:pt idx="17">
                  <c:v>1226.4036</c:v>
                </c:pt>
                <c:pt idx="18">
                  <c:v>1366.7794</c:v>
                </c:pt>
                <c:pt idx="19">
                  <c:v>1413.7224</c:v>
                </c:pt>
                <c:pt idx="20">
                  <c:v>1420.6655</c:v>
                </c:pt>
                <c:pt idx="21">
                  <c:v>1376.2403</c:v>
                </c:pt>
                <c:pt idx="22">
                  <c:v>1403.2044</c:v>
                </c:pt>
                <c:pt idx="23">
                  <c:v>1331.56</c:v>
                </c:pt>
                <c:pt idx="24">
                  <c:v>1314.2039</c:v>
                </c:pt>
                <c:pt idx="25">
                  <c:v>1232.8708</c:v>
                </c:pt>
                <c:pt idx="26">
                  <c:v>1311.9743</c:v>
                </c:pt>
                <c:pt idx="27">
                  <c:v>1347.581</c:v>
                </c:pt>
                <c:pt idx="28">
                  <c:v>1299.3308</c:v>
                </c:pt>
                <c:pt idx="29">
                  <c:v>1310.2399</c:v>
                </c:pt>
                <c:pt idx="30">
                  <c:v>1323.6656</c:v>
                </c:pt>
                <c:pt idx="31">
                  <c:v>1257.6014</c:v>
                </c:pt>
                <c:pt idx="32">
                  <c:v>1246.5256</c:v>
                </c:pt>
                <c:pt idx="33">
                  <c:v>1311.75</c:v>
                </c:pt>
                <c:pt idx="34">
                  <c:v>1329.8037</c:v>
                </c:pt>
                <c:pt idx="35">
                  <c:v>1302.319</c:v>
                </c:pt>
                <c:pt idx="36">
                  <c:v>1346.0812</c:v>
                </c:pt>
                <c:pt idx="37">
                  <c:v>1439.3532</c:v>
                </c:pt>
                <c:pt idx="38">
                  <c:v>1426.1381</c:v>
                </c:pt>
                <c:pt idx="39">
                  <c:v>1352.5092</c:v>
                </c:pt>
                <c:pt idx="40">
                  <c:v>1472.0842</c:v>
                </c:pt>
                <c:pt idx="41">
                  <c:v>1505.2685</c:v>
                </c:pt>
                <c:pt idx="42">
                  <c:v>1498.7612</c:v>
                </c:pt>
                <c:pt idx="43">
                  <c:v>1448.1844</c:v>
                </c:pt>
                <c:pt idx="44">
                  <c:v>1367.5036</c:v>
                </c:pt>
                <c:pt idx="45">
                  <c:v>1281.5826</c:v>
                </c:pt>
                <c:pt idx="46">
                  <c:v>1271.6942</c:v>
                </c:pt>
                <c:pt idx="47">
                  <c:v>1213.9323</c:v>
                </c:pt>
                <c:pt idx="48">
                  <c:v>1217.065</c:v>
                </c:pt>
                <c:pt idx="49">
                  <c:v>1274.1717</c:v>
                </c:pt>
                <c:pt idx="50">
                  <c:v>1120.3307</c:v>
                </c:pt>
                <c:pt idx="51">
                  <c:v>1081.8467</c:v>
                </c:pt>
                <c:pt idx="52">
                  <c:v>1187.582344462233</c:v>
                </c:pt>
                <c:pt idx="53">
                  <c:v>892.2024763030862</c:v>
                </c:pt>
                <c:pt idx="54">
                  <c:v>1359.1698433294675</c:v>
                </c:pt>
              </c:numCache>
            </c:numRef>
          </c:xVal>
          <c:yVal>
            <c:numRef>
              <c:f>Sheet1!$B$187:$B$241</c:f>
              <c:numCache>
                <c:formatCode>General</c:formatCode>
                <c:ptCount val="55"/>
                <c:pt idx="0">
                  <c:v>0.19056194965726408</c:v>
                </c:pt>
                <c:pt idx="1">
                  <c:v>0.19786683991948326</c:v>
                </c:pt>
                <c:pt idx="2">
                  <c:v>0.19868839680179914</c:v>
                </c:pt>
                <c:pt idx="3">
                  <c:v>0.19487100156803036</c:v>
                </c:pt>
                <c:pt idx="4">
                  <c:v>0.19526204949450277</c:v>
                </c:pt>
                <c:pt idx="5">
                  <c:v>0.1930535318012773</c:v>
                </c:pt>
                <c:pt idx="6">
                  <c:v>0.20175736992767396</c:v>
                </c:pt>
                <c:pt idx="7">
                  <c:v>0.19270869465262708</c:v>
                </c:pt>
                <c:pt idx="8">
                  <c:v>0.18199268151572923</c:v>
                </c:pt>
                <c:pt idx="9">
                  <c:v>0.18865470823611033</c:v>
                </c:pt>
                <c:pt idx="10">
                  <c:v>0.18430463285420193</c:v>
                </c:pt>
                <c:pt idx="11">
                  <c:v>0.2123215262239545</c:v>
                </c:pt>
                <c:pt idx="12">
                  <c:v>0.20433919870838627</c:v>
                </c:pt>
                <c:pt idx="13">
                  <c:v>0.1972305261335497</c:v>
                </c:pt>
                <c:pt idx="14">
                  <c:v>0.19871752071641255</c:v>
                </c:pt>
                <c:pt idx="15">
                  <c:v>0.1907093566637173</c:v>
                </c:pt>
                <c:pt idx="16">
                  <c:v>0.18934849488015226</c:v>
                </c:pt>
                <c:pt idx="17">
                  <c:v>0.19150516450564536</c:v>
                </c:pt>
                <c:pt idx="18">
                  <c:v>0.17395884341985116</c:v>
                </c:pt>
                <c:pt idx="19">
                  <c:v>0.16809118709496865</c:v>
                </c:pt>
                <c:pt idx="20">
                  <c:v>0.16722333193809136</c:v>
                </c:pt>
                <c:pt idx="21">
                  <c:v>0.1727762749916706</c:v>
                </c:pt>
                <c:pt idx="22">
                  <c:v>0.16940588809884813</c:v>
                </c:pt>
                <c:pt idx="23">
                  <c:v>0.17836110435691452</c:v>
                </c:pt>
                <c:pt idx="24">
                  <c:v>0.180530536006794</c:v>
                </c:pt>
                <c:pt idx="25">
                  <c:v>0.1906967946318776</c:v>
                </c:pt>
                <c:pt idx="26">
                  <c:v>0.18080922562062265</c:v>
                </c:pt>
                <c:pt idx="27">
                  <c:v>0.17635855398772335</c:v>
                </c:pt>
                <c:pt idx="28">
                  <c:v>0.182389604223261</c:v>
                </c:pt>
                <c:pt idx="29">
                  <c:v>0.18102601754124714</c:v>
                </c:pt>
                <c:pt idx="30">
                  <c:v>0.1793478675823401</c:v>
                </c:pt>
                <c:pt idx="31">
                  <c:v>0.1876055848347164</c:v>
                </c:pt>
                <c:pt idx="32">
                  <c:v>0.18899000824018972</c:v>
                </c:pt>
                <c:pt idx="33">
                  <c:v>0.1808372620757634</c:v>
                </c:pt>
                <c:pt idx="34">
                  <c:v>0.17858063367552202</c:v>
                </c:pt>
                <c:pt idx="35">
                  <c:v>0.18201609314322748</c:v>
                </c:pt>
                <c:pt idx="36">
                  <c:v>0.1765460220011877</c:v>
                </c:pt>
                <c:pt idx="37">
                  <c:v>0.16488745649121947</c:v>
                </c:pt>
                <c:pt idx="38">
                  <c:v>0.16653928243116697</c:v>
                </c:pt>
                <c:pt idx="39">
                  <c:v>0.17574255194481414</c:v>
                </c:pt>
                <c:pt idx="40">
                  <c:v>0.16079623396241371</c:v>
                </c:pt>
                <c:pt idx="41">
                  <c:v>0.1566483510452206</c:v>
                </c:pt>
                <c:pt idx="42">
                  <c:v>0.15746173323219007</c:v>
                </c:pt>
                <c:pt idx="43">
                  <c:v>0.16378359762970013</c:v>
                </c:pt>
                <c:pt idx="44">
                  <c:v>0.17386832179340034</c:v>
                </c:pt>
                <c:pt idx="45">
                  <c:v>0.18460804654661656</c:v>
                </c:pt>
                <c:pt idx="46">
                  <c:v>0.18584405048336894</c:v>
                </c:pt>
                <c:pt idx="47">
                  <c:v>0.19306401891044497</c:v>
                </c:pt>
                <c:pt idx="48">
                  <c:v>0.19267244600353745</c:v>
                </c:pt>
                <c:pt idx="49">
                  <c:v>0.18553437452433572</c:v>
                </c:pt>
                <c:pt idx="50">
                  <c:v>0.20476378288503372</c:v>
                </c:pt>
                <c:pt idx="51">
                  <c:v>0.2095741036145733</c:v>
                </c:pt>
                <c:pt idx="52">
                  <c:v>0.1963576406063645</c:v>
                </c:pt>
                <c:pt idx="53">
                  <c:v>0.23327874815481625</c:v>
                </c:pt>
                <c:pt idx="54">
                  <c:v>0.174910002555982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6.0"/>
          <c:min val="4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67286888792724"/>
          <c:min val="0.1217683268047006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4769653663091743</c:v>
                </c:pt>
                <c:pt idx="1">
                  <c:v>0.4200803527905745</c:v>
                </c:pt>
                <c:pt idx="2">
                  <c:v>0.4492675455461425</c:v>
                </c:pt>
                <c:pt idx="3">
                  <c:v>0.4326548131811945</c:v>
                </c:pt>
                <c:pt idx="4">
                  <c:v>0.49166826551201653</c:v>
                </c:pt>
                <c:pt idx="5">
                  <c:v>0.4789869340928732</c:v>
                </c:pt>
                <c:pt idx="6">
                  <c:v>0.4411042372105793</c:v>
                </c:pt>
                <c:pt idx="7">
                  <c:v>0.4558026721316721</c:v>
                </c:pt>
                <c:pt idx="8">
                  <c:v>0.4223900369677878</c:v>
                </c:pt>
                <c:pt idx="9">
                  <c:v>0.4494928799386404</c:v>
                </c:pt>
                <c:pt idx="10">
                  <c:v>0.4805951770390247</c:v>
                </c:pt>
                <c:pt idx="11">
                  <c:v>0.439864719226272</c:v>
                </c:pt>
                <c:pt idx="12">
                  <c:v>0.39867352035213893</c:v>
                </c:pt>
                <c:pt idx="13">
                  <c:v>0.3713887098447309</c:v>
                </c:pt>
                <c:pt idx="14">
                  <c:v>0.3190582811140336</c:v>
                </c:pt>
                <c:pt idx="15">
                  <c:v>0.29070409175143125</c:v>
                </c:pt>
                <c:pt idx="16">
                  <c:v>0.3710772640427971</c:v>
                </c:pt>
                <c:pt idx="17">
                  <c:v>0.3947601776793166</c:v>
                </c:pt>
                <c:pt idx="18">
                  <c:v>0.39868412364583006</c:v>
                </c:pt>
                <c:pt idx="19">
                  <c:v>0.41332737450970997</c:v>
                </c:pt>
                <c:pt idx="20">
                  <c:v>0.43349133152065694</c:v>
                </c:pt>
                <c:pt idx="21">
                  <c:v>0.3932178399380642</c:v>
                </c:pt>
                <c:pt idx="22">
                  <c:v>0.33246682367666314</c:v>
                </c:pt>
                <c:pt idx="23">
                  <c:v>0.31958451259093246</c:v>
                </c:pt>
                <c:pt idx="24">
                  <c:v>0.34141510625701876</c:v>
                </c:pt>
                <c:pt idx="25">
                  <c:v>0.3148091014938922</c:v>
                </c:pt>
                <c:pt idx="26">
                  <c:v>0.32394089441702534</c:v>
                </c:pt>
                <c:pt idx="27">
                  <c:v>0.3457057641576985</c:v>
                </c:pt>
                <c:pt idx="28">
                  <c:v>0.3180047064166874</c:v>
                </c:pt>
                <c:pt idx="29">
                  <c:v>0.2992923192113794</c:v>
                </c:pt>
                <c:pt idx="30">
                  <c:v>0.2902548692675933</c:v>
                </c:pt>
                <c:pt idx="31">
                  <c:v>0.2879427501637286</c:v>
                </c:pt>
                <c:pt idx="32">
                  <c:v>0.310926294982231</c:v>
                </c:pt>
                <c:pt idx="33">
                  <c:v>0.30757563809864047</c:v>
                </c:pt>
                <c:pt idx="34">
                  <c:v>0.37147681325650067</c:v>
                </c:pt>
                <c:pt idx="35">
                  <c:v>0.4101776041320652</c:v>
                </c:pt>
                <c:pt idx="36">
                  <c:v>0.3894544016407207</c:v>
                </c:pt>
                <c:pt idx="37">
                  <c:v>0.4218663869342749</c:v>
                </c:pt>
                <c:pt idx="38">
                  <c:v>0.3824397641748671</c:v>
                </c:pt>
                <c:pt idx="39">
                  <c:v>0.39859006206998693</c:v>
                </c:pt>
                <c:pt idx="40">
                  <c:v>0.3775507043535895</c:v>
                </c:pt>
                <c:pt idx="41">
                  <c:v>0.42930267719805587</c:v>
                </c:pt>
                <c:pt idx="42">
                  <c:v>0.4473689136036892</c:v>
                </c:pt>
                <c:pt idx="43">
                  <c:v>0.4593786559758926</c:v>
                </c:pt>
                <c:pt idx="44">
                  <c:v>0.4114535753527008</c:v>
                </c:pt>
                <c:pt idx="45">
                  <c:v>0.4162253354977989</c:v>
                </c:pt>
                <c:pt idx="46">
                  <c:v>0.41863398749255815</c:v>
                </c:pt>
                <c:pt idx="47">
                  <c:v>0.44164326103228274</c:v>
                </c:pt>
                <c:pt idx="48">
                  <c:v>0.42950539558883455</c:v>
                </c:pt>
                <c:pt idx="49">
                  <c:v>0.3831234107200016</c:v>
                </c:pt>
                <c:pt idx="50">
                  <c:v>0.3059347662920487</c:v>
                </c:pt>
                <c:pt idx="51">
                  <c:v>0.2635139912823034</c:v>
                </c:pt>
                <c:pt idx="52">
                  <c:v>0.2648759333496926</c:v>
                </c:pt>
                <c:pt idx="53">
                  <c:v>0.2550949170174098</c:v>
                </c:pt>
                <c:pt idx="54">
                  <c:v>0.2290688009319735</c:v>
                </c:pt>
                <c:pt idx="55">
                  <c:v>0.2577623812303664</c:v>
                </c:pt>
                <c:pt idx="56">
                  <c:v>0.3391714968736298</c:v>
                </c:pt>
                <c:pt idx="57">
                  <c:v>0.46284405757009084</c:v>
                </c:pt>
                <c:pt idx="58">
                  <c:v>0.4243835029665718</c:v>
                </c:pt>
                <c:pt idx="59">
                  <c:v>0.3286405632795016</c:v>
                </c:pt>
                <c:pt idx="60">
                  <c:v>0.3191102724177071</c:v>
                </c:pt>
                <c:pt idx="61">
                  <c:v>0.30129981732812106</c:v>
                </c:pt>
                <c:pt idx="62">
                  <c:v>0.36909976028249497</c:v>
                </c:pt>
                <c:pt idx="63">
                  <c:v>0.39062640032735485</c:v>
                </c:pt>
                <c:pt idx="64">
                  <c:v>0.38778223100949993</c:v>
                </c:pt>
                <c:pt idx="65">
                  <c:v>0.34615370082114516</c:v>
                </c:pt>
                <c:pt idx="66">
                  <c:v>0.3493871201000981</c:v>
                </c:pt>
                <c:pt idx="67">
                  <c:v>0.3343425306661448</c:v>
                </c:pt>
                <c:pt idx="68">
                  <c:v>0.3067253508855038</c:v>
                </c:pt>
                <c:pt idx="69">
                  <c:v>0.3119268057456058</c:v>
                </c:pt>
                <c:pt idx="70">
                  <c:v>0.2882190144218192</c:v>
                </c:pt>
                <c:pt idx="71">
                  <c:v>0.2882653565556995</c:v>
                </c:pt>
                <c:pt idx="72">
                  <c:v>0.32693975315246987</c:v>
                </c:pt>
                <c:pt idx="73">
                  <c:v>0.2908475111644115</c:v>
                </c:pt>
                <c:pt idx="74">
                  <c:v>0.2855466649383146</c:v>
                </c:pt>
                <c:pt idx="75">
                  <c:v>0.2802149245698406</c:v>
                </c:pt>
                <c:pt idx="76">
                  <c:v>0.3174728816343564</c:v>
                </c:pt>
                <c:pt idx="77">
                  <c:v>0.3101859704390111</c:v>
                </c:pt>
                <c:pt idx="78">
                  <c:v>0.36905988609372503</c:v>
                </c:pt>
                <c:pt idx="79">
                  <c:v>0.19688833418523188</c:v>
                </c:pt>
                <c:pt idx="80">
                  <c:v>0.18438832544232706</c:v>
                </c:pt>
                <c:pt idx="81">
                  <c:v>0.27770830090269405</c:v>
                </c:pt>
                <c:pt idx="82">
                  <c:v>0.2432261931098388</c:v>
                </c:pt>
                <c:pt idx="83">
                  <c:v>0.2641211374170437</c:v>
                </c:pt>
                <c:pt idx="84">
                  <c:v>0.2708443049717034</c:v>
                </c:pt>
                <c:pt idx="85">
                  <c:v>0.25625507636865696</c:v>
                </c:pt>
                <c:pt idx="86">
                  <c:v>0.2888070184822778</c:v>
                </c:pt>
                <c:pt idx="87">
                  <c:v>0.31516327077138884</c:v>
                </c:pt>
                <c:pt idx="88">
                  <c:v>0.25283681159737625</c:v>
                </c:pt>
                <c:pt idx="89">
                  <c:v>0.24903614156248066</c:v>
                </c:pt>
                <c:pt idx="90">
                  <c:v>0.2847215387114721</c:v>
                </c:pt>
                <c:pt idx="91">
                  <c:v>0.2717647650260003</c:v>
                </c:pt>
                <c:pt idx="92">
                  <c:v>0.2820534208526998</c:v>
                </c:pt>
                <c:pt idx="93">
                  <c:v>0.2943771062373798</c:v>
                </c:pt>
                <c:pt idx="94">
                  <c:v>0.27405727541611086</c:v>
                </c:pt>
                <c:pt idx="95">
                  <c:v>0.3823221477793479</c:v>
                </c:pt>
                <c:pt idx="96">
                  <c:v>0.3679071391965663</c:v>
                </c:pt>
                <c:pt idx="97">
                  <c:v>0.3583914677294793</c:v>
                </c:pt>
                <c:pt idx="98">
                  <c:v>0.38696325566631085</c:v>
                </c:pt>
                <c:pt idx="99">
                  <c:v>0.4285806743825978</c:v>
                </c:pt>
                <c:pt idx="100">
                  <c:v>0.42968900568880003</c:v>
                </c:pt>
                <c:pt idx="101">
                  <c:v>0.40013258624942344</c:v>
                </c:pt>
                <c:pt idx="102">
                  <c:v>0.37002384541348177</c:v>
                </c:pt>
                <c:pt idx="103">
                  <c:v>0.33391419168412306</c:v>
                </c:pt>
                <c:pt idx="104">
                  <c:v>0.33490967095851215</c:v>
                </c:pt>
              </c:numCache>
            </c:numRef>
          </c:xVal>
          <c:yVal>
            <c:numRef>
              <c:f>Sheet1!$B$2:$B$106</c:f>
              <c:numCache>
                <c:formatCode>General</c:formatCode>
                <c:ptCount val="105"/>
                <c:pt idx="0">
                  <c:v>0.25474979930425473</c:v>
                </c:pt>
                <c:pt idx="1">
                  <c:v>0.24514003294892917</c:v>
                </c:pt>
                <c:pt idx="2">
                  <c:v>0.20767778477029578</c:v>
                </c:pt>
                <c:pt idx="3">
                  <c:v>0.21141719216727514</c:v>
                </c:pt>
                <c:pt idx="4">
                  <c:v>0.2110609480812641</c:v>
                </c:pt>
                <c:pt idx="5">
                  <c:v>0.19698681732580037</c:v>
                </c:pt>
                <c:pt idx="6">
                  <c:v>0.20716685330347145</c:v>
                </c:pt>
                <c:pt idx="7">
                  <c:v>0.20845792396411789</c:v>
                </c:pt>
                <c:pt idx="8">
                  <c:v>0.2035623409669211</c:v>
                </c:pt>
                <c:pt idx="9">
                  <c:v>0.2110912343470483</c:v>
                </c:pt>
                <c:pt idx="10">
                  <c:v>0.2237442922374429</c:v>
                </c:pt>
                <c:pt idx="11">
                  <c:v>0.21998450813323006</c:v>
                </c:pt>
                <c:pt idx="12">
                  <c:v>0.23612087139845397</c:v>
                </c:pt>
                <c:pt idx="13">
                  <c:v>0.24077328646748683</c:v>
                </c:pt>
                <c:pt idx="14">
                  <c:v>0.24179874677478805</c:v>
                </c:pt>
                <c:pt idx="15">
                  <c:v>0.24309171005206248</c:v>
                </c:pt>
                <c:pt idx="16">
                  <c:v>0.24507042253521127</c:v>
                </c:pt>
                <c:pt idx="17">
                  <c:v>0.2127968977217644</c:v>
                </c:pt>
                <c:pt idx="18">
                  <c:v>0.20679320679320679</c:v>
                </c:pt>
                <c:pt idx="19">
                  <c:v>0.19333333333333333</c:v>
                </c:pt>
                <c:pt idx="20">
                  <c:v>0.20586907449209932</c:v>
                </c:pt>
                <c:pt idx="21">
                  <c:v>0.22593896713615025</c:v>
                </c:pt>
                <c:pt idx="22">
                  <c:v>0.22264150943396227</c:v>
                </c:pt>
                <c:pt idx="23">
                  <c:v>0.23181049069373943</c:v>
                </c:pt>
                <c:pt idx="24">
                  <c:v>0.23774509803921567</c:v>
                </c:pt>
                <c:pt idx="25">
                  <c:v>0.22979214780600463</c:v>
                </c:pt>
                <c:pt idx="26">
                  <c:v>0.22058823529411764</c:v>
                </c:pt>
                <c:pt idx="27">
                  <c:v>0.21008403361344538</c:v>
                </c:pt>
                <c:pt idx="28">
                  <c:v>0.20835623969213854</c:v>
                </c:pt>
                <c:pt idx="29">
                  <c:v>0.21611721611721613</c:v>
                </c:pt>
                <c:pt idx="30">
                  <c:v>0.2100181050090525</c:v>
                </c:pt>
                <c:pt idx="31">
                  <c:v>0.20065609622744668</c:v>
                </c:pt>
                <c:pt idx="32">
                  <c:v>0.21394358701436936</c:v>
                </c:pt>
                <c:pt idx="33">
                  <c:v>0.22828014184397163</c:v>
                </c:pt>
                <c:pt idx="34">
                  <c:v>0.221431247658299</c:v>
                </c:pt>
                <c:pt idx="35">
                  <c:v>0.2228591902543891</c:v>
                </c:pt>
                <c:pt idx="36">
                  <c:v>0.19448621553884712</c:v>
                </c:pt>
                <c:pt idx="37">
                  <c:v>0.16335303600214937</c:v>
                </c:pt>
                <c:pt idx="38">
                  <c:v>0.1735052754982415</c:v>
                </c:pt>
                <c:pt idx="39">
                  <c:v>0.18312284730195177</c:v>
                </c:pt>
                <c:pt idx="40">
                  <c:v>0.175</c:v>
                </c:pt>
                <c:pt idx="41">
                  <c:v>0.15319781854238967</c:v>
                </c:pt>
                <c:pt idx="42">
                  <c:v>0.16326530612244897</c:v>
                </c:pt>
                <c:pt idx="43">
                  <c:v>0.15913887716336006</c:v>
                </c:pt>
                <c:pt idx="44">
                  <c:v>0.18789144050104384</c:v>
                </c:pt>
                <c:pt idx="45">
                  <c:v>0.2242968565350981</c:v>
                </c:pt>
                <c:pt idx="46">
                  <c:v>0.22797089733225545</c:v>
                </c:pt>
                <c:pt idx="47">
                  <c:v>0.23144654088050315</c:v>
                </c:pt>
                <c:pt idx="48">
                  <c:v>0.23914145681933413</c:v>
                </c:pt>
                <c:pt idx="49">
                  <c:v>0.2764599638771824</c:v>
                </c:pt>
                <c:pt idx="50">
                  <c:v>0.24488072619801562</c:v>
                </c:pt>
                <c:pt idx="51">
                  <c:v>0.23029045643153526</c:v>
                </c:pt>
                <c:pt idx="52">
                  <c:v>0.21896383186705767</c:v>
                </c:pt>
                <c:pt idx="53">
                  <c:v>0.21902996601791783</c:v>
                </c:pt>
                <c:pt idx="54">
                  <c:v>0.21271538918597743</c:v>
                </c:pt>
                <c:pt idx="55">
                  <c:v>0.20984126984126983</c:v>
                </c:pt>
                <c:pt idx="56">
                  <c:v>0.21609344581440623</c:v>
                </c:pt>
                <c:pt idx="57">
                  <c:v>0.2108167770419426</c:v>
                </c:pt>
                <c:pt idx="58">
                  <c:v>0.22022233986236103</c:v>
                </c:pt>
                <c:pt idx="59">
                  <c:v>0.22463619594179135</c:v>
                </c:pt>
                <c:pt idx="60">
                  <c:v>0.24057492931196983</c:v>
                </c:pt>
                <c:pt idx="61">
                  <c:v>0.22790382661699965</c:v>
                </c:pt>
                <c:pt idx="62">
                  <c:v>0.2153536515238643</c:v>
                </c:pt>
                <c:pt idx="63">
                  <c:v>0.2509395779126915</c:v>
                </c:pt>
                <c:pt idx="64">
                  <c:v>0.2484186313973548</c:v>
                </c:pt>
                <c:pt idx="65">
                  <c:v>0.2329059829059829</c:v>
                </c:pt>
                <c:pt idx="66">
                  <c:v>0.225</c:v>
                </c:pt>
                <c:pt idx="67">
                  <c:v>0.23322259136212625</c:v>
                </c:pt>
                <c:pt idx="68">
                  <c:v>0.2233560090702948</c:v>
                </c:pt>
                <c:pt idx="69">
                  <c:v>0.2143193593970796</c:v>
                </c:pt>
                <c:pt idx="70">
                  <c:v>0.19290780141843972</c:v>
                </c:pt>
                <c:pt idx="71">
                  <c:v>0.20867768595041322</c:v>
                </c:pt>
                <c:pt idx="72">
                  <c:v>0.22617946345975948</c:v>
                </c:pt>
                <c:pt idx="73">
                  <c:v>0.21128154379020286</c:v>
                </c:pt>
                <c:pt idx="74">
                  <c:v>0.2319679430097952</c:v>
                </c:pt>
                <c:pt idx="75">
                  <c:v>0.22979156075241486</c:v>
                </c:pt>
                <c:pt idx="76">
                  <c:v>0.22518025513033832</c:v>
                </c:pt>
                <c:pt idx="77">
                  <c:v>0.21138211382113822</c:v>
                </c:pt>
                <c:pt idx="78">
                  <c:v>0.1998810232004759</c:v>
                </c:pt>
                <c:pt idx="79">
                  <c:v>0.3297273907399394</c:v>
                </c:pt>
                <c:pt idx="80">
                  <c:v>0.31569664902998235</c:v>
                </c:pt>
                <c:pt idx="81">
                  <c:v>0.2323682256867112</c:v>
                </c:pt>
                <c:pt idx="82">
                  <c:v>0.25632126921170056</c:v>
                </c:pt>
                <c:pt idx="83">
                  <c:v>0.2041457286432161</c:v>
                </c:pt>
                <c:pt idx="84">
                  <c:v>0.21733333333333332</c:v>
                </c:pt>
                <c:pt idx="85">
                  <c:v>0.2173228346456693</c:v>
                </c:pt>
                <c:pt idx="86">
                  <c:v>0.18915562913907286</c:v>
                </c:pt>
                <c:pt idx="87">
                  <c:v>0.20562851782363978</c:v>
                </c:pt>
                <c:pt idx="88">
                  <c:v>0.21175166297117518</c:v>
                </c:pt>
                <c:pt idx="89">
                  <c:v>0.20678818353236958</c:v>
                </c:pt>
                <c:pt idx="90">
                  <c:v>0.17701290719114934</c:v>
                </c:pt>
                <c:pt idx="91">
                  <c:v>0.19217491369390102</c:v>
                </c:pt>
                <c:pt idx="92">
                  <c:v>0.18895763921941933</c:v>
                </c:pt>
                <c:pt idx="93">
                  <c:v>0.1852207293666027</c:v>
                </c:pt>
                <c:pt idx="94">
                  <c:v>0.20038046924540268</c:v>
                </c:pt>
                <c:pt idx="95">
                  <c:v>0.18595744680851065</c:v>
                </c:pt>
                <c:pt idx="96">
                  <c:v>0.1678051678051678</c:v>
                </c:pt>
                <c:pt idx="97">
                  <c:v>0.18227513227513228</c:v>
                </c:pt>
                <c:pt idx="98">
                  <c:v>0.20017145306472353</c:v>
                </c:pt>
                <c:pt idx="99">
                  <c:v>0.20732766105226602</c:v>
                </c:pt>
                <c:pt idx="100">
                  <c:v>0.220177138112372</c:v>
                </c:pt>
                <c:pt idx="101">
                  <c:v>0.21193693693693694</c:v>
                </c:pt>
                <c:pt idx="102">
                  <c:v>0.18858024691358025</c:v>
                </c:pt>
                <c:pt idx="103">
                  <c:v>0.19665605095541402</c:v>
                </c:pt>
                <c:pt idx="104">
                  <c:v>0.192345118391177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426657373029383</c:v>
                </c:pt>
                <c:pt idx="1">
                  <c:v>0.3449582918877651</c:v>
                </c:pt>
                <c:pt idx="2">
                  <c:v>0.341632389025754</c:v>
                </c:pt>
                <c:pt idx="3">
                  <c:v>0.3906193014883138</c:v>
                </c:pt>
                <c:pt idx="4">
                  <c:v>0.3455318705501682</c:v>
                </c:pt>
                <c:pt idx="5">
                  <c:v>0.31745346309388633</c:v>
                </c:pt>
                <c:pt idx="6">
                  <c:v>0.37109867928533447</c:v>
                </c:pt>
                <c:pt idx="7">
                  <c:v>0.4129728403686666</c:v>
                </c:pt>
                <c:pt idx="8">
                  <c:v>0.3849301676514231</c:v>
                </c:pt>
                <c:pt idx="9">
                  <c:v>0.38370690658738665</c:v>
                </c:pt>
                <c:pt idx="10">
                  <c:v>0.4081223340347219</c:v>
                </c:pt>
                <c:pt idx="11">
                  <c:v>0.3795887540331461</c:v>
                </c:pt>
                <c:pt idx="12">
                  <c:v>0.41219935713586675</c:v>
                </c:pt>
                <c:pt idx="13">
                  <c:v>0.42276910416812513</c:v>
                </c:pt>
                <c:pt idx="14">
                  <c:v>0.4172463934258081</c:v>
                </c:pt>
                <c:pt idx="15">
                  <c:v>0.38950252144819436</c:v>
                </c:pt>
                <c:pt idx="16">
                  <c:v>0.35515607709842584</c:v>
                </c:pt>
                <c:pt idx="17">
                  <c:v>0.3466024440374635</c:v>
                </c:pt>
                <c:pt idx="18">
                  <c:v>0.3693352440982551</c:v>
                </c:pt>
                <c:pt idx="19">
                  <c:v>0.3703572988808613</c:v>
                </c:pt>
                <c:pt idx="20">
                  <c:v>0.38058092198241855</c:v>
                </c:pt>
                <c:pt idx="21">
                  <c:v>0.37265022912633594</c:v>
                </c:pt>
                <c:pt idx="22">
                  <c:v>0.3753858413690005</c:v>
                </c:pt>
                <c:pt idx="23">
                  <c:v>0.3855378207141425</c:v>
                </c:pt>
                <c:pt idx="24">
                  <c:v>0.3720231126952949</c:v>
                </c:pt>
                <c:pt idx="25">
                  <c:v>0.34211176450298675</c:v>
                </c:pt>
                <c:pt idx="26">
                  <c:v>0.339713697566028</c:v>
                </c:pt>
                <c:pt idx="27">
                  <c:v>0.3730118728009365</c:v>
                </c:pt>
                <c:pt idx="28">
                  <c:v>0.4014967597665101</c:v>
                </c:pt>
                <c:pt idx="29">
                  <c:v>0.3910765216023501</c:v>
                </c:pt>
                <c:pt idx="30">
                  <c:v>0.41102521425909827</c:v>
                </c:pt>
                <c:pt idx="31">
                  <c:v>0.31526733517172223</c:v>
                </c:pt>
                <c:pt idx="32">
                  <c:v>0.33623719597154844</c:v>
                </c:pt>
                <c:pt idx="33">
                  <c:v>0.3033791476127178</c:v>
                </c:pt>
                <c:pt idx="34">
                  <c:v>0.3200572751225429</c:v>
                </c:pt>
                <c:pt idx="35">
                  <c:v>0.28948636558671503</c:v>
                </c:pt>
                <c:pt idx="36">
                  <c:v>0.3371305062162514</c:v>
                </c:pt>
                <c:pt idx="37">
                  <c:v>0.29375988530379105</c:v>
                </c:pt>
                <c:pt idx="38">
                  <c:v>0.36678471824492653</c:v>
                </c:pt>
                <c:pt idx="39">
                  <c:v>0.31549764755823745</c:v>
                </c:pt>
                <c:pt idx="40">
                  <c:v>0.3730282359887953</c:v>
                </c:pt>
                <c:pt idx="41">
                  <c:v>0.3677158378718596</c:v>
                </c:pt>
                <c:pt idx="42">
                  <c:v>0.3675624373247884</c:v>
                </c:pt>
                <c:pt idx="43">
                  <c:v>0.3755028744740939</c:v>
                </c:pt>
                <c:pt idx="44">
                  <c:v>0.3832146109104093</c:v>
                </c:pt>
                <c:pt idx="45">
                  <c:v>0.3999354402565388</c:v>
                </c:pt>
                <c:pt idx="46">
                  <c:v>0.37874611382884105</c:v>
                </c:pt>
                <c:pt idx="47">
                  <c:v>0.40860390770987687</c:v>
                </c:pt>
                <c:pt idx="48">
                  <c:v>0.39458254456161695</c:v>
                </c:pt>
                <c:pt idx="49">
                  <c:v>0.47086440533404916</c:v>
                </c:pt>
                <c:pt idx="50">
                  <c:v>0.4118709778838735</c:v>
                </c:pt>
                <c:pt idx="51">
                  <c:v>0.3547704398537247</c:v>
                </c:pt>
              </c:numCache>
            </c:numRef>
          </c:xVal>
          <c:yVal>
            <c:numRef>
              <c:f>Sheet1!$B$109:$B$160</c:f>
              <c:numCache>
                <c:formatCode>General</c:formatCode>
                <c:ptCount val="52"/>
                <c:pt idx="0">
                  <c:v>0.18636363636363637</c:v>
                </c:pt>
                <c:pt idx="1">
                  <c:v>0.2016075016744809</c:v>
                </c:pt>
                <c:pt idx="2">
                  <c:v>0.21122685185185186</c:v>
                </c:pt>
                <c:pt idx="3">
                  <c:v>0.21336080047086523</c:v>
                </c:pt>
                <c:pt idx="4">
                  <c:v>0.20991161616161616</c:v>
                </c:pt>
                <c:pt idx="5">
                  <c:v>0.19148274790177183</c:v>
                </c:pt>
                <c:pt idx="6">
                  <c:v>0.19472200871124776</c:v>
                </c:pt>
                <c:pt idx="7">
                  <c:v>0.18570947084597236</c:v>
                </c:pt>
                <c:pt idx="8">
                  <c:v>0.17283413147583804</c:v>
                </c:pt>
                <c:pt idx="9">
                  <c:v>0.19171185127807902</c:v>
                </c:pt>
                <c:pt idx="10">
                  <c:v>0.19422776911076442</c:v>
                </c:pt>
                <c:pt idx="11">
                  <c:v>0.21206853737273404</c:v>
                </c:pt>
                <c:pt idx="12">
                  <c:v>0.21569260574749757</c:v>
                </c:pt>
                <c:pt idx="13">
                  <c:v>0.21599705123479543</c:v>
                </c:pt>
                <c:pt idx="14">
                  <c:v>0.21879756468797565</c:v>
                </c:pt>
                <c:pt idx="15">
                  <c:v>0.1977728285077951</c:v>
                </c:pt>
                <c:pt idx="16">
                  <c:v>0.17259414225941422</c:v>
                </c:pt>
                <c:pt idx="17">
                  <c:v>0.17132689374682258</c:v>
                </c:pt>
                <c:pt idx="18">
                  <c:v>0.15221040850587578</c:v>
                </c:pt>
                <c:pt idx="19">
                  <c:v>0.16649159663865545</c:v>
                </c:pt>
                <c:pt idx="20">
                  <c:v>0.15841013824884792</c:v>
                </c:pt>
                <c:pt idx="21">
                  <c:v>0.16114928169893816</c:v>
                </c:pt>
                <c:pt idx="22">
                  <c:v>0.1632896305125149</c:v>
                </c:pt>
                <c:pt idx="23">
                  <c:v>0.172090112640801</c:v>
                </c:pt>
                <c:pt idx="24">
                  <c:v>0.1675704989154013</c:v>
                </c:pt>
                <c:pt idx="25">
                  <c:v>0.17945886250690227</c:v>
                </c:pt>
                <c:pt idx="26">
                  <c:v>0.16248693834900732</c:v>
                </c:pt>
                <c:pt idx="27">
                  <c:v>0.1603727317312408</c:v>
                </c:pt>
                <c:pt idx="28">
                  <c:v>0.17639077340569878</c:v>
                </c:pt>
                <c:pt idx="29">
                  <c:v>0.18722943722943722</c:v>
                </c:pt>
                <c:pt idx="30">
                  <c:v>0.18251173708920188</c:v>
                </c:pt>
                <c:pt idx="31">
                  <c:v>0.1751269035532995</c:v>
                </c:pt>
                <c:pt idx="32">
                  <c:v>0.18594823032223984</c:v>
                </c:pt>
                <c:pt idx="33">
                  <c:v>0.21175489787411422</c:v>
                </c:pt>
                <c:pt idx="34">
                  <c:v>0.2340992340992341</c:v>
                </c:pt>
                <c:pt idx="35">
                  <c:v>0.23451124368976595</c:v>
                </c:pt>
                <c:pt idx="36">
                  <c:v>0.18324197337509787</c:v>
                </c:pt>
                <c:pt idx="37">
                  <c:v>0.16251728907330568</c:v>
                </c:pt>
                <c:pt idx="38">
                  <c:v>0.16713286713286712</c:v>
                </c:pt>
                <c:pt idx="39">
                  <c:v>0.1849120816789563</c:v>
                </c:pt>
                <c:pt idx="40">
                  <c:v>0.16285714285714287</c:v>
                </c:pt>
                <c:pt idx="41">
                  <c:v>0.16963350785340314</c:v>
                </c:pt>
                <c:pt idx="42">
                  <c:v>0.16533180778032036</c:v>
                </c:pt>
                <c:pt idx="43">
                  <c:v>0.1596847781003733</c:v>
                </c:pt>
                <c:pt idx="44">
                  <c:v>0.1586284853051997</c:v>
                </c:pt>
                <c:pt idx="45">
                  <c:v>0.17217591261856854</c:v>
                </c:pt>
                <c:pt idx="46">
                  <c:v>0.17482727545809554</c:v>
                </c:pt>
                <c:pt idx="47">
                  <c:v>0.18014184397163122</c:v>
                </c:pt>
                <c:pt idx="48">
                  <c:v>0.1728767123287671</c:v>
                </c:pt>
                <c:pt idx="49">
                  <c:v>0.17486717486717487</c:v>
                </c:pt>
                <c:pt idx="50">
                  <c:v>0.19971149222631832</c:v>
                </c:pt>
                <c:pt idx="51">
                  <c:v>0.198181818181818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590673259730788</c:v>
                </c:pt>
              </c:numCache>
            </c:numRef>
          </c:xVal>
          <c:yVal>
            <c:numRef>
              <c:f>Sheet1!$B$163:$B$164</c:f>
              <c:numCache>
                <c:formatCode>General</c:formatCode>
                <c:ptCount val="2"/>
                <c:pt idx="0">
                  <c:v>0.23327874815481625</c:v>
                </c:pt>
                <c:pt idx="1">
                  <c:v>0.233278748154816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590673259730788</c:v>
                </c:pt>
                <c:pt idx="1">
                  <c:v>-0.4590673259730788</c:v>
                </c:pt>
              </c:numCache>
            </c:numRef>
          </c:xVal>
          <c:yVal>
            <c:numRef>
              <c:f>Sheet1!$B$167:$B$168</c:f>
              <c:numCache>
                <c:formatCode>General</c:formatCode>
                <c:ptCount val="2"/>
                <c:pt idx="0">
                  <c:v>0.233278748154816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6349252698387756</c:v>
                </c:pt>
              </c:numCache>
            </c:numRef>
          </c:xVal>
          <c:yVal>
            <c:numRef>
              <c:f>Sheet1!$B$171:$B$172</c:f>
              <c:numCache>
                <c:formatCode>General</c:formatCode>
                <c:ptCount val="2"/>
                <c:pt idx="0">
                  <c:v>0.1963576406063645</c:v>
                </c:pt>
                <c:pt idx="1">
                  <c:v>0.19635764060636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6349252698387756</c:v>
                </c:pt>
                <c:pt idx="1">
                  <c:v>0.16349252698387756</c:v>
                </c:pt>
              </c:numCache>
            </c:numRef>
          </c:xVal>
          <c:yVal>
            <c:numRef>
              <c:f>Sheet1!$B$175:$B$176</c:f>
              <c:numCache>
                <c:formatCode>General</c:formatCode>
                <c:ptCount val="2"/>
                <c:pt idx="0">
                  <c:v>0.19635764060636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251403560311919</c:v>
                </c:pt>
              </c:numCache>
            </c:numRef>
          </c:xVal>
          <c:yVal>
            <c:numRef>
              <c:f>Sheet1!$B$179:$B$180</c:f>
              <c:numCache>
                <c:formatCode>General</c:formatCode>
                <c:ptCount val="2"/>
                <c:pt idx="0">
                  <c:v>0.17491000255598224</c:v>
                </c:pt>
                <c:pt idx="1">
                  <c:v>0.174910002555982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251403560311919</c:v>
                </c:pt>
                <c:pt idx="1">
                  <c:v>0.5251403560311919</c:v>
                </c:pt>
              </c:numCache>
            </c:numRef>
          </c:xVal>
          <c:yVal>
            <c:numRef>
              <c:f>Sheet1!$B$183:$B$184</c:f>
              <c:numCache>
                <c:formatCode>General</c:formatCode>
                <c:ptCount val="2"/>
                <c:pt idx="0">
                  <c:v>0.174910002555982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426657373029383</c:v>
                </c:pt>
                <c:pt idx="1">
                  <c:v>0.3449582918877651</c:v>
                </c:pt>
                <c:pt idx="2">
                  <c:v>0.341632389025754</c:v>
                </c:pt>
                <c:pt idx="3">
                  <c:v>0.3906193014883138</c:v>
                </c:pt>
                <c:pt idx="4">
                  <c:v>0.3455318705501682</c:v>
                </c:pt>
                <c:pt idx="5">
                  <c:v>0.31745346309388633</c:v>
                </c:pt>
                <c:pt idx="6">
                  <c:v>0.37109867928533447</c:v>
                </c:pt>
                <c:pt idx="7">
                  <c:v>0.4129728403686666</c:v>
                </c:pt>
                <c:pt idx="8">
                  <c:v>0.3849301676514231</c:v>
                </c:pt>
                <c:pt idx="9">
                  <c:v>0.38370690658738665</c:v>
                </c:pt>
                <c:pt idx="10">
                  <c:v>0.4081223340347219</c:v>
                </c:pt>
                <c:pt idx="11">
                  <c:v>0.3795887540331461</c:v>
                </c:pt>
                <c:pt idx="12">
                  <c:v>0.41219935713586675</c:v>
                </c:pt>
                <c:pt idx="13">
                  <c:v>0.42276910416812513</c:v>
                </c:pt>
                <c:pt idx="14">
                  <c:v>0.4172463934258081</c:v>
                </c:pt>
                <c:pt idx="15">
                  <c:v>0.38950252144819436</c:v>
                </c:pt>
                <c:pt idx="16">
                  <c:v>0.35515607709842584</c:v>
                </c:pt>
                <c:pt idx="17">
                  <c:v>0.3466024440374635</c:v>
                </c:pt>
                <c:pt idx="18">
                  <c:v>0.3693352440982551</c:v>
                </c:pt>
                <c:pt idx="19">
                  <c:v>0.3703572988808613</c:v>
                </c:pt>
                <c:pt idx="20">
                  <c:v>0.38058092198241855</c:v>
                </c:pt>
                <c:pt idx="21">
                  <c:v>0.37265022912633594</c:v>
                </c:pt>
                <c:pt idx="22">
                  <c:v>0.3753858413690005</c:v>
                </c:pt>
                <c:pt idx="23">
                  <c:v>0.3855378207141425</c:v>
                </c:pt>
                <c:pt idx="24">
                  <c:v>0.3720231126952949</c:v>
                </c:pt>
                <c:pt idx="25">
                  <c:v>0.34211176450298675</c:v>
                </c:pt>
                <c:pt idx="26">
                  <c:v>0.339713697566028</c:v>
                </c:pt>
                <c:pt idx="27">
                  <c:v>0.3730118728009365</c:v>
                </c:pt>
                <c:pt idx="28">
                  <c:v>0.4014967597665101</c:v>
                </c:pt>
                <c:pt idx="29">
                  <c:v>0.3910765216023501</c:v>
                </c:pt>
                <c:pt idx="30">
                  <c:v>0.41102521425909827</c:v>
                </c:pt>
                <c:pt idx="31">
                  <c:v>0.31526733517172223</c:v>
                </c:pt>
                <c:pt idx="32">
                  <c:v>0.33623719597154844</c:v>
                </c:pt>
                <c:pt idx="33">
                  <c:v>0.3033791476127178</c:v>
                </c:pt>
                <c:pt idx="34">
                  <c:v>0.3200572751225429</c:v>
                </c:pt>
                <c:pt idx="35">
                  <c:v>0.28948636558671503</c:v>
                </c:pt>
                <c:pt idx="36">
                  <c:v>0.3371305062162514</c:v>
                </c:pt>
                <c:pt idx="37">
                  <c:v>0.29375988530379105</c:v>
                </c:pt>
                <c:pt idx="38">
                  <c:v>0.36678471824492653</c:v>
                </c:pt>
                <c:pt idx="39">
                  <c:v>0.31549764755823745</c:v>
                </c:pt>
                <c:pt idx="40">
                  <c:v>0.3730282359887953</c:v>
                </c:pt>
                <c:pt idx="41">
                  <c:v>0.3677158378718596</c:v>
                </c:pt>
                <c:pt idx="42">
                  <c:v>0.3675624373247884</c:v>
                </c:pt>
                <c:pt idx="43">
                  <c:v>0.3755028744740939</c:v>
                </c:pt>
                <c:pt idx="44">
                  <c:v>0.3832146109104093</c:v>
                </c:pt>
                <c:pt idx="45">
                  <c:v>0.3999354402565388</c:v>
                </c:pt>
                <c:pt idx="46">
                  <c:v>0.37874611382884105</c:v>
                </c:pt>
                <c:pt idx="47">
                  <c:v>0.40860390770987687</c:v>
                </c:pt>
                <c:pt idx="48">
                  <c:v>0.39458254456161695</c:v>
                </c:pt>
                <c:pt idx="49">
                  <c:v>0.47086440533404916</c:v>
                </c:pt>
                <c:pt idx="50">
                  <c:v>0.4118709778838735</c:v>
                </c:pt>
                <c:pt idx="51">
                  <c:v>0.3547704398537247</c:v>
                </c:pt>
                <c:pt idx="52">
                  <c:v>0.16349252698387756</c:v>
                </c:pt>
                <c:pt idx="53">
                  <c:v>-0.4590673259730788</c:v>
                </c:pt>
                <c:pt idx="54">
                  <c:v>0.5251403560311919</c:v>
                </c:pt>
              </c:numCache>
            </c:numRef>
          </c:xVal>
          <c:yVal>
            <c:numRef>
              <c:f>Sheet1!$B$187:$B$241</c:f>
              <c:numCache>
                <c:formatCode>General</c:formatCode>
                <c:ptCount val="55"/>
                <c:pt idx="0">
                  <c:v>0.18573171711230843</c:v>
                </c:pt>
                <c:pt idx="1">
                  <c:v>0.1855957564428482</c:v>
                </c:pt>
                <c:pt idx="2">
                  <c:v>0.18579300015633338</c:v>
                </c:pt>
                <c:pt idx="3">
                  <c:v>0.18288781593202746</c:v>
                </c:pt>
                <c:pt idx="4">
                  <c:v>0.18556174018018445</c:v>
                </c:pt>
                <c:pt idx="5">
                  <c:v>0.18722693895032474</c:v>
                </c:pt>
                <c:pt idx="6">
                  <c:v>0.18404549256078162</c:v>
                </c:pt>
                <c:pt idx="7">
                  <c:v>0.18156213229025386</c:v>
                </c:pt>
                <c:pt idx="8">
                  <c:v>0.18322521180047563</c:v>
                </c:pt>
                <c:pt idx="9">
                  <c:v>0.1832977576819529</c:v>
                </c:pt>
                <c:pt idx="10">
                  <c:v>0.18184979309133095</c:v>
                </c:pt>
                <c:pt idx="11">
                  <c:v>0.1835419860121831</c:v>
                </c:pt>
                <c:pt idx="12">
                  <c:v>0.18160800395623022</c:v>
                </c:pt>
                <c:pt idx="13">
                  <c:v>0.18098116178983548</c:v>
                </c:pt>
                <c:pt idx="14">
                  <c:v>0.1813086878844071</c:v>
                </c:pt>
                <c:pt idx="15">
                  <c:v>0.18295404692294884</c:v>
                </c:pt>
                <c:pt idx="16">
                  <c:v>0.18499097358907038</c:v>
                </c:pt>
                <c:pt idx="17">
                  <c:v>0.18549824948338606</c:v>
                </c:pt>
                <c:pt idx="18">
                  <c:v>0.18415007363822766</c:v>
                </c:pt>
                <c:pt idx="19">
                  <c:v>0.18408946035844453</c:v>
                </c:pt>
                <c:pt idx="20">
                  <c:v>0.18348314518043463</c:v>
                </c:pt>
                <c:pt idx="21">
                  <c:v>0.18395347741031165</c:v>
                </c:pt>
                <c:pt idx="22">
                  <c:v>0.1837912410673439</c:v>
                </c:pt>
                <c:pt idx="23">
                  <c:v>0.1831891747448026</c:v>
                </c:pt>
                <c:pt idx="24">
                  <c:v>0.18399066874715403</c:v>
                </c:pt>
                <c:pt idx="25">
                  <c:v>0.1857645706431437</c:v>
                </c:pt>
                <c:pt idx="26">
                  <c:v>0.18590678875577546</c:v>
                </c:pt>
                <c:pt idx="27">
                  <c:v>0.18393203001864203</c:v>
                </c:pt>
                <c:pt idx="28">
                  <c:v>0.1822427248535784</c:v>
                </c:pt>
                <c:pt idx="29">
                  <c:v>0.1828607003496084</c:v>
                </c:pt>
                <c:pt idx="30">
                  <c:v>0.18167763686818963</c:v>
                </c:pt>
                <c:pt idx="31">
                  <c:v>0.18735658795314034</c:v>
                </c:pt>
                <c:pt idx="32">
                  <c:v>0.18611296377437406</c:v>
                </c:pt>
                <c:pt idx="33">
                  <c:v>0.18806162064893242</c:v>
                </c:pt>
                <c:pt idx="34">
                  <c:v>0.18707251906043082</c:v>
                </c:pt>
                <c:pt idx="35">
                  <c:v>0.18888553644898437</c:v>
                </c:pt>
                <c:pt idx="36">
                  <c:v>0.18605998572983398</c:v>
                </c:pt>
                <c:pt idx="37">
                  <c:v>0.18863209402038061</c:v>
                </c:pt>
                <c:pt idx="38">
                  <c:v>0.18430133337476315</c:v>
                </c:pt>
                <c:pt idx="39">
                  <c:v>0.1873429292047455</c:v>
                </c:pt>
                <c:pt idx="40">
                  <c:v>0.18393105959464842</c:v>
                </c:pt>
                <c:pt idx="41">
                  <c:v>0.1842461130329387</c:v>
                </c:pt>
                <c:pt idx="42">
                  <c:v>0.18425521050054683</c:v>
                </c:pt>
                <c:pt idx="43">
                  <c:v>0.18378430038230076</c:v>
                </c:pt>
                <c:pt idx="44">
                  <c:v>0.18332695343164507</c:v>
                </c:pt>
                <c:pt idx="45">
                  <c:v>0.18233531939733408</c:v>
                </c:pt>
                <c:pt idx="46">
                  <c:v>0.18359195905406822</c:v>
                </c:pt>
                <c:pt idx="47">
                  <c:v>0.1818212332133233</c:v>
                </c:pt>
                <c:pt idx="48">
                  <c:v>0.18265277455720208</c:v>
                </c:pt>
                <c:pt idx="49">
                  <c:v>0.17812885485342106</c:v>
                </c:pt>
                <c:pt idx="50">
                  <c:v>0.1816274785908729</c:v>
                </c:pt>
                <c:pt idx="51">
                  <c:v>0.1850138439269482</c:v>
                </c:pt>
                <c:pt idx="52">
                  <c:v>0.1963576406063645</c:v>
                </c:pt>
                <c:pt idx="53">
                  <c:v>0.23327874815481625</c:v>
                </c:pt>
                <c:pt idx="54">
                  <c:v>0.174910002555982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67286888792724"/>
          <c:min val="0.1217683268047006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7.6702</c:v>
                </c:pt>
                <c:pt idx="1">
                  <c:v>914.6089</c:v>
                </c:pt>
                <c:pt idx="2">
                  <c:v>995.8136</c:v>
                </c:pt>
                <c:pt idx="3">
                  <c:v>1023.2009</c:v>
                </c:pt>
                <c:pt idx="4">
                  <c:v>1039.3993</c:v>
                </c:pt>
                <c:pt idx="5">
                  <c:v>1029.6386</c:v>
                </c:pt>
                <c:pt idx="6">
                  <c:v>963.9892</c:v>
                </c:pt>
                <c:pt idx="7">
                  <c:v>987.1906</c:v>
                </c:pt>
                <c:pt idx="8">
                  <c:v>1004.5075</c:v>
                </c:pt>
                <c:pt idx="9">
                  <c:v>956.3068</c:v>
                </c:pt>
                <c:pt idx="10">
                  <c:v>940.4396</c:v>
                </c:pt>
                <c:pt idx="11">
                  <c:v>985.8662</c:v>
                </c:pt>
                <c:pt idx="12">
                  <c:v>980.8571</c:v>
                </c:pt>
                <c:pt idx="13">
                  <c:v>967.0204</c:v>
                </c:pt>
                <c:pt idx="14">
                  <c:v>959.6113</c:v>
                </c:pt>
                <c:pt idx="15">
                  <c:v>963.0428</c:v>
                </c:pt>
                <c:pt idx="16">
                  <c:v>971.1092</c:v>
                </c:pt>
                <c:pt idx="17">
                  <c:v>998.4396</c:v>
                </c:pt>
                <c:pt idx="18">
                  <c:v>1036.7246</c:v>
                </c:pt>
                <c:pt idx="19">
                  <c:v>1053.1293</c:v>
                </c:pt>
                <c:pt idx="20">
                  <c:v>1048.2654</c:v>
                </c:pt>
                <c:pt idx="21">
                  <c:v>1046.3325</c:v>
                </c:pt>
                <c:pt idx="22">
                  <c:v>1021.7022</c:v>
                </c:pt>
                <c:pt idx="23">
                  <c:v>1012.8467</c:v>
                </c:pt>
                <c:pt idx="24">
                  <c:v>1020.534</c:v>
                </c:pt>
                <c:pt idx="25">
                  <c:v>997.0201</c:v>
                </c:pt>
                <c:pt idx="26">
                  <c:v>1023.9358</c:v>
                </c:pt>
                <c:pt idx="27">
                  <c:v>1058.545</c:v>
                </c:pt>
                <c:pt idx="28">
                  <c:v>1029.5251</c:v>
                </c:pt>
                <c:pt idx="29">
                  <c:v>923.8517</c:v>
                </c:pt>
                <c:pt idx="30">
                  <c:v>932.0833</c:v>
                </c:pt>
                <c:pt idx="31">
                  <c:v>999.9292</c:v>
                </c:pt>
                <c:pt idx="32">
                  <c:v>972.1244</c:v>
                </c:pt>
                <c:pt idx="33">
                  <c:v>939.6369</c:v>
                </c:pt>
                <c:pt idx="34">
                  <c:v>988.0372</c:v>
                </c:pt>
                <c:pt idx="35">
                  <c:v>1072.4486</c:v>
                </c:pt>
                <c:pt idx="36">
                  <c:v>1116.5026</c:v>
                </c:pt>
                <c:pt idx="37">
                  <c:v>1147.0461</c:v>
                </c:pt>
                <c:pt idx="38">
                  <c:v>1188.3041</c:v>
                </c:pt>
                <c:pt idx="39">
                  <c:v>1184.1473</c:v>
                </c:pt>
                <c:pt idx="40">
                  <c:v>1210.4208</c:v>
                </c:pt>
                <c:pt idx="41">
                  <c:v>1276.8188</c:v>
                </c:pt>
                <c:pt idx="42">
                  <c:v>1319.3804</c:v>
                </c:pt>
                <c:pt idx="43">
                  <c:v>1304.6154</c:v>
                </c:pt>
                <c:pt idx="44">
                  <c:v>1170.2254</c:v>
                </c:pt>
                <c:pt idx="45">
                  <c:v>1070.6459</c:v>
                </c:pt>
                <c:pt idx="46">
                  <c:v>1057.7172</c:v>
                </c:pt>
                <c:pt idx="47">
                  <c:v>1024.9538</c:v>
                </c:pt>
                <c:pt idx="48">
                  <c:v>1024.6148</c:v>
                </c:pt>
                <c:pt idx="49">
                  <c:v>991.2988</c:v>
                </c:pt>
                <c:pt idx="50">
                  <c:v>987.669</c:v>
                </c:pt>
                <c:pt idx="51">
                  <c:v>1006.5811</c:v>
                </c:pt>
                <c:pt idx="52">
                  <c:v>1034.942</c:v>
                </c:pt>
                <c:pt idx="53">
                  <c:v>1106.6756</c:v>
                </c:pt>
                <c:pt idx="54">
                  <c:v>1098.3031</c:v>
                </c:pt>
                <c:pt idx="55">
                  <c:v>1119.8548</c:v>
                </c:pt>
                <c:pt idx="56">
                  <c:v>1129.3529</c:v>
                </c:pt>
                <c:pt idx="57">
                  <c:v>1130.0838</c:v>
                </c:pt>
                <c:pt idx="58">
                  <c:v>1099.7368</c:v>
                </c:pt>
                <c:pt idx="59">
                  <c:v>1081.3549</c:v>
                </c:pt>
                <c:pt idx="60">
                  <c:v>1124.5446</c:v>
                </c:pt>
                <c:pt idx="61">
                  <c:v>1125.6196</c:v>
                </c:pt>
                <c:pt idx="62">
                  <c:v>1097.7183</c:v>
                </c:pt>
                <c:pt idx="63">
                  <c:v>1122.3525</c:v>
                </c:pt>
                <c:pt idx="64">
                  <c:v>1104.0532</c:v>
                </c:pt>
                <c:pt idx="65">
                  <c:v>1090.1324</c:v>
                </c:pt>
                <c:pt idx="66">
                  <c:v>1025.6892</c:v>
                </c:pt>
                <c:pt idx="67">
                  <c:v>1005.4487</c:v>
                </c:pt>
                <c:pt idx="68">
                  <c:v>962.8156</c:v>
                </c:pt>
                <c:pt idx="69">
                  <c:v>964.6659</c:v>
                </c:pt>
                <c:pt idx="70">
                  <c:v>963.4314</c:v>
                </c:pt>
                <c:pt idx="71">
                  <c:v>1026.5074</c:v>
                </c:pt>
                <c:pt idx="72">
                  <c:v>1022.9734</c:v>
                </c:pt>
                <c:pt idx="73">
                  <c:v>1071.0539</c:v>
                </c:pt>
                <c:pt idx="74">
                  <c:v>983.3493</c:v>
                </c:pt>
                <c:pt idx="75">
                  <c:v>1042.1239</c:v>
                </c:pt>
                <c:pt idx="76">
                  <c:v>1077.8251</c:v>
                </c:pt>
                <c:pt idx="77">
                  <c:v>1077.6923</c:v>
                </c:pt>
                <c:pt idx="78">
                  <c:v>1143.9643</c:v>
                </c:pt>
                <c:pt idx="79">
                  <c:v>620.4724</c:v>
                </c:pt>
                <c:pt idx="80">
                  <c:v>614.3897</c:v>
                </c:pt>
                <c:pt idx="81">
                  <c:v>857.385</c:v>
                </c:pt>
                <c:pt idx="82">
                  <c:v>754.3288</c:v>
                </c:pt>
                <c:pt idx="83">
                  <c:v>910.8462</c:v>
                </c:pt>
                <c:pt idx="84">
                  <c:v>918.8282</c:v>
                </c:pt>
                <c:pt idx="85">
                  <c:v>953.6618</c:v>
                </c:pt>
                <c:pt idx="86">
                  <c:v>1163.0066</c:v>
                </c:pt>
                <c:pt idx="87">
                  <c:v>1212.4106</c:v>
                </c:pt>
                <c:pt idx="88">
                  <c:v>1152.3979</c:v>
                </c:pt>
                <c:pt idx="89">
                  <c:v>1043.6444</c:v>
                </c:pt>
                <c:pt idx="90">
                  <c:v>1197.0243</c:v>
                </c:pt>
                <c:pt idx="91">
                  <c:v>1085.5</c:v>
                </c:pt>
                <c:pt idx="92">
                  <c:v>1194.3098</c:v>
                </c:pt>
                <c:pt idx="93">
                  <c:v>1256.3601</c:v>
                </c:pt>
                <c:pt idx="94">
                  <c:v>1181.3924</c:v>
                </c:pt>
                <c:pt idx="95">
                  <c:v>1247.5606</c:v>
                </c:pt>
                <c:pt idx="96">
                  <c:v>1213.6726</c:v>
                </c:pt>
                <c:pt idx="97">
                  <c:v>1211.5835</c:v>
                </c:pt>
                <c:pt idx="98">
                  <c:v>1198.5642</c:v>
                </c:pt>
                <c:pt idx="99">
                  <c:v>1123.0921</c:v>
                </c:pt>
                <c:pt idx="100">
                  <c:v>1171.6065</c:v>
                </c:pt>
                <c:pt idx="101">
                  <c:v>1153.0808</c:v>
                </c:pt>
                <c:pt idx="102">
                  <c:v>1162.5794</c:v>
                </c:pt>
                <c:pt idx="103">
                  <c:v>1077.9838</c:v>
                </c:pt>
                <c:pt idx="104">
                  <c:v>1170.5093</c:v>
                </c:pt>
              </c:numCache>
            </c:numRef>
          </c:xVal>
          <c:yVal>
            <c:numRef>
              <c:f>Sheet1!$B$2:$B$106</c:f>
              <c:numCache>
                <c:formatCode>General</c:formatCode>
                <c:ptCount val="105"/>
                <c:pt idx="0">
                  <c:v>0.25474979930425473</c:v>
                </c:pt>
                <c:pt idx="1">
                  <c:v>0.24514003294892917</c:v>
                </c:pt>
                <c:pt idx="2">
                  <c:v>0.20767778477029578</c:v>
                </c:pt>
                <c:pt idx="3">
                  <c:v>0.21141719216727514</c:v>
                </c:pt>
                <c:pt idx="4">
                  <c:v>0.2110609480812641</c:v>
                </c:pt>
                <c:pt idx="5">
                  <c:v>0.19698681732580037</c:v>
                </c:pt>
                <c:pt idx="6">
                  <c:v>0.20716685330347145</c:v>
                </c:pt>
                <c:pt idx="7">
                  <c:v>0.20845792396411789</c:v>
                </c:pt>
                <c:pt idx="8">
                  <c:v>0.2035623409669211</c:v>
                </c:pt>
                <c:pt idx="9">
                  <c:v>0.2110912343470483</c:v>
                </c:pt>
                <c:pt idx="10">
                  <c:v>0.2237442922374429</c:v>
                </c:pt>
                <c:pt idx="11">
                  <c:v>0.21998450813323006</c:v>
                </c:pt>
                <c:pt idx="12">
                  <c:v>0.23612087139845397</c:v>
                </c:pt>
                <c:pt idx="13">
                  <c:v>0.24077328646748683</c:v>
                </c:pt>
                <c:pt idx="14">
                  <c:v>0.24179874677478805</c:v>
                </c:pt>
                <c:pt idx="15">
                  <c:v>0.24309171005206248</c:v>
                </c:pt>
                <c:pt idx="16">
                  <c:v>0.24507042253521127</c:v>
                </c:pt>
                <c:pt idx="17">
                  <c:v>0.2127968977217644</c:v>
                </c:pt>
                <c:pt idx="18">
                  <c:v>0.20679320679320679</c:v>
                </c:pt>
                <c:pt idx="19">
                  <c:v>0.19333333333333333</c:v>
                </c:pt>
                <c:pt idx="20">
                  <c:v>0.20586907449209932</c:v>
                </c:pt>
                <c:pt idx="21">
                  <c:v>0.22593896713615025</c:v>
                </c:pt>
                <c:pt idx="22">
                  <c:v>0.22264150943396227</c:v>
                </c:pt>
                <c:pt idx="23">
                  <c:v>0.23181049069373943</c:v>
                </c:pt>
                <c:pt idx="24">
                  <c:v>0.23774509803921567</c:v>
                </c:pt>
                <c:pt idx="25">
                  <c:v>0.22979214780600463</c:v>
                </c:pt>
                <c:pt idx="26">
                  <c:v>0.22058823529411764</c:v>
                </c:pt>
                <c:pt idx="27">
                  <c:v>0.21008403361344538</c:v>
                </c:pt>
                <c:pt idx="28">
                  <c:v>0.20835623969213854</c:v>
                </c:pt>
                <c:pt idx="29">
                  <c:v>0.21611721611721613</c:v>
                </c:pt>
                <c:pt idx="30">
                  <c:v>0.2100181050090525</c:v>
                </c:pt>
                <c:pt idx="31">
                  <c:v>0.20065609622744668</c:v>
                </c:pt>
                <c:pt idx="32">
                  <c:v>0.21394358701436936</c:v>
                </c:pt>
                <c:pt idx="33">
                  <c:v>0.22828014184397163</c:v>
                </c:pt>
                <c:pt idx="34">
                  <c:v>0.221431247658299</c:v>
                </c:pt>
                <c:pt idx="35">
                  <c:v>0.2228591902543891</c:v>
                </c:pt>
                <c:pt idx="36">
                  <c:v>0.19448621553884712</c:v>
                </c:pt>
                <c:pt idx="37">
                  <c:v>0.16335303600214937</c:v>
                </c:pt>
                <c:pt idx="38">
                  <c:v>0.1735052754982415</c:v>
                </c:pt>
                <c:pt idx="39">
                  <c:v>0.18312284730195177</c:v>
                </c:pt>
                <c:pt idx="40">
                  <c:v>0.175</c:v>
                </c:pt>
                <c:pt idx="41">
                  <c:v>0.15319781854238967</c:v>
                </c:pt>
                <c:pt idx="42">
                  <c:v>0.16326530612244897</c:v>
                </c:pt>
                <c:pt idx="43">
                  <c:v>0.15913887716336006</c:v>
                </c:pt>
                <c:pt idx="44">
                  <c:v>0.18789144050104384</c:v>
                </c:pt>
                <c:pt idx="45">
                  <c:v>0.2242968565350981</c:v>
                </c:pt>
                <c:pt idx="46">
                  <c:v>0.22797089733225545</c:v>
                </c:pt>
                <c:pt idx="47">
                  <c:v>0.23144654088050315</c:v>
                </c:pt>
                <c:pt idx="48">
                  <c:v>0.23914145681933413</c:v>
                </c:pt>
                <c:pt idx="49">
                  <c:v>0.2764599638771824</c:v>
                </c:pt>
                <c:pt idx="50">
                  <c:v>0.24488072619801562</c:v>
                </c:pt>
                <c:pt idx="51">
                  <c:v>0.23029045643153526</c:v>
                </c:pt>
                <c:pt idx="52">
                  <c:v>0.21896383186705767</c:v>
                </c:pt>
                <c:pt idx="53">
                  <c:v>0.21902996601791783</c:v>
                </c:pt>
                <c:pt idx="54">
                  <c:v>0.21271538918597743</c:v>
                </c:pt>
                <c:pt idx="55">
                  <c:v>0.20984126984126983</c:v>
                </c:pt>
                <c:pt idx="56">
                  <c:v>0.21609344581440623</c:v>
                </c:pt>
                <c:pt idx="57">
                  <c:v>0.2108167770419426</c:v>
                </c:pt>
                <c:pt idx="58">
                  <c:v>0.22022233986236103</c:v>
                </c:pt>
                <c:pt idx="59">
                  <c:v>0.22463619594179135</c:v>
                </c:pt>
                <c:pt idx="60">
                  <c:v>0.24057492931196983</c:v>
                </c:pt>
                <c:pt idx="61">
                  <c:v>0.22790382661699965</c:v>
                </c:pt>
                <c:pt idx="62">
                  <c:v>0.2153536515238643</c:v>
                </c:pt>
                <c:pt idx="63">
                  <c:v>0.2509395779126915</c:v>
                </c:pt>
                <c:pt idx="64">
                  <c:v>0.2484186313973548</c:v>
                </c:pt>
                <c:pt idx="65">
                  <c:v>0.2329059829059829</c:v>
                </c:pt>
                <c:pt idx="66">
                  <c:v>0.225</c:v>
                </c:pt>
                <c:pt idx="67">
                  <c:v>0.23322259136212625</c:v>
                </c:pt>
                <c:pt idx="68">
                  <c:v>0.2233560090702948</c:v>
                </c:pt>
                <c:pt idx="69">
                  <c:v>0.2143193593970796</c:v>
                </c:pt>
                <c:pt idx="70">
                  <c:v>0.19290780141843972</c:v>
                </c:pt>
                <c:pt idx="71">
                  <c:v>0.20867768595041322</c:v>
                </c:pt>
                <c:pt idx="72">
                  <c:v>0.22617946345975948</c:v>
                </c:pt>
                <c:pt idx="73">
                  <c:v>0.21128154379020286</c:v>
                </c:pt>
                <c:pt idx="74">
                  <c:v>0.2319679430097952</c:v>
                </c:pt>
                <c:pt idx="75">
                  <c:v>0.22979156075241486</c:v>
                </c:pt>
                <c:pt idx="76">
                  <c:v>0.22518025513033832</c:v>
                </c:pt>
                <c:pt idx="77">
                  <c:v>0.21138211382113822</c:v>
                </c:pt>
                <c:pt idx="78">
                  <c:v>0.1998810232004759</c:v>
                </c:pt>
                <c:pt idx="79">
                  <c:v>0.3297273907399394</c:v>
                </c:pt>
                <c:pt idx="80">
                  <c:v>0.31569664902998235</c:v>
                </c:pt>
                <c:pt idx="81">
                  <c:v>0.2323682256867112</c:v>
                </c:pt>
                <c:pt idx="82">
                  <c:v>0.25632126921170056</c:v>
                </c:pt>
                <c:pt idx="83">
                  <c:v>0.2041457286432161</c:v>
                </c:pt>
                <c:pt idx="84">
                  <c:v>0.21733333333333332</c:v>
                </c:pt>
                <c:pt idx="85">
                  <c:v>0.2173228346456693</c:v>
                </c:pt>
                <c:pt idx="86">
                  <c:v>0.18915562913907286</c:v>
                </c:pt>
                <c:pt idx="87">
                  <c:v>0.20562851782363978</c:v>
                </c:pt>
                <c:pt idx="88">
                  <c:v>0.21175166297117518</c:v>
                </c:pt>
                <c:pt idx="89">
                  <c:v>0.20678818353236958</c:v>
                </c:pt>
                <c:pt idx="90">
                  <c:v>0.17701290719114934</c:v>
                </c:pt>
                <c:pt idx="91">
                  <c:v>0.19217491369390102</c:v>
                </c:pt>
                <c:pt idx="92">
                  <c:v>0.18895763921941933</c:v>
                </c:pt>
                <c:pt idx="93">
                  <c:v>0.1852207293666027</c:v>
                </c:pt>
                <c:pt idx="94">
                  <c:v>0.20038046924540268</c:v>
                </c:pt>
                <c:pt idx="95">
                  <c:v>0.18595744680851065</c:v>
                </c:pt>
                <c:pt idx="96">
                  <c:v>0.1678051678051678</c:v>
                </c:pt>
                <c:pt idx="97">
                  <c:v>0.18227513227513228</c:v>
                </c:pt>
                <c:pt idx="98">
                  <c:v>0.20017145306472353</c:v>
                </c:pt>
                <c:pt idx="99">
                  <c:v>0.20732766105226602</c:v>
                </c:pt>
                <c:pt idx="100">
                  <c:v>0.220177138112372</c:v>
                </c:pt>
                <c:pt idx="101">
                  <c:v>0.21193693693693694</c:v>
                </c:pt>
                <c:pt idx="102">
                  <c:v>0.18858024691358025</c:v>
                </c:pt>
                <c:pt idx="103">
                  <c:v>0.19665605095541402</c:v>
                </c:pt>
                <c:pt idx="104">
                  <c:v>0.192345118391177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3.9496</c:v>
                </c:pt>
                <c:pt idx="1">
                  <c:v>1175.5083</c:v>
                </c:pt>
                <c:pt idx="2">
                  <c:v>1168.9356</c:v>
                </c:pt>
                <c:pt idx="3">
                  <c:v>1199.4759</c:v>
                </c:pt>
                <c:pt idx="4">
                  <c:v>1196.3474</c:v>
                </c:pt>
                <c:pt idx="5">
                  <c:v>1214.0162</c:v>
                </c:pt>
                <c:pt idx="6">
                  <c:v>1144.3829</c:v>
                </c:pt>
                <c:pt idx="7">
                  <c:v>1216.775</c:v>
                </c:pt>
                <c:pt idx="8">
                  <c:v>1302.5063</c:v>
                </c:pt>
                <c:pt idx="9">
                  <c:v>1249.2081</c:v>
                </c:pt>
                <c:pt idx="10">
                  <c:v>1284.01</c:v>
                </c:pt>
                <c:pt idx="11">
                  <c:v>1059.8665</c:v>
                </c:pt>
                <c:pt idx="12">
                  <c:v>1123.7275</c:v>
                </c:pt>
                <c:pt idx="13">
                  <c:v>1180.599</c:v>
                </c:pt>
                <c:pt idx="14">
                  <c:v>1168.7026</c:v>
                </c:pt>
                <c:pt idx="15">
                  <c:v>1232.7703</c:v>
                </c:pt>
                <c:pt idx="16">
                  <c:v>1243.6576</c:v>
                </c:pt>
                <c:pt idx="17">
                  <c:v>1226.4036</c:v>
                </c:pt>
                <c:pt idx="18">
                  <c:v>1366.7794</c:v>
                </c:pt>
                <c:pt idx="19">
                  <c:v>1413.7224</c:v>
                </c:pt>
                <c:pt idx="20">
                  <c:v>1420.6655</c:v>
                </c:pt>
                <c:pt idx="21">
                  <c:v>1376.2403</c:v>
                </c:pt>
                <c:pt idx="22">
                  <c:v>1403.2044</c:v>
                </c:pt>
                <c:pt idx="23">
                  <c:v>1331.56</c:v>
                </c:pt>
                <c:pt idx="24">
                  <c:v>1314.2039</c:v>
                </c:pt>
                <c:pt idx="25">
                  <c:v>1232.8708</c:v>
                </c:pt>
                <c:pt idx="26">
                  <c:v>1311.9743</c:v>
                </c:pt>
                <c:pt idx="27">
                  <c:v>1347.581</c:v>
                </c:pt>
                <c:pt idx="28">
                  <c:v>1299.3308</c:v>
                </c:pt>
                <c:pt idx="29">
                  <c:v>1310.2399</c:v>
                </c:pt>
                <c:pt idx="30">
                  <c:v>1323.6656</c:v>
                </c:pt>
                <c:pt idx="31">
                  <c:v>1257.6014</c:v>
                </c:pt>
                <c:pt idx="32">
                  <c:v>1246.5256</c:v>
                </c:pt>
                <c:pt idx="33">
                  <c:v>1311.75</c:v>
                </c:pt>
                <c:pt idx="34">
                  <c:v>1329.8037</c:v>
                </c:pt>
                <c:pt idx="35">
                  <c:v>1302.319</c:v>
                </c:pt>
                <c:pt idx="36">
                  <c:v>1346.0812</c:v>
                </c:pt>
                <c:pt idx="37">
                  <c:v>1439.3532</c:v>
                </c:pt>
                <c:pt idx="38">
                  <c:v>1426.1381</c:v>
                </c:pt>
                <c:pt idx="39">
                  <c:v>1352.5092</c:v>
                </c:pt>
                <c:pt idx="40">
                  <c:v>1472.0842</c:v>
                </c:pt>
                <c:pt idx="41">
                  <c:v>1505.2685</c:v>
                </c:pt>
                <c:pt idx="42">
                  <c:v>1498.7612</c:v>
                </c:pt>
                <c:pt idx="43">
                  <c:v>1448.1844</c:v>
                </c:pt>
                <c:pt idx="44">
                  <c:v>1367.5036</c:v>
                </c:pt>
                <c:pt idx="45">
                  <c:v>1281.5826</c:v>
                </c:pt>
                <c:pt idx="46">
                  <c:v>1271.6942</c:v>
                </c:pt>
                <c:pt idx="47">
                  <c:v>1213.9323</c:v>
                </c:pt>
                <c:pt idx="48">
                  <c:v>1217.065</c:v>
                </c:pt>
                <c:pt idx="49">
                  <c:v>1274.1717</c:v>
                </c:pt>
                <c:pt idx="50">
                  <c:v>1120.3307</c:v>
                </c:pt>
                <c:pt idx="51">
                  <c:v>1081.8467</c:v>
                </c:pt>
              </c:numCache>
            </c:numRef>
          </c:xVal>
          <c:yVal>
            <c:numRef>
              <c:f>Sheet1!$B$109:$B$160</c:f>
              <c:numCache>
                <c:formatCode>General</c:formatCode>
                <c:ptCount val="52"/>
                <c:pt idx="0">
                  <c:v>0.18636363636363637</c:v>
                </c:pt>
                <c:pt idx="1">
                  <c:v>0.2016075016744809</c:v>
                </c:pt>
                <c:pt idx="2">
                  <c:v>0.21122685185185186</c:v>
                </c:pt>
                <c:pt idx="3">
                  <c:v>0.21336080047086523</c:v>
                </c:pt>
                <c:pt idx="4">
                  <c:v>0.20991161616161616</c:v>
                </c:pt>
                <c:pt idx="5">
                  <c:v>0.19148274790177183</c:v>
                </c:pt>
                <c:pt idx="6">
                  <c:v>0.19472200871124776</c:v>
                </c:pt>
                <c:pt idx="7">
                  <c:v>0.18570947084597236</c:v>
                </c:pt>
                <c:pt idx="8">
                  <c:v>0.17283413147583804</c:v>
                </c:pt>
                <c:pt idx="9">
                  <c:v>0.19171185127807902</c:v>
                </c:pt>
                <c:pt idx="10">
                  <c:v>0.19422776911076442</c:v>
                </c:pt>
                <c:pt idx="11">
                  <c:v>0.21206853737273404</c:v>
                </c:pt>
                <c:pt idx="12">
                  <c:v>0.21569260574749757</c:v>
                </c:pt>
                <c:pt idx="13">
                  <c:v>0.21599705123479543</c:v>
                </c:pt>
                <c:pt idx="14">
                  <c:v>0.21879756468797565</c:v>
                </c:pt>
                <c:pt idx="15">
                  <c:v>0.1977728285077951</c:v>
                </c:pt>
                <c:pt idx="16">
                  <c:v>0.17259414225941422</c:v>
                </c:pt>
                <c:pt idx="17">
                  <c:v>0.17132689374682258</c:v>
                </c:pt>
                <c:pt idx="18">
                  <c:v>0.15221040850587578</c:v>
                </c:pt>
                <c:pt idx="19">
                  <c:v>0.16649159663865545</c:v>
                </c:pt>
                <c:pt idx="20">
                  <c:v>0.15841013824884792</c:v>
                </c:pt>
                <c:pt idx="21">
                  <c:v>0.16114928169893816</c:v>
                </c:pt>
                <c:pt idx="22">
                  <c:v>0.1632896305125149</c:v>
                </c:pt>
                <c:pt idx="23">
                  <c:v>0.172090112640801</c:v>
                </c:pt>
                <c:pt idx="24">
                  <c:v>0.1675704989154013</c:v>
                </c:pt>
                <c:pt idx="25">
                  <c:v>0.17945886250690227</c:v>
                </c:pt>
                <c:pt idx="26">
                  <c:v>0.16248693834900732</c:v>
                </c:pt>
                <c:pt idx="27">
                  <c:v>0.1603727317312408</c:v>
                </c:pt>
                <c:pt idx="28">
                  <c:v>0.17639077340569878</c:v>
                </c:pt>
                <c:pt idx="29">
                  <c:v>0.18722943722943722</c:v>
                </c:pt>
                <c:pt idx="30">
                  <c:v>0.18251173708920188</c:v>
                </c:pt>
                <c:pt idx="31">
                  <c:v>0.1751269035532995</c:v>
                </c:pt>
                <c:pt idx="32">
                  <c:v>0.18594823032223984</c:v>
                </c:pt>
                <c:pt idx="33">
                  <c:v>0.21175489787411422</c:v>
                </c:pt>
                <c:pt idx="34">
                  <c:v>0.2340992340992341</c:v>
                </c:pt>
                <c:pt idx="35">
                  <c:v>0.23451124368976595</c:v>
                </c:pt>
                <c:pt idx="36">
                  <c:v>0.18324197337509787</c:v>
                </c:pt>
                <c:pt idx="37">
                  <c:v>0.16251728907330568</c:v>
                </c:pt>
                <c:pt idx="38">
                  <c:v>0.16713286713286712</c:v>
                </c:pt>
                <c:pt idx="39">
                  <c:v>0.1849120816789563</c:v>
                </c:pt>
                <c:pt idx="40">
                  <c:v>0.16285714285714287</c:v>
                </c:pt>
                <c:pt idx="41">
                  <c:v>0.16963350785340314</c:v>
                </c:pt>
                <c:pt idx="42">
                  <c:v>0.16533180778032036</c:v>
                </c:pt>
                <c:pt idx="43">
                  <c:v>0.1596847781003733</c:v>
                </c:pt>
                <c:pt idx="44">
                  <c:v>0.1586284853051997</c:v>
                </c:pt>
                <c:pt idx="45">
                  <c:v>0.17217591261856854</c:v>
                </c:pt>
                <c:pt idx="46">
                  <c:v>0.17482727545809554</c:v>
                </c:pt>
                <c:pt idx="47">
                  <c:v>0.18014184397163122</c:v>
                </c:pt>
                <c:pt idx="48">
                  <c:v>0.1728767123287671</c:v>
                </c:pt>
                <c:pt idx="49">
                  <c:v>0.17486717486717487</c:v>
                </c:pt>
                <c:pt idx="50">
                  <c:v>0.19971149222631832</c:v>
                </c:pt>
                <c:pt idx="51">
                  <c:v>0.198181818181818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92.2024763030862</c:v>
                </c:pt>
              </c:numCache>
            </c:numRef>
          </c:xVal>
          <c:yVal>
            <c:numRef>
              <c:f>Sheet1!$B$163:$B$164</c:f>
              <c:numCache>
                <c:formatCode>General</c:formatCode>
                <c:ptCount val="2"/>
                <c:pt idx="0">
                  <c:v>0.23327874815481625</c:v>
                </c:pt>
                <c:pt idx="1">
                  <c:v>0.233278748154816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92.2024763030862</c:v>
                </c:pt>
                <c:pt idx="1">
                  <c:v>892.2024763030862</c:v>
                </c:pt>
              </c:numCache>
            </c:numRef>
          </c:xVal>
          <c:yVal>
            <c:numRef>
              <c:f>Sheet1!$B$167:$B$168</c:f>
              <c:numCache>
                <c:formatCode>General</c:formatCode>
                <c:ptCount val="2"/>
                <c:pt idx="0">
                  <c:v>0.233278748154816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7.582344462233</c:v>
                </c:pt>
              </c:numCache>
            </c:numRef>
          </c:xVal>
          <c:yVal>
            <c:numRef>
              <c:f>Sheet1!$B$171:$B$172</c:f>
              <c:numCache>
                <c:formatCode>General</c:formatCode>
                <c:ptCount val="2"/>
                <c:pt idx="0">
                  <c:v>0.1963576406063645</c:v>
                </c:pt>
                <c:pt idx="1">
                  <c:v>0.19635764060636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7.582344462233</c:v>
                </c:pt>
                <c:pt idx="1">
                  <c:v>1187.582344462233</c:v>
                </c:pt>
              </c:numCache>
            </c:numRef>
          </c:xVal>
          <c:yVal>
            <c:numRef>
              <c:f>Sheet1!$B$175:$B$176</c:f>
              <c:numCache>
                <c:formatCode>General</c:formatCode>
                <c:ptCount val="2"/>
                <c:pt idx="0">
                  <c:v>0.19635764060636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59.1698433294675</c:v>
                </c:pt>
              </c:numCache>
            </c:numRef>
          </c:xVal>
          <c:yVal>
            <c:numRef>
              <c:f>Sheet1!$B$179:$B$180</c:f>
              <c:numCache>
                <c:formatCode>General</c:formatCode>
                <c:ptCount val="2"/>
                <c:pt idx="0">
                  <c:v>0.17491000255598224</c:v>
                </c:pt>
                <c:pt idx="1">
                  <c:v>0.174910002555982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59.1698433294675</c:v>
                </c:pt>
                <c:pt idx="1">
                  <c:v>1359.1698433294675</c:v>
                </c:pt>
              </c:numCache>
            </c:numRef>
          </c:xVal>
          <c:yVal>
            <c:numRef>
              <c:f>Sheet1!$B$183:$B$184</c:f>
              <c:numCache>
                <c:formatCode>General</c:formatCode>
                <c:ptCount val="2"/>
                <c:pt idx="0">
                  <c:v>0.174910002555982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3.9496</c:v>
                </c:pt>
                <c:pt idx="1">
                  <c:v>1175.5083</c:v>
                </c:pt>
                <c:pt idx="2">
                  <c:v>1168.9356</c:v>
                </c:pt>
                <c:pt idx="3">
                  <c:v>1199.4759</c:v>
                </c:pt>
                <c:pt idx="4">
                  <c:v>1196.3474</c:v>
                </c:pt>
                <c:pt idx="5">
                  <c:v>1214.0162</c:v>
                </c:pt>
                <c:pt idx="6">
                  <c:v>1144.3829</c:v>
                </c:pt>
                <c:pt idx="7">
                  <c:v>1216.775</c:v>
                </c:pt>
                <c:pt idx="8">
                  <c:v>1302.5063</c:v>
                </c:pt>
                <c:pt idx="9">
                  <c:v>1249.2081</c:v>
                </c:pt>
                <c:pt idx="10">
                  <c:v>1284.01</c:v>
                </c:pt>
                <c:pt idx="11">
                  <c:v>1059.8665</c:v>
                </c:pt>
                <c:pt idx="12">
                  <c:v>1123.7275</c:v>
                </c:pt>
                <c:pt idx="13">
                  <c:v>1180.599</c:v>
                </c:pt>
                <c:pt idx="14">
                  <c:v>1168.7026</c:v>
                </c:pt>
                <c:pt idx="15">
                  <c:v>1232.7703</c:v>
                </c:pt>
                <c:pt idx="16">
                  <c:v>1243.6576</c:v>
                </c:pt>
                <c:pt idx="17">
                  <c:v>1226.4036</c:v>
                </c:pt>
                <c:pt idx="18">
                  <c:v>1366.7794</c:v>
                </c:pt>
                <c:pt idx="19">
                  <c:v>1413.7224</c:v>
                </c:pt>
                <c:pt idx="20">
                  <c:v>1420.6655</c:v>
                </c:pt>
                <c:pt idx="21">
                  <c:v>1376.2403</c:v>
                </c:pt>
                <c:pt idx="22">
                  <c:v>1403.2044</c:v>
                </c:pt>
                <c:pt idx="23">
                  <c:v>1331.56</c:v>
                </c:pt>
                <c:pt idx="24">
                  <c:v>1314.2039</c:v>
                </c:pt>
                <c:pt idx="25">
                  <c:v>1232.8708</c:v>
                </c:pt>
                <c:pt idx="26">
                  <c:v>1311.9743</c:v>
                </c:pt>
                <c:pt idx="27">
                  <c:v>1347.581</c:v>
                </c:pt>
                <c:pt idx="28">
                  <c:v>1299.3308</c:v>
                </c:pt>
                <c:pt idx="29">
                  <c:v>1310.2399</c:v>
                </c:pt>
                <c:pt idx="30">
                  <c:v>1323.6656</c:v>
                </c:pt>
                <c:pt idx="31">
                  <c:v>1257.6014</c:v>
                </c:pt>
                <c:pt idx="32">
                  <c:v>1246.5256</c:v>
                </c:pt>
                <c:pt idx="33">
                  <c:v>1311.75</c:v>
                </c:pt>
                <c:pt idx="34">
                  <c:v>1329.8037</c:v>
                </c:pt>
                <c:pt idx="35">
                  <c:v>1302.319</c:v>
                </c:pt>
                <c:pt idx="36">
                  <c:v>1346.0812</c:v>
                </c:pt>
                <c:pt idx="37">
                  <c:v>1439.3532</c:v>
                </c:pt>
                <c:pt idx="38">
                  <c:v>1426.1381</c:v>
                </c:pt>
                <c:pt idx="39">
                  <c:v>1352.5092</c:v>
                </c:pt>
                <c:pt idx="40">
                  <c:v>1472.0842</c:v>
                </c:pt>
                <c:pt idx="41">
                  <c:v>1505.2685</c:v>
                </c:pt>
                <c:pt idx="42">
                  <c:v>1498.7612</c:v>
                </c:pt>
                <c:pt idx="43">
                  <c:v>1448.1844</c:v>
                </c:pt>
                <c:pt idx="44">
                  <c:v>1367.5036</c:v>
                </c:pt>
                <c:pt idx="45">
                  <c:v>1281.5826</c:v>
                </c:pt>
                <c:pt idx="46">
                  <c:v>1271.6942</c:v>
                </c:pt>
                <c:pt idx="47">
                  <c:v>1213.9323</c:v>
                </c:pt>
                <c:pt idx="48">
                  <c:v>1217.065</c:v>
                </c:pt>
                <c:pt idx="49">
                  <c:v>1274.1717</c:v>
                </c:pt>
                <c:pt idx="50">
                  <c:v>1120.3307</c:v>
                </c:pt>
                <c:pt idx="51">
                  <c:v>1081.8467</c:v>
                </c:pt>
                <c:pt idx="52">
                  <c:v>1187.582344462233</c:v>
                </c:pt>
                <c:pt idx="53">
                  <c:v>892.2024763030862</c:v>
                </c:pt>
                <c:pt idx="54">
                  <c:v>1359.1698433294675</c:v>
                </c:pt>
              </c:numCache>
            </c:numRef>
          </c:xVal>
          <c:yVal>
            <c:numRef>
              <c:f>Sheet1!$B$187:$B$241</c:f>
              <c:numCache>
                <c:formatCode>General</c:formatCode>
                <c:ptCount val="55"/>
                <c:pt idx="0">
                  <c:v>0.19056194965726408</c:v>
                </c:pt>
                <c:pt idx="1">
                  <c:v>0.19786683991948326</c:v>
                </c:pt>
                <c:pt idx="2">
                  <c:v>0.19868839680179914</c:v>
                </c:pt>
                <c:pt idx="3">
                  <c:v>0.19487100156803036</c:v>
                </c:pt>
                <c:pt idx="4">
                  <c:v>0.19526204949450277</c:v>
                </c:pt>
                <c:pt idx="5">
                  <c:v>0.1930535318012773</c:v>
                </c:pt>
                <c:pt idx="6">
                  <c:v>0.20175736992767396</c:v>
                </c:pt>
                <c:pt idx="7">
                  <c:v>0.19270869465262708</c:v>
                </c:pt>
                <c:pt idx="8">
                  <c:v>0.18199268151572923</c:v>
                </c:pt>
                <c:pt idx="9">
                  <c:v>0.18865470823611033</c:v>
                </c:pt>
                <c:pt idx="10">
                  <c:v>0.18430463285420193</c:v>
                </c:pt>
                <c:pt idx="11">
                  <c:v>0.2123215262239545</c:v>
                </c:pt>
                <c:pt idx="12">
                  <c:v>0.20433919870838627</c:v>
                </c:pt>
                <c:pt idx="13">
                  <c:v>0.1972305261335497</c:v>
                </c:pt>
                <c:pt idx="14">
                  <c:v>0.19871752071641255</c:v>
                </c:pt>
                <c:pt idx="15">
                  <c:v>0.1907093566637173</c:v>
                </c:pt>
                <c:pt idx="16">
                  <c:v>0.18934849488015226</c:v>
                </c:pt>
                <c:pt idx="17">
                  <c:v>0.19150516450564536</c:v>
                </c:pt>
                <c:pt idx="18">
                  <c:v>0.17395884341985116</c:v>
                </c:pt>
                <c:pt idx="19">
                  <c:v>0.16809118709496865</c:v>
                </c:pt>
                <c:pt idx="20">
                  <c:v>0.16722333193809136</c:v>
                </c:pt>
                <c:pt idx="21">
                  <c:v>0.1727762749916706</c:v>
                </c:pt>
                <c:pt idx="22">
                  <c:v>0.16940588809884813</c:v>
                </c:pt>
                <c:pt idx="23">
                  <c:v>0.17836110435691452</c:v>
                </c:pt>
                <c:pt idx="24">
                  <c:v>0.180530536006794</c:v>
                </c:pt>
                <c:pt idx="25">
                  <c:v>0.1906967946318776</c:v>
                </c:pt>
                <c:pt idx="26">
                  <c:v>0.18080922562062265</c:v>
                </c:pt>
                <c:pt idx="27">
                  <c:v>0.17635855398772335</c:v>
                </c:pt>
                <c:pt idx="28">
                  <c:v>0.182389604223261</c:v>
                </c:pt>
                <c:pt idx="29">
                  <c:v>0.18102601754124714</c:v>
                </c:pt>
                <c:pt idx="30">
                  <c:v>0.1793478675823401</c:v>
                </c:pt>
                <c:pt idx="31">
                  <c:v>0.1876055848347164</c:v>
                </c:pt>
                <c:pt idx="32">
                  <c:v>0.18899000824018972</c:v>
                </c:pt>
                <c:pt idx="33">
                  <c:v>0.1808372620757634</c:v>
                </c:pt>
                <c:pt idx="34">
                  <c:v>0.17858063367552202</c:v>
                </c:pt>
                <c:pt idx="35">
                  <c:v>0.18201609314322748</c:v>
                </c:pt>
                <c:pt idx="36">
                  <c:v>0.1765460220011877</c:v>
                </c:pt>
                <c:pt idx="37">
                  <c:v>0.16488745649121947</c:v>
                </c:pt>
                <c:pt idx="38">
                  <c:v>0.16653928243116697</c:v>
                </c:pt>
                <c:pt idx="39">
                  <c:v>0.17574255194481414</c:v>
                </c:pt>
                <c:pt idx="40">
                  <c:v>0.16079623396241371</c:v>
                </c:pt>
                <c:pt idx="41">
                  <c:v>0.1566483510452206</c:v>
                </c:pt>
                <c:pt idx="42">
                  <c:v>0.15746173323219007</c:v>
                </c:pt>
                <c:pt idx="43">
                  <c:v>0.16378359762970013</c:v>
                </c:pt>
                <c:pt idx="44">
                  <c:v>0.17386832179340034</c:v>
                </c:pt>
                <c:pt idx="45">
                  <c:v>0.18460804654661656</c:v>
                </c:pt>
                <c:pt idx="46">
                  <c:v>0.18584405048336894</c:v>
                </c:pt>
                <c:pt idx="47">
                  <c:v>0.19306401891044497</c:v>
                </c:pt>
                <c:pt idx="48">
                  <c:v>0.19267244600353745</c:v>
                </c:pt>
                <c:pt idx="49">
                  <c:v>0.18553437452433572</c:v>
                </c:pt>
                <c:pt idx="50">
                  <c:v>0.20476378288503372</c:v>
                </c:pt>
                <c:pt idx="51">
                  <c:v>0.2095741036145733</c:v>
                </c:pt>
                <c:pt idx="52">
                  <c:v>0.1963576406063645</c:v>
                </c:pt>
                <c:pt idx="53">
                  <c:v>0.23327874815481625</c:v>
                </c:pt>
                <c:pt idx="54">
                  <c:v>0.174910002555982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6.0"/>
          <c:min val="4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567286888792724"/>
          <c:min val="0.1217683268047006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5326909841706814</c:v>
                </c:pt>
                <c:pt idx="8">
                  <c:v>0.5002315207666795</c:v>
                </c:pt>
                <c:pt idx="9">
                  <c:v>0.4571990040016289</c:v>
                </c:pt>
                <c:pt idx="10">
                  <c:v>0.590640994644994</c:v>
                </c:pt>
                <c:pt idx="11">
                  <c:v>0.659832930798037</c:v>
                </c:pt>
                <c:pt idx="12">
                  <c:v>0.3631041355256602</c:v>
                </c:pt>
                <c:pt idx="13">
                  <c:v>0.5870780329472187</c:v>
                </c:pt>
                <c:pt idx="14">
                  <c:v>0.5496359169338679</c:v>
                </c:pt>
                <c:pt idx="15">
                  <c:v>0.5762222638182919</c:v>
                </c:pt>
                <c:pt idx="16">
                  <c:v>0.23132570527773147</c:v>
                </c:pt>
                <c:pt idx="17">
                  <c:v>0.19593718213971154</c:v>
                </c:pt>
                <c:pt idx="18">
                  <c:v>0.2288089834726513</c:v>
                </c:pt>
                <c:pt idx="19">
                  <c:v>0.29768325387543976</c:v>
                </c:pt>
                <c:pt idx="20">
                  <c:v>0.14064063327325538</c:v>
                </c:pt>
                <c:pt idx="21">
                  <c:v>0.10423336220857972</c:v>
                </c:pt>
                <c:pt idx="22">
                  <c:v>0.1142136992006133</c:v>
                </c:pt>
                <c:pt idx="23">
                  <c:v>0.61991479356786</c:v>
                </c:pt>
                <c:pt idx="24">
                  <c:v>0.5251904694541559</c:v>
                </c:pt>
                <c:pt idx="25">
                  <c:v>0.6405826383196392</c:v>
                </c:pt>
                <c:pt idx="26">
                  <c:v>0.3261993253293926</c:v>
                </c:pt>
                <c:pt idx="27">
                  <c:v>0.3648326102675344</c:v>
                </c:pt>
                <c:pt idx="28">
                  <c:v>0.518415988159142</c:v>
                </c:pt>
                <c:pt idx="29">
                  <c:v>0.6425699162503167</c:v>
                </c:pt>
                <c:pt idx="30">
                  <c:v>0.6249624395055094</c:v>
                </c:pt>
                <c:pt idx="31">
                  <c:v>0.6218945533644984</c:v>
                </c:pt>
                <c:pt idx="32">
                  <c:v>0.3825857218163674</c:v>
                </c:pt>
                <c:pt idx="33">
                  <c:v>0.5597331193852078</c:v>
                </c:pt>
                <c:pt idx="34">
                  <c:v>0.7544039365965387</c:v>
                </c:pt>
                <c:pt idx="35">
                  <c:v>0.9274333949110161</c:v>
                </c:pt>
                <c:pt idx="36">
                  <c:v>0.5761058567021412</c:v>
                </c:pt>
                <c:pt idx="37">
                  <c:v>0.43688924359649633</c:v>
                </c:pt>
                <c:pt idx="38">
                  <c:v>0.4102888467214843</c:v>
                </c:pt>
                <c:pt idx="39">
                  <c:v>0.5097127020932418</c:v>
                </c:pt>
                <c:pt idx="40">
                  <c:v>0.688980374230827</c:v>
                </c:pt>
                <c:pt idx="41">
                  <c:v>0.39865020805260415</c:v>
                </c:pt>
                <c:pt idx="42">
                  <c:v>0.6467512304041464</c:v>
                </c:pt>
                <c:pt idx="43">
                  <c:v>0.5924107776103997</c:v>
                </c:pt>
                <c:pt idx="44">
                  <c:v>0.47942215437985264</c:v>
                </c:pt>
                <c:pt idx="45">
                  <c:v>0.6101234115399192</c:v>
                </c:pt>
                <c:pt idx="46">
                  <c:v>0.7275924636734871</c:v>
                </c:pt>
                <c:pt idx="47">
                  <c:v>0.7308049709584057</c:v>
                </c:pt>
                <c:pt idx="48">
                  <c:v>0.8065326017577756</c:v>
                </c:pt>
                <c:pt idx="49">
                  <c:v>0.7117533244671956</c:v>
                </c:pt>
                <c:pt idx="50">
                  <c:v>0.6823808712302348</c:v>
                </c:pt>
                <c:pt idx="51">
                  <c:v>0.574322991144266</c:v>
                </c:pt>
                <c:pt idx="52">
                  <c:v>0.8398517246711258</c:v>
                </c:pt>
              </c:numCache>
            </c:numRef>
          </c:xVal>
          <c:yVal>
            <c:numRef>
              <c:f>Sheet1!$B$2:$B$54</c:f>
              <c:numCache>
                <c:formatCode>General</c:formatCode>
                <c:ptCount val="53"/>
                <c:pt idx="0">
                  <c:v>0.0</c:v>
                </c:pt>
                <c:pt idx="1">
                  <c:v>0.0</c:v>
                </c:pt>
                <c:pt idx="2">
                  <c:v>0.0</c:v>
                </c:pt>
                <c:pt idx="3">
                  <c:v>0.0</c:v>
                </c:pt>
                <c:pt idx="4">
                  <c:v>0.0</c:v>
                </c:pt>
                <c:pt idx="5">
                  <c:v>0.0</c:v>
                </c:pt>
                <c:pt idx="6">
                  <c:v>0.0</c:v>
                </c:pt>
                <c:pt idx="7">
                  <c:v>0.00020496003279360525</c:v>
                </c:pt>
                <c:pt idx="8">
                  <c:v>0.000471253534401508</c:v>
                </c:pt>
                <c:pt idx="9">
                  <c:v>0.0003386386725364037</c:v>
                </c:pt>
                <c:pt idx="10">
                  <c:v>0.0002875215641173088</c:v>
                </c:pt>
                <c:pt idx="11">
                  <c:v>0.0002891008962127783</c:v>
                </c:pt>
                <c:pt idx="12">
                  <c:v>0.0005750431282346176</c:v>
                </c:pt>
                <c:pt idx="13">
                  <c:v>0.00030525030525030525</c:v>
                </c:pt>
                <c:pt idx="14">
                  <c:v>0.00029761904761904765</c:v>
                </c:pt>
                <c:pt idx="15">
                  <c:v>0.0003322259136212625</c:v>
                </c:pt>
                <c:pt idx="16">
                  <c:v>0.0011337868480725624</c:v>
                </c:pt>
                <c:pt idx="17">
                  <c:v>0.0009420631182289214</c:v>
                </c:pt>
                <c:pt idx="18">
                  <c:v>0.00047281323877068556</c:v>
                </c:pt>
                <c:pt idx="19">
                  <c:v>0.0005165289256198347</c:v>
                </c:pt>
                <c:pt idx="20">
                  <c:v>0.0013876040703052729</c:v>
                </c:pt>
                <c:pt idx="21">
                  <c:v>0.0009896091044037606</c:v>
                </c:pt>
                <c:pt idx="22">
                  <c:v>0.0017809439002671415</c:v>
                </c:pt>
                <c:pt idx="23">
                  <c:v>0.0010167768174885613</c:v>
                </c:pt>
                <c:pt idx="24">
                  <c:v>0.0011092623405435386</c:v>
                </c:pt>
                <c:pt idx="25">
                  <c:v>0.0023228803716608595</c:v>
                </c:pt>
                <c:pt idx="26">
                  <c:v>0.004164187983343248</c:v>
                </c:pt>
                <c:pt idx="27">
                  <c:v>0.0025962786672436176</c:v>
                </c:pt>
                <c:pt idx="28">
                  <c:v>0.001763668430335097</c:v>
                </c:pt>
                <c:pt idx="29">
                  <c:v>0.001855976243504083</c:v>
                </c:pt>
                <c:pt idx="30">
                  <c:v>0.0019831432821021317</c:v>
                </c:pt>
                <c:pt idx="31">
                  <c:v>0.001256281407035176</c:v>
                </c:pt>
                <c:pt idx="32">
                  <c:v>0.002</c:v>
                </c:pt>
                <c:pt idx="33">
                  <c:v>0.002099737532808399</c:v>
                </c:pt>
                <c:pt idx="34">
                  <c:v>0.0020695364238410598</c:v>
                </c:pt>
                <c:pt idx="35">
                  <c:v>0.001876172607879925</c:v>
                </c:pt>
                <c:pt idx="36">
                  <c:v>0.002771618625277162</c:v>
                </c:pt>
                <c:pt idx="37">
                  <c:v>0.0031426775612822125</c:v>
                </c:pt>
                <c:pt idx="38">
                  <c:v>0.003073140749846343</c:v>
                </c:pt>
                <c:pt idx="39">
                  <c:v>0.0028768699654775605</c:v>
                </c:pt>
                <c:pt idx="40">
                  <c:v>0.002379819133745835</c:v>
                </c:pt>
                <c:pt idx="41">
                  <c:v>0.004318618042226488</c:v>
                </c:pt>
                <c:pt idx="42">
                  <c:v>0.003804692454026633</c:v>
                </c:pt>
                <c:pt idx="43">
                  <c:v>0.003404255319148936</c:v>
                </c:pt>
                <c:pt idx="44">
                  <c:v>0.004752004752004752</c:v>
                </c:pt>
                <c:pt idx="45">
                  <c:v>0.004232804232804233</c:v>
                </c:pt>
                <c:pt idx="46">
                  <c:v>0.0036433776253750536</c:v>
                </c:pt>
                <c:pt idx="47">
                  <c:v>0.0034728251432540372</c:v>
                </c:pt>
                <c:pt idx="48">
                  <c:v>0.0033213396069748133</c:v>
                </c:pt>
                <c:pt idx="49">
                  <c:v>0.004279279279279279</c:v>
                </c:pt>
                <c:pt idx="50">
                  <c:v>0.0033950617283950617</c:v>
                </c:pt>
                <c:pt idx="51">
                  <c:v>0.0034501061571125266</c:v>
                </c:pt>
                <c:pt idx="52">
                  <c:v>0.002270515731430424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7336761786342876</c:v>
                </c:pt>
                <c:pt idx="1">
                  <c:v>0.9300844214197523</c:v>
                </c:pt>
                <c:pt idx="2">
                  <c:v>0.9216624184017365</c:v>
                </c:pt>
                <c:pt idx="3">
                  <c:v>0.6450928643662285</c:v>
                </c:pt>
                <c:pt idx="4">
                  <c:v>0.7765958848853542</c:v>
                </c:pt>
                <c:pt idx="5">
                  <c:v>0.9643932439575538</c:v>
                </c:pt>
                <c:pt idx="6">
                  <c:v>0.9013702826972642</c:v>
                </c:pt>
                <c:pt idx="7">
                  <c:v>0.7071147970318639</c:v>
                </c:pt>
                <c:pt idx="8">
                  <c:v>0.94178998158008</c:v>
                </c:pt>
                <c:pt idx="9">
                  <c:v>0.8128031982368694</c:v>
                </c:pt>
                <c:pt idx="10">
                  <c:v>0.7427122564639826</c:v>
                </c:pt>
                <c:pt idx="11">
                  <c:v>0.900732282799538</c:v>
                </c:pt>
                <c:pt idx="12">
                  <c:v>0.644813500732089</c:v>
                </c:pt>
                <c:pt idx="13">
                  <c:v>0.6646563378322985</c:v>
                </c:pt>
                <c:pt idx="14">
                  <c:v>0.5945738766314353</c:v>
                </c:pt>
                <c:pt idx="15">
                  <c:v>0.6632368333850325</c:v>
                </c:pt>
                <c:pt idx="16">
                  <c:v>0.7028486194230914</c:v>
                </c:pt>
                <c:pt idx="17">
                  <c:v>0.465532183782292</c:v>
                </c:pt>
                <c:pt idx="18">
                  <c:v>0.7532818788437967</c:v>
                </c:pt>
                <c:pt idx="19">
                  <c:v>0.8197029516826472</c:v>
                </c:pt>
                <c:pt idx="20">
                  <c:v>0.6688727517526794</c:v>
                </c:pt>
                <c:pt idx="21">
                  <c:v>0.6151882840664257</c:v>
                </c:pt>
                <c:pt idx="22">
                  <c:v>0.6927226861742591</c:v>
                </c:pt>
                <c:pt idx="23">
                  <c:v>0.6989756177300571</c:v>
                </c:pt>
                <c:pt idx="24">
                  <c:v>0.6231652854480826</c:v>
                </c:pt>
                <c:pt idx="25">
                  <c:v>0.5908175523815508</c:v>
                </c:pt>
                <c:pt idx="26">
                  <c:v>0.5572244737952669</c:v>
                </c:pt>
                <c:pt idx="27">
                  <c:v>0.6499666416151587</c:v>
                </c:pt>
                <c:pt idx="28">
                  <c:v>0.6944164085475333</c:v>
                </c:pt>
                <c:pt idx="29">
                  <c:v>0.7146298746216425</c:v>
                </c:pt>
                <c:pt idx="30">
                  <c:v>0.6555756642108888</c:v>
                </c:pt>
                <c:pt idx="31">
                  <c:v>0.7367316790068958</c:v>
                </c:pt>
                <c:pt idx="32">
                  <c:v>0.6386319018205248</c:v>
                </c:pt>
                <c:pt idx="33">
                  <c:v>0.7702498273147594</c:v>
                </c:pt>
                <c:pt idx="34">
                  <c:v>0.7947826905641955</c:v>
                </c:pt>
                <c:pt idx="35">
                  <c:v>0.6413609519708685</c:v>
                </c:pt>
                <c:pt idx="36">
                  <c:v>0.542120007824779</c:v>
                </c:pt>
                <c:pt idx="37">
                  <c:v>0.4679919844089892</c:v>
                </c:pt>
                <c:pt idx="38">
                  <c:v>0.373906572166348</c:v>
                </c:pt>
                <c:pt idx="39">
                  <c:v>0.5409426156941063</c:v>
                </c:pt>
                <c:pt idx="40">
                  <c:v>0.4967813301473694</c:v>
                </c:pt>
                <c:pt idx="41">
                  <c:v>0.5530520617690274</c:v>
                </c:pt>
                <c:pt idx="42">
                  <c:v>0.8077979700414082</c:v>
                </c:pt>
                <c:pt idx="43">
                  <c:v>0.6746716579582687</c:v>
                </c:pt>
                <c:pt idx="44">
                  <c:v>0.6762202939834775</c:v>
                </c:pt>
                <c:pt idx="45">
                  <c:v>0.7411872203877795</c:v>
                </c:pt>
                <c:pt idx="46">
                  <c:v>0.6664725137131483</c:v>
                </c:pt>
                <c:pt idx="47">
                  <c:v>0.5665936513927107</c:v>
                </c:pt>
                <c:pt idx="48">
                  <c:v>0.5684625457711413</c:v>
                </c:pt>
                <c:pt idx="49">
                  <c:v>0.7730292736486487</c:v>
                </c:pt>
                <c:pt idx="50">
                  <c:v>0.8897922221195876</c:v>
                </c:pt>
                <c:pt idx="51">
                  <c:v>0.7392239793520389</c:v>
                </c:pt>
              </c:numCache>
            </c:numRef>
          </c:xVal>
          <c:yVal>
            <c:numRef>
              <c:f>Sheet1!$B$57:$B$108</c:f>
              <c:numCache>
                <c:formatCode>General</c:formatCode>
                <c:ptCount val="52"/>
                <c:pt idx="0">
                  <c:v>0.0033333333333333335</c:v>
                </c:pt>
                <c:pt idx="1">
                  <c:v>0.003014065639651708</c:v>
                </c:pt>
                <c:pt idx="2">
                  <c:v>0.0026041666666666665</c:v>
                </c:pt>
                <c:pt idx="3">
                  <c:v>0.003531489111241907</c:v>
                </c:pt>
                <c:pt idx="4">
                  <c:v>0.0031565656565656565</c:v>
                </c:pt>
                <c:pt idx="5">
                  <c:v>0.0024867889337892445</c:v>
                </c:pt>
                <c:pt idx="6">
                  <c:v>0.0025621316935690495</c:v>
                </c:pt>
                <c:pt idx="7">
                  <c:v>0.003370407819346141</c:v>
                </c:pt>
                <c:pt idx="8">
                  <c:v>0.0034828036569438396</c:v>
                </c:pt>
                <c:pt idx="9">
                  <c:v>0.0038729666924864447</c:v>
                </c:pt>
                <c:pt idx="10">
                  <c:v>0.0046801872074883</c:v>
                </c:pt>
                <c:pt idx="11">
                  <c:v>0.00322820958529923</c:v>
                </c:pt>
                <c:pt idx="12">
                  <c:v>0.004197610590894414</c:v>
                </c:pt>
                <c:pt idx="13">
                  <c:v>0.006634721710283818</c:v>
                </c:pt>
                <c:pt idx="14">
                  <c:v>0.006468797564687975</c:v>
                </c:pt>
                <c:pt idx="15">
                  <c:v>0.0062360801781737195</c:v>
                </c:pt>
                <c:pt idx="16">
                  <c:v>0.005230125523012552</c:v>
                </c:pt>
                <c:pt idx="17">
                  <c:v>0.00813421453990849</c:v>
                </c:pt>
                <c:pt idx="18">
                  <c:v>0.003357582540570789</c:v>
                </c:pt>
                <c:pt idx="19">
                  <c:v>0.003676470588235294</c:v>
                </c:pt>
                <c:pt idx="20">
                  <c:v>0.004608294930875576</c:v>
                </c:pt>
                <c:pt idx="21">
                  <c:v>0.004372267332916927</c:v>
                </c:pt>
                <c:pt idx="22">
                  <c:v>0.003575685339690107</c:v>
                </c:pt>
                <c:pt idx="23">
                  <c:v>0.0037546933667083854</c:v>
                </c:pt>
                <c:pt idx="24">
                  <c:v>0.0032537960954446853</c:v>
                </c:pt>
                <c:pt idx="25">
                  <c:v>0.003865267807840972</c:v>
                </c:pt>
                <c:pt idx="26">
                  <c:v>0.004702194357366771</c:v>
                </c:pt>
                <c:pt idx="27">
                  <c:v>0.0034330554193231977</c:v>
                </c:pt>
                <c:pt idx="28">
                  <c:v>0.003165988240615106</c:v>
                </c:pt>
                <c:pt idx="29">
                  <c:v>0.003246753246753247</c:v>
                </c:pt>
                <c:pt idx="30">
                  <c:v>0.0035211267605633804</c:v>
                </c:pt>
                <c:pt idx="31">
                  <c:v>0.0038071065989847717</c:v>
                </c:pt>
                <c:pt idx="32">
                  <c:v>0.003169572107765452</c:v>
                </c:pt>
                <c:pt idx="33">
                  <c:v>0.003334722801167153</c:v>
                </c:pt>
                <c:pt idx="34">
                  <c:v>0.002997002997002997</c:v>
                </c:pt>
                <c:pt idx="35">
                  <c:v>0.0036714089031665903</c:v>
                </c:pt>
                <c:pt idx="36">
                  <c:v>0.004698512137823023</c:v>
                </c:pt>
                <c:pt idx="37">
                  <c:v>0.006224066390041493</c:v>
                </c:pt>
                <c:pt idx="38">
                  <c:v>0.008391608391608392</c:v>
                </c:pt>
                <c:pt idx="39">
                  <c:v>0.0045377197958026095</c:v>
                </c:pt>
                <c:pt idx="40">
                  <c:v>0.005142857142857143</c:v>
                </c:pt>
                <c:pt idx="41">
                  <c:v>0.004712041884816754</c:v>
                </c:pt>
                <c:pt idx="42">
                  <c:v>0.003432494279176201</c:v>
                </c:pt>
                <c:pt idx="43">
                  <c:v>0.0033181252592285357</c:v>
                </c:pt>
                <c:pt idx="44">
                  <c:v>0.0026375282592313487</c:v>
                </c:pt>
                <c:pt idx="45">
                  <c:v>0.002012072434607646</c:v>
                </c:pt>
                <c:pt idx="46">
                  <c:v>0.0027035145689396217</c:v>
                </c:pt>
                <c:pt idx="47">
                  <c:v>0.002553191489361702</c:v>
                </c:pt>
                <c:pt idx="48">
                  <c:v>0.0027397260273972603</c:v>
                </c:pt>
                <c:pt idx="49">
                  <c:v>0.002079002079002079</c:v>
                </c:pt>
                <c:pt idx="50">
                  <c:v>0.0016028209648982208</c:v>
                </c:pt>
                <c:pt idx="51">
                  <c:v>0.002597402597402597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5351065270251609</c:v>
                </c:pt>
              </c:numCache>
            </c:numRef>
          </c:xVal>
          <c:yVal>
            <c:numRef>
              <c:f>Sheet1!$B$111:$B$112</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5351065270251609</c:v>
                </c:pt>
                <c:pt idx="1">
                  <c:v>0.5351065270251609</c:v>
                </c:pt>
              </c:numCache>
            </c:numRef>
          </c:xVal>
          <c:yVal>
            <c:numRef>
              <c:f>Sheet1!$B$115:$B$116</c:f>
              <c:numCache>
                <c:formatCode>General</c:formatCode>
                <c:ptCount val="2"/>
                <c:pt idx="0">
                  <c:v>0.0049767329988333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5351065270251609</c:v>
                </c:pt>
              </c:numCache>
            </c:numRef>
          </c:xVal>
          <c:yVal>
            <c:numRef>
              <c:f>Sheet1!$B$119:$B$120</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5351065270251609</c:v>
                </c:pt>
                <c:pt idx="1">
                  <c:v>0.5351065270251609</c:v>
                </c:pt>
              </c:numCache>
            </c:numRef>
          </c:xVal>
          <c:yVal>
            <c:numRef>
              <c:f>Sheet1!$B$123:$B$124</c:f>
              <c:numCache>
                <c:formatCode>General</c:formatCode>
                <c:ptCount val="2"/>
                <c:pt idx="0">
                  <c:v>0.0049767329988333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8072057347884443</c:v>
                </c:pt>
              </c:numCache>
            </c:numRef>
          </c:xVal>
          <c:yVal>
            <c:numRef>
              <c:f>Sheet1!$B$127:$B$128</c:f>
              <c:numCache>
                <c:formatCode>General</c:formatCode>
                <c:ptCount val="2"/>
                <c:pt idx="0">
                  <c:v>0.003082192060209363</c:v>
                </c:pt>
                <c:pt idx="1">
                  <c:v>0.00308219206020936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8072057347884443</c:v>
                </c:pt>
                <c:pt idx="1">
                  <c:v>0.8072057347884443</c:v>
                </c:pt>
              </c:numCache>
            </c:numRef>
          </c:xVal>
          <c:yVal>
            <c:numRef>
              <c:f>Sheet1!$B$131:$B$132</c:f>
              <c:numCache>
                <c:formatCode>General</c:formatCode>
                <c:ptCount val="2"/>
                <c:pt idx="0">
                  <c:v>0.0030821920602093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7336761786342876</c:v>
                </c:pt>
                <c:pt idx="1">
                  <c:v>0.9300844214197523</c:v>
                </c:pt>
                <c:pt idx="2">
                  <c:v>0.9216624184017365</c:v>
                </c:pt>
                <c:pt idx="3">
                  <c:v>0.6450928643662285</c:v>
                </c:pt>
                <c:pt idx="4">
                  <c:v>0.7765958848853542</c:v>
                </c:pt>
                <c:pt idx="5">
                  <c:v>0.9643932439575538</c:v>
                </c:pt>
                <c:pt idx="6">
                  <c:v>0.9013702826972642</c:v>
                </c:pt>
                <c:pt idx="7">
                  <c:v>0.7071147970318639</c:v>
                </c:pt>
                <c:pt idx="8">
                  <c:v>0.94178998158008</c:v>
                </c:pt>
                <c:pt idx="9">
                  <c:v>0.8128031982368694</c:v>
                </c:pt>
                <c:pt idx="10">
                  <c:v>0.7427122564639826</c:v>
                </c:pt>
                <c:pt idx="11">
                  <c:v>0.900732282799538</c:v>
                </c:pt>
                <c:pt idx="12">
                  <c:v>0.644813500732089</c:v>
                </c:pt>
                <c:pt idx="13">
                  <c:v>0.6646563378322985</c:v>
                </c:pt>
                <c:pt idx="14">
                  <c:v>0.5945738766314353</c:v>
                </c:pt>
                <c:pt idx="15">
                  <c:v>0.6632368333850325</c:v>
                </c:pt>
                <c:pt idx="16">
                  <c:v>0.7028486194230914</c:v>
                </c:pt>
                <c:pt idx="17">
                  <c:v>0.465532183782292</c:v>
                </c:pt>
                <c:pt idx="18">
                  <c:v>0.7532818788437967</c:v>
                </c:pt>
                <c:pt idx="19">
                  <c:v>0.8197029516826472</c:v>
                </c:pt>
                <c:pt idx="20">
                  <c:v>0.6688727517526794</c:v>
                </c:pt>
                <c:pt idx="21">
                  <c:v>0.6151882840664257</c:v>
                </c:pt>
                <c:pt idx="22">
                  <c:v>0.6927226861742591</c:v>
                </c:pt>
                <c:pt idx="23">
                  <c:v>0.6989756177300571</c:v>
                </c:pt>
                <c:pt idx="24">
                  <c:v>0.6231652854480826</c:v>
                </c:pt>
                <c:pt idx="25">
                  <c:v>0.5908175523815508</c:v>
                </c:pt>
                <c:pt idx="26">
                  <c:v>0.5572244737952669</c:v>
                </c:pt>
                <c:pt idx="27">
                  <c:v>0.6499666416151587</c:v>
                </c:pt>
                <c:pt idx="28">
                  <c:v>0.6944164085475333</c:v>
                </c:pt>
                <c:pt idx="29">
                  <c:v>0.7146298746216425</c:v>
                </c:pt>
                <c:pt idx="30">
                  <c:v>0.6555756642108888</c:v>
                </c:pt>
                <c:pt idx="31">
                  <c:v>0.7367316790068958</c:v>
                </c:pt>
                <c:pt idx="32">
                  <c:v>0.6386319018205248</c:v>
                </c:pt>
                <c:pt idx="33">
                  <c:v>0.7702498273147594</c:v>
                </c:pt>
                <c:pt idx="34">
                  <c:v>0.7947826905641955</c:v>
                </c:pt>
                <c:pt idx="35">
                  <c:v>0.6413609519708685</c:v>
                </c:pt>
                <c:pt idx="36">
                  <c:v>0.542120007824779</c:v>
                </c:pt>
                <c:pt idx="37">
                  <c:v>0.4679919844089892</c:v>
                </c:pt>
                <c:pt idx="38">
                  <c:v>0.373906572166348</c:v>
                </c:pt>
                <c:pt idx="39">
                  <c:v>0.5409426156941063</c:v>
                </c:pt>
                <c:pt idx="40">
                  <c:v>0.4967813301473694</c:v>
                </c:pt>
                <c:pt idx="41">
                  <c:v>0.5530520617690274</c:v>
                </c:pt>
                <c:pt idx="42">
                  <c:v>0.8077979700414082</c:v>
                </c:pt>
                <c:pt idx="43">
                  <c:v>0.6746716579582687</c:v>
                </c:pt>
                <c:pt idx="44">
                  <c:v>0.6762202939834775</c:v>
                </c:pt>
                <c:pt idx="45">
                  <c:v>0.7411872203877795</c:v>
                </c:pt>
                <c:pt idx="46">
                  <c:v>0.6664725137131483</c:v>
                </c:pt>
                <c:pt idx="47">
                  <c:v>0.5665936513927107</c:v>
                </c:pt>
                <c:pt idx="48">
                  <c:v>0.5684625457711413</c:v>
                </c:pt>
                <c:pt idx="49">
                  <c:v>0.7730292736486487</c:v>
                </c:pt>
                <c:pt idx="50">
                  <c:v>0.8897922221195876</c:v>
                </c:pt>
                <c:pt idx="51">
                  <c:v>0.7392239793520389</c:v>
                </c:pt>
                <c:pt idx="52">
                  <c:v>0.5351065270251609</c:v>
                </c:pt>
                <c:pt idx="53">
                  <c:v>0.5351065270251609</c:v>
                </c:pt>
                <c:pt idx="54">
                  <c:v>0.8072057347884443</c:v>
                </c:pt>
              </c:numCache>
            </c:numRef>
          </c:xVal>
          <c:yVal>
            <c:numRef>
              <c:f>Sheet1!$B$135:$B$189</c:f>
              <c:numCache>
                <c:formatCode>General</c:formatCode>
                <c:ptCount val="55"/>
                <c:pt idx="0">
                  <c:v>0.0035941551617487515</c:v>
                </c:pt>
                <c:pt idx="1">
                  <c:v>0.002226626532396846</c:v>
                </c:pt>
                <c:pt idx="2">
                  <c:v>0.002285266282339547</c:v>
                </c:pt>
                <c:pt idx="3">
                  <c:v>0.00421093283170005</c:v>
                </c:pt>
                <c:pt idx="4">
                  <c:v>0.003295318787932106</c:v>
                </c:pt>
                <c:pt idx="5">
                  <c:v>0.0019877450252136376</c:v>
                </c:pt>
                <c:pt idx="6">
                  <c:v>0.0024265540212501336</c:v>
                </c:pt>
                <c:pt idx="7">
                  <c:v>0.003779093681951955</c:v>
                </c:pt>
                <c:pt idx="8">
                  <c:v>0.002145124410007135</c:v>
                </c:pt>
                <c:pt idx="9">
                  <c:v>0.0030432186881710344</c:v>
                </c:pt>
                <c:pt idx="10">
                  <c:v>0.0035312398026278126</c:v>
                </c:pt>
                <c:pt idx="11">
                  <c:v>0.002430996213254351</c:v>
                </c:pt>
                <c:pt idx="12">
                  <c:v>0.004212877952547665</c:v>
                </c:pt>
                <c:pt idx="13">
                  <c:v>0.004074718538068596</c:v>
                </c:pt>
                <c:pt idx="14">
                  <c:v>0.004562680604977924</c:v>
                </c:pt>
                <c:pt idx="15">
                  <c:v>0.00408460209969309</c:v>
                </c:pt>
                <c:pt idx="16">
                  <c:v>0.0038087977306983656</c:v>
                </c:pt>
                <c:pt idx="17">
                  <c:v>0.005461157200708142</c:v>
                </c:pt>
                <c:pt idx="18">
                  <c:v>0.003457646856624917</c:v>
                </c:pt>
                <c:pt idx="19">
                  <c:v>0.0029951778817427777</c:v>
                </c:pt>
                <c:pt idx="20">
                  <c:v>0.004045360978184427</c:v>
                </c:pt>
                <c:pt idx="21">
                  <c:v>0.004419148989681785</c:v>
                </c:pt>
                <c:pt idx="22">
                  <c:v>0.003879301409262457</c:v>
                </c:pt>
                <c:pt idx="23">
                  <c:v>0.003835764219587216</c:v>
                </c:pt>
                <c:pt idx="24">
                  <c:v>0.004363607645738745</c:v>
                </c:pt>
                <c:pt idx="25">
                  <c:v>0.004588834705640883</c:v>
                </c:pt>
                <c:pt idx="26">
                  <c:v>0.004822732713500925</c:v>
                </c:pt>
                <c:pt idx="27">
                  <c:v>0.004176998258351841</c:v>
                </c:pt>
                <c:pt idx="28">
                  <c:v>0.0038675085547326387</c:v>
                </c:pt>
                <c:pt idx="29">
                  <c:v>0.0037267685676386575</c:v>
                </c:pt>
                <c:pt idx="30">
                  <c:v>0.004137944403617644</c:v>
                </c:pt>
                <c:pt idx="31">
                  <c:v>0.0035728806766391757</c:v>
                </c:pt>
                <c:pt idx="32">
                  <c:v>0.0042559184755259615</c:v>
                </c:pt>
                <c:pt idx="33">
                  <c:v>0.0033395043846678966</c:v>
                </c:pt>
                <c:pt idx="34">
                  <c:v>0.003168689797775916</c:v>
                </c:pt>
                <c:pt idx="35">
                  <c:v>0.0042369169603216905</c:v>
                </c:pt>
                <c:pt idx="36">
                  <c:v>0.004927900344720334</c:v>
                </c:pt>
                <c:pt idx="37">
                  <c:v>0.0054440303849910415</c:v>
                </c:pt>
                <c:pt idx="38">
                  <c:v>0.006099117427273312</c:v>
                </c:pt>
                <c:pt idx="39">
                  <c:v>0.004936098154668805</c:v>
                </c:pt>
                <c:pt idx="40">
                  <c:v>0.005243579253413285</c:v>
                </c:pt>
                <c:pt idx="41">
                  <c:v>0.004851783902078419</c:v>
                </c:pt>
                <c:pt idx="42">
                  <c:v>0.00307806851298826</c:v>
                </c:pt>
                <c:pt idx="43">
                  <c:v>0.004004985023781475</c:v>
                </c:pt>
                <c:pt idx="44">
                  <c:v>0.0039942023597197025</c:v>
                </c:pt>
                <c:pt idx="45">
                  <c:v>0.0035418581476902456</c:v>
                </c:pt>
                <c:pt idx="46">
                  <c:v>0.004062073078398589</c:v>
                </c:pt>
                <c:pt idx="47">
                  <c:v>0.004757498085787352</c:v>
                </c:pt>
                <c:pt idx="48">
                  <c:v>0.004744485563850936</c:v>
                </c:pt>
                <c:pt idx="49">
                  <c:v>0.0033201519767371733</c:v>
                </c:pt>
                <c:pt idx="50">
                  <c:v>0.0025071684042709003</c:v>
                </c:pt>
                <c:pt idx="51">
                  <c:v>0.003555527575635927</c:v>
                </c:pt>
                <c:pt idx="52">
                  <c:v>0.004976732998833349</c:v>
                </c:pt>
                <c:pt idx="53">
                  <c:v>0.004976732998833349</c:v>
                </c:pt>
                <c:pt idx="54">
                  <c:v>0.00308219206020936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69930069930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20496003279360525</c:v>
                </c:pt>
                <c:pt idx="8">
                  <c:v>0.000471253534401508</c:v>
                </c:pt>
                <c:pt idx="9">
                  <c:v>0.0003386386725364037</c:v>
                </c:pt>
                <c:pt idx="10">
                  <c:v>0.0002875215641173088</c:v>
                </c:pt>
                <c:pt idx="11">
                  <c:v>0.0002891008962127783</c:v>
                </c:pt>
                <c:pt idx="12">
                  <c:v>0.0005750431282346176</c:v>
                </c:pt>
                <c:pt idx="13">
                  <c:v>0.00030525030525030525</c:v>
                </c:pt>
                <c:pt idx="14">
                  <c:v>0.00029761904761904765</c:v>
                </c:pt>
                <c:pt idx="15">
                  <c:v>0.0003322259136212625</c:v>
                </c:pt>
                <c:pt idx="16">
                  <c:v>0.0011337868480725624</c:v>
                </c:pt>
                <c:pt idx="17">
                  <c:v>0.0009420631182289214</c:v>
                </c:pt>
                <c:pt idx="18">
                  <c:v>0.00047281323877068556</c:v>
                </c:pt>
                <c:pt idx="19">
                  <c:v>0.0005165289256198347</c:v>
                </c:pt>
                <c:pt idx="20">
                  <c:v>0.0013876040703052729</c:v>
                </c:pt>
                <c:pt idx="21">
                  <c:v>0.0009896091044037606</c:v>
                </c:pt>
                <c:pt idx="22">
                  <c:v>0.0017809439002671415</c:v>
                </c:pt>
                <c:pt idx="23">
                  <c:v>0.0010167768174885613</c:v>
                </c:pt>
                <c:pt idx="24">
                  <c:v>0.0011092623405435386</c:v>
                </c:pt>
                <c:pt idx="25">
                  <c:v>0.0023228803716608595</c:v>
                </c:pt>
                <c:pt idx="26">
                  <c:v>0.004164187983343248</c:v>
                </c:pt>
                <c:pt idx="27">
                  <c:v>0.0025962786672436176</c:v>
                </c:pt>
                <c:pt idx="28">
                  <c:v>0.001763668430335097</c:v>
                </c:pt>
                <c:pt idx="29">
                  <c:v>0.001855976243504083</c:v>
                </c:pt>
                <c:pt idx="30">
                  <c:v>0.0019831432821021317</c:v>
                </c:pt>
                <c:pt idx="31">
                  <c:v>0.001256281407035176</c:v>
                </c:pt>
                <c:pt idx="32">
                  <c:v>0.002</c:v>
                </c:pt>
                <c:pt idx="33">
                  <c:v>0.002099737532808399</c:v>
                </c:pt>
                <c:pt idx="34">
                  <c:v>0.0020695364238410598</c:v>
                </c:pt>
                <c:pt idx="35">
                  <c:v>0.001876172607879925</c:v>
                </c:pt>
                <c:pt idx="36">
                  <c:v>0.002771618625277162</c:v>
                </c:pt>
                <c:pt idx="37">
                  <c:v>0.0031426775612822125</c:v>
                </c:pt>
                <c:pt idx="38">
                  <c:v>0.003073140749846343</c:v>
                </c:pt>
                <c:pt idx="39">
                  <c:v>0.0028768699654775605</c:v>
                </c:pt>
                <c:pt idx="40">
                  <c:v>0.002379819133745835</c:v>
                </c:pt>
                <c:pt idx="41">
                  <c:v>0.004318618042226488</c:v>
                </c:pt>
                <c:pt idx="42">
                  <c:v>0.003804692454026633</c:v>
                </c:pt>
                <c:pt idx="43">
                  <c:v>0.003404255319148936</c:v>
                </c:pt>
                <c:pt idx="44">
                  <c:v>0.004752004752004752</c:v>
                </c:pt>
                <c:pt idx="45">
                  <c:v>0.004232804232804233</c:v>
                </c:pt>
                <c:pt idx="46">
                  <c:v>0.0036433776253750536</c:v>
                </c:pt>
                <c:pt idx="47">
                  <c:v>0.0034728251432540372</c:v>
                </c:pt>
                <c:pt idx="48">
                  <c:v>0.0033213396069748133</c:v>
                </c:pt>
                <c:pt idx="49">
                  <c:v>0.004279279279279279</c:v>
                </c:pt>
                <c:pt idx="50">
                  <c:v>0.0033950617283950617</c:v>
                </c:pt>
                <c:pt idx="51">
                  <c:v>0.0034501061571125266</c:v>
                </c:pt>
                <c:pt idx="52">
                  <c:v>0.002270515731430424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33333333333333335</c:v>
                </c:pt>
                <c:pt idx="1">
                  <c:v>0.003014065639651708</c:v>
                </c:pt>
                <c:pt idx="2">
                  <c:v>0.0026041666666666665</c:v>
                </c:pt>
                <c:pt idx="3">
                  <c:v>0.003531489111241907</c:v>
                </c:pt>
                <c:pt idx="4">
                  <c:v>0.0031565656565656565</c:v>
                </c:pt>
                <c:pt idx="5">
                  <c:v>0.0024867889337892445</c:v>
                </c:pt>
                <c:pt idx="6">
                  <c:v>0.0025621316935690495</c:v>
                </c:pt>
                <c:pt idx="7">
                  <c:v>0.003370407819346141</c:v>
                </c:pt>
                <c:pt idx="8">
                  <c:v>0.0034828036569438396</c:v>
                </c:pt>
                <c:pt idx="9">
                  <c:v>0.0038729666924864447</c:v>
                </c:pt>
                <c:pt idx="10">
                  <c:v>0.0046801872074883</c:v>
                </c:pt>
                <c:pt idx="11">
                  <c:v>0.00322820958529923</c:v>
                </c:pt>
                <c:pt idx="12">
                  <c:v>0.004197610590894414</c:v>
                </c:pt>
                <c:pt idx="13">
                  <c:v>0.006634721710283818</c:v>
                </c:pt>
                <c:pt idx="14">
                  <c:v>0.006468797564687975</c:v>
                </c:pt>
                <c:pt idx="15">
                  <c:v>0.0062360801781737195</c:v>
                </c:pt>
                <c:pt idx="16">
                  <c:v>0.005230125523012552</c:v>
                </c:pt>
                <c:pt idx="17">
                  <c:v>0.00813421453990849</c:v>
                </c:pt>
                <c:pt idx="18">
                  <c:v>0.003357582540570789</c:v>
                </c:pt>
                <c:pt idx="19">
                  <c:v>0.003676470588235294</c:v>
                </c:pt>
                <c:pt idx="20">
                  <c:v>0.004608294930875576</c:v>
                </c:pt>
                <c:pt idx="21">
                  <c:v>0.004372267332916927</c:v>
                </c:pt>
                <c:pt idx="22">
                  <c:v>0.003575685339690107</c:v>
                </c:pt>
                <c:pt idx="23">
                  <c:v>0.0037546933667083854</c:v>
                </c:pt>
                <c:pt idx="24">
                  <c:v>0.0032537960954446853</c:v>
                </c:pt>
                <c:pt idx="25">
                  <c:v>0.003865267807840972</c:v>
                </c:pt>
                <c:pt idx="26">
                  <c:v>0.004702194357366771</c:v>
                </c:pt>
                <c:pt idx="27">
                  <c:v>0.0034330554193231977</c:v>
                </c:pt>
                <c:pt idx="28">
                  <c:v>0.003165988240615106</c:v>
                </c:pt>
                <c:pt idx="29">
                  <c:v>0.003246753246753247</c:v>
                </c:pt>
                <c:pt idx="30">
                  <c:v>0.0035211267605633804</c:v>
                </c:pt>
                <c:pt idx="31">
                  <c:v>0.0038071065989847717</c:v>
                </c:pt>
                <c:pt idx="32">
                  <c:v>0.003169572107765452</c:v>
                </c:pt>
                <c:pt idx="33">
                  <c:v>0.003334722801167153</c:v>
                </c:pt>
                <c:pt idx="34">
                  <c:v>0.002997002997002997</c:v>
                </c:pt>
                <c:pt idx="35">
                  <c:v>0.0036714089031665903</c:v>
                </c:pt>
                <c:pt idx="36">
                  <c:v>0.004698512137823023</c:v>
                </c:pt>
                <c:pt idx="37">
                  <c:v>0.006224066390041493</c:v>
                </c:pt>
                <c:pt idx="38">
                  <c:v>0.008391608391608392</c:v>
                </c:pt>
                <c:pt idx="39">
                  <c:v>0.0045377197958026095</c:v>
                </c:pt>
                <c:pt idx="40">
                  <c:v>0.005142857142857143</c:v>
                </c:pt>
                <c:pt idx="41">
                  <c:v>0.004712041884816754</c:v>
                </c:pt>
                <c:pt idx="42">
                  <c:v>0.003432494279176201</c:v>
                </c:pt>
                <c:pt idx="43">
                  <c:v>0.0033181252592285357</c:v>
                </c:pt>
                <c:pt idx="44">
                  <c:v>0.0026375282592313487</c:v>
                </c:pt>
                <c:pt idx="45">
                  <c:v>0.002012072434607646</c:v>
                </c:pt>
                <c:pt idx="46">
                  <c:v>0.0027035145689396217</c:v>
                </c:pt>
                <c:pt idx="47">
                  <c:v>0.002553191489361702</c:v>
                </c:pt>
                <c:pt idx="48">
                  <c:v>0.0027397260273972603</c:v>
                </c:pt>
                <c:pt idx="49">
                  <c:v>0.002079002079002079</c:v>
                </c:pt>
                <c:pt idx="50">
                  <c:v>0.0016028209648982208</c:v>
                </c:pt>
                <c:pt idx="51">
                  <c:v>0.002597402597402597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13.5856732759953</c:v>
                </c:pt>
              </c:numCache>
            </c:numRef>
          </c:xVal>
          <c:yVal>
            <c:numRef>
              <c:f>Sheet1!$B$111:$B$112</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13.5856732759953</c:v>
                </c:pt>
                <c:pt idx="1">
                  <c:v>3613.5856732759953</c:v>
                </c:pt>
              </c:numCache>
            </c:numRef>
          </c:xVal>
          <c:yVal>
            <c:numRef>
              <c:f>Sheet1!$B$115:$B$116</c:f>
              <c:numCache>
                <c:formatCode>General</c:formatCode>
                <c:ptCount val="2"/>
                <c:pt idx="0">
                  <c:v>0.0049767329988333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13.5856732759953</c:v>
                </c:pt>
              </c:numCache>
            </c:numRef>
          </c:xVal>
          <c:yVal>
            <c:numRef>
              <c:f>Sheet1!$B$119:$B$120</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13.5856732759953</c:v>
                </c:pt>
                <c:pt idx="1">
                  <c:v>3613.5856732759953</c:v>
                </c:pt>
              </c:numCache>
            </c:numRef>
          </c:xVal>
          <c:yVal>
            <c:numRef>
              <c:f>Sheet1!$B$123:$B$124</c:f>
              <c:numCache>
                <c:formatCode>General</c:formatCode>
                <c:ptCount val="2"/>
                <c:pt idx="0">
                  <c:v>0.0049767329988333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47.253846148547</c:v>
                </c:pt>
              </c:numCache>
            </c:numRef>
          </c:xVal>
          <c:yVal>
            <c:numRef>
              <c:f>Sheet1!$B$127:$B$128</c:f>
              <c:numCache>
                <c:formatCode>General</c:formatCode>
                <c:ptCount val="2"/>
                <c:pt idx="0">
                  <c:v>0.003082192060209363</c:v>
                </c:pt>
                <c:pt idx="1">
                  <c:v>0.00308219206020936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47.253846148547</c:v>
                </c:pt>
                <c:pt idx="1">
                  <c:v>4647.253846148547</c:v>
                </c:pt>
              </c:numCache>
            </c:numRef>
          </c:xVal>
          <c:yVal>
            <c:numRef>
              <c:f>Sheet1!$B$131:$B$132</c:f>
              <c:numCache>
                <c:formatCode>General</c:formatCode>
                <c:ptCount val="2"/>
                <c:pt idx="0">
                  <c:v>0.0030821920602093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13.5856732759953</c:v>
                </c:pt>
                <c:pt idx="53">
                  <c:v>3613.5856732759953</c:v>
                </c:pt>
                <c:pt idx="54">
                  <c:v>4647.253846148547</c:v>
                </c:pt>
              </c:numCache>
            </c:numRef>
          </c:xVal>
          <c:yVal>
            <c:numRef>
              <c:f>Sheet1!$B$135:$B$189</c:f>
              <c:numCache>
                <c:formatCode>General</c:formatCode>
                <c:ptCount val="55"/>
                <c:pt idx="0">
                  <c:v>0.005026626507803711</c:v>
                </c:pt>
                <c:pt idx="1">
                  <c:v>0.0032294875700301026</c:v>
                </c:pt>
                <c:pt idx="2">
                  <c:v>0.003227654737223265</c:v>
                </c:pt>
                <c:pt idx="3">
                  <c:v>0.00560784271737787</c:v>
                </c:pt>
                <c:pt idx="4">
                  <c:v>0.0038885539029245002</c:v>
                </c:pt>
                <c:pt idx="5">
                  <c:v>0.0023939703905893374</c:v>
                </c:pt>
                <c:pt idx="6">
                  <c:v>0.0034497737289677435</c:v>
                </c:pt>
                <c:pt idx="7">
                  <c:v>0.004176858503439948</c:v>
                </c:pt>
                <c:pt idx="8">
                  <c:v>0.0032696062640556744</c:v>
                </c:pt>
                <c:pt idx="9">
                  <c:v>0.0043333824251438205</c:v>
                </c:pt>
                <c:pt idx="10">
                  <c:v>0.00424024391024863</c:v>
                </c:pt>
                <c:pt idx="11">
                  <c:v>0.0035680761218844</c:v>
                </c:pt>
                <c:pt idx="12">
                  <c:v>0.005003747989009088</c:v>
                </c:pt>
                <c:pt idx="13">
                  <c:v>0.0052034485029934605</c:v>
                </c:pt>
                <c:pt idx="14">
                  <c:v>0.0055877084991449244</c:v>
                </c:pt>
                <c:pt idx="15">
                  <c:v>0.004435026017395856</c:v>
                </c:pt>
                <c:pt idx="16">
                  <c:v>0.0038799395887323673</c:v>
                </c:pt>
                <c:pt idx="17">
                  <c:v>0.006274764754965652</c:v>
                </c:pt>
                <c:pt idx="18">
                  <c:v>0.0030768532861088996</c:v>
                </c:pt>
                <c:pt idx="19">
                  <c:v>0.002809565229539608</c:v>
                </c:pt>
                <c:pt idx="20">
                  <c:v>0.003409817973778699</c:v>
                </c:pt>
                <c:pt idx="21">
                  <c:v>0.0035597174878688204</c:v>
                </c:pt>
                <c:pt idx="22">
                  <c:v>0.003294960390122491</c:v>
                </c:pt>
                <c:pt idx="23">
                  <c:v>0.004154558976529004</c:v>
                </c:pt>
                <c:pt idx="24">
                  <c:v>0.003495350232525514</c:v>
                </c:pt>
                <c:pt idx="25">
                  <c:v>0.004228177822031381</c:v>
                </c:pt>
                <c:pt idx="26">
                  <c:v>0.004688626111997126</c:v>
                </c:pt>
                <c:pt idx="27">
                  <c:v>0.003862920453137921</c:v>
                </c:pt>
                <c:pt idx="28">
                  <c:v>0.0034164948004107246</c:v>
                </c:pt>
                <c:pt idx="29">
                  <c:v>0.0028590517153242057</c:v>
                </c:pt>
                <c:pt idx="30">
                  <c:v>0.003222869027481333</c:v>
                </c:pt>
                <c:pt idx="31">
                  <c:v>0.0030881558161788194</c:v>
                </c:pt>
                <c:pt idx="32">
                  <c:v>0.0038671097590845084</c:v>
                </c:pt>
                <c:pt idx="33">
                  <c:v>0.0030033872988626115</c:v>
                </c:pt>
                <c:pt idx="34">
                  <c:v>0.003244761115659316</c:v>
                </c:pt>
                <c:pt idx="35">
                  <c:v>0.0030977781884147133</c:v>
                </c:pt>
                <c:pt idx="36">
                  <c:v>0.003847254131438202</c:v>
                </c:pt>
                <c:pt idx="37">
                  <c:v>0.004653191405492706</c:v>
                </c:pt>
                <c:pt idx="38">
                  <c:v>0.005731253398610461</c:v>
                </c:pt>
                <c:pt idx="39">
                  <c:v>0.004528304194150927</c:v>
                </c:pt>
                <c:pt idx="40">
                  <c:v>0.005076575783872034</c:v>
                </c:pt>
                <c:pt idx="41">
                  <c:v>0.005109770402119938</c:v>
                </c:pt>
                <c:pt idx="42">
                  <c:v>0.001492369324598385</c:v>
                </c:pt>
                <c:pt idx="43">
                  <c:v>0.002614139431510622</c:v>
                </c:pt>
                <c:pt idx="44">
                  <c:v>0.003497401172436366</c:v>
                </c:pt>
                <c:pt idx="45">
                  <c:v>0.002643039355925546</c:v>
                </c:pt>
                <c:pt idx="46">
                  <c:v>0.0036585740745547803</c:v>
                </c:pt>
                <c:pt idx="47">
                  <c:v>0.0045623642760502185</c:v>
                </c:pt>
                <c:pt idx="48">
                  <c:v>0.004516299139266144</c:v>
                </c:pt>
                <c:pt idx="49">
                  <c:v>0.00321217756386921</c:v>
                </c:pt>
                <c:pt idx="50">
                  <c:v>0.002892225989127953</c:v>
                </c:pt>
                <c:pt idx="51">
                  <c:v>0.003908531780519024</c:v>
                </c:pt>
                <c:pt idx="52">
                  <c:v>0.004976732998833348</c:v>
                </c:pt>
                <c:pt idx="53">
                  <c:v>0.004976732998833348</c:v>
                </c:pt>
                <c:pt idx="54">
                  <c:v>0.00308219206020936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69930069930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0.7056918944326258</c:v>
                </c:pt>
                <c:pt idx="8">
                  <c:v>0.6503972758229285</c:v>
                </c:pt>
                <c:pt idx="9">
                  <c:v>0.5701469758601376</c:v>
                </c:pt>
                <c:pt idx="10">
                  <c:v>0.8574188739682687</c:v>
                </c:pt>
                <c:pt idx="11">
                  <c:v>0.925793121920933</c:v>
                </c:pt>
                <c:pt idx="12">
                  <c:v>0.5119251515201859</c:v>
                </c:pt>
                <c:pt idx="13">
                  <c:v>0.8398764578246908</c:v>
                </c:pt>
                <c:pt idx="14">
                  <c:v>0.8488660144705086</c:v>
                </c:pt>
                <c:pt idx="15">
                  <c:v>0.7990712019327747</c:v>
                </c:pt>
                <c:pt idx="16">
                  <c:v>0.3529769239105995</c:v>
                </c:pt>
                <c:pt idx="17">
                  <c:v>0.3645795642596784</c:v>
                </c:pt>
                <c:pt idx="18">
                  <c:v>0.4215147973382881</c:v>
                </c:pt>
                <c:pt idx="19">
                  <c:v>0.45465002226352924</c:v>
                </c:pt>
                <c:pt idx="20">
                  <c:v>0.22840569899890872</c:v>
                </c:pt>
                <c:pt idx="21">
                  <c:v>0.1503043847088384</c:v>
                </c:pt>
                <c:pt idx="22">
                  <c:v>0.1822145317526462</c:v>
                </c:pt>
                <c:pt idx="23">
                  <c:v>0.9733756484644703</c:v>
                </c:pt>
                <c:pt idx="24">
                  <c:v>0.956844163296259</c:v>
                </c:pt>
                <c:pt idx="25">
                  <c:v>0.9775230853031904</c:v>
                </c:pt>
                <c:pt idx="26">
                  <c:v>0.6644944470239295</c:v>
                </c:pt>
                <c:pt idx="27">
                  <c:v>0.6724540872790072</c:v>
                </c:pt>
                <c:pt idx="28">
                  <c:v>0.9332114421236489</c:v>
                </c:pt>
                <c:pt idx="29">
                  <c:v>1.1362465165201756</c:v>
                </c:pt>
                <c:pt idx="30">
                  <c:v>1.1400691744609415</c:v>
                </c:pt>
                <c:pt idx="31">
                  <c:v>1.1449598308596962</c:v>
                </c:pt>
                <c:pt idx="32">
                  <c:v>0.9076012414593663</c:v>
                </c:pt>
                <c:pt idx="33">
                  <c:v>0.8812899779776255</c:v>
                </c:pt>
                <c:pt idx="34">
                  <c:v>1.0034434888703023</c:v>
                </c:pt>
                <c:pt idx="35">
                  <c:v>1.1868169323444162</c:v>
                </c:pt>
                <c:pt idx="36">
                  <c:v>0.8391196041187903</c:v>
                </c:pt>
                <c:pt idx="37">
                  <c:v>0.7745181292435429</c:v>
                </c:pt>
                <c:pt idx="38">
                  <c:v>0.6943068503277561</c:v>
                </c:pt>
                <c:pt idx="39">
                  <c:v>0.8328945373454609</c:v>
                </c:pt>
                <c:pt idx="40">
                  <c:v>0.9710134214572806</c:v>
                </c:pt>
                <c:pt idx="41">
                  <c:v>0.6895728570627232</c:v>
                </c:pt>
                <c:pt idx="42">
                  <c:v>1.010960969668851</c:v>
                </c:pt>
                <c:pt idx="43">
                  <c:v>1.1946412162910907</c:v>
                </c:pt>
                <c:pt idx="44">
                  <c:v>0.87225319154599</c:v>
                </c:pt>
                <c:pt idx="45">
                  <c:v>1.0566864938294656</c:v>
                </c:pt>
                <c:pt idx="46">
                  <c:v>1.2863899672985943</c:v>
                </c:pt>
                <c:pt idx="47">
                  <c:v>1.3863237956449166</c:v>
                </c:pt>
                <c:pt idx="48">
                  <c:v>1.4161822270302593</c:v>
                </c:pt>
                <c:pt idx="49">
                  <c:v>1.1814471694737374</c:v>
                </c:pt>
                <c:pt idx="50">
                  <c:v>1.171090682592466</c:v>
                </c:pt>
                <c:pt idx="51">
                  <c:v>0.9107363946972142</c:v>
                </c:pt>
                <c:pt idx="52">
                  <c:v>1.3251583977110157</c:v>
                </c:pt>
              </c:numCache>
            </c:numRef>
          </c:xVal>
          <c:yVal>
            <c:numRef>
              <c:f>Sheet1!$B$2:$B$54</c:f>
              <c:numCache>
                <c:formatCode>General</c:formatCode>
                <c:ptCount val="53"/>
                <c:pt idx="0">
                  <c:v>0.0</c:v>
                </c:pt>
                <c:pt idx="1">
                  <c:v>0.0</c:v>
                </c:pt>
                <c:pt idx="2">
                  <c:v>0.0</c:v>
                </c:pt>
                <c:pt idx="3">
                  <c:v>0.0</c:v>
                </c:pt>
                <c:pt idx="4">
                  <c:v>0.0</c:v>
                </c:pt>
                <c:pt idx="5">
                  <c:v>0.0</c:v>
                </c:pt>
                <c:pt idx="6">
                  <c:v>0.0</c:v>
                </c:pt>
                <c:pt idx="7">
                  <c:v>0.00020496003279360525</c:v>
                </c:pt>
                <c:pt idx="8">
                  <c:v>0.000471253534401508</c:v>
                </c:pt>
                <c:pt idx="9">
                  <c:v>0.0003386386725364037</c:v>
                </c:pt>
                <c:pt idx="10">
                  <c:v>0.0002875215641173088</c:v>
                </c:pt>
                <c:pt idx="11">
                  <c:v>0.0002891008962127783</c:v>
                </c:pt>
                <c:pt idx="12">
                  <c:v>0.0005750431282346176</c:v>
                </c:pt>
                <c:pt idx="13">
                  <c:v>0.00030525030525030525</c:v>
                </c:pt>
                <c:pt idx="14">
                  <c:v>0.00029761904761904765</c:v>
                </c:pt>
                <c:pt idx="15">
                  <c:v>0.0003322259136212625</c:v>
                </c:pt>
                <c:pt idx="16">
                  <c:v>0.0011337868480725624</c:v>
                </c:pt>
                <c:pt idx="17">
                  <c:v>0.0009420631182289214</c:v>
                </c:pt>
                <c:pt idx="18">
                  <c:v>0.00047281323877068556</c:v>
                </c:pt>
                <c:pt idx="19">
                  <c:v>0.0005165289256198347</c:v>
                </c:pt>
                <c:pt idx="20">
                  <c:v>0.0013876040703052729</c:v>
                </c:pt>
                <c:pt idx="21">
                  <c:v>0.0009896091044037606</c:v>
                </c:pt>
                <c:pt idx="22">
                  <c:v>0.0017809439002671415</c:v>
                </c:pt>
                <c:pt idx="23">
                  <c:v>0.0010167768174885613</c:v>
                </c:pt>
                <c:pt idx="24">
                  <c:v>0.0011092623405435386</c:v>
                </c:pt>
                <c:pt idx="25">
                  <c:v>0.0023228803716608595</c:v>
                </c:pt>
                <c:pt idx="26">
                  <c:v>0.004164187983343248</c:v>
                </c:pt>
                <c:pt idx="27">
                  <c:v>0.0025962786672436176</c:v>
                </c:pt>
                <c:pt idx="28">
                  <c:v>0.001763668430335097</c:v>
                </c:pt>
                <c:pt idx="29">
                  <c:v>0.001855976243504083</c:v>
                </c:pt>
                <c:pt idx="30">
                  <c:v>0.0019831432821021317</c:v>
                </c:pt>
                <c:pt idx="31">
                  <c:v>0.001256281407035176</c:v>
                </c:pt>
                <c:pt idx="32">
                  <c:v>0.002</c:v>
                </c:pt>
                <c:pt idx="33">
                  <c:v>0.002099737532808399</c:v>
                </c:pt>
                <c:pt idx="34">
                  <c:v>0.0020695364238410598</c:v>
                </c:pt>
                <c:pt idx="35">
                  <c:v>0.001876172607879925</c:v>
                </c:pt>
                <c:pt idx="36">
                  <c:v>0.002771618625277162</c:v>
                </c:pt>
                <c:pt idx="37">
                  <c:v>0.0031426775612822125</c:v>
                </c:pt>
                <c:pt idx="38">
                  <c:v>0.003073140749846343</c:v>
                </c:pt>
                <c:pt idx="39">
                  <c:v>0.0028768699654775605</c:v>
                </c:pt>
                <c:pt idx="40">
                  <c:v>0.002379819133745835</c:v>
                </c:pt>
                <c:pt idx="41">
                  <c:v>0.004318618042226488</c:v>
                </c:pt>
                <c:pt idx="42">
                  <c:v>0.003804692454026633</c:v>
                </c:pt>
                <c:pt idx="43">
                  <c:v>0.003404255319148936</c:v>
                </c:pt>
                <c:pt idx="44">
                  <c:v>0.004752004752004752</c:v>
                </c:pt>
                <c:pt idx="45">
                  <c:v>0.004232804232804233</c:v>
                </c:pt>
                <c:pt idx="46">
                  <c:v>0.0036433776253750536</c:v>
                </c:pt>
                <c:pt idx="47">
                  <c:v>0.0034728251432540372</c:v>
                </c:pt>
                <c:pt idx="48">
                  <c:v>0.0033213396069748133</c:v>
                </c:pt>
                <c:pt idx="49">
                  <c:v>0.004279279279279279</c:v>
                </c:pt>
                <c:pt idx="50">
                  <c:v>0.0033950617283950617</c:v>
                </c:pt>
                <c:pt idx="51">
                  <c:v>0.0034501061571125266</c:v>
                </c:pt>
                <c:pt idx="52">
                  <c:v>0.002270515731430424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0.9959271652832662</c:v>
                </c:pt>
                <c:pt idx="1">
                  <c:v>1.3401744540512344</c:v>
                </c:pt>
                <c:pt idx="2">
                  <c:v>1.3350083594949314</c:v>
                </c:pt>
                <c:pt idx="3">
                  <c:v>1.0646584490698563</c:v>
                </c:pt>
                <c:pt idx="4">
                  <c:v>1.2151622839366913</c:v>
                </c:pt>
                <c:pt idx="5">
                  <c:v>1.3134004157068229</c:v>
                </c:pt>
                <c:pt idx="6">
                  <c:v>1.4419688525388632</c:v>
                </c:pt>
                <c:pt idx="7">
                  <c:v>1.3745680207869981</c:v>
                </c:pt>
                <c:pt idx="8">
                  <c:v>1.343185527759611</c:v>
                </c:pt>
                <c:pt idx="9">
                  <c:v>1.2177670012357051</c:v>
                </c:pt>
                <c:pt idx="10">
                  <c:v>1.2762994335916393</c:v>
                </c:pt>
                <c:pt idx="11">
                  <c:v>1.5694583241602753</c:v>
                </c:pt>
                <c:pt idx="12">
                  <c:v>1.3201083804310716</c:v>
                </c:pt>
                <c:pt idx="13">
                  <c:v>1.2497191712844782</c:v>
                </c:pt>
                <c:pt idx="14">
                  <c:v>1.171098916450621</c:v>
                </c:pt>
                <c:pt idx="15">
                  <c:v>1.235121430368096</c:v>
                </c:pt>
                <c:pt idx="16">
                  <c:v>1.202837016184012</c:v>
                </c:pt>
                <c:pt idx="17">
                  <c:v>0.821108219060467</c:v>
                </c:pt>
                <c:pt idx="18">
                  <c:v>1.2565820447996783</c:v>
                </c:pt>
                <c:pt idx="19">
                  <c:v>1.2564231884793016</c:v>
                </c:pt>
                <c:pt idx="20">
                  <c:v>1.197062820120878</c:v>
                </c:pt>
                <c:pt idx="21">
                  <c:v>1.1878086181655736</c:v>
                </c:pt>
                <c:pt idx="22">
                  <c:v>1.2121796539853333</c:v>
                </c:pt>
                <c:pt idx="23">
                  <c:v>1.1761534567691732</c:v>
                </c:pt>
                <c:pt idx="24">
                  <c:v>1.251726758751597</c:v>
                </c:pt>
                <c:pt idx="25">
                  <c:v>1.1160727602851919</c:v>
                </c:pt>
                <c:pt idx="26">
                  <c:v>0.9763795442775763</c:v>
                </c:pt>
                <c:pt idx="27">
                  <c:v>1.1684564301402385</c:v>
                </c:pt>
                <c:pt idx="28">
                  <c:v>1.3796530171304313</c:v>
                </c:pt>
                <c:pt idx="29">
                  <c:v>1.4234369839611873</c:v>
                </c:pt>
                <c:pt idx="30">
                  <c:v>1.4192336355732207</c:v>
                </c:pt>
                <c:pt idx="31">
                  <c:v>1.164201554274254</c:v>
                </c:pt>
                <c:pt idx="32">
                  <c:v>1.1380309636673027</c:v>
                </c:pt>
                <c:pt idx="33">
                  <c:v>1.0847524658590049</c:v>
                </c:pt>
                <c:pt idx="34">
                  <c:v>1.0971535752461874</c:v>
                </c:pt>
                <c:pt idx="35">
                  <c:v>1.0311259210419064</c:v>
                </c:pt>
                <c:pt idx="36">
                  <c:v>1.0593757951892926</c:v>
                </c:pt>
                <c:pt idx="37">
                  <c:v>0.7735298063217738</c:v>
                </c:pt>
                <c:pt idx="38">
                  <c:v>0.8234925598392085</c:v>
                </c:pt>
                <c:pt idx="39">
                  <c:v>0.9000077771682216</c:v>
                </c:pt>
                <c:pt idx="40">
                  <c:v>0.901883829281736</c:v>
                </c:pt>
                <c:pt idx="41">
                  <c:v>0.8650162957002387</c:v>
                </c:pt>
                <c:pt idx="42">
                  <c:v>1.3524398238264024</c:v>
                </c:pt>
                <c:pt idx="43">
                  <c:v>1.271212271012279</c:v>
                </c:pt>
                <c:pt idx="44">
                  <c:v>1.2388137847831495</c:v>
                </c:pt>
                <c:pt idx="45">
                  <c:v>1.525010830951741</c:v>
                </c:pt>
                <c:pt idx="46">
                  <c:v>1.2904224567776401</c:v>
                </c:pt>
                <c:pt idx="47">
                  <c:v>1.292413767986475</c:v>
                </c:pt>
                <c:pt idx="48">
                  <c:v>1.2530001423274328</c:v>
                </c:pt>
                <c:pt idx="49">
                  <c:v>1.6911633321591641</c:v>
                </c:pt>
                <c:pt idx="50">
                  <c:v>1.7465894925743752</c:v>
                </c:pt>
                <c:pt idx="51">
                  <c:v>1.376127203421862</c:v>
                </c:pt>
              </c:numCache>
            </c:numRef>
          </c:xVal>
          <c:yVal>
            <c:numRef>
              <c:f>Sheet1!$B$57:$B$108</c:f>
              <c:numCache>
                <c:formatCode>General</c:formatCode>
                <c:ptCount val="52"/>
                <c:pt idx="0">
                  <c:v>0.0033333333333333335</c:v>
                </c:pt>
                <c:pt idx="1">
                  <c:v>0.003014065639651708</c:v>
                </c:pt>
                <c:pt idx="2">
                  <c:v>0.0026041666666666665</c:v>
                </c:pt>
                <c:pt idx="3">
                  <c:v>0.003531489111241907</c:v>
                </c:pt>
                <c:pt idx="4">
                  <c:v>0.0031565656565656565</c:v>
                </c:pt>
                <c:pt idx="5">
                  <c:v>0.0024867889337892445</c:v>
                </c:pt>
                <c:pt idx="6">
                  <c:v>0.0025621316935690495</c:v>
                </c:pt>
                <c:pt idx="7">
                  <c:v>0.003370407819346141</c:v>
                </c:pt>
                <c:pt idx="8">
                  <c:v>0.0034828036569438396</c:v>
                </c:pt>
                <c:pt idx="9">
                  <c:v>0.0038729666924864447</c:v>
                </c:pt>
                <c:pt idx="10">
                  <c:v>0.0046801872074883</c:v>
                </c:pt>
                <c:pt idx="11">
                  <c:v>0.00322820958529923</c:v>
                </c:pt>
                <c:pt idx="12">
                  <c:v>0.004197610590894414</c:v>
                </c:pt>
                <c:pt idx="13">
                  <c:v>0.006634721710283818</c:v>
                </c:pt>
                <c:pt idx="14">
                  <c:v>0.006468797564687975</c:v>
                </c:pt>
                <c:pt idx="15">
                  <c:v>0.0062360801781737195</c:v>
                </c:pt>
                <c:pt idx="16">
                  <c:v>0.005230125523012552</c:v>
                </c:pt>
                <c:pt idx="17">
                  <c:v>0.00813421453990849</c:v>
                </c:pt>
                <c:pt idx="18">
                  <c:v>0.003357582540570789</c:v>
                </c:pt>
                <c:pt idx="19">
                  <c:v>0.003676470588235294</c:v>
                </c:pt>
                <c:pt idx="20">
                  <c:v>0.004608294930875576</c:v>
                </c:pt>
                <c:pt idx="21">
                  <c:v>0.004372267332916927</c:v>
                </c:pt>
                <c:pt idx="22">
                  <c:v>0.003575685339690107</c:v>
                </c:pt>
                <c:pt idx="23">
                  <c:v>0.0037546933667083854</c:v>
                </c:pt>
                <c:pt idx="24">
                  <c:v>0.0032537960954446853</c:v>
                </c:pt>
                <c:pt idx="25">
                  <c:v>0.003865267807840972</c:v>
                </c:pt>
                <c:pt idx="26">
                  <c:v>0.004702194357366771</c:v>
                </c:pt>
                <c:pt idx="27">
                  <c:v>0.0034330554193231977</c:v>
                </c:pt>
                <c:pt idx="28">
                  <c:v>0.003165988240615106</c:v>
                </c:pt>
                <c:pt idx="29">
                  <c:v>0.003246753246753247</c:v>
                </c:pt>
                <c:pt idx="30">
                  <c:v>0.0035211267605633804</c:v>
                </c:pt>
                <c:pt idx="31">
                  <c:v>0.0038071065989847717</c:v>
                </c:pt>
                <c:pt idx="32">
                  <c:v>0.003169572107765452</c:v>
                </c:pt>
                <c:pt idx="33">
                  <c:v>0.003334722801167153</c:v>
                </c:pt>
                <c:pt idx="34">
                  <c:v>0.002997002997002997</c:v>
                </c:pt>
                <c:pt idx="35">
                  <c:v>0.0036714089031665903</c:v>
                </c:pt>
                <c:pt idx="36">
                  <c:v>0.004698512137823023</c:v>
                </c:pt>
                <c:pt idx="37">
                  <c:v>0.006224066390041493</c:v>
                </c:pt>
                <c:pt idx="38">
                  <c:v>0.008391608391608392</c:v>
                </c:pt>
                <c:pt idx="39">
                  <c:v>0.0045377197958026095</c:v>
                </c:pt>
                <c:pt idx="40">
                  <c:v>0.005142857142857143</c:v>
                </c:pt>
                <c:pt idx="41">
                  <c:v>0.004712041884816754</c:v>
                </c:pt>
                <c:pt idx="42">
                  <c:v>0.003432494279176201</c:v>
                </c:pt>
                <c:pt idx="43">
                  <c:v>0.0033181252592285357</c:v>
                </c:pt>
                <c:pt idx="44">
                  <c:v>0.0026375282592313487</c:v>
                </c:pt>
                <c:pt idx="45">
                  <c:v>0.002012072434607646</c:v>
                </c:pt>
                <c:pt idx="46">
                  <c:v>0.0027035145689396217</c:v>
                </c:pt>
                <c:pt idx="47">
                  <c:v>0.002553191489361702</c:v>
                </c:pt>
                <c:pt idx="48">
                  <c:v>0.0027397260273972603</c:v>
                </c:pt>
                <c:pt idx="49">
                  <c:v>0.002079002079002079</c:v>
                </c:pt>
                <c:pt idx="50">
                  <c:v>0.0016028209648982208</c:v>
                </c:pt>
                <c:pt idx="51">
                  <c:v>0.002597402597402597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9786357700145717</c:v>
                </c:pt>
              </c:numCache>
            </c:numRef>
          </c:xVal>
          <c:yVal>
            <c:numRef>
              <c:f>Sheet1!$B$111:$B$112</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9786357700145717</c:v>
                </c:pt>
                <c:pt idx="1">
                  <c:v>0.9786357700145717</c:v>
                </c:pt>
              </c:numCache>
            </c:numRef>
          </c:xVal>
          <c:yVal>
            <c:numRef>
              <c:f>Sheet1!$B$115:$B$116</c:f>
              <c:numCache>
                <c:formatCode>General</c:formatCode>
                <c:ptCount val="2"/>
                <c:pt idx="0">
                  <c:v>0.0049767329988333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9786357700145717</c:v>
                </c:pt>
              </c:numCache>
            </c:numRef>
          </c:xVal>
          <c:yVal>
            <c:numRef>
              <c:f>Sheet1!$B$119:$B$120</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9786357700145717</c:v>
                </c:pt>
                <c:pt idx="1">
                  <c:v>0.9786357700145717</c:v>
                </c:pt>
              </c:numCache>
            </c:numRef>
          </c:xVal>
          <c:yVal>
            <c:numRef>
              <c:f>Sheet1!$B$123:$B$124</c:f>
              <c:numCache>
                <c:formatCode>General</c:formatCode>
                <c:ptCount val="2"/>
                <c:pt idx="0">
                  <c:v>0.0049767329988333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1.3891303384079872</c:v>
                </c:pt>
              </c:numCache>
            </c:numRef>
          </c:xVal>
          <c:yVal>
            <c:numRef>
              <c:f>Sheet1!$B$127:$B$128</c:f>
              <c:numCache>
                <c:formatCode>General</c:formatCode>
                <c:ptCount val="2"/>
                <c:pt idx="0">
                  <c:v>0.003082192060209363</c:v>
                </c:pt>
                <c:pt idx="1">
                  <c:v>0.003082192060209363</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1.3891303384079872</c:v>
                </c:pt>
                <c:pt idx="1">
                  <c:v>1.3891303384079872</c:v>
                </c:pt>
              </c:numCache>
            </c:numRef>
          </c:xVal>
          <c:yVal>
            <c:numRef>
              <c:f>Sheet1!$B$131:$B$132</c:f>
              <c:numCache>
                <c:formatCode>General</c:formatCode>
                <c:ptCount val="2"/>
                <c:pt idx="0">
                  <c:v>0.0030821920602093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0.9959271652832662</c:v>
                </c:pt>
                <c:pt idx="1">
                  <c:v>1.3401744540512344</c:v>
                </c:pt>
                <c:pt idx="2">
                  <c:v>1.3350083594949314</c:v>
                </c:pt>
                <c:pt idx="3">
                  <c:v>1.0646584490698563</c:v>
                </c:pt>
                <c:pt idx="4">
                  <c:v>1.2151622839366913</c:v>
                </c:pt>
                <c:pt idx="5">
                  <c:v>1.3134004157068229</c:v>
                </c:pt>
                <c:pt idx="6">
                  <c:v>1.4419688525388632</c:v>
                </c:pt>
                <c:pt idx="7">
                  <c:v>1.3745680207869981</c:v>
                </c:pt>
                <c:pt idx="8">
                  <c:v>1.343185527759611</c:v>
                </c:pt>
                <c:pt idx="9">
                  <c:v>1.2177670012357051</c:v>
                </c:pt>
                <c:pt idx="10">
                  <c:v>1.2762994335916393</c:v>
                </c:pt>
                <c:pt idx="11">
                  <c:v>1.5694583241602753</c:v>
                </c:pt>
                <c:pt idx="12">
                  <c:v>1.3201083804310716</c:v>
                </c:pt>
                <c:pt idx="13">
                  <c:v>1.2497191712844782</c:v>
                </c:pt>
                <c:pt idx="14">
                  <c:v>1.171098916450621</c:v>
                </c:pt>
                <c:pt idx="15">
                  <c:v>1.235121430368096</c:v>
                </c:pt>
                <c:pt idx="16">
                  <c:v>1.202837016184012</c:v>
                </c:pt>
                <c:pt idx="17">
                  <c:v>0.821108219060467</c:v>
                </c:pt>
                <c:pt idx="18">
                  <c:v>1.2565820447996783</c:v>
                </c:pt>
                <c:pt idx="19">
                  <c:v>1.2564231884793016</c:v>
                </c:pt>
                <c:pt idx="20">
                  <c:v>1.197062820120878</c:v>
                </c:pt>
                <c:pt idx="21">
                  <c:v>1.1878086181655736</c:v>
                </c:pt>
                <c:pt idx="22">
                  <c:v>1.2121796539853333</c:v>
                </c:pt>
                <c:pt idx="23">
                  <c:v>1.1761534567691732</c:v>
                </c:pt>
                <c:pt idx="24">
                  <c:v>1.251726758751597</c:v>
                </c:pt>
                <c:pt idx="25">
                  <c:v>1.1160727602851919</c:v>
                </c:pt>
                <c:pt idx="26">
                  <c:v>0.9763795442775763</c:v>
                </c:pt>
                <c:pt idx="27">
                  <c:v>1.1684564301402385</c:v>
                </c:pt>
                <c:pt idx="28">
                  <c:v>1.3796530171304313</c:v>
                </c:pt>
                <c:pt idx="29">
                  <c:v>1.4234369839611873</c:v>
                </c:pt>
                <c:pt idx="30">
                  <c:v>1.4192336355732207</c:v>
                </c:pt>
                <c:pt idx="31">
                  <c:v>1.164201554274254</c:v>
                </c:pt>
                <c:pt idx="32">
                  <c:v>1.1380309636673027</c:v>
                </c:pt>
                <c:pt idx="33">
                  <c:v>1.0847524658590049</c:v>
                </c:pt>
                <c:pt idx="34">
                  <c:v>1.0971535752461874</c:v>
                </c:pt>
                <c:pt idx="35">
                  <c:v>1.0311259210419064</c:v>
                </c:pt>
                <c:pt idx="36">
                  <c:v>1.0593757951892926</c:v>
                </c:pt>
                <c:pt idx="37">
                  <c:v>0.7735298063217738</c:v>
                </c:pt>
                <c:pt idx="38">
                  <c:v>0.8234925598392085</c:v>
                </c:pt>
                <c:pt idx="39">
                  <c:v>0.9000077771682216</c:v>
                </c:pt>
                <c:pt idx="40">
                  <c:v>0.901883829281736</c:v>
                </c:pt>
                <c:pt idx="41">
                  <c:v>0.8650162957002387</c:v>
                </c:pt>
                <c:pt idx="42">
                  <c:v>1.3524398238264024</c:v>
                </c:pt>
                <c:pt idx="43">
                  <c:v>1.271212271012279</c:v>
                </c:pt>
                <c:pt idx="44">
                  <c:v>1.2388137847831495</c:v>
                </c:pt>
                <c:pt idx="45">
                  <c:v>1.525010830951741</c:v>
                </c:pt>
                <c:pt idx="46">
                  <c:v>1.2904224567776401</c:v>
                </c:pt>
                <c:pt idx="47">
                  <c:v>1.292413767986475</c:v>
                </c:pt>
                <c:pt idx="48">
                  <c:v>1.2530001423274328</c:v>
                </c:pt>
                <c:pt idx="49">
                  <c:v>1.6911633321591641</c:v>
                </c:pt>
                <c:pt idx="50">
                  <c:v>1.7465894925743752</c:v>
                </c:pt>
                <c:pt idx="51">
                  <c:v>1.376127203421862</c:v>
                </c:pt>
                <c:pt idx="52">
                  <c:v>0.9786357700145717</c:v>
                </c:pt>
                <c:pt idx="53">
                  <c:v>0.9786357700145717</c:v>
                </c:pt>
                <c:pt idx="54">
                  <c:v>1.3891303384079872</c:v>
                </c:pt>
              </c:numCache>
            </c:numRef>
          </c:xVal>
          <c:yVal>
            <c:numRef>
              <c:f>Sheet1!$B$135:$B$189</c:f>
              <c:numCache>
                <c:formatCode>General</c:formatCode>
                <c:ptCount val="55"/>
                <c:pt idx="0">
                  <c:v>0.004896928639056595</c:v>
                </c:pt>
                <c:pt idx="1">
                  <c:v>0.0033081364069601814</c:v>
                </c:pt>
                <c:pt idx="2">
                  <c:v>0.003331979298884487</c:v>
                </c:pt>
                <c:pt idx="3">
                  <c:v>0.004579715596731803</c:v>
                </c:pt>
                <c:pt idx="4">
                  <c:v>0.0038851006163410006</c:v>
                </c:pt>
                <c:pt idx="5">
                  <c:v>0.0034317056710659174</c:v>
                </c:pt>
                <c:pt idx="6">
                  <c:v>0.002838328350760552</c:v>
                </c:pt>
                <c:pt idx="7">
                  <c:v>0.0031494010052684554</c:v>
                </c:pt>
                <c:pt idx="8">
                  <c:v>0.0032942395058828773</c:v>
                </c:pt>
                <c:pt idx="9">
                  <c:v>0.0038730791575045604</c:v>
                </c:pt>
                <c:pt idx="10">
                  <c:v>0.0036029365103812053</c:v>
                </c:pt>
                <c:pt idx="11">
                  <c:v>0.002249930740103689</c:v>
                </c:pt>
                <c:pt idx="12">
                  <c:v>0.003400746640756032</c:v>
                </c:pt>
                <c:pt idx="13">
                  <c:v>0.003725611446854466</c:v>
                </c:pt>
                <c:pt idx="14">
                  <c:v>0.004088464704501083</c:v>
                </c:pt>
                <c:pt idx="15">
                  <c:v>0.0037929838797851915</c:v>
                </c:pt>
                <c:pt idx="16">
                  <c:v>0.0039419849849414</c:v>
                </c:pt>
                <c:pt idx="17">
                  <c:v>0.005703764285536517</c:v>
                </c:pt>
                <c:pt idx="18">
                  <c:v>0.003693937471527504</c:v>
                </c:pt>
                <c:pt idx="19">
                  <c:v>0.003694670635436325</c:v>
                </c:pt>
                <c:pt idx="20">
                  <c:v>0.003968634426058402</c:v>
                </c:pt>
                <c:pt idx="21">
                  <c:v>0.00401134501423314</c:v>
                </c:pt>
                <c:pt idx="22">
                  <c:v>0.003898866241961163</c:v>
                </c:pt>
                <c:pt idx="23">
                  <c:v>0.0040651366648709825</c:v>
                </c:pt>
                <c:pt idx="24">
                  <c:v>0.003716345900030763</c:v>
                </c:pt>
                <c:pt idx="25">
                  <c:v>0.004342424960195892</c:v>
                </c:pt>
                <c:pt idx="26">
                  <c:v>0.004987146076994757</c:v>
                </c:pt>
                <c:pt idx="27">
                  <c:v>0.004100660477308423</c:v>
                </c:pt>
                <c:pt idx="28">
                  <c:v>0.0031259324030331282</c:v>
                </c:pt>
                <c:pt idx="29">
                  <c:v>0.0029238578227509283</c:v>
                </c:pt>
                <c:pt idx="30">
                  <c:v>0.0029432573866269357</c:v>
                </c:pt>
                <c:pt idx="31">
                  <c:v>0.004120297854115672</c:v>
                </c:pt>
                <c:pt idx="32">
                  <c:v>0.004241082047404483</c:v>
                </c:pt>
                <c:pt idx="33">
                  <c:v>0.004486976397824901</c:v>
                </c:pt>
                <c:pt idx="34">
                  <c:v>0.00442974200003415</c:v>
                </c:pt>
                <c:pt idx="35">
                  <c:v>0.004734477077189741</c:v>
                </c:pt>
                <c:pt idx="36">
                  <c:v>0.004604096440747544</c:v>
                </c:pt>
                <c:pt idx="37">
                  <c:v>0.005923351236664733</c:v>
                </c:pt>
                <c:pt idx="38">
                  <c:v>0.005692759922592969</c:v>
                </c:pt>
                <c:pt idx="39">
                  <c:v>0.005339621969452998</c:v>
                </c:pt>
                <c:pt idx="40">
                  <c:v>0.005330963493054746</c:v>
                </c:pt>
                <c:pt idx="41">
                  <c:v>0.005501116905679928</c:v>
                </c:pt>
                <c:pt idx="42">
                  <c:v>0.00325152848335875</c:v>
                </c:pt>
                <c:pt idx="43">
                  <c:v>0.0036264151103679344</c:v>
                </c:pt>
                <c:pt idx="44">
                  <c:v>0.003775942688164542</c:v>
                </c:pt>
                <c:pt idx="45">
                  <c:v>0.002455067670008388</c:v>
                </c:pt>
                <c:pt idx="46">
                  <c:v>0.0035377550252577022</c:v>
                </c:pt>
                <c:pt idx="47">
                  <c:v>0.0035285645976682618</c:v>
                </c:pt>
                <c:pt idx="48">
                  <c:v>0.003710468898236478</c:v>
                </c:pt>
                <c:pt idx="49">
                  <c:v>0.001688229958064418</c:v>
                </c:pt>
                <c:pt idx="50">
                  <c:v>0.001432423577024269</c:v>
                </c:pt>
                <c:pt idx="51">
                  <c:v>0.0031422049652718676</c:v>
                </c:pt>
                <c:pt idx="52">
                  <c:v>0.004976732998833348</c:v>
                </c:pt>
                <c:pt idx="53">
                  <c:v>0.004976732998833348</c:v>
                </c:pt>
                <c:pt idx="54">
                  <c:v>0.00308219206020936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699300699300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20496003279360525</c:v>
                </c:pt>
                <c:pt idx="8">
                  <c:v>0.000471253534401508</c:v>
                </c:pt>
                <c:pt idx="9">
                  <c:v>0.0003386386725364037</c:v>
                </c:pt>
                <c:pt idx="10">
                  <c:v>0.0002875215641173088</c:v>
                </c:pt>
                <c:pt idx="11">
                  <c:v>0.0002891008962127783</c:v>
                </c:pt>
                <c:pt idx="12">
                  <c:v>0.0005750431282346176</c:v>
                </c:pt>
                <c:pt idx="13">
                  <c:v>0.00030525030525030525</c:v>
                </c:pt>
                <c:pt idx="14">
                  <c:v>0.00029761904761904765</c:v>
                </c:pt>
                <c:pt idx="15">
                  <c:v>0.0003322259136212625</c:v>
                </c:pt>
                <c:pt idx="16">
                  <c:v>0.0011337868480725624</c:v>
                </c:pt>
                <c:pt idx="17">
                  <c:v>0.0009420631182289214</c:v>
                </c:pt>
                <c:pt idx="18">
                  <c:v>0.00047281323877068556</c:v>
                </c:pt>
                <c:pt idx="19">
                  <c:v>0.0005165289256198347</c:v>
                </c:pt>
                <c:pt idx="20">
                  <c:v>0.0013876040703052729</c:v>
                </c:pt>
                <c:pt idx="21">
                  <c:v>0.0009896091044037606</c:v>
                </c:pt>
                <c:pt idx="22">
                  <c:v>0.0017809439002671415</c:v>
                </c:pt>
                <c:pt idx="23">
                  <c:v>0.0010167768174885613</c:v>
                </c:pt>
                <c:pt idx="24">
                  <c:v>0.0011092623405435386</c:v>
                </c:pt>
                <c:pt idx="25">
                  <c:v>0.0023228803716608595</c:v>
                </c:pt>
                <c:pt idx="26">
                  <c:v>0.004164187983343248</c:v>
                </c:pt>
                <c:pt idx="27">
                  <c:v>0.0025962786672436176</c:v>
                </c:pt>
                <c:pt idx="28">
                  <c:v>0.001763668430335097</c:v>
                </c:pt>
                <c:pt idx="29">
                  <c:v>0.001855976243504083</c:v>
                </c:pt>
                <c:pt idx="30">
                  <c:v>0.0019831432821021317</c:v>
                </c:pt>
                <c:pt idx="31">
                  <c:v>0.001256281407035176</c:v>
                </c:pt>
                <c:pt idx="32">
                  <c:v>0.002</c:v>
                </c:pt>
                <c:pt idx="33">
                  <c:v>0.002099737532808399</c:v>
                </c:pt>
                <c:pt idx="34">
                  <c:v>0.0020695364238410598</c:v>
                </c:pt>
                <c:pt idx="35">
                  <c:v>0.001876172607879925</c:v>
                </c:pt>
                <c:pt idx="36">
                  <c:v>0.002771618625277162</c:v>
                </c:pt>
                <c:pt idx="37">
                  <c:v>0.0031426775612822125</c:v>
                </c:pt>
                <c:pt idx="38">
                  <c:v>0.003073140749846343</c:v>
                </c:pt>
                <c:pt idx="39">
                  <c:v>0.0028768699654775605</c:v>
                </c:pt>
                <c:pt idx="40">
                  <c:v>0.002379819133745835</c:v>
                </c:pt>
                <c:pt idx="41">
                  <c:v>0.004318618042226488</c:v>
                </c:pt>
                <c:pt idx="42">
                  <c:v>0.003804692454026633</c:v>
                </c:pt>
                <c:pt idx="43">
                  <c:v>0.003404255319148936</c:v>
                </c:pt>
                <c:pt idx="44">
                  <c:v>0.004752004752004752</c:v>
                </c:pt>
                <c:pt idx="45">
                  <c:v>0.004232804232804233</c:v>
                </c:pt>
                <c:pt idx="46">
                  <c:v>0.0036433776253750536</c:v>
                </c:pt>
                <c:pt idx="47">
                  <c:v>0.0034728251432540372</c:v>
                </c:pt>
                <c:pt idx="48">
                  <c:v>0.0033213396069748133</c:v>
                </c:pt>
                <c:pt idx="49">
                  <c:v>0.004279279279279279</c:v>
                </c:pt>
                <c:pt idx="50">
                  <c:v>0.0033950617283950617</c:v>
                </c:pt>
                <c:pt idx="51">
                  <c:v>0.0034501061571125266</c:v>
                </c:pt>
                <c:pt idx="52">
                  <c:v>0.002270515731430424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33333333333333335</c:v>
                </c:pt>
                <c:pt idx="1">
                  <c:v>0.003014065639651708</c:v>
                </c:pt>
                <c:pt idx="2">
                  <c:v>0.0026041666666666665</c:v>
                </c:pt>
                <c:pt idx="3">
                  <c:v>0.003531489111241907</c:v>
                </c:pt>
                <c:pt idx="4">
                  <c:v>0.0031565656565656565</c:v>
                </c:pt>
                <c:pt idx="5">
                  <c:v>0.0024867889337892445</c:v>
                </c:pt>
                <c:pt idx="6">
                  <c:v>0.0025621316935690495</c:v>
                </c:pt>
                <c:pt idx="7">
                  <c:v>0.003370407819346141</c:v>
                </c:pt>
                <c:pt idx="8">
                  <c:v>0.0034828036569438396</c:v>
                </c:pt>
                <c:pt idx="9">
                  <c:v>0.0038729666924864447</c:v>
                </c:pt>
                <c:pt idx="10">
                  <c:v>0.0046801872074883</c:v>
                </c:pt>
                <c:pt idx="11">
                  <c:v>0.00322820958529923</c:v>
                </c:pt>
                <c:pt idx="12">
                  <c:v>0.004197610590894414</c:v>
                </c:pt>
                <c:pt idx="13">
                  <c:v>0.006634721710283818</c:v>
                </c:pt>
                <c:pt idx="14">
                  <c:v>0.006468797564687975</c:v>
                </c:pt>
                <c:pt idx="15">
                  <c:v>0.0062360801781737195</c:v>
                </c:pt>
                <c:pt idx="16">
                  <c:v>0.005230125523012552</c:v>
                </c:pt>
                <c:pt idx="17">
                  <c:v>0.00813421453990849</c:v>
                </c:pt>
                <c:pt idx="18">
                  <c:v>0.003357582540570789</c:v>
                </c:pt>
                <c:pt idx="19">
                  <c:v>0.003676470588235294</c:v>
                </c:pt>
                <c:pt idx="20">
                  <c:v>0.004608294930875576</c:v>
                </c:pt>
                <c:pt idx="21">
                  <c:v>0.004372267332916927</c:v>
                </c:pt>
                <c:pt idx="22">
                  <c:v>0.003575685339690107</c:v>
                </c:pt>
                <c:pt idx="23">
                  <c:v>0.0037546933667083854</c:v>
                </c:pt>
                <c:pt idx="24">
                  <c:v>0.0032537960954446853</c:v>
                </c:pt>
                <c:pt idx="25">
                  <c:v>0.003865267807840972</c:v>
                </c:pt>
                <c:pt idx="26">
                  <c:v>0.004702194357366771</c:v>
                </c:pt>
                <c:pt idx="27">
                  <c:v>0.0034330554193231977</c:v>
                </c:pt>
                <c:pt idx="28">
                  <c:v>0.003165988240615106</c:v>
                </c:pt>
                <c:pt idx="29">
                  <c:v>0.003246753246753247</c:v>
                </c:pt>
                <c:pt idx="30">
                  <c:v>0.0035211267605633804</c:v>
                </c:pt>
                <c:pt idx="31">
                  <c:v>0.0038071065989847717</c:v>
                </c:pt>
                <c:pt idx="32">
                  <c:v>0.003169572107765452</c:v>
                </c:pt>
                <c:pt idx="33">
                  <c:v>0.003334722801167153</c:v>
                </c:pt>
                <c:pt idx="34">
                  <c:v>0.002997002997002997</c:v>
                </c:pt>
                <c:pt idx="35">
                  <c:v>0.0036714089031665903</c:v>
                </c:pt>
                <c:pt idx="36">
                  <c:v>0.004698512137823023</c:v>
                </c:pt>
                <c:pt idx="37">
                  <c:v>0.006224066390041493</c:v>
                </c:pt>
                <c:pt idx="38">
                  <c:v>0.008391608391608392</c:v>
                </c:pt>
                <c:pt idx="39">
                  <c:v>0.0045377197958026095</c:v>
                </c:pt>
                <c:pt idx="40">
                  <c:v>0.005142857142857143</c:v>
                </c:pt>
                <c:pt idx="41">
                  <c:v>0.004712041884816754</c:v>
                </c:pt>
                <c:pt idx="42">
                  <c:v>0.003432494279176201</c:v>
                </c:pt>
                <c:pt idx="43">
                  <c:v>0.0033181252592285357</c:v>
                </c:pt>
                <c:pt idx="44">
                  <c:v>0.0026375282592313487</c:v>
                </c:pt>
                <c:pt idx="45">
                  <c:v>0.002012072434607646</c:v>
                </c:pt>
                <c:pt idx="46">
                  <c:v>0.0027035145689396217</c:v>
                </c:pt>
                <c:pt idx="47">
                  <c:v>0.002553191489361702</c:v>
                </c:pt>
                <c:pt idx="48">
                  <c:v>0.0027397260273972603</c:v>
                </c:pt>
                <c:pt idx="49">
                  <c:v>0.002079002079002079</c:v>
                </c:pt>
                <c:pt idx="50">
                  <c:v>0.0016028209648982208</c:v>
                </c:pt>
                <c:pt idx="51">
                  <c:v>0.002597402597402597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13.5856732759953</c:v>
                </c:pt>
              </c:numCache>
            </c:numRef>
          </c:xVal>
          <c:yVal>
            <c:numRef>
              <c:f>Sheet1!$B$111:$B$112</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13.5856732759953</c:v>
                </c:pt>
                <c:pt idx="1">
                  <c:v>3613.5856732759953</c:v>
                </c:pt>
              </c:numCache>
            </c:numRef>
          </c:xVal>
          <c:yVal>
            <c:numRef>
              <c:f>Sheet1!$B$115:$B$116</c:f>
              <c:numCache>
                <c:formatCode>General</c:formatCode>
                <c:ptCount val="2"/>
                <c:pt idx="0">
                  <c:v>0.0049767329988333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13.5856732759953</c:v>
                </c:pt>
              </c:numCache>
            </c:numRef>
          </c:xVal>
          <c:yVal>
            <c:numRef>
              <c:f>Sheet1!$B$119:$B$120</c:f>
              <c:numCache>
                <c:formatCode>General</c:formatCode>
                <c:ptCount val="2"/>
                <c:pt idx="0">
                  <c:v>0.004976732998833348</c:v>
                </c:pt>
                <c:pt idx="1">
                  <c:v>0.00497673299883334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13.5856732759953</c:v>
                </c:pt>
                <c:pt idx="1">
                  <c:v>3613.5856732759953</c:v>
                </c:pt>
              </c:numCache>
            </c:numRef>
          </c:xVal>
          <c:yVal>
            <c:numRef>
              <c:f>Sheet1!$B$123:$B$124</c:f>
              <c:numCache>
                <c:formatCode>General</c:formatCode>
                <c:ptCount val="2"/>
                <c:pt idx="0">
                  <c:v>0.0049767329988333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47.253846148547</c:v>
                </c:pt>
              </c:numCache>
            </c:numRef>
          </c:xVal>
          <c:yVal>
            <c:numRef>
              <c:f>Sheet1!$B$127:$B$128</c:f>
              <c:numCache>
                <c:formatCode>General</c:formatCode>
                <c:ptCount val="2"/>
                <c:pt idx="0">
                  <c:v>0.003082192060209363</c:v>
                </c:pt>
                <c:pt idx="1">
                  <c:v>0.003082192060209363</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47.253846148547</c:v>
                </c:pt>
                <c:pt idx="1">
                  <c:v>4647.253846148547</c:v>
                </c:pt>
              </c:numCache>
            </c:numRef>
          </c:xVal>
          <c:yVal>
            <c:numRef>
              <c:f>Sheet1!$B$131:$B$132</c:f>
              <c:numCache>
                <c:formatCode>General</c:formatCode>
                <c:ptCount val="2"/>
                <c:pt idx="0">
                  <c:v>0.0030821920602093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13.5856732759953</c:v>
                </c:pt>
                <c:pt idx="53">
                  <c:v>3613.5856732759953</c:v>
                </c:pt>
                <c:pt idx="54">
                  <c:v>4647.253846148547</c:v>
                </c:pt>
              </c:numCache>
            </c:numRef>
          </c:xVal>
          <c:yVal>
            <c:numRef>
              <c:f>Sheet1!$B$135:$B$189</c:f>
              <c:numCache>
                <c:formatCode>General</c:formatCode>
                <c:ptCount val="55"/>
                <c:pt idx="0">
                  <c:v>0.005026626507803711</c:v>
                </c:pt>
                <c:pt idx="1">
                  <c:v>0.0032294875700301026</c:v>
                </c:pt>
                <c:pt idx="2">
                  <c:v>0.003227654737223265</c:v>
                </c:pt>
                <c:pt idx="3">
                  <c:v>0.00560784271737787</c:v>
                </c:pt>
                <c:pt idx="4">
                  <c:v>0.0038885539029245002</c:v>
                </c:pt>
                <c:pt idx="5">
                  <c:v>0.0023939703905893374</c:v>
                </c:pt>
                <c:pt idx="6">
                  <c:v>0.0034497737289677435</c:v>
                </c:pt>
                <c:pt idx="7">
                  <c:v>0.004176858503439948</c:v>
                </c:pt>
                <c:pt idx="8">
                  <c:v>0.0032696062640556744</c:v>
                </c:pt>
                <c:pt idx="9">
                  <c:v>0.0043333824251438205</c:v>
                </c:pt>
                <c:pt idx="10">
                  <c:v>0.00424024391024863</c:v>
                </c:pt>
                <c:pt idx="11">
                  <c:v>0.0035680761218844</c:v>
                </c:pt>
                <c:pt idx="12">
                  <c:v>0.005003747989009088</c:v>
                </c:pt>
                <c:pt idx="13">
                  <c:v>0.0052034485029934605</c:v>
                </c:pt>
                <c:pt idx="14">
                  <c:v>0.0055877084991449244</c:v>
                </c:pt>
                <c:pt idx="15">
                  <c:v>0.004435026017395856</c:v>
                </c:pt>
                <c:pt idx="16">
                  <c:v>0.0038799395887323673</c:v>
                </c:pt>
                <c:pt idx="17">
                  <c:v>0.006274764754965652</c:v>
                </c:pt>
                <c:pt idx="18">
                  <c:v>0.0030768532861088996</c:v>
                </c:pt>
                <c:pt idx="19">
                  <c:v>0.002809565229539608</c:v>
                </c:pt>
                <c:pt idx="20">
                  <c:v>0.003409817973778699</c:v>
                </c:pt>
                <c:pt idx="21">
                  <c:v>0.0035597174878688204</c:v>
                </c:pt>
                <c:pt idx="22">
                  <c:v>0.003294960390122491</c:v>
                </c:pt>
                <c:pt idx="23">
                  <c:v>0.004154558976529004</c:v>
                </c:pt>
                <c:pt idx="24">
                  <c:v>0.003495350232525514</c:v>
                </c:pt>
                <c:pt idx="25">
                  <c:v>0.004228177822031381</c:v>
                </c:pt>
                <c:pt idx="26">
                  <c:v>0.004688626111997126</c:v>
                </c:pt>
                <c:pt idx="27">
                  <c:v>0.003862920453137921</c:v>
                </c:pt>
                <c:pt idx="28">
                  <c:v>0.0034164948004107246</c:v>
                </c:pt>
                <c:pt idx="29">
                  <c:v>0.0028590517153242057</c:v>
                </c:pt>
                <c:pt idx="30">
                  <c:v>0.003222869027481333</c:v>
                </c:pt>
                <c:pt idx="31">
                  <c:v>0.0030881558161788194</c:v>
                </c:pt>
                <c:pt idx="32">
                  <c:v>0.0038671097590845084</c:v>
                </c:pt>
                <c:pt idx="33">
                  <c:v>0.0030033872988626115</c:v>
                </c:pt>
                <c:pt idx="34">
                  <c:v>0.003244761115659316</c:v>
                </c:pt>
                <c:pt idx="35">
                  <c:v>0.0030977781884147133</c:v>
                </c:pt>
                <c:pt idx="36">
                  <c:v>0.003847254131438202</c:v>
                </c:pt>
                <c:pt idx="37">
                  <c:v>0.004653191405492706</c:v>
                </c:pt>
                <c:pt idx="38">
                  <c:v>0.005731253398610461</c:v>
                </c:pt>
                <c:pt idx="39">
                  <c:v>0.004528304194150927</c:v>
                </c:pt>
                <c:pt idx="40">
                  <c:v>0.005076575783872034</c:v>
                </c:pt>
                <c:pt idx="41">
                  <c:v>0.005109770402119938</c:v>
                </c:pt>
                <c:pt idx="42">
                  <c:v>0.001492369324598385</c:v>
                </c:pt>
                <c:pt idx="43">
                  <c:v>0.002614139431510622</c:v>
                </c:pt>
                <c:pt idx="44">
                  <c:v>0.003497401172436366</c:v>
                </c:pt>
                <c:pt idx="45">
                  <c:v>0.002643039355925546</c:v>
                </c:pt>
                <c:pt idx="46">
                  <c:v>0.0036585740745547803</c:v>
                </c:pt>
                <c:pt idx="47">
                  <c:v>0.0045623642760502185</c:v>
                </c:pt>
                <c:pt idx="48">
                  <c:v>0.004516299139266144</c:v>
                </c:pt>
                <c:pt idx="49">
                  <c:v>0.00321217756386921</c:v>
                </c:pt>
                <c:pt idx="50">
                  <c:v>0.002892225989127953</c:v>
                </c:pt>
                <c:pt idx="51">
                  <c:v>0.003908531780519024</c:v>
                </c:pt>
                <c:pt idx="52">
                  <c:v>0.004976732998833348</c:v>
                </c:pt>
                <c:pt idx="53">
                  <c:v>0.004976732998833348</c:v>
                </c:pt>
                <c:pt idx="54">
                  <c:v>0.00308219206020936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699300699300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0</c:f>
              <c:numCache>
                <c:formatCode>General</c:formatCode>
                <c:ptCount val="119"/>
                <c:pt idx="0">
                  <c:v>0.0</c:v>
                </c:pt>
                <c:pt idx="1">
                  <c:v>0.23217414388107246</c:v>
                </c:pt>
                <c:pt idx="2">
                  <c:v>0.0</c:v>
                </c:pt>
                <c:pt idx="3">
                  <c:v>0.0</c:v>
                </c:pt>
                <c:pt idx="4">
                  <c:v>0.0</c:v>
                </c:pt>
                <c:pt idx="5">
                  <c:v>0.24579893333333336</c:v>
                </c:pt>
                <c:pt idx="6">
                  <c:v>0.11804511930585683</c:v>
                </c:pt>
                <c:pt idx="7">
                  <c:v>0.2240617513973915</c:v>
                </c:pt>
                <c:pt idx="8">
                  <c:v>0.0</c:v>
                </c:pt>
                <c:pt idx="9">
                  <c:v>0.0</c:v>
                </c:pt>
                <c:pt idx="10">
                  <c:v>0.20758163785775008</c:v>
                </c:pt>
                <c:pt idx="11">
                  <c:v>0.1319529601226994</c:v>
                </c:pt>
                <c:pt idx="12">
                  <c:v>0.1648975791433892</c:v>
                </c:pt>
                <c:pt idx="13">
                  <c:v>0.12751609266409267</c:v>
                </c:pt>
                <c:pt idx="14">
                  <c:v>0.17331971778685482</c:v>
                </c:pt>
                <c:pt idx="15">
                  <c:v>0.0</c:v>
                </c:pt>
                <c:pt idx="16">
                  <c:v>0.14426002766251728</c:v>
                </c:pt>
                <c:pt idx="17">
                  <c:v>0.0</c:v>
                </c:pt>
                <c:pt idx="18">
                  <c:v>0.0</c:v>
                </c:pt>
                <c:pt idx="19">
                  <c:v>0.0</c:v>
                </c:pt>
                <c:pt idx="20">
                  <c:v>0.12556289402581808</c:v>
                </c:pt>
                <c:pt idx="21">
                  <c:v>0.27310924369747897</c:v>
                </c:pt>
                <c:pt idx="22">
                  <c:v>0.0</c:v>
                </c:pt>
                <c:pt idx="23">
                  <c:v>0.0</c:v>
                </c:pt>
                <c:pt idx="24">
                  <c:v>0.0</c:v>
                </c:pt>
                <c:pt idx="25">
                  <c:v>0.0</c:v>
                </c:pt>
                <c:pt idx="26">
                  <c:v>0.0</c:v>
                </c:pt>
                <c:pt idx="27">
                  <c:v>0.0</c:v>
                </c:pt>
                <c:pt idx="28">
                  <c:v>0.0</c:v>
                </c:pt>
                <c:pt idx="29">
                  <c:v>0.0</c:v>
                </c:pt>
                <c:pt idx="30">
                  <c:v>0.0</c:v>
                </c:pt>
                <c:pt idx="31">
                  <c:v>0.0</c:v>
                </c:pt>
                <c:pt idx="32">
                  <c:v>0.0</c:v>
                </c:pt>
                <c:pt idx="33">
                  <c:v>0.163808704145865</c:v>
                </c:pt>
                <c:pt idx="34">
                  <c:v>0.0</c:v>
                </c:pt>
                <c:pt idx="35">
                  <c:v>0.2078853046594982</c:v>
                </c:pt>
                <c:pt idx="36">
                  <c:v>0.0</c:v>
                </c:pt>
                <c:pt idx="37">
                  <c:v>0.0</c:v>
                </c:pt>
                <c:pt idx="38">
                  <c:v>0.0</c:v>
                </c:pt>
                <c:pt idx="39">
                  <c:v>0.0</c:v>
                </c:pt>
                <c:pt idx="40">
                  <c:v>0.0</c:v>
                </c:pt>
                <c:pt idx="41">
                  <c:v>0.0</c:v>
                </c:pt>
                <c:pt idx="42">
                  <c:v>0.0</c:v>
                </c:pt>
                <c:pt idx="43">
                  <c:v>0.09929415380755238</c:v>
                </c:pt>
                <c:pt idx="44">
                  <c:v>0.11798194764096663</c:v>
                </c:pt>
                <c:pt idx="45">
                  <c:v>0.147993538938663</c:v>
                </c:pt>
                <c:pt idx="46">
                  <c:v>0.20849642462218945</c:v>
                </c:pt>
                <c:pt idx="47">
                  <c:v>0.0</c:v>
                </c:pt>
                <c:pt idx="48">
                  <c:v>0.187520468528159</c:v>
                </c:pt>
                <c:pt idx="49">
                  <c:v>0.22090956898329553</c:v>
                </c:pt>
                <c:pt idx="50">
                  <c:v>0.19024218146718147</c:v>
                </c:pt>
                <c:pt idx="51">
                  <c:v>0.0</c:v>
                </c:pt>
                <c:pt idx="52">
                  <c:v>0.14285713551481924</c:v>
                </c:pt>
                <c:pt idx="53">
                  <c:v>0.25429840606218973</c:v>
                </c:pt>
                <c:pt idx="54">
                  <c:v>0.3449839018778551</c:v>
                </c:pt>
                <c:pt idx="55">
                  <c:v>0.0</c:v>
                </c:pt>
                <c:pt idx="56">
                  <c:v>0.0</c:v>
                </c:pt>
                <c:pt idx="57">
                  <c:v>0.0</c:v>
                </c:pt>
                <c:pt idx="58">
                  <c:v>0.0</c:v>
                </c:pt>
                <c:pt idx="59">
                  <c:v>0.1907958352402746</c:v>
                </c:pt>
                <c:pt idx="60">
                  <c:v>0.2594651676589125</c:v>
                </c:pt>
                <c:pt idx="61">
                  <c:v>0.0</c:v>
                </c:pt>
                <c:pt idx="62">
                  <c:v>0.1542141739324838</c:v>
                </c:pt>
                <c:pt idx="63">
                  <c:v>0.21982811540822592</c:v>
                </c:pt>
                <c:pt idx="64">
                  <c:v>0.1254498892580288</c:v>
                </c:pt>
                <c:pt idx="65">
                  <c:v>0.12382961888434657</c:v>
                </c:pt>
                <c:pt idx="66">
                  <c:v>0.18497846650998825</c:v>
                </c:pt>
                <c:pt idx="67">
                  <c:v>0.1662688687667389</c:v>
                </c:pt>
                <c:pt idx="68">
                  <c:v>0.13200579428058093</c:v>
                </c:pt>
                <c:pt idx="69">
                  <c:v>0.0</c:v>
                </c:pt>
                <c:pt idx="70">
                  <c:v>0.0</c:v>
                </c:pt>
                <c:pt idx="71">
                  <c:v>0.20717325227963526</c:v>
                </c:pt>
                <c:pt idx="72">
                  <c:v>0.1242665864299684</c:v>
                </c:pt>
                <c:pt idx="73">
                  <c:v>0.0</c:v>
                </c:pt>
                <c:pt idx="74">
                  <c:v>0.0</c:v>
                </c:pt>
                <c:pt idx="75">
                  <c:v>0.24004649811101425</c:v>
                </c:pt>
                <c:pt idx="76">
                  <c:v>0.0</c:v>
                </c:pt>
                <c:pt idx="77">
                  <c:v>0.0</c:v>
                </c:pt>
                <c:pt idx="78">
                  <c:v>0.0</c:v>
                </c:pt>
                <c:pt idx="79">
                  <c:v>0.0</c:v>
                </c:pt>
                <c:pt idx="80">
                  <c:v>0.0</c:v>
                </c:pt>
                <c:pt idx="81">
                  <c:v>0.12626181701650377</c:v>
                </c:pt>
                <c:pt idx="82">
                  <c:v>0.0</c:v>
                </c:pt>
                <c:pt idx="83">
                  <c:v>0.0</c:v>
                </c:pt>
                <c:pt idx="84">
                  <c:v>0.0</c:v>
                </c:pt>
                <c:pt idx="85">
                  <c:v>0.16774132372463493</c:v>
                </c:pt>
                <c:pt idx="86">
                  <c:v>0.2254224798033017</c:v>
                </c:pt>
                <c:pt idx="87">
                  <c:v>0.0</c:v>
                </c:pt>
                <c:pt idx="88">
                  <c:v>0.0</c:v>
                </c:pt>
                <c:pt idx="89">
                  <c:v>0.17112476718842876</c:v>
                </c:pt>
                <c:pt idx="90">
                  <c:v>0.16288951841359772</c:v>
                </c:pt>
                <c:pt idx="91">
                  <c:v>0.0</c:v>
                </c:pt>
                <c:pt idx="92">
                  <c:v>0.0</c:v>
                </c:pt>
                <c:pt idx="93">
                  <c:v>0.0</c:v>
                </c:pt>
                <c:pt idx="94">
                  <c:v>0.0</c:v>
                </c:pt>
                <c:pt idx="95">
                  <c:v>0.0840499114820435</c:v>
                </c:pt>
                <c:pt idx="96">
                  <c:v>0.0</c:v>
                </c:pt>
                <c:pt idx="97">
                  <c:v>0.08137992038920831</c:v>
                </c:pt>
                <c:pt idx="98">
                  <c:v>0.1401425527224631</c:v>
                </c:pt>
                <c:pt idx="99">
                  <c:v>0.17236242156110335</c:v>
                </c:pt>
                <c:pt idx="100">
                  <c:v>0.12519664394336655</c:v>
                </c:pt>
                <c:pt idx="101">
                  <c:v>0.0919407376274036</c:v>
                </c:pt>
                <c:pt idx="102">
                  <c:v>0.16903478686918177</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numCache>
            </c:numRef>
          </c:xVal>
          <c:yVal>
            <c:numRef>
              <c:f>Sheet1!$B$2:$B$120</c:f>
              <c:numCache>
                <c:formatCode>General</c:formatCode>
                <c:ptCount val="119"/>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6</c:v>
                </c:pt>
                <c:pt idx="11">
                  <c:v>0.3333333333333333</c:v>
                </c:pt>
                <c:pt idx="12">
                  <c:v>0.3</c:v>
                </c:pt>
                <c:pt idx="13">
                  <c:v>0.3</c:v>
                </c:pt>
                <c:pt idx="14">
                  <c:v>0.2727272727272727</c:v>
                </c:pt>
                <c:pt idx="15">
                  <c:v>0.25</c:v>
                </c:pt>
                <c:pt idx="16">
                  <c:v>0.29411764705882354</c:v>
                </c:pt>
                <c:pt idx="17">
                  <c:v>0.3333333333333333</c:v>
                </c:pt>
                <c:pt idx="18">
                  <c:v>0.2222222222222222</c:v>
                </c:pt>
                <c:pt idx="19">
                  <c:v>0.1</c:v>
                </c:pt>
                <c:pt idx="20">
                  <c:v>0.1</c:v>
                </c:pt>
                <c:pt idx="21">
                  <c:v>0.07692307692307693</c:v>
                </c:pt>
                <c:pt idx="22">
                  <c:v>0.1875</c:v>
                </c:pt>
                <c:pt idx="23">
                  <c:v>0.15384615384615385</c:v>
                </c:pt>
                <c:pt idx="24">
                  <c:v>0.14285714285714285</c:v>
                </c:pt>
                <c:pt idx="25">
                  <c:v>0.13333333333333333</c:v>
                </c:pt>
                <c:pt idx="26">
                  <c:v>0.25</c:v>
                </c:pt>
                <c:pt idx="27">
                  <c:v>0.26666666666666666</c:v>
                </c:pt>
                <c:pt idx="28">
                  <c:v>0.2727272727272727</c:v>
                </c:pt>
                <c:pt idx="29">
                  <c:v>0.2727272727272727</c:v>
                </c:pt>
                <c:pt idx="30">
                  <c:v>0.3333333333333333</c:v>
                </c:pt>
                <c:pt idx="31">
                  <c:v>0.125</c:v>
                </c:pt>
                <c:pt idx="32">
                  <c:v>0.14285714285714285</c:v>
                </c:pt>
                <c:pt idx="33">
                  <c:v>0.42857142857142855</c:v>
                </c:pt>
                <c:pt idx="34">
                  <c:v>0.21428571428571427</c:v>
                </c:pt>
                <c:pt idx="35">
                  <c:v>0.15789473684210525</c:v>
                </c:pt>
                <c:pt idx="36">
                  <c:v>0.125</c:v>
                </c:pt>
                <c:pt idx="37">
                  <c:v>0.2</c:v>
                </c:pt>
                <c:pt idx="38">
                  <c:v>0.2222222222222222</c:v>
                </c:pt>
                <c:pt idx="39">
                  <c:v>0.6</c:v>
                </c:pt>
                <c:pt idx="40">
                  <c:v>0.7083333333333334</c:v>
                </c:pt>
                <c:pt idx="41">
                  <c:v>0.7857142857142857</c:v>
                </c:pt>
                <c:pt idx="42">
                  <c:v>0.6538461538461539</c:v>
                </c:pt>
                <c:pt idx="43">
                  <c:v>0.6129032258064516</c:v>
                </c:pt>
                <c:pt idx="44">
                  <c:v>0.5428571428571428</c:v>
                </c:pt>
                <c:pt idx="45">
                  <c:v>0.5945945945945946</c:v>
                </c:pt>
                <c:pt idx="46">
                  <c:v>0.5384615384615384</c:v>
                </c:pt>
                <c:pt idx="47">
                  <c:v>0.4642857142857143</c:v>
                </c:pt>
                <c:pt idx="48">
                  <c:v>0.34210526315789475</c:v>
                </c:pt>
                <c:pt idx="49">
                  <c:v>0.375</c:v>
                </c:pt>
                <c:pt idx="50">
                  <c:v>0.44</c:v>
                </c:pt>
                <c:pt idx="51">
                  <c:v>0.35</c:v>
                </c:pt>
                <c:pt idx="52">
                  <c:v>0.3181818181818182</c:v>
                </c:pt>
                <c:pt idx="53">
                  <c:v>0.29411764705882354</c:v>
                </c:pt>
                <c:pt idx="54">
                  <c:v>0.21052631578947367</c:v>
                </c:pt>
                <c:pt idx="55">
                  <c:v>0.17391304347826086</c:v>
                </c:pt>
                <c:pt idx="56">
                  <c:v>0.17857142857142858</c:v>
                </c:pt>
                <c:pt idx="57">
                  <c:v>0.1111111111111111</c:v>
                </c:pt>
                <c:pt idx="58">
                  <c:v>0.3</c:v>
                </c:pt>
                <c:pt idx="59">
                  <c:v>0.1836734693877551</c:v>
                </c:pt>
                <c:pt idx="60">
                  <c:v>0.10869565217391304</c:v>
                </c:pt>
                <c:pt idx="61">
                  <c:v>0.043478260869565216</c:v>
                </c:pt>
                <c:pt idx="62">
                  <c:v>0.3125</c:v>
                </c:pt>
                <c:pt idx="63">
                  <c:v>0.16666666666666666</c:v>
                </c:pt>
                <c:pt idx="64">
                  <c:v>0.17391304347826086</c:v>
                </c:pt>
                <c:pt idx="65">
                  <c:v>0.1</c:v>
                </c:pt>
                <c:pt idx="66">
                  <c:v>0.14285714285714285</c:v>
                </c:pt>
                <c:pt idx="67">
                  <c:v>0.30434782608695654</c:v>
                </c:pt>
                <c:pt idx="68">
                  <c:v>0.2</c:v>
                </c:pt>
                <c:pt idx="69">
                  <c:v>0.08333333333333333</c:v>
                </c:pt>
                <c:pt idx="70">
                  <c:v>0.15384615384615385</c:v>
                </c:pt>
                <c:pt idx="71">
                  <c:v>0.14285714285714285</c:v>
                </c:pt>
                <c:pt idx="72">
                  <c:v>0.13333333333333333</c:v>
                </c:pt>
                <c:pt idx="73">
                  <c:v>0.15384615384615385</c:v>
                </c:pt>
                <c:pt idx="74">
                  <c:v>0.07692307692307693</c:v>
                </c:pt>
                <c:pt idx="75">
                  <c:v>0.13333333333333333</c:v>
                </c:pt>
                <c:pt idx="76">
                  <c:v>0.1111111111111111</c:v>
                </c:pt>
                <c:pt idx="77">
                  <c:v>0.18181818181818182</c:v>
                </c:pt>
                <c:pt idx="78">
                  <c:v>0.25</c:v>
                </c:pt>
                <c:pt idx="79">
                  <c:v>0.25</c:v>
                </c:pt>
                <c:pt idx="80">
                  <c:v>0.2222222222222222</c:v>
                </c:pt>
                <c:pt idx="81">
                  <c:v>0.25</c:v>
                </c:pt>
                <c:pt idx="82">
                  <c:v>0.4</c:v>
                </c:pt>
                <c:pt idx="83">
                  <c:v>0.125</c:v>
                </c:pt>
                <c:pt idx="84">
                  <c:v>0.2</c:v>
                </c:pt>
                <c:pt idx="85">
                  <c:v>0.18181818181818182</c:v>
                </c:pt>
                <c:pt idx="86">
                  <c:v>0.21428571428571427</c:v>
                </c:pt>
                <c:pt idx="87">
                  <c:v>0.16666666666666666</c:v>
                </c:pt>
                <c:pt idx="88">
                  <c:v>0.3333333333333333</c:v>
                </c:pt>
                <c:pt idx="89">
                  <c:v>0.2727272727272727</c:v>
                </c:pt>
                <c:pt idx="90">
                  <c:v>0.2222222222222222</c:v>
                </c:pt>
                <c:pt idx="91">
                  <c:v>0.2727272727272727</c:v>
                </c:pt>
                <c:pt idx="92">
                  <c:v>0.375</c:v>
                </c:pt>
                <c:pt idx="93">
                  <c:v>0.16666666666666666</c:v>
                </c:pt>
                <c:pt idx="94">
                  <c:v>0.3333333333333333</c:v>
                </c:pt>
                <c:pt idx="95">
                  <c:v>0.23076923076923078</c:v>
                </c:pt>
                <c:pt idx="96">
                  <c:v>0.4166666666666667</c:v>
                </c:pt>
                <c:pt idx="97">
                  <c:v>0.2</c:v>
                </c:pt>
                <c:pt idx="98">
                  <c:v>0.22727272727272727</c:v>
                </c:pt>
                <c:pt idx="99">
                  <c:v>0.13793103448275862</c:v>
                </c:pt>
                <c:pt idx="100">
                  <c:v>0.23529411764705882</c:v>
                </c:pt>
                <c:pt idx="101">
                  <c:v>0.21428571428571427</c:v>
                </c:pt>
                <c:pt idx="102">
                  <c:v>0.13333333333333333</c:v>
                </c:pt>
                <c:pt idx="103">
                  <c:v>0.2727272727272727</c:v>
                </c:pt>
                <c:pt idx="104">
                  <c:v>0.09090909090909091</c:v>
                </c:pt>
                <c:pt idx="105">
                  <c:v>0.5</c:v>
                </c:pt>
                <c:pt idx="106">
                  <c:v>0.2</c:v>
                </c:pt>
                <c:pt idx="107">
                  <c:v>0.4166666666666667</c:v>
                </c:pt>
                <c:pt idx="108">
                  <c:v>0.38461538461538464</c:v>
                </c:pt>
                <c:pt idx="109">
                  <c:v>0.2857142857142857</c:v>
                </c:pt>
                <c:pt idx="110">
                  <c:v>0.25</c:v>
                </c:pt>
                <c:pt idx="111">
                  <c:v>0.4</c:v>
                </c:pt>
                <c:pt idx="112">
                  <c:v>0.4</c:v>
                </c:pt>
                <c:pt idx="113">
                  <c:v>0.6666666666666666</c:v>
                </c:pt>
                <c:pt idx="114">
                  <c:v>0.14285714285714285</c:v>
                </c:pt>
                <c:pt idx="115">
                  <c:v>0.5555555555555556</c:v>
                </c:pt>
                <c:pt idx="116">
                  <c:v>0.4</c:v>
                </c:pt>
                <c:pt idx="117">
                  <c:v>0.25</c:v>
                </c:pt>
                <c:pt idx="118">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12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3:$A$149</c:f>
              <c:numCache>
                <c:formatCode>General</c:formatCode>
                <c:ptCount val="27"/>
                <c:pt idx="0">
                  <c:v>0.0</c:v>
                </c:pt>
                <c:pt idx="1">
                  <c:v>0.14861081197501616</c:v>
                </c:pt>
                <c:pt idx="2">
                  <c:v>0.1270718232044199</c:v>
                </c:pt>
                <c:pt idx="3">
                  <c:v>0.10122249388753056</c:v>
                </c:pt>
                <c:pt idx="4">
                  <c:v>0.0791647544745296</c:v>
                </c:pt>
                <c:pt idx="5">
                  <c:v>0.10945098728540459</c:v>
                </c:pt>
                <c:pt idx="6">
                  <c:v>0.10502635300167117</c:v>
                </c:pt>
                <c:pt idx="7">
                  <c:v>0.2148474319900666</c:v>
                </c:pt>
                <c:pt idx="8">
                  <c:v>0.056679509411590334</c:v>
                </c:pt>
                <c:pt idx="9">
                  <c:v>0.1464035646085296</c:v>
                </c:pt>
                <c:pt idx="10">
                  <c:v>0.16346724717989314</c:v>
                </c:pt>
                <c:pt idx="11">
                  <c:v>0.1086324662113065</c:v>
                </c:pt>
                <c:pt idx="12">
                  <c:v>0.35686578743211794</c:v>
                </c:pt>
                <c:pt idx="13">
                  <c:v>0.25480427046263343</c:v>
                </c:pt>
                <c:pt idx="14">
                  <c:v>0.19879635022325762</c:v>
                </c:pt>
                <c:pt idx="15">
                  <c:v>0.1344770337576093</c:v>
                </c:pt>
                <c:pt idx="16">
                  <c:v>0.0</c:v>
                </c:pt>
                <c:pt idx="17">
                  <c:v>0.11149193020719739</c:v>
                </c:pt>
                <c:pt idx="18">
                  <c:v>0.051398568227091636</c:v>
                </c:pt>
                <c:pt idx="19">
                  <c:v>0.0</c:v>
                </c:pt>
                <c:pt idx="20">
                  <c:v>0.09034267912772585</c:v>
                </c:pt>
                <c:pt idx="21">
                  <c:v>0.04261608572484296</c:v>
                </c:pt>
                <c:pt idx="22">
                  <c:v>0.06460227236021436</c:v>
                </c:pt>
                <c:pt idx="23">
                  <c:v>0.0</c:v>
                </c:pt>
                <c:pt idx="24">
                  <c:v>0.0</c:v>
                </c:pt>
                <c:pt idx="25">
                  <c:v>0.07533718689788053</c:v>
                </c:pt>
                <c:pt idx="26">
                  <c:v>0.0</c:v>
                </c:pt>
              </c:numCache>
            </c:numRef>
          </c:xVal>
          <c:yVal>
            <c:numRef>
              <c:f>Sheet1!$B$123:$B$149</c:f>
              <c:numCache>
                <c:formatCode>General</c:formatCode>
                <c:ptCount val="27"/>
                <c:pt idx="0">
                  <c:v>0.0</c:v>
                </c:pt>
                <c:pt idx="1">
                  <c:v>0.06666666666666667</c:v>
                </c:pt>
                <c:pt idx="2">
                  <c:v>0.1111111111111111</c:v>
                </c:pt>
                <c:pt idx="3">
                  <c:v>0.23529411764705882</c:v>
                </c:pt>
                <c:pt idx="4">
                  <c:v>0.16</c:v>
                </c:pt>
                <c:pt idx="5">
                  <c:v>0.25</c:v>
                </c:pt>
                <c:pt idx="6">
                  <c:v>0.2727272727272727</c:v>
                </c:pt>
                <c:pt idx="7">
                  <c:v>0.3</c:v>
                </c:pt>
                <c:pt idx="8">
                  <c:v>0.3333333333333333</c:v>
                </c:pt>
                <c:pt idx="9">
                  <c:v>0.18181818181818182</c:v>
                </c:pt>
                <c:pt idx="10">
                  <c:v>0.15384615384615385</c:v>
                </c:pt>
                <c:pt idx="11">
                  <c:v>0.25</c:v>
                </c:pt>
                <c:pt idx="12">
                  <c:v>0.1111111111111111</c:v>
                </c:pt>
                <c:pt idx="13">
                  <c:v>0.2</c:v>
                </c:pt>
                <c:pt idx="14">
                  <c:v>0.16666666666666666</c:v>
                </c:pt>
                <c:pt idx="15">
                  <c:v>0.16666666666666666</c:v>
                </c:pt>
                <c:pt idx="16">
                  <c:v>0.0</c:v>
                </c:pt>
                <c:pt idx="17">
                  <c:v>0.42857142857142855</c:v>
                </c:pt>
                <c:pt idx="18">
                  <c:v>0.5454545454545454</c:v>
                </c:pt>
                <c:pt idx="19">
                  <c:v>0.0</c:v>
                </c:pt>
                <c:pt idx="20">
                  <c:v>0.3333333333333333</c:v>
                </c:pt>
                <c:pt idx="21">
                  <c:v>0.14285714285714285</c:v>
                </c:pt>
                <c:pt idx="22">
                  <c:v>0.09090909090909091</c:v>
                </c:pt>
                <c:pt idx="23">
                  <c:v>0.0</c:v>
                </c:pt>
                <c:pt idx="24">
                  <c:v>0.0</c:v>
                </c:pt>
                <c:pt idx="25">
                  <c:v>0.05263157894736842</c:v>
                </c:pt>
                <c:pt idx="26">
                  <c:v>0.0</c:v>
                </c:pt>
              </c:numCache>
            </c:numRef>
          </c:yVal>
          <c:smooth val="0"/>
          <c:extLst>
            <c:ext xmlns:c16="http://schemas.microsoft.com/office/drawing/2014/chart" uri="{C3380CC4-5D6E-409C-BE32-E72D297353CC}">
              <c16:uniqueId val="{00000002-096C-4121-9522-6AB7243CCAAE}"/>
            </c:ext>
          </c:extLst>
        </c:ser>
        <c:ser>
          <c:idx val="2"/>
          <c:order val="2"/>
          <c:tx>
            <c:strRef>
              <c:f>Sheet1!$B$1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2:$A$153</c:f>
              <c:numCache>
                <c:formatCode>General</c:formatCode>
                <c:ptCount val="2"/>
                <c:pt idx="0">
                  <c:v>0</c:v>
                </c:pt>
                <c:pt idx="1">
                  <c:v>0.8083967647268193</c:v>
                </c:pt>
              </c:numCache>
            </c:numRef>
          </c:xVal>
          <c:yVal>
            <c:numRef>
              <c:f>Sheet1!$B$152:$B$153</c:f>
              <c:numCache>
                <c:formatCode>General</c:formatCode>
                <c:ptCount val="2"/>
                <c:pt idx="0">
                  <c:v>0.4773933036895033</c:v>
                </c:pt>
                <c:pt idx="1">
                  <c:v>0.4773933036895033</c:v>
                </c:pt>
              </c:numCache>
            </c:numRef>
          </c:yVal>
          <c:smooth val="0"/>
          <c:extLst>
            <c:ext xmlns:c16="http://schemas.microsoft.com/office/drawing/2014/chart" uri="{C3380CC4-5D6E-409C-BE32-E72D297353CC}">
              <c16:uniqueId val="{00000005-096C-4121-9522-6AB7243CCAAE}"/>
            </c:ext>
          </c:extLst>
        </c:ser>
        <c:ser>
          <c:idx val="3"/>
          <c:order val="3"/>
          <c:tx>
            <c:strRef>
              <c:f>Sheet1!$B$1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8083967647268193</c:v>
                </c:pt>
                <c:pt idx="1">
                  <c:v>0.8083967647268193</c:v>
                </c:pt>
              </c:numCache>
            </c:numRef>
          </c:xVal>
          <c:yVal>
            <c:numRef>
              <c:f>Sheet1!$B$156:$B$157</c:f>
              <c:numCache>
                <c:formatCode>General</c:formatCode>
                <c:ptCount val="2"/>
                <c:pt idx="0">
                  <c:v>0.47739330368950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0:$A$161</c:f>
              <c:numCache>
                <c:formatCode>General</c:formatCode>
                <c:ptCount val="2"/>
                <c:pt idx="0">
                  <c:v>0</c:v>
                </c:pt>
                <c:pt idx="1">
                  <c:v>0.4385956528597563</c:v>
                </c:pt>
              </c:numCache>
            </c:numRef>
          </c:xVal>
          <c:yVal>
            <c:numRef>
              <c:f>Sheet1!$B$160:$B$161</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D-096C-4121-9522-6AB7243CCAAE}"/>
            </c:ext>
          </c:extLst>
        </c:ser>
        <c:ser>
          <c:idx val="5"/>
          <c:order val="5"/>
          <c:tx>
            <c:strRef>
              <c:f>Sheet1!$B$1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4385956528597563</c:v>
                </c:pt>
                <c:pt idx="1">
                  <c:v>0.4385956528597563</c:v>
                </c:pt>
              </c:numCache>
            </c:numRef>
          </c:xVal>
          <c:yVal>
            <c:numRef>
              <c:f>Sheet1!$B$164:$B$165</c:f>
              <c:numCache>
                <c:formatCode>General</c:formatCode>
                <c:ptCount val="2"/>
                <c:pt idx="0">
                  <c:v>0.31586191586191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8:$A$169</c:f>
              <c:numCache>
                <c:formatCode>General</c:formatCode>
                <c:ptCount val="2"/>
                <c:pt idx="0">
                  <c:v>0</c:v>
                </c:pt>
                <c:pt idx="1">
                  <c:v>0.010014326475493553</c:v>
                </c:pt>
              </c:numCache>
            </c:numRef>
          </c:xVal>
          <c:yVal>
            <c:numRef>
              <c:f>Sheet1!$B$168:$B$169</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5-096C-4121-9522-6AB7243CCAAE}"/>
            </c:ext>
          </c:extLst>
        </c:ser>
        <c:ser>
          <c:idx val="7"/>
          <c:order val="7"/>
          <c:tx>
            <c:strRef>
              <c:f>Sheet1!$B$1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010014326475493553</c:v>
                </c:pt>
                <c:pt idx="1">
                  <c:v>0.010014326475493553</c:v>
                </c:pt>
              </c:numCache>
            </c:numRef>
          </c:xVal>
          <c:yVal>
            <c:numRef>
              <c:f>Sheet1!$B$172:$B$173</c:f>
              <c:numCache>
                <c:formatCode>General</c:formatCode>
                <c:ptCount val="2"/>
                <c:pt idx="0">
                  <c:v>0.12865497076023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6:$A$205</c:f>
              <c:numCache>
                <c:formatCode>General</c:formatCode>
                <c:ptCount val="30"/>
                <c:pt idx="0">
                  <c:v>0.0</c:v>
                </c:pt>
                <c:pt idx="1">
                  <c:v>0.14861081197501616</c:v>
                </c:pt>
                <c:pt idx="2">
                  <c:v>0.1270718232044199</c:v>
                </c:pt>
                <c:pt idx="3">
                  <c:v>0.10122249388753056</c:v>
                </c:pt>
                <c:pt idx="4">
                  <c:v>0.0791647544745296</c:v>
                </c:pt>
                <c:pt idx="5">
                  <c:v>0.10945098728540459</c:v>
                </c:pt>
                <c:pt idx="6">
                  <c:v>0.10502635300167117</c:v>
                </c:pt>
                <c:pt idx="7">
                  <c:v>0.2148474319900666</c:v>
                </c:pt>
                <c:pt idx="8">
                  <c:v>0.056679509411590334</c:v>
                </c:pt>
                <c:pt idx="9">
                  <c:v>0.1464035646085296</c:v>
                </c:pt>
                <c:pt idx="10">
                  <c:v>0.16346724717989314</c:v>
                </c:pt>
                <c:pt idx="11">
                  <c:v>0.1086324662113065</c:v>
                </c:pt>
                <c:pt idx="12">
                  <c:v>0.35686578743211794</c:v>
                </c:pt>
                <c:pt idx="13">
                  <c:v>0.25480427046263343</c:v>
                </c:pt>
                <c:pt idx="14">
                  <c:v>0.19879635022325762</c:v>
                </c:pt>
                <c:pt idx="15">
                  <c:v>0.1344770337576093</c:v>
                </c:pt>
                <c:pt idx="16">
                  <c:v>0.0</c:v>
                </c:pt>
                <c:pt idx="17">
                  <c:v>0.11149193020719739</c:v>
                </c:pt>
                <c:pt idx="18">
                  <c:v>0.051398568227091636</c:v>
                </c:pt>
                <c:pt idx="19">
                  <c:v>0.0</c:v>
                </c:pt>
                <c:pt idx="20">
                  <c:v>0.09034267912772585</c:v>
                </c:pt>
                <c:pt idx="21">
                  <c:v>0.04261608572484296</c:v>
                </c:pt>
                <c:pt idx="22">
                  <c:v>0.06460227236021436</c:v>
                </c:pt>
                <c:pt idx="23">
                  <c:v>0.0</c:v>
                </c:pt>
                <c:pt idx="24">
                  <c:v>0.0</c:v>
                </c:pt>
                <c:pt idx="25">
                  <c:v>0.07533718689788053</c:v>
                </c:pt>
                <c:pt idx="26">
                  <c:v>0.0</c:v>
                </c:pt>
                <c:pt idx="27">
                  <c:v>0.4385956528597563</c:v>
                </c:pt>
                <c:pt idx="28">
                  <c:v>0.8083967647268193</c:v>
                </c:pt>
                <c:pt idx="29">
                  <c:v>0.010014326475493553</c:v>
                </c:pt>
              </c:numCache>
            </c:numRef>
          </c:xVal>
          <c:yVal>
            <c:numRef>
              <c:f>Sheet1!$B$176:$B$205</c:f>
              <c:numCache>
                <c:formatCode>General</c:formatCode>
                <c:ptCount val="30"/>
                <c:pt idx="0">
                  <c:v>0.12428065169564836</c:v>
                </c:pt>
                <c:pt idx="1">
                  <c:v>0.18919476345510272</c:v>
                </c:pt>
                <c:pt idx="2">
                  <c:v>0.1797864014008319</c:v>
                </c:pt>
                <c:pt idx="3">
                  <c:v>0.1684952562285305</c:v>
                </c:pt>
                <c:pt idx="4">
                  <c:v>0.15886030072033247</c:v>
                </c:pt>
                <c:pt idx="5">
                  <c:v>0.17208951248043314</c:v>
                </c:pt>
                <c:pt idx="6">
                  <c:v>0.1701568051587258</c:v>
                </c:pt>
                <c:pt idx="7">
                  <c:v>0.21812732426331866</c:v>
                </c:pt>
                <c:pt idx="8">
                  <c:v>0.1490386081290845</c:v>
                </c:pt>
                <c:pt idx="9">
                  <c:v>0.1882306243031482</c:v>
                </c:pt>
                <c:pt idx="10">
                  <c:v>0.19568414523304906</c:v>
                </c:pt>
                <c:pt idx="11">
                  <c:v>0.17173197746817304</c:v>
                </c:pt>
                <c:pt idx="12">
                  <c:v>0.28016181068150126</c:v>
                </c:pt>
                <c:pt idx="13">
                  <c:v>0.2355807157339118</c:v>
                </c:pt>
                <c:pt idx="14">
                  <c:v>0.21111611355917453</c:v>
                </c:pt>
                <c:pt idx="15">
                  <c:v>0.1830210426699533</c:v>
                </c:pt>
                <c:pt idx="16">
                  <c:v>0.12428065169564836</c:v>
                </c:pt>
                <c:pt idx="17">
                  <c:v>0.1729810088336204</c:v>
                </c:pt>
                <c:pt idx="18">
                  <c:v>0.14673186071488367</c:v>
                </c:pt>
                <c:pt idx="19">
                  <c:v>0.12428065169564836</c:v>
                </c:pt>
                <c:pt idx="20">
                  <c:v>0.16374288658695385</c:v>
                </c:pt>
                <c:pt idx="21">
                  <c:v>0.14289561863330305</c:v>
                </c:pt>
                <c:pt idx="22">
                  <c:v>0.15249931945052664</c:v>
                </c:pt>
                <c:pt idx="23">
                  <c:v>0.12428065169564836</c:v>
                </c:pt>
                <c:pt idx="24">
                  <c:v>0.12428065169564836</c:v>
                </c:pt>
                <c:pt idx="25">
                  <c:v>0.157188395788683</c:v>
                </c:pt>
                <c:pt idx="26">
                  <c:v>0.12428065169564836</c:v>
                </c:pt>
                <c:pt idx="27">
                  <c:v>0.3158619158619158</c:v>
                </c:pt>
                <c:pt idx="28">
                  <c:v>0.4773933036895033</c:v>
                </c:pt>
                <c:pt idx="29">
                  <c:v>0.12865497076023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716.0</c:v>
                </c:pt>
                <c:pt idx="1">
                  <c:v>874.6</c:v>
                </c:pt>
                <c:pt idx="2">
                  <c:v>917.1667</c:v>
                </c:pt>
                <c:pt idx="3">
                  <c:v>908.7143</c:v>
                </c:pt>
                <c:pt idx="4">
                  <c:v>921.0</c:v>
                </c:pt>
                <c:pt idx="5">
                  <c:v>829.5714</c:v>
                </c:pt>
                <c:pt idx="6">
                  <c:v>707.4444</c:v>
                </c:pt>
                <c:pt idx="7">
                  <c:v>841.8</c:v>
                </c:pt>
                <c:pt idx="8">
                  <c:v>911.0</c:v>
                </c:pt>
                <c:pt idx="9">
                  <c:v>921.4</c:v>
                </c:pt>
                <c:pt idx="10">
                  <c:v>732.5556</c:v>
                </c:pt>
                <c:pt idx="11">
                  <c:v>860.3333</c:v>
                </c:pt>
                <c:pt idx="12">
                  <c:v>885.5</c:v>
                </c:pt>
                <c:pt idx="13">
                  <c:v>825.6667</c:v>
                </c:pt>
                <c:pt idx="14">
                  <c:v>933.5</c:v>
                </c:pt>
                <c:pt idx="15">
                  <c:v>823.75</c:v>
                </c:pt>
                <c:pt idx="16">
                  <c:v>834.4</c:v>
                </c:pt>
                <c:pt idx="17">
                  <c:v>729.8</c:v>
                </c:pt>
                <c:pt idx="18">
                  <c:v>832.0</c:v>
                </c:pt>
                <c:pt idx="19">
                  <c:v>619.0</c:v>
                </c:pt>
                <c:pt idx="20">
                  <c:v>836.5</c:v>
                </c:pt>
                <c:pt idx="21">
                  <c:v>1495.0</c:v>
                </c:pt>
                <c:pt idx="22">
                  <c:v>764.6667</c:v>
                </c:pt>
                <c:pt idx="23">
                  <c:v>741.0</c:v>
                </c:pt>
                <c:pt idx="24">
                  <c:v>1131.5</c:v>
                </c:pt>
                <c:pt idx="25">
                  <c:v>1020.0</c:v>
                </c:pt>
                <c:pt idx="26">
                  <c:v>720.3333</c:v>
                </c:pt>
                <c:pt idx="27">
                  <c:v>903.5</c:v>
                </c:pt>
                <c:pt idx="28">
                  <c:v>782.3333</c:v>
                </c:pt>
                <c:pt idx="29">
                  <c:v>952.0</c:v>
                </c:pt>
                <c:pt idx="30">
                  <c:v>1005.3333</c:v>
                </c:pt>
                <c:pt idx="31">
                  <c:v>1415.0</c:v>
                </c:pt>
                <c:pt idx="32">
                  <c:v>1330.0</c:v>
                </c:pt>
                <c:pt idx="33">
                  <c:v>754.6667</c:v>
                </c:pt>
                <c:pt idx="34">
                  <c:v>684.0</c:v>
                </c:pt>
                <c:pt idx="35">
                  <c:v>754.0</c:v>
                </c:pt>
                <c:pt idx="36">
                  <c:v>978.5</c:v>
                </c:pt>
                <c:pt idx="37">
                  <c:v>1062.5</c:v>
                </c:pt>
                <c:pt idx="38">
                  <c:v>895.0</c:v>
                </c:pt>
                <c:pt idx="39">
                  <c:v>785.4444</c:v>
                </c:pt>
                <c:pt idx="40">
                  <c:v>828.3529</c:v>
                </c:pt>
                <c:pt idx="41">
                  <c:v>804.7273</c:v>
                </c:pt>
                <c:pt idx="42">
                  <c:v>803.6471</c:v>
                </c:pt>
                <c:pt idx="43">
                  <c:v>791.4737</c:v>
                </c:pt>
                <c:pt idx="44">
                  <c:v>820.2105</c:v>
                </c:pt>
                <c:pt idx="45">
                  <c:v>858.9545</c:v>
                </c:pt>
                <c:pt idx="46">
                  <c:v>848.4762</c:v>
                </c:pt>
                <c:pt idx="47">
                  <c:v>879.1538</c:v>
                </c:pt>
                <c:pt idx="48">
                  <c:v>792.4615</c:v>
                </c:pt>
                <c:pt idx="49">
                  <c:v>856.9524</c:v>
                </c:pt>
                <c:pt idx="50">
                  <c:v>788.3636</c:v>
                </c:pt>
                <c:pt idx="51">
                  <c:v>856.7143</c:v>
                </c:pt>
                <c:pt idx="52">
                  <c:v>833.8571</c:v>
                </c:pt>
                <c:pt idx="53">
                  <c:v>973.2</c:v>
                </c:pt>
                <c:pt idx="54">
                  <c:v>1071.75</c:v>
                </c:pt>
                <c:pt idx="55">
                  <c:v>1033.0</c:v>
                </c:pt>
                <c:pt idx="56">
                  <c:v>960.2</c:v>
                </c:pt>
                <c:pt idx="57">
                  <c:v>921.6667</c:v>
                </c:pt>
                <c:pt idx="58">
                  <c:v>717.7778</c:v>
                </c:pt>
                <c:pt idx="59">
                  <c:v>833.7778</c:v>
                </c:pt>
                <c:pt idx="60">
                  <c:v>983.2</c:v>
                </c:pt>
                <c:pt idx="61">
                  <c:v>1591.0</c:v>
                </c:pt>
                <c:pt idx="62">
                  <c:v>689.8</c:v>
                </c:pt>
                <c:pt idx="63">
                  <c:v>895.25</c:v>
                </c:pt>
                <c:pt idx="64">
                  <c:v>906.25</c:v>
                </c:pt>
                <c:pt idx="65">
                  <c:v>939.0</c:v>
                </c:pt>
                <c:pt idx="66">
                  <c:v>629.6667</c:v>
                </c:pt>
                <c:pt idx="67">
                  <c:v>651.8571</c:v>
                </c:pt>
                <c:pt idx="68">
                  <c:v>881.6667</c:v>
                </c:pt>
                <c:pt idx="69">
                  <c:v>1252.0</c:v>
                </c:pt>
                <c:pt idx="70">
                  <c:v>960.0</c:v>
                </c:pt>
                <c:pt idx="71">
                  <c:v>852.0</c:v>
                </c:pt>
                <c:pt idx="72">
                  <c:v>826.0</c:v>
                </c:pt>
                <c:pt idx="73">
                  <c:v>1080.0</c:v>
                </c:pt>
                <c:pt idx="74">
                  <c:v>1380.0</c:v>
                </c:pt>
                <c:pt idx="75">
                  <c:v>826.0</c:v>
                </c:pt>
                <c:pt idx="76">
                  <c:v>1526.0</c:v>
                </c:pt>
                <c:pt idx="77">
                  <c:v>852.0</c:v>
                </c:pt>
                <c:pt idx="78">
                  <c:v>1075.0</c:v>
                </c:pt>
                <c:pt idx="79">
                  <c:v>1150.0</c:v>
                </c:pt>
                <c:pt idx="80">
                  <c:v>1176.0</c:v>
                </c:pt>
                <c:pt idx="81">
                  <c:v>788.0</c:v>
                </c:pt>
                <c:pt idx="82">
                  <c:v>838.5</c:v>
                </c:pt>
                <c:pt idx="83">
                  <c:v>920.0</c:v>
                </c:pt>
                <c:pt idx="84">
                  <c:v>889.0</c:v>
                </c:pt>
                <c:pt idx="85">
                  <c:v>884.5</c:v>
                </c:pt>
                <c:pt idx="86">
                  <c:v>962.6667</c:v>
                </c:pt>
                <c:pt idx="87">
                  <c:v>1234.0</c:v>
                </c:pt>
                <c:pt idx="88">
                  <c:v>805.0</c:v>
                </c:pt>
                <c:pt idx="89">
                  <c:v>863.6667</c:v>
                </c:pt>
                <c:pt idx="90">
                  <c:v>805.0</c:v>
                </c:pt>
                <c:pt idx="91">
                  <c:v>1143.3333</c:v>
                </c:pt>
                <c:pt idx="92">
                  <c:v>734.3333</c:v>
                </c:pt>
                <c:pt idx="93">
                  <c:v>1289.0</c:v>
                </c:pt>
                <c:pt idx="94">
                  <c:v>605.25</c:v>
                </c:pt>
                <c:pt idx="95">
                  <c:v>664.6667</c:v>
                </c:pt>
                <c:pt idx="96">
                  <c:v>825.2</c:v>
                </c:pt>
                <c:pt idx="97">
                  <c:v>920.0</c:v>
                </c:pt>
                <c:pt idx="98">
                  <c:v>953.6</c:v>
                </c:pt>
                <c:pt idx="99">
                  <c:v>954.5</c:v>
                </c:pt>
                <c:pt idx="100">
                  <c:v>955.0</c:v>
                </c:pt>
                <c:pt idx="101">
                  <c:v>875.0</c:v>
                </c:pt>
                <c:pt idx="102">
                  <c:v>1035.0</c:v>
                </c:pt>
                <c:pt idx="103">
                  <c:v>621.6667</c:v>
                </c:pt>
              </c:numCache>
            </c:numRef>
          </c:xVal>
          <c:yVal>
            <c:numRef>
              <c:f>Sheet1!$B$2:$B$105</c:f>
              <c:numCache>
                <c:formatCode>General</c:formatCode>
                <c:ptCount val="104"/>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6</c:v>
                </c:pt>
                <c:pt idx="11">
                  <c:v>0.3333333333333333</c:v>
                </c:pt>
                <c:pt idx="12">
                  <c:v>0.3</c:v>
                </c:pt>
                <c:pt idx="13">
                  <c:v>0.3</c:v>
                </c:pt>
                <c:pt idx="14">
                  <c:v>0.2727272727272727</c:v>
                </c:pt>
                <c:pt idx="15">
                  <c:v>0.25</c:v>
                </c:pt>
                <c:pt idx="16">
                  <c:v>0.29411764705882354</c:v>
                </c:pt>
                <c:pt idx="17">
                  <c:v>0.3333333333333333</c:v>
                </c:pt>
                <c:pt idx="18">
                  <c:v>0.2222222222222222</c:v>
                </c:pt>
                <c:pt idx="19">
                  <c:v>0.1</c:v>
                </c:pt>
                <c:pt idx="20">
                  <c:v>0.1</c:v>
                </c:pt>
                <c:pt idx="21">
                  <c:v>0.07692307692307693</c:v>
                </c:pt>
                <c:pt idx="22">
                  <c:v>0.1875</c:v>
                </c:pt>
                <c:pt idx="23">
                  <c:v>0.15384615384615385</c:v>
                </c:pt>
                <c:pt idx="24">
                  <c:v>0.14285714285714285</c:v>
                </c:pt>
                <c:pt idx="25">
                  <c:v>0.13333333333333333</c:v>
                </c:pt>
                <c:pt idx="26">
                  <c:v>0.25</c:v>
                </c:pt>
                <c:pt idx="27">
                  <c:v>0.26666666666666666</c:v>
                </c:pt>
                <c:pt idx="28">
                  <c:v>0.2727272727272727</c:v>
                </c:pt>
                <c:pt idx="29">
                  <c:v>0.2727272727272727</c:v>
                </c:pt>
                <c:pt idx="30">
                  <c:v>0.3333333333333333</c:v>
                </c:pt>
                <c:pt idx="31">
                  <c:v>0.125</c:v>
                </c:pt>
                <c:pt idx="32">
                  <c:v>0.14285714285714285</c:v>
                </c:pt>
                <c:pt idx="33">
                  <c:v>0.42857142857142855</c:v>
                </c:pt>
                <c:pt idx="34">
                  <c:v>0.21428571428571427</c:v>
                </c:pt>
                <c:pt idx="35">
                  <c:v>0.15789473684210525</c:v>
                </c:pt>
                <c:pt idx="36">
                  <c:v>0.125</c:v>
                </c:pt>
                <c:pt idx="37">
                  <c:v>0.2</c:v>
                </c:pt>
                <c:pt idx="38">
                  <c:v>0.2222222222222222</c:v>
                </c:pt>
                <c:pt idx="39">
                  <c:v>0.6</c:v>
                </c:pt>
                <c:pt idx="40">
                  <c:v>0.7083333333333334</c:v>
                </c:pt>
                <c:pt idx="41">
                  <c:v>0.7857142857142857</c:v>
                </c:pt>
                <c:pt idx="42">
                  <c:v>0.6538461538461539</c:v>
                </c:pt>
                <c:pt idx="43">
                  <c:v>0.6129032258064516</c:v>
                </c:pt>
                <c:pt idx="44">
                  <c:v>0.5428571428571428</c:v>
                </c:pt>
                <c:pt idx="45">
                  <c:v>0.5945945945945946</c:v>
                </c:pt>
                <c:pt idx="46">
                  <c:v>0.5384615384615384</c:v>
                </c:pt>
                <c:pt idx="47">
                  <c:v>0.4642857142857143</c:v>
                </c:pt>
                <c:pt idx="48">
                  <c:v>0.34210526315789475</c:v>
                </c:pt>
                <c:pt idx="49">
                  <c:v>0.375</c:v>
                </c:pt>
                <c:pt idx="50">
                  <c:v>0.44</c:v>
                </c:pt>
                <c:pt idx="51">
                  <c:v>0.35</c:v>
                </c:pt>
                <c:pt idx="52">
                  <c:v>0.3181818181818182</c:v>
                </c:pt>
                <c:pt idx="53">
                  <c:v>0.29411764705882354</c:v>
                </c:pt>
                <c:pt idx="54">
                  <c:v>0.21052631578947367</c:v>
                </c:pt>
                <c:pt idx="55">
                  <c:v>0.17391304347826086</c:v>
                </c:pt>
                <c:pt idx="56">
                  <c:v>0.17857142857142858</c:v>
                </c:pt>
                <c:pt idx="57">
                  <c:v>0.1111111111111111</c:v>
                </c:pt>
                <c:pt idx="58">
                  <c:v>0.3</c:v>
                </c:pt>
                <c:pt idx="59">
                  <c:v>0.1836734693877551</c:v>
                </c:pt>
                <c:pt idx="60">
                  <c:v>0.10869565217391304</c:v>
                </c:pt>
                <c:pt idx="61">
                  <c:v>0.043478260869565216</c:v>
                </c:pt>
                <c:pt idx="62">
                  <c:v>0.3125</c:v>
                </c:pt>
                <c:pt idx="63">
                  <c:v>0.16666666666666666</c:v>
                </c:pt>
                <c:pt idx="64">
                  <c:v>0.17391304347826086</c:v>
                </c:pt>
                <c:pt idx="65">
                  <c:v>0.1</c:v>
                </c:pt>
                <c:pt idx="66">
                  <c:v>0.14285714285714285</c:v>
                </c:pt>
                <c:pt idx="67">
                  <c:v>0.30434782608695654</c:v>
                </c:pt>
                <c:pt idx="68">
                  <c:v>0.2</c:v>
                </c:pt>
                <c:pt idx="69">
                  <c:v>0.08333333333333333</c:v>
                </c:pt>
                <c:pt idx="70">
                  <c:v>0.15384615384615385</c:v>
                </c:pt>
                <c:pt idx="71">
                  <c:v>0.14285714285714285</c:v>
                </c:pt>
                <c:pt idx="72">
                  <c:v>0.13333333333333333</c:v>
                </c:pt>
                <c:pt idx="73">
                  <c:v>0.15384615384615385</c:v>
                </c:pt>
                <c:pt idx="74">
                  <c:v>0.07692307692307693</c:v>
                </c:pt>
                <c:pt idx="75">
                  <c:v>0.13333333333333333</c:v>
                </c:pt>
                <c:pt idx="76">
                  <c:v>0.1111111111111111</c:v>
                </c:pt>
                <c:pt idx="77">
                  <c:v>0.18181818181818182</c:v>
                </c:pt>
                <c:pt idx="78">
                  <c:v>0.25</c:v>
                </c:pt>
                <c:pt idx="79">
                  <c:v>0.25</c:v>
                </c:pt>
                <c:pt idx="80">
                  <c:v>0.2222222222222222</c:v>
                </c:pt>
                <c:pt idx="81">
                  <c:v>0.25</c:v>
                </c:pt>
                <c:pt idx="82">
                  <c:v>0.4</c:v>
                </c:pt>
                <c:pt idx="83">
                  <c:v>0.125</c:v>
                </c:pt>
                <c:pt idx="84">
                  <c:v>0.2</c:v>
                </c:pt>
                <c:pt idx="85">
                  <c:v>0.18181818181818182</c:v>
                </c:pt>
                <c:pt idx="86">
                  <c:v>0.21428571428571427</c:v>
                </c:pt>
                <c:pt idx="87">
                  <c:v>0.16666666666666666</c:v>
                </c:pt>
                <c:pt idx="88">
                  <c:v>0.3333333333333333</c:v>
                </c:pt>
                <c:pt idx="89">
                  <c:v>0.2727272727272727</c:v>
                </c:pt>
                <c:pt idx="90">
                  <c:v>0.2222222222222222</c:v>
                </c:pt>
                <c:pt idx="91">
                  <c:v>0.2727272727272727</c:v>
                </c:pt>
                <c:pt idx="92">
                  <c:v>0.375</c:v>
                </c:pt>
                <c:pt idx="93">
                  <c:v>0.16666666666666666</c:v>
                </c:pt>
                <c:pt idx="94">
                  <c:v>0.3333333333333333</c:v>
                </c:pt>
                <c:pt idx="95">
                  <c:v>0.23076923076923078</c:v>
                </c:pt>
                <c:pt idx="96">
                  <c:v>0.4166666666666667</c:v>
                </c:pt>
                <c:pt idx="97">
                  <c:v>0.2</c:v>
                </c:pt>
                <c:pt idx="98">
                  <c:v>0.22727272727272727</c:v>
                </c:pt>
                <c:pt idx="99">
                  <c:v>0.13793103448275862</c:v>
                </c:pt>
                <c:pt idx="100">
                  <c:v>0.23529411764705882</c:v>
                </c:pt>
                <c:pt idx="101">
                  <c:v>0.21428571428571427</c:v>
                </c:pt>
                <c:pt idx="102">
                  <c:v>0.13333333333333333</c:v>
                </c:pt>
                <c:pt idx="103">
                  <c:v>0.2727272727272727</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49</c:f>
              <c:numCache>
                <c:formatCode>General</c:formatCode>
                <c:ptCount val="42"/>
                <c:pt idx="0">
                  <c:v>0.0</c:v>
                </c:pt>
                <c:pt idx="1">
                  <c:v>1380.0</c:v>
                </c:pt>
                <c:pt idx="2">
                  <c:v>690.0</c:v>
                </c:pt>
                <c:pt idx="3">
                  <c:v>1150.0</c:v>
                </c:pt>
                <c:pt idx="4">
                  <c:v>1035.0</c:v>
                </c:pt>
                <c:pt idx="5">
                  <c:v>862.5</c:v>
                </c:pt>
                <c:pt idx="6">
                  <c:v>934.0</c:v>
                </c:pt>
                <c:pt idx="7">
                  <c:v>817.0</c:v>
                </c:pt>
                <c:pt idx="8">
                  <c:v>711.5714</c:v>
                </c:pt>
                <c:pt idx="9">
                  <c:v>1316.0</c:v>
                </c:pt>
                <c:pt idx="10">
                  <c:v>951.6667</c:v>
                </c:pt>
                <c:pt idx="11">
                  <c:v>717.6</c:v>
                </c:pt>
                <c:pt idx="12">
                  <c:v>764.8333</c:v>
                </c:pt>
                <c:pt idx="13">
                  <c:v>920.0</c:v>
                </c:pt>
                <c:pt idx="14">
                  <c:v>786.6</c:v>
                </c:pt>
                <c:pt idx="15">
                  <c:v>826.0</c:v>
                </c:pt>
                <c:pt idx="16">
                  <c:v>747.5</c:v>
                </c:pt>
                <c:pt idx="17">
                  <c:v>805.0</c:v>
                </c:pt>
                <c:pt idx="18">
                  <c:v>1380.0</c:v>
                </c:pt>
                <c:pt idx="19">
                  <c:v>1432.0</c:v>
                </c:pt>
                <c:pt idx="20">
                  <c:v>1024.0</c:v>
                </c:pt>
                <c:pt idx="21">
                  <c:v>920.0</c:v>
                </c:pt>
                <c:pt idx="22">
                  <c:v>972.0</c:v>
                </c:pt>
                <c:pt idx="23">
                  <c:v>917.5</c:v>
                </c:pt>
                <c:pt idx="24">
                  <c:v>0.0</c:v>
                </c:pt>
                <c:pt idx="25">
                  <c:v>1042.5</c:v>
                </c:pt>
                <c:pt idx="26">
                  <c:v>618.75</c:v>
                </c:pt>
                <c:pt idx="27">
                  <c:v>715.6667</c:v>
                </c:pt>
                <c:pt idx="28">
                  <c:v>1190.0</c:v>
                </c:pt>
                <c:pt idx="29">
                  <c:v>698.2</c:v>
                </c:pt>
                <c:pt idx="30">
                  <c:v>538.0</c:v>
                </c:pt>
                <c:pt idx="31">
                  <c:v>412.8333</c:v>
                </c:pt>
                <c:pt idx="32">
                  <c:v>0.0</c:v>
                </c:pt>
                <c:pt idx="33">
                  <c:v>377.0</c:v>
                </c:pt>
                <c:pt idx="34">
                  <c:v>346.0</c:v>
                </c:pt>
                <c:pt idx="35">
                  <c:v>379.0</c:v>
                </c:pt>
                <c:pt idx="36">
                  <c:v>0.0</c:v>
                </c:pt>
                <c:pt idx="37">
                  <c:v>0.0</c:v>
                </c:pt>
                <c:pt idx="38">
                  <c:v>679.0</c:v>
                </c:pt>
                <c:pt idx="39">
                  <c:v>391.5</c:v>
                </c:pt>
                <c:pt idx="40">
                  <c:v>391.0</c:v>
                </c:pt>
                <c:pt idx="41">
                  <c:v>0.0</c:v>
                </c:pt>
              </c:numCache>
            </c:numRef>
          </c:xVal>
          <c:yVal>
            <c:numRef>
              <c:f>Sheet1!$B$108:$B$149</c:f>
              <c:numCache>
                <c:formatCode>General</c:formatCode>
                <c:ptCount val="42"/>
                <c:pt idx="0">
                  <c:v>0.0</c:v>
                </c:pt>
                <c:pt idx="1">
                  <c:v>0.09090909090909091</c:v>
                </c:pt>
                <c:pt idx="2">
                  <c:v>0.06666666666666667</c:v>
                </c:pt>
                <c:pt idx="3">
                  <c:v>0.1111111111111111</c:v>
                </c:pt>
                <c:pt idx="4">
                  <c:v>0.23529411764705882</c:v>
                </c:pt>
                <c:pt idx="5">
                  <c:v>0.16</c:v>
                </c:pt>
                <c:pt idx="6">
                  <c:v>0.25</c:v>
                </c:pt>
                <c:pt idx="7">
                  <c:v>0.2727272727272727</c:v>
                </c:pt>
                <c:pt idx="8">
                  <c:v>0.5</c:v>
                </c:pt>
                <c:pt idx="9">
                  <c:v>0.2</c:v>
                </c:pt>
                <c:pt idx="10">
                  <c:v>0.3</c:v>
                </c:pt>
                <c:pt idx="11">
                  <c:v>0.4166666666666667</c:v>
                </c:pt>
                <c:pt idx="12">
                  <c:v>0.3333333333333333</c:v>
                </c:pt>
                <c:pt idx="13">
                  <c:v>0.18181818181818182</c:v>
                </c:pt>
                <c:pt idx="14">
                  <c:v>0.38461538461538464</c:v>
                </c:pt>
                <c:pt idx="15">
                  <c:v>0.15384615384615385</c:v>
                </c:pt>
                <c:pt idx="16">
                  <c:v>0.25</c:v>
                </c:pt>
                <c:pt idx="17">
                  <c:v>0.2857142857142857</c:v>
                </c:pt>
                <c:pt idx="18">
                  <c:v>0.1111111111111111</c:v>
                </c:pt>
                <c:pt idx="19">
                  <c:v>0.2</c:v>
                </c:pt>
                <c:pt idx="20">
                  <c:v>0.16666666666666666</c:v>
                </c:pt>
                <c:pt idx="21">
                  <c:v>0.25</c:v>
                </c:pt>
                <c:pt idx="22">
                  <c:v>0.16666666666666666</c:v>
                </c:pt>
                <c:pt idx="23">
                  <c:v>0.4</c:v>
                </c:pt>
                <c:pt idx="24">
                  <c:v>0.0</c:v>
                </c:pt>
                <c:pt idx="25">
                  <c:v>0.4</c:v>
                </c:pt>
                <c:pt idx="26">
                  <c:v>0.6666666666666666</c:v>
                </c:pt>
                <c:pt idx="27">
                  <c:v>0.42857142857142855</c:v>
                </c:pt>
                <c:pt idx="28">
                  <c:v>0.14285714285714285</c:v>
                </c:pt>
                <c:pt idx="29">
                  <c:v>0.5555555555555556</c:v>
                </c:pt>
                <c:pt idx="30">
                  <c:v>0.4</c:v>
                </c:pt>
                <c:pt idx="31">
                  <c:v>0.5454545454545454</c:v>
                </c:pt>
                <c:pt idx="32">
                  <c:v>0.0</c:v>
                </c:pt>
                <c:pt idx="33">
                  <c:v>0.3333333333333333</c:v>
                </c:pt>
                <c:pt idx="34">
                  <c:v>0.14285714285714285</c:v>
                </c:pt>
                <c:pt idx="35">
                  <c:v>0.09090909090909091</c:v>
                </c:pt>
                <c:pt idx="36">
                  <c:v>0.0</c:v>
                </c:pt>
                <c:pt idx="37">
                  <c:v>0.0</c:v>
                </c:pt>
                <c:pt idx="38">
                  <c:v>0.25</c:v>
                </c:pt>
                <c:pt idx="39">
                  <c:v>0.3333333333333333</c:v>
                </c:pt>
                <c:pt idx="40">
                  <c:v>0.05263157894736842</c:v>
                </c:pt>
                <c:pt idx="41">
                  <c:v>0.0</c:v>
                </c:pt>
              </c:numCache>
            </c:numRef>
          </c:yVal>
          <c:smooth val="0"/>
          <c:extLst>
            <c:ext xmlns:c16="http://schemas.microsoft.com/office/drawing/2014/chart" uri="{C3380CC4-5D6E-409C-BE32-E72D297353CC}">
              <c16:uniqueId val="{00000002-F32D-48B7-BC20-E66FC6253BAD}"/>
            </c:ext>
          </c:extLst>
        </c:ser>
        <c:ser>
          <c:idx val="2"/>
          <c:order val="2"/>
          <c:tx>
            <c:strRef>
              <c:f>Sheet1!$B$151</c:f>
              <c:strCache>
                <c:ptCount val="1"/>
                <c:pt idx="0">
                  <c:v>Custom Linep3yQ</c:v>
                </c:pt>
              </c:strCache>
            </c:strRef>
          </c:tx>
          <c:spPr>
            <a:ln w="19050" cap="rnd">
              <a:solidFill>
                <a:srgbClr val="C00000"/>
              </a:solidFill>
              <a:prstDash val="sysDot"/>
              <a:round/>
            </a:ln>
            <a:effectLst/>
          </c:spPr>
          <c:marker>
            <c:symbol val="none"/>
          </c:marker>
          <c:xVal>
            <c:numRef>
              <c:f>Sheet1!$A$152:$A$153</c:f>
              <c:numCache>
                <c:formatCode>General</c:formatCode>
                <c:ptCount val="2"/>
                <c:pt idx="0">
                  <c:v>0</c:v>
                </c:pt>
                <c:pt idx="1">
                  <c:v>3147.6765231004706</c:v>
                </c:pt>
              </c:numCache>
            </c:numRef>
          </c:xVal>
          <c:yVal>
            <c:numRef>
              <c:f>Sheet1!$B$152:$B$153</c:f>
              <c:numCache>
                <c:formatCode>General</c:formatCode>
                <c:ptCount val="2"/>
                <c:pt idx="0">
                  <c:v>0.4773933036895033</c:v>
                </c:pt>
                <c:pt idx="1">
                  <c:v>0.4773933036895033</c:v>
                </c:pt>
              </c:numCache>
            </c:numRef>
          </c:yVal>
          <c:smooth val="0"/>
          <c:extLst>
            <c:ext xmlns:c16="http://schemas.microsoft.com/office/drawing/2014/chart" uri="{C3380CC4-5D6E-409C-BE32-E72D297353CC}">
              <c16:uniqueId val="{00000003-F32D-48B7-BC20-E66FC6253BAD}"/>
            </c:ext>
          </c:extLst>
        </c:ser>
        <c:ser>
          <c:idx val="3"/>
          <c:order val="3"/>
          <c:tx>
            <c:strRef>
              <c:f>Sheet1!$B$1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3147.6765231004706</c:v>
                </c:pt>
                <c:pt idx="1">
                  <c:v>3147.6765231004706</c:v>
                </c:pt>
              </c:numCache>
            </c:numRef>
          </c:xVal>
          <c:yVal>
            <c:numRef>
              <c:f>Sheet1!$B$156:$B$157</c:f>
              <c:numCache>
                <c:formatCode>General</c:formatCode>
                <c:ptCount val="2"/>
                <c:pt idx="0">
                  <c:v>0.47739330368950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0:$A$161</c:f>
              <c:numCache>
                <c:formatCode>General</c:formatCode>
                <c:ptCount val="2"/>
                <c:pt idx="0">
                  <c:v>0</c:v>
                </c:pt>
                <c:pt idx="1">
                  <c:v>1529.9894193948944</c:v>
                </c:pt>
              </c:numCache>
            </c:numRef>
          </c:xVal>
          <c:yVal>
            <c:numRef>
              <c:f>Sheet1!$B$160:$B$161</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A-F32D-48B7-BC20-E66FC6253BAD}"/>
            </c:ext>
          </c:extLst>
        </c:ser>
        <c:ser>
          <c:idx val="5"/>
          <c:order val="5"/>
          <c:tx>
            <c:strRef>
              <c:f>Sheet1!$B$1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1529.9894193948944</c:v>
                </c:pt>
                <c:pt idx="1">
                  <c:v>1529.9894193948944</c:v>
                </c:pt>
              </c:numCache>
            </c:numRef>
          </c:xVal>
          <c:yVal>
            <c:numRef>
              <c:f>Sheet1!$B$164:$B$165</c:f>
              <c:numCache>
                <c:formatCode>General</c:formatCode>
                <c:ptCount val="2"/>
                <c:pt idx="0">
                  <c:v>0.31586191586191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8:$A$169</c:f>
              <c:numCache>
                <c:formatCode>General</c:formatCode>
                <c:ptCount val="2"/>
                <c:pt idx="0">
                  <c:v>0</c:v>
                </c:pt>
                <c:pt idx="1">
                  <c:v>-344.83048333726714</c:v>
                </c:pt>
              </c:numCache>
            </c:numRef>
          </c:xVal>
          <c:yVal>
            <c:numRef>
              <c:f>Sheet1!$B$168:$B$169</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1-F32D-48B7-BC20-E66FC6253BAD}"/>
            </c:ext>
          </c:extLst>
        </c:ser>
        <c:ser>
          <c:idx val="7"/>
          <c:order val="7"/>
          <c:tx>
            <c:strRef>
              <c:f>Sheet1!$B$1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344.83048333726714</c:v>
                </c:pt>
                <c:pt idx="1">
                  <c:v>-344.83048333726714</c:v>
                </c:pt>
              </c:numCache>
            </c:numRef>
          </c:xVal>
          <c:yVal>
            <c:numRef>
              <c:f>Sheet1!$B$172:$B$173</c:f>
              <c:numCache>
                <c:formatCode>General</c:formatCode>
                <c:ptCount val="2"/>
                <c:pt idx="0">
                  <c:v>0.12865497076023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6:$A$220</c:f>
              <c:numCache>
                <c:formatCode>General</c:formatCode>
                <c:ptCount val="45"/>
                <c:pt idx="0">
                  <c:v>0.0</c:v>
                </c:pt>
                <c:pt idx="1">
                  <c:v>1380.0</c:v>
                </c:pt>
                <c:pt idx="2">
                  <c:v>690.0</c:v>
                </c:pt>
                <c:pt idx="3">
                  <c:v>1150.0</c:v>
                </c:pt>
                <c:pt idx="4">
                  <c:v>1035.0</c:v>
                </c:pt>
                <c:pt idx="5">
                  <c:v>862.5</c:v>
                </c:pt>
                <c:pt idx="6">
                  <c:v>934.0</c:v>
                </c:pt>
                <c:pt idx="7">
                  <c:v>817.0</c:v>
                </c:pt>
                <c:pt idx="8">
                  <c:v>711.5714</c:v>
                </c:pt>
                <c:pt idx="9">
                  <c:v>1316.0</c:v>
                </c:pt>
                <c:pt idx="10">
                  <c:v>951.6667</c:v>
                </c:pt>
                <c:pt idx="11">
                  <c:v>717.6</c:v>
                </c:pt>
                <c:pt idx="12">
                  <c:v>764.8333</c:v>
                </c:pt>
                <c:pt idx="13">
                  <c:v>920.0</c:v>
                </c:pt>
                <c:pt idx="14">
                  <c:v>786.6</c:v>
                </c:pt>
                <c:pt idx="15">
                  <c:v>826.0</c:v>
                </c:pt>
                <c:pt idx="16">
                  <c:v>747.5</c:v>
                </c:pt>
                <c:pt idx="17">
                  <c:v>805.0</c:v>
                </c:pt>
                <c:pt idx="18">
                  <c:v>1380.0</c:v>
                </c:pt>
                <c:pt idx="19">
                  <c:v>1432.0</c:v>
                </c:pt>
                <c:pt idx="20">
                  <c:v>1024.0</c:v>
                </c:pt>
                <c:pt idx="21">
                  <c:v>920.0</c:v>
                </c:pt>
                <c:pt idx="22">
                  <c:v>972.0</c:v>
                </c:pt>
                <c:pt idx="23">
                  <c:v>917.5</c:v>
                </c:pt>
                <c:pt idx="24">
                  <c:v>0.0</c:v>
                </c:pt>
                <c:pt idx="25">
                  <c:v>1042.5</c:v>
                </c:pt>
                <c:pt idx="26">
                  <c:v>618.75</c:v>
                </c:pt>
                <c:pt idx="27">
                  <c:v>715.6667</c:v>
                </c:pt>
                <c:pt idx="28">
                  <c:v>1190.0</c:v>
                </c:pt>
                <c:pt idx="29">
                  <c:v>698.2</c:v>
                </c:pt>
                <c:pt idx="30">
                  <c:v>538.0</c:v>
                </c:pt>
                <c:pt idx="31">
                  <c:v>412.8333</c:v>
                </c:pt>
                <c:pt idx="32">
                  <c:v>0.0</c:v>
                </c:pt>
                <c:pt idx="33">
                  <c:v>377.0</c:v>
                </c:pt>
                <c:pt idx="34">
                  <c:v>346.0</c:v>
                </c:pt>
                <c:pt idx="35">
                  <c:v>379.0</c:v>
                </c:pt>
                <c:pt idx="36">
                  <c:v>0.0</c:v>
                </c:pt>
                <c:pt idx="37">
                  <c:v>0.0</c:v>
                </c:pt>
                <c:pt idx="38">
                  <c:v>679.0</c:v>
                </c:pt>
                <c:pt idx="39">
                  <c:v>391.5</c:v>
                </c:pt>
                <c:pt idx="40">
                  <c:v>391.0</c:v>
                </c:pt>
                <c:pt idx="41">
                  <c:v>0.0</c:v>
                </c:pt>
                <c:pt idx="42">
                  <c:v>1529.9894193948944</c:v>
                </c:pt>
                <c:pt idx="43">
                  <c:v>3147.6765231004706</c:v>
                </c:pt>
                <c:pt idx="44">
                  <c:v>-344.83048333726714</c:v>
                </c:pt>
              </c:numCache>
            </c:numRef>
          </c:xVal>
          <c:yVal>
            <c:numRef>
              <c:f>Sheet1!$B$176:$B$220</c:f>
              <c:numCache>
                <c:formatCode>General</c:formatCode>
                <c:ptCount val="45"/>
                <c:pt idx="0">
                  <c:v>0.16308743078982457</c:v>
                </c:pt>
                <c:pt idx="1">
                  <c:v>0.30088497809761444</c:v>
                </c:pt>
                <c:pt idx="2">
                  <c:v>0.2319862044437195</c:v>
                </c:pt>
                <c:pt idx="3">
                  <c:v>0.2779187202129828</c:v>
                </c:pt>
                <c:pt idx="4">
                  <c:v>0.26643559127066696</c:v>
                </c:pt>
                <c:pt idx="5">
                  <c:v>0.24921089785719325</c:v>
                </c:pt>
                <c:pt idx="6">
                  <c:v>0.25635040846045914</c:v>
                </c:pt>
                <c:pt idx="7">
                  <c:v>0.2446675729278422</c:v>
                </c:pt>
                <c:pt idx="8">
                  <c:v>0.23414017981473056</c:v>
                </c:pt>
                <c:pt idx="9">
                  <c:v>0.29449436720797784</c:v>
                </c:pt>
                <c:pt idx="10">
                  <c:v>0.2581144866698958</c:v>
                </c:pt>
                <c:pt idx="11">
                  <c:v>0.2347421553898753</c:v>
                </c:pt>
                <c:pt idx="12">
                  <c:v>0.2394585560357108</c:v>
                </c:pt>
                <c:pt idx="13">
                  <c:v>0.2549524623283511</c:v>
                </c:pt>
                <c:pt idx="14">
                  <c:v>0.2416320327552648</c:v>
                </c:pt>
                <c:pt idx="15">
                  <c:v>0.24556625258419734</c:v>
                </c:pt>
                <c:pt idx="16">
                  <c:v>0.2377277689148774</c:v>
                </c:pt>
                <c:pt idx="17">
                  <c:v>0.24346933338603532</c:v>
                </c:pt>
                <c:pt idx="18">
                  <c:v>0.30088497809761444</c:v>
                </c:pt>
                <c:pt idx="19">
                  <c:v>0.3060773494454442</c:v>
                </c:pt>
                <c:pt idx="20">
                  <c:v>0.2653372050240107</c:v>
                </c:pt>
                <c:pt idx="21">
                  <c:v>0.2549524623283511</c:v>
                </c:pt>
                <c:pt idx="22">
                  <c:v>0.2601448336761809</c:v>
                </c:pt>
                <c:pt idx="23">
                  <c:v>0.2547028290904747</c:v>
                </c:pt>
                <c:pt idx="24">
                  <c:v>0.16308743078982457</c:v>
                </c:pt>
                <c:pt idx="25">
                  <c:v>0.26718449098429625</c:v>
                </c:pt>
                <c:pt idx="26">
                  <c:v>0.22487165716424123</c:v>
                </c:pt>
                <c:pt idx="27">
                  <c:v>0.2345491090143607</c:v>
                </c:pt>
                <c:pt idx="28">
                  <c:v>0.2819128520190057</c:v>
                </c:pt>
                <c:pt idx="29">
                  <c:v>0.23280500146395422</c:v>
                </c:pt>
                <c:pt idx="30">
                  <c:v>0.2168085035808325</c:v>
                </c:pt>
                <c:pt idx="31">
                  <c:v>0.20431019614270934</c:v>
                </c:pt>
                <c:pt idx="32">
                  <c:v>0.16308743078982457</c:v>
                </c:pt>
                <c:pt idx="33">
                  <c:v>0.20073212306159036</c:v>
                </c:pt>
                <c:pt idx="34">
                  <c:v>0.1976366709119226</c:v>
                </c:pt>
                <c:pt idx="35">
                  <c:v>0.2009318296518915</c:v>
                </c:pt>
                <c:pt idx="36">
                  <c:v>0.16308743078982457</c:v>
                </c:pt>
                <c:pt idx="37">
                  <c:v>0.16308743078982457</c:v>
                </c:pt>
                <c:pt idx="38">
                  <c:v>0.23088781819706322</c:v>
                </c:pt>
                <c:pt idx="39">
                  <c:v>0.20217999584127366</c:v>
                </c:pt>
                <c:pt idx="40">
                  <c:v>0.20213006919369836</c:v>
                </c:pt>
                <c:pt idx="41">
                  <c:v>0.16308743078982457</c:v>
                </c:pt>
                <c:pt idx="42">
                  <c:v>0.3158619158619158</c:v>
                </c:pt>
                <c:pt idx="43">
                  <c:v>0.4773933036895033</c:v>
                </c:pt>
                <c:pt idx="44">
                  <c:v>0.12865497076023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7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6543294493945625</c:v>
                </c:pt>
                <c:pt idx="1">
                  <c:v>1.0222066386161759</c:v>
                </c:pt>
                <c:pt idx="2">
                  <c:v>1.2079335881078757</c:v>
                </c:pt>
                <c:pt idx="3">
                  <c:v>0.943138868707836</c:v>
                </c:pt>
                <c:pt idx="4">
                  <c:v>1.1534126487163432</c:v>
                </c:pt>
                <c:pt idx="5">
                  <c:v>1.1756964285714286</c:v>
                </c:pt>
                <c:pt idx="6">
                  <c:v>0.977403150041448</c:v>
                </c:pt>
                <c:pt idx="7">
                  <c:v>1.1176314391927773</c:v>
                </c:pt>
                <c:pt idx="8">
                  <c:v>0.8911714355588163</c:v>
                </c:pt>
                <c:pt idx="9">
                  <c:v>1.477786688051323</c:v>
                </c:pt>
                <c:pt idx="10">
                  <c:v>1.0738659626745193</c:v>
                </c:pt>
                <c:pt idx="11">
                  <c:v>1.207909161109161</c:v>
                </c:pt>
                <c:pt idx="12">
                  <c:v>1.3396369137670197</c:v>
                </c:pt>
                <c:pt idx="13">
                  <c:v>0.6440457878315132</c:v>
                </c:pt>
                <c:pt idx="14">
                  <c:v>1.1983311938382541</c:v>
                </c:pt>
                <c:pt idx="15">
                  <c:v>0.9119845004151674</c:v>
                </c:pt>
                <c:pt idx="16">
                  <c:v>1.3421983194531732</c:v>
                </c:pt>
                <c:pt idx="17">
                  <c:v>0.8677764565992865</c:v>
                </c:pt>
                <c:pt idx="18">
                  <c:v>1.010321797207043</c:v>
                </c:pt>
                <c:pt idx="19">
                  <c:v>0.7554923008743817</c:v>
                </c:pt>
                <c:pt idx="20">
                  <c:v>1.207651529949397</c:v>
                </c:pt>
                <c:pt idx="21">
                  <c:v>2.3599052880820834</c:v>
                </c:pt>
                <c:pt idx="22">
                  <c:v>1.042135195911414</c:v>
                </c:pt>
                <c:pt idx="23">
                  <c:v>0.9540772122713643</c:v>
                </c:pt>
                <c:pt idx="24">
                  <c:v>1.3478260869565217</c:v>
                </c:pt>
                <c:pt idx="25">
                  <c:v>1.2106824925816024</c:v>
                </c:pt>
                <c:pt idx="26">
                  <c:v>1.0671604444444445</c:v>
                </c:pt>
                <c:pt idx="27">
                  <c:v>1.4421388667198722</c:v>
                </c:pt>
                <c:pt idx="28">
                  <c:v>0.8416711135018827</c:v>
                </c:pt>
                <c:pt idx="29">
                  <c:v>1.1934809363359409</c:v>
                </c:pt>
                <c:pt idx="30">
                  <c:v>1.1961133848899466</c:v>
                </c:pt>
                <c:pt idx="31">
                  <c:v>1.8626589792602466</c:v>
                </c:pt>
                <c:pt idx="32">
                  <c:v>1.4425162689804771</c:v>
                </c:pt>
                <c:pt idx="33">
                  <c:v>1.2776523545342915</c:v>
                </c:pt>
                <c:pt idx="34">
                  <c:v>0.9898697539797395</c:v>
                </c:pt>
                <c:pt idx="35">
                  <c:v>1.037614631302081</c:v>
                </c:pt>
                <c:pt idx="36">
                  <c:v>1.494463535700649</c:v>
                </c:pt>
                <c:pt idx="37">
                  <c:v>1.3721481434415903</c:v>
                </c:pt>
                <c:pt idx="38">
                  <c:v>1.3653699466056446</c:v>
                </c:pt>
                <c:pt idx="39">
                  <c:v>1.1636213333333334</c:v>
                </c:pt>
                <c:pt idx="40">
                  <c:v>1.2869283124325057</c:v>
                </c:pt>
                <c:pt idx="41">
                  <c:v>1.020795772549504</c:v>
                </c:pt>
                <c:pt idx="42">
                  <c:v>1.1911764727679608</c:v>
                </c:pt>
                <c:pt idx="43">
                  <c:v>1.0296708573429811</c:v>
                </c:pt>
                <c:pt idx="44">
                  <c:v>1.2706591789310613</c:v>
                </c:pt>
                <c:pt idx="45">
                  <c:v>1.2775724480700272</c:v>
                </c:pt>
                <c:pt idx="46">
                  <c:v>1.2399443682660618</c:v>
                </c:pt>
                <c:pt idx="47">
                  <c:v>1.4268116079625854</c:v>
                </c:pt>
                <c:pt idx="48">
                  <c:v>1.2226647858057227</c:v>
                </c:pt>
                <c:pt idx="49">
                  <c:v>1.2565284457478005</c:v>
                </c:pt>
                <c:pt idx="50">
                  <c:v>1.1455443185120604</c:v>
                </c:pt>
                <c:pt idx="51">
                  <c:v>1.3590011104060913</c:v>
                </c:pt>
                <c:pt idx="52">
                  <c:v>1.2226643695014663</c:v>
                </c:pt>
                <c:pt idx="53">
                  <c:v>0.9485380116959065</c:v>
                </c:pt>
                <c:pt idx="54">
                  <c:v>1.167992589363557</c:v>
                </c:pt>
                <c:pt idx="55">
                  <c:v>0.8524860738601197</c:v>
                </c:pt>
                <c:pt idx="56">
                  <c:v>0.8134071041563478</c:v>
                </c:pt>
                <c:pt idx="57">
                  <c:v>0.7810734745762712</c:v>
                </c:pt>
                <c:pt idx="58">
                  <c:v>0.6547787234667527</c:v>
                </c:pt>
                <c:pt idx="59">
                  <c:v>0.8287439265159494</c:v>
                </c:pt>
                <c:pt idx="60">
                  <c:v>0.9224707090686696</c:v>
                </c:pt>
                <c:pt idx="61">
                  <c:v>1.277471867917599</c:v>
                </c:pt>
                <c:pt idx="62">
                  <c:v>0.5456101361676163</c:v>
                </c:pt>
                <c:pt idx="63">
                  <c:v>0.7848480191452946</c:v>
                </c:pt>
                <c:pt idx="64">
                  <c:v>0.8132444383502836</c:v>
                </c:pt>
                <c:pt idx="65">
                  <c:v>0.7153740667377724</c:v>
                </c:pt>
                <c:pt idx="66">
                  <c:v>0.5133617261215064</c:v>
                </c:pt>
                <c:pt idx="67">
                  <c:v>0.5283695747062346</c:v>
                </c:pt>
                <c:pt idx="68">
                  <c:v>0.6776838585703305</c:v>
                </c:pt>
                <c:pt idx="69">
                  <c:v>1.0653052542012338</c:v>
                </c:pt>
                <c:pt idx="70">
                  <c:v>0.7947842285004657</c:v>
                </c:pt>
                <c:pt idx="71">
                  <c:v>0.5941422594142259</c:v>
                </c:pt>
                <c:pt idx="72">
                  <c:v>0.7231115648213052</c:v>
                </c:pt>
                <c:pt idx="73">
                  <c:v>1.02941172265475</c:v>
                </c:pt>
                <c:pt idx="74">
                  <c:v>1.092961092961093</c:v>
                </c:pt>
                <c:pt idx="75">
                  <c:v>0.6862364805805461</c:v>
                </c:pt>
                <c:pt idx="76">
                  <c:v>1.4912052602998456</c:v>
                </c:pt>
                <c:pt idx="77">
                  <c:v>0.9424778761061947</c:v>
                </c:pt>
                <c:pt idx="78">
                  <c:v>1.0176712217630552</c:v>
                </c:pt>
                <c:pt idx="79">
                  <c:v>1.3136851724925749</c:v>
                </c:pt>
                <c:pt idx="80">
                  <c:v>1.2029459901800328</c:v>
                </c:pt>
                <c:pt idx="81">
                  <c:v>0.8008130081300813</c:v>
                </c:pt>
                <c:pt idx="82">
                  <c:v>0.8070259865255053</c:v>
                </c:pt>
                <c:pt idx="83">
                  <c:v>0.903437018115778</c:v>
                </c:pt>
                <c:pt idx="84">
                  <c:v>0.8819444444444444</c:v>
                </c:pt>
                <c:pt idx="85">
                  <c:v>0.8825143427288601</c:v>
                </c:pt>
                <c:pt idx="86">
                  <c:v>0.947506594488189</c:v>
                </c:pt>
                <c:pt idx="87">
                  <c:v>1.1597744360902256</c:v>
                </c:pt>
                <c:pt idx="88">
                  <c:v>0.5669014084507042</c:v>
                </c:pt>
                <c:pt idx="89">
                  <c:v>0.9276763694951665</c:v>
                </c:pt>
                <c:pt idx="90">
                  <c:v>0.5734979678580392</c:v>
                </c:pt>
                <c:pt idx="91">
                  <c:v>1.0707373103577449</c:v>
                </c:pt>
                <c:pt idx="92">
                  <c:v>0.6438696185883385</c:v>
                </c:pt>
                <c:pt idx="93">
                  <c:v>0.9739327540612014</c:v>
                </c:pt>
                <c:pt idx="94">
                  <c:v>0.5915265832681782</c:v>
                </c:pt>
                <c:pt idx="95">
                  <c:v>0.5868157861443265</c:v>
                </c:pt>
                <c:pt idx="96">
                  <c:v>0.6971066525871172</c:v>
                </c:pt>
                <c:pt idx="97">
                  <c:v>0.8819299925889122</c:v>
                </c:pt>
                <c:pt idx="98">
                  <c:v>0.8998651806434999</c:v>
                </c:pt>
                <c:pt idx="99">
                  <c:v>0.9565086682032268</c:v>
                </c:pt>
                <c:pt idx="100">
                  <c:v>1.038231601312977</c:v>
                </c:pt>
                <c:pt idx="101">
                  <c:v>0.8797506535290569</c:v>
                </c:pt>
                <c:pt idx="102">
                  <c:v>1.1721404303510758</c:v>
                </c:pt>
                <c:pt idx="103">
                  <c:v>0.6791202752894909</c:v>
                </c:pt>
              </c:numCache>
            </c:numRef>
          </c:xVal>
          <c:yVal>
            <c:numRef>
              <c:f>Sheet1!$B$2:$B$105</c:f>
              <c:numCache>
                <c:formatCode>General</c:formatCode>
                <c:ptCount val="104"/>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6</c:v>
                </c:pt>
                <c:pt idx="11">
                  <c:v>0.3333333333333333</c:v>
                </c:pt>
                <c:pt idx="12">
                  <c:v>0.3</c:v>
                </c:pt>
                <c:pt idx="13">
                  <c:v>0.3</c:v>
                </c:pt>
                <c:pt idx="14">
                  <c:v>0.2727272727272727</c:v>
                </c:pt>
                <c:pt idx="15">
                  <c:v>0.25</c:v>
                </c:pt>
                <c:pt idx="16">
                  <c:v>0.29411764705882354</c:v>
                </c:pt>
                <c:pt idx="17">
                  <c:v>0.3333333333333333</c:v>
                </c:pt>
                <c:pt idx="18">
                  <c:v>0.2222222222222222</c:v>
                </c:pt>
                <c:pt idx="19">
                  <c:v>0.1</c:v>
                </c:pt>
                <c:pt idx="20">
                  <c:v>0.1</c:v>
                </c:pt>
                <c:pt idx="21">
                  <c:v>0.07692307692307693</c:v>
                </c:pt>
                <c:pt idx="22">
                  <c:v>0.1875</c:v>
                </c:pt>
                <c:pt idx="23">
                  <c:v>0.15384615384615385</c:v>
                </c:pt>
                <c:pt idx="24">
                  <c:v>0.14285714285714285</c:v>
                </c:pt>
                <c:pt idx="25">
                  <c:v>0.13333333333333333</c:v>
                </c:pt>
                <c:pt idx="26">
                  <c:v>0.25</c:v>
                </c:pt>
                <c:pt idx="27">
                  <c:v>0.26666666666666666</c:v>
                </c:pt>
                <c:pt idx="28">
                  <c:v>0.2727272727272727</c:v>
                </c:pt>
                <c:pt idx="29">
                  <c:v>0.2727272727272727</c:v>
                </c:pt>
                <c:pt idx="30">
                  <c:v>0.3333333333333333</c:v>
                </c:pt>
                <c:pt idx="31">
                  <c:v>0.125</c:v>
                </c:pt>
                <c:pt idx="32">
                  <c:v>0.14285714285714285</c:v>
                </c:pt>
                <c:pt idx="33">
                  <c:v>0.42857142857142855</c:v>
                </c:pt>
                <c:pt idx="34">
                  <c:v>0.21428571428571427</c:v>
                </c:pt>
                <c:pt idx="35">
                  <c:v>0.15789473684210525</c:v>
                </c:pt>
                <c:pt idx="36">
                  <c:v>0.125</c:v>
                </c:pt>
                <c:pt idx="37">
                  <c:v>0.2</c:v>
                </c:pt>
                <c:pt idx="38">
                  <c:v>0.2222222222222222</c:v>
                </c:pt>
                <c:pt idx="39">
                  <c:v>0.6</c:v>
                </c:pt>
                <c:pt idx="40">
                  <c:v>0.7083333333333334</c:v>
                </c:pt>
                <c:pt idx="41">
                  <c:v>0.7857142857142857</c:v>
                </c:pt>
                <c:pt idx="42">
                  <c:v>0.6538461538461539</c:v>
                </c:pt>
                <c:pt idx="43">
                  <c:v>0.6129032258064516</c:v>
                </c:pt>
                <c:pt idx="44">
                  <c:v>0.5428571428571428</c:v>
                </c:pt>
                <c:pt idx="45">
                  <c:v>0.5945945945945946</c:v>
                </c:pt>
                <c:pt idx="46">
                  <c:v>0.5384615384615384</c:v>
                </c:pt>
                <c:pt idx="47">
                  <c:v>0.4642857142857143</c:v>
                </c:pt>
                <c:pt idx="48">
                  <c:v>0.34210526315789475</c:v>
                </c:pt>
                <c:pt idx="49">
                  <c:v>0.375</c:v>
                </c:pt>
                <c:pt idx="50">
                  <c:v>0.44</c:v>
                </c:pt>
                <c:pt idx="51">
                  <c:v>0.35</c:v>
                </c:pt>
                <c:pt idx="52">
                  <c:v>0.3181818181818182</c:v>
                </c:pt>
                <c:pt idx="53">
                  <c:v>0.29411764705882354</c:v>
                </c:pt>
                <c:pt idx="54">
                  <c:v>0.21052631578947367</c:v>
                </c:pt>
                <c:pt idx="55">
                  <c:v>0.17391304347826086</c:v>
                </c:pt>
                <c:pt idx="56">
                  <c:v>0.17857142857142858</c:v>
                </c:pt>
                <c:pt idx="57">
                  <c:v>0.1111111111111111</c:v>
                </c:pt>
                <c:pt idx="58">
                  <c:v>0.3</c:v>
                </c:pt>
                <c:pt idx="59">
                  <c:v>0.1836734693877551</c:v>
                </c:pt>
                <c:pt idx="60">
                  <c:v>0.10869565217391304</c:v>
                </c:pt>
                <c:pt idx="61">
                  <c:v>0.043478260869565216</c:v>
                </c:pt>
                <c:pt idx="62">
                  <c:v>0.3125</c:v>
                </c:pt>
                <c:pt idx="63">
                  <c:v>0.16666666666666666</c:v>
                </c:pt>
                <c:pt idx="64">
                  <c:v>0.17391304347826086</c:v>
                </c:pt>
                <c:pt idx="65">
                  <c:v>0.1</c:v>
                </c:pt>
                <c:pt idx="66">
                  <c:v>0.14285714285714285</c:v>
                </c:pt>
                <c:pt idx="67">
                  <c:v>0.30434782608695654</c:v>
                </c:pt>
                <c:pt idx="68">
                  <c:v>0.2</c:v>
                </c:pt>
                <c:pt idx="69">
                  <c:v>0.08333333333333333</c:v>
                </c:pt>
                <c:pt idx="70">
                  <c:v>0.15384615384615385</c:v>
                </c:pt>
                <c:pt idx="71">
                  <c:v>0.14285714285714285</c:v>
                </c:pt>
                <c:pt idx="72">
                  <c:v>0.13333333333333333</c:v>
                </c:pt>
                <c:pt idx="73">
                  <c:v>0.15384615384615385</c:v>
                </c:pt>
                <c:pt idx="74">
                  <c:v>0.07692307692307693</c:v>
                </c:pt>
                <c:pt idx="75">
                  <c:v>0.13333333333333333</c:v>
                </c:pt>
                <c:pt idx="76">
                  <c:v>0.1111111111111111</c:v>
                </c:pt>
                <c:pt idx="77">
                  <c:v>0.18181818181818182</c:v>
                </c:pt>
                <c:pt idx="78">
                  <c:v>0.25</c:v>
                </c:pt>
                <c:pt idx="79">
                  <c:v>0.25</c:v>
                </c:pt>
                <c:pt idx="80">
                  <c:v>0.2222222222222222</c:v>
                </c:pt>
                <c:pt idx="81">
                  <c:v>0.25</c:v>
                </c:pt>
                <c:pt idx="82">
                  <c:v>0.4</c:v>
                </c:pt>
                <c:pt idx="83">
                  <c:v>0.125</c:v>
                </c:pt>
                <c:pt idx="84">
                  <c:v>0.2</c:v>
                </c:pt>
                <c:pt idx="85">
                  <c:v>0.18181818181818182</c:v>
                </c:pt>
                <c:pt idx="86">
                  <c:v>0.21428571428571427</c:v>
                </c:pt>
                <c:pt idx="87">
                  <c:v>0.16666666666666666</c:v>
                </c:pt>
                <c:pt idx="88">
                  <c:v>0.3333333333333333</c:v>
                </c:pt>
                <c:pt idx="89">
                  <c:v>0.2727272727272727</c:v>
                </c:pt>
                <c:pt idx="90">
                  <c:v>0.2222222222222222</c:v>
                </c:pt>
                <c:pt idx="91">
                  <c:v>0.2727272727272727</c:v>
                </c:pt>
                <c:pt idx="92">
                  <c:v>0.375</c:v>
                </c:pt>
                <c:pt idx="93">
                  <c:v>0.16666666666666666</c:v>
                </c:pt>
                <c:pt idx="94">
                  <c:v>0.3333333333333333</c:v>
                </c:pt>
                <c:pt idx="95">
                  <c:v>0.23076923076923078</c:v>
                </c:pt>
                <c:pt idx="96">
                  <c:v>0.4166666666666667</c:v>
                </c:pt>
                <c:pt idx="97">
                  <c:v>0.2</c:v>
                </c:pt>
                <c:pt idx="98">
                  <c:v>0.22727272727272727</c:v>
                </c:pt>
                <c:pt idx="99">
                  <c:v>0.13793103448275862</c:v>
                </c:pt>
                <c:pt idx="100">
                  <c:v>0.23529411764705882</c:v>
                </c:pt>
                <c:pt idx="101">
                  <c:v>0.21428571428571427</c:v>
                </c:pt>
                <c:pt idx="102">
                  <c:v>0.13333333333333333</c:v>
                </c:pt>
                <c:pt idx="103">
                  <c:v>0.2727272727272727</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49</c:f>
              <c:numCache>
                <c:formatCode>General</c:formatCode>
                <c:ptCount val="42"/>
                <c:pt idx="0">
                  <c:v>0.0</c:v>
                </c:pt>
                <c:pt idx="1">
                  <c:v>1.5658094389489197</c:v>
                </c:pt>
                <c:pt idx="2">
                  <c:v>0.8078048465246889</c:v>
                </c:pt>
                <c:pt idx="3">
                  <c:v>1.2482555628509158</c:v>
                </c:pt>
                <c:pt idx="4">
                  <c:v>1.0050170255710318</c:v>
                </c:pt>
                <c:pt idx="5">
                  <c:v>1.1296660117878192</c:v>
                </c:pt>
                <c:pt idx="6">
                  <c:v>0.813588850174216</c:v>
                </c:pt>
                <c:pt idx="7">
                  <c:v>1.036426260174452</c:v>
                </c:pt>
                <c:pt idx="8">
                  <c:v>0.534614124718257</c:v>
                </c:pt>
                <c:pt idx="9">
                  <c:v>0.8556566970091027</c:v>
                </c:pt>
                <c:pt idx="10">
                  <c:v>0.6256848783694937</c:v>
                </c:pt>
                <c:pt idx="11">
                  <c:v>0.6297498903027644</c:v>
                </c:pt>
                <c:pt idx="12">
                  <c:v>1.1999267336052715</c:v>
                </c:pt>
                <c:pt idx="13">
                  <c:v>0.973030142781597</c:v>
                </c:pt>
                <c:pt idx="14">
                  <c:v>0.8088431876606684</c:v>
                </c:pt>
                <c:pt idx="15">
                  <c:v>0.8584047804624578</c:v>
                </c:pt>
                <c:pt idx="16">
                  <c:v>0.9711996114681849</c:v>
                </c:pt>
                <c:pt idx="17">
                  <c:v>0.7757789664060724</c:v>
                </c:pt>
                <c:pt idx="18">
                  <c:v>1.4231694251230862</c:v>
                </c:pt>
                <c:pt idx="19">
                  <c:v>1.287191011235955</c:v>
                </c:pt>
                <c:pt idx="20">
                  <c:v>0.7889060092449923</c:v>
                </c:pt>
                <c:pt idx="21">
                  <c:v>1.1419114132432184</c:v>
                </c:pt>
                <c:pt idx="22">
                  <c:v>0.9496824621397166</c:v>
                </c:pt>
                <c:pt idx="23">
                  <c:v>0.9262998485613326</c:v>
                </c:pt>
                <c:pt idx="24">
                  <c:v>0.0</c:v>
                </c:pt>
                <c:pt idx="25">
                  <c:v>1.2264705882352942</c:v>
                </c:pt>
                <c:pt idx="26">
                  <c:v>0.6054305283757339</c:v>
                </c:pt>
                <c:pt idx="27">
                  <c:v>0.652385323609845</c:v>
                </c:pt>
                <c:pt idx="28">
                  <c:v>0.9794238683127572</c:v>
                </c:pt>
                <c:pt idx="29">
                  <c:v>0.6899209486166008</c:v>
                </c:pt>
                <c:pt idx="30">
                  <c:v>0.39660892001474385</c:v>
                </c:pt>
                <c:pt idx="31">
                  <c:v>0.39657377521613835</c:v>
                </c:pt>
                <c:pt idx="32">
                  <c:v>0.0</c:v>
                </c:pt>
                <c:pt idx="33">
                  <c:v>0.3585922751614545</c:v>
                </c:pt>
                <c:pt idx="34">
                  <c:v>0.363955106453187</c:v>
                </c:pt>
                <c:pt idx="35">
                  <c:v>0.41240478781284007</c:v>
                </c:pt>
                <c:pt idx="36">
                  <c:v>0.0</c:v>
                </c:pt>
                <c:pt idx="37">
                  <c:v>0.0</c:v>
                </c:pt>
                <c:pt idx="38">
                  <c:v>0.4416260162601626</c:v>
                </c:pt>
                <c:pt idx="39">
                  <c:v>0.2698759129164542</c:v>
                </c:pt>
                <c:pt idx="40">
                  <c:v>1.1074526464861036</c:v>
                </c:pt>
                <c:pt idx="41">
                  <c:v>0.0</c:v>
                </c:pt>
              </c:numCache>
            </c:numRef>
          </c:xVal>
          <c:yVal>
            <c:numRef>
              <c:f>Sheet1!$B$108:$B$149</c:f>
              <c:numCache>
                <c:formatCode>General</c:formatCode>
                <c:ptCount val="42"/>
                <c:pt idx="0">
                  <c:v>0.0</c:v>
                </c:pt>
                <c:pt idx="1">
                  <c:v>0.09090909090909091</c:v>
                </c:pt>
                <c:pt idx="2">
                  <c:v>0.06666666666666667</c:v>
                </c:pt>
                <c:pt idx="3">
                  <c:v>0.1111111111111111</c:v>
                </c:pt>
                <c:pt idx="4">
                  <c:v>0.23529411764705882</c:v>
                </c:pt>
                <c:pt idx="5">
                  <c:v>0.16</c:v>
                </c:pt>
                <c:pt idx="6">
                  <c:v>0.25</c:v>
                </c:pt>
                <c:pt idx="7">
                  <c:v>0.2727272727272727</c:v>
                </c:pt>
                <c:pt idx="8">
                  <c:v>0.5</c:v>
                </c:pt>
                <c:pt idx="9">
                  <c:v>0.2</c:v>
                </c:pt>
                <c:pt idx="10">
                  <c:v>0.3</c:v>
                </c:pt>
                <c:pt idx="11">
                  <c:v>0.4166666666666667</c:v>
                </c:pt>
                <c:pt idx="12">
                  <c:v>0.3333333333333333</c:v>
                </c:pt>
                <c:pt idx="13">
                  <c:v>0.18181818181818182</c:v>
                </c:pt>
                <c:pt idx="14">
                  <c:v>0.38461538461538464</c:v>
                </c:pt>
                <c:pt idx="15">
                  <c:v>0.15384615384615385</c:v>
                </c:pt>
                <c:pt idx="16">
                  <c:v>0.25</c:v>
                </c:pt>
                <c:pt idx="17">
                  <c:v>0.2857142857142857</c:v>
                </c:pt>
                <c:pt idx="18">
                  <c:v>0.1111111111111111</c:v>
                </c:pt>
                <c:pt idx="19">
                  <c:v>0.2</c:v>
                </c:pt>
                <c:pt idx="20">
                  <c:v>0.16666666666666666</c:v>
                </c:pt>
                <c:pt idx="21">
                  <c:v>0.25</c:v>
                </c:pt>
                <c:pt idx="22">
                  <c:v>0.16666666666666666</c:v>
                </c:pt>
                <c:pt idx="23">
                  <c:v>0.4</c:v>
                </c:pt>
                <c:pt idx="24">
                  <c:v>0.0</c:v>
                </c:pt>
                <c:pt idx="25">
                  <c:v>0.4</c:v>
                </c:pt>
                <c:pt idx="26">
                  <c:v>0.6666666666666666</c:v>
                </c:pt>
                <c:pt idx="27">
                  <c:v>0.42857142857142855</c:v>
                </c:pt>
                <c:pt idx="28">
                  <c:v>0.14285714285714285</c:v>
                </c:pt>
                <c:pt idx="29">
                  <c:v>0.5555555555555556</c:v>
                </c:pt>
                <c:pt idx="30">
                  <c:v>0.4</c:v>
                </c:pt>
                <c:pt idx="31">
                  <c:v>0.5454545454545454</c:v>
                </c:pt>
                <c:pt idx="32">
                  <c:v>0.0</c:v>
                </c:pt>
                <c:pt idx="33">
                  <c:v>0.3333333333333333</c:v>
                </c:pt>
                <c:pt idx="34">
                  <c:v>0.14285714285714285</c:v>
                </c:pt>
                <c:pt idx="35">
                  <c:v>0.09090909090909091</c:v>
                </c:pt>
                <c:pt idx="36">
                  <c:v>0.0</c:v>
                </c:pt>
                <c:pt idx="37">
                  <c:v>0.0</c:v>
                </c:pt>
                <c:pt idx="38">
                  <c:v>0.25</c:v>
                </c:pt>
                <c:pt idx="39">
                  <c:v>0.3333333333333333</c:v>
                </c:pt>
                <c:pt idx="40">
                  <c:v>0.05263157894736842</c:v>
                </c:pt>
                <c:pt idx="41">
                  <c:v>0.0</c:v>
                </c:pt>
              </c:numCache>
            </c:numRef>
          </c:yVal>
          <c:smooth val="0"/>
          <c:extLst>
            <c:ext xmlns:c16="http://schemas.microsoft.com/office/drawing/2014/chart" uri="{C3380CC4-5D6E-409C-BE32-E72D297353CC}">
              <c16:uniqueId val="{00000002-096C-4121-9522-6AB7243CCAAE}"/>
            </c:ext>
          </c:extLst>
        </c:ser>
        <c:ser>
          <c:idx val="2"/>
          <c:order val="2"/>
          <c:tx>
            <c:strRef>
              <c:f>Sheet1!$B$1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2:$A$153</c:f>
              <c:numCache>
                <c:formatCode>General</c:formatCode>
                <c:ptCount val="2"/>
                <c:pt idx="0">
                  <c:v>0</c:v>
                </c:pt>
                <c:pt idx="1">
                  <c:v>4.8738207301349625</c:v>
                </c:pt>
              </c:numCache>
            </c:numRef>
          </c:xVal>
          <c:yVal>
            <c:numRef>
              <c:f>Sheet1!$B$152:$B$153</c:f>
              <c:numCache>
                <c:formatCode>General</c:formatCode>
                <c:ptCount val="2"/>
                <c:pt idx="0">
                  <c:v>0.4773933036895033</c:v>
                </c:pt>
                <c:pt idx="1">
                  <c:v>0.4773933036895033</c:v>
                </c:pt>
              </c:numCache>
            </c:numRef>
          </c:yVal>
          <c:smooth val="0"/>
          <c:extLst>
            <c:ext xmlns:c16="http://schemas.microsoft.com/office/drawing/2014/chart" uri="{C3380CC4-5D6E-409C-BE32-E72D297353CC}">
              <c16:uniqueId val="{00000005-096C-4121-9522-6AB7243CCAAE}"/>
            </c:ext>
          </c:extLst>
        </c:ser>
        <c:ser>
          <c:idx val="3"/>
          <c:order val="3"/>
          <c:tx>
            <c:strRef>
              <c:f>Sheet1!$B$1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4.8738207301349625</c:v>
                </c:pt>
                <c:pt idx="1">
                  <c:v>4.8738207301349625</c:v>
                </c:pt>
              </c:numCache>
            </c:numRef>
          </c:xVal>
          <c:yVal>
            <c:numRef>
              <c:f>Sheet1!$B$156:$B$157</c:f>
              <c:numCache>
                <c:formatCode>General</c:formatCode>
                <c:ptCount val="2"/>
                <c:pt idx="0">
                  <c:v>0.47739330368950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0:$A$161</c:f>
              <c:numCache>
                <c:formatCode>General</c:formatCode>
                <c:ptCount val="2"/>
                <c:pt idx="0">
                  <c:v>0</c:v>
                </c:pt>
                <c:pt idx="1">
                  <c:v>2.1169981264130997</c:v>
                </c:pt>
              </c:numCache>
            </c:numRef>
          </c:xVal>
          <c:yVal>
            <c:numRef>
              <c:f>Sheet1!$B$160:$B$161</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D-096C-4121-9522-6AB7243CCAAE}"/>
            </c:ext>
          </c:extLst>
        </c:ser>
        <c:ser>
          <c:idx val="5"/>
          <c:order val="5"/>
          <c:tx>
            <c:strRef>
              <c:f>Sheet1!$B$1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2.1169981264130997</c:v>
                </c:pt>
                <c:pt idx="1">
                  <c:v>2.1169981264130997</c:v>
                </c:pt>
              </c:numCache>
            </c:numRef>
          </c:xVal>
          <c:yVal>
            <c:numRef>
              <c:f>Sheet1!$B$164:$B$165</c:f>
              <c:numCache>
                <c:formatCode>General</c:formatCode>
                <c:ptCount val="2"/>
                <c:pt idx="0">
                  <c:v>0.31586191586191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8:$A$169</c:f>
              <c:numCache>
                <c:formatCode>General</c:formatCode>
                <c:ptCount val="2"/>
                <c:pt idx="0">
                  <c:v>0</c:v>
                </c:pt>
                <c:pt idx="1">
                  <c:v>-1.078023873774854</c:v>
                </c:pt>
              </c:numCache>
            </c:numRef>
          </c:xVal>
          <c:yVal>
            <c:numRef>
              <c:f>Sheet1!$B$168:$B$169</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5-096C-4121-9522-6AB7243CCAAE}"/>
            </c:ext>
          </c:extLst>
        </c:ser>
        <c:ser>
          <c:idx val="7"/>
          <c:order val="7"/>
          <c:tx>
            <c:strRef>
              <c:f>Sheet1!$B$1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1.078023873774854</c:v>
                </c:pt>
                <c:pt idx="1">
                  <c:v>-1.078023873774854</c:v>
                </c:pt>
              </c:numCache>
            </c:numRef>
          </c:xVal>
          <c:yVal>
            <c:numRef>
              <c:f>Sheet1!$B$172:$B$173</c:f>
              <c:numCache>
                <c:formatCode>General</c:formatCode>
                <c:ptCount val="2"/>
                <c:pt idx="0">
                  <c:v>0.12865497076023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6:$A$220</c:f>
              <c:numCache>
                <c:formatCode>General</c:formatCode>
                <c:ptCount val="45"/>
                <c:pt idx="0">
                  <c:v>0.0</c:v>
                </c:pt>
                <c:pt idx="1">
                  <c:v>1.5658094389489197</c:v>
                </c:pt>
                <c:pt idx="2">
                  <c:v>0.8078048465246889</c:v>
                </c:pt>
                <c:pt idx="3">
                  <c:v>1.2482555628509158</c:v>
                </c:pt>
                <c:pt idx="4">
                  <c:v>1.0050170255710318</c:v>
                </c:pt>
                <c:pt idx="5">
                  <c:v>1.1296660117878192</c:v>
                </c:pt>
                <c:pt idx="6">
                  <c:v>0.813588850174216</c:v>
                </c:pt>
                <c:pt idx="7">
                  <c:v>1.036426260174452</c:v>
                </c:pt>
                <c:pt idx="8">
                  <c:v>0.534614124718257</c:v>
                </c:pt>
                <c:pt idx="9">
                  <c:v>0.8556566970091027</c:v>
                </c:pt>
                <c:pt idx="10">
                  <c:v>0.6256848783694937</c:v>
                </c:pt>
                <c:pt idx="11">
                  <c:v>0.6297498903027644</c:v>
                </c:pt>
                <c:pt idx="12">
                  <c:v>1.1999267336052715</c:v>
                </c:pt>
                <c:pt idx="13">
                  <c:v>0.973030142781597</c:v>
                </c:pt>
                <c:pt idx="14">
                  <c:v>0.8088431876606684</c:v>
                </c:pt>
                <c:pt idx="15">
                  <c:v>0.8584047804624578</c:v>
                </c:pt>
                <c:pt idx="16">
                  <c:v>0.9711996114681849</c:v>
                </c:pt>
                <c:pt idx="17">
                  <c:v>0.7757789664060724</c:v>
                </c:pt>
                <c:pt idx="18">
                  <c:v>1.4231694251230862</c:v>
                </c:pt>
                <c:pt idx="19">
                  <c:v>1.287191011235955</c:v>
                </c:pt>
                <c:pt idx="20">
                  <c:v>0.7889060092449923</c:v>
                </c:pt>
                <c:pt idx="21">
                  <c:v>1.1419114132432184</c:v>
                </c:pt>
                <c:pt idx="22">
                  <c:v>0.9496824621397166</c:v>
                </c:pt>
                <c:pt idx="23">
                  <c:v>0.9262998485613326</c:v>
                </c:pt>
                <c:pt idx="24">
                  <c:v>0.0</c:v>
                </c:pt>
                <c:pt idx="25">
                  <c:v>1.2264705882352942</c:v>
                </c:pt>
                <c:pt idx="26">
                  <c:v>0.6054305283757339</c:v>
                </c:pt>
                <c:pt idx="27">
                  <c:v>0.652385323609845</c:v>
                </c:pt>
                <c:pt idx="28">
                  <c:v>0.9794238683127572</c:v>
                </c:pt>
                <c:pt idx="29">
                  <c:v>0.6899209486166008</c:v>
                </c:pt>
                <c:pt idx="30">
                  <c:v>0.39660892001474385</c:v>
                </c:pt>
                <c:pt idx="31">
                  <c:v>0.39657377521613835</c:v>
                </c:pt>
                <c:pt idx="32">
                  <c:v>0.0</c:v>
                </c:pt>
                <c:pt idx="33">
                  <c:v>0.3585922751614545</c:v>
                </c:pt>
                <c:pt idx="34">
                  <c:v>0.363955106453187</c:v>
                </c:pt>
                <c:pt idx="35">
                  <c:v>0.41240478781284007</c:v>
                </c:pt>
                <c:pt idx="36">
                  <c:v>0.0</c:v>
                </c:pt>
                <c:pt idx="37">
                  <c:v>0.0</c:v>
                </c:pt>
                <c:pt idx="38">
                  <c:v>0.4416260162601626</c:v>
                </c:pt>
                <c:pt idx="39">
                  <c:v>0.2698759129164542</c:v>
                </c:pt>
                <c:pt idx="40">
                  <c:v>1.1074526464861036</c:v>
                </c:pt>
                <c:pt idx="41">
                  <c:v>0.0</c:v>
                </c:pt>
                <c:pt idx="42">
                  <c:v>2.1169981264130997</c:v>
                </c:pt>
                <c:pt idx="43">
                  <c:v>4.8738207301349625</c:v>
                </c:pt>
                <c:pt idx="44">
                  <c:v>-1.078023873774854</c:v>
                </c:pt>
              </c:numCache>
            </c:numRef>
          </c:xVal>
          <c:yVal>
            <c:numRef>
              <c:f>Sheet1!$B$176:$B$220</c:f>
              <c:numCache>
                <c:formatCode>General</c:formatCode>
                <c:ptCount val="45"/>
                <c:pt idx="0">
                  <c:v>0.19181996810428958</c:v>
                </c:pt>
                <c:pt idx="1">
                  <c:v>0.2835659409519763</c:v>
                </c:pt>
                <c:pt idx="2">
                  <c:v>0.23915193562981016</c:v>
                </c:pt>
                <c:pt idx="3">
                  <c:v>0.26495940520793193</c:v>
                </c:pt>
                <c:pt idx="4">
                  <c:v>0.2507072518604777</c:v>
                </c:pt>
                <c:pt idx="5">
                  <c:v>0.2580108497444027</c:v>
                </c:pt>
                <c:pt idx="6">
                  <c:v>0.23949083960406176</c:v>
                </c:pt>
                <c:pt idx="7">
                  <c:v>0.252547623181158</c:v>
                </c:pt>
                <c:pt idx="8">
                  <c:v>0.2231447843624646</c:v>
                </c:pt>
                <c:pt idx="9">
                  <c:v>0.24195573439743134</c:v>
                </c:pt>
                <c:pt idx="10">
                  <c:v>0.2284809221349597</c:v>
                </c:pt>
                <c:pt idx="11">
                  <c:v>0.22871910467823633</c:v>
                </c:pt>
                <c:pt idx="12">
                  <c:v>0.26212765867132415</c:v>
                </c:pt>
                <c:pt idx="13">
                  <c:v>0.24883303421503322</c:v>
                </c:pt>
                <c:pt idx="14">
                  <c:v>0.23921277548381703</c:v>
                </c:pt>
                <c:pt idx="15">
                  <c:v>0.2421167537294287</c:v>
                </c:pt>
                <c:pt idx="16">
                  <c:v>0.24872577730879697</c:v>
                </c:pt>
                <c:pt idx="17">
                  <c:v>0.2372754330013944</c:v>
                </c:pt>
                <c:pt idx="18">
                  <c:v>0.2752081890378971</c:v>
                </c:pt>
                <c:pt idx="19">
                  <c:v>0.2672407623778978</c:v>
                </c:pt>
                <c:pt idx="20">
                  <c:v>0.2380445900175115</c:v>
                </c:pt>
                <c:pt idx="21">
                  <c:v>0.25872834846518583</c:v>
                </c:pt>
                <c:pt idx="22">
                  <c:v>0.24746501610188126</c:v>
                </c:pt>
                <c:pt idx="23">
                  <c:v>0.2460949511520171</c:v>
                </c:pt>
                <c:pt idx="24">
                  <c:v>0.19181996810428958</c:v>
                </c:pt>
                <c:pt idx="25">
                  <c:v>0.26368295122837615</c:v>
                </c:pt>
                <c:pt idx="26">
                  <c:v>0.22729415253301988</c:v>
                </c:pt>
                <c:pt idx="27">
                  <c:v>0.23004538985568493</c:v>
                </c:pt>
                <c:pt idx="28">
                  <c:v>0.24920766381834633</c:v>
                </c:pt>
                <c:pt idx="29">
                  <c:v>0.23224472672710042</c:v>
                </c:pt>
                <c:pt idx="30">
                  <c:v>0.21505860130045215</c:v>
                </c:pt>
                <c:pt idx="31">
                  <c:v>0.2150565420500361</c:v>
                </c:pt>
                <c:pt idx="32">
                  <c:v>0.19181996810428958</c:v>
                </c:pt>
                <c:pt idx="33">
                  <c:v>0.21283107987944747</c:v>
                </c:pt>
                <c:pt idx="34">
                  <c:v>0.21314530596714323</c:v>
                </c:pt>
                <c:pt idx="35">
                  <c:v>0.21598413363028826</c:v>
                </c:pt>
                <c:pt idx="36">
                  <c:v>0.19181996810428958</c:v>
                </c:pt>
                <c:pt idx="37">
                  <c:v>0.19181996810428958</c:v>
                </c:pt>
                <c:pt idx="38">
                  <c:v>0.2176963024070353</c:v>
                </c:pt>
                <c:pt idx="39">
                  <c:v>0.20763289371501928</c:v>
                </c:pt>
                <c:pt idx="40">
                  <c:v>0.25670929493247424</c:v>
                </c:pt>
                <c:pt idx="41">
                  <c:v>0.19181996810428958</c:v>
                </c:pt>
                <c:pt idx="42">
                  <c:v>0.3158619158619158</c:v>
                </c:pt>
                <c:pt idx="43">
                  <c:v>0.4773933036895033</c:v>
                </c:pt>
                <c:pt idx="44">
                  <c:v>0.12865497076023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716.0</c:v>
                </c:pt>
                <c:pt idx="1">
                  <c:v>874.6</c:v>
                </c:pt>
                <c:pt idx="2">
                  <c:v>917.1667</c:v>
                </c:pt>
                <c:pt idx="3">
                  <c:v>908.7143</c:v>
                </c:pt>
                <c:pt idx="4">
                  <c:v>921.0</c:v>
                </c:pt>
                <c:pt idx="5">
                  <c:v>829.5714</c:v>
                </c:pt>
                <c:pt idx="6">
                  <c:v>707.4444</c:v>
                </c:pt>
                <c:pt idx="7">
                  <c:v>841.8</c:v>
                </c:pt>
                <c:pt idx="8">
                  <c:v>911.0</c:v>
                </c:pt>
                <c:pt idx="9">
                  <c:v>921.4</c:v>
                </c:pt>
                <c:pt idx="10">
                  <c:v>732.5556</c:v>
                </c:pt>
                <c:pt idx="11">
                  <c:v>860.3333</c:v>
                </c:pt>
                <c:pt idx="12">
                  <c:v>885.5</c:v>
                </c:pt>
                <c:pt idx="13">
                  <c:v>825.6667</c:v>
                </c:pt>
                <c:pt idx="14">
                  <c:v>933.5</c:v>
                </c:pt>
                <c:pt idx="15">
                  <c:v>823.75</c:v>
                </c:pt>
                <c:pt idx="16">
                  <c:v>834.4</c:v>
                </c:pt>
                <c:pt idx="17">
                  <c:v>729.8</c:v>
                </c:pt>
                <c:pt idx="18">
                  <c:v>832.0</c:v>
                </c:pt>
                <c:pt idx="19">
                  <c:v>619.0</c:v>
                </c:pt>
                <c:pt idx="20">
                  <c:v>836.5</c:v>
                </c:pt>
                <c:pt idx="21">
                  <c:v>1495.0</c:v>
                </c:pt>
                <c:pt idx="22">
                  <c:v>764.6667</c:v>
                </c:pt>
                <c:pt idx="23">
                  <c:v>741.0</c:v>
                </c:pt>
                <c:pt idx="24">
                  <c:v>1131.5</c:v>
                </c:pt>
                <c:pt idx="25">
                  <c:v>1020.0</c:v>
                </c:pt>
                <c:pt idx="26">
                  <c:v>720.3333</c:v>
                </c:pt>
                <c:pt idx="27">
                  <c:v>903.5</c:v>
                </c:pt>
                <c:pt idx="28">
                  <c:v>782.3333</c:v>
                </c:pt>
                <c:pt idx="29">
                  <c:v>952.0</c:v>
                </c:pt>
                <c:pt idx="30">
                  <c:v>1005.3333</c:v>
                </c:pt>
                <c:pt idx="31">
                  <c:v>1415.0</c:v>
                </c:pt>
                <c:pt idx="32">
                  <c:v>1330.0</c:v>
                </c:pt>
                <c:pt idx="33">
                  <c:v>754.6667</c:v>
                </c:pt>
                <c:pt idx="34">
                  <c:v>684.0</c:v>
                </c:pt>
                <c:pt idx="35">
                  <c:v>754.0</c:v>
                </c:pt>
                <c:pt idx="36">
                  <c:v>978.5</c:v>
                </c:pt>
                <c:pt idx="37">
                  <c:v>1062.5</c:v>
                </c:pt>
                <c:pt idx="38">
                  <c:v>895.0</c:v>
                </c:pt>
                <c:pt idx="39">
                  <c:v>785.4444</c:v>
                </c:pt>
                <c:pt idx="40">
                  <c:v>828.3529</c:v>
                </c:pt>
                <c:pt idx="41">
                  <c:v>804.7273</c:v>
                </c:pt>
                <c:pt idx="42">
                  <c:v>803.6471</c:v>
                </c:pt>
                <c:pt idx="43">
                  <c:v>791.4737</c:v>
                </c:pt>
                <c:pt idx="44">
                  <c:v>820.2105</c:v>
                </c:pt>
                <c:pt idx="45">
                  <c:v>858.9545</c:v>
                </c:pt>
                <c:pt idx="46">
                  <c:v>848.4762</c:v>
                </c:pt>
                <c:pt idx="47">
                  <c:v>879.1538</c:v>
                </c:pt>
                <c:pt idx="48">
                  <c:v>792.4615</c:v>
                </c:pt>
                <c:pt idx="49">
                  <c:v>856.9524</c:v>
                </c:pt>
                <c:pt idx="50">
                  <c:v>788.3636</c:v>
                </c:pt>
                <c:pt idx="51">
                  <c:v>856.7143</c:v>
                </c:pt>
                <c:pt idx="52">
                  <c:v>833.8571</c:v>
                </c:pt>
                <c:pt idx="53">
                  <c:v>973.2</c:v>
                </c:pt>
                <c:pt idx="54">
                  <c:v>1071.75</c:v>
                </c:pt>
                <c:pt idx="55">
                  <c:v>1033.0</c:v>
                </c:pt>
                <c:pt idx="56">
                  <c:v>960.2</c:v>
                </c:pt>
                <c:pt idx="57">
                  <c:v>921.6667</c:v>
                </c:pt>
                <c:pt idx="58">
                  <c:v>717.7778</c:v>
                </c:pt>
                <c:pt idx="59">
                  <c:v>833.7778</c:v>
                </c:pt>
                <c:pt idx="60">
                  <c:v>983.2</c:v>
                </c:pt>
                <c:pt idx="61">
                  <c:v>1591.0</c:v>
                </c:pt>
                <c:pt idx="62">
                  <c:v>689.8</c:v>
                </c:pt>
                <c:pt idx="63">
                  <c:v>895.25</c:v>
                </c:pt>
                <c:pt idx="64">
                  <c:v>906.25</c:v>
                </c:pt>
                <c:pt idx="65">
                  <c:v>939.0</c:v>
                </c:pt>
                <c:pt idx="66">
                  <c:v>629.6667</c:v>
                </c:pt>
                <c:pt idx="67">
                  <c:v>651.8571</c:v>
                </c:pt>
                <c:pt idx="68">
                  <c:v>881.6667</c:v>
                </c:pt>
                <c:pt idx="69">
                  <c:v>1252.0</c:v>
                </c:pt>
                <c:pt idx="70">
                  <c:v>960.0</c:v>
                </c:pt>
                <c:pt idx="71">
                  <c:v>852.0</c:v>
                </c:pt>
                <c:pt idx="72">
                  <c:v>826.0</c:v>
                </c:pt>
                <c:pt idx="73">
                  <c:v>1080.0</c:v>
                </c:pt>
                <c:pt idx="74">
                  <c:v>1380.0</c:v>
                </c:pt>
                <c:pt idx="75">
                  <c:v>826.0</c:v>
                </c:pt>
                <c:pt idx="76">
                  <c:v>1526.0</c:v>
                </c:pt>
                <c:pt idx="77">
                  <c:v>852.0</c:v>
                </c:pt>
                <c:pt idx="78">
                  <c:v>1075.0</c:v>
                </c:pt>
                <c:pt idx="79">
                  <c:v>1150.0</c:v>
                </c:pt>
                <c:pt idx="80">
                  <c:v>1176.0</c:v>
                </c:pt>
                <c:pt idx="81">
                  <c:v>788.0</c:v>
                </c:pt>
                <c:pt idx="82">
                  <c:v>838.5</c:v>
                </c:pt>
                <c:pt idx="83">
                  <c:v>920.0</c:v>
                </c:pt>
                <c:pt idx="84">
                  <c:v>889.0</c:v>
                </c:pt>
                <c:pt idx="85">
                  <c:v>884.5</c:v>
                </c:pt>
                <c:pt idx="86">
                  <c:v>962.6667</c:v>
                </c:pt>
                <c:pt idx="87">
                  <c:v>1234.0</c:v>
                </c:pt>
                <c:pt idx="88">
                  <c:v>805.0</c:v>
                </c:pt>
                <c:pt idx="89">
                  <c:v>863.6667</c:v>
                </c:pt>
                <c:pt idx="90">
                  <c:v>805.0</c:v>
                </c:pt>
                <c:pt idx="91">
                  <c:v>1143.3333</c:v>
                </c:pt>
                <c:pt idx="92">
                  <c:v>734.3333</c:v>
                </c:pt>
                <c:pt idx="93">
                  <c:v>1289.0</c:v>
                </c:pt>
                <c:pt idx="94">
                  <c:v>605.25</c:v>
                </c:pt>
                <c:pt idx="95">
                  <c:v>664.6667</c:v>
                </c:pt>
                <c:pt idx="96">
                  <c:v>825.2</c:v>
                </c:pt>
                <c:pt idx="97">
                  <c:v>920.0</c:v>
                </c:pt>
                <c:pt idx="98">
                  <c:v>953.6</c:v>
                </c:pt>
                <c:pt idx="99">
                  <c:v>954.5</c:v>
                </c:pt>
                <c:pt idx="100">
                  <c:v>955.0</c:v>
                </c:pt>
                <c:pt idx="101">
                  <c:v>875.0</c:v>
                </c:pt>
                <c:pt idx="102">
                  <c:v>1035.0</c:v>
                </c:pt>
                <c:pt idx="103">
                  <c:v>621.6667</c:v>
                </c:pt>
              </c:numCache>
            </c:numRef>
          </c:xVal>
          <c:yVal>
            <c:numRef>
              <c:f>Sheet1!$B$2:$B$105</c:f>
              <c:numCache>
                <c:formatCode>General</c:formatCode>
                <c:ptCount val="104"/>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6</c:v>
                </c:pt>
                <c:pt idx="11">
                  <c:v>0.3333333333333333</c:v>
                </c:pt>
                <c:pt idx="12">
                  <c:v>0.3</c:v>
                </c:pt>
                <c:pt idx="13">
                  <c:v>0.3</c:v>
                </c:pt>
                <c:pt idx="14">
                  <c:v>0.2727272727272727</c:v>
                </c:pt>
                <c:pt idx="15">
                  <c:v>0.25</c:v>
                </c:pt>
                <c:pt idx="16">
                  <c:v>0.29411764705882354</c:v>
                </c:pt>
                <c:pt idx="17">
                  <c:v>0.3333333333333333</c:v>
                </c:pt>
                <c:pt idx="18">
                  <c:v>0.2222222222222222</c:v>
                </c:pt>
                <c:pt idx="19">
                  <c:v>0.1</c:v>
                </c:pt>
                <c:pt idx="20">
                  <c:v>0.1</c:v>
                </c:pt>
                <c:pt idx="21">
                  <c:v>0.07692307692307693</c:v>
                </c:pt>
                <c:pt idx="22">
                  <c:v>0.1875</c:v>
                </c:pt>
                <c:pt idx="23">
                  <c:v>0.15384615384615385</c:v>
                </c:pt>
                <c:pt idx="24">
                  <c:v>0.14285714285714285</c:v>
                </c:pt>
                <c:pt idx="25">
                  <c:v>0.13333333333333333</c:v>
                </c:pt>
                <c:pt idx="26">
                  <c:v>0.25</c:v>
                </c:pt>
                <c:pt idx="27">
                  <c:v>0.26666666666666666</c:v>
                </c:pt>
                <c:pt idx="28">
                  <c:v>0.2727272727272727</c:v>
                </c:pt>
                <c:pt idx="29">
                  <c:v>0.2727272727272727</c:v>
                </c:pt>
                <c:pt idx="30">
                  <c:v>0.3333333333333333</c:v>
                </c:pt>
                <c:pt idx="31">
                  <c:v>0.125</c:v>
                </c:pt>
                <c:pt idx="32">
                  <c:v>0.14285714285714285</c:v>
                </c:pt>
                <c:pt idx="33">
                  <c:v>0.42857142857142855</c:v>
                </c:pt>
                <c:pt idx="34">
                  <c:v>0.21428571428571427</c:v>
                </c:pt>
                <c:pt idx="35">
                  <c:v>0.15789473684210525</c:v>
                </c:pt>
                <c:pt idx="36">
                  <c:v>0.125</c:v>
                </c:pt>
                <c:pt idx="37">
                  <c:v>0.2</c:v>
                </c:pt>
                <c:pt idx="38">
                  <c:v>0.2222222222222222</c:v>
                </c:pt>
                <c:pt idx="39">
                  <c:v>0.6</c:v>
                </c:pt>
                <c:pt idx="40">
                  <c:v>0.7083333333333334</c:v>
                </c:pt>
                <c:pt idx="41">
                  <c:v>0.7857142857142857</c:v>
                </c:pt>
                <c:pt idx="42">
                  <c:v>0.6538461538461539</c:v>
                </c:pt>
                <c:pt idx="43">
                  <c:v>0.6129032258064516</c:v>
                </c:pt>
                <c:pt idx="44">
                  <c:v>0.5428571428571428</c:v>
                </c:pt>
                <c:pt idx="45">
                  <c:v>0.5945945945945946</c:v>
                </c:pt>
                <c:pt idx="46">
                  <c:v>0.5384615384615384</c:v>
                </c:pt>
                <c:pt idx="47">
                  <c:v>0.4642857142857143</c:v>
                </c:pt>
                <c:pt idx="48">
                  <c:v>0.34210526315789475</c:v>
                </c:pt>
                <c:pt idx="49">
                  <c:v>0.375</c:v>
                </c:pt>
                <c:pt idx="50">
                  <c:v>0.44</c:v>
                </c:pt>
                <c:pt idx="51">
                  <c:v>0.35</c:v>
                </c:pt>
                <c:pt idx="52">
                  <c:v>0.3181818181818182</c:v>
                </c:pt>
                <c:pt idx="53">
                  <c:v>0.29411764705882354</c:v>
                </c:pt>
                <c:pt idx="54">
                  <c:v>0.21052631578947367</c:v>
                </c:pt>
                <c:pt idx="55">
                  <c:v>0.17391304347826086</c:v>
                </c:pt>
                <c:pt idx="56">
                  <c:v>0.17857142857142858</c:v>
                </c:pt>
                <c:pt idx="57">
                  <c:v>0.1111111111111111</c:v>
                </c:pt>
                <c:pt idx="58">
                  <c:v>0.3</c:v>
                </c:pt>
                <c:pt idx="59">
                  <c:v>0.1836734693877551</c:v>
                </c:pt>
                <c:pt idx="60">
                  <c:v>0.10869565217391304</c:v>
                </c:pt>
                <c:pt idx="61">
                  <c:v>0.043478260869565216</c:v>
                </c:pt>
                <c:pt idx="62">
                  <c:v>0.3125</c:v>
                </c:pt>
                <c:pt idx="63">
                  <c:v>0.16666666666666666</c:v>
                </c:pt>
                <c:pt idx="64">
                  <c:v>0.17391304347826086</c:v>
                </c:pt>
                <c:pt idx="65">
                  <c:v>0.1</c:v>
                </c:pt>
                <c:pt idx="66">
                  <c:v>0.14285714285714285</c:v>
                </c:pt>
                <c:pt idx="67">
                  <c:v>0.30434782608695654</c:v>
                </c:pt>
                <c:pt idx="68">
                  <c:v>0.2</c:v>
                </c:pt>
                <c:pt idx="69">
                  <c:v>0.08333333333333333</c:v>
                </c:pt>
                <c:pt idx="70">
                  <c:v>0.15384615384615385</c:v>
                </c:pt>
                <c:pt idx="71">
                  <c:v>0.14285714285714285</c:v>
                </c:pt>
                <c:pt idx="72">
                  <c:v>0.13333333333333333</c:v>
                </c:pt>
                <c:pt idx="73">
                  <c:v>0.15384615384615385</c:v>
                </c:pt>
                <c:pt idx="74">
                  <c:v>0.07692307692307693</c:v>
                </c:pt>
                <c:pt idx="75">
                  <c:v>0.13333333333333333</c:v>
                </c:pt>
                <c:pt idx="76">
                  <c:v>0.1111111111111111</c:v>
                </c:pt>
                <c:pt idx="77">
                  <c:v>0.18181818181818182</c:v>
                </c:pt>
                <c:pt idx="78">
                  <c:v>0.25</c:v>
                </c:pt>
                <c:pt idx="79">
                  <c:v>0.25</c:v>
                </c:pt>
                <c:pt idx="80">
                  <c:v>0.2222222222222222</c:v>
                </c:pt>
                <c:pt idx="81">
                  <c:v>0.25</c:v>
                </c:pt>
                <c:pt idx="82">
                  <c:v>0.4</c:v>
                </c:pt>
                <c:pt idx="83">
                  <c:v>0.125</c:v>
                </c:pt>
                <c:pt idx="84">
                  <c:v>0.2</c:v>
                </c:pt>
                <c:pt idx="85">
                  <c:v>0.18181818181818182</c:v>
                </c:pt>
                <c:pt idx="86">
                  <c:v>0.21428571428571427</c:v>
                </c:pt>
                <c:pt idx="87">
                  <c:v>0.16666666666666666</c:v>
                </c:pt>
                <c:pt idx="88">
                  <c:v>0.3333333333333333</c:v>
                </c:pt>
                <c:pt idx="89">
                  <c:v>0.2727272727272727</c:v>
                </c:pt>
                <c:pt idx="90">
                  <c:v>0.2222222222222222</c:v>
                </c:pt>
                <c:pt idx="91">
                  <c:v>0.2727272727272727</c:v>
                </c:pt>
                <c:pt idx="92">
                  <c:v>0.375</c:v>
                </c:pt>
                <c:pt idx="93">
                  <c:v>0.16666666666666666</c:v>
                </c:pt>
                <c:pt idx="94">
                  <c:v>0.3333333333333333</c:v>
                </c:pt>
                <c:pt idx="95">
                  <c:v>0.23076923076923078</c:v>
                </c:pt>
                <c:pt idx="96">
                  <c:v>0.4166666666666667</c:v>
                </c:pt>
                <c:pt idx="97">
                  <c:v>0.2</c:v>
                </c:pt>
                <c:pt idx="98">
                  <c:v>0.22727272727272727</c:v>
                </c:pt>
                <c:pt idx="99">
                  <c:v>0.13793103448275862</c:v>
                </c:pt>
                <c:pt idx="100">
                  <c:v>0.23529411764705882</c:v>
                </c:pt>
                <c:pt idx="101">
                  <c:v>0.21428571428571427</c:v>
                </c:pt>
                <c:pt idx="102">
                  <c:v>0.13333333333333333</c:v>
                </c:pt>
                <c:pt idx="103">
                  <c:v>0.2727272727272727</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49</c:f>
              <c:numCache>
                <c:formatCode>General</c:formatCode>
                <c:ptCount val="42"/>
                <c:pt idx="0">
                  <c:v>0.0</c:v>
                </c:pt>
                <c:pt idx="1">
                  <c:v>1380.0</c:v>
                </c:pt>
                <c:pt idx="2">
                  <c:v>690.0</c:v>
                </c:pt>
                <c:pt idx="3">
                  <c:v>1150.0</c:v>
                </c:pt>
                <c:pt idx="4">
                  <c:v>1035.0</c:v>
                </c:pt>
                <c:pt idx="5">
                  <c:v>862.5</c:v>
                </c:pt>
                <c:pt idx="6">
                  <c:v>934.0</c:v>
                </c:pt>
                <c:pt idx="7">
                  <c:v>817.0</c:v>
                </c:pt>
                <c:pt idx="8">
                  <c:v>711.5714</c:v>
                </c:pt>
                <c:pt idx="9">
                  <c:v>1316.0</c:v>
                </c:pt>
                <c:pt idx="10">
                  <c:v>951.6667</c:v>
                </c:pt>
                <c:pt idx="11">
                  <c:v>717.6</c:v>
                </c:pt>
                <c:pt idx="12">
                  <c:v>764.8333</c:v>
                </c:pt>
                <c:pt idx="13">
                  <c:v>920.0</c:v>
                </c:pt>
                <c:pt idx="14">
                  <c:v>786.6</c:v>
                </c:pt>
                <c:pt idx="15">
                  <c:v>826.0</c:v>
                </c:pt>
                <c:pt idx="16">
                  <c:v>747.5</c:v>
                </c:pt>
                <c:pt idx="17">
                  <c:v>805.0</c:v>
                </c:pt>
                <c:pt idx="18">
                  <c:v>1380.0</c:v>
                </c:pt>
                <c:pt idx="19">
                  <c:v>1432.0</c:v>
                </c:pt>
                <c:pt idx="20">
                  <c:v>1024.0</c:v>
                </c:pt>
                <c:pt idx="21">
                  <c:v>920.0</c:v>
                </c:pt>
                <c:pt idx="22">
                  <c:v>972.0</c:v>
                </c:pt>
                <c:pt idx="23">
                  <c:v>917.5</c:v>
                </c:pt>
                <c:pt idx="24">
                  <c:v>0.0</c:v>
                </c:pt>
                <c:pt idx="25">
                  <c:v>1042.5</c:v>
                </c:pt>
                <c:pt idx="26">
                  <c:v>618.75</c:v>
                </c:pt>
                <c:pt idx="27">
                  <c:v>715.6667</c:v>
                </c:pt>
                <c:pt idx="28">
                  <c:v>1190.0</c:v>
                </c:pt>
                <c:pt idx="29">
                  <c:v>698.2</c:v>
                </c:pt>
                <c:pt idx="30">
                  <c:v>538.0</c:v>
                </c:pt>
                <c:pt idx="31">
                  <c:v>412.8333</c:v>
                </c:pt>
                <c:pt idx="32">
                  <c:v>0.0</c:v>
                </c:pt>
                <c:pt idx="33">
                  <c:v>377.0</c:v>
                </c:pt>
                <c:pt idx="34">
                  <c:v>346.0</c:v>
                </c:pt>
                <c:pt idx="35">
                  <c:v>379.0</c:v>
                </c:pt>
                <c:pt idx="36">
                  <c:v>0.0</c:v>
                </c:pt>
                <c:pt idx="37">
                  <c:v>0.0</c:v>
                </c:pt>
                <c:pt idx="38">
                  <c:v>679.0</c:v>
                </c:pt>
                <c:pt idx="39">
                  <c:v>391.5</c:v>
                </c:pt>
                <c:pt idx="40">
                  <c:v>391.0</c:v>
                </c:pt>
                <c:pt idx="41">
                  <c:v>0.0</c:v>
                </c:pt>
              </c:numCache>
            </c:numRef>
          </c:xVal>
          <c:yVal>
            <c:numRef>
              <c:f>Sheet1!$B$108:$B$149</c:f>
              <c:numCache>
                <c:formatCode>General</c:formatCode>
                <c:ptCount val="42"/>
                <c:pt idx="0">
                  <c:v>0.0</c:v>
                </c:pt>
                <c:pt idx="1">
                  <c:v>0.09090909090909091</c:v>
                </c:pt>
                <c:pt idx="2">
                  <c:v>0.06666666666666667</c:v>
                </c:pt>
                <c:pt idx="3">
                  <c:v>0.1111111111111111</c:v>
                </c:pt>
                <c:pt idx="4">
                  <c:v>0.23529411764705882</c:v>
                </c:pt>
                <c:pt idx="5">
                  <c:v>0.16</c:v>
                </c:pt>
                <c:pt idx="6">
                  <c:v>0.25</c:v>
                </c:pt>
                <c:pt idx="7">
                  <c:v>0.2727272727272727</c:v>
                </c:pt>
                <c:pt idx="8">
                  <c:v>0.5</c:v>
                </c:pt>
                <c:pt idx="9">
                  <c:v>0.2</c:v>
                </c:pt>
                <c:pt idx="10">
                  <c:v>0.3</c:v>
                </c:pt>
                <c:pt idx="11">
                  <c:v>0.4166666666666667</c:v>
                </c:pt>
                <c:pt idx="12">
                  <c:v>0.3333333333333333</c:v>
                </c:pt>
                <c:pt idx="13">
                  <c:v>0.18181818181818182</c:v>
                </c:pt>
                <c:pt idx="14">
                  <c:v>0.38461538461538464</c:v>
                </c:pt>
                <c:pt idx="15">
                  <c:v>0.15384615384615385</c:v>
                </c:pt>
                <c:pt idx="16">
                  <c:v>0.25</c:v>
                </c:pt>
                <c:pt idx="17">
                  <c:v>0.2857142857142857</c:v>
                </c:pt>
                <c:pt idx="18">
                  <c:v>0.1111111111111111</c:v>
                </c:pt>
                <c:pt idx="19">
                  <c:v>0.2</c:v>
                </c:pt>
                <c:pt idx="20">
                  <c:v>0.16666666666666666</c:v>
                </c:pt>
                <c:pt idx="21">
                  <c:v>0.25</c:v>
                </c:pt>
                <c:pt idx="22">
                  <c:v>0.16666666666666666</c:v>
                </c:pt>
                <c:pt idx="23">
                  <c:v>0.4</c:v>
                </c:pt>
                <c:pt idx="24">
                  <c:v>0.0</c:v>
                </c:pt>
                <c:pt idx="25">
                  <c:v>0.4</c:v>
                </c:pt>
                <c:pt idx="26">
                  <c:v>0.6666666666666666</c:v>
                </c:pt>
                <c:pt idx="27">
                  <c:v>0.42857142857142855</c:v>
                </c:pt>
                <c:pt idx="28">
                  <c:v>0.14285714285714285</c:v>
                </c:pt>
                <c:pt idx="29">
                  <c:v>0.5555555555555556</c:v>
                </c:pt>
                <c:pt idx="30">
                  <c:v>0.4</c:v>
                </c:pt>
                <c:pt idx="31">
                  <c:v>0.5454545454545454</c:v>
                </c:pt>
                <c:pt idx="32">
                  <c:v>0.0</c:v>
                </c:pt>
                <c:pt idx="33">
                  <c:v>0.3333333333333333</c:v>
                </c:pt>
                <c:pt idx="34">
                  <c:v>0.14285714285714285</c:v>
                </c:pt>
                <c:pt idx="35">
                  <c:v>0.09090909090909091</c:v>
                </c:pt>
                <c:pt idx="36">
                  <c:v>0.0</c:v>
                </c:pt>
                <c:pt idx="37">
                  <c:v>0.0</c:v>
                </c:pt>
                <c:pt idx="38">
                  <c:v>0.25</c:v>
                </c:pt>
                <c:pt idx="39">
                  <c:v>0.3333333333333333</c:v>
                </c:pt>
                <c:pt idx="40">
                  <c:v>0.05263157894736842</c:v>
                </c:pt>
                <c:pt idx="41">
                  <c:v>0.0</c:v>
                </c:pt>
              </c:numCache>
            </c:numRef>
          </c:yVal>
          <c:smooth val="0"/>
          <c:extLst>
            <c:ext xmlns:c16="http://schemas.microsoft.com/office/drawing/2014/chart" uri="{C3380CC4-5D6E-409C-BE32-E72D297353CC}">
              <c16:uniqueId val="{00000002-F32D-48B7-BC20-E66FC6253BAD}"/>
            </c:ext>
          </c:extLst>
        </c:ser>
        <c:ser>
          <c:idx val="2"/>
          <c:order val="2"/>
          <c:tx>
            <c:strRef>
              <c:f>Sheet1!$B$151</c:f>
              <c:strCache>
                <c:ptCount val="1"/>
                <c:pt idx="0">
                  <c:v>Custom Linep3yQ</c:v>
                </c:pt>
              </c:strCache>
            </c:strRef>
          </c:tx>
          <c:spPr>
            <a:ln w="19050" cap="rnd">
              <a:solidFill>
                <a:srgbClr val="C00000"/>
              </a:solidFill>
              <a:prstDash val="sysDot"/>
              <a:round/>
            </a:ln>
            <a:effectLst/>
          </c:spPr>
          <c:marker>
            <c:symbol val="none"/>
          </c:marker>
          <c:xVal>
            <c:numRef>
              <c:f>Sheet1!$A$152:$A$153</c:f>
              <c:numCache>
                <c:formatCode>General</c:formatCode>
                <c:ptCount val="2"/>
                <c:pt idx="0">
                  <c:v>0</c:v>
                </c:pt>
                <c:pt idx="1">
                  <c:v>3147.6765231004706</c:v>
                </c:pt>
              </c:numCache>
            </c:numRef>
          </c:xVal>
          <c:yVal>
            <c:numRef>
              <c:f>Sheet1!$B$152:$B$153</c:f>
              <c:numCache>
                <c:formatCode>General</c:formatCode>
                <c:ptCount val="2"/>
                <c:pt idx="0">
                  <c:v>0.4773933036895033</c:v>
                </c:pt>
                <c:pt idx="1">
                  <c:v>0.4773933036895033</c:v>
                </c:pt>
              </c:numCache>
            </c:numRef>
          </c:yVal>
          <c:smooth val="0"/>
          <c:extLst>
            <c:ext xmlns:c16="http://schemas.microsoft.com/office/drawing/2014/chart" uri="{C3380CC4-5D6E-409C-BE32-E72D297353CC}">
              <c16:uniqueId val="{00000003-F32D-48B7-BC20-E66FC6253BAD}"/>
            </c:ext>
          </c:extLst>
        </c:ser>
        <c:ser>
          <c:idx val="3"/>
          <c:order val="3"/>
          <c:tx>
            <c:strRef>
              <c:f>Sheet1!$B$1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3147.6765231004706</c:v>
                </c:pt>
                <c:pt idx="1">
                  <c:v>3147.6765231004706</c:v>
                </c:pt>
              </c:numCache>
            </c:numRef>
          </c:xVal>
          <c:yVal>
            <c:numRef>
              <c:f>Sheet1!$B$156:$B$157</c:f>
              <c:numCache>
                <c:formatCode>General</c:formatCode>
                <c:ptCount val="2"/>
                <c:pt idx="0">
                  <c:v>0.47739330368950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0:$A$161</c:f>
              <c:numCache>
                <c:formatCode>General</c:formatCode>
                <c:ptCount val="2"/>
                <c:pt idx="0">
                  <c:v>0</c:v>
                </c:pt>
                <c:pt idx="1">
                  <c:v>1529.9894193948944</c:v>
                </c:pt>
              </c:numCache>
            </c:numRef>
          </c:xVal>
          <c:yVal>
            <c:numRef>
              <c:f>Sheet1!$B$160:$B$161</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A-F32D-48B7-BC20-E66FC6253BAD}"/>
            </c:ext>
          </c:extLst>
        </c:ser>
        <c:ser>
          <c:idx val="5"/>
          <c:order val="5"/>
          <c:tx>
            <c:strRef>
              <c:f>Sheet1!$B$1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1529.9894193948944</c:v>
                </c:pt>
                <c:pt idx="1">
                  <c:v>1529.9894193948944</c:v>
                </c:pt>
              </c:numCache>
            </c:numRef>
          </c:xVal>
          <c:yVal>
            <c:numRef>
              <c:f>Sheet1!$B$164:$B$165</c:f>
              <c:numCache>
                <c:formatCode>General</c:formatCode>
                <c:ptCount val="2"/>
                <c:pt idx="0">
                  <c:v>0.31586191586191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8:$A$169</c:f>
              <c:numCache>
                <c:formatCode>General</c:formatCode>
                <c:ptCount val="2"/>
                <c:pt idx="0">
                  <c:v>0</c:v>
                </c:pt>
                <c:pt idx="1">
                  <c:v>-344.83048333726714</c:v>
                </c:pt>
              </c:numCache>
            </c:numRef>
          </c:xVal>
          <c:yVal>
            <c:numRef>
              <c:f>Sheet1!$B$168:$B$169</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1-F32D-48B7-BC20-E66FC6253BAD}"/>
            </c:ext>
          </c:extLst>
        </c:ser>
        <c:ser>
          <c:idx val="7"/>
          <c:order val="7"/>
          <c:tx>
            <c:strRef>
              <c:f>Sheet1!$B$1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344.83048333726714</c:v>
                </c:pt>
                <c:pt idx="1">
                  <c:v>-344.83048333726714</c:v>
                </c:pt>
              </c:numCache>
            </c:numRef>
          </c:xVal>
          <c:yVal>
            <c:numRef>
              <c:f>Sheet1!$B$172:$B$173</c:f>
              <c:numCache>
                <c:formatCode>General</c:formatCode>
                <c:ptCount val="2"/>
                <c:pt idx="0">
                  <c:v>0.12865497076023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6:$A$220</c:f>
              <c:numCache>
                <c:formatCode>General</c:formatCode>
                <c:ptCount val="45"/>
                <c:pt idx="0">
                  <c:v>0.0</c:v>
                </c:pt>
                <c:pt idx="1">
                  <c:v>1380.0</c:v>
                </c:pt>
                <c:pt idx="2">
                  <c:v>690.0</c:v>
                </c:pt>
                <c:pt idx="3">
                  <c:v>1150.0</c:v>
                </c:pt>
                <c:pt idx="4">
                  <c:v>1035.0</c:v>
                </c:pt>
                <c:pt idx="5">
                  <c:v>862.5</c:v>
                </c:pt>
                <c:pt idx="6">
                  <c:v>934.0</c:v>
                </c:pt>
                <c:pt idx="7">
                  <c:v>817.0</c:v>
                </c:pt>
                <c:pt idx="8">
                  <c:v>711.5714</c:v>
                </c:pt>
                <c:pt idx="9">
                  <c:v>1316.0</c:v>
                </c:pt>
                <c:pt idx="10">
                  <c:v>951.6667</c:v>
                </c:pt>
                <c:pt idx="11">
                  <c:v>717.6</c:v>
                </c:pt>
                <c:pt idx="12">
                  <c:v>764.8333</c:v>
                </c:pt>
                <c:pt idx="13">
                  <c:v>920.0</c:v>
                </c:pt>
                <c:pt idx="14">
                  <c:v>786.6</c:v>
                </c:pt>
                <c:pt idx="15">
                  <c:v>826.0</c:v>
                </c:pt>
                <c:pt idx="16">
                  <c:v>747.5</c:v>
                </c:pt>
                <c:pt idx="17">
                  <c:v>805.0</c:v>
                </c:pt>
                <c:pt idx="18">
                  <c:v>1380.0</c:v>
                </c:pt>
                <c:pt idx="19">
                  <c:v>1432.0</c:v>
                </c:pt>
                <c:pt idx="20">
                  <c:v>1024.0</c:v>
                </c:pt>
                <c:pt idx="21">
                  <c:v>920.0</c:v>
                </c:pt>
                <c:pt idx="22">
                  <c:v>972.0</c:v>
                </c:pt>
                <c:pt idx="23">
                  <c:v>917.5</c:v>
                </c:pt>
                <c:pt idx="24">
                  <c:v>0.0</c:v>
                </c:pt>
                <c:pt idx="25">
                  <c:v>1042.5</c:v>
                </c:pt>
                <c:pt idx="26">
                  <c:v>618.75</c:v>
                </c:pt>
                <c:pt idx="27">
                  <c:v>715.6667</c:v>
                </c:pt>
                <c:pt idx="28">
                  <c:v>1190.0</c:v>
                </c:pt>
                <c:pt idx="29">
                  <c:v>698.2</c:v>
                </c:pt>
                <c:pt idx="30">
                  <c:v>538.0</c:v>
                </c:pt>
                <c:pt idx="31">
                  <c:v>412.8333</c:v>
                </c:pt>
                <c:pt idx="32">
                  <c:v>0.0</c:v>
                </c:pt>
                <c:pt idx="33">
                  <c:v>377.0</c:v>
                </c:pt>
                <c:pt idx="34">
                  <c:v>346.0</c:v>
                </c:pt>
                <c:pt idx="35">
                  <c:v>379.0</c:v>
                </c:pt>
                <c:pt idx="36">
                  <c:v>0.0</c:v>
                </c:pt>
                <c:pt idx="37">
                  <c:v>0.0</c:v>
                </c:pt>
                <c:pt idx="38">
                  <c:v>679.0</c:v>
                </c:pt>
                <c:pt idx="39">
                  <c:v>391.5</c:v>
                </c:pt>
                <c:pt idx="40">
                  <c:v>391.0</c:v>
                </c:pt>
                <c:pt idx="41">
                  <c:v>0.0</c:v>
                </c:pt>
                <c:pt idx="42">
                  <c:v>1529.9894193948944</c:v>
                </c:pt>
                <c:pt idx="43">
                  <c:v>3147.6765231004706</c:v>
                </c:pt>
                <c:pt idx="44">
                  <c:v>-344.83048333726714</c:v>
                </c:pt>
              </c:numCache>
            </c:numRef>
          </c:xVal>
          <c:yVal>
            <c:numRef>
              <c:f>Sheet1!$B$176:$B$220</c:f>
              <c:numCache>
                <c:formatCode>General</c:formatCode>
                <c:ptCount val="45"/>
                <c:pt idx="0">
                  <c:v>0.16308743078982457</c:v>
                </c:pt>
                <c:pt idx="1">
                  <c:v>0.30088497809761444</c:v>
                </c:pt>
                <c:pt idx="2">
                  <c:v>0.2319862044437195</c:v>
                </c:pt>
                <c:pt idx="3">
                  <c:v>0.2779187202129828</c:v>
                </c:pt>
                <c:pt idx="4">
                  <c:v>0.26643559127066696</c:v>
                </c:pt>
                <c:pt idx="5">
                  <c:v>0.24921089785719325</c:v>
                </c:pt>
                <c:pt idx="6">
                  <c:v>0.25635040846045914</c:v>
                </c:pt>
                <c:pt idx="7">
                  <c:v>0.2446675729278422</c:v>
                </c:pt>
                <c:pt idx="8">
                  <c:v>0.23414017981473056</c:v>
                </c:pt>
                <c:pt idx="9">
                  <c:v>0.29449436720797784</c:v>
                </c:pt>
                <c:pt idx="10">
                  <c:v>0.2581144866698958</c:v>
                </c:pt>
                <c:pt idx="11">
                  <c:v>0.2347421553898753</c:v>
                </c:pt>
                <c:pt idx="12">
                  <c:v>0.2394585560357108</c:v>
                </c:pt>
                <c:pt idx="13">
                  <c:v>0.2549524623283511</c:v>
                </c:pt>
                <c:pt idx="14">
                  <c:v>0.2416320327552648</c:v>
                </c:pt>
                <c:pt idx="15">
                  <c:v>0.24556625258419734</c:v>
                </c:pt>
                <c:pt idx="16">
                  <c:v>0.2377277689148774</c:v>
                </c:pt>
                <c:pt idx="17">
                  <c:v>0.24346933338603532</c:v>
                </c:pt>
                <c:pt idx="18">
                  <c:v>0.30088497809761444</c:v>
                </c:pt>
                <c:pt idx="19">
                  <c:v>0.3060773494454442</c:v>
                </c:pt>
                <c:pt idx="20">
                  <c:v>0.2653372050240107</c:v>
                </c:pt>
                <c:pt idx="21">
                  <c:v>0.2549524623283511</c:v>
                </c:pt>
                <c:pt idx="22">
                  <c:v>0.2601448336761809</c:v>
                </c:pt>
                <c:pt idx="23">
                  <c:v>0.2547028290904747</c:v>
                </c:pt>
                <c:pt idx="24">
                  <c:v>0.16308743078982457</c:v>
                </c:pt>
                <c:pt idx="25">
                  <c:v>0.26718449098429625</c:v>
                </c:pt>
                <c:pt idx="26">
                  <c:v>0.22487165716424123</c:v>
                </c:pt>
                <c:pt idx="27">
                  <c:v>0.2345491090143607</c:v>
                </c:pt>
                <c:pt idx="28">
                  <c:v>0.2819128520190057</c:v>
                </c:pt>
                <c:pt idx="29">
                  <c:v>0.23280500146395422</c:v>
                </c:pt>
                <c:pt idx="30">
                  <c:v>0.2168085035808325</c:v>
                </c:pt>
                <c:pt idx="31">
                  <c:v>0.20431019614270934</c:v>
                </c:pt>
                <c:pt idx="32">
                  <c:v>0.16308743078982457</c:v>
                </c:pt>
                <c:pt idx="33">
                  <c:v>0.20073212306159036</c:v>
                </c:pt>
                <c:pt idx="34">
                  <c:v>0.1976366709119226</c:v>
                </c:pt>
                <c:pt idx="35">
                  <c:v>0.2009318296518915</c:v>
                </c:pt>
                <c:pt idx="36">
                  <c:v>0.16308743078982457</c:v>
                </c:pt>
                <c:pt idx="37">
                  <c:v>0.16308743078982457</c:v>
                </c:pt>
                <c:pt idx="38">
                  <c:v>0.23088781819706322</c:v>
                </c:pt>
                <c:pt idx="39">
                  <c:v>0.20217999584127366</c:v>
                </c:pt>
                <c:pt idx="40">
                  <c:v>0.20213006919369836</c:v>
                </c:pt>
                <c:pt idx="41">
                  <c:v>0.16308743078982457</c:v>
                </c:pt>
                <c:pt idx="42">
                  <c:v>0.3158619158619158</c:v>
                </c:pt>
                <c:pt idx="43">
                  <c:v>0.4773933036895033</c:v>
                </c:pt>
                <c:pt idx="44">
                  <c:v>0.12865497076023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7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8</c:f>
              <c:numCache>
                <c:formatCode>General</c:formatCode>
                <c:ptCount val="12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numCache>
            </c:numRef>
          </c:xVal>
          <c:yVal>
            <c:numRef>
              <c:f>Sheet1!$B$2:$B$128</c:f>
              <c:numCache>
                <c:formatCode>General</c:formatCode>
                <c:ptCount val="127"/>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333333333333333</c:v>
                </c:pt>
                <c:pt idx="11">
                  <c:v>0.3</c:v>
                </c:pt>
                <c:pt idx="12">
                  <c:v>0.3</c:v>
                </c:pt>
                <c:pt idx="13">
                  <c:v>0.2727272727272727</c:v>
                </c:pt>
                <c:pt idx="14">
                  <c:v>0.25</c:v>
                </c:pt>
                <c:pt idx="15">
                  <c:v>0.29411764705882354</c:v>
                </c:pt>
                <c:pt idx="16">
                  <c:v>0.3333333333333333</c:v>
                </c:pt>
                <c:pt idx="17">
                  <c:v>0.2222222222222222</c:v>
                </c:pt>
                <c:pt idx="18">
                  <c:v>0.1</c:v>
                </c:pt>
                <c:pt idx="19">
                  <c:v>0.1</c:v>
                </c:pt>
                <c:pt idx="20">
                  <c:v>0.07692307692307693</c:v>
                </c:pt>
                <c:pt idx="21">
                  <c:v>0.1875</c:v>
                </c:pt>
                <c:pt idx="22">
                  <c:v>0.15384615384615385</c:v>
                </c:pt>
                <c:pt idx="23">
                  <c:v>0.14285714285714285</c:v>
                </c:pt>
                <c:pt idx="24">
                  <c:v>0.13333333333333333</c:v>
                </c:pt>
                <c:pt idx="25">
                  <c:v>0.25</c:v>
                </c:pt>
                <c:pt idx="26">
                  <c:v>0.26666666666666666</c:v>
                </c:pt>
                <c:pt idx="27">
                  <c:v>0.2727272727272727</c:v>
                </c:pt>
                <c:pt idx="28">
                  <c:v>0.3333333333333333</c:v>
                </c:pt>
                <c:pt idx="29">
                  <c:v>0.125</c:v>
                </c:pt>
                <c:pt idx="30">
                  <c:v>0.14285714285714285</c:v>
                </c:pt>
                <c:pt idx="31">
                  <c:v>0.42857142857142855</c:v>
                </c:pt>
                <c:pt idx="32">
                  <c:v>0.21428571428571427</c:v>
                </c:pt>
                <c:pt idx="33">
                  <c:v>0.125</c:v>
                </c:pt>
                <c:pt idx="34">
                  <c:v>0.2</c:v>
                </c:pt>
                <c:pt idx="35">
                  <c:v>0.2222222222222222</c:v>
                </c:pt>
                <c:pt idx="36">
                  <c:v>0.7857142857142857</c:v>
                </c:pt>
                <c:pt idx="37">
                  <c:v>0.6129032258064516</c:v>
                </c:pt>
                <c:pt idx="38">
                  <c:v>0.5428571428571428</c:v>
                </c:pt>
                <c:pt idx="39">
                  <c:v>0.5945945945945946</c:v>
                </c:pt>
                <c:pt idx="40">
                  <c:v>0.5384615384615384</c:v>
                </c:pt>
                <c:pt idx="41">
                  <c:v>0.4642857142857143</c:v>
                </c:pt>
                <c:pt idx="42">
                  <c:v>0.34210526315789475</c:v>
                </c:pt>
                <c:pt idx="43">
                  <c:v>0.375</c:v>
                </c:pt>
                <c:pt idx="44">
                  <c:v>0.44</c:v>
                </c:pt>
                <c:pt idx="45">
                  <c:v>0.35</c:v>
                </c:pt>
                <c:pt idx="46">
                  <c:v>0.3181818181818182</c:v>
                </c:pt>
                <c:pt idx="47">
                  <c:v>0.29411764705882354</c:v>
                </c:pt>
                <c:pt idx="48">
                  <c:v>0.21052631578947367</c:v>
                </c:pt>
                <c:pt idx="49">
                  <c:v>0.17391304347826086</c:v>
                </c:pt>
                <c:pt idx="50">
                  <c:v>0.17857142857142858</c:v>
                </c:pt>
                <c:pt idx="51">
                  <c:v>0.1111111111111111</c:v>
                </c:pt>
                <c:pt idx="52">
                  <c:v>0.3</c:v>
                </c:pt>
                <c:pt idx="53">
                  <c:v>0.1836734693877551</c:v>
                </c:pt>
                <c:pt idx="54">
                  <c:v>0.10869565217391304</c:v>
                </c:pt>
                <c:pt idx="55">
                  <c:v>0.043478260869565216</c:v>
                </c:pt>
                <c:pt idx="56">
                  <c:v>0.3125</c:v>
                </c:pt>
                <c:pt idx="57">
                  <c:v>0.16666666666666666</c:v>
                </c:pt>
                <c:pt idx="58">
                  <c:v>0.17391304347826086</c:v>
                </c:pt>
                <c:pt idx="59">
                  <c:v>0.1</c:v>
                </c:pt>
                <c:pt idx="60">
                  <c:v>0.14285714285714285</c:v>
                </c:pt>
                <c:pt idx="61">
                  <c:v>0.30434782608695654</c:v>
                </c:pt>
                <c:pt idx="62">
                  <c:v>0.2</c:v>
                </c:pt>
                <c:pt idx="63">
                  <c:v>0.08333333333333333</c:v>
                </c:pt>
                <c:pt idx="64">
                  <c:v>0.15384615384615385</c:v>
                </c:pt>
                <c:pt idx="65">
                  <c:v>0.14285714285714285</c:v>
                </c:pt>
                <c:pt idx="66">
                  <c:v>0.15384615384615385</c:v>
                </c:pt>
                <c:pt idx="67">
                  <c:v>0.07692307692307693</c:v>
                </c:pt>
                <c:pt idx="68">
                  <c:v>0.13333333333333333</c:v>
                </c:pt>
                <c:pt idx="69">
                  <c:v>0.18181818181818182</c:v>
                </c:pt>
                <c:pt idx="70">
                  <c:v>0.25</c:v>
                </c:pt>
                <c:pt idx="71">
                  <c:v>0.2222222222222222</c:v>
                </c:pt>
                <c:pt idx="72">
                  <c:v>0.25</c:v>
                </c:pt>
                <c:pt idx="73">
                  <c:v>0.4</c:v>
                </c:pt>
                <c:pt idx="74">
                  <c:v>0.125</c:v>
                </c:pt>
                <c:pt idx="75">
                  <c:v>0.2</c:v>
                </c:pt>
                <c:pt idx="76">
                  <c:v>0.18181818181818182</c:v>
                </c:pt>
                <c:pt idx="77">
                  <c:v>0.16666666666666666</c:v>
                </c:pt>
                <c:pt idx="78">
                  <c:v>0.3333333333333333</c:v>
                </c:pt>
                <c:pt idx="79">
                  <c:v>0.2727272727272727</c:v>
                </c:pt>
                <c:pt idx="80">
                  <c:v>0.2222222222222222</c:v>
                </c:pt>
                <c:pt idx="81">
                  <c:v>0.2727272727272727</c:v>
                </c:pt>
                <c:pt idx="82">
                  <c:v>0.375</c:v>
                </c:pt>
                <c:pt idx="83">
                  <c:v>0.16666666666666666</c:v>
                </c:pt>
                <c:pt idx="84">
                  <c:v>0.3333333333333333</c:v>
                </c:pt>
                <c:pt idx="85">
                  <c:v>0.23076923076923078</c:v>
                </c:pt>
                <c:pt idx="86">
                  <c:v>0.4166666666666667</c:v>
                </c:pt>
                <c:pt idx="87">
                  <c:v>0.2</c:v>
                </c:pt>
                <c:pt idx="88">
                  <c:v>0.22727272727272727</c:v>
                </c:pt>
                <c:pt idx="89">
                  <c:v>0.13793103448275862</c:v>
                </c:pt>
                <c:pt idx="90">
                  <c:v>0.23529411764705882</c:v>
                </c:pt>
                <c:pt idx="91">
                  <c:v>0.21428571428571427</c:v>
                </c:pt>
                <c:pt idx="92">
                  <c:v>0.13333333333333333</c:v>
                </c:pt>
                <c:pt idx="93">
                  <c:v>0.2727272727272727</c:v>
                </c:pt>
                <c:pt idx="94">
                  <c:v>0.09090909090909091</c:v>
                </c:pt>
                <c:pt idx="95">
                  <c:v>0.06666666666666667</c:v>
                </c:pt>
                <c:pt idx="96">
                  <c:v>0.1111111111111111</c:v>
                </c:pt>
                <c:pt idx="97">
                  <c:v>0.23529411764705882</c:v>
                </c:pt>
                <c:pt idx="98">
                  <c:v>0.16</c:v>
                </c:pt>
                <c:pt idx="99">
                  <c:v>0.25</c:v>
                </c:pt>
                <c:pt idx="100">
                  <c:v>0.2727272727272727</c:v>
                </c:pt>
                <c:pt idx="101">
                  <c:v>0.5</c:v>
                </c:pt>
                <c:pt idx="102">
                  <c:v>0.2</c:v>
                </c:pt>
                <c:pt idx="103">
                  <c:v>0.4166666666666667</c:v>
                </c:pt>
                <c:pt idx="104">
                  <c:v>0.3333333333333333</c:v>
                </c:pt>
                <c:pt idx="105">
                  <c:v>0.18181818181818182</c:v>
                </c:pt>
                <c:pt idx="106">
                  <c:v>0.38461538461538464</c:v>
                </c:pt>
                <c:pt idx="107">
                  <c:v>0.15384615384615385</c:v>
                </c:pt>
                <c:pt idx="108">
                  <c:v>0.25</c:v>
                </c:pt>
                <c:pt idx="109">
                  <c:v>0.2857142857142857</c:v>
                </c:pt>
                <c:pt idx="110">
                  <c:v>0.1111111111111111</c:v>
                </c:pt>
                <c:pt idx="111">
                  <c:v>0.2</c:v>
                </c:pt>
                <c:pt idx="112">
                  <c:v>0.16666666666666666</c:v>
                </c:pt>
                <c:pt idx="113">
                  <c:v>0.25</c:v>
                </c:pt>
                <c:pt idx="114">
                  <c:v>0.16666666666666666</c:v>
                </c:pt>
                <c:pt idx="115">
                  <c:v>0.4</c:v>
                </c:pt>
                <c:pt idx="116">
                  <c:v>0.4</c:v>
                </c:pt>
                <c:pt idx="117">
                  <c:v>0.6666666666666666</c:v>
                </c:pt>
                <c:pt idx="118">
                  <c:v>0.42857142857142855</c:v>
                </c:pt>
                <c:pt idx="119">
                  <c:v>0.5555555555555556</c:v>
                </c:pt>
                <c:pt idx="120">
                  <c:v>0.4</c:v>
                </c:pt>
                <c:pt idx="121">
                  <c:v>0.5454545454545454</c:v>
                </c:pt>
                <c:pt idx="122">
                  <c:v>0.3333333333333333</c:v>
                </c:pt>
                <c:pt idx="123">
                  <c:v>0.14285714285714285</c:v>
                </c:pt>
                <c:pt idx="124">
                  <c:v>0.25</c:v>
                </c:pt>
                <c:pt idx="125">
                  <c:v>0.3333333333333333</c:v>
                </c:pt>
                <c:pt idx="126">
                  <c:v>0.05263157894736842</c:v>
                </c:pt>
              </c:numCache>
            </c:numRef>
          </c:yVal>
          <c:smooth val="0"/>
          <c:extLst>
            <c:ext xmlns:c16="http://schemas.microsoft.com/office/drawing/2014/chart" uri="{C3380CC4-5D6E-409C-BE32-E72D297353CC}">
              <c16:uniqueId val="{00000000-096C-4121-9522-6AB7243CCAAE}"/>
            </c:ext>
          </c:extLst>
        </c:ser>
        <c:ser>
          <c:idx val="1"/>
          <c:order val="1"/>
          <c:tx>
            <c:strRef>
              <c:f>Sheet1!$B$13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1:$A$138</c:f>
              <c:numCache>
                <c:formatCode>General</c:formatCode>
                <c:ptCount val="8"/>
                <c:pt idx="0">
                  <c:v>0.0</c:v>
                </c:pt>
                <c:pt idx="1">
                  <c:v>0.0</c:v>
                </c:pt>
                <c:pt idx="2">
                  <c:v>0.2547634339541854</c:v>
                </c:pt>
                <c:pt idx="3">
                  <c:v>0.0</c:v>
                </c:pt>
                <c:pt idx="4">
                  <c:v>0.06593597773138483</c:v>
                </c:pt>
                <c:pt idx="5">
                  <c:v>0.0</c:v>
                </c:pt>
                <c:pt idx="6">
                  <c:v>0.0</c:v>
                </c:pt>
                <c:pt idx="7">
                  <c:v>0.0</c:v>
                </c:pt>
              </c:numCache>
            </c:numRef>
          </c:xVal>
          <c:yVal>
            <c:numRef>
              <c:f>Sheet1!$B$131:$B$138</c:f>
              <c:numCache>
                <c:formatCode>General</c:formatCode>
                <c:ptCount val="8"/>
                <c:pt idx="0">
                  <c:v>0.0</c:v>
                </c:pt>
                <c:pt idx="1">
                  <c:v>0.0</c:v>
                </c:pt>
                <c:pt idx="2">
                  <c:v>0.14285714285714285</c:v>
                </c:pt>
                <c:pt idx="3">
                  <c:v>0.0</c:v>
                </c:pt>
                <c:pt idx="4">
                  <c:v>0.09090909090909091</c:v>
                </c:pt>
                <c:pt idx="5">
                  <c:v>0.0</c:v>
                </c:pt>
                <c:pt idx="6">
                  <c:v>0.0</c:v>
                </c:pt>
                <c:pt idx="7">
                  <c:v>0.0</c:v>
                </c:pt>
              </c:numCache>
            </c:numRef>
          </c:yVal>
          <c:smooth val="0"/>
          <c:extLst>
            <c:ext xmlns:c16="http://schemas.microsoft.com/office/drawing/2014/chart" uri="{C3380CC4-5D6E-409C-BE32-E72D297353CC}">
              <c16:uniqueId val="{00000002-096C-4121-9522-6AB7243CCAAE}"/>
            </c:ext>
          </c:extLst>
        </c:ser>
        <c:ser>
          <c:idx val="2"/>
          <c:order val="2"/>
          <c:tx>
            <c:strRef>
              <c:f>Sheet1!$B$1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1:$A$142</c:f>
              <c:numCache>
                <c:formatCode>General</c:formatCode>
                <c:ptCount val="2"/>
                <c:pt idx="0">
                  <c:v>0</c:v>
                </c:pt>
                <c:pt idx="1">
                  <c:v>0.7656360236338403</c:v>
                </c:pt>
              </c:numCache>
            </c:numRef>
          </c:xVal>
          <c:yVal>
            <c:numRef>
              <c:f>Sheet1!$B$141:$B$142</c:f>
              <c:numCache>
                <c:formatCode>General</c:formatCode>
                <c:ptCount val="2"/>
                <c:pt idx="0">
                  <c:v>0.4540043026602166</c:v>
                </c:pt>
                <c:pt idx="1">
                  <c:v>0.4540043026602166</c:v>
                </c:pt>
              </c:numCache>
            </c:numRef>
          </c:yVal>
          <c:smooth val="0"/>
          <c:extLst>
            <c:ext xmlns:c16="http://schemas.microsoft.com/office/drawing/2014/chart" uri="{C3380CC4-5D6E-409C-BE32-E72D297353CC}">
              <c16:uniqueId val="{00000005-096C-4121-9522-6AB7243CCAAE}"/>
            </c:ext>
          </c:extLst>
        </c:ser>
        <c:ser>
          <c:idx val="3"/>
          <c:order val="3"/>
          <c:tx>
            <c:strRef>
              <c:f>Sheet1!$B$1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5:$A$146</c:f>
              <c:numCache>
                <c:formatCode>General</c:formatCode>
                <c:ptCount val="2"/>
                <c:pt idx="0">
                  <c:v>0.7656360236338403</c:v>
                </c:pt>
                <c:pt idx="1">
                  <c:v>0.7656360236338403</c:v>
                </c:pt>
              </c:numCache>
            </c:numRef>
          </c:xVal>
          <c:yVal>
            <c:numRef>
              <c:f>Sheet1!$B$145:$B$146</c:f>
              <c:numCache>
                <c:formatCode>General</c:formatCode>
                <c:ptCount val="2"/>
                <c:pt idx="0">
                  <c:v>0.45400430266021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9:$A$150</c:f>
              <c:numCache>
                <c:formatCode>General</c:formatCode>
                <c:ptCount val="2"/>
                <c:pt idx="0">
                  <c:v>0</c:v>
                </c:pt>
                <c:pt idx="1">
                  <c:v>0.5296828629742393</c:v>
                </c:pt>
              </c:numCache>
            </c:numRef>
          </c:xVal>
          <c:yVal>
            <c:numRef>
              <c:f>Sheet1!$B$149:$B$150</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D-096C-4121-9522-6AB7243CCAAE}"/>
            </c:ext>
          </c:extLst>
        </c:ser>
        <c:ser>
          <c:idx val="5"/>
          <c:order val="5"/>
          <c:tx>
            <c:strRef>
              <c:f>Sheet1!$B$15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0.5296828629742393</c:v>
                </c:pt>
                <c:pt idx="1">
                  <c:v>0.5296828629742393</c:v>
                </c:pt>
              </c:numCache>
            </c:numRef>
          </c:xVal>
          <c:yVal>
            <c:numRef>
              <c:f>Sheet1!$B$153:$B$154</c:f>
              <c:numCache>
                <c:formatCode>General</c:formatCode>
                <c:ptCount val="2"/>
                <c:pt idx="0">
                  <c:v>0.31586191586191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7:$A$158</c:f>
              <c:numCache>
                <c:formatCode>General</c:formatCode>
                <c:ptCount val="2"/>
                <c:pt idx="0">
                  <c:v>0</c:v>
                </c:pt>
                <c:pt idx="1">
                  <c:v>0.20992531847296242</c:v>
                </c:pt>
              </c:numCache>
            </c:numRef>
          </c:xVal>
          <c:yVal>
            <c:numRef>
              <c:f>Sheet1!$B$157:$B$158</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5-096C-4121-9522-6AB7243CCAAE}"/>
            </c:ext>
          </c:extLst>
        </c:ser>
        <c:ser>
          <c:idx val="7"/>
          <c:order val="7"/>
          <c:tx>
            <c:strRef>
              <c:f>Sheet1!$B$16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1:$A$162</c:f>
              <c:numCache>
                <c:formatCode>General</c:formatCode>
                <c:ptCount val="2"/>
                <c:pt idx="0">
                  <c:v>0.20992531847296242</c:v>
                </c:pt>
                <c:pt idx="1">
                  <c:v>0.20992531847296242</c:v>
                </c:pt>
              </c:numCache>
            </c:numRef>
          </c:xVal>
          <c:yVal>
            <c:numRef>
              <c:f>Sheet1!$B$161:$B$162</c:f>
              <c:numCache>
                <c:formatCode>General</c:formatCode>
                <c:ptCount val="2"/>
                <c:pt idx="0">
                  <c:v>0.12865497076023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5:$A$175</c:f>
              <c:numCache>
                <c:formatCode>General</c:formatCode>
                <c:ptCount val="11"/>
                <c:pt idx="0">
                  <c:v>0.0</c:v>
                </c:pt>
                <c:pt idx="1">
                  <c:v>0.0</c:v>
                </c:pt>
                <c:pt idx="2">
                  <c:v>0.2547634339541854</c:v>
                </c:pt>
                <c:pt idx="3">
                  <c:v>0.0</c:v>
                </c:pt>
                <c:pt idx="4">
                  <c:v>0.06593597773138483</c:v>
                </c:pt>
                <c:pt idx="5">
                  <c:v>0.0</c:v>
                </c:pt>
                <c:pt idx="6">
                  <c:v>0.0</c:v>
                </c:pt>
                <c:pt idx="7">
                  <c:v>0.0</c:v>
                </c:pt>
                <c:pt idx="8">
                  <c:v>0.5296828629742393</c:v>
                </c:pt>
                <c:pt idx="9">
                  <c:v>0.7656360236338403</c:v>
                </c:pt>
                <c:pt idx="10">
                  <c:v>0.20992531847296242</c:v>
                </c:pt>
              </c:numCache>
            </c:numRef>
          </c:xVal>
          <c:yVal>
            <c:numRef>
              <c:f>Sheet1!$B$165:$B$175</c:f>
              <c:numCache>
                <c:formatCode>General</c:formatCode>
                <c:ptCount val="11"/>
                <c:pt idx="0">
                  <c:v>0.00575098226446278</c:v>
                </c:pt>
                <c:pt idx="1">
                  <c:v>0.00575098226446278</c:v>
                </c:pt>
                <c:pt idx="2">
                  <c:v>0.15490613126513533</c:v>
                </c:pt>
                <c:pt idx="3">
                  <c:v>0.00575098226446278</c:v>
                </c:pt>
                <c:pt idx="4">
                  <c:v>0.04435420891432151</c:v>
                </c:pt>
                <c:pt idx="5">
                  <c:v>0.00575098226446278</c:v>
                </c:pt>
                <c:pt idx="6">
                  <c:v>0.00575098226446278</c:v>
                </c:pt>
                <c:pt idx="7">
                  <c:v>0.00575098226446278</c:v>
                </c:pt>
                <c:pt idx="8">
                  <c:v>0.3158619158619158</c:v>
                </c:pt>
                <c:pt idx="9">
                  <c:v>0.4540043026602166</c:v>
                </c:pt>
                <c:pt idx="10">
                  <c:v>0.1286549707602339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716.0</c:v>
                </c:pt>
                <c:pt idx="1">
                  <c:v>874.6</c:v>
                </c:pt>
                <c:pt idx="2">
                  <c:v>917.1667</c:v>
                </c:pt>
                <c:pt idx="3">
                  <c:v>908.7143</c:v>
                </c:pt>
                <c:pt idx="4">
                  <c:v>921.0</c:v>
                </c:pt>
                <c:pt idx="5">
                  <c:v>829.5714</c:v>
                </c:pt>
                <c:pt idx="6">
                  <c:v>707.4444</c:v>
                </c:pt>
                <c:pt idx="7">
                  <c:v>841.8</c:v>
                </c:pt>
                <c:pt idx="8">
                  <c:v>911.0</c:v>
                </c:pt>
                <c:pt idx="9">
                  <c:v>921.4</c:v>
                </c:pt>
                <c:pt idx="10">
                  <c:v>860.3333</c:v>
                </c:pt>
                <c:pt idx="11">
                  <c:v>885.5</c:v>
                </c:pt>
                <c:pt idx="12">
                  <c:v>825.6667</c:v>
                </c:pt>
                <c:pt idx="13">
                  <c:v>933.5</c:v>
                </c:pt>
                <c:pt idx="14">
                  <c:v>823.75</c:v>
                </c:pt>
                <c:pt idx="15">
                  <c:v>834.4</c:v>
                </c:pt>
                <c:pt idx="16">
                  <c:v>729.8</c:v>
                </c:pt>
                <c:pt idx="17">
                  <c:v>832.0</c:v>
                </c:pt>
                <c:pt idx="18">
                  <c:v>619.0</c:v>
                </c:pt>
                <c:pt idx="19">
                  <c:v>836.5</c:v>
                </c:pt>
                <c:pt idx="20">
                  <c:v>1495.0</c:v>
                </c:pt>
                <c:pt idx="21">
                  <c:v>764.6667</c:v>
                </c:pt>
                <c:pt idx="22">
                  <c:v>741.0</c:v>
                </c:pt>
                <c:pt idx="23">
                  <c:v>1131.5</c:v>
                </c:pt>
                <c:pt idx="24">
                  <c:v>1020.0</c:v>
                </c:pt>
                <c:pt idx="25">
                  <c:v>720.3333</c:v>
                </c:pt>
                <c:pt idx="26">
                  <c:v>903.5</c:v>
                </c:pt>
                <c:pt idx="27">
                  <c:v>952.0</c:v>
                </c:pt>
                <c:pt idx="28">
                  <c:v>1005.3333</c:v>
                </c:pt>
                <c:pt idx="29">
                  <c:v>1415.0</c:v>
                </c:pt>
                <c:pt idx="30">
                  <c:v>1330.0</c:v>
                </c:pt>
                <c:pt idx="31">
                  <c:v>754.6667</c:v>
                </c:pt>
                <c:pt idx="32">
                  <c:v>684.0</c:v>
                </c:pt>
                <c:pt idx="33">
                  <c:v>978.5</c:v>
                </c:pt>
                <c:pt idx="34">
                  <c:v>1062.5</c:v>
                </c:pt>
                <c:pt idx="35">
                  <c:v>895.0</c:v>
                </c:pt>
                <c:pt idx="36">
                  <c:v>804.7273</c:v>
                </c:pt>
                <c:pt idx="37">
                  <c:v>791.4737</c:v>
                </c:pt>
                <c:pt idx="38">
                  <c:v>820.2105</c:v>
                </c:pt>
                <c:pt idx="39">
                  <c:v>858.9545</c:v>
                </c:pt>
                <c:pt idx="40">
                  <c:v>848.4762</c:v>
                </c:pt>
                <c:pt idx="41">
                  <c:v>879.1538</c:v>
                </c:pt>
                <c:pt idx="42">
                  <c:v>792.4615</c:v>
                </c:pt>
                <c:pt idx="43">
                  <c:v>856.9524</c:v>
                </c:pt>
                <c:pt idx="44">
                  <c:v>788.3636</c:v>
                </c:pt>
                <c:pt idx="45">
                  <c:v>856.7143</c:v>
                </c:pt>
                <c:pt idx="46">
                  <c:v>833.8571</c:v>
                </c:pt>
                <c:pt idx="47">
                  <c:v>973.2</c:v>
                </c:pt>
                <c:pt idx="48">
                  <c:v>1071.75</c:v>
                </c:pt>
                <c:pt idx="49">
                  <c:v>1033.0</c:v>
                </c:pt>
                <c:pt idx="50">
                  <c:v>960.2</c:v>
                </c:pt>
                <c:pt idx="51">
                  <c:v>921.6667</c:v>
                </c:pt>
                <c:pt idx="52">
                  <c:v>717.7778</c:v>
                </c:pt>
                <c:pt idx="53">
                  <c:v>833.7778</c:v>
                </c:pt>
                <c:pt idx="54">
                  <c:v>983.2</c:v>
                </c:pt>
                <c:pt idx="55">
                  <c:v>1591.0</c:v>
                </c:pt>
                <c:pt idx="56">
                  <c:v>689.8</c:v>
                </c:pt>
                <c:pt idx="57">
                  <c:v>895.25</c:v>
                </c:pt>
                <c:pt idx="58">
                  <c:v>906.25</c:v>
                </c:pt>
                <c:pt idx="59">
                  <c:v>939.0</c:v>
                </c:pt>
                <c:pt idx="60">
                  <c:v>629.6667</c:v>
                </c:pt>
                <c:pt idx="61">
                  <c:v>651.8571</c:v>
                </c:pt>
                <c:pt idx="62">
                  <c:v>881.6667</c:v>
                </c:pt>
                <c:pt idx="63">
                  <c:v>1252.0</c:v>
                </c:pt>
                <c:pt idx="64">
                  <c:v>960.0</c:v>
                </c:pt>
                <c:pt idx="65">
                  <c:v>852.0</c:v>
                </c:pt>
                <c:pt idx="66">
                  <c:v>1080.0</c:v>
                </c:pt>
                <c:pt idx="67">
                  <c:v>1380.0</c:v>
                </c:pt>
                <c:pt idx="68">
                  <c:v>826.0</c:v>
                </c:pt>
                <c:pt idx="69">
                  <c:v>852.0</c:v>
                </c:pt>
                <c:pt idx="70">
                  <c:v>1150.0</c:v>
                </c:pt>
                <c:pt idx="71">
                  <c:v>1176.0</c:v>
                </c:pt>
                <c:pt idx="72">
                  <c:v>788.0</c:v>
                </c:pt>
                <c:pt idx="73">
                  <c:v>838.5</c:v>
                </c:pt>
                <c:pt idx="74">
                  <c:v>920.0</c:v>
                </c:pt>
                <c:pt idx="75">
                  <c:v>889.0</c:v>
                </c:pt>
                <c:pt idx="76">
                  <c:v>884.5</c:v>
                </c:pt>
                <c:pt idx="77">
                  <c:v>1234.0</c:v>
                </c:pt>
                <c:pt idx="78">
                  <c:v>805.0</c:v>
                </c:pt>
                <c:pt idx="79">
                  <c:v>863.6667</c:v>
                </c:pt>
                <c:pt idx="80">
                  <c:v>805.0</c:v>
                </c:pt>
                <c:pt idx="81">
                  <c:v>1143.3333</c:v>
                </c:pt>
                <c:pt idx="82">
                  <c:v>734.3333</c:v>
                </c:pt>
                <c:pt idx="83">
                  <c:v>1289.0</c:v>
                </c:pt>
                <c:pt idx="84">
                  <c:v>605.25</c:v>
                </c:pt>
                <c:pt idx="85">
                  <c:v>664.6667</c:v>
                </c:pt>
                <c:pt idx="86">
                  <c:v>825.2</c:v>
                </c:pt>
                <c:pt idx="87">
                  <c:v>920.0</c:v>
                </c:pt>
                <c:pt idx="88">
                  <c:v>953.6</c:v>
                </c:pt>
                <c:pt idx="89">
                  <c:v>954.5</c:v>
                </c:pt>
                <c:pt idx="90">
                  <c:v>955.0</c:v>
                </c:pt>
                <c:pt idx="91">
                  <c:v>875.0</c:v>
                </c:pt>
                <c:pt idx="92">
                  <c:v>1035.0</c:v>
                </c:pt>
                <c:pt idx="93">
                  <c:v>621.6667</c:v>
                </c:pt>
              </c:numCache>
            </c:numRef>
          </c:xVal>
          <c:yVal>
            <c:numRef>
              <c:f>Sheet1!$B$2:$B$95</c:f>
              <c:numCache>
                <c:formatCode>General</c:formatCode>
                <c:ptCount val="94"/>
                <c:pt idx="0">
                  <c:v>0.37142857142857144</c:v>
                </c:pt>
                <c:pt idx="1">
                  <c:v>0.35714285714285715</c:v>
                </c:pt>
                <c:pt idx="2">
                  <c:v>0.24</c:v>
                </c:pt>
                <c:pt idx="3">
                  <c:v>0.2916666666666667</c:v>
                </c:pt>
                <c:pt idx="4">
                  <c:v>0.21428571428571427</c:v>
                </c:pt>
                <c:pt idx="5">
                  <c:v>0.3333333333333333</c:v>
                </c:pt>
                <c:pt idx="6">
                  <c:v>0.391304347826087</c:v>
                </c:pt>
                <c:pt idx="7">
                  <c:v>0.25</c:v>
                </c:pt>
                <c:pt idx="8">
                  <c:v>0.3125</c:v>
                </c:pt>
                <c:pt idx="9">
                  <c:v>0.2</c:v>
                </c:pt>
                <c:pt idx="10">
                  <c:v>0.3333333333333333</c:v>
                </c:pt>
                <c:pt idx="11">
                  <c:v>0.3</c:v>
                </c:pt>
                <c:pt idx="12">
                  <c:v>0.3</c:v>
                </c:pt>
                <c:pt idx="13">
                  <c:v>0.2727272727272727</c:v>
                </c:pt>
                <c:pt idx="14">
                  <c:v>0.25</c:v>
                </c:pt>
                <c:pt idx="15">
                  <c:v>0.29411764705882354</c:v>
                </c:pt>
                <c:pt idx="16">
                  <c:v>0.3333333333333333</c:v>
                </c:pt>
                <c:pt idx="17">
                  <c:v>0.2222222222222222</c:v>
                </c:pt>
                <c:pt idx="18">
                  <c:v>0.1</c:v>
                </c:pt>
                <c:pt idx="19">
                  <c:v>0.1</c:v>
                </c:pt>
                <c:pt idx="20">
                  <c:v>0.07692307692307693</c:v>
                </c:pt>
                <c:pt idx="21">
                  <c:v>0.1875</c:v>
                </c:pt>
                <c:pt idx="22">
                  <c:v>0.15384615384615385</c:v>
                </c:pt>
                <c:pt idx="23">
                  <c:v>0.14285714285714285</c:v>
                </c:pt>
                <c:pt idx="24">
                  <c:v>0.13333333333333333</c:v>
                </c:pt>
                <c:pt idx="25">
                  <c:v>0.25</c:v>
                </c:pt>
                <c:pt idx="26">
                  <c:v>0.26666666666666666</c:v>
                </c:pt>
                <c:pt idx="27">
                  <c:v>0.2727272727272727</c:v>
                </c:pt>
                <c:pt idx="28">
                  <c:v>0.3333333333333333</c:v>
                </c:pt>
                <c:pt idx="29">
                  <c:v>0.125</c:v>
                </c:pt>
                <c:pt idx="30">
                  <c:v>0.14285714285714285</c:v>
                </c:pt>
                <c:pt idx="31">
                  <c:v>0.42857142857142855</c:v>
                </c:pt>
                <c:pt idx="32">
                  <c:v>0.21428571428571427</c:v>
                </c:pt>
                <c:pt idx="33">
                  <c:v>0.125</c:v>
                </c:pt>
                <c:pt idx="34">
                  <c:v>0.2</c:v>
                </c:pt>
                <c:pt idx="35">
                  <c:v>0.2222222222222222</c:v>
                </c:pt>
                <c:pt idx="36">
                  <c:v>0.7857142857142857</c:v>
                </c:pt>
                <c:pt idx="37">
                  <c:v>0.6129032258064516</c:v>
                </c:pt>
                <c:pt idx="38">
                  <c:v>0.5428571428571428</c:v>
                </c:pt>
                <c:pt idx="39">
                  <c:v>0.5945945945945946</c:v>
                </c:pt>
                <c:pt idx="40">
                  <c:v>0.5384615384615384</c:v>
                </c:pt>
                <c:pt idx="41">
                  <c:v>0.4642857142857143</c:v>
                </c:pt>
                <c:pt idx="42">
                  <c:v>0.34210526315789475</c:v>
                </c:pt>
                <c:pt idx="43">
                  <c:v>0.375</c:v>
                </c:pt>
                <c:pt idx="44">
                  <c:v>0.44</c:v>
                </c:pt>
                <c:pt idx="45">
                  <c:v>0.35</c:v>
                </c:pt>
                <c:pt idx="46">
                  <c:v>0.3181818181818182</c:v>
                </c:pt>
                <c:pt idx="47">
                  <c:v>0.29411764705882354</c:v>
                </c:pt>
                <c:pt idx="48">
                  <c:v>0.21052631578947367</c:v>
                </c:pt>
                <c:pt idx="49">
                  <c:v>0.17391304347826086</c:v>
                </c:pt>
                <c:pt idx="50">
                  <c:v>0.17857142857142858</c:v>
                </c:pt>
                <c:pt idx="51">
                  <c:v>0.1111111111111111</c:v>
                </c:pt>
                <c:pt idx="52">
                  <c:v>0.3</c:v>
                </c:pt>
                <c:pt idx="53">
                  <c:v>0.1836734693877551</c:v>
                </c:pt>
                <c:pt idx="54">
                  <c:v>0.10869565217391304</c:v>
                </c:pt>
                <c:pt idx="55">
                  <c:v>0.043478260869565216</c:v>
                </c:pt>
                <c:pt idx="56">
                  <c:v>0.3125</c:v>
                </c:pt>
                <c:pt idx="57">
                  <c:v>0.16666666666666666</c:v>
                </c:pt>
                <c:pt idx="58">
                  <c:v>0.17391304347826086</c:v>
                </c:pt>
                <c:pt idx="59">
                  <c:v>0.1</c:v>
                </c:pt>
                <c:pt idx="60">
                  <c:v>0.14285714285714285</c:v>
                </c:pt>
                <c:pt idx="61">
                  <c:v>0.30434782608695654</c:v>
                </c:pt>
                <c:pt idx="62">
                  <c:v>0.2</c:v>
                </c:pt>
                <c:pt idx="63">
                  <c:v>0.08333333333333333</c:v>
                </c:pt>
                <c:pt idx="64">
                  <c:v>0.15384615384615385</c:v>
                </c:pt>
                <c:pt idx="65">
                  <c:v>0.14285714285714285</c:v>
                </c:pt>
                <c:pt idx="66">
                  <c:v>0.15384615384615385</c:v>
                </c:pt>
                <c:pt idx="67">
                  <c:v>0.07692307692307693</c:v>
                </c:pt>
                <c:pt idx="68">
                  <c:v>0.13333333333333333</c:v>
                </c:pt>
                <c:pt idx="69">
                  <c:v>0.18181818181818182</c:v>
                </c:pt>
                <c:pt idx="70">
                  <c:v>0.25</c:v>
                </c:pt>
                <c:pt idx="71">
                  <c:v>0.2222222222222222</c:v>
                </c:pt>
                <c:pt idx="72">
                  <c:v>0.25</c:v>
                </c:pt>
                <c:pt idx="73">
                  <c:v>0.4</c:v>
                </c:pt>
                <c:pt idx="74">
                  <c:v>0.125</c:v>
                </c:pt>
                <c:pt idx="75">
                  <c:v>0.2</c:v>
                </c:pt>
                <c:pt idx="76">
                  <c:v>0.18181818181818182</c:v>
                </c:pt>
                <c:pt idx="77">
                  <c:v>0.16666666666666666</c:v>
                </c:pt>
                <c:pt idx="78">
                  <c:v>0.3333333333333333</c:v>
                </c:pt>
                <c:pt idx="79">
                  <c:v>0.2727272727272727</c:v>
                </c:pt>
                <c:pt idx="80">
                  <c:v>0.2222222222222222</c:v>
                </c:pt>
                <c:pt idx="81">
                  <c:v>0.2727272727272727</c:v>
                </c:pt>
                <c:pt idx="82">
                  <c:v>0.375</c:v>
                </c:pt>
                <c:pt idx="83">
                  <c:v>0.16666666666666666</c:v>
                </c:pt>
                <c:pt idx="84">
                  <c:v>0.3333333333333333</c:v>
                </c:pt>
                <c:pt idx="85">
                  <c:v>0.23076923076923078</c:v>
                </c:pt>
                <c:pt idx="86">
                  <c:v>0.4166666666666667</c:v>
                </c:pt>
                <c:pt idx="87">
                  <c:v>0.2</c:v>
                </c:pt>
                <c:pt idx="88">
                  <c:v>0.22727272727272727</c:v>
                </c:pt>
                <c:pt idx="89">
                  <c:v>0.13793103448275862</c:v>
                </c:pt>
                <c:pt idx="90">
                  <c:v>0.23529411764705882</c:v>
                </c:pt>
                <c:pt idx="91">
                  <c:v>0.21428571428571427</c:v>
                </c:pt>
                <c:pt idx="92">
                  <c:v>0.13333333333333333</c:v>
                </c:pt>
                <c:pt idx="93">
                  <c:v>0.2727272727272727</c:v>
                </c:pt>
              </c:numCache>
            </c:numRef>
          </c:yVal>
          <c:smooth val="0"/>
          <c:extLst>
            <c:ext xmlns:c16="http://schemas.microsoft.com/office/drawing/2014/chart" uri="{C3380CC4-5D6E-409C-BE32-E72D297353CC}">
              <c16:uniqueId val="{00000000-F32D-48B7-BC20-E66FC6253BAD}"/>
            </c:ext>
          </c:extLst>
        </c:ser>
        <c:ser>
          <c:idx val="1"/>
          <c:order val="1"/>
          <c:tx>
            <c:strRef>
              <c:f>Sheet1!$B$9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8:$A$138</c:f>
              <c:numCache>
                <c:formatCode>General</c:formatCode>
                <c:ptCount val="41"/>
                <c:pt idx="0">
                  <c:v>0.0</c:v>
                </c:pt>
                <c:pt idx="1">
                  <c:v>1380.0</c:v>
                </c:pt>
                <c:pt idx="2">
                  <c:v>690.0</c:v>
                </c:pt>
                <c:pt idx="3">
                  <c:v>1150.0</c:v>
                </c:pt>
                <c:pt idx="4">
                  <c:v>1035.0</c:v>
                </c:pt>
                <c:pt idx="5">
                  <c:v>862.5</c:v>
                </c:pt>
                <c:pt idx="6">
                  <c:v>934.0</c:v>
                </c:pt>
                <c:pt idx="7">
                  <c:v>817.0</c:v>
                </c:pt>
                <c:pt idx="8">
                  <c:v>711.5714</c:v>
                </c:pt>
                <c:pt idx="9">
                  <c:v>1316.0</c:v>
                </c:pt>
                <c:pt idx="10">
                  <c:v>717.6</c:v>
                </c:pt>
                <c:pt idx="11">
                  <c:v>764.8333</c:v>
                </c:pt>
                <c:pt idx="12">
                  <c:v>920.0</c:v>
                </c:pt>
                <c:pt idx="13">
                  <c:v>786.6</c:v>
                </c:pt>
                <c:pt idx="14">
                  <c:v>826.0</c:v>
                </c:pt>
                <c:pt idx="15">
                  <c:v>747.5</c:v>
                </c:pt>
                <c:pt idx="16">
                  <c:v>805.0</c:v>
                </c:pt>
                <c:pt idx="17">
                  <c:v>1380.0</c:v>
                </c:pt>
                <c:pt idx="18">
                  <c:v>1432.0</c:v>
                </c:pt>
                <c:pt idx="19">
                  <c:v>1024.0</c:v>
                </c:pt>
                <c:pt idx="20">
                  <c:v>920.0</c:v>
                </c:pt>
                <c:pt idx="21">
                  <c:v>972.0</c:v>
                </c:pt>
                <c:pt idx="22">
                  <c:v>917.5</c:v>
                </c:pt>
                <c:pt idx="23">
                  <c:v>0.0</c:v>
                </c:pt>
                <c:pt idx="24">
                  <c:v>1042.5</c:v>
                </c:pt>
                <c:pt idx="25">
                  <c:v>618.75</c:v>
                </c:pt>
                <c:pt idx="26">
                  <c:v>715.6667</c:v>
                </c:pt>
                <c:pt idx="27">
                  <c:v>1190.0</c:v>
                </c:pt>
                <c:pt idx="28">
                  <c:v>698.2</c:v>
                </c:pt>
                <c:pt idx="29">
                  <c:v>538.0</c:v>
                </c:pt>
                <c:pt idx="30">
                  <c:v>412.8333</c:v>
                </c:pt>
                <c:pt idx="31">
                  <c:v>0.0</c:v>
                </c:pt>
                <c:pt idx="32">
                  <c:v>377.0</c:v>
                </c:pt>
                <c:pt idx="33">
                  <c:v>346.0</c:v>
                </c:pt>
                <c:pt idx="34">
                  <c:v>379.0</c:v>
                </c:pt>
                <c:pt idx="35">
                  <c:v>0.0</c:v>
                </c:pt>
                <c:pt idx="36">
                  <c:v>0.0</c:v>
                </c:pt>
                <c:pt idx="37">
                  <c:v>679.0</c:v>
                </c:pt>
                <c:pt idx="38">
                  <c:v>391.5</c:v>
                </c:pt>
                <c:pt idx="39">
                  <c:v>391.0</c:v>
                </c:pt>
                <c:pt idx="40">
                  <c:v>0.0</c:v>
                </c:pt>
              </c:numCache>
            </c:numRef>
          </c:xVal>
          <c:yVal>
            <c:numRef>
              <c:f>Sheet1!$B$98:$B$138</c:f>
              <c:numCache>
                <c:formatCode>General</c:formatCode>
                <c:ptCount val="41"/>
                <c:pt idx="0">
                  <c:v>0.0</c:v>
                </c:pt>
                <c:pt idx="1">
                  <c:v>0.09090909090909091</c:v>
                </c:pt>
                <c:pt idx="2">
                  <c:v>0.06666666666666667</c:v>
                </c:pt>
                <c:pt idx="3">
                  <c:v>0.1111111111111111</c:v>
                </c:pt>
                <c:pt idx="4">
                  <c:v>0.23529411764705882</c:v>
                </c:pt>
                <c:pt idx="5">
                  <c:v>0.16</c:v>
                </c:pt>
                <c:pt idx="6">
                  <c:v>0.25</c:v>
                </c:pt>
                <c:pt idx="7">
                  <c:v>0.2727272727272727</c:v>
                </c:pt>
                <c:pt idx="8">
                  <c:v>0.5</c:v>
                </c:pt>
                <c:pt idx="9">
                  <c:v>0.2</c:v>
                </c:pt>
                <c:pt idx="10">
                  <c:v>0.4166666666666667</c:v>
                </c:pt>
                <c:pt idx="11">
                  <c:v>0.3333333333333333</c:v>
                </c:pt>
                <c:pt idx="12">
                  <c:v>0.18181818181818182</c:v>
                </c:pt>
                <c:pt idx="13">
                  <c:v>0.38461538461538464</c:v>
                </c:pt>
                <c:pt idx="14">
                  <c:v>0.15384615384615385</c:v>
                </c:pt>
                <c:pt idx="15">
                  <c:v>0.25</c:v>
                </c:pt>
                <c:pt idx="16">
                  <c:v>0.2857142857142857</c:v>
                </c:pt>
                <c:pt idx="17">
                  <c:v>0.1111111111111111</c:v>
                </c:pt>
                <c:pt idx="18">
                  <c:v>0.2</c:v>
                </c:pt>
                <c:pt idx="19">
                  <c:v>0.16666666666666666</c:v>
                </c:pt>
                <c:pt idx="20">
                  <c:v>0.25</c:v>
                </c:pt>
                <c:pt idx="21">
                  <c:v>0.16666666666666666</c:v>
                </c:pt>
                <c:pt idx="22">
                  <c:v>0.4</c:v>
                </c:pt>
                <c:pt idx="23">
                  <c:v>0.0</c:v>
                </c:pt>
                <c:pt idx="24">
                  <c:v>0.4</c:v>
                </c:pt>
                <c:pt idx="25">
                  <c:v>0.6666666666666666</c:v>
                </c:pt>
                <c:pt idx="26">
                  <c:v>0.42857142857142855</c:v>
                </c:pt>
                <c:pt idx="27">
                  <c:v>0.14285714285714285</c:v>
                </c:pt>
                <c:pt idx="28">
                  <c:v>0.5555555555555556</c:v>
                </c:pt>
                <c:pt idx="29">
                  <c:v>0.4</c:v>
                </c:pt>
                <c:pt idx="30">
                  <c:v>0.5454545454545454</c:v>
                </c:pt>
                <c:pt idx="31">
                  <c:v>0.0</c:v>
                </c:pt>
                <c:pt idx="32">
                  <c:v>0.3333333333333333</c:v>
                </c:pt>
                <c:pt idx="33">
                  <c:v>0.14285714285714285</c:v>
                </c:pt>
                <c:pt idx="34">
                  <c:v>0.09090909090909091</c:v>
                </c:pt>
                <c:pt idx="35">
                  <c:v>0.0</c:v>
                </c:pt>
                <c:pt idx="36">
                  <c:v>0.0</c:v>
                </c:pt>
                <c:pt idx="37">
                  <c:v>0.25</c:v>
                </c:pt>
                <c:pt idx="38">
                  <c:v>0.3333333333333333</c:v>
                </c:pt>
                <c:pt idx="39">
                  <c:v>0.05263157894736842</c:v>
                </c:pt>
                <c:pt idx="40">
                  <c:v>0.0</c:v>
                </c:pt>
              </c:numCache>
            </c:numRef>
          </c:yVal>
          <c:smooth val="0"/>
          <c:extLst>
            <c:ext xmlns:c16="http://schemas.microsoft.com/office/drawing/2014/chart" uri="{C3380CC4-5D6E-409C-BE32-E72D297353CC}">
              <c16:uniqueId val="{00000002-F32D-48B7-BC20-E66FC6253BAD}"/>
            </c:ext>
          </c:extLst>
        </c:ser>
        <c:ser>
          <c:idx val="2"/>
          <c:order val="2"/>
          <c:tx>
            <c:strRef>
              <c:f>Sheet1!$B$140</c:f>
              <c:strCache>
                <c:ptCount val="1"/>
                <c:pt idx="0">
                  <c:v>Custom Linep3yQ</c:v>
                </c:pt>
              </c:strCache>
            </c:strRef>
          </c:tx>
          <c:spPr>
            <a:ln w="19050" cap="rnd">
              <a:solidFill>
                <a:srgbClr val="C00000"/>
              </a:solidFill>
              <a:prstDash val="sysDot"/>
              <a:round/>
            </a:ln>
            <a:effectLst/>
          </c:spPr>
          <c:marker>
            <c:symbol val="none"/>
          </c:marker>
          <c:xVal>
            <c:numRef>
              <c:f>Sheet1!$A$141:$A$142</c:f>
              <c:numCache>
                <c:formatCode>General</c:formatCode>
                <c:ptCount val="2"/>
                <c:pt idx="0">
                  <c:v>0</c:v>
                </c:pt>
                <c:pt idx="1">
                  <c:v>2959.3497368652406</c:v>
                </c:pt>
              </c:numCache>
            </c:numRef>
          </c:xVal>
          <c:yVal>
            <c:numRef>
              <c:f>Sheet1!$B$141:$B$142</c:f>
              <c:numCache>
                <c:formatCode>General</c:formatCode>
                <c:ptCount val="2"/>
                <c:pt idx="0">
                  <c:v>0.4540043026602166</c:v>
                </c:pt>
                <c:pt idx="1">
                  <c:v>0.4540043026602166</c:v>
                </c:pt>
              </c:numCache>
            </c:numRef>
          </c:yVal>
          <c:smooth val="0"/>
          <c:extLst>
            <c:ext xmlns:c16="http://schemas.microsoft.com/office/drawing/2014/chart" uri="{C3380CC4-5D6E-409C-BE32-E72D297353CC}">
              <c16:uniqueId val="{00000003-F32D-48B7-BC20-E66FC6253BAD}"/>
            </c:ext>
          </c:extLst>
        </c:ser>
        <c:ser>
          <c:idx val="3"/>
          <c:order val="3"/>
          <c:tx>
            <c:strRef>
              <c:f>Sheet1!$B$1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5:$A$146</c:f>
              <c:numCache>
                <c:formatCode>General</c:formatCode>
                <c:ptCount val="2"/>
                <c:pt idx="0">
                  <c:v>2959.3497368652406</c:v>
                </c:pt>
                <c:pt idx="1">
                  <c:v>2959.3497368652406</c:v>
                </c:pt>
              </c:numCache>
            </c:numRef>
          </c:xVal>
          <c:yVal>
            <c:numRef>
              <c:f>Sheet1!$B$145:$B$146</c:f>
              <c:numCache>
                <c:formatCode>General</c:formatCode>
                <c:ptCount val="2"/>
                <c:pt idx="0">
                  <c:v>0.45400430266021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9:$A$150</c:f>
              <c:numCache>
                <c:formatCode>General</c:formatCode>
                <c:ptCount val="2"/>
                <c:pt idx="0">
                  <c:v>0</c:v>
                </c:pt>
                <c:pt idx="1">
                  <c:v>1553.654619204661</c:v>
                </c:pt>
              </c:numCache>
            </c:numRef>
          </c:xVal>
          <c:yVal>
            <c:numRef>
              <c:f>Sheet1!$B$149:$B$150</c:f>
              <c:numCache>
                <c:formatCode>General</c:formatCode>
                <c:ptCount val="2"/>
                <c:pt idx="0">
                  <c:v>0.3158619158619158</c:v>
                </c:pt>
                <c:pt idx="1">
                  <c:v>0.3158619158619158</c:v>
                </c:pt>
              </c:numCache>
            </c:numRef>
          </c:yVal>
          <c:smooth val="0"/>
          <c:extLst>
            <c:ext xmlns:c16="http://schemas.microsoft.com/office/drawing/2014/chart" uri="{C3380CC4-5D6E-409C-BE32-E72D297353CC}">
              <c16:uniqueId val="{0000000A-F32D-48B7-BC20-E66FC6253BAD}"/>
            </c:ext>
          </c:extLst>
        </c:ser>
        <c:ser>
          <c:idx val="5"/>
          <c:order val="5"/>
          <c:tx>
            <c:strRef>
              <c:f>Sheet1!$B$15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1553.654619204661</c:v>
                </c:pt>
                <c:pt idx="1">
                  <c:v>1553.654619204661</c:v>
                </c:pt>
              </c:numCache>
            </c:numRef>
          </c:xVal>
          <c:yVal>
            <c:numRef>
              <c:f>Sheet1!$B$153:$B$154</c:f>
              <c:numCache>
                <c:formatCode>General</c:formatCode>
                <c:ptCount val="2"/>
                <c:pt idx="0">
                  <c:v>0.31586191586191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7:$A$158</c:f>
              <c:numCache>
                <c:formatCode>General</c:formatCode>
                <c:ptCount val="2"/>
                <c:pt idx="0">
                  <c:v>0</c:v>
                </c:pt>
                <c:pt idx="1">
                  <c:v>-351.30659379230053</c:v>
                </c:pt>
              </c:numCache>
            </c:numRef>
          </c:xVal>
          <c:yVal>
            <c:numRef>
              <c:f>Sheet1!$B$157:$B$158</c:f>
              <c:numCache>
                <c:formatCode>General</c:formatCode>
                <c:ptCount val="2"/>
                <c:pt idx="0">
                  <c:v>0.1286549707602339</c:v>
                </c:pt>
                <c:pt idx="1">
                  <c:v>0.1286549707602339</c:v>
                </c:pt>
              </c:numCache>
            </c:numRef>
          </c:yVal>
          <c:smooth val="0"/>
          <c:extLst>
            <c:ext xmlns:c16="http://schemas.microsoft.com/office/drawing/2014/chart" uri="{C3380CC4-5D6E-409C-BE32-E72D297353CC}">
              <c16:uniqueId val="{00000011-F32D-48B7-BC20-E66FC6253BAD}"/>
            </c:ext>
          </c:extLst>
        </c:ser>
        <c:ser>
          <c:idx val="7"/>
          <c:order val="7"/>
          <c:tx>
            <c:strRef>
              <c:f>Sheet1!$B$16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1:$A$162</c:f>
              <c:numCache>
                <c:formatCode>General</c:formatCode>
                <c:ptCount val="2"/>
                <c:pt idx="0">
                  <c:v>-351.30659379230053</c:v>
                </c:pt>
                <c:pt idx="1">
                  <c:v>-351.30659379230053</c:v>
                </c:pt>
              </c:numCache>
            </c:numRef>
          </c:xVal>
          <c:yVal>
            <c:numRef>
              <c:f>Sheet1!$B$161:$B$162</c:f>
              <c:numCache>
                <c:formatCode>General</c:formatCode>
                <c:ptCount val="2"/>
                <c:pt idx="0">
                  <c:v>0.12865497076023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5:$A$208</c:f>
              <c:numCache>
                <c:formatCode>General</c:formatCode>
                <c:ptCount val="44"/>
                <c:pt idx="0">
                  <c:v>0.0</c:v>
                </c:pt>
                <c:pt idx="1">
                  <c:v>1380.0</c:v>
                </c:pt>
                <c:pt idx="2">
                  <c:v>690.0</c:v>
                </c:pt>
                <c:pt idx="3">
                  <c:v>1150.0</c:v>
                </c:pt>
                <c:pt idx="4">
                  <c:v>1035.0</c:v>
                </c:pt>
                <c:pt idx="5">
                  <c:v>862.5</c:v>
                </c:pt>
                <c:pt idx="6">
                  <c:v>934.0</c:v>
                </c:pt>
                <c:pt idx="7">
                  <c:v>817.0</c:v>
                </c:pt>
                <c:pt idx="8">
                  <c:v>711.5714</c:v>
                </c:pt>
                <c:pt idx="9">
                  <c:v>1316.0</c:v>
                </c:pt>
                <c:pt idx="10">
                  <c:v>717.6</c:v>
                </c:pt>
                <c:pt idx="11">
                  <c:v>764.8333</c:v>
                </c:pt>
                <c:pt idx="12">
                  <c:v>920.0</c:v>
                </c:pt>
                <c:pt idx="13">
                  <c:v>786.6</c:v>
                </c:pt>
                <c:pt idx="14">
                  <c:v>826.0</c:v>
                </c:pt>
                <c:pt idx="15">
                  <c:v>747.5</c:v>
                </c:pt>
                <c:pt idx="16">
                  <c:v>805.0</c:v>
                </c:pt>
                <c:pt idx="17">
                  <c:v>1380.0</c:v>
                </c:pt>
                <c:pt idx="18">
                  <c:v>1432.0</c:v>
                </c:pt>
                <c:pt idx="19">
                  <c:v>1024.0</c:v>
                </c:pt>
                <c:pt idx="20">
                  <c:v>920.0</c:v>
                </c:pt>
                <c:pt idx="21">
                  <c:v>972.0</c:v>
                </c:pt>
                <c:pt idx="22">
                  <c:v>917.5</c:v>
                </c:pt>
                <c:pt idx="23">
                  <c:v>0.0</c:v>
                </c:pt>
                <c:pt idx="24">
                  <c:v>1042.5</c:v>
                </c:pt>
                <c:pt idx="25">
                  <c:v>618.75</c:v>
                </c:pt>
                <c:pt idx="26">
                  <c:v>715.6667</c:v>
                </c:pt>
                <c:pt idx="27">
                  <c:v>1190.0</c:v>
                </c:pt>
                <c:pt idx="28">
                  <c:v>698.2</c:v>
                </c:pt>
                <c:pt idx="29">
                  <c:v>538.0</c:v>
                </c:pt>
                <c:pt idx="30">
                  <c:v>412.8333</c:v>
                </c:pt>
                <c:pt idx="31">
                  <c:v>0.0</c:v>
                </c:pt>
                <c:pt idx="32">
                  <c:v>377.0</c:v>
                </c:pt>
                <c:pt idx="33">
                  <c:v>346.0</c:v>
                </c:pt>
                <c:pt idx="34">
                  <c:v>379.0</c:v>
                </c:pt>
                <c:pt idx="35">
                  <c:v>0.0</c:v>
                </c:pt>
                <c:pt idx="36">
                  <c:v>0.0</c:v>
                </c:pt>
                <c:pt idx="37">
                  <c:v>679.0</c:v>
                </c:pt>
                <c:pt idx="38">
                  <c:v>391.5</c:v>
                </c:pt>
                <c:pt idx="39">
                  <c:v>391.0</c:v>
                </c:pt>
                <c:pt idx="40">
                  <c:v>0.0</c:v>
                </c:pt>
                <c:pt idx="41">
                  <c:v>1553.654619204661</c:v>
                </c:pt>
                <c:pt idx="42">
                  <c:v>2959.3497368652406</c:v>
                </c:pt>
                <c:pt idx="43">
                  <c:v>-351.30659379230053</c:v>
                </c:pt>
              </c:numCache>
            </c:numRef>
          </c:xVal>
          <c:yVal>
            <c:numRef>
              <c:f>Sheet1!$B$165:$B$208</c:f>
              <c:numCache>
                <c:formatCode>General</c:formatCode>
                <c:ptCount val="44"/>
                <c:pt idx="0">
                  <c:v>0.1631790512345375</c:v>
                </c:pt>
                <c:pt idx="1">
                  <c:v>0.29879629240339123</c:v>
                </c:pt>
                <c:pt idx="2">
                  <c:v>0.23098767181896435</c:v>
                </c:pt>
                <c:pt idx="3">
                  <c:v>0.2761934188752489</c:v>
                </c:pt>
                <c:pt idx="4">
                  <c:v>0.26489198211117776</c:v>
                </c:pt>
                <c:pt idx="5">
                  <c:v>0.24793982696507105</c:v>
                </c:pt>
                <c:pt idx="6">
                  <c:v>0.25496637243142833</c:v>
                </c:pt>
                <c:pt idx="7">
                  <c:v>0.24346838894102552</c:v>
                </c:pt>
                <c:pt idx="8">
                  <c:v>0.23310756584515985</c:v>
                </c:pt>
                <c:pt idx="9">
                  <c:v>0.29250679716077765</c:v>
                </c:pt>
                <c:pt idx="10">
                  <c:v>0.2337000166423414</c:v>
                </c:pt>
                <c:pt idx="11">
                  <c:v>0.2383417918867623</c:v>
                </c:pt>
                <c:pt idx="12">
                  <c:v>0.2535905453471066</c:v>
                </c:pt>
                <c:pt idx="13">
                  <c:v>0.2404808787007841</c:v>
                </c:pt>
                <c:pt idx="14">
                  <c:v>0.24435284920951805</c:v>
                </c:pt>
                <c:pt idx="15">
                  <c:v>0.23663839020099992</c:v>
                </c:pt>
                <c:pt idx="16">
                  <c:v>0.24228910858303548</c:v>
                </c:pt>
                <c:pt idx="17">
                  <c:v>0.29879629240339123</c:v>
                </c:pt>
                <c:pt idx="18">
                  <c:v>0.30390650728801466</c:v>
                </c:pt>
                <c:pt idx="19">
                  <c:v>0.26381097511635354</c:v>
                </c:pt>
                <c:pt idx="20">
                  <c:v>0.2535905453471066</c:v>
                </c:pt>
                <c:pt idx="21">
                  <c:v>0.2587007602317301</c:v>
                </c:pt>
                <c:pt idx="22">
                  <c:v>0.25334486193919203</c:v>
                </c:pt>
                <c:pt idx="23">
                  <c:v>0.1631790512345375</c:v>
                </c:pt>
                <c:pt idx="24">
                  <c:v>0.2656290323349215</c:v>
                </c:pt>
                <c:pt idx="25">
                  <c:v>0.22398569469339852</c:v>
                </c:pt>
                <c:pt idx="26">
                  <c:v>0.2335100247493329</c:v>
                </c:pt>
                <c:pt idx="27">
                  <c:v>0.28012435340188235</c:v>
                </c:pt>
                <c:pt idx="28">
                  <c:v>0.2317935133969242</c:v>
                </c:pt>
                <c:pt idx="29">
                  <c:v>0.21605012061775727</c:v>
                </c:pt>
                <c:pt idx="30">
                  <c:v>0.20374956805238803</c:v>
                </c:pt>
                <c:pt idx="31">
                  <c:v>0.1631790512345375</c:v>
                </c:pt>
                <c:pt idx="32">
                  <c:v>0.20022810914805766</c:v>
                </c:pt>
                <c:pt idx="33">
                  <c:v>0.19718163488991675</c:v>
                </c:pt>
                <c:pt idx="34">
                  <c:v>0.20042465587438935</c:v>
                </c:pt>
                <c:pt idx="35">
                  <c:v>0.1631790512345375</c:v>
                </c:pt>
                <c:pt idx="36">
                  <c:v>0.1631790512345375</c:v>
                </c:pt>
                <c:pt idx="37">
                  <c:v>0.22990666482414013</c:v>
                </c:pt>
                <c:pt idx="38">
                  <c:v>0.20165307291396228</c:v>
                </c:pt>
                <c:pt idx="39">
                  <c:v>0.20160393623237938</c:v>
                </c:pt>
                <c:pt idx="40">
                  <c:v>0.1631790512345375</c:v>
                </c:pt>
                <c:pt idx="41">
                  <c:v>0.3158619158619158</c:v>
                </c:pt>
                <c:pt idx="42">
                  <c:v>0.4540043026602165</c:v>
                </c:pt>
                <c:pt idx="43">
                  <c:v>0.12865497076023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5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857142857142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941004340872744</c:v>
                </c:pt>
                <c:pt idx="1">
                  <c:v>1.254382889200561</c:v>
                </c:pt>
                <c:pt idx="2">
                  <c:v>1.5818595029512605</c:v>
                </c:pt>
                <c:pt idx="3">
                  <c:v>1.2411190451478982</c:v>
                </c:pt>
                <c:pt idx="4">
                  <c:v>1.4785759549154667</c:v>
                </c:pt>
                <c:pt idx="5">
                  <c:v>1.7779195011337867</c:v>
                </c:pt>
                <c:pt idx="6">
                  <c:v>1.6463456756009949</c:v>
                </c:pt>
                <c:pt idx="7">
                  <c:v>1.615625199150292</c:v>
                </c:pt>
                <c:pt idx="8">
                  <c:v>1.2473885057471266</c:v>
                </c:pt>
                <c:pt idx="9">
                  <c:v>1.7799518845228548</c:v>
                </c:pt>
                <c:pt idx="10">
                  <c:v>1.7382522483140852</c:v>
                </c:pt>
                <c:pt idx="11">
                  <c:v>1.8015344331344332</c:v>
                </c:pt>
                <c:pt idx="12">
                  <c:v>1.764666263237519</c:v>
                </c:pt>
                <c:pt idx="13">
                  <c:v>0.9132747269890795</c:v>
                </c:pt>
                <c:pt idx="14">
                  <c:v>1.50169216944801</c:v>
                </c:pt>
                <c:pt idx="15">
                  <c:v>1.2658455577082757</c:v>
                </c:pt>
                <c:pt idx="16">
                  <c:v>1.9793564622328974</c:v>
                </c:pt>
                <c:pt idx="17">
                  <c:v>1.3640224732461357</c:v>
                </c:pt>
                <c:pt idx="18">
                  <c:v>1.7028941105039466</c:v>
                </c:pt>
                <c:pt idx="19">
                  <c:v>1.3167209241953184</c:v>
                </c:pt>
                <c:pt idx="20">
                  <c:v>1.4667949246008218</c:v>
                </c:pt>
                <c:pt idx="21">
                  <c:v>1.5440298342541436</c:v>
                </c:pt>
                <c:pt idx="22">
                  <c:v>1.355593458262351</c:v>
                </c:pt>
                <c:pt idx="23">
                  <c:v>1.3078325618955982</c:v>
                </c:pt>
                <c:pt idx="24">
                  <c:v>1.1611673615247171</c:v>
                </c:pt>
                <c:pt idx="25">
                  <c:v>1.1921229673590505</c:v>
                </c:pt>
                <c:pt idx="26">
                  <c:v>1.4279364444444445</c:v>
                </c:pt>
                <c:pt idx="27">
                  <c:v>1.7719758978451716</c:v>
                </c:pt>
                <c:pt idx="28">
                  <c:v>1.4059529854760624</c:v>
                </c:pt>
                <c:pt idx="29">
                  <c:v>1.752110248553688</c:v>
                </c:pt>
                <c:pt idx="30">
                  <c:v>1.3955978584176085</c:v>
                </c:pt>
                <c:pt idx="31">
                  <c:v>1.6207765853103737</c:v>
                </c:pt>
                <c:pt idx="32">
                  <c:v>1.4540130151843818</c:v>
                </c:pt>
                <c:pt idx="33">
                  <c:v>2.343538242463982</c:v>
                </c:pt>
                <c:pt idx="34">
                  <c:v>1.9157018813314037</c:v>
                </c:pt>
                <c:pt idx="35">
                  <c:v>1.7857380832230239</c:v>
                </c:pt>
                <c:pt idx="36">
                  <c:v>1.9021000381825126</c:v>
                </c:pt>
                <c:pt idx="37">
                  <c:v>1.8658631883712091</c:v>
                </c:pt>
                <c:pt idx="38">
                  <c:v>2.4154588863463005</c:v>
                </c:pt>
                <c:pt idx="39">
                  <c:v>2.174074074074074</c:v>
                </c:pt>
                <c:pt idx="40">
                  <c:v>2.33039863643715</c:v>
                </c:pt>
                <c:pt idx="41">
                  <c:v>1.7970402874012805</c:v>
                </c:pt>
                <c:pt idx="42">
                  <c:v>2.095849698821655</c:v>
                </c:pt>
                <c:pt idx="43">
                  <c:v>1.9390719020350433</c:v>
                </c:pt>
                <c:pt idx="44">
                  <c:v>2.3218865995352442</c:v>
                </c:pt>
                <c:pt idx="45">
                  <c:v>2.3061478585100574</c:v>
                </c:pt>
                <c:pt idx="46">
                  <c:v>2.2575041389875605</c:v>
                </c:pt>
                <c:pt idx="47">
                  <c:v>2.4757008127832942</c:v>
                </c:pt>
                <c:pt idx="48">
                  <c:v>2.384042161072813</c:v>
                </c:pt>
                <c:pt idx="49">
                  <c:v>2.275926392961877</c:v>
                </c:pt>
                <c:pt idx="50">
                  <c:v>2.477269834350479</c:v>
                </c:pt>
                <c:pt idx="51">
                  <c:v>2.3052823604060912</c:v>
                </c:pt>
                <c:pt idx="52">
                  <c:v>2.1600073313782993</c:v>
                </c:pt>
                <c:pt idx="53">
                  <c:v>1.6581731968810915</c:v>
                </c:pt>
                <c:pt idx="54">
                  <c:v>1.6318969049694856</c:v>
                </c:pt>
                <c:pt idx="55">
                  <c:v>1.3184001650505468</c:v>
                </c:pt>
                <c:pt idx="56">
                  <c:v>1.434284423270898</c:v>
                </c:pt>
                <c:pt idx="57">
                  <c:v>1.4486683050847458</c:v>
                </c:pt>
                <c:pt idx="58">
                  <c:v>1.5553528174190028</c:v>
                </c:pt>
                <c:pt idx="59">
                  <c:v>1.588713594754104</c:v>
                </c:pt>
                <c:pt idx="60">
                  <c:v>1.484418717260945</c:v>
                </c:pt>
                <c:pt idx="61">
                  <c:v>1.2716505787646117</c:v>
                </c:pt>
                <c:pt idx="62">
                  <c:v>1.1755550839625026</c:v>
                </c:pt>
                <c:pt idx="63">
                  <c:v>1.4208065335825093</c:v>
                </c:pt>
                <c:pt idx="64">
                  <c:v>1.4518215598571238</c:v>
                </c:pt>
                <c:pt idx="65">
                  <c:v>1.1982760170653666</c:v>
                </c:pt>
                <c:pt idx="66">
                  <c:v>1.013271065738887</c:v>
                </c:pt>
                <c:pt idx="67">
                  <c:v>1.105836010817091</c:v>
                </c:pt>
                <c:pt idx="68">
                  <c:v>1.0661029976940815</c:v>
                </c:pt>
                <c:pt idx="69">
                  <c:v>1.1537970644543714</c:v>
                </c:pt>
                <c:pt idx="70">
                  <c:v>0.9669874780089</c:v>
                </c:pt>
                <c:pt idx="71">
                  <c:v>0.909205020920502</c:v>
                </c:pt>
                <c:pt idx="72">
                  <c:v>1.2228114209956407</c:v>
                </c:pt>
                <c:pt idx="73">
                  <c:v>1.4373637757068174</c:v>
                </c:pt>
                <c:pt idx="74">
                  <c:v>1.0541530541530542</c:v>
                </c:pt>
                <c:pt idx="75">
                  <c:v>0.6125726498872155</c:v>
                </c:pt>
                <c:pt idx="76">
                  <c:v>1.5835505401807994</c:v>
                </c:pt>
                <c:pt idx="77">
                  <c:v>1.636061946902655</c:v>
                </c:pt>
                <c:pt idx="78">
                  <c:v>1.4288419194964317</c:v>
                </c:pt>
                <c:pt idx="79">
                  <c:v>2.655928718300206</c:v>
                </c:pt>
                <c:pt idx="80">
                  <c:v>1.7486702127659575</c:v>
                </c:pt>
                <c:pt idx="81">
                  <c:v>2.0</c:v>
                </c:pt>
                <c:pt idx="82">
                  <c:v>0.7674120623447029</c:v>
                </c:pt>
                <c:pt idx="83">
                  <c:v>1.3965351299326276</c:v>
                </c:pt>
                <c:pt idx="84">
                  <c:v>1.184042591949021</c:v>
                </c:pt>
                <c:pt idx="85">
                  <c:v>1.5810185515873016</c:v>
                </c:pt>
                <c:pt idx="86">
                  <c:v>1.4899808431030181</c:v>
                </c:pt>
                <c:pt idx="87">
                  <c:v>1.6299212598425197</c:v>
                </c:pt>
                <c:pt idx="88">
                  <c:v>1.6644736842105263</c:v>
                </c:pt>
                <c:pt idx="89">
                  <c:v>1.4485915492957746</c:v>
                </c:pt>
                <c:pt idx="90">
                  <c:v>1.0791264232008593</c:v>
                </c:pt>
                <c:pt idx="91">
                  <c:v>0.9786274049245451</c:v>
                </c:pt>
                <c:pt idx="92">
                  <c:v>1.269588593369545</c:v>
                </c:pt>
                <c:pt idx="93">
                  <c:v>2.031565103024989</c:v>
                </c:pt>
                <c:pt idx="94">
                  <c:v>0.9406875708349074</c:v>
                </c:pt>
                <c:pt idx="95">
                  <c:v>1.8914516223612197</c:v>
                </c:pt>
                <c:pt idx="96">
                  <c:v>1.3113595552866524</c:v>
                </c:pt>
                <c:pt idx="97">
                  <c:v>1.292784202745512</c:v>
                </c:pt>
                <c:pt idx="98">
                  <c:v>1.0190125892630584</c:v>
                </c:pt>
                <c:pt idx="99">
                  <c:v>1.253993647155653</c:v>
                </c:pt>
                <c:pt idx="100">
                  <c:v>1.552806393426195</c:v>
                </c:pt>
                <c:pt idx="101">
                  <c:v>1.2496829588578713</c:v>
                </c:pt>
                <c:pt idx="102">
                  <c:v>1.474713452644279</c:v>
                </c:pt>
                <c:pt idx="103">
                  <c:v>1.2045300113250281</c:v>
                </c:pt>
                <c:pt idx="104">
                  <c:v>2.073774634039764</c:v>
                </c:pt>
              </c:numCache>
            </c:numRef>
          </c:xVal>
          <c:yVal>
            <c:numRef>
              <c:f>Sheet1!$B$2:$B$106</c:f>
              <c:numCache>
                <c:formatCode>General</c:formatCode>
                <c:ptCount val="105"/>
                <c:pt idx="0">
                  <c:v>0.5142857142857142</c:v>
                </c:pt>
                <c:pt idx="1">
                  <c:v>0.42857142857142855</c:v>
                </c:pt>
                <c:pt idx="2">
                  <c:v>0.48</c:v>
                </c:pt>
                <c:pt idx="3">
                  <c:v>0.4583333333333333</c:v>
                </c:pt>
                <c:pt idx="4">
                  <c:v>0.5</c:v>
                </c:pt>
                <c:pt idx="5">
                  <c:v>0.38095238095238093</c:v>
                </c:pt>
                <c:pt idx="6">
                  <c:v>0.34782608695652173</c:v>
                </c:pt>
                <c:pt idx="7">
                  <c:v>0.45</c:v>
                </c:pt>
                <c:pt idx="8">
                  <c:v>0.4375</c:v>
                </c:pt>
                <c:pt idx="9">
                  <c:v>0.4</c:v>
                </c:pt>
                <c:pt idx="10">
                  <c:v>0.36</c:v>
                </c:pt>
                <c:pt idx="11">
                  <c:v>0.3888888888888889</c:v>
                </c:pt>
                <c:pt idx="12">
                  <c:v>0.45</c:v>
                </c:pt>
                <c:pt idx="13">
                  <c:v>0.55</c:v>
                </c:pt>
                <c:pt idx="14">
                  <c:v>0.5</c:v>
                </c:pt>
                <c:pt idx="15">
                  <c:v>0.5</c:v>
                </c:pt>
                <c:pt idx="16">
                  <c:v>0.47058823529411764</c:v>
                </c:pt>
                <c:pt idx="17">
                  <c:v>0.4666666666666667</c:v>
                </c:pt>
                <c:pt idx="18">
                  <c:v>0.3333333333333333</c:v>
                </c:pt>
                <c:pt idx="19">
                  <c:v>0.6</c:v>
                </c:pt>
                <c:pt idx="20">
                  <c:v>0.55</c:v>
                </c:pt>
                <c:pt idx="21">
                  <c:v>0.5384615384615384</c:v>
                </c:pt>
                <c:pt idx="22">
                  <c:v>0.5625</c:v>
                </c:pt>
                <c:pt idx="23">
                  <c:v>0.6153846153846154</c:v>
                </c:pt>
                <c:pt idx="24">
                  <c:v>0.7142857142857143</c:v>
                </c:pt>
                <c:pt idx="25">
                  <c:v>0.7333333333333333</c:v>
                </c:pt>
                <c:pt idx="26">
                  <c:v>0.5833333333333334</c:v>
                </c:pt>
                <c:pt idx="27">
                  <c:v>0.4666666666666667</c:v>
                </c:pt>
                <c:pt idx="28">
                  <c:v>0.5454545454545454</c:v>
                </c:pt>
                <c:pt idx="29">
                  <c:v>0.45454545454545453</c:v>
                </c:pt>
                <c:pt idx="30">
                  <c:v>0.4444444444444444</c:v>
                </c:pt>
                <c:pt idx="31">
                  <c:v>0.5</c:v>
                </c:pt>
                <c:pt idx="32">
                  <c:v>0.7142857142857143</c:v>
                </c:pt>
                <c:pt idx="33">
                  <c:v>0.2857142857142857</c:v>
                </c:pt>
                <c:pt idx="34">
                  <c:v>0.5714285714285714</c:v>
                </c:pt>
                <c:pt idx="35">
                  <c:v>0.5789473684210527</c:v>
                </c:pt>
                <c:pt idx="36">
                  <c:v>0.625</c:v>
                </c:pt>
                <c:pt idx="37">
                  <c:v>0.5</c:v>
                </c:pt>
                <c:pt idx="38">
                  <c:v>0.3333333333333333</c:v>
                </c:pt>
                <c:pt idx="39">
                  <c:v>0.26666666666666666</c:v>
                </c:pt>
                <c:pt idx="40">
                  <c:v>0.16666666666666666</c:v>
                </c:pt>
                <c:pt idx="41">
                  <c:v>0.10714285714285714</c:v>
                </c:pt>
                <c:pt idx="42">
                  <c:v>0.23076923076923078</c:v>
                </c:pt>
                <c:pt idx="43">
                  <c:v>0.25806451612903225</c:v>
                </c:pt>
                <c:pt idx="44">
                  <c:v>0.2571428571428571</c:v>
                </c:pt>
                <c:pt idx="45">
                  <c:v>0.21621621621621623</c:v>
                </c:pt>
                <c:pt idx="46">
                  <c:v>0.23076923076923078</c:v>
                </c:pt>
                <c:pt idx="47">
                  <c:v>0.32142857142857145</c:v>
                </c:pt>
                <c:pt idx="48">
                  <c:v>0.39473684210526316</c:v>
                </c:pt>
                <c:pt idx="49">
                  <c:v>0.39285714285714285</c:v>
                </c:pt>
                <c:pt idx="50">
                  <c:v>0.28</c:v>
                </c:pt>
                <c:pt idx="51">
                  <c:v>0.4</c:v>
                </c:pt>
                <c:pt idx="52">
                  <c:v>0.36363636363636365</c:v>
                </c:pt>
                <c:pt idx="53">
                  <c:v>0.4117647058823529</c:v>
                </c:pt>
                <c:pt idx="54">
                  <c:v>0.3684210526315789</c:v>
                </c:pt>
                <c:pt idx="55">
                  <c:v>0.30434782608695654</c:v>
                </c:pt>
                <c:pt idx="56">
                  <c:v>0.2857142857142857</c:v>
                </c:pt>
                <c:pt idx="57">
                  <c:v>0.25925925925925924</c:v>
                </c:pt>
                <c:pt idx="58">
                  <c:v>0.23333333333333334</c:v>
                </c:pt>
                <c:pt idx="59">
                  <c:v>0.22448979591836735</c:v>
                </c:pt>
                <c:pt idx="60">
                  <c:v>0.30434782608695654</c:v>
                </c:pt>
                <c:pt idx="61">
                  <c:v>0.34782608695652173</c:v>
                </c:pt>
                <c:pt idx="62">
                  <c:v>0.28125</c:v>
                </c:pt>
                <c:pt idx="63">
                  <c:v>0.25</c:v>
                </c:pt>
                <c:pt idx="64">
                  <c:v>0.30434782608695654</c:v>
                </c:pt>
                <c:pt idx="65">
                  <c:v>0.35</c:v>
                </c:pt>
                <c:pt idx="66">
                  <c:v>0.2857142857142857</c:v>
                </c:pt>
                <c:pt idx="67">
                  <c:v>0.30434782608695654</c:v>
                </c:pt>
                <c:pt idx="68">
                  <c:v>0.3333333333333333</c:v>
                </c:pt>
                <c:pt idx="69">
                  <c:v>0.25</c:v>
                </c:pt>
                <c:pt idx="70">
                  <c:v>0.23076923076923078</c:v>
                </c:pt>
                <c:pt idx="71">
                  <c:v>0.35714285714285715</c:v>
                </c:pt>
                <c:pt idx="72">
                  <c:v>0.3333333333333333</c:v>
                </c:pt>
                <c:pt idx="73">
                  <c:v>0.3076923076923077</c:v>
                </c:pt>
                <c:pt idx="74">
                  <c:v>0.3076923076923077</c:v>
                </c:pt>
                <c:pt idx="75">
                  <c:v>0.4</c:v>
                </c:pt>
                <c:pt idx="76">
                  <c:v>0.2222222222222222</c:v>
                </c:pt>
                <c:pt idx="77">
                  <c:v>0.2727272727272727</c:v>
                </c:pt>
                <c:pt idx="78">
                  <c:v>0.375</c:v>
                </c:pt>
                <c:pt idx="79">
                  <c:v>0.125</c:v>
                </c:pt>
                <c:pt idx="80">
                  <c:v>0.2222222222222222</c:v>
                </c:pt>
                <c:pt idx="81">
                  <c:v>0.25</c:v>
                </c:pt>
                <c:pt idx="82">
                  <c:v>0.42857142857142855</c:v>
                </c:pt>
                <c:pt idx="83">
                  <c:v>0.2</c:v>
                </c:pt>
                <c:pt idx="84">
                  <c:v>0.5</c:v>
                </c:pt>
                <c:pt idx="85">
                  <c:v>0.3</c:v>
                </c:pt>
                <c:pt idx="86">
                  <c:v>0.2727272727272727</c:v>
                </c:pt>
                <c:pt idx="87">
                  <c:v>0.35714285714285715</c:v>
                </c:pt>
                <c:pt idx="88">
                  <c:v>0.3333333333333333</c:v>
                </c:pt>
                <c:pt idx="89">
                  <c:v>0.16666666666666666</c:v>
                </c:pt>
                <c:pt idx="90">
                  <c:v>0.2727272727272727</c:v>
                </c:pt>
                <c:pt idx="91">
                  <c:v>0.3333333333333333</c:v>
                </c:pt>
                <c:pt idx="92">
                  <c:v>0.2727272727272727</c:v>
                </c:pt>
                <c:pt idx="93">
                  <c:v>0.125</c:v>
                </c:pt>
                <c:pt idx="94">
                  <c:v>0.5</c:v>
                </c:pt>
                <c:pt idx="95">
                  <c:v>0.25</c:v>
                </c:pt>
                <c:pt idx="96">
                  <c:v>0.23076923076923078</c:v>
                </c:pt>
                <c:pt idx="97">
                  <c:v>0.25</c:v>
                </c:pt>
                <c:pt idx="98">
                  <c:v>0.45</c:v>
                </c:pt>
                <c:pt idx="99">
                  <c:v>0.36363636363636365</c:v>
                </c:pt>
                <c:pt idx="100">
                  <c:v>0.3793103448275862</c:v>
                </c:pt>
                <c:pt idx="101">
                  <c:v>0.35294117647058826</c:v>
                </c:pt>
                <c:pt idx="102">
                  <c:v>0.2857142857142857</c:v>
                </c:pt>
                <c:pt idx="103">
                  <c:v>0.3333333333333333</c:v>
                </c:pt>
                <c:pt idx="104">
                  <c:v>0.27272727272727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866490804330212</c:v>
                </c:pt>
                <c:pt idx="1">
                  <c:v>1.4200975055571705</c:v>
                </c:pt>
                <c:pt idx="2">
                  <c:v>1.3557140852180816</c:v>
                </c:pt>
                <c:pt idx="3">
                  <c:v>1.8109727079130185</c:v>
                </c:pt>
                <c:pt idx="4">
                  <c:v>1.7749836280288147</c:v>
                </c:pt>
                <c:pt idx="5">
                  <c:v>1.3998257839721255</c:v>
                </c:pt>
                <c:pt idx="6">
                  <c:v>1.7725172485052056</c:v>
                </c:pt>
                <c:pt idx="7">
                  <c:v>1.1908339594290007</c:v>
                </c:pt>
                <c:pt idx="8">
                  <c:v>1.0552665799739922</c:v>
                </c:pt>
                <c:pt idx="9">
                  <c:v>0.8642340565417489</c:v>
                </c:pt>
                <c:pt idx="10">
                  <c:v>1.2466871434839841</c:v>
                </c:pt>
                <c:pt idx="11">
                  <c:v>2.169752117979291</c:v>
                </c:pt>
                <c:pt idx="12">
                  <c:v>1.3413008989952406</c:v>
                </c:pt>
                <c:pt idx="13">
                  <c:v>1.577120822622108</c:v>
                </c:pt>
                <c:pt idx="14">
                  <c:v>1.3015328656793974</c:v>
                </c:pt>
                <c:pt idx="15">
                  <c:v>1.9482459095605928</c:v>
                </c:pt>
                <c:pt idx="16">
                  <c:v>1.6074525664165575</c:v>
                </c:pt>
                <c:pt idx="17">
                  <c:v>1.5721897018841628</c:v>
                </c:pt>
                <c:pt idx="18">
                  <c:v>2.150112359550562</c:v>
                </c:pt>
                <c:pt idx="19">
                  <c:v>1.1656394453004622</c:v>
                </c:pt>
                <c:pt idx="20">
                  <c:v>1.8953247043721677</c:v>
                </c:pt>
                <c:pt idx="21">
                  <c:v>1.2838299951148022</c:v>
                </c:pt>
                <c:pt idx="22">
                  <c:v>2.5007571933366988</c:v>
                </c:pt>
                <c:pt idx="23">
                  <c:v>2.1994100294985253</c:v>
                </c:pt>
                <c:pt idx="24">
                  <c:v>2.8729411764705883</c:v>
                </c:pt>
                <c:pt idx="25">
                  <c:v>1.7749510763209393</c:v>
                </c:pt>
                <c:pt idx="26">
                  <c:v>1.6216955332725616</c:v>
                </c:pt>
                <c:pt idx="27">
                  <c:v>1.140329218106996</c:v>
                </c:pt>
                <c:pt idx="28">
                  <c:v>1.391304347826087</c:v>
                </c:pt>
                <c:pt idx="29">
                  <c:v>1.8009583486914855</c:v>
                </c:pt>
                <c:pt idx="30">
                  <c:v>2.3698366954851107</c:v>
                </c:pt>
                <c:pt idx="31">
                  <c:v>2.939744370054778</c:v>
                </c:pt>
                <c:pt idx="32">
                  <c:v>1.3668358074456501</c:v>
                </c:pt>
                <c:pt idx="33">
                  <c:v>1.5920406173898802</c:v>
                </c:pt>
                <c:pt idx="34">
                  <c:v>1.6862532100108814</c:v>
                </c:pt>
                <c:pt idx="35">
                  <c:v>1.6969647541063924</c:v>
                </c:pt>
                <c:pt idx="36">
                  <c:v>0.7782608695652173</c:v>
                </c:pt>
                <c:pt idx="37">
                  <c:v>1.7120027801135376</c:v>
                </c:pt>
                <c:pt idx="38">
                  <c:v>0.9730081300813008</c:v>
                </c:pt>
                <c:pt idx="39">
                  <c:v>1.5220587885556345</c:v>
                </c:pt>
                <c:pt idx="40">
                  <c:v>4.973623650203576</c:v>
                </c:pt>
                <c:pt idx="41">
                  <c:v>3.738244205721481</c:v>
                </c:pt>
                <c:pt idx="42">
                  <c:v>2.0316539441973274</c:v>
                </c:pt>
                <c:pt idx="43">
                  <c:v>1.7417847892845109</c:v>
                </c:pt>
                <c:pt idx="44">
                  <c:v>1.3889743636711778</c:v>
                </c:pt>
                <c:pt idx="45">
                  <c:v>1.5030539946249695</c:v>
                </c:pt>
                <c:pt idx="46">
                  <c:v>2.4122170854200413</c:v>
                </c:pt>
                <c:pt idx="47">
                  <c:v>2.103820816864295</c:v>
                </c:pt>
                <c:pt idx="48">
                  <c:v>1.719369651429764</c:v>
                </c:pt>
                <c:pt idx="49">
                  <c:v>1.7492283564814815</c:v>
                </c:pt>
                <c:pt idx="50">
                  <c:v>1.4705419689496477</c:v>
                </c:pt>
                <c:pt idx="51">
                  <c:v>1.0336574420344053</c:v>
                </c:pt>
              </c:numCache>
            </c:numRef>
          </c:xVal>
          <c:yVal>
            <c:numRef>
              <c:f>Sheet1!$B$109:$B$160</c:f>
              <c:numCache>
                <c:formatCode>General</c:formatCode>
                <c:ptCount val="52"/>
                <c:pt idx="0">
                  <c:v>0.36363636363636365</c:v>
                </c:pt>
                <c:pt idx="1">
                  <c:v>0.3333333333333333</c:v>
                </c:pt>
                <c:pt idx="2">
                  <c:v>0.3888888888888889</c:v>
                </c:pt>
                <c:pt idx="3">
                  <c:v>0.23529411764705882</c:v>
                </c:pt>
                <c:pt idx="4">
                  <c:v>0.2</c:v>
                </c:pt>
                <c:pt idx="5">
                  <c:v>0.3125</c:v>
                </c:pt>
                <c:pt idx="6">
                  <c:v>0.36363636363636365</c:v>
                </c:pt>
                <c:pt idx="7">
                  <c:v>0.21428571428571427</c:v>
                </c:pt>
                <c:pt idx="8">
                  <c:v>0.6</c:v>
                </c:pt>
                <c:pt idx="9">
                  <c:v>0.4</c:v>
                </c:pt>
                <c:pt idx="10">
                  <c:v>0.4166666666666667</c:v>
                </c:pt>
                <c:pt idx="11">
                  <c:v>0.3333333333333333</c:v>
                </c:pt>
                <c:pt idx="12">
                  <c:v>0.45454545454545453</c:v>
                </c:pt>
                <c:pt idx="13">
                  <c:v>0.3076923076923077</c:v>
                </c:pt>
                <c:pt idx="14">
                  <c:v>0.38461538461538464</c:v>
                </c:pt>
                <c:pt idx="15">
                  <c:v>0.25</c:v>
                </c:pt>
                <c:pt idx="16">
                  <c:v>0.2857142857142857</c:v>
                </c:pt>
                <c:pt idx="17">
                  <c:v>0.2222222222222222</c:v>
                </c:pt>
                <c:pt idx="18">
                  <c:v>0.2</c:v>
                </c:pt>
                <c:pt idx="19">
                  <c:v>0.5</c:v>
                </c:pt>
                <c:pt idx="20">
                  <c:v>0.25</c:v>
                </c:pt>
                <c:pt idx="21">
                  <c:v>0.3333333333333333</c:v>
                </c:pt>
                <c:pt idx="22">
                  <c:v>0.2</c:v>
                </c:pt>
                <c:pt idx="23">
                  <c:v>0.25</c:v>
                </c:pt>
                <c:pt idx="24">
                  <c:v>0.2</c:v>
                </c:pt>
                <c:pt idx="25">
                  <c:v>0.16666666666666666</c:v>
                </c:pt>
                <c:pt idx="26">
                  <c:v>0.14285714285714285</c:v>
                </c:pt>
                <c:pt idx="27">
                  <c:v>0.2857142857142857</c:v>
                </c:pt>
                <c:pt idx="28">
                  <c:v>0.2222222222222222</c:v>
                </c:pt>
                <c:pt idx="29">
                  <c:v>0.2</c:v>
                </c:pt>
                <c:pt idx="30">
                  <c:v>0.09090909090909091</c:v>
                </c:pt>
                <c:pt idx="31">
                  <c:v>0.3333333333333333</c:v>
                </c:pt>
                <c:pt idx="32">
                  <c:v>0.2222222222222222</c:v>
                </c:pt>
                <c:pt idx="33">
                  <c:v>0.2857142857142857</c:v>
                </c:pt>
                <c:pt idx="34">
                  <c:v>0.2727272727272727</c:v>
                </c:pt>
                <c:pt idx="35">
                  <c:v>0.3333333333333333</c:v>
                </c:pt>
                <c:pt idx="36">
                  <c:v>0.3333333333333333</c:v>
                </c:pt>
                <c:pt idx="37">
                  <c:v>0.2</c:v>
                </c:pt>
                <c:pt idx="38">
                  <c:v>0.25</c:v>
                </c:pt>
                <c:pt idx="39">
                  <c:v>0.16666666666666666</c:v>
                </c:pt>
                <c:pt idx="40">
                  <c:v>0.05263157894736842</c:v>
                </c:pt>
                <c:pt idx="41">
                  <c:v>0.1111111111111111</c:v>
                </c:pt>
                <c:pt idx="42">
                  <c:v>0.25</c:v>
                </c:pt>
                <c:pt idx="43">
                  <c:v>0.3333333333333333</c:v>
                </c:pt>
                <c:pt idx="44">
                  <c:v>0.16666666666666666</c:v>
                </c:pt>
                <c:pt idx="45">
                  <c:v>0.3333333333333333</c:v>
                </c:pt>
                <c:pt idx="46">
                  <c:v>0.16666666666666666</c:v>
                </c:pt>
                <c:pt idx="47">
                  <c:v>0.25</c:v>
                </c:pt>
                <c:pt idx="48">
                  <c:v>0.3333333333333333</c:v>
                </c:pt>
                <c:pt idx="49">
                  <c:v>0.25</c:v>
                </c:pt>
                <c:pt idx="50">
                  <c:v>0.2777777777777778</c:v>
                </c:pt>
                <c:pt idx="51">
                  <c:v>0.222222222222222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221301810720494</c:v>
                </c:pt>
              </c:numCache>
            </c:numRef>
          </c:xVal>
          <c:yVal>
            <c:numRef>
              <c:f>Sheet1!$B$163:$B$164</c:f>
              <c:numCache>
                <c:formatCode>General</c:formatCode>
                <c:ptCount val="2"/>
                <c:pt idx="0">
                  <c:v>0.5531828214520522</c:v>
                </c:pt>
                <c:pt idx="1">
                  <c:v>0.55318282145205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221301810720494</c:v>
                </c:pt>
                <c:pt idx="1">
                  <c:v>-1.8221301810720494</c:v>
                </c:pt>
              </c:numCache>
            </c:numRef>
          </c:xVal>
          <c:yVal>
            <c:numRef>
              <c:f>Sheet1!$B$167:$B$168</c:f>
              <c:numCache>
                <c:formatCode>General</c:formatCode>
                <c:ptCount val="2"/>
                <c:pt idx="0">
                  <c:v>0.55318282145205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812003534881623</c:v>
                </c:pt>
              </c:numCache>
            </c:numRef>
          </c:xVal>
          <c:yVal>
            <c:numRef>
              <c:f>Sheet1!$B$171:$B$172</c:f>
              <c:numCache>
                <c:formatCode>General</c:formatCode>
                <c:ptCount val="2"/>
                <c:pt idx="0">
                  <c:v>0.3346194201586358</c:v>
                </c:pt>
                <c:pt idx="1">
                  <c:v>0.33461942015863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812003534881623</c:v>
                </c:pt>
                <c:pt idx="1">
                  <c:v>0.9812003534881623</c:v>
                </c:pt>
              </c:numCache>
            </c:numRef>
          </c:xVal>
          <c:yVal>
            <c:numRef>
              <c:f>Sheet1!$B$175:$B$176</c:f>
              <c:numCache>
                <c:formatCode>General</c:formatCode>
                <c:ptCount val="2"/>
                <c:pt idx="0">
                  <c:v>0.33461942015863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983040465893093</c:v>
                </c:pt>
              </c:numCache>
            </c:numRef>
          </c:xVal>
          <c:yVal>
            <c:numRef>
              <c:f>Sheet1!$B$179:$B$180</c:f>
              <c:numCache>
                <c:formatCode>General</c:formatCode>
                <c:ptCount val="2"/>
                <c:pt idx="0">
                  <c:v>0.2241340530814215</c:v>
                </c:pt>
                <c:pt idx="1">
                  <c:v>0.22413405308142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983040465893093</c:v>
                </c:pt>
                <c:pt idx="1">
                  <c:v>2.3983040465893093</c:v>
                </c:pt>
              </c:numCache>
            </c:numRef>
          </c:xVal>
          <c:yVal>
            <c:numRef>
              <c:f>Sheet1!$B$183:$B$184</c:f>
              <c:numCache>
                <c:formatCode>General</c:formatCode>
                <c:ptCount val="2"/>
                <c:pt idx="0">
                  <c:v>0.2241340530814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866490804330212</c:v>
                </c:pt>
                <c:pt idx="1">
                  <c:v>1.4200975055571705</c:v>
                </c:pt>
                <c:pt idx="2">
                  <c:v>1.3557140852180816</c:v>
                </c:pt>
                <c:pt idx="3">
                  <c:v>1.8109727079130185</c:v>
                </c:pt>
                <c:pt idx="4">
                  <c:v>1.7749836280288147</c:v>
                </c:pt>
                <c:pt idx="5">
                  <c:v>1.3998257839721255</c:v>
                </c:pt>
                <c:pt idx="6">
                  <c:v>1.7725172485052056</c:v>
                </c:pt>
                <c:pt idx="7">
                  <c:v>1.1908339594290007</c:v>
                </c:pt>
                <c:pt idx="8">
                  <c:v>1.0552665799739922</c:v>
                </c:pt>
                <c:pt idx="9">
                  <c:v>0.8642340565417489</c:v>
                </c:pt>
                <c:pt idx="10">
                  <c:v>1.2466871434839841</c:v>
                </c:pt>
                <c:pt idx="11">
                  <c:v>2.169752117979291</c:v>
                </c:pt>
                <c:pt idx="12">
                  <c:v>1.3413008989952406</c:v>
                </c:pt>
                <c:pt idx="13">
                  <c:v>1.577120822622108</c:v>
                </c:pt>
                <c:pt idx="14">
                  <c:v>1.3015328656793974</c:v>
                </c:pt>
                <c:pt idx="15">
                  <c:v>1.9482459095605928</c:v>
                </c:pt>
                <c:pt idx="16">
                  <c:v>1.6074525664165575</c:v>
                </c:pt>
                <c:pt idx="17">
                  <c:v>1.5721897018841628</c:v>
                </c:pt>
                <c:pt idx="18">
                  <c:v>2.150112359550562</c:v>
                </c:pt>
                <c:pt idx="19">
                  <c:v>1.1656394453004622</c:v>
                </c:pt>
                <c:pt idx="20">
                  <c:v>1.8953247043721677</c:v>
                </c:pt>
                <c:pt idx="21">
                  <c:v>1.2838299951148022</c:v>
                </c:pt>
                <c:pt idx="22">
                  <c:v>2.5007571933366988</c:v>
                </c:pt>
                <c:pt idx="23">
                  <c:v>2.1994100294985253</c:v>
                </c:pt>
                <c:pt idx="24">
                  <c:v>2.8729411764705883</c:v>
                </c:pt>
                <c:pt idx="25">
                  <c:v>1.7749510763209393</c:v>
                </c:pt>
                <c:pt idx="26">
                  <c:v>1.6216955332725616</c:v>
                </c:pt>
                <c:pt idx="27">
                  <c:v>1.140329218106996</c:v>
                </c:pt>
                <c:pt idx="28">
                  <c:v>1.391304347826087</c:v>
                </c:pt>
                <c:pt idx="29">
                  <c:v>1.8009583486914855</c:v>
                </c:pt>
                <c:pt idx="30">
                  <c:v>2.3698366954851107</c:v>
                </c:pt>
                <c:pt idx="31">
                  <c:v>2.939744370054778</c:v>
                </c:pt>
                <c:pt idx="32">
                  <c:v>1.3668358074456501</c:v>
                </c:pt>
                <c:pt idx="33">
                  <c:v>1.5920406173898802</c:v>
                </c:pt>
                <c:pt idx="34">
                  <c:v>1.6862532100108814</c:v>
                </c:pt>
                <c:pt idx="35">
                  <c:v>1.6969647541063924</c:v>
                </c:pt>
                <c:pt idx="36">
                  <c:v>0.7782608695652173</c:v>
                </c:pt>
                <c:pt idx="37">
                  <c:v>1.7120027801135376</c:v>
                </c:pt>
                <c:pt idx="38">
                  <c:v>0.9730081300813008</c:v>
                </c:pt>
                <c:pt idx="39">
                  <c:v>1.5220587885556345</c:v>
                </c:pt>
                <c:pt idx="40">
                  <c:v>4.973623650203576</c:v>
                </c:pt>
                <c:pt idx="41">
                  <c:v>3.738244205721481</c:v>
                </c:pt>
                <c:pt idx="42">
                  <c:v>2.0316539441973274</c:v>
                </c:pt>
                <c:pt idx="43">
                  <c:v>1.7417847892845109</c:v>
                </c:pt>
                <c:pt idx="44">
                  <c:v>1.3889743636711778</c:v>
                </c:pt>
                <c:pt idx="45">
                  <c:v>1.5030539946249695</c:v>
                </c:pt>
                <c:pt idx="46">
                  <c:v>2.4122170854200413</c:v>
                </c:pt>
                <c:pt idx="47">
                  <c:v>2.103820816864295</c:v>
                </c:pt>
                <c:pt idx="48">
                  <c:v>1.719369651429764</c:v>
                </c:pt>
                <c:pt idx="49">
                  <c:v>1.7492283564814815</c:v>
                </c:pt>
                <c:pt idx="50">
                  <c:v>1.4705419689496477</c:v>
                </c:pt>
                <c:pt idx="51">
                  <c:v>1.0336574420344053</c:v>
                </c:pt>
                <c:pt idx="52">
                  <c:v>0.9812003534881623</c:v>
                </c:pt>
                <c:pt idx="53">
                  <c:v>-1.8221301810720494</c:v>
                </c:pt>
                <c:pt idx="54">
                  <c:v>2.3983040465893093</c:v>
                </c:pt>
              </c:numCache>
            </c:numRef>
          </c:xVal>
          <c:yVal>
            <c:numRef>
              <c:f>Sheet1!$B$187:$B$241</c:f>
              <c:numCache>
                <c:formatCode>General</c:formatCode>
                <c:ptCount val="55"/>
                <c:pt idx="0">
                  <c:v>0.2796186732619208</c:v>
                </c:pt>
                <c:pt idx="1">
                  <c:v>0.300400531878576</c:v>
                </c:pt>
                <c:pt idx="2">
                  <c:v>0.30542022511943123</c:v>
                </c:pt>
                <c:pt idx="3">
                  <c:v>0.2699257046489896</c:v>
                </c:pt>
                <c:pt idx="4">
                  <c:v>0.27273161555101816</c:v>
                </c:pt>
                <c:pt idx="5">
                  <c:v>0.3019810292066928</c:v>
                </c:pt>
                <c:pt idx="6">
                  <c:v>0.27292390835806135</c:v>
                </c:pt>
                <c:pt idx="7">
                  <c:v>0.318275206240593</c:v>
                </c:pt>
                <c:pt idx="8">
                  <c:v>0.3288448009397676</c:v>
                </c:pt>
                <c:pt idx="9">
                  <c:v>0.3437387699399539</c:v>
                </c:pt>
                <c:pt idx="10">
                  <c:v>0.3139205781545976</c:v>
                </c:pt>
                <c:pt idx="11">
                  <c:v>0.2419532457429149</c:v>
                </c:pt>
                <c:pt idx="12">
                  <c:v>0.30654395810970947</c:v>
                </c:pt>
                <c:pt idx="13">
                  <c:v>0.2881581117154926</c:v>
                </c:pt>
                <c:pt idx="14">
                  <c:v>0.3096444974564277</c:v>
                </c:pt>
                <c:pt idx="15">
                  <c:v>0.2592231144661171</c:v>
                </c:pt>
                <c:pt idx="16">
                  <c:v>0.2857932785254188</c:v>
                </c:pt>
                <c:pt idx="17">
                  <c:v>0.28854256959778185</c:v>
                </c:pt>
                <c:pt idx="18">
                  <c:v>0.24348447167216036</c:v>
                </c:pt>
                <c:pt idx="19">
                  <c:v>0.32023951213816076</c:v>
                </c:pt>
                <c:pt idx="20">
                  <c:v>0.26334914900394</c:v>
                </c:pt>
                <c:pt idx="21">
                  <c:v>0.3110247127237872</c:v>
                </c:pt>
                <c:pt idx="22">
                  <c:v>0.21614623004369474</c:v>
                </c:pt>
                <c:pt idx="23">
                  <c:v>0.23964094830349794</c:v>
                </c:pt>
                <c:pt idx="24">
                  <c:v>0.18712867529664598</c:v>
                </c:pt>
                <c:pt idx="25">
                  <c:v>0.2727341534650827</c:v>
                </c:pt>
                <c:pt idx="26">
                  <c:v>0.2846828167934968</c:v>
                </c:pt>
                <c:pt idx="27">
                  <c:v>0.3222128396764994</c:v>
                </c:pt>
                <c:pt idx="28">
                  <c:v>0.30264540825333813</c:v>
                </c:pt>
                <c:pt idx="29">
                  <c:v>0.2707064803678171</c:v>
                </c:pt>
                <c:pt idx="30">
                  <c:v>0.22635352774073908</c:v>
                </c:pt>
                <c:pt idx="31">
                  <c:v>0.1819203229361158</c:v>
                </c:pt>
                <c:pt idx="32">
                  <c:v>0.304553113158023</c:v>
                </c:pt>
                <c:pt idx="33">
                  <c:v>0.28699488067625467</c:v>
                </c:pt>
                <c:pt idx="34">
                  <c:v>0.27964953754455457</c:v>
                </c:pt>
                <c:pt idx="35">
                  <c:v>0.2788144053752449</c:v>
                </c:pt>
                <c:pt idx="36">
                  <c:v>0.3504417227077314</c:v>
                </c:pt>
                <c:pt idx="37">
                  <c:v>0.27764195636420586</c:v>
                </c:pt>
                <c:pt idx="38">
                  <c:v>0.3352581319301823</c:v>
                </c:pt>
                <c:pt idx="39">
                  <c:v>0.29245105730265664</c:v>
                </c:pt>
                <c:pt idx="40">
                  <c:v>0.02334766523156684</c:v>
                </c:pt>
                <c:pt idx="41">
                  <c:v>0.11966478871923192</c:v>
                </c:pt>
                <c:pt idx="42">
                  <c:v>0.25272015538916914</c:v>
                </c:pt>
                <c:pt idx="43">
                  <c:v>0.2753199835745146</c:v>
                </c:pt>
                <c:pt idx="44">
                  <c:v>0.3028270669109878</c:v>
                </c:pt>
                <c:pt idx="45">
                  <c:v>0.2939327778315625</c:v>
                </c:pt>
                <c:pt idx="46">
                  <c:v>0.22304931439232176</c:v>
                </c:pt>
                <c:pt idx="47">
                  <c:v>0.24709362046710154</c:v>
                </c:pt>
                <c:pt idx="48">
                  <c:v>0.2770675936795651</c:v>
                </c:pt>
                <c:pt idx="49">
                  <c:v>0.2747396412480321</c:v>
                </c:pt>
                <c:pt idx="50">
                  <c:v>0.29646759804877676</c:v>
                </c:pt>
                <c:pt idx="51">
                  <c:v>0.33052957076225864</c:v>
                </c:pt>
                <c:pt idx="52">
                  <c:v>0.3346194201586358</c:v>
                </c:pt>
                <c:pt idx="53">
                  <c:v>0.5531828214520522</c:v>
                </c:pt>
                <c:pt idx="54">
                  <c:v>0.2241340530814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9999999999999"/>
          <c:min val="0.0421052631578947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68.9444</c:v>
                </c:pt>
                <c:pt idx="1">
                  <c:v>1073.25</c:v>
                </c:pt>
                <c:pt idx="2">
                  <c:v>1201.0833</c:v>
                </c:pt>
                <c:pt idx="3">
                  <c:v>1195.8182</c:v>
                </c:pt>
                <c:pt idx="4">
                  <c:v>1180.6429</c:v>
                </c:pt>
                <c:pt idx="5">
                  <c:v>1254.5</c:v>
                </c:pt>
                <c:pt idx="6">
                  <c:v>1191.625</c:v>
                </c:pt>
                <c:pt idx="7">
                  <c:v>1216.8889</c:v>
                </c:pt>
                <c:pt idx="8">
                  <c:v>1275.1429</c:v>
                </c:pt>
                <c:pt idx="9">
                  <c:v>1109.8</c:v>
                </c:pt>
                <c:pt idx="10">
                  <c:v>1185.7778</c:v>
                </c:pt>
                <c:pt idx="11">
                  <c:v>1283.1429</c:v>
                </c:pt>
                <c:pt idx="12">
                  <c:v>1166.4444</c:v>
                </c:pt>
                <c:pt idx="13">
                  <c:v>1170.8182</c:v>
                </c:pt>
                <c:pt idx="14">
                  <c:v>1169.8182</c:v>
                </c:pt>
                <c:pt idx="15">
                  <c:v>1143.375</c:v>
                </c:pt>
                <c:pt idx="16">
                  <c:v>1230.5</c:v>
                </c:pt>
                <c:pt idx="17">
                  <c:v>1147.1429</c:v>
                </c:pt>
                <c:pt idx="18">
                  <c:v>1402.3333</c:v>
                </c:pt>
                <c:pt idx="19">
                  <c:v>1078.8333</c:v>
                </c:pt>
                <c:pt idx="20">
                  <c:v>1016.0</c:v>
                </c:pt>
                <c:pt idx="21">
                  <c:v>978.1429</c:v>
                </c:pt>
                <c:pt idx="22">
                  <c:v>994.6667</c:v>
                </c:pt>
                <c:pt idx="23">
                  <c:v>1015.75</c:v>
                </c:pt>
                <c:pt idx="24">
                  <c:v>974.8</c:v>
                </c:pt>
                <c:pt idx="25">
                  <c:v>1004.3636</c:v>
                </c:pt>
                <c:pt idx="26">
                  <c:v>963.8571</c:v>
                </c:pt>
                <c:pt idx="27">
                  <c:v>1110.1429</c:v>
                </c:pt>
                <c:pt idx="28">
                  <c:v>1306.8333</c:v>
                </c:pt>
                <c:pt idx="29">
                  <c:v>1397.6</c:v>
                </c:pt>
                <c:pt idx="30">
                  <c:v>1173.0</c:v>
                </c:pt>
                <c:pt idx="31">
                  <c:v>1231.25</c:v>
                </c:pt>
                <c:pt idx="32">
                  <c:v>1340.6</c:v>
                </c:pt>
                <c:pt idx="33">
                  <c:v>1384.25</c:v>
                </c:pt>
                <c:pt idx="34">
                  <c:v>1323.75</c:v>
                </c:pt>
                <c:pt idx="35">
                  <c:v>1297.6364</c:v>
                </c:pt>
                <c:pt idx="36">
                  <c:v>1245.4</c:v>
                </c:pt>
                <c:pt idx="37">
                  <c:v>1444.8</c:v>
                </c:pt>
                <c:pt idx="38">
                  <c:v>1583.3333</c:v>
                </c:pt>
                <c:pt idx="39">
                  <c:v>1467.5</c:v>
                </c:pt>
                <c:pt idx="40">
                  <c:v>1500.0</c:v>
                </c:pt>
                <c:pt idx="41">
                  <c:v>1416.6667</c:v>
                </c:pt>
                <c:pt idx="42">
                  <c:v>1414.0</c:v>
                </c:pt>
                <c:pt idx="43">
                  <c:v>1490.5</c:v>
                </c:pt>
                <c:pt idx="44">
                  <c:v>1498.7778</c:v>
                </c:pt>
                <c:pt idx="45">
                  <c:v>1550.5</c:v>
                </c:pt>
                <c:pt idx="46">
                  <c:v>1544.7778</c:v>
                </c:pt>
                <c:pt idx="47">
                  <c:v>1525.4444</c:v>
                </c:pt>
                <c:pt idx="48">
                  <c:v>1545.2</c:v>
                </c:pt>
                <c:pt idx="49">
                  <c:v>1552.1818</c:v>
                </c:pt>
                <c:pt idx="50">
                  <c:v>1704.8571</c:v>
                </c:pt>
                <c:pt idx="51">
                  <c:v>1453.25</c:v>
                </c:pt>
                <c:pt idx="52">
                  <c:v>1473.125</c:v>
                </c:pt>
                <c:pt idx="53">
                  <c:v>1701.2857</c:v>
                </c:pt>
                <c:pt idx="54">
                  <c:v>1497.4286</c:v>
                </c:pt>
                <c:pt idx="55">
                  <c:v>1597.5714</c:v>
                </c:pt>
                <c:pt idx="56">
                  <c:v>1693.125</c:v>
                </c:pt>
                <c:pt idx="57">
                  <c:v>1709.4286</c:v>
                </c:pt>
                <c:pt idx="58">
                  <c:v>1705.0</c:v>
                </c:pt>
                <c:pt idx="59">
                  <c:v>1598.3636</c:v>
                </c:pt>
                <c:pt idx="60">
                  <c:v>1582.1429</c:v>
                </c:pt>
                <c:pt idx="61">
                  <c:v>1583.75</c:v>
                </c:pt>
                <c:pt idx="62">
                  <c:v>1486.2222</c:v>
                </c:pt>
                <c:pt idx="63">
                  <c:v>1620.6667</c:v>
                </c:pt>
                <c:pt idx="64">
                  <c:v>1617.8571</c:v>
                </c:pt>
                <c:pt idx="65">
                  <c:v>1572.8571</c:v>
                </c:pt>
                <c:pt idx="66">
                  <c:v>1242.8333</c:v>
                </c:pt>
                <c:pt idx="67">
                  <c:v>1364.2857</c:v>
                </c:pt>
                <c:pt idx="68">
                  <c:v>1387.0</c:v>
                </c:pt>
                <c:pt idx="69">
                  <c:v>1356.0</c:v>
                </c:pt>
                <c:pt idx="70">
                  <c:v>1168.0</c:v>
                </c:pt>
                <c:pt idx="71">
                  <c:v>1303.8</c:v>
                </c:pt>
                <c:pt idx="72">
                  <c:v>1396.8</c:v>
                </c:pt>
                <c:pt idx="73">
                  <c:v>1508.0</c:v>
                </c:pt>
                <c:pt idx="74">
                  <c:v>1331.0</c:v>
                </c:pt>
                <c:pt idx="75">
                  <c:v>737.3333</c:v>
                </c:pt>
                <c:pt idx="76">
                  <c:v>1620.5</c:v>
                </c:pt>
                <c:pt idx="77">
                  <c:v>1479.0</c:v>
                </c:pt>
                <c:pt idx="78">
                  <c:v>1509.3333</c:v>
                </c:pt>
                <c:pt idx="79">
                  <c:v>2325.0</c:v>
                </c:pt>
                <c:pt idx="80">
                  <c:v>1709.5</c:v>
                </c:pt>
                <c:pt idx="81">
                  <c:v>1968.0</c:v>
                </c:pt>
                <c:pt idx="82">
                  <c:v>849.3333</c:v>
                </c:pt>
                <c:pt idx="83">
                  <c:v>1451.0</c:v>
                </c:pt>
                <c:pt idx="84">
                  <c:v>1205.75</c:v>
                </c:pt>
                <c:pt idx="85">
                  <c:v>1593.6667</c:v>
                </c:pt>
                <c:pt idx="86">
                  <c:v>1493.3333</c:v>
                </c:pt>
                <c:pt idx="87">
                  <c:v>1656.0</c:v>
                </c:pt>
                <c:pt idx="88">
                  <c:v>1771.0</c:v>
                </c:pt>
                <c:pt idx="89">
                  <c:v>2057.0</c:v>
                </c:pt>
                <c:pt idx="90">
                  <c:v>1004.6667</c:v>
                </c:pt>
                <c:pt idx="91">
                  <c:v>1373.6667</c:v>
                </c:pt>
                <c:pt idx="92">
                  <c:v>1355.6667</c:v>
                </c:pt>
                <c:pt idx="93">
                  <c:v>2317.0</c:v>
                </c:pt>
                <c:pt idx="94">
                  <c:v>1245.0</c:v>
                </c:pt>
                <c:pt idx="95">
                  <c:v>1935.3333</c:v>
                </c:pt>
                <c:pt idx="96">
                  <c:v>1485.3333</c:v>
                </c:pt>
                <c:pt idx="97">
                  <c:v>1530.3333</c:v>
                </c:pt>
                <c:pt idx="98">
                  <c:v>1063.0</c:v>
                </c:pt>
                <c:pt idx="99">
                  <c:v>1328.875</c:v>
                </c:pt>
                <c:pt idx="100">
                  <c:v>1549.5455</c:v>
                </c:pt>
                <c:pt idx="101">
                  <c:v>1149.5</c:v>
                </c:pt>
                <c:pt idx="102">
                  <c:v>1466.75</c:v>
                </c:pt>
                <c:pt idx="103">
                  <c:v>1063.6</c:v>
                </c:pt>
                <c:pt idx="104">
                  <c:v>1898.3333</c:v>
                </c:pt>
              </c:numCache>
            </c:numRef>
          </c:xVal>
          <c:yVal>
            <c:numRef>
              <c:f>Sheet1!$B$2:$B$106</c:f>
              <c:numCache>
                <c:formatCode>General</c:formatCode>
                <c:ptCount val="105"/>
                <c:pt idx="0">
                  <c:v>0.5142857142857142</c:v>
                </c:pt>
                <c:pt idx="1">
                  <c:v>0.42857142857142855</c:v>
                </c:pt>
                <c:pt idx="2">
                  <c:v>0.48</c:v>
                </c:pt>
                <c:pt idx="3">
                  <c:v>0.4583333333333333</c:v>
                </c:pt>
                <c:pt idx="4">
                  <c:v>0.5</c:v>
                </c:pt>
                <c:pt idx="5">
                  <c:v>0.38095238095238093</c:v>
                </c:pt>
                <c:pt idx="6">
                  <c:v>0.34782608695652173</c:v>
                </c:pt>
                <c:pt idx="7">
                  <c:v>0.45</c:v>
                </c:pt>
                <c:pt idx="8">
                  <c:v>0.4375</c:v>
                </c:pt>
                <c:pt idx="9">
                  <c:v>0.4</c:v>
                </c:pt>
                <c:pt idx="10">
                  <c:v>0.36</c:v>
                </c:pt>
                <c:pt idx="11">
                  <c:v>0.3888888888888889</c:v>
                </c:pt>
                <c:pt idx="12">
                  <c:v>0.45</c:v>
                </c:pt>
                <c:pt idx="13">
                  <c:v>0.55</c:v>
                </c:pt>
                <c:pt idx="14">
                  <c:v>0.5</c:v>
                </c:pt>
                <c:pt idx="15">
                  <c:v>0.5</c:v>
                </c:pt>
                <c:pt idx="16">
                  <c:v>0.47058823529411764</c:v>
                </c:pt>
                <c:pt idx="17">
                  <c:v>0.4666666666666667</c:v>
                </c:pt>
                <c:pt idx="18">
                  <c:v>0.3333333333333333</c:v>
                </c:pt>
                <c:pt idx="19">
                  <c:v>0.6</c:v>
                </c:pt>
                <c:pt idx="20">
                  <c:v>0.55</c:v>
                </c:pt>
                <c:pt idx="21">
                  <c:v>0.5384615384615384</c:v>
                </c:pt>
                <c:pt idx="22">
                  <c:v>0.5625</c:v>
                </c:pt>
                <c:pt idx="23">
                  <c:v>0.6153846153846154</c:v>
                </c:pt>
                <c:pt idx="24">
                  <c:v>0.7142857142857143</c:v>
                </c:pt>
                <c:pt idx="25">
                  <c:v>0.7333333333333333</c:v>
                </c:pt>
                <c:pt idx="26">
                  <c:v>0.5833333333333334</c:v>
                </c:pt>
                <c:pt idx="27">
                  <c:v>0.4666666666666667</c:v>
                </c:pt>
                <c:pt idx="28">
                  <c:v>0.5454545454545454</c:v>
                </c:pt>
                <c:pt idx="29">
                  <c:v>0.45454545454545453</c:v>
                </c:pt>
                <c:pt idx="30">
                  <c:v>0.4444444444444444</c:v>
                </c:pt>
                <c:pt idx="31">
                  <c:v>0.5</c:v>
                </c:pt>
                <c:pt idx="32">
                  <c:v>0.7142857142857143</c:v>
                </c:pt>
                <c:pt idx="33">
                  <c:v>0.2857142857142857</c:v>
                </c:pt>
                <c:pt idx="34">
                  <c:v>0.5714285714285714</c:v>
                </c:pt>
                <c:pt idx="35">
                  <c:v>0.5789473684210527</c:v>
                </c:pt>
                <c:pt idx="36">
                  <c:v>0.625</c:v>
                </c:pt>
                <c:pt idx="37">
                  <c:v>0.5</c:v>
                </c:pt>
                <c:pt idx="38">
                  <c:v>0.3333333333333333</c:v>
                </c:pt>
                <c:pt idx="39">
                  <c:v>0.26666666666666666</c:v>
                </c:pt>
                <c:pt idx="40">
                  <c:v>0.16666666666666666</c:v>
                </c:pt>
                <c:pt idx="41">
                  <c:v>0.10714285714285714</c:v>
                </c:pt>
                <c:pt idx="42">
                  <c:v>0.23076923076923078</c:v>
                </c:pt>
                <c:pt idx="43">
                  <c:v>0.25806451612903225</c:v>
                </c:pt>
                <c:pt idx="44">
                  <c:v>0.2571428571428571</c:v>
                </c:pt>
                <c:pt idx="45">
                  <c:v>0.21621621621621623</c:v>
                </c:pt>
                <c:pt idx="46">
                  <c:v>0.23076923076923078</c:v>
                </c:pt>
                <c:pt idx="47">
                  <c:v>0.32142857142857145</c:v>
                </c:pt>
                <c:pt idx="48">
                  <c:v>0.39473684210526316</c:v>
                </c:pt>
                <c:pt idx="49">
                  <c:v>0.39285714285714285</c:v>
                </c:pt>
                <c:pt idx="50">
                  <c:v>0.28</c:v>
                </c:pt>
                <c:pt idx="51">
                  <c:v>0.4</c:v>
                </c:pt>
                <c:pt idx="52">
                  <c:v>0.36363636363636365</c:v>
                </c:pt>
                <c:pt idx="53">
                  <c:v>0.4117647058823529</c:v>
                </c:pt>
                <c:pt idx="54">
                  <c:v>0.3684210526315789</c:v>
                </c:pt>
                <c:pt idx="55">
                  <c:v>0.30434782608695654</c:v>
                </c:pt>
                <c:pt idx="56">
                  <c:v>0.2857142857142857</c:v>
                </c:pt>
                <c:pt idx="57">
                  <c:v>0.25925925925925924</c:v>
                </c:pt>
                <c:pt idx="58">
                  <c:v>0.23333333333333334</c:v>
                </c:pt>
                <c:pt idx="59">
                  <c:v>0.22448979591836735</c:v>
                </c:pt>
                <c:pt idx="60">
                  <c:v>0.30434782608695654</c:v>
                </c:pt>
                <c:pt idx="61">
                  <c:v>0.34782608695652173</c:v>
                </c:pt>
                <c:pt idx="62">
                  <c:v>0.28125</c:v>
                </c:pt>
                <c:pt idx="63">
                  <c:v>0.25</c:v>
                </c:pt>
                <c:pt idx="64">
                  <c:v>0.30434782608695654</c:v>
                </c:pt>
                <c:pt idx="65">
                  <c:v>0.35</c:v>
                </c:pt>
                <c:pt idx="66">
                  <c:v>0.2857142857142857</c:v>
                </c:pt>
                <c:pt idx="67">
                  <c:v>0.30434782608695654</c:v>
                </c:pt>
                <c:pt idx="68">
                  <c:v>0.3333333333333333</c:v>
                </c:pt>
                <c:pt idx="69">
                  <c:v>0.25</c:v>
                </c:pt>
                <c:pt idx="70">
                  <c:v>0.23076923076923078</c:v>
                </c:pt>
                <c:pt idx="71">
                  <c:v>0.35714285714285715</c:v>
                </c:pt>
                <c:pt idx="72">
                  <c:v>0.3333333333333333</c:v>
                </c:pt>
                <c:pt idx="73">
                  <c:v>0.3076923076923077</c:v>
                </c:pt>
                <c:pt idx="74">
                  <c:v>0.3076923076923077</c:v>
                </c:pt>
                <c:pt idx="75">
                  <c:v>0.4</c:v>
                </c:pt>
                <c:pt idx="76">
                  <c:v>0.2222222222222222</c:v>
                </c:pt>
                <c:pt idx="77">
                  <c:v>0.2727272727272727</c:v>
                </c:pt>
                <c:pt idx="78">
                  <c:v>0.375</c:v>
                </c:pt>
                <c:pt idx="79">
                  <c:v>0.125</c:v>
                </c:pt>
                <c:pt idx="80">
                  <c:v>0.2222222222222222</c:v>
                </c:pt>
                <c:pt idx="81">
                  <c:v>0.25</c:v>
                </c:pt>
                <c:pt idx="82">
                  <c:v>0.42857142857142855</c:v>
                </c:pt>
                <c:pt idx="83">
                  <c:v>0.2</c:v>
                </c:pt>
                <c:pt idx="84">
                  <c:v>0.5</c:v>
                </c:pt>
                <c:pt idx="85">
                  <c:v>0.3</c:v>
                </c:pt>
                <c:pt idx="86">
                  <c:v>0.2727272727272727</c:v>
                </c:pt>
                <c:pt idx="87">
                  <c:v>0.35714285714285715</c:v>
                </c:pt>
                <c:pt idx="88">
                  <c:v>0.3333333333333333</c:v>
                </c:pt>
                <c:pt idx="89">
                  <c:v>0.16666666666666666</c:v>
                </c:pt>
                <c:pt idx="90">
                  <c:v>0.2727272727272727</c:v>
                </c:pt>
                <c:pt idx="91">
                  <c:v>0.3333333333333333</c:v>
                </c:pt>
                <c:pt idx="92">
                  <c:v>0.2727272727272727</c:v>
                </c:pt>
                <c:pt idx="93">
                  <c:v>0.125</c:v>
                </c:pt>
                <c:pt idx="94">
                  <c:v>0.5</c:v>
                </c:pt>
                <c:pt idx="95">
                  <c:v>0.25</c:v>
                </c:pt>
                <c:pt idx="96">
                  <c:v>0.23076923076923078</c:v>
                </c:pt>
                <c:pt idx="97">
                  <c:v>0.25</c:v>
                </c:pt>
                <c:pt idx="98">
                  <c:v>0.45</c:v>
                </c:pt>
                <c:pt idx="99">
                  <c:v>0.36363636363636365</c:v>
                </c:pt>
                <c:pt idx="100">
                  <c:v>0.3793103448275862</c:v>
                </c:pt>
                <c:pt idx="101">
                  <c:v>0.35294117647058826</c:v>
                </c:pt>
                <c:pt idx="102">
                  <c:v>0.2857142857142857</c:v>
                </c:pt>
                <c:pt idx="103">
                  <c:v>0.3333333333333333</c:v>
                </c:pt>
                <c:pt idx="104">
                  <c:v>0.27272727272727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86.5</c:v>
                </c:pt>
                <c:pt idx="1">
                  <c:v>1213.0</c:v>
                </c:pt>
                <c:pt idx="2">
                  <c:v>1249.0</c:v>
                </c:pt>
                <c:pt idx="3">
                  <c:v>1865.0</c:v>
                </c:pt>
                <c:pt idx="4">
                  <c:v>1355.2</c:v>
                </c:pt>
                <c:pt idx="5">
                  <c:v>1607.0</c:v>
                </c:pt>
                <c:pt idx="6">
                  <c:v>1397.25</c:v>
                </c:pt>
                <c:pt idx="7">
                  <c:v>1585.0</c:v>
                </c:pt>
                <c:pt idx="8">
                  <c:v>1623.0</c:v>
                </c:pt>
                <c:pt idx="9">
                  <c:v>1314.5</c:v>
                </c:pt>
                <c:pt idx="10">
                  <c:v>1420.6</c:v>
                </c:pt>
                <c:pt idx="11">
                  <c:v>1383.0</c:v>
                </c:pt>
                <c:pt idx="12">
                  <c:v>1268.2</c:v>
                </c:pt>
                <c:pt idx="13">
                  <c:v>1533.75</c:v>
                </c:pt>
                <c:pt idx="14">
                  <c:v>1252.4</c:v>
                </c:pt>
                <c:pt idx="15">
                  <c:v>1499.5</c:v>
                </c:pt>
                <c:pt idx="16">
                  <c:v>1668.0</c:v>
                </c:pt>
                <c:pt idx="17">
                  <c:v>1524.5</c:v>
                </c:pt>
                <c:pt idx="18">
                  <c:v>2392.0</c:v>
                </c:pt>
                <c:pt idx="19">
                  <c:v>1513.0</c:v>
                </c:pt>
                <c:pt idx="20">
                  <c:v>1527.0</c:v>
                </c:pt>
                <c:pt idx="21">
                  <c:v>1314.0</c:v>
                </c:pt>
                <c:pt idx="22">
                  <c:v>2477.0</c:v>
                </c:pt>
                <c:pt idx="23">
                  <c:v>1864.0</c:v>
                </c:pt>
                <c:pt idx="24">
                  <c:v>2442.0</c:v>
                </c:pt>
                <c:pt idx="25">
                  <c:v>1814.0</c:v>
                </c:pt>
                <c:pt idx="26">
                  <c:v>1779.0</c:v>
                </c:pt>
                <c:pt idx="27">
                  <c:v>1385.5</c:v>
                </c:pt>
                <c:pt idx="28">
                  <c:v>1408.0</c:v>
                </c:pt>
                <c:pt idx="29">
                  <c:v>2443.0</c:v>
                </c:pt>
                <c:pt idx="30">
                  <c:v>2467.0</c:v>
                </c:pt>
                <c:pt idx="31">
                  <c:v>2415.0</c:v>
                </c:pt>
                <c:pt idx="32">
                  <c:v>1437.0</c:v>
                </c:pt>
                <c:pt idx="33">
                  <c:v>1513.5</c:v>
                </c:pt>
                <c:pt idx="34">
                  <c:v>1549.6667</c:v>
                </c:pt>
                <c:pt idx="35">
                  <c:v>1714.5</c:v>
                </c:pt>
                <c:pt idx="36">
                  <c:v>1611.0</c:v>
                </c:pt>
                <c:pt idx="37">
                  <c:v>1607.0</c:v>
                </c:pt>
                <c:pt idx="38">
                  <c:v>1496.0</c:v>
                </c:pt>
                <c:pt idx="39">
                  <c:v>2208.0</c:v>
                </c:pt>
                <c:pt idx="40">
                  <c:v>1756.0</c:v>
                </c:pt>
                <c:pt idx="41">
                  <c:v>1510.5</c:v>
                </c:pt>
                <c:pt idx="42">
                  <c:v>1519.0</c:v>
                </c:pt>
                <c:pt idx="43">
                  <c:v>1678.5</c:v>
                </c:pt>
                <c:pt idx="44">
                  <c:v>1054.0</c:v>
                </c:pt>
                <c:pt idx="45">
                  <c:v>1538.0</c:v>
                </c:pt>
                <c:pt idx="46">
                  <c:v>1777.0</c:v>
                </c:pt>
                <c:pt idx="47">
                  <c:v>1996.0</c:v>
                </c:pt>
                <c:pt idx="48">
                  <c:v>1647.5</c:v>
                </c:pt>
                <c:pt idx="49">
                  <c:v>1511.3333</c:v>
                </c:pt>
                <c:pt idx="50">
                  <c:v>1248.0</c:v>
                </c:pt>
                <c:pt idx="51">
                  <c:v>1036.5</c:v>
                </c:pt>
              </c:numCache>
            </c:numRef>
          </c:xVal>
          <c:yVal>
            <c:numRef>
              <c:f>Sheet1!$B$109:$B$160</c:f>
              <c:numCache>
                <c:formatCode>General</c:formatCode>
                <c:ptCount val="52"/>
                <c:pt idx="0">
                  <c:v>0.36363636363636365</c:v>
                </c:pt>
                <c:pt idx="1">
                  <c:v>0.3333333333333333</c:v>
                </c:pt>
                <c:pt idx="2">
                  <c:v>0.3888888888888889</c:v>
                </c:pt>
                <c:pt idx="3">
                  <c:v>0.23529411764705882</c:v>
                </c:pt>
                <c:pt idx="4">
                  <c:v>0.2</c:v>
                </c:pt>
                <c:pt idx="5">
                  <c:v>0.3125</c:v>
                </c:pt>
                <c:pt idx="6">
                  <c:v>0.36363636363636365</c:v>
                </c:pt>
                <c:pt idx="7">
                  <c:v>0.21428571428571427</c:v>
                </c:pt>
                <c:pt idx="8">
                  <c:v>0.6</c:v>
                </c:pt>
                <c:pt idx="9">
                  <c:v>0.4</c:v>
                </c:pt>
                <c:pt idx="10">
                  <c:v>0.4166666666666667</c:v>
                </c:pt>
                <c:pt idx="11">
                  <c:v>0.3333333333333333</c:v>
                </c:pt>
                <c:pt idx="12">
                  <c:v>0.45454545454545453</c:v>
                </c:pt>
                <c:pt idx="13">
                  <c:v>0.3076923076923077</c:v>
                </c:pt>
                <c:pt idx="14">
                  <c:v>0.38461538461538464</c:v>
                </c:pt>
                <c:pt idx="15">
                  <c:v>0.25</c:v>
                </c:pt>
                <c:pt idx="16">
                  <c:v>0.2857142857142857</c:v>
                </c:pt>
                <c:pt idx="17">
                  <c:v>0.2222222222222222</c:v>
                </c:pt>
                <c:pt idx="18">
                  <c:v>0.2</c:v>
                </c:pt>
                <c:pt idx="19">
                  <c:v>0.5</c:v>
                </c:pt>
                <c:pt idx="20">
                  <c:v>0.25</c:v>
                </c:pt>
                <c:pt idx="21">
                  <c:v>0.3333333333333333</c:v>
                </c:pt>
                <c:pt idx="22">
                  <c:v>0.2</c:v>
                </c:pt>
                <c:pt idx="23">
                  <c:v>0.25</c:v>
                </c:pt>
                <c:pt idx="24">
                  <c:v>0.2</c:v>
                </c:pt>
                <c:pt idx="25">
                  <c:v>0.16666666666666666</c:v>
                </c:pt>
                <c:pt idx="26">
                  <c:v>0.14285714285714285</c:v>
                </c:pt>
                <c:pt idx="27">
                  <c:v>0.2857142857142857</c:v>
                </c:pt>
                <c:pt idx="28">
                  <c:v>0.2222222222222222</c:v>
                </c:pt>
                <c:pt idx="29">
                  <c:v>0.2</c:v>
                </c:pt>
                <c:pt idx="30">
                  <c:v>0.09090909090909091</c:v>
                </c:pt>
                <c:pt idx="31">
                  <c:v>0.3333333333333333</c:v>
                </c:pt>
                <c:pt idx="32">
                  <c:v>0.2222222222222222</c:v>
                </c:pt>
                <c:pt idx="33">
                  <c:v>0.2857142857142857</c:v>
                </c:pt>
                <c:pt idx="34">
                  <c:v>0.2727272727272727</c:v>
                </c:pt>
                <c:pt idx="35">
                  <c:v>0.3333333333333333</c:v>
                </c:pt>
                <c:pt idx="36">
                  <c:v>0.3333333333333333</c:v>
                </c:pt>
                <c:pt idx="37">
                  <c:v>0.2</c:v>
                </c:pt>
                <c:pt idx="38">
                  <c:v>0.25</c:v>
                </c:pt>
                <c:pt idx="39">
                  <c:v>0.16666666666666666</c:v>
                </c:pt>
                <c:pt idx="40">
                  <c:v>0.05263157894736842</c:v>
                </c:pt>
                <c:pt idx="41">
                  <c:v>0.1111111111111111</c:v>
                </c:pt>
                <c:pt idx="42">
                  <c:v>0.25</c:v>
                </c:pt>
                <c:pt idx="43">
                  <c:v>0.3333333333333333</c:v>
                </c:pt>
                <c:pt idx="44">
                  <c:v>0.16666666666666666</c:v>
                </c:pt>
                <c:pt idx="45">
                  <c:v>0.3333333333333333</c:v>
                </c:pt>
                <c:pt idx="46">
                  <c:v>0.16666666666666666</c:v>
                </c:pt>
                <c:pt idx="47">
                  <c:v>0.25</c:v>
                </c:pt>
                <c:pt idx="48">
                  <c:v>0.3333333333333333</c:v>
                </c:pt>
                <c:pt idx="49">
                  <c:v>0.25</c:v>
                </c:pt>
                <c:pt idx="50">
                  <c:v>0.2777777777777778</c:v>
                </c:pt>
                <c:pt idx="51">
                  <c:v>0.222222222222222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37.4390815451957</c:v>
                </c:pt>
              </c:numCache>
            </c:numRef>
          </c:xVal>
          <c:yVal>
            <c:numRef>
              <c:f>Sheet1!$B$163:$B$164</c:f>
              <c:numCache>
                <c:formatCode>General</c:formatCode>
                <c:ptCount val="2"/>
                <c:pt idx="0">
                  <c:v>0.5531828214520522</c:v>
                </c:pt>
                <c:pt idx="1">
                  <c:v>0.55318282145205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37.4390815451957</c:v>
                </c:pt>
                <c:pt idx="1">
                  <c:v>-1137.4390815451957</c:v>
                </c:pt>
              </c:numCache>
            </c:numRef>
          </c:xVal>
          <c:yVal>
            <c:numRef>
              <c:f>Sheet1!$B$167:$B$168</c:f>
              <c:numCache>
                <c:formatCode>General</c:formatCode>
                <c:ptCount val="2"/>
                <c:pt idx="0">
                  <c:v>0.55318282145205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1.800854834863</c:v>
                </c:pt>
              </c:numCache>
            </c:numRef>
          </c:xVal>
          <c:yVal>
            <c:numRef>
              <c:f>Sheet1!$B$171:$B$172</c:f>
              <c:numCache>
                <c:formatCode>General</c:formatCode>
                <c:ptCount val="2"/>
                <c:pt idx="0">
                  <c:v>0.3346194201586358</c:v>
                </c:pt>
                <c:pt idx="1">
                  <c:v>0.33461942015863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1.800854834863</c:v>
                </c:pt>
                <c:pt idx="1">
                  <c:v>1031.800854834863</c:v>
                </c:pt>
              </c:numCache>
            </c:numRef>
          </c:xVal>
          <c:yVal>
            <c:numRef>
              <c:f>Sheet1!$B$175:$B$176</c:f>
              <c:numCache>
                <c:formatCode>General</c:formatCode>
                <c:ptCount val="2"/>
                <c:pt idx="0">
                  <c:v>0.33461942015863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28.3672023165864</c:v>
                </c:pt>
              </c:numCache>
            </c:numRef>
          </c:xVal>
          <c:yVal>
            <c:numRef>
              <c:f>Sheet1!$B$179:$B$180</c:f>
              <c:numCache>
                <c:formatCode>General</c:formatCode>
                <c:ptCount val="2"/>
                <c:pt idx="0">
                  <c:v>0.2241340530814215</c:v>
                </c:pt>
                <c:pt idx="1">
                  <c:v>0.22413405308142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28.3672023165864</c:v>
                </c:pt>
                <c:pt idx="1">
                  <c:v>2128.3672023165864</c:v>
                </c:pt>
              </c:numCache>
            </c:numRef>
          </c:xVal>
          <c:yVal>
            <c:numRef>
              <c:f>Sheet1!$B$183:$B$184</c:f>
              <c:numCache>
                <c:formatCode>General</c:formatCode>
                <c:ptCount val="2"/>
                <c:pt idx="0">
                  <c:v>0.2241340530814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86.5</c:v>
                </c:pt>
                <c:pt idx="1">
                  <c:v>1213.0</c:v>
                </c:pt>
                <c:pt idx="2">
                  <c:v>1249.0</c:v>
                </c:pt>
                <c:pt idx="3">
                  <c:v>1865.0</c:v>
                </c:pt>
                <c:pt idx="4">
                  <c:v>1355.2</c:v>
                </c:pt>
                <c:pt idx="5">
                  <c:v>1607.0</c:v>
                </c:pt>
                <c:pt idx="6">
                  <c:v>1397.25</c:v>
                </c:pt>
                <c:pt idx="7">
                  <c:v>1585.0</c:v>
                </c:pt>
                <c:pt idx="8">
                  <c:v>1623.0</c:v>
                </c:pt>
                <c:pt idx="9">
                  <c:v>1314.5</c:v>
                </c:pt>
                <c:pt idx="10">
                  <c:v>1420.6</c:v>
                </c:pt>
                <c:pt idx="11">
                  <c:v>1383.0</c:v>
                </c:pt>
                <c:pt idx="12">
                  <c:v>1268.2</c:v>
                </c:pt>
                <c:pt idx="13">
                  <c:v>1533.75</c:v>
                </c:pt>
                <c:pt idx="14">
                  <c:v>1252.4</c:v>
                </c:pt>
                <c:pt idx="15">
                  <c:v>1499.5</c:v>
                </c:pt>
                <c:pt idx="16">
                  <c:v>1668.0</c:v>
                </c:pt>
                <c:pt idx="17">
                  <c:v>1524.5</c:v>
                </c:pt>
                <c:pt idx="18">
                  <c:v>2392.0</c:v>
                </c:pt>
                <c:pt idx="19">
                  <c:v>1513.0</c:v>
                </c:pt>
                <c:pt idx="20">
                  <c:v>1527.0</c:v>
                </c:pt>
                <c:pt idx="21">
                  <c:v>1314.0</c:v>
                </c:pt>
                <c:pt idx="22">
                  <c:v>2477.0</c:v>
                </c:pt>
                <c:pt idx="23">
                  <c:v>1864.0</c:v>
                </c:pt>
                <c:pt idx="24">
                  <c:v>2442.0</c:v>
                </c:pt>
                <c:pt idx="25">
                  <c:v>1814.0</c:v>
                </c:pt>
                <c:pt idx="26">
                  <c:v>1779.0</c:v>
                </c:pt>
                <c:pt idx="27">
                  <c:v>1385.5</c:v>
                </c:pt>
                <c:pt idx="28">
                  <c:v>1408.0</c:v>
                </c:pt>
                <c:pt idx="29">
                  <c:v>2443.0</c:v>
                </c:pt>
                <c:pt idx="30">
                  <c:v>2467.0</c:v>
                </c:pt>
                <c:pt idx="31">
                  <c:v>2415.0</c:v>
                </c:pt>
                <c:pt idx="32">
                  <c:v>1437.0</c:v>
                </c:pt>
                <c:pt idx="33">
                  <c:v>1513.5</c:v>
                </c:pt>
                <c:pt idx="34">
                  <c:v>1549.6667</c:v>
                </c:pt>
                <c:pt idx="35">
                  <c:v>1714.5</c:v>
                </c:pt>
                <c:pt idx="36">
                  <c:v>1611.0</c:v>
                </c:pt>
                <c:pt idx="37">
                  <c:v>1607.0</c:v>
                </c:pt>
                <c:pt idx="38">
                  <c:v>1496.0</c:v>
                </c:pt>
                <c:pt idx="39">
                  <c:v>2208.0</c:v>
                </c:pt>
                <c:pt idx="40">
                  <c:v>1756.0</c:v>
                </c:pt>
                <c:pt idx="41">
                  <c:v>1510.5</c:v>
                </c:pt>
                <c:pt idx="42">
                  <c:v>1519.0</c:v>
                </c:pt>
                <c:pt idx="43">
                  <c:v>1678.5</c:v>
                </c:pt>
                <c:pt idx="44">
                  <c:v>1054.0</c:v>
                </c:pt>
                <c:pt idx="45">
                  <c:v>1538.0</c:v>
                </c:pt>
                <c:pt idx="46">
                  <c:v>1777.0</c:v>
                </c:pt>
                <c:pt idx="47">
                  <c:v>1996.0</c:v>
                </c:pt>
                <c:pt idx="48">
                  <c:v>1647.5</c:v>
                </c:pt>
                <c:pt idx="49">
                  <c:v>1511.3333</c:v>
                </c:pt>
                <c:pt idx="50">
                  <c:v>1248.0</c:v>
                </c:pt>
                <c:pt idx="51">
                  <c:v>1036.5</c:v>
                </c:pt>
                <c:pt idx="52">
                  <c:v>1031.800854834863</c:v>
                </c:pt>
                <c:pt idx="53">
                  <c:v>-1137.4390815451957</c:v>
                </c:pt>
                <c:pt idx="54">
                  <c:v>2128.3672023165864</c:v>
                </c:pt>
              </c:numCache>
            </c:numRef>
          </c:xVal>
          <c:yVal>
            <c:numRef>
              <c:f>Sheet1!$B$187:$B$241</c:f>
              <c:numCache>
                <c:formatCode>General</c:formatCode>
                <c:ptCount val="55"/>
                <c:pt idx="0">
                  <c:v>0.288805865804504</c:v>
                </c:pt>
                <c:pt idx="1">
                  <c:v>0.3163625640061345</c:v>
                </c:pt>
                <c:pt idx="2">
                  <c:v>0.31273535693023435</c:v>
                </c:pt>
                <c:pt idx="3">
                  <c:v>0.25066981363149804</c:v>
                </c:pt>
                <c:pt idx="4">
                  <c:v>0.30203509605632883</c:v>
                </c:pt>
                <c:pt idx="5">
                  <c:v>0.27666479767544927</c:v>
                </c:pt>
                <c:pt idx="6">
                  <c:v>0.2977983166801732</c:v>
                </c:pt>
                <c:pt idx="7">
                  <c:v>0.2788814242218327</c:v>
                </c:pt>
                <c:pt idx="8">
                  <c:v>0.27505270564171586</c:v>
                </c:pt>
                <c:pt idx="9">
                  <c:v>0.30613585516713815</c:v>
                </c:pt>
                <c:pt idx="10">
                  <c:v>0.2954456698684435</c:v>
                </c:pt>
                <c:pt idx="11">
                  <c:v>0.299234086147717</c:v>
                </c:pt>
                <c:pt idx="12">
                  <c:v>0.31080084648975426</c:v>
                </c:pt>
                <c:pt idx="13">
                  <c:v>0.28404515651738504</c:v>
                </c:pt>
                <c:pt idx="14">
                  <c:v>0.31239278737306597</c:v>
                </c:pt>
                <c:pt idx="15">
                  <c:v>0.28749604102709564</c:v>
                </c:pt>
                <c:pt idx="16">
                  <c:v>0.27051869679684065</c:v>
                </c:pt>
                <c:pt idx="17">
                  <c:v>0.28497714722438716</c:v>
                </c:pt>
                <c:pt idx="18">
                  <c:v>0.19757153227040383</c:v>
                </c:pt>
                <c:pt idx="19">
                  <c:v>0.2861358383736331</c:v>
                </c:pt>
                <c:pt idx="20">
                  <c:v>0.28472525784411634</c:v>
                </c:pt>
                <c:pt idx="21">
                  <c:v>0.30618623304319237</c:v>
                </c:pt>
                <c:pt idx="22">
                  <c:v>0.1890072933411951</c:v>
                </c:pt>
                <c:pt idx="23">
                  <c:v>0.25077056938360637</c:v>
                </c:pt>
                <c:pt idx="24">
                  <c:v>0.19253374466498693</c:v>
                </c:pt>
                <c:pt idx="25">
                  <c:v>0.25580835698902327</c:v>
                </c:pt>
                <c:pt idx="26">
                  <c:v>0.2593348083128151</c:v>
                </c:pt>
                <c:pt idx="27">
                  <c:v>0.2989821967674462</c:v>
                </c:pt>
                <c:pt idx="28">
                  <c:v>0.29671519234500854</c:v>
                </c:pt>
                <c:pt idx="29">
                  <c:v>0.1924329889128786</c:v>
                </c:pt>
                <c:pt idx="30">
                  <c:v>0.19001485086227848</c:v>
                </c:pt>
                <c:pt idx="31">
                  <c:v>0.19525414997191207</c:v>
                </c:pt>
                <c:pt idx="32">
                  <c:v>0.29379327553386675</c:v>
                </c:pt>
                <c:pt idx="33">
                  <c:v>0.2860854604975789</c:v>
                </c:pt>
                <c:pt idx="34">
                  <c:v>0.28244145743780225</c:v>
                </c:pt>
                <c:pt idx="35">
                  <c:v>0.26583355432380296</c:v>
                </c:pt>
                <c:pt idx="36">
                  <c:v>0.27626177466701596</c:v>
                </c:pt>
                <c:pt idx="37">
                  <c:v>0.27666479767544927</c:v>
                </c:pt>
                <c:pt idx="38">
                  <c:v>0.2878486861594748</c:v>
                </c:pt>
                <c:pt idx="39">
                  <c:v>0.21611059065833804</c:v>
                </c:pt>
                <c:pt idx="40">
                  <c:v>0.2616521906113069</c:v>
                </c:pt>
                <c:pt idx="41">
                  <c:v>0.2863877277539039</c:v>
                </c:pt>
                <c:pt idx="42">
                  <c:v>0.285531303860983</c:v>
                </c:pt>
                <c:pt idx="43">
                  <c:v>0.2694607613997031</c:v>
                </c:pt>
                <c:pt idx="44">
                  <c:v>0.33238272859136025</c:v>
                </c:pt>
                <c:pt idx="45">
                  <c:v>0.2836169445709246</c:v>
                </c:pt>
                <c:pt idx="46">
                  <c:v>0.2595363198170318</c:v>
                </c:pt>
                <c:pt idx="47">
                  <c:v>0.23747081010530574</c:v>
                </c:pt>
                <c:pt idx="48">
                  <c:v>0.2725841897150616</c:v>
                </c:pt>
                <c:pt idx="49">
                  <c:v>0.28630376798567203</c:v>
                </c:pt>
                <c:pt idx="50">
                  <c:v>0.3128361126823427</c:v>
                </c:pt>
                <c:pt idx="51">
                  <c:v>0.3341459542532562</c:v>
                </c:pt>
                <c:pt idx="52">
                  <c:v>0.3346194201586358</c:v>
                </c:pt>
                <c:pt idx="53">
                  <c:v>0.5531828214520522</c:v>
                </c:pt>
                <c:pt idx="54">
                  <c:v>0.224134053081421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7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9999999999999"/>
          <c:min val="0.0421052631578947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9</c:f>
              <c:numCache>
                <c:formatCode>General</c:formatCode>
                <c:ptCount val="13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pt idx="116">
                  <c:v>0.0</c:v>
                </c:pt>
                <c:pt idx="117">
                  <c:v>0.0</c:v>
                </c:pt>
                <c:pt idx="118">
                  <c:v>0.0</c:v>
                </c:pt>
                <c:pt idx="119">
                  <c:v>0.0</c:v>
                </c:pt>
                <c:pt idx="120">
                  <c:v>0.0</c:v>
                </c:pt>
                <c:pt idx="121">
                  <c:v>0.0</c:v>
                </c:pt>
                <c:pt idx="122">
                  <c:v>0.0</c:v>
                </c:pt>
                <c:pt idx="123">
                  <c:v>0.0</c:v>
                </c:pt>
                <c:pt idx="124">
                  <c:v>0.0</c:v>
                </c:pt>
                <c:pt idx="125">
                  <c:v>0.0</c:v>
                </c:pt>
                <c:pt idx="126">
                  <c:v>0.0</c:v>
                </c:pt>
                <c:pt idx="127">
                  <c:v>0.0</c:v>
                </c:pt>
                <c:pt idx="128">
                  <c:v>0.0</c:v>
                </c:pt>
                <c:pt idx="129">
                  <c:v>0.0</c:v>
                </c:pt>
                <c:pt idx="130">
                  <c:v>0.0</c:v>
                </c:pt>
                <c:pt idx="131">
                  <c:v>0.0</c:v>
                </c:pt>
                <c:pt idx="132">
                  <c:v>0.0</c:v>
                </c:pt>
                <c:pt idx="133">
                  <c:v>0.0</c:v>
                </c:pt>
                <c:pt idx="134">
                  <c:v>0.0</c:v>
                </c:pt>
                <c:pt idx="135">
                  <c:v>0.0</c:v>
                </c:pt>
                <c:pt idx="136">
                  <c:v>0.0</c:v>
                </c:pt>
                <c:pt idx="137">
                  <c:v>0.0</c:v>
                </c:pt>
              </c:numCache>
            </c:numRef>
          </c:xVal>
          <c:yVal>
            <c:numRef>
              <c:f>Sheet1!$B$2:$B$139</c:f>
              <c:numCache>
                <c:formatCode>General</c:formatCode>
                <c:ptCount val="138"/>
                <c:pt idx="0">
                  <c:v>0.5142857142857142</c:v>
                </c:pt>
                <c:pt idx="1">
                  <c:v>0.42857142857142855</c:v>
                </c:pt>
                <c:pt idx="2">
                  <c:v>0.48</c:v>
                </c:pt>
                <c:pt idx="3">
                  <c:v>0.4583333333333333</c:v>
                </c:pt>
                <c:pt idx="4">
                  <c:v>0.5</c:v>
                </c:pt>
                <c:pt idx="5">
                  <c:v>0.38095238095238093</c:v>
                </c:pt>
                <c:pt idx="6">
                  <c:v>0.34782608695652173</c:v>
                </c:pt>
                <c:pt idx="7">
                  <c:v>0.45</c:v>
                </c:pt>
                <c:pt idx="8">
                  <c:v>0.4375</c:v>
                </c:pt>
                <c:pt idx="9">
                  <c:v>0.4</c:v>
                </c:pt>
                <c:pt idx="10">
                  <c:v>0.3888888888888889</c:v>
                </c:pt>
                <c:pt idx="11">
                  <c:v>0.45</c:v>
                </c:pt>
                <c:pt idx="12">
                  <c:v>0.55</c:v>
                </c:pt>
                <c:pt idx="13">
                  <c:v>0.5</c:v>
                </c:pt>
                <c:pt idx="14">
                  <c:v>0.5</c:v>
                </c:pt>
                <c:pt idx="15">
                  <c:v>0.47058823529411764</c:v>
                </c:pt>
                <c:pt idx="16">
                  <c:v>0.4666666666666667</c:v>
                </c:pt>
                <c:pt idx="17">
                  <c:v>0.3333333333333333</c:v>
                </c:pt>
                <c:pt idx="18">
                  <c:v>0.6</c:v>
                </c:pt>
                <c:pt idx="19">
                  <c:v>0.55</c:v>
                </c:pt>
                <c:pt idx="20">
                  <c:v>0.5384615384615384</c:v>
                </c:pt>
                <c:pt idx="21">
                  <c:v>0.5625</c:v>
                </c:pt>
                <c:pt idx="22">
                  <c:v>0.6153846153846154</c:v>
                </c:pt>
                <c:pt idx="23">
                  <c:v>0.7142857142857143</c:v>
                </c:pt>
                <c:pt idx="24">
                  <c:v>0.7333333333333333</c:v>
                </c:pt>
                <c:pt idx="25">
                  <c:v>0.5833333333333334</c:v>
                </c:pt>
                <c:pt idx="26">
                  <c:v>0.4666666666666667</c:v>
                </c:pt>
                <c:pt idx="27">
                  <c:v>0.45454545454545453</c:v>
                </c:pt>
                <c:pt idx="28">
                  <c:v>0.4444444444444444</c:v>
                </c:pt>
                <c:pt idx="29">
                  <c:v>0.5</c:v>
                </c:pt>
                <c:pt idx="30">
                  <c:v>0.7142857142857143</c:v>
                </c:pt>
                <c:pt idx="31">
                  <c:v>0.2857142857142857</c:v>
                </c:pt>
                <c:pt idx="32">
                  <c:v>0.5714285714285714</c:v>
                </c:pt>
                <c:pt idx="33">
                  <c:v>0.625</c:v>
                </c:pt>
                <c:pt idx="34">
                  <c:v>0.5</c:v>
                </c:pt>
                <c:pt idx="35">
                  <c:v>0.3333333333333333</c:v>
                </c:pt>
                <c:pt idx="36">
                  <c:v>0.10714285714285714</c:v>
                </c:pt>
                <c:pt idx="37">
                  <c:v>0.25806451612903225</c:v>
                </c:pt>
                <c:pt idx="38">
                  <c:v>0.2571428571428571</c:v>
                </c:pt>
                <c:pt idx="39">
                  <c:v>0.21621621621621623</c:v>
                </c:pt>
                <c:pt idx="40">
                  <c:v>0.23076923076923078</c:v>
                </c:pt>
                <c:pt idx="41">
                  <c:v>0.32142857142857145</c:v>
                </c:pt>
                <c:pt idx="42">
                  <c:v>0.39473684210526316</c:v>
                </c:pt>
                <c:pt idx="43">
                  <c:v>0.39285714285714285</c:v>
                </c:pt>
                <c:pt idx="44">
                  <c:v>0.28</c:v>
                </c:pt>
                <c:pt idx="45">
                  <c:v>0.4</c:v>
                </c:pt>
                <c:pt idx="46">
                  <c:v>0.36363636363636365</c:v>
                </c:pt>
                <c:pt idx="47">
                  <c:v>0.4117647058823529</c:v>
                </c:pt>
                <c:pt idx="48">
                  <c:v>0.3684210526315789</c:v>
                </c:pt>
                <c:pt idx="49">
                  <c:v>0.30434782608695654</c:v>
                </c:pt>
                <c:pt idx="50">
                  <c:v>0.2857142857142857</c:v>
                </c:pt>
                <c:pt idx="51">
                  <c:v>0.25925925925925924</c:v>
                </c:pt>
                <c:pt idx="52">
                  <c:v>0.23333333333333334</c:v>
                </c:pt>
                <c:pt idx="53">
                  <c:v>0.22448979591836735</c:v>
                </c:pt>
                <c:pt idx="54">
                  <c:v>0.30434782608695654</c:v>
                </c:pt>
                <c:pt idx="55">
                  <c:v>0.34782608695652173</c:v>
                </c:pt>
                <c:pt idx="56">
                  <c:v>0.28125</c:v>
                </c:pt>
                <c:pt idx="57">
                  <c:v>0.25</c:v>
                </c:pt>
                <c:pt idx="58">
                  <c:v>0.30434782608695654</c:v>
                </c:pt>
                <c:pt idx="59">
                  <c:v>0.35</c:v>
                </c:pt>
                <c:pt idx="60">
                  <c:v>0.2857142857142857</c:v>
                </c:pt>
                <c:pt idx="61">
                  <c:v>0.30434782608695654</c:v>
                </c:pt>
                <c:pt idx="62">
                  <c:v>0.3333333333333333</c:v>
                </c:pt>
                <c:pt idx="63">
                  <c:v>0.25</c:v>
                </c:pt>
                <c:pt idx="64">
                  <c:v>0.23076923076923078</c:v>
                </c:pt>
                <c:pt idx="65">
                  <c:v>0.35714285714285715</c:v>
                </c:pt>
                <c:pt idx="66">
                  <c:v>0.3076923076923077</c:v>
                </c:pt>
                <c:pt idx="67">
                  <c:v>0.3076923076923077</c:v>
                </c:pt>
                <c:pt idx="68">
                  <c:v>0.4</c:v>
                </c:pt>
                <c:pt idx="69">
                  <c:v>0.2727272727272727</c:v>
                </c:pt>
                <c:pt idx="70">
                  <c:v>0.125</c:v>
                </c:pt>
                <c:pt idx="71">
                  <c:v>0.2222222222222222</c:v>
                </c:pt>
                <c:pt idx="72">
                  <c:v>0.25</c:v>
                </c:pt>
                <c:pt idx="73">
                  <c:v>0.42857142857142855</c:v>
                </c:pt>
                <c:pt idx="74">
                  <c:v>0.2</c:v>
                </c:pt>
                <c:pt idx="75">
                  <c:v>0.5</c:v>
                </c:pt>
                <c:pt idx="76">
                  <c:v>0.3</c:v>
                </c:pt>
                <c:pt idx="77">
                  <c:v>0.2727272727272727</c:v>
                </c:pt>
                <c:pt idx="78">
                  <c:v>0.3333333333333333</c:v>
                </c:pt>
                <c:pt idx="79">
                  <c:v>0.16666666666666666</c:v>
                </c:pt>
                <c:pt idx="80">
                  <c:v>0.2727272727272727</c:v>
                </c:pt>
                <c:pt idx="81">
                  <c:v>0.3333333333333333</c:v>
                </c:pt>
                <c:pt idx="82">
                  <c:v>0.2727272727272727</c:v>
                </c:pt>
                <c:pt idx="83">
                  <c:v>0.125</c:v>
                </c:pt>
                <c:pt idx="84">
                  <c:v>0.5</c:v>
                </c:pt>
                <c:pt idx="85">
                  <c:v>0.25</c:v>
                </c:pt>
                <c:pt idx="86">
                  <c:v>0.23076923076923078</c:v>
                </c:pt>
                <c:pt idx="87">
                  <c:v>0.25</c:v>
                </c:pt>
                <c:pt idx="88">
                  <c:v>0.45</c:v>
                </c:pt>
                <c:pt idx="89">
                  <c:v>0.36363636363636365</c:v>
                </c:pt>
                <c:pt idx="90">
                  <c:v>0.3793103448275862</c:v>
                </c:pt>
                <c:pt idx="91">
                  <c:v>0.35294117647058826</c:v>
                </c:pt>
                <c:pt idx="92">
                  <c:v>0.2857142857142857</c:v>
                </c:pt>
                <c:pt idx="93">
                  <c:v>0.3333333333333333</c:v>
                </c:pt>
                <c:pt idx="94">
                  <c:v>0.2727272727272727</c:v>
                </c:pt>
                <c:pt idx="95">
                  <c:v>0.36363636363636365</c:v>
                </c:pt>
                <c:pt idx="96">
                  <c:v>0.3333333333333333</c:v>
                </c:pt>
                <c:pt idx="97">
                  <c:v>0.3888888888888889</c:v>
                </c:pt>
                <c:pt idx="98">
                  <c:v>0.23529411764705882</c:v>
                </c:pt>
                <c:pt idx="99">
                  <c:v>0.2</c:v>
                </c:pt>
                <c:pt idx="100">
                  <c:v>0.3125</c:v>
                </c:pt>
                <c:pt idx="101">
                  <c:v>0.36363636363636365</c:v>
                </c:pt>
                <c:pt idx="102">
                  <c:v>0.21428571428571427</c:v>
                </c:pt>
                <c:pt idx="103">
                  <c:v>0.6</c:v>
                </c:pt>
                <c:pt idx="104">
                  <c:v>0.4166666666666667</c:v>
                </c:pt>
                <c:pt idx="105">
                  <c:v>0.3333333333333333</c:v>
                </c:pt>
                <c:pt idx="106">
                  <c:v>0.45454545454545453</c:v>
                </c:pt>
                <c:pt idx="107">
                  <c:v>0.3076923076923077</c:v>
                </c:pt>
                <c:pt idx="108">
                  <c:v>0.38461538461538464</c:v>
                </c:pt>
                <c:pt idx="109">
                  <c:v>0.25</c:v>
                </c:pt>
                <c:pt idx="110">
                  <c:v>0.2857142857142857</c:v>
                </c:pt>
                <c:pt idx="111">
                  <c:v>0.2222222222222222</c:v>
                </c:pt>
                <c:pt idx="112">
                  <c:v>0.2</c:v>
                </c:pt>
                <c:pt idx="113">
                  <c:v>0.5</c:v>
                </c:pt>
                <c:pt idx="114">
                  <c:v>0.25</c:v>
                </c:pt>
                <c:pt idx="115">
                  <c:v>0.3333333333333333</c:v>
                </c:pt>
                <c:pt idx="116">
                  <c:v>0.2</c:v>
                </c:pt>
                <c:pt idx="117">
                  <c:v>0.25</c:v>
                </c:pt>
                <c:pt idx="118">
                  <c:v>0.2</c:v>
                </c:pt>
                <c:pt idx="119">
                  <c:v>0.16666666666666666</c:v>
                </c:pt>
                <c:pt idx="120">
                  <c:v>0.14285714285714285</c:v>
                </c:pt>
                <c:pt idx="121">
                  <c:v>0.2222222222222222</c:v>
                </c:pt>
                <c:pt idx="122">
                  <c:v>0.2</c:v>
                </c:pt>
                <c:pt idx="123">
                  <c:v>0.09090909090909091</c:v>
                </c:pt>
                <c:pt idx="124">
                  <c:v>0.3333333333333333</c:v>
                </c:pt>
                <c:pt idx="125">
                  <c:v>0.2222222222222222</c:v>
                </c:pt>
                <c:pt idx="126">
                  <c:v>0.2857142857142857</c:v>
                </c:pt>
                <c:pt idx="127">
                  <c:v>0.3333333333333333</c:v>
                </c:pt>
                <c:pt idx="128">
                  <c:v>0.3333333333333333</c:v>
                </c:pt>
                <c:pt idx="129">
                  <c:v>0.2</c:v>
                </c:pt>
                <c:pt idx="130">
                  <c:v>0.25</c:v>
                </c:pt>
                <c:pt idx="131">
                  <c:v>0.16666666666666666</c:v>
                </c:pt>
                <c:pt idx="132">
                  <c:v>0.05263157894736842</c:v>
                </c:pt>
                <c:pt idx="133">
                  <c:v>0.1111111111111111</c:v>
                </c:pt>
                <c:pt idx="134">
                  <c:v>0.25</c:v>
                </c:pt>
                <c:pt idx="135">
                  <c:v>0.3333333333333333</c:v>
                </c:pt>
                <c:pt idx="136">
                  <c:v>0.3333333333333333</c:v>
                </c:pt>
                <c:pt idx="137">
                  <c:v>0.25</c:v>
                </c:pt>
              </c:numCache>
            </c:numRef>
          </c:yVal>
          <c:smooth val="0"/>
          <c:extLst>
            <c:ext xmlns:c16="http://schemas.microsoft.com/office/drawing/2014/chart" uri="{C3380CC4-5D6E-409C-BE32-E72D297353CC}">
              <c16:uniqueId val="{00000000-096C-4121-9522-6AB7243CCAAE}"/>
            </c:ext>
          </c:extLst>
        </c:ser>
        <c:ser>
          <c:idx val="1"/>
          <c:order val="1"/>
          <c:tx>
            <c:strRef>
              <c:f>Sheet1!$B$14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2:$A$149</c:f>
              <c:numCache>
                <c:formatCode>General</c:formatCode>
                <c:ptCount val="8"/>
                <c:pt idx="0">
                  <c:v>0.29661742667523017</c:v>
                </c:pt>
                <c:pt idx="1">
                  <c:v>0.26960102644398054</c:v>
                </c:pt>
                <c:pt idx="2">
                  <c:v>0.259861932938856</c:v>
                </c:pt>
                <c:pt idx="3">
                  <c:v>0.2172009603163395</c:v>
                </c:pt>
                <c:pt idx="4">
                  <c:v>0.4561088295687885</c:v>
                </c:pt>
                <c:pt idx="5">
                  <c:v>0.3789633567495728</c:v>
                </c:pt>
                <c:pt idx="6">
                  <c:v>0.2859106529209622</c:v>
                </c:pt>
                <c:pt idx="7">
                  <c:v>0.2727631578947368</c:v>
                </c:pt>
              </c:numCache>
            </c:numRef>
          </c:xVal>
          <c:yVal>
            <c:numRef>
              <c:f>Sheet1!$B$142:$B$149</c:f>
              <c:numCache>
                <c:formatCode>General</c:formatCode>
                <c:ptCount val="8"/>
                <c:pt idx="0">
                  <c:v>0.2857142857142857</c:v>
                </c:pt>
                <c:pt idx="1">
                  <c:v>0.2727272727272727</c:v>
                </c:pt>
                <c:pt idx="2">
                  <c:v>0.16666666666666666</c:v>
                </c:pt>
                <c:pt idx="3">
                  <c:v>0.3333333333333333</c:v>
                </c:pt>
                <c:pt idx="4">
                  <c:v>0.16666666666666666</c:v>
                </c:pt>
                <c:pt idx="5">
                  <c:v>0.25</c:v>
                </c:pt>
                <c:pt idx="6">
                  <c:v>0.2777777777777778</c:v>
                </c:pt>
                <c:pt idx="7">
                  <c:v>0.2222222222222222</c:v>
                </c:pt>
              </c:numCache>
            </c:numRef>
          </c:yVal>
          <c:smooth val="0"/>
          <c:extLst>
            <c:ext xmlns:c16="http://schemas.microsoft.com/office/drawing/2014/chart" uri="{C3380CC4-5D6E-409C-BE32-E72D297353CC}">
              <c16:uniqueId val="{00000002-096C-4121-9522-6AB7243CCAAE}"/>
            </c:ext>
          </c:extLst>
        </c:ser>
        <c:ser>
          <c:idx val="2"/>
          <c:order val="2"/>
          <c:tx>
            <c:strRef>
              <c:f>Sheet1!$B$1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2:$A$153</c:f>
              <c:numCache>
                <c:formatCode>General</c:formatCode>
                <c:ptCount val="2"/>
                <c:pt idx="0">
                  <c:v>0</c:v>
                </c:pt>
                <c:pt idx="1">
                  <c:v>-0.4361551024988547</c:v>
                </c:pt>
              </c:numCache>
            </c:numRef>
          </c:xVal>
          <c:yVal>
            <c:numRef>
              <c:f>Sheet1!$B$152:$B$153</c:f>
              <c:numCache>
                <c:formatCode>General</c:formatCode>
                <c:ptCount val="2"/>
                <c:pt idx="0">
                  <c:v>0.5538268444518445</c:v>
                </c:pt>
                <c:pt idx="1">
                  <c:v>0.5538268444518445</c:v>
                </c:pt>
              </c:numCache>
            </c:numRef>
          </c:yVal>
          <c:smooth val="0"/>
          <c:extLst>
            <c:ext xmlns:c16="http://schemas.microsoft.com/office/drawing/2014/chart" uri="{C3380CC4-5D6E-409C-BE32-E72D297353CC}">
              <c16:uniqueId val="{00000005-096C-4121-9522-6AB7243CCAAE}"/>
            </c:ext>
          </c:extLst>
        </c:ser>
        <c:ser>
          <c:idx val="3"/>
          <c:order val="3"/>
          <c:tx>
            <c:strRef>
              <c:f>Sheet1!$B$1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361551024988547</c:v>
                </c:pt>
                <c:pt idx="1">
                  <c:v>-0.4361551024988547</c:v>
                </c:pt>
              </c:numCache>
            </c:numRef>
          </c:xVal>
          <c:yVal>
            <c:numRef>
              <c:f>Sheet1!$B$156:$B$157</c:f>
              <c:numCache>
                <c:formatCode>General</c:formatCode>
                <c:ptCount val="2"/>
                <c:pt idx="0">
                  <c:v>0.55382684445184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0:$A$161</c:f>
              <c:numCache>
                <c:formatCode>General</c:formatCode>
                <c:ptCount val="2"/>
                <c:pt idx="0">
                  <c:v>0</c:v>
                </c:pt>
                <c:pt idx="1">
                  <c:v>0.09289337025089862</c:v>
                </c:pt>
              </c:numCache>
            </c:numRef>
          </c:xVal>
          <c:yVal>
            <c:numRef>
              <c:f>Sheet1!$B$160:$B$161</c:f>
              <c:numCache>
                <c:formatCode>General</c:formatCode>
                <c:ptCount val="2"/>
                <c:pt idx="0">
                  <c:v>0.3346194201586358</c:v>
                </c:pt>
                <c:pt idx="1">
                  <c:v>0.3346194201586358</c:v>
                </c:pt>
              </c:numCache>
            </c:numRef>
          </c:yVal>
          <c:smooth val="0"/>
          <c:extLst>
            <c:ext xmlns:c16="http://schemas.microsoft.com/office/drawing/2014/chart" uri="{C3380CC4-5D6E-409C-BE32-E72D297353CC}">
              <c16:uniqueId val="{0000000D-096C-4121-9522-6AB7243CCAAE}"/>
            </c:ext>
          </c:extLst>
        </c:ser>
        <c:ser>
          <c:idx val="5"/>
          <c:order val="5"/>
          <c:tx>
            <c:strRef>
              <c:f>Sheet1!$B$1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09289337025089862</c:v>
                </c:pt>
                <c:pt idx="1">
                  <c:v>0.09289337025089862</c:v>
                </c:pt>
              </c:numCache>
            </c:numRef>
          </c:xVal>
          <c:yVal>
            <c:numRef>
              <c:f>Sheet1!$B$164:$B$165</c:f>
              <c:numCache>
                <c:formatCode>General</c:formatCode>
                <c:ptCount val="2"/>
                <c:pt idx="0">
                  <c:v>0.33461942015863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8:$A$169</c:f>
              <c:numCache>
                <c:formatCode>General</c:formatCode>
                <c:ptCount val="2"/>
                <c:pt idx="0">
                  <c:v>0</c:v>
                </c:pt>
                <c:pt idx="1">
                  <c:v>0.3595454460273624</c:v>
                </c:pt>
              </c:numCache>
            </c:numRef>
          </c:xVal>
          <c:yVal>
            <c:numRef>
              <c:f>Sheet1!$B$168:$B$169</c:f>
              <c:numCache>
                <c:formatCode>General</c:formatCode>
                <c:ptCount val="2"/>
                <c:pt idx="0">
                  <c:v>0.2241340530814215</c:v>
                </c:pt>
                <c:pt idx="1">
                  <c:v>0.2241340530814215</c:v>
                </c:pt>
              </c:numCache>
            </c:numRef>
          </c:yVal>
          <c:smooth val="0"/>
          <c:extLst>
            <c:ext xmlns:c16="http://schemas.microsoft.com/office/drawing/2014/chart" uri="{C3380CC4-5D6E-409C-BE32-E72D297353CC}">
              <c16:uniqueId val="{00000015-096C-4121-9522-6AB7243CCAAE}"/>
            </c:ext>
          </c:extLst>
        </c:ser>
        <c:ser>
          <c:idx val="7"/>
          <c:order val="7"/>
          <c:tx>
            <c:strRef>
              <c:f>Sheet1!$B$1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3595454460273624</c:v>
                </c:pt>
                <c:pt idx="1">
                  <c:v>0.3595454460273624</c:v>
                </c:pt>
              </c:numCache>
            </c:numRef>
          </c:xVal>
          <c:yVal>
            <c:numRef>
              <c:f>Sheet1!$B$172:$B$173</c:f>
              <c:numCache>
                <c:formatCode>General</c:formatCode>
                <c:ptCount val="2"/>
                <c:pt idx="0">
                  <c:v>0.2241340530814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6:$A$186</c:f>
              <c:numCache>
                <c:formatCode>General</c:formatCode>
                <c:ptCount val="11"/>
                <c:pt idx="0">
                  <c:v>0.29661742667523017</c:v>
                </c:pt>
                <c:pt idx="1">
                  <c:v>0.26960102644398054</c:v>
                </c:pt>
                <c:pt idx="2">
                  <c:v>0.259861932938856</c:v>
                </c:pt>
                <c:pt idx="3">
                  <c:v>0.2172009603163395</c:v>
                </c:pt>
                <c:pt idx="4">
                  <c:v>0.4561088295687885</c:v>
                </c:pt>
                <c:pt idx="5">
                  <c:v>0.3789633567495728</c:v>
                </c:pt>
                <c:pt idx="6">
                  <c:v>0.2859106529209622</c:v>
                </c:pt>
                <c:pt idx="7">
                  <c:v>0.2727631578947368</c:v>
                </c:pt>
                <c:pt idx="8">
                  <c:v>0.09289337025089862</c:v>
                </c:pt>
                <c:pt idx="9">
                  <c:v>-0.4361551024988547</c:v>
                </c:pt>
                <c:pt idx="10">
                  <c:v>0.3595454460273624</c:v>
                </c:pt>
              </c:numCache>
            </c:numRef>
          </c:xVal>
          <c:yVal>
            <c:numRef>
              <c:f>Sheet1!$B$176:$B$186</c:f>
              <c:numCache>
                <c:formatCode>General</c:formatCode>
                <c:ptCount val="11"/>
                <c:pt idx="0">
                  <c:v>0.25020782467054953</c:v>
                </c:pt>
                <c:pt idx="1">
                  <c:v>0.26140187552488015</c:v>
                </c:pt>
                <c:pt idx="2">
                  <c:v>0.26543719877439814</c:v>
                </c:pt>
                <c:pt idx="3">
                  <c:v>0.283113465521412</c:v>
                </c:pt>
                <c:pt idx="4">
                  <c:v>0.18412371059402205</c:v>
                </c:pt>
                <c:pt idx="5">
                  <c:v>0.21608838162820357</c:v>
                </c:pt>
                <c:pt idx="6">
                  <c:v>0.2546440992617312</c:v>
                </c:pt>
                <c:pt idx="7">
                  <c:v>0.26009166913302706</c:v>
                </c:pt>
                <c:pt idx="8">
                  <c:v>0.3346194201586358</c:v>
                </c:pt>
                <c:pt idx="9">
                  <c:v>0.5538268444518445</c:v>
                </c:pt>
                <c:pt idx="10">
                  <c:v>0.2241340530814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9999999999999"/>
          <c:min val="0.0421052631578947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868.9444</c:v>
                </c:pt>
                <c:pt idx="1">
                  <c:v>1073.25</c:v>
                </c:pt>
                <c:pt idx="2">
                  <c:v>1201.0833</c:v>
                </c:pt>
                <c:pt idx="3">
                  <c:v>1195.8182</c:v>
                </c:pt>
                <c:pt idx="4">
                  <c:v>1180.6429</c:v>
                </c:pt>
                <c:pt idx="5">
                  <c:v>1254.5</c:v>
                </c:pt>
                <c:pt idx="6">
                  <c:v>1191.625</c:v>
                </c:pt>
                <c:pt idx="7">
                  <c:v>1216.8889</c:v>
                </c:pt>
                <c:pt idx="8">
                  <c:v>1275.1429</c:v>
                </c:pt>
                <c:pt idx="9">
                  <c:v>1109.8</c:v>
                </c:pt>
                <c:pt idx="10">
                  <c:v>1283.1429</c:v>
                </c:pt>
                <c:pt idx="11">
                  <c:v>1166.4444</c:v>
                </c:pt>
                <c:pt idx="12">
                  <c:v>1170.8182</c:v>
                </c:pt>
                <c:pt idx="13">
                  <c:v>1169.8182</c:v>
                </c:pt>
                <c:pt idx="14">
                  <c:v>1143.375</c:v>
                </c:pt>
                <c:pt idx="15">
                  <c:v>1230.5</c:v>
                </c:pt>
                <c:pt idx="16">
                  <c:v>1147.1429</c:v>
                </c:pt>
                <c:pt idx="17">
                  <c:v>1402.3333</c:v>
                </c:pt>
                <c:pt idx="18">
                  <c:v>1078.8333</c:v>
                </c:pt>
                <c:pt idx="19">
                  <c:v>1016.0</c:v>
                </c:pt>
                <c:pt idx="20">
                  <c:v>978.1429</c:v>
                </c:pt>
                <c:pt idx="21">
                  <c:v>994.6667</c:v>
                </c:pt>
                <c:pt idx="22">
                  <c:v>1015.75</c:v>
                </c:pt>
                <c:pt idx="23">
                  <c:v>974.8</c:v>
                </c:pt>
                <c:pt idx="24">
                  <c:v>1004.3636</c:v>
                </c:pt>
                <c:pt idx="25">
                  <c:v>963.8571</c:v>
                </c:pt>
                <c:pt idx="26">
                  <c:v>1110.1429</c:v>
                </c:pt>
                <c:pt idx="27">
                  <c:v>1397.6</c:v>
                </c:pt>
                <c:pt idx="28">
                  <c:v>1173.0</c:v>
                </c:pt>
                <c:pt idx="29">
                  <c:v>1231.25</c:v>
                </c:pt>
                <c:pt idx="30">
                  <c:v>1340.6</c:v>
                </c:pt>
                <c:pt idx="31">
                  <c:v>1384.25</c:v>
                </c:pt>
                <c:pt idx="32">
                  <c:v>1323.75</c:v>
                </c:pt>
                <c:pt idx="33">
                  <c:v>1245.4</c:v>
                </c:pt>
                <c:pt idx="34">
                  <c:v>1444.8</c:v>
                </c:pt>
                <c:pt idx="35">
                  <c:v>1583.3333</c:v>
                </c:pt>
                <c:pt idx="36">
                  <c:v>1416.6667</c:v>
                </c:pt>
                <c:pt idx="37">
                  <c:v>1490.5</c:v>
                </c:pt>
                <c:pt idx="38">
                  <c:v>1498.7778</c:v>
                </c:pt>
                <c:pt idx="39">
                  <c:v>1550.5</c:v>
                </c:pt>
                <c:pt idx="40">
                  <c:v>1544.7778</c:v>
                </c:pt>
                <c:pt idx="41">
                  <c:v>1525.4444</c:v>
                </c:pt>
                <c:pt idx="42">
                  <c:v>1545.2</c:v>
                </c:pt>
                <c:pt idx="43">
                  <c:v>1552.1818</c:v>
                </c:pt>
                <c:pt idx="44">
                  <c:v>1704.8571</c:v>
                </c:pt>
                <c:pt idx="45">
                  <c:v>1453.25</c:v>
                </c:pt>
                <c:pt idx="46">
                  <c:v>1473.125</c:v>
                </c:pt>
                <c:pt idx="47">
                  <c:v>1701.2857</c:v>
                </c:pt>
                <c:pt idx="48">
                  <c:v>1497.4286</c:v>
                </c:pt>
                <c:pt idx="49">
                  <c:v>1597.5714</c:v>
                </c:pt>
                <c:pt idx="50">
                  <c:v>1693.125</c:v>
                </c:pt>
                <c:pt idx="51">
                  <c:v>1709.4286</c:v>
                </c:pt>
                <c:pt idx="52">
                  <c:v>1705.0</c:v>
                </c:pt>
                <c:pt idx="53">
                  <c:v>1598.3636</c:v>
                </c:pt>
                <c:pt idx="54">
                  <c:v>1582.1429</c:v>
                </c:pt>
                <c:pt idx="55">
                  <c:v>1583.75</c:v>
                </c:pt>
                <c:pt idx="56">
                  <c:v>1486.2222</c:v>
                </c:pt>
                <c:pt idx="57">
                  <c:v>1620.6667</c:v>
                </c:pt>
                <c:pt idx="58">
                  <c:v>1617.8571</c:v>
                </c:pt>
                <c:pt idx="59">
                  <c:v>1572.8571</c:v>
                </c:pt>
                <c:pt idx="60">
                  <c:v>1242.8333</c:v>
                </c:pt>
                <c:pt idx="61">
                  <c:v>1364.2857</c:v>
                </c:pt>
                <c:pt idx="62">
                  <c:v>1387.0</c:v>
                </c:pt>
                <c:pt idx="63">
                  <c:v>1356.0</c:v>
                </c:pt>
                <c:pt idx="64">
                  <c:v>1168.0</c:v>
                </c:pt>
                <c:pt idx="65">
                  <c:v>1303.8</c:v>
                </c:pt>
                <c:pt idx="66">
                  <c:v>1508.0</c:v>
                </c:pt>
                <c:pt idx="67">
                  <c:v>1331.0</c:v>
                </c:pt>
                <c:pt idx="68">
                  <c:v>737.3333</c:v>
                </c:pt>
                <c:pt idx="69">
                  <c:v>1479.0</c:v>
                </c:pt>
                <c:pt idx="70">
                  <c:v>2325.0</c:v>
                </c:pt>
                <c:pt idx="71">
                  <c:v>1709.5</c:v>
                </c:pt>
                <c:pt idx="72">
                  <c:v>1968.0</c:v>
                </c:pt>
                <c:pt idx="73">
                  <c:v>849.3333</c:v>
                </c:pt>
                <c:pt idx="74">
                  <c:v>1451.0</c:v>
                </c:pt>
                <c:pt idx="75">
                  <c:v>1205.75</c:v>
                </c:pt>
                <c:pt idx="76">
                  <c:v>1593.6667</c:v>
                </c:pt>
                <c:pt idx="77">
                  <c:v>1493.3333</c:v>
                </c:pt>
                <c:pt idx="78">
                  <c:v>1771.0</c:v>
                </c:pt>
                <c:pt idx="79">
                  <c:v>2057.0</c:v>
                </c:pt>
                <c:pt idx="80">
                  <c:v>1004.6667</c:v>
                </c:pt>
                <c:pt idx="81">
                  <c:v>1373.6667</c:v>
                </c:pt>
                <c:pt idx="82">
                  <c:v>1355.6667</c:v>
                </c:pt>
                <c:pt idx="83">
                  <c:v>2317.0</c:v>
                </c:pt>
                <c:pt idx="84">
                  <c:v>1245.0</c:v>
                </c:pt>
                <c:pt idx="85">
                  <c:v>1935.3333</c:v>
                </c:pt>
                <c:pt idx="86">
                  <c:v>1485.3333</c:v>
                </c:pt>
                <c:pt idx="87">
                  <c:v>1530.3333</c:v>
                </c:pt>
                <c:pt idx="88">
                  <c:v>1063.0</c:v>
                </c:pt>
                <c:pt idx="89">
                  <c:v>1328.875</c:v>
                </c:pt>
                <c:pt idx="90">
                  <c:v>1549.5455</c:v>
                </c:pt>
                <c:pt idx="91">
                  <c:v>1149.5</c:v>
                </c:pt>
                <c:pt idx="92">
                  <c:v>1466.75</c:v>
                </c:pt>
                <c:pt idx="93">
                  <c:v>1063.6</c:v>
                </c:pt>
                <c:pt idx="94">
                  <c:v>1898.3333</c:v>
                </c:pt>
              </c:numCache>
            </c:numRef>
          </c:xVal>
          <c:yVal>
            <c:numRef>
              <c:f>Sheet1!$B$2:$B$96</c:f>
              <c:numCache>
                <c:formatCode>General</c:formatCode>
                <c:ptCount val="95"/>
                <c:pt idx="0">
                  <c:v>0.5142857142857142</c:v>
                </c:pt>
                <c:pt idx="1">
                  <c:v>0.42857142857142855</c:v>
                </c:pt>
                <c:pt idx="2">
                  <c:v>0.48</c:v>
                </c:pt>
                <c:pt idx="3">
                  <c:v>0.4583333333333333</c:v>
                </c:pt>
                <c:pt idx="4">
                  <c:v>0.5</c:v>
                </c:pt>
                <c:pt idx="5">
                  <c:v>0.38095238095238093</c:v>
                </c:pt>
                <c:pt idx="6">
                  <c:v>0.34782608695652173</c:v>
                </c:pt>
                <c:pt idx="7">
                  <c:v>0.45</c:v>
                </c:pt>
                <c:pt idx="8">
                  <c:v>0.4375</c:v>
                </c:pt>
                <c:pt idx="9">
                  <c:v>0.4</c:v>
                </c:pt>
                <c:pt idx="10">
                  <c:v>0.3888888888888889</c:v>
                </c:pt>
                <c:pt idx="11">
                  <c:v>0.45</c:v>
                </c:pt>
                <c:pt idx="12">
                  <c:v>0.55</c:v>
                </c:pt>
                <c:pt idx="13">
                  <c:v>0.5</c:v>
                </c:pt>
                <c:pt idx="14">
                  <c:v>0.5</c:v>
                </c:pt>
                <c:pt idx="15">
                  <c:v>0.47058823529411764</c:v>
                </c:pt>
                <c:pt idx="16">
                  <c:v>0.4666666666666667</c:v>
                </c:pt>
                <c:pt idx="17">
                  <c:v>0.3333333333333333</c:v>
                </c:pt>
                <c:pt idx="18">
                  <c:v>0.6</c:v>
                </c:pt>
                <c:pt idx="19">
                  <c:v>0.55</c:v>
                </c:pt>
                <c:pt idx="20">
                  <c:v>0.5384615384615384</c:v>
                </c:pt>
                <c:pt idx="21">
                  <c:v>0.5625</c:v>
                </c:pt>
                <c:pt idx="22">
                  <c:v>0.6153846153846154</c:v>
                </c:pt>
                <c:pt idx="23">
                  <c:v>0.7142857142857143</c:v>
                </c:pt>
                <c:pt idx="24">
                  <c:v>0.7333333333333333</c:v>
                </c:pt>
                <c:pt idx="25">
                  <c:v>0.5833333333333334</c:v>
                </c:pt>
                <c:pt idx="26">
                  <c:v>0.4666666666666667</c:v>
                </c:pt>
                <c:pt idx="27">
                  <c:v>0.45454545454545453</c:v>
                </c:pt>
                <c:pt idx="28">
                  <c:v>0.4444444444444444</c:v>
                </c:pt>
                <c:pt idx="29">
                  <c:v>0.5</c:v>
                </c:pt>
                <c:pt idx="30">
                  <c:v>0.7142857142857143</c:v>
                </c:pt>
                <c:pt idx="31">
                  <c:v>0.2857142857142857</c:v>
                </c:pt>
                <c:pt idx="32">
                  <c:v>0.5714285714285714</c:v>
                </c:pt>
                <c:pt idx="33">
                  <c:v>0.625</c:v>
                </c:pt>
                <c:pt idx="34">
                  <c:v>0.5</c:v>
                </c:pt>
                <c:pt idx="35">
                  <c:v>0.3333333333333333</c:v>
                </c:pt>
                <c:pt idx="36">
                  <c:v>0.10714285714285714</c:v>
                </c:pt>
                <c:pt idx="37">
                  <c:v>0.25806451612903225</c:v>
                </c:pt>
                <c:pt idx="38">
                  <c:v>0.2571428571428571</c:v>
                </c:pt>
                <c:pt idx="39">
                  <c:v>0.21621621621621623</c:v>
                </c:pt>
                <c:pt idx="40">
                  <c:v>0.23076923076923078</c:v>
                </c:pt>
                <c:pt idx="41">
                  <c:v>0.32142857142857145</c:v>
                </c:pt>
                <c:pt idx="42">
                  <c:v>0.39473684210526316</c:v>
                </c:pt>
                <c:pt idx="43">
                  <c:v>0.39285714285714285</c:v>
                </c:pt>
                <c:pt idx="44">
                  <c:v>0.28</c:v>
                </c:pt>
                <c:pt idx="45">
                  <c:v>0.4</c:v>
                </c:pt>
                <c:pt idx="46">
                  <c:v>0.36363636363636365</c:v>
                </c:pt>
                <c:pt idx="47">
                  <c:v>0.4117647058823529</c:v>
                </c:pt>
                <c:pt idx="48">
                  <c:v>0.3684210526315789</c:v>
                </c:pt>
                <c:pt idx="49">
                  <c:v>0.30434782608695654</c:v>
                </c:pt>
                <c:pt idx="50">
                  <c:v>0.2857142857142857</c:v>
                </c:pt>
                <c:pt idx="51">
                  <c:v>0.25925925925925924</c:v>
                </c:pt>
                <c:pt idx="52">
                  <c:v>0.23333333333333334</c:v>
                </c:pt>
                <c:pt idx="53">
                  <c:v>0.22448979591836735</c:v>
                </c:pt>
                <c:pt idx="54">
                  <c:v>0.30434782608695654</c:v>
                </c:pt>
                <c:pt idx="55">
                  <c:v>0.34782608695652173</c:v>
                </c:pt>
                <c:pt idx="56">
                  <c:v>0.28125</c:v>
                </c:pt>
                <c:pt idx="57">
                  <c:v>0.25</c:v>
                </c:pt>
                <c:pt idx="58">
                  <c:v>0.30434782608695654</c:v>
                </c:pt>
                <c:pt idx="59">
                  <c:v>0.35</c:v>
                </c:pt>
                <c:pt idx="60">
                  <c:v>0.2857142857142857</c:v>
                </c:pt>
                <c:pt idx="61">
                  <c:v>0.30434782608695654</c:v>
                </c:pt>
                <c:pt idx="62">
                  <c:v>0.3333333333333333</c:v>
                </c:pt>
                <c:pt idx="63">
                  <c:v>0.25</c:v>
                </c:pt>
                <c:pt idx="64">
                  <c:v>0.23076923076923078</c:v>
                </c:pt>
                <c:pt idx="65">
                  <c:v>0.35714285714285715</c:v>
                </c:pt>
                <c:pt idx="66">
                  <c:v>0.3076923076923077</c:v>
                </c:pt>
                <c:pt idx="67">
                  <c:v>0.3076923076923077</c:v>
                </c:pt>
                <c:pt idx="68">
                  <c:v>0.4</c:v>
                </c:pt>
                <c:pt idx="69">
                  <c:v>0.2727272727272727</c:v>
                </c:pt>
                <c:pt idx="70">
                  <c:v>0.125</c:v>
                </c:pt>
                <c:pt idx="71">
                  <c:v>0.2222222222222222</c:v>
                </c:pt>
                <c:pt idx="72">
                  <c:v>0.25</c:v>
                </c:pt>
                <c:pt idx="73">
                  <c:v>0.42857142857142855</c:v>
                </c:pt>
                <c:pt idx="74">
                  <c:v>0.2</c:v>
                </c:pt>
                <c:pt idx="75">
                  <c:v>0.5</c:v>
                </c:pt>
                <c:pt idx="76">
                  <c:v>0.3</c:v>
                </c:pt>
                <c:pt idx="77">
                  <c:v>0.2727272727272727</c:v>
                </c:pt>
                <c:pt idx="78">
                  <c:v>0.3333333333333333</c:v>
                </c:pt>
                <c:pt idx="79">
                  <c:v>0.16666666666666666</c:v>
                </c:pt>
                <c:pt idx="80">
                  <c:v>0.2727272727272727</c:v>
                </c:pt>
                <c:pt idx="81">
                  <c:v>0.3333333333333333</c:v>
                </c:pt>
                <c:pt idx="82">
                  <c:v>0.2727272727272727</c:v>
                </c:pt>
                <c:pt idx="83">
                  <c:v>0.125</c:v>
                </c:pt>
                <c:pt idx="84">
                  <c:v>0.5</c:v>
                </c:pt>
                <c:pt idx="85">
                  <c:v>0.25</c:v>
                </c:pt>
                <c:pt idx="86">
                  <c:v>0.23076923076923078</c:v>
                </c:pt>
                <c:pt idx="87">
                  <c:v>0.25</c:v>
                </c:pt>
                <c:pt idx="88">
                  <c:v>0.45</c:v>
                </c:pt>
                <c:pt idx="89">
                  <c:v>0.36363636363636365</c:v>
                </c:pt>
                <c:pt idx="90">
                  <c:v>0.3793103448275862</c:v>
                </c:pt>
                <c:pt idx="91">
                  <c:v>0.35294117647058826</c:v>
                </c:pt>
                <c:pt idx="92">
                  <c:v>0.2857142857142857</c:v>
                </c:pt>
                <c:pt idx="93">
                  <c:v>0.3333333333333333</c:v>
                </c:pt>
                <c:pt idx="94">
                  <c:v>0.2727272727272727</c:v>
                </c:pt>
              </c:numCache>
            </c:numRef>
          </c:yVal>
          <c:smooth val="0"/>
          <c:extLst>
            <c:ext xmlns:c16="http://schemas.microsoft.com/office/drawing/2014/chart" uri="{C3380CC4-5D6E-409C-BE32-E72D297353CC}">
              <c16:uniqueId val="{00000000-F32D-48B7-BC20-E66FC6253BAD}"/>
            </c:ext>
          </c:extLst>
        </c:ser>
        <c:ser>
          <c:idx val="1"/>
          <c:order val="1"/>
          <c:tx>
            <c:strRef>
              <c:f>Sheet1!$B$9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9:$A$149</c:f>
              <c:numCache>
                <c:formatCode>General</c:formatCode>
                <c:ptCount val="51"/>
                <c:pt idx="0">
                  <c:v>1486.5</c:v>
                </c:pt>
                <c:pt idx="1">
                  <c:v>1213.0</c:v>
                </c:pt>
                <c:pt idx="2">
                  <c:v>1249.0</c:v>
                </c:pt>
                <c:pt idx="3">
                  <c:v>1865.0</c:v>
                </c:pt>
                <c:pt idx="4">
                  <c:v>1355.2</c:v>
                </c:pt>
                <c:pt idx="5">
                  <c:v>1607.0</c:v>
                </c:pt>
                <c:pt idx="6">
                  <c:v>1397.25</c:v>
                </c:pt>
                <c:pt idx="7">
                  <c:v>1585.0</c:v>
                </c:pt>
                <c:pt idx="8">
                  <c:v>1623.0</c:v>
                </c:pt>
                <c:pt idx="9">
                  <c:v>1420.6</c:v>
                </c:pt>
                <c:pt idx="10">
                  <c:v>1383.0</c:v>
                </c:pt>
                <c:pt idx="11">
                  <c:v>1268.2</c:v>
                </c:pt>
                <c:pt idx="12">
                  <c:v>1533.75</c:v>
                </c:pt>
                <c:pt idx="13">
                  <c:v>1252.4</c:v>
                </c:pt>
                <c:pt idx="14">
                  <c:v>1499.5</c:v>
                </c:pt>
                <c:pt idx="15">
                  <c:v>1668.0</c:v>
                </c:pt>
                <c:pt idx="16">
                  <c:v>1524.5</c:v>
                </c:pt>
                <c:pt idx="17">
                  <c:v>2392.0</c:v>
                </c:pt>
                <c:pt idx="18">
                  <c:v>1513.0</c:v>
                </c:pt>
                <c:pt idx="19">
                  <c:v>1527.0</c:v>
                </c:pt>
                <c:pt idx="20">
                  <c:v>1314.0</c:v>
                </c:pt>
                <c:pt idx="21">
                  <c:v>2477.0</c:v>
                </c:pt>
                <c:pt idx="22">
                  <c:v>1864.0</c:v>
                </c:pt>
                <c:pt idx="23">
                  <c:v>2442.0</c:v>
                </c:pt>
                <c:pt idx="24">
                  <c:v>1814.0</c:v>
                </c:pt>
                <c:pt idx="25">
                  <c:v>1779.0</c:v>
                </c:pt>
                <c:pt idx="26">
                  <c:v>1385.5</c:v>
                </c:pt>
                <c:pt idx="27">
                  <c:v>1408.0</c:v>
                </c:pt>
                <c:pt idx="28">
                  <c:v>2443.0</c:v>
                </c:pt>
                <c:pt idx="29">
                  <c:v>2467.0</c:v>
                </c:pt>
                <c:pt idx="30">
                  <c:v>2415.0</c:v>
                </c:pt>
                <c:pt idx="31">
                  <c:v>1437.0</c:v>
                </c:pt>
                <c:pt idx="32">
                  <c:v>1513.5</c:v>
                </c:pt>
                <c:pt idx="33">
                  <c:v>1549.6667</c:v>
                </c:pt>
                <c:pt idx="34">
                  <c:v>1714.5</c:v>
                </c:pt>
                <c:pt idx="35">
                  <c:v>1611.0</c:v>
                </c:pt>
                <c:pt idx="36">
                  <c:v>1607.0</c:v>
                </c:pt>
                <c:pt idx="37">
                  <c:v>1496.0</c:v>
                </c:pt>
                <c:pt idx="38">
                  <c:v>2208.0</c:v>
                </c:pt>
                <c:pt idx="39">
                  <c:v>1756.0</c:v>
                </c:pt>
                <c:pt idx="40">
                  <c:v>1510.5</c:v>
                </c:pt>
                <c:pt idx="41">
                  <c:v>1519.0</c:v>
                </c:pt>
                <c:pt idx="42">
                  <c:v>1678.5</c:v>
                </c:pt>
                <c:pt idx="43">
                  <c:v>1054.0</c:v>
                </c:pt>
                <c:pt idx="44">
                  <c:v>1538.0</c:v>
                </c:pt>
                <c:pt idx="45">
                  <c:v>1777.0</c:v>
                </c:pt>
                <c:pt idx="46">
                  <c:v>1996.0</c:v>
                </c:pt>
                <c:pt idx="47">
                  <c:v>1647.5</c:v>
                </c:pt>
                <c:pt idx="48">
                  <c:v>1511.3333</c:v>
                </c:pt>
                <c:pt idx="49">
                  <c:v>1248.0</c:v>
                </c:pt>
                <c:pt idx="50">
                  <c:v>1036.5</c:v>
                </c:pt>
              </c:numCache>
            </c:numRef>
          </c:xVal>
          <c:yVal>
            <c:numRef>
              <c:f>Sheet1!$B$99:$B$149</c:f>
              <c:numCache>
                <c:formatCode>General</c:formatCode>
                <c:ptCount val="51"/>
                <c:pt idx="0">
                  <c:v>0.36363636363636365</c:v>
                </c:pt>
                <c:pt idx="1">
                  <c:v>0.3333333333333333</c:v>
                </c:pt>
                <c:pt idx="2">
                  <c:v>0.3888888888888889</c:v>
                </c:pt>
                <c:pt idx="3">
                  <c:v>0.23529411764705882</c:v>
                </c:pt>
                <c:pt idx="4">
                  <c:v>0.2</c:v>
                </c:pt>
                <c:pt idx="5">
                  <c:v>0.3125</c:v>
                </c:pt>
                <c:pt idx="6">
                  <c:v>0.36363636363636365</c:v>
                </c:pt>
                <c:pt idx="7">
                  <c:v>0.21428571428571427</c:v>
                </c:pt>
                <c:pt idx="8">
                  <c:v>0.6</c:v>
                </c:pt>
                <c:pt idx="9">
                  <c:v>0.4166666666666667</c:v>
                </c:pt>
                <c:pt idx="10">
                  <c:v>0.3333333333333333</c:v>
                </c:pt>
                <c:pt idx="11">
                  <c:v>0.45454545454545453</c:v>
                </c:pt>
                <c:pt idx="12">
                  <c:v>0.3076923076923077</c:v>
                </c:pt>
                <c:pt idx="13">
                  <c:v>0.38461538461538464</c:v>
                </c:pt>
                <c:pt idx="14">
                  <c:v>0.25</c:v>
                </c:pt>
                <c:pt idx="15">
                  <c:v>0.2857142857142857</c:v>
                </c:pt>
                <c:pt idx="16">
                  <c:v>0.2222222222222222</c:v>
                </c:pt>
                <c:pt idx="17">
                  <c:v>0.2</c:v>
                </c:pt>
                <c:pt idx="18">
                  <c:v>0.5</c:v>
                </c:pt>
                <c:pt idx="19">
                  <c:v>0.25</c:v>
                </c:pt>
                <c:pt idx="20">
                  <c:v>0.3333333333333333</c:v>
                </c:pt>
                <c:pt idx="21">
                  <c:v>0.2</c:v>
                </c:pt>
                <c:pt idx="22">
                  <c:v>0.25</c:v>
                </c:pt>
                <c:pt idx="23">
                  <c:v>0.2</c:v>
                </c:pt>
                <c:pt idx="24">
                  <c:v>0.16666666666666666</c:v>
                </c:pt>
                <c:pt idx="25">
                  <c:v>0.14285714285714285</c:v>
                </c:pt>
                <c:pt idx="26">
                  <c:v>0.2857142857142857</c:v>
                </c:pt>
                <c:pt idx="27">
                  <c:v>0.2222222222222222</c:v>
                </c:pt>
                <c:pt idx="28">
                  <c:v>0.2</c:v>
                </c:pt>
                <c:pt idx="29">
                  <c:v>0.09090909090909091</c:v>
                </c:pt>
                <c:pt idx="30">
                  <c:v>0.3333333333333333</c:v>
                </c:pt>
                <c:pt idx="31">
                  <c:v>0.2222222222222222</c:v>
                </c:pt>
                <c:pt idx="32">
                  <c:v>0.2857142857142857</c:v>
                </c:pt>
                <c:pt idx="33">
                  <c:v>0.2727272727272727</c:v>
                </c:pt>
                <c:pt idx="34">
                  <c:v>0.3333333333333333</c:v>
                </c:pt>
                <c:pt idx="35">
                  <c:v>0.3333333333333333</c:v>
                </c:pt>
                <c:pt idx="36">
                  <c:v>0.2</c:v>
                </c:pt>
                <c:pt idx="37">
                  <c:v>0.25</c:v>
                </c:pt>
                <c:pt idx="38">
                  <c:v>0.16666666666666666</c:v>
                </c:pt>
                <c:pt idx="39">
                  <c:v>0.05263157894736842</c:v>
                </c:pt>
                <c:pt idx="40">
                  <c:v>0.1111111111111111</c:v>
                </c:pt>
                <c:pt idx="41">
                  <c:v>0.25</c:v>
                </c:pt>
                <c:pt idx="42">
                  <c:v>0.3333333333333333</c:v>
                </c:pt>
                <c:pt idx="43">
                  <c:v>0.16666666666666666</c:v>
                </c:pt>
                <c:pt idx="44">
                  <c:v>0.3333333333333333</c:v>
                </c:pt>
                <c:pt idx="45">
                  <c:v>0.16666666666666666</c:v>
                </c:pt>
                <c:pt idx="46">
                  <c:v>0.25</c:v>
                </c:pt>
                <c:pt idx="47">
                  <c:v>0.3333333333333333</c:v>
                </c:pt>
                <c:pt idx="48">
                  <c:v>0.25</c:v>
                </c:pt>
                <c:pt idx="49">
                  <c:v>0.2777777777777778</c:v>
                </c:pt>
                <c:pt idx="50">
                  <c:v>0.2222222222222222</c:v>
                </c:pt>
              </c:numCache>
            </c:numRef>
          </c:yVal>
          <c:smooth val="0"/>
          <c:extLst>
            <c:ext xmlns:c16="http://schemas.microsoft.com/office/drawing/2014/chart" uri="{C3380CC4-5D6E-409C-BE32-E72D297353CC}">
              <c16:uniqueId val="{00000002-F32D-48B7-BC20-E66FC6253BAD}"/>
            </c:ext>
          </c:extLst>
        </c:ser>
        <c:ser>
          <c:idx val="2"/>
          <c:order val="2"/>
          <c:tx>
            <c:strRef>
              <c:f>Sheet1!$B$151</c:f>
              <c:strCache>
                <c:ptCount val="1"/>
                <c:pt idx="0">
                  <c:v>Custom Linep3yQ</c:v>
                </c:pt>
              </c:strCache>
            </c:strRef>
          </c:tx>
          <c:spPr>
            <a:ln w="19050" cap="rnd">
              <a:solidFill>
                <a:srgbClr val="C00000"/>
              </a:solidFill>
              <a:prstDash val="sysDot"/>
              <a:round/>
            </a:ln>
            <a:effectLst/>
          </c:spPr>
          <c:marker>
            <c:symbol val="none"/>
          </c:marker>
          <c:xVal>
            <c:numRef>
              <c:f>Sheet1!$A$152:$A$153</c:f>
              <c:numCache>
                <c:formatCode>General</c:formatCode>
                <c:ptCount val="2"/>
                <c:pt idx="0">
                  <c:v>0</c:v>
                </c:pt>
                <c:pt idx="1">
                  <c:v>-1294.580164886192</c:v>
                </c:pt>
              </c:numCache>
            </c:numRef>
          </c:xVal>
          <c:yVal>
            <c:numRef>
              <c:f>Sheet1!$B$152:$B$153</c:f>
              <c:numCache>
                <c:formatCode>General</c:formatCode>
                <c:ptCount val="2"/>
                <c:pt idx="0">
                  <c:v>0.5538268444518445</c:v>
                </c:pt>
                <c:pt idx="1">
                  <c:v>0.5538268444518445</c:v>
                </c:pt>
              </c:numCache>
            </c:numRef>
          </c:yVal>
          <c:smooth val="0"/>
          <c:extLst>
            <c:ext xmlns:c16="http://schemas.microsoft.com/office/drawing/2014/chart" uri="{C3380CC4-5D6E-409C-BE32-E72D297353CC}">
              <c16:uniqueId val="{00000003-F32D-48B7-BC20-E66FC6253BAD}"/>
            </c:ext>
          </c:extLst>
        </c:ser>
        <c:ser>
          <c:idx val="3"/>
          <c:order val="3"/>
          <c:tx>
            <c:strRef>
              <c:f>Sheet1!$B$1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1294.580164886192</c:v>
                </c:pt>
                <c:pt idx="1">
                  <c:v>-1294.580164886192</c:v>
                </c:pt>
              </c:numCache>
            </c:numRef>
          </c:xVal>
          <c:yVal>
            <c:numRef>
              <c:f>Sheet1!$B$156:$B$157</c:f>
              <c:numCache>
                <c:formatCode>General</c:formatCode>
                <c:ptCount val="2"/>
                <c:pt idx="0">
                  <c:v>0.55382684445184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0:$A$161</c:f>
              <c:numCache>
                <c:formatCode>General</c:formatCode>
                <c:ptCount val="2"/>
                <c:pt idx="0">
                  <c:v>0</c:v>
                </c:pt>
                <c:pt idx="1">
                  <c:v>983.9579414119452</c:v>
                </c:pt>
              </c:numCache>
            </c:numRef>
          </c:xVal>
          <c:yVal>
            <c:numRef>
              <c:f>Sheet1!$B$160:$B$161</c:f>
              <c:numCache>
                <c:formatCode>General</c:formatCode>
                <c:ptCount val="2"/>
                <c:pt idx="0">
                  <c:v>0.3346194201586358</c:v>
                </c:pt>
                <c:pt idx="1">
                  <c:v>0.3346194201586358</c:v>
                </c:pt>
              </c:numCache>
            </c:numRef>
          </c:yVal>
          <c:smooth val="0"/>
          <c:extLst>
            <c:ext xmlns:c16="http://schemas.microsoft.com/office/drawing/2014/chart" uri="{C3380CC4-5D6E-409C-BE32-E72D297353CC}">
              <c16:uniqueId val="{0000000A-F32D-48B7-BC20-E66FC6253BAD}"/>
            </c:ext>
          </c:extLst>
        </c:ser>
        <c:ser>
          <c:idx val="5"/>
          <c:order val="5"/>
          <c:tx>
            <c:strRef>
              <c:f>Sheet1!$B$1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983.9579414119452</c:v>
                </c:pt>
                <c:pt idx="1">
                  <c:v>983.9579414119452</c:v>
                </c:pt>
              </c:numCache>
            </c:numRef>
          </c:xVal>
          <c:yVal>
            <c:numRef>
              <c:f>Sheet1!$B$164:$B$165</c:f>
              <c:numCache>
                <c:formatCode>General</c:formatCode>
                <c:ptCount val="2"/>
                <c:pt idx="0">
                  <c:v>0.33461942015863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8:$A$169</c:f>
              <c:numCache>
                <c:formatCode>General</c:formatCode>
                <c:ptCount val="2"/>
                <c:pt idx="0">
                  <c:v>0</c:v>
                </c:pt>
                <c:pt idx="1">
                  <c:v>2132.3913025787633</c:v>
                </c:pt>
              </c:numCache>
            </c:numRef>
          </c:xVal>
          <c:yVal>
            <c:numRef>
              <c:f>Sheet1!$B$168:$B$169</c:f>
              <c:numCache>
                <c:formatCode>General</c:formatCode>
                <c:ptCount val="2"/>
                <c:pt idx="0">
                  <c:v>0.2241340530814215</c:v>
                </c:pt>
                <c:pt idx="1">
                  <c:v>0.2241340530814215</c:v>
                </c:pt>
              </c:numCache>
            </c:numRef>
          </c:yVal>
          <c:smooth val="0"/>
          <c:extLst>
            <c:ext xmlns:c16="http://schemas.microsoft.com/office/drawing/2014/chart" uri="{C3380CC4-5D6E-409C-BE32-E72D297353CC}">
              <c16:uniqueId val="{00000011-F32D-48B7-BC20-E66FC6253BAD}"/>
            </c:ext>
          </c:extLst>
        </c:ser>
        <c:ser>
          <c:idx val="7"/>
          <c:order val="7"/>
          <c:tx>
            <c:strRef>
              <c:f>Sheet1!$B$1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2132.3913025787633</c:v>
                </c:pt>
                <c:pt idx="1">
                  <c:v>2132.3913025787633</c:v>
                </c:pt>
              </c:numCache>
            </c:numRef>
          </c:xVal>
          <c:yVal>
            <c:numRef>
              <c:f>Sheet1!$B$172:$B$173</c:f>
              <c:numCache>
                <c:formatCode>General</c:formatCode>
                <c:ptCount val="2"/>
                <c:pt idx="0">
                  <c:v>0.2241340530814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6:$A$229</c:f>
              <c:numCache>
                <c:formatCode>General</c:formatCode>
                <c:ptCount val="54"/>
                <c:pt idx="0">
                  <c:v>1486.5</c:v>
                </c:pt>
                <c:pt idx="1">
                  <c:v>1213.0</c:v>
                </c:pt>
                <c:pt idx="2">
                  <c:v>1249.0</c:v>
                </c:pt>
                <c:pt idx="3">
                  <c:v>1865.0</c:v>
                </c:pt>
                <c:pt idx="4">
                  <c:v>1355.2</c:v>
                </c:pt>
                <c:pt idx="5">
                  <c:v>1607.0</c:v>
                </c:pt>
                <c:pt idx="6">
                  <c:v>1397.25</c:v>
                </c:pt>
                <c:pt idx="7">
                  <c:v>1585.0</c:v>
                </c:pt>
                <c:pt idx="8">
                  <c:v>1623.0</c:v>
                </c:pt>
                <c:pt idx="9">
                  <c:v>1420.6</c:v>
                </c:pt>
                <c:pt idx="10">
                  <c:v>1383.0</c:v>
                </c:pt>
                <c:pt idx="11">
                  <c:v>1268.2</c:v>
                </c:pt>
                <c:pt idx="12">
                  <c:v>1533.75</c:v>
                </c:pt>
                <c:pt idx="13">
                  <c:v>1252.4</c:v>
                </c:pt>
                <c:pt idx="14">
                  <c:v>1499.5</c:v>
                </c:pt>
                <c:pt idx="15">
                  <c:v>1668.0</c:v>
                </c:pt>
                <c:pt idx="16">
                  <c:v>1524.5</c:v>
                </c:pt>
                <c:pt idx="17">
                  <c:v>2392.0</c:v>
                </c:pt>
                <c:pt idx="18">
                  <c:v>1513.0</c:v>
                </c:pt>
                <c:pt idx="19">
                  <c:v>1527.0</c:v>
                </c:pt>
                <c:pt idx="20">
                  <c:v>1314.0</c:v>
                </c:pt>
                <c:pt idx="21">
                  <c:v>2477.0</c:v>
                </c:pt>
                <c:pt idx="22">
                  <c:v>1864.0</c:v>
                </c:pt>
                <c:pt idx="23">
                  <c:v>2442.0</c:v>
                </c:pt>
                <c:pt idx="24">
                  <c:v>1814.0</c:v>
                </c:pt>
                <c:pt idx="25">
                  <c:v>1779.0</c:v>
                </c:pt>
                <c:pt idx="26">
                  <c:v>1385.5</c:v>
                </c:pt>
                <c:pt idx="27">
                  <c:v>1408.0</c:v>
                </c:pt>
                <c:pt idx="28">
                  <c:v>2443.0</c:v>
                </c:pt>
                <c:pt idx="29">
                  <c:v>2467.0</c:v>
                </c:pt>
                <c:pt idx="30">
                  <c:v>2415.0</c:v>
                </c:pt>
                <c:pt idx="31">
                  <c:v>1437.0</c:v>
                </c:pt>
                <c:pt idx="32">
                  <c:v>1513.5</c:v>
                </c:pt>
                <c:pt idx="33">
                  <c:v>1549.6667</c:v>
                </c:pt>
                <c:pt idx="34">
                  <c:v>1714.5</c:v>
                </c:pt>
                <c:pt idx="35">
                  <c:v>1611.0</c:v>
                </c:pt>
                <c:pt idx="36">
                  <c:v>1607.0</c:v>
                </c:pt>
                <c:pt idx="37">
                  <c:v>1496.0</c:v>
                </c:pt>
                <c:pt idx="38">
                  <c:v>2208.0</c:v>
                </c:pt>
                <c:pt idx="39">
                  <c:v>1756.0</c:v>
                </c:pt>
                <c:pt idx="40">
                  <c:v>1510.5</c:v>
                </c:pt>
                <c:pt idx="41">
                  <c:v>1519.0</c:v>
                </c:pt>
                <c:pt idx="42">
                  <c:v>1678.5</c:v>
                </c:pt>
                <c:pt idx="43">
                  <c:v>1054.0</c:v>
                </c:pt>
                <c:pt idx="44">
                  <c:v>1538.0</c:v>
                </c:pt>
                <c:pt idx="45">
                  <c:v>1777.0</c:v>
                </c:pt>
                <c:pt idx="46">
                  <c:v>1996.0</c:v>
                </c:pt>
                <c:pt idx="47">
                  <c:v>1647.5</c:v>
                </c:pt>
                <c:pt idx="48">
                  <c:v>1511.3333</c:v>
                </c:pt>
                <c:pt idx="49">
                  <c:v>1248.0</c:v>
                </c:pt>
                <c:pt idx="50">
                  <c:v>1036.5</c:v>
                </c:pt>
                <c:pt idx="51">
                  <c:v>983.9579414119452</c:v>
                </c:pt>
                <c:pt idx="52">
                  <c:v>-1294.580164886192</c:v>
                </c:pt>
                <c:pt idx="53">
                  <c:v>2132.3913025787633</c:v>
                </c:pt>
              </c:numCache>
            </c:numRef>
          </c:xVal>
          <c:yVal>
            <c:numRef>
              <c:f>Sheet1!$B$176:$B$229</c:f>
              <c:numCache>
                <c:formatCode>General</c:formatCode>
                <c:ptCount val="54"/>
                <c:pt idx="0">
                  <c:v>0.2862722145720376</c:v>
                </c:pt>
                <c:pt idx="1">
                  <c:v>0.3125843619872926</c:v>
                </c:pt>
                <c:pt idx="2">
                  <c:v>0.3091209714682828</c:v>
                </c:pt>
                <c:pt idx="3">
                  <c:v>0.24985851147633734</c:v>
                </c:pt>
                <c:pt idx="4">
                  <c:v>0.2989039694372039</c:v>
                </c:pt>
                <c:pt idx="5">
                  <c:v>0.2746794768625742</c:v>
                </c:pt>
                <c:pt idx="6">
                  <c:v>0.2948585369004161</c:v>
                </c:pt>
                <c:pt idx="7">
                  <c:v>0.276795993290858</c:v>
                </c:pt>
                <c:pt idx="8">
                  <c:v>0.2731401921874588</c:v>
                </c:pt>
                <c:pt idx="9">
                  <c:v>0.29261214332766944</c:v>
                </c:pt>
                <c:pt idx="10">
                  <c:v>0.2962294623141908</c:v>
                </c:pt>
                <c:pt idx="11">
                  <c:v>0.3072738298581442</c:v>
                </c:pt>
                <c:pt idx="12">
                  <c:v>0.28172651451583725</c:v>
                </c:pt>
                <c:pt idx="13">
                  <c:v>0.3087938734748208</c:v>
                </c:pt>
                <c:pt idx="14">
                  <c:v>0.28502154577350625</c:v>
                </c:pt>
                <c:pt idx="15">
                  <c:v>0.26881095403869654</c:v>
                </c:pt>
                <c:pt idx="16">
                  <c:v>0.28261641346863836</c:v>
                </c:pt>
                <c:pt idx="17">
                  <c:v>0.19915832248972168</c:v>
                </c:pt>
                <c:pt idx="18">
                  <c:v>0.2837227743288776</c:v>
                </c:pt>
                <c:pt idx="19">
                  <c:v>0.28237590023815157</c:v>
                </c:pt>
                <c:pt idx="20">
                  <c:v>0.30286762747562623</c:v>
                </c:pt>
                <c:pt idx="21">
                  <c:v>0.19098087265317076</c:v>
                </c:pt>
                <c:pt idx="22">
                  <c:v>0.24995471676853206</c:v>
                </c:pt>
                <c:pt idx="23">
                  <c:v>0.19434805787998582</c:v>
                </c:pt>
                <c:pt idx="24">
                  <c:v>0.25476498137826786</c:v>
                </c:pt>
                <c:pt idx="25">
                  <c:v>0.258132166605083</c:v>
                </c:pt>
                <c:pt idx="26">
                  <c:v>0.295988949083704</c:v>
                </c:pt>
                <c:pt idx="27">
                  <c:v>0.29382433000932284</c:v>
                </c:pt>
                <c:pt idx="28">
                  <c:v>0.19425185258779112</c:v>
                </c:pt>
                <c:pt idx="29">
                  <c:v>0.1919429255751179</c:v>
                </c:pt>
                <c:pt idx="30">
                  <c:v>0.1969456007692432</c:v>
                </c:pt>
                <c:pt idx="31">
                  <c:v>0.2910343765356761</c:v>
                </c:pt>
                <c:pt idx="32">
                  <c:v>0.28367467168278027</c:v>
                </c:pt>
                <c:pt idx="33">
                  <c:v>0.2801952437415616</c:v>
                </c:pt>
                <c:pt idx="34">
                  <c:v>0.2643374079516422</c:v>
                </c:pt>
                <c:pt idx="35">
                  <c:v>0.2742946556937954</c:v>
                </c:pt>
                <c:pt idx="36">
                  <c:v>0.2746794768625742</c:v>
                </c:pt>
                <c:pt idx="37">
                  <c:v>0.2853582642961878</c:v>
                </c:pt>
                <c:pt idx="38">
                  <c:v>0.21686009625354954</c:v>
                </c:pt>
                <c:pt idx="39">
                  <c:v>0.26034488832556146</c:v>
                </c:pt>
                <c:pt idx="40">
                  <c:v>0.2839632875593644</c:v>
                </c:pt>
                <c:pt idx="41">
                  <c:v>0.28314554257570934</c:v>
                </c:pt>
                <c:pt idx="42">
                  <c:v>0.26780079847065197</c:v>
                </c:pt>
                <c:pt idx="43">
                  <c:v>0.32788100344625254</c:v>
                </c:pt>
                <c:pt idx="44">
                  <c:v>0.28131764202400966</c:v>
                </c:pt>
                <c:pt idx="45">
                  <c:v>0.25832457718947244</c:v>
                </c:pt>
                <c:pt idx="46">
                  <c:v>0.23725561819882945</c:v>
                </c:pt>
                <c:pt idx="47">
                  <c:v>0.2707831625286882</c:v>
                </c:pt>
                <c:pt idx="48">
                  <c:v>0.2838831196893785</c:v>
                </c:pt>
                <c:pt idx="49">
                  <c:v>0.30921717676047755</c:v>
                </c:pt>
                <c:pt idx="50">
                  <c:v>0.3295645960596601</c:v>
                </c:pt>
                <c:pt idx="51">
                  <c:v>0.3346194201586358</c:v>
                </c:pt>
                <c:pt idx="52">
                  <c:v>0.5538268444518445</c:v>
                </c:pt>
                <c:pt idx="53">
                  <c:v>0.224134053081421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7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799999999999999"/>
          <c:min val="0.0421052631578947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8317653808975785</c:v>
                </c:pt>
                <c:pt idx="1">
                  <c:v>2.1653324345531226</c:v>
                </c:pt>
                <c:pt idx="2">
                  <c:v>2.4075069737081334</c:v>
                </c:pt>
                <c:pt idx="3">
                  <c:v>2.38328933555468</c:v>
                </c:pt>
                <c:pt idx="4">
                  <c:v>2.3650457261981486</c:v>
                </c:pt>
                <c:pt idx="5">
                  <c:v>1.9868043815996947</c:v>
                </c:pt>
                <c:pt idx="6">
                  <c:v>1.900339184526527</c:v>
                </c:pt>
                <c:pt idx="7">
                  <c:v>1.7579197670907571</c:v>
                </c:pt>
                <c:pt idx="8">
                  <c:v>1.8331845207122108</c:v>
                </c:pt>
                <c:pt idx="9">
                  <c:v>2.0895112104177382</c:v>
                </c:pt>
                <c:pt idx="10">
                  <c:v>1.9288745656020796</c:v>
                </c:pt>
                <c:pt idx="11">
                  <c:v>1.819903414188592</c:v>
                </c:pt>
                <c:pt idx="12">
                  <c:v>1.877602309148145</c:v>
                </c:pt>
                <c:pt idx="13">
                  <c:v>1.8459324011737126</c:v>
                </c:pt>
                <c:pt idx="14">
                  <c:v>1.8349780372704905</c:v>
                </c:pt>
                <c:pt idx="15">
                  <c:v>1.820208173577107</c:v>
                </c:pt>
                <c:pt idx="16">
                  <c:v>1.928966714679372</c:v>
                </c:pt>
                <c:pt idx="17">
                  <c:v>2.3942358720352708</c:v>
                </c:pt>
                <c:pt idx="18">
                  <c:v>2.1685380715484928</c:v>
                </c:pt>
                <c:pt idx="19">
                  <c:v>2.1417613923211776</c:v>
                </c:pt>
                <c:pt idx="20">
                  <c:v>2.1165156392273583</c:v>
                </c:pt>
                <c:pt idx="21">
                  <c:v>1.9479648520250945</c:v>
                </c:pt>
                <c:pt idx="22">
                  <c:v>2.1689204751094002</c:v>
                </c:pt>
                <c:pt idx="23">
                  <c:v>2.3298563904848093</c:v>
                </c:pt>
                <c:pt idx="24">
                  <c:v>2.474729704842818</c:v>
                </c:pt>
                <c:pt idx="25">
                  <c:v>2.3303823187396184</c:v>
                </c:pt>
                <c:pt idx="26">
                  <c:v>2.014249347695569</c:v>
                </c:pt>
                <c:pt idx="27">
                  <c:v>1.8591936005534961</c:v>
                </c:pt>
                <c:pt idx="28">
                  <c:v>1.8636190993423887</c:v>
                </c:pt>
                <c:pt idx="29">
                  <c:v>1.849907342243908</c:v>
                </c:pt>
                <c:pt idx="30">
                  <c:v>1.8900567111717796</c:v>
                </c:pt>
                <c:pt idx="31">
                  <c:v>1.820364951306978</c:v>
                </c:pt>
                <c:pt idx="32">
                  <c:v>1.756048617825641</c:v>
                </c:pt>
                <c:pt idx="33">
                  <c:v>1.8299276987153086</c:v>
                </c:pt>
                <c:pt idx="34">
                  <c:v>1.7965166167750137</c:v>
                </c:pt>
                <c:pt idx="35">
                  <c:v>1.8172354112726121</c:v>
                </c:pt>
                <c:pt idx="36">
                  <c:v>2.283397257736375</c:v>
                </c:pt>
                <c:pt idx="37">
                  <c:v>2.4991639594878654</c:v>
                </c:pt>
                <c:pt idx="38">
                  <c:v>2.4888246942626977</c:v>
                </c:pt>
                <c:pt idx="39">
                  <c:v>2.4444787529181697</c:v>
                </c:pt>
                <c:pt idx="40">
                  <c:v>2.581038326397724</c:v>
                </c:pt>
                <c:pt idx="41">
                  <c:v>2.3451694342888145</c:v>
                </c:pt>
                <c:pt idx="42">
                  <c:v>2.2456636329735233</c:v>
                </c:pt>
                <c:pt idx="43">
                  <c:v>2.522111950503433</c:v>
                </c:pt>
                <c:pt idx="44">
                  <c:v>2.363642260818928</c:v>
                </c:pt>
                <c:pt idx="45">
                  <c:v>2.3676485523809236</c:v>
                </c:pt>
                <c:pt idx="46">
                  <c:v>2.6884414577016513</c:v>
                </c:pt>
                <c:pt idx="47">
                  <c:v>2.4704015623092883</c:v>
                </c:pt>
                <c:pt idx="48">
                  <c:v>2.523923128354884</c:v>
                </c:pt>
                <c:pt idx="49">
                  <c:v>2.5552064544021356</c:v>
                </c:pt>
                <c:pt idx="50">
                  <c:v>2.548387145465696</c:v>
                </c:pt>
                <c:pt idx="51">
                  <c:v>2.4932270014017837</c:v>
                </c:pt>
                <c:pt idx="52">
                  <c:v>2.4337743745643974</c:v>
                </c:pt>
                <c:pt idx="53">
                  <c:v>2.3900092473655286</c:v>
                </c:pt>
                <c:pt idx="54">
                  <c:v>2.411714258128313</c:v>
                </c:pt>
                <c:pt idx="55">
                  <c:v>2.5215486237498816</c:v>
                </c:pt>
                <c:pt idx="56">
                  <c:v>2.5623183548578563</c:v>
                </c:pt>
                <c:pt idx="57">
                  <c:v>2.50345077854972</c:v>
                </c:pt>
                <c:pt idx="58">
                  <c:v>2.567418459014046</c:v>
                </c:pt>
                <c:pt idx="59">
                  <c:v>2.5013246604672084</c:v>
                </c:pt>
                <c:pt idx="60">
                  <c:v>2.6187803875194917</c:v>
                </c:pt>
                <c:pt idx="61">
                  <c:v>2.4198044536662957</c:v>
                </c:pt>
                <c:pt idx="62">
                  <c:v>2.7285742052246493</c:v>
                </c:pt>
                <c:pt idx="63">
                  <c:v>2.674577180053985</c:v>
                </c:pt>
                <c:pt idx="64">
                  <c:v>2.625551414659698</c:v>
                </c:pt>
                <c:pt idx="65">
                  <c:v>2.4625707657376523</c:v>
                </c:pt>
                <c:pt idx="66">
                  <c:v>2.389058210748749</c:v>
                </c:pt>
                <c:pt idx="67">
                  <c:v>2.3773125551866503</c:v>
                </c:pt>
                <c:pt idx="68">
                  <c:v>2.528294725709607</c:v>
                </c:pt>
                <c:pt idx="69">
                  <c:v>2.2159027756479737</c:v>
                </c:pt>
                <c:pt idx="70">
                  <c:v>2.5037196839031464</c:v>
                </c:pt>
                <c:pt idx="71">
                  <c:v>2.2420361910178404</c:v>
                </c:pt>
                <c:pt idx="72">
                  <c:v>2.2635979207864563</c:v>
                </c:pt>
                <c:pt idx="73">
                  <c:v>2.358664530905797</c:v>
                </c:pt>
                <c:pt idx="74">
                  <c:v>2.6422606386504963</c:v>
                </c:pt>
                <c:pt idx="75">
                  <c:v>2.272229924974306</c:v>
                </c:pt>
                <c:pt idx="76">
                  <c:v>2.2772555133645427</c:v>
                </c:pt>
                <c:pt idx="77">
                  <c:v>2.9530426014721987</c:v>
                </c:pt>
                <c:pt idx="78">
                  <c:v>2.2348548100504853</c:v>
                </c:pt>
                <c:pt idx="79">
                  <c:v>2.511136175327451</c:v>
                </c:pt>
                <c:pt idx="80">
                  <c:v>1.8322819553995997</c:v>
                </c:pt>
                <c:pt idx="81">
                  <c:v>1.7975802538026882</c:v>
                </c:pt>
                <c:pt idx="82">
                  <c:v>1.5394596869439747</c:v>
                </c:pt>
                <c:pt idx="83">
                  <c:v>2.114046953858486</c:v>
                </c:pt>
                <c:pt idx="84">
                  <c:v>1.923963349320402</c:v>
                </c:pt>
                <c:pt idx="85">
                  <c:v>1.6915852032893937</c:v>
                </c:pt>
                <c:pt idx="86">
                  <c:v>1.5731642793879739</c:v>
                </c:pt>
                <c:pt idx="87">
                  <c:v>1.5638052872280521</c:v>
                </c:pt>
                <c:pt idx="88">
                  <c:v>1.4920385616924838</c:v>
                </c:pt>
                <c:pt idx="89">
                  <c:v>1.548828104315864</c:v>
                </c:pt>
                <c:pt idx="90">
                  <c:v>1.374608739786769</c:v>
                </c:pt>
                <c:pt idx="91">
                  <c:v>1.5420943080396747</c:v>
                </c:pt>
                <c:pt idx="92">
                  <c:v>1.4189512271199363</c:v>
                </c:pt>
                <c:pt idx="93">
                  <c:v>1.3877409916928511</c:v>
                </c:pt>
                <c:pt idx="94">
                  <c:v>1.2294974206349205</c:v>
                </c:pt>
                <c:pt idx="95">
                  <c:v>1.3615798031792083</c:v>
                </c:pt>
                <c:pt idx="96">
                  <c:v>1.3701812084917182</c:v>
                </c:pt>
                <c:pt idx="97">
                  <c:v>1.3022438663543336</c:v>
                </c:pt>
                <c:pt idx="98">
                  <c:v>1.5390219847584279</c:v>
                </c:pt>
                <c:pt idx="99">
                  <c:v>2.1961879486127076</c:v>
                </c:pt>
                <c:pt idx="100">
                  <c:v>2.1960005380041956</c:v>
                </c:pt>
                <c:pt idx="101">
                  <c:v>1.4284139414916504</c:v>
                </c:pt>
                <c:pt idx="102">
                  <c:v>1.483559124631539</c:v>
                </c:pt>
                <c:pt idx="103">
                  <c:v>1.6522656153468178</c:v>
                </c:pt>
              </c:numCache>
            </c:numRef>
          </c:xVal>
          <c:yVal>
            <c:numRef>
              <c:f>Sheet1!$B$2:$B$105</c:f>
              <c:numCache>
                <c:formatCode>General</c:formatCode>
                <c:ptCount val="104"/>
                <c:pt idx="0">
                  <c:v>0.03018867924528302</c:v>
                </c:pt>
                <c:pt idx="1">
                  <c:v>0.027366020524515394</c:v>
                </c:pt>
                <c:pt idx="2">
                  <c:v>0.030229746070133012</c:v>
                </c:pt>
                <c:pt idx="3">
                  <c:v>0.032219570405727926</c:v>
                </c:pt>
                <c:pt idx="4">
                  <c:v>0.04405286343612335</c:v>
                </c:pt>
                <c:pt idx="5">
                  <c:v>0.035175879396984924</c:v>
                </c:pt>
                <c:pt idx="6">
                  <c:v>0.029462738301559793</c:v>
                </c:pt>
                <c:pt idx="7">
                  <c:v>0.03361344537815126</c:v>
                </c:pt>
                <c:pt idx="8">
                  <c:v>0.035629453681710214</c:v>
                </c:pt>
                <c:pt idx="9">
                  <c:v>0.034026465028355386</c:v>
                </c:pt>
                <c:pt idx="10">
                  <c:v>0.030141843971631204</c:v>
                </c:pt>
                <c:pt idx="11">
                  <c:v>0.03470031545741325</c:v>
                </c:pt>
                <c:pt idx="12">
                  <c:v>0.02821316614420063</c:v>
                </c:pt>
                <c:pt idx="13">
                  <c:v>0.023121387283236993</c:v>
                </c:pt>
                <c:pt idx="14">
                  <c:v>0.020833333333333332</c:v>
                </c:pt>
                <c:pt idx="15">
                  <c:v>0.017628205128205128</c:v>
                </c:pt>
                <c:pt idx="16">
                  <c:v>0.01764705882352941</c:v>
                </c:pt>
                <c:pt idx="17">
                  <c:v>0.01603206412825651</c:v>
                </c:pt>
                <c:pt idx="18">
                  <c:v>0.013054830287206266</c:v>
                </c:pt>
                <c:pt idx="19">
                  <c:v>0.01892744479495268</c:v>
                </c:pt>
                <c:pt idx="20">
                  <c:v>0.017587939698492462</c:v>
                </c:pt>
                <c:pt idx="21">
                  <c:v>0.019083969465648856</c:v>
                </c:pt>
                <c:pt idx="22">
                  <c:v>0.033444816053511704</c:v>
                </c:pt>
                <c:pt idx="23">
                  <c:v>0.045180722891566265</c:v>
                </c:pt>
                <c:pt idx="24">
                  <c:v>0.028985507246376812</c:v>
                </c:pt>
                <c:pt idx="25">
                  <c:v>0.030226700251889168</c:v>
                </c:pt>
                <c:pt idx="26">
                  <c:v>0.03209876543209877</c:v>
                </c:pt>
                <c:pt idx="27">
                  <c:v>0.03736263736263736</c:v>
                </c:pt>
                <c:pt idx="28">
                  <c:v>0.02122641509433962</c:v>
                </c:pt>
                <c:pt idx="29">
                  <c:v>0.026476578411405296</c:v>
                </c:pt>
                <c:pt idx="30">
                  <c:v>0.025139664804469275</c:v>
                </c:pt>
                <c:pt idx="31">
                  <c:v>0.025477707006369428</c:v>
                </c:pt>
                <c:pt idx="32">
                  <c:v>0.0273972602739726</c:v>
                </c:pt>
                <c:pt idx="33">
                  <c:v>0.030226700251889168</c:v>
                </c:pt>
                <c:pt idx="34">
                  <c:v>0.03762376237623762</c:v>
                </c:pt>
                <c:pt idx="35">
                  <c:v>0.04240282685512368</c:v>
                </c:pt>
                <c:pt idx="36">
                  <c:v>0.02040816326530612</c:v>
                </c:pt>
                <c:pt idx="37">
                  <c:v>0.014749262536873156</c:v>
                </c:pt>
                <c:pt idx="38">
                  <c:v>0.021604938271604937</c:v>
                </c:pt>
                <c:pt idx="39">
                  <c:v>0.011834319526627219</c:v>
                </c:pt>
                <c:pt idx="40">
                  <c:v>0.010893246187363835</c:v>
                </c:pt>
                <c:pt idx="41">
                  <c:v>0.009615384615384616</c:v>
                </c:pt>
                <c:pt idx="42">
                  <c:v>0.012875536480686695</c:v>
                </c:pt>
                <c:pt idx="43">
                  <c:v>0.007751937984496124</c:v>
                </c:pt>
                <c:pt idx="44">
                  <c:v>0.008522727272727272</c:v>
                </c:pt>
                <c:pt idx="45">
                  <c:v>0.008928571428571428</c:v>
                </c:pt>
                <c:pt idx="46">
                  <c:v>0.006937561942517344</c:v>
                </c:pt>
                <c:pt idx="47">
                  <c:v>0.010604453870625663</c:v>
                </c:pt>
                <c:pt idx="48">
                  <c:v>0.015127388535031847</c:v>
                </c:pt>
                <c:pt idx="49">
                  <c:v>0.015486725663716814</c:v>
                </c:pt>
                <c:pt idx="50">
                  <c:v>0.017429193899782137</c:v>
                </c:pt>
                <c:pt idx="51">
                  <c:v>0.01634877384196185</c:v>
                </c:pt>
                <c:pt idx="52">
                  <c:v>0.023076923076923078</c:v>
                </c:pt>
                <c:pt idx="53">
                  <c:v>0.0187207488299532</c:v>
                </c:pt>
                <c:pt idx="54">
                  <c:v>0.020833333333333332</c:v>
                </c:pt>
                <c:pt idx="55">
                  <c:v>0.019097222222222224</c:v>
                </c:pt>
                <c:pt idx="56">
                  <c:v>0.022608695652173914</c:v>
                </c:pt>
                <c:pt idx="57">
                  <c:v>0.0237741456166419</c:v>
                </c:pt>
                <c:pt idx="58">
                  <c:v>0.02094972067039106</c:v>
                </c:pt>
                <c:pt idx="59">
                  <c:v>0.018499486125385406</c:v>
                </c:pt>
                <c:pt idx="60">
                  <c:v>0.016910935738444193</c:v>
                </c:pt>
                <c:pt idx="61">
                  <c:v>0.029411764705882353</c:v>
                </c:pt>
                <c:pt idx="62">
                  <c:v>0.013157894736842105</c:v>
                </c:pt>
                <c:pt idx="63">
                  <c:v>0.01661631419939577</c:v>
                </c:pt>
                <c:pt idx="64">
                  <c:v>0.017118402282453638</c:v>
                </c:pt>
                <c:pt idx="65">
                  <c:v>0.018072289156626505</c:v>
                </c:pt>
                <c:pt idx="66">
                  <c:v>0.018302828618968387</c:v>
                </c:pt>
                <c:pt idx="67">
                  <c:v>0.015473887814313346</c:v>
                </c:pt>
                <c:pt idx="68">
                  <c:v>0.00909090909090909</c:v>
                </c:pt>
                <c:pt idx="69">
                  <c:v>0.010810810810810811</c:v>
                </c:pt>
                <c:pt idx="70">
                  <c:v>0.012345679012345678</c:v>
                </c:pt>
                <c:pt idx="71">
                  <c:v>0.0136986301369863</c:v>
                </c:pt>
                <c:pt idx="72">
                  <c:v>0.015105740181268883</c:v>
                </c:pt>
                <c:pt idx="73">
                  <c:v>0.014534883720930232</c:v>
                </c:pt>
                <c:pt idx="74">
                  <c:v>0.01020408163265306</c:v>
                </c:pt>
                <c:pt idx="75">
                  <c:v>0.00974025974025974</c:v>
                </c:pt>
                <c:pt idx="76">
                  <c:v>0.010452961672473868</c:v>
                </c:pt>
                <c:pt idx="77">
                  <c:v>0.0035971223021582736</c:v>
                </c:pt>
                <c:pt idx="78">
                  <c:v>0.010526315789473684</c:v>
                </c:pt>
                <c:pt idx="79">
                  <c:v>0.00641025641025641</c:v>
                </c:pt>
                <c:pt idx="80">
                  <c:v>0.006825938566552901</c:v>
                </c:pt>
                <c:pt idx="81">
                  <c:v>0.013623978201634877</c:v>
                </c:pt>
                <c:pt idx="82">
                  <c:v>0.01060070671378092</c:v>
                </c:pt>
                <c:pt idx="83">
                  <c:v>0.009615384615384616</c:v>
                </c:pt>
                <c:pt idx="84">
                  <c:v>0.009615384615384616</c:v>
                </c:pt>
                <c:pt idx="85">
                  <c:v>0.015384615384615385</c:v>
                </c:pt>
                <c:pt idx="86">
                  <c:v>0.008771929824561403</c:v>
                </c:pt>
                <c:pt idx="87">
                  <c:v>0.007177033492822967</c:v>
                </c:pt>
                <c:pt idx="88">
                  <c:v>0.012048192771084338</c:v>
                </c:pt>
                <c:pt idx="89">
                  <c:v>0.010101010101010102</c:v>
                </c:pt>
                <c:pt idx="90">
                  <c:v>0.004629629629629629</c:v>
                </c:pt>
                <c:pt idx="91">
                  <c:v>0.0091324200913242</c:v>
                </c:pt>
                <c:pt idx="92">
                  <c:v>0.00684931506849315</c:v>
                </c:pt>
                <c:pt idx="93">
                  <c:v>0.006535947712418301</c:v>
                </c:pt>
                <c:pt idx="94">
                  <c:v>0.014018691588785047</c:v>
                </c:pt>
                <c:pt idx="95">
                  <c:v>0.005681818181818182</c:v>
                </c:pt>
                <c:pt idx="96">
                  <c:v>0.009345794392523364</c:v>
                </c:pt>
                <c:pt idx="97">
                  <c:v>0.006546644844517185</c:v>
                </c:pt>
                <c:pt idx="98">
                  <c:v>0.0035587188612099642</c:v>
                </c:pt>
                <c:pt idx="99">
                  <c:v>0.0017699115044247787</c:v>
                </c:pt>
                <c:pt idx="100">
                  <c:v>0.0025031289111389237</c:v>
                </c:pt>
                <c:pt idx="101">
                  <c:v>0.001718213058419244</c:v>
                </c:pt>
                <c:pt idx="102">
                  <c:v>0.0013175230566534915</c:v>
                </c:pt>
                <c:pt idx="103">
                  <c:v>0.0015527950310559005</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60</c:f>
              <c:numCache>
                <c:formatCode>General</c:formatCode>
                <c:ptCount val="53"/>
                <c:pt idx="0">
                  <c:v>0.0</c:v>
                </c:pt>
                <c:pt idx="1">
                  <c:v>1.4548661481099014</c:v>
                </c:pt>
                <c:pt idx="2">
                  <c:v>1.220060323926016</c:v>
                </c:pt>
                <c:pt idx="3">
                  <c:v>1.2660517818813495</c:v>
                </c:pt>
                <c:pt idx="4">
                  <c:v>1.2000707362894647</c:v>
                </c:pt>
                <c:pt idx="5">
                  <c:v>1.1222509862213368</c:v>
                </c:pt>
                <c:pt idx="6">
                  <c:v>1.1955055350952415</c:v>
                </c:pt>
                <c:pt idx="7">
                  <c:v>1.0504875092467814</c:v>
                </c:pt>
                <c:pt idx="8">
                  <c:v>1.5473336818610735</c:v>
                </c:pt>
                <c:pt idx="9">
                  <c:v>1.0360682058687074</c:v>
                </c:pt>
                <c:pt idx="10">
                  <c:v>1.5810604465703546</c:v>
                </c:pt>
                <c:pt idx="11">
                  <c:v>0.0</c:v>
                </c:pt>
                <c:pt idx="12">
                  <c:v>1.030040446624061</c:v>
                </c:pt>
                <c:pt idx="13">
                  <c:v>0.8127205590699614</c:v>
                </c:pt>
                <c:pt idx="14">
                  <c:v>1.0177235923530554</c:v>
                </c:pt>
                <c:pt idx="15">
                  <c:v>0.7828392446996285</c:v>
                </c:pt>
                <c:pt idx="16">
                  <c:v>1.3207616757824143</c:v>
                </c:pt>
                <c:pt idx="17">
                  <c:v>1.5448797277125188</c:v>
                </c:pt>
                <c:pt idx="18">
                  <c:v>1.0359628981941669</c:v>
                </c:pt>
                <c:pt idx="19">
                  <c:v>0.9016747148874962</c:v>
                </c:pt>
                <c:pt idx="20">
                  <c:v>1.629558156462601</c:v>
                </c:pt>
                <c:pt idx="21">
                  <c:v>1.3334957011117832</c:v>
                </c:pt>
                <c:pt idx="22">
                  <c:v>1.0104315940988253</c:v>
                </c:pt>
                <c:pt idx="23">
                  <c:v>1.2939008767765299</c:v>
                </c:pt>
                <c:pt idx="24">
                  <c:v>1.2860832596630716</c:v>
                </c:pt>
                <c:pt idx="25">
                  <c:v>1.2783531081427233</c:v>
                </c:pt>
                <c:pt idx="26">
                  <c:v>0.0</c:v>
                </c:pt>
                <c:pt idx="27">
                  <c:v>1.275871709254034</c:v>
                </c:pt>
                <c:pt idx="28">
                  <c:v>0.7706980908984271</c:v>
                </c:pt>
                <c:pt idx="29">
                  <c:v>1.273397069392772</c:v>
                </c:pt>
                <c:pt idx="30">
                  <c:v>0.0</c:v>
                </c:pt>
                <c:pt idx="31">
                  <c:v>0.7612403100775194</c:v>
                </c:pt>
                <c:pt idx="32">
                  <c:v>0.0</c:v>
                </c:pt>
                <c:pt idx="33">
                  <c:v>1.2716478044240866</c:v>
                </c:pt>
                <c:pt idx="34">
                  <c:v>1.5189522732139773</c:v>
                </c:pt>
                <c:pt idx="35">
                  <c:v>1.1667025631692345</c:v>
                </c:pt>
                <c:pt idx="36">
                  <c:v>1.2616736553336103</c:v>
                </c:pt>
                <c:pt idx="37">
                  <c:v>1.277780885169448</c:v>
                </c:pt>
                <c:pt idx="38">
                  <c:v>1.0874773475438877</c:v>
                </c:pt>
                <c:pt idx="39">
                  <c:v>0.652314416548492</c:v>
                </c:pt>
                <c:pt idx="40">
                  <c:v>0.8532200065380844</c:v>
                </c:pt>
                <c:pt idx="41">
                  <c:v>0.6077746136465006</c:v>
                </c:pt>
                <c:pt idx="42">
                  <c:v>0.5401991192581141</c:v>
                </c:pt>
                <c:pt idx="43">
                  <c:v>0.5025945135013774</c:v>
                </c:pt>
                <c:pt idx="44">
                  <c:v>0.5812622140916485</c:v>
                </c:pt>
                <c:pt idx="45">
                  <c:v>0.8712242493475254</c:v>
                </c:pt>
                <c:pt idx="46">
                  <c:v>0.6208825932272082</c:v>
                </c:pt>
                <c:pt idx="47">
                  <c:v>0.5389148770894229</c:v>
                </c:pt>
                <c:pt idx="48">
                  <c:v>0.4829602396801451</c:v>
                </c:pt>
                <c:pt idx="49">
                  <c:v>0.5835813964086467</c:v>
                </c:pt>
                <c:pt idx="50">
                  <c:v>0.6880379262536902</c:v>
                </c:pt>
                <c:pt idx="51">
                  <c:v>0.0</c:v>
                </c:pt>
                <c:pt idx="52">
                  <c:v>0.6154636298134827</c:v>
                </c:pt>
              </c:numCache>
            </c:numRef>
          </c:xVal>
          <c:yVal>
            <c:numRef>
              <c:f>Sheet1!$B$108:$B$160</c:f>
              <c:numCache>
                <c:formatCode>General</c:formatCode>
                <c:ptCount val="53"/>
                <c:pt idx="0">
                  <c:v>0.0</c:v>
                </c:pt>
                <c:pt idx="1">
                  <c:v>0.004694835680751174</c:v>
                </c:pt>
                <c:pt idx="2">
                  <c:v>0.007692307692307693</c:v>
                </c:pt>
                <c:pt idx="3">
                  <c:v>0.014354066985645933</c:v>
                </c:pt>
                <c:pt idx="4">
                  <c:v>0.014423076923076924</c:v>
                </c:pt>
                <c:pt idx="5">
                  <c:v>0.011299435028248588</c:v>
                </c:pt>
                <c:pt idx="6">
                  <c:v>0.0057251908396946565</c:v>
                </c:pt>
                <c:pt idx="7">
                  <c:v>0.0034602076124567475</c:v>
                </c:pt>
                <c:pt idx="8">
                  <c:v>0.002364066193853428</c:v>
                </c:pt>
                <c:pt idx="9">
                  <c:v>0.003194888178913738</c:v>
                </c:pt>
                <c:pt idx="10">
                  <c:v>0.002631578947368421</c:v>
                </c:pt>
                <c:pt idx="11">
                  <c:v>0.0</c:v>
                </c:pt>
                <c:pt idx="12">
                  <c:v>0.00333889816360601</c:v>
                </c:pt>
                <c:pt idx="13">
                  <c:v>0.0020833333333333333</c:v>
                </c:pt>
                <c:pt idx="14">
                  <c:v>0.004395604395604396</c:v>
                </c:pt>
                <c:pt idx="15">
                  <c:v>0.00228310502283105</c:v>
                </c:pt>
                <c:pt idx="16">
                  <c:v>0.002631578947368421</c:v>
                </c:pt>
                <c:pt idx="17">
                  <c:v>0.0030211480362537764</c:v>
                </c:pt>
                <c:pt idx="18">
                  <c:v>0.003676470588235294</c:v>
                </c:pt>
                <c:pt idx="19">
                  <c:v>0.00749063670411985</c:v>
                </c:pt>
                <c:pt idx="20">
                  <c:v>0.003401360544217687</c:v>
                </c:pt>
                <c:pt idx="21">
                  <c:v>0.0034965034965034965</c:v>
                </c:pt>
                <c:pt idx="22">
                  <c:v>0.00823045267489712</c:v>
                </c:pt>
                <c:pt idx="23">
                  <c:v>0.0038314176245210726</c:v>
                </c:pt>
                <c:pt idx="24">
                  <c:v>0.004484304932735426</c:v>
                </c:pt>
                <c:pt idx="25">
                  <c:v>0.003355704697986577</c:v>
                </c:pt>
                <c:pt idx="26">
                  <c:v>0.0</c:v>
                </c:pt>
                <c:pt idx="27">
                  <c:v>0.0038022813688212928</c:v>
                </c:pt>
                <c:pt idx="28">
                  <c:v>0.0033444816053511705</c:v>
                </c:pt>
                <c:pt idx="29">
                  <c:v>0.0031545741324921135</c:v>
                </c:pt>
                <c:pt idx="30">
                  <c:v>0.0</c:v>
                </c:pt>
                <c:pt idx="31">
                  <c:v>0.004016064257028112</c:v>
                </c:pt>
                <c:pt idx="32">
                  <c:v>0.0</c:v>
                </c:pt>
                <c:pt idx="33">
                  <c:v>0.004032258064516129</c:v>
                </c:pt>
                <c:pt idx="34">
                  <c:v>0.0029069767441860465</c:v>
                </c:pt>
                <c:pt idx="35">
                  <c:v>0.0022935779816513763</c:v>
                </c:pt>
                <c:pt idx="36">
                  <c:v>0.0032258064516129032</c:v>
                </c:pt>
                <c:pt idx="37">
                  <c:v>0.00625</c:v>
                </c:pt>
                <c:pt idx="38">
                  <c:v>0.005714285714285714</c:v>
                </c:pt>
                <c:pt idx="39">
                  <c:v>0.011049723756906077</c:v>
                </c:pt>
                <c:pt idx="40">
                  <c:v>0.004081632653061225</c:v>
                </c:pt>
                <c:pt idx="41">
                  <c:v>0.008032128514056224</c:v>
                </c:pt>
                <c:pt idx="42">
                  <c:v>0.007633587786259542</c:v>
                </c:pt>
                <c:pt idx="43">
                  <c:v>0.008547008547008548</c:v>
                </c:pt>
                <c:pt idx="44">
                  <c:v>0.0027624309392265192</c:v>
                </c:pt>
                <c:pt idx="45">
                  <c:v>0.0024154589371980675</c:v>
                </c:pt>
                <c:pt idx="46">
                  <c:v>0.01289134438305709</c:v>
                </c:pt>
                <c:pt idx="47">
                  <c:v>0.004319654427645789</c:v>
                </c:pt>
                <c:pt idx="48">
                  <c:v>0.002</c:v>
                </c:pt>
                <c:pt idx="49">
                  <c:v>0.003683241252302026</c:v>
                </c:pt>
                <c:pt idx="50">
                  <c:v>0.0014749262536873156</c:v>
                </c:pt>
                <c:pt idx="51">
                  <c:v>0.0</c:v>
                </c:pt>
                <c:pt idx="52">
                  <c:v>0.00311526479750778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359809336305725</c:v>
                </c:pt>
              </c:numCache>
            </c:numRef>
          </c:xVal>
          <c:yVal>
            <c:numRef>
              <c:f>Sheet1!$B$163:$B$164</c:f>
              <c:numCache>
                <c:formatCode>General</c:formatCode>
                <c:ptCount val="2"/>
                <c:pt idx="0">
                  <c:v>0.033104266271132096</c:v>
                </c:pt>
                <c:pt idx="1">
                  <c:v>0.0331042662711320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359809336305725</c:v>
                </c:pt>
                <c:pt idx="1">
                  <c:v>15.359809336305725</c:v>
                </c:pt>
              </c:numCache>
            </c:numRef>
          </c:xVal>
          <c:yVal>
            <c:numRef>
              <c:f>Sheet1!$B$167:$B$168</c:f>
              <c:numCache>
                <c:formatCode>General</c:formatCode>
                <c:ptCount val="2"/>
                <c:pt idx="0">
                  <c:v>0.0331042662711320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436693359052323</c:v>
                </c:pt>
              </c:numCache>
            </c:numRef>
          </c:xVal>
          <c:yVal>
            <c:numRef>
              <c:f>Sheet1!$B$171:$B$172</c:f>
              <c:numCache>
                <c:formatCode>General</c:formatCode>
                <c:ptCount val="2"/>
                <c:pt idx="0">
                  <c:v>0.007467563903883209</c:v>
                </c:pt>
                <c:pt idx="1">
                  <c:v>0.00746756390388320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436693359052323</c:v>
                </c:pt>
                <c:pt idx="1">
                  <c:v>2.436693359052323</c:v>
                </c:pt>
              </c:numCache>
            </c:numRef>
          </c:xVal>
          <c:yVal>
            <c:numRef>
              <c:f>Sheet1!$B$175:$B$176</c:f>
              <c:numCache>
                <c:formatCode>General</c:formatCode>
                <c:ptCount val="2"/>
                <c:pt idx="0">
                  <c:v>0.00746756390388320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360442945493482</c:v>
                </c:pt>
              </c:numCache>
            </c:numRef>
          </c:xVal>
          <c:yVal>
            <c:numRef>
              <c:f>Sheet1!$B$179:$B$180</c:f>
              <c:numCache>
                <c:formatCode>General</c:formatCode>
                <c:ptCount val="2"/>
                <c:pt idx="0">
                  <c:v>0.004688975268539241</c:v>
                </c:pt>
                <c:pt idx="1">
                  <c:v>0.00468897526853924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360442945493482</c:v>
                </c:pt>
                <c:pt idx="1">
                  <c:v>1.0360442945493482</c:v>
                </c:pt>
              </c:numCache>
            </c:numRef>
          </c:xVal>
          <c:yVal>
            <c:numRef>
              <c:f>Sheet1!$B$183:$B$184</c:f>
              <c:numCache>
                <c:formatCode>General</c:formatCode>
                <c:ptCount val="2"/>
                <c:pt idx="0">
                  <c:v>0.0046889752685392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2</c:f>
              <c:numCache>
                <c:formatCode>General</c:formatCode>
                <c:ptCount val="56"/>
                <c:pt idx="0">
                  <c:v>0.0</c:v>
                </c:pt>
                <c:pt idx="1">
                  <c:v>1.4548661481099014</c:v>
                </c:pt>
                <c:pt idx="2">
                  <c:v>1.220060323926016</c:v>
                </c:pt>
                <c:pt idx="3">
                  <c:v>1.2660517818813495</c:v>
                </c:pt>
                <c:pt idx="4">
                  <c:v>1.2000707362894647</c:v>
                </c:pt>
                <c:pt idx="5">
                  <c:v>1.1222509862213368</c:v>
                </c:pt>
                <c:pt idx="6">
                  <c:v>1.1955055350952415</c:v>
                </c:pt>
                <c:pt idx="7">
                  <c:v>1.0504875092467814</c:v>
                </c:pt>
                <c:pt idx="8">
                  <c:v>1.5473336818610735</c:v>
                </c:pt>
                <c:pt idx="9">
                  <c:v>1.0360682058687074</c:v>
                </c:pt>
                <c:pt idx="10">
                  <c:v>1.5810604465703546</c:v>
                </c:pt>
                <c:pt idx="11">
                  <c:v>0.0</c:v>
                </c:pt>
                <c:pt idx="12">
                  <c:v>1.030040446624061</c:v>
                </c:pt>
                <c:pt idx="13">
                  <c:v>0.8127205590699614</c:v>
                </c:pt>
                <c:pt idx="14">
                  <c:v>1.0177235923530554</c:v>
                </c:pt>
                <c:pt idx="15">
                  <c:v>0.7828392446996285</c:v>
                </c:pt>
                <c:pt idx="16">
                  <c:v>1.3207616757824143</c:v>
                </c:pt>
                <c:pt idx="17">
                  <c:v>1.5448797277125188</c:v>
                </c:pt>
                <c:pt idx="18">
                  <c:v>1.0359628981941669</c:v>
                </c:pt>
                <c:pt idx="19">
                  <c:v>0.9016747148874962</c:v>
                </c:pt>
                <c:pt idx="20">
                  <c:v>1.629558156462601</c:v>
                </c:pt>
                <c:pt idx="21">
                  <c:v>1.3334957011117832</c:v>
                </c:pt>
                <c:pt idx="22">
                  <c:v>1.0104315940988253</c:v>
                </c:pt>
                <c:pt idx="23">
                  <c:v>1.2939008767765299</c:v>
                </c:pt>
                <c:pt idx="24">
                  <c:v>1.2860832596630716</c:v>
                </c:pt>
                <c:pt idx="25">
                  <c:v>1.2783531081427233</c:v>
                </c:pt>
                <c:pt idx="26">
                  <c:v>0.0</c:v>
                </c:pt>
                <c:pt idx="27">
                  <c:v>1.275871709254034</c:v>
                </c:pt>
                <c:pt idx="28">
                  <c:v>0.7706980908984271</c:v>
                </c:pt>
                <c:pt idx="29">
                  <c:v>1.273397069392772</c:v>
                </c:pt>
                <c:pt idx="30">
                  <c:v>0.0</c:v>
                </c:pt>
                <c:pt idx="31">
                  <c:v>0.7612403100775194</c:v>
                </c:pt>
                <c:pt idx="32">
                  <c:v>0.0</c:v>
                </c:pt>
                <c:pt idx="33">
                  <c:v>1.2716478044240866</c:v>
                </c:pt>
                <c:pt idx="34">
                  <c:v>1.5189522732139773</c:v>
                </c:pt>
                <c:pt idx="35">
                  <c:v>1.1667025631692345</c:v>
                </c:pt>
                <c:pt idx="36">
                  <c:v>1.2616736553336103</c:v>
                </c:pt>
                <c:pt idx="37">
                  <c:v>1.277780885169448</c:v>
                </c:pt>
                <c:pt idx="38">
                  <c:v>1.0874773475438877</c:v>
                </c:pt>
                <c:pt idx="39">
                  <c:v>0.652314416548492</c:v>
                </c:pt>
                <c:pt idx="40">
                  <c:v>0.8532200065380844</c:v>
                </c:pt>
                <c:pt idx="41">
                  <c:v>0.6077746136465006</c:v>
                </c:pt>
                <c:pt idx="42">
                  <c:v>0.5401991192581141</c:v>
                </c:pt>
                <c:pt idx="43">
                  <c:v>0.5025945135013774</c:v>
                </c:pt>
                <c:pt idx="44">
                  <c:v>0.5812622140916485</c:v>
                </c:pt>
                <c:pt idx="45">
                  <c:v>0.8712242493475254</c:v>
                </c:pt>
                <c:pt idx="46">
                  <c:v>0.6208825932272082</c:v>
                </c:pt>
                <c:pt idx="47">
                  <c:v>0.5389148770894229</c:v>
                </c:pt>
                <c:pt idx="48">
                  <c:v>0.4829602396801451</c:v>
                </c:pt>
                <c:pt idx="49">
                  <c:v>0.5835813964086467</c:v>
                </c:pt>
                <c:pt idx="50">
                  <c:v>0.6880379262536902</c:v>
                </c:pt>
                <c:pt idx="51">
                  <c:v>0.0</c:v>
                </c:pt>
                <c:pt idx="52">
                  <c:v>0.6154636298134827</c:v>
                </c:pt>
                <c:pt idx="53">
                  <c:v>2.436693359052323</c:v>
                </c:pt>
                <c:pt idx="54">
                  <c:v>15.359809336305725</c:v>
                </c:pt>
                <c:pt idx="55">
                  <c:v>1.0360442945493482</c:v>
                </c:pt>
              </c:numCache>
            </c:numRef>
          </c:xVal>
          <c:yVal>
            <c:numRef>
              <c:f>Sheet1!$B$187:$B$242</c:f>
              <c:numCache>
                <c:formatCode>General</c:formatCode>
                <c:ptCount val="56"/>
                <c:pt idx="0">
                  <c:v>0.0026336846354288635</c:v>
                </c:pt>
                <c:pt idx="1">
                  <c:v>0.0055198283865899095</c:v>
                </c:pt>
                <c:pt idx="2">
                  <c:v>0.005054023774196559</c:v>
                </c:pt>
                <c:pt idx="3">
                  <c:v>0.0051452610053033645</c:v>
                </c:pt>
                <c:pt idx="4">
                  <c:v>0.0050143687011023974</c:v>
                </c:pt>
                <c:pt idx="5">
                  <c:v>0.004859990935376092</c:v>
                </c:pt>
                <c:pt idx="6">
                  <c:v>0.005005312316831846</c:v>
                </c:pt>
                <c:pt idx="7">
                  <c:v>0.004717627522150221</c:v>
                </c:pt>
                <c:pt idx="8">
                  <c:v>0.005703264227108936</c:v>
                </c:pt>
                <c:pt idx="9">
                  <c:v>0.004689022703490587</c:v>
                </c:pt>
                <c:pt idx="10">
                  <c:v>0.005770170925941011</c:v>
                </c:pt>
                <c:pt idx="11">
                  <c:v>0.0026336846354288635</c:v>
                </c:pt>
                <c:pt idx="12">
                  <c:v>0.004677064916377291</c:v>
                </c:pt>
                <c:pt idx="13">
                  <c:v>0.00424594866813539</c:v>
                </c:pt>
                <c:pt idx="14">
                  <c:v>0.004652630907768041</c:v>
                </c:pt>
                <c:pt idx="15">
                  <c:v>0.004186670521579807</c:v>
                </c:pt>
                <c:pt idx="16">
                  <c:v>0.005253793751504367</c:v>
                </c:pt>
                <c:pt idx="17">
                  <c:v>0.0056983961061201505</c:v>
                </c:pt>
                <c:pt idx="18">
                  <c:v>0.004688813795552754</c:v>
                </c:pt>
                <c:pt idx="19">
                  <c:v>0.004422414717115994</c:v>
                </c:pt>
                <c:pt idx="20">
                  <c:v>0.005866380025680512</c:v>
                </c:pt>
                <c:pt idx="21">
                  <c:v>0.0052790553384065245</c:v>
                </c:pt>
                <c:pt idx="22">
                  <c:v>0.004638165140437991</c:v>
                </c:pt>
                <c:pt idx="23">
                  <c:v>0.005200507662400745</c:v>
                </c:pt>
                <c:pt idx="24">
                  <c:v>0.005184999179499904</c:v>
                </c:pt>
                <c:pt idx="25">
                  <c:v>0.005169664209657512</c:v>
                </c:pt>
                <c:pt idx="26">
                  <c:v>0.0026336846354288635</c:v>
                </c:pt>
                <c:pt idx="27">
                  <c:v>0.0051647416441651245</c:v>
                </c:pt>
                <c:pt idx="28">
                  <c:v>0.004162585065181811</c:v>
                </c:pt>
                <c:pt idx="29">
                  <c:v>0.005159832487139762</c:v>
                </c:pt>
                <c:pt idx="30">
                  <c:v>0.0026336846354288635</c:v>
                </c:pt>
                <c:pt idx="31">
                  <c:v>0.004143822847742374</c:v>
                </c:pt>
                <c:pt idx="32">
                  <c:v>0.0026336846354288635</c:v>
                </c:pt>
                <c:pt idx="33">
                  <c:v>0.005156362318997453</c:v>
                </c:pt>
                <c:pt idx="34">
                  <c:v>0.005646961573203364</c:v>
                </c:pt>
                <c:pt idx="35">
                  <c:v>0.00494817337140576</c:v>
                </c:pt>
                <c:pt idx="36">
                  <c:v>0.005136575737181644</c:v>
                </c:pt>
                <c:pt idx="37">
                  <c:v>0.005168529041476759</c:v>
                </c:pt>
                <c:pt idx="38">
                  <c:v>0.0047910074621511246</c:v>
                </c:pt>
                <c:pt idx="39">
                  <c:v>0.003927737136107074</c:v>
                </c:pt>
                <c:pt idx="40">
                  <c:v>0.004326290923254497</c:v>
                </c:pt>
                <c:pt idx="41">
                  <c:v>0.003839379678625139</c:v>
                </c:pt>
                <c:pt idx="42">
                  <c:v>0.0037053243285064784</c:v>
                </c:pt>
                <c:pt idx="43">
                  <c:v>0.0036307248211492685</c:v>
                </c:pt>
                <c:pt idx="44">
                  <c:v>0.0037867847396316576</c:v>
                </c:pt>
                <c:pt idx="45">
                  <c:v>0.004362007496182091</c:v>
                </c:pt>
                <c:pt idx="46">
                  <c:v>0.0038653831109040156</c:v>
                </c:pt>
                <c:pt idx="47">
                  <c:v>0.0037027766662937308</c:v>
                </c:pt>
                <c:pt idx="48">
                  <c:v>0.0035917746147874296</c:v>
                </c:pt>
                <c:pt idx="49">
                  <c:v>0.0037913855020871618</c:v>
                </c:pt>
                <c:pt idx="50">
                  <c:v>0.0039986049506061236</c:v>
                </c:pt>
                <c:pt idx="51">
                  <c:v>0.0026336846354288635</c:v>
                </c:pt>
                <c:pt idx="52">
                  <c:v>0.0038546330447109074</c:v>
                </c:pt>
                <c:pt idx="53">
                  <c:v>0.007467563903883208</c:v>
                </c:pt>
                <c:pt idx="54">
                  <c:v>0.033104266271132096</c:v>
                </c:pt>
                <c:pt idx="55">
                  <c:v>0.0046889752685392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42168674698795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660.2188</c:v>
                </c:pt>
                <c:pt idx="1">
                  <c:v>771.5833</c:v>
                </c:pt>
                <c:pt idx="2">
                  <c:v>866.0</c:v>
                </c:pt>
                <c:pt idx="3">
                  <c:v>866.3333</c:v>
                </c:pt>
                <c:pt idx="4">
                  <c:v>875.6</c:v>
                </c:pt>
                <c:pt idx="5">
                  <c:v>856.1905</c:v>
                </c:pt>
                <c:pt idx="6">
                  <c:v>876.7059</c:v>
                </c:pt>
                <c:pt idx="7">
                  <c:v>838.9375</c:v>
                </c:pt>
                <c:pt idx="8">
                  <c:v>863.1333</c:v>
                </c:pt>
                <c:pt idx="9">
                  <c:v>883.7222</c:v>
                </c:pt>
                <c:pt idx="10">
                  <c:v>862.6471</c:v>
                </c:pt>
                <c:pt idx="11">
                  <c:v>842.8182</c:v>
                </c:pt>
                <c:pt idx="12">
                  <c:v>868.6667</c:v>
                </c:pt>
                <c:pt idx="13">
                  <c:v>864.8125</c:v>
                </c:pt>
                <c:pt idx="14">
                  <c:v>853.0</c:v>
                </c:pt>
                <c:pt idx="15">
                  <c:v>825.0909</c:v>
                </c:pt>
                <c:pt idx="16">
                  <c:v>897.0</c:v>
                </c:pt>
                <c:pt idx="17">
                  <c:v>879.75</c:v>
                </c:pt>
                <c:pt idx="18">
                  <c:v>784.8</c:v>
                </c:pt>
                <c:pt idx="19">
                  <c:v>854.8333</c:v>
                </c:pt>
                <c:pt idx="20">
                  <c:v>801.0</c:v>
                </c:pt>
                <c:pt idx="21">
                  <c:v>782.8</c:v>
                </c:pt>
                <c:pt idx="22">
                  <c:v>824.0</c:v>
                </c:pt>
                <c:pt idx="23">
                  <c:v>848.8</c:v>
                </c:pt>
                <c:pt idx="24">
                  <c:v>882.8571</c:v>
                </c:pt>
                <c:pt idx="25">
                  <c:v>822.25</c:v>
                </c:pt>
                <c:pt idx="26">
                  <c:v>887.3846</c:v>
                </c:pt>
                <c:pt idx="27">
                  <c:v>842.7059</c:v>
                </c:pt>
                <c:pt idx="28">
                  <c:v>846.8889</c:v>
                </c:pt>
                <c:pt idx="29">
                  <c:v>845.6154</c:v>
                </c:pt>
                <c:pt idx="30">
                  <c:v>864.5556</c:v>
                </c:pt>
                <c:pt idx="31">
                  <c:v>849.75</c:v>
                </c:pt>
                <c:pt idx="32">
                  <c:v>824.0</c:v>
                </c:pt>
                <c:pt idx="33">
                  <c:v>856.5833</c:v>
                </c:pt>
                <c:pt idx="34">
                  <c:v>843.3158</c:v>
                </c:pt>
                <c:pt idx="35">
                  <c:v>849.75</c:v>
                </c:pt>
                <c:pt idx="36">
                  <c:v>1065.0</c:v>
                </c:pt>
                <c:pt idx="37">
                  <c:v>1171.8</c:v>
                </c:pt>
                <c:pt idx="38">
                  <c:v>1177.1429</c:v>
                </c:pt>
                <c:pt idx="39">
                  <c:v>1149.5</c:v>
                </c:pt>
                <c:pt idx="40">
                  <c:v>1213.0</c:v>
                </c:pt>
                <c:pt idx="41">
                  <c:v>1116.0</c:v>
                </c:pt>
                <c:pt idx="42">
                  <c:v>1069.5</c:v>
                </c:pt>
                <c:pt idx="43">
                  <c:v>1185.75</c:v>
                </c:pt>
                <c:pt idx="44">
                  <c:v>1111.3333</c:v>
                </c:pt>
                <c:pt idx="45">
                  <c:v>1112.0</c:v>
                </c:pt>
                <c:pt idx="46">
                  <c:v>1235.5714</c:v>
                </c:pt>
                <c:pt idx="47">
                  <c:v>1113.2</c:v>
                </c:pt>
                <c:pt idx="48">
                  <c:v>1174.7368</c:v>
                </c:pt>
                <c:pt idx="49">
                  <c:v>1173.7857</c:v>
                </c:pt>
                <c:pt idx="50">
                  <c:v>1181.8125</c:v>
                </c:pt>
                <c:pt idx="51">
                  <c:v>1162.5</c:v>
                </c:pt>
                <c:pt idx="52">
                  <c:v>1142.5714</c:v>
                </c:pt>
                <c:pt idx="53">
                  <c:v>1116.0</c:v>
                </c:pt>
                <c:pt idx="54">
                  <c:v>1126.5385</c:v>
                </c:pt>
                <c:pt idx="55">
                  <c:v>1182.0909</c:v>
                </c:pt>
                <c:pt idx="56">
                  <c:v>1201.8462</c:v>
                </c:pt>
                <c:pt idx="57">
                  <c:v>1166.5625</c:v>
                </c:pt>
                <c:pt idx="58">
                  <c:v>1190.4</c:v>
                </c:pt>
                <c:pt idx="59">
                  <c:v>1129.9444</c:v>
                </c:pt>
                <c:pt idx="60">
                  <c:v>1181.4667</c:v>
                </c:pt>
                <c:pt idx="61">
                  <c:v>1130.7647</c:v>
                </c:pt>
                <c:pt idx="62">
                  <c:v>1217.125</c:v>
                </c:pt>
                <c:pt idx="63">
                  <c:v>1182.0909</c:v>
                </c:pt>
                <c:pt idx="64">
                  <c:v>1209.0</c:v>
                </c:pt>
                <c:pt idx="65">
                  <c:v>1136.75</c:v>
                </c:pt>
                <c:pt idx="66">
                  <c:v>1111.3636</c:v>
                </c:pt>
                <c:pt idx="67">
                  <c:v>1102.25</c:v>
                </c:pt>
                <c:pt idx="68">
                  <c:v>1185.75</c:v>
                </c:pt>
                <c:pt idx="69">
                  <c:v>1018.75</c:v>
                </c:pt>
                <c:pt idx="70">
                  <c:v>1116.0</c:v>
                </c:pt>
                <c:pt idx="71">
                  <c:v>1046.25</c:v>
                </c:pt>
                <c:pt idx="72">
                  <c:v>1060.2</c:v>
                </c:pt>
                <c:pt idx="73">
                  <c:v>1116.0</c:v>
                </c:pt>
                <c:pt idx="74">
                  <c:v>1255.5</c:v>
                </c:pt>
                <c:pt idx="75">
                  <c:v>1079.3333</c:v>
                </c:pt>
                <c:pt idx="76">
                  <c:v>989.0</c:v>
                </c:pt>
                <c:pt idx="77">
                  <c:v>1175.0</c:v>
                </c:pt>
                <c:pt idx="78">
                  <c:v>906.3333</c:v>
                </c:pt>
                <c:pt idx="79">
                  <c:v>976.5</c:v>
                </c:pt>
                <c:pt idx="80">
                  <c:v>751.5</c:v>
                </c:pt>
                <c:pt idx="81">
                  <c:v>753.8</c:v>
                </c:pt>
                <c:pt idx="82">
                  <c:v>619.6667</c:v>
                </c:pt>
                <c:pt idx="83">
                  <c:v>845.0</c:v>
                </c:pt>
                <c:pt idx="84">
                  <c:v>760.5</c:v>
                </c:pt>
                <c:pt idx="85">
                  <c:v>760.5</c:v>
                </c:pt>
                <c:pt idx="86">
                  <c:v>732.3333</c:v>
                </c:pt>
                <c:pt idx="87">
                  <c:v>732.3333</c:v>
                </c:pt>
                <c:pt idx="88">
                  <c:v>676.0</c:v>
                </c:pt>
                <c:pt idx="89">
                  <c:v>760.5</c:v>
                </c:pt>
                <c:pt idx="90">
                  <c:v>676.0</c:v>
                </c:pt>
                <c:pt idx="91">
                  <c:v>760.5</c:v>
                </c:pt>
                <c:pt idx="92">
                  <c:v>676.0</c:v>
                </c:pt>
                <c:pt idx="93">
                  <c:v>676.0</c:v>
                </c:pt>
                <c:pt idx="94">
                  <c:v>619.6667</c:v>
                </c:pt>
                <c:pt idx="95">
                  <c:v>676.0</c:v>
                </c:pt>
                <c:pt idx="96">
                  <c:v>676.0</c:v>
                </c:pt>
                <c:pt idx="97">
                  <c:v>633.75</c:v>
                </c:pt>
                <c:pt idx="98">
                  <c:v>732.3333</c:v>
                </c:pt>
                <c:pt idx="99">
                  <c:v>877.0</c:v>
                </c:pt>
                <c:pt idx="100">
                  <c:v>1033.5</c:v>
                </c:pt>
                <c:pt idx="101">
                  <c:v>666.0</c:v>
                </c:pt>
                <c:pt idx="102">
                  <c:v>649.0</c:v>
                </c:pt>
                <c:pt idx="103">
                  <c:v>805.0</c:v>
                </c:pt>
              </c:numCache>
            </c:numRef>
          </c:xVal>
          <c:yVal>
            <c:numRef>
              <c:f>Sheet1!$B$2:$B$105</c:f>
              <c:numCache>
                <c:formatCode>General</c:formatCode>
                <c:ptCount val="104"/>
                <c:pt idx="0">
                  <c:v>0.03018867924528302</c:v>
                </c:pt>
                <c:pt idx="1">
                  <c:v>0.027366020524515394</c:v>
                </c:pt>
                <c:pt idx="2">
                  <c:v>0.030229746070133012</c:v>
                </c:pt>
                <c:pt idx="3">
                  <c:v>0.032219570405727926</c:v>
                </c:pt>
                <c:pt idx="4">
                  <c:v>0.04405286343612335</c:v>
                </c:pt>
                <c:pt idx="5">
                  <c:v>0.035175879396984924</c:v>
                </c:pt>
                <c:pt idx="6">
                  <c:v>0.029462738301559793</c:v>
                </c:pt>
                <c:pt idx="7">
                  <c:v>0.03361344537815126</c:v>
                </c:pt>
                <c:pt idx="8">
                  <c:v>0.035629453681710214</c:v>
                </c:pt>
                <c:pt idx="9">
                  <c:v>0.034026465028355386</c:v>
                </c:pt>
                <c:pt idx="10">
                  <c:v>0.030141843971631204</c:v>
                </c:pt>
                <c:pt idx="11">
                  <c:v>0.03470031545741325</c:v>
                </c:pt>
                <c:pt idx="12">
                  <c:v>0.02821316614420063</c:v>
                </c:pt>
                <c:pt idx="13">
                  <c:v>0.023121387283236993</c:v>
                </c:pt>
                <c:pt idx="14">
                  <c:v>0.020833333333333332</c:v>
                </c:pt>
                <c:pt idx="15">
                  <c:v>0.017628205128205128</c:v>
                </c:pt>
                <c:pt idx="16">
                  <c:v>0.01764705882352941</c:v>
                </c:pt>
                <c:pt idx="17">
                  <c:v>0.01603206412825651</c:v>
                </c:pt>
                <c:pt idx="18">
                  <c:v>0.013054830287206266</c:v>
                </c:pt>
                <c:pt idx="19">
                  <c:v>0.01892744479495268</c:v>
                </c:pt>
                <c:pt idx="20">
                  <c:v>0.017587939698492462</c:v>
                </c:pt>
                <c:pt idx="21">
                  <c:v>0.019083969465648856</c:v>
                </c:pt>
                <c:pt idx="22">
                  <c:v>0.033444816053511704</c:v>
                </c:pt>
                <c:pt idx="23">
                  <c:v>0.045180722891566265</c:v>
                </c:pt>
                <c:pt idx="24">
                  <c:v>0.028985507246376812</c:v>
                </c:pt>
                <c:pt idx="25">
                  <c:v>0.030226700251889168</c:v>
                </c:pt>
                <c:pt idx="26">
                  <c:v>0.03209876543209877</c:v>
                </c:pt>
                <c:pt idx="27">
                  <c:v>0.03736263736263736</c:v>
                </c:pt>
                <c:pt idx="28">
                  <c:v>0.02122641509433962</c:v>
                </c:pt>
                <c:pt idx="29">
                  <c:v>0.026476578411405296</c:v>
                </c:pt>
                <c:pt idx="30">
                  <c:v>0.025139664804469275</c:v>
                </c:pt>
                <c:pt idx="31">
                  <c:v>0.025477707006369428</c:v>
                </c:pt>
                <c:pt idx="32">
                  <c:v>0.0273972602739726</c:v>
                </c:pt>
                <c:pt idx="33">
                  <c:v>0.030226700251889168</c:v>
                </c:pt>
                <c:pt idx="34">
                  <c:v>0.03762376237623762</c:v>
                </c:pt>
                <c:pt idx="35">
                  <c:v>0.04240282685512368</c:v>
                </c:pt>
                <c:pt idx="36">
                  <c:v>0.02040816326530612</c:v>
                </c:pt>
                <c:pt idx="37">
                  <c:v>0.014749262536873156</c:v>
                </c:pt>
                <c:pt idx="38">
                  <c:v>0.021604938271604937</c:v>
                </c:pt>
                <c:pt idx="39">
                  <c:v>0.011834319526627219</c:v>
                </c:pt>
                <c:pt idx="40">
                  <c:v>0.010893246187363835</c:v>
                </c:pt>
                <c:pt idx="41">
                  <c:v>0.009615384615384616</c:v>
                </c:pt>
                <c:pt idx="42">
                  <c:v>0.012875536480686695</c:v>
                </c:pt>
                <c:pt idx="43">
                  <c:v>0.007751937984496124</c:v>
                </c:pt>
                <c:pt idx="44">
                  <c:v>0.008522727272727272</c:v>
                </c:pt>
                <c:pt idx="45">
                  <c:v>0.008928571428571428</c:v>
                </c:pt>
                <c:pt idx="46">
                  <c:v>0.006937561942517344</c:v>
                </c:pt>
                <c:pt idx="47">
                  <c:v>0.010604453870625663</c:v>
                </c:pt>
                <c:pt idx="48">
                  <c:v>0.015127388535031847</c:v>
                </c:pt>
                <c:pt idx="49">
                  <c:v>0.015486725663716814</c:v>
                </c:pt>
                <c:pt idx="50">
                  <c:v>0.017429193899782137</c:v>
                </c:pt>
                <c:pt idx="51">
                  <c:v>0.01634877384196185</c:v>
                </c:pt>
                <c:pt idx="52">
                  <c:v>0.023076923076923078</c:v>
                </c:pt>
                <c:pt idx="53">
                  <c:v>0.0187207488299532</c:v>
                </c:pt>
                <c:pt idx="54">
                  <c:v>0.020833333333333332</c:v>
                </c:pt>
                <c:pt idx="55">
                  <c:v>0.019097222222222224</c:v>
                </c:pt>
                <c:pt idx="56">
                  <c:v>0.022608695652173914</c:v>
                </c:pt>
                <c:pt idx="57">
                  <c:v>0.0237741456166419</c:v>
                </c:pt>
                <c:pt idx="58">
                  <c:v>0.02094972067039106</c:v>
                </c:pt>
                <c:pt idx="59">
                  <c:v>0.018499486125385406</c:v>
                </c:pt>
                <c:pt idx="60">
                  <c:v>0.016910935738444193</c:v>
                </c:pt>
                <c:pt idx="61">
                  <c:v>0.029411764705882353</c:v>
                </c:pt>
                <c:pt idx="62">
                  <c:v>0.013157894736842105</c:v>
                </c:pt>
                <c:pt idx="63">
                  <c:v>0.01661631419939577</c:v>
                </c:pt>
                <c:pt idx="64">
                  <c:v>0.017118402282453638</c:v>
                </c:pt>
                <c:pt idx="65">
                  <c:v>0.018072289156626505</c:v>
                </c:pt>
                <c:pt idx="66">
                  <c:v>0.018302828618968387</c:v>
                </c:pt>
                <c:pt idx="67">
                  <c:v>0.015473887814313346</c:v>
                </c:pt>
                <c:pt idx="68">
                  <c:v>0.00909090909090909</c:v>
                </c:pt>
                <c:pt idx="69">
                  <c:v>0.010810810810810811</c:v>
                </c:pt>
                <c:pt idx="70">
                  <c:v>0.012345679012345678</c:v>
                </c:pt>
                <c:pt idx="71">
                  <c:v>0.0136986301369863</c:v>
                </c:pt>
                <c:pt idx="72">
                  <c:v>0.015105740181268883</c:v>
                </c:pt>
                <c:pt idx="73">
                  <c:v>0.014534883720930232</c:v>
                </c:pt>
                <c:pt idx="74">
                  <c:v>0.01020408163265306</c:v>
                </c:pt>
                <c:pt idx="75">
                  <c:v>0.00974025974025974</c:v>
                </c:pt>
                <c:pt idx="76">
                  <c:v>0.010452961672473868</c:v>
                </c:pt>
                <c:pt idx="77">
                  <c:v>0.0035971223021582736</c:v>
                </c:pt>
                <c:pt idx="78">
                  <c:v>0.010526315789473684</c:v>
                </c:pt>
                <c:pt idx="79">
                  <c:v>0.00641025641025641</c:v>
                </c:pt>
                <c:pt idx="80">
                  <c:v>0.006825938566552901</c:v>
                </c:pt>
                <c:pt idx="81">
                  <c:v>0.013623978201634877</c:v>
                </c:pt>
                <c:pt idx="82">
                  <c:v>0.01060070671378092</c:v>
                </c:pt>
                <c:pt idx="83">
                  <c:v>0.009615384615384616</c:v>
                </c:pt>
                <c:pt idx="84">
                  <c:v>0.009615384615384616</c:v>
                </c:pt>
                <c:pt idx="85">
                  <c:v>0.015384615384615385</c:v>
                </c:pt>
                <c:pt idx="86">
                  <c:v>0.008771929824561403</c:v>
                </c:pt>
                <c:pt idx="87">
                  <c:v>0.007177033492822967</c:v>
                </c:pt>
                <c:pt idx="88">
                  <c:v>0.012048192771084338</c:v>
                </c:pt>
                <c:pt idx="89">
                  <c:v>0.010101010101010102</c:v>
                </c:pt>
                <c:pt idx="90">
                  <c:v>0.004629629629629629</c:v>
                </c:pt>
                <c:pt idx="91">
                  <c:v>0.0091324200913242</c:v>
                </c:pt>
                <c:pt idx="92">
                  <c:v>0.00684931506849315</c:v>
                </c:pt>
                <c:pt idx="93">
                  <c:v>0.006535947712418301</c:v>
                </c:pt>
                <c:pt idx="94">
                  <c:v>0.014018691588785047</c:v>
                </c:pt>
                <c:pt idx="95">
                  <c:v>0.005681818181818182</c:v>
                </c:pt>
                <c:pt idx="96">
                  <c:v>0.009345794392523364</c:v>
                </c:pt>
                <c:pt idx="97">
                  <c:v>0.006546644844517185</c:v>
                </c:pt>
                <c:pt idx="98">
                  <c:v>0.0035587188612099642</c:v>
                </c:pt>
                <c:pt idx="99">
                  <c:v>0.0017699115044247787</c:v>
                </c:pt>
                <c:pt idx="100">
                  <c:v>0.0025031289111389237</c:v>
                </c:pt>
                <c:pt idx="101">
                  <c:v>0.001718213058419244</c:v>
                </c:pt>
                <c:pt idx="102">
                  <c:v>0.0013175230566534915</c:v>
                </c:pt>
                <c:pt idx="103">
                  <c:v>0.0015527950310559005</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60</c:f>
              <c:numCache>
                <c:formatCode>General</c:formatCode>
                <c:ptCount val="53"/>
                <c:pt idx="0">
                  <c:v>0.0</c:v>
                </c:pt>
                <c:pt idx="1">
                  <c:v>748.6667</c:v>
                </c:pt>
                <c:pt idx="2">
                  <c:v>636.0</c:v>
                </c:pt>
                <c:pt idx="3">
                  <c:v>654.7778</c:v>
                </c:pt>
                <c:pt idx="4">
                  <c:v>624.6667</c:v>
                </c:pt>
                <c:pt idx="5">
                  <c:v>690.6667</c:v>
                </c:pt>
                <c:pt idx="6">
                  <c:v>752.0</c:v>
                </c:pt>
                <c:pt idx="7">
                  <c:v>632.5</c:v>
                </c:pt>
                <c:pt idx="8">
                  <c:v>956.0</c:v>
                </c:pt>
                <c:pt idx="9">
                  <c:v>636.0</c:v>
                </c:pt>
                <c:pt idx="10">
                  <c:v>938.0</c:v>
                </c:pt>
                <c:pt idx="11">
                  <c:v>0.0</c:v>
                </c:pt>
                <c:pt idx="12">
                  <c:v>558.0</c:v>
                </c:pt>
                <c:pt idx="13">
                  <c:v>477.0</c:v>
                </c:pt>
                <c:pt idx="14">
                  <c:v>636.0</c:v>
                </c:pt>
                <c:pt idx="15">
                  <c:v>477.0</c:v>
                </c:pt>
                <c:pt idx="16">
                  <c:v>795.0</c:v>
                </c:pt>
                <c:pt idx="17">
                  <c:v>954.0</c:v>
                </c:pt>
                <c:pt idx="18">
                  <c:v>636.0</c:v>
                </c:pt>
                <c:pt idx="19">
                  <c:v>548.5</c:v>
                </c:pt>
                <c:pt idx="20">
                  <c:v>964.0</c:v>
                </c:pt>
                <c:pt idx="21">
                  <c:v>795.0</c:v>
                </c:pt>
                <c:pt idx="22">
                  <c:v>636.0</c:v>
                </c:pt>
                <c:pt idx="23">
                  <c:v>795.0</c:v>
                </c:pt>
                <c:pt idx="24">
                  <c:v>809.0</c:v>
                </c:pt>
                <c:pt idx="25">
                  <c:v>795.0</c:v>
                </c:pt>
                <c:pt idx="26">
                  <c:v>0.0</c:v>
                </c:pt>
                <c:pt idx="27">
                  <c:v>795.0</c:v>
                </c:pt>
                <c:pt idx="28">
                  <c:v>477.0</c:v>
                </c:pt>
                <c:pt idx="29">
                  <c:v>795.0</c:v>
                </c:pt>
                <c:pt idx="30">
                  <c:v>0.0</c:v>
                </c:pt>
                <c:pt idx="31">
                  <c:v>491.0</c:v>
                </c:pt>
                <c:pt idx="32">
                  <c:v>0.0</c:v>
                </c:pt>
                <c:pt idx="33">
                  <c:v>795.0</c:v>
                </c:pt>
                <c:pt idx="34">
                  <c:v>954.0</c:v>
                </c:pt>
                <c:pt idx="35">
                  <c:v>734.0</c:v>
                </c:pt>
                <c:pt idx="36">
                  <c:v>795.0</c:v>
                </c:pt>
                <c:pt idx="37">
                  <c:v>795.0</c:v>
                </c:pt>
                <c:pt idx="38">
                  <c:v>682.0</c:v>
                </c:pt>
                <c:pt idx="39">
                  <c:v>391.5</c:v>
                </c:pt>
                <c:pt idx="40">
                  <c:v>522.0</c:v>
                </c:pt>
                <c:pt idx="41">
                  <c:v>372.0</c:v>
                </c:pt>
                <c:pt idx="42">
                  <c:v>348.0</c:v>
                </c:pt>
                <c:pt idx="43">
                  <c:v>312.5</c:v>
                </c:pt>
                <c:pt idx="44">
                  <c:v>364.0</c:v>
                </c:pt>
                <c:pt idx="45">
                  <c:v>554.0</c:v>
                </c:pt>
                <c:pt idx="46">
                  <c:v>387.2857</c:v>
                </c:pt>
                <c:pt idx="47">
                  <c:v>340.5</c:v>
                </c:pt>
                <c:pt idx="48">
                  <c:v>293.0</c:v>
                </c:pt>
                <c:pt idx="49">
                  <c:v>356.0</c:v>
                </c:pt>
                <c:pt idx="50">
                  <c:v>412.0</c:v>
                </c:pt>
                <c:pt idx="51">
                  <c:v>0.0</c:v>
                </c:pt>
                <c:pt idx="52">
                  <c:v>348.0</c:v>
                </c:pt>
              </c:numCache>
            </c:numRef>
          </c:xVal>
          <c:yVal>
            <c:numRef>
              <c:f>Sheet1!$B$108:$B$160</c:f>
              <c:numCache>
                <c:formatCode>General</c:formatCode>
                <c:ptCount val="53"/>
                <c:pt idx="0">
                  <c:v>0.0</c:v>
                </c:pt>
                <c:pt idx="1">
                  <c:v>0.004694835680751174</c:v>
                </c:pt>
                <c:pt idx="2">
                  <c:v>0.007692307692307693</c:v>
                </c:pt>
                <c:pt idx="3">
                  <c:v>0.014354066985645933</c:v>
                </c:pt>
                <c:pt idx="4">
                  <c:v>0.014423076923076924</c:v>
                </c:pt>
                <c:pt idx="5">
                  <c:v>0.011299435028248588</c:v>
                </c:pt>
                <c:pt idx="6">
                  <c:v>0.0057251908396946565</c:v>
                </c:pt>
                <c:pt idx="7">
                  <c:v>0.0034602076124567475</c:v>
                </c:pt>
                <c:pt idx="8">
                  <c:v>0.002364066193853428</c:v>
                </c:pt>
                <c:pt idx="9">
                  <c:v>0.003194888178913738</c:v>
                </c:pt>
                <c:pt idx="10">
                  <c:v>0.002631578947368421</c:v>
                </c:pt>
                <c:pt idx="11">
                  <c:v>0.0</c:v>
                </c:pt>
                <c:pt idx="12">
                  <c:v>0.00333889816360601</c:v>
                </c:pt>
                <c:pt idx="13">
                  <c:v>0.0020833333333333333</c:v>
                </c:pt>
                <c:pt idx="14">
                  <c:v>0.004395604395604396</c:v>
                </c:pt>
                <c:pt idx="15">
                  <c:v>0.00228310502283105</c:v>
                </c:pt>
                <c:pt idx="16">
                  <c:v>0.002631578947368421</c:v>
                </c:pt>
                <c:pt idx="17">
                  <c:v>0.0030211480362537764</c:v>
                </c:pt>
                <c:pt idx="18">
                  <c:v>0.003676470588235294</c:v>
                </c:pt>
                <c:pt idx="19">
                  <c:v>0.00749063670411985</c:v>
                </c:pt>
                <c:pt idx="20">
                  <c:v>0.003401360544217687</c:v>
                </c:pt>
                <c:pt idx="21">
                  <c:v>0.0034965034965034965</c:v>
                </c:pt>
                <c:pt idx="22">
                  <c:v>0.00823045267489712</c:v>
                </c:pt>
                <c:pt idx="23">
                  <c:v>0.0038314176245210726</c:v>
                </c:pt>
                <c:pt idx="24">
                  <c:v>0.004484304932735426</c:v>
                </c:pt>
                <c:pt idx="25">
                  <c:v>0.003355704697986577</c:v>
                </c:pt>
                <c:pt idx="26">
                  <c:v>0.0</c:v>
                </c:pt>
                <c:pt idx="27">
                  <c:v>0.0038022813688212928</c:v>
                </c:pt>
                <c:pt idx="28">
                  <c:v>0.0033444816053511705</c:v>
                </c:pt>
                <c:pt idx="29">
                  <c:v>0.0031545741324921135</c:v>
                </c:pt>
                <c:pt idx="30">
                  <c:v>0.0</c:v>
                </c:pt>
                <c:pt idx="31">
                  <c:v>0.004016064257028112</c:v>
                </c:pt>
                <c:pt idx="32">
                  <c:v>0.0</c:v>
                </c:pt>
                <c:pt idx="33">
                  <c:v>0.004032258064516129</c:v>
                </c:pt>
                <c:pt idx="34">
                  <c:v>0.0029069767441860465</c:v>
                </c:pt>
                <c:pt idx="35">
                  <c:v>0.0022935779816513763</c:v>
                </c:pt>
                <c:pt idx="36">
                  <c:v>0.0032258064516129032</c:v>
                </c:pt>
                <c:pt idx="37">
                  <c:v>0.00625</c:v>
                </c:pt>
                <c:pt idx="38">
                  <c:v>0.005714285714285714</c:v>
                </c:pt>
                <c:pt idx="39">
                  <c:v>0.011049723756906077</c:v>
                </c:pt>
                <c:pt idx="40">
                  <c:v>0.004081632653061225</c:v>
                </c:pt>
                <c:pt idx="41">
                  <c:v>0.008032128514056224</c:v>
                </c:pt>
                <c:pt idx="42">
                  <c:v>0.007633587786259542</c:v>
                </c:pt>
                <c:pt idx="43">
                  <c:v>0.008547008547008548</c:v>
                </c:pt>
                <c:pt idx="44">
                  <c:v>0.0027624309392265192</c:v>
                </c:pt>
                <c:pt idx="45">
                  <c:v>0.0024154589371980675</c:v>
                </c:pt>
                <c:pt idx="46">
                  <c:v>0.01289134438305709</c:v>
                </c:pt>
                <c:pt idx="47">
                  <c:v>0.004319654427645789</c:v>
                </c:pt>
                <c:pt idx="48">
                  <c:v>0.002</c:v>
                </c:pt>
                <c:pt idx="49">
                  <c:v>0.003683241252302026</c:v>
                </c:pt>
                <c:pt idx="50">
                  <c:v>0.0014749262536873156</c:v>
                </c:pt>
                <c:pt idx="51">
                  <c:v>0.0</c:v>
                </c:pt>
                <c:pt idx="52">
                  <c:v>0.00311526479750778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979.22769084748</c:v>
                </c:pt>
              </c:numCache>
            </c:numRef>
          </c:xVal>
          <c:yVal>
            <c:numRef>
              <c:f>Sheet1!$B$163:$B$164</c:f>
              <c:numCache>
                <c:formatCode>General</c:formatCode>
                <c:ptCount val="2"/>
                <c:pt idx="0">
                  <c:v>0.033104266271132096</c:v>
                </c:pt>
                <c:pt idx="1">
                  <c:v>0.0331042662711320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979.22769084748</c:v>
                </c:pt>
                <c:pt idx="1">
                  <c:v>10979.22769084748</c:v>
                </c:pt>
              </c:numCache>
            </c:numRef>
          </c:xVal>
          <c:yVal>
            <c:numRef>
              <c:f>Sheet1!$B$167:$B$168</c:f>
              <c:numCache>
                <c:formatCode>General</c:formatCode>
                <c:ptCount val="2"/>
                <c:pt idx="0">
                  <c:v>0.0331042662711320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650.6982584797288</c:v>
                </c:pt>
              </c:numCache>
            </c:numRef>
          </c:xVal>
          <c:yVal>
            <c:numRef>
              <c:f>Sheet1!$B$171:$B$172</c:f>
              <c:numCache>
                <c:formatCode>General</c:formatCode>
                <c:ptCount val="2"/>
                <c:pt idx="0">
                  <c:v>0.007467563903883209</c:v>
                </c:pt>
                <c:pt idx="1">
                  <c:v>0.00746756390388320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650.6982584797288</c:v>
                </c:pt>
                <c:pt idx="1">
                  <c:v>1650.6982584797288</c:v>
                </c:pt>
              </c:numCache>
            </c:numRef>
          </c:xVal>
          <c:yVal>
            <c:numRef>
              <c:f>Sheet1!$B$175:$B$176</c:f>
              <c:numCache>
                <c:formatCode>General</c:formatCode>
                <c:ptCount val="2"/>
                <c:pt idx="0">
                  <c:v>0.00746756390388320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39.64209790418</c:v>
                </c:pt>
              </c:numCache>
            </c:numRef>
          </c:xVal>
          <c:yVal>
            <c:numRef>
              <c:f>Sheet1!$B$179:$B$180</c:f>
              <c:numCache>
                <c:formatCode>General</c:formatCode>
                <c:ptCount val="2"/>
                <c:pt idx="0">
                  <c:v>0.004688975268539241</c:v>
                </c:pt>
                <c:pt idx="1">
                  <c:v>0.00468897526853924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39.64209790418</c:v>
                </c:pt>
                <c:pt idx="1">
                  <c:v>639.64209790418</c:v>
                </c:pt>
              </c:numCache>
            </c:numRef>
          </c:xVal>
          <c:yVal>
            <c:numRef>
              <c:f>Sheet1!$B$183:$B$184</c:f>
              <c:numCache>
                <c:formatCode>General</c:formatCode>
                <c:ptCount val="2"/>
                <c:pt idx="0">
                  <c:v>0.0046889752685392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2</c:f>
              <c:numCache>
                <c:formatCode>General</c:formatCode>
                <c:ptCount val="56"/>
                <c:pt idx="0">
                  <c:v>0.0</c:v>
                </c:pt>
                <c:pt idx="1">
                  <c:v>748.6667</c:v>
                </c:pt>
                <c:pt idx="2">
                  <c:v>636.0</c:v>
                </c:pt>
                <c:pt idx="3">
                  <c:v>654.7778</c:v>
                </c:pt>
                <c:pt idx="4">
                  <c:v>624.6667</c:v>
                </c:pt>
                <c:pt idx="5">
                  <c:v>690.6667</c:v>
                </c:pt>
                <c:pt idx="6">
                  <c:v>752.0</c:v>
                </c:pt>
                <c:pt idx="7">
                  <c:v>632.5</c:v>
                </c:pt>
                <c:pt idx="8">
                  <c:v>956.0</c:v>
                </c:pt>
                <c:pt idx="9">
                  <c:v>636.0</c:v>
                </c:pt>
                <c:pt idx="10">
                  <c:v>938.0</c:v>
                </c:pt>
                <c:pt idx="11">
                  <c:v>0.0</c:v>
                </c:pt>
                <c:pt idx="12">
                  <c:v>558.0</c:v>
                </c:pt>
                <c:pt idx="13">
                  <c:v>477.0</c:v>
                </c:pt>
                <c:pt idx="14">
                  <c:v>636.0</c:v>
                </c:pt>
                <c:pt idx="15">
                  <c:v>477.0</c:v>
                </c:pt>
                <c:pt idx="16">
                  <c:v>795.0</c:v>
                </c:pt>
                <c:pt idx="17">
                  <c:v>954.0</c:v>
                </c:pt>
                <c:pt idx="18">
                  <c:v>636.0</c:v>
                </c:pt>
                <c:pt idx="19">
                  <c:v>548.5</c:v>
                </c:pt>
                <c:pt idx="20">
                  <c:v>964.0</c:v>
                </c:pt>
                <c:pt idx="21">
                  <c:v>795.0</c:v>
                </c:pt>
                <c:pt idx="22">
                  <c:v>636.0</c:v>
                </c:pt>
                <c:pt idx="23">
                  <c:v>795.0</c:v>
                </c:pt>
                <c:pt idx="24">
                  <c:v>809.0</c:v>
                </c:pt>
                <c:pt idx="25">
                  <c:v>795.0</c:v>
                </c:pt>
                <c:pt idx="26">
                  <c:v>0.0</c:v>
                </c:pt>
                <c:pt idx="27">
                  <c:v>795.0</c:v>
                </c:pt>
                <c:pt idx="28">
                  <c:v>477.0</c:v>
                </c:pt>
                <c:pt idx="29">
                  <c:v>795.0</c:v>
                </c:pt>
                <c:pt idx="30">
                  <c:v>0.0</c:v>
                </c:pt>
                <c:pt idx="31">
                  <c:v>491.0</c:v>
                </c:pt>
                <c:pt idx="32">
                  <c:v>0.0</c:v>
                </c:pt>
                <c:pt idx="33">
                  <c:v>795.0</c:v>
                </c:pt>
                <c:pt idx="34">
                  <c:v>954.0</c:v>
                </c:pt>
                <c:pt idx="35">
                  <c:v>734.0</c:v>
                </c:pt>
                <c:pt idx="36">
                  <c:v>795.0</c:v>
                </c:pt>
                <c:pt idx="37">
                  <c:v>795.0</c:v>
                </c:pt>
                <c:pt idx="38">
                  <c:v>682.0</c:v>
                </c:pt>
                <c:pt idx="39">
                  <c:v>391.5</c:v>
                </c:pt>
                <c:pt idx="40">
                  <c:v>522.0</c:v>
                </c:pt>
                <c:pt idx="41">
                  <c:v>372.0</c:v>
                </c:pt>
                <c:pt idx="42">
                  <c:v>348.0</c:v>
                </c:pt>
                <c:pt idx="43">
                  <c:v>312.5</c:v>
                </c:pt>
                <c:pt idx="44">
                  <c:v>364.0</c:v>
                </c:pt>
                <c:pt idx="45">
                  <c:v>554.0</c:v>
                </c:pt>
                <c:pt idx="46">
                  <c:v>387.2857</c:v>
                </c:pt>
                <c:pt idx="47">
                  <c:v>340.5</c:v>
                </c:pt>
                <c:pt idx="48">
                  <c:v>293.0</c:v>
                </c:pt>
                <c:pt idx="49">
                  <c:v>356.0</c:v>
                </c:pt>
                <c:pt idx="50">
                  <c:v>412.0</c:v>
                </c:pt>
                <c:pt idx="51">
                  <c:v>0.0</c:v>
                </c:pt>
                <c:pt idx="52">
                  <c:v>348.0</c:v>
                </c:pt>
                <c:pt idx="53">
                  <c:v>1650.6982584797288</c:v>
                </c:pt>
                <c:pt idx="54">
                  <c:v>10979.22769084748</c:v>
                </c:pt>
                <c:pt idx="55">
                  <c:v>639.64209790418</c:v>
                </c:pt>
              </c:numCache>
            </c:numRef>
          </c:xVal>
          <c:yVal>
            <c:numRef>
              <c:f>Sheet1!$B$187:$B$242</c:f>
              <c:numCache>
                <c:formatCode>General</c:formatCode>
                <c:ptCount val="56"/>
                <c:pt idx="0">
                  <c:v>0.0029311082644824242</c:v>
                </c:pt>
                <c:pt idx="1">
                  <c:v>0.004988597121576462</c:v>
                </c:pt>
                <c:pt idx="2">
                  <c:v>0.004678966040328214</c:v>
                </c:pt>
                <c:pt idx="3">
                  <c:v>0.004730571266339656</c:v>
                </c:pt>
                <c:pt idx="4">
                  <c:v>0.004647819819367534</c:v>
                </c:pt>
                <c:pt idx="5">
                  <c:v>0.004829201286672286</c:v>
                </c:pt>
                <c:pt idx="6">
                  <c:v>0.004997757710136566</c:v>
                </c:pt>
                <c:pt idx="7">
                  <c:v>0.004669347326152963</c:v>
                </c:pt>
                <c:pt idx="8">
                  <c:v>0.0055583913363512535</c:v>
                </c:pt>
                <c:pt idx="9">
                  <c:v>0.004678966040328214</c:v>
                </c:pt>
                <c:pt idx="10">
                  <c:v>0.005508923663449958</c:v>
                </c:pt>
                <c:pt idx="11">
                  <c:v>0.0029311082644824242</c:v>
                </c:pt>
                <c:pt idx="12">
                  <c:v>0.004464606124422598</c:v>
                </c:pt>
                <c:pt idx="13">
                  <c:v>0.004242001596366767</c:v>
                </c:pt>
                <c:pt idx="14">
                  <c:v>0.004678966040328214</c:v>
                </c:pt>
                <c:pt idx="15">
                  <c:v>0.004242001596366767</c:v>
                </c:pt>
                <c:pt idx="16">
                  <c:v>0.0051159304842896625</c:v>
                </c:pt>
                <c:pt idx="17">
                  <c:v>0.005552894928251111</c:v>
                </c:pt>
                <c:pt idx="18">
                  <c:v>0.004678966040328214</c:v>
                </c:pt>
                <c:pt idx="19">
                  <c:v>0.004438498185946915</c:v>
                </c:pt>
                <c:pt idx="20">
                  <c:v>0.00558037696875183</c:v>
                </c:pt>
                <c:pt idx="21">
                  <c:v>0.0051159304842896625</c:v>
                </c:pt>
                <c:pt idx="22">
                  <c:v>0.004678966040328214</c:v>
                </c:pt>
                <c:pt idx="23">
                  <c:v>0.0051159304842896625</c:v>
                </c:pt>
                <c:pt idx="24">
                  <c:v>0.0051544053409906705</c:v>
                </c:pt>
                <c:pt idx="25">
                  <c:v>0.0051159304842896625</c:v>
                </c:pt>
                <c:pt idx="26">
                  <c:v>0.0029311082644824242</c:v>
                </c:pt>
                <c:pt idx="27">
                  <c:v>0.0051159304842896625</c:v>
                </c:pt>
                <c:pt idx="28">
                  <c:v>0.004242001596366767</c:v>
                </c:pt>
                <c:pt idx="29">
                  <c:v>0.0051159304842896625</c:v>
                </c:pt>
                <c:pt idx="30">
                  <c:v>0.0029311082644824242</c:v>
                </c:pt>
                <c:pt idx="31">
                  <c:v>0.004280476453067775</c:v>
                </c:pt>
                <c:pt idx="32">
                  <c:v>0.0029311082644824242</c:v>
                </c:pt>
                <c:pt idx="33">
                  <c:v>0.0051159304842896625</c:v>
                </c:pt>
                <c:pt idx="34">
                  <c:v>0.005552894928251111</c:v>
                </c:pt>
                <c:pt idx="35">
                  <c:v>0.004948290037235271</c:v>
                </c:pt>
                <c:pt idx="36">
                  <c:v>0.0051159304842896625</c:v>
                </c:pt>
                <c:pt idx="37">
                  <c:v>0.0051159304842896625</c:v>
                </c:pt>
                <c:pt idx="38">
                  <c:v>0.004805383426631527</c:v>
                </c:pt>
                <c:pt idx="39">
                  <c:v>0.0040070301500856114</c:v>
                </c:pt>
                <c:pt idx="40">
                  <c:v>0.004365670778620007</c:v>
                </c:pt>
                <c:pt idx="41">
                  <c:v>0.0039534401711092074</c:v>
                </c:pt>
                <c:pt idx="42">
                  <c:v>0.0038874832739074793</c:v>
                </c:pt>
                <c:pt idx="43">
                  <c:v>0.0037899220301299236</c:v>
                </c:pt>
                <c:pt idx="44">
                  <c:v>0.0039314545387086315</c:v>
                </c:pt>
                <c:pt idx="45">
                  <c:v>0.004453613308222311</c:v>
                </c:pt>
                <c:pt idx="46">
                  <c:v>0.003995448393757393</c:v>
                </c:pt>
                <c:pt idx="47">
                  <c:v>0.003866871743531939</c:v>
                </c:pt>
                <c:pt idx="48">
                  <c:v>0.0037363320511535195</c:v>
                </c:pt>
                <c:pt idx="49">
                  <c:v>0.003909468906308056</c:v>
                </c:pt>
                <c:pt idx="50">
                  <c:v>0.004063368333112088</c:v>
                </c:pt>
                <c:pt idx="51">
                  <c:v>0.0029311082644824242</c:v>
                </c:pt>
                <c:pt idx="52">
                  <c:v>0.0038874832739074793</c:v>
                </c:pt>
                <c:pt idx="53">
                  <c:v>0.007467563903883208</c:v>
                </c:pt>
                <c:pt idx="54">
                  <c:v>0.033104266271132096</c:v>
                </c:pt>
                <c:pt idx="55">
                  <c:v>0.00468897526853924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317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42168674698795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803949233855601</c:v>
                </c:pt>
                <c:pt idx="1">
                  <c:v>0.7155671011543899</c:v>
                </c:pt>
                <c:pt idx="2">
                  <c:v>0.735241266133557</c:v>
                </c:pt>
                <c:pt idx="3">
                  <c:v>0.735458945273283</c:v>
                </c:pt>
                <c:pt idx="4">
                  <c:v>0.7495397110107502</c:v>
                </c:pt>
                <c:pt idx="5">
                  <c:v>0.7547001320468558</c:v>
                </c:pt>
                <c:pt idx="6">
                  <c:v>0.7487169016589138</c:v>
                </c:pt>
                <c:pt idx="7">
                  <c:v>0.7938368614168783</c:v>
                </c:pt>
                <c:pt idx="8">
                  <c:v>0.7581819949902546</c:v>
                </c:pt>
                <c:pt idx="9">
                  <c:v>0.8031706152945519</c:v>
                </c:pt>
                <c:pt idx="10">
                  <c:v>0.8257685936122865</c:v>
                </c:pt>
                <c:pt idx="11">
                  <c:v>0.8530649518947233</c:v>
                </c:pt>
                <c:pt idx="12">
                  <c:v>0.8555761468173042</c:v>
                </c:pt>
                <c:pt idx="13">
                  <c:v>0.882249194679567</c:v>
                </c:pt>
                <c:pt idx="14">
                  <c:v>0.8610171857531301</c:v>
                </c:pt>
                <c:pt idx="15">
                  <c:v>0.8043626250830421</c:v>
                </c:pt>
                <c:pt idx="16">
                  <c:v>0.7936991229270741</c:v>
                </c:pt>
                <c:pt idx="17">
                  <c:v>0.761615189850313</c:v>
                </c:pt>
                <c:pt idx="18">
                  <c:v>0.8475158183340356</c:v>
                </c:pt>
                <c:pt idx="19">
                  <c:v>0.8188948203836344</c:v>
                </c:pt>
                <c:pt idx="20">
                  <c:v>0.8036246979956214</c:v>
                </c:pt>
                <c:pt idx="21">
                  <c:v>0.7190384648386802</c:v>
                </c:pt>
                <c:pt idx="22">
                  <c:v>0.6422402758922477</c:v>
                </c:pt>
                <c:pt idx="23">
                  <c:v>0.6666705052327137</c:v>
                </c:pt>
                <c:pt idx="24">
                  <c:v>0.6201985173264102</c:v>
                </c:pt>
                <c:pt idx="25">
                  <c:v>0.6211492629077718</c:v>
                </c:pt>
                <c:pt idx="26">
                  <c:v>0.5891597202057257</c:v>
                </c:pt>
                <c:pt idx="27">
                  <c:v>0.6260255375624297</c:v>
                </c:pt>
                <c:pt idx="28">
                  <c:v>0.640833694679251</c:v>
                </c:pt>
                <c:pt idx="29">
                  <c:v>0.5679590547572257</c:v>
                </c:pt>
                <c:pt idx="30">
                  <c:v>0.6031320435268153</c:v>
                </c:pt>
                <c:pt idx="31">
                  <c:v>0.6909391034176394</c:v>
                </c:pt>
                <c:pt idx="32">
                  <c:v>0.5870268159710308</c:v>
                </c:pt>
                <c:pt idx="33">
                  <c:v>0.5842382378133041</c:v>
                </c:pt>
                <c:pt idx="34">
                  <c:v>0.6446607295171335</c:v>
                </c:pt>
                <c:pt idx="35">
                  <c:v>0.6674791684119584</c:v>
                </c:pt>
                <c:pt idx="36">
                  <c:v>0.7760191527202418</c:v>
                </c:pt>
                <c:pt idx="37">
                  <c:v>0.7316313435973291</c:v>
                </c:pt>
                <c:pt idx="38">
                  <c:v>0.7316590829541477</c:v>
                </c:pt>
                <c:pt idx="39">
                  <c:v>0.8147536314013334</c:v>
                </c:pt>
                <c:pt idx="40">
                  <c:v>0.7573738078973958</c:v>
                </c:pt>
                <c:pt idx="41">
                  <c:v>0.7761928180243324</c:v>
                </c:pt>
                <c:pt idx="42">
                  <c:v>0.8584648083554681</c:v>
                </c:pt>
                <c:pt idx="43">
                  <c:v>0.852874214558517</c:v>
                </c:pt>
                <c:pt idx="44">
                  <c:v>0.8205749695646405</c:v>
                </c:pt>
                <c:pt idx="45">
                  <c:v>0.8375914435672563</c:v>
                </c:pt>
                <c:pt idx="46">
                  <c:v>0.8371821612528548</c:v>
                </c:pt>
                <c:pt idx="47">
                  <c:v>0.9196398620675276</c:v>
                </c:pt>
                <c:pt idx="48">
                  <c:v>0.848719748496742</c:v>
                </c:pt>
                <c:pt idx="49">
                  <c:v>0.8203093073155343</c:v>
                </c:pt>
                <c:pt idx="50">
                  <c:v>0.8468858759599276</c:v>
                </c:pt>
                <c:pt idx="51">
                  <c:v>0.8377637512243963</c:v>
                </c:pt>
                <c:pt idx="52">
                  <c:v>0.8162833143586329</c:v>
                </c:pt>
                <c:pt idx="53">
                  <c:v>0.7951367528972357</c:v>
                </c:pt>
                <c:pt idx="54">
                  <c:v>0.7317202702526979</c:v>
                </c:pt>
                <c:pt idx="55">
                  <c:v>0.7579699934198905</c:v>
                </c:pt>
                <c:pt idx="56">
                  <c:v>0.7675251418238753</c:v>
                </c:pt>
                <c:pt idx="57">
                  <c:v>0.7790196864719988</c:v>
                </c:pt>
                <c:pt idx="58">
                  <c:v>0.7687133021210898</c:v>
                </c:pt>
                <c:pt idx="59">
                  <c:v>0.7551626101572172</c:v>
                </c:pt>
                <c:pt idx="60">
                  <c:v>0.7727111455505195</c:v>
                </c:pt>
                <c:pt idx="61">
                  <c:v>0.9359097790950504</c:v>
                </c:pt>
                <c:pt idx="62">
                  <c:v>0.9320084002571094</c:v>
                </c:pt>
                <c:pt idx="63">
                  <c:v>0.9086505038529384</c:v>
                </c:pt>
                <c:pt idx="64">
                  <c:v>0.9467499868711647</c:v>
                </c:pt>
                <c:pt idx="65">
                  <c:v>0.9581690089546177</c:v>
                </c:pt>
                <c:pt idx="66">
                  <c:v>0.9269438133014981</c:v>
                </c:pt>
                <c:pt idx="67">
                  <c:v>0.9654721744979278</c:v>
                </c:pt>
                <c:pt idx="68">
                  <c:v>0.996185518590998</c:v>
                </c:pt>
                <c:pt idx="69">
                  <c:v>1.0166636419670037</c:v>
                </c:pt>
                <c:pt idx="70">
                  <c:v>1.0055305830732502</c:v>
                </c:pt>
                <c:pt idx="71">
                  <c:v>0.8744666192640816</c:v>
                </c:pt>
                <c:pt idx="72">
                  <c:v>0.8784392108875455</c:v>
                </c:pt>
                <c:pt idx="73">
                  <c:v>0.8760324656541069</c:v>
                </c:pt>
                <c:pt idx="74">
                  <c:v>0.82978019175107</c:v>
                </c:pt>
                <c:pt idx="75">
                  <c:v>0.7652730211139972</c:v>
                </c:pt>
                <c:pt idx="76">
                  <c:v>0.7770465539661899</c:v>
                </c:pt>
                <c:pt idx="77">
                  <c:v>0.7766198399946062</c:v>
                </c:pt>
                <c:pt idx="78">
                  <c:v>0.8470633297337042</c:v>
                </c:pt>
                <c:pt idx="79">
                  <c:v>0.8989796225783852</c:v>
                </c:pt>
                <c:pt idx="80">
                  <c:v>0.9507774490857998</c:v>
                </c:pt>
                <c:pt idx="81">
                  <c:v>0.9216037096247455</c:v>
                </c:pt>
                <c:pt idx="82">
                  <c:v>0.9138416052283809</c:v>
                </c:pt>
                <c:pt idx="83">
                  <c:v>0.9085211125511384</c:v>
                </c:pt>
                <c:pt idx="84">
                  <c:v>0.9517492627645583</c:v>
                </c:pt>
                <c:pt idx="85">
                  <c:v>0.9045729006264356</c:v>
                </c:pt>
                <c:pt idx="86">
                  <c:v>0.8943508381651043</c:v>
                </c:pt>
                <c:pt idx="87">
                  <c:v>0.9412962780276168</c:v>
                </c:pt>
                <c:pt idx="88">
                  <c:v>0.8095300481476533</c:v>
                </c:pt>
                <c:pt idx="89">
                  <c:v>0.801375723879041</c:v>
                </c:pt>
                <c:pt idx="90">
                  <c:v>0.932031246097344</c:v>
                </c:pt>
                <c:pt idx="91">
                  <c:v>0.8729897318746564</c:v>
                </c:pt>
                <c:pt idx="92">
                  <c:v>0.8908819416543835</c:v>
                </c:pt>
                <c:pt idx="93">
                  <c:v>0.8721262670654669</c:v>
                </c:pt>
                <c:pt idx="94">
                  <c:v>0.8942122388546722</c:v>
                </c:pt>
                <c:pt idx="95">
                  <c:v>0.8553845692288365</c:v>
                </c:pt>
                <c:pt idx="96">
                  <c:v>0.8415613875769647</c:v>
                </c:pt>
                <c:pt idx="97">
                  <c:v>0.8660542146051244</c:v>
                </c:pt>
                <c:pt idx="98">
                  <c:v>0.8920246564415679</c:v>
                </c:pt>
                <c:pt idx="99">
                  <c:v>0.847812864629226</c:v>
                </c:pt>
                <c:pt idx="100">
                  <c:v>0.8149459763241137</c:v>
                </c:pt>
                <c:pt idx="101">
                  <c:v>0.7864251368477112</c:v>
                </c:pt>
                <c:pt idx="102">
                  <c:v>0.7768191981873864</c:v>
                </c:pt>
                <c:pt idx="103">
                  <c:v>0.787320412799575</c:v>
                </c:pt>
                <c:pt idx="104">
                  <c:v>0.7683644624903326</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644663297160695</c:v>
                </c:pt>
                <c:pt idx="1">
                  <c:v>0.7364877688873649</c:v>
                </c:pt>
                <c:pt idx="2">
                  <c:v>0.7585703161971759</c:v>
                </c:pt>
                <c:pt idx="3">
                  <c:v>0.7346780138947839</c:v>
                </c:pt>
                <c:pt idx="4">
                  <c:v>0.7569278483992468</c:v>
                </c:pt>
                <c:pt idx="5">
                  <c:v>0.7630736318857814</c:v>
                </c:pt>
                <c:pt idx="6">
                  <c:v>0.7919623417803505</c:v>
                </c:pt>
                <c:pt idx="7">
                  <c:v>0.8541223761463093</c:v>
                </c:pt>
                <c:pt idx="8">
                  <c:v>0.8631271524475728</c:v>
                </c:pt>
                <c:pt idx="9">
                  <c:v>0.8149081817156496</c:v>
                </c:pt>
                <c:pt idx="10">
                  <c:v>0.841535468434969</c:v>
                </c:pt>
                <c:pt idx="11">
                  <c:v>0.8236315886016141</c:v>
                </c:pt>
                <c:pt idx="12">
                  <c:v>0.8714475362789688</c:v>
                </c:pt>
                <c:pt idx="13">
                  <c:v>0.82697298269505</c:v>
                </c:pt>
                <c:pt idx="14">
                  <c:v>0.8319001058941299</c:v>
                </c:pt>
                <c:pt idx="15">
                  <c:v>0.8576634384454105</c:v>
                </c:pt>
                <c:pt idx="16">
                  <c:v>0.8956285587130384</c:v>
                </c:pt>
                <c:pt idx="17">
                  <c:v>0.8986384628837706</c:v>
                </c:pt>
                <c:pt idx="18">
                  <c:v>0.7503598140502731</c:v>
                </c:pt>
                <c:pt idx="19">
                  <c:v>0.8548224786370259</c:v>
                </c:pt>
                <c:pt idx="20">
                  <c:v>0.8244774105084209</c:v>
                </c:pt>
                <c:pt idx="21">
                  <c:v>0.8815978067806866</c:v>
                </c:pt>
                <c:pt idx="22">
                  <c:v>0.8177917215191338</c:v>
                </c:pt>
                <c:pt idx="23">
                  <c:v>0.8318698446039622</c:v>
                </c:pt>
                <c:pt idx="24">
                  <c:v>0.8346795234272644</c:v>
                </c:pt>
                <c:pt idx="25">
                  <c:v>0.8394133210920929</c:v>
                </c:pt>
                <c:pt idx="26">
                  <c:v>0.9008698886081555</c:v>
                </c:pt>
                <c:pt idx="27">
                  <c:v>0.9400628689226882</c:v>
                </c:pt>
                <c:pt idx="28">
                  <c:v>0.8767652192733706</c:v>
                </c:pt>
                <c:pt idx="29">
                  <c:v>0.8332234561100653</c:v>
                </c:pt>
                <c:pt idx="30">
                  <c:v>0.7813437177490646</c:v>
                </c:pt>
                <c:pt idx="31">
                  <c:v>0.8281638097494087</c:v>
                </c:pt>
                <c:pt idx="32">
                  <c:v>0.8294006887530789</c:v>
                </c:pt>
                <c:pt idx="33">
                  <c:v>0.8271087019038745</c:v>
                </c:pt>
                <c:pt idx="34">
                  <c:v>0.8563349523621515</c:v>
                </c:pt>
                <c:pt idx="35">
                  <c:v>0.8417778557739461</c:v>
                </c:pt>
                <c:pt idx="36">
                  <c:v>0.7576924910424209</c:v>
                </c:pt>
                <c:pt idx="37">
                  <c:v>0.8858648923343803</c:v>
                </c:pt>
                <c:pt idx="38">
                  <c:v>0.9193312643535474</c:v>
                </c:pt>
                <c:pt idx="39">
                  <c:v>0.9108479076176599</c:v>
                </c:pt>
                <c:pt idx="40">
                  <c:v>0.8983830761874549</c:v>
                </c:pt>
                <c:pt idx="41">
                  <c:v>0.9575219467065269</c:v>
                </c:pt>
                <c:pt idx="42">
                  <c:v>0.916870632403938</c:v>
                </c:pt>
                <c:pt idx="43">
                  <c:v>0.9690299517269678</c:v>
                </c:pt>
                <c:pt idx="44">
                  <c:v>1.0098206099433837</c:v>
                </c:pt>
                <c:pt idx="45">
                  <c:v>0.9828668723827604</c:v>
                </c:pt>
                <c:pt idx="46">
                  <c:v>0.9574387989153706</c:v>
                </c:pt>
                <c:pt idx="47">
                  <c:v>0.9780136220365024</c:v>
                </c:pt>
                <c:pt idx="48">
                  <c:v>1.0690771310948075</c:v>
                </c:pt>
                <c:pt idx="49">
                  <c:v>1.0684256616906878</c:v>
                </c:pt>
                <c:pt idx="50">
                  <c:v>0.9071594721963671</c:v>
                </c:pt>
                <c:pt idx="51">
                  <c:v>0.9090941530651827</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26622164188273</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26622164188273</c:v>
                </c:pt>
                <c:pt idx="1">
                  <c:v>0.5826622164188273</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26622164188273</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26622164188273</c:v>
                </c:pt>
                <c:pt idx="1">
                  <c:v>0.5826622164188273</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082755895699655</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082755895699655</c:v>
                </c:pt>
                <c:pt idx="1">
                  <c:v>1.0082755895699655</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644663297160695</c:v>
                </c:pt>
                <c:pt idx="1">
                  <c:v>0.7364877688873649</c:v>
                </c:pt>
                <c:pt idx="2">
                  <c:v>0.7585703161971759</c:v>
                </c:pt>
                <c:pt idx="3">
                  <c:v>0.7346780138947839</c:v>
                </c:pt>
                <c:pt idx="4">
                  <c:v>0.7569278483992468</c:v>
                </c:pt>
                <c:pt idx="5">
                  <c:v>0.7630736318857814</c:v>
                </c:pt>
                <c:pt idx="6">
                  <c:v>0.7919623417803505</c:v>
                </c:pt>
                <c:pt idx="7">
                  <c:v>0.8541223761463093</c:v>
                </c:pt>
                <c:pt idx="8">
                  <c:v>0.8631271524475728</c:v>
                </c:pt>
                <c:pt idx="9">
                  <c:v>0.8149081817156496</c:v>
                </c:pt>
                <c:pt idx="10">
                  <c:v>0.841535468434969</c:v>
                </c:pt>
                <c:pt idx="11">
                  <c:v>0.8236315886016141</c:v>
                </c:pt>
                <c:pt idx="12">
                  <c:v>0.8714475362789688</c:v>
                </c:pt>
                <c:pt idx="13">
                  <c:v>0.82697298269505</c:v>
                </c:pt>
                <c:pt idx="14">
                  <c:v>0.8319001058941299</c:v>
                </c:pt>
                <c:pt idx="15">
                  <c:v>0.8576634384454105</c:v>
                </c:pt>
                <c:pt idx="16">
                  <c:v>0.8956285587130384</c:v>
                </c:pt>
                <c:pt idx="17">
                  <c:v>0.8986384628837706</c:v>
                </c:pt>
                <c:pt idx="18">
                  <c:v>0.7503598140502731</c:v>
                </c:pt>
                <c:pt idx="19">
                  <c:v>0.8548224786370259</c:v>
                </c:pt>
                <c:pt idx="20">
                  <c:v>0.8244774105084209</c:v>
                </c:pt>
                <c:pt idx="21">
                  <c:v>0.8815978067806866</c:v>
                </c:pt>
                <c:pt idx="22">
                  <c:v>0.8177917215191338</c:v>
                </c:pt>
                <c:pt idx="23">
                  <c:v>0.8318698446039622</c:v>
                </c:pt>
                <c:pt idx="24">
                  <c:v>0.8346795234272644</c:v>
                </c:pt>
                <c:pt idx="25">
                  <c:v>0.8394133210920929</c:v>
                </c:pt>
                <c:pt idx="26">
                  <c:v>0.9008698886081555</c:v>
                </c:pt>
                <c:pt idx="27">
                  <c:v>0.9400628689226882</c:v>
                </c:pt>
                <c:pt idx="28">
                  <c:v>0.8767652192733706</c:v>
                </c:pt>
                <c:pt idx="29">
                  <c:v>0.8332234561100653</c:v>
                </c:pt>
                <c:pt idx="30">
                  <c:v>0.7813437177490646</c:v>
                </c:pt>
                <c:pt idx="31">
                  <c:v>0.8281638097494087</c:v>
                </c:pt>
                <c:pt idx="32">
                  <c:v>0.8294006887530789</c:v>
                </c:pt>
                <c:pt idx="33">
                  <c:v>0.8271087019038745</c:v>
                </c:pt>
                <c:pt idx="34">
                  <c:v>0.8563349523621515</c:v>
                </c:pt>
                <c:pt idx="35">
                  <c:v>0.8417778557739461</c:v>
                </c:pt>
                <c:pt idx="36">
                  <c:v>0.7576924910424209</c:v>
                </c:pt>
                <c:pt idx="37">
                  <c:v>0.8858648923343803</c:v>
                </c:pt>
                <c:pt idx="38">
                  <c:v>0.9193312643535474</c:v>
                </c:pt>
                <c:pt idx="39">
                  <c:v>0.9108479076176599</c:v>
                </c:pt>
                <c:pt idx="40">
                  <c:v>0.8983830761874549</c:v>
                </c:pt>
                <c:pt idx="41">
                  <c:v>0.9575219467065269</c:v>
                </c:pt>
                <c:pt idx="42">
                  <c:v>0.916870632403938</c:v>
                </c:pt>
                <c:pt idx="43">
                  <c:v>0.9690299517269678</c:v>
                </c:pt>
                <c:pt idx="44">
                  <c:v>1.0098206099433837</c:v>
                </c:pt>
                <c:pt idx="45">
                  <c:v>0.9828668723827604</c:v>
                </c:pt>
                <c:pt idx="46">
                  <c:v>0.9574387989153706</c:v>
                </c:pt>
                <c:pt idx="47">
                  <c:v>0.9780136220365024</c:v>
                </c:pt>
                <c:pt idx="48">
                  <c:v>1.0690771310948075</c:v>
                </c:pt>
                <c:pt idx="49">
                  <c:v>1.0684256616906878</c:v>
                </c:pt>
                <c:pt idx="50">
                  <c:v>0.9071594721963671</c:v>
                </c:pt>
                <c:pt idx="51">
                  <c:v>0.9090941530651827</c:v>
                </c:pt>
                <c:pt idx="52">
                  <c:v>0.5826622164188273</c:v>
                </c:pt>
                <c:pt idx="53">
                  <c:v>0.5826622164188273</c:v>
                </c:pt>
                <c:pt idx="54">
                  <c:v>1.0082755895699655</c:v>
                </c:pt>
              </c:numCache>
            </c:numRef>
          </c:xVal>
          <c:yVal>
            <c:numRef>
              <c:f>Sheet1!$B$187:$B$241</c:f>
              <c:numCache>
                <c:formatCode>General</c:formatCode>
                <c:ptCount val="55"/>
                <c:pt idx="0">
                  <c:v>0.3076230662949102</c:v>
                </c:pt>
                <c:pt idx="1">
                  <c:v>0.3110141480614176</c:v>
                </c:pt>
                <c:pt idx="2">
                  <c:v>0.30833768003295814</c:v>
                </c:pt>
                <c:pt idx="3">
                  <c:v>0.31123349555376223</c:v>
                </c:pt>
                <c:pt idx="4">
                  <c:v>0.30853675183782087</c:v>
                </c:pt>
                <c:pt idx="5">
                  <c:v>0.3077918652637871</c:v>
                </c:pt>
                <c:pt idx="6">
                  <c:v>0.3042904708217653</c:v>
                </c:pt>
                <c:pt idx="7">
                  <c:v>0.2967564964892608</c:v>
                </c:pt>
                <c:pt idx="8">
                  <c:v>0.29566509179144074</c:v>
                </c:pt>
                <c:pt idx="9">
                  <c:v>0.30150936925266814</c:v>
                </c:pt>
                <c:pt idx="10">
                  <c:v>0.29828206578133265</c:v>
                </c:pt>
                <c:pt idx="11">
                  <c:v>0.3004520673344626</c:v>
                </c:pt>
                <c:pt idx="12">
                  <c:v>0.29465663742262116</c:v>
                </c:pt>
                <c:pt idx="13">
                  <c:v>0.30004708079300546</c:v>
                </c:pt>
                <c:pt idx="14">
                  <c:v>0.2994498993388188</c:v>
                </c:pt>
                <c:pt idx="15">
                  <c:v>0.29632730958897424</c:v>
                </c:pt>
                <c:pt idx="16">
                  <c:v>0.2917258281943083</c:v>
                </c:pt>
                <c:pt idx="17">
                  <c:v>0.291361019181622</c:v>
                </c:pt>
                <c:pt idx="18">
                  <c:v>0.30933281642666666</c:v>
                </c:pt>
                <c:pt idx="19">
                  <c:v>0.2966716420607042</c:v>
                </c:pt>
                <c:pt idx="20">
                  <c:v>0.3003495512950049</c:v>
                </c:pt>
                <c:pt idx="21">
                  <c:v>0.2934263955444121</c:v>
                </c:pt>
                <c:pt idx="22">
                  <c:v>0.3011598759634865</c:v>
                </c:pt>
                <c:pt idx="23">
                  <c:v>0.2994535670939241</c:v>
                </c:pt>
                <c:pt idx="24">
                  <c:v>0.29911302596724587</c:v>
                </c:pt>
                <c:pt idx="25">
                  <c:v>0.29853927612193343</c:v>
                </c:pt>
                <c:pt idx="26">
                  <c:v>0.2910905639879612</c:v>
                </c:pt>
                <c:pt idx="27">
                  <c:v>0.2863402624362338</c:v>
                </c:pt>
                <c:pt idx="28">
                  <c:v>0.29401211900179225</c:v>
                </c:pt>
                <c:pt idx="29">
                  <c:v>0.29928950549957034</c:v>
                </c:pt>
                <c:pt idx="30">
                  <c:v>0.305577478490185</c:v>
                </c:pt>
                <c:pt idx="31">
                  <c:v>0.2999027491407871</c:v>
                </c:pt>
                <c:pt idx="32">
                  <c:v>0.29975283586031487</c:v>
                </c:pt>
                <c:pt idx="33">
                  <c:v>0.30003063123588825</c:v>
                </c:pt>
                <c:pt idx="34">
                  <c:v>0.29648832591006313</c:v>
                </c:pt>
                <c:pt idx="35">
                  <c:v>0.2982526877411014</c:v>
                </c:pt>
                <c:pt idx="36">
                  <c:v>0.308444074957797</c:v>
                </c:pt>
                <c:pt idx="37">
                  <c:v>0.2929092125446914</c:v>
                </c:pt>
                <c:pt idx="38">
                  <c:v>0.2888529923323594</c:v>
                </c:pt>
                <c:pt idx="39">
                  <c:v>0.2898811994843274</c:v>
                </c:pt>
                <c:pt idx="40">
                  <c:v>0.2913919727812223</c:v>
                </c:pt>
                <c:pt idx="41">
                  <c:v>0.2842241721664273</c:v>
                </c:pt>
                <c:pt idx="42">
                  <c:v>0.289151227977484</c:v>
                </c:pt>
                <c:pt idx="43">
                  <c:v>0.28282936897291727</c:v>
                </c:pt>
                <c:pt idx="44">
                  <c:v>0.2778854242801077</c:v>
                </c:pt>
                <c:pt idx="45">
                  <c:v>0.28115229452910495</c:v>
                </c:pt>
                <c:pt idx="46">
                  <c:v>0.2842342499170394</c:v>
                </c:pt>
                <c:pt idx="47">
                  <c:v>0.28174052238179015</c:v>
                </c:pt>
                <c:pt idx="48">
                  <c:v>0.2707033640714534</c:v>
                </c:pt>
                <c:pt idx="49">
                  <c:v>0.27078232403051894</c:v>
                </c:pt>
                <c:pt idx="50">
                  <c:v>0.29032824842943444</c:v>
                </c:pt>
                <c:pt idx="51">
                  <c:v>0.29009375956281913</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0462</c:v>
                </c:pt>
                <c:pt idx="1">
                  <c:v>986.709</c:v>
                </c:pt>
                <c:pt idx="2">
                  <c:v>1075.3552</c:v>
                </c:pt>
                <c:pt idx="3">
                  <c:v>1091.153</c:v>
                </c:pt>
                <c:pt idx="4">
                  <c:v>1105.0805</c:v>
                </c:pt>
                <c:pt idx="5">
                  <c:v>1072.5513</c:v>
                </c:pt>
                <c:pt idx="6">
                  <c:v>1008.7939</c:v>
                </c:pt>
                <c:pt idx="7">
                  <c:v>1054.7115</c:v>
                </c:pt>
                <c:pt idx="8">
                  <c:v>1036.1742</c:v>
                </c:pt>
                <c:pt idx="9">
                  <c:v>1016.2215</c:v>
                </c:pt>
                <c:pt idx="10">
                  <c:v>1007.6561</c:v>
                </c:pt>
                <c:pt idx="11">
                  <c:v>1076.0296</c:v>
                </c:pt>
                <c:pt idx="12">
                  <c:v>1070.1087</c:v>
                </c:pt>
                <c:pt idx="13">
                  <c:v>1060.0854</c:v>
                </c:pt>
                <c:pt idx="14">
                  <c:v>1039.9239</c:v>
                </c:pt>
                <c:pt idx="15">
                  <c:v>1028.9167</c:v>
                </c:pt>
                <c:pt idx="16">
                  <c:v>1045.0076</c:v>
                </c:pt>
                <c:pt idx="17">
                  <c:v>968.042</c:v>
                </c:pt>
                <c:pt idx="18">
                  <c:v>1067.1948</c:v>
                </c:pt>
                <c:pt idx="19">
                  <c:v>1036.9747</c:v>
                </c:pt>
                <c:pt idx="20">
                  <c:v>1020.9478</c:v>
                </c:pt>
                <c:pt idx="21">
                  <c:v>1068.4304</c:v>
                </c:pt>
                <c:pt idx="22">
                  <c:v>996.2523</c:v>
                </c:pt>
                <c:pt idx="23">
                  <c:v>1024.6941</c:v>
                </c:pt>
                <c:pt idx="24">
                  <c:v>964.8197</c:v>
                </c:pt>
                <c:pt idx="25">
                  <c:v>959.5766</c:v>
                </c:pt>
                <c:pt idx="26">
                  <c:v>930.0744</c:v>
                </c:pt>
                <c:pt idx="27">
                  <c:v>973.7759</c:v>
                </c:pt>
                <c:pt idx="28">
                  <c:v>977.6216</c:v>
                </c:pt>
                <c:pt idx="29">
                  <c:v>892.7273</c:v>
                </c:pt>
                <c:pt idx="30">
                  <c:v>950.8595</c:v>
                </c:pt>
                <c:pt idx="31">
                  <c:v>947.5315</c:v>
                </c:pt>
                <c:pt idx="32">
                  <c:v>928.8304</c:v>
                </c:pt>
                <c:pt idx="33">
                  <c:v>910.8138</c:v>
                </c:pt>
                <c:pt idx="34">
                  <c:v>947.462</c:v>
                </c:pt>
                <c:pt idx="35">
                  <c:v>985.5942</c:v>
                </c:pt>
                <c:pt idx="36">
                  <c:v>1137.6</c:v>
                </c:pt>
                <c:pt idx="37">
                  <c:v>1063.6316</c:v>
                </c:pt>
                <c:pt idx="38">
                  <c:v>1045.175</c:v>
                </c:pt>
                <c:pt idx="39">
                  <c:v>1086.9286</c:v>
                </c:pt>
                <c:pt idx="40">
                  <c:v>1129.2523</c:v>
                </c:pt>
                <c:pt idx="41">
                  <c:v>1217.1981</c:v>
                </c:pt>
                <c:pt idx="42">
                  <c:v>1317.6075</c:v>
                </c:pt>
                <c:pt idx="43">
                  <c:v>1333.4957</c:v>
                </c:pt>
                <c:pt idx="44">
                  <c:v>1169.5111</c:v>
                </c:pt>
                <c:pt idx="45">
                  <c:v>1159.7725</c:v>
                </c:pt>
                <c:pt idx="46">
                  <c:v>1157.5701</c:v>
                </c:pt>
                <c:pt idx="47">
                  <c:v>1199.6908</c:v>
                </c:pt>
                <c:pt idx="48">
                  <c:v>1179.6478</c:v>
                </c:pt>
                <c:pt idx="49">
                  <c:v>1152.3893</c:v>
                </c:pt>
                <c:pt idx="50">
                  <c:v>1161.6886</c:v>
                </c:pt>
                <c:pt idx="51">
                  <c:v>1149.5852</c:v>
                </c:pt>
                <c:pt idx="52">
                  <c:v>1150.9167</c:v>
                </c:pt>
                <c:pt idx="53">
                  <c:v>1243.9571</c:v>
                </c:pt>
                <c:pt idx="54">
                  <c:v>1170.4375</c:v>
                </c:pt>
                <c:pt idx="55">
                  <c:v>1159.8591</c:v>
                </c:pt>
                <c:pt idx="56">
                  <c:v>1231.5</c:v>
                </c:pt>
                <c:pt idx="57">
                  <c:v>1204.642</c:v>
                </c:pt>
                <c:pt idx="58">
                  <c:v>1191.8756</c:v>
                </c:pt>
                <c:pt idx="59">
                  <c:v>1177.7177</c:v>
                </c:pt>
                <c:pt idx="60">
                  <c:v>1221.3613</c:v>
                </c:pt>
                <c:pt idx="61">
                  <c:v>1256.0526</c:v>
                </c:pt>
                <c:pt idx="62">
                  <c:v>1183.0375</c:v>
                </c:pt>
                <c:pt idx="63">
                  <c:v>1176.595</c:v>
                </c:pt>
                <c:pt idx="64">
                  <c:v>1220.5</c:v>
                </c:pt>
                <c:pt idx="65">
                  <c:v>1241.7031</c:v>
                </c:pt>
                <c:pt idx="66">
                  <c:v>1203.4975</c:v>
                </c:pt>
                <c:pt idx="67">
                  <c:v>1232.8623</c:v>
                </c:pt>
                <c:pt idx="68">
                  <c:v>1272.627</c:v>
                </c:pt>
                <c:pt idx="69">
                  <c:v>1277.8182</c:v>
                </c:pt>
                <c:pt idx="70">
                  <c:v>1236.8904</c:v>
                </c:pt>
                <c:pt idx="71">
                  <c:v>1290.3521</c:v>
                </c:pt>
                <c:pt idx="72">
                  <c:v>1385.4875</c:v>
                </c:pt>
                <c:pt idx="73">
                  <c:v>1325.25</c:v>
                </c:pt>
                <c:pt idx="74">
                  <c:v>1264.5217</c:v>
                </c:pt>
                <c:pt idx="75">
                  <c:v>1232.1064</c:v>
                </c:pt>
                <c:pt idx="76">
                  <c:v>1232.4444</c:v>
                </c:pt>
                <c:pt idx="77">
                  <c:v>1188.7125</c:v>
                </c:pt>
                <c:pt idx="78">
                  <c:v>1254.8026</c:v>
                </c:pt>
                <c:pt idx="79">
                  <c:v>1306.9853</c:v>
                </c:pt>
                <c:pt idx="80">
                  <c:v>1310.2877</c:v>
                </c:pt>
                <c:pt idx="81">
                  <c:v>1325.4946</c:v>
                </c:pt>
                <c:pt idx="82">
                  <c:v>1362.8182</c:v>
                </c:pt>
                <c:pt idx="83">
                  <c:v>1330.0889</c:v>
                </c:pt>
                <c:pt idx="84">
                  <c:v>1310.7547</c:v>
                </c:pt>
                <c:pt idx="85">
                  <c:v>1323.5556</c:v>
                </c:pt>
                <c:pt idx="86">
                  <c:v>1287.9423</c:v>
                </c:pt>
                <c:pt idx="87">
                  <c:v>1341.562</c:v>
                </c:pt>
                <c:pt idx="88">
                  <c:v>1319.2368</c:v>
                </c:pt>
                <c:pt idx="89">
                  <c:v>1260.2881</c:v>
                </c:pt>
                <c:pt idx="90">
                  <c:v>1455.3077</c:v>
                </c:pt>
                <c:pt idx="91">
                  <c:v>1357.6491</c:v>
                </c:pt>
                <c:pt idx="92">
                  <c:v>1362.1486</c:v>
                </c:pt>
                <c:pt idx="93">
                  <c:v>1379.1892</c:v>
                </c:pt>
                <c:pt idx="94">
                  <c:v>1417.3509</c:v>
                </c:pt>
                <c:pt idx="95">
                  <c:v>1322.9394</c:v>
                </c:pt>
                <c:pt idx="96">
                  <c:v>1229.3793</c:v>
                </c:pt>
                <c:pt idx="97">
                  <c:v>1200.3249</c:v>
                </c:pt>
                <c:pt idx="98">
                  <c:v>1246.0192</c:v>
                </c:pt>
                <c:pt idx="99">
                  <c:v>1142.5868</c:v>
                </c:pt>
                <c:pt idx="100">
                  <c:v>1157.1008</c:v>
                </c:pt>
                <c:pt idx="101">
                  <c:v>1141.7722</c:v>
                </c:pt>
                <c:pt idx="102">
                  <c:v>1127.8408</c:v>
                </c:pt>
                <c:pt idx="103">
                  <c:v>1135.1692</c:v>
                </c:pt>
                <c:pt idx="104">
                  <c:v>1192.1943</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2.902491236866</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2.902491236866</c:v>
                </c:pt>
                <c:pt idx="1">
                  <c:v>1122.902491236866</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2.902491236866</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2.902491236866</c:v>
                </c:pt>
                <c:pt idx="1">
                  <c:v>1122.902491236866</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6.341985305902</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6.341985305902</c:v>
                </c:pt>
                <c:pt idx="1">
                  <c:v>1406.341985305902</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pt idx="52">
                  <c:v>1122.902491236866</c:v>
                </c:pt>
                <c:pt idx="53">
                  <c:v>1122.902491236866</c:v>
                </c:pt>
                <c:pt idx="54">
                  <c:v>1406.341985305902</c:v>
                </c:pt>
              </c:numCache>
            </c:numRef>
          </c:xVal>
          <c:yVal>
            <c:numRef>
              <c:f>Sheet1!$B$187:$B$241</c:f>
              <c:numCache>
                <c:formatCode>General</c:formatCode>
                <c:ptCount val="55"/>
                <c:pt idx="0">
                  <c:v>0.3093994278913418</c:v>
                </c:pt>
                <c:pt idx="1">
                  <c:v>0.3032279681962904</c:v>
                </c:pt>
                <c:pt idx="2">
                  <c:v>0.303673500506903</c:v>
                </c:pt>
                <c:pt idx="3">
                  <c:v>0.3045572487887136</c:v>
                </c:pt>
                <c:pt idx="4">
                  <c:v>0.29994347779467156</c:v>
                </c:pt>
                <c:pt idx="5">
                  <c:v>0.3033307973447774</c:v>
                </c:pt>
                <c:pt idx="6">
                  <c:v>0.3142664133885519</c:v>
                </c:pt>
                <c:pt idx="7">
                  <c:v>0.3003480786442315</c:v>
                </c:pt>
                <c:pt idx="8">
                  <c:v>0.2929000451203</c:v>
                </c:pt>
                <c:pt idx="9">
                  <c:v>0.3053474680450244</c:v>
                </c:pt>
                <c:pt idx="10">
                  <c:v>0.30000306410124616</c:v>
                </c:pt>
                <c:pt idx="11">
                  <c:v>0.3206536504967823</c:v>
                </c:pt>
                <c:pt idx="12">
                  <c:v>0.3069228651993926</c:v>
                </c:pt>
                <c:pt idx="13">
                  <c:v>0.30440336906296894</c:v>
                </c:pt>
                <c:pt idx="14">
                  <c:v>0.306505033059399</c:v>
                </c:pt>
                <c:pt idx="15">
                  <c:v>0.303752779050409</c:v>
                </c:pt>
                <c:pt idx="16">
                  <c:v>0.2849659300215383</c:v>
                </c:pt>
                <c:pt idx="17">
                  <c:v>0.29995346951193164</c:v>
                </c:pt>
                <c:pt idx="18">
                  <c:v>0.330524156760574</c:v>
                </c:pt>
                <c:pt idx="19">
                  <c:v>0.27347971393720166</c:v>
                </c:pt>
                <c:pt idx="20">
                  <c:v>0.283949031642324</c:v>
                </c:pt>
                <c:pt idx="21">
                  <c:v>0.27598523258937074</c:v>
                </c:pt>
                <c:pt idx="22">
                  <c:v>0.29989202682072946</c:v>
                </c:pt>
                <c:pt idx="23">
                  <c:v>0.2913534037278095</c:v>
                </c:pt>
                <c:pt idx="24">
                  <c:v>0.29740075865055426</c:v>
                </c:pt>
                <c:pt idx="25">
                  <c:v>0.3135096818549342</c:v>
                </c:pt>
                <c:pt idx="26">
                  <c:v>0.30186594607499495</c:v>
                </c:pt>
                <c:pt idx="27">
                  <c:v>0.2886110504368331</c:v>
                </c:pt>
                <c:pt idx="28">
                  <c:v>0.29515385985679216</c:v>
                </c:pt>
                <c:pt idx="29">
                  <c:v>0.298757775813295</c:v>
                </c:pt>
                <c:pt idx="30">
                  <c:v>0.3088346501681829</c:v>
                </c:pt>
                <c:pt idx="31">
                  <c:v>0.303941165690407</c:v>
                </c:pt>
                <c:pt idx="32">
                  <c:v>0.2977049691314321</c:v>
                </c:pt>
                <c:pt idx="33">
                  <c:v>0.29119681222452065</c:v>
                </c:pt>
                <c:pt idx="34">
                  <c:v>0.28596932411257964</c:v>
                </c:pt>
                <c:pt idx="35">
                  <c:v>0.28766689685522984</c:v>
                </c:pt>
                <c:pt idx="36">
                  <c:v>0.3049214641726997</c:v>
                </c:pt>
                <c:pt idx="37">
                  <c:v>0.2691619816917063</c:v>
                </c:pt>
                <c:pt idx="38">
                  <c:v>0.2644605420236356</c:v>
                </c:pt>
                <c:pt idx="39">
                  <c:v>0.27336556448245647</c:v>
                </c:pt>
                <c:pt idx="40">
                  <c:v>0.2826581163322035</c:v>
                </c:pt>
                <c:pt idx="41">
                  <c:v>0.26647206216653363</c:v>
                </c:pt>
                <c:pt idx="42">
                  <c:v>0.26184890005025807</c:v>
                </c:pt>
                <c:pt idx="43">
                  <c:v>0.27192066024749556</c:v>
                </c:pt>
                <c:pt idx="44">
                  <c:v>0.27744802727618345</c:v>
                </c:pt>
                <c:pt idx="45">
                  <c:v>0.28920609450936086</c:v>
                </c:pt>
                <c:pt idx="46">
                  <c:v>0.28957677083984473</c:v>
                </c:pt>
                <c:pt idx="47">
                  <c:v>0.2960305647969277</c:v>
                </c:pt>
                <c:pt idx="48">
                  <c:v>0.29848819964561557</c:v>
                </c:pt>
                <c:pt idx="49">
                  <c:v>0.28926165864924236</c:v>
                </c:pt>
                <c:pt idx="50">
                  <c:v>0.3141289317270173</c:v>
                </c:pt>
                <c:pt idx="51">
                  <c:v>0.32954748004828993</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5.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3695360732640895</c:v>
                </c:pt>
                <c:pt idx="1">
                  <c:v>2.769050342543024</c:v>
                </c:pt>
                <c:pt idx="2">
                  <c:v>2.9895209505927305</c:v>
                </c:pt>
                <c:pt idx="3">
                  <c:v>3.001769998173331</c:v>
                </c:pt>
                <c:pt idx="4">
                  <c:v>2.9848856939583293</c:v>
                </c:pt>
                <c:pt idx="5">
                  <c:v>2.4888732382927032</c:v>
                </c:pt>
                <c:pt idx="6">
                  <c:v>2.186651849019534</c:v>
                </c:pt>
                <c:pt idx="7">
                  <c:v>2.2100552120127457</c:v>
                </c:pt>
                <c:pt idx="8">
                  <c:v>2.200701217530778</c:v>
                </c:pt>
                <c:pt idx="9">
                  <c:v>2.4027983188806723</c:v>
                </c:pt>
                <c:pt idx="10">
                  <c:v>2.253113958377401</c:v>
                </c:pt>
                <c:pt idx="11">
                  <c:v>2.323478471167311</c:v>
                </c:pt>
                <c:pt idx="12">
                  <c:v>2.3130143772744134</c:v>
                </c:pt>
                <c:pt idx="13">
                  <c:v>2.262740175322622</c:v>
                </c:pt>
                <c:pt idx="14">
                  <c:v>2.237089703320837</c:v>
                </c:pt>
                <c:pt idx="15">
                  <c:v>2.2698621294574743</c:v>
                </c:pt>
                <c:pt idx="16">
                  <c:v>2.247251813809337</c:v>
                </c:pt>
                <c:pt idx="17">
                  <c:v>2.634522173386493</c:v>
                </c:pt>
                <c:pt idx="18">
                  <c:v>2.948843722679128</c:v>
                </c:pt>
                <c:pt idx="19">
                  <c:v>2.5981116754270515</c:v>
                </c:pt>
                <c:pt idx="20">
                  <c:v>2.697692865836161</c:v>
                </c:pt>
                <c:pt idx="21">
                  <c:v>2.658744080269689</c:v>
                </c:pt>
                <c:pt idx="22">
                  <c:v>2.6223204027243114</c:v>
                </c:pt>
                <c:pt idx="23">
                  <c:v>2.812665053224647</c:v>
                </c:pt>
                <c:pt idx="24">
                  <c:v>2.704478416051178</c:v>
                </c:pt>
                <c:pt idx="25">
                  <c:v>2.7195869165293756</c:v>
                </c:pt>
                <c:pt idx="26">
                  <c:v>2.11114972415382</c:v>
                </c:pt>
                <c:pt idx="27">
                  <c:v>2.1483626988409847</c:v>
                </c:pt>
                <c:pt idx="28">
                  <c:v>2.1513025919806776</c:v>
                </c:pt>
                <c:pt idx="29">
                  <c:v>1.9529715126895513</c:v>
                </c:pt>
                <c:pt idx="30">
                  <c:v>2.078730829291306</c:v>
                </c:pt>
                <c:pt idx="31">
                  <c:v>2.029835990419921</c:v>
                </c:pt>
                <c:pt idx="32">
                  <c:v>1.979455509847618</c:v>
                </c:pt>
                <c:pt idx="33">
                  <c:v>1.9457808726741992</c:v>
                </c:pt>
                <c:pt idx="34">
                  <c:v>2.0183793861835486</c:v>
                </c:pt>
                <c:pt idx="35">
                  <c:v>2.1077454326388954</c:v>
                </c:pt>
                <c:pt idx="36">
                  <c:v>2.4390541975595306</c:v>
                </c:pt>
                <c:pt idx="37">
                  <c:v>2.2684671111899757</c:v>
                </c:pt>
                <c:pt idx="38">
                  <c:v>2.2098059206116902</c:v>
                </c:pt>
                <c:pt idx="39">
                  <c:v>2.3114170236094753</c:v>
                </c:pt>
                <c:pt idx="40">
                  <c:v>2.402838801708805</c:v>
                </c:pt>
                <c:pt idx="41">
                  <c:v>2.557827759493208</c:v>
                </c:pt>
                <c:pt idx="42">
                  <c:v>2.7666229502413855</c:v>
                </c:pt>
                <c:pt idx="43">
                  <c:v>2.8363697583090373</c:v>
                </c:pt>
                <c:pt idx="44">
                  <c:v>2.4873778734577927</c:v>
                </c:pt>
                <c:pt idx="45">
                  <c:v>2.469364820787954</c:v>
                </c:pt>
                <c:pt idx="46">
                  <c:v>2.51872085015552</c:v>
                </c:pt>
                <c:pt idx="47">
                  <c:v>2.6623410228243625</c:v>
                </c:pt>
                <c:pt idx="48">
                  <c:v>2.5344744165101125</c:v>
                </c:pt>
                <c:pt idx="49">
                  <c:v>2.508628770433955</c:v>
                </c:pt>
                <c:pt idx="50">
                  <c:v>2.504993216160804</c:v>
                </c:pt>
                <c:pt idx="51">
                  <c:v>2.465528482625264</c:v>
                </c:pt>
                <c:pt idx="52">
                  <c:v>2.4515505741857533</c:v>
                </c:pt>
                <c:pt idx="53">
                  <c:v>2.6640402977831594</c:v>
                </c:pt>
                <c:pt idx="54">
                  <c:v>2.5056940415245963</c:v>
                </c:pt>
                <c:pt idx="55">
                  <c:v>2.4741253970813717</c:v>
                </c:pt>
                <c:pt idx="56">
                  <c:v>2.6255398186618635</c:v>
                </c:pt>
                <c:pt idx="57">
                  <c:v>2.585169635380609</c:v>
                </c:pt>
                <c:pt idx="58">
                  <c:v>2.570600988145532</c:v>
                </c:pt>
                <c:pt idx="59">
                  <c:v>2.6070790085589355</c:v>
                </c:pt>
                <c:pt idx="60">
                  <c:v>2.707208775766012</c:v>
                </c:pt>
                <c:pt idx="61">
                  <c:v>2.687917013609578</c:v>
                </c:pt>
                <c:pt idx="62">
                  <c:v>2.652156192924684</c:v>
                </c:pt>
                <c:pt idx="63">
                  <c:v>2.6621422575587195</c:v>
                </c:pt>
                <c:pt idx="64">
                  <c:v>2.6505256423425654</c:v>
                </c:pt>
                <c:pt idx="65">
                  <c:v>2.6899333659870828</c:v>
                </c:pt>
                <c:pt idx="66">
                  <c:v>2.5871151295494945</c:v>
                </c:pt>
                <c:pt idx="67">
                  <c:v>2.6590147648957045</c:v>
                </c:pt>
                <c:pt idx="68">
                  <c:v>2.7135366914574233</c:v>
                </c:pt>
                <c:pt idx="69">
                  <c:v>2.7794070146292</c:v>
                </c:pt>
                <c:pt idx="70">
                  <c:v>2.774934445619029</c:v>
                </c:pt>
                <c:pt idx="71">
                  <c:v>2.7651288959195908</c:v>
                </c:pt>
                <c:pt idx="72">
                  <c:v>2.958108492997194</c:v>
                </c:pt>
                <c:pt idx="73">
                  <c:v>2.800914130450634</c:v>
                </c:pt>
                <c:pt idx="74">
                  <c:v>2.6612472438306742</c:v>
                </c:pt>
                <c:pt idx="75">
                  <c:v>2.5938503267084982</c:v>
                </c:pt>
                <c:pt idx="76">
                  <c:v>2.837806678276295</c:v>
                </c:pt>
                <c:pt idx="77">
                  <c:v>2.9875052369383157</c:v>
                </c:pt>
                <c:pt idx="78">
                  <c:v>3.0941173917739255</c:v>
                </c:pt>
                <c:pt idx="79">
                  <c:v>3.3610016051727607</c:v>
                </c:pt>
                <c:pt idx="80">
                  <c:v>3.1946992802289342</c:v>
                </c:pt>
                <c:pt idx="81">
                  <c:v>3.160895356171521</c:v>
                </c:pt>
                <c:pt idx="82">
                  <c:v>3.385696987644408</c:v>
                </c:pt>
                <c:pt idx="83">
                  <c:v>3.3276572632023482</c:v>
                </c:pt>
                <c:pt idx="84">
                  <c:v>3.316034191649518</c:v>
                </c:pt>
                <c:pt idx="85">
                  <c:v>2.943993515701269</c:v>
                </c:pt>
                <c:pt idx="86">
                  <c:v>2.766697650199424</c:v>
                </c:pt>
                <c:pt idx="87">
                  <c:v>2.8647362461112174</c:v>
                </c:pt>
                <c:pt idx="88">
                  <c:v>2.9117635763369747</c:v>
                </c:pt>
                <c:pt idx="89">
                  <c:v>2.5666924770740858</c:v>
                </c:pt>
                <c:pt idx="90">
                  <c:v>2.9592879933416882</c:v>
                </c:pt>
                <c:pt idx="91">
                  <c:v>2.7529558835308183</c:v>
                </c:pt>
                <c:pt idx="92">
                  <c:v>2.859204774393052</c:v>
                </c:pt>
                <c:pt idx="93">
                  <c:v>2.831297911449808</c:v>
                </c:pt>
                <c:pt idx="94">
                  <c:v>2.8122041666666666</c:v>
                </c:pt>
                <c:pt idx="95">
                  <c:v>2.6646265796893784</c:v>
                </c:pt>
                <c:pt idx="96">
                  <c:v>2.4918230990661283</c:v>
                </c:pt>
                <c:pt idx="97">
                  <c:v>2.466454814449513</c:v>
                </c:pt>
                <c:pt idx="98">
                  <c:v>2.61854942582989</c:v>
                </c:pt>
                <c:pt idx="99">
                  <c:v>2.8612717906544565</c:v>
                </c:pt>
                <c:pt idx="100">
                  <c:v>2.4586298783987277</c:v>
                </c:pt>
                <c:pt idx="101">
                  <c:v>2.7054039971670525</c:v>
                </c:pt>
                <c:pt idx="102">
                  <c:v>2.4189542379926365</c:v>
                </c:pt>
                <c:pt idx="103">
                  <c:v>2.5949008084139975</c:v>
                </c:pt>
                <c:pt idx="104">
                  <c:v>2.4469834145372285</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3984217488358315</c:v>
                </c:pt>
                <c:pt idx="1">
                  <c:v>2.4326871042117593</c:v>
                </c:pt>
                <c:pt idx="2">
                  <c:v>2.4472616834844443</c:v>
                </c:pt>
                <c:pt idx="3">
                  <c:v>2.4222111180464183</c:v>
                </c:pt>
                <c:pt idx="4">
                  <c:v>2.089875725874828</c:v>
                </c:pt>
                <c:pt idx="5">
                  <c:v>2.015126324554952</c:v>
                </c:pt>
                <c:pt idx="6">
                  <c:v>2.0054324736663958</c:v>
                </c:pt>
                <c:pt idx="7">
                  <c:v>2.078135009719392</c:v>
                </c:pt>
                <c:pt idx="8">
                  <c:v>2.158267400732937</c:v>
                </c:pt>
                <c:pt idx="9">
                  <c:v>2.1178781696848685</c:v>
                </c:pt>
                <c:pt idx="10">
                  <c:v>2.069782318185608</c:v>
                </c:pt>
                <c:pt idx="11">
                  <c:v>2.1641531895350106</c:v>
                </c:pt>
                <c:pt idx="12">
                  <c:v>2.1260619889401853</c:v>
                </c:pt>
                <c:pt idx="13">
                  <c:v>2.0189118966607307</c:v>
                </c:pt>
                <c:pt idx="14">
                  <c:v>2.051660825460492</c:v>
                </c:pt>
                <c:pt idx="15">
                  <c:v>2.1019903795387274</c:v>
                </c:pt>
                <c:pt idx="16">
                  <c:v>2.21605499253632</c:v>
                </c:pt>
                <c:pt idx="17">
                  <c:v>2.094920426321537</c:v>
                </c:pt>
                <c:pt idx="18">
                  <c:v>1.8381090311312032</c:v>
                </c:pt>
                <c:pt idx="19">
                  <c:v>2.419958605165834</c:v>
                </c:pt>
                <c:pt idx="20">
                  <c:v>2.3047738810629186</c:v>
                </c:pt>
                <c:pt idx="21">
                  <c:v>2.2525182942135316</c:v>
                </c:pt>
                <c:pt idx="22">
                  <c:v>2.0937667993498272</c:v>
                </c:pt>
                <c:pt idx="23">
                  <c:v>2.119685229135048</c:v>
                </c:pt>
                <c:pt idx="24">
                  <c:v>2.0906185122574765</c:v>
                </c:pt>
                <c:pt idx="25">
                  <c:v>1.9432460568739092</c:v>
                </c:pt>
                <c:pt idx="26">
                  <c:v>2.047186229444423</c:v>
                </c:pt>
                <c:pt idx="27">
                  <c:v>2.1786979047675676</c:v>
                </c:pt>
                <c:pt idx="28">
                  <c:v>2.1022882224546193</c:v>
                </c:pt>
                <c:pt idx="29">
                  <c:v>2.0642293807679293</c:v>
                </c:pt>
                <c:pt idx="30">
                  <c:v>1.9183237209302326</c:v>
                </c:pt>
                <c:pt idx="31">
                  <c:v>2.077652235092032</c:v>
                </c:pt>
                <c:pt idx="32">
                  <c:v>2.0769789998961885</c:v>
                </c:pt>
                <c:pt idx="33">
                  <c:v>2.124353151626943</c:v>
                </c:pt>
                <c:pt idx="34">
                  <c:v>2.1664323459543318</c:v>
                </c:pt>
                <c:pt idx="35">
                  <c:v>2.148219357914439</c:v>
                </c:pt>
                <c:pt idx="36">
                  <c:v>2.0232655771937167</c:v>
                </c:pt>
                <c:pt idx="37">
                  <c:v>2.320540007446509</c:v>
                </c:pt>
                <c:pt idx="38">
                  <c:v>2.4678555617593463</c:v>
                </c:pt>
                <c:pt idx="39">
                  <c:v>2.3409700882641387</c:v>
                </c:pt>
                <c:pt idx="40">
                  <c:v>2.256521895407217</c:v>
                </c:pt>
                <c:pt idx="41">
                  <c:v>2.2820031887271</c:v>
                </c:pt>
                <c:pt idx="42">
                  <c:v>2.4051912142940775</c:v>
                </c:pt>
                <c:pt idx="43">
                  <c:v>2.299729776945416</c:v>
                </c:pt>
                <c:pt idx="44">
                  <c:v>2.21702070242691</c:v>
                </c:pt>
                <c:pt idx="45">
                  <c:v>2.1565267061515336</c:v>
                </c:pt>
                <c:pt idx="46">
                  <c:v>2.125797135030385</c:v>
                </c:pt>
                <c:pt idx="47">
                  <c:v>2.155472153798276</c:v>
                </c:pt>
                <c:pt idx="48">
                  <c:v>2.121495253565297</c:v>
                </c:pt>
                <c:pt idx="49">
                  <c:v>2.245915442810855</c:v>
                </c:pt>
                <c:pt idx="50">
                  <c:v>1.9923107758463614</c:v>
                </c:pt>
                <c:pt idx="51">
                  <c:v>1.9870121256946514</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7634055581069674</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7634055581069674</c:v>
                </c:pt>
                <c:pt idx="1">
                  <c:v>1.7634055581069674</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34055581069674</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34055581069674</c:v>
                </c:pt>
                <c:pt idx="1">
                  <c:v>1.7634055581069674</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64722368427573</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64722368427573</c:v>
                </c:pt>
                <c:pt idx="1">
                  <c:v>2.364722368427573</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3984217488358315</c:v>
                </c:pt>
                <c:pt idx="1">
                  <c:v>2.4326871042117593</c:v>
                </c:pt>
                <c:pt idx="2">
                  <c:v>2.4472616834844443</c:v>
                </c:pt>
                <c:pt idx="3">
                  <c:v>2.4222111180464183</c:v>
                </c:pt>
                <c:pt idx="4">
                  <c:v>2.089875725874828</c:v>
                </c:pt>
                <c:pt idx="5">
                  <c:v>2.015126324554952</c:v>
                </c:pt>
                <c:pt idx="6">
                  <c:v>2.0054324736663958</c:v>
                </c:pt>
                <c:pt idx="7">
                  <c:v>2.078135009719392</c:v>
                </c:pt>
                <c:pt idx="8">
                  <c:v>2.158267400732937</c:v>
                </c:pt>
                <c:pt idx="9">
                  <c:v>2.1178781696848685</c:v>
                </c:pt>
                <c:pt idx="10">
                  <c:v>2.069782318185608</c:v>
                </c:pt>
                <c:pt idx="11">
                  <c:v>2.1641531895350106</c:v>
                </c:pt>
                <c:pt idx="12">
                  <c:v>2.1260619889401853</c:v>
                </c:pt>
                <c:pt idx="13">
                  <c:v>2.0189118966607307</c:v>
                </c:pt>
                <c:pt idx="14">
                  <c:v>2.051660825460492</c:v>
                </c:pt>
                <c:pt idx="15">
                  <c:v>2.1019903795387274</c:v>
                </c:pt>
                <c:pt idx="16">
                  <c:v>2.21605499253632</c:v>
                </c:pt>
                <c:pt idx="17">
                  <c:v>2.094920426321537</c:v>
                </c:pt>
                <c:pt idx="18">
                  <c:v>1.8381090311312032</c:v>
                </c:pt>
                <c:pt idx="19">
                  <c:v>2.419958605165834</c:v>
                </c:pt>
                <c:pt idx="20">
                  <c:v>2.3047738810629186</c:v>
                </c:pt>
                <c:pt idx="21">
                  <c:v>2.2525182942135316</c:v>
                </c:pt>
                <c:pt idx="22">
                  <c:v>2.0937667993498272</c:v>
                </c:pt>
                <c:pt idx="23">
                  <c:v>2.119685229135048</c:v>
                </c:pt>
                <c:pt idx="24">
                  <c:v>2.0906185122574765</c:v>
                </c:pt>
                <c:pt idx="25">
                  <c:v>1.9432460568739092</c:v>
                </c:pt>
                <c:pt idx="26">
                  <c:v>2.047186229444423</c:v>
                </c:pt>
                <c:pt idx="27">
                  <c:v>2.1786979047675676</c:v>
                </c:pt>
                <c:pt idx="28">
                  <c:v>2.1022882224546193</c:v>
                </c:pt>
                <c:pt idx="29">
                  <c:v>2.0642293807679293</c:v>
                </c:pt>
                <c:pt idx="30">
                  <c:v>1.9183237209302326</c:v>
                </c:pt>
                <c:pt idx="31">
                  <c:v>2.077652235092032</c:v>
                </c:pt>
                <c:pt idx="32">
                  <c:v>2.0769789998961885</c:v>
                </c:pt>
                <c:pt idx="33">
                  <c:v>2.124353151626943</c:v>
                </c:pt>
                <c:pt idx="34">
                  <c:v>2.1664323459543318</c:v>
                </c:pt>
                <c:pt idx="35">
                  <c:v>2.148219357914439</c:v>
                </c:pt>
                <c:pt idx="36">
                  <c:v>2.0232655771937167</c:v>
                </c:pt>
                <c:pt idx="37">
                  <c:v>2.320540007446509</c:v>
                </c:pt>
                <c:pt idx="38">
                  <c:v>2.4678555617593463</c:v>
                </c:pt>
                <c:pt idx="39">
                  <c:v>2.3409700882641387</c:v>
                </c:pt>
                <c:pt idx="40">
                  <c:v>2.256521895407217</c:v>
                </c:pt>
                <c:pt idx="41">
                  <c:v>2.2820031887271</c:v>
                </c:pt>
                <c:pt idx="42">
                  <c:v>2.4051912142940775</c:v>
                </c:pt>
                <c:pt idx="43">
                  <c:v>2.299729776945416</c:v>
                </c:pt>
                <c:pt idx="44">
                  <c:v>2.21702070242691</c:v>
                </c:pt>
                <c:pt idx="45">
                  <c:v>2.1565267061515336</c:v>
                </c:pt>
                <c:pt idx="46">
                  <c:v>2.125797135030385</c:v>
                </c:pt>
                <c:pt idx="47">
                  <c:v>2.155472153798276</c:v>
                </c:pt>
                <c:pt idx="48">
                  <c:v>2.121495253565297</c:v>
                </c:pt>
                <c:pt idx="49">
                  <c:v>2.245915442810855</c:v>
                </c:pt>
                <c:pt idx="50">
                  <c:v>1.9923107758463614</c:v>
                </c:pt>
                <c:pt idx="51">
                  <c:v>1.9870121256946514</c:v>
                </c:pt>
                <c:pt idx="52">
                  <c:v>1.7634055581069674</c:v>
                </c:pt>
                <c:pt idx="53">
                  <c:v>1.7634055581069674</c:v>
                </c:pt>
                <c:pt idx="54">
                  <c:v>2.364722368427573</c:v>
                </c:pt>
              </c:numCache>
            </c:numRef>
          </c:xVal>
          <c:yVal>
            <c:numRef>
              <c:f>Sheet1!$B$187:$B$241</c:f>
              <c:numCache>
                <c:formatCode>General</c:formatCode>
                <c:ptCount val="55"/>
                <c:pt idx="0">
                  <c:v>0.27518169426355577</c:v>
                </c:pt>
                <c:pt idx="1">
                  <c:v>0.2722421496824573</c:v>
                </c:pt>
                <c:pt idx="2">
                  <c:v>0.2709918306633553</c:v>
                </c:pt>
                <c:pt idx="3">
                  <c:v>0.27314085999863935</c:v>
                </c:pt>
                <c:pt idx="4">
                  <c:v>0.30165113489430107</c:v>
                </c:pt>
                <c:pt idx="5">
                  <c:v>0.3080637109548593</c:v>
                </c:pt>
                <c:pt idx="6">
                  <c:v>0.30889532371756984</c:v>
                </c:pt>
                <c:pt idx="7">
                  <c:v>0.30265834343407216</c:v>
                </c:pt>
                <c:pt idx="8">
                  <c:v>0.29578397329577755</c:v>
                </c:pt>
                <c:pt idx="9">
                  <c:v>0.2992488708273961</c:v>
                </c:pt>
                <c:pt idx="10">
                  <c:v>0.3033749012770114</c:v>
                </c:pt>
                <c:pt idx="11">
                  <c:v>0.2952790452601915</c:v>
                </c:pt>
                <c:pt idx="12">
                  <c:v>0.29854680014169244</c:v>
                </c:pt>
                <c:pt idx="13">
                  <c:v>0.3077389555905033</c:v>
                </c:pt>
                <c:pt idx="14">
                  <c:v>0.3049295016935871</c:v>
                </c:pt>
                <c:pt idx="15">
                  <c:v>0.3006118471315184</c:v>
                </c:pt>
                <c:pt idx="16">
                  <c:v>0.29082651114554686</c:v>
                </c:pt>
                <c:pt idx="17">
                  <c:v>0.30121836185871753</c:v>
                </c:pt>
                <c:pt idx="18">
                  <c:v>0.3232496099462955</c:v>
                </c:pt>
                <c:pt idx="19">
                  <c:v>0.27333409780281015</c:v>
                </c:pt>
                <c:pt idx="20">
                  <c:v>0.2832155254969737</c:v>
                </c:pt>
                <c:pt idx="21">
                  <c:v>0.28769840989930945</c:v>
                </c:pt>
                <c:pt idx="22">
                  <c:v>0.3013173288145857</c:v>
                </c:pt>
                <c:pt idx="23">
                  <c:v>0.299093847429675</c:v>
                </c:pt>
                <c:pt idx="24">
                  <c:v>0.3015874129902941</c:v>
                </c:pt>
                <c:pt idx="25">
                  <c:v>0.314230150760651</c:v>
                </c:pt>
                <c:pt idx="26">
                  <c:v>0.30531336680536936</c:v>
                </c:pt>
                <c:pt idx="27">
                  <c:v>0.29403128820714425</c:v>
                </c:pt>
                <c:pt idx="28">
                  <c:v>0.3005862958853742</c:v>
                </c:pt>
                <c:pt idx="29">
                  <c:v>0.3038512747719376</c:v>
                </c:pt>
                <c:pt idx="30">
                  <c:v>0.31636817958795505</c:v>
                </c:pt>
                <c:pt idx="31">
                  <c:v>0.3026997595385946</c:v>
                </c:pt>
                <c:pt idx="32">
                  <c:v>0.3027575148091889</c:v>
                </c:pt>
                <c:pt idx="33">
                  <c:v>0.29869339729234246</c:v>
                </c:pt>
                <c:pt idx="34">
                  <c:v>0.29508352176923713</c:v>
                </c:pt>
                <c:pt idx="35">
                  <c:v>0.29664597135456644</c:v>
                </c:pt>
                <c:pt idx="36">
                  <c:v>0.3073654635348054</c:v>
                </c:pt>
                <c:pt idx="37">
                  <c:v>0.2818629864420788</c:v>
                </c:pt>
                <c:pt idx="38">
                  <c:v>0.26922513008130566</c:v>
                </c:pt>
                <c:pt idx="39">
                  <c:v>0.28011033766024074</c:v>
                </c:pt>
                <c:pt idx="40">
                  <c:v>0.28735495033017144</c:v>
                </c:pt>
                <c:pt idx="41">
                  <c:v>0.2851689698587573</c:v>
                </c:pt>
                <c:pt idx="42">
                  <c:v>0.27460095767739157</c:v>
                </c:pt>
                <c:pt idx="43">
                  <c:v>0.2836482473748714</c:v>
                </c:pt>
                <c:pt idx="44">
                  <c:v>0.2907436651559269</c:v>
                </c:pt>
                <c:pt idx="45">
                  <c:v>0.2959333034068467</c:v>
                </c:pt>
                <c:pt idx="46">
                  <c:v>0.2985695213382712</c:v>
                </c:pt>
                <c:pt idx="47">
                  <c:v>0.29602377098325133</c:v>
                </c:pt>
                <c:pt idx="48">
                  <c:v>0.29893856967325827</c:v>
                </c:pt>
                <c:pt idx="49">
                  <c:v>0.2882648530558912</c:v>
                </c:pt>
                <c:pt idx="50">
                  <c:v>0.31002100343980005</c:v>
                </c:pt>
                <c:pt idx="51">
                  <c:v>0.3104755622257725</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977910895966652</c:v>
                </c:pt>
                <c:pt idx="1">
                  <c:v>2.462849073208436</c:v>
                </c:pt>
                <c:pt idx="2">
                  <c:v>2.5620997651343824</c:v>
                </c:pt>
                <c:pt idx="3">
                  <c:v>2.5828382391699005</c:v>
                </c:pt>
                <c:pt idx="4">
                  <c:v>2.6034840515918805</c:v>
                </c:pt>
                <c:pt idx="5">
                  <c:v>2.0580902263899383</c:v>
                </c:pt>
                <c:pt idx="6">
                  <c:v>1.7359021676182778</c:v>
                </c:pt>
                <c:pt idx="7">
                  <c:v>1.744827942924778</c:v>
                </c:pt>
                <c:pt idx="8">
                  <c:v>1.7591838345887492</c:v>
                </c:pt>
                <c:pt idx="9">
                  <c:v>1.7571318719796511</c:v>
                </c:pt>
                <c:pt idx="10">
                  <c:v>1.661754373107169</c:v>
                </c:pt>
                <c:pt idx="11">
                  <c:v>1.7630771622406125</c:v>
                </c:pt>
                <c:pt idx="12">
                  <c:v>1.788597166698269</c:v>
                </c:pt>
                <c:pt idx="13">
                  <c:v>1.7961545291501166</c:v>
                </c:pt>
                <c:pt idx="14">
                  <c:v>1.7937353559580407</c:v>
                </c:pt>
                <c:pt idx="15">
                  <c:v>1.8714083963819594</c:v>
                </c:pt>
                <c:pt idx="16">
                  <c:v>1.8593790824854186</c:v>
                </c:pt>
                <c:pt idx="17">
                  <c:v>2.297579864910076</c:v>
                </c:pt>
                <c:pt idx="18">
                  <c:v>2.7184299732182793</c:v>
                </c:pt>
                <c:pt idx="19">
                  <c:v>2.637653674980171</c:v>
                </c:pt>
                <c:pt idx="20">
                  <c:v>2.752629270679106</c:v>
                </c:pt>
                <c:pt idx="21">
                  <c:v>2.8755569456754064</c:v>
                </c:pt>
                <c:pt idx="22">
                  <c:v>2.744851037998589</c:v>
                </c:pt>
                <c:pt idx="23">
                  <c:v>2.808972951922396</c:v>
                </c:pt>
                <c:pt idx="24">
                  <c:v>2.9002049828243925</c:v>
                </c:pt>
                <c:pt idx="25">
                  <c:v>2.790457209509958</c:v>
                </c:pt>
                <c:pt idx="26">
                  <c:v>2.1389750514747172</c:v>
                </c:pt>
                <c:pt idx="27">
                  <c:v>2.0446704493377963</c:v>
                </c:pt>
                <c:pt idx="28">
                  <c:v>2.015908098512518</c:v>
                </c:pt>
                <c:pt idx="29">
                  <c:v>1.9583481130307518</c:v>
                </c:pt>
                <c:pt idx="30">
                  <c:v>1.9078269491286646</c:v>
                </c:pt>
                <c:pt idx="31">
                  <c:v>1.8760908470287085</c:v>
                </c:pt>
                <c:pt idx="32">
                  <c:v>1.7728715842040403</c:v>
                </c:pt>
                <c:pt idx="33">
                  <c:v>1.7085318656148045</c:v>
                </c:pt>
                <c:pt idx="34">
                  <c:v>1.7983036427492425</c:v>
                </c:pt>
                <c:pt idx="35">
                  <c:v>1.9023153566957296</c:v>
                </c:pt>
                <c:pt idx="36">
                  <c:v>2.059481838307559</c:v>
                </c:pt>
                <c:pt idx="37">
                  <c:v>2.1355012615090496</c:v>
                </c:pt>
                <c:pt idx="38">
                  <c:v>2.266286951425631</c:v>
                </c:pt>
                <c:pt idx="39">
                  <c:v>2.2464373063953262</c:v>
                </c:pt>
                <c:pt idx="40">
                  <c:v>2.2089919992993154</c:v>
                </c:pt>
                <c:pt idx="41">
                  <c:v>2.312524081497971</c:v>
                </c:pt>
                <c:pt idx="42">
                  <c:v>2.3078554113055163</c:v>
                </c:pt>
                <c:pt idx="43">
                  <c:v>2.308711797878698</c:v>
                </c:pt>
                <c:pt idx="44">
                  <c:v>2.2075329339844774</c:v>
                </c:pt>
                <c:pt idx="45">
                  <c:v>2.1578900263817893</c:v>
                </c:pt>
                <c:pt idx="46">
                  <c:v>2.1383007513698398</c:v>
                </c:pt>
                <c:pt idx="47">
                  <c:v>2.130587844115243</c:v>
                </c:pt>
                <c:pt idx="48">
                  <c:v>2.1180992929319715</c:v>
                </c:pt>
                <c:pt idx="49">
                  <c:v>2.0397892099864117</c:v>
                </c:pt>
                <c:pt idx="50">
                  <c:v>2.0166253876463545</c:v>
                </c:pt>
                <c:pt idx="51">
                  <c:v>2.0828634872703513</c:v>
                </c:pt>
                <c:pt idx="52">
                  <c:v>2.112488946524665</c:v>
                </c:pt>
                <c:pt idx="53">
                  <c:v>2.2787349693856727</c:v>
                </c:pt>
                <c:pt idx="54">
                  <c:v>2.350101487463395</c:v>
                </c:pt>
                <c:pt idx="55">
                  <c:v>2.4057136914979482</c:v>
                </c:pt>
                <c:pt idx="56">
                  <c:v>2.4682832838802824</c:v>
                </c:pt>
                <c:pt idx="57">
                  <c:v>2.36732839429911</c:v>
                </c:pt>
                <c:pt idx="58">
                  <c:v>2.2084596528521874</c:v>
                </c:pt>
                <c:pt idx="59">
                  <c:v>2.343447483495193</c:v>
                </c:pt>
                <c:pt idx="60">
                  <c:v>2.3851487923596597</c:v>
                </c:pt>
                <c:pt idx="61">
                  <c:v>2.30600824945088</c:v>
                </c:pt>
                <c:pt idx="62">
                  <c:v>2.1785811314634542</c:v>
                </c:pt>
                <c:pt idx="63">
                  <c:v>2.262541061357945</c:v>
                </c:pt>
                <c:pt idx="64">
                  <c:v>2.2595799334593663</c:v>
                </c:pt>
                <c:pt idx="65">
                  <c:v>2.213066341309817</c:v>
                </c:pt>
                <c:pt idx="66">
                  <c:v>2.2287807875327803</c:v>
                </c:pt>
                <c:pt idx="67">
                  <c:v>2.2742593836336362</c:v>
                </c:pt>
                <c:pt idx="68">
                  <c:v>2.3320267617350074</c:v>
                </c:pt>
                <c:pt idx="69">
                  <c:v>2.365184430714426</c:v>
                </c:pt>
                <c:pt idx="70">
                  <c:v>2.3810308712428205</c:v>
                </c:pt>
                <c:pt idx="71">
                  <c:v>2.5180865276352287</c:v>
                </c:pt>
                <c:pt idx="72">
                  <c:v>2.7395030861869096</c:v>
                </c:pt>
                <c:pt idx="73">
                  <c:v>2.6245956941686748</c:v>
                </c:pt>
                <c:pt idx="74">
                  <c:v>2.591560013894086</c:v>
                </c:pt>
                <c:pt idx="75">
                  <c:v>2.5219116062646716</c:v>
                </c:pt>
                <c:pt idx="76">
                  <c:v>2.719372854087313</c:v>
                </c:pt>
                <c:pt idx="77">
                  <c:v>2.812984731210024</c:v>
                </c:pt>
                <c:pt idx="78">
                  <c:v>2.8947037726827154</c:v>
                </c:pt>
                <c:pt idx="79">
                  <c:v>2.79749079131996</c:v>
                </c:pt>
                <c:pt idx="80">
                  <c:v>2.8038170955443458</c:v>
                </c:pt>
                <c:pt idx="81">
                  <c:v>2.7085865249092698</c:v>
                </c:pt>
                <c:pt idx="82">
                  <c:v>2.771266746617525</c:v>
                </c:pt>
                <c:pt idx="83">
                  <c:v>2.6617487147117376</c:v>
                </c:pt>
                <c:pt idx="84">
                  <c:v>2.7538327273934318</c:v>
                </c:pt>
                <c:pt idx="85">
                  <c:v>2.550200586093377</c:v>
                </c:pt>
                <c:pt idx="86">
                  <c:v>2.5613480642457627</c:v>
                </c:pt>
                <c:pt idx="87">
                  <c:v>2.5551679407916645</c:v>
                </c:pt>
                <c:pt idx="88">
                  <c:v>2.6145045742511637</c:v>
                </c:pt>
                <c:pt idx="89">
                  <c:v>2.6239765858179873</c:v>
                </c:pt>
                <c:pt idx="90">
                  <c:v>2.749310943113177</c:v>
                </c:pt>
                <c:pt idx="91">
                  <c:v>2.815539815818164</c:v>
                </c:pt>
                <c:pt idx="92">
                  <c:v>2.471242418693642</c:v>
                </c:pt>
                <c:pt idx="93">
                  <c:v>2.236560224678842</c:v>
                </c:pt>
                <c:pt idx="94">
                  <c:v>2.1858635244453946</c:v>
                </c:pt>
                <c:pt idx="95">
                  <c:v>2.0521358823799707</c:v>
                </c:pt>
                <c:pt idx="96">
                  <c:v>1.9235201202687213</c:v>
                </c:pt>
                <c:pt idx="97">
                  <c:v>1.9169972118055016</c:v>
                </c:pt>
                <c:pt idx="98">
                  <c:v>1.9834420776767727</c:v>
                </c:pt>
                <c:pt idx="99">
                  <c:v>2.173388753176072</c:v>
                </c:pt>
                <c:pt idx="100">
                  <c:v>1.8960451516296966</c:v>
                </c:pt>
                <c:pt idx="101">
                  <c:v>1.7293264283557865</c:v>
                </c:pt>
                <c:pt idx="102">
                  <c:v>1.735718588638256</c:v>
                </c:pt>
                <c:pt idx="103">
                  <c:v>1.7411174037604114</c:v>
                </c:pt>
                <c:pt idx="104">
                  <c:v>1.8052949814246282</c:v>
                </c:pt>
              </c:numCache>
            </c:numRef>
          </c:xVal>
          <c:yVal>
            <c:numRef>
              <c:f>Sheet1!$B$2:$B$106</c:f>
              <c:numCache>
                <c:formatCode>General</c:formatCode>
                <c:ptCount val="105"/>
                <c:pt idx="0">
                  <c:v>0.22296712802768165</c:v>
                </c:pt>
                <c:pt idx="1">
                  <c:v>0.2252983293556086</c:v>
                </c:pt>
                <c:pt idx="2">
                  <c:v>0.21428571428571427</c:v>
                </c:pt>
                <c:pt idx="3">
                  <c:v>0.21960326721120188</c:v>
                </c:pt>
                <c:pt idx="4">
                  <c:v>0.22428884026258206</c:v>
                </c:pt>
                <c:pt idx="5">
                  <c:v>0.2336199229172843</c:v>
                </c:pt>
                <c:pt idx="6">
                  <c:v>0.2686014201914171</c:v>
                </c:pt>
                <c:pt idx="7">
                  <c:v>0.2704980842911877</c:v>
                </c:pt>
                <c:pt idx="8">
                  <c:v>0.2760018009905448</c:v>
                </c:pt>
                <c:pt idx="9">
                  <c:v>0.2654718566227947</c:v>
                </c:pt>
                <c:pt idx="10">
                  <c:v>0.2692517749863463</c:v>
                </c:pt>
                <c:pt idx="11">
                  <c:v>0.24356435643564356</c:v>
                </c:pt>
                <c:pt idx="12">
                  <c:v>0.2305059887558054</c:v>
                </c:pt>
                <c:pt idx="13">
                  <c:v>0.223963133640553</c:v>
                </c:pt>
                <c:pt idx="14">
                  <c:v>0.22067097311939987</c:v>
                </c:pt>
                <c:pt idx="15">
                  <c:v>0.18942505133470225</c:v>
                </c:pt>
                <c:pt idx="16">
                  <c:v>0.18484001242621934</c:v>
                </c:pt>
                <c:pt idx="17">
                  <c:v>0.16711140760507004</c:v>
                </c:pt>
                <c:pt idx="18">
                  <c:v>0.15702795863653773</c:v>
                </c:pt>
                <c:pt idx="19">
                  <c:v>0.16336394393426776</c:v>
                </c:pt>
                <c:pt idx="20">
                  <c:v>0.1691524190614769</c:v>
                </c:pt>
                <c:pt idx="21">
                  <c:v>0.1621475054229935</c:v>
                </c:pt>
                <c:pt idx="22">
                  <c:v>0.19924098671726756</c:v>
                </c:pt>
                <c:pt idx="23">
                  <c:v>0.19221753398968588</c:v>
                </c:pt>
                <c:pt idx="24">
                  <c:v>0.19555182543013008</c:v>
                </c:pt>
                <c:pt idx="25">
                  <c:v>0.21047381546134664</c:v>
                </c:pt>
                <c:pt idx="26">
                  <c:v>0.23883318140382861</c:v>
                </c:pt>
                <c:pt idx="27">
                  <c:v>0.22721798474508229</c:v>
                </c:pt>
                <c:pt idx="28">
                  <c:v>0.2260583641594739</c:v>
                </c:pt>
                <c:pt idx="29">
                  <c:v>0.22870370370370371</c:v>
                </c:pt>
                <c:pt idx="30">
                  <c:v>0.2382404181184669</c:v>
                </c:pt>
                <c:pt idx="31">
                  <c:v>0.2361746361746362</c:v>
                </c:pt>
                <c:pt idx="32">
                  <c:v>0.2487785016286645</c:v>
                </c:pt>
                <c:pt idx="33">
                  <c:v>0.2637489202418658</c:v>
                </c:pt>
                <c:pt idx="34">
                  <c:v>0.24895166629883028</c:v>
                </c:pt>
                <c:pt idx="35">
                  <c:v>0.26185448262622385</c:v>
                </c:pt>
                <c:pt idx="36">
                  <c:v>0.22697083453652903</c:v>
                </c:pt>
                <c:pt idx="37">
                  <c:v>0.225759238931577</c:v>
                </c:pt>
                <c:pt idx="38">
                  <c:v>0.20760342899739098</c:v>
                </c:pt>
                <c:pt idx="39">
                  <c:v>0.19955323901712585</c:v>
                </c:pt>
                <c:pt idx="40">
                  <c:v>0.21830790568654646</c:v>
                </c:pt>
                <c:pt idx="41">
                  <c:v>0.1927795303189625</c:v>
                </c:pt>
                <c:pt idx="42">
                  <c:v>0.18770614692653673</c:v>
                </c:pt>
                <c:pt idx="43">
                  <c:v>0.18228187919463087</c:v>
                </c:pt>
                <c:pt idx="44">
                  <c:v>0.1941385736066407</c:v>
                </c:pt>
                <c:pt idx="45">
                  <c:v>0.20877192982456141</c:v>
                </c:pt>
                <c:pt idx="46">
                  <c:v>0.22004608294930875</c:v>
                </c:pt>
                <c:pt idx="47">
                  <c:v>0.19655941382605926</c:v>
                </c:pt>
                <c:pt idx="48">
                  <c:v>0.20157153770599148</c:v>
                </c:pt>
                <c:pt idx="49">
                  <c:v>0.2198908343375629</c:v>
                </c:pt>
                <c:pt idx="50">
                  <c:v>0.211495712924738</c:v>
                </c:pt>
                <c:pt idx="51">
                  <c:v>0.19513314967860423</c:v>
                </c:pt>
                <c:pt idx="52">
                  <c:v>0.19499744767738642</c:v>
                </c:pt>
                <c:pt idx="53">
                  <c:v>0.18393094289508632</c:v>
                </c:pt>
                <c:pt idx="54">
                  <c:v>0.18492975734355044</c:v>
                </c:pt>
                <c:pt idx="55">
                  <c:v>0.1806366047745358</c:v>
                </c:pt>
                <c:pt idx="56">
                  <c:v>0.17890716803760282</c:v>
                </c:pt>
                <c:pt idx="57">
                  <c:v>0.18328298086606243</c:v>
                </c:pt>
                <c:pt idx="58">
                  <c:v>0.21296703296703295</c:v>
                </c:pt>
                <c:pt idx="59">
                  <c:v>0.20263806348746194</c:v>
                </c:pt>
                <c:pt idx="60">
                  <c:v>0.21125598283545138</c:v>
                </c:pt>
                <c:pt idx="61">
                  <c:v>0.20458937198067634</c:v>
                </c:pt>
                <c:pt idx="62">
                  <c:v>0.21975203078238564</c:v>
                </c:pt>
                <c:pt idx="63">
                  <c:v>0.23140662894098626</c:v>
                </c:pt>
                <c:pt idx="64">
                  <c:v>0.21334792122538293</c:v>
                </c:pt>
                <c:pt idx="65">
                  <c:v>0.198727833461835</c:v>
                </c:pt>
                <c:pt idx="66">
                  <c:v>0.2020242914979757</c:v>
                </c:pt>
                <c:pt idx="67">
                  <c:v>0.17771393392160886</c:v>
                </c:pt>
                <c:pt idx="68">
                  <c:v>0.1641829393627955</c:v>
                </c:pt>
                <c:pt idx="69">
                  <c:v>0.16069668090699968</c:v>
                </c:pt>
                <c:pt idx="70">
                  <c:v>0.16136514247846256</c:v>
                </c:pt>
                <c:pt idx="71">
                  <c:v>0.1706379707916987</c:v>
                </c:pt>
                <c:pt idx="72">
                  <c:v>0.16599732262382866</c:v>
                </c:pt>
                <c:pt idx="73">
                  <c:v>0.16704035874439463</c:v>
                </c:pt>
                <c:pt idx="74">
                  <c:v>0.17046580773042616</c:v>
                </c:pt>
                <c:pt idx="75">
                  <c:v>0.18791946308724833</c:v>
                </c:pt>
                <c:pt idx="76">
                  <c:v>0.17807563427477263</c:v>
                </c:pt>
                <c:pt idx="77">
                  <c:v>0.16981132075471697</c:v>
                </c:pt>
                <c:pt idx="78">
                  <c:v>0.16556655665566555</c:v>
                </c:pt>
                <c:pt idx="79">
                  <c:v>0.14982844071673657</c:v>
                </c:pt>
                <c:pt idx="80">
                  <c:v>0.13626453488372092</c:v>
                </c:pt>
                <c:pt idx="81">
                  <c:v>0.1577192397465822</c:v>
                </c:pt>
                <c:pt idx="82">
                  <c:v>0.16024436090225563</c:v>
                </c:pt>
                <c:pt idx="83">
                  <c:v>0.16474291710388247</c:v>
                </c:pt>
                <c:pt idx="84">
                  <c:v>0.15587778353184878</c:v>
                </c:pt>
                <c:pt idx="85">
                  <c:v>0.18100757913508694</c:v>
                </c:pt>
                <c:pt idx="86">
                  <c:v>0.1963151207115629</c:v>
                </c:pt>
                <c:pt idx="87">
                  <c:v>0.20376266280752534</c:v>
                </c:pt>
                <c:pt idx="88">
                  <c:v>0.19917864476386038</c:v>
                </c:pt>
                <c:pt idx="89">
                  <c:v>0.19888991674375578</c:v>
                </c:pt>
                <c:pt idx="90">
                  <c:v>0.17649687220732796</c:v>
                </c:pt>
                <c:pt idx="91">
                  <c:v>0.16882556131260795</c:v>
                </c:pt>
                <c:pt idx="92">
                  <c:v>0.19168110918544193</c:v>
                </c:pt>
                <c:pt idx="93">
                  <c:v>0.17798041202296522</c:v>
                </c:pt>
                <c:pt idx="94">
                  <c:v>0.17783094098883573</c:v>
                </c:pt>
                <c:pt idx="95">
                  <c:v>0.1876790830945559</c:v>
                </c:pt>
                <c:pt idx="96">
                  <c:v>0.19962616822429907</c:v>
                </c:pt>
                <c:pt idx="97">
                  <c:v>0.2051054777521716</c:v>
                </c:pt>
                <c:pt idx="98">
                  <c:v>0.2043827611395179</c:v>
                </c:pt>
                <c:pt idx="99">
                  <c:v>0.199095591006155</c:v>
                </c:pt>
                <c:pt idx="100">
                  <c:v>0.2088791208791209</c:v>
                </c:pt>
                <c:pt idx="101">
                  <c:v>0.2133542812254517</c:v>
                </c:pt>
                <c:pt idx="102">
                  <c:v>0.19175055241836483</c:v>
                </c:pt>
                <c:pt idx="103">
                  <c:v>0.19398968378560216</c:v>
                </c:pt>
                <c:pt idx="104">
                  <c:v>0.18917456021650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742672197990452</c:v>
                </c:pt>
                <c:pt idx="1">
                  <c:v>1.7885436775362238</c:v>
                </c:pt>
                <c:pt idx="2">
                  <c:v>1.7374147619437907</c:v>
                </c:pt>
                <c:pt idx="3">
                  <c:v>1.675722646537728</c:v>
                </c:pt>
                <c:pt idx="4">
                  <c:v>1.667505991342894</c:v>
                </c:pt>
                <c:pt idx="5">
                  <c:v>1.6731632225165376</c:v>
                </c:pt>
                <c:pt idx="6">
                  <c:v>1.6161883294599728</c:v>
                </c:pt>
                <c:pt idx="7">
                  <c:v>1.584385500344592</c:v>
                </c:pt>
                <c:pt idx="8">
                  <c:v>1.6403452265584668</c:v>
                </c:pt>
                <c:pt idx="9">
                  <c:v>1.6834595891345365</c:v>
                </c:pt>
                <c:pt idx="10">
                  <c:v>1.6265620740883067</c:v>
                </c:pt>
                <c:pt idx="11">
                  <c:v>1.6650782491818412</c:v>
                </c:pt>
                <c:pt idx="12">
                  <c:v>1.7064746823582633</c:v>
                </c:pt>
                <c:pt idx="13">
                  <c:v>1.6299855592297605</c:v>
                </c:pt>
                <c:pt idx="14">
                  <c:v>1.5875277171737112</c:v>
                </c:pt>
                <c:pt idx="15">
                  <c:v>1.7400307423294292</c:v>
                </c:pt>
                <c:pt idx="16">
                  <c:v>1.6352327502784423</c:v>
                </c:pt>
                <c:pt idx="17">
                  <c:v>1.7603059304266162</c:v>
                </c:pt>
                <c:pt idx="18">
                  <c:v>1.6282717715590982</c:v>
                </c:pt>
                <c:pt idx="19">
                  <c:v>1.8190768136551354</c:v>
                </c:pt>
                <c:pt idx="20">
                  <c:v>1.7866186423564763</c:v>
                </c:pt>
                <c:pt idx="21">
                  <c:v>1.644216824396308</c:v>
                </c:pt>
                <c:pt idx="22">
                  <c:v>1.731694405429204</c:v>
                </c:pt>
                <c:pt idx="23">
                  <c:v>1.7050273526577016</c:v>
                </c:pt>
                <c:pt idx="24">
                  <c:v>1.6835628166838992</c:v>
                </c:pt>
                <c:pt idx="25">
                  <c:v>1.7527956358464327</c:v>
                </c:pt>
                <c:pt idx="26">
                  <c:v>1.735473514178262</c:v>
                </c:pt>
                <c:pt idx="27">
                  <c:v>1.6714135896906879</c:v>
                </c:pt>
                <c:pt idx="28">
                  <c:v>1.7273720690713694</c:v>
                </c:pt>
                <c:pt idx="29">
                  <c:v>1.7068001896237952</c:v>
                </c:pt>
                <c:pt idx="30">
                  <c:v>1.7118113710913132</c:v>
                </c:pt>
                <c:pt idx="31">
                  <c:v>1.612144321400153</c:v>
                </c:pt>
                <c:pt idx="32">
                  <c:v>1.6622859682532047</c:v>
                </c:pt>
                <c:pt idx="33">
                  <c:v>1.6567874669390215</c:v>
                </c:pt>
                <c:pt idx="34">
                  <c:v>1.7008690154918762</c:v>
                </c:pt>
                <c:pt idx="35">
                  <c:v>1.7234011483333402</c:v>
                </c:pt>
                <c:pt idx="36">
                  <c:v>1.7802215330701832</c:v>
                </c:pt>
                <c:pt idx="37">
                  <c:v>1.7945879753585041</c:v>
                </c:pt>
                <c:pt idx="38">
                  <c:v>1.8472693193496557</c:v>
                </c:pt>
                <c:pt idx="39">
                  <c:v>1.8262511374513304</c:v>
                </c:pt>
                <c:pt idx="40">
                  <c:v>1.7401437826597765</c:v>
                </c:pt>
                <c:pt idx="41">
                  <c:v>1.8141149886234005</c:v>
                </c:pt>
                <c:pt idx="42">
                  <c:v>1.8170690046564164</c:v>
                </c:pt>
                <c:pt idx="43">
                  <c:v>1.8241884016973124</c:v>
                </c:pt>
                <c:pt idx="44">
                  <c:v>1.7199355202648565</c:v>
                </c:pt>
                <c:pt idx="45">
                  <c:v>1.7172078829537099</c:v>
                </c:pt>
                <c:pt idx="46">
                  <c:v>1.7420314332895739</c:v>
                </c:pt>
                <c:pt idx="47">
                  <c:v>1.7206338685776532</c:v>
                </c:pt>
                <c:pt idx="48">
                  <c:v>1.6754387413118488</c:v>
                </c:pt>
                <c:pt idx="49">
                  <c:v>1.7553017838179756</c:v>
                </c:pt>
                <c:pt idx="50">
                  <c:v>1.72595453367928</c:v>
                </c:pt>
                <c:pt idx="51">
                  <c:v>1.741918454110218</c:v>
                </c:pt>
              </c:numCache>
            </c:numRef>
          </c:xVal>
          <c:yVal>
            <c:numRef>
              <c:f>Sheet1!$B$109:$B$160</c:f>
              <c:numCache>
                <c:formatCode>General</c:formatCode>
                <c:ptCount val="52"/>
                <c:pt idx="0">
                  <c:v>0.191333175467677</c:v>
                </c:pt>
                <c:pt idx="1">
                  <c:v>0.18499874150515982</c:v>
                </c:pt>
                <c:pt idx="2">
                  <c:v>0.20340106007067138</c:v>
                </c:pt>
                <c:pt idx="3">
                  <c:v>0.22463244155218126</c:v>
                </c:pt>
                <c:pt idx="4">
                  <c:v>0.21202213279678067</c:v>
                </c:pt>
                <c:pt idx="5">
                  <c:v>0.21392016376663256</c:v>
                </c:pt>
                <c:pt idx="6">
                  <c:v>0.2353450140601341</c:v>
                </c:pt>
                <c:pt idx="7">
                  <c:v>0.23295944779982744</c:v>
                </c:pt>
                <c:pt idx="8">
                  <c:v>0.2271021021021021</c:v>
                </c:pt>
                <c:pt idx="9">
                  <c:v>0.2303485987696514</c:v>
                </c:pt>
                <c:pt idx="10">
                  <c:v>0.2352</c:v>
                </c:pt>
                <c:pt idx="11">
                  <c:v>0.22851919561243145</c:v>
                </c:pt>
                <c:pt idx="12">
                  <c:v>0.23013827044762128</c:v>
                </c:pt>
                <c:pt idx="13">
                  <c:v>0.22103658536585366</c:v>
                </c:pt>
                <c:pt idx="14">
                  <c:v>0.22444381864263588</c:v>
                </c:pt>
                <c:pt idx="15">
                  <c:v>0.21129441624365483</c:v>
                </c:pt>
                <c:pt idx="16">
                  <c:v>0.2079172610556348</c:v>
                </c:pt>
                <c:pt idx="17">
                  <c:v>0.20647149460708783</c:v>
                </c:pt>
                <c:pt idx="18">
                  <c:v>0.2076958738989337</c:v>
                </c:pt>
                <c:pt idx="19">
                  <c:v>0.20163020163020162</c:v>
                </c:pt>
                <c:pt idx="20">
                  <c:v>0.19196865817825662</c:v>
                </c:pt>
                <c:pt idx="21">
                  <c:v>0.2096168294515402</c:v>
                </c:pt>
                <c:pt idx="22">
                  <c:v>0.18831168831168832</c:v>
                </c:pt>
                <c:pt idx="23">
                  <c:v>0.19840213049267644</c:v>
                </c:pt>
                <c:pt idx="24">
                  <c:v>0.20033575825405708</c:v>
                </c:pt>
                <c:pt idx="25">
                  <c:v>0.19685497961560863</c:v>
                </c:pt>
                <c:pt idx="26">
                  <c:v>0.18927282104177412</c:v>
                </c:pt>
                <c:pt idx="27">
                  <c:v>0.19493006993006992</c:v>
                </c:pt>
                <c:pt idx="28">
                  <c:v>0.18679378531073446</c:v>
                </c:pt>
                <c:pt idx="29">
                  <c:v>0.1991701244813278</c:v>
                </c:pt>
                <c:pt idx="30">
                  <c:v>0.19549929676511954</c:v>
                </c:pt>
                <c:pt idx="31">
                  <c:v>0.2071290944123314</c:v>
                </c:pt>
                <c:pt idx="32">
                  <c:v>0.19129720853858784</c:v>
                </c:pt>
                <c:pt idx="33">
                  <c:v>0.2021021021021021</c:v>
                </c:pt>
                <c:pt idx="34">
                  <c:v>0.2230308219178082</c:v>
                </c:pt>
                <c:pt idx="35">
                  <c:v>0.20384294068504594</c:v>
                </c:pt>
                <c:pt idx="36">
                  <c:v>0.20851063829787234</c:v>
                </c:pt>
                <c:pt idx="37">
                  <c:v>0.20357310766337564</c:v>
                </c:pt>
                <c:pt idx="38">
                  <c:v>0.20180270405608414</c:v>
                </c:pt>
                <c:pt idx="39">
                  <c:v>0.2159827213822894</c:v>
                </c:pt>
                <c:pt idx="40">
                  <c:v>0.18936605316973415</c:v>
                </c:pt>
                <c:pt idx="41">
                  <c:v>0.18884615384615386</c:v>
                </c:pt>
                <c:pt idx="42">
                  <c:v>0.19863013698630136</c:v>
                </c:pt>
                <c:pt idx="43">
                  <c:v>0.17987987987987988</c:v>
                </c:pt>
                <c:pt idx="44">
                  <c:v>0.18468127991937516</c:v>
                </c:pt>
                <c:pt idx="45">
                  <c:v>0.20555555555555555</c:v>
                </c:pt>
                <c:pt idx="46">
                  <c:v>0.20611880303707011</c:v>
                </c:pt>
                <c:pt idx="47">
                  <c:v>0.2171176840780365</c:v>
                </c:pt>
                <c:pt idx="48">
                  <c:v>0.2047071702244116</c:v>
                </c:pt>
                <c:pt idx="49">
                  <c:v>0.21236791962584445</c:v>
                </c:pt>
                <c:pt idx="50">
                  <c:v>0.2196225582165324</c:v>
                </c:pt>
                <c:pt idx="51">
                  <c:v>0.20885122410546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411357911929972</c:v>
                </c:pt>
              </c:numCache>
            </c:numRef>
          </c:xVal>
          <c:yVal>
            <c:numRef>
              <c:f>Sheet1!$B$163:$B$164</c:f>
              <c:numCache>
                <c:formatCode>General</c:formatCode>
                <c:ptCount val="2"/>
                <c:pt idx="0">
                  <c:v>0.2394627230592469</c:v>
                </c:pt>
                <c:pt idx="1">
                  <c:v>0.23946272305924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411357911929972</c:v>
                </c:pt>
                <c:pt idx="1">
                  <c:v>1.4411357911929972</c:v>
                </c:pt>
              </c:numCache>
            </c:numRef>
          </c:xVal>
          <c:yVal>
            <c:numRef>
              <c:f>Sheet1!$B$167:$B$168</c:f>
              <c:numCache>
                <c:formatCode>General</c:formatCode>
                <c:ptCount val="2"/>
                <c:pt idx="0">
                  <c:v>0.23946272305924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378903768408697</c:v>
                </c:pt>
              </c:numCache>
            </c:numRef>
          </c:xVal>
          <c:yVal>
            <c:numRef>
              <c:f>Sheet1!$B$171:$B$172</c:f>
              <c:numCache>
                <c:formatCode>General</c:formatCode>
                <c:ptCount val="2"/>
                <c:pt idx="0">
                  <c:v>0.2158677849156541</c:v>
                </c:pt>
                <c:pt idx="1">
                  <c:v>0.215867784915654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378903768408697</c:v>
                </c:pt>
                <c:pt idx="1">
                  <c:v>1.6378903768408697</c:v>
                </c:pt>
              </c:numCache>
            </c:numRef>
          </c:xVal>
          <c:yVal>
            <c:numRef>
              <c:f>Sheet1!$B$175:$B$176</c:f>
              <c:numCache>
                <c:formatCode>General</c:formatCode>
                <c:ptCount val="2"/>
                <c:pt idx="0">
                  <c:v>0.21586778491565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498580445285241</c:v>
                </c:pt>
              </c:numCache>
            </c:numRef>
          </c:xVal>
          <c:yVal>
            <c:numRef>
              <c:f>Sheet1!$B$179:$B$180</c:f>
              <c:numCache>
                <c:formatCode>General</c:formatCode>
                <c:ptCount val="2"/>
                <c:pt idx="0">
                  <c:v>0.20244054923281893</c:v>
                </c:pt>
                <c:pt idx="1">
                  <c:v>0.202440549232818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498580445285241</c:v>
                </c:pt>
                <c:pt idx="1">
                  <c:v>1.7498580445285241</c:v>
                </c:pt>
              </c:numCache>
            </c:numRef>
          </c:xVal>
          <c:yVal>
            <c:numRef>
              <c:f>Sheet1!$B$183:$B$184</c:f>
              <c:numCache>
                <c:formatCode>General</c:formatCode>
                <c:ptCount val="2"/>
                <c:pt idx="0">
                  <c:v>0.202440549232818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742672197990452</c:v>
                </c:pt>
                <c:pt idx="1">
                  <c:v>1.7885436775362238</c:v>
                </c:pt>
                <c:pt idx="2">
                  <c:v>1.7374147619437907</c:v>
                </c:pt>
                <c:pt idx="3">
                  <c:v>1.675722646537728</c:v>
                </c:pt>
                <c:pt idx="4">
                  <c:v>1.667505991342894</c:v>
                </c:pt>
                <c:pt idx="5">
                  <c:v>1.6731632225165376</c:v>
                </c:pt>
                <c:pt idx="6">
                  <c:v>1.6161883294599728</c:v>
                </c:pt>
                <c:pt idx="7">
                  <c:v>1.584385500344592</c:v>
                </c:pt>
                <c:pt idx="8">
                  <c:v>1.6403452265584668</c:v>
                </c:pt>
                <c:pt idx="9">
                  <c:v>1.6834595891345365</c:v>
                </c:pt>
                <c:pt idx="10">
                  <c:v>1.6265620740883067</c:v>
                </c:pt>
                <c:pt idx="11">
                  <c:v>1.6650782491818412</c:v>
                </c:pt>
                <c:pt idx="12">
                  <c:v>1.7064746823582633</c:v>
                </c:pt>
                <c:pt idx="13">
                  <c:v>1.6299855592297605</c:v>
                </c:pt>
                <c:pt idx="14">
                  <c:v>1.5875277171737112</c:v>
                </c:pt>
                <c:pt idx="15">
                  <c:v>1.7400307423294292</c:v>
                </c:pt>
                <c:pt idx="16">
                  <c:v>1.6352327502784423</c:v>
                </c:pt>
                <c:pt idx="17">
                  <c:v>1.7603059304266162</c:v>
                </c:pt>
                <c:pt idx="18">
                  <c:v>1.6282717715590982</c:v>
                </c:pt>
                <c:pt idx="19">
                  <c:v>1.8190768136551354</c:v>
                </c:pt>
                <c:pt idx="20">
                  <c:v>1.7866186423564763</c:v>
                </c:pt>
                <c:pt idx="21">
                  <c:v>1.644216824396308</c:v>
                </c:pt>
                <c:pt idx="22">
                  <c:v>1.731694405429204</c:v>
                </c:pt>
                <c:pt idx="23">
                  <c:v>1.7050273526577016</c:v>
                </c:pt>
                <c:pt idx="24">
                  <c:v>1.6835628166838992</c:v>
                </c:pt>
                <c:pt idx="25">
                  <c:v>1.7527956358464327</c:v>
                </c:pt>
                <c:pt idx="26">
                  <c:v>1.735473514178262</c:v>
                </c:pt>
                <c:pt idx="27">
                  <c:v>1.6714135896906879</c:v>
                </c:pt>
                <c:pt idx="28">
                  <c:v>1.7273720690713694</c:v>
                </c:pt>
                <c:pt idx="29">
                  <c:v>1.7068001896237952</c:v>
                </c:pt>
                <c:pt idx="30">
                  <c:v>1.7118113710913132</c:v>
                </c:pt>
                <c:pt idx="31">
                  <c:v>1.612144321400153</c:v>
                </c:pt>
                <c:pt idx="32">
                  <c:v>1.6622859682532047</c:v>
                </c:pt>
                <c:pt idx="33">
                  <c:v>1.6567874669390215</c:v>
                </c:pt>
                <c:pt idx="34">
                  <c:v>1.7008690154918762</c:v>
                </c:pt>
                <c:pt idx="35">
                  <c:v>1.7234011483333402</c:v>
                </c:pt>
                <c:pt idx="36">
                  <c:v>1.7802215330701832</c:v>
                </c:pt>
                <c:pt idx="37">
                  <c:v>1.7945879753585041</c:v>
                </c:pt>
                <c:pt idx="38">
                  <c:v>1.8472693193496557</c:v>
                </c:pt>
                <c:pt idx="39">
                  <c:v>1.8262511374513304</c:v>
                </c:pt>
                <c:pt idx="40">
                  <c:v>1.7401437826597765</c:v>
                </c:pt>
                <c:pt idx="41">
                  <c:v>1.8141149886234005</c:v>
                </c:pt>
                <c:pt idx="42">
                  <c:v>1.8170690046564164</c:v>
                </c:pt>
                <c:pt idx="43">
                  <c:v>1.8241884016973124</c:v>
                </c:pt>
                <c:pt idx="44">
                  <c:v>1.7199355202648565</c:v>
                </c:pt>
                <c:pt idx="45">
                  <c:v>1.7172078829537099</c:v>
                </c:pt>
                <c:pt idx="46">
                  <c:v>1.7420314332895739</c:v>
                </c:pt>
                <c:pt idx="47">
                  <c:v>1.7206338685776532</c:v>
                </c:pt>
                <c:pt idx="48">
                  <c:v>1.6754387413118488</c:v>
                </c:pt>
                <c:pt idx="49">
                  <c:v>1.7553017838179756</c:v>
                </c:pt>
                <c:pt idx="50">
                  <c:v>1.72595453367928</c:v>
                </c:pt>
                <c:pt idx="51">
                  <c:v>1.741918454110218</c:v>
                </c:pt>
                <c:pt idx="52">
                  <c:v>1.6378903768408697</c:v>
                </c:pt>
                <c:pt idx="53">
                  <c:v>1.4411357911929972</c:v>
                </c:pt>
                <c:pt idx="54">
                  <c:v>1.7498580445285241</c:v>
                </c:pt>
              </c:numCache>
            </c:numRef>
          </c:xVal>
          <c:yVal>
            <c:numRef>
              <c:f>Sheet1!$B$187:$B$241</c:f>
              <c:numCache>
                <c:formatCode>General</c:formatCode>
                <c:ptCount val="55"/>
                <c:pt idx="0">
                  <c:v>0.19951338502595872</c:v>
                </c:pt>
                <c:pt idx="1">
                  <c:v>0.19780134290958742</c:v>
                </c:pt>
                <c:pt idx="2">
                  <c:v>0.20393275579015668</c:v>
                </c:pt>
                <c:pt idx="3">
                  <c:v>0.2113309144768291</c:v>
                </c:pt>
                <c:pt idx="4">
                  <c:v>0.21231626112291085</c:v>
                </c:pt>
                <c:pt idx="5">
                  <c:v>0.21163784227352753</c:v>
                </c:pt>
                <c:pt idx="6">
                  <c:v>0.21847030858164884</c:v>
                </c:pt>
                <c:pt idx="7">
                  <c:v>0.22228412457631957</c:v>
                </c:pt>
                <c:pt idx="8">
                  <c:v>0.21557339773759776</c:v>
                </c:pt>
                <c:pt idx="9">
                  <c:v>0.2104030952781501</c:v>
                </c:pt>
                <c:pt idx="10">
                  <c:v>0.2172262823648418</c:v>
                </c:pt>
                <c:pt idx="11">
                  <c:v>0.21260739754511934</c:v>
                </c:pt>
                <c:pt idx="12">
                  <c:v>0.20764311029891958</c:v>
                </c:pt>
                <c:pt idx="13">
                  <c:v>0.21681573579545876</c:v>
                </c:pt>
                <c:pt idx="14">
                  <c:v>0.2219073078862653</c:v>
                </c:pt>
                <c:pt idx="15">
                  <c:v>0.20361904571737363</c:v>
                </c:pt>
                <c:pt idx="16">
                  <c:v>0.21618648922510011</c:v>
                </c:pt>
                <c:pt idx="17">
                  <c:v>0.20118763194662168</c:v>
                </c:pt>
                <c:pt idx="18">
                  <c:v>0.2170212543298674</c:v>
                </c:pt>
                <c:pt idx="19">
                  <c:v>0.19413978932656215</c:v>
                </c:pt>
                <c:pt idx="20">
                  <c:v>0.19803219438296385</c:v>
                </c:pt>
                <c:pt idx="21">
                  <c:v>0.2151091132016113</c:v>
                </c:pt>
                <c:pt idx="22">
                  <c:v>0.20461874467156718</c:v>
                </c:pt>
                <c:pt idx="23">
                  <c:v>0.20781667501989262</c:v>
                </c:pt>
                <c:pt idx="24">
                  <c:v>0.21039071616315308</c:v>
                </c:pt>
                <c:pt idx="25">
                  <c:v>0.20208827136743154</c:v>
                </c:pt>
                <c:pt idx="26">
                  <c:v>0.20416555148738638</c:v>
                </c:pt>
                <c:pt idx="27">
                  <c:v>0.21184765938230793</c:v>
                </c:pt>
                <c:pt idx="28">
                  <c:v>0.20513708206463527</c:v>
                </c:pt>
                <c:pt idx="29">
                  <c:v>0.2076040752554911</c:v>
                </c:pt>
                <c:pt idx="30">
                  <c:v>0.20700313110792234</c:v>
                </c:pt>
                <c:pt idx="31">
                  <c:v>0.2189552686638215</c:v>
                </c:pt>
                <c:pt idx="32">
                  <c:v>0.2129422496939207</c:v>
                </c:pt>
                <c:pt idx="33">
                  <c:v>0.21360163355510708</c:v>
                </c:pt>
                <c:pt idx="34">
                  <c:v>0.20831534552297024</c:v>
                </c:pt>
                <c:pt idx="35">
                  <c:v>0.20561327746754493</c:v>
                </c:pt>
                <c:pt idx="36">
                  <c:v>0.19879933989782378</c:v>
                </c:pt>
                <c:pt idx="37">
                  <c:v>0.197076506775433</c:v>
                </c:pt>
                <c:pt idx="38">
                  <c:v>0.19075892566951078</c:v>
                </c:pt>
                <c:pt idx="39">
                  <c:v>0.19327943974113354</c:v>
                </c:pt>
                <c:pt idx="40">
                  <c:v>0.20360548984728555</c:v>
                </c:pt>
                <c:pt idx="41">
                  <c:v>0.19473481461818426</c:v>
                </c:pt>
                <c:pt idx="42">
                  <c:v>0.1943805670902566</c:v>
                </c:pt>
                <c:pt idx="43">
                  <c:v>0.19352680435712136</c:v>
                </c:pt>
                <c:pt idx="44">
                  <c:v>0.20602887784420357</c:v>
                </c:pt>
                <c:pt idx="45">
                  <c:v>0.20635597788826476</c:v>
                </c:pt>
                <c:pt idx="46">
                  <c:v>0.20337912155350413</c:v>
                </c:pt>
                <c:pt idx="47">
                  <c:v>0.20594513145939194</c:v>
                </c:pt>
                <c:pt idx="48">
                  <c:v>0.21136496057654874</c:v>
                </c:pt>
                <c:pt idx="49">
                  <c:v>0.20178773246932896</c:v>
                </c:pt>
                <c:pt idx="50">
                  <c:v>0.20530707383271818</c:v>
                </c:pt>
                <c:pt idx="51">
                  <c:v>0.20339267009032547</c:v>
                </c:pt>
                <c:pt idx="52">
                  <c:v>0.2158677849156541</c:v>
                </c:pt>
                <c:pt idx="53">
                  <c:v>0.2394627230592469</c:v>
                </c:pt>
                <c:pt idx="54">
                  <c:v>0.202440549232818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12021611886537"/>
          <c:min val="0.109011627906976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0462</c:v>
                </c:pt>
                <c:pt idx="1">
                  <c:v>986.709</c:v>
                </c:pt>
                <c:pt idx="2">
                  <c:v>1075.3552</c:v>
                </c:pt>
                <c:pt idx="3">
                  <c:v>1091.153</c:v>
                </c:pt>
                <c:pt idx="4">
                  <c:v>1105.0805</c:v>
                </c:pt>
                <c:pt idx="5">
                  <c:v>1072.5513</c:v>
                </c:pt>
                <c:pt idx="6">
                  <c:v>1008.7939</c:v>
                </c:pt>
                <c:pt idx="7">
                  <c:v>1054.7115</c:v>
                </c:pt>
                <c:pt idx="8">
                  <c:v>1036.1742</c:v>
                </c:pt>
                <c:pt idx="9">
                  <c:v>1016.2215</c:v>
                </c:pt>
                <c:pt idx="10">
                  <c:v>1007.6561</c:v>
                </c:pt>
                <c:pt idx="11">
                  <c:v>1076.0296</c:v>
                </c:pt>
                <c:pt idx="12">
                  <c:v>1070.1087</c:v>
                </c:pt>
                <c:pt idx="13">
                  <c:v>1060.0854</c:v>
                </c:pt>
                <c:pt idx="14">
                  <c:v>1039.9239</c:v>
                </c:pt>
                <c:pt idx="15">
                  <c:v>1028.9167</c:v>
                </c:pt>
                <c:pt idx="16">
                  <c:v>1045.0076</c:v>
                </c:pt>
                <c:pt idx="17">
                  <c:v>968.042</c:v>
                </c:pt>
                <c:pt idx="18">
                  <c:v>1067.1948</c:v>
                </c:pt>
                <c:pt idx="19">
                  <c:v>1036.9747</c:v>
                </c:pt>
                <c:pt idx="20">
                  <c:v>1020.9478</c:v>
                </c:pt>
                <c:pt idx="21">
                  <c:v>1068.4304</c:v>
                </c:pt>
                <c:pt idx="22">
                  <c:v>996.2523</c:v>
                </c:pt>
                <c:pt idx="23">
                  <c:v>1024.6941</c:v>
                </c:pt>
                <c:pt idx="24">
                  <c:v>964.8197</c:v>
                </c:pt>
                <c:pt idx="25">
                  <c:v>959.5766</c:v>
                </c:pt>
                <c:pt idx="26">
                  <c:v>930.0744</c:v>
                </c:pt>
                <c:pt idx="27">
                  <c:v>973.7759</c:v>
                </c:pt>
                <c:pt idx="28">
                  <c:v>977.6216</c:v>
                </c:pt>
                <c:pt idx="29">
                  <c:v>892.7273</c:v>
                </c:pt>
                <c:pt idx="30">
                  <c:v>950.8595</c:v>
                </c:pt>
                <c:pt idx="31">
                  <c:v>947.5315</c:v>
                </c:pt>
                <c:pt idx="32">
                  <c:v>928.8304</c:v>
                </c:pt>
                <c:pt idx="33">
                  <c:v>910.8138</c:v>
                </c:pt>
                <c:pt idx="34">
                  <c:v>947.462</c:v>
                </c:pt>
                <c:pt idx="35">
                  <c:v>985.5942</c:v>
                </c:pt>
                <c:pt idx="36">
                  <c:v>1137.6</c:v>
                </c:pt>
                <c:pt idx="37">
                  <c:v>1063.6316</c:v>
                </c:pt>
                <c:pt idx="38">
                  <c:v>1045.175</c:v>
                </c:pt>
                <c:pt idx="39">
                  <c:v>1086.9286</c:v>
                </c:pt>
                <c:pt idx="40">
                  <c:v>1129.2523</c:v>
                </c:pt>
                <c:pt idx="41">
                  <c:v>1217.1981</c:v>
                </c:pt>
                <c:pt idx="42">
                  <c:v>1317.6075</c:v>
                </c:pt>
                <c:pt idx="43">
                  <c:v>1333.4957</c:v>
                </c:pt>
                <c:pt idx="44">
                  <c:v>1169.5111</c:v>
                </c:pt>
                <c:pt idx="45">
                  <c:v>1159.7725</c:v>
                </c:pt>
                <c:pt idx="46">
                  <c:v>1157.5701</c:v>
                </c:pt>
                <c:pt idx="47">
                  <c:v>1199.6908</c:v>
                </c:pt>
                <c:pt idx="48">
                  <c:v>1179.6478</c:v>
                </c:pt>
                <c:pt idx="49">
                  <c:v>1152.3893</c:v>
                </c:pt>
                <c:pt idx="50">
                  <c:v>1161.6886</c:v>
                </c:pt>
                <c:pt idx="51">
                  <c:v>1149.5852</c:v>
                </c:pt>
                <c:pt idx="52">
                  <c:v>1150.9167</c:v>
                </c:pt>
                <c:pt idx="53">
                  <c:v>1243.9571</c:v>
                </c:pt>
                <c:pt idx="54">
                  <c:v>1170.4375</c:v>
                </c:pt>
                <c:pt idx="55">
                  <c:v>1159.8591</c:v>
                </c:pt>
                <c:pt idx="56">
                  <c:v>1231.5</c:v>
                </c:pt>
                <c:pt idx="57">
                  <c:v>1204.642</c:v>
                </c:pt>
                <c:pt idx="58">
                  <c:v>1191.8756</c:v>
                </c:pt>
                <c:pt idx="59">
                  <c:v>1177.7177</c:v>
                </c:pt>
                <c:pt idx="60">
                  <c:v>1221.3613</c:v>
                </c:pt>
                <c:pt idx="61">
                  <c:v>1256.0526</c:v>
                </c:pt>
                <c:pt idx="62">
                  <c:v>1183.0375</c:v>
                </c:pt>
                <c:pt idx="63">
                  <c:v>1176.595</c:v>
                </c:pt>
                <c:pt idx="64">
                  <c:v>1220.5</c:v>
                </c:pt>
                <c:pt idx="65">
                  <c:v>1241.7031</c:v>
                </c:pt>
                <c:pt idx="66">
                  <c:v>1203.4975</c:v>
                </c:pt>
                <c:pt idx="67">
                  <c:v>1232.8623</c:v>
                </c:pt>
                <c:pt idx="68">
                  <c:v>1272.627</c:v>
                </c:pt>
                <c:pt idx="69">
                  <c:v>1277.8182</c:v>
                </c:pt>
                <c:pt idx="70">
                  <c:v>1236.8904</c:v>
                </c:pt>
                <c:pt idx="71">
                  <c:v>1290.3521</c:v>
                </c:pt>
                <c:pt idx="72">
                  <c:v>1385.4875</c:v>
                </c:pt>
                <c:pt idx="73">
                  <c:v>1325.25</c:v>
                </c:pt>
                <c:pt idx="74">
                  <c:v>1264.5217</c:v>
                </c:pt>
                <c:pt idx="75">
                  <c:v>1232.1064</c:v>
                </c:pt>
                <c:pt idx="76">
                  <c:v>1232.4444</c:v>
                </c:pt>
                <c:pt idx="77">
                  <c:v>1188.7125</c:v>
                </c:pt>
                <c:pt idx="78">
                  <c:v>1254.8026</c:v>
                </c:pt>
                <c:pt idx="79">
                  <c:v>1306.9853</c:v>
                </c:pt>
                <c:pt idx="80">
                  <c:v>1310.2877</c:v>
                </c:pt>
                <c:pt idx="81">
                  <c:v>1325.4946</c:v>
                </c:pt>
                <c:pt idx="82">
                  <c:v>1362.8182</c:v>
                </c:pt>
                <c:pt idx="83">
                  <c:v>1330.0889</c:v>
                </c:pt>
                <c:pt idx="84">
                  <c:v>1310.7547</c:v>
                </c:pt>
                <c:pt idx="85">
                  <c:v>1323.5556</c:v>
                </c:pt>
                <c:pt idx="86">
                  <c:v>1287.9423</c:v>
                </c:pt>
                <c:pt idx="87">
                  <c:v>1341.562</c:v>
                </c:pt>
                <c:pt idx="88">
                  <c:v>1319.2368</c:v>
                </c:pt>
                <c:pt idx="89">
                  <c:v>1260.2881</c:v>
                </c:pt>
                <c:pt idx="90">
                  <c:v>1455.3077</c:v>
                </c:pt>
                <c:pt idx="91">
                  <c:v>1357.6491</c:v>
                </c:pt>
                <c:pt idx="92">
                  <c:v>1362.1486</c:v>
                </c:pt>
                <c:pt idx="93">
                  <c:v>1379.1892</c:v>
                </c:pt>
                <c:pt idx="94">
                  <c:v>1417.3509</c:v>
                </c:pt>
                <c:pt idx="95">
                  <c:v>1322.9394</c:v>
                </c:pt>
                <c:pt idx="96">
                  <c:v>1229.3793</c:v>
                </c:pt>
                <c:pt idx="97">
                  <c:v>1200.3249</c:v>
                </c:pt>
                <c:pt idx="98">
                  <c:v>1246.0192</c:v>
                </c:pt>
                <c:pt idx="99">
                  <c:v>1142.5868</c:v>
                </c:pt>
                <c:pt idx="100">
                  <c:v>1157.1008</c:v>
                </c:pt>
                <c:pt idx="101">
                  <c:v>1141.7722</c:v>
                </c:pt>
                <c:pt idx="102">
                  <c:v>1127.8408</c:v>
                </c:pt>
                <c:pt idx="103">
                  <c:v>1135.1692</c:v>
                </c:pt>
                <c:pt idx="104">
                  <c:v>1192.1943</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2.902491236866</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2.902491236866</c:v>
                </c:pt>
                <c:pt idx="1">
                  <c:v>1122.902491236866</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2.902491236866</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2.902491236866</c:v>
                </c:pt>
                <c:pt idx="1">
                  <c:v>1122.902491236866</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6.341985305902</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6.341985305902</c:v>
                </c:pt>
                <c:pt idx="1">
                  <c:v>1406.341985305902</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pt idx="52">
                  <c:v>1122.902491236866</c:v>
                </c:pt>
                <c:pt idx="53">
                  <c:v>1122.902491236866</c:v>
                </c:pt>
                <c:pt idx="54">
                  <c:v>1406.341985305902</c:v>
                </c:pt>
              </c:numCache>
            </c:numRef>
          </c:xVal>
          <c:yVal>
            <c:numRef>
              <c:f>Sheet1!$B$187:$B$241</c:f>
              <c:numCache>
                <c:formatCode>General</c:formatCode>
                <c:ptCount val="55"/>
                <c:pt idx="0">
                  <c:v>0.3093994278913418</c:v>
                </c:pt>
                <c:pt idx="1">
                  <c:v>0.3032279681962904</c:v>
                </c:pt>
                <c:pt idx="2">
                  <c:v>0.303673500506903</c:v>
                </c:pt>
                <c:pt idx="3">
                  <c:v>0.3045572487887136</c:v>
                </c:pt>
                <c:pt idx="4">
                  <c:v>0.29994347779467156</c:v>
                </c:pt>
                <c:pt idx="5">
                  <c:v>0.3033307973447774</c:v>
                </c:pt>
                <c:pt idx="6">
                  <c:v>0.3142664133885519</c:v>
                </c:pt>
                <c:pt idx="7">
                  <c:v>0.3003480786442315</c:v>
                </c:pt>
                <c:pt idx="8">
                  <c:v>0.2929000451203</c:v>
                </c:pt>
                <c:pt idx="9">
                  <c:v>0.3053474680450244</c:v>
                </c:pt>
                <c:pt idx="10">
                  <c:v>0.30000306410124616</c:v>
                </c:pt>
                <c:pt idx="11">
                  <c:v>0.3206536504967823</c:v>
                </c:pt>
                <c:pt idx="12">
                  <c:v>0.3069228651993926</c:v>
                </c:pt>
                <c:pt idx="13">
                  <c:v>0.30440336906296894</c:v>
                </c:pt>
                <c:pt idx="14">
                  <c:v>0.306505033059399</c:v>
                </c:pt>
                <c:pt idx="15">
                  <c:v>0.303752779050409</c:v>
                </c:pt>
                <c:pt idx="16">
                  <c:v>0.2849659300215383</c:v>
                </c:pt>
                <c:pt idx="17">
                  <c:v>0.29995346951193164</c:v>
                </c:pt>
                <c:pt idx="18">
                  <c:v>0.330524156760574</c:v>
                </c:pt>
                <c:pt idx="19">
                  <c:v>0.27347971393720166</c:v>
                </c:pt>
                <c:pt idx="20">
                  <c:v>0.283949031642324</c:v>
                </c:pt>
                <c:pt idx="21">
                  <c:v>0.27598523258937074</c:v>
                </c:pt>
                <c:pt idx="22">
                  <c:v>0.29989202682072946</c:v>
                </c:pt>
                <c:pt idx="23">
                  <c:v>0.2913534037278095</c:v>
                </c:pt>
                <c:pt idx="24">
                  <c:v>0.29740075865055426</c:v>
                </c:pt>
                <c:pt idx="25">
                  <c:v>0.3135096818549342</c:v>
                </c:pt>
                <c:pt idx="26">
                  <c:v>0.30186594607499495</c:v>
                </c:pt>
                <c:pt idx="27">
                  <c:v>0.2886110504368331</c:v>
                </c:pt>
                <c:pt idx="28">
                  <c:v>0.29515385985679216</c:v>
                </c:pt>
                <c:pt idx="29">
                  <c:v>0.298757775813295</c:v>
                </c:pt>
                <c:pt idx="30">
                  <c:v>0.3088346501681829</c:v>
                </c:pt>
                <c:pt idx="31">
                  <c:v>0.303941165690407</c:v>
                </c:pt>
                <c:pt idx="32">
                  <c:v>0.2977049691314321</c:v>
                </c:pt>
                <c:pt idx="33">
                  <c:v>0.29119681222452065</c:v>
                </c:pt>
                <c:pt idx="34">
                  <c:v>0.28596932411257964</c:v>
                </c:pt>
                <c:pt idx="35">
                  <c:v>0.28766689685522984</c:v>
                </c:pt>
                <c:pt idx="36">
                  <c:v>0.3049214641726997</c:v>
                </c:pt>
                <c:pt idx="37">
                  <c:v>0.2691619816917063</c:v>
                </c:pt>
                <c:pt idx="38">
                  <c:v>0.2644605420236356</c:v>
                </c:pt>
                <c:pt idx="39">
                  <c:v>0.27336556448245647</c:v>
                </c:pt>
                <c:pt idx="40">
                  <c:v>0.2826581163322035</c:v>
                </c:pt>
                <c:pt idx="41">
                  <c:v>0.26647206216653363</c:v>
                </c:pt>
                <c:pt idx="42">
                  <c:v>0.26184890005025807</c:v>
                </c:pt>
                <c:pt idx="43">
                  <c:v>0.27192066024749556</c:v>
                </c:pt>
                <c:pt idx="44">
                  <c:v>0.27744802727618345</c:v>
                </c:pt>
                <c:pt idx="45">
                  <c:v>0.28920609450936086</c:v>
                </c:pt>
                <c:pt idx="46">
                  <c:v>0.28957677083984473</c:v>
                </c:pt>
                <c:pt idx="47">
                  <c:v>0.2960305647969277</c:v>
                </c:pt>
                <c:pt idx="48">
                  <c:v>0.29848819964561557</c:v>
                </c:pt>
                <c:pt idx="49">
                  <c:v>0.28926165864924236</c:v>
                </c:pt>
                <c:pt idx="50">
                  <c:v>0.3141289317270173</c:v>
                </c:pt>
                <c:pt idx="51">
                  <c:v>0.32954748004828993</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5.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79153943487628</c:v>
                </c:pt>
                <c:pt idx="1">
                  <c:v>2.038074275944932</c:v>
                </c:pt>
                <c:pt idx="2">
                  <c:v>2.304821852181763</c:v>
                </c:pt>
                <c:pt idx="3">
                  <c:v>2.288113877152853</c:v>
                </c:pt>
                <c:pt idx="4">
                  <c:v>2.2966944764676627</c:v>
                </c:pt>
                <c:pt idx="5">
                  <c:v>2.1752334993868065</c:v>
                </c:pt>
                <c:pt idx="6">
                  <c:v>2.077261712672279</c:v>
                </c:pt>
                <c:pt idx="7">
                  <c:v>2.2099338870924043</c:v>
                </c:pt>
                <c:pt idx="8">
                  <c:v>2.1921878566863287</c:v>
                </c:pt>
                <c:pt idx="9">
                  <c:v>2.621965787708344</c:v>
                </c:pt>
                <c:pt idx="10">
                  <c:v>2.550577391640667</c:v>
                </c:pt>
                <c:pt idx="11">
                  <c:v>2.3174181054292857</c:v>
                </c:pt>
                <c:pt idx="12">
                  <c:v>2.27860481784405</c:v>
                </c:pt>
                <c:pt idx="13">
                  <c:v>2.3310532631347014</c:v>
                </c:pt>
                <c:pt idx="14">
                  <c:v>2.24371094659383</c:v>
                </c:pt>
                <c:pt idx="15">
                  <c:v>2.186393327666808</c:v>
                </c:pt>
                <c:pt idx="16">
                  <c:v>2.124898813867741</c:v>
                </c:pt>
                <c:pt idx="17">
                  <c:v>1.9992263660081828</c:v>
                </c:pt>
                <c:pt idx="18">
                  <c:v>2.1829176046862595</c:v>
                </c:pt>
                <c:pt idx="19">
                  <c:v>2.121296743310695</c:v>
                </c:pt>
                <c:pt idx="20">
                  <c:v>2.0977128008322246</c:v>
                </c:pt>
                <c:pt idx="21">
                  <c:v>2.144007635050678</c:v>
                </c:pt>
                <c:pt idx="22">
                  <c:v>2.0456926078028745</c:v>
                </c:pt>
                <c:pt idx="23">
                  <c:v>1.9157138987180327</c:v>
                </c:pt>
                <c:pt idx="24">
                  <c:v>1.8016289769522058</c:v>
                </c:pt>
                <c:pt idx="25">
                  <c:v>1.7986440487347704</c:v>
                </c:pt>
                <c:pt idx="26">
                  <c:v>1.8590865179636353</c:v>
                </c:pt>
                <c:pt idx="27">
                  <c:v>1.890826990291262</c:v>
                </c:pt>
                <c:pt idx="28">
                  <c:v>2.0086149102255675</c:v>
                </c:pt>
                <c:pt idx="29">
                  <c:v>1.7860500690930357</c:v>
                </c:pt>
                <c:pt idx="30">
                  <c:v>1.8541652244875675</c:v>
                </c:pt>
                <c:pt idx="31">
                  <c:v>1.8705125231338682</c:v>
                </c:pt>
                <c:pt idx="32">
                  <c:v>1.8189281795588381</c:v>
                </c:pt>
                <c:pt idx="33">
                  <c:v>1.8592498934438142</c:v>
                </c:pt>
                <c:pt idx="34">
                  <c:v>2.0041963950094246</c:v>
                </c:pt>
                <c:pt idx="35">
                  <c:v>2.0823689960137695</c:v>
                </c:pt>
                <c:pt idx="36">
                  <c:v>2.2840098829204005</c:v>
                </c:pt>
                <c:pt idx="37">
                  <c:v>2.110641895076274</c:v>
                </c:pt>
                <c:pt idx="38">
                  <c:v>2.048653750221737</c:v>
                </c:pt>
                <c:pt idx="39">
                  <c:v>2.151150515617349</c:v>
                </c:pt>
                <c:pt idx="40">
                  <c:v>2.21698664765209</c:v>
                </c:pt>
                <c:pt idx="41">
                  <c:v>2.454770797620248</c:v>
                </c:pt>
                <c:pt idx="42">
                  <c:v>2.665110611776542</c:v>
                </c:pt>
                <c:pt idx="43">
                  <c:v>2.6852911219377815</c:v>
                </c:pt>
                <c:pt idx="44">
                  <c:v>2.205881376577629</c:v>
                </c:pt>
                <c:pt idx="45">
                  <c:v>2.2355159783043024</c:v>
                </c:pt>
                <c:pt idx="46">
                  <c:v>2.5946626929824617</c:v>
                </c:pt>
                <c:pt idx="47">
                  <c:v>2.8963396041566427</c:v>
                </c:pt>
                <c:pt idx="48">
                  <c:v>2.627277951002227</c:v>
                </c:pt>
                <c:pt idx="49">
                  <c:v>2.464923707293367</c:v>
                </c:pt>
                <c:pt idx="50">
                  <c:v>2.2988562202411753</c:v>
                </c:pt>
                <c:pt idx="51">
                  <c:v>2.287464073855636</c:v>
                </c:pt>
                <c:pt idx="52">
                  <c:v>2.362429722379022</c:v>
                </c:pt>
                <c:pt idx="53">
                  <c:v>2.423339473061335</c:v>
                </c:pt>
                <c:pt idx="54">
                  <c:v>2.3161253477589177</c:v>
                </c:pt>
                <c:pt idx="55">
                  <c:v>2.134756886071485</c:v>
                </c:pt>
                <c:pt idx="56">
                  <c:v>2.241203752992594</c:v>
                </c:pt>
                <c:pt idx="57">
                  <c:v>2.2941589732368244</c:v>
                </c:pt>
                <c:pt idx="58">
                  <c:v>2.2387492049920303</c:v>
                </c:pt>
                <c:pt idx="59">
                  <c:v>2.5183182069724097</c:v>
                </c:pt>
                <c:pt idx="60">
                  <c:v>2.694575401193161</c:v>
                </c:pt>
                <c:pt idx="61">
                  <c:v>2.430397661033708</c:v>
                </c:pt>
                <c:pt idx="62">
                  <c:v>2.516387373538526</c:v>
                </c:pt>
                <c:pt idx="63">
                  <c:v>2.507159156699392</c:v>
                </c:pt>
                <c:pt idx="64">
                  <c:v>2.3315291124983335</c:v>
                </c:pt>
                <c:pt idx="65">
                  <c:v>2.5006325575625366</c:v>
                </c:pt>
                <c:pt idx="66">
                  <c:v>2.339394454214349</c:v>
                </c:pt>
                <c:pt idx="67">
                  <c:v>2.2422767853326717</c:v>
                </c:pt>
                <c:pt idx="68">
                  <c:v>2.282124988792253</c:v>
                </c:pt>
                <c:pt idx="69">
                  <c:v>2.378073720724176</c:v>
                </c:pt>
                <c:pt idx="70">
                  <c:v>2.329086312816288</c:v>
                </c:pt>
                <c:pt idx="71">
                  <c:v>1.9495186758251921</c:v>
                </c:pt>
                <c:pt idx="72">
                  <c:v>2.0607790276099283</c:v>
                </c:pt>
                <c:pt idx="73">
                  <c:v>2.0790273556231003</c:v>
                </c:pt>
                <c:pt idx="74">
                  <c:v>1.9744441515922382</c:v>
                </c:pt>
                <c:pt idx="75">
                  <c:v>1.9346669763122686</c:v>
                </c:pt>
                <c:pt idx="76">
                  <c:v>1.917604481095379</c:v>
                </c:pt>
                <c:pt idx="77">
                  <c:v>1.8571215652712703</c:v>
                </c:pt>
                <c:pt idx="78">
                  <c:v>1.8339704764688687</c:v>
                </c:pt>
                <c:pt idx="79">
                  <c:v>1.8979323486240345</c:v>
                </c:pt>
                <c:pt idx="80">
                  <c:v>1.921755242086527</c:v>
                </c:pt>
                <c:pt idx="81">
                  <c:v>1.9783501492537314</c:v>
                </c:pt>
                <c:pt idx="82">
                  <c:v>2.0832888619980197</c:v>
                </c:pt>
                <c:pt idx="83">
                  <c:v>2.072250817199031</c:v>
                </c:pt>
                <c:pt idx="84">
                  <c:v>1.8362196047732713</c:v>
                </c:pt>
                <c:pt idx="85">
                  <c:v>1.960823111111111</c:v>
                </c:pt>
                <c:pt idx="86">
                  <c:v>1.8727514525015947</c:v>
                </c:pt>
                <c:pt idx="87">
                  <c:v>2.0230360605534643</c:v>
                </c:pt>
                <c:pt idx="88">
                  <c:v>1.9919021591423827</c:v>
                </c:pt>
                <c:pt idx="89">
                  <c:v>1.75833707708406</c:v>
                </c:pt>
                <c:pt idx="90">
                  <c:v>2.060612672566372</c:v>
                </c:pt>
                <c:pt idx="91">
                  <c:v>1.9061412425412427</c:v>
                </c:pt>
                <c:pt idx="92">
                  <c:v>2.280019068387419</c:v>
                </c:pt>
                <c:pt idx="93">
                  <c:v>2.1396601494329746</c:v>
                </c:pt>
                <c:pt idx="94">
                  <c:v>2.221988477366255</c:v>
                </c:pt>
                <c:pt idx="95">
                  <c:v>1.914713619968816</c:v>
                </c:pt>
                <c:pt idx="96">
                  <c:v>1.8415868592311284</c:v>
                </c:pt>
                <c:pt idx="97">
                  <c:v>1.8015006040147281</c:v>
                </c:pt>
                <c:pt idx="98">
                  <c:v>2.036832424564801</c:v>
                </c:pt>
                <c:pt idx="99">
                  <c:v>1.8839840870263624</c:v>
                </c:pt>
                <c:pt idx="100">
                  <c:v>1.8266538143744657</c:v>
                </c:pt>
                <c:pt idx="101">
                  <c:v>1.8407127268764307</c:v>
                </c:pt>
                <c:pt idx="102">
                  <c:v>1.8185803557535636</c:v>
                </c:pt>
                <c:pt idx="103">
                  <c:v>1.7998215033451872</c:v>
                </c:pt>
                <c:pt idx="104">
                  <c:v>1.9122502008979054</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663550734808777</c:v>
                </c:pt>
                <c:pt idx="1">
                  <c:v>2.020665804303466</c:v>
                </c:pt>
                <c:pt idx="2">
                  <c:v>2.009234997296524</c:v>
                </c:pt>
                <c:pt idx="3">
                  <c:v>1.9911197048997966</c:v>
                </c:pt>
                <c:pt idx="4">
                  <c:v>2.0697106445032305</c:v>
                </c:pt>
                <c:pt idx="5">
                  <c:v>2.042392749244713</c:v>
                </c:pt>
                <c:pt idx="6">
                  <c:v>1.9724834605905557</c:v>
                </c:pt>
                <c:pt idx="7">
                  <c:v>2.023737147021867</c:v>
                </c:pt>
                <c:pt idx="8">
                  <c:v>2.1554320414624706</c:v>
                </c:pt>
                <c:pt idx="9">
                  <c:v>2.012887337007908</c:v>
                </c:pt>
                <c:pt idx="10">
                  <c:v>2.0623875554012945</c:v>
                </c:pt>
                <c:pt idx="11">
                  <c:v>1.9779194116477006</c:v>
                </c:pt>
                <c:pt idx="12">
                  <c:v>2.0791027400558404</c:v>
                </c:pt>
                <c:pt idx="13">
                  <c:v>2.050556982186972</c:v>
                </c:pt>
                <c:pt idx="14">
                  <c:v>2.0023263215337064</c:v>
                </c:pt>
                <c:pt idx="15">
                  <c:v>2.0049780524522625</c:v>
                </c:pt>
                <c:pt idx="16">
                  <c:v>2.2006379351933743</c:v>
                </c:pt>
                <c:pt idx="17">
                  <c:v>2.112682994940535</c:v>
                </c:pt>
                <c:pt idx="18">
                  <c:v>1.8229203382563204</c:v>
                </c:pt>
                <c:pt idx="19">
                  <c:v>2.2880293145813098</c:v>
                </c:pt>
                <c:pt idx="20">
                  <c:v>2.199073096776372</c:v>
                </c:pt>
                <c:pt idx="21">
                  <c:v>2.318081014780793</c:v>
                </c:pt>
                <c:pt idx="22">
                  <c:v>2.109806478064781</c:v>
                </c:pt>
                <c:pt idx="23">
                  <c:v>2.1949546200260555</c:v>
                </c:pt>
                <c:pt idx="24">
                  <c:v>2.103507569287182</c:v>
                </c:pt>
                <c:pt idx="25">
                  <c:v>1.8889316574101138</c:v>
                </c:pt>
                <c:pt idx="26">
                  <c:v>1.9955229318531063</c:v>
                </c:pt>
                <c:pt idx="27">
                  <c:v>2.154187438045311</c:v>
                </c:pt>
                <c:pt idx="28">
                  <c:v>2.086627344992051</c:v>
                </c:pt>
                <c:pt idx="29">
                  <c:v>2.0779403632856455</c:v>
                </c:pt>
                <c:pt idx="30">
                  <c:v>2.008805946741556</c:v>
                </c:pt>
                <c:pt idx="31">
                  <c:v>2.066822176194977</c:v>
                </c:pt>
                <c:pt idx="32">
                  <c:v>2.130504258887319</c:v>
                </c:pt>
                <c:pt idx="33">
                  <c:v>2.13166864006291</c:v>
                </c:pt>
                <c:pt idx="34">
                  <c:v>2.2161845528455286</c:v>
                </c:pt>
                <c:pt idx="35">
                  <c:v>2.173121877582198</c:v>
                </c:pt>
                <c:pt idx="36">
                  <c:v>1.987208378094012</c:v>
                </c:pt>
                <c:pt idx="37">
                  <c:v>2.2718814795665243</c:v>
                </c:pt>
                <c:pt idx="38">
                  <c:v>2.408348943089431</c:v>
                </c:pt>
                <c:pt idx="39">
                  <c:v>2.27429221223851</c:v>
                </c:pt>
                <c:pt idx="40">
                  <c:v>2.2545994398545584</c:v>
                </c:pt>
                <c:pt idx="41">
                  <c:v>2.365377634754626</c:v>
                </c:pt>
                <c:pt idx="42">
                  <c:v>2.352231229809018</c:v>
                </c:pt>
                <c:pt idx="43">
                  <c:v>2.3285850060003552</c:v>
                </c:pt>
                <c:pt idx="44">
                  <c:v>2.2461151915876685</c:v>
                </c:pt>
                <c:pt idx="45">
                  <c:v>2.175873066607486</c:v>
                </c:pt>
                <c:pt idx="46">
                  <c:v>2.164015243608204</c:v>
                </c:pt>
                <c:pt idx="47">
                  <c:v>2.125973633255459</c:v>
                </c:pt>
                <c:pt idx="48">
                  <c:v>2.0853353876754297</c:v>
                </c:pt>
                <c:pt idx="49">
                  <c:v>2.150245968319587</c:v>
                </c:pt>
                <c:pt idx="50">
                  <c:v>1.9437992976621559</c:v>
                </c:pt>
                <c:pt idx="51">
                  <c:v>1.806224927522625</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7649747931220467</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7649747931220467</c:v>
                </c:pt>
                <c:pt idx="1">
                  <c:v>1.7649747931220467</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49747931220467</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49747931220467</c:v>
                </c:pt>
                <c:pt idx="1">
                  <c:v>1.7649747931220467</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2850447436117527</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2850447436117527</c:v>
                </c:pt>
                <c:pt idx="1">
                  <c:v>2.2850447436117527</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663550734808777</c:v>
                </c:pt>
                <c:pt idx="1">
                  <c:v>2.020665804303466</c:v>
                </c:pt>
                <c:pt idx="2">
                  <c:v>2.009234997296524</c:v>
                </c:pt>
                <c:pt idx="3">
                  <c:v>1.9911197048997966</c:v>
                </c:pt>
                <c:pt idx="4">
                  <c:v>2.0697106445032305</c:v>
                </c:pt>
                <c:pt idx="5">
                  <c:v>2.042392749244713</c:v>
                </c:pt>
                <c:pt idx="6">
                  <c:v>1.9724834605905557</c:v>
                </c:pt>
                <c:pt idx="7">
                  <c:v>2.023737147021867</c:v>
                </c:pt>
                <c:pt idx="8">
                  <c:v>2.1554320414624706</c:v>
                </c:pt>
                <c:pt idx="9">
                  <c:v>2.012887337007908</c:v>
                </c:pt>
                <c:pt idx="10">
                  <c:v>2.0623875554012945</c:v>
                </c:pt>
                <c:pt idx="11">
                  <c:v>1.9779194116477006</c:v>
                </c:pt>
                <c:pt idx="12">
                  <c:v>2.0791027400558404</c:v>
                </c:pt>
                <c:pt idx="13">
                  <c:v>2.050556982186972</c:v>
                </c:pt>
                <c:pt idx="14">
                  <c:v>2.0023263215337064</c:v>
                </c:pt>
                <c:pt idx="15">
                  <c:v>2.0049780524522625</c:v>
                </c:pt>
                <c:pt idx="16">
                  <c:v>2.2006379351933743</c:v>
                </c:pt>
                <c:pt idx="17">
                  <c:v>2.112682994940535</c:v>
                </c:pt>
                <c:pt idx="18">
                  <c:v>1.8229203382563204</c:v>
                </c:pt>
                <c:pt idx="19">
                  <c:v>2.2880293145813098</c:v>
                </c:pt>
                <c:pt idx="20">
                  <c:v>2.199073096776372</c:v>
                </c:pt>
                <c:pt idx="21">
                  <c:v>2.318081014780793</c:v>
                </c:pt>
                <c:pt idx="22">
                  <c:v>2.109806478064781</c:v>
                </c:pt>
                <c:pt idx="23">
                  <c:v>2.1949546200260555</c:v>
                </c:pt>
                <c:pt idx="24">
                  <c:v>2.103507569287182</c:v>
                </c:pt>
                <c:pt idx="25">
                  <c:v>1.8889316574101138</c:v>
                </c:pt>
                <c:pt idx="26">
                  <c:v>1.9955229318531063</c:v>
                </c:pt>
                <c:pt idx="27">
                  <c:v>2.154187438045311</c:v>
                </c:pt>
                <c:pt idx="28">
                  <c:v>2.086627344992051</c:v>
                </c:pt>
                <c:pt idx="29">
                  <c:v>2.0779403632856455</c:v>
                </c:pt>
                <c:pt idx="30">
                  <c:v>2.008805946741556</c:v>
                </c:pt>
                <c:pt idx="31">
                  <c:v>2.066822176194977</c:v>
                </c:pt>
                <c:pt idx="32">
                  <c:v>2.130504258887319</c:v>
                </c:pt>
                <c:pt idx="33">
                  <c:v>2.13166864006291</c:v>
                </c:pt>
                <c:pt idx="34">
                  <c:v>2.2161845528455286</c:v>
                </c:pt>
                <c:pt idx="35">
                  <c:v>2.173121877582198</c:v>
                </c:pt>
                <c:pt idx="36">
                  <c:v>1.987208378094012</c:v>
                </c:pt>
                <c:pt idx="37">
                  <c:v>2.2718814795665243</c:v>
                </c:pt>
                <c:pt idx="38">
                  <c:v>2.408348943089431</c:v>
                </c:pt>
                <c:pt idx="39">
                  <c:v>2.27429221223851</c:v>
                </c:pt>
                <c:pt idx="40">
                  <c:v>2.2545994398545584</c:v>
                </c:pt>
                <c:pt idx="41">
                  <c:v>2.365377634754626</c:v>
                </c:pt>
                <c:pt idx="42">
                  <c:v>2.352231229809018</c:v>
                </c:pt>
                <c:pt idx="43">
                  <c:v>2.3285850060003552</c:v>
                </c:pt>
                <c:pt idx="44">
                  <c:v>2.2461151915876685</c:v>
                </c:pt>
                <c:pt idx="45">
                  <c:v>2.175873066607486</c:v>
                </c:pt>
                <c:pt idx="46">
                  <c:v>2.164015243608204</c:v>
                </c:pt>
                <c:pt idx="47">
                  <c:v>2.125973633255459</c:v>
                </c:pt>
                <c:pt idx="48">
                  <c:v>2.0853353876754297</c:v>
                </c:pt>
                <c:pt idx="49">
                  <c:v>2.150245968319587</c:v>
                </c:pt>
                <c:pt idx="50">
                  <c:v>1.9437992976621559</c:v>
                </c:pt>
                <c:pt idx="51">
                  <c:v>1.806224927522625</c:v>
                </c:pt>
                <c:pt idx="52">
                  <c:v>1.7649747931220467</c:v>
                </c:pt>
                <c:pt idx="53">
                  <c:v>1.7649747931220467</c:v>
                </c:pt>
                <c:pt idx="54">
                  <c:v>2.2850447436117527</c:v>
                </c:pt>
              </c:numCache>
            </c:numRef>
          </c:xVal>
          <c:yVal>
            <c:numRef>
              <c:f>Sheet1!$B$187:$B$241</c:f>
              <c:numCache>
                <c:formatCode>General</c:formatCode>
                <c:ptCount val="55"/>
                <c:pt idx="0">
                  <c:v>0.3096834047028644</c:v>
                </c:pt>
                <c:pt idx="1">
                  <c:v>0.3042963418635556</c:v>
                </c:pt>
                <c:pt idx="2">
                  <c:v>0.3054301597061393</c:v>
                </c:pt>
                <c:pt idx="3">
                  <c:v>0.30722700937130776</c:v>
                </c:pt>
                <c:pt idx="4">
                  <c:v>0.29943160091644794</c:v>
                </c:pt>
                <c:pt idx="5">
                  <c:v>0.3021412536161329</c:v>
                </c:pt>
                <c:pt idx="6">
                  <c:v>0.3090755320787363</c:v>
                </c:pt>
                <c:pt idx="7">
                  <c:v>0.30399169642839985</c:v>
                </c:pt>
                <c:pt idx="8">
                  <c:v>0.2909289248320249</c:v>
                </c:pt>
                <c:pt idx="9">
                  <c:v>0.30506788537770135</c:v>
                </c:pt>
                <c:pt idx="10">
                  <c:v>0.30015797562311236</c:v>
                </c:pt>
                <c:pt idx="11">
                  <c:v>0.30853634195014257</c:v>
                </c:pt>
                <c:pt idx="12">
                  <c:v>0.2985000021666543</c:v>
                </c:pt>
                <c:pt idx="13">
                  <c:v>0.30133144613925744</c:v>
                </c:pt>
                <c:pt idx="14">
                  <c:v>0.30611542889524823</c:v>
                </c:pt>
                <c:pt idx="15">
                  <c:v>0.3058524046111917</c:v>
                </c:pt>
                <c:pt idx="16">
                  <c:v>0.2864449676738898</c:v>
                </c:pt>
                <c:pt idx="17">
                  <c:v>0.29516918815469084</c:v>
                </c:pt>
                <c:pt idx="18">
                  <c:v>0.32391064709660766</c:v>
                </c:pt>
                <c:pt idx="19">
                  <c:v>0.27777664660278245</c:v>
                </c:pt>
                <c:pt idx="20">
                  <c:v>0.28660018346196847</c:v>
                </c:pt>
                <c:pt idx="21">
                  <c:v>0.2747958287247923</c:v>
                </c:pt>
                <c:pt idx="22">
                  <c:v>0.2954545088810614</c:v>
                </c:pt>
                <c:pt idx="23">
                  <c:v>0.28700869376407917</c:v>
                </c:pt>
                <c:pt idx="24">
                  <c:v>0.2960792954911854</c:v>
                </c:pt>
                <c:pt idx="25">
                  <c:v>0.3173630068973111</c:v>
                </c:pt>
                <c:pt idx="26">
                  <c:v>0.30679025479382466</c:v>
                </c:pt>
                <c:pt idx="27">
                  <c:v>0.2910523766198523</c:v>
                </c:pt>
                <c:pt idx="28">
                  <c:v>0.2977536391732203</c:v>
                </c:pt>
                <c:pt idx="29">
                  <c:v>0.29861529792145547</c:v>
                </c:pt>
                <c:pt idx="30">
                  <c:v>0.30547271708413526</c:v>
                </c:pt>
                <c:pt idx="31">
                  <c:v>0.2997181071013259</c:v>
                </c:pt>
                <c:pt idx="32">
                  <c:v>0.29340150307104057</c:v>
                </c:pt>
                <c:pt idx="33">
                  <c:v>0.2932860084999528</c:v>
                </c:pt>
                <c:pt idx="34">
                  <c:v>0.2849029039792501</c:v>
                </c:pt>
                <c:pt idx="35">
                  <c:v>0.2891742760296484</c:v>
                </c:pt>
                <c:pt idx="36">
                  <c:v>0.30761497254117676</c:v>
                </c:pt>
                <c:pt idx="37">
                  <c:v>0.279378344842263</c:v>
                </c:pt>
                <c:pt idx="38">
                  <c:v>0.2658421837487868</c:v>
                </c:pt>
                <c:pt idx="39">
                  <c:v>0.2791392250919657</c:v>
                </c:pt>
                <c:pt idx="40">
                  <c:v>0.28109254445824516</c:v>
                </c:pt>
                <c:pt idx="41">
                  <c:v>0.27010449314475304</c:v>
                </c:pt>
                <c:pt idx="42">
                  <c:v>0.27140848056087397</c:v>
                </c:pt>
                <c:pt idx="43">
                  <c:v>0.2737539414235852</c:v>
                </c:pt>
                <c:pt idx="44">
                  <c:v>0.28193409414586273</c:v>
                </c:pt>
                <c:pt idx="45">
                  <c:v>0.2889013865299572</c:v>
                </c:pt>
                <c:pt idx="46">
                  <c:v>0.2900775599429647</c:v>
                </c:pt>
                <c:pt idx="47">
                  <c:v>0.2938508942799334</c:v>
                </c:pt>
                <c:pt idx="48">
                  <c:v>0.29788178797816045</c:v>
                </c:pt>
                <c:pt idx="49">
                  <c:v>0.2914433296556541</c:v>
                </c:pt>
                <c:pt idx="50">
                  <c:v>0.3119207044019191</c:v>
                </c:pt>
                <c:pt idx="51">
                  <c:v>0.3255666591846107</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0462</c:v>
                </c:pt>
                <c:pt idx="1">
                  <c:v>986.709</c:v>
                </c:pt>
                <c:pt idx="2">
                  <c:v>1075.3552</c:v>
                </c:pt>
                <c:pt idx="3">
                  <c:v>1091.153</c:v>
                </c:pt>
                <c:pt idx="4">
                  <c:v>1105.0805</c:v>
                </c:pt>
                <c:pt idx="5">
                  <c:v>1072.5513</c:v>
                </c:pt>
                <c:pt idx="6">
                  <c:v>1008.7939</c:v>
                </c:pt>
                <c:pt idx="7">
                  <c:v>1054.7115</c:v>
                </c:pt>
                <c:pt idx="8">
                  <c:v>1036.1742</c:v>
                </c:pt>
                <c:pt idx="9">
                  <c:v>1016.2215</c:v>
                </c:pt>
                <c:pt idx="10">
                  <c:v>1007.6561</c:v>
                </c:pt>
                <c:pt idx="11">
                  <c:v>1076.0296</c:v>
                </c:pt>
                <c:pt idx="12">
                  <c:v>1070.1087</c:v>
                </c:pt>
                <c:pt idx="13">
                  <c:v>1060.0854</c:v>
                </c:pt>
                <c:pt idx="14">
                  <c:v>1039.9239</c:v>
                </c:pt>
                <c:pt idx="15">
                  <c:v>1028.9167</c:v>
                </c:pt>
                <c:pt idx="16">
                  <c:v>1045.0076</c:v>
                </c:pt>
                <c:pt idx="17">
                  <c:v>968.042</c:v>
                </c:pt>
                <c:pt idx="18">
                  <c:v>1067.1948</c:v>
                </c:pt>
                <c:pt idx="19">
                  <c:v>1036.9747</c:v>
                </c:pt>
                <c:pt idx="20">
                  <c:v>1020.9478</c:v>
                </c:pt>
                <c:pt idx="21">
                  <c:v>1068.4304</c:v>
                </c:pt>
                <c:pt idx="22">
                  <c:v>996.2523</c:v>
                </c:pt>
                <c:pt idx="23">
                  <c:v>1024.6941</c:v>
                </c:pt>
                <c:pt idx="24">
                  <c:v>964.8197</c:v>
                </c:pt>
                <c:pt idx="25">
                  <c:v>959.5766</c:v>
                </c:pt>
                <c:pt idx="26">
                  <c:v>930.0744</c:v>
                </c:pt>
                <c:pt idx="27">
                  <c:v>973.7759</c:v>
                </c:pt>
                <c:pt idx="28">
                  <c:v>977.6216</c:v>
                </c:pt>
                <c:pt idx="29">
                  <c:v>892.7273</c:v>
                </c:pt>
                <c:pt idx="30">
                  <c:v>950.8595</c:v>
                </c:pt>
                <c:pt idx="31">
                  <c:v>947.5315</c:v>
                </c:pt>
                <c:pt idx="32">
                  <c:v>928.8304</c:v>
                </c:pt>
                <c:pt idx="33">
                  <c:v>910.8138</c:v>
                </c:pt>
                <c:pt idx="34">
                  <c:v>947.462</c:v>
                </c:pt>
                <c:pt idx="35">
                  <c:v>985.5942</c:v>
                </c:pt>
                <c:pt idx="36">
                  <c:v>1137.6</c:v>
                </c:pt>
                <c:pt idx="37">
                  <c:v>1063.6316</c:v>
                </c:pt>
                <c:pt idx="38">
                  <c:v>1045.175</c:v>
                </c:pt>
                <c:pt idx="39">
                  <c:v>1086.9286</c:v>
                </c:pt>
                <c:pt idx="40">
                  <c:v>1129.2523</c:v>
                </c:pt>
                <c:pt idx="41">
                  <c:v>1217.1981</c:v>
                </c:pt>
                <c:pt idx="42">
                  <c:v>1317.6075</c:v>
                </c:pt>
                <c:pt idx="43">
                  <c:v>1333.4957</c:v>
                </c:pt>
                <c:pt idx="44">
                  <c:v>1169.5111</c:v>
                </c:pt>
                <c:pt idx="45">
                  <c:v>1159.7725</c:v>
                </c:pt>
                <c:pt idx="46">
                  <c:v>1157.5701</c:v>
                </c:pt>
                <c:pt idx="47">
                  <c:v>1199.6908</c:v>
                </c:pt>
                <c:pt idx="48">
                  <c:v>1179.6478</c:v>
                </c:pt>
                <c:pt idx="49">
                  <c:v>1152.3893</c:v>
                </c:pt>
                <c:pt idx="50">
                  <c:v>1161.6886</c:v>
                </c:pt>
                <c:pt idx="51">
                  <c:v>1149.5852</c:v>
                </c:pt>
                <c:pt idx="52">
                  <c:v>1150.9167</c:v>
                </c:pt>
                <c:pt idx="53">
                  <c:v>1243.9571</c:v>
                </c:pt>
                <c:pt idx="54">
                  <c:v>1170.4375</c:v>
                </c:pt>
                <c:pt idx="55">
                  <c:v>1159.8591</c:v>
                </c:pt>
                <c:pt idx="56">
                  <c:v>1231.5</c:v>
                </c:pt>
                <c:pt idx="57">
                  <c:v>1204.642</c:v>
                </c:pt>
                <c:pt idx="58">
                  <c:v>1191.8756</c:v>
                </c:pt>
                <c:pt idx="59">
                  <c:v>1177.7177</c:v>
                </c:pt>
                <c:pt idx="60">
                  <c:v>1221.3613</c:v>
                </c:pt>
                <c:pt idx="61">
                  <c:v>1256.0526</c:v>
                </c:pt>
                <c:pt idx="62">
                  <c:v>1183.0375</c:v>
                </c:pt>
                <c:pt idx="63">
                  <c:v>1176.595</c:v>
                </c:pt>
                <c:pt idx="64">
                  <c:v>1220.5</c:v>
                </c:pt>
                <c:pt idx="65">
                  <c:v>1241.7031</c:v>
                </c:pt>
                <c:pt idx="66">
                  <c:v>1203.4975</c:v>
                </c:pt>
                <c:pt idx="67">
                  <c:v>1232.8623</c:v>
                </c:pt>
                <c:pt idx="68">
                  <c:v>1272.627</c:v>
                </c:pt>
                <c:pt idx="69">
                  <c:v>1277.8182</c:v>
                </c:pt>
                <c:pt idx="70">
                  <c:v>1236.8904</c:v>
                </c:pt>
                <c:pt idx="71">
                  <c:v>1290.3521</c:v>
                </c:pt>
                <c:pt idx="72">
                  <c:v>1385.4875</c:v>
                </c:pt>
                <c:pt idx="73">
                  <c:v>1325.25</c:v>
                </c:pt>
                <c:pt idx="74">
                  <c:v>1264.5217</c:v>
                </c:pt>
                <c:pt idx="75">
                  <c:v>1232.1064</c:v>
                </c:pt>
                <c:pt idx="76">
                  <c:v>1232.4444</c:v>
                </c:pt>
                <c:pt idx="77">
                  <c:v>1188.7125</c:v>
                </c:pt>
                <c:pt idx="78">
                  <c:v>1254.8026</c:v>
                </c:pt>
                <c:pt idx="79">
                  <c:v>1306.9853</c:v>
                </c:pt>
                <c:pt idx="80">
                  <c:v>1310.2877</c:v>
                </c:pt>
                <c:pt idx="81">
                  <c:v>1325.4946</c:v>
                </c:pt>
                <c:pt idx="82">
                  <c:v>1362.8182</c:v>
                </c:pt>
                <c:pt idx="83">
                  <c:v>1330.0889</c:v>
                </c:pt>
                <c:pt idx="84">
                  <c:v>1310.7547</c:v>
                </c:pt>
                <c:pt idx="85">
                  <c:v>1323.5556</c:v>
                </c:pt>
                <c:pt idx="86">
                  <c:v>1287.9423</c:v>
                </c:pt>
                <c:pt idx="87">
                  <c:v>1341.562</c:v>
                </c:pt>
                <c:pt idx="88">
                  <c:v>1319.2368</c:v>
                </c:pt>
                <c:pt idx="89">
                  <c:v>1260.2881</c:v>
                </c:pt>
                <c:pt idx="90">
                  <c:v>1455.3077</c:v>
                </c:pt>
                <c:pt idx="91">
                  <c:v>1357.6491</c:v>
                </c:pt>
                <c:pt idx="92">
                  <c:v>1362.1486</c:v>
                </c:pt>
                <c:pt idx="93">
                  <c:v>1379.1892</c:v>
                </c:pt>
                <c:pt idx="94">
                  <c:v>1417.3509</c:v>
                </c:pt>
                <c:pt idx="95">
                  <c:v>1322.9394</c:v>
                </c:pt>
                <c:pt idx="96">
                  <c:v>1229.3793</c:v>
                </c:pt>
                <c:pt idx="97">
                  <c:v>1200.3249</c:v>
                </c:pt>
                <c:pt idx="98">
                  <c:v>1246.0192</c:v>
                </c:pt>
                <c:pt idx="99">
                  <c:v>1142.5868</c:v>
                </c:pt>
                <c:pt idx="100">
                  <c:v>1157.1008</c:v>
                </c:pt>
                <c:pt idx="101">
                  <c:v>1141.7722</c:v>
                </c:pt>
                <c:pt idx="102">
                  <c:v>1127.8408</c:v>
                </c:pt>
                <c:pt idx="103">
                  <c:v>1135.1692</c:v>
                </c:pt>
                <c:pt idx="104">
                  <c:v>1192.1943</c:v>
                </c:pt>
              </c:numCache>
            </c:numRef>
          </c:xVal>
          <c:yVal>
            <c:numRef>
              <c:f>Sheet1!$B$2:$B$106</c:f>
              <c:numCache>
                <c:formatCode>General</c:formatCode>
                <c:ptCount val="105"/>
                <c:pt idx="0">
                  <c:v>0.24528301886792453</c:v>
                </c:pt>
                <c:pt idx="1">
                  <c:v>0.21550741163055873</c:v>
                </c:pt>
                <c:pt idx="2">
                  <c:v>0.22128174123337363</c:v>
                </c:pt>
                <c:pt idx="3">
                  <c:v>0.21837708830548927</c:v>
                </c:pt>
                <c:pt idx="4">
                  <c:v>0.2555066079295154</c:v>
                </c:pt>
                <c:pt idx="5">
                  <c:v>0.2613065326633166</c:v>
                </c:pt>
                <c:pt idx="6">
                  <c:v>0.28596187175043325</c:v>
                </c:pt>
                <c:pt idx="7">
                  <c:v>0.3277310924369748</c:v>
                </c:pt>
                <c:pt idx="8">
                  <c:v>0.31353919239904987</c:v>
                </c:pt>
                <c:pt idx="9">
                  <c:v>0.29867674858223064</c:v>
                </c:pt>
                <c:pt idx="10">
                  <c:v>0.2783687943262411</c:v>
                </c:pt>
                <c:pt idx="11">
                  <c:v>0.2665615141955836</c:v>
                </c:pt>
                <c:pt idx="12">
                  <c:v>0.2884012539184953</c:v>
                </c:pt>
                <c:pt idx="13">
                  <c:v>0.2875722543352601</c:v>
                </c:pt>
                <c:pt idx="14">
                  <c:v>0.25555555555555554</c:v>
                </c:pt>
                <c:pt idx="15">
                  <c:v>0.25</c:v>
                </c:pt>
                <c:pt idx="16">
                  <c:v>0.2568627450980392</c:v>
                </c:pt>
                <c:pt idx="17">
                  <c:v>0.23847695390781562</c:v>
                </c:pt>
                <c:pt idx="18">
                  <c:v>0.2010443864229765</c:v>
                </c:pt>
                <c:pt idx="19">
                  <c:v>0.24921135646687698</c:v>
                </c:pt>
                <c:pt idx="20">
                  <c:v>0.2889447236180904</c:v>
                </c:pt>
                <c:pt idx="21">
                  <c:v>0.3015267175572519</c:v>
                </c:pt>
                <c:pt idx="22">
                  <c:v>0.35785953177257523</c:v>
                </c:pt>
                <c:pt idx="23">
                  <c:v>0.2560240963855422</c:v>
                </c:pt>
                <c:pt idx="24">
                  <c:v>0.2525879917184265</c:v>
                </c:pt>
                <c:pt idx="25">
                  <c:v>0.2795969773299748</c:v>
                </c:pt>
                <c:pt idx="26">
                  <c:v>0.29876543209876544</c:v>
                </c:pt>
                <c:pt idx="27">
                  <c:v>0.2549450549450549</c:v>
                </c:pt>
                <c:pt idx="28">
                  <c:v>0.2617924528301887</c:v>
                </c:pt>
                <c:pt idx="29">
                  <c:v>0.3136456211812627</c:v>
                </c:pt>
                <c:pt idx="30">
                  <c:v>0.33798882681564246</c:v>
                </c:pt>
                <c:pt idx="31">
                  <c:v>0.3535031847133758</c:v>
                </c:pt>
                <c:pt idx="32">
                  <c:v>0.3835616438356164</c:v>
                </c:pt>
                <c:pt idx="33">
                  <c:v>0.36523929471032746</c:v>
                </c:pt>
                <c:pt idx="34">
                  <c:v>0.36435643564356435</c:v>
                </c:pt>
                <c:pt idx="35">
                  <c:v>0.3657243816254417</c:v>
                </c:pt>
                <c:pt idx="36">
                  <c:v>0.29336734693877553</c:v>
                </c:pt>
                <c:pt idx="37">
                  <c:v>0.28023598820059</c:v>
                </c:pt>
                <c:pt idx="38">
                  <c:v>0.24691358024691357</c:v>
                </c:pt>
                <c:pt idx="39">
                  <c:v>0.2485207100591716</c:v>
                </c:pt>
                <c:pt idx="40">
                  <c:v>0.24183006535947713</c:v>
                </c:pt>
                <c:pt idx="41">
                  <c:v>0.2548076923076923</c:v>
                </c:pt>
                <c:pt idx="42">
                  <c:v>0.2296137339055794</c:v>
                </c:pt>
                <c:pt idx="43">
                  <c:v>0.22674418604651161</c:v>
                </c:pt>
                <c:pt idx="44">
                  <c:v>0.2556818181818182</c:v>
                </c:pt>
                <c:pt idx="45">
                  <c:v>0.26913265306122447</c:v>
                </c:pt>
                <c:pt idx="46">
                  <c:v>0.311199207135778</c:v>
                </c:pt>
                <c:pt idx="47">
                  <c:v>0.27783669141039236</c:v>
                </c:pt>
                <c:pt idx="48">
                  <c:v>0.2961783439490446</c:v>
                </c:pt>
                <c:pt idx="49">
                  <c:v>0.30973451327433627</c:v>
                </c:pt>
                <c:pt idx="50">
                  <c:v>0.2973856209150327</c:v>
                </c:pt>
                <c:pt idx="51">
                  <c:v>0.23978201634877383</c:v>
                </c:pt>
                <c:pt idx="52">
                  <c:v>0.26373626373626374</c:v>
                </c:pt>
                <c:pt idx="53">
                  <c:v>0.2542901716068643</c:v>
                </c:pt>
                <c:pt idx="54">
                  <c:v>0.2564102564102564</c:v>
                </c:pt>
                <c:pt idx="55">
                  <c:v>0.2586805555555556</c:v>
                </c:pt>
                <c:pt idx="56">
                  <c:v>0.24695652173913044</c:v>
                </c:pt>
                <c:pt idx="57">
                  <c:v>0.24071322436849926</c:v>
                </c:pt>
                <c:pt idx="58">
                  <c:v>0.26955307262569833</c:v>
                </c:pt>
                <c:pt idx="59">
                  <c:v>0.25488180883864336</c:v>
                </c:pt>
                <c:pt idx="60">
                  <c:v>0.26832018038331457</c:v>
                </c:pt>
                <c:pt idx="61">
                  <c:v>0.2629757785467128</c:v>
                </c:pt>
                <c:pt idx="62">
                  <c:v>0.2631578947368421</c:v>
                </c:pt>
                <c:pt idx="63">
                  <c:v>0.3021148036253776</c:v>
                </c:pt>
                <c:pt idx="64">
                  <c:v>0.29386590584878747</c:v>
                </c:pt>
                <c:pt idx="65">
                  <c:v>0.2891566265060241</c:v>
                </c:pt>
                <c:pt idx="66">
                  <c:v>0.33111480865224624</c:v>
                </c:pt>
                <c:pt idx="67">
                  <c:v>0.3230174081237911</c:v>
                </c:pt>
                <c:pt idx="68">
                  <c:v>0.2863636363636364</c:v>
                </c:pt>
                <c:pt idx="69">
                  <c:v>0.26756756756756755</c:v>
                </c:pt>
                <c:pt idx="70">
                  <c:v>0.22530864197530864</c:v>
                </c:pt>
                <c:pt idx="71">
                  <c:v>0.24315068493150685</c:v>
                </c:pt>
                <c:pt idx="72">
                  <c:v>0.24169184290030213</c:v>
                </c:pt>
                <c:pt idx="73">
                  <c:v>0.26744186046511625</c:v>
                </c:pt>
                <c:pt idx="74">
                  <c:v>0.29336734693877553</c:v>
                </c:pt>
                <c:pt idx="75">
                  <c:v>0.3051948051948052</c:v>
                </c:pt>
                <c:pt idx="76">
                  <c:v>0.313588850174216</c:v>
                </c:pt>
                <c:pt idx="77">
                  <c:v>0.28776978417266186</c:v>
                </c:pt>
                <c:pt idx="78">
                  <c:v>0.26666666666666666</c:v>
                </c:pt>
                <c:pt idx="79">
                  <c:v>0.21794871794871795</c:v>
                </c:pt>
                <c:pt idx="80">
                  <c:v>0.24914675767918087</c:v>
                </c:pt>
                <c:pt idx="81">
                  <c:v>0.25340599455040874</c:v>
                </c:pt>
                <c:pt idx="82">
                  <c:v>0.27208480565371024</c:v>
                </c:pt>
                <c:pt idx="83">
                  <c:v>0.21634615384615385</c:v>
                </c:pt>
                <c:pt idx="84">
                  <c:v>0.2548076923076923</c:v>
                </c:pt>
                <c:pt idx="85">
                  <c:v>0.27692307692307694</c:v>
                </c:pt>
                <c:pt idx="86">
                  <c:v>0.30409356725146197</c:v>
                </c:pt>
                <c:pt idx="87">
                  <c:v>0.3277511961722488</c:v>
                </c:pt>
                <c:pt idx="88">
                  <c:v>0.30522088353413657</c:v>
                </c:pt>
                <c:pt idx="89">
                  <c:v>0.29797979797979796</c:v>
                </c:pt>
                <c:pt idx="90">
                  <c:v>0.24074074074074073</c:v>
                </c:pt>
                <c:pt idx="91">
                  <c:v>0.2602739726027397</c:v>
                </c:pt>
                <c:pt idx="92">
                  <c:v>0.2534246575342466</c:v>
                </c:pt>
                <c:pt idx="93">
                  <c:v>0.24183006535947713</c:v>
                </c:pt>
                <c:pt idx="94">
                  <c:v>0.26635514018691586</c:v>
                </c:pt>
                <c:pt idx="95">
                  <c:v>0.28125</c:v>
                </c:pt>
                <c:pt idx="96">
                  <c:v>0.27102803738317754</c:v>
                </c:pt>
                <c:pt idx="97">
                  <c:v>0.32242225859247137</c:v>
                </c:pt>
                <c:pt idx="98">
                  <c:v>0.3096085409252669</c:v>
                </c:pt>
                <c:pt idx="99">
                  <c:v>0.29557522123893804</c:v>
                </c:pt>
                <c:pt idx="100">
                  <c:v>0.3166458072590738</c:v>
                </c:pt>
                <c:pt idx="101">
                  <c:v>0.3278879813302217</c:v>
                </c:pt>
                <c:pt idx="102">
                  <c:v>0.2697594501718213</c:v>
                </c:pt>
                <c:pt idx="103">
                  <c:v>0.25691699604743085</c:v>
                </c:pt>
                <c:pt idx="104">
                  <c:v>0.27173913043478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numCache>
            </c:numRef>
          </c:xVal>
          <c:yVal>
            <c:numRef>
              <c:f>Sheet1!$B$109:$B$160</c:f>
              <c:numCache>
                <c:formatCode>General</c:formatCode>
                <c:ptCount val="52"/>
                <c:pt idx="0">
                  <c:v>0.26134585289514867</c:v>
                </c:pt>
                <c:pt idx="1">
                  <c:v>0.27692307692307694</c:v>
                </c:pt>
                <c:pt idx="2">
                  <c:v>0.2567783094098884</c:v>
                </c:pt>
                <c:pt idx="3">
                  <c:v>0.28685897435897434</c:v>
                </c:pt>
                <c:pt idx="4">
                  <c:v>0.3069679849340866</c:v>
                </c:pt>
                <c:pt idx="5">
                  <c:v>0.2862595419847328</c:v>
                </c:pt>
                <c:pt idx="6">
                  <c:v>0.2958477508650519</c:v>
                </c:pt>
                <c:pt idx="7">
                  <c:v>0.2765957446808511</c:v>
                </c:pt>
                <c:pt idx="8">
                  <c:v>0.3003194888178914</c:v>
                </c:pt>
                <c:pt idx="9">
                  <c:v>0.31842105263157894</c:v>
                </c:pt>
                <c:pt idx="10">
                  <c:v>0.35340314136125656</c:v>
                </c:pt>
                <c:pt idx="11">
                  <c:v>0.39232053422370616</c:v>
                </c:pt>
                <c:pt idx="12">
                  <c:v>0.3770833333333333</c:v>
                </c:pt>
                <c:pt idx="13">
                  <c:v>0.36923076923076925</c:v>
                </c:pt>
                <c:pt idx="14">
                  <c:v>0.3835616438356164</c:v>
                </c:pt>
                <c:pt idx="15">
                  <c:v>0.3815789473684211</c:v>
                </c:pt>
                <c:pt idx="16">
                  <c:v>0.31722054380664655</c:v>
                </c:pt>
                <c:pt idx="17">
                  <c:v>0.28308823529411764</c:v>
                </c:pt>
                <c:pt idx="18">
                  <c:v>0.2846441947565543</c:v>
                </c:pt>
                <c:pt idx="19">
                  <c:v>0.282312925170068</c:v>
                </c:pt>
                <c:pt idx="20">
                  <c:v>0.25874125874125875</c:v>
                </c:pt>
                <c:pt idx="21">
                  <c:v>0.2839506172839506</c:v>
                </c:pt>
                <c:pt idx="22">
                  <c:v>0.25287356321839083</c:v>
                </c:pt>
                <c:pt idx="23">
                  <c:v>0.242152466367713</c:v>
                </c:pt>
                <c:pt idx="24">
                  <c:v>0.25838926174496646</c:v>
                </c:pt>
                <c:pt idx="25">
                  <c:v>0.2900763358778626</c:v>
                </c:pt>
                <c:pt idx="26">
                  <c:v>0.2623574144486692</c:v>
                </c:pt>
                <c:pt idx="27">
                  <c:v>0.24414715719063546</c:v>
                </c:pt>
                <c:pt idx="28">
                  <c:v>0.277602523659306</c:v>
                </c:pt>
                <c:pt idx="29">
                  <c:v>0.29432624113475175</c:v>
                </c:pt>
                <c:pt idx="30">
                  <c:v>0.27710843373493976</c:v>
                </c:pt>
                <c:pt idx="31">
                  <c:v>0.2876712328767123</c:v>
                </c:pt>
                <c:pt idx="32">
                  <c:v>0.28225806451612906</c:v>
                </c:pt>
                <c:pt idx="33">
                  <c:v>0.34011627906976744</c:v>
                </c:pt>
                <c:pt idx="34">
                  <c:v>0.3944954128440367</c:v>
                </c:pt>
                <c:pt idx="35">
                  <c:v>0.3709677419354839</c:v>
                </c:pt>
                <c:pt idx="36">
                  <c:v>0.3125</c:v>
                </c:pt>
                <c:pt idx="37">
                  <c:v>0.24571428571428572</c:v>
                </c:pt>
                <c:pt idx="38">
                  <c:v>0.287292817679558</c:v>
                </c:pt>
                <c:pt idx="39">
                  <c:v>0.2979591836734694</c:v>
                </c:pt>
                <c:pt idx="40">
                  <c:v>0.27309236947791166</c:v>
                </c:pt>
                <c:pt idx="41">
                  <c:v>0.2786259541984733</c:v>
                </c:pt>
                <c:pt idx="42">
                  <c:v>0.27350427350427353</c:v>
                </c:pt>
                <c:pt idx="43">
                  <c:v>0.2292817679558011</c:v>
                </c:pt>
                <c:pt idx="44">
                  <c:v>0.2246376811594203</c:v>
                </c:pt>
                <c:pt idx="45">
                  <c:v>0.27255985267034993</c:v>
                </c:pt>
                <c:pt idx="46">
                  <c:v>0.2613390928725702</c:v>
                </c:pt>
                <c:pt idx="47">
                  <c:v>0.274</c:v>
                </c:pt>
                <c:pt idx="48">
                  <c:v>0.2523020257826888</c:v>
                </c:pt>
                <c:pt idx="49">
                  <c:v>0.2920353982300885</c:v>
                </c:pt>
                <c:pt idx="50">
                  <c:v>0.33514001806684734</c:v>
                </c:pt>
                <c:pt idx="51">
                  <c:v>0.350467289719626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22.902491236866</c:v>
                </c:pt>
              </c:numCache>
            </c:numRef>
          </c:xVal>
          <c:yVal>
            <c:numRef>
              <c:f>Sheet1!$B$163:$B$164</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22.902491236866</c:v>
                </c:pt>
                <c:pt idx="1">
                  <c:v>1122.902491236866</c:v>
                </c:pt>
              </c:numCache>
            </c:numRef>
          </c:xVal>
          <c:yVal>
            <c:numRef>
              <c:f>Sheet1!$B$167:$B$168</c:f>
              <c:numCache>
                <c:formatCode>General</c:formatCode>
                <c:ptCount val="2"/>
                <c:pt idx="0">
                  <c:v>0.329658245925944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2.902491236866</c:v>
                </c:pt>
              </c:numCache>
            </c:numRef>
          </c:xVal>
          <c:yVal>
            <c:numRef>
              <c:f>Sheet1!$B$171:$B$172</c:f>
              <c:numCache>
                <c:formatCode>General</c:formatCode>
                <c:ptCount val="2"/>
                <c:pt idx="0">
                  <c:v>0.32965824592594445</c:v>
                </c:pt>
                <c:pt idx="1">
                  <c:v>0.3296582459259444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2.902491236866</c:v>
                </c:pt>
                <c:pt idx="1">
                  <c:v>1122.902491236866</c:v>
                </c:pt>
              </c:numCache>
            </c:numRef>
          </c:xVal>
          <c:yVal>
            <c:numRef>
              <c:f>Sheet1!$B$175:$B$176</c:f>
              <c:numCache>
                <c:formatCode>General</c:formatCode>
                <c:ptCount val="2"/>
                <c:pt idx="0">
                  <c:v>0.329658245925944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06.341985305902</c:v>
                </c:pt>
              </c:numCache>
            </c:numRef>
          </c:xVal>
          <c:yVal>
            <c:numRef>
              <c:f>Sheet1!$B$179:$B$180</c:f>
              <c:numCache>
                <c:formatCode>General</c:formatCode>
                <c:ptCount val="2"/>
                <c:pt idx="0">
                  <c:v>0.27807268517780925</c:v>
                </c:pt>
                <c:pt idx="1">
                  <c:v>0.2780726851778092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06.341985305902</c:v>
                </c:pt>
                <c:pt idx="1">
                  <c:v>1406.341985305902</c:v>
                </c:pt>
              </c:numCache>
            </c:numRef>
          </c:xVal>
          <c:yVal>
            <c:numRef>
              <c:f>Sheet1!$B$183:$B$184</c:f>
              <c:numCache>
                <c:formatCode>General</c:formatCode>
                <c:ptCount val="2"/>
                <c:pt idx="0">
                  <c:v>0.27807268517780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4.2156</c:v>
                </c:pt>
                <c:pt idx="1">
                  <c:v>1268.125</c:v>
                </c:pt>
                <c:pt idx="2">
                  <c:v>1265.677</c:v>
                </c:pt>
                <c:pt idx="3">
                  <c:v>1260.8212</c:v>
                </c:pt>
                <c:pt idx="4">
                  <c:v>1286.1718</c:v>
                </c:pt>
                <c:pt idx="5">
                  <c:v>1267.56</c:v>
                </c:pt>
                <c:pt idx="6">
                  <c:v>1207.4737</c:v>
                </c:pt>
                <c:pt idx="7">
                  <c:v>1283.9487</c:v>
                </c:pt>
                <c:pt idx="8">
                  <c:v>1324.8723</c:v>
                </c:pt>
                <c:pt idx="9">
                  <c:v>1256.4793</c:v>
                </c:pt>
                <c:pt idx="10">
                  <c:v>1285.8444</c:v>
                </c:pt>
                <c:pt idx="11">
                  <c:v>1172.3787</c:v>
                </c:pt>
                <c:pt idx="12">
                  <c:v>1247.8232</c:v>
                </c:pt>
                <c:pt idx="13">
                  <c:v>1261.6667</c:v>
                </c:pt>
                <c:pt idx="14">
                  <c:v>1250.119</c:v>
                </c:pt>
                <c:pt idx="15">
                  <c:v>1265.2414</c:v>
                </c:pt>
                <c:pt idx="16">
                  <c:v>1368.4667</c:v>
                </c:pt>
                <c:pt idx="17">
                  <c:v>1286.1169</c:v>
                </c:pt>
                <c:pt idx="18">
                  <c:v>1118.1447</c:v>
                </c:pt>
                <c:pt idx="19">
                  <c:v>1431.5783</c:v>
                </c:pt>
                <c:pt idx="20">
                  <c:v>1374.0541</c:v>
                </c:pt>
                <c:pt idx="21">
                  <c:v>1417.8116</c:v>
                </c:pt>
                <c:pt idx="22">
                  <c:v>1286.4545</c:v>
                </c:pt>
                <c:pt idx="23">
                  <c:v>1333.3704</c:v>
                </c:pt>
                <c:pt idx="24">
                  <c:v>1300.1429</c:v>
                </c:pt>
                <c:pt idx="25">
                  <c:v>1211.6316</c:v>
                </c:pt>
                <c:pt idx="26">
                  <c:v>1275.6087</c:v>
                </c:pt>
                <c:pt idx="27">
                  <c:v>1348.4384</c:v>
                </c:pt>
                <c:pt idx="28">
                  <c:v>1312.4886</c:v>
                </c:pt>
                <c:pt idx="29">
                  <c:v>1292.6867</c:v>
                </c:pt>
                <c:pt idx="30">
                  <c:v>1237.3188</c:v>
                </c:pt>
                <c:pt idx="31">
                  <c:v>1264.2063</c:v>
                </c:pt>
                <c:pt idx="32">
                  <c:v>1298.4714</c:v>
                </c:pt>
                <c:pt idx="33">
                  <c:v>1334.2308</c:v>
                </c:pt>
                <c:pt idx="34">
                  <c:v>1362.9535</c:v>
                </c:pt>
                <c:pt idx="35">
                  <c:v>1353.6261</c:v>
                </c:pt>
                <c:pt idx="36">
                  <c:v>1258.82</c:v>
                </c:pt>
                <c:pt idx="37">
                  <c:v>1455.3023</c:v>
                </c:pt>
                <c:pt idx="38">
                  <c:v>1481.1346</c:v>
                </c:pt>
                <c:pt idx="39">
                  <c:v>1432.2055</c:v>
                </c:pt>
                <c:pt idx="40">
                  <c:v>1381.1471</c:v>
                </c:pt>
                <c:pt idx="41">
                  <c:v>1470.0822</c:v>
                </c:pt>
                <c:pt idx="42">
                  <c:v>1495.4844</c:v>
                </c:pt>
                <c:pt idx="43">
                  <c:v>1440.1446</c:v>
                </c:pt>
                <c:pt idx="44">
                  <c:v>1409.7742</c:v>
                </c:pt>
                <c:pt idx="45">
                  <c:v>1345.1689</c:v>
                </c:pt>
                <c:pt idx="46">
                  <c:v>1343.1322</c:v>
                </c:pt>
                <c:pt idx="47">
                  <c:v>1307.6715</c:v>
                </c:pt>
                <c:pt idx="48">
                  <c:v>1294.1679</c:v>
                </c:pt>
                <c:pt idx="49">
                  <c:v>1344.8636</c:v>
                </c:pt>
                <c:pt idx="50">
                  <c:v>1208.2291</c:v>
                </c:pt>
                <c:pt idx="51">
                  <c:v>1123.5111</c:v>
                </c:pt>
                <c:pt idx="52">
                  <c:v>1122.902491236866</c:v>
                </c:pt>
                <c:pt idx="53">
                  <c:v>1122.902491236866</c:v>
                </c:pt>
                <c:pt idx="54">
                  <c:v>1406.341985305902</c:v>
                </c:pt>
              </c:numCache>
            </c:numRef>
          </c:xVal>
          <c:yVal>
            <c:numRef>
              <c:f>Sheet1!$B$187:$B$241</c:f>
              <c:numCache>
                <c:formatCode>General</c:formatCode>
                <c:ptCount val="55"/>
                <c:pt idx="0">
                  <c:v>0.3093994278913418</c:v>
                </c:pt>
                <c:pt idx="1">
                  <c:v>0.3032279681962904</c:v>
                </c:pt>
                <c:pt idx="2">
                  <c:v>0.303673500506903</c:v>
                </c:pt>
                <c:pt idx="3">
                  <c:v>0.3045572487887136</c:v>
                </c:pt>
                <c:pt idx="4">
                  <c:v>0.29994347779467156</c:v>
                </c:pt>
                <c:pt idx="5">
                  <c:v>0.3033307973447774</c:v>
                </c:pt>
                <c:pt idx="6">
                  <c:v>0.3142664133885519</c:v>
                </c:pt>
                <c:pt idx="7">
                  <c:v>0.3003480786442315</c:v>
                </c:pt>
                <c:pt idx="8">
                  <c:v>0.2929000451203</c:v>
                </c:pt>
                <c:pt idx="9">
                  <c:v>0.3053474680450244</c:v>
                </c:pt>
                <c:pt idx="10">
                  <c:v>0.30000306410124616</c:v>
                </c:pt>
                <c:pt idx="11">
                  <c:v>0.3206536504967823</c:v>
                </c:pt>
                <c:pt idx="12">
                  <c:v>0.3069228651993926</c:v>
                </c:pt>
                <c:pt idx="13">
                  <c:v>0.30440336906296894</c:v>
                </c:pt>
                <c:pt idx="14">
                  <c:v>0.306505033059399</c:v>
                </c:pt>
                <c:pt idx="15">
                  <c:v>0.303752779050409</c:v>
                </c:pt>
                <c:pt idx="16">
                  <c:v>0.2849659300215383</c:v>
                </c:pt>
                <c:pt idx="17">
                  <c:v>0.29995346951193164</c:v>
                </c:pt>
                <c:pt idx="18">
                  <c:v>0.330524156760574</c:v>
                </c:pt>
                <c:pt idx="19">
                  <c:v>0.27347971393720166</c:v>
                </c:pt>
                <c:pt idx="20">
                  <c:v>0.283949031642324</c:v>
                </c:pt>
                <c:pt idx="21">
                  <c:v>0.27598523258937074</c:v>
                </c:pt>
                <c:pt idx="22">
                  <c:v>0.29989202682072946</c:v>
                </c:pt>
                <c:pt idx="23">
                  <c:v>0.2913534037278095</c:v>
                </c:pt>
                <c:pt idx="24">
                  <c:v>0.29740075865055426</c:v>
                </c:pt>
                <c:pt idx="25">
                  <c:v>0.3135096818549342</c:v>
                </c:pt>
                <c:pt idx="26">
                  <c:v>0.30186594607499495</c:v>
                </c:pt>
                <c:pt idx="27">
                  <c:v>0.2886110504368331</c:v>
                </c:pt>
                <c:pt idx="28">
                  <c:v>0.29515385985679216</c:v>
                </c:pt>
                <c:pt idx="29">
                  <c:v>0.298757775813295</c:v>
                </c:pt>
                <c:pt idx="30">
                  <c:v>0.3088346501681829</c:v>
                </c:pt>
                <c:pt idx="31">
                  <c:v>0.303941165690407</c:v>
                </c:pt>
                <c:pt idx="32">
                  <c:v>0.2977049691314321</c:v>
                </c:pt>
                <c:pt idx="33">
                  <c:v>0.29119681222452065</c:v>
                </c:pt>
                <c:pt idx="34">
                  <c:v>0.28596932411257964</c:v>
                </c:pt>
                <c:pt idx="35">
                  <c:v>0.28766689685522984</c:v>
                </c:pt>
                <c:pt idx="36">
                  <c:v>0.3049214641726997</c:v>
                </c:pt>
                <c:pt idx="37">
                  <c:v>0.2691619816917063</c:v>
                </c:pt>
                <c:pt idx="38">
                  <c:v>0.2644605420236356</c:v>
                </c:pt>
                <c:pt idx="39">
                  <c:v>0.27336556448245647</c:v>
                </c:pt>
                <c:pt idx="40">
                  <c:v>0.2826581163322035</c:v>
                </c:pt>
                <c:pt idx="41">
                  <c:v>0.26647206216653363</c:v>
                </c:pt>
                <c:pt idx="42">
                  <c:v>0.26184890005025807</c:v>
                </c:pt>
                <c:pt idx="43">
                  <c:v>0.27192066024749556</c:v>
                </c:pt>
                <c:pt idx="44">
                  <c:v>0.27744802727618345</c:v>
                </c:pt>
                <c:pt idx="45">
                  <c:v>0.28920609450936086</c:v>
                </c:pt>
                <c:pt idx="46">
                  <c:v>0.28957677083984473</c:v>
                </c:pt>
                <c:pt idx="47">
                  <c:v>0.2960305647969277</c:v>
                </c:pt>
                <c:pt idx="48">
                  <c:v>0.29848819964561557</c:v>
                </c:pt>
                <c:pt idx="49">
                  <c:v>0.28926165864924236</c:v>
                </c:pt>
                <c:pt idx="50">
                  <c:v>0.3141289317270173</c:v>
                </c:pt>
                <c:pt idx="51">
                  <c:v>0.32954748004828993</c:v>
                </c:pt>
                <c:pt idx="52">
                  <c:v>0.32965824592594445</c:v>
                </c:pt>
                <c:pt idx="53">
                  <c:v>0.32965824592594445</c:v>
                </c:pt>
                <c:pt idx="54">
                  <c:v>0.278072685177809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5.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339449541284406"/>
          <c:min val="0.16083550913838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84598705464162</c:v>
                </c:pt>
                <c:pt idx="1">
                  <c:v>0.685838878330671</c:v>
                </c:pt>
                <c:pt idx="2">
                  <c:v>0.64899008991971</c:v>
                </c:pt>
                <c:pt idx="3">
                  <c:v>0.5974905981931778</c:v>
                </c:pt>
                <c:pt idx="4">
                  <c:v>0.6252941841076806</c:v>
                </c:pt>
                <c:pt idx="5">
                  <c:v>0.6208462929354989</c:v>
                </c:pt>
                <c:pt idx="6">
                  <c:v>0.5942280412553449</c:v>
                </c:pt>
                <c:pt idx="7">
                  <c:v>0.5801757442112606</c:v>
                </c:pt>
                <c:pt idx="8">
                  <c:v>0.5872659262259123</c:v>
                </c:pt>
                <c:pt idx="9">
                  <c:v>0.6422154737691815</c:v>
                </c:pt>
                <c:pt idx="10">
                  <c:v>0.6356423760043625</c:v>
                </c:pt>
                <c:pt idx="11">
                  <c:v>0.6907950600703807</c:v>
                </c:pt>
                <c:pt idx="12">
                  <c:v>0.7084720220828674</c:v>
                </c:pt>
                <c:pt idx="13">
                  <c:v>0.6957065892902144</c:v>
                </c:pt>
                <c:pt idx="14">
                  <c:v>0.6937287502646919</c:v>
                </c:pt>
                <c:pt idx="15">
                  <c:v>0.6670831843007452</c:v>
                </c:pt>
                <c:pt idx="16">
                  <c:v>0.6646765905119411</c:v>
                </c:pt>
                <c:pt idx="17">
                  <c:v>0.6924965090700755</c:v>
                </c:pt>
                <c:pt idx="18">
                  <c:v>0.7289059517642611</c:v>
                </c:pt>
                <c:pt idx="19">
                  <c:v>0.7124304225121598</c:v>
                </c:pt>
                <c:pt idx="20">
                  <c:v>0.729181094881751</c:v>
                </c:pt>
                <c:pt idx="21">
                  <c:v>0.6848683996151134</c:v>
                </c:pt>
                <c:pt idx="22">
                  <c:v>0.6341387638831162</c:v>
                </c:pt>
                <c:pt idx="23">
                  <c:v>0.578089009368798</c:v>
                </c:pt>
                <c:pt idx="24">
                  <c:v>0.5504477149303872</c:v>
                </c:pt>
                <c:pt idx="25">
                  <c:v>0.5633388966546491</c:v>
                </c:pt>
                <c:pt idx="26">
                  <c:v>0.558625286485241</c:v>
                </c:pt>
                <c:pt idx="27">
                  <c:v>0.565307990854317</c:v>
                </c:pt>
                <c:pt idx="28">
                  <c:v>0.5471123895633113</c:v>
                </c:pt>
                <c:pt idx="29">
                  <c:v>0.5167000002073779</c:v>
                </c:pt>
                <c:pt idx="30">
                  <c:v>0.5309063780838229</c:v>
                </c:pt>
                <c:pt idx="31">
                  <c:v>0.5058574613111042</c:v>
                </c:pt>
                <c:pt idx="32">
                  <c:v>0.5084907867289543</c:v>
                </c:pt>
                <c:pt idx="33">
                  <c:v>0.449904332595932</c:v>
                </c:pt>
                <c:pt idx="34">
                  <c:v>0.4977115700288398</c:v>
                </c:pt>
                <c:pt idx="35">
                  <c:v>0.5777882726580894</c:v>
                </c:pt>
                <c:pt idx="36">
                  <c:v>0.6236710255840298</c:v>
                </c:pt>
                <c:pt idx="37">
                  <c:v>0.5954419201192932</c:v>
                </c:pt>
                <c:pt idx="38">
                  <c:v>0.6119074693527916</c:v>
                </c:pt>
                <c:pt idx="39">
                  <c:v>0.6179979774787887</c:v>
                </c:pt>
                <c:pt idx="40">
                  <c:v>0.6357213376159031</c:v>
                </c:pt>
                <c:pt idx="41">
                  <c:v>0.6054490694351655</c:v>
                </c:pt>
                <c:pt idx="42">
                  <c:v>0.6539167094214804</c:v>
                </c:pt>
                <c:pt idx="43">
                  <c:v>0.6754250161385417</c:v>
                </c:pt>
                <c:pt idx="44">
                  <c:v>0.6290263441206324</c:v>
                </c:pt>
                <c:pt idx="45">
                  <c:v>0.674809964729969</c:v>
                </c:pt>
                <c:pt idx="46">
                  <c:v>0.6684926346378408</c:v>
                </c:pt>
                <c:pt idx="47">
                  <c:v>0.7012891478743088</c:v>
                </c:pt>
                <c:pt idx="48">
                  <c:v>0.6933091230612397</c:v>
                </c:pt>
                <c:pt idx="49">
                  <c:v>0.7292398971270488</c:v>
                </c:pt>
                <c:pt idx="50">
                  <c:v>0.6433388884177862</c:v>
                </c:pt>
                <c:pt idx="51">
                  <c:v>0.6443091654428172</c:v>
                </c:pt>
                <c:pt idx="52">
                  <c:v>0.6515944610147683</c:v>
                </c:pt>
                <c:pt idx="53">
                  <c:v>0.6366011212007705</c:v>
                </c:pt>
                <c:pt idx="54">
                  <c:v>0.6044023664409289</c:v>
                </c:pt>
                <c:pt idx="55">
                  <c:v>0.6137261570954342</c:v>
                </c:pt>
                <c:pt idx="56">
                  <c:v>0.6322350043867656</c:v>
                </c:pt>
                <c:pt idx="57">
                  <c:v>0.6420032340402929</c:v>
                </c:pt>
                <c:pt idx="58">
                  <c:v>0.6143692614489252</c:v>
                </c:pt>
                <c:pt idx="59">
                  <c:v>0.6298900827907213</c:v>
                </c:pt>
                <c:pt idx="60">
                  <c:v>0.6355630345621772</c:v>
                </c:pt>
                <c:pt idx="61">
                  <c:v>0.6560931225427027</c:v>
                </c:pt>
                <c:pt idx="62">
                  <c:v>0.6448591611772044</c:v>
                </c:pt>
                <c:pt idx="63">
                  <c:v>0.6677019783986602</c:v>
                </c:pt>
                <c:pt idx="64">
                  <c:v>0.7252640705846906</c:v>
                </c:pt>
                <c:pt idx="65">
                  <c:v>0.7667297331638805</c:v>
                </c:pt>
                <c:pt idx="66">
                  <c:v>0.7549114807393333</c:v>
                </c:pt>
                <c:pt idx="67">
                  <c:v>0.7711783376594623</c:v>
                </c:pt>
                <c:pt idx="68">
                  <c:v>0.7634356222086514</c:v>
                </c:pt>
                <c:pt idx="69">
                  <c:v>0.796979330063789</c:v>
                </c:pt>
                <c:pt idx="70">
                  <c:v>0.7564290898893838</c:v>
                </c:pt>
                <c:pt idx="71">
                  <c:v>0.7211652283913612</c:v>
                </c:pt>
                <c:pt idx="72">
                  <c:v>0.8250832062300897</c:v>
                </c:pt>
                <c:pt idx="73">
                  <c:v>0.7797686513648507</c:v>
                </c:pt>
                <c:pt idx="74">
                  <c:v>0.7240173256144568</c:v>
                </c:pt>
                <c:pt idx="75">
                  <c:v>0.6634672600032371</c:v>
                </c:pt>
                <c:pt idx="76">
                  <c:v>0.6875840607441494</c:v>
                </c:pt>
                <c:pt idx="77">
                  <c:v>0.7048884966366061</c:v>
                </c:pt>
                <c:pt idx="78">
                  <c:v>0.7248983930800644</c:v>
                </c:pt>
                <c:pt idx="79">
                  <c:v>0.7161305940190824</c:v>
                </c:pt>
                <c:pt idx="80">
                  <c:v>0.7439971497591615</c:v>
                </c:pt>
                <c:pt idx="81">
                  <c:v>0.748938690350522</c:v>
                </c:pt>
                <c:pt idx="82">
                  <c:v>0.7101732629012597</c:v>
                </c:pt>
                <c:pt idx="83">
                  <c:v>0.6591213461604238</c:v>
                </c:pt>
                <c:pt idx="84">
                  <c:v>0.6835252939484642</c:v>
                </c:pt>
                <c:pt idx="85">
                  <c:v>0.6856904109473282</c:v>
                </c:pt>
                <c:pt idx="86">
                  <c:v>0.685544196058243</c:v>
                </c:pt>
                <c:pt idx="87">
                  <c:v>0.710513479103525</c:v>
                </c:pt>
                <c:pt idx="88">
                  <c:v>0.693457763120688</c:v>
                </c:pt>
                <c:pt idx="89">
                  <c:v>0.6327919609996501</c:v>
                </c:pt>
                <c:pt idx="90">
                  <c:v>0.6488414811608498</c:v>
                </c:pt>
                <c:pt idx="91">
                  <c:v>0.6680419212188289</c:v>
                </c:pt>
                <c:pt idx="92">
                  <c:v>0.6968431868360606</c:v>
                </c:pt>
                <c:pt idx="93">
                  <c:v>0.7322558053841205</c:v>
                </c:pt>
                <c:pt idx="94">
                  <c:v>0.7027158535495516</c:v>
                </c:pt>
                <c:pt idx="95">
                  <c:v>0.6835124513481007</c:v>
                </c:pt>
                <c:pt idx="96">
                  <c:v>0.754492715548041</c:v>
                </c:pt>
                <c:pt idx="97">
                  <c:v>0.7656079010606537</c:v>
                </c:pt>
                <c:pt idx="98">
                  <c:v>0.7588190565710526</c:v>
                </c:pt>
                <c:pt idx="99">
                  <c:v>0.7768244563516457</c:v>
                </c:pt>
                <c:pt idx="100">
                  <c:v>0.7804872010078304</c:v>
                </c:pt>
                <c:pt idx="101">
                  <c:v>0.727759640628913</c:v>
                </c:pt>
                <c:pt idx="102">
                  <c:v>0.7287851965886472</c:v>
                </c:pt>
                <c:pt idx="103">
                  <c:v>0.7304874679812137</c:v>
                </c:pt>
                <c:pt idx="104">
                  <c:v>0.7441478732341552</c:v>
                </c:pt>
              </c:numCache>
            </c:numRef>
          </c:xVal>
          <c:yVal>
            <c:numRef>
              <c:f>Sheet1!$B$2:$B$106</c:f>
              <c:numCache>
                <c:formatCode>General</c:formatCode>
                <c:ptCount val="105"/>
                <c:pt idx="0">
                  <c:v>0.29930866205774703</c:v>
                </c:pt>
                <c:pt idx="1">
                  <c:v>0.27897838899803534</c:v>
                </c:pt>
                <c:pt idx="2">
                  <c:v>0.28036951501154733</c:v>
                </c:pt>
                <c:pt idx="3">
                  <c:v>0.28490468830499743</c:v>
                </c:pt>
                <c:pt idx="4">
                  <c:v>0.2857142857142857</c:v>
                </c:pt>
                <c:pt idx="5">
                  <c:v>0.3032544378698225</c:v>
                </c:pt>
                <c:pt idx="6">
                  <c:v>0.30238095238095236</c:v>
                </c:pt>
                <c:pt idx="7">
                  <c:v>0.33180357962368057</c:v>
                </c:pt>
                <c:pt idx="8">
                  <c:v>0.3086312118570183</c:v>
                </c:pt>
                <c:pt idx="9">
                  <c:v>0.2928082191780822</c:v>
                </c:pt>
                <c:pt idx="10">
                  <c:v>0.3063844552394171</c:v>
                </c:pt>
                <c:pt idx="11">
                  <c:v>0.2793783169067475</c:v>
                </c:pt>
                <c:pt idx="12">
                  <c:v>0.2771677394926164</c:v>
                </c:pt>
                <c:pt idx="13">
                  <c:v>0.2634107285828663</c:v>
                </c:pt>
                <c:pt idx="14">
                  <c:v>0.24557066337041616</c:v>
                </c:pt>
                <c:pt idx="15">
                  <c:v>0.22714007782101167</c:v>
                </c:pt>
                <c:pt idx="16">
                  <c:v>0.21159420289855072</c:v>
                </c:pt>
                <c:pt idx="17">
                  <c:v>0.2138364779874214</c:v>
                </c:pt>
                <c:pt idx="18">
                  <c:v>0.1948529411764706</c:v>
                </c:pt>
                <c:pt idx="19">
                  <c:v>0.20658436213991768</c:v>
                </c:pt>
                <c:pt idx="20">
                  <c:v>0.1856360316494218</c:v>
                </c:pt>
                <c:pt idx="21">
                  <c:v>0.18666666666666668</c:v>
                </c:pt>
                <c:pt idx="22">
                  <c:v>0.22214484679665739</c:v>
                </c:pt>
                <c:pt idx="23">
                  <c:v>0.25406661502711075</c:v>
                </c:pt>
                <c:pt idx="24">
                  <c:v>0.25365853658536586</c:v>
                </c:pt>
                <c:pt idx="25">
                  <c:v>0.2398945518453427</c:v>
                </c:pt>
                <c:pt idx="26">
                  <c:v>0.25766283524904215</c:v>
                </c:pt>
                <c:pt idx="27">
                  <c:v>0.24507874015748032</c:v>
                </c:pt>
                <c:pt idx="28">
                  <c:v>0.3131201764057332</c:v>
                </c:pt>
                <c:pt idx="29">
                  <c:v>0.300921187308086</c:v>
                </c:pt>
                <c:pt idx="30">
                  <c:v>0.29506314580941445</c:v>
                </c:pt>
                <c:pt idx="31">
                  <c:v>0.31176470588235294</c:v>
                </c:pt>
                <c:pt idx="32">
                  <c:v>0.29491525423728815</c:v>
                </c:pt>
                <c:pt idx="33">
                  <c:v>0.3057591623036649</c:v>
                </c:pt>
                <c:pt idx="34">
                  <c:v>0.2945091514143095</c:v>
                </c:pt>
                <c:pt idx="35">
                  <c:v>0.28686720469552457</c:v>
                </c:pt>
                <c:pt idx="36">
                  <c:v>0.2777777777777778</c:v>
                </c:pt>
                <c:pt idx="37">
                  <c:v>0.27137870855148344</c:v>
                </c:pt>
                <c:pt idx="38">
                  <c:v>0.279144385026738</c:v>
                </c:pt>
                <c:pt idx="39">
                  <c:v>0.25882352941176473</c:v>
                </c:pt>
                <c:pt idx="40">
                  <c:v>0.25514771709937334</c:v>
                </c:pt>
                <c:pt idx="41">
                  <c:v>0.2609472743521001</c:v>
                </c:pt>
                <c:pt idx="42">
                  <c:v>0.2597173144876325</c:v>
                </c:pt>
                <c:pt idx="43">
                  <c:v>0.2547597461468722</c:v>
                </c:pt>
                <c:pt idx="44">
                  <c:v>0.2440944881889764</c:v>
                </c:pt>
                <c:pt idx="45">
                  <c:v>0.2559264634736333</c:v>
                </c:pt>
                <c:pt idx="46">
                  <c:v>0.26088458880442295</c:v>
                </c:pt>
                <c:pt idx="47">
                  <c:v>0.25880608083055245</c:v>
                </c:pt>
                <c:pt idx="48">
                  <c:v>0.2635475273911756</c:v>
                </c:pt>
                <c:pt idx="49">
                  <c:v>0.25295663600525625</c:v>
                </c:pt>
                <c:pt idx="50">
                  <c:v>0.26382411725516325</c:v>
                </c:pt>
                <c:pt idx="51">
                  <c:v>0.2413657770800628</c:v>
                </c:pt>
                <c:pt idx="52">
                  <c:v>0.24918743228602383</c:v>
                </c:pt>
                <c:pt idx="53">
                  <c:v>0.23671497584541062</c:v>
                </c:pt>
                <c:pt idx="54">
                  <c:v>0.22932692307692307</c:v>
                </c:pt>
                <c:pt idx="55">
                  <c:v>0.22258823529411764</c:v>
                </c:pt>
                <c:pt idx="56">
                  <c:v>0.23115577889447236</c:v>
                </c:pt>
                <c:pt idx="57">
                  <c:v>0.22530864197530864</c:v>
                </c:pt>
                <c:pt idx="58">
                  <c:v>0.2559262510974539</c:v>
                </c:pt>
                <c:pt idx="59">
                  <c:v>0.24693140794223828</c:v>
                </c:pt>
                <c:pt idx="60">
                  <c:v>0.24198931909212282</c:v>
                </c:pt>
                <c:pt idx="61">
                  <c:v>0.2506587615283267</c:v>
                </c:pt>
                <c:pt idx="62">
                  <c:v>0.2646966362779</c:v>
                </c:pt>
                <c:pt idx="63">
                  <c:v>0.2511888111888112</c:v>
                </c:pt>
                <c:pt idx="64">
                  <c:v>0.2525787566211319</c:v>
                </c:pt>
                <c:pt idx="65">
                  <c:v>0.22705458908218357</c:v>
                </c:pt>
                <c:pt idx="66">
                  <c:v>0.23511634935025688</c:v>
                </c:pt>
                <c:pt idx="67">
                  <c:v>0.23416080029640607</c:v>
                </c:pt>
                <c:pt idx="68">
                  <c:v>0.20811945870275314</c:v>
                </c:pt>
                <c:pt idx="69">
                  <c:v>0.21390632544664415</c:v>
                </c:pt>
                <c:pt idx="70">
                  <c:v>0.21224489795918366</c:v>
                </c:pt>
                <c:pt idx="71">
                  <c:v>0.21221281741233375</c:v>
                </c:pt>
                <c:pt idx="72">
                  <c:v>0.1888072357263991</c:v>
                </c:pt>
                <c:pt idx="73">
                  <c:v>0.20543406229290923</c:v>
                </c:pt>
                <c:pt idx="74">
                  <c:v>0.20552147239263804</c:v>
                </c:pt>
                <c:pt idx="75">
                  <c:v>0.23837209302325582</c:v>
                </c:pt>
                <c:pt idx="76">
                  <c:v>0.2434536447275301</c:v>
                </c:pt>
                <c:pt idx="77">
                  <c:v>0.20647419072615922</c:v>
                </c:pt>
                <c:pt idx="78">
                  <c:v>0.23321234119782214</c:v>
                </c:pt>
                <c:pt idx="79">
                  <c:v>0.2147239263803681</c:v>
                </c:pt>
                <c:pt idx="80">
                  <c:v>0.19620774938169827</c:v>
                </c:pt>
                <c:pt idx="81">
                  <c:v>0.2154696132596685</c:v>
                </c:pt>
                <c:pt idx="82">
                  <c:v>0.23159784560143626</c:v>
                </c:pt>
                <c:pt idx="83">
                  <c:v>0.21902874132804756</c:v>
                </c:pt>
                <c:pt idx="84">
                  <c:v>0.23303834808259588</c:v>
                </c:pt>
                <c:pt idx="85">
                  <c:v>0.2300556586270872</c:v>
                </c:pt>
                <c:pt idx="86">
                  <c:v>0.2368827160493827</c:v>
                </c:pt>
                <c:pt idx="87">
                  <c:v>0.25835654596100277</c:v>
                </c:pt>
                <c:pt idx="88">
                  <c:v>0.23592233009708738</c:v>
                </c:pt>
                <c:pt idx="89">
                  <c:v>0.2830578512396694</c:v>
                </c:pt>
                <c:pt idx="90">
                  <c:v>0.27132579650565264</c:v>
                </c:pt>
                <c:pt idx="91">
                  <c:v>0.24672489082969432</c:v>
                </c:pt>
                <c:pt idx="92">
                  <c:v>0.2465986394557823</c:v>
                </c:pt>
                <c:pt idx="93">
                  <c:v>0.23012160898035547</c:v>
                </c:pt>
                <c:pt idx="94">
                  <c:v>0.24559777571825764</c:v>
                </c:pt>
                <c:pt idx="95">
                  <c:v>0.27177472167648986</c:v>
                </c:pt>
                <c:pt idx="96">
                  <c:v>0.23536299765807964</c:v>
                </c:pt>
                <c:pt idx="97">
                  <c:v>0.24711437565582373</c:v>
                </c:pt>
                <c:pt idx="98">
                  <c:v>0.2574772431729519</c:v>
                </c:pt>
                <c:pt idx="99">
                  <c:v>0.2606399502951227</c:v>
                </c:pt>
                <c:pt idx="100">
                  <c:v>0.26386158081006683</c:v>
                </c:pt>
                <c:pt idx="101">
                  <c:v>0.2636893203883495</c:v>
                </c:pt>
                <c:pt idx="102">
                  <c:v>0.2430317848410758</c:v>
                </c:pt>
                <c:pt idx="103">
                  <c:v>0.24392253811289658</c:v>
                </c:pt>
                <c:pt idx="104">
                  <c:v>0.23316536875858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98427465176397</c:v>
                </c:pt>
                <c:pt idx="1">
                  <c:v>0.7164941160227619</c:v>
                </c:pt>
                <c:pt idx="2">
                  <c:v>0.7284384071803889</c:v>
                </c:pt>
                <c:pt idx="3">
                  <c:v>0.6570901163928762</c:v>
                </c:pt>
                <c:pt idx="4">
                  <c:v>0.6912919043802914</c:v>
                </c:pt>
                <c:pt idx="5">
                  <c:v>0.7485112650050543</c:v>
                </c:pt>
                <c:pt idx="6">
                  <c:v>0.734838724894601</c:v>
                </c:pt>
                <c:pt idx="7">
                  <c:v>0.7134001117806175</c:v>
                </c:pt>
                <c:pt idx="8">
                  <c:v>0.7181297579232798</c:v>
                </c:pt>
                <c:pt idx="9">
                  <c:v>0.7280049034519174</c:v>
                </c:pt>
                <c:pt idx="10">
                  <c:v>0.7559122439527428</c:v>
                </c:pt>
                <c:pt idx="11">
                  <c:v>0.7232976456456026</c:v>
                </c:pt>
                <c:pt idx="12">
                  <c:v>0.7287387545297692</c:v>
                </c:pt>
                <c:pt idx="13">
                  <c:v>0.7247404467724127</c:v>
                </c:pt>
                <c:pt idx="14">
                  <c:v>0.726762410684813</c:v>
                </c:pt>
                <c:pt idx="15">
                  <c:v>0.7005266906660327</c:v>
                </c:pt>
                <c:pt idx="16">
                  <c:v>0.7016714225798705</c:v>
                </c:pt>
                <c:pt idx="17">
                  <c:v>0.6403096394381648</c:v>
                </c:pt>
                <c:pt idx="18">
                  <c:v>0.6876717851472209</c:v>
                </c:pt>
                <c:pt idx="19">
                  <c:v>0.680976664216054</c:v>
                </c:pt>
                <c:pt idx="20">
                  <c:v>0.6735572864476612</c:v>
                </c:pt>
                <c:pt idx="21">
                  <c:v>0.6529015295337314</c:v>
                </c:pt>
                <c:pt idx="22">
                  <c:v>0.6750572653345402</c:v>
                </c:pt>
                <c:pt idx="23">
                  <c:v>0.6814008742864632</c:v>
                </c:pt>
                <c:pt idx="24">
                  <c:v>0.6667314124997555</c:v>
                </c:pt>
                <c:pt idx="25">
                  <c:v>0.7069745443324746</c:v>
                </c:pt>
                <c:pt idx="26">
                  <c:v>0.6494276067414247</c:v>
                </c:pt>
                <c:pt idx="27">
                  <c:v>0.6678603591716221</c:v>
                </c:pt>
                <c:pt idx="28">
                  <c:v>0.6992283075735333</c:v>
                </c:pt>
                <c:pt idx="29">
                  <c:v>0.6772907711697989</c:v>
                </c:pt>
                <c:pt idx="30">
                  <c:v>0.6622866066091663</c:v>
                </c:pt>
                <c:pt idx="31">
                  <c:v>0.637762608505336</c:v>
                </c:pt>
                <c:pt idx="32">
                  <c:v>0.6299165166327731</c:v>
                </c:pt>
                <c:pt idx="33">
                  <c:v>0.6611831167018858</c:v>
                </c:pt>
                <c:pt idx="34">
                  <c:v>0.6953182261471134</c:v>
                </c:pt>
                <c:pt idx="35">
                  <c:v>0.6997335705674801</c:v>
                </c:pt>
                <c:pt idx="36">
                  <c:v>0.6206875692753899</c:v>
                </c:pt>
                <c:pt idx="37">
                  <c:v>0.6001877618826679</c:v>
                </c:pt>
                <c:pt idx="38">
                  <c:v>0.6299808004657687</c:v>
                </c:pt>
                <c:pt idx="39">
                  <c:v>0.6580148496974532</c:v>
                </c:pt>
                <c:pt idx="40">
                  <c:v>0.6956099253701542</c:v>
                </c:pt>
                <c:pt idx="41">
                  <c:v>0.7180328385689557</c:v>
                </c:pt>
                <c:pt idx="42">
                  <c:v>0.6948800548520461</c:v>
                </c:pt>
                <c:pt idx="43">
                  <c:v>0.7242013194350312</c:v>
                </c:pt>
                <c:pt idx="44">
                  <c:v>0.7560503051811841</c:v>
                </c:pt>
                <c:pt idx="45">
                  <c:v>0.7607463144817853</c:v>
                </c:pt>
                <c:pt idx="46">
                  <c:v>0.7395985113644173</c:v>
                </c:pt>
                <c:pt idx="47">
                  <c:v>0.7516829644021281</c:v>
                </c:pt>
                <c:pt idx="48">
                  <c:v>0.7697388129504983</c:v>
                </c:pt>
                <c:pt idx="49">
                  <c:v>0.8348226766698377</c:v>
                </c:pt>
                <c:pt idx="50">
                  <c:v>0.8625976984328957</c:v>
                </c:pt>
                <c:pt idx="51">
                  <c:v>0.7852469736207708</c:v>
                </c:pt>
              </c:numCache>
            </c:numRef>
          </c:xVal>
          <c:yVal>
            <c:numRef>
              <c:f>Sheet1!$B$109:$B$160</c:f>
              <c:numCache>
                <c:formatCode>General</c:formatCode>
                <c:ptCount val="52"/>
                <c:pt idx="0">
                  <c:v>0.23790501553484245</c:v>
                </c:pt>
                <c:pt idx="1">
                  <c:v>0.23234984193888303</c:v>
                </c:pt>
                <c:pt idx="2">
                  <c:v>0.2498928418345478</c:v>
                </c:pt>
                <c:pt idx="3">
                  <c:v>0.27041036717062633</c:v>
                </c:pt>
                <c:pt idx="4">
                  <c:v>0.2563391442155309</c:v>
                </c:pt>
                <c:pt idx="5">
                  <c:v>0.24066719618745036</c:v>
                </c:pt>
                <c:pt idx="6">
                  <c:v>0.24121127741037243</c:v>
                </c:pt>
                <c:pt idx="7">
                  <c:v>0.24906811250423586</c:v>
                </c:pt>
                <c:pt idx="8">
                  <c:v>0.24390243902439024</c:v>
                </c:pt>
                <c:pt idx="9">
                  <c:v>0.25175644028103045</c:v>
                </c:pt>
                <c:pt idx="10">
                  <c:v>0.24889170360987967</c:v>
                </c:pt>
                <c:pt idx="11">
                  <c:v>0.247568988173456</c:v>
                </c:pt>
                <c:pt idx="12">
                  <c:v>0.2422447828539199</c:v>
                </c:pt>
                <c:pt idx="13">
                  <c:v>0.2514792899408284</c:v>
                </c:pt>
                <c:pt idx="14">
                  <c:v>0.24990879241152864</c:v>
                </c:pt>
                <c:pt idx="15">
                  <c:v>0.2384678747940692</c:v>
                </c:pt>
                <c:pt idx="16">
                  <c:v>0.2356687898089172</c:v>
                </c:pt>
                <c:pt idx="17">
                  <c:v>0.2655099894847529</c:v>
                </c:pt>
                <c:pt idx="18">
                  <c:v>0.2397147558968733</c:v>
                </c:pt>
                <c:pt idx="19">
                  <c:v>0.23819163292847503</c:v>
                </c:pt>
                <c:pt idx="20">
                  <c:v>0.2398989898989899</c:v>
                </c:pt>
                <c:pt idx="21">
                  <c:v>0.2444267515923567</c:v>
                </c:pt>
                <c:pt idx="22">
                  <c:v>0.22842639593908629</c:v>
                </c:pt>
                <c:pt idx="23">
                  <c:v>0.2523230879199428</c:v>
                </c:pt>
                <c:pt idx="24">
                  <c:v>0.24049707602339182</c:v>
                </c:pt>
                <c:pt idx="25">
                  <c:v>0.2507530120481928</c:v>
                </c:pt>
                <c:pt idx="26">
                  <c:v>0.2695439739413681</c:v>
                </c:pt>
                <c:pt idx="27">
                  <c:v>0.27239488117001825</c:v>
                </c:pt>
                <c:pt idx="28">
                  <c:v>0.23055809698078683</c:v>
                </c:pt>
                <c:pt idx="29">
                  <c:v>0.24491869918699186</c:v>
                </c:pt>
                <c:pt idx="30">
                  <c:v>0.25231719876416064</c:v>
                </c:pt>
                <c:pt idx="31">
                  <c:v>0.23353293413173654</c:v>
                </c:pt>
                <c:pt idx="32">
                  <c:v>0.22662266226622663</c:v>
                </c:pt>
                <c:pt idx="33">
                  <c:v>0.23491552695092519</c:v>
                </c:pt>
                <c:pt idx="34">
                  <c:v>0.2719836400817996</c:v>
                </c:pt>
                <c:pt idx="35">
                  <c:v>0.2552166934189406</c:v>
                </c:pt>
                <c:pt idx="36">
                  <c:v>0.2561105207226355</c:v>
                </c:pt>
                <c:pt idx="37">
                  <c:v>0.2606741573033708</c:v>
                </c:pt>
                <c:pt idx="38">
                  <c:v>0.2652838427947598</c:v>
                </c:pt>
                <c:pt idx="39">
                  <c:v>0.24670433145009416</c:v>
                </c:pt>
                <c:pt idx="40">
                  <c:v>0.250814332247557</c:v>
                </c:pt>
                <c:pt idx="41">
                  <c:v>0.25404944586530265</c:v>
                </c:pt>
                <c:pt idx="42">
                  <c:v>0.22850503485670023</c:v>
                </c:pt>
                <c:pt idx="43">
                  <c:v>0.2292909211398277</c:v>
                </c:pt>
                <c:pt idx="44">
                  <c:v>0.23443983402489627</c:v>
                </c:pt>
                <c:pt idx="45">
                  <c:v>0.26033519553072626</c:v>
                </c:pt>
                <c:pt idx="46">
                  <c:v>0.2704995287464656</c:v>
                </c:pt>
                <c:pt idx="47">
                  <c:v>0.2669902912621359</c:v>
                </c:pt>
                <c:pt idx="48">
                  <c:v>0.2649828767123288</c:v>
                </c:pt>
                <c:pt idx="49">
                  <c:v>0.25645813881108</c:v>
                </c:pt>
                <c:pt idx="50">
                  <c:v>0.2403700906344411</c:v>
                </c:pt>
                <c:pt idx="51">
                  <c:v>0.2491830065359477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5954430408366735</c:v>
                </c:pt>
              </c:numCache>
            </c:numRef>
          </c:xVal>
          <c:yVal>
            <c:numRef>
              <c:f>Sheet1!$B$163:$B$164</c:f>
              <c:numCache>
                <c:formatCode>General</c:formatCode>
                <c:ptCount val="2"/>
                <c:pt idx="0">
                  <c:v>0.2972606357575652</c:v>
                </c:pt>
                <c:pt idx="1">
                  <c:v>0.29726063575756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5954430408366735</c:v>
                </c:pt>
                <c:pt idx="1">
                  <c:v>-3.5954430408366735</c:v>
                </c:pt>
              </c:numCache>
            </c:numRef>
          </c:xVal>
          <c:yVal>
            <c:numRef>
              <c:f>Sheet1!$B$167:$B$168</c:f>
              <c:numCache>
                <c:formatCode>General</c:formatCode>
                <c:ptCount val="2"/>
                <c:pt idx="0">
                  <c:v>0.29726063575756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1708486604575625</c:v>
                </c:pt>
              </c:numCache>
            </c:numRef>
          </c:xVal>
          <c:yVal>
            <c:numRef>
              <c:f>Sheet1!$B$171:$B$172</c:f>
              <c:numCache>
                <c:formatCode>General</c:formatCode>
                <c:ptCount val="2"/>
                <c:pt idx="0">
                  <c:v>0.2527485281734494</c:v>
                </c:pt>
                <c:pt idx="1">
                  <c:v>0.252748528173449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1708486604575625</c:v>
                </c:pt>
                <c:pt idx="1">
                  <c:v>0.31708486604575625</c:v>
                </c:pt>
              </c:numCache>
            </c:numRef>
          </c:xVal>
          <c:yVal>
            <c:numRef>
              <c:f>Sheet1!$B$175:$B$176</c:f>
              <c:numCache>
                <c:formatCode>General</c:formatCode>
                <c:ptCount val="2"/>
                <c:pt idx="0">
                  <c:v>0.25274852817344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409398485232857</c:v>
                </c:pt>
              </c:numCache>
            </c:numRef>
          </c:xVal>
          <c:yVal>
            <c:numRef>
              <c:f>Sheet1!$B$179:$B$180</c:f>
              <c:numCache>
                <c:formatCode>General</c:formatCode>
                <c:ptCount val="2"/>
                <c:pt idx="0">
                  <c:v>0.2502017713705772</c:v>
                </c:pt>
                <c:pt idx="1">
                  <c:v>0.25020177137057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409398485232857</c:v>
                </c:pt>
                <c:pt idx="1">
                  <c:v>0.5409398485232857</c:v>
                </c:pt>
              </c:numCache>
            </c:numRef>
          </c:xVal>
          <c:yVal>
            <c:numRef>
              <c:f>Sheet1!$B$183:$B$184</c:f>
              <c:numCache>
                <c:formatCode>General</c:formatCode>
                <c:ptCount val="2"/>
                <c:pt idx="0">
                  <c:v>0.25020177137057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98427465176397</c:v>
                </c:pt>
                <c:pt idx="1">
                  <c:v>0.7164941160227619</c:v>
                </c:pt>
                <c:pt idx="2">
                  <c:v>0.7284384071803889</c:v>
                </c:pt>
                <c:pt idx="3">
                  <c:v>0.6570901163928762</c:v>
                </c:pt>
                <c:pt idx="4">
                  <c:v>0.6912919043802914</c:v>
                </c:pt>
                <c:pt idx="5">
                  <c:v>0.7485112650050543</c:v>
                </c:pt>
                <c:pt idx="6">
                  <c:v>0.734838724894601</c:v>
                </c:pt>
                <c:pt idx="7">
                  <c:v>0.7134001117806175</c:v>
                </c:pt>
                <c:pt idx="8">
                  <c:v>0.7181297579232798</c:v>
                </c:pt>
                <c:pt idx="9">
                  <c:v>0.7280049034519174</c:v>
                </c:pt>
                <c:pt idx="10">
                  <c:v>0.7559122439527428</c:v>
                </c:pt>
                <c:pt idx="11">
                  <c:v>0.7232976456456026</c:v>
                </c:pt>
                <c:pt idx="12">
                  <c:v>0.7287387545297692</c:v>
                </c:pt>
                <c:pt idx="13">
                  <c:v>0.7247404467724127</c:v>
                </c:pt>
                <c:pt idx="14">
                  <c:v>0.726762410684813</c:v>
                </c:pt>
                <c:pt idx="15">
                  <c:v>0.7005266906660327</c:v>
                </c:pt>
                <c:pt idx="16">
                  <c:v>0.7016714225798705</c:v>
                </c:pt>
                <c:pt idx="17">
                  <c:v>0.6403096394381648</c:v>
                </c:pt>
                <c:pt idx="18">
                  <c:v>0.6876717851472209</c:v>
                </c:pt>
                <c:pt idx="19">
                  <c:v>0.680976664216054</c:v>
                </c:pt>
                <c:pt idx="20">
                  <c:v>0.6735572864476612</c:v>
                </c:pt>
                <c:pt idx="21">
                  <c:v>0.6529015295337314</c:v>
                </c:pt>
                <c:pt idx="22">
                  <c:v>0.6750572653345402</c:v>
                </c:pt>
                <c:pt idx="23">
                  <c:v>0.6814008742864632</c:v>
                </c:pt>
                <c:pt idx="24">
                  <c:v>0.6667314124997555</c:v>
                </c:pt>
                <c:pt idx="25">
                  <c:v>0.7069745443324746</c:v>
                </c:pt>
                <c:pt idx="26">
                  <c:v>0.6494276067414247</c:v>
                </c:pt>
                <c:pt idx="27">
                  <c:v>0.6678603591716221</c:v>
                </c:pt>
                <c:pt idx="28">
                  <c:v>0.6992283075735333</c:v>
                </c:pt>
                <c:pt idx="29">
                  <c:v>0.6772907711697989</c:v>
                </c:pt>
                <c:pt idx="30">
                  <c:v>0.6622866066091663</c:v>
                </c:pt>
                <c:pt idx="31">
                  <c:v>0.637762608505336</c:v>
                </c:pt>
                <c:pt idx="32">
                  <c:v>0.6299165166327731</c:v>
                </c:pt>
                <c:pt idx="33">
                  <c:v>0.6611831167018858</c:v>
                </c:pt>
                <c:pt idx="34">
                  <c:v>0.6953182261471134</c:v>
                </c:pt>
                <c:pt idx="35">
                  <c:v>0.6997335705674801</c:v>
                </c:pt>
                <c:pt idx="36">
                  <c:v>0.6206875692753899</c:v>
                </c:pt>
                <c:pt idx="37">
                  <c:v>0.6001877618826679</c:v>
                </c:pt>
                <c:pt idx="38">
                  <c:v>0.6299808004657687</c:v>
                </c:pt>
                <c:pt idx="39">
                  <c:v>0.6580148496974532</c:v>
                </c:pt>
                <c:pt idx="40">
                  <c:v>0.6956099253701542</c:v>
                </c:pt>
                <c:pt idx="41">
                  <c:v>0.7180328385689557</c:v>
                </c:pt>
                <c:pt idx="42">
                  <c:v>0.6948800548520461</c:v>
                </c:pt>
                <c:pt idx="43">
                  <c:v>0.7242013194350312</c:v>
                </c:pt>
                <c:pt idx="44">
                  <c:v>0.7560503051811841</c:v>
                </c:pt>
                <c:pt idx="45">
                  <c:v>0.7607463144817853</c:v>
                </c:pt>
                <c:pt idx="46">
                  <c:v>0.7395985113644173</c:v>
                </c:pt>
                <c:pt idx="47">
                  <c:v>0.7516829644021281</c:v>
                </c:pt>
                <c:pt idx="48">
                  <c:v>0.7697388129504983</c:v>
                </c:pt>
                <c:pt idx="49">
                  <c:v>0.8348226766698377</c:v>
                </c:pt>
                <c:pt idx="50">
                  <c:v>0.8625976984328957</c:v>
                </c:pt>
                <c:pt idx="51">
                  <c:v>0.7852469736207708</c:v>
                </c:pt>
                <c:pt idx="52">
                  <c:v>0.31708486604575625</c:v>
                </c:pt>
                <c:pt idx="53">
                  <c:v>-3.5954430408366735</c:v>
                </c:pt>
                <c:pt idx="54">
                  <c:v>0.5409398485232857</c:v>
                </c:pt>
              </c:numCache>
            </c:numRef>
          </c:xVal>
          <c:yVal>
            <c:numRef>
              <c:f>Sheet1!$B$187:$B$241</c:f>
              <c:numCache>
                <c:formatCode>General</c:formatCode>
                <c:ptCount val="55"/>
                <c:pt idx="0">
                  <c:v>0.24782512167210446</c:v>
                </c:pt>
                <c:pt idx="1">
                  <c:v>0.24820452288372516</c:v>
                </c:pt>
                <c:pt idx="2">
                  <c:v>0.24806863488862893</c:v>
                </c:pt>
                <c:pt idx="3">
                  <c:v>0.24888035121910926</c:v>
                </c:pt>
                <c:pt idx="4">
                  <c:v>0.2484912437922237</c:v>
                </c:pt>
                <c:pt idx="5">
                  <c:v>0.24784026969142728</c:v>
                </c:pt>
                <c:pt idx="6">
                  <c:v>0.24799581965575446</c:v>
                </c:pt>
                <c:pt idx="7">
                  <c:v>0.24823972279870846</c:v>
                </c:pt>
                <c:pt idx="8">
                  <c:v>0.24818591448782928</c:v>
                </c:pt>
                <c:pt idx="9">
                  <c:v>0.24807356678050524</c:v>
                </c:pt>
                <c:pt idx="10">
                  <c:v>0.24775607012046247</c:v>
                </c:pt>
                <c:pt idx="11">
                  <c:v>0.2481271203834156</c:v>
                </c:pt>
                <c:pt idx="12">
                  <c:v>0.2480652178922914</c:v>
                </c:pt>
                <c:pt idx="13">
                  <c:v>0.24811070590139592</c:v>
                </c:pt>
                <c:pt idx="14">
                  <c:v>0.24808770239130168</c:v>
                </c:pt>
                <c:pt idx="15">
                  <c:v>0.24838618133376963</c:v>
                </c:pt>
                <c:pt idx="16">
                  <c:v>0.2483731579301502</c:v>
                </c:pt>
                <c:pt idx="17">
                  <c:v>0.24907125960706147</c:v>
                </c:pt>
                <c:pt idx="18">
                  <c:v>0.24853242922031646</c:v>
                </c:pt>
                <c:pt idx="19">
                  <c:v>0.24860859837495752</c:v>
                </c:pt>
                <c:pt idx="20">
                  <c:v>0.2486930072659083</c:v>
                </c:pt>
                <c:pt idx="21">
                  <c:v>0.24892800399842152</c:v>
                </c:pt>
                <c:pt idx="22">
                  <c:v>0.24867594228306963</c:v>
                </c:pt>
                <c:pt idx="23">
                  <c:v>0.24860377221531296</c:v>
                </c:pt>
                <c:pt idx="24">
                  <c:v>0.24877066397347844</c:v>
                </c:pt>
                <c:pt idx="25">
                  <c:v>0.24831282529314372</c:v>
                </c:pt>
                <c:pt idx="26">
                  <c:v>0.24896752617660153</c:v>
                </c:pt>
                <c:pt idx="27">
                  <c:v>0.24875782015564227</c:v>
                </c:pt>
                <c:pt idx="28">
                  <c:v>0.24840095279847846</c:v>
                </c:pt>
                <c:pt idx="29">
                  <c:v>0.24865053209957833</c:v>
                </c:pt>
                <c:pt idx="30">
                  <c:v>0.24882123170940293</c:v>
                </c:pt>
                <c:pt idx="31">
                  <c:v>0.2491002367076983</c:v>
                </c:pt>
                <c:pt idx="32">
                  <c:v>0.24918950024622336</c:v>
                </c:pt>
                <c:pt idx="33">
                  <c:v>0.24883378591032873</c:v>
                </c:pt>
                <c:pt idx="34">
                  <c:v>0.24844543707290606</c:v>
                </c:pt>
                <c:pt idx="35">
                  <c:v>0.2483952045146885</c:v>
                </c:pt>
                <c:pt idx="36">
                  <c:v>0.2492944962762676</c:v>
                </c:pt>
                <c:pt idx="37">
                  <c:v>0.2495277187998727</c:v>
                </c:pt>
                <c:pt idx="38">
                  <c:v>0.24918876890092478</c:v>
                </c:pt>
                <c:pt idx="39">
                  <c:v>0.24886983069904664</c:v>
                </c:pt>
                <c:pt idx="40">
                  <c:v>0.24844211846470513</c:v>
                </c:pt>
                <c:pt idx="41">
                  <c:v>0.24818701712142816</c:v>
                </c:pt>
                <c:pt idx="42">
                  <c:v>0.24845042206682572</c:v>
                </c:pt>
                <c:pt idx="43">
                  <c:v>0.24811683945356838</c:v>
                </c:pt>
                <c:pt idx="44">
                  <c:v>0.24775449942335825</c:v>
                </c:pt>
                <c:pt idx="45">
                  <c:v>0.24770107379262046</c:v>
                </c:pt>
                <c:pt idx="46">
                  <c:v>0.2479416684439384</c:v>
                </c:pt>
                <c:pt idx="47">
                  <c:v>0.24780418585301206</c:v>
                </c:pt>
                <c:pt idx="48">
                  <c:v>0.2475987677979245</c:v>
                </c:pt>
                <c:pt idx="49">
                  <c:v>0.2468583206975296</c:v>
                </c:pt>
                <c:pt idx="50">
                  <c:v>0.24654232940333498</c:v>
                </c:pt>
                <c:pt idx="51">
                  <c:v>0.2474223343174188</c:v>
                </c:pt>
                <c:pt idx="52">
                  <c:v>0.2527485281734494</c:v>
                </c:pt>
                <c:pt idx="53">
                  <c:v>0.2972606357575652</c:v>
                </c:pt>
                <c:pt idx="54">
                  <c:v>0.25020177137057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16429554841665"/>
          <c:min val="0.148508825319537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6.6929</c:v>
                </c:pt>
                <c:pt idx="1">
                  <c:v>887.0352</c:v>
                </c:pt>
                <c:pt idx="2">
                  <c:v>960.5041</c:v>
                </c:pt>
                <c:pt idx="3">
                  <c:v>968.7179</c:v>
                </c:pt>
                <c:pt idx="4">
                  <c:v>978.4831</c:v>
                </c:pt>
                <c:pt idx="5">
                  <c:v>968.1659</c:v>
                </c:pt>
                <c:pt idx="6">
                  <c:v>940.8472</c:v>
                </c:pt>
                <c:pt idx="7">
                  <c:v>930.5104</c:v>
                </c:pt>
                <c:pt idx="8">
                  <c:v>933.5777</c:v>
                </c:pt>
                <c:pt idx="9">
                  <c:v>927.0959</c:v>
                </c:pt>
                <c:pt idx="10">
                  <c:v>907.8369</c:v>
                </c:pt>
                <c:pt idx="11">
                  <c:v>962.4898</c:v>
                </c:pt>
                <c:pt idx="12">
                  <c:v>984.8279</c:v>
                </c:pt>
                <c:pt idx="13">
                  <c:v>977.2827</c:v>
                </c:pt>
                <c:pt idx="14">
                  <c:v>985.1275</c:v>
                </c:pt>
                <c:pt idx="15">
                  <c:v>991.6403</c:v>
                </c:pt>
                <c:pt idx="16">
                  <c:v>1026.9918</c:v>
                </c:pt>
                <c:pt idx="17">
                  <c:v>1048.1882</c:v>
                </c:pt>
                <c:pt idx="18">
                  <c:v>1086.8428</c:v>
                </c:pt>
                <c:pt idx="19">
                  <c:v>1100.4263</c:v>
                </c:pt>
                <c:pt idx="20">
                  <c:v>1128.9049</c:v>
                </c:pt>
                <c:pt idx="21">
                  <c:v>1143.373</c:v>
                </c:pt>
                <c:pt idx="22">
                  <c:v>1101.3918</c:v>
                </c:pt>
                <c:pt idx="23">
                  <c:v>1073.8841</c:v>
                </c:pt>
                <c:pt idx="24">
                  <c:v>1088.9391</c:v>
                </c:pt>
                <c:pt idx="25">
                  <c:v>1089.4505</c:v>
                </c:pt>
                <c:pt idx="26">
                  <c:v>1107.461</c:v>
                </c:pt>
                <c:pt idx="27">
                  <c:v>1106.4498</c:v>
                </c:pt>
                <c:pt idx="28">
                  <c:v>1085.7923</c:v>
                </c:pt>
                <c:pt idx="29">
                  <c:v>1046.466</c:v>
                </c:pt>
                <c:pt idx="30">
                  <c:v>1063.9805</c:v>
                </c:pt>
                <c:pt idx="31">
                  <c:v>1041.7019</c:v>
                </c:pt>
                <c:pt idx="32">
                  <c:v>1027.4904</c:v>
                </c:pt>
                <c:pt idx="33">
                  <c:v>939.3836</c:v>
                </c:pt>
                <c:pt idx="34">
                  <c:v>984.1441</c:v>
                </c:pt>
                <c:pt idx="35">
                  <c:v>1051.5371</c:v>
                </c:pt>
                <c:pt idx="36">
                  <c:v>1125.9438</c:v>
                </c:pt>
                <c:pt idx="37">
                  <c:v>1115.5209</c:v>
                </c:pt>
                <c:pt idx="38">
                  <c:v>1184.4483</c:v>
                </c:pt>
                <c:pt idx="39">
                  <c:v>1220.2773</c:v>
                </c:pt>
                <c:pt idx="40">
                  <c:v>1199.6246</c:v>
                </c:pt>
                <c:pt idx="41">
                  <c:v>1232.2226</c:v>
                </c:pt>
                <c:pt idx="42">
                  <c:v>1265.881</c:v>
                </c:pt>
                <c:pt idx="43">
                  <c:v>1303.6797</c:v>
                </c:pt>
                <c:pt idx="44">
                  <c:v>1236.044</c:v>
                </c:pt>
                <c:pt idx="45">
                  <c:v>1194.5293</c:v>
                </c:pt>
                <c:pt idx="46">
                  <c:v>1143.8649</c:v>
                </c:pt>
                <c:pt idx="47">
                  <c:v>1138.096</c:v>
                </c:pt>
                <c:pt idx="48">
                  <c:v>1124.7461</c:v>
                </c:pt>
                <c:pt idx="49">
                  <c:v>1070.0032</c:v>
                </c:pt>
                <c:pt idx="50">
                  <c:v>1055.3068</c:v>
                </c:pt>
                <c:pt idx="51">
                  <c:v>1093.1089</c:v>
                </c:pt>
                <c:pt idx="52">
                  <c:v>1090.4043</c:v>
                </c:pt>
                <c:pt idx="53">
                  <c:v>1204.4653</c:v>
                </c:pt>
                <c:pt idx="54">
                  <c:v>1163.434</c:v>
                </c:pt>
                <c:pt idx="55">
                  <c:v>1184.0782</c:v>
                </c:pt>
                <c:pt idx="56">
                  <c:v>1205.8794</c:v>
                </c:pt>
                <c:pt idx="57">
                  <c:v>1194.1429</c:v>
                </c:pt>
                <c:pt idx="58">
                  <c:v>1155.6123</c:v>
                </c:pt>
                <c:pt idx="59">
                  <c:v>1162.6959</c:v>
                </c:pt>
                <c:pt idx="60">
                  <c:v>1183.2938</c:v>
                </c:pt>
                <c:pt idx="61">
                  <c:v>1170.8857</c:v>
                </c:pt>
                <c:pt idx="62">
                  <c:v>1142.652</c:v>
                </c:pt>
                <c:pt idx="63">
                  <c:v>1164.3753</c:v>
                </c:pt>
                <c:pt idx="64">
                  <c:v>1160.181</c:v>
                </c:pt>
                <c:pt idx="65">
                  <c:v>1175.4663</c:v>
                </c:pt>
                <c:pt idx="66">
                  <c:v>1161.7905</c:v>
                </c:pt>
                <c:pt idx="67">
                  <c:v>1167.5475</c:v>
                </c:pt>
                <c:pt idx="68">
                  <c:v>1192.4798</c:v>
                </c:pt>
                <c:pt idx="69">
                  <c:v>1227.1129</c:v>
                </c:pt>
                <c:pt idx="70">
                  <c:v>1244.6226</c:v>
                </c:pt>
                <c:pt idx="71">
                  <c:v>1287.8291</c:v>
                </c:pt>
                <c:pt idx="72">
                  <c:v>1384.1916</c:v>
                </c:pt>
                <c:pt idx="73">
                  <c:v>1348.5645</c:v>
                </c:pt>
                <c:pt idx="74">
                  <c:v>1335.3373</c:v>
                </c:pt>
                <c:pt idx="75">
                  <c:v>1246.1189</c:v>
                </c:pt>
                <c:pt idx="76">
                  <c:v>1283.9942</c:v>
                </c:pt>
                <c:pt idx="77">
                  <c:v>1326.1271</c:v>
                </c:pt>
                <c:pt idx="78">
                  <c:v>1341.7198</c:v>
                </c:pt>
                <c:pt idx="79">
                  <c:v>1352.5464</c:v>
                </c:pt>
                <c:pt idx="80">
                  <c:v>1331.042</c:v>
                </c:pt>
                <c:pt idx="81">
                  <c:v>1321.7628</c:v>
                </c:pt>
                <c:pt idx="82">
                  <c:v>1310.8023</c:v>
                </c:pt>
                <c:pt idx="83">
                  <c:v>1250.638</c:v>
                </c:pt>
                <c:pt idx="84">
                  <c:v>1274.3122</c:v>
                </c:pt>
                <c:pt idx="85">
                  <c:v>1265.8266</c:v>
                </c:pt>
                <c:pt idx="86">
                  <c:v>1248.9674</c:v>
                </c:pt>
                <c:pt idx="87">
                  <c:v>1234.1644</c:v>
                </c:pt>
                <c:pt idx="88">
                  <c:v>1308.3374</c:v>
                </c:pt>
                <c:pt idx="89">
                  <c:v>1285.4453</c:v>
                </c:pt>
                <c:pt idx="90">
                  <c:v>1357.4848</c:v>
                </c:pt>
                <c:pt idx="91">
                  <c:v>1334.5088</c:v>
                </c:pt>
                <c:pt idx="92">
                  <c:v>1308.6483</c:v>
                </c:pt>
                <c:pt idx="93">
                  <c:v>1337.1992</c:v>
                </c:pt>
                <c:pt idx="94">
                  <c:v>1294.283</c:v>
                </c:pt>
                <c:pt idx="95">
                  <c:v>1213.2048</c:v>
                </c:pt>
                <c:pt idx="96">
                  <c:v>1285.4478</c:v>
                </c:pt>
                <c:pt idx="97">
                  <c:v>1243.4904</c:v>
                </c:pt>
                <c:pt idx="98">
                  <c:v>1183.1616</c:v>
                </c:pt>
                <c:pt idx="99">
                  <c:v>1153.4267</c:v>
                </c:pt>
                <c:pt idx="100">
                  <c:v>1128.5514</c:v>
                </c:pt>
                <c:pt idx="101">
                  <c:v>1181.8925</c:v>
                </c:pt>
                <c:pt idx="102">
                  <c:v>1179.1469</c:v>
                </c:pt>
                <c:pt idx="103">
                  <c:v>1153.9493</c:v>
                </c:pt>
                <c:pt idx="104">
                  <c:v>1224.8546</c:v>
                </c:pt>
              </c:numCache>
            </c:numRef>
          </c:xVal>
          <c:yVal>
            <c:numRef>
              <c:f>Sheet1!$B$2:$B$106</c:f>
              <c:numCache>
                <c:formatCode>General</c:formatCode>
                <c:ptCount val="105"/>
                <c:pt idx="0">
                  <c:v>0.29930866205774703</c:v>
                </c:pt>
                <c:pt idx="1">
                  <c:v>0.27897838899803534</c:v>
                </c:pt>
                <c:pt idx="2">
                  <c:v>0.28036951501154733</c:v>
                </c:pt>
                <c:pt idx="3">
                  <c:v>0.28490468830499743</c:v>
                </c:pt>
                <c:pt idx="4">
                  <c:v>0.2857142857142857</c:v>
                </c:pt>
                <c:pt idx="5">
                  <c:v>0.3032544378698225</c:v>
                </c:pt>
                <c:pt idx="6">
                  <c:v>0.30238095238095236</c:v>
                </c:pt>
                <c:pt idx="7">
                  <c:v>0.33180357962368057</c:v>
                </c:pt>
                <c:pt idx="8">
                  <c:v>0.3086312118570183</c:v>
                </c:pt>
                <c:pt idx="9">
                  <c:v>0.2928082191780822</c:v>
                </c:pt>
                <c:pt idx="10">
                  <c:v>0.3063844552394171</c:v>
                </c:pt>
                <c:pt idx="11">
                  <c:v>0.2793783169067475</c:v>
                </c:pt>
                <c:pt idx="12">
                  <c:v>0.2771677394926164</c:v>
                </c:pt>
                <c:pt idx="13">
                  <c:v>0.2634107285828663</c:v>
                </c:pt>
                <c:pt idx="14">
                  <c:v>0.24557066337041616</c:v>
                </c:pt>
                <c:pt idx="15">
                  <c:v>0.22714007782101167</c:v>
                </c:pt>
                <c:pt idx="16">
                  <c:v>0.21159420289855072</c:v>
                </c:pt>
                <c:pt idx="17">
                  <c:v>0.2138364779874214</c:v>
                </c:pt>
                <c:pt idx="18">
                  <c:v>0.1948529411764706</c:v>
                </c:pt>
                <c:pt idx="19">
                  <c:v>0.20658436213991768</c:v>
                </c:pt>
                <c:pt idx="20">
                  <c:v>0.1856360316494218</c:v>
                </c:pt>
                <c:pt idx="21">
                  <c:v>0.18666666666666668</c:v>
                </c:pt>
                <c:pt idx="22">
                  <c:v>0.22214484679665739</c:v>
                </c:pt>
                <c:pt idx="23">
                  <c:v>0.25406661502711075</c:v>
                </c:pt>
                <c:pt idx="24">
                  <c:v>0.25365853658536586</c:v>
                </c:pt>
                <c:pt idx="25">
                  <c:v>0.2398945518453427</c:v>
                </c:pt>
                <c:pt idx="26">
                  <c:v>0.25766283524904215</c:v>
                </c:pt>
                <c:pt idx="27">
                  <c:v>0.24507874015748032</c:v>
                </c:pt>
                <c:pt idx="28">
                  <c:v>0.3131201764057332</c:v>
                </c:pt>
                <c:pt idx="29">
                  <c:v>0.300921187308086</c:v>
                </c:pt>
                <c:pt idx="30">
                  <c:v>0.29506314580941445</c:v>
                </c:pt>
                <c:pt idx="31">
                  <c:v>0.31176470588235294</c:v>
                </c:pt>
                <c:pt idx="32">
                  <c:v>0.29491525423728815</c:v>
                </c:pt>
                <c:pt idx="33">
                  <c:v>0.3057591623036649</c:v>
                </c:pt>
                <c:pt idx="34">
                  <c:v>0.2945091514143095</c:v>
                </c:pt>
                <c:pt idx="35">
                  <c:v>0.28686720469552457</c:v>
                </c:pt>
                <c:pt idx="36">
                  <c:v>0.2777777777777778</c:v>
                </c:pt>
                <c:pt idx="37">
                  <c:v>0.27137870855148344</c:v>
                </c:pt>
                <c:pt idx="38">
                  <c:v>0.279144385026738</c:v>
                </c:pt>
                <c:pt idx="39">
                  <c:v>0.25882352941176473</c:v>
                </c:pt>
                <c:pt idx="40">
                  <c:v>0.25514771709937334</c:v>
                </c:pt>
                <c:pt idx="41">
                  <c:v>0.2609472743521001</c:v>
                </c:pt>
                <c:pt idx="42">
                  <c:v>0.2597173144876325</c:v>
                </c:pt>
                <c:pt idx="43">
                  <c:v>0.2547597461468722</c:v>
                </c:pt>
                <c:pt idx="44">
                  <c:v>0.2440944881889764</c:v>
                </c:pt>
                <c:pt idx="45">
                  <c:v>0.2559264634736333</c:v>
                </c:pt>
                <c:pt idx="46">
                  <c:v>0.26088458880442295</c:v>
                </c:pt>
                <c:pt idx="47">
                  <c:v>0.25880608083055245</c:v>
                </c:pt>
                <c:pt idx="48">
                  <c:v>0.2635475273911756</c:v>
                </c:pt>
                <c:pt idx="49">
                  <c:v>0.25295663600525625</c:v>
                </c:pt>
                <c:pt idx="50">
                  <c:v>0.26382411725516325</c:v>
                </c:pt>
                <c:pt idx="51">
                  <c:v>0.2413657770800628</c:v>
                </c:pt>
                <c:pt idx="52">
                  <c:v>0.24918743228602383</c:v>
                </c:pt>
                <c:pt idx="53">
                  <c:v>0.23671497584541062</c:v>
                </c:pt>
                <c:pt idx="54">
                  <c:v>0.22932692307692307</c:v>
                </c:pt>
                <c:pt idx="55">
                  <c:v>0.22258823529411764</c:v>
                </c:pt>
                <c:pt idx="56">
                  <c:v>0.23115577889447236</c:v>
                </c:pt>
                <c:pt idx="57">
                  <c:v>0.22530864197530864</c:v>
                </c:pt>
                <c:pt idx="58">
                  <c:v>0.2559262510974539</c:v>
                </c:pt>
                <c:pt idx="59">
                  <c:v>0.24693140794223828</c:v>
                </c:pt>
                <c:pt idx="60">
                  <c:v>0.24198931909212282</c:v>
                </c:pt>
                <c:pt idx="61">
                  <c:v>0.2506587615283267</c:v>
                </c:pt>
                <c:pt idx="62">
                  <c:v>0.2646966362779</c:v>
                </c:pt>
                <c:pt idx="63">
                  <c:v>0.2511888111888112</c:v>
                </c:pt>
                <c:pt idx="64">
                  <c:v>0.2525787566211319</c:v>
                </c:pt>
                <c:pt idx="65">
                  <c:v>0.22705458908218357</c:v>
                </c:pt>
                <c:pt idx="66">
                  <c:v>0.23511634935025688</c:v>
                </c:pt>
                <c:pt idx="67">
                  <c:v>0.23416080029640607</c:v>
                </c:pt>
                <c:pt idx="68">
                  <c:v>0.20811945870275314</c:v>
                </c:pt>
                <c:pt idx="69">
                  <c:v>0.21390632544664415</c:v>
                </c:pt>
                <c:pt idx="70">
                  <c:v>0.21224489795918366</c:v>
                </c:pt>
                <c:pt idx="71">
                  <c:v>0.21221281741233375</c:v>
                </c:pt>
                <c:pt idx="72">
                  <c:v>0.1888072357263991</c:v>
                </c:pt>
                <c:pt idx="73">
                  <c:v>0.20543406229290923</c:v>
                </c:pt>
                <c:pt idx="74">
                  <c:v>0.20552147239263804</c:v>
                </c:pt>
                <c:pt idx="75">
                  <c:v>0.23837209302325582</c:v>
                </c:pt>
                <c:pt idx="76">
                  <c:v>0.2434536447275301</c:v>
                </c:pt>
                <c:pt idx="77">
                  <c:v>0.20647419072615922</c:v>
                </c:pt>
                <c:pt idx="78">
                  <c:v>0.23321234119782214</c:v>
                </c:pt>
                <c:pt idx="79">
                  <c:v>0.2147239263803681</c:v>
                </c:pt>
                <c:pt idx="80">
                  <c:v>0.19620774938169827</c:v>
                </c:pt>
                <c:pt idx="81">
                  <c:v>0.2154696132596685</c:v>
                </c:pt>
                <c:pt idx="82">
                  <c:v>0.23159784560143626</c:v>
                </c:pt>
                <c:pt idx="83">
                  <c:v>0.21902874132804756</c:v>
                </c:pt>
                <c:pt idx="84">
                  <c:v>0.23303834808259588</c:v>
                </c:pt>
                <c:pt idx="85">
                  <c:v>0.2300556586270872</c:v>
                </c:pt>
                <c:pt idx="86">
                  <c:v>0.2368827160493827</c:v>
                </c:pt>
                <c:pt idx="87">
                  <c:v>0.25835654596100277</c:v>
                </c:pt>
                <c:pt idx="88">
                  <c:v>0.23592233009708738</c:v>
                </c:pt>
                <c:pt idx="89">
                  <c:v>0.2830578512396694</c:v>
                </c:pt>
                <c:pt idx="90">
                  <c:v>0.27132579650565264</c:v>
                </c:pt>
                <c:pt idx="91">
                  <c:v>0.24672489082969432</c:v>
                </c:pt>
                <c:pt idx="92">
                  <c:v>0.2465986394557823</c:v>
                </c:pt>
                <c:pt idx="93">
                  <c:v>0.23012160898035547</c:v>
                </c:pt>
                <c:pt idx="94">
                  <c:v>0.24559777571825764</c:v>
                </c:pt>
                <c:pt idx="95">
                  <c:v>0.27177472167648986</c:v>
                </c:pt>
                <c:pt idx="96">
                  <c:v>0.23536299765807964</c:v>
                </c:pt>
                <c:pt idx="97">
                  <c:v>0.24711437565582373</c:v>
                </c:pt>
                <c:pt idx="98">
                  <c:v>0.2574772431729519</c:v>
                </c:pt>
                <c:pt idx="99">
                  <c:v>0.2606399502951227</c:v>
                </c:pt>
                <c:pt idx="100">
                  <c:v>0.26386158081006683</c:v>
                </c:pt>
                <c:pt idx="101">
                  <c:v>0.2636893203883495</c:v>
                </c:pt>
                <c:pt idx="102">
                  <c:v>0.2430317848410758</c:v>
                </c:pt>
                <c:pt idx="103">
                  <c:v>0.24392253811289658</c:v>
                </c:pt>
                <c:pt idx="104">
                  <c:v>0.23316536875858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3.2332</c:v>
                </c:pt>
                <c:pt idx="1">
                  <c:v>1275.5873</c:v>
                </c:pt>
                <c:pt idx="2">
                  <c:v>1285.7804</c:v>
                </c:pt>
                <c:pt idx="3">
                  <c:v>1235.3147</c:v>
                </c:pt>
                <c:pt idx="4">
                  <c:v>1294.0139</c:v>
                </c:pt>
                <c:pt idx="5">
                  <c:v>1295.698</c:v>
                </c:pt>
                <c:pt idx="6">
                  <c:v>1215.0404</c:v>
                </c:pt>
                <c:pt idx="7">
                  <c:v>1217.2027</c:v>
                </c:pt>
                <c:pt idx="8">
                  <c:v>1246.8329</c:v>
                </c:pt>
                <c:pt idx="9">
                  <c:v>1200.214</c:v>
                </c:pt>
                <c:pt idx="10">
                  <c:v>1235.6552</c:v>
                </c:pt>
                <c:pt idx="11">
                  <c:v>1131.517</c:v>
                </c:pt>
                <c:pt idx="12">
                  <c:v>1167.0268</c:v>
                </c:pt>
                <c:pt idx="13">
                  <c:v>1204.7072</c:v>
                </c:pt>
                <c:pt idx="14">
                  <c:v>1173.2715</c:v>
                </c:pt>
                <c:pt idx="15">
                  <c:v>1183.9603</c:v>
                </c:pt>
                <c:pt idx="16">
                  <c:v>1227.4802</c:v>
                </c:pt>
                <c:pt idx="17">
                  <c:v>1130.5485</c:v>
                </c:pt>
                <c:pt idx="18">
                  <c:v>1231.5263</c:v>
                </c:pt>
                <c:pt idx="19">
                  <c:v>1318.2635</c:v>
                </c:pt>
                <c:pt idx="20">
                  <c:v>1316.7333</c:v>
                </c:pt>
                <c:pt idx="21">
                  <c:v>1263.7752</c:v>
                </c:pt>
                <c:pt idx="22">
                  <c:v>1295.9397</c:v>
                </c:pt>
                <c:pt idx="23">
                  <c:v>1285.7734</c:v>
                </c:pt>
                <c:pt idx="24">
                  <c:v>1316.0426</c:v>
                </c:pt>
                <c:pt idx="25">
                  <c:v>1293.1171</c:v>
                </c:pt>
                <c:pt idx="26">
                  <c:v>1250.3444</c:v>
                </c:pt>
                <c:pt idx="27">
                  <c:v>1291.9396</c:v>
                </c:pt>
                <c:pt idx="28">
                  <c:v>1352.0238</c:v>
                </c:pt>
                <c:pt idx="29">
                  <c:v>1372.1867</c:v>
                </c:pt>
                <c:pt idx="30">
                  <c:v>1342.6694</c:v>
                </c:pt>
                <c:pt idx="31">
                  <c:v>1309.5385</c:v>
                </c:pt>
                <c:pt idx="32">
                  <c:v>1333.267</c:v>
                </c:pt>
                <c:pt idx="33">
                  <c:v>1326.6507</c:v>
                </c:pt>
                <c:pt idx="34">
                  <c:v>1349.9449</c:v>
                </c:pt>
                <c:pt idx="35">
                  <c:v>1402.5692</c:v>
                </c:pt>
                <c:pt idx="36">
                  <c:v>1389.3154</c:v>
                </c:pt>
                <c:pt idx="37">
                  <c:v>1337.0474</c:v>
                </c:pt>
                <c:pt idx="38">
                  <c:v>1361.2181</c:v>
                </c:pt>
                <c:pt idx="39">
                  <c:v>1341.3053</c:v>
                </c:pt>
                <c:pt idx="40">
                  <c:v>1363.9221</c:v>
                </c:pt>
                <c:pt idx="41">
                  <c:v>1443.943</c:v>
                </c:pt>
                <c:pt idx="42">
                  <c:v>1431.0068</c:v>
                </c:pt>
                <c:pt idx="43">
                  <c:v>1396.0347</c:v>
                </c:pt>
                <c:pt idx="44">
                  <c:v>1342.4808</c:v>
                </c:pt>
                <c:pt idx="45">
                  <c:v>1302.5665</c:v>
                </c:pt>
                <c:pt idx="46">
                  <c:v>1251.554</c:v>
                </c:pt>
                <c:pt idx="47">
                  <c:v>1226.7587</c:v>
                </c:pt>
                <c:pt idx="48">
                  <c:v>1226.1616</c:v>
                </c:pt>
                <c:pt idx="49">
                  <c:v>1230.8507</c:v>
                </c:pt>
                <c:pt idx="50">
                  <c:v>1207.3692</c:v>
                </c:pt>
                <c:pt idx="51">
                  <c:v>1172.1508</c:v>
                </c:pt>
              </c:numCache>
            </c:numRef>
          </c:xVal>
          <c:yVal>
            <c:numRef>
              <c:f>Sheet1!$B$109:$B$160</c:f>
              <c:numCache>
                <c:formatCode>General</c:formatCode>
                <c:ptCount val="52"/>
                <c:pt idx="0">
                  <c:v>0.23790501553484245</c:v>
                </c:pt>
                <c:pt idx="1">
                  <c:v>0.23234984193888303</c:v>
                </c:pt>
                <c:pt idx="2">
                  <c:v>0.2498928418345478</c:v>
                </c:pt>
                <c:pt idx="3">
                  <c:v>0.27041036717062633</c:v>
                </c:pt>
                <c:pt idx="4">
                  <c:v>0.2563391442155309</c:v>
                </c:pt>
                <c:pt idx="5">
                  <c:v>0.24066719618745036</c:v>
                </c:pt>
                <c:pt idx="6">
                  <c:v>0.24121127741037243</c:v>
                </c:pt>
                <c:pt idx="7">
                  <c:v>0.24906811250423586</c:v>
                </c:pt>
                <c:pt idx="8">
                  <c:v>0.24390243902439024</c:v>
                </c:pt>
                <c:pt idx="9">
                  <c:v>0.25175644028103045</c:v>
                </c:pt>
                <c:pt idx="10">
                  <c:v>0.24889170360987967</c:v>
                </c:pt>
                <c:pt idx="11">
                  <c:v>0.247568988173456</c:v>
                </c:pt>
                <c:pt idx="12">
                  <c:v>0.2422447828539199</c:v>
                </c:pt>
                <c:pt idx="13">
                  <c:v>0.2514792899408284</c:v>
                </c:pt>
                <c:pt idx="14">
                  <c:v>0.24990879241152864</c:v>
                </c:pt>
                <c:pt idx="15">
                  <c:v>0.2384678747940692</c:v>
                </c:pt>
                <c:pt idx="16">
                  <c:v>0.2356687898089172</c:v>
                </c:pt>
                <c:pt idx="17">
                  <c:v>0.2655099894847529</c:v>
                </c:pt>
                <c:pt idx="18">
                  <c:v>0.2397147558968733</c:v>
                </c:pt>
                <c:pt idx="19">
                  <c:v>0.23819163292847503</c:v>
                </c:pt>
                <c:pt idx="20">
                  <c:v>0.2398989898989899</c:v>
                </c:pt>
                <c:pt idx="21">
                  <c:v>0.2444267515923567</c:v>
                </c:pt>
                <c:pt idx="22">
                  <c:v>0.22842639593908629</c:v>
                </c:pt>
                <c:pt idx="23">
                  <c:v>0.2523230879199428</c:v>
                </c:pt>
                <c:pt idx="24">
                  <c:v>0.24049707602339182</c:v>
                </c:pt>
                <c:pt idx="25">
                  <c:v>0.2507530120481928</c:v>
                </c:pt>
                <c:pt idx="26">
                  <c:v>0.2695439739413681</c:v>
                </c:pt>
                <c:pt idx="27">
                  <c:v>0.27239488117001825</c:v>
                </c:pt>
                <c:pt idx="28">
                  <c:v>0.23055809698078683</c:v>
                </c:pt>
                <c:pt idx="29">
                  <c:v>0.24491869918699186</c:v>
                </c:pt>
                <c:pt idx="30">
                  <c:v>0.25231719876416064</c:v>
                </c:pt>
                <c:pt idx="31">
                  <c:v>0.23353293413173654</c:v>
                </c:pt>
                <c:pt idx="32">
                  <c:v>0.22662266226622663</c:v>
                </c:pt>
                <c:pt idx="33">
                  <c:v>0.23491552695092519</c:v>
                </c:pt>
                <c:pt idx="34">
                  <c:v>0.2719836400817996</c:v>
                </c:pt>
                <c:pt idx="35">
                  <c:v>0.2552166934189406</c:v>
                </c:pt>
                <c:pt idx="36">
                  <c:v>0.2561105207226355</c:v>
                </c:pt>
                <c:pt idx="37">
                  <c:v>0.2606741573033708</c:v>
                </c:pt>
                <c:pt idx="38">
                  <c:v>0.2652838427947598</c:v>
                </c:pt>
                <c:pt idx="39">
                  <c:v>0.24670433145009416</c:v>
                </c:pt>
                <c:pt idx="40">
                  <c:v>0.250814332247557</c:v>
                </c:pt>
                <c:pt idx="41">
                  <c:v>0.25404944586530265</c:v>
                </c:pt>
                <c:pt idx="42">
                  <c:v>0.22850503485670023</c:v>
                </c:pt>
                <c:pt idx="43">
                  <c:v>0.2292909211398277</c:v>
                </c:pt>
                <c:pt idx="44">
                  <c:v>0.23443983402489627</c:v>
                </c:pt>
                <c:pt idx="45">
                  <c:v>0.26033519553072626</c:v>
                </c:pt>
                <c:pt idx="46">
                  <c:v>0.2704995287464656</c:v>
                </c:pt>
                <c:pt idx="47">
                  <c:v>0.2669902912621359</c:v>
                </c:pt>
                <c:pt idx="48">
                  <c:v>0.2649828767123288</c:v>
                </c:pt>
                <c:pt idx="49">
                  <c:v>0.25645813881108</c:v>
                </c:pt>
                <c:pt idx="50">
                  <c:v>0.2403700906344411</c:v>
                </c:pt>
                <c:pt idx="51">
                  <c:v>0.2491830065359477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41.2924444098328</c:v>
                </c:pt>
              </c:numCache>
            </c:numRef>
          </c:xVal>
          <c:yVal>
            <c:numRef>
              <c:f>Sheet1!$B$163:$B$164</c:f>
              <c:numCache>
                <c:formatCode>General</c:formatCode>
                <c:ptCount val="2"/>
                <c:pt idx="0">
                  <c:v>0.2972606357575652</c:v>
                </c:pt>
                <c:pt idx="1">
                  <c:v>0.29726063575756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41.2924444098328</c:v>
                </c:pt>
                <c:pt idx="1">
                  <c:v>-641.2924444098328</c:v>
                </c:pt>
              </c:numCache>
            </c:numRef>
          </c:xVal>
          <c:yVal>
            <c:numRef>
              <c:f>Sheet1!$B$167:$B$168</c:f>
              <c:numCache>
                <c:formatCode>General</c:formatCode>
                <c:ptCount val="2"/>
                <c:pt idx="0">
                  <c:v>0.29726063575756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8.581956366556</c:v>
                </c:pt>
              </c:numCache>
            </c:numRef>
          </c:xVal>
          <c:yVal>
            <c:numRef>
              <c:f>Sheet1!$B$171:$B$172</c:f>
              <c:numCache>
                <c:formatCode>General</c:formatCode>
                <c:ptCount val="2"/>
                <c:pt idx="0">
                  <c:v>0.2527485281734494</c:v>
                </c:pt>
                <c:pt idx="1">
                  <c:v>0.252748528173449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8.581956366556</c:v>
                </c:pt>
                <c:pt idx="1">
                  <c:v>1108.581956366556</c:v>
                </c:pt>
              </c:numCache>
            </c:numRef>
          </c:xVal>
          <c:yVal>
            <c:numRef>
              <c:f>Sheet1!$B$175:$B$176</c:f>
              <c:numCache>
                <c:formatCode>General</c:formatCode>
                <c:ptCount val="2"/>
                <c:pt idx="0">
                  <c:v>0.25274852817344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8.7008852653414</c:v>
                </c:pt>
              </c:numCache>
            </c:numRef>
          </c:xVal>
          <c:yVal>
            <c:numRef>
              <c:f>Sheet1!$B$179:$B$180</c:f>
              <c:numCache>
                <c:formatCode>General</c:formatCode>
                <c:ptCount val="2"/>
                <c:pt idx="0">
                  <c:v>0.2502017713705772</c:v>
                </c:pt>
                <c:pt idx="1">
                  <c:v>0.25020177137057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8.7008852653414</c:v>
                </c:pt>
                <c:pt idx="1">
                  <c:v>1208.7008852653414</c:v>
                </c:pt>
              </c:numCache>
            </c:numRef>
          </c:xVal>
          <c:yVal>
            <c:numRef>
              <c:f>Sheet1!$B$183:$B$184</c:f>
              <c:numCache>
                <c:formatCode>General</c:formatCode>
                <c:ptCount val="2"/>
                <c:pt idx="0">
                  <c:v>0.25020177137057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3.2332</c:v>
                </c:pt>
                <c:pt idx="1">
                  <c:v>1275.5873</c:v>
                </c:pt>
                <c:pt idx="2">
                  <c:v>1285.7804</c:v>
                </c:pt>
                <c:pt idx="3">
                  <c:v>1235.3147</c:v>
                </c:pt>
                <c:pt idx="4">
                  <c:v>1294.0139</c:v>
                </c:pt>
                <c:pt idx="5">
                  <c:v>1295.698</c:v>
                </c:pt>
                <c:pt idx="6">
                  <c:v>1215.0404</c:v>
                </c:pt>
                <c:pt idx="7">
                  <c:v>1217.2027</c:v>
                </c:pt>
                <c:pt idx="8">
                  <c:v>1246.8329</c:v>
                </c:pt>
                <c:pt idx="9">
                  <c:v>1200.214</c:v>
                </c:pt>
                <c:pt idx="10">
                  <c:v>1235.6552</c:v>
                </c:pt>
                <c:pt idx="11">
                  <c:v>1131.517</c:v>
                </c:pt>
                <c:pt idx="12">
                  <c:v>1167.0268</c:v>
                </c:pt>
                <c:pt idx="13">
                  <c:v>1204.7072</c:v>
                </c:pt>
                <c:pt idx="14">
                  <c:v>1173.2715</c:v>
                </c:pt>
                <c:pt idx="15">
                  <c:v>1183.9603</c:v>
                </c:pt>
                <c:pt idx="16">
                  <c:v>1227.4802</c:v>
                </c:pt>
                <c:pt idx="17">
                  <c:v>1130.5485</c:v>
                </c:pt>
                <c:pt idx="18">
                  <c:v>1231.5263</c:v>
                </c:pt>
                <c:pt idx="19">
                  <c:v>1318.2635</c:v>
                </c:pt>
                <c:pt idx="20">
                  <c:v>1316.7333</c:v>
                </c:pt>
                <c:pt idx="21">
                  <c:v>1263.7752</c:v>
                </c:pt>
                <c:pt idx="22">
                  <c:v>1295.9397</c:v>
                </c:pt>
                <c:pt idx="23">
                  <c:v>1285.7734</c:v>
                </c:pt>
                <c:pt idx="24">
                  <c:v>1316.0426</c:v>
                </c:pt>
                <c:pt idx="25">
                  <c:v>1293.1171</c:v>
                </c:pt>
                <c:pt idx="26">
                  <c:v>1250.3444</c:v>
                </c:pt>
                <c:pt idx="27">
                  <c:v>1291.9396</c:v>
                </c:pt>
                <c:pt idx="28">
                  <c:v>1352.0238</c:v>
                </c:pt>
                <c:pt idx="29">
                  <c:v>1372.1867</c:v>
                </c:pt>
                <c:pt idx="30">
                  <c:v>1342.6694</c:v>
                </c:pt>
                <c:pt idx="31">
                  <c:v>1309.5385</c:v>
                </c:pt>
                <c:pt idx="32">
                  <c:v>1333.267</c:v>
                </c:pt>
                <c:pt idx="33">
                  <c:v>1326.6507</c:v>
                </c:pt>
                <c:pt idx="34">
                  <c:v>1349.9449</c:v>
                </c:pt>
                <c:pt idx="35">
                  <c:v>1402.5692</c:v>
                </c:pt>
                <c:pt idx="36">
                  <c:v>1389.3154</c:v>
                </c:pt>
                <c:pt idx="37">
                  <c:v>1337.0474</c:v>
                </c:pt>
                <c:pt idx="38">
                  <c:v>1361.2181</c:v>
                </c:pt>
                <c:pt idx="39">
                  <c:v>1341.3053</c:v>
                </c:pt>
                <c:pt idx="40">
                  <c:v>1363.9221</c:v>
                </c:pt>
                <c:pt idx="41">
                  <c:v>1443.943</c:v>
                </c:pt>
                <c:pt idx="42">
                  <c:v>1431.0068</c:v>
                </c:pt>
                <c:pt idx="43">
                  <c:v>1396.0347</c:v>
                </c:pt>
                <c:pt idx="44">
                  <c:v>1342.4808</c:v>
                </c:pt>
                <c:pt idx="45">
                  <c:v>1302.5665</c:v>
                </c:pt>
                <c:pt idx="46">
                  <c:v>1251.554</c:v>
                </c:pt>
                <c:pt idx="47">
                  <c:v>1226.7587</c:v>
                </c:pt>
                <c:pt idx="48">
                  <c:v>1226.1616</c:v>
                </c:pt>
                <c:pt idx="49">
                  <c:v>1230.8507</c:v>
                </c:pt>
                <c:pt idx="50">
                  <c:v>1207.3692</c:v>
                </c:pt>
                <c:pt idx="51">
                  <c:v>1172.1508</c:v>
                </c:pt>
                <c:pt idx="52">
                  <c:v>1108.581956366556</c:v>
                </c:pt>
                <c:pt idx="53">
                  <c:v>-641.2924444098328</c:v>
                </c:pt>
                <c:pt idx="54">
                  <c:v>1208.7008852653414</c:v>
                </c:pt>
              </c:numCache>
            </c:numRef>
          </c:xVal>
          <c:yVal>
            <c:numRef>
              <c:f>Sheet1!$B$187:$B$241</c:f>
              <c:numCache>
                <c:formatCode>General</c:formatCode>
                <c:ptCount val="55"/>
                <c:pt idx="0">
                  <c:v>0.24932336197849986</c:v>
                </c:pt>
                <c:pt idx="1">
                  <c:v>0.24850036052231061</c:v>
                </c:pt>
                <c:pt idx="2">
                  <c:v>0.24824107541955448</c:v>
                </c:pt>
                <c:pt idx="3">
                  <c:v>0.2495247873629437</c:v>
                </c:pt>
                <c:pt idx="4">
                  <c:v>0.24803163728066221</c:v>
                </c:pt>
                <c:pt idx="5">
                  <c:v>0.24798879829727624</c:v>
                </c:pt>
                <c:pt idx="6">
                  <c:v>0.2500405111328281</c:v>
                </c:pt>
                <c:pt idx="7">
                  <c:v>0.24998550802506997</c:v>
                </c:pt>
                <c:pt idx="8">
                  <c:v>0.2492317952731412</c:v>
                </c:pt>
                <c:pt idx="9">
                  <c:v>0.25041765495046003</c:v>
                </c:pt>
                <c:pt idx="10">
                  <c:v>0.2495161259569447</c:v>
                </c:pt>
                <c:pt idx="11">
                  <c:v>0.2521651222277396</c:v>
                </c:pt>
                <c:pt idx="12">
                  <c:v>0.25126184823436665</c:v>
                </c:pt>
                <c:pt idx="13">
                  <c:v>0.25030336000351516</c:v>
                </c:pt>
                <c:pt idx="14">
                  <c:v>0.251102999828957</c:v>
                </c:pt>
                <c:pt idx="15">
                  <c:v>0.25083110544880377</c:v>
                </c:pt>
                <c:pt idx="16">
                  <c:v>0.24972407601286797</c:v>
                </c:pt>
                <c:pt idx="17">
                  <c:v>0.25218975826800405</c:v>
                </c:pt>
                <c:pt idx="18">
                  <c:v>0.2496211540897767</c:v>
                </c:pt>
                <c:pt idx="19">
                  <c:v>0.24741479254963875</c:v>
                </c:pt>
                <c:pt idx="20">
                  <c:v>0.24745371673013705</c:v>
                </c:pt>
                <c:pt idx="21">
                  <c:v>0.24880082863920008</c:v>
                </c:pt>
                <c:pt idx="22">
                  <c:v>0.2479826500980693</c:v>
                </c:pt>
                <c:pt idx="23">
                  <c:v>0.24824125348076445</c:v>
                </c:pt>
                <c:pt idx="24">
                  <c:v>0.24747128628409745</c:v>
                </c:pt>
                <c:pt idx="25">
                  <c:v>0.2480544494653903</c:v>
                </c:pt>
                <c:pt idx="26">
                  <c:v>0.24914247213902813</c:v>
                </c:pt>
                <c:pt idx="27">
                  <c:v>0.24808440190463796</c:v>
                </c:pt>
                <c:pt idx="28">
                  <c:v>0.24655602114009914</c:v>
                </c:pt>
                <c:pt idx="29">
                  <c:v>0.24604313108718473</c:v>
                </c:pt>
                <c:pt idx="30">
                  <c:v>0.24679397196616992</c:v>
                </c:pt>
                <c:pt idx="31">
                  <c:v>0.24763673312920212</c:v>
                </c:pt>
                <c:pt idx="32">
                  <c:v>0.24703314378339475</c:v>
                </c:pt>
                <c:pt idx="33">
                  <c:v>0.24720144469532196</c:v>
                </c:pt>
                <c:pt idx="34">
                  <c:v>0.24660890277572714</c:v>
                </c:pt>
                <c:pt idx="35">
                  <c:v>0.24527028184264787</c:v>
                </c:pt>
                <c:pt idx="36">
                  <c:v>0.24560742293759538</c:v>
                </c:pt>
                <c:pt idx="37">
                  <c:v>0.24693698055508742</c:v>
                </c:pt>
                <c:pt idx="38">
                  <c:v>0.24632214282827342</c:v>
                </c:pt>
                <c:pt idx="39">
                  <c:v>0.24682867100852893</c:v>
                </c:pt>
                <c:pt idx="40">
                  <c:v>0.24625336032659556</c:v>
                </c:pt>
                <c:pt idx="41">
                  <c:v>0.24421784342995576</c:v>
                </c:pt>
                <c:pt idx="42">
                  <c:v>0.24454690563343398</c:v>
                </c:pt>
                <c:pt idx="43">
                  <c:v>0.2454365019821501</c:v>
                </c:pt>
                <c:pt idx="44">
                  <c:v>0.24679876944391269</c:v>
                </c:pt>
                <c:pt idx="45">
                  <c:v>0.24781408209432715</c:v>
                </c:pt>
                <c:pt idx="46">
                  <c:v>0.2491117031619462</c:v>
                </c:pt>
                <c:pt idx="47">
                  <c:v>0.2497424290361522</c:v>
                </c:pt>
                <c:pt idx="48">
                  <c:v>0.2497576176573622</c:v>
                </c:pt>
                <c:pt idx="49">
                  <c:v>0.24963833954026987</c:v>
                </c:pt>
                <c:pt idx="50">
                  <c:v>0.2502356458690971</c:v>
                </c:pt>
                <c:pt idx="51">
                  <c:v>0.25113150742867235</c:v>
                </c:pt>
                <c:pt idx="52">
                  <c:v>0.2527485281734494</c:v>
                </c:pt>
                <c:pt idx="53">
                  <c:v>0.2972606357575652</c:v>
                </c:pt>
                <c:pt idx="54">
                  <c:v>0.25020177137057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16429554841665"/>
          <c:min val="0.148508825319537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317577917144975</c:v>
                </c:pt>
                <c:pt idx="1">
                  <c:v>0.3929973922312771</c:v>
                </c:pt>
                <c:pt idx="2">
                  <c:v>0.420564026275835</c:v>
                </c:pt>
                <c:pt idx="3">
                  <c:v>0.34331834815005613</c:v>
                </c:pt>
                <c:pt idx="4">
                  <c:v>0.4191934629880909</c:v>
                </c:pt>
                <c:pt idx="5">
                  <c:v>0.44388332270427167</c:v>
                </c:pt>
                <c:pt idx="6">
                  <c:v>0.4136116602039424</c:v>
                </c:pt>
                <c:pt idx="7">
                  <c:v>0.35029781004388405</c:v>
                </c:pt>
                <c:pt idx="8">
                  <c:v>0.3698313927087204</c:v>
                </c:pt>
                <c:pt idx="9">
                  <c:v>0.40673994452676143</c:v>
                </c:pt>
                <c:pt idx="10">
                  <c:v>0.3599461696571686</c:v>
                </c:pt>
                <c:pt idx="11">
                  <c:v>0.3309041218094874</c:v>
                </c:pt>
                <c:pt idx="12">
                  <c:v>0.312970827324541</c:v>
                </c:pt>
                <c:pt idx="13">
                  <c:v>0.2711751501159861</c:v>
                </c:pt>
                <c:pt idx="14">
                  <c:v>0.2185691290273333</c:v>
                </c:pt>
                <c:pt idx="15">
                  <c:v>0.2679867513556144</c:v>
                </c:pt>
                <c:pt idx="16">
                  <c:v>0.3224673527457718</c:v>
                </c:pt>
                <c:pt idx="17">
                  <c:v>0.31715625579905204</c:v>
                </c:pt>
                <c:pt idx="18">
                  <c:v>0.3424964759830338</c:v>
                </c:pt>
                <c:pt idx="19">
                  <c:v>0.33816350017285757</c:v>
                </c:pt>
                <c:pt idx="20">
                  <c:v>0.4648910560191909</c:v>
                </c:pt>
                <c:pt idx="21">
                  <c:v>0.4928154950298552</c:v>
                </c:pt>
                <c:pt idx="22">
                  <c:v>0.40145792934521124</c:v>
                </c:pt>
                <c:pt idx="23">
                  <c:v>0.392836515146488</c:v>
                </c:pt>
                <c:pt idx="24">
                  <c:v>0.37380161818811003</c:v>
                </c:pt>
                <c:pt idx="25">
                  <c:v>0.35557817680208975</c:v>
                </c:pt>
                <c:pt idx="26">
                  <c:v>0.37698185831334863</c:v>
                </c:pt>
                <c:pt idx="27">
                  <c:v>0.36432741827327314</c:v>
                </c:pt>
                <c:pt idx="28">
                  <c:v>0.3562513950517059</c:v>
                </c:pt>
                <c:pt idx="29">
                  <c:v>0.2935388499298737</c:v>
                </c:pt>
                <c:pt idx="30">
                  <c:v>0.3118302779853753</c:v>
                </c:pt>
                <c:pt idx="31">
                  <c:v>0.31426076361515604</c:v>
                </c:pt>
                <c:pt idx="32">
                  <c:v>0.23129520695801908</c:v>
                </c:pt>
                <c:pt idx="33">
                  <c:v>0.24984344617203982</c:v>
                </c:pt>
                <c:pt idx="34">
                  <c:v>0.3399179688039679</c:v>
                </c:pt>
                <c:pt idx="35">
                  <c:v>0.42227144465911326</c:v>
                </c:pt>
                <c:pt idx="36">
                  <c:v>0.43501286558745117</c:v>
                </c:pt>
                <c:pt idx="37">
                  <c:v>0.40617256399610385</c:v>
                </c:pt>
                <c:pt idx="38">
                  <c:v>0.40347741517917973</c:v>
                </c:pt>
                <c:pt idx="39">
                  <c:v>0.3433952189761426</c:v>
                </c:pt>
                <c:pt idx="40">
                  <c:v>0.3269274116390912</c:v>
                </c:pt>
                <c:pt idx="41">
                  <c:v>0.37989438007720205</c:v>
                </c:pt>
                <c:pt idx="42">
                  <c:v>0.39574895652823633</c:v>
                </c:pt>
                <c:pt idx="43">
                  <c:v>0.46465635833692986</c:v>
                </c:pt>
                <c:pt idx="44">
                  <c:v>0.4366103850229601</c:v>
                </c:pt>
                <c:pt idx="45">
                  <c:v>0.4682690706476624</c:v>
                </c:pt>
                <c:pt idx="46">
                  <c:v>0.4745698433162012</c:v>
                </c:pt>
                <c:pt idx="47">
                  <c:v>0.47227492447869585</c:v>
                </c:pt>
                <c:pt idx="48">
                  <c:v>0.4632730590923054</c:v>
                </c:pt>
                <c:pt idx="49">
                  <c:v>0.3976255360450001</c:v>
                </c:pt>
                <c:pt idx="50">
                  <c:v>0.31443850101669685</c:v>
                </c:pt>
                <c:pt idx="51">
                  <c:v>0.3023599345119881</c:v>
                </c:pt>
                <c:pt idx="52">
                  <c:v>0.27898157899880804</c:v>
                </c:pt>
                <c:pt idx="53">
                  <c:v>0.2545743057863036</c:v>
                </c:pt>
                <c:pt idx="54">
                  <c:v>0.24219780108143546</c:v>
                </c:pt>
                <c:pt idx="55">
                  <c:v>0.2636240024221527</c:v>
                </c:pt>
                <c:pt idx="56">
                  <c:v>0.30312567399419327</c:v>
                </c:pt>
                <c:pt idx="57">
                  <c:v>0.3893276923002187</c:v>
                </c:pt>
                <c:pt idx="58">
                  <c:v>0.4162672978185751</c:v>
                </c:pt>
                <c:pt idx="59">
                  <c:v>0.3032513236483138</c:v>
                </c:pt>
                <c:pt idx="60">
                  <c:v>0.33810326304360244</c:v>
                </c:pt>
                <c:pt idx="61">
                  <c:v>0.3158580253574319</c:v>
                </c:pt>
                <c:pt idx="62">
                  <c:v>0.4119088659402558</c:v>
                </c:pt>
                <c:pt idx="63">
                  <c:v>0.410834004369385</c:v>
                </c:pt>
                <c:pt idx="64">
                  <c:v>0.35463394052781294</c:v>
                </c:pt>
                <c:pt idx="65">
                  <c:v>0.41253979342025965</c:v>
                </c:pt>
                <c:pt idx="66">
                  <c:v>0.32133462218575104</c:v>
                </c:pt>
                <c:pt idx="67">
                  <c:v>0.38341402323988844</c:v>
                </c:pt>
                <c:pt idx="68">
                  <c:v>0.39687180510704956</c:v>
                </c:pt>
                <c:pt idx="69">
                  <c:v>0.4072157230407342</c:v>
                </c:pt>
                <c:pt idx="70">
                  <c:v>0.4305923419058378</c:v>
                </c:pt>
                <c:pt idx="71">
                  <c:v>0.3791711267387509</c:v>
                </c:pt>
                <c:pt idx="72">
                  <c:v>0.3950288054287253</c:v>
                </c:pt>
                <c:pt idx="73">
                  <c:v>0.3852063114599266</c:v>
                </c:pt>
                <c:pt idx="74">
                  <c:v>0.39308235011523085</c:v>
                </c:pt>
                <c:pt idx="75">
                  <c:v>0.38450211233820514</c:v>
                </c:pt>
                <c:pt idx="76">
                  <c:v>0.40944906848321716</c:v>
                </c:pt>
                <c:pt idx="77">
                  <c:v>0.4642684446747281</c:v>
                </c:pt>
                <c:pt idx="78">
                  <c:v>0.440989393765047</c:v>
                </c:pt>
                <c:pt idx="79">
                  <c:v>0.4244731958373993</c:v>
                </c:pt>
                <c:pt idx="80">
                  <c:v>0.44765475156735596</c:v>
                </c:pt>
                <c:pt idx="81">
                  <c:v>0.44334198027699895</c:v>
                </c:pt>
                <c:pt idx="82">
                  <c:v>0.4421557531048165</c:v>
                </c:pt>
                <c:pt idx="83">
                  <c:v>0.4514638412853556</c:v>
                </c:pt>
                <c:pt idx="84">
                  <c:v>0.40331710026294965</c:v>
                </c:pt>
                <c:pt idx="85">
                  <c:v>0.349139791746821</c:v>
                </c:pt>
                <c:pt idx="86">
                  <c:v>0.31484834564303177</c:v>
                </c:pt>
                <c:pt idx="87">
                  <c:v>0.34084778652580605</c:v>
                </c:pt>
                <c:pt idx="88">
                  <c:v>0.3606004687479156</c:v>
                </c:pt>
                <c:pt idx="89">
                  <c:v>0.31758434205756075</c:v>
                </c:pt>
                <c:pt idx="90">
                  <c:v>0.3011637385569532</c:v>
                </c:pt>
                <c:pt idx="91">
                  <c:v>0.32686172610608166</c:v>
                </c:pt>
                <c:pt idx="92">
                  <c:v>0.3612287252524947</c:v>
                </c:pt>
                <c:pt idx="93">
                  <c:v>0.3512105899038714</c:v>
                </c:pt>
                <c:pt idx="94">
                  <c:v>0.32220625484168364</c:v>
                </c:pt>
                <c:pt idx="95">
                  <c:v>0.4303443496723426</c:v>
                </c:pt>
                <c:pt idx="96">
                  <c:v>0.41965583885606084</c:v>
                </c:pt>
                <c:pt idx="97">
                  <c:v>0.3565166310199846</c:v>
                </c:pt>
                <c:pt idx="98">
                  <c:v>0.39535421004081245</c:v>
                </c:pt>
                <c:pt idx="99">
                  <c:v>0.4660162468395444</c:v>
                </c:pt>
                <c:pt idx="100">
                  <c:v>0.44433015270166026</c:v>
                </c:pt>
                <c:pt idx="101">
                  <c:v>0.39448824429921814</c:v>
                </c:pt>
                <c:pt idx="102">
                  <c:v>0.42409826056854094</c:v>
                </c:pt>
                <c:pt idx="103">
                  <c:v>0.39564497799205256</c:v>
                </c:pt>
                <c:pt idx="104">
                  <c:v>0.3472561691640515</c:v>
                </c:pt>
              </c:numCache>
            </c:numRef>
          </c:xVal>
          <c:yVal>
            <c:numRef>
              <c:f>Sheet1!$B$2:$B$106</c:f>
              <c:numCache>
                <c:formatCode>General</c:formatCode>
                <c:ptCount val="105"/>
                <c:pt idx="0">
                  <c:v>0.29930866205774703</c:v>
                </c:pt>
                <c:pt idx="1">
                  <c:v>0.27897838899803534</c:v>
                </c:pt>
                <c:pt idx="2">
                  <c:v>0.28036951501154733</c:v>
                </c:pt>
                <c:pt idx="3">
                  <c:v>0.28490468830499743</c:v>
                </c:pt>
                <c:pt idx="4">
                  <c:v>0.2857142857142857</c:v>
                </c:pt>
                <c:pt idx="5">
                  <c:v>0.3032544378698225</c:v>
                </c:pt>
                <c:pt idx="6">
                  <c:v>0.30238095238095236</c:v>
                </c:pt>
                <c:pt idx="7">
                  <c:v>0.33180357962368057</c:v>
                </c:pt>
                <c:pt idx="8">
                  <c:v>0.3086312118570183</c:v>
                </c:pt>
                <c:pt idx="9">
                  <c:v>0.2928082191780822</c:v>
                </c:pt>
                <c:pt idx="10">
                  <c:v>0.3063844552394171</c:v>
                </c:pt>
                <c:pt idx="11">
                  <c:v>0.2793783169067475</c:v>
                </c:pt>
                <c:pt idx="12">
                  <c:v>0.2771677394926164</c:v>
                </c:pt>
                <c:pt idx="13">
                  <c:v>0.2634107285828663</c:v>
                </c:pt>
                <c:pt idx="14">
                  <c:v>0.24557066337041616</c:v>
                </c:pt>
                <c:pt idx="15">
                  <c:v>0.22714007782101167</c:v>
                </c:pt>
                <c:pt idx="16">
                  <c:v>0.21159420289855072</c:v>
                </c:pt>
                <c:pt idx="17">
                  <c:v>0.2138364779874214</c:v>
                </c:pt>
                <c:pt idx="18">
                  <c:v>0.1948529411764706</c:v>
                </c:pt>
                <c:pt idx="19">
                  <c:v>0.20658436213991768</c:v>
                </c:pt>
                <c:pt idx="20">
                  <c:v>0.1856360316494218</c:v>
                </c:pt>
                <c:pt idx="21">
                  <c:v>0.18666666666666668</c:v>
                </c:pt>
                <c:pt idx="22">
                  <c:v>0.22214484679665739</c:v>
                </c:pt>
                <c:pt idx="23">
                  <c:v>0.25406661502711075</c:v>
                </c:pt>
                <c:pt idx="24">
                  <c:v>0.25365853658536586</c:v>
                </c:pt>
                <c:pt idx="25">
                  <c:v>0.2398945518453427</c:v>
                </c:pt>
                <c:pt idx="26">
                  <c:v>0.25766283524904215</c:v>
                </c:pt>
                <c:pt idx="27">
                  <c:v>0.24507874015748032</c:v>
                </c:pt>
                <c:pt idx="28">
                  <c:v>0.3131201764057332</c:v>
                </c:pt>
                <c:pt idx="29">
                  <c:v>0.300921187308086</c:v>
                </c:pt>
                <c:pt idx="30">
                  <c:v>0.29506314580941445</c:v>
                </c:pt>
                <c:pt idx="31">
                  <c:v>0.31176470588235294</c:v>
                </c:pt>
                <c:pt idx="32">
                  <c:v>0.29491525423728815</c:v>
                </c:pt>
                <c:pt idx="33">
                  <c:v>0.3057591623036649</c:v>
                </c:pt>
                <c:pt idx="34">
                  <c:v>0.2945091514143095</c:v>
                </c:pt>
                <c:pt idx="35">
                  <c:v>0.28686720469552457</c:v>
                </c:pt>
                <c:pt idx="36">
                  <c:v>0.2777777777777778</c:v>
                </c:pt>
                <c:pt idx="37">
                  <c:v>0.27137870855148344</c:v>
                </c:pt>
                <c:pt idx="38">
                  <c:v>0.279144385026738</c:v>
                </c:pt>
                <c:pt idx="39">
                  <c:v>0.25882352941176473</c:v>
                </c:pt>
                <c:pt idx="40">
                  <c:v>0.25514771709937334</c:v>
                </c:pt>
                <c:pt idx="41">
                  <c:v>0.2609472743521001</c:v>
                </c:pt>
                <c:pt idx="42">
                  <c:v>0.2597173144876325</c:v>
                </c:pt>
                <c:pt idx="43">
                  <c:v>0.2547597461468722</c:v>
                </c:pt>
                <c:pt idx="44">
                  <c:v>0.2440944881889764</c:v>
                </c:pt>
                <c:pt idx="45">
                  <c:v>0.2559264634736333</c:v>
                </c:pt>
                <c:pt idx="46">
                  <c:v>0.26088458880442295</c:v>
                </c:pt>
                <c:pt idx="47">
                  <c:v>0.25880608083055245</c:v>
                </c:pt>
                <c:pt idx="48">
                  <c:v>0.2635475273911756</c:v>
                </c:pt>
                <c:pt idx="49">
                  <c:v>0.25295663600525625</c:v>
                </c:pt>
                <c:pt idx="50">
                  <c:v>0.26382411725516325</c:v>
                </c:pt>
                <c:pt idx="51">
                  <c:v>0.2413657770800628</c:v>
                </c:pt>
                <c:pt idx="52">
                  <c:v>0.24918743228602383</c:v>
                </c:pt>
                <c:pt idx="53">
                  <c:v>0.23671497584541062</c:v>
                </c:pt>
                <c:pt idx="54">
                  <c:v>0.22932692307692307</c:v>
                </c:pt>
                <c:pt idx="55">
                  <c:v>0.22258823529411764</c:v>
                </c:pt>
                <c:pt idx="56">
                  <c:v>0.23115577889447236</c:v>
                </c:pt>
                <c:pt idx="57">
                  <c:v>0.22530864197530864</c:v>
                </c:pt>
                <c:pt idx="58">
                  <c:v>0.2559262510974539</c:v>
                </c:pt>
                <c:pt idx="59">
                  <c:v>0.24693140794223828</c:v>
                </c:pt>
                <c:pt idx="60">
                  <c:v>0.24198931909212282</c:v>
                </c:pt>
                <c:pt idx="61">
                  <c:v>0.2506587615283267</c:v>
                </c:pt>
                <c:pt idx="62">
                  <c:v>0.2646966362779</c:v>
                </c:pt>
                <c:pt idx="63">
                  <c:v>0.2511888111888112</c:v>
                </c:pt>
                <c:pt idx="64">
                  <c:v>0.2525787566211319</c:v>
                </c:pt>
                <c:pt idx="65">
                  <c:v>0.22705458908218357</c:v>
                </c:pt>
                <c:pt idx="66">
                  <c:v>0.23511634935025688</c:v>
                </c:pt>
                <c:pt idx="67">
                  <c:v>0.23416080029640607</c:v>
                </c:pt>
                <c:pt idx="68">
                  <c:v>0.20811945870275314</c:v>
                </c:pt>
                <c:pt idx="69">
                  <c:v>0.21390632544664415</c:v>
                </c:pt>
                <c:pt idx="70">
                  <c:v>0.21224489795918366</c:v>
                </c:pt>
                <c:pt idx="71">
                  <c:v>0.21221281741233375</c:v>
                </c:pt>
                <c:pt idx="72">
                  <c:v>0.1888072357263991</c:v>
                </c:pt>
                <c:pt idx="73">
                  <c:v>0.20543406229290923</c:v>
                </c:pt>
                <c:pt idx="74">
                  <c:v>0.20552147239263804</c:v>
                </c:pt>
                <c:pt idx="75">
                  <c:v>0.23837209302325582</c:v>
                </c:pt>
                <c:pt idx="76">
                  <c:v>0.2434536447275301</c:v>
                </c:pt>
                <c:pt idx="77">
                  <c:v>0.20647419072615922</c:v>
                </c:pt>
                <c:pt idx="78">
                  <c:v>0.23321234119782214</c:v>
                </c:pt>
                <c:pt idx="79">
                  <c:v>0.2147239263803681</c:v>
                </c:pt>
                <c:pt idx="80">
                  <c:v>0.19620774938169827</c:v>
                </c:pt>
                <c:pt idx="81">
                  <c:v>0.2154696132596685</c:v>
                </c:pt>
                <c:pt idx="82">
                  <c:v>0.23159784560143626</c:v>
                </c:pt>
                <c:pt idx="83">
                  <c:v>0.21902874132804756</c:v>
                </c:pt>
                <c:pt idx="84">
                  <c:v>0.23303834808259588</c:v>
                </c:pt>
                <c:pt idx="85">
                  <c:v>0.2300556586270872</c:v>
                </c:pt>
                <c:pt idx="86">
                  <c:v>0.2368827160493827</c:v>
                </c:pt>
                <c:pt idx="87">
                  <c:v>0.25835654596100277</c:v>
                </c:pt>
                <c:pt idx="88">
                  <c:v>0.23592233009708738</c:v>
                </c:pt>
                <c:pt idx="89">
                  <c:v>0.2830578512396694</c:v>
                </c:pt>
                <c:pt idx="90">
                  <c:v>0.27132579650565264</c:v>
                </c:pt>
                <c:pt idx="91">
                  <c:v>0.24672489082969432</c:v>
                </c:pt>
                <c:pt idx="92">
                  <c:v>0.2465986394557823</c:v>
                </c:pt>
                <c:pt idx="93">
                  <c:v>0.23012160898035547</c:v>
                </c:pt>
                <c:pt idx="94">
                  <c:v>0.24559777571825764</c:v>
                </c:pt>
                <c:pt idx="95">
                  <c:v>0.27177472167648986</c:v>
                </c:pt>
                <c:pt idx="96">
                  <c:v>0.23536299765807964</c:v>
                </c:pt>
                <c:pt idx="97">
                  <c:v>0.24711437565582373</c:v>
                </c:pt>
                <c:pt idx="98">
                  <c:v>0.2574772431729519</c:v>
                </c:pt>
                <c:pt idx="99">
                  <c:v>0.2606399502951227</c:v>
                </c:pt>
                <c:pt idx="100">
                  <c:v>0.26386158081006683</c:v>
                </c:pt>
                <c:pt idx="101">
                  <c:v>0.2636893203883495</c:v>
                </c:pt>
                <c:pt idx="102">
                  <c:v>0.2430317848410758</c:v>
                </c:pt>
                <c:pt idx="103">
                  <c:v>0.24392253811289658</c:v>
                </c:pt>
                <c:pt idx="104">
                  <c:v>0.23316536875858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717840321407564</c:v>
                </c:pt>
                <c:pt idx="1">
                  <c:v>0.365432874389077</c:v>
                </c:pt>
                <c:pt idx="2">
                  <c:v>0.3965955922684704</c:v>
                </c:pt>
                <c:pt idx="3">
                  <c:v>0.4115011007098734</c:v>
                </c:pt>
                <c:pt idx="4">
                  <c:v>0.4016941688664411</c:v>
                </c:pt>
                <c:pt idx="5">
                  <c:v>0.34555819682936734</c:v>
                </c:pt>
                <c:pt idx="6">
                  <c:v>0.42752837946340183</c:v>
                </c:pt>
                <c:pt idx="7">
                  <c:v>0.4463700353912125</c:v>
                </c:pt>
                <c:pt idx="8">
                  <c:v>0.39151730493482173</c:v>
                </c:pt>
                <c:pt idx="9">
                  <c:v>0.33459301870136265</c:v>
                </c:pt>
                <c:pt idx="10">
                  <c:v>0.3810919715564376</c:v>
                </c:pt>
                <c:pt idx="11">
                  <c:v>0.41712230557415964</c:v>
                </c:pt>
                <c:pt idx="12">
                  <c:v>0.44169769707818574</c:v>
                </c:pt>
                <c:pt idx="13">
                  <c:v>0.46331381814531747</c:v>
                </c:pt>
                <c:pt idx="14">
                  <c:v>0.47025741016103734</c:v>
                </c:pt>
                <c:pt idx="15">
                  <c:v>0.37989955298698336</c:v>
                </c:pt>
                <c:pt idx="16">
                  <c:v>0.4300089804138697</c:v>
                </c:pt>
                <c:pt idx="17">
                  <c:v>0.355556512331778</c:v>
                </c:pt>
                <c:pt idx="18">
                  <c:v>0.3561162476252556</c:v>
                </c:pt>
                <c:pt idx="19">
                  <c:v>0.3481339196271919</c:v>
                </c:pt>
                <c:pt idx="20">
                  <c:v>0.3540249456655223</c:v>
                </c:pt>
                <c:pt idx="21">
                  <c:v>0.326472539395505</c:v>
                </c:pt>
                <c:pt idx="22">
                  <c:v>0.3808428597457402</c:v>
                </c:pt>
                <c:pt idx="23">
                  <c:v>0.35797517280287916</c:v>
                </c:pt>
                <c:pt idx="24">
                  <c:v>0.3587553131073308</c:v>
                </c:pt>
                <c:pt idx="25">
                  <c:v>0.3601843185659622</c:v>
                </c:pt>
                <c:pt idx="26">
                  <c:v>0.32495891051797177</c:v>
                </c:pt>
                <c:pt idx="27">
                  <c:v>0.3323402788496167</c:v>
                </c:pt>
                <c:pt idx="28">
                  <c:v>0.4079944009185989</c:v>
                </c:pt>
                <c:pt idx="29">
                  <c:v>0.4125695545131674</c:v>
                </c:pt>
                <c:pt idx="30">
                  <c:v>0.3883010080150255</c:v>
                </c:pt>
                <c:pt idx="31">
                  <c:v>0.30727266861223956</c:v>
                </c:pt>
                <c:pt idx="32">
                  <c:v>0.3089211681230321</c:v>
                </c:pt>
                <c:pt idx="33">
                  <c:v>0.2745225552135823</c:v>
                </c:pt>
                <c:pt idx="34">
                  <c:v>0.32141885023736916</c:v>
                </c:pt>
                <c:pt idx="35">
                  <c:v>0.33937231390387795</c:v>
                </c:pt>
                <c:pt idx="36">
                  <c:v>0.31602841599205705</c:v>
                </c:pt>
                <c:pt idx="37">
                  <c:v>0.30285978064351543</c:v>
                </c:pt>
                <c:pt idx="38">
                  <c:v>0.3192697788363775</c:v>
                </c:pt>
                <c:pt idx="39">
                  <c:v>0.32409638525105106</c:v>
                </c:pt>
                <c:pt idx="40">
                  <c:v>0.3307469497763596</c:v>
                </c:pt>
                <c:pt idx="41">
                  <c:v>0.35067794016081016</c:v>
                </c:pt>
                <c:pt idx="42">
                  <c:v>0.3538442510127044</c:v>
                </c:pt>
                <c:pt idx="43">
                  <c:v>0.3484970986839868</c:v>
                </c:pt>
                <c:pt idx="44">
                  <c:v>0.376243565827717</c:v>
                </c:pt>
                <c:pt idx="45">
                  <c:v>0.42338372778059924</c:v>
                </c:pt>
                <c:pt idx="46">
                  <c:v>0.38952816682228447</c:v>
                </c:pt>
                <c:pt idx="47">
                  <c:v>0.4185592798736528</c:v>
                </c:pt>
                <c:pt idx="48">
                  <c:v>0.4123130443765222</c:v>
                </c:pt>
                <c:pt idx="49">
                  <c:v>0.4391864409876093</c:v>
                </c:pt>
                <c:pt idx="50">
                  <c:v>0.472828340253823</c:v>
                </c:pt>
                <c:pt idx="51">
                  <c:v>0.4023554399660966</c:v>
                </c:pt>
              </c:numCache>
            </c:numRef>
          </c:xVal>
          <c:yVal>
            <c:numRef>
              <c:f>Sheet1!$B$109:$B$160</c:f>
              <c:numCache>
                <c:formatCode>General</c:formatCode>
                <c:ptCount val="52"/>
                <c:pt idx="0">
                  <c:v>0.23790501553484245</c:v>
                </c:pt>
                <c:pt idx="1">
                  <c:v>0.23234984193888303</c:v>
                </c:pt>
                <c:pt idx="2">
                  <c:v>0.2498928418345478</c:v>
                </c:pt>
                <c:pt idx="3">
                  <c:v>0.27041036717062633</c:v>
                </c:pt>
                <c:pt idx="4">
                  <c:v>0.2563391442155309</c:v>
                </c:pt>
                <c:pt idx="5">
                  <c:v>0.24066719618745036</c:v>
                </c:pt>
                <c:pt idx="6">
                  <c:v>0.24121127741037243</c:v>
                </c:pt>
                <c:pt idx="7">
                  <c:v>0.24906811250423586</c:v>
                </c:pt>
                <c:pt idx="8">
                  <c:v>0.24390243902439024</c:v>
                </c:pt>
                <c:pt idx="9">
                  <c:v>0.25175644028103045</c:v>
                </c:pt>
                <c:pt idx="10">
                  <c:v>0.24889170360987967</c:v>
                </c:pt>
                <c:pt idx="11">
                  <c:v>0.247568988173456</c:v>
                </c:pt>
                <c:pt idx="12">
                  <c:v>0.2422447828539199</c:v>
                </c:pt>
                <c:pt idx="13">
                  <c:v>0.2514792899408284</c:v>
                </c:pt>
                <c:pt idx="14">
                  <c:v>0.24990879241152864</c:v>
                </c:pt>
                <c:pt idx="15">
                  <c:v>0.2384678747940692</c:v>
                </c:pt>
                <c:pt idx="16">
                  <c:v>0.2356687898089172</c:v>
                </c:pt>
                <c:pt idx="17">
                  <c:v>0.2655099894847529</c:v>
                </c:pt>
                <c:pt idx="18">
                  <c:v>0.2397147558968733</c:v>
                </c:pt>
                <c:pt idx="19">
                  <c:v>0.23819163292847503</c:v>
                </c:pt>
                <c:pt idx="20">
                  <c:v>0.2398989898989899</c:v>
                </c:pt>
                <c:pt idx="21">
                  <c:v>0.2444267515923567</c:v>
                </c:pt>
                <c:pt idx="22">
                  <c:v>0.22842639593908629</c:v>
                </c:pt>
                <c:pt idx="23">
                  <c:v>0.2523230879199428</c:v>
                </c:pt>
                <c:pt idx="24">
                  <c:v>0.24049707602339182</c:v>
                </c:pt>
                <c:pt idx="25">
                  <c:v>0.2507530120481928</c:v>
                </c:pt>
                <c:pt idx="26">
                  <c:v>0.2695439739413681</c:v>
                </c:pt>
                <c:pt idx="27">
                  <c:v>0.27239488117001825</c:v>
                </c:pt>
                <c:pt idx="28">
                  <c:v>0.23055809698078683</c:v>
                </c:pt>
                <c:pt idx="29">
                  <c:v>0.24491869918699186</c:v>
                </c:pt>
                <c:pt idx="30">
                  <c:v>0.25231719876416064</c:v>
                </c:pt>
                <c:pt idx="31">
                  <c:v>0.23353293413173654</c:v>
                </c:pt>
                <c:pt idx="32">
                  <c:v>0.22662266226622663</c:v>
                </c:pt>
                <c:pt idx="33">
                  <c:v>0.23491552695092519</c:v>
                </c:pt>
                <c:pt idx="34">
                  <c:v>0.2719836400817996</c:v>
                </c:pt>
                <c:pt idx="35">
                  <c:v>0.2552166934189406</c:v>
                </c:pt>
                <c:pt idx="36">
                  <c:v>0.2561105207226355</c:v>
                </c:pt>
                <c:pt idx="37">
                  <c:v>0.2606741573033708</c:v>
                </c:pt>
                <c:pt idx="38">
                  <c:v>0.2652838427947598</c:v>
                </c:pt>
                <c:pt idx="39">
                  <c:v>0.24670433145009416</c:v>
                </c:pt>
                <c:pt idx="40">
                  <c:v>0.250814332247557</c:v>
                </c:pt>
                <c:pt idx="41">
                  <c:v>0.25404944586530265</c:v>
                </c:pt>
                <c:pt idx="42">
                  <c:v>0.22850503485670023</c:v>
                </c:pt>
                <c:pt idx="43">
                  <c:v>0.2292909211398277</c:v>
                </c:pt>
                <c:pt idx="44">
                  <c:v>0.23443983402489627</c:v>
                </c:pt>
                <c:pt idx="45">
                  <c:v>0.26033519553072626</c:v>
                </c:pt>
                <c:pt idx="46">
                  <c:v>0.2704995287464656</c:v>
                </c:pt>
                <c:pt idx="47">
                  <c:v>0.2669902912621359</c:v>
                </c:pt>
                <c:pt idx="48">
                  <c:v>0.2649828767123288</c:v>
                </c:pt>
                <c:pt idx="49">
                  <c:v>0.25645813881108</c:v>
                </c:pt>
                <c:pt idx="50">
                  <c:v>0.2403700906344411</c:v>
                </c:pt>
                <c:pt idx="51">
                  <c:v>0.2491830065359477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169335705496763</c:v>
                </c:pt>
              </c:numCache>
            </c:numRef>
          </c:xVal>
          <c:yVal>
            <c:numRef>
              <c:f>Sheet1!$B$163:$B$164</c:f>
              <c:numCache>
                <c:formatCode>General</c:formatCode>
                <c:ptCount val="2"/>
                <c:pt idx="0">
                  <c:v>0.2972606357575652</c:v>
                </c:pt>
                <c:pt idx="1">
                  <c:v>0.29726063575756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169335705496763</c:v>
                </c:pt>
                <c:pt idx="1">
                  <c:v>9.169335705496763</c:v>
                </c:pt>
              </c:numCache>
            </c:numRef>
          </c:xVal>
          <c:yVal>
            <c:numRef>
              <c:f>Sheet1!$B$167:$B$168</c:f>
              <c:numCache>
                <c:formatCode>General</c:formatCode>
                <c:ptCount val="2"/>
                <c:pt idx="0">
                  <c:v>0.29726063575756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654787034603142</c:v>
                </c:pt>
              </c:numCache>
            </c:numRef>
          </c:xVal>
          <c:yVal>
            <c:numRef>
              <c:f>Sheet1!$B$171:$B$172</c:f>
              <c:numCache>
                <c:formatCode>General</c:formatCode>
                <c:ptCount val="2"/>
                <c:pt idx="0">
                  <c:v>0.2527485281734494</c:v>
                </c:pt>
                <c:pt idx="1">
                  <c:v>0.252748528173449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654787034603142</c:v>
                </c:pt>
                <c:pt idx="1">
                  <c:v>1.1654787034603142</c:v>
                </c:pt>
              </c:numCache>
            </c:numRef>
          </c:xVal>
          <c:yVal>
            <c:numRef>
              <c:f>Sheet1!$B$175:$B$176</c:f>
              <c:numCache>
                <c:formatCode>General</c:formatCode>
                <c:ptCount val="2"/>
                <c:pt idx="0">
                  <c:v>0.25274852817344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75386423065572</c:v>
                </c:pt>
              </c:numCache>
            </c:numRef>
          </c:xVal>
          <c:yVal>
            <c:numRef>
              <c:f>Sheet1!$B$179:$B$180</c:f>
              <c:numCache>
                <c:formatCode>General</c:formatCode>
                <c:ptCount val="2"/>
                <c:pt idx="0">
                  <c:v>0.2502017713705772</c:v>
                </c:pt>
                <c:pt idx="1">
                  <c:v>0.250201771370577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75386423065572</c:v>
                </c:pt>
                <c:pt idx="1">
                  <c:v>0.7075386423065572</c:v>
                </c:pt>
              </c:numCache>
            </c:numRef>
          </c:xVal>
          <c:yVal>
            <c:numRef>
              <c:f>Sheet1!$B$183:$B$184</c:f>
              <c:numCache>
                <c:formatCode>General</c:formatCode>
                <c:ptCount val="2"/>
                <c:pt idx="0">
                  <c:v>0.250201771370577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717840321407564</c:v>
                </c:pt>
                <c:pt idx="1">
                  <c:v>0.365432874389077</c:v>
                </c:pt>
                <c:pt idx="2">
                  <c:v>0.3965955922684704</c:v>
                </c:pt>
                <c:pt idx="3">
                  <c:v>0.4115011007098734</c:v>
                </c:pt>
                <c:pt idx="4">
                  <c:v>0.4016941688664411</c:v>
                </c:pt>
                <c:pt idx="5">
                  <c:v>0.34555819682936734</c:v>
                </c:pt>
                <c:pt idx="6">
                  <c:v>0.42752837946340183</c:v>
                </c:pt>
                <c:pt idx="7">
                  <c:v>0.4463700353912125</c:v>
                </c:pt>
                <c:pt idx="8">
                  <c:v>0.39151730493482173</c:v>
                </c:pt>
                <c:pt idx="9">
                  <c:v>0.33459301870136265</c:v>
                </c:pt>
                <c:pt idx="10">
                  <c:v>0.3810919715564376</c:v>
                </c:pt>
                <c:pt idx="11">
                  <c:v>0.41712230557415964</c:v>
                </c:pt>
                <c:pt idx="12">
                  <c:v>0.44169769707818574</c:v>
                </c:pt>
                <c:pt idx="13">
                  <c:v>0.46331381814531747</c:v>
                </c:pt>
                <c:pt idx="14">
                  <c:v>0.47025741016103734</c:v>
                </c:pt>
                <c:pt idx="15">
                  <c:v>0.37989955298698336</c:v>
                </c:pt>
                <c:pt idx="16">
                  <c:v>0.4300089804138697</c:v>
                </c:pt>
                <c:pt idx="17">
                  <c:v>0.355556512331778</c:v>
                </c:pt>
                <c:pt idx="18">
                  <c:v>0.3561162476252556</c:v>
                </c:pt>
                <c:pt idx="19">
                  <c:v>0.3481339196271919</c:v>
                </c:pt>
                <c:pt idx="20">
                  <c:v>0.3540249456655223</c:v>
                </c:pt>
                <c:pt idx="21">
                  <c:v>0.326472539395505</c:v>
                </c:pt>
                <c:pt idx="22">
                  <c:v>0.3808428597457402</c:v>
                </c:pt>
                <c:pt idx="23">
                  <c:v>0.35797517280287916</c:v>
                </c:pt>
                <c:pt idx="24">
                  <c:v>0.3587553131073308</c:v>
                </c:pt>
                <c:pt idx="25">
                  <c:v>0.3601843185659622</c:v>
                </c:pt>
                <c:pt idx="26">
                  <c:v>0.32495891051797177</c:v>
                </c:pt>
                <c:pt idx="27">
                  <c:v>0.3323402788496167</c:v>
                </c:pt>
                <c:pt idx="28">
                  <c:v>0.4079944009185989</c:v>
                </c:pt>
                <c:pt idx="29">
                  <c:v>0.4125695545131674</c:v>
                </c:pt>
                <c:pt idx="30">
                  <c:v>0.3883010080150255</c:v>
                </c:pt>
                <c:pt idx="31">
                  <c:v>0.30727266861223956</c:v>
                </c:pt>
                <c:pt idx="32">
                  <c:v>0.3089211681230321</c:v>
                </c:pt>
                <c:pt idx="33">
                  <c:v>0.2745225552135823</c:v>
                </c:pt>
                <c:pt idx="34">
                  <c:v>0.32141885023736916</c:v>
                </c:pt>
                <c:pt idx="35">
                  <c:v>0.33937231390387795</c:v>
                </c:pt>
                <c:pt idx="36">
                  <c:v>0.31602841599205705</c:v>
                </c:pt>
                <c:pt idx="37">
                  <c:v>0.30285978064351543</c:v>
                </c:pt>
                <c:pt idx="38">
                  <c:v>0.3192697788363775</c:v>
                </c:pt>
                <c:pt idx="39">
                  <c:v>0.32409638525105106</c:v>
                </c:pt>
                <c:pt idx="40">
                  <c:v>0.3307469497763596</c:v>
                </c:pt>
                <c:pt idx="41">
                  <c:v>0.35067794016081016</c:v>
                </c:pt>
                <c:pt idx="42">
                  <c:v>0.3538442510127044</c:v>
                </c:pt>
                <c:pt idx="43">
                  <c:v>0.3484970986839868</c:v>
                </c:pt>
                <c:pt idx="44">
                  <c:v>0.376243565827717</c:v>
                </c:pt>
                <c:pt idx="45">
                  <c:v>0.42338372778059924</c:v>
                </c:pt>
                <c:pt idx="46">
                  <c:v>0.38952816682228447</c:v>
                </c:pt>
                <c:pt idx="47">
                  <c:v>0.4185592798736528</c:v>
                </c:pt>
                <c:pt idx="48">
                  <c:v>0.4123130443765222</c:v>
                </c:pt>
                <c:pt idx="49">
                  <c:v>0.4391864409876093</c:v>
                </c:pt>
                <c:pt idx="50">
                  <c:v>0.472828340253823</c:v>
                </c:pt>
                <c:pt idx="51">
                  <c:v>0.4023554399660966</c:v>
                </c:pt>
                <c:pt idx="52">
                  <c:v>1.1654787034603142</c:v>
                </c:pt>
                <c:pt idx="53">
                  <c:v>9.169335705496763</c:v>
                </c:pt>
                <c:pt idx="54">
                  <c:v>0.7075386423065572</c:v>
                </c:pt>
              </c:numCache>
            </c:numRef>
          </c:xVal>
          <c:yVal>
            <c:numRef>
              <c:f>Sheet1!$B$187:$B$241</c:f>
              <c:numCache>
                <c:formatCode>General</c:formatCode>
                <c:ptCount val="55"/>
                <c:pt idx="0">
                  <c:v>0.24833452844935053</c:v>
                </c:pt>
                <c:pt idx="1">
                  <c:v>0.2482992075513067</c:v>
                </c:pt>
                <c:pt idx="2">
                  <c:v>0.24847251377735596</c:v>
                </c:pt>
                <c:pt idx="3">
                  <c:v>0.24855540826124928</c:v>
                </c:pt>
                <c:pt idx="4">
                  <c:v>0.24850086865550997</c:v>
                </c:pt>
                <c:pt idx="5">
                  <c:v>0.24818867786724158</c:v>
                </c:pt>
                <c:pt idx="6">
                  <c:v>0.24864454128248845</c:v>
                </c:pt>
                <c:pt idx="7">
                  <c:v>0.2487493259900998</c:v>
                </c:pt>
                <c:pt idx="8">
                  <c:v>0.24844427173454076</c:v>
                </c:pt>
                <c:pt idx="9">
                  <c:v>0.24812769686915673</c:v>
                </c:pt>
                <c:pt idx="10">
                  <c:v>0.24838629299243917</c:v>
                </c:pt>
                <c:pt idx="11">
                  <c:v>0.24858666964880377</c:v>
                </c:pt>
                <c:pt idx="12">
                  <c:v>0.24872334156464018</c:v>
                </c:pt>
                <c:pt idx="13">
                  <c:v>0.248843555994539</c:v>
                </c:pt>
                <c:pt idx="14">
                  <c:v>0.2488821716163255</c:v>
                </c:pt>
                <c:pt idx="15">
                  <c:v>0.24837966155666574</c:v>
                </c:pt>
                <c:pt idx="16">
                  <c:v>0.24865833672840312</c:v>
                </c:pt>
                <c:pt idx="17">
                  <c:v>0.2482442818210841</c:v>
                </c:pt>
                <c:pt idx="18">
                  <c:v>0.24824739469498922</c:v>
                </c:pt>
                <c:pt idx="19">
                  <c:v>0.24820300231734788</c:v>
                </c:pt>
                <c:pt idx="20">
                  <c:v>0.24823576427008295</c:v>
                </c:pt>
                <c:pt idx="21">
                  <c:v>0.24808253618620038</c:v>
                </c:pt>
                <c:pt idx="22">
                  <c:v>0.2483849075989076</c:v>
                </c:pt>
                <c:pt idx="23">
                  <c:v>0.24825773279541705</c:v>
                </c:pt>
                <c:pt idx="24">
                  <c:v>0.24826207141480439</c:v>
                </c:pt>
                <c:pt idx="25">
                  <c:v>0.2482700185888602</c:v>
                </c:pt>
                <c:pt idx="26">
                  <c:v>0.24807411839320107</c:v>
                </c:pt>
                <c:pt idx="27">
                  <c:v>0.24811516863450506</c:v>
                </c:pt>
                <c:pt idx="28">
                  <c:v>0.2485359063388218</c:v>
                </c:pt>
                <c:pt idx="29">
                  <c:v>0.24856135028777834</c:v>
                </c:pt>
                <c:pt idx="30">
                  <c:v>0.2484263848389503</c:v>
                </c:pt>
                <c:pt idx="31">
                  <c:v>0.24797575932678267</c:v>
                </c:pt>
                <c:pt idx="32">
                  <c:v>0.24798492718017612</c:v>
                </c:pt>
                <c:pt idx="33">
                  <c:v>0.24779362506693492</c:v>
                </c:pt>
                <c:pt idx="34">
                  <c:v>0.24805443094201043</c:v>
                </c:pt>
                <c:pt idx="35">
                  <c:v>0.2481542761174087</c:v>
                </c:pt>
                <c:pt idx="36">
                  <c:v>0.24802445294652758</c:v>
                </c:pt>
                <c:pt idx="37">
                  <c:v>0.24795121779087434</c:v>
                </c:pt>
                <c:pt idx="38">
                  <c:v>0.24804247924205094</c:v>
                </c:pt>
                <c:pt idx="39">
                  <c:v>0.24806932160367004</c:v>
                </c:pt>
                <c:pt idx="40">
                  <c:v>0.24810630760224175</c:v>
                </c:pt>
                <c:pt idx="41">
                  <c:v>0.24821715046063178</c:v>
                </c:pt>
                <c:pt idx="42">
                  <c:v>0.2482347593670938</c:v>
                </c:pt>
                <c:pt idx="43">
                  <c:v>0.24820502207672693</c:v>
                </c:pt>
                <c:pt idx="44">
                  <c:v>0.24835932939759317</c:v>
                </c:pt>
                <c:pt idx="45">
                  <c:v>0.24862149149767135</c:v>
                </c:pt>
                <c:pt idx="46">
                  <c:v>0.2484332094767265</c:v>
                </c:pt>
                <c:pt idx="47">
                  <c:v>0.24859466114023077</c:v>
                </c:pt>
                <c:pt idx="48">
                  <c:v>0.24855992374969854</c:v>
                </c:pt>
                <c:pt idx="49">
                  <c:v>0.24870937563530804</c:v>
                </c:pt>
                <c:pt idx="50">
                  <c:v>0.248896469412607</c:v>
                </c:pt>
                <c:pt idx="51">
                  <c:v>0.24850454620376233</c:v>
                </c:pt>
                <c:pt idx="52">
                  <c:v>0.2527485281734494</c:v>
                </c:pt>
                <c:pt idx="53">
                  <c:v>0.2972606357575652</c:v>
                </c:pt>
                <c:pt idx="54">
                  <c:v>0.250201771370577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16429554841665"/>
          <c:min val="0.148508825319537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6.6929</c:v>
                </c:pt>
                <c:pt idx="1">
                  <c:v>887.0352</c:v>
                </c:pt>
                <c:pt idx="2">
                  <c:v>960.5041</c:v>
                </c:pt>
                <c:pt idx="3">
                  <c:v>968.7179</c:v>
                </c:pt>
                <c:pt idx="4">
                  <c:v>978.4831</c:v>
                </c:pt>
                <c:pt idx="5">
                  <c:v>968.1659</c:v>
                </c:pt>
                <c:pt idx="6">
                  <c:v>940.8472</c:v>
                </c:pt>
                <c:pt idx="7">
                  <c:v>930.5104</c:v>
                </c:pt>
                <c:pt idx="8">
                  <c:v>933.5777</c:v>
                </c:pt>
                <c:pt idx="9">
                  <c:v>927.0959</c:v>
                </c:pt>
                <c:pt idx="10">
                  <c:v>907.8369</c:v>
                </c:pt>
                <c:pt idx="11">
                  <c:v>962.4898</c:v>
                </c:pt>
                <c:pt idx="12">
                  <c:v>984.8279</c:v>
                </c:pt>
                <c:pt idx="13">
                  <c:v>977.2827</c:v>
                </c:pt>
                <c:pt idx="14">
                  <c:v>985.1275</c:v>
                </c:pt>
                <c:pt idx="15">
                  <c:v>991.6403</c:v>
                </c:pt>
                <c:pt idx="16">
                  <c:v>1026.9918</c:v>
                </c:pt>
                <c:pt idx="17">
                  <c:v>1048.1882</c:v>
                </c:pt>
                <c:pt idx="18">
                  <c:v>1086.8428</c:v>
                </c:pt>
                <c:pt idx="19">
                  <c:v>1100.4263</c:v>
                </c:pt>
                <c:pt idx="20">
                  <c:v>1128.9049</c:v>
                </c:pt>
                <c:pt idx="21">
                  <c:v>1143.373</c:v>
                </c:pt>
                <c:pt idx="22">
                  <c:v>1101.3918</c:v>
                </c:pt>
                <c:pt idx="23">
                  <c:v>1073.8841</c:v>
                </c:pt>
                <c:pt idx="24">
                  <c:v>1088.9391</c:v>
                </c:pt>
                <c:pt idx="25">
                  <c:v>1089.4505</c:v>
                </c:pt>
                <c:pt idx="26">
                  <c:v>1107.461</c:v>
                </c:pt>
                <c:pt idx="27">
                  <c:v>1106.4498</c:v>
                </c:pt>
                <c:pt idx="28">
                  <c:v>1085.7923</c:v>
                </c:pt>
                <c:pt idx="29">
                  <c:v>1046.466</c:v>
                </c:pt>
                <c:pt idx="30">
                  <c:v>1063.9805</c:v>
                </c:pt>
                <c:pt idx="31">
                  <c:v>1041.7019</c:v>
                </c:pt>
                <c:pt idx="32">
                  <c:v>1027.4904</c:v>
                </c:pt>
                <c:pt idx="33">
                  <c:v>939.3836</c:v>
                </c:pt>
                <c:pt idx="34">
                  <c:v>984.1441</c:v>
                </c:pt>
                <c:pt idx="35">
                  <c:v>1051.5371</c:v>
                </c:pt>
                <c:pt idx="36">
                  <c:v>1125.9438</c:v>
                </c:pt>
                <c:pt idx="37">
                  <c:v>1115.5209</c:v>
                </c:pt>
                <c:pt idx="38">
                  <c:v>1184.4483</c:v>
                </c:pt>
                <c:pt idx="39">
                  <c:v>1220.2773</c:v>
                </c:pt>
                <c:pt idx="40">
                  <c:v>1199.6246</c:v>
                </c:pt>
                <c:pt idx="41">
                  <c:v>1232.2226</c:v>
                </c:pt>
                <c:pt idx="42">
                  <c:v>1265.881</c:v>
                </c:pt>
                <c:pt idx="43">
                  <c:v>1303.6797</c:v>
                </c:pt>
                <c:pt idx="44">
                  <c:v>1236.044</c:v>
                </c:pt>
                <c:pt idx="45">
                  <c:v>1194.5293</c:v>
                </c:pt>
                <c:pt idx="46">
                  <c:v>1143.8649</c:v>
                </c:pt>
                <c:pt idx="47">
                  <c:v>1138.096</c:v>
                </c:pt>
                <c:pt idx="48">
                  <c:v>1124.7461</c:v>
                </c:pt>
                <c:pt idx="49">
                  <c:v>1070.0032</c:v>
                </c:pt>
                <c:pt idx="50">
                  <c:v>1055.3068</c:v>
                </c:pt>
                <c:pt idx="51">
                  <c:v>1093.1089</c:v>
                </c:pt>
                <c:pt idx="52">
                  <c:v>1090.4043</c:v>
                </c:pt>
                <c:pt idx="53">
                  <c:v>1204.4653</c:v>
                </c:pt>
                <c:pt idx="54">
                  <c:v>1163.434</c:v>
                </c:pt>
                <c:pt idx="55">
                  <c:v>1184.0782</c:v>
                </c:pt>
                <c:pt idx="56">
                  <c:v>1205.8794</c:v>
                </c:pt>
                <c:pt idx="57">
                  <c:v>1194.1429</c:v>
                </c:pt>
                <c:pt idx="58">
                  <c:v>1155.6123</c:v>
                </c:pt>
                <c:pt idx="59">
                  <c:v>1162.6959</c:v>
                </c:pt>
                <c:pt idx="60">
                  <c:v>1183.2938</c:v>
                </c:pt>
                <c:pt idx="61">
                  <c:v>1170.8857</c:v>
                </c:pt>
                <c:pt idx="62">
                  <c:v>1142.652</c:v>
                </c:pt>
                <c:pt idx="63">
                  <c:v>1164.3753</c:v>
                </c:pt>
                <c:pt idx="64">
                  <c:v>1160.181</c:v>
                </c:pt>
                <c:pt idx="65">
                  <c:v>1175.4663</c:v>
                </c:pt>
                <c:pt idx="66">
                  <c:v>1161.7905</c:v>
                </c:pt>
                <c:pt idx="67">
                  <c:v>1167.5475</c:v>
                </c:pt>
                <c:pt idx="68">
                  <c:v>1192.4798</c:v>
                </c:pt>
                <c:pt idx="69">
                  <c:v>1227.1129</c:v>
                </c:pt>
                <c:pt idx="70">
                  <c:v>1244.6226</c:v>
                </c:pt>
                <c:pt idx="71">
                  <c:v>1287.8291</c:v>
                </c:pt>
                <c:pt idx="72">
                  <c:v>1384.1916</c:v>
                </c:pt>
                <c:pt idx="73">
                  <c:v>1348.5645</c:v>
                </c:pt>
                <c:pt idx="74">
                  <c:v>1335.3373</c:v>
                </c:pt>
                <c:pt idx="75">
                  <c:v>1246.1189</c:v>
                </c:pt>
                <c:pt idx="76">
                  <c:v>1283.9942</c:v>
                </c:pt>
                <c:pt idx="77">
                  <c:v>1326.1271</c:v>
                </c:pt>
                <c:pt idx="78">
                  <c:v>1341.7198</c:v>
                </c:pt>
                <c:pt idx="79">
                  <c:v>1352.5464</c:v>
                </c:pt>
                <c:pt idx="80">
                  <c:v>1331.042</c:v>
                </c:pt>
                <c:pt idx="81">
                  <c:v>1321.7628</c:v>
                </c:pt>
                <c:pt idx="82">
                  <c:v>1310.8023</c:v>
                </c:pt>
                <c:pt idx="83">
                  <c:v>1250.638</c:v>
                </c:pt>
                <c:pt idx="84">
                  <c:v>1274.3122</c:v>
                </c:pt>
                <c:pt idx="85">
                  <c:v>1265.8266</c:v>
                </c:pt>
                <c:pt idx="86">
                  <c:v>1248.9674</c:v>
                </c:pt>
                <c:pt idx="87">
                  <c:v>1234.1644</c:v>
                </c:pt>
                <c:pt idx="88">
                  <c:v>1308.3374</c:v>
                </c:pt>
                <c:pt idx="89">
                  <c:v>1285.4453</c:v>
                </c:pt>
                <c:pt idx="90">
                  <c:v>1357.4848</c:v>
                </c:pt>
                <c:pt idx="91">
                  <c:v>1334.5088</c:v>
                </c:pt>
                <c:pt idx="92">
                  <c:v>1308.6483</c:v>
                </c:pt>
                <c:pt idx="93">
                  <c:v>1337.1992</c:v>
                </c:pt>
                <c:pt idx="94">
                  <c:v>1294.283</c:v>
                </c:pt>
                <c:pt idx="95">
                  <c:v>1213.2048</c:v>
                </c:pt>
                <c:pt idx="96">
                  <c:v>1285.4478</c:v>
                </c:pt>
                <c:pt idx="97">
                  <c:v>1243.4904</c:v>
                </c:pt>
                <c:pt idx="98">
                  <c:v>1183.1616</c:v>
                </c:pt>
                <c:pt idx="99">
                  <c:v>1153.4267</c:v>
                </c:pt>
                <c:pt idx="100">
                  <c:v>1128.5514</c:v>
                </c:pt>
                <c:pt idx="101">
                  <c:v>1181.8925</c:v>
                </c:pt>
                <c:pt idx="102">
                  <c:v>1179.1469</c:v>
                </c:pt>
                <c:pt idx="103">
                  <c:v>1153.9493</c:v>
                </c:pt>
                <c:pt idx="104">
                  <c:v>1224.8546</c:v>
                </c:pt>
              </c:numCache>
            </c:numRef>
          </c:xVal>
          <c:yVal>
            <c:numRef>
              <c:f>Sheet1!$B$2:$B$106</c:f>
              <c:numCache>
                <c:formatCode>General</c:formatCode>
                <c:ptCount val="105"/>
                <c:pt idx="0">
                  <c:v>0.29930866205774703</c:v>
                </c:pt>
                <c:pt idx="1">
                  <c:v>0.27897838899803534</c:v>
                </c:pt>
                <c:pt idx="2">
                  <c:v>0.28036951501154733</c:v>
                </c:pt>
                <c:pt idx="3">
                  <c:v>0.28490468830499743</c:v>
                </c:pt>
                <c:pt idx="4">
                  <c:v>0.2857142857142857</c:v>
                </c:pt>
                <c:pt idx="5">
                  <c:v>0.3032544378698225</c:v>
                </c:pt>
                <c:pt idx="6">
                  <c:v>0.30238095238095236</c:v>
                </c:pt>
                <c:pt idx="7">
                  <c:v>0.33180357962368057</c:v>
                </c:pt>
                <c:pt idx="8">
                  <c:v>0.3086312118570183</c:v>
                </c:pt>
                <c:pt idx="9">
                  <c:v>0.2928082191780822</c:v>
                </c:pt>
                <c:pt idx="10">
                  <c:v>0.3063844552394171</c:v>
                </c:pt>
                <c:pt idx="11">
                  <c:v>0.2793783169067475</c:v>
                </c:pt>
                <c:pt idx="12">
                  <c:v>0.2771677394926164</c:v>
                </c:pt>
                <c:pt idx="13">
                  <c:v>0.2634107285828663</c:v>
                </c:pt>
                <c:pt idx="14">
                  <c:v>0.24557066337041616</c:v>
                </c:pt>
                <c:pt idx="15">
                  <c:v>0.22714007782101167</c:v>
                </c:pt>
                <c:pt idx="16">
                  <c:v>0.21159420289855072</c:v>
                </c:pt>
                <c:pt idx="17">
                  <c:v>0.2138364779874214</c:v>
                </c:pt>
                <c:pt idx="18">
                  <c:v>0.1948529411764706</c:v>
                </c:pt>
                <c:pt idx="19">
                  <c:v>0.20658436213991768</c:v>
                </c:pt>
                <c:pt idx="20">
                  <c:v>0.1856360316494218</c:v>
                </c:pt>
                <c:pt idx="21">
                  <c:v>0.18666666666666668</c:v>
                </c:pt>
                <c:pt idx="22">
                  <c:v>0.22214484679665739</c:v>
                </c:pt>
                <c:pt idx="23">
                  <c:v>0.25406661502711075</c:v>
                </c:pt>
                <c:pt idx="24">
                  <c:v>0.25365853658536586</c:v>
                </c:pt>
                <c:pt idx="25">
                  <c:v>0.2398945518453427</c:v>
                </c:pt>
                <c:pt idx="26">
                  <c:v>0.25766283524904215</c:v>
                </c:pt>
                <c:pt idx="27">
                  <c:v>0.24507874015748032</c:v>
                </c:pt>
                <c:pt idx="28">
                  <c:v>0.3131201764057332</c:v>
                </c:pt>
                <c:pt idx="29">
                  <c:v>0.300921187308086</c:v>
                </c:pt>
                <c:pt idx="30">
                  <c:v>0.29506314580941445</c:v>
                </c:pt>
                <c:pt idx="31">
                  <c:v>0.31176470588235294</c:v>
                </c:pt>
                <c:pt idx="32">
                  <c:v>0.29491525423728815</c:v>
                </c:pt>
                <c:pt idx="33">
                  <c:v>0.3057591623036649</c:v>
                </c:pt>
                <c:pt idx="34">
                  <c:v>0.2945091514143095</c:v>
                </c:pt>
                <c:pt idx="35">
                  <c:v>0.28686720469552457</c:v>
                </c:pt>
                <c:pt idx="36">
                  <c:v>0.2777777777777778</c:v>
                </c:pt>
                <c:pt idx="37">
                  <c:v>0.27137870855148344</c:v>
                </c:pt>
                <c:pt idx="38">
                  <c:v>0.279144385026738</c:v>
                </c:pt>
                <c:pt idx="39">
                  <c:v>0.25882352941176473</c:v>
                </c:pt>
                <c:pt idx="40">
                  <c:v>0.25514771709937334</c:v>
                </c:pt>
                <c:pt idx="41">
                  <c:v>0.2609472743521001</c:v>
                </c:pt>
                <c:pt idx="42">
                  <c:v>0.2597173144876325</c:v>
                </c:pt>
                <c:pt idx="43">
                  <c:v>0.2547597461468722</c:v>
                </c:pt>
                <c:pt idx="44">
                  <c:v>0.2440944881889764</c:v>
                </c:pt>
                <c:pt idx="45">
                  <c:v>0.2559264634736333</c:v>
                </c:pt>
                <c:pt idx="46">
                  <c:v>0.26088458880442295</c:v>
                </c:pt>
                <c:pt idx="47">
                  <c:v>0.25880608083055245</c:v>
                </c:pt>
                <c:pt idx="48">
                  <c:v>0.2635475273911756</c:v>
                </c:pt>
                <c:pt idx="49">
                  <c:v>0.25295663600525625</c:v>
                </c:pt>
                <c:pt idx="50">
                  <c:v>0.26382411725516325</c:v>
                </c:pt>
                <c:pt idx="51">
                  <c:v>0.2413657770800628</c:v>
                </c:pt>
                <c:pt idx="52">
                  <c:v>0.24918743228602383</c:v>
                </c:pt>
                <c:pt idx="53">
                  <c:v>0.23671497584541062</c:v>
                </c:pt>
                <c:pt idx="54">
                  <c:v>0.22932692307692307</c:v>
                </c:pt>
                <c:pt idx="55">
                  <c:v>0.22258823529411764</c:v>
                </c:pt>
                <c:pt idx="56">
                  <c:v>0.23115577889447236</c:v>
                </c:pt>
                <c:pt idx="57">
                  <c:v>0.22530864197530864</c:v>
                </c:pt>
                <c:pt idx="58">
                  <c:v>0.2559262510974539</c:v>
                </c:pt>
                <c:pt idx="59">
                  <c:v>0.24693140794223828</c:v>
                </c:pt>
                <c:pt idx="60">
                  <c:v>0.24198931909212282</c:v>
                </c:pt>
                <c:pt idx="61">
                  <c:v>0.2506587615283267</c:v>
                </c:pt>
                <c:pt idx="62">
                  <c:v>0.2646966362779</c:v>
                </c:pt>
                <c:pt idx="63">
                  <c:v>0.2511888111888112</c:v>
                </c:pt>
                <c:pt idx="64">
                  <c:v>0.2525787566211319</c:v>
                </c:pt>
                <c:pt idx="65">
                  <c:v>0.22705458908218357</c:v>
                </c:pt>
                <c:pt idx="66">
                  <c:v>0.23511634935025688</c:v>
                </c:pt>
                <c:pt idx="67">
                  <c:v>0.23416080029640607</c:v>
                </c:pt>
                <c:pt idx="68">
                  <c:v>0.20811945870275314</c:v>
                </c:pt>
                <c:pt idx="69">
                  <c:v>0.21390632544664415</c:v>
                </c:pt>
                <c:pt idx="70">
                  <c:v>0.21224489795918366</c:v>
                </c:pt>
                <c:pt idx="71">
                  <c:v>0.21221281741233375</c:v>
                </c:pt>
                <c:pt idx="72">
                  <c:v>0.1888072357263991</c:v>
                </c:pt>
                <c:pt idx="73">
                  <c:v>0.20543406229290923</c:v>
                </c:pt>
                <c:pt idx="74">
                  <c:v>0.20552147239263804</c:v>
                </c:pt>
                <c:pt idx="75">
                  <c:v>0.23837209302325582</c:v>
                </c:pt>
                <c:pt idx="76">
                  <c:v>0.2434536447275301</c:v>
                </c:pt>
                <c:pt idx="77">
                  <c:v>0.20647419072615922</c:v>
                </c:pt>
                <c:pt idx="78">
                  <c:v>0.23321234119782214</c:v>
                </c:pt>
                <c:pt idx="79">
                  <c:v>0.2147239263803681</c:v>
                </c:pt>
                <c:pt idx="80">
                  <c:v>0.19620774938169827</c:v>
                </c:pt>
                <c:pt idx="81">
                  <c:v>0.2154696132596685</c:v>
                </c:pt>
                <c:pt idx="82">
                  <c:v>0.23159784560143626</c:v>
                </c:pt>
                <c:pt idx="83">
                  <c:v>0.21902874132804756</c:v>
                </c:pt>
                <c:pt idx="84">
                  <c:v>0.23303834808259588</c:v>
                </c:pt>
                <c:pt idx="85">
                  <c:v>0.2300556586270872</c:v>
                </c:pt>
                <c:pt idx="86">
                  <c:v>0.2368827160493827</c:v>
                </c:pt>
                <c:pt idx="87">
                  <c:v>0.25835654596100277</c:v>
                </c:pt>
                <c:pt idx="88">
                  <c:v>0.23592233009708738</c:v>
                </c:pt>
                <c:pt idx="89">
                  <c:v>0.2830578512396694</c:v>
                </c:pt>
                <c:pt idx="90">
                  <c:v>0.27132579650565264</c:v>
                </c:pt>
                <c:pt idx="91">
                  <c:v>0.24672489082969432</c:v>
                </c:pt>
                <c:pt idx="92">
                  <c:v>0.2465986394557823</c:v>
                </c:pt>
                <c:pt idx="93">
                  <c:v>0.23012160898035547</c:v>
                </c:pt>
                <c:pt idx="94">
                  <c:v>0.24559777571825764</c:v>
                </c:pt>
                <c:pt idx="95">
                  <c:v>0.27177472167648986</c:v>
                </c:pt>
                <c:pt idx="96">
                  <c:v>0.23536299765807964</c:v>
                </c:pt>
                <c:pt idx="97">
                  <c:v>0.24711437565582373</c:v>
                </c:pt>
                <c:pt idx="98">
                  <c:v>0.2574772431729519</c:v>
                </c:pt>
                <c:pt idx="99">
                  <c:v>0.2606399502951227</c:v>
                </c:pt>
                <c:pt idx="100">
                  <c:v>0.26386158081006683</c:v>
                </c:pt>
                <c:pt idx="101">
                  <c:v>0.2636893203883495</c:v>
                </c:pt>
                <c:pt idx="102">
                  <c:v>0.2430317848410758</c:v>
                </c:pt>
                <c:pt idx="103">
                  <c:v>0.24392253811289658</c:v>
                </c:pt>
                <c:pt idx="104">
                  <c:v>0.23316536875858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3.2332</c:v>
                </c:pt>
                <c:pt idx="1">
                  <c:v>1275.5873</c:v>
                </c:pt>
                <c:pt idx="2">
                  <c:v>1285.7804</c:v>
                </c:pt>
                <c:pt idx="3">
                  <c:v>1235.3147</c:v>
                </c:pt>
                <c:pt idx="4">
                  <c:v>1294.0139</c:v>
                </c:pt>
                <c:pt idx="5">
                  <c:v>1295.698</c:v>
                </c:pt>
                <c:pt idx="6">
                  <c:v>1215.0404</c:v>
                </c:pt>
                <c:pt idx="7">
                  <c:v>1217.2027</c:v>
                </c:pt>
                <c:pt idx="8">
                  <c:v>1246.8329</c:v>
                </c:pt>
                <c:pt idx="9">
                  <c:v>1200.214</c:v>
                </c:pt>
                <c:pt idx="10">
                  <c:v>1235.6552</c:v>
                </c:pt>
                <c:pt idx="11">
                  <c:v>1131.517</c:v>
                </c:pt>
                <c:pt idx="12">
                  <c:v>1167.0268</c:v>
                </c:pt>
                <c:pt idx="13">
                  <c:v>1204.7072</c:v>
                </c:pt>
                <c:pt idx="14">
                  <c:v>1173.2715</c:v>
                </c:pt>
                <c:pt idx="15">
                  <c:v>1183.9603</c:v>
                </c:pt>
                <c:pt idx="16">
                  <c:v>1227.4802</c:v>
                </c:pt>
                <c:pt idx="17">
                  <c:v>1130.5485</c:v>
                </c:pt>
                <c:pt idx="18">
                  <c:v>1231.5263</c:v>
                </c:pt>
                <c:pt idx="19">
                  <c:v>1318.2635</c:v>
                </c:pt>
                <c:pt idx="20">
                  <c:v>1316.7333</c:v>
                </c:pt>
                <c:pt idx="21">
                  <c:v>1263.7752</c:v>
                </c:pt>
                <c:pt idx="22">
                  <c:v>1295.9397</c:v>
                </c:pt>
                <c:pt idx="23">
                  <c:v>1285.7734</c:v>
                </c:pt>
                <c:pt idx="24">
                  <c:v>1316.0426</c:v>
                </c:pt>
                <c:pt idx="25">
                  <c:v>1293.1171</c:v>
                </c:pt>
                <c:pt idx="26">
                  <c:v>1250.3444</c:v>
                </c:pt>
                <c:pt idx="27">
                  <c:v>1291.9396</c:v>
                </c:pt>
                <c:pt idx="28">
                  <c:v>1352.0238</c:v>
                </c:pt>
                <c:pt idx="29">
                  <c:v>1372.1867</c:v>
                </c:pt>
                <c:pt idx="30">
                  <c:v>1342.6694</c:v>
                </c:pt>
                <c:pt idx="31">
                  <c:v>1309.5385</c:v>
                </c:pt>
                <c:pt idx="32">
                  <c:v>1333.267</c:v>
                </c:pt>
                <c:pt idx="33">
                  <c:v>1326.6507</c:v>
                </c:pt>
                <c:pt idx="34">
                  <c:v>1349.9449</c:v>
                </c:pt>
                <c:pt idx="35">
                  <c:v>1402.5692</c:v>
                </c:pt>
                <c:pt idx="36">
                  <c:v>1389.3154</c:v>
                </c:pt>
                <c:pt idx="37">
                  <c:v>1337.0474</c:v>
                </c:pt>
                <c:pt idx="38">
                  <c:v>1361.2181</c:v>
                </c:pt>
                <c:pt idx="39">
                  <c:v>1341.3053</c:v>
                </c:pt>
                <c:pt idx="40">
                  <c:v>1363.9221</c:v>
                </c:pt>
                <c:pt idx="41">
                  <c:v>1443.943</c:v>
                </c:pt>
                <c:pt idx="42">
                  <c:v>1431.0068</c:v>
                </c:pt>
                <c:pt idx="43">
                  <c:v>1396.0347</c:v>
                </c:pt>
                <c:pt idx="44">
                  <c:v>1342.4808</c:v>
                </c:pt>
                <c:pt idx="45">
                  <c:v>1302.5665</c:v>
                </c:pt>
                <c:pt idx="46">
                  <c:v>1251.554</c:v>
                </c:pt>
                <c:pt idx="47">
                  <c:v>1226.7587</c:v>
                </c:pt>
                <c:pt idx="48">
                  <c:v>1226.1616</c:v>
                </c:pt>
                <c:pt idx="49">
                  <c:v>1230.8507</c:v>
                </c:pt>
                <c:pt idx="50">
                  <c:v>1207.3692</c:v>
                </c:pt>
                <c:pt idx="51">
                  <c:v>1172.1508</c:v>
                </c:pt>
              </c:numCache>
            </c:numRef>
          </c:xVal>
          <c:yVal>
            <c:numRef>
              <c:f>Sheet1!$B$109:$B$160</c:f>
              <c:numCache>
                <c:formatCode>General</c:formatCode>
                <c:ptCount val="52"/>
                <c:pt idx="0">
                  <c:v>0.23790501553484245</c:v>
                </c:pt>
                <c:pt idx="1">
                  <c:v>0.23234984193888303</c:v>
                </c:pt>
                <c:pt idx="2">
                  <c:v>0.2498928418345478</c:v>
                </c:pt>
                <c:pt idx="3">
                  <c:v>0.27041036717062633</c:v>
                </c:pt>
                <c:pt idx="4">
                  <c:v>0.2563391442155309</c:v>
                </c:pt>
                <c:pt idx="5">
                  <c:v>0.24066719618745036</c:v>
                </c:pt>
                <c:pt idx="6">
                  <c:v>0.24121127741037243</c:v>
                </c:pt>
                <c:pt idx="7">
                  <c:v>0.24906811250423586</c:v>
                </c:pt>
                <c:pt idx="8">
                  <c:v>0.24390243902439024</c:v>
                </c:pt>
                <c:pt idx="9">
                  <c:v>0.25175644028103045</c:v>
                </c:pt>
                <c:pt idx="10">
                  <c:v>0.24889170360987967</c:v>
                </c:pt>
                <c:pt idx="11">
                  <c:v>0.247568988173456</c:v>
                </c:pt>
                <c:pt idx="12">
                  <c:v>0.2422447828539199</c:v>
                </c:pt>
                <c:pt idx="13">
                  <c:v>0.2514792899408284</c:v>
                </c:pt>
                <c:pt idx="14">
                  <c:v>0.24990879241152864</c:v>
                </c:pt>
                <c:pt idx="15">
                  <c:v>0.2384678747940692</c:v>
                </c:pt>
                <c:pt idx="16">
                  <c:v>0.2356687898089172</c:v>
                </c:pt>
                <c:pt idx="17">
                  <c:v>0.2655099894847529</c:v>
                </c:pt>
                <c:pt idx="18">
                  <c:v>0.2397147558968733</c:v>
                </c:pt>
                <c:pt idx="19">
                  <c:v>0.23819163292847503</c:v>
                </c:pt>
                <c:pt idx="20">
                  <c:v>0.2398989898989899</c:v>
                </c:pt>
                <c:pt idx="21">
                  <c:v>0.2444267515923567</c:v>
                </c:pt>
                <c:pt idx="22">
                  <c:v>0.22842639593908629</c:v>
                </c:pt>
                <c:pt idx="23">
                  <c:v>0.2523230879199428</c:v>
                </c:pt>
                <c:pt idx="24">
                  <c:v>0.24049707602339182</c:v>
                </c:pt>
                <c:pt idx="25">
                  <c:v>0.2507530120481928</c:v>
                </c:pt>
                <c:pt idx="26">
                  <c:v>0.2695439739413681</c:v>
                </c:pt>
                <c:pt idx="27">
                  <c:v>0.27239488117001825</c:v>
                </c:pt>
                <c:pt idx="28">
                  <c:v>0.23055809698078683</c:v>
                </c:pt>
                <c:pt idx="29">
                  <c:v>0.24491869918699186</c:v>
                </c:pt>
                <c:pt idx="30">
                  <c:v>0.25231719876416064</c:v>
                </c:pt>
                <c:pt idx="31">
                  <c:v>0.23353293413173654</c:v>
                </c:pt>
                <c:pt idx="32">
                  <c:v>0.22662266226622663</c:v>
                </c:pt>
                <c:pt idx="33">
                  <c:v>0.23491552695092519</c:v>
                </c:pt>
                <c:pt idx="34">
                  <c:v>0.2719836400817996</c:v>
                </c:pt>
                <c:pt idx="35">
                  <c:v>0.2552166934189406</c:v>
                </c:pt>
                <c:pt idx="36">
                  <c:v>0.2561105207226355</c:v>
                </c:pt>
                <c:pt idx="37">
                  <c:v>0.2606741573033708</c:v>
                </c:pt>
                <c:pt idx="38">
                  <c:v>0.2652838427947598</c:v>
                </c:pt>
                <c:pt idx="39">
                  <c:v>0.24670433145009416</c:v>
                </c:pt>
                <c:pt idx="40">
                  <c:v>0.250814332247557</c:v>
                </c:pt>
                <c:pt idx="41">
                  <c:v>0.25404944586530265</c:v>
                </c:pt>
                <c:pt idx="42">
                  <c:v>0.22850503485670023</c:v>
                </c:pt>
                <c:pt idx="43">
                  <c:v>0.2292909211398277</c:v>
                </c:pt>
                <c:pt idx="44">
                  <c:v>0.23443983402489627</c:v>
                </c:pt>
                <c:pt idx="45">
                  <c:v>0.26033519553072626</c:v>
                </c:pt>
                <c:pt idx="46">
                  <c:v>0.2704995287464656</c:v>
                </c:pt>
                <c:pt idx="47">
                  <c:v>0.2669902912621359</c:v>
                </c:pt>
                <c:pt idx="48">
                  <c:v>0.2649828767123288</c:v>
                </c:pt>
                <c:pt idx="49">
                  <c:v>0.25645813881108</c:v>
                </c:pt>
                <c:pt idx="50">
                  <c:v>0.2403700906344411</c:v>
                </c:pt>
                <c:pt idx="51">
                  <c:v>0.2491830065359477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41.2924444098328</c:v>
                </c:pt>
              </c:numCache>
            </c:numRef>
          </c:xVal>
          <c:yVal>
            <c:numRef>
              <c:f>Sheet1!$B$163:$B$164</c:f>
              <c:numCache>
                <c:formatCode>General</c:formatCode>
                <c:ptCount val="2"/>
                <c:pt idx="0">
                  <c:v>0.2972606357575652</c:v>
                </c:pt>
                <c:pt idx="1">
                  <c:v>0.29726063575756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41.2924444098328</c:v>
                </c:pt>
                <c:pt idx="1">
                  <c:v>-641.2924444098328</c:v>
                </c:pt>
              </c:numCache>
            </c:numRef>
          </c:xVal>
          <c:yVal>
            <c:numRef>
              <c:f>Sheet1!$B$167:$B$168</c:f>
              <c:numCache>
                <c:formatCode>General</c:formatCode>
                <c:ptCount val="2"/>
                <c:pt idx="0">
                  <c:v>0.29726063575756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8.581956366556</c:v>
                </c:pt>
              </c:numCache>
            </c:numRef>
          </c:xVal>
          <c:yVal>
            <c:numRef>
              <c:f>Sheet1!$B$171:$B$172</c:f>
              <c:numCache>
                <c:formatCode>General</c:formatCode>
                <c:ptCount val="2"/>
                <c:pt idx="0">
                  <c:v>0.2527485281734494</c:v>
                </c:pt>
                <c:pt idx="1">
                  <c:v>0.252748528173449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8.581956366556</c:v>
                </c:pt>
                <c:pt idx="1">
                  <c:v>1108.581956366556</c:v>
                </c:pt>
              </c:numCache>
            </c:numRef>
          </c:xVal>
          <c:yVal>
            <c:numRef>
              <c:f>Sheet1!$B$175:$B$176</c:f>
              <c:numCache>
                <c:formatCode>General</c:formatCode>
                <c:ptCount val="2"/>
                <c:pt idx="0">
                  <c:v>0.25274852817344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8.7008852653414</c:v>
                </c:pt>
              </c:numCache>
            </c:numRef>
          </c:xVal>
          <c:yVal>
            <c:numRef>
              <c:f>Sheet1!$B$179:$B$180</c:f>
              <c:numCache>
                <c:formatCode>General</c:formatCode>
                <c:ptCount val="2"/>
                <c:pt idx="0">
                  <c:v>0.2502017713705772</c:v>
                </c:pt>
                <c:pt idx="1">
                  <c:v>0.250201771370577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8.7008852653414</c:v>
                </c:pt>
                <c:pt idx="1">
                  <c:v>1208.7008852653414</c:v>
                </c:pt>
              </c:numCache>
            </c:numRef>
          </c:xVal>
          <c:yVal>
            <c:numRef>
              <c:f>Sheet1!$B$183:$B$184</c:f>
              <c:numCache>
                <c:formatCode>General</c:formatCode>
                <c:ptCount val="2"/>
                <c:pt idx="0">
                  <c:v>0.250201771370577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3.2332</c:v>
                </c:pt>
                <c:pt idx="1">
                  <c:v>1275.5873</c:v>
                </c:pt>
                <c:pt idx="2">
                  <c:v>1285.7804</c:v>
                </c:pt>
                <c:pt idx="3">
                  <c:v>1235.3147</c:v>
                </c:pt>
                <c:pt idx="4">
                  <c:v>1294.0139</c:v>
                </c:pt>
                <c:pt idx="5">
                  <c:v>1295.698</c:v>
                </c:pt>
                <c:pt idx="6">
                  <c:v>1215.0404</c:v>
                </c:pt>
                <c:pt idx="7">
                  <c:v>1217.2027</c:v>
                </c:pt>
                <c:pt idx="8">
                  <c:v>1246.8329</c:v>
                </c:pt>
                <c:pt idx="9">
                  <c:v>1200.214</c:v>
                </c:pt>
                <c:pt idx="10">
                  <c:v>1235.6552</c:v>
                </c:pt>
                <c:pt idx="11">
                  <c:v>1131.517</c:v>
                </c:pt>
                <c:pt idx="12">
                  <c:v>1167.0268</c:v>
                </c:pt>
                <c:pt idx="13">
                  <c:v>1204.7072</c:v>
                </c:pt>
                <c:pt idx="14">
                  <c:v>1173.2715</c:v>
                </c:pt>
                <c:pt idx="15">
                  <c:v>1183.9603</c:v>
                </c:pt>
                <c:pt idx="16">
                  <c:v>1227.4802</c:v>
                </c:pt>
                <c:pt idx="17">
                  <c:v>1130.5485</c:v>
                </c:pt>
                <c:pt idx="18">
                  <c:v>1231.5263</c:v>
                </c:pt>
                <c:pt idx="19">
                  <c:v>1318.2635</c:v>
                </c:pt>
                <c:pt idx="20">
                  <c:v>1316.7333</c:v>
                </c:pt>
                <c:pt idx="21">
                  <c:v>1263.7752</c:v>
                </c:pt>
                <c:pt idx="22">
                  <c:v>1295.9397</c:v>
                </c:pt>
                <c:pt idx="23">
                  <c:v>1285.7734</c:v>
                </c:pt>
                <c:pt idx="24">
                  <c:v>1316.0426</c:v>
                </c:pt>
                <c:pt idx="25">
                  <c:v>1293.1171</c:v>
                </c:pt>
                <c:pt idx="26">
                  <c:v>1250.3444</c:v>
                </c:pt>
                <c:pt idx="27">
                  <c:v>1291.9396</c:v>
                </c:pt>
                <c:pt idx="28">
                  <c:v>1352.0238</c:v>
                </c:pt>
                <c:pt idx="29">
                  <c:v>1372.1867</c:v>
                </c:pt>
                <c:pt idx="30">
                  <c:v>1342.6694</c:v>
                </c:pt>
                <c:pt idx="31">
                  <c:v>1309.5385</c:v>
                </c:pt>
                <c:pt idx="32">
                  <c:v>1333.267</c:v>
                </c:pt>
                <c:pt idx="33">
                  <c:v>1326.6507</c:v>
                </c:pt>
                <c:pt idx="34">
                  <c:v>1349.9449</c:v>
                </c:pt>
                <c:pt idx="35">
                  <c:v>1402.5692</c:v>
                </c:pt>
                <c:pt idx="36">
                  <c:v>1389.3154</c:v>
                </c:pt>
                <c:pt idx="37">
                  <c:v>1337.0474</c:v>
                </c:pt>
                <c:pt idx="38">
                  <c:v>1361.2181</c:v>
                </c:pt>
                <c:pt idx="39">
                  <c:v>1341.3053</c:v>
                </c:pt>
                <c:pt idx="40">
                  <c:v>1363.9221</c:v>
                </c:pt>
                <c:pt idx="41">
                  <c:v>1443.943</c:v>
                </c:pt>
                <c:pt idx="42">
                  <c:v>1431.0068</c:v>
                </c:pt>
                <c:pt idx="43">
                  <c:v>1396.0347</c:v>
                </c:pt>
                <c:pt idx="44">
                  <c:v>1342.4808</c:v>
                </c:pt>
                <c:pt idx="45">
                  <c:v>1302.5665</c:v>
                </c:pt>
                <c:pt idx="46">
                  <c:v>1251.554</c:v>
                </c:pt>
                <c:pt idx="47">
                  <c:v>1226.7587</c:v>
                </c:pt>
                <c:pt idx="48">
                  <c:v>1226.1616</c:v>
                </c:pt>
                <c:pt idx="49">
                  <c:v>1230.8507</c:v>
                </c:pt>
                <c:pt idx="50">
                  <c:v>1207.3692</c:v>
                </c:pt>
                <c:pt idx="51">
                  <c:v>1172.1508</c:v>
                </c:pt>
                <c:pt idx="52">
                  <c:v>1108.581956366556</c:v>
                </c:pt>
                <c:pt idx="53">
                  <c:v>-641.2924444098328</c:v>
                </c:pt>
                <c:pt idx="54">
                  <c:v>1208.7008852653414</c:v>
                </c:pt>
              </c:numCache>
            </c:numRef>
          </c:xVal>
          <c:yVal>
            <c:numRef>
              <c:f>Sheet1!$B$187:$B$241</c:f>
              <c:numCache>
                <c:formatCode>General</c:formatCode>
                <c:ptCount val="55"/>
                <c:pt idx="0">
                  <c:v>0.24932336197849986</c:v>
                </c:pt>
                <c:pt idx="1">
                  <c:v>0.24850036052231061</c:v>
                </c:pt>
                <c:pt idx="2">
                  <c:v>0.24824107541955448</c:v>
                </c:pt>
                <c:pt idx="3">
                  <c:v>0.2495247873629437</c:v>
                </c:pt>
                <c:pt idx="4">
                  <c:v>0.24803163728066221</c:v>
                </c:pt>
                <c:pt idx="5">
                  <c:v>0.24798879829727624</c:v>
                </c:pt>
                <c:pt idx="6">
                  <c:v>0.2500405111328281</c:v>
                </c:pt>
                <c:pt idx="7">
                  <c:v>0.24998550802506997</c:v>
                </c:pt>
                <c:pt idx="8">
                  <c:v>0.2492317952731412</c:v>
                </c:pt>
                <c:pt idx="9">
                  <c:v>0.25041765495046003</c:v>
                </c:pt>
                <c:pt idx="10">
                  <c:v>0.2495161259569447</c:v>
                </c:pt>
                <c:pt idx="11">
                  <c:v>0.2521651222277396</c:v>
                </c:pt>
                <c:pt idx="12">
                  <c:v>0.25126184823436665</c:v>
                </c:pt>
                <c:pt idx="13">
                  <c:v>0.25030336000351516</c:v>
                </c:pt>
                <c:pt idx="14">
                  <c:v>0.251102999828957</c:v>
                </c:pt>
                <c:pt idx="15">
                  <c:v>0.25083110544880377</c:v>
                </c:pt>
                <c:pt idx="16">
                  <c:v>0.24972407601286797</c:v>
                </c:pt>
                <c:pt idx="17">
                  <c:v>0.25218975826800405</c:v>
                </c:pt>
                <c:pt idx="18">
                  <c:v>0.2496211540897767</c:v>
                </c:pt>
                <c:pt idx="19">
                  <c:v>0.24741479254963875</c:v>
                </c:pt>
                <c:pt idx="20">
                  <c:v>0.24745371673013705</c:v>
                </c:pt>
                <c:pt idx="21">
                  <c:v>0.24880082863920008</c:v>
                </c:pt>
                <c:pt idx="22">
                  <c:v>0.2479826500980693</c:v>
                </c:pt>
                <c:pt idx="23">
                  <c:v>0.24824125348076445</c:v>
                </c:pt>
                <c:pt idx="24">
                  <c:v>0.24747128628409745</c:v>
                </c:pt>
                <c:pt idx="25">
                  <c:v>0.2480544494653903</c:v>
                </c:pt>
                <c:pt idx="26">
                  <c:v>0.24914247213902813</c:v>
                </c:pt>
                <c:pt idx="27">
                  <c:v>0.24808440190463796</c:v>
                </c:pt>
                <c:pt idx="28">
                  <c:v>0.24655602114009914</c:v>
                </c:pt>
                <c:pt idx="29">
                  <c:v>0.24604313108718473</c:v>
                </c:pt>
                <c:pt idx="30">
                  <c:v>0.24679397196616992</c:v>
                </c:pt>
                <c:pt idx="31">
                  <c:v>0.24763673312920212</c:v>
                </c:pt>
                <c:pt idx="32">
                  <c:v>0.24703314378339475</c:v>
                </c:pt>
                <c:pt idx="33">
                  <c:v>0.24720144469532196</c:v>
                </c:pt>
                <c:pt idx="34">
                  <c:v>0.24660890277572714</c:v>
                </c:pt>
                <c:pt idx="35">
                  <c:v>0.24527028184264787</c:v>
                </c:pt>
                <c:pt idx="36">
                  <c:v>0.24560742293759538</c:v>
                </c:pt>
                <c:pt idx="37">
                  <c:v>0.24693698055508742</c:v>
                </c:pt>
                <c:pt idx="38">
                  <c:v>0.24632214282827342</c:v>
                </c:pt>
                <c:pt idx="39">
                  <c:v>0.24682867100852893</c:v>
                </c:pt>
                <c:pt idx="40">
                  <c:v>0.24625336032659556</c:v>
                </c:pt>
                <c:pt idx="41">
                  <c:v>0.24421784342995576</c:v>
                </c:pt>
                <c:pt idx="42">
                  <c:v>0.24454690563343398</c:v>
                </c:pt>
                <c:pt idx="43">
                  <c:v>0.2454365019821501</c:v>
                </c:pt>
                <c:pt idx="44">
                  <c:v>0.24679876944391269</c:v>
                </c:pt>
                <c:pt idx="45">
                  <c:v>0.24781408209432715</c:v>
                </c:pt>
                <c:pt idx="46">
                  <c:v>0.2491117031619462</c:v>
                </c:pt>
                <c:pt idx="47">
                  <c:v>0.2497424290361522</c:v>
                </c:pt>
                <c:pt idx="48">
                  <c:v>0.2497576176573622</c:v>
                </c:pt>
                <c:pt idx="49">
                  <c:v>0.24963833954026987</c:v>
                </c:pt>
                <c:pt idx="50">
                  <c:v>0.2502356458690971</c:v>
                </c:pt>
                <c:pt idx="51">
                  <c:v>0.25113150742867235</c:v>
                </c:pt>
                <c:pt idx="52">
                  <c:v>0.2527485281734494</c:v>
                </c:pt>
                <c:pt idx="53">
                  <c:v>0.2972606357575652</c:v>
                </c:pt>
                <c:pt idx="54">
                  <c:v>0.250201771370577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816429554841665"/>
          <c:min val="0.148508825319537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3.1484</c:v>
                </c:pt>
                <c:pt idx="1">
                  <c:v>862.2309</c:v>
                </c:pt>
                <c:pt idx="2">
                  <c:v>893.6481</c:v>
                </c:pt>
                <c:pt idx="3">
                  <c:v>912.3858</c:v>
                </c:pt>
                <c:pt idx="4">
                  <c:v>914.6732</c:v>
                </c:pt>
                <c:pt idx="5">
                  <c:v>910.4454</c:v>
                </c:pt>
                <c:pt idx="6">
                  <c:v>858.1816</c:v>
                </c:pt>
                <c:pt idx="7">
                  <c:v>866.9476</c:v>
                </c:pt>
                <c:pt idx="8">
                  <c:v>869.0245</c:v>
                </c:pt>
                <c:pt idx="9">
                  <c:v>823.9968</c:v>
                </c:pt>
                <c:pt idx="10">
                  <c:v>807.1927</c:v>
                </c:pt>
                <c:pt idx="11">
                  <c:v>871.0116</c:v>
                </c:pt>
                <c:pt idx="12">
                  <c:v>880.088</c:v>
                </c:pt>
                <c:pt idx="13">
                  <c:v>883.0113</c:v>
                </c:pt>
                <c:pt idx="14">
                  <c:v>857.8064</c:v>
                </c:pt>
                <c:pt idx="15">
                  <c:v>902.0108</c:v>
                </c:pt>
                <c:pt idx="16">
                  <c:v>923.0034</c:v>
                </c:pt>
                <c:pt idx="17">
                  <c:v>914.7465</c:v>
                </c:pt>
                <c:pt idx="18">
                  <c:v>974.8366</c:v>
                </c:pt>
                <c:pt idx="19">
                  <c:v>957.7426</c:v>
                </c:pt>
                <c:pt idx="20">
                  <c:v>1021.7914</c:v>
                </c:pt>
                <c:pt idx="21">
                  <c:v>1049.913</c:v>
                </c:pt>
                <c:pt idx="22">
                  <c:v>976.6976</c:v>
                </c:pt>
                <c:pt idx="23">
                  <c:v>983.8439</c:v>
                </c:pt>
                <c:pt idx="24">
                  <c:v>1000.7253</c:v>
                </c:pt>
                <c:pt idx="25">
                  <c:v>968.8886</c:v>
                </c:pt>
                <c:pt idx="26">
                  <c:v>959.895</c:v>
                </c:pt>
                <c:pt idx="27">
                  <c:v>980.6767</c:v>
                </c:pt>
                <c:pt idx="28">
                  <c:v>987.9764</c:v>
                </c:pt>
                <c:pt idx="29">
                  <c:v>955.1228</c:v>
                </c:pt>
                <c:pt idx="30">
                  <c:v>962.8629</c:v>
                </c:pt>
                <c:pt idx="31">
                  <c:v>952.4947</c:v>
                </c:pt>
                <c:pt idx="32">
                  <c:v>921.0426</c:v>
                </c:pt>
                <c:pt idx="33">
                  <c:v>875.1037</c:v>
                </c:pt>
                <c:pt idx="34">
                  <c:v>899.3865</c:v>
                </c:pt>
                <c:pt idx="35">
                  <c:v>933.7163</c:v>
                </c:pt>
                <c:pt idx="36">
                  <c:v>1020.5165</c:v>
                </c:pt>
                <c:pt idx="37">
                  <c:v>1045.9903</c:v>
                </c:pt>
                <c:pt idx="38">
                  <c:v>1100.1724</c:v>
                </c:pt>
                <c:pt idx="39">
                  <c:v>1099.9851</c:v>
                </c:pt>
                <c:pt idx="40">
                  <c:v>1089.5451</c:v>
                </c:pt>
                <c:pt idx="41">
                  <c:v>1140.9455</c:v>
                </c:pt>
                <c:pt idx="42">
                  <c:v>1148.5144</c:v>
                </c:pt>
                <c:pt idx="43">
                  <c:v>1150.8395</c:v>
                </c:pt>
                <c:pt idx="44">
                  <c:v>1095.137</c:v>
                </c:pt>
                <c:pt idx="45">
                  <c:v>1060.877</c:v>
                </c:pt>
                <c:pt idx="46">
                  <c:v>1040.5923</c:v>
                </c:pt>
                <c:pt idx="47">
                  <c:v>1027.1613</c:v>
                </c:pt>
                <c:pt idx="48">
                  <c:v>1030.3996</c:v>
                </c:pt>
                <c:pt idx="49">
                  <c:v>990.4478</c:v>
                </c:pt>
                <c:pt idx="50">
                  <c:v>990.1794</c:v>
                </c:pt>
                <c:pt idx="51">
                  <c:v>1017.5388</c:v>
                </c:pt>
                <c:pt idx="52">
                  <c:v>1034.4119</c:v>
                </c:pt>
                <c:pt idx="53">
                  <c:v>1113.4152</c:v>
                </c:pt>
                <c:pt idx="54">
                  <c:v>1098.895</c:v>
                </c:pt>
                <c:pt idx="55">
                  <c:v>1117.3994</c:v>
                </c:pt>
                <c:pt idx="56">
                  <c:v>1131.913</c:v>
                </c:pt>
                <c:pt idx="57">
                  <c:v>1097.5879</c:v>
                </c:pt>
                <c:pt idx="58">
                  <c:v>1024.3653</c:v>
                </c:pt>
                <c:pt idx="59">
                  <c:v>1056.5515</c:v>
                </c:pt>
                <c:pt idx="60">
                  <c:v>1078.1891</c:v>
                </c:pt>
                <c:pt idx="61">
                  <c:v>1084.9303</c:v>
                </c:pt>
                <c:pt idx="62">
                  <c:v>1004.7675</c:v>
                </c:pt>
                <c:pt idx="63">
                  <c:v>1038.5249</c:v>
                </c:pt>
                <c:pt idx="64">
                  <c:v>1049.7744</c:v>
                </c:pt>
                <c:pt idx="65">
                  <c:v>1038.7963</c:v>
                </c:pt>
                <c:pt idx="66">
                  <c:v>1047.5711</c:v>
                </c:pt>
                <c:pt idx="67">
                  <c:v>1070.3845</c:v>
                </c:pt>
                <c:pt idx="68">
                  <c:v>1094.169</c:v>
                </c:pt>
                <c:pt idx="69">
                  <c:v>1142.2618</c:v>
                </c:pt>
                <c:pt idx="70">
                  <c:v>1139.8871</c:v>
                </c:pt>
                <c:pt idx="71">
                  <c:v>1203.6509</c:v>
                </c:pt>
                <c:pt idx="72">
                  <c:v>1289.1129</c:v>
                </c:pt>
                <c:pt idx="73">
                  <c:v>1272.6801</c:v>
                </c:pt>
                <c:pt idx="74">
                  <c:v>1235.5252</c:v>
                </c:pt>
                <c:pt idx="75">
                  <c:v>1204.0756</c:v>
                </c:pt>
                <c:pt idx="76">
                  <c:v>1203.6344</c:v>
                </c:pt>
                <c:pt idx="77">
                  <c:v>1193.0985</c:v>
                </c:pt>
                <c:pt idx="78">
                  <c:v>1233.7708</c:v>
                </c:pt>
                <c:pt idx="79">
                  <c:v>1149.7634</c:v>
                </c:pt>
                <c:pt idx="80">
                  <c:v>1215.432</c:v>
                </c:pt>
                <c:pt idx="81">
                  <c:v>1178.2262</c:v>
                </c:pt>
                <c:pt idx="82">
                  <c:v>1195.3812</c:v>
                </c:pt>
                <c:pt idx="83">
                  <c:v>1178.621</c:v>
                </c:pt>
                <c:pt idx="84">
                  <c:v>1194.6578</c:v>
                </c:pt>
                <c:pt idx="85">
                  <c:v>1150.9754</c:v>
                </c:pt>
                <c:pt idx="86">
                  <c:v>1152.7265</c:v>
                </c:pt>
                <c:pt idx="87">
                  <c:v>1143.8636</c:v>
                </c:pt>
                <c:pt idx="88">
                  <c:v>1198.868</c:v>
                </c:pt>
                <c:pt idx="89">
                  <c:v>1186.7535</c:v>
                </c:pt>
                <c:pt idx="90">
                  <c:v>1251.3519</c:v>
                </c:pt>
                <c:pt idx="91">
                  <c:v>1276.5345</c:v>
                </c:pt>
                <c:pt idx="92">
                  <c:v>1190.3436</c:v>
                </c:pt>
                <c:pt idx="93">
                  <c:v>1254.6622</c:v>
                </c:pt>
                <c:pt idx="94">
                  <c:v>1254.3274</c:v>
                </c:pt>
                <c:pt idx="95">
                  <c:v>1192.4229</c:v>
                </c:pt>
                <c:pt idx="96">
                  <c:v>1123.3848</c:v>
                </c:pt>
                <c:pt idx="97">
                  <c:v>1117.3224</c:v>
                </c:pt>
                <c:pt idx="98">
                  <c:v>1112.2445</c:v>
                </c:pt>
                <c:pt idx="99">
                  <c:v>1081.9653</c:v>
                </c:pt>
                <c:pt idx="100">
                  <c:v>1077.9394</c:v>
                </c:pt>
                <c:pt idx="101">
                  <c:v>1079.7577</c:v>
                </c:pt>
                <c:pt idx="102">
                  <c:v>1109.5864</c:v>
                </c:pt>
                <c:pt idx="103">
                  <c:v>1101.2289</c:v>
                </c:pt>
                <c:pt idx="104">
                  <c:v>1150.3605</c:v>
                </c:pt>
              </c:numCache>
            </c:numRef>
          </c:xVal>
          <c:yVal>
            <c:numRef>
              <c:f>Sheet1!$B$2:$B$106</c:f>
              <c:numCache>
                <c:formatCode>General</c:formatCode>
                <c:ptCount val="105"/>
                <c:pt idx="0">
                  <c:v>0.22296712802768165</c:v>
                </c:pt>
                <c:pt idx="1">
                  <c:v>0.2252983293556086</c:v>
                </c:pt>
                <c:pt idx="2">
                  <c:v>0.21428571428571427</c:v>
                </c:pt>
                <c:pt idx="3">
                  <c:v>0.21960326721120188</c:v>
                </c:pt>
                <c:pt idx="4">
                  <c:v>0.22428884026258206</c:v>
                </c:pt>
                <c:pt idx="5">
                  <c:v>0.2336199229172843</c:v>
                </c:pt>
                <c:pt idx="6">
                  <c:v>0.2686014201914171</c:v>
                </c:pt>
                <c:pt idx="7">
                  <c:v>0.2704980842911877</c:v>
                </c:pt>
                <c:pt idx="8">
                  <c:v>0.2760018009905448</c:v>
                </c:pt>
                <c:pt idx="9">
                  <c:v>0.2654718566227947</c:v>
                </c:pt>
                <c:pt idx="10">
                  <c:v>0.2692517749863463</c:v>
                </c:pt>
                <c:pt idx="11">
                  <c:v>0.24356435643564356</c:v>
                </c:pt>
                <c:pt idx="12">
                  <c:v>0.2305059887558054</c:v>
                </c:pt>
                <c:pt idx="13">
                  <c:v>0.223963133640553</c:v>
                </c:pt>
                <c:pt idx="14">
                  <c:v>0.22067097311939987</c:v>
                </c:pt>
                <c:pt idx="15">
                  <c:v>0.18942505133470225</c:v>
                </c:pt>
                <c:pt idx="16">
                  <c:v>0.18484001242621934</c:v>
                </c:pt>
                <c:pt idx="17">
                  <c:v>0.16711140760507004</c:v>
                </c:pt>
                <c:pt idx="18">
                  <c:v>0.15702795863653773</c:v>
                </c:pt>
                <c:pt idx="19">
                  <c:v>0.16336394393426776</c:v>
                </c:pt>
                <c:pt idx="20">
                  <c:v>0.1691524190614769</c:v>
                </c:pt>
                <c:pt idx="21">
                  <c:v>0.1621475054229935</c:v>
                </c:pt>
                <c:pt idx="22">
                  <c:v>0.19924098671726756</c:v>
                </c:pt>
                <c:pt idx="23">
                  <c:v>0.19221753398968588</c:v>
                </c:pt>
                <c:pt idx="24">
                  <c:v>0.19555182543013008</c:v>
                </c:pt>
                <c:pt idx="25">
                  <c:v>0.21047381546134664</c:v>
                </c:pt>
                <c:pt idx="26">
                  <c:v>0.23883318140382861</c:v>
                </c:pt>
                <c:pt idx="27">
                  <c:v>0.22721798474508229</c:v>
                </c:pt>
                <c:pt idx="28">
                  <c:v>0.2260583641594739</c:v>
                </c:pt>
                <c:pt idx="29">
                  <c:v>0.22870370370370371</c:v>
                </c:pt>
                <c:pt idx="30">
                  <c:v>0.2382404181184669</c:v>
                </c:pt>
                <c:pt idx="31">
                  <c:v>0.2361746361746362</c:v>
                </c:pt>
                <c:pt idx="32">
                  <c:v>0.2487785016286645</c:v>
                </c:pt>
                <c:pt idx="33">
                  <c:v>0.2637489202418658</c:v>
                </c:pt>
                <c:pt idx="34">
                  <c:v>0.24895166629883028</c:v>
                </c:pt>
                <c:pt idx="35">
                  <c:v>0.26185448262622385</c:v>
                </c:pt>
                <c:pt idx="36">
                  <c:v>0.22697083453652903</c:v>
                </c:pt>
                <c:pt idx="37">
                  <c:v>0.225759238931577</c:v>
                </c:pt>
                <c:pt idx="38">
                  <c:v>0.20760342899739098</c:v>
                </c:pt>
                <c:pt idx="39">
                  <c:v>0.19955323901712585</c:v>
                </c:pt>
                <c:pt idx="40">
                  <c:v>0.21830790568654646</c:v>
                </c:pt>
                <c:pt idx="41">
                  <c:v>0.1927795303189625</c:v>
                </c:pt>
                <c:pt idx="42">
                  <c:v>0.18770614692653673</c:v>
                </c:pt>
                <c:pt idx="43">
                  <c:v>0.18228187919463087</c:v>
                </c:pt>
                <c:pt idx="44">
                  <c:v>0.1941385736066407</c:v>
                </c:pt>
                <c:pt idx="45">
                  <c:v>0.20877192982456141</c:v>
                </c:pt>
                <c:pt idx="46">
                  <c:v>0.22004608294930875</c:v>
                </c:pt>
                <c:pt idx="47">
                  <c:v>0.19655941382605926</c:v>
                </c:pt>
                <c:pt idx="48">
                  <c:v>0.20157153770599148</c:v>
                </c:pt>
                <c:pt idx="49">
                  <c:v>0.2198908343375629</c:v>
                </c:pt>
                <c:pt idx="50">
                  <c:v>0.211495712924738</c:v>
                </c:pt>
                <c:pt idx="51">
                  <c:v>0.19513314967860423</c:v>
                </c:pt>
                <c:pt idx="52">
                  <c:v>0.19499744767738642</c:v>
                </c:pt>
                <c:pt idx="53">
                  <c:v>0.18393094289508632</c:v>
                </c:pt>
                <c:pt idx="54">
                  <c:v>0.18492975734355044</c:v>
                </c:pt>
                <c:pt idx="55">
                  <c:v>0.1806366047745358</c:v>
                </c:pt>
                <c:pt idx="56">
                  <c:v>0.17890716803760282</c:v>
                </c:pt>
                <c:pt idx="57">
                  <c:v>0.18328298086606243</c:v>
                </c:pt>
                <c:pt idx="58">
                  <c:v>0.21296703296703295</c:v>
                </c:pt>
                <c:pt idx="59">
                  <c:v>0.20263806348746194</c:v>
                </c:pt>
                <c:pt idx="60">
                  <c:v>0.21125598283545138</c:v>
                </c:pt>
                <c:pt idx="61">
                  <c:v>0.20458937198067634</c:v>
                </c:pt>
                <c:pt idx="62">
                  <c:v>0.21975203078238564</c:v>
                </c:pt>
                <c:pt idx="63">
                  <c:v>0.23140662894098626</c:v>
                </c:pt>
                <c:pt idx="64">
                  <c:v>0.21334792122538293</c:v>
                </c:pt>
                <c:pt idx="65">
                  <c:v>0.198727833461835</c:v>
                </c:pt>
                <c:pt idx="66">
                  <c:v>0.2020242914979757</c:v>
                </c:pt>
                <c:pt idx="67">
                  <c:v>0.17771393392160886</c:v>
                </c:pt>
                <c:pt idx="68">
                  <c:v>0.1641829393627955</c:v>
                </c:pt>
                <c:pt idx="69">
                  <c:v>0.16069668090699968</c:v>
                </c:pt>
                <c:pt idx="70">
                  <c:v>0.16136514247846256</c:v>
                </c:pt>
                <c:pt idx="71">
                  <c:v>0.1706379707916987</c:v>
                </c:pt>
                <c:pt idx="72">
                  <c:v>0.16599732262382866</c:v>
                </c:pt>
                <c:pt idx="73">
                  <c:v>0.16704035874439463</c:v>
                </c:pt>
                <c:pt idx="74">
                  <c:v>0.17046580773042616</c:v>
                </c:pt>
                <c:pt idx="75">
                  <c:v>0.18791946308724833</c:v>
                </c:pt>
                <c:pt idx="76">
                  <c:v>0.17807563427477263</c:v>
                </c:pt>
                <c:pt idx="77">
                  <c:v>0.16981132075471697</c:v>
                </c:pt>
                <c:pt idx="78">
                  <c:v>0.16556655665566555</c:v>
                </c:pt>
                <c:pt idx="79">
                  <c:v>0.14982844071673657</c:v>
                </c:pt>
                <c:pt idx="80">
                  <c:v>0.13626453488372092</c:v>
                </c:pt>
                <c:pt idx="81">
                  <c:v>0.1577192397465822</c:v>
                </c:pt>
                <c:pt idx="82">
                  <c:v>0.16024436090225563</c:v>
                </c:pt>
                <c:pt idx="83">
                  <c:v>0.16474291710388247</c:v>
                </c:pt>
                <c:pt idx="84">
                  <c:v>0.15587778353184878</c:v>
                </c:pt>
                <c:pt idx="85">
                  <c:v>0.18100757913508694</c:v>
                </c:pt>
                <c:pt idx="86">
                  <c:v>0.1963151207115629</c:v>
                </c:pt>
                <c:pt idx="87">
                  <c:v>0.20376266280752534</c:v>
                </c:pt>
                <c:pt idx="88">
                  <c:v>0.19917864476386038</c:v>
                </c:pt>
                <c:pt idx="89">
                  <c:v>0.19888991674375578</c:v>
                </c:pt>
                <c:pt idx="90">
                  <c:v>0.17649687220732796</c:v>
                </c:pt>
                <c:pt idx="91">
                  <c:v>0.16882556131260795</c:v>
                </c:pt>
                <c:pt idx="92">
                  <c:v>0.19168110918544193</c:v>
                </c:pt>
                <c:pt idx="93">
                  <c:v>0.17798041202296522</c:v>
                </c:pt>
                <c:pt idx="94">
                  <c:v>0.17783094098883573</c:v>
                </c:pt>
                <c:pt idx="95">
                  <c:v>0.1876790830945559</c:v>
                </c:pt>
                <c:pt idx="96">
                  <c:v>0.19962616822429907</c:v>
                </c:pt>
                <c:pt idx="97">
                  <c:v>0.2051054777521716</c:v>
                </c:pt>
                <c:pt idx="98">
                  <c:v>0.2043827611395179</c:v>
                </c:pt>
                <c:pt idx="99">
                  <c:v>0.199095591006155</c:v>
                </c:pt>
                <c:pt idx="100">
                  <c:v>0.2088791208791209</c:v>
                </c:pt>
                <c:pt idx="101">
                  <c:v>0.2133542812254517</c:v>
                </c:pt>
                <c:pt idx="102">
                  <c:v>0.19175055241836483</c:v>
                </c:pt>
                <c:pt idx="103">
                  <c:v>0.19398968378560216</c:v>
                </c:pt>
                <c:pt idx="104">
                  <c:v>0.18917456021650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8.25</c:v>
                </c:pt>
                <c:pt idx="1">
                  <c:v>1187.6776</c:v>
                </c:pt>
                <c:pt idx="2">
                  <c:v>1195.57</c:v>
                </c:pt>
                <c:pt idx="3">
                  <c:v>1164.9592</c:v>
                </c:pt>
                <c:pt idx="4">
                  <c:v>1154.8161</c:v>
                </c:pt>
                <c:pt idx="5">
                  <c:v>1200.5945</c:v>
                </c:pt>
                <c:pt idx="6">
                  <c:v>1081.3226</c:v>
                </c:pt>
                <c:pt idx="7">
                  <c:v>1100.4988</c:v>
                </c:pt>
                <c:pt idx="8">
                  <c:v>1159.1388</c:v>
                </c:pt>
                <c:pt idx="9">
                  <c:v>1111.8323</c:v>
                </c:pt>
                <c:pt idx="10">
                  <c:v>1124.2218</c:v>
                </c:pt>
                <c:pt idx="11">
                  <c:v>999.9724</c:v>
                </c:pt>
                <c:pt idx="12">
                  <c:v>1033.5682</c:v>
                </c:pt>
                <c:pt idx="13">
                  <c:v>1106.954</c:v>
                </c:pt>
                <c:pt idx="14">
                  <c:v>1087.2409</c:v>
                </c:pt>
                <c:pt idx="15">
                  <c:v>1133.0285</c:v>
                </c:pt>
                <c:pt idx="16">
                  <c:v>1146.3688</c:v>
                </c:pt>
                <c:pt idx="17">
                  <c:v>1139.2575</c:v>
                </c:pt>
                <c:pt idx="18">
                  <c:v>1087.5022</c:v>
                </c:pt>
                <c:pt idx="19">
                  <c:v>1240.9511</c:v>
                </c:pt>
                <c:pt idx="20">
                  <c:v>1266.0714</c:v>
                </c:pt>
                <c:pt idx="21">
                  <c:v>1146.5484</c:v>
                </c:pt>
                <c:pt idx="22">
                  <c:v>1223.4253</c:v>
                </c:pt>
                <c:pt idx="23">
                  <c:v>1199.2315</c:v>
                </c:pt>
                <c:pt idx="24">
                  <c:v>1212.2654</c:v>
                </c:pt>
                <c:pt idx="25">
                  <c:v>1168.2751</c:v>
                </c:pt>
                <c:pt idx="26">
                  <c:v>1196.9809</c:v>
                </c:pt>
                <c:pt idx="27">
                  <c:v>1170.6188</c:v>
                </c:pt>
                <c:pt idx="28">
                  <c:v>1204.2098</c:v>
                </c:pt>
                <c:pt idx="29">
                  <c:v>1198.2106</c:v>
                </c:pt>
                <c:pt idx="30">
                  <c:v>1190.8969</c:v>
                </c:pt>
                <c:pt idx="31">
                  <c:v>1166.586</c:v>
                </c:pt>
                <c:pt idx="32">
                  <c:v>1216.2983</c:v>
                </c:pt>
                <c:pt idx="33">
                  <c:v>1202.526</c:v>
                </c:pt>
                <c:pt idx="34">
                  <c:v>1215.0134</c:v>
                </c:pt>
                <c:pt idx="35">
                  <c:v>1276.9577</c:v>
                </c:pt>
                <c:pt idx="36">
                  <c:v>1328.1122</c:v>
                </c:pt>
                <c:pt idx="37">
                  <c:v>1265.4573</c:v>
                </c:pt>
                <c:pt idx="38">
                  <c:v>1316.2978</c:v>
                </c:pt>
                <c:pt idx="39">
                  <c:v>1237.89</c:v>
                </c:pt>
                <c:pt idx="40">
                  <c:v>1261.7927</c:v>
                </c:pt>
                <c:pt idx="41">
                  <c:v>1309.8859</c:v>
                </c:pt>
                <c:pt idx="42">
                  <c:v>1312.7306</c:v>
                </c:pt>
                <c:pt idx="43">
                  <c:v>1289.7012</c:v>
                </c:pt>
                <c:pt idx="44">
                  <c:v>1209.8281</c:v>
                </c:pt>
                <c:pt idx="45">
                  <c:v>1158.742</c:v>
                </c:pt>
                <c:pt idx="46">
                  <c:v>1166.9447</c:v>
                </c:pt>
                <c:pt idx="47">
                  <c:v>1139.6541</c:v>
                </c:pt>
                <c:pt idx="48">
                  <c:v>1136.6096</c:v>
                </c:pt>
                <c:pt idx="49">
                  <c:v>1157.7121</c:v>
                </c:pt>
                <c:pt idx="50">
                  <c:v>1109.9693</c:v>
                </c:pt>
                <c:pt idx="51">
                  <c:v>1094.138</c:v>
                </c:pt>
              </c:numCache>
            </c:numRef>
          </c:xVal>
          <c:yVal>
            <c:numRef>
              <c:f>Sheet1!$B$109:$B$160</c:f>
              <c:numCache>
                <c:formatCode>General</c:formatCode>
                <c:ptCount val="52"/>
                <c:pt idx="0">
                  <c:v>0.191333175467677</c:v>
                </c:pt>
                <c:pt idx="1">
                  <c:v>0.18499874150515982</c:v>
                </c:pt>
                <c:pt idx="2">
                  <c:v>0.20340106007067138</c:v>
                </c:pt>
                <c:pt idx="3">
                  <c:v>0.22463244155218126</c:v>
                </c:pt>
                <c:pt idx="4">
                  <c:v>0.21202213279678067</c:v>
                </c:pt>
                <c:pt idx="5">
                  <c:v>0.21392016376663256</c:v>
                </c:pt>
                <c:pt idx="6">
                  <c:v>0.2353450140601341</c:v>
                </c:pt>
                <c:pt idx="7">
                  <c:v>0.23295944779982744</c:v>
                </c:pt>
                <c:pt idx="8">
                  <c:v>0.2271021021021021</c:v>
                </c:pt>
                <c:pt idx="9">
                  <c:v>0.2303485987696514</c:v>
                </c:pt>
                <c:pt idx="10">
                  <c:v>0.2352</c:v>
                </c:pt>
                <c:pt idx="11">
                  <c:v>0.22851919561243145</c:v>
                </c:pt>
                <c:pt idx="12">
                  <c:v>0.23013827044762128</c:v>
                </c:pt>
                <c:pt idx="13">
                  <c:v>0.22103658536585366</c:v>
                </c:pt>
                <c:pt idx="14">
                  <c:v>0.22444381864263588</c:v>
                </c:pt>
                <c:pt idx="15">
                  <c:v>0.21129441624365483</c:v>
                </c:pt>
                <c:pt idx="16">
                  <c:v>0.2079172610556348</c:v>
                </c:pt>
                <c:pt idx="17">
                  <c:v>0.20647149460708783</c:v>
                </c:pt>
                <c:pt idx="18">
                  <c:v>0.2076958738989337</c:v>
                </c:pt>
                <c:pt idx="19">
                  <c:v>0.20163020163020162</c:v>
                </c:pt>
                <c:pt idx="20">
                  <c:v>0.19196865817825662</c:v>
                </c:pt>
                <c:pt idx="21">
                  <c:v>0.2096168294515402</c:v>
                </c:pt>
                <c:pt idx="22">
                  <c:v>0.18831168831168832</c:v>
                </c:pt>
                <c:pt idx="23">
                  <c:v>0.19840213049267644</c:v>
                </c:pt>
                <c:pt idx="24">
                  <c:v>0.20033575825405708</c:v>
                </c:pt>
                <c:pt idx="25">
                  <c:v>0.19685497961560863</c:v>
                </c:pt>
                <c:pt idx="26">
                  <c:v>0.18927282104177412</c:v>
                </c:pt>
                <c:pt idx="27">
                  <c:v>0.19493006993006992</c:v>
                </c:pt>
                <c:pt idx="28">
                  <c:v>0.18679378531073446</c:v>
                </c:pt>
                <c:pt idx="29">
                  <c:v>0.1991701244813278</c:v>
                </c:pt>
                <c:pt idx="30">
                  <c:v>0.19549929676511954</c:v>
                </c:pt>
                <c:pt idx="31">
                  <c:v>0.2071290944123314</c:v>
                </c:pt>
                <c:pt idx="32">
                  <c:v>0.19129720853858784</c:v>
                </c:pt>
                <c:pt idx="33">
                  <c:v>0.2021021021021021</c:v>
                </c:pt>
                <c:pt idx="34">
                  <c:v>0.2230308219178082</c:v>
                </c:pt>
                <c:pt idx="35">
                  <c:v>0.20384294068504594</c:v>
                </c:pt>
                <c:pt idx="36">
                  <c:v>0.20851063829787234</c:v>
                </c:pt>
                <c:pt idx="37">
                  <c:v>0.20357310766337564</c:v>
                </c:pt>
                <c:pt idx="38">
                  <c:v>0.20180270405608414</c:v>
                </c:pt>
                <c:pt idx="39">
                  <c:v>0.2159827213822894</c:v>
                </c:pt>
                <c:pt idx="40">
                  <c:v>0.18936605316973415</c:v>
                </c:pt>
                <c:pt idx="41">
                  <c:v>0.18884615384615386</c:v>
                </c:pt>
                <c:pt idx="42">
                  <c:v>0.19863013698630136</c:v>
                </c:pt>
                <c:pt idx="43">
                  <c:v>0.17987987987987988</c:v>
                </c:pt>
                <c:pt idx="44">
                  <c:v>0.18468127991937516</c:v>
                </c:pt>
                <c:pt idx="45">
                  <c:v>0.20555555555555555</c:v>
                </c:pt>
                <c:pt idx="46">
                  <c:v>0.20611880303707011</c:v>
                </c:pt>
                <c:pt idx="47">
                  <c:v>0.2171176840780365</c:v>
                </c:pt>
                <c:pt idx="48">
                  <c:v>0.2047071702244116</c:v>
                </c:pt>
                <c:pt idx="49">
                  <c:v>0.21236791962584445</c:v>
                </c:pt>
                <c:pt idx="50">
                  <c:v>0.2196225582165324</c:v>
                </c:pt>
                <c:pt idx="51">
                  <c:v>0.20885122410546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9.0002033379649</c:v>
                </c:pt>
              </c:numCache>
            </c:numRef>
          </c:xVal>
          <c:yVal>
            <c:numRef>
              <c:f>Sheet1!$B$163:$B$164</c:f>
              <c:numCache>
                <c:formatCode>General</c:formatCode>
                <c:ptCount val="2"/>
                <c:pt idx="0">
                  <c:v>0.2394627230592469</c:v>
                </c:pt>
                <c:pt idx="1">
                  <c:v>0.23946272305924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9.0002033379649</c:v>
                </c:pt>
                <c:pt idx="1">
                  <c:v>929.0002033379649</c:v>
                </c:pt>
              </c:numCache>
            </c:numRef>
          </c:xVal>
          <c:yVal>
            <c:numRef>
              <c:f>Sheet1!$B$167:$B$168</c:f>
              <c:numCache>
                <c:formatCode>General</c:formatCode>
                <c:ptCount val="2"/>
                <c:pt idx="0">
                  <c:v>0.23946272305924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0.8855860378064</c:v>
                </c:pt>
              </c:numCache>
            </c:numRef>
          </c:xVal>
          <c:yVal>
            <c:numRef>
              <c:f>Sheet1!$B$171:$B$172</c:f>
              <c:numCache>
                <c:formatCode>General</c:formatCode>
                <c:ptCount val="2"/>
                <c:pt idx="0">
                  <c:v>0.2158677849156541</c:v>
                </c:pt>
                <c:pt idx="1">
                  <c:v>0.215867784915654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0.8855860378064</c:v>
                </c:pt>
                <c:pt idx="1">
                  <c:v>1110.8855860378064</c:v>
                </c:pt>
              </c:numCache>
            </c:numRef>
          </c:xVal>
          <c:yVal>
            <c:numRef>
              <c:f>Sheet1!$B$175:$B$176</c:f>
              <c:numCache>
                <c:formatCode>General</c:formatCode>
                <c:ptCount val="2"/>
                <c:pt idx="0">
                  <c:v>0.21586778491565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3915959247884</c:v>
                </c:pt>
              </c:numCache>
            </c:numRef>
          </c:xVal>
          <c:yVal>
            <c:numRef>
              <c:f>Sheet1!$B$179:$B$180</c:f>
              <c:numCache>
                <c:formatCode>General</c:formatCode>
                <c:ptCount val="2"/>
                <c:pt idx="0">
                  <c:v>0.20244054923281893</c:v>
                </c:pt>
                <c:pt idx="1">
                  <c:v>0.202440549232818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3915959247884</c:v>
                </c:pt>
                <c:pt idx="1">
                  <c:v>1214.3915959247884</c:v>
                </c:pt>
              </c:numCache>
            </c:numRef>
          </c:xVal>
          <c:yVal>
            <c:numRef>
              <c:f>Sheet1!$B$183:$B$184</c:f>
              <c:numCache>
                <c:formatCode>General</c:formatCode>
                <c:ptCount val="2"/>
                <c:pt idx="0">
                  <c:v>0.202440549232818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8.25</c:v>
                </c:pt>
                <c:pt idx="1">
                  <c:v>1187.6776</c:v>
                </c:pt>
                <c:pt idx="2">
                  <c:v>1195.57</c:v>
                </c:pt>
                <c:pt idx="3">
                  <c:v>1164.9592</c:v>
                </c:pt>
                <c:pt idx="4">
                  <c:v>1154.8161</c:v>
                </c:pt>
                <c:pt idx="5">
                  <c:v>1200.5945</c:v>
                </c:pt>
                <c:pt idx="6">
                  <c:v>1081.3226</c:v>
                </c:pt>
                <c:pt idx="7">
                  <c:v>1100.4988</c:v>
                </c:pt>
                <c:pt idx="8">
                  <c:v>1159.1388</c:v>
                </c:pt>
                <c:pt idx="9">
                  <c:v>1111.8323</c:v>
                </c:pt>
                <c:pt idx="10">
                  <c:v>1124.2218</c:v>
                </c:pt>
                <c:pt idx="11">
                  <c:v>999.9724</c:v>
                </c:pt>
                <c:pt idx="12">
                  <c:v>1033.5682</c:v>
                </c:pt>
                <c:pt idx="13">
                  <c:v>1106.954</c:v>
                </c:pt>
                <c:pt idx="14">
                  <c:v>1087.2409</c:v>
                </c:pt>
                <c:pt idx="15">
                  <c:v>1133.0285</c:v>
                </c:pt>
                <c:pt idx="16">
                  <c:v>1146.3688</c:v>
                </c:pt>
                <c:pt idx="17">
                  <c:v>1139.2575</c:v>
                </c:pt>
                <c:pt idx="18">
                  <c:v>1087.5022</c:v>
                </c:pt>
                <c:pt idx="19">
                  <c:v>1240.9511</c:v>
                </c:pt>
                <c:pt idx="20">
                  <c:v>1266.0714</c:v>
                </c:pt>
                <c:pt idx="21">
                  <c:v>1146.5484</c:v>
                </c:pt>
                <c:pt idx="22">
                  <c:v>1223.4253</c:v>
                </c:pt>
                <c:pt idx="23">
                  <c:v>1199.2315</c:v>
                </c:pt>
                <c:pt idx="24">
                  <c:v>1212.2654</c:v>
                </c:pt>
                <c:pt idx="25">
                  <c:v>1168.2751</c:v>
                </c:pt>
                <c:pt idx="26">
                  <c:v>1196.9809</c:v>
                </c:pt>
                <c:pt idx="27">
                  <c:v>1170.6188</c:v>
                </c:pt>
                <c:pt idx="28">
                  <c:v>1204.2098</c:v>
                </c:pt>
                <c:pt idx="29">
                  <c:v>1198.2106</c:v>
                </c:pt>
                <c:pt idx="30">
                  <c:v>1190.8969</c:v>
                </c:pt>
                <c:pt idx="31">
                  <c:v>1166.586</c:v>
                </c:pt>
                <c:pt idx="32">
                  <c:v>1216.2983</c:v>
                </c:pt>
                <c:pt idx="33">
                  <c:v>1202.526</c:v>
                </c:pt>
                <c:pt idx="34">
                  <c:v>1215.0134</c:v>
                </c:pt>
                <c:pt idx="35">
                  <c:v>1276.9577</c:v>
                </c:pt>
                <c:pt idx="36">
                  <c:v>1328.1122</c:v>
                </c:pt>
                <c:pt idx="37">
                  <c:v>1265.4573</c:v>
                </c:pt>
                <c:pt idx="38">
                  <c:v>1316.2978</c:v>
                </c:pt>
                <c:pt idx="39">
                  <c:v>1237.89</c:v>
                </c:pt>
                <c:pt idx="40">
                  <c:v>1261.7927</c:v>
                </c:pt>
                <c:pt idx="41">
                  <c:v>1309.8859</c:v>
                </c:pt>
                <c:pt idx="42">
                  <c:v>1312.7306</c:v>
                </c:pt>
                <c:pt idx="43">
                  <c:v>1289.7012</c:v>
                </c:pt>
                <c:pt idx="44">
                  <c:v>1209.8281</c:v>
                </c:pt>
                <c:pt idx="45">
                  <c:v>1158.742</c:v>
                </c:pt>
                <c:pt idx="46">
                  <c:v>1166.9447</c:v>
                </c:pt>
                <c:pt idx="47">
                  <c:v>1139.6541</c:v>
                </c:pt>
                <c:pt idx="48">
                  <c:v>1136.6096</c:v>
                </c:pt>
                <c:pt idx="49">
                  <c:v>1157.7121</c:v>
                </c:pt>
                <c:pt idx="50">
                  <c:v>1109.9693</c:v>
                </c:pt>
                <c:pt idx="51">
                  <c:v>1094.138</c:v>
                </c:pt>
                <c:pt idx="52">
                  <c:v>1110.8855860378064</c:v>
                </c:pt>
                <c:pt idx="53">
                  <c:v>929.0002033379649</c:v>
                </c:pt>
                <c:pt idx="54">
                  <c:v>1214.3915959247884</c:v>
                </c:pt>
              </c:numCache>
            </c:numRef>
          </c:xVal>
          <c:yVal>
            <c:numRef>
              <c:f>Sheet1!$B$187:$B$241</c:f>
              <c:numCache>
                <c:formatCode>General</c:formatCode>
                <c:ptCount val="55"/>
                <c:pt idx="0">
                  <c:v>0.20583174719311942</c:v>
                </c:pt>
                <c:pt idx="1">
                  <c:v>0.20590600133269304</c:v>
                </c:pt>
                <c:pt idx="2">
                  <c:v>0.20488216595328926</c:v>
                </c:pt>
                <c:pt idx="3">
                  <c:v>0.20885312789539215</c:v>
                </c:pt>
                <c:pt idx="4">
                  <c:v>0.2101689335612011</c:v>
                </c:pt>
                <c:pt idx="5">
                  <c:v>0.20423036664461078</c:v>
                </c:pt>
                <c:pt idx="6">
                  <c:v>0.2197028200160451</c:v>
                </c:pt>
                <c:pt idx="7">
                  <c:v>0.21721520256095886</c:v>
                </c:pt>
                <c:pt idx="8">
                  <c:v>0.20960817470527024</c:v>
                </c:pt>
                <c:pt idx="9">
                  <c:v>0.21574497319188574</c:v>
                </c:pt>
                <c:pt idx="10">
                  <c:v>0.21413775505378796</c:v>
                </c:pt>
                <c:pt idx="11">
                  <c:v>0.2302559106958855</c:v>
                </c:pt>
                <c:pt idx="12">
                  <c:v>0.22589772197770433</c:v>
                </c:pt>
                <c:pt idx="13">
                  <c:v>0.21637780682061028</c:v>
                </c:pt>
                <c:pt idx="14">
                  <c:v>0.21893507320570535</c:v>
                </c:pt>
                <c:pt idx="15">
                  <c:v>0.2129953128263546</c:v>
                </c:pt>
                <c:pt idx="16">
                  <c:v>0.21126475290644936</c:v>
                </c:pt>
                <c:pt idx="17">
                  <c:v>0.2121872607030073</c:v>
                </c:pt>
                <c:pt idx="18">
                  <c:v>0.21890117626882455</c:v>
                </c:pt>
                <c:pt idx="19">
                  <c:v>0.19899513846656022</c:v>
                </c:pt>
                <c:pt idx="20">
                  <c:v>0.19573642731643648</c:v>
                </c:pt>
                <c:pt idx="21">
                  <c:v>0.21124145443777811</c:v>
                </c:pt>
                <c:pt idx="22">
                  <c:v>0.20126865908036012</c:v>
                </c:pt>
                <c:pt idx="23">
                  <c:v>0.20440718074705452</c:v>
                </c:pt>
                <c:pt idx="24">
                  <c:v>0.20271636832604056</c:v>
                </c:pt>
                <c:pt idx="25">
                  <c:v>0.20842297537720186</c:v>
                </c:pt>
                <c:pt idx="26">
                  <c:v>0.2046991380610384</c:v>
                </c:pt>
                <c:pt idx="27">
                  <c:v>0.2081189407389792</c:v>
                </c:pt>
                <c:pt idx="28">
                  <c:v>0.20376137469702085</c:v>
                </c:pt>
                <c:pt idx="29">
                  <c:v>0.2045396161961997</c:v>
                </c:pt>
                <c:pt idx="30">
                  <c:v>0.2054883801734874</c:v>
                </c:pt>
                <c:pt idx="31">
                  <c:v>0.2086420925455348</c:v>
                </c:pt>
                <c:pt idx="32">
                  <c:v>0.20219320354706363</c:v>
                </c:pt>
                <c:pt idx="33">
                  <c:v>0.20397980432702442</c:v>
                </c:pt>
                <c:pt idx="34">
                  <c:v>0.20235988618846495</c:v>
                </c:pt>
                <c:pt idx="35">
                  <c:v>0.19432421061545793</c:v>
                </c:pt>
                <c:pt idx="36">
                  <c:v>0.1876882333568661</c:v>
                </c:pt>
                <c:pt idx="37">
                  <c:v>0.195816090955696</c:v>
                </c:pt>
                <c:pt idx="38">
                  <c:v>0.18922084710001494</c:v>
                </c:pt>
                <c:pt idx="39">
                  <c:v>0.19939223725525476</c:v>
                </c:pt>
                <c:pt idx="40">
                  <c:v>0.1962914783069913</c:v>
                </c:pt>
                <c:pt idx="41">
                  <c:v>0.19005262578193666</c:v>
                </c:pt>
                <c:pt idx="42">
                  <c:v>0.18968359931295511</c:v>
                </c:pt>
                <c:pt idx="43">
                  <c:v>0.1926710701059257</c:v>
                </c:pt>
                <c:pt idx="44">
                  <c:v>0.20303254515060862</c:v>
                </c:pt>
                <c:pt idx="45">
                  <c:v>0.20965964927302497</c:v>
                </c:pt>
                <c:pt idx="46">
                  <c:v>0.20859556047029887</c:v>
                </c:pt>
                <c:pt idx="47">
                  <c:v>0.2121358120800952</c:v>
                </c:pt>
                <c:pt idx="48">
                  <c:v>0.21253075744685243</c:v>
                </c:pt>
                <c:pt idx="49">
                  <c:v>0.20979325224008794</c:v>
                </c:pt>
                <c:pt idx="50">
                  <c:v>0.2159866494008753</c:v>
                </c:pt>
                <c:pt idx="51">
                  <c:v>0.2180403523355916</c:v>
                </c:pt>
                <c:pt idx="52">
                  <c:v>0.2158677849156541</c:v>
                </c:pt>
                <c:pt idx="53">
                  <c:v>0.2394627230592469</c:v>
                </c:pt>
                <c:pt idx="54">
                  <c:v>0.202440549232818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4.0"/>
          <c:min val="61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12021611886537"/>
          <c:min val="0.109011627906976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4738937820688615</c:v>
                </c:pt>
                <c:pt idx="1">
                  <c:v>0.42672550908199985</c:v>
                </c:pt>
                <c:pt idx="2">
                  <c:v>0.45063429147524087</c:v>
                </c:pt>
                <c:pt idx="3">
                  <c:v>0.37322140140477583</c:v>
                </c:pt>
                <c:pt idx="4">
                  <c:v>0.4500937171689485</c:v>
                </c:pt>
                <c:pt idx="5">
                  <c:v>0.4890822955288711</c:v>
                </c:pt>
                <c:pt idx="6">
                  <c:v>0.45263419119303705</c:v>
                </c:pt>
                <c:pt idx="7">
                  <c:v>0.38975693970604447</c:v>
                </c:pt>
                <c:pt idx="8">
                  <c:v>0.4046627281746036</c:v>
                </c:pt>
                <c:pt idx="9">
                  <c:v>0.4370445515800608</c:v>
                </c:pt>
                <c:pt idx="10">
                  <c:v>0.3944265247420421</c:v>
                </c:pt>
                <c:pt idx="11">
                  <c:v>0.3590231565548572</c:v>
                </c:pt>
                <c:pt idx="12">
                  <c:v>0.32845043183697714</c:v>
                </c:pt>
                <c:pt idx="13">
                  <c:v>0.2876129893337181</c:v>
                </c:pt>
                <c:pt idx="14">
                  <c:v>0.22897557793901877</c:v>
                </c:pt>
                <c:pt idx="15">
                  <c:v>0.27583309860222593</c:v>
                </c:pt>
                <c:pt idx="16">
                  <c:v>0.3177151759089154</c:v>
                </c:pt>
                <c:pt idx="17">
                  <c:v>0.3136271946305646</c:v>
                </c:pt>
                <c:pt idx="18">
                  <c:v>0.33192198282902236</c:v>
                </c:pt>
                <c:pt idx="19">
                  <c:v>0.3416556524411324</c:v>
                </c:pt>
                <c:pt idx="20">
                  <c:v>0.45404022712973663</c:v>
                </c:pt>
                <c:pt idx="21">
                  <c:v>0.4827412877804862</c:v>
                </c:pt>
                <c:pt idx="22">
                  <c:v>0.42000630585971105</c:v>
                </c:pt>
                <c:pt idx="23">
                  <c:v>0.4083125056906169</c:v>
                </c:pt>
                <c:pt idx="24">
                  <c:v>0.3848261902050878</c:v>
                </c:pt>
                <c:pt idx="25">
                  <c:v>0.3555380643252687</c:v>
                </c:pt>
                <c:pt idx="26">
                  <c:v>0.3900131589172863</c:v>
                </c:pt>
                <c:pt idx="27">
                  <c:v>0.38930429074679973</c:v>
                </c:pt>
                <c:pt idx="28">
                  <c:v>0.37898267883459624</c:v>
                </c:pt>
                <c:pt idx="29">
                  <c:v>0.3092774474053296</c:v>
                </c:pt>
                <c:pt idx="30">
                  <c:v>0.3318296625195996</c:v>
                </c:pt>
                <c:pt idx="31">
                  <c:v>0.3519264025984071</c:v>
                </c:pt>
                <c:pt idx="32">
                  <c:v>0.23778832623837567</c:v>
                </c:pt>
                <c:pt idx="33">
                  <c:v>0.2581490373292679</c:v>
                </c:pt>
                <c:pt idx="34">
                  <c:v>0.38694823227089986</c:v>
                </c:pt>
                <c:pt idx="35">
                  <c:v>0.49333334618374647</c:v>
                </c:pt>
                <c:pt idx="36">
                  <c:v>0.4839553374801993</c:v>
                </c:pt>
                <c:pt idx="37">
                  <c:v>0.45809053098230273</c:v>
                </c:pt>
                <c:pt idx="38">
                  <c:v>0.46099189262842355</c:v>
                </c:pt>
                <c:pt idx="39">
                  <c:v>0.3773992946576582</c:v>
                </c:pt>
                <c:pt idx="40">
                  <c:v>0.36283791810374655</c:v>
                </c:pt>
                <c:pt idx="41">
                  <c:v>0.41048382586641735</c:v>
                </c:pt>
                <c:pt idx="42">
                  <c:v>0.4372295969264985</c:v>
                </c:pt>
                <c:pt idx="43">
                  <c:v>0.5202716754766936</c:v>
                </c:pt>
                <c:pt idx="44">
                  <c:v>0.4597044154009184</c:v>
                </c:pt>
                <c:pt idx="45">
                  <c:v>0.4711060961531767</c:v>
                </c:pt>
                <c:pt idx="46">
                  <c:v>0.48143934783083114</c:v>
                </c:pt>
                <c:pt idx="47">
                  <c:v>0.4663158405367512</c:v>
                </c:pt>
                <c:pt idx="48">
                  <c:v>0.455504790418619</c:v>
                </c:pt>
                <c:pt idx="49">
                  <c:v>0.39330402829509714</c:v>
                </c:pt>
                <c:pt idx="50">
                  <c:v>0.3233578835925361</c:v>
                </c:pt>
                <c:pt idx="51">
                  <c:v>0.3081528281902828</c:v>
                </c:pt>
                <c:pt idx="52">
                  <c:v>0.2897387531005365</c:v>
                </c:pt>
                <c:pt idx="53">
                  <c:v>0.2598030892916621</c:v>
                </c:pt>
                <c:pt idx="54">
                  <c:v>0.24819629947397107</c:v>
                </c:pt>
                <c:pt idx="55">
                  <c:v>0.26943688399909543</c:v>
                </c:pt>
                <c:pt idx="56">
                  <c:v>0.3136119804431708</c:v>
                </c:pt>
                <c:pt idx="57">
                  <c:v>0.41058394023746075</c:v>
                </c:pt>
                <c:pt idx="58">
                  <c:v>0.42684612365471014</c:v>
                </c:pt>
                <c:pt idx="59">
                  <c:v>0.3134690540152839</c:v>
                </c:pt>
                <c:pt idx="60">
                  <c:v>0.3377544431110349</c:v>
                </c:pt>
                <c:pt idx="61">
                  <c:v>0.2979597787968708</c:v>
                </c:pt>
                <c:pt idx="62">
                  <c:v>0.40337863812240976</c:v>
                </c:pt>
                <c:pt idx="63">
                  <c:v>0.4123580459721854</c:v>
                </c:pt>
                <c:pt idx="64">
                  <c:v>0.3535374367310249</c:v>
                </c:pt>
                <c:pt idx="65">
                  <c:v>0.4030721987446639</c:v>
                </c:pt>
                <c:pt idx="66">
                  <c:v>0.3106652740392997</c:v>
                </c:pt>
                <c:pt idx="67">
                  <c:v>0.3764004427915202</c:v>
                </c:pt>
                <c:pt idx="68">
                  <c:v>0.3769465394139317</c:v>
                </c:pt>
                <c:pt idx="69">
                  <c:v>0.3941948127945695</c:v>
                </c:pt>
                <c:pt idx="70">
                  <c:v>0.40367679604706386</c:v>
                </c:pt>
                <c:pt idx="71">
                  <c:v>0.35896601386796334</c:v>
                </c:pt>
                <c:pt idx="72">
                  <c:v>0.3532687390822046</c:v>
                </c:pt>
                <c:pt idx="73">
                  <c:v>0.34604697109925425</c:v>
                </c:pt>
                <c:pt idx="74">
                  <c:v>0.2771690677882531</c:v>
                </c:pt>
                <c:pt idx="75">
                  <c:v>0.3666020069465435</c:v>
                </c:pt>
                <c:pt idx="76">
                  <c:v>0.37023425758480716</c:v>
                </c:pt>
                <c:pt idx="77">
                  <c:v>0.4391732542588871</c:v>
                </c:pt>
                <c:pt idx="78">
                  <c:v>0.449235842755041</c:v>
                </c:pt>
                <c:pt idx="79">
                  <c:v>0.3739939075043596</c:v>
                </c:pt>
                <c:pt idx="80">
                  <c:v>0.3489610583932904</c:v>
                </c:pt>
                <c:pt idx="81">
                  <c:v>0.40248447546636157</c:v>
                </c:pt>
                <c:pt idx="82">
                  <c:v>0.40634312265172634</c:v>
                </c:pt>
                <c:pt idx="83">
                  <c:v>0.4268514346446709</c:v>
                </c:pt>
                <c:pt idx="84">
                  <c:v>0.4143318275736048</c:v>
                </c:pt>
                <c:pt idx="85">
                  <c:v>0.36296839374881346</c:v>
                </c:pt>
                <c:pt idx="86">
                  <c:v>0.3219551548964469</c:v>
                </c:pt>
                <c:pt idx="87">
                  <c:v>0.364655014778644</c:v>
                </c:pt>
                <c:pt idx="88">
                  <c:v>0.37112921635266316</c:v>
                </c:pt>
                <c:pt idx="89">
                  <c:v>0.3242096482844009</c:v>
                </c:pt>
                <c:pt idx="90">
                  <c:v>0.30475376144410066</c:v>
                </c:pt>
                <c:pt idx="91">
                  <c:v>0.3289850274313435</c:v>
                </c:pt>
                <c:pt idx="92">
                  <c:v>0.3544690619540433</c:v>
                </c:pt>
                <c:pt idx="93">
                  <c:v>0.37730193833061926</c:v>
                </c:pt>
                <c:pt idx="94">
                  <c:v>0.3478562808291308</c:v>
                </c:pt>
                <c:pt idx="95">
                  <c:v>0.4775192257493032</c:v>
                </c:pt>
                <c:pt idx="96">
                  <c:v>0.42558888054585226</c:v>
                </c:pt>
                <c:pt idx="97">
                  <c:v>0.34824179749532735</c:v>
                </c:pt>
                <c:pt idx="98">
                  <c:v>0.4161424567062731</c:v>
                </c:pt>
                <c:pt idx="99">
                  <c:v>0.48676140871987766</c:v>
                </c:pt>
                <c:pt idx="100">
                  <c:v>0.467853970902248</c:v>
                </c:pt>
                <c:pt idx="101">
                  <c:v>0.42658722112326225</c:v>
                </c:pt>
                <c:pt idx="102">
                  <c:v>0.46561673163121714</c:v>
                </c:pt>
                <c:pt idx="103">
                  <c:v>0.3550999746899519</c:v>
                </c:pt>
                <c:pt idx="104">
                  <c:v>0.3123304976099703</c:v>
                </c:pt>
              </c:numCache>
            </c:numRef>
          </c:xVal>
          <c:yVal>
            <c:numRef>
              <c:f>Sheet1!$B$2:$B$106</c:f>
              <c:numCache>
                <c:formatCode>General</c:formatCode>
                <c:ptCount val="105"/>
                <c:pt idx="0">
                  <c:v>0.2228548190321269</c:v>
                </c:pt>
                <c:pt idx="1">
                  <c:v>0.22298624754420432</c:v>
                </c:pt>
                <c:pt idx="2">
                  <c:v>0.2258660508083141</c:v>
                </c:pt>
                <c:pt idx="3">
                  <c:v>0.1988665636269964</c:v>
                </c:pt>
                <c:pt idx="4">
                  <c:v>0.21294810058855002</c:v>
                </c:pt>
                <c:pt idx="5">
                  <c:v>0.1997041420118343</c:v>
                </c:pt>
                <c:pt idx="6">
                  <c:v>0.23333333333333334</c:v>
                </c:pt>
                <c:pt idx="7">
                  <c:v>0.2299219825608077</c:v>
                </c:pt>
                <c:pt idx="8">
                  <c:v>0.24149956408020923</c:v>
                </c:pt>
                <c:pt idx="9">
                  <c:v>0.23938356164383562</c:v>
                </c:pt>
                <c:pt idx="10">
                  <c:v>0.24288688410825815</c:v>
                </c:pt>
                <c:pt idx="11">
                  <c:v>0.24071266110689918</c:v>
                </c:pt>
                <c:pt idx="12">
                  <c:v>0.235895494131011</c:v>
                </c:pt>
                <c:pt idx="13">
                  <c:v>0.2465972778222578</c:v>
                </c:pt>
                <c:pt idx="14">
                  <c:v>0.2249690976514215</c:v>
                </c:pt>
                <c:pt idx="15">
                  <c:v>0.23005836575875485</c:v>
                </c:pt>
                <c:pt idx="16">
                  <c:v>0.2272463768115942</c:v>
                </c:pt>
                <c:pt idx="17">
                  <c:v>0.21572327044025158</c:v>
                </c:pt>
                <c:pt idx="18">
                  <c:v>0.23713235294117646</c:v>
                </c:pt>
                <c:pt idx="19">
                  <c:v>0.18436213991769548</c:v>
                </c:pt>
                <c:pt idx="20">
                  <c:v>0.18076688983566647</c:v>
                </c:pt>
                <c:pt idx="21">
                  <c:v>0.19407407407407407</c:v>
                </c:pt>
                <c:pt idx="22">
                  <c:v>0.20473537604456823</c:v>
                </c:pt>
                <c:pt idx="23">
                  <c:v>0.19132455460883036</c:v>
                </c:pt>
                <c:pt idx="24">
                  <c:v>0.2056910569105691</c:v>
                </c:pt>
                <c:pt idx="25">
                  <c:v>0.2038664323374341</c:v>
                </c:pt>
                <c:pt idx="26">
                  <c:v>0.20881226053639848</c:v>
                </c:pt>
                <c:pt idx="27">
                  <c:v>0.18799212598425197</c:v>
                </c:pt>
                <c:pt idx="28">
                  <c:v>0.16538037486218302</c:v>
                </c:pt>
                <c:pt idx="29">
                  <c:v>0.16581371545547594</c:v>
                </c:pt>
                <c:pt idx="30">
                  <c:v>0.17795637198622274</c:v>
                </c:pt>
                <c:pt idx="31">
                  <c:v>0.18235294117647058</c:v>
                </c:pt>
                <c:pt idx="32">
                  <c:v>0.22259887005649717</c:v>
                </c:pt>
                <c:pt idx="33">
                  <c:v>0.1968586387434555</c:v>
                </c:pt>
                <c:pt idx="34">
                  <c:v>0.2079866888519135</c:v>
                </c:pt>
                <c:pt idx="35">
                  <c:v>0.2164343360234776</c:v>
                </c:pt>
                <c:pt idx="36">
                  <c:v>0.1605902777777778</c:v>
                </c:pt>
                <c:pt idx="37">
                  <c:v>0.18324607329842932</c:v>
                </c:pt>
                <c:pt idx="38">
                  <c:v>0.14866310160427806</c:v>
                </c:pt>
                <c:pt idx="39">
                  <c:v>0.13529411764705881</c:v>
                </c:pt>
                <c:pt idx="40">
                  <c:v>0.1566696508504924</c:v>
                </c:pt>
                <c:pt idx="41">
                  <c:v>0.13941018766756033</c:v>
                </c:pt>
                <c:pt idx="42">
                  <c:v>0.15636042402826855</c:v>
                </c:pt>
                <c:pt idx="43">
                  <c:v>0.14505893019038985</c:v>
                </c:pt>
                <c:pt idx="44">
                  <c:v>0.19112383679312814</c:v>
                </c:pt>
                <c:pt idx="45">
                  <c:v>0.1988388969521045</c:v>
                </c:pt>
                <c:pt idx="46">
                  <c:v>0.21665514858327575</c:v>
                </c:pt>
                <c:pt idx="47">
                  <c:v>0.20763811642565813</c:v>
                </c:pt>
                <c:pt idx="48">
                  <c:v>0.22090612970091797</c:v>
                </c:pt>
                <c:pt idx="49">
                  <c:v>0.24195137976346912</c:v>
                </c:pt>
                <c:pt idx="50">
                  <c:v>0.20119920053297802</c:v>
                </c:pt>
                <c:pt idx="51">
                  <c:v>0.19740973312401883</c:v>
                </c:pt>
                <c:pt idx="52">
                  <c:v>0.20512820512820512</c:v>
                </c:pt>
                <c:pt idx="53">
                  <c:v>0.1821256038647343</c:v>
                </c:pt>
                <c:pt idx="54">
                  <c:v>0.19134615384615383</c:v>
                </c:pt>
                <c:pt idx="55">
                  <c:v>0.18870588235294117</c:v>
                </c:pt>
                <c:pt idx="56">
                  <c:v>0.20100502512562815</c:v>
                </c:pt>
                <c:pt idx="57">
                  <c:v>0.17901234567901234</c:v>
                </c:pt>
                <c:pt idx="58">
                  <c:v>0.20280948200175591</c:v>
                </c:pt>
                <c:pt idx="59">
                  <c:v>0.20252707581227436</c:v>
                </c:pt>
                <c:pt idx="60">
                  <c:v>0.2239652870493992</c:v>
                </c:pt>
                <c:pt idx="61">
                  <c:v>0.24538866930171277</c:v>
                </c:pt>
                <c:pt idx="62">
                  <c:v>0.25275070732474064</c:v>
                </c:pt>
                <c:pt idx="63">
                  <c:v>0.273006993006993</c:v>
                </c:pt>
                <c:pt idx="64">
                  <c:v>0.2628937831056593</c:v>
                </c:pt>
                <c:pt idx="65">
                  <c:v>0.252249550089982</c:v>
                </c:pt>
                <c:pt idx="66">
                  <c:v>0.24418253248715624</c:v>
                </c:pt>
                <c:pt idx="67">
                  <c:v>0.22786217117450908</c:v>
                </c:pt>
                <c:pt idx="68">
                  <c:v>0.18805412972468502</c:v>
                </c:pt>
                <c:pt idx="69">
                  <c:v>0.1704490584258812</c:v>
                </c:pt>
                <c:pt idx="70">
                  <c:v>0.16479591836734694</c:v>
                </c:pt>
                <c:pt idx="71">
                  <c:v>0.18984280532043532</c:v>
                </c:pt>
                <c:pt idx="72">
                  <c:v>0.1859807801017524</c:v>
                </c:pt>
                <c:pt idx="73">
                  <c:v>0.1895294897282969</c:v>
                </c:pt>
                <c:pt idx="74">
                  <c:v>0.23067484662576687</c:v>
                </c:pt>
                <c:pt idx="75">
                  <c:v>0.18313953488372092</c:v>
                </c:pt>
                <c:pt idx="76">
                  <c:v>0.17551309271054494</c:v>
                </c:pt>
                <c:pt idx="77">
                  <c:v>0.15310586176727908</c:v>
                </c:pt>
                <c:pt idx="78">
                  <c:v>0.14791288566243194</c:v>
                </c:pt>
                <c:pt idx="79">
                  <c:v>0.16794478527607362</c:v>
                </c:pt>
                <c:pt idx="80">
                  <c:v>0.17065127782357792</c:v>
                </c:pt>
                <c:pt idx="81">
                  <c:v>0.17196132596685082</c:v>
                </c:pt>
                <c:pt idx="82">
                  <c:v>0.17863554757630162</c:v>
                </c:pt>
                <c:pt idx="83">
                  <c:v>0.1734390485629336</c:v>
                </c:pt>
                <c:pt idx="84">
                  <c:v>0.14650934119960668</c:v>
                </c:pt>
                <c:pt idx="85">
                  <c:v>0.150278293135436</c:v>
                </c:pt>
                <c:pt idx="86">
                  <c:v>0.1743827160493827</c:v>
                </c:pt>
                <c:pt idx="87">
                  <c:v>0.17827298050139276</c:v>
                </c:pt>
                <c:pt idx="88">
                  <c:v>0.1533980582524272</c:v>
                </c:pt>
                <c:pt idx="89">
                  <c:v>0.15392561983471073</c:v>
                </c:pt>
                <c:pt idx="90">
                  <c:v>0.1510791366906475</c:v>
                </c:pt>
                <c:pt idx="91">
                  <c:v>0.14737991266375547</c:v>
                </c:pt>
                <c:pt idx="92">
                  <c:v>0.1598639455782313</c:v>
                </c:pt>
                <c:pt idx="93">
                  <c:v>0.15434985968194576</c:v>
                </c:pt>
                <c:pt idx="94">
                  <c:v>0.15755329008341057</c:v>
                </c:pt>
                <c:pt idx="95">
                  <c:v>0.1787819253438114</c:v>
                </c:pt>
                <c:pt idx="96">
                  <c:v>0.1592505854800937</c:v>
                </c:pt>
                <c:pt idx="97">
                  <c:v>0.17523609653725078</c:v>
                </c:pt>
                <c:pt idx="98">
                  <c:v>0.1751192024273949</c:v>
                </c:pt>
                <c:pt idx="99">
                  <c:v>0.17893755824790308</c:v>
                </c:pt>
                <c:pt idx="100">
                  <c:v>0.20094376720408966</c:v>
                </c:pt>
                <c:pt idx="101">
                  <c:v>0.19572815533980584</c:v>
                </c:pt>
                <c:pt idx="102">
                  <c:v>0.15256723716381418</c:v>
                </c:pt>
                <c:pt idx="103">
                  <c:v>0.1915945611866502</c:v>
                </c:pt>
                <c:pt idx="104">
                  <c:v>0.1919377004122766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979425808174311</c:v>
                </c:pt>
                <c:pt idx="1">
                  <c:v>0.37246291489764</c:v>
                </c:pt>
                <c:pt idx="2">
                  <c:v>0.3788570920426406</c:v>
                </c:pt>
                <c:pt idx="3">
                  <c:v>0.44638557230950676</c:v>
                </c:pt>
                <c:pt idx="4">
                  <c:v>0.40918168016125206</c:v>
                </c:pt>
                <c:pt idx="5">
                  <c:v>0.35930485755510144</c:v>
                </c:pt>
                <c:pt idx="6">
                  <c:v>0.4430614292815394</c:v>
                </c:pt>
                <c:pt idx="7">
                  <c:v>0.46366115176708894</c:v>
                </c:pt>
                <c:pt idx="8">
                  <c:v>0.40453990457127414</c:v>
                </c:pt>
                <c:pt idx="9">
                  <c:v>0.35349655104468913</c:v>
                </c:pt>
                <c:pt idx="10">
                  <c:v>0.3948546493302444</c:v>
                </c:pt>
                <c:pt idx="11">
                  <c:v>0.4285656619902484</c:v>
                </c:pt>
                <c:pt idx="12">
                  <c:v>0.4377377240381582</c:v>
                </c:pt>
                <c:pt idx="13">
                  <c:v>0.46795023607826636</c:v>
                </c:pt>
                <c:pt idx="14">
                  <c:v>0.48934416035169204</c:v>
                </c:pt>
                <c:pt idx="15">
                  <c:v>0.39414542965513205</c:v>
                </c:pt>
                <c:pt idx="16">
                  <c:v>0.4394437223018515</c:v>
                </c:pt>
                <c:pt idx="17">
                  <c:v>0.4071272923565926</c:v>
                </c:pt>
                <c:pt idx="18">
                  <c:v>0.3839976024620568</c:v>
                </c:pt>
                <c:pt idx="19">
                  <c:v>0.3883579558039107</c:v>
                </c:pt>
                <c:pt idx="20">
                  <c:v>0.3970466134499997</c:v>
                </c:pt>
                <c:pt idx="21">
                  <c:v>0.37602738310514083</c:v>
                </c:pt>
                <c:pt idx="22">
                  <c:v>0.3850406133736136</c:v>
                </c:pt>
                <c:pt idx="23">
                  <c:v>0.35060854950264564</c:v>
                </c:pt>
                <c:pt idx="24">
                  <c:v>0.3614627103778964</c:v>
                </c:pt>
                <c:pt idx="25">
                  <c:v>0.3498321993893409</c:v>
                </c:pt>
                <c:pt idx="26">
                  <c:v>0.3720884684356889</c:v>
                </c:pt>
                <c:pt idx="27">
                  <c:v>0.3810410557184751</c:v>
                </c:pt>
                <c:pt idx="28">
                  <c:v>0.4294784888286189</c:v>
                </c:pt>
                <c:pt idx="29">
                  <c:v>0.44873757062788994</c:v>
                </c:pt>
                <c:pt idx="30">
                  <c:v>0.4428799004779216</c:v>
                </c:pt>
                <c:pt idx="31">
                  <c:v>0.3260486236783059</c:v>
                </c:pt>
                <c:pt idx="32">
                  <c:v>0.30660898667039244</c:v>
                </c:pt>
                <c:pt idx="33">
                  <c:v>0.2903126066654534</c:v>
                </c:pt>
                <c:pt idx="34">
                  <c:v>0.3448238833762909</c:v>
                </c:pt>
                <c:pt idx="35">
                  <c:v>0.3342326921339895</c:v>
                </c:pt>
                <c:pt idx="36">
                  <c:v>0.3217904511661099</c:v>
                </c:pt>
                <c:pt idx="37">
                  <c:v>0.3352169698211267</c:v>
                </c:pt>
                <c:pt idx="38">
                  <c:v>0.34251520398902724</c:v>
                </c:pt>
                <c:pt idx="39">
                  <c:v>0.3259005944039047</c:v>
                </c:pt>
                <c:pt idx="40">
                  <c:v>0.3391670258854825</c:v>
                </c:pt>
                <c:pt idx="41">
                  <c:v>0.3696158064655422</c:v>
                </c:pt>
                <c:pt idx="42">
                  <c:v>0.3753162143424485</c:v>
                </c:pt>
                <c:pt idx="43">
                  <c:v>0.36491454868825307</c:v>
                </c:pt>
                <c:pt idx="44">
                  <c:v>0.39057493725751036</c:v>
                </c:pt>
                <c:pt idx="45">
                  <c:v>0.44208944235652614</c:v>
                </c:pt>
                <c:pt idx="46">
                  <c:v>0.4118997510115157</c:v>
                </c:pt>
                <c:pt idx="47">
                  <c:v>0.4430081886912925</c:v>
                </c:pt>
                <c:pt idx="48">
                  <c:v>0.4383911647781228</c:v>
                </c:pt>
                <c:pt idx="49">
                  <c:v>0.452394639648417</c:v>
                </c:pt>
                <c:pt idx="50">
                  <c:v>0.441478755293265</c:v>
                </c:pt>
                <c:pt idx="51">
                  <c:v>0.3892979395804412</c:v>
                </c:pt>
              </c:numCache>
            </c:numRef>
          </c:xVal>
          <c:yVal>
            <c:numRef>
              <c:f>Sheet1!$B$109:$B$160</c:f>
              <c:numCache>
                <c:formatCode>General</c:formatCode>
                <c:ptCount val="52"/>
                <c:pt idx="0">
                  <c:v>0.1708832667554372</c:v>
                </c:pt>
                <c:pt idx="1">
                  <c:v>0.1749209694415174</c:v>
                </c:pt>
                <c:pt idx="2">
                  <c:v>0.18002571795970854</c:v>
                </c:pt>
                <c:pt idx="3">
                  <c:v>0.21079913606911446</c:v>
                </c:pt>
                <c:pt idx="4">
                  <c:v>0.1949286846275753</c:v>
                </c:pt>
                <c:pt idx="5">
                  <c:v>0.19023034154090548</c:v>
                </c:pt>
                <c:pt idx="6">
                  <c:v>0.18760877131917855</c:v>
                </c:pt>
                <c:pt idx="7">
                  <c:v>0.19925449000338868</c:v>
                </c:pt>
                <c:pt idx="8">
                  <c:v>0.21149348479786167</c:v>
                </c:pt>
                <c:pt idx="9">
                  <c:v>0.22014051522248243</c:v>
                </c:pt>
                <c:pt idx="10">
                  <c:v>0.22324255858138062</c:v>
                </c:pt>
                <c:pt idx="11">
                  <c:v>0.22470433639947437</c:v>
                </c:pt>
                <c:pt idx="12">
                  <c:v>0.23998871968415117</c:v>
                </c:pt>
                <c:pt idx="13">
                  <c:v>0.2176199868507561</c:v>
                </c:pt>
                <c:pt idx="14">
                  <c:v>0.21634439985406786</c:v>
                </c:pt>
                <c:pt idx="15">
                  <c:v>0.19686985172981877</c:v>
                </c:pt>
                <c:pt idx="16">
                  <c:v>0.17834394904458598</c:v>
                </c:pt>
                <c:pt idx="17">
                  <c:v>0.1719242902208202</c:v>
                </c:pt>
                <c:pt idx="18">
                  <c:v>0.1727921009325288</c:v>
                </c:pt>
                <c:pt idx="19">
                  <c:v>0.15991902834008098</c:v>
                </c:pt>
                <c:pt idx="20">
                  <c:v>0.16161616161616163</c:v>
                </c:pt>
                <c:pt idx="21">
                  <c:v>0.15605095541401273</c:v>
                </c:pt>
                <c:pt idx="22">
                  <c:v>0.18781725888324874</c:v>
                </c:pt>
                <c:pt idx="23">
                  <c:v>0.20943531093638312</c:v>
                </c:pt>
                <c:pt idx="24">
                  <c:v>0.19883040935672514</c:v>
                </c:pt>
                <c:pt idx="25">
                  <c:v>0.18599397590361447</c:v>
                </c:pt>
                <c:pt idx="26">
                  <c:v>0.1498371335504886</c:v>
                </c:pt>
                <c:pt idx="27">
                  <c:v>0.15173674588665448</c:v>
                </c:pt>
                <c:pt idx="28">
                  <c:v>0.15919487648673375</c:v>
                </c:pt>
                <c:pt idx="29">
                  <c:v>0.1758130081300813</c:v>
                </c:pt>
                <c:pt idx="30">
                  <c:v>0.1678681771369722</c:v>
                </c:pt>
                <c:pt idx="31">
                  <c:v>0.15449101796407186</c:v>
                </c:pt>
                <c:pt idx="32">
                  <c:v>0.14521452145214522</c:v>
                </c:pt>
                <c:pt idx="33">
                  <c:v>0.16975060337892195</c:v>
                </c:pt>
                <c:pt idx="34">
                  <c:v>0.2058623040218132</c:v>
                </c:pt>
                <c:pt idx="35">
                  <c:v>0.20064205457463885</c:v>
                </c:pt>
                <c:pt idx="36">
                  <c:v>0.1742826780021254</c:v>
                </c:pt>
                <c:pt idx="37">
                  <c:v>0.1404494382022472</c:v>
                </c:pt>
                <c:pt idx="38">
                  <c:v>0.14410480349344978</c:v>
                </c:pt>
                <c:pt idx="39">
                  <c:v>0.1694915254237288</c:v>
                </c:pt>
                <c:pt idx="40">
                  <c:v>0.17182410423452768</c:v>
                </c:pt>
                <c:pt idx="41">
                  <c:v>0.16197783461210571</c:v>
                </c:pt>
                <c:pt idx="42">
                  <c:v>0.15801704105344694</c:v>
                </c:pt>
                <c:pt idx="43">
                  <c:v>0.14314115308151093</c:v>
                </c:pt>
                <c:pt idx="44">
                  <c:v>0.1479944674965422</c:v>
                </c:pt>
                <c:pt idx="45">
                  <c:v>0.15921787709497207</c:v>
                </c:pt>
                <c:pt idx="46">
                  <c:v>0.16399622997172478</c:v>
                </c:pt>
                <c:pt idx="47">
                  <c:v>0.16328331862312445</c:v>
                </c:pt>
                <c:pt idx="48">
                  <c:v>0.1558219178082192</c:v>
                </c:pt>
                <c:pt idx="49">
                  <c:v>0.1574852163087457</c:v>
                </c:pt>
                <c:pt idx="50">
                  <c:v>0.19184290030211482</c:v>
                </c:pt>
                <c:pt idx="51">
                  <c:v>0.17606209150326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719377950864578</c:v>
                </c:pt>
              </c:numCache>
            </c:numRef>
          </c:xVal>
          <c:yVal>
            <c:numRef>
              <c:f>Sheet1!$B$163:$B$164</c:f>
              <c:numCache>
                <c:formatCode>General</c:formatCode>
                <c:ptCount val="2"/>
                <c:pt idx="0">
                  <c:v>0.22306218817253048</c:v>
                </c:pt>
                <c:pt idx="1">
                  <c:v>0.2230621881725304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719377950864578</c:v>
                </c:pt>
                <c:pt idx="1">
                  <c:v>0.6719377950864578</c:v>
                </c:pt>
              </c:numCache>
            </c:numRef>
          </c:xVal>
          <c:yVal>
            <c:numRef>
              <c:f>Sheet1!$B$167:$B$168</c:f>
              <c:numCache>
                <c:formatCode>General</c:formatCode>
                <c:ptCount val="2"/>
                <c:pt idx="0">
                  <c:v>0.2230621881725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587379099422896</c:v>
                </c:pt>
              </c:numCache>
            </c:numRef>
          </c:xVal>
          <c:yVal>
            <c:numRef>
              <c:f>Sheet1!$B$171:$B$172</c:f>
              <c:numCache>
                <c:formatCode>General</c:formatCode>
                <c:ptCount val="2"/>
                <c:pt idx="0">
                  <c:v>0.19535052722233243</c:v>
                </c:pt>
                <c:pt idx="1">
                  <c:v>0.1953505272223324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587379099422896</c:v>
                </c:pt>
                <c:pt idx="1">
                  <c:v>0.49587379099422896</c:v>
                </c:pt>
              </c:numCache>
            </c:numRef>
          </c:xVal>
          <c:yVal>
            <c:numRef>
              <c:f>Sheet1!$B$175:$B$176</c:f>
              <c:numCache>
                <c:formatCode>General</c:formatCode>
                <c:ptCount val="2"/>
                <c:pt idx="0">
                  <c:v>0.1953505272223324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9090189912391384</c:v>
                </c:pt>
              </c:numCache>
            </c:numRef>
          </c:xVal>
          <c:yVal>
            <c:numRef>
              <c:f>Sheet1!$B$179:$B$180</c:f>
              <c:numCache>
                <c:formatCode>General</c:formatCode>
                <c:ptCount val="2"/>
                <c:pt idx="0">
                  <c:v>0.1630888982703101</c:v>
                </c:pt>
                <c:pt idx="1">
                  <c:v>0.163088898270310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9090189912391384</c:v>
                </c:pt>
                <c:pt idx="1">
                  <c:v>0.29090189912391384</c:v>
                </c:pt>
              </c:numCache>
            </c:numRef>
          </c:xVal>
          <c:yVal>
            <c:numRef>
              <c:f>Sheet1!$B$183:$B$184</c:f>
              <c:numCache>
                <c:formatCode>General</c:formatCode>
                <c:ptCount val="2"/>
                <c:pt idx="0">
                  <c:v>0.16308889827031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979425808174311</c:v>
                </c:pt>
                <c:pt idx="1">
                  <c:v>0.37246291489764</c:v>
                </c:pt>
                <c:pt idx="2">
                  <c:v>0.3788570920426406</c:v>
                </c:pt>
                <c:pt idx="3">
                  <c:v>0.44638557230950676</c:v>
                </c:pt>
                <c:pt idx="4">
                  <c:v>0.40918168016125206</c:v>
                </c:pt>
                <c:pt idx="5">
                  <c:v>0.35930485755510144</c:v>
                </c:pt>
                <c:pt idx="6">
                  <c:v>0.4430614292815394</c:v>
                </c:pt>
                <c:pt idx="7">
                  <c:v>0.46366115176708894</c:v>
                </c:pt>
                <c:pt idx="8">
                  <c:v>0.40453990457127414</c:v>
                </c:pt>
                <c:pt idx="9">
                  <c:v>0.35349655104468913</c:v>
                </c:pt>
                <c:pt idx="10">
                  <c:v>0.3948546493302444</c:v>
                </c:pt>
                <c:pt idx="11">
                  <c:v>0.4285656619902484</c:v>
                </c:pt>
                <c:pt idx="12">
                  <c:v>0.4377377240381582</c:v>
                </c:pt>
                <c:pt idx="13">
                  <c:v>0.46795023607826636</c:v>
                </c:pt>
                <c:pt idx="14">
                  <c:v>0.48934416035169204</c:v>
                </c:pt>
                <c:pt idx="15">
                  <c:v>0.39414542965513205</c:v>
                </c:pt>
                <c:pt idx="16">
                  <c:v>0.4394437223018515</c:v>
                </c:pt>
                <c:pt idx="17">
                  <c:v>0.4071272923565926</c:v>
                </c:pt>
                <c:pt idx="18">
                  <c:v>0.3839976024620568</c:v>
                </c:pt>
                <c:pt idx="19">
                  <c:v>0.3883579558039107</c:v>
                </c:pt>
                <c:pt idx="20">
                  <c:v>0.3970466134499997</c:v>
                </c:pt>
                <c:pt idx="21">
                  <c:v>0.37602738310514083</c:v>
                </c:pt>
                <c:pt idx="22">
                  <c:v>0.3850406133736136</c:v>
                </c:pt>
                <c:pt idx="23">
                  <c:v>0.35060854950264564</c:v>
                </c:pt>
                <c:pt idx="24">
                  <c:v>0.3614627103778964</c:v>
                </c:pt>
                <c:pt idx="25">
                  <c:v>0.3498321993893409</c:v>
                </c:pt>
                <c:pt idx="26">
                  <c:v>0.3720884684356889</c:v>
                </c:pt>
                <c:pt idx="27">
                  <c:v>0.3810410557184751</c:v>
                </c:pt>
                <c:pt idx="28">
                  <c:v>0.4294784888286189</c:v>
                </c:pt>
                <c:pt idx="29">
                  <c:v>0.44873757062788994</c:v>
                </c:pt>
                <c:pt idx="30">
                  <c:v>0.4428799004779216</c:v>
                </c:pt>
                <c:pt idx="31">
                  <c:v>0.3260486236783059</c:v>
                </c:pt>
                <c:pt idx="32">
                  <c:v>0.30660898667039244</c:v>
                </c:pt>
                <c:pt idx="33">
                  <c:v>0.2903126066654534</c:v>
                </c:pt>
                <c:pt idx="34">
                  <c:v>0.3448238833762909</c:v>
                </c:pt>
                <c:pt idx="35">
                  <c:v>0.3342326921339895</c:v>
                </c:pt>
                <c:pt idx="36">
                  <c:v>0.3217904511661099</c:v>
                </c:pt>
                <c:pt idx="37">
                  <c:v>0.3352169698211267</c:v>
                </c:pt>
                <c:pt idx="38">
                  <c:v>0.34251520398902724</c:v>
                </c:pt>
                <c:pt idx="39">
                  <c:v>0.3259005944039047</c:v>
                </c:pt>
                <c:pt idx="40">
                  <c:v>0.3391670258854825</c:v>
                </c:pt>
                <c:pt idx="41">
                  <c:v>0.3696158064655422</c:v>
                </c:pt>
                <c:pt idx="42">
                  <c:v>0.3753162143424485</c:v>
                </c:pt>
                <c:pt idx="43">
                  <c:v>0.36491454868825307</c:v>
                </c:pt>
                <c:pt idx="44">
                  <c:v>0.39057493725751036</c:v>
                </c:pt>
                <c:pt idx="45">
                  <c:v>0.44208944235652614</c:v>
                </c:pt>
                <c:pt idx="46">
                  <c:v>0.4118997510115157</c:v>
                </c:pt>
                <c:pt idx="47">
                  <c:v>0.4430081886912925</c:v>
                </c:pt>
                <c:pt idx="48">
                  <c:v>0.4383911647781228</c:v>
                </c:pt>
                <c:pt idx="49">
                  <c:v>0.452394639648417</c:v>
                </c:pt>
                <c:pt idx="50">
                  <c:v>0.441478755293265</c:v>
                </c:pt>
                <c:pt idx="51">
                  <c:v>0.3892979395804412</c:v>
                </c:pt>
                <c:pt idx="52">
                  <c:v>0.49587379099422896</c:v>
                </c:pt>
                <c:pt idx="53">
                  <c:v>0.6719377950864578</c:v>
                </c:pt>
                <c:pt idx="54">
                  <c:v>0.29090189912391384</c:v>
                </c:pt>
              </c:numCache>
            </c:numRef>
          </c:xVal>
          <c:yVal>
            <c:numRef>
              <c:f>Sheet1!$B$187:$B$241</c:f>
              <c:numCache>
                <c:formatCode>General</c:formatCode>
                <c:ptCount val="55"/>
                <c:pt idx="0">
                  <c:v>0.1799366071149583</c:v>
                </c:pt>
                <c:pt idx="1">
                  <c:v>0.17592622539761593</c:v>
                </c:pt>
                <c:pt idx="2">
                  <c:v>0.17693263934356335</c:v>
                </c:pt>
                <c:pt idx="3">
                  <c:v>0.1875613102026974</c:v>
                </c:pt>
                <c:pt idx="4">
                  <c:v>0.18170558943481063</c:v>
                </c:pt>
                <c:pt idx="5">
                  <c:v>0.1738552079530241</c:v>
                </c:pt>
                <c:pt idx="6">
                  <c:v>0.1870381054453369</c:v>
                </c:pt>
                <c:pt idx="7">
                  <c:v>0.19028040660809295</c:v>
                </c:pt>
                <c:pt idx="8">
                  <c:v>0.18097499539874068</c:v>
                </c:pt>
                <c:pt idx="9">
                  <c:v>0.1729410073386438</c:v>
                </c:pt>
                <c:pt idx="10">
                  <c:v>0.17945058096298272</c:v>
                </c:pt>
                <c:pt idx="11">
                  <c:v>0.18475653863410613</c:v>
                </c:pt>
                <c:pt idx="12">
                  <c:v>0.18620017883186463</c:v>
                </c:pt>
                <c:pt idx="13">
                  <c:v>0.19095548866606943</c:v>
                </c:pt>
                <c:pt idx="14">
                  <c:v>0.19432279352157428</c:v>
                </c:pt>
                <c:pt idx="15">
                  <c:v>0.1793389530622244</c:v>
                </c:pt>
                <c:pt idx="16">
                  <c:v>0.18646869507803798</c:v>
                </c:pt>
                <c:pt idx="17">
                  <c:v>0.1813822382842079</c:v>
                </c:pt>
                <c:pt idx="18">
                  <c:v>0.1777417319379769</c:v>
                </c:pt>
                <c:pt idx="19">
                  <c:v>0.17842803141216823</c:v>
                </c:pt>
                <c:pt idx="20">
                  <c:v>0.1797955859900741</c:v>
                </c:pt>
                <c:pt idx="21">
                  <c:v>0.1764872562280989</c:v>
                </c:pt>
                <c:pt idx="22">
                  <c:v>0.17790589703746695</c:v>
                </c:pt>
                <c:pt idx="23">
                  <c:v>0.1724864492364957</c:v>
                </c:pt>
                <c:pt idx="24">
                  <c:v>0.17419484401954452</c:v>
                </c:pt>
                <c:pt idx="25">
                  <c:v>0.17236425531486205</c:v>
                </c:pt>
                <c:pt idx="26">
                  <c:v>0.17586728925418849</c:v>
                </c:pt>
                <c:pt idx="27">
                  <c:v>0.1772763851377381</c:v>
                </c:pt>
                <c:pt idx="28">
                  <c:v>0.18490021336183704</c:v>
                </c:pt>
                <c:pt idx="29">
                  <c:v>0.18793150387340551</c:v>
                </c:pt>
                <c:pt idx="30">
                  <c:v>0.18700953365018497</c:v>
                </c:pt>
                <c:pt idx="31">
                  <c:v>0.1686208303616143</c:v>
                </c:pt>
                <c:pt idx="32">
                  <c:v>0.16556112129424566</c:v>
                </c:pt>
                <c:pt idx="33">
                  <c:v>0.16299614635947196</c:v>
                </c:pt>
                <c:pt idx="34">
                  <c:v>0.1715759695093638</c:v>
                </c:pt>
                <c:pt idx="35">
                  <c:v>0.16990896493180338</c:v>
                </c:pt>
                <c:pt idx="36">
                  <c:v>0.16795061367800634</c:v>
                </c:pt>
                <c:pt idx="37">
                  <c:v>0.17006388569307668</c:v>
                </c:pt>
                <c:pt idx="38">
                  <c:v>0.1712125940383104</c:v>
                </c:pt>
                <c:pt idx="39">
                  <c:v>0.1685975312376164</c:v>
                </c:pt>
                <c:pt idx="40">
                  <c:v>0.17068560627107943</c:v>
                </c:pt>
                <c:pt idx="41">
                  <c:v>0.1754781036820754</c:v>
                </c:pt>
                <c:pt idx="42">
                  <c:v>0.1763753215499589</c:v>
                </c:pt>
                <c:pt idx="43">
                  <c:v>0.17473814742448923</c:v>
                </c:pt>
                <c:pt idx="44">
                  <c:v>0.17877697405204396</c:v>
                </c:pt>
                <c:pt idx="45">
                  <c:v>0.1868851191932471</c:v>
                </c:pt>
                <c:pt idx="46">
                  <c:v>0.18213340123103483</c:v>
                </c:pt>
                <c:pt idx="47">
                  <c:v>0.18702972562236675</c:v>
                </c:pt>
                <c:pt idx="48">
                  <c:v>0.18630302738589077</c:v>
                </c:pt>
                <c:pt idx="49">
                  <c:v>0.18850710964410713</c:v>
                </c:pt>
                <c:pt idx="50">
                  <c:v>0.18678899987044162</c:v>
                </c:pt>
                <c:pt idx="51">
                  <c:v>0.17857598051651927</c:v>
                </c:pt>
                <c:pt idx="52">
                  <c:v>0.19535052722233243</c:v>
                </c:pt>
                <c:pt idx="53">
                  <c:v>0.22306218817253048</c:v>
                </c:pt>
                <c:pt idx="54">
                  <c:v>0.16308889827031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760839160839156"/>
          <c:min val="0.108235294117647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5.1734</c:v>
                </c:pt>
                <c:pt idx="1">
                  <c:v>963.163</c:v>
                </c:pt>
                <c:pt idx="2">
                  <c:v>1029.18</c:v>
                </c:pt>
                <c:pt idx="3">
                  <c:v>1053.0933</c:v>
                </c:pt>
                <c:pt idx="4">
                  <c:v>1050.6106</c:v>
                </c:pt>
                <c:pt idx="5">
                  <c:v>1066.7506</c:v>
                </c:pt>
                <c:pt idx="6">
                  <c:v>1029.6122</c:v>
                </c:pt>
                <c:pt idx="7">
                  <c:v>1035.3273</c:v>
                </c:pt>
                <c:pt idx="8">
                  <c:v>1021.5036</c:v>
                </c:pt>
                <c:pt idx="9">
                  <c:v>996.1702</c:v>
                </c:pt>
                <c:pt idx="10">
                  <c:v>994.8014</c:v>
                </c:pt>
                <c:pt idx="11">
                  <c:v>1044.2787</c:v>
                </c:pt>
                <c:pt idx="12">
                  <c:v>1033.5377</c:v>
                </c:pt>
                <c:pt idx="13">
                  <c:v>1036.5227</c:v>
                </c:pt>
                <c:pt idx="14">
                  <c:v>1032.0311</c:v>
                </c:pt>
                <c:pt idx="15">
                  <c:v>1020.6744</c:v>
                </c:pt>
                <c:pt idx="16">
                  <c:v>1011.8571</c:v>
                </c:pt>
                <c:pt idx="17">
                  <c:v>1036.5248</c:v>
                </c:pt>
                <c:pt idx="18">
                  <c:v>1053.2868</c:v>
                </c:pt>
                <c:pt idx="19">
                  <c:v>1111.7902</c:v>
                </c:pt>
                <c:pt idx="20">
                  <c:v>1102.5556</c:v>
                </c:pt>
                <c:pt idx="21">
                  <c:v>1120.0</c:v>
                </c:pt>
                <c:pt idx="22">
                  <c:v>1152.2789</c:v>
                </c:pt>
                <c:pt idx="23">
                  <c:v>1116.1903</c:v>
                </c:pt>
                <c:pt idx="24">
                  <c:v>1121.0553</c:v>
                </c:pt>
                <c:pt idx="25">
                  <c:v>1089.3276</c:v>
                </c:pt>
                <c:pt idx="26">
                  <c:v>1145.7431</c:v>
                </c:pt>
                <c:pt idx="27">
                  <c:v>1182.3037</c:v>
                </c:pt>
                <c:pt idx="28">
                  <c:v>1155.0733</c:v>
                </c:pt>
                <c:pt idx="29">
                  <c:v>1102.5741</c:v>
                </c:pt>
                <c:pt idx="30">
                  <c:v>1132.2194</c:v>
                </c:pt>
                <c:pt idx="31">
                  <c:v>1166.5548</c:v>
                </c:pt>
                <c:pt idx="32">
                  <c:v>1056.335</c:v>
                </c:pt>
                <c:pt idx="33">
                  <c:v>970.6117</c:v>
                </c:pt>
                <c:pt idx="34">
                  <c:v>1120.308</c:v>
                </c:pt>
                <c:pt idx="35">
                  <c:v>1228.4949</c:v>
                </c:pt>
                <c:pt idx="36">
                  <c:v>1252.6216</c:v>
                </c:pt>
                <c:pt idx="37">
                  <c:v>1258.1095</c:v>
                </c:pt>
                <c:pt idx="38">
                  <c:v>1353.2878</c:v>
                </c:pt>
                <c:pt idx="39">
                  <c:v>1341.113</c:v>
                </c:pt>
                <c:pt idx="40">
                  <c:v>1331.3943</c:v>
                </c:pt>
                <c:pt idx="41">
                  <c:v>1331.4423</c:v>
                </c:pt>
                <c:pt idx="42">
                  <c:v>1398.565</c:v>
                </c:pt>
                <c:pt idx="43">
                  <c:v>1459.7188</c:v>
                </c:pt>
                <c:pt idx="44">
                  <c:v>1301.4232</c:v>
                </c:pt>
                <c:pt idx="45">
                  <c:v>1201.7664</c:v>
                </c:pt>
                <c:pt idx="46">
                  <c:v>1160.4226</c:v>
                </c:pt>
                <c:pt idx="47">
                  <c:v>1123.7357</c:v>
                </c:pt>
                <c:pt idx="48">
                  <c:v>1105.8861</c:v>
                </c:pt>
                <c:pt idx="49">
                  <c:v>1058.3741</c:v>
                </c:pt>
                <c:pt idx="50">
                  <c:v>1085.2417</c:v>
                </c:pt>
                <c:pt idx="51">
                  <c:v>1114.0517</c:v>
                </c:pt>
                <c:pt idx="52">
                  <c:v>1132.4489</c:v>
                </c:pt>
                <c:pt idx="53">
                  <c:v>1229.2042</c:v>
                </c:pt>
                <c:pt idx="54">
                  <c:v>1192.2487</c:v>
                </c:pt>
                <c:pt idx="55">
                  <c:v>1210.187</c:v>
                </c:pt>
                <c:pt idx="56">
                  <c:v>1247.5955</c:v>
                </c:pt>
                <c:pt idx="57">
                  <c:v>1259.3399</c:v>
                </c:pt>
                <c:pt idx="58">
                  <c:v>1184.9805</c:v>
                </c:pt>
                <c:pt idx="59">
                  <c:v>1201.8717</c:v>
                </c:pt>
                <c:pt idx="60">
                  <c:v>1182.073</c:v>
                </c:pt>
                <c:pt idx="61">
                  <c:v>1104.5369</c:v>
                </c:pt>
                <c:pt idx="62">
                  <c:v>1118.9888</c:v>
                </c:pt>
                <c:pt idx="63">
                  <c:v>1168.6947</c:v>
                </c:pt>
                <c:pt idx="64">
                  <c:v>1156.5938</c:v>
                </c:pt>
                <c:pt idx="65">
                  <c:v>1148.4899</c:v>
                </c:pt>
                <c:pt idx="66">
                  <c:v>1123.2153</c:v>
                </c:pt>
                <c:pt idx="67">
                  <c:v>1146.1902</c:v>
                </c:pt>
                <c:pt idx="68">
                  <c:v>1132.6104</c:v>
                </c:pt>
                <c:pt idx="69">
                  <c:v>1187.8754</c:v>
                </c:pt>
                <c:pt idx="70">
                  <c:v>1166.8235</c:v>
                </c:pt>
                <c:pt idx="71">
                  <c:v>1219.2038</c:v>
                </c:pt>
                <c:pt idx="72">
                  <c:v>1237.8632</c:v>
                </c:pt>
                <c:pt idx="73">
                  <c:v>1211.472</c:v>
                </c:pt>
                <c:pt idx="74">
                  <c:v>941.5691</c:v>
                </c:pt>
                <c:pt idx="75">
                  <c:v>1188.1071</c:v>
                </c:pt>
                <c:pt idx="76">
                  <c:v>1161.0202</c:v>
                </c:pt>
                <c:pt idx="77">
                  <c:v>1254.4457</c:v>
                </c:pt>
                <c:pt idx="78">
                  <c:v>1366.8098</c:v>
                </c:pt>
                <c:pt idx="79">
                  <c:v>1191.6986</c:v>
                </c:pt>
                <c:pt idx="80">
                  <c:v>1037.5894</c:v>
                </c:pt>
                <c:pt idx="81">
                  <c:v>1199.9518</c:v>
                </c:pt>
                <c:pt idx="82">
                  <c:v>1204.6332</c:v>
                </c:pt>
                <c:pt idx="83">
                  <c:v>1182.4571</c:v>
                </c:pt>
                <c:pt idx="84">
                  <c:v>1309.1141</c:v>
                </c:pt>
                <c:pt idx="85">
                  <c:v>1315.963</c:v>
                </c:pt>
                <c:pt idx="86">
                  <c:v>1277.1593</c:v>
                </c:pt>
                <c:pt idx="87">
                  <c:v>1320.3672</c:v>
                </c:pt>
                <c:pt idx="88">
                  <c:v>1346.538</c:v>
                </c:pt>
                <c:pt idx="89">
                  <c:v>1312.2617</c:v>
                </c:pt>
                <c:pt idx="90">
                  <c:v>1373.6667</c:v>
                </c:pt>
                <c:pt idx="91">
                  <c:v>1343.1778</c:v>
                </c:pt>
                <c:pt idx="92">
                  <c:v>1284.1596</c:v>
                </c:pt>
                <c:pt idx="93">
                  <c:v>1436.5394</c:v>
                </c:pt>
                <c:pt idx="94">
                  <c:v>1397.3176</c:v>
                </c:pt>
                <c:pt idx="95">
                  <c:v>1346.1978</c:v>
                </c:pt>
                <c:pt idx="96">
                  <c:v>1303.6213</c:v>
                </c:pt>
                <c:pt idx="97">
                  <c:v>1214.6287</c:v>
                </c:pt>
                <c:pt idx="98">
                  <c:v>1245.3738</c:v>
                </c:pt>
                <c:pt idx="99">
                  <c:v>1204.7726</c:v>
                </c:pt>
                <c:pt idx="100">
                  <c:v>1188.2994</c:v>
                </c:pt>
                <c:pt idx="101">
                  <c:v>1278.0615</c:v>
                </c:pt>
                <c:pt idx="102">
                  <c:v>1294.5833</c:v>
                </c:pt>
                <c:pt idx="103">
                  <c:v>1035.6946</c:v>
                </c:pt>
                <c:pt idx="104">
                  <c:v>1101.6635</c:v>
                </c:pt>
              </c:numCache>
            </c:numRef>
          </c:xVal>
          <c:yVal>
            <c:numRef>
              <c:f>Sheet1!$B$2:$B$106</c:f>
              <c:numCache>
                <c:formatCode>General</c:formatCode>
                <c:ptCount val="105"/>
                <c:pt idx="0">
                  <c:v>0.2228548190321269</c:v>
                </c:pt>
                <c:pt idx="1">
                  <c:v>0.22298624754420432</c:v>
                </c:pt>
                <c:pt idx="2">
                  <c:v>0.2258660508083141</c:v>
                </c:pt>
                <c:pt idx="3">
                  <c:v>0.1988665636269964</c:v>
                </c:pt>
                <c:pt idx="4">
                  <c:v>0.21294810058855002</c:v>
                </c:pt>
                <c:pt idx="5">
                  <c:v>0.1997041420118343</c:v>
                </c:pt>
                <c:pt idx="6">
                  <c:v>0.23333333333333334</c:v>
                </c:pt>
                <c:pt idx="7">
                  <c:v>0.2299219825608077</c:v>
                </c:pt>
                <c:pt idx="8">
                  <c:v>0.24149956408020923</c:v>
                </c:pt>
                <c:pt idx="9">
                  <c:v>0.23938356164383562</c:v>
                </c:pt>
                <c:pt idx="10">
                  <c:v>0.24288688410825815</c:v>
                </c:pt>
                <c:pt idx="11">
                  <c:v>0.24071266110689918</c:v>
                </c:pt>
                <c:pt idx="12">
                  <c:v>0.235895494131011</c:v>
                </c:pt>
                <c:pt idx="13">
                  <c:v>0.2465972778222578</c:v>
                </c:pt>
                <c:pt idx="14">
                  <c:v>0.2249690976514215</c:v>
                </c:pt>
                <c:pt idx="15">
                  <c:v>0.23005836575875485</c:v>
                </c:pt>
                <c:pt idx="16">
                  <c:v>0.2272463768115942</c:v>
                </c:pt>
                <c:pt idx="17">
                  <c:v>0.21572327044025158</c:v>
                </c:pt>
                <c:pt idx="18">
                  <c:v>0.23713235294117646</c:v>
                </c:pt>
                <c:pt idx="19">
                  <c:v>0.18436213991769548</c:v>
                </c:pt>
                <c:pt idx="20">
                  <c:v>0.18076688983566647</c:v>
                </c:pt>
                <c:pt idx="21">
                  <c:v>0.19407407407407407</c:v>
                </c:pt>
                <c:pt idx="22">
                  <c:v>0.20473537604456823</c:v>
                </c:pt>
                <c:pt idx="23">
                  <c:v>0.19132455460883036</c:v>
                </c:pt>
                <c:pt idx="24">
                  <c:v>0.2056910569105691</c:v>
                </c:pt>
                <c:pt idx="25">
                  <c:v>0.2038664323374341</c:v>
                </c:pt>
                <c:pt idx="26">
                  <c:v>0.20881226053639848</c:v>
                </c:pt>
                <c:pt idx="27">
                  <c:v>0.18799212598425197</c:v>
                </c:pt>
                <c:pt idx="28">
                  <c:v>0.16538037486218302</c:v>
                </c:pt>
                <c:pt idx="29">
                  <c:v>0.16581371545547594</c:v>
                </c:pt>
                <c:pt idx="30">
                  <c:v>0.17795637198622274</c:v>
                </c:pt>
                <c:pt idx="31">
                  <c:v>0.18235294117647058</c:v>
                </c:pt>
                <c:pt idx="32">
                  <c:v>0.22259887005649717</c:v>
                </c:pt>
                <c:pt idx="33">
                  <c:v>0.1968586387434555</c:v>
                </c:pt>
                <c:pt idx="34">
                  <c:v>0.2079866888519135</c:v>
                </c:pt>
                <c:pt idx="35">
                  <c:v>0.2164343360234776</c:v>
                </c:pt>
                <c:pt idx="36">
                  <c:v>0.1605902777777778</c:v>
                </c:pt>
                <c:pt idx="37">
                  <c:v>0.18324607329842932</c:v>
                </c:pt>
                <c:pt idx="38">
                  <c:v>0.14866310160427806</c:v>
                </c:pt>
                <c:pt idx="39">
                  <c:v>0.13529411764705881</c:v>
                </c:pt>
                <c:pt idx="40">
                  <c:v>0.1566696508504924</c:v>
                </c:pt>
                <c:pt idx="41">
                  <c:v>0.13941018766756033</c:v>
                </c:pt>
                <c:pt idx="42">
                  <c:v>0.15636042402826855</c:v>
                </c:pt>
                <c:pt idx="43">
                  <c:v>0.14505893019038985</c:v>
                </c:pt>
                <c:pt idx="44">
                  <c:v>0.19112383679312814</c:v>
                </c:pt>
                <c:pt idx="45">
                  <c:v>0.1988388969521045</c:v>
                </c:pt>
                <c:pt idx="46">
                  <c:v>0.21665514858327575</c:v>
                </c:pt>
                <c:pt idx="47">
                  <c:v>0.20763811642565813</c:v>
                </c:pt>
                <c:pt idx="48">
                  <c:v>0.22090612970091797</c:v>
                </c:pt>
                <c:pt idx="49">
                  <c:v>0.24195137976346912</c:v>
                </c:pt>
                <c:pt idx="50">
                  <c:v>0.20119920053297802</c:v>
                </c:pt>
                <c:pt idx="51">
                  <c:v>0.19740973312401883</c:v>
                </c:pt>
                <c:pt idx="52">
                  <c:v>0.20512820512820512</c:v>
                </c:pt>
                <c:pt idx="53">
                  <c:v>0.1821256038647343</c:v>
                </c:pt>
                <c:pt idx="54">
                  <c:v>0.19134615384615383</c:v>
                </c:pt>
                <c:pt idx="55">
                  <c:v>0.18870588235294117</c:v>
                </c:pt>
                <c:pt idx="56">
                  <c:v>0.20100502512562815</c:v>
                </c:pt>
                <c:pt idx="57">
                  <c:v>0.17901234567901234</c:v>
                </c:pt>
                <c:pt idx="58">
                  <c:v>0.20280948200175591</c:v>
                </c:pt>
                <c:pt idx="59">
                  <c:v>0.20252707581227436</c:v>
                </c:pt>
                <c:pt idx="60">
                  <c:v>0.2239652870493992</c:v>
                </c:pt>
                <c:pt idx="61">
                  <c:v>0.24538866930171277</c:v>
                </c:pt>
                <c:pt idx="62">
                  <c:v>0.25275070732474064</c:v>
                </c:pt>
                <c:pt idx="63">
                  <c:v>0.273006993006993</c:v>
                </c:pt>
                <c:pt idx="64">
                  <c:v>0.2628937831056593</c:v>
                </c:pt>
                <c:pt idx="65">
                  <c:v>0.252249550089982</c:v>
                </c:pt>
                <c:pt idx="66">
                  <c:v>0.24418253248715624</c:v>
                </c:pt>
                <c:pt idx="67">
                  <c:v>0.22786217117450908</c:v>
                </c:pt>
                <c:pt idx="68">
                  <c:v>0.18805412972468502</c:v>
                </c:pt>
                <c:pt idx="69">
                  <c:v>0.1704490584258812</c:v>
                </c:pt>
                <c:pt idx="70">
                  <c:v>0.16479591836734694</c:v>
                </c:pt>
                <c:pt idx="71">
                  <c:v>0.18984280532043532</c:v>
                </c:pt>
                <c:pt idx="72">
                  <c:v>0.1859807801017524</c:v>
                </c:pt>
                <c:pt idx="73">
                  <c:v>0.1895294897282969</c:v>
                </c:pt>
                <c:pt idx="74">
                  <c:v>0.23067484662576687</c:v>
                </c:pt>
                <c:pt idx="75">
                  <c:v>0.18313953488372092</c:v>
                </c:pt>
                <c:pt idx="76">
                  <c:v>0.17551309271054494</c:v>
                </c:pt>
                <c:pt idx="77">
                  <c:v>0.15310586176727908</c:v>
                </c:pt>
                <c:pt idx="78">
                  <c:v>0.14791288566243194</c:v>
                </c:pt>
                <c:pt idx="79">
                  <c:v>0.16794478527607362</c:v>
                </c:pt>
                <c:pt idx="80">
                  <c:v>0.17065127782357792</c:v>
                </c:pt>
                <c:pt idx="81">
                  <c:v>0.17196132596685082</c:v>
                </c:pt>
                <c:pt idx="82">
                  <c:v>0.17863554757630162</c:v>
                </c:pt>
                <c:pt idx="83">
                  <c:v>0.1734390485629336</c:v>
                </c:pt>
                <c:pt idx="84">
                  <c:v>0.14650934119960668</c:v>
                </c:pt>
                <c:pt idx="85">
                  <c:v>0.150278293135436</c:v>
                </c:pt>
                <c:pt idx="86">
                  <c:v>0.1743827160493827</c:v>
                </c:pt>
                <c:pt idx="87">
                  <c:v>0.17827298050139276</c:v>
                </c:pt>
                <c:pt idx="88">
                  <c:v>0.1533980582524272</c:v>
                </c:pt>
                <c:pt idx="89">
                  <c:v>0.15392561983471073</c:v>
                </c:pt>
                <c:pt idx="90">
                  <c:v>0.1510791366906475</c:v>
                </c:pt>
                <c:pt idx="91">
                  <c:v>0.14737991266375547</c:v>
                </c:pt>
                <c:pt idx="92">
                  <c:v>0.1598639455782313</c:v>
                </c:pt>
                <c:pt idx="93">
                  <c:v>0.15434985968194576</c:v>
                </c:pt>
                <c:pt idx="94">
                  <c:v>0.15755329008341057</c:v>
                </c:pt>
                <c:pt idx="95">
                  <c:v>0.1787819253438114</c:v>
                </c:pt>
                <c:pt idx="96">
                  <c:v>0.1592505854800937</c:v>
                </c:pt>
                <c:pt idx="97">
                  <c:v>0.17523609653725078</c:v>
                </c:pt>
                <c:pt idx="98">
                  <c:v>0.1751192024273949</c:v>
                </c:pt>
                <c:pt idx="99">
                  <c:v>0.17893755824790308</c:v>
                </c:pt>
                <c:pt idx="100">
                  <c:v>0.20094376720408966</c:v>
                </c:pt>
                <c:pt idx="101">
                  <c:v>0.19572815533980584</c:v>
                </c:pt>
                <c:pt idx="102">
                  <c:v>0.15256723716381418</c:v>
                </c:pt>
                <c:pt idx="103">
                  <c:v>0.1915945611866502</c:v>
                </c:pt>
                <c:pt idx="104">
                  <c:v>0.1919377004122766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30.7065</c:v>
                </c:pt>
                <c:pt idx="1">
                  <c:v>1300.1265</c:v>
                </c:pt>
                <c:pt idx="2">
                  <c:v>1228.2714</c:v>
                </c:pt>
                <c:pt idx="3">
                  <c:v>1340.0369</c:v>
                </c:pt>
                <c:pt idx="4">
                  <c:v>1318.1341</c:v>
                </c:pt>
                <c:pt idx="5">
                  <c:v>1347.2422</c:v>
                </c:pt>
                <c:pt idx="6">
                  <c:v>1259.1855</c:v>
                </c:pt>
                <c:pt idx="7">
                  <c:v>1264.3537</c:v>
                </c:pt>
                <c:pt idx="8">
                  <c:v>1288.3049</c:v>
                </c:pt>
                <c:pt idx="9">
                  <c:v>1268.0226</c:v>
                </c:pt>
                <c:pt idx="10">
                  <c:v>1280.2794</c:v>
                </c:pt>
                <c:pt idx="11">
                  <c:v>1162.5591</c:v>
                </c:pt>
                <c:pt idx="12">
                  <c:v>1156.564</c:v>
                </c:pt>
                <c:pt idx="13">
                  <c:v>1216.7628</c:v>
                </c:pt>
                <c:pt idx="14">
                  <c:v>1220.8921</c:v>
                </c:pt>
                <c:pt idx="15">
                  <c:v>1228.3577</c:v>
                </c:pt>
                <c:pt idx="16">
                  <c:v>1254.4121</c:v>
                </c:pt>
                <c:pt idx="17">
                  <c:v>1294.526</c:v>
                </c:pt>
                <c:pt idx="18">
                  <c:v>1327.946</c:v>
                </c:pt>
                <c:pt idx="19">
                  <c:v>1470.5781</c:v>
                </c:pt>
                <c:pt idx="20">
                  <c:v>1476.7448</c:v>
                </c:pt>
                <c:pt idx="21">
                  <c:v>1455.602</c:v>
                </c:pt>
                <c:pt idx="22">
                  <c:v>1310.2239</c:v>
                </c:pt>
                <c:pt idx="23">
                  <c:v>1259.314</c:v>
                </c:pt>
                <c:pt idx="24">
                  <c:v>1325.9743</c:v>
                </c:pt>
                <c:pt idx="25">
                  <c:v>1255.9514</c:v>
                </c:pt>
                <c:pt idx="26">
                  <c:v>1431.6848</c:v>
                </c:pt>
                <c:pt idx="27">
                  <c:v>1481.259</c:v>
                </c:pt>
                <c:pt idx="28">
                  <c:v>1423.2184</c:v>
                </c:pt>
                <c:pt idx="29">
                  <c:v>1492.4798</c:v>
                </c:pt>
                <c:pt idx="30">
                  <c:v>1531.3926</c:v>
                </c:pt>
                <c:pt idx="31">
                  <c:v>1389.5581</c:v>
                </c:pt>
                <c:pt idx="32">
                  <c:v>1323.2879</c:v>
                </c:pt>
                <c:pt idx="33">
                  <c:v>1402.9573</c:v>
                </c:pt>
                <c:pt idx="34">
                  <c:v>1448.245</c:v>
                </c:pt>
                <c:pt idx="35">
                  <c:v>1381.328</c:v>
                </c:pt>
                <c:pt idx="36">
                  <c:v>1414.6463</c:v>
                </c:pt>
                <c:pt idx="37">
                  <c:v>1479.896</c:v>
                </c:pt>
                <c:pt idx="38">
                  <c:v>1460.3258</c:v>
                </c:pt>
                <c:pt idx="39">
                  <c:v>1348.7722</c:v>
                </c:pt>
                <c:pt idx="40">
                  <c:v>1398.6445</c:v>
                </c:pt>
                <c:pt idx="41">
                  <c:v>1521.9211</c:v>
                </c:pt>
                <c:pt idx="42">
                  <c:v>1517.8431</c:v>
                </c:pt>
                <c:pt idx="43">
                  <c:v>1461.8009</c:v>
                </c:pt>
                <c:pt idx="44">
                  <c:v>1393.6168</c:v>
                </c:pt>
                <c:pt idx="45">
                  <c:v>1360.1158</c:v>
                </c:pt>
                <c:pt idx="46">
                  <c:v>1323.4339</c:v>
                </c:pt>
                <c:pt idx="47">
                  <c:v>1298.4162</c:v>
                </c:pt>
                <c:pt idx="48">
                  <c:v>1303.7143</c:v>
                </c:pt>
                <c:pt idx="49">
                  <c:v>1267.8676</c:v>
                </c:pt>
                <c:pt idx="50">
                  <c:v>1127.3179</c:v>
                </c:pt>
                <c:pt idx="51">
                  <c:v>1134.1114</c:v>
                </c:pt>
              </c:numCache>
            </c:numRef>
          </c:xVal>
          <c:yVal>
            <c:numRef>
              <c:f>Sheet1!$B$109:$B$160</c:f>
              <c:numCache>
                <c:formatCode>General</c:formatCode>
                <c:ptCount val="52"/>
                <c:pt idx="0">
                  <c:v>0.1708832667554372</c:v>
                </c:pt>
                <c:pt idx="1">
                  <c:v>0.1749209694415174</c:v>
                </c:pt>
                <c:pt idx="2">
                  <c:v>0.18002571795970854</c:v>
                </c:pt>
                <c:pt idx="3">
                  <c:v>0.21079913606911446</c:v>
                </c:pt>
                <c:pt idx="4">
                  <c:v>0.1949286846275753</c:v>
                </c:pt>
                <c:pt idx="5">
                  <c:v>0.19023034154090548</c:v>
                </c:pt>
                <c:pt idx="6">
                  <c:v>0.18760877131917855</c:v>
                </c:pt>
                <c:pt idx="7">
                  <c:v>0.19925449000338868</c:v>
                </c:pt>
                <c:pt idx="8">
                  <c:v>0.21149348479786167</c:v>
                </c:pt>
                <c:pt idx="9">
                  <c:v>0.22014051522248243</c:v>
                </c:pt>
                <c:pt idx="10">
                  <c:v>0.22324255858138062</c:v>
                </c:pt>
                <c:pt idx="11">
                  <c:v>0.22470433639947437</c:v>
                </c:pt>
                <c:pt idx="12">
                  <c:v>0.23998871968415117</c:v>
                </c:pt>
                <c:pt idx="13">
                  <c:v>0.2176199868507561</c:v>
                </c:pt>
                <c:pt idx="14">
                  <c:v>0.21634439985406786</c:v>
                </c:pt>
                <c:pt idx="15">
                  <c:v>0.19686985172981877</c:v>
                </c:pt>
                <c:pt idx="16">
                  <c:v>0.17834394904458598</c:v>
                </c:pt>
                <c:pt idx="17">
                  <c:v>0.1719242902208202</c:v>
                </c:pt>
                <c:pt idx="18">
                  <c:v>0.1727921009325288</c:v>
                </c:pt>
                <c:pt idx="19">
                  <c:v>0.15991902834008098</c:v>
                </c:pt>
                <c:pt idx="20">
                  <c:v>0.16161616161616163</c:v>
                </c:pt>
                <c:pt idx="21">
                  <c:v>0.15605095541401273</c:v>
                </c:pt>
                <c:pt idx="22">
                  <c:v>0.18781725888324874</c:v>
                </c:pt>
                <c:pt idx="23">
                  <c:v>0.20943531093638312</c:v>
                </c:pt>
                <c:pt idx="24">
                  <c:v>0.19883040935672514</c:v>
                </c:pt>
                <c:pt idx="25">
                  <c:v>0.18599397590361447</c:v>
                </c:pt>
                <c:pt idx="26">
                  <c:v>0.1498371335504886</c:v>
                </c:pt>
                <c:pt idx="27">
                  <c:v>0.15173674588665448</c:v>
                </c:pt>
                <c:pt idx="28">
                  <c:v>0.15919487648673375</c:v>
                </c:pt>
                <c:pt idx="29">
                  <c:v>0.1758130081300813</c:v>
                </c:pt>
                <c:pt idx="30">
                  <c:v>0.1678681771369722</c:v>
                </c:pt>
                <c:pt idx="31">
                  <c:v>0.15449101796407186</c:v>
                </c:pt>
                <c:pt idx="32">
                  <c:v>0.14521452145214522</c:v>
                </c:pt>
                <c:pt idx="33">
                  <c:v>0.16975060337892195</c:v>
                </c:pt>
                <c:pt idx="34">
                  <c:v>0.2058623040218132</c:v>
                </c:pt>
                <c:pt idx="35">
                  <c:v>0.20064205457463885</c:v>
                </c:pt>
                <c:pt idx="36">
                  <c:v>0.1742826780021254</c:v>
                </c:pt>
                <c:pt idx="37">
                  <c:v>0.1404494382022472</c:v>
                </c:pt>
                <c:pt idx="38">
                  <c:v>0.14410480349344978</c:v>
                </c:pt>
                <c:pt idx="39">
                  <c:v>0.1694915254237288</c:v>
                </c:pt>
                <c:pt idx="40">
                  <c:v>0.17182410423452768</c:v>
                </c:pt>
                <c:pt idx="41">
                  <c:v>0.16197783461210571</c:v>
                </c:pt>
                <c:pt idx="42">
                  <c:v>0.15801704105344694</c:v>
                </c:pt>
                <c:pt idx="43">
                  <c:v>0.14314115308151093</c:v>
                </c:pt>
                <c:pt idx="44">
                  <c:v>0.1479944674965422</c:v>
                </c:pt>
                <c:pt idx="45">
                  <c:v>0.15921787709497207</c:v>
                </c:pt>
                <c:pt idx="46">
                  <c:v>0.16399622997172478</c:v>
                </c:pt>
                <c:pt idx="47">
                  <c:v>0.16328331862312445</c:v>
                </c:pt>
                <c:pt idx="48">
                  <c:v>0.1558219178082192</c:v>
                </c:pt>
                <c:pt idx="49">
                  <c:v>0.1574852163087457</c:v>
                </c:pt>
                <c:pt idx="50">
                  <c:v>0.19184290030211482</c:v>
                </c:pt>
                <c:pt idx="51">
                  <c:v>0.17606209150326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0.2520542306966</c:v>
                </c:pt>
              </c:numCache>
            </c:numRef>
          </c:xVal>
          <c:yVal>
            <c:numRef>
              <c:f>Sheet1!$B$163:$B$164</c:f>
              <c:numCache>
                <c:formatCode>General</c:formatCode>
                <c:ptCount val="2"/>
                <c:pt idx="0">
                  <c:v>0.22306218817253048</c:v>
                </c:pt>
                <c:pt idx="1">
                  <c:v>0.2230621881725304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0.2520542306966</c:v>
                </c:pt>
                <c:pt idx="1">
                  <c:v>1040.2520542306966</c:v>
                </c:pt>
              </c:numCache>
            </c:numRef>
          </c:xVal>
          <c:yVal>
            <c:numRef>
              <c:f>Sheet1!$B$167:$B$168</c:f>
              <c:numCache>
                <c:formatCode>General</c:formatCode>
                <c:ptCount val="2"/>
                <c:pt idx="0">
                  <c:v>0.2230621881725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29.1624335869121</c:v>
                </c:pt>
              </c:numCache>
            </c:numRef>
          </c:xVal>
          <c:yVal>
            <c:numRef>
              <c:f>Sheet1!$B$171:$B$172</c:f>
              <c:numCache>
                <c:formatCode>General</c:formatCode>
                <c:ptCount val="2"/>
                <c:pt idx="0">
                  <c:v>0.19535052722233243</c:v>
                </c:pt>
                <c:pt idx="1">
                  <c:v>0.1953505272223324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29.1624335869121</c:v>
                </c:pt>
                <c:pt idx="1">
                  <c:v>1229.1624335869121</c:v>
                </c:pt>
              </c:numCache>
            </c:numRef>
          </c:xVal>
          <c:yVal>
            <c:numRef>
              <c:f>Sheet1!$B$175:$B$176</c:f>
              <c:numCache>
                <c:formatCode>General</c:formatCode>
                <c:ptCount val="2"/>
                <c:pt idx="0">
                  <c:v>0.1953505272223324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9.0899426210628</c:v>
                </c:pt>
              </c:numCache>
            </c:numRef>
          </c:xVal>
          <c:yVal>
            <c:numRef>
              <c:f>Sheet1!$B$179:$B$180</c:f>
              <c:numCache>
                <c:formatCode>General</c:formatCode>
                <c:ptCount val="2"/>
                <c:pt idx="0">
                  <c:v>0.1630888982703101</c:v>
                </c:pt>
                <c:pt idx="1">
                  <c:v>0.163088898270310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9.0899426210628</c:v>
                </c:pt>
                <c:pt idx="1">
                  <c:v>1449.0899426210628</c:v>
                </c:pt>
              </c:numCache>
            </c:numRef>
          </c:xVal>
          <c:yVal>
            <c:numRef>
              <c:f>Sheet1!$B$183:$B$184</c:f>
              <c:numCache>
                <c:formatCode>General</c:formatCode>
                <c:ptCount val="2"/>
                <c:pt idx="0">
                  <c:v>0.16308889827031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30.7065</c:v>
                </c:pt>
                <c:pt idx="1">
                  <c:v>1300.1265</c:v>
                </c:pt>
                <c:pt idx="2">
                  <c:v>1228.2714</c:v>
                </c:pt>
                <c:pt idx="3">
                  <c:v>1340.0369</c:v>
                </c:pt>
                <c:pt idx="4">
                  <c:v>1318.1341</c:v>
                </c:pt>
                <c:pt idx="5">
                  <c:v>1347.2422</c:v>
                </c:pt>
                <c:pt idx="6">
                  <c:v>1259.1855</c:v>
                </c:pt>
                <c:pt idx="7">
                  <c:v>1264.3537</c:v>
                </c:pt>
                <c:pt idx="8">
                  <c:v>1288.3049</c:v>
                </c:pt>
                <c:pt idx="9">
                  <c:v>1268.0226</c:v>
                </c:pt>
                <c:pt idx="10">
                  <c:v>1280.2794</c:v>
                </c:pt>
                <c:pt idx="11">
                  <c:v>1162.5591</c:v>
                </c:pt>
                <c:pt idx="12">
                  <c:v>1156.564</c:v>
                </c:pt>
                <c:pt idx="13">
                  <c:v>1216.7628</c:v>
                </c:pt>
                <c:pt idx="14">
                  <c:v>1220.8921</c:v>
                </c:pt>
                <c:pt idx="15">
                  <c:v>1228.3577</c:v>
                </c:pt>
                <c:pt idx="16">
                  <c:v>1254.4121</c:v>
                </c:pt>
                <c:pt idx="17">
                  <c:v>1294.526</c:v>
                </c:pt>
                <c:pt idx="18">
                  <c:v>1327.946</c:v>
                </c:pt>
                <c:pt idx="19">
                  <c:v>1470.5781</c:v>
                </c:pt>
                <c:pt idx="20">
                  <c:v>1476.7448</c:v>
                </c:pt>
                <c:pt idx="21">
                  <c:v>1455.602</c:v>
                </c:pt>
                <c:pt idx="22">
                  <c:v>1310.2239</c:v>
                </c:pt>
                <c:pt idx="23">
                  <c:v>1259.314</c:v>
                </c:pt>
                <c:pt idx="24">
                  <c:v>1325.9743</c:v>
                </c:pt>
                <c:pt idx="25">
                  <c:v>1255.9514</c:v>
                </c:pt>
                <c:pt idx="26">
                  <c:v>1431.6848</c:v>
                </c:pt>
                <c:pt idx="27">
                  <c:v>1481.259</c:v>
                </c:pt>
                <c:pt idx="28">
                  <c:v>1423.2184</c:v>
                </c:pt>
                <c:pt idx="29">
                  <c:v>1492.4798</c:v>
                </c:pt>
                <c:pt idx="30">
                  <c:v>1531.3926</c:v>
                </c:pt>
                <c:pt idx="31">
                  <c:v>1389.5581</c:v>
                </c:pt>
                <c:pt idx="32">
                  <c:v>1323.2879</c:v>
                </c:pt>
                <c:pt idx="33">
                  <c:v>1402.9573</c:v>
                </c:pt>
                <c:pt idx="34">
                  <c:v>1448.245</c:v>
                </c:pt>
                <c:pt idx="35">
                  <c:v>1381.328</c:v>
                </c:pt>
                <c:pt idx="36">
                  <c:v>1414.6463</c:v>
                </c:pt>
                <c:pt idx="37">
                  <c:v>1479.896</c:v>
                </c:pt>
                <c:pt idx="38">
                  <c:v>1460.3258</c:v>
                </c:pt>
                <c:pt idx="39">
                  <c:v>1348.7722</c:v>
                </c:pt>
                <c:pt idx="40">
                  <c:v>1398.6445</c:v>
                </c:pt>
                <c:pt idx="41">
                  <c:v>1521.9211</c:v>
                </c:pt>
                <c:pt idx="42">
                  <c:v>1517.8431</c:v>
                </c:pt>
                <c:pt idx="43">
                  <c:v>1461.8009</c:v>
                </c:pt>
                <c:pt idx="44">
                  <c:v>1393.6168</c:v>
                </c:pt>
                <c:pt idx="45">
                  <c:v>1360.1158</c:v>
                </c:pt>
                <c:pt idx="46">
                  <c:v>1323.4339</c:v>
                </c:pt>
                <c:pt idx="47">
                  <c:v>1298.4162</c:v>
                </c:pt>
                <c:pt idx="48">
                  <c:v>1303.7143</c:v>
                </c:pt>
                <c:pt idx="49">
                  <c:v>1267.8676</c:v>
                </c:pt>
                <c:pt idx="50">
                  <c:v>1127.3179</c:v>
                </c:pt>
                <c:pt idx="51">
                  <c:v>1134.1114</c:v>
                </c:pt>
                <c:pt idx="52">
                  <c:v>1229.1624335869121</c:v>
                </c:pt>
                <c:pt idx="53">
                  <c:v>1040.2520542306966</c:v>
                </c:pt>
                <c:pt idx="54">
                  <c:v>1449.0899426210628</c:v>
                </c:pt>
              </c:numCache>
            </c:numRef>
          </c:xVal>
          <c:yVal>
            <c:numRef>
              <c:f>Sheet1!$B$187:$B$241</c:f>
              <c:numCache>
                <c:formatCode>General</c:formatCode>
                <c:ptCount val="55"/>
                <c:pt idx="0">
                  <c:v>0.18045481450642178</c:v>
                </c:pt>
                <c:pt idx="1">
                  <c:v>0.1849406590362193</c:v>
                </c:pt>
                <c:pt idx="2">
                  <c:v>0.19548123481362462</c:v>
                </c:pt>
                <c:pt idx="3">
                  <c:v>0.17908611850247072</c:v>
                </c:pt>
                <c:pt idx="4">
                  <c:v>0.18229908631042527</c:v>
                </c:pt>
                <c:pt idx="5">
                  <c:v>0.17802915788799886</c:v>
                </c:pt>
                <c:pt idx="6">
                  <c:v>0.19094638045199566</c:v>
                </c:pt>
                <c:pt idx="7">
                  <c:v>0.19018824632188125</c:v>
                </c:pt>
                <c:pt idx="8">
                  <c:v>0.18667479440879792</c:v>
                </c:pt>
                <c:pt idx="9">
                  <c:v>0.18965004766277807</c:v>
                </c:pt>
                <c:pt idx="10">
                  <c:v>0.1878520718866884</c:v>
                </c:pt>
                <c:pt idx="11">
                  <c:v>0.2051207103366925</c:v>
                </c:pt>
                <c:pt idx="12">
                  <c:v>0.20600014416731996</c:v>
                </c:pt>
                <c:pt idx="13">
                  <c:v>0.19716945555775897</c:v>
                </c:pt>
                <c:pt idx="14">
                  <c:v>0.19656371985413265</c:v>
                </c:pt>
                <c:pt idx="15">
                  <c:v>0.19546857528507913</c:v>
                </c:pt>
                <c:pt idx="16">
                  <c:v>0.19164660053958676</c:v>
                </c:pt>
                <c:pt idx="17">
                  <c:v>0.1857622081627442</c:v>
                </c:pt>
                <c:pt idx="18">
                  <c:v>0.1808597580585639</c:v>
                </c:pt>
                <c:pt idx="19">
                  <c:v>0.1599367552607047</c:v>
                </c:pt>
                <c:pt idx="20">
                  <c:v>0.15903214906508983</c:v>
                </c:pt>
                <c:pt idx="21">
                  <c:v>0.16213363087426585</c:v>
                </c:pt>
                <c:pt idx="22">
                  <c:v>0.1834594501887642</c:v>
                </c:pt>
                <c:pt idx="23">
                  <c:v>0.19092753051667588</c:v>
                </c:pt>
                <c:pt idx="24">
                  <c:v>0.18114899087934222</c:v>
                </c:pt>
                <c:pt idx="25">
                  <c:v>0.19142079738442924</c:v>
                </c:pt>
                <c:pt idx="26">
                  <c:v>0.16564209525582485</c:v>
                </c:pt>
                <c:pt idx="27">
                  <c:v>0.15836995157076633</c:v>
                </c:pt>
                <c:pt idx="28">
                  <c:v>0.16688404928221717</c:v>
                </c:pt>
                <c:pt idx="29">
                  <c:v>0.15672394881406415</c:v>
                </c:pt>
                <c:pt idx="30">
                  <c:v>0.15101574832292275</c:v>
                </c:pt>
                <c:pt idx="31">
                  <c:v>0.171821749498906</c:v>
                </c:pt>
                <c:pt idx="32">
                  <c:v>0.18154306454660346</c:v>
                </c:pt>
                <c:pt idx="33">
                  <c:v>0.1698561926635998</c:v>
                </c:pt>
                <c:pt idx="34">
                  <c:v>0.16321284468086236</c:v>
                </c:pt>
                <c:pt idx="35">
                  <c:v>0.17302904018120446</c:v>
                </c:pt>
                <c:pt idx="36">
                  <c:v>0.16814150866396593</c:v>
                </c:pt>
                <c:pt idx="37">
                  <c:v>0.15856989290804935</c:v>
                </c:pt>
                <c:pt idx="38">
                  <c:v>0.1614406867150161</c:v>
                </c:pt>
                <c:pt idx="39">
                  <c:v>0.1778047189694053</c:v>
                </c:pt>
                <c:pt idx="40">
                  <c:v>0.170488846368247</c:v>
                </c:pt>
                <c:pt idx="41">
                  <c:v>0.1524051425826996</c:v>
                </c:pt>
                <c:pt idx="42">
                  <c:v>0.15300335298140838</c:v>
                </c:pt>
                <c:pt idx="43">
                  <c:v>0.16122430119291328</c:v>
                </c:pt>
                <c:pt idx="44">
                  <c:v>0.17122637025779777</c:v>
                </c:pt>
                <c:pt idx="45">
                  <c:v>0.1761407024223742</c:v>
                </c:pt>
                <c:pt idx="46">
                  <c:v>0.1815216474994697</c:v>
                </c:pt>
                <c:pt idx="47">
                  <c:v>0.185191546541102</c:v>
                </c:pt>
                <c:pt idx="48">
                  <c:v>0.18441435710672266</c:v>
                </c:pt>
                <c:pt idx="49">
                  <c:v>0.18967278493884474</c:v>
                </c:pt>
                <c:pt idx="50">
                  <c:v>0.21029031610005092</c:v>
                </c:pt>
                <c:pt idx="51">
                  <c:v>0.20929376329386454</c:v>
                </c:pt>
                <c:pt idx="52">
                  <c:v>0.19535052722233243</c:v>
                </c:pt>
                <c:pt idx="53">
                  <c:v>0.22306218817253048</c:v>
                </c:pt>
                <c:pt idx="54">
                  <c:v>0.16308889827031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38.0"/>
          <c:min val="68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760839160839156"/>
          <c:min val="0.108235294117647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0.7416372426299467</c:v>
                </c:pt>
                <c:pt idx="5">
                  <c:v>1.260651407349083</c:v>
                </c:pt>
                <c:pt idx="6">
                  <c:v>0.0</c:v>
                </c:pt>
                <c:pt idx="7">
                  <c:v>1.1839966684474246</c:v>
                </c:pt>
                <c:pt idx="8">
                  <c:v>1.601069652229838</c:v>
                </c:pt>
                <c:pt idx="9">
                  <c:v>0.8223161699013014</c:v>
                </c:pt>
                <c:pt idx="10">
                  <c:v>1.4678054870169854</c:v>
                </c:pt>
                <c:pt idx="11">
                  <c:v>1.4702325524359028</c:v>
                </c:pt>
                <c:pt idx="12">
                  <c:v>1.4412182439775856</c:v>
                </c:pt>
                <c:pt idx="13">
                  <c:v>0.9702911256473506</c:v>
                </c:pt>
                <c:pt idx="14">
                  <c:v>1.1683803872659215</c:v>
                </c:pt>
                <c:pt idx="15">
                  <c:v>0.547832285773221</c:v>
                </c:pt>
                <c:pt idx="16">
                  <c:v>1.1316450186378044</c:v>
                </c:pt>
                <c:pt idx="17">
                  <c:v>0.7548600415005027</c:v>
                </c:pt>
                <c:pt idx="18">
                  <c:v>0.7433066044967487</c:v>
                </c:pt>
                <c:pt idx="19">
                  <c:v>0.30568632029132176</c:v>
                </c:pt>
                <c:pt idx="20">
                  <c:v>0.03958046013531963</c:v>
                </c:pt>
                <c:pt idx="21">
                  <c:v>2.3022140441445815</c:v>
                </c:pt>
                <c:pt idx="22">
                  <c:v>0.9701190896688635</c:v>
                </c:pt>
                <c:pt idx="23">
                  <c:v>3.250893557208418</c:v>
                </c:pt>
                <c:pt idx="24">
                  <c:v>0.9525958456916861</c:v>
                </c:pt>
                <c:pt idx="25">
                  <c:v>4.6900311899251905</c:v>
                </c:pt>
                <c:pt idx="26">
                  <c:v>1.4178912421163106</c:v>
                </c:pt>
                <c:pt idx="27">
                  <c:v>1.1532627912729925</c:v>
                </c:pt>
                <c:pt idx="28">
                  <c:v>2.620073140999594</c:v>
                </c:pt>
                <c:pt idx="29">
                  <c:v>1.6694493046681356</c:v>
                </c:pt>
                <c:pt idx="30">
                  <c:v>1.102920233689069</c:v>
                </c:pt>
                <c:pt idx="31">
                  <c:v>1.027159768358734</c:v>
                </c:pt>
                <c:pt idx="32">
                  <c:v>1.9556907334455007</c:v>
                </c:pt>
                <c:pt idx="33">
                  <c:v>2.39185856562753</c:v>
                </c:pt>
                <c:pt idx="34">
                  <c:v>1.1018435230230352</c:v>
                </c:pt>
                <c:pt idx="35">
                  <c:v>1.50734456346056</c:v>
                </c:pt>
                <c:pt idx="36">
                  <c:v>2.039830709506903</c:v>
                </c:pt>
                <c:pt idx="37">
                  <c:v>0.8293526824096586</c:v>
                </c:pt>
                <c:pt idx="38">
                  <c:v>1.4362341994669021</c:v>
                </c:pt>
                <c:pt idx="39">
                  <c:v>1.422949333420658</c:v>
                </c:pt>
                <c:pt idx="40">
                  <c:v>1.1351754651814192</c:v>
                </c:pt>
                <c:pt idx="41">
                  <c:v>2.0728396483429115</c:v>
                </c:pt>
                <c:pt idx="42">
                  <c:v>2.972428759906384</c:v>
                </c:pt>
                <c:pt idx="43">
                  <c:v>2.4596305720954548</c:v>
                </c:pt>
                <c:pt idx="44">
                  <c:v>2.276512710503443</c:v>
                </c:pt>
                <c:pt idx="45">
                  <c:v>2.6049254137147764</c:v>
                </c:pt>
                <c:pt idx="46">
                  <c:v>2.7330555197469137</c:v>
                </c:pt>
                <c:pt idx="47">
                  <c:v>2.0067110221710407</c:v>
                </c:pt>
                <c:pt idx="48">
                  <c:v>2.196667511762636</c:v>
                </c:pt>
                <c:pt idx="49">
                  <c:v>2.304308812015667</c:v>
                </c:pt>
                <c:pt idx="50">
                  <c:v>2.433283567726224</c:v>
                </c:pt>
              </c:numCache>
            </c:numRef>
          </c:xVal>
          <c:yVal>
            <c:numRef>
              <c:f>Sheet1!$B$2:$B$52</c:f>
              <c:numCache>
                <c:formatCode>General</c:formatCode>
                <c:ptCount val="51"/>
                <c:pt idx="0">
                  <c:v>0.0</c:v>
                </c:pt>
                <c:pt idx="1">
                  <c:v>0.0</c:v>
                </c:pt>
                <c:pt idx="2">
                  <c:v>0.0</c:v>
                </c:pt>
                <c:pt idx="3">
                  <c:v>0.0</c:v>
                </c:pt>
                <c:pt idx="4">
                  <c:v>0.0004389815627743635</c:v>
                </c:pt>
                <c:pt idx="5">
                  <c:v>0.00036101083032490973</c:v>
                </c:pt>
                <c:pt idx="6">
                  <c:v>0.0</c:v>
                </c:pt>
                <c:pt idx="7">
                  <c:v>0.00032938076416337287</c:v>
                </c:pt>
                <c:pt idx="8">
                  <c:v>0.00031436655139893113</c:v>
                </c:pt>
                <c:pt idx="9">
                  <c:v>0.0002797202797202797</c:v>
                </c:pt>
                <c:pt idx="10">
                  <c:v>0.00027878449958182325</c:v>
                </c:pt>
                <c:pt idx="11">
                  <c:v>0.00029994001199760045</c:v>
                </c:pt>
                <c:pt idx="12">
                  <c:v>0.0003022061045633122</c:v>
                </c:pt>
                <c:pt idx="13">
                  <c:v>0.0007410151908114116</c:v>
                </c:pt>
                <c:pt idx="14">
                  <c:v>0.0004666355576294914</c:v>
                </c:pt>
                <c:pt idx="15">
                  <c:v>0.0009657170449058426</c:v>
                </c:pt>
                <c:pt idx="16">
                  <c:v>0.0005102040816326531</c:v>
                </c:pt>
                <c:pt idx="17">
                  <c:v>0.0006045949214026602</c:v>
                </c:pt>
                <c:pt idx="18">
                  <c:v>0.0005652911249293386</c:v>
                </c:pt>
                <c:pt idx="19">
                  <c:v>0.0019880715705765406</c:v>
                </c:pt>
                <c:pt idx="20">
                  <c:v>0.001226993865030675</c:v>
                </c:pt>
                <c:pt idx="21">
                  <c:v>0.0007267441860465116</c:v>
                </c:pt>
                <c:pt idx="22">
                  <c:v>0.003538570417551309</c:v>
                </c:pt>
                <c:pt idx="23">
                  <c:v>0.0008748906386701663</c:v>
                </c:pt>
                <c:pt idx="24">
                  <c:v>0.0054446460980036296</c:v>
                </c:pt>
                <c:pt idx="25">
                  <c:v>0.0007668711656441718</c:v>
                </c:pt>
                <c:pt idx="26">
                  <c:v>0.00247320692497939</c:v>
                </c:pt>
                <c:pt idx="27">
                  <c:v>0.004143646408839779</c:v>
                </c:pt>
                <c:pt idx="28">
                  <c:v>0.0017953321364452424</c:v>
                </c:pt>
                <c:pt idx="29">
                  <c:v>0.002973240832507433</c:v>
                </c:pt>
                <c:pt idx="30">
                  <c:v>0.004916420845624385</c:v>
                </c:pt>
                <c:pt idx="31">
                  <c:v>0.00463821892393321</c:v>
                </c:pt>
                <c:pt idx="32">
                  <c:v>0.0023148148148148147</c:v>
                </c:pt>
                <c:pt idx="33">
                  <c:v>0.0020891364902506965</c:v>
                </c:pt>
                <c:pt idx="34">
                  <c:v>0.005825242718446602</c:v>
                </c:pt>
                <c:pt idx="35">
                  <c:v>0.004132231404958678</c:v>
                </c:pt>
                <c:pt idx="36">
                  <c:v>0.003083247687564234</c:v>
                </c:pt>
                <c:pt idx="37">
                  <c:v>0.008733624454148471</c:v>
                </c:pt>
                <c:pt idx="38">
                  <c:v>0.004251700680272109</c:v>
                </c:pt>
                <c:pt idx="39">
                  <c:v>0.0037418147801683817</c:v>
                </c:pt>
                <c:pt idx="40">
                  <c:v>0.004633920296570899</c:v>
                </c:pt>
                <c:pt idx="41">
                  <c:v>0.0032743942370661427</c:v>
                </c:pt>
                <c:pt idx="42">
                  <c:v>0.002927400468384075</c:v>
                </c:pt>
                <c:pt idx="43">
                  <c:v>0.005246589716684155</c:v>
                </c:pt>
                <c:pt idx="44">
                  <c:v>0.006068487212830516</c:v>
                </c:pt>
                <c:pt idx="45">
                  <c:v>0.004349176762969867</c:v>
                </c:pt>
                <c:pt idx="46">
                  <c:v>0.0033425088478175385</c:v>
                </c:pt>
                <c:pt idx="47">
                  <c:v>0.005436893203883495</c:v>
                </c:pt>
                <c:pt idx="48">
                  <c:v>0.003911980440097799</c:v>
                </c:pt>
                <c:pt idx="49">
                  <c:v>0.003708281829419036</c:v>
                </c:pt>
                <c:pt idx="50">
                  <c:v>0.00320659642693541</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3.4635874879726494</c:v>
                </c:pt>
                <c:pt idx="1">
                  <c:v>1.508789525735825</c:v>
                </c:pt>
                <c:pt idx="2">
                  <c:v>2.0784010640869575</c:v>
                </c:pt>
                <c:pt idx="3">
                  <c:v>1.8042768169152654</c:v>
                </c:pt>
                <c:pt idx="4">
                  <c:v>2.7575697386640163</c:v>
                </c:pt>
                <c:pt idx="5">
                  <c:v>2.7927440914773802</c:v>
                </c:pt>
                <c:pt idx="6">
                  <c:v>2.518780099414628</c:v>
                </c:pt>
                <c:pt idx="7">
                  <c:v>2.3858748732269945</c:v>
                </c:pt>
                <c:pt idx="8">
                  <c:v>2.35573710808806</c:v>
                </c:pt>
                <c:pt idx="9">
                  <c:v>2.3850040745841485</c:v>
                </c:pt>
                <c:pt idx="10">
                  <c:v>2.7323208338301255</c:v>
                </c:pt>
                <c:pt idx="11">
                  <c:v>2.5605025714874534</c:v>
                </c:pt>
                <c:pt idx="12">
                  <c:v>2.333481991792729</c:v>
                </c:pt>
                <c:pt idx="13">
                  <c:v>2.1978508539156505</c:v>
                </c:pt>
                <c:pt idx="14">
                  <c:v>2.0584978354863046</c:v>
                </c:pt>
                <c:pt idx="15">
                  <c:v>1.9986135141573262</c:v>
                </c:pt>
                <c:pt idx="16">
                  <c:v>3.0099066170311635</c:v>
                </c:pt>
                <c:pt idx="17">
                  <c:v>2.545695077977363</c:v>
                </c:pt>
                <c:pt idx="18">
                  <c:v>2.7534203472235603</c:v>
                </c:pt>
                <c:pt idx="19">
                  <c:v>2.328495336190591</c:v>
                </c:pt>
                <c:pt idx="20">
                  <c:v>2.1958220452123682</c:v>
                </c:pt>
                <c:pt idx="21">
                  <c:v>1.896282712426673</c:v>
                </c:pt>
                <c:pt idx="22">
                  <c:v>2.6480561665443765</c:v>
                </c:pt>
                <c:pt idx="23">
                  <c:v>2.002484530772553</c:v>
                </c:pt>
                <c:pt idx="24">
                  <c:v>2.1937590488381162</c:v>
                </c:pt>
                <c:pt idx="25">
                  <c:v>2.1029084584222346</c:v>
                </c:pt>
                <c:pt idx="26">
                  <c:v>2.3339712591612893</c:v>
                </c:pt>
                <c:pt idx="27">
                  <c:v>2.190084735901349</c:v>
                </c:pt>
                <c:pt idx="28">
                  <c:v>1.9315324797726432</c:v>
                </c:pt>
                <c:pt idx="29">
                  <c:v>1.7547769526407662</c:v>
                </c:pt>
                <c:pt idx="30">
                  <c:v>1.7819057814050228</c:v>
                </c:pt>
                <c:pt idx="31">
                  <c:v>1.983970250892671</c:v>
                </c:pt>
                <c:pt idx="32">
                  <c:v>1.660700036799979</c:v>
                </c:pt>
                <c:pt idx="33">
                  <c:v>2.098035714285714</c:v>
                </c:pt>
                <c:pt idx="34">
                  <c:v>2.4015211505380076</c:v>
                </c:pt>
                <c:pt idx="35">
                  <c:v>2.0461644718317378</c:v>
                </c:pt>
                <c:pt idx="36">
                  <c:v>1.720762356540468</c:v>
                </c:pt>
                <c:pt idx="37">
                  <c:v>1.7220932460307312</c:v>
                </c:pt>
                <c:pt idx="38">
                  <c:v>1.9078433001446966</c:v>
                </c:pt>
                <c:pt idx="39">
                  <c:v>2.0247788486713603</c:v>
                </c:pt>
                <c:pt idx="40">
                  <c:v>2.232300982105331</c:v>
                </c:pt>
                <c:pt idx="41">
                  <c:v>1.4057887566437441</c:v>
                </c:pt>
                <c:pt idx="42">
                  <c:v>1.8555944619633884</c:v>
                </c:pt>
                <c:pt idx="43">
                  <c:v>1.972458364257673</c:v>
                </c:pt>
                <c:pt idx="44">
                  <c:v>3.2181171279183887</c:v>
                </c:pt>
                <c:pt idx="45">
                  <c:v>2.7175216016101653</c:v>
                </c:pt>
                <c:pt idx="46">
                  <c:v>2.3612158510366905</c:v>
                </c:pt>
                <c:pt idx="47">
                  <c:v>2.9253183838076104</c:v>
                </c:pt>
                <c:pt idx="48">
                  <c:v>2.63942928815449</c:v>
                </c:pt>
                <c:pt idx="49">
                  <c:v>2.654083415616184</c:v>
                </c:pt>
                <c:pt idx="50">
                  <c:v>2.950225114164581</c:v>
                </c:pt>
                <c:pt idx="51">
                  <c:v>3.003920169414666</c:v>
                </c:pt>
              </c:numCache>
            </c:numRef>
          </c:xVal>
          <c:yVal>
            <c:numRef>
              <c:f>Sheet1!$B$55:$B$106</c:f>
              <c:numCache>
                <c:formatCode>General</c:formatCode>
                <c:ptCount val="52"/>
                <c:pt idx="0">
                  <c:v>0.0022192632046160675</c:v>
                </c:pt>
                <c:pt idx="1">
                  <c:v>0.004214963119072708</c:v>
                </c:pt>
                <c:pt idx="2">
                  <c:v>0.0034290612944706386</c:v>
                </c:pt>
                <c:pt idx="3">
                  <c:v>0.0034557235421166306</c:v>
                </c:pt>
                <c:pt idx="4">
                  <c:v>0.002377179080824089</c:v>
                </c:pt>
                <c:pt idx="5">
                  <c:v>0.0023828435266084196</c:v>
                </c:pt>
                <c:pt idx="6">
                  <c:v>0.0027845457709711106</c:v>
                </c:pt>
                <c:pt idx="7">
                  <c:v>0.003049813622500847</c:v>
                </c:pt>
                <c:pt idx="8">
                  <c:v>0.004009355162044771</c:v>
                </c:pt>
                <c:pt idx="9">
                  <c:v>0.00351288056206089</c:v>
                </c:pt>
                <c:pt idx="10">
                  <c:v>0.0031665611146295125</c:v>
                </c:pt>
                <c:pt idx="11">
                  <c:v>0.003416557161629435</c:v>
                </c:pt>
                <c:pt idx="12">
                  <c:v>0.00338409475465313</c:v>
                </c:pt>
                <c:pt idx="13">
                  <c:v>0.004930966469428008</c:v>
                </c:pt>
                <c:pt idx="14">
                  <c:v>0.005472455308281649</c:v>
                </c:pt>
                <c:pt idx="15">
                  <c:v>0.005766062602965404</c:v>
                </c:pt>
                <c:pt idx="16">
                  <c:v>0.0034296913277804997</c:v>
                </c:pt>
                <c:pt idx="17">
                  <c:v>0.004206098843322818</c:v>
                </c:pt>
                <c:pt idx="18">
                  <c:v>0.0032912781130005485</c:v>
                </c:pt>
                <c:pt idx="19">
                  <c:v>0.0033738191632928477</c:v>
                </c:pt>
                <c:pt idx="20">
                  <c:v>0.004208754208754209</c:v>
                </c:pt>
                <c:pt idx="21">
                  <c:v>0.004777070063694267</c:v>
                </c:pt>
                <c:pt idx="22">
                  <c:v>0.0036258158085569255</c:v>
                </c:pt>
                <c:pt idx="23">
                  <c:v>0.0035739814152966403</c:v>
                </c:pt>
                <c:pt idx="24">
                  <c:v>0.003654970760233918</c:v>
                </c:pt>
                <c:pt idx="25">
                  <c:v>0.0037650602409638554</c:v>
                </c:pt>
                <c:pt idx="26">
                  <c:v>0.004071661237785016</c:v>
                </c:pt>
                <c:pt idx="27">
                  <c:v>0.004570383912248629</c:v>
                </c:pt>
                <c:pt idx="28">
                  <c:v>0.004574565416285453</c:v>
                </c:pt>
                <c:pt idx="29">
                  <c:v>0.006097560975609756</c:v>
                </c:pt>
                <c:pt idx="30">
                  <c:v>0.004119464469618949</c:v>
                </c:pt>
                <c:pt idx="31">
                  <c:v>0.004790419161676647</c:v>
                </c:pt>
                <c:pt idx="32">
                  <c:v>0.005500550055005501</c:v>
                </c:pt>
                <c:pt idx="33">
                  <c:v>0.004827031375703942</c:v>
                </c:pt>
                <c:pt idx="34">
                  <c:v>0.00408997955010225</c:v>
                </c:pt>
                <c:pt idx="35">
                  <c:v>0.0040128410914927765</c:v>
                </c:pt>
                <c:pt idx="36">
                  <c:v>0.006376195536663124</c:v>
                </c:pt>
                <c:pt idx="37">
                  <c:v>0.006741573033707865</c:v>
                </c:pt>
                <c:pt idx="38">
                  <c:v>0.006550218340611353</c:v>
                </c:pt>
                <c:pt idx="39">
                  <c:v>0.005649717514124294</c:v>
                </c:pt>
                <c:pt idx="40">
                  <c:v>0.004071661237785016</c:v>
                </c:pt>
                <c:pt idx="41">
                  <c:v>0.005115089514066497</c:v>
                </c:pt>
                <c:pt idx="42">
                  <c:v>0.004647560030983733</c:v>
                </c:pt>
                <c:pt idx="43">
                  <c:v>0.004638833664678595</c:v>
                </c:pt>
                <c:pt idx="44">
                  <c:v>0.0027662517289073307</c:v>
                </c:pt>
                <c:pt idx="45">
                  <c:v>0.002793296089385475</c:v>
                </c:pt>
                <c:pt idx="46">
                  <c:v>0.002827521206409048</c:v>
                </c:pt>
                <c:pt idx="47">
                  <c:v>0.00264783759929391</c:v>
                </c:pt>
                <c:pt idx="48">
                  <c:v>0.0025684931506849314</c:v>
                </c:pt>
                <c:pt idx="49">
                  <c:v>0.002178649237472767</c:v>
                </c:pt>
                <c:pt idx="50">
                  <c:v>0.0018882175226586104</c:v>
                </c:pt>
                <c:pt idx="51">
                  <c:v>0.0024509803921568627</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1.9865461313403787</c:v>
                </c:pt>
              </c:numCache>
            </c:numRef>
          </c:xVal>
          <c:yVal>
            <c:numRef>
              <c:f>Sheet1!$B$109:$B$110</c:f>
              <c:numCache>
                <c:formatCode>General</c:formatCode>
                <c:ptCount val="2"/>
                <c:pt idx="0">
                  <c:v>0.004585410712913974</c:v>
                </c:pt>
                <c:pt idx="1">
                  <c:v>0.004585410712913974</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1.9865461313403787</c:v>
                </c:pt>
                <c:pt idx="1">
                  <c:v>1.9865461313403787</c:v>
                </c:pt>
              </c:numCache>
            </c:numRef>
          </c:xVal>
          <c:yVal>
            <c:numRef>
              <c:f>Sheet1!$B$113:$B$114</c:f>
              <c:numCache>
                <c:formatCode>General</c:formatCode>
                <c:ptCount val="2"/>
                <c:pt idx="0">
                  <c:v>0.0045854107129139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2.015503997425429</c:v>
                </c:pt>
              </c:numCache>
            </c:numRef>
          </c:xVal>
          <c:yVal>
            <c:numRef>
              <c:f>Sheet1!$B$117:$B$118</c:f>
              <c:numCache>
                <c:formatCode>General</c:formatCode>
                <c:ptCount val="2"/>
                <c:pt idx="0">
                  <c:v>0.004526045891393001</c:v>
                </c:pt>
                <c:pt idx="1">
                  <c:v>0.004526045891393001</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2.015503997425429</c:v>
                </c:pt>
                <c:pt idx="1">
                  <c:v>2.015503997425429</c:v>
                </c:pt>
              </c:numCache>
            </c:numRef>
          </c:xVal>
          <c:yVal>
            <c:numRef>
              <c:f>Sheet1!$B$121:$B$122</c:f>
              <c:numCache>
                <c:formatCode>General</c:formatCode>
                <c:ptCount val="2"/>
                <c:pt idx="0">
                  <c:v>0.00452604589139300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2.5631285249513587</c:v>
                </c:pt>
              </c:numCache>
            </c:numRef>
          </c:xVal>
          <c:yVal>
            <c:numRef>
              <c:f>Sheet1!$B$125:$B$126</c:f>
              <c:numCache>
                <c:formatCode>General</c:formatCode>
                <c:ptCount val="2"/>
                <c:pt idx="0">
                  <c:v>0.0034033929914313132</c:v>
                </c:pt>
                <c:pt idx="1">
                  <c:v>0.0034033929914313132</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2.5631285249513587</c:v>
                </c:pt>
                <c:pt idx="1">
                  <c:v>2.5631285249513587</c:v>
                </c:pt>
              </c:numCache>
            </c:numRef>
          </c:xVal>
          <c:yVal>
            <c:numRef>
              <c:f>Sheet1!$B$129:$B$130</c:f>
              <c:numCache>
                <c:formatCode>General</c:formatCode>
                <c:ptCount val="2"/>
                <c:pt idx="0">
                  <c:v>0.00340339299143131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3.4635874879726494</c:v>
                </c:pt>
                <c:pt idx="1">
                  <c:v>1.508789525735825</c:v>
                </c:pt>
                <c:pt idx="2">
                  <c:v>2.0784010640869575</c:v>
                </c:pt>
                <c:pt idx="3">
                  <c:v>1.8042768169152654</c:v>
                </c:pt>
                <c:pt idx="4">
                  <c:v>2.7575697386640163</c:v>
                </c:pt>
                <c:pt idx="5">
                  <c:v>2.7927440914773802</c:v>
                </c:pt>
                <c:pt idx="6">
                  <c:v>2.518780099414628</c:v>
                </c:pt>
                <c:pt idx="7">
                  <c:v>2.3858748732269945</c:v>
                </c:pt>
                <c:pt idx="8">
                  <c:v>2.35573710808806</c:v>
                </c:pt>
                <c:pt idx="9">
                  <c:v>2.3850040745841485</c:v>
                </c:pt>
                <c:pt idx="10">
                  <c:v>2.7323208338301255</c:v>
                </c:pt>
                <c:pt idx="11">
                  <c:v>2.5605025714874534</c:v>
                </c:pt>
                <c:pt idx="12">
                  <c:v>2.333481991792729</c:v>
                </c:pt>
                <c:pt idx="13">
                  <c:v>2.1978508539156505</c:v>
                </c:pt>
                <c:pt idx="14">
                  <c:v>2.0584978354863046</c:v>
                </c:pt>
                <c:pt idx="15">
                  <c:v>1.9986135141573262</c:v>
                </c:pt>
                <c:pt idx="16">
                  <c:v>3.0099066170311635</c:v>
                </c:pt>
                <c:pt idx="17">
                  <c:v>2.545695077977363</c:v>
                </c:pt>
                <c:pt idx="18">
                  <c:v>2.7534203472235603</c:v>
                </c:pt>
                <c:pt idx="19">
                  <c:v>2.328495336190591</c:v>
                </c:pt>
                <c:pt idx="20">
                  <c:v>2.1958220452123682</c:v>
                </c:pt>
                <c:pt idx="21">
                  <c:v>1.896282712426673</c:v>
                </c:pt>
                <c:pt idx="22">
                  <c:v>2.6480561665443765</c:v>
                </c:pt>
                <c:pt idx="23">
                  <c:v>2.002484530772553</c:v>
                </c:pt>
                <c:pt idx="24">
                  <c:v>2.1937590488381162</c:v>
                </c:pt>
                <c:pt idx="25">
                  <c:v>2.1029084584222346</c:v>
                </c:pt>
                <c:pt idx="26">
                  <c:v>2.3339712591612893</c:v>
                </c:pt>
                <c:pt idx="27">
                  <c:v>2.190084735901349</c:v>
                </c:pt>
                <c:pt idx="28">
                  <c:v>1.9315324797726432</c:v>
                </c:pt>
                <c:pt idx="29">
                  <c:v>1.7547769526407662</c:v>
                </c:pt>
                <c:pt idx="30">
                  <c:v>1.7819057814050228</c:v>
                </c:pt>
                <c:pt idx="31">
                  <c:v>1.983970250892671</c:v>
                </c:pt>
                <c:pt idx="32">
                  <c:v>1.660700036799979</c:v>
                </c:pt>
                <c:pt idx="33">
                  <c:v>2.098035714285714</c:v>
                </c:pt>
                <c:pt idx="34">
                  <c:v>2.4015211505380076</c:v>
                </c:pt>
                <c:pt idx="35">
                  <c:v>2.0461644718317378</c:v>
                </c:pt>
                <c:pt idx="36">
                  <c:v>1.720762356540468</c:v>
                </c:pt>
                <c:pt idx="37">
                  <c:v>1.7220932460307312</c:v>
                </c:pt>
                <c:pt idx="38">
                  <c:v>1.9078433001446966</c:v>
                </c:pt>
                <c:pt idx="39">
                  <c:v>2.0247788486713603</c:v>
                </c:pt>
                <c:pt idx="40">
                  <c:v>2.232300982105331</c:v>
                </c:pt>
                <c:pt idx="41">
                  <c:v>1.4057887566437441</c:v>
                </c:pt>
                <c:pt idx="42">
                  <c:v>1.8555944619633884</c:v>
                </c:pt>
                <c:pt idx="43">
                  <c:v>1.972458364257673</c:v>
                </c:pt>
                <c:pt idx="44">
                  <c:v>3.2181171279183887</c:v>
                </c:pt>
                <c:pt idx="45">
                  <c:v>2.7175216016101653</c:v>
                </c:pt>
                <c:pt idx="46">
                  <c:v>2.3612158510366905</c:v>
                </c:pt>
                <c:pt idx="47">
                  <c:v>2.9253183838076104</c:v>
                </c:pt>
                <c:pt idx="48">
                  <c:v>2.63942928815449</c:v>
                </c:pt>
                <c:pt idx="49">
                  <c:v>2.654083415616184</c:v>
                </c:pt>
                <c:pt idx="50">
                  <c:v>2.950225114164581</c:v>
                </c:pt>
                <c:pt idx="51">
                  <c:v>3.003920169414666</c:v>
                </c:pt>
                <c:pt idx="52">
                  <c:v>2.015503997425429</c:v>
                </c:pt>
                <c:pt idx="53">
                  <c:v>1.9865461313403787</c:v>
                </c:pt>
                <c:pt idx="54">
                  <c:v>2.5631285249513587</c:v>
                </c:pt>
              </c:numCache>
            </c:numRef>
          </c:xVal>
          <c:yVal>
            <c:numRef>
              <c:f>Sheet1!$B$133:$B$187</c:f>
              <c:numCache>
                <c:formatCode>General</c:formatCode>
                <c:ptCount val="55"/>
                <c:pt idx="0">
                  <c:v>0.0015574149255849464</c:v>
                </c:pt>
                <c:pt idx="1">
                  <c:v>0.00556483148718236</c:v>
                </c:pt>
                <c:pt idx="2">
                  <c:v>0.0043971043068995914</c:v>
                </c:pt>
                <c:pt idx="3">
                  <c:v>0.004959070335754176</c:v>
                </c:pt>
                <c:pt idx="4">
                  <c:v>0.0030047804723157424</c:v>
                </c:pt>
                <c:pt idx="5">
                  <c:v>0.002932671596242201</c:v>
                </c:pt>
                <c:pt idx="6">
                  <c:v>0.003494309095504442</c:v>
                </c:pt>
                <c:pt idx="7">
                  <c:v>0.003766770298573084</c:v>
                </c:pt>
                <c:pt idx="8">
                  <c:v>0.0038285539618878855</c:v>
                </c:pt>
                <c:pt idx="9">
                  <c:v>0.0037685554717575105</c:v>
                </c:pt>
                <c:pt idx="10">
                  <c:v>0.003056541770080627</c:v>
                </c:pt>
                <c:pt idx="11">
                  <c:v>0.003408776304492064</c:v>
                </c:pt>
                <c:pt idx="12">
                  <c:v>0.003874177869496287</c:v>
                </c:pt>
                <c:pt idx="13">
                  <c:v>0.004152227304116609</c:v>
                </c:pt>
                <c:pt idx="14">
                  <c:v>0.004437906747593896</c:v>
                </c:pt>
                <c:pt idx="15">
                  <c:v>0.0045606720797201706</c:v>
                </c:pt>
                <c:pt idx="16">
                  <c:v>0.0024874794493940757</c:v>
                </c:pt>
                <c:pt idx="17">
                  <c:v>0.0034391322777815904</c:v>
                </c:pt>
                <c:pt idx="18">
                  <c:v>0.003013286896150974</c:v>
                </c:pt>
                <c:pt idx="19">
                  <c:v>0.0038844007194444845</c:v>
                </c:pt>
                <c:pt idx="20">
                  <c:v>0.0041563864457542146</c:v>
                </c:pt>
                <c:pt idx="21">
                  <c:v>0.004770454449836679</c:v>
                </c:pt>
                <c:pt idx="22">
                  <c:v>0.0032292878183996076</c:v>
                </c:pt>
                <c:pt idx="23">
                  <c:v>0.0045527363357743735</c:v>
                </c:pt>
                <c:pt idx="24">
                  <c:v>0.004160615673529362</c:v>
                </c:pt>
                <c:pt idx="25">
                  <c:v>0.004346863136283469</c:v>
                </c:pt>
                <c:pt idx="26">
                  <c:v>0.00387317485118253</c:v>
                </c:pt>
                <c:pt idx="27">
                  <c:v>0.004168148166809866</c:v>
                </c:pt>
                <c:pt idx="28">
                  <c:v>0.004698190970856449</c:v>
                </c:pt>
                <c:pt idx="29">
                  <c:v>0.0050605471020095825</c:v>
                </c:pt>
                <c:pt idx="30">
                  <c:v>0.005004931882540958</c:v>
                </c:pt>
                <c:pt idx="31">
                  <c:v>0.004590691374223355</c:v>
                </c:pt>
                <c:pt idx="32">
                  <c:v>0.005253408665141651</c:v>
                </c:pt>
                <c:pt idx="33">
                  <c:v>0.004356852463022267</c:v>
                </c:pt>
                <c:pt idx="34">
                  <c:v>0.0037346947838473813</c:v>
                </c:pt>
                <c:pt idx="35">
                  <c:v>0.004463190652490625</c:v>
                </c:pt>
                <c:pt idx="36">
                  <c:v>0.005130278428919912</c:v>
                </c:pt>
                <c:pt idx="37">
                  <c:v>0.0051275500504951495</c:v>
                </c:pt>
                <c:pt idx="38">
                  <c:v>0.004746754767527825</c:v>
                </c:pt>
                <c:pt idx="39">
                  <c:v>0.004507032063259701</c:v>
                </c:pt>
                <c:pt idx="40">
                  <c:v>0.004081603118434266</c:v>
                </c:pt>
                <c:pt idx="41">
                  <c:v>0.005775987318061454</c:v>
                </c:pt>
                <c:pt idx="42">
                  <c:v>0.004853867043833048</c:v>
                </c:pt>
                <c:pt idx="43">
                  <c:v>0.004614291217300505</c:v>
                </c:pt>
                <c:pt idx="44">
                  <c:v>0.002060639302357418</c:v>
                </c:pt>
                <c:pt idx="45">
                  <c:v>0.003086880807384171</c:v>
                </c:pt>
                <c:pt idx="46">
                  <c:v>0.0038173223125546954</c:v>
                </c:pt>
                <c:pt idx="47">
                  <c:v>0.0026608888212497966</c:v>
                </c:pt>
                <c:pt idx="48">
                  <c:v>0.0032469732754147962</c:v>
                </c:pt>
                <c:pt idx="49">
                  <c:v>0.0032169317088589586</c:v>
                </c:pt>
                <c:pt idx="50">
                  <c:v>0.002609828995295429</c:v>
                </c:pt>
                <c:pt idx="51">
                  <c:v>0.0024997519142661156</c:v>
                </c:pt>
                <c:pt idx="52">
                  <c:v>0.004526045891393001</c:v>
                </c:pt>
                <c:pt idx="53">
                  <c:v>0.004585410712913974</c:v>
                </c:pt>
                <c:pt idx="54">
                  <c:v>0.00340339299143131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803493449781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4389815627743635</c:v>
                </c:pt>
                <c:pt idx="5">
                  <c:v>0.00036101083032490973</c:v>
                </c:pt>
                <c:pt idx="6">
                  <c:v>0.0</c:v>
                </c:pt>
                <c:pt idx="7">
                  <c:v>0.00032938076416337287</c:v>
                </c:pt>
                <c:pt idx="8">
                  <c:v>0.00031436655139893113</c:v>
                </c:pt>
                <c:pt idx="9">
                  <c:v>0.0002797202797202797</c:v>
                </c:pt>
                <c:pt idx="10">
                  <c:v>0.00027878449958182325</c:v>
                </c:pt>
                <c:pt idx="11">
                  <c:v>0.00029994001199760045</c:v>
                </c:pt>
                <c:pt idx="12">
                  <c:v>0.0003022061045633122</c:v>
                </c:pt>
                <c:pt idx="13">
                  <c:v>0.0007410151908114116</c:v>
                </c:pt>
                <c:pt idx="14">
                  <c:v>0.0004666355576294914</c:v>
                </c:pt>
                <c:pt idx="15">
                  <c:v>0.0009657170449058426</c:v>
                </c:pt>
                <c:pt idx="16">
                  <c:v>0.0005102040816326531</c:v>
                </c:pt>
                <c:pt idx="17">
                  <c:v>0.0006045949214026602</c:v>
                </c:pt>
                <c:pt idx="18">
                  <c:v>0.0005652911249293386</c:v>
                </c:pt>
                <c:pt idx="19">
                  <c:v>0.0019880715705765406</c:v>
                </c:pt>
                <c:pt idx="20">
                  <c:v>0.001226993865030675</c:v>
                </c:pt>
                <c:pt idx="21">
                  <c:v>0.0007267441860465116</c:v>
                </c:pt>
                <c:pt idx="22">
                  <c:v>0.003538570417551309</c:v>
                </c:pt>
                <c:pt idx="23">
                  <c:v>0.0008748906386701663</c:v>
                </c:pt>
                <c:pt idx="24">
                  <c:v>0.0054446460980036296</c:v>
                </c:pt>
                <c:pt idx="25">
                  <c:v>0.0007668711656441718</c:v>
                </c:pt>
                <c:pt idx="26">
                  <c:v>0.00247320692497939</c:v>
                </c:pt>
                <c:pt idx="27">
                  <c:v>0.004143646408839779</c:v>
                </c:pt>
                <c:pt idx="28">
                  <c:v>0.0017953321364452424</c:v>
                </c:pt>
                <c:pt idx="29">
                  <c:v>0.002973240832507433</c:v>
                </c:pt>
                <c:pt idx="30">
                  <c:v>0.004916420845624385</c:v>
                </c:pt>
                <c:pt idx="31">
                  <c:v>0.00463821892393321</c:v>
                </c:pt>
                <c:pt idx="32">
                  <c:v>0.0023148148148148147</c:v>
                </c:pt>
                <c:pt idx="33">
                  <c:v>0.0020891364902506965</c:v>
                </c:pt>
                <c:pt idx="34">
                  <c:v>0.005825242718446602</c:v>
                </c:pt>
                <c:pt idx="35">
                  <c:v>0.004132231404958678</c:v>
                </c:pt>
                <c:pt idx="36">
                  <c:v>0.003083247687564234</c:v>
                </c:pt>
                <c:pt idx="37">
                  <c:v>0.008733624454148471</c:v>
                </c:pt>
                <c:pt idx="38">
                  <c:v>0.004251700680272109</c:v>
                </c:pt>
                <c:pt idx="39">
                  <c:v>0.0037418147801683817</c:v>
                </c:pt>
                <c:pt idx="40">
                  <c:v>0.004633920296570899</c:v>
                </c:pt>
                <c:pt idx="41">
                  <c:v>0.0032743942370661427</c:v>
                </c:pt>
                <c:pt idx="42">
                  <c:v>0.002927400468384075</c:v>
                </c:pt>
                <c:pt idx="43">
                  <c:v>0.005246589716684155</c:v>
                </c:pt>
                <c:pt idx="44">
                  <c:v>0.006068487212830516</c:v>
                </c:pt>
                <c:pt idx="45">
                  <c:v>0.004349176762969867</c:v>
                </c:pt>
                <c:pt idx="46">
                  <c:v>0.0033425088478175385</c:v>
                </c:pt>
                <c:pt idx="47">
                  <c:v>0.005436893203883495</c:v>
                </c:pt>
                <c:pt idx="48">
                  <c:v>0.003911980440097799</c:v>
                </c:pt>
                <c:pt idx="49">
                  <c:v>0.003708281829419036</c:v>
                </c:pt>
                <c:pt idx="50">
                  <c:v>0.00320659642693541</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22192632046160675</c:v>
                </c:pt>
                <c:pt idx="1">
                  <c:v>0.004214963119072708</c:v>
                </c:pt>
                <c:pt idx="2">
                  <c:v>0.0034290612944706386</c:v>
                </c:pt>
                <c:pt idx="3">
                  <c:v>0.0034557235421166306</c:v>
                </c:pt>
                <c:pt idx="4">
                  <c:v>0.002377179080824089</c:v>
                </c:pt>
                <c:pt idx="5">
                  <c:v>0.0023828435266084196</c:v>
                </c:pt>
                <c:pt idx="6">
                  <c:v>0.0027845457709711106</c:v>
                </c:pt>
                <c:pt idx="7">
                  <c:v>0.003049813622500847</c:v>
                </c:pt>
                <c:pt idx="8">
                  <c:v>0.004009355162044771</c:v>
                </c:pt>
                <c:pt idx="9">
                  <c:v>0.00351288056206089</c:v>
                </c:pt>
                <c:pt idx="10">
                  <c:v>0.0031665611146295125</c:v>
                </c:pt>
                <c:pt idx="11">
                  <c:v>0.003416557161629435</c:v>
                </c:pt>
                <c:pt idx="12">
                  <c:v>0.00338409475465313</c:v>
                </c:pt>
                <c:pt idx="13">
                  <c:v>0.004930966469428008</c:v>
                </c:pt>
                <c:pt idx="14">
                  <c:v>0.005472455308281649</c:v>
                </c:pt>
                <c:pt idx="15">
                  <c:v>0.005766062602965404</c:v>
                </c:pt>
                <c:pt idx="16">
                  <c:v>0.0034296913277804997</c:v>
                </c:pt>
                <c:pt idx="17">
                  <c:v>0.004206098843322818</c:v>
                </c:pt>
                <c:pt idx="18">
                  <c:v>0.0032912781130005485</c:v>
                </c:pt>
                <c:pt idx="19">
                  <c:v>0.0033738191632928477</c:v>
                </c:pt>
                <c:pt idx="20">
                  <c:v>0.004208754208754209</c:v>
                </c:pt>
                <c:pt idx="21">
                  <c:v>0.004777070063694267</c:v>
                </c:pt>
                <c:pt idx="22">
                  <c:v>0.0036258158085569255</c:v>
                </c:pt>
                <c:pt idx="23">
                  <c:v>0.0035739814152966403</c:v>
                </c:pt>
                <c:pt idx="24">
                  <c:v>0.003654970760233918</c:v>
                </c:pt>
                <c:pt idx="25">
                  <c:v>0.0037650602409638554</c:v>
                </c:pt>
                <c:pt idx="26">
                  <c:v>0.004071661237785016</c:v>
                </c:pt>
                <c:pt idx="27">
                  <c:v>0.004570383912248629</c:v>
                </c:pt>
                <c:pt idx="28">
                  <c:v>0.004574565416285453</c:v>
                </c:pt>
                <c:pt idx="29">
                  <c:v>0.006097560975609756</c:v>
                </c:pt>
                <c:pt idx="30">
                  <c:v>0.004119464469618949</c:v>
                </c:pt>
                <c:pt idx="31">
                  <c:v>0.004790419161676647</c:v>
                </c:pt>
                <c:pt idx="32">
                  <c:v>0.005500550055005501</c:v>
                </c:pt>
                <c:pt idx="33">
                  <c:v>0.004827031375703942</c:v>
                </c:pt>
                <c:pt idx="34">
                  <c:v>0.00408997955010225</c:v>
                </c:pt>
                <c:pt idx="35">
                  <c:v>0.0040128410914927765</c:v>
                </c:pt>
                <c:pt idx="36">
                  <c:v>0.006376195536663124</c:v>
                </c:pt>
                <c:pt idx="37">
                  <c:v>0.006741573033707865</c:v>
                </c:pt>
                <c:pt idx="38">
                  <c:v>0.006550218340611353</c:v>
                </c:pt>
                <c:pt idx="39">
                  <c:v>0.005649717514124294</c:v>
                </c:pt>
                <c:pt idx="40">
                  <c:v>0.004071661237785016</c:v>
                </c:pt>
                <c:pt idx="41">
                  <c:v>0.005115089514066497</c:v>
                </c:pt>
                <c:pt idx="42">
                  <c:v>0.004647560030983733</c:v>
                </c:pt>
                <c:pt idx="43">
                  <c:v>0.004638833664678595</c:v>
                </c:pt>
                <c:pt idx="44">
                  <c:v>0.0027662517289073307</c:v>
                </c:pt>
                <c:pt idx="45">
                  <c:v>0.002793296089385475</c:v>
                </c:pt>
                <c:pt idx="46">
                  <c:v>0.002827521206409048</c:v>
                </c:pt>
                <c:pt idx="47">
                  <c:v>0.00264783759929391</c:v>
                </c:pt>
                <c:pt idx="48">
                  <c:v>0.0025684931506849314</c:v>
                </c:pt>
                <c:pt idx="49">
                  <c:v>0.002178649237472767</c:v>
                </c:pt>
                <c:pt idx="50">
                  <c:v>0.0018882175226586104</c:v>
                </c:pt>
                <c:pt idx="51">
                  <c:v>0.0024509803921568627</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509.351726291408</c:v>
                </c:pt>
              </c:numCache>
            </c:numRef>
          </c:xVal>
          <c:yVal>
            <c:numRef>
              <c:f>Sheet1!$B$109:$B$110</c:f>
              <c:numCache>
                <c:formatCode>General</c:formatCode>
                <c:ptCount val="2"/>
                <c:pt idx="0">
                  <c:v>0.004585410712913974</c:v>
                </c:pt>
                <c:pt idx="1">
                  <c:v>0.004585410712913974</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509.351726291408</c:v>
                </c:pt>
                <c:pt idx="1">
                  <c:v>3509.351726291408</c:v>
                </c:pt>
              </c:numCache>
            </c:numRef>
          </c:xVal>
          <c:yVal>
            <c:numRef>
              <c:f>Sheet1!$B$113:$B$114</c:f>
              <c:numCache>
                <c:formatCode>General</c:formatCode>
                <c:ptCount val="2"/>
                <c:pt idx="0">
                  <c:v>0.0045854107129139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569.5473256862297</c:v>
                </c:pt>
              </c:numCache>
            </c:numRef>
          </c:xVal>
          <c:yVal>
            <c:numRef>
              <c:f>Sheet1!$B$117:$B$118</c:f>
              <c:numCache>
                <c:formatCode>General</c:formatCode>
                <c:ptCount val="2"/>
                <c:pt idx="0">
                  <c:v>0.004526045891393001</c:v>
                </c:pt>
                <c:pt idx="1">
                  <c:v>0.004526045891393001</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569.5473256862297</c:v>
                </c:pt>
                <c:pt idx="1">
                  <c:v>3569.5473256862297</c:v>
                </c:pt>
              </c:numCache>
            </c:numRef>
          </c:xVal>
          <c:yVal>
            <c:numRef>
              <c:f>Sheet1!$B$121:$B$122</c:f>
              <c:numCache>
                <c:formatCode>General</c:formatCode>
                <c:ptCount val="2"/>
                <c:pt idx="0">
                  <c:v>0.00452604589139300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707.911132636338</c:v>
                </c:pt>
              </c:numCache>
            </c:numRef>
          </c:xVal>
          <c:yVal>
            <c:numRef>
              <c:f>Sheet1!$B$125:$B$126</c:f>
              <c:numCache>
                <c:formatCode>General</c:formatCode>
                <c:ptCount val="2"/>
                <c:pt idx="0">
                  <c:v>0.0034033929914313132</c:v>
                </c:pt>
                <c:pt idx="1">
                  <c:v>0.0034033929914313132</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707.911132636338</c:v>
                </c:pt>
                <c:pt idx="1">
                  <c:v>4707.911132636338</c:v>
                </c:pt>
              </c:numCache>
            </c:numRef>
          </c:xVal>
          <c:yVal>
            <c:numRef>
              <c:f>Sheet1!$B$129:$B$130</c:f>
              <c:numCache>
                <c:formatCode>General</c:formatCode>
                <c:ptCount val="2"/>
                <c:pt idx="0">
                  <c:v>0.00340339299143131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569.5473256862297</c:v>
                </c:pt>
                <c:pt idx="53">
                  <c:v>3509.351726291408</c:v>
                </c:pt>
                <c:pt idx="54">
                  <c:v>4707.911132636338</c:v>
                </c:pt>
              </c:numCache>
            </c:numRef>
          </c:xVal>
          <c:yVal>
            <c:numRef>
              <c:f>Sheet1!$B$133:$B$187</c:f>
              <c:numCache>
                <c:formatCode>General</c:formatCode>
                <c:ptCount val="55"/>
                <c:pt idx="0">
                  <c:v>0.002382984181513133</c:v>
                </c:pt>
                <c:pt idx="1">
                  <c:v>0.005397275835429698</c:v>
                </c:pt>
                <c:pt idx="2">
                  <c:v>0.004428335618358391</c:v>
                </c:pt>
                <c:pt idx="3">
                  <c:v>0.004701142832147042</c:v>
                </c:pt>
                <c:pt idx="4">
                  <c:v>0.002955735542699685</c:v>
                </c:pt>
                <c:pt idx="5">
                  <c:v>0.0032787156150567874</c:v>
                </c:pt>
                <c:pt idx="6">
                  <c:v>0.0039390577911884135</c:v>
                </c:pt>
                <c:pt idx="7">
                  <c:v>0.00403173305212141</c:v>
                </c:pt>
                <c:pt idx="8">
                  <c:v>0.0040126939932301426</c:v>
                </c:pt>
                <c:pt idx="9">
                  <c:v>0.004168595537268156</c:v>
                </c:pt>
                <c:pt idx="10">
                  <c:v>0.0036415709550769023</c:v>
                </c:pt>
                <c:pt idx="11">
                  <c:v>0.004095996125913661</c:v>
                </c:pt>
                <c:pt idx="12">
                  <c:v>0.0043609864329923155</c:v>
                </c:pt>
                <c:pt idx="13">
                  <c:v>0.004443350493477893</c:v>
                </c:pt>
                <c:pt idx="14">
                  <c:v>0.00476899330230939</c:v>
                </c:pt>
                <c:pt idx="15">
                  <c:v>0.004715090541659528</c:v>
                </c:pt>
                <c:pt idx="16">
                  <c:v>0.002853569993112339</c:v>
                </c:pt>
                <c:pt idx="17">
                  <c:v>0.0036136122220957606</c:v>
                </c:pt>
                <c:pt idx="18">
                  <c:v>0.0031833830417422153</c:v>
                </c:pt>
                <c:pt idx="19">
                  <c:v>0.0036009395688750313</c:v>
                </c:pt>
                <c:pt idx="20">
                  <c:v>0.0038129722881323656</c:v>
                </c:pt>
                <c:pt idx="21">
                  <c:v>0.004426486495806728</c:v>
                </c:pt>
                <c:pt idx="22">
                  <c:v>0.003032889121004219</c:v>
                </c:pt>
                <c:pt idx="23">
                  <c:v>0.004319878416961529</c:v>
                </c:pt>
                <c:pt idx="24">
                  <c:v>0.003775891217229688</c:v>
                </c:pt>
                <c:pt idx="25">
                  <c:v>0.0042530141454934015</c:v>
                </c:pt>
                <c:pt idx="26">
                  <c:v>0.003614746350594113</c:v>
                </c:pt>
                <c:pt idx="27">
                  <c:v>0.003868199415008695</c:v>
                </c:pt>
                <c:pt idx="28">
                  <c:v>0.004363073919768371</c:v>
                </c:pt>
                <c:pt idx="29">
                  <c:v>0.00454022804566683</c:v>
                </c:pt>
                <c:pt idx="30">
                  <c:v>0.004483686020071497</c:v>
                </c:pt>
                <c:pt idx="31">
                  <c:v>0.004028801872362448</c:v>
                </c:pt>
                <c:pt idx="32">
                  <c:v>0.004579840392757963</c:v>
                </c:pt>
                <c:pt idx="33">
                  <c:v>0.003894761000299735</c:v>
                </c:pt>
                <c:pt idx="34">
                  <c:v>0.0034481773911403286</c:v>
                </c:pt>
                <c:pt idx="35">
                  <c:v>0.004001533478467261</c:v>
                </c:pt>
                <c:pt idx="36">
                  <c:v>0.0042478201328305515</c:v>
                </c:pt>
                <c:pt idx="37">
                  <c:v>0.004262941911888508</c:v>
                </c:pt>
                <c:pt idx="38">
                  <c:v>0.003980889085341542</c:v>
                </c:pt>
                <c:pt idx="39">
                  <c:v>0.003975958091870441</c:v>
                </c:pt>
                <c:pt idx="40">
                  <c:v>0.0037297371183401843</c:v>
                </c:pt>
                <c:pt idx="41">
                  <c:v>0.0052583450943814326</c:v>
                </c:pt>
                <c:pt idx="42">
                  <c:v>0.004277734892301811</c:v>
                </c:pt>
                <c:pt idx="43">
                  <c:v>0.0042965196105498385</c:v>
                </c:pt>
                <c:pt idx="44">
                  <c:v>0.0024109429144942756</c:v>
                </c:pt>
                <c:pt idx="45">
                  <c:v>0.00345754627873542</c:v>
                </c:pt>
                <c:pt idx="46">
                  <c:v>0.004105807520862849</c:v>
                </c:pt>
                <c:pt idx="47">
                  <c:v>0.0033380518374124543</c:v>
                </c:pt>
                <c:pt idx="48">
                  <c:v>0.0038998563930931623</c:v>
                </c:pt>
                <c:pt idx="49">
                  <c:v>0.004187192384664935</c:v>
                </c:pt>
                <c:pt idx="50">
                  <c:v>0.003973919915029096</c:v>
                </c:pt>
                <c:pt idx="51">
                  <c:v>0.003624213858058627</c:v>
                </c:pt>
                <c:pt idx="52">
                  <c:v>0.004526045891393001</c:v>
                </c:pt>
                <c:pt idx="53">
                  <c:v>0.004585410712913974</c:v>
                </c:pt>
                <c:pt idx="54">
                  <c:v>0.00340339299143131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803493449781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1572485027319774</c:v>
                </c:pt>
                <c:pt idx="5">
                  <c:v>1.9521812080536913</c:v>
                </c:pt>
                <c:pt idx="6">
                  <c:v>0.0</c:v>
                </c:pt>
                <c:pt idx="7">
                  <c:v>1.768733380979478</c:v>
                </c:pt>
                <c:pt idx="8">
                  <c:v>2.36467704279507</c:v>
                </c:pt>
                <c:pt idx="9">
                  <c:v>1.202346033679272</c:v>
                </c:pt>
                <c:pt idx="10">
                  <c:v>2.024436360877336</c:v>
                </c:pt>
                <c:pt idx="11">
                  <c:v>1.8204530892903166</c:v>
                </c:pt>
                <c:pt idx="12">
                  <c:v>1.7402255890993148</c:v>
                </c:pt>
                <c:pt idx="13">
                  <c:v>1.163591453139582</c:v>
                </c:pt>
                <c:pt idx="14">
                  <c:v>1.516774066737228</c:v>
                </c:pt>
                <c:pt idx="15">
                  <c:v>0.6232391738515886</c:v>
                </c:pt>
                <c:pt idx="16">
                  <c:v>1.3905795034705115</c:v>
                </c:pt>
                <c:pt idx="17">
                  <c:v>0.9952746603662137</c:v>
                </c:pt>
                <c:pt idx="18">
                  <c:v>0.9069090909090909</c:v>
                </c:pt>
                <c:pt idx="19">
                  <c:v>0.3573902956642859</c:v>
                </c:pt>
                <c:pt idx="20">
                  <c:v>0.05101884636184606</c:v>
                </c:pt>
                <c:pt idx="21">
                  <c:v>2.7528564546430294</c:v>
                </c:pt>
                <c:pt idx="22">
                  <c:v>1.215607797524135</c:v>
                </c:pt>
                <c:pt idx="23">
                  <c:v>4.124433261328839</c:v>
                </c:pt>
                <c:pt idx="24">
                  <c:v>1.1604143162765266</c:v>
                </c:pt>
                <c:pt idx="25">
                  <c:v>6.137373089302658</c:v>
                </c:pt>
                <c:pt idx="26">
                  <c:v>1.549736711751175</c:v>
                </c:pt>
                <c:pt idx="27">
                  <c:v>1.2710471707345068</c:v>
                </c:pt>
                <c:pt idx="28">
                  <c:v>2.924653169154416</c:v>
                </c:pt>
                <c:pt idx="29">
                  <c:v>1.8635454682635937</c:v>
                </c:pt>
                <c:pt idx="30">
                  <c:v>1.09828743114672</c:v>
                </c:pt>
                <c:pt idx="31">
                  <c:v>1.1202096886972603</c:v>
                </c:pt>
                <c:pt idx="32">
                  <c:v>1.936359056945858</c:v>
                </c:pt>
                <c:pt idx="33">
                  <c:v>2.2323887073013347</c:v>
                </c:pt>
                <c:pt idx="34">
                  <c:v>1.1157327715757834</c:v>
                </c:pt>
                <c:pt idx="35">
                  <c:v>1.4455442655915192</c:v>
                </c:pt>
                <c:pt idx="36">
                  <c:v>2.147176549229879</c:v>
                </c:pt>
                <c:pt idx="37">
                  <c:v>0.7874425548358026</c:v>
                </c:pt>
                <c:pt idx="38">
                  <c:v>1.505399221581571</c:v>
                </c:pt>
                <c:pt idx="39">
                  <c:v>1.528237248761266</c:v>
                </c:pt>
                <c:pt idx="40">
                  <c:v>1.221487928634445</c:v>
                </c:pt>
                <c:pt idx="41">
                  <c:v>2.2532612484079055</c:v>
                </c:pt>
                <c:pt idx="42">
                  <c:v>3.6792139812165523</c:v>
                </c:pt>
                <c:pt idx="43">
                  <c:v>2.877487143901152</c:v>
                </c:pt>
                <c:pt idx="44">
                  <c:v>2.7444533506051165</c:v>
                </c:pt>
                <c:pt idx="45">
                  <c:v>3.340677847962579</c:v>
                </c:pt>
                <c:pt idx="46">
                  <c:v>3.4249061351063412</c:v>
                </c:pt>
                <c:pt idx="47">
                  <c:v>2.5833137737555734</c:v>
                </c:pt>
                <c:pt idx="48">
                  <c:v>2.614727238511091</c:v>
                </c:pt>
                <c:pt idx="49">
                  <c:v>2.8647738172701556</c:v>
                </c:pt>
                <c:pt idx="50">
                  <c:v>3.0495460069466254</c:v>
                </c:pt>
              </c:numCache>
            </c:numRef>
          </c:xVal>
          <c:yVal>
            <c:numRef>
              <c:f>Sheet1!$B$2:$B$52</c:f>
              <c:numCache>
                <c:formatCode>General</c:formatCode>
                <c:ptCount val="51"/>
                <c:pt idx="0">
                  <c:v>0.0</c:v>
                </c:pt>
                <c:pt idx="1">
                  <c:v>0.0</c:v>
                </c:pt>
                <c:pt idx="2">
                  <c:v>0.0</c:v>
                </c:pt>
                <c:pt idx="3">
                  <c:v>0.0</c:v>
                </c:pt>
                <c:pt idx="4">
                  <c:v>0.0004389815627743635</c:v>
                </c:pt>
                <c:pt idx="5">
                  <c:v>0.00036101083032490973</c:v>
                </c:pt>
                <c:pt idx="6">
                  <c:v>0.0</c:v>
                </c:pt>
                <c:pt idx="7">
                  <c:v>0.00032938076416337287</c:v>
                </c:pt>
                <c:pt idx="8">
                  <c:v>0.00031436655139893113</c:v>
                </c:pt>
                <c:pt idx="9">
                  <c:v>0.0002797202797202797</c:v>
                </c:pt>
                <c:pt idx="10">
                  <c:v>0.00027878449958182325</c:v>
                </c:pt>
                <c:pt idx="11">
                  <c:v>0.00029994001199760045</c:v>
                </c:pt>
                <c:pt idx="12">
                  <c:v>0.0003022061045633122</c:v>
                </c:pt>
                <c:pt idx="13">
                  <c:v>0.0007410151908114116</c:v>
                </c:pt>
                <c:pt idx="14">
                  <c:v>0.0004666355576294914</c:v>
                </c:pt>
                <c:pt idx="15">
                  <c:v>0.0009657170449058426</c:v>
                </c:pt>
                <c:pt idx="16">
                  <c:v>0.0005102040816326531</c:v>
                </c:pt>
                <c:pt idx="17">
                  <c:v>0.0006045949214026602</c:v>
                </c:pt>
                <c:pt idx="18">
                  <c:v>0.0005652911249293386</c:v>
                </c:pt>
                <c:pt idx="19">
                  <c:v>0.0019880715705765406</c:v>
                </c:pt>
                <c:pt idx="20">
                  <c:v>0.001226993865030675</c:v>
                </c:pt>
                <c:pt idx="21">
                  <c:v>0.0007267441860465116</c:v>
                </c:pt>
                <c:pt idx="22">
                  <c:v>0.003538570417551309</c:v>
                </c:pt>
                <c:pt idx="23">
                  <c:v>0.0008748906386701663</c:v>
                </c:pt>
                <c:pt idx="24">
                  <c:v>0.0054446460980036296</c:v>
                </c:pt>
                <c:pt idx="25">
                  <c:v>0.0007668711656441718</c:v>
                </c:pt>
                <c:pt idx="26">
                  <c:v>0.00247320692497939</c:v>
                </c:pt>
                <c:pt idx="27">
                  <c:v>0.004143646408839779</c:v>
                </c:pt>
                <c:pt idx="28">
                  <c:v>0.0017953321364452424</c:v>
                </c:pt>
                <c:pt idx="29">
                  <c:v>0.002973240832507433</c:v>
                </c:pt>
                <c:pt idx="30">
                  <c:v>0.004916420845624385</c:v>
                </c:pt>
                <c:pt idx="31">
                  <c:v>0.00463821892393321</c:v>
                </c:pt>
                <c:pt idx="32">
                  <c:v>0.0023148148148148147</c:v>
                </c:pt>
                <c:pt idx="33">
                  <c:v>0.0020891364902506965</c:v>
                </c:pt>
                <c:pt idx="34">
                  <c:v>0.005825242718446602</c:v>
                </c:pt>
                <c:pt idx="35">
                  <c:v>0.004132231404958678</c:v>
                </c:pt>
                <c:pt idx="36">
                  <c:v>0.003083247687564234</c:v>
                </c:pt>
                <c:pt idx="37">
                  <c:v>0.008733624454148471</c:v>
                </c:pt>
                <c:pt idx="38">
                  <c:v>0.004251700680272109</c:v>
                </c:pt>
                <c:pt idx="39">
                  <c:v>0.0037418147801683817</c:v>
                </c:pt>
                <c:pt idx="40">
                  <c:v>0.004633920296570899</c:v>
                </c:pt>
                <c:pt idx="41">
                  <c:v>0.0032743942370661427</c:v>
                </c:pt>
                <c:pt idx="42">
                  <c:v>0.002927400468384075</c:v>
                </c:pt>
                <c:pt idx="43">
                  <c:v>0.005246589716684155</c:v>
                </c:pt>
                <c:pt idx="44">
                  <c:v>0.006068487212830516</c:v>
                </c:pt>
                <c:pt idx="45">
                  <c:v>0.004349176762969867</c:v>
                </c:pt>
                <c:pt idx="46">
                  <c:v>0.0033425088478175385</c:v>
                </c:pt>
                <c:pt idx="47">
                  <c:v>0.005436893203883495</c:v>
                </c:pt>
                <c:pt idx="48">
                  <c:v>0.003911980440097799</c:v>
                </c:pt>
                <c:pt idx="49">
                  <c:v>0.003708281829419036</c:v>
                </c:pt>
                <c:pt idx="50">
                  <c:v>0.00320659642693541</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4.491356918340694</c:v>
                </c:pt>
                <c:pt idx="1">
                  <c:v>2.1424331085106227</c:v>
                </c:pt>
                <c:pt idx="2">
                  <c:v>2.9209995473540515</c:v>
                </c:pt>
                <c:pt idx="3">
                  <c:v>2.83927327662097</c:v>
                </c:pt>
                <c:pt idx="4">
                  <c:v>4.124353761129403</c:v>
                </c:pt>
                <c:pt idx="5">
                  <c:v>4.263240664949142</c:v>
                </c:pt>
                <c:pt idx="6">
                  <c:v>3.9765433829210535</c:v>
                </c:pt>
                <c:pt idx="7">
                  <c:v>4.206939172565332</c:v>
                </c:pt>
                <c:pt idx="8">
                  <c:v>4.317063717612786</c:v>
                </c:pt>
                <c:pt idx="9">
                  <c:v>3.8288004276727228</c:v>
                </c:pt>
                <c:pt idx="10">
                  <c:v>4.403341073488887</c:v>
                </c:pt>
                <c:pt idx="11">
                  <c:v>4.0456037658633</c:v>
                </c:pt>
                <c:pt idx="12">
                  <c:v>3.6686284825627293</c:v>
                </c:pt>
                <c:pt idx="13">
                  <c:v>3.6605142093659024</c:v>
                </c:pt>
                <c:pt idx="14">
                  <c:v>3.213160809648455</c:v>
                </c:pt>
                <c:pt idx="15">
                  <c:v>3.1878142767649473</c:v>
                </c:pt>
                <c:pt idx="16">
                  <c:v>4.827478318685368</c:v>
                </c:pt>
                <c:pt idx="17">
                  <c:v>3.699351659763844</c:v>
                </c:pt>
                <c:pt idx="18">
                  <c:v>5.186687620982829</c:v>
                </c:pt>
                <c:pt idx="19">
                  <c:v>4.693406324291096</c:v>
                </c:pt>
                <c:pt idx="20">
                  <c:v>4.097923239022356</c:v>
                </c:pt>
                <c:pt idx="21">
                  <c:v>4.359210850414876</c:v>
                </c:pt>
                <c:pt idx="22">
                  <c:v>5.224037808403307</c:v>
                </c:pt>
                <c:pt idx="23">
                  <c:v>3.9374952586663245</c:v>
                </c:pt>
                <c:pt idx="24">
                  <c:v>4.792212936186055</c:v>
                </c:pt>
                <c:pt idx="25">
                  <c:v>4.061571926749364</c:v>
                </c:pt>
                <c:pt idx="26">
                  <c:v>4.315661811002902</c:v>
                </c:pt>
                <c:pt idx="27">
                  <c:v>3.950050683273177</c:v>
                </c:pt>
                <c:pt idx="28">
                  <c:v>3.2538769820526228</c:v>
                </c:pt>
                <c:pt idx="29">
                  <c:v>3.335768533477254</c:v>
                </c:pt>
                <c:pt idx="30">
                  <c:v>3.3667287977632805</c:v>
                </c:pt>
                <c:pt idx="31">
                  <c:v>4.106660365503106</c:v>
                </c:pt>
                <c:pt idx="32">
                  <c:v>3.7003587400420606</c:v>
                </c:pt>
                <c:pt idx="33">
                  <c:v>4.120692299793626</c:v>
                </c:pt>
                <c:pt idx="34">
                  <c:v>4.49858592439018</c:v>
                </c:pt>
                <c:pt idx="35">
                  <c:v>4.0784343362525615</c:v>
                </c:pt>
                <c:pt idx="36">
                  <c:v>3.883140720481721</c:v>
                </c:pt>
                <c:pt idx="37">
                  <c:v>4.067239430389987</c:v>
                </c:pt>
                <c:pt idx="38">
                  <c:v>4.651917338885091</c:v>
                </c:pt>
                <c:pt idx="39">
                  <c:v>4.752040322417226</c:v>
                </c:pt>
                <c:pt idx="40">
                  <c:v>4.1451788028606185</c:v>
                </c:pt>
                <c:pt idx="41">
                  <c:v>2.577236411254364</c:v>
                </c:pt>
                <c:pt idx="42">
                  <c:v>3.896103023513954</c:v>
                </c:pt>
                <c:pt idx="43">
                  <c:v>4.113153302104419</c:v>
                </c:pt>
                <c:pt idx="44">
                  <c:v>5.670442992660203</c:v>
                </c:pt>
                <c:pt idx="45">
                  <c:v>4.343677596621622</c:v>
                </c:pt>
                <c:pt idx="46">
                  <c:v>4.6744900713199975</c:v>
                </c:pt>
                <c:pt idx="47">
                  <c:v>4.28782372432717</c:v>
                </c:pt>
                <c:pt idx="48">
                  <c:v>4.30537934339509</c:v>
                </c:pt>
                <c:pt idx="49">
                  <c:v>3.7633111812903426</c:v>
                </c:pt>
                <c:pt idx="50">
                  <c:v>4.449375504600709</c:v>
                </c:pt>
                <c:pt idx="51">
                  <c:v>4.4950925398606145</c:v>
                </c:pt>
              </c:numCache>
            </c:numRef>
          </c:xVal>
          <c:yVal>
            <c:numRef>
              <c:f>Sheet1!$B$55:$B$106</c:f>
              <c:numCache>
                <c:formatCode>General</c:formatCode>
                <c:ptCount val="52"/>
                <c:pt idx="0">
                  <c:v>0.0022192632046160675</c:v>
                </c:pt>
                <c:pt idx="1">
                  <c:v>0.004214963119072708</c:v>
                </c:pt>
                <c:pt idx="2">
                  <c:v>0.0034290612944706386</c:v>
                </c:pt>
                <c:pt idx="3">
                  <c:v>0.0034557235421166306</c:v>
                </c:pt>
                <c:pt idx="4">
                  <c:v>0.002377179080824089</c:v>
                </c:pt>
                <c:pt idx="5">
                  <c:v>0.0023828435266084196</c:v>
                </c:pt>
                <c:pt idx="6">
                  <c:v>0.0027845457709711106</c:v>
                </c:pt>
                <c:pt idx="7">
                  <c:v>0.003049813622500847</c:v>
                </c:pt>
                <c:pt idx="8">
                  <c:v>0.004009355162044771</c:v>
                </c:pt>
                <c:pt idx="9">
                  <c:v>0.00351288056206089</c:v>
                </c:pt>
                <c:pt idx="10">
                  <c:v>0.0031665611146295125</c:v>
                </c:pt>
                <c:pt idx="11">
                  <c:v>0.003416557161629435</c:v>
                </c:pt>
                <c:pt idx="12">
                  <c:v>0.00338409475465313</c:v>
                </c:pt>
                <c:pt idx="13">
                  <c:v>0.004930966469428008</c:v>
                </c:pt>
                <c:pt idx="14">
                  <c:v>0.005472455308281649</c:v>
                </c:pt>
                <c:pt idx="15">
                  <c:v>0.005766062602965404</c:v>
                </c:pt>
                <c:pt idx="16">
                  <c:v>0.0034296913277804997</c:v>
                </c:pt>
                <c:pt idx="17">
                  <c:v>0.004206098843322818</c:v>
                </c:pt>
                <c:pt idx="18">
                  <c:v>0.0032912781130005485</c:v>
                </c:pt>
                <c:pt idx="19">
                  <c:v>0.0033738191632928477</c:v>
                </c:pt>
                <c:pt idx="20">
                  <c:v>0.004208754208754209</c:v>
                </c:pt>
                <c:pt idx="21">
                  <c:v>0.004777070063694267</c:v>
                </c:pt>
                <c:pt idx="22">
                  <c:v>0.0036258158085569255</c:v>
                </c:pt>
                <c:pt idx="23">
                  <c:v>0.0035739814152966403</c:v>
                </c:pt>
                <c:pt idx="24">
                  <c:v>0.003654970760233918</c:v>
                </c:pt>
                <c:pt idx="25">
                  <c:v>0.0037650602409638554</c:v>
                </c:pt>
                <c:pt idx="26">
                  <c:v>0.004071661237785016</c:v>
                </c:pt>
                <c:pt idx="27">
                  <c:v>0.004570383912248629</c:v>
                </c:pt>
                <c:pt idx="28">
                  <c:v>0.004574565416285453</c:v>
                </c:pt>
                <c:pt idx="29">
                  <c:v>0.006097560975609756</c:v>
                </c:pt>
                <c:pt idx="30">
                  <c:v>0.004119464469618949</c:v>
                </c:pt>
                <c:pt idx="31">
                  <c:v>0.004790419161676647</c:v>
                </c:pt>
                <c:pt idx="32">
                  <c:v>0.005500550055005501</c:v>
                </c:pt>
                <c:pt idx="33">
                  <c:v>0.004827031375703942</c:v>
                </c:pt>
                <c:pt idx="34">
                  <c:v>0.00408997955010225</c:v>
                </c:pt>
                <c:pt idx="35">
                  <c:v>0.0040128410914927765</c:v>
                </c:pt>
                <c:pt idx="36">
                  <c:v>0.006376195536663124</c:v>
                </c:pt>
                <c:pt idx="37">
                  <c:v>0.006741573033707865</c:v>
                </c:pt>
                <c:pt idx="38">
                  <c:v>0.006550218340611353</c:v>
                </c:pt>
                <c:pt idx="39">
                  <c:v>0.005649717514124294</c:v>
                </c:pt>
                <c:pt idx="40">
                  <c:v>0.004071661237785016</c:v>
                </c:pt>
                <c:pt idx="41">
                  <c:v>0.005115089514066497</c:v>
                </c:pt>
                <c:pt idx="42">
                  <c:v>0.004647560030983733</c:v>
                </c:pt>
                <c:pt idx="43">
                  <c:v>0.004638833664678595</c:v>
                </c:pt>
                <c:pt idx="44">
                  <c:v>0.0027662517289073307</c:v>
                </c:pt>
                <c:pt idx="45">
                  <c:v>0.002793296089385475</c:v>
                </c:pt>
                <c:pt idx="46">
                  <c:v>0.002827521206409048</c:v>
                </c:pt>
                <c:pt idx="47">
                  <c:v>0.00264783759929391</c:v>
                </c:pt>
                <c:pt idx="48">
                  <c:v>0.0025684931506849314</c:v>
                </c:pt>
                <c:pt idx="49">
                  <c:v>0.002178649237472767</c:v>
                </c:pt>
                <c:pt idx="50">
                  <c:v>0.0018882175226586104</c:v>
                </c:pt>
                <c:pt idx="51">
                  <c:v>0.0024509803921568627</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2.9377964160540517</c:v>
                </c:pt>
              </c:numCache>
            </c:numRef>
          </c:xVal>
          <c:yVal>
            <c:numRef>
              <c:f>Sheet1!$B$109:$B$110</c:f>
              <c:numCache>
                <c:formatCode>General</c:formatCode>
                <c:ptCount val="2"/>
                <c:pt idx="0">
                  <c:v>0.004585410712913974</c:v>
                </c:pt>
                <c:pt idx="1">
                  <c:v>0.004585410712913974</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2.9377964160540517</c:v>
                </c:pt>
                <c:pt idx="1">
                  <c:v>2.9377964160540517</c:v>
                </c:pt>
              </c:numCache>
            </c:numRef>
          </c:xVal>
          <c:yVal>
            <c:numRef>
              <c:f>Sheet1!$B$113:$B$114</c:f>
              <c:numCache>
                <c:formatCode>General</c:formatCode>
                <c:ptCount val="2"/>
                <c:pt idx="0">
                  <c:v>0.0045854107129139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3.044458415462344</c:v>
                </c:pt>
              </c:numCache>
            </c:numRef>
          </c:xVal>
          <c:yVal>
            <c:numRef>
              <c:f>Sheet1!$B$117:$B$118</c:f>
              <c:numCache>
                <c:formatCode>General</c:formatCode>
                <c:ptCount val="2"/>
                <c:pt idx="0">
                  <c:v>0.004526045891393001</c:v>
                </c:pt>
                <c:pt idx="1">
                  <c:v>0.004526045891393001</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3.044458415462344</c:v>
                </c:pt>
                <c:pt idx="1">
                  <c:v>3.044458415462344</c:v>
                </c:pt>
              </c:numCache>
            </c:numRef>
          </c:xVal>
          <c:yVal>
            <c:numRef>
              <c:f>Sheet1!$B$121:$B$122</c:f>
              <c:numCache>
                <c:formatCode>General</c:formatCode>
                <c:ptCount val="2"/>
                <c:pt idx="0">
                  <c:v>0.00452604589139300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5.061552038983593</c:v>
                </c:pt>
              </c:numCache>
            </c:numRef>
          </c:xVal>
          <c:yVal>
            <c:numRef>
              <c:f>Sheet1!$B$125:$B$126</c:f>
              <c:numCache>
                <c:formatCode>General</c:formatCode>
                <c:ptCount val="2"/>
                <c:pt idx="0">
                  <c:v>0.0034033929914313132</c:v>
                </c:pt>
                <c:pt idx="1">
                  <c:v>0.0034033929914313132</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5.061552038983593</c:v>
                </c:pt>
                <c:pt idx="1">
                  <c:v>5.061552038983593</c:v>
                </c:pt>
              </c:numCache>
            </c:numRef>
          </c:xVal>
          <c:yVal>
            <c:numRef>
              <c:f>Sheet1!$B$129:$B$130</c:f>
              <c:numCache>
                <c:formatCode>General</c:formatCode>
                <c:ptCount val="2"/>
                <c:pt idx="0">
                  <c:v>0.00340339299143131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4.491356918340694</c:v>
                </c:pt>
                <c:pt idx="1">
                  <c:v>2.1424331085106227</c:v>
                </c:pt>
                <c:pt idx="2">
                  <c:v>2.9209995473540515</c:v>
                </c:pt>
                <c:pt idx="3">
                  <c:v>2.83927327662097</c:v>
                </c:pt>
                <c:pt idx="4">
                  <c:v>4.124353761129403</c:v>
                </c:pt>
                <c:pt idx="5">
                  <c:v>4.263240664949142</c:v>
                </c:pt>
                <c:pt idx="6">
                  <c:v>3.9765433829210535</c:v>
                </c:pt>
                <c:pt idx="7">
                  <c:v>4.206939172565332</c:v>
                </c:pt>
                <c:pt idx="8">
                  <c:v>4.317063717612786</c:v>
                </c:pt>
                <c:pt idx="9">
                  <c:v>3.8288004276727228</c:v>
                </c:pt>
                <c:pt idx="10">
                  <c:v>4.403341073488887</c:v>
                </c:pt>
                <c:pt idx="11">
                  <c:v>4.0456037658633</c:v>
                </c:pt>
                <c:pt idx="12">
                  <c:v>3.6686284825627293</c:v>
                </c:pt>
                <c:pt idx="13">
                  <c:v>3.6605142093659024</c:v>
                </c:pt>
                <c:pt idx="14">
                  <c:v>3.213160809648455</c:v>
                </c:pt>
                <c:pt idx="15">
                  <c:v>3.1878142767649473</c:v>
                </c:pt>
                <c:pt idx="16">
                  <c:v>4.827478318685368</c:v>
                </c:pt>
                <c:pt idx="17">
                  <c:v>3.699351659763844</c:v>
                </c:pt>
                <c:pt idx="18">
                  <c:v>5.186687620982829</c:v>
                </c:pt>
                <c:pt idx="19">
                  <c:v>4.693406324291096</c:v>
                </c:pt>
                <c:pt idx="20">
                  <c:v>4.097923239022356</c:v>
                </c:pt>
                <c:pt idx="21">
                  <c:v>4.359210850414876</c:v>
                </c:pt>
                <c:pt idx="22">
                  <c:v>5.224037808403307</c:v>
                </c:pt>
                <c:pt idx="23">
                  <c:v>3.9374952586663245</c:v>
                </c:pt>
                <c:pt idx="24">
                  <c:v>4.792212936186055</c:v>
                </c:pt>
                <c:pt idx="25">
                  <c:v>4.061571926749364</c:v>
                </c:pt>
                <c:pt idx="26">
                  <c:v>4.315661811002902</c:v>
                </c:pt>
                <c:pt idx="27">
                  <c:v>3.950050683273177</c:v>
                </c:pt>
                <c:pt idx="28">
                  <c:v>3.2538769820526228</c:v>
                </c:pt>
                <c:pt idx="29">
                  <c:v>3.335768533477254</c:v>
                </c:pt>
                <c:pt idx="30">
                  <c:v>3.3667287977632805</c:v>
                </c:pt>
                <c:pt idx="31">
                  <c:v>4.106660365503106</c:v>
                </c:pt>
                <c:pt idx="32">
                  <c:v>3.7003587400420606</c:v>
                </c:pt>
                <c:pt idx="33">
                  <c:v>4.120692299793626</c:v>
                </c:pt>
                <c:pt idx="34">
                  <c:v>4.49858592439018</c:v>
                </c:pt>
                <c:pt idx="35">
                  <c:v>4.0784343362525615</c:v>
                </c:pt>
                <c:pt idx="36">
                  <c:v>3.883140720481721</c:v>
                </c:pt>
                <c:pt idx="37">
                  <c:v>4.067239430389987</c:v>
                </c:pt>
                <c:pt idx="38">
                  <c:v>4.651917338885091</c:v>
                </c:pt>
                <c:pt idx="39">
                  <c:v>4.752040322417226</c:v>
                </c:pt>
                <c:pt idx="40">
                  <c:v>4.1451788028606185</c:v>
                </c:pt>
                <c:pt idx="41">
                  <c:v>2.577236411254364</c:v>
                </c:pt>
                <c:pt idx="42">
                  <c:v>3.896103023513954</c:v>
                </c:pt>
                <c:pt idx="43">
                  <c:v>4.113153302104419</c:v>
                </c:pt>
                <c:pt idx="44">
                  <c:v>5.670442992660203</c:v>
                </c:pt>
                <c:pt idx="45">
                  <c:v>4.343677596621622</c:v>
                </c:pt>
                <c:pt idx="46">
                  <c:v>4.6744900713199975</c:v>
                </c:pt>
                <c:pt idx="47">
                  <c:v>4.28782372432717</c:v>
                </c:pt>
                <c:pt idx="48">
                  <c:v>4.30537934339509</c:v>
                </c:pt>
                <c:pt idx="49">
                  <c:v>3.7633111812903426</c:v>
                </c:pt>
                <c:pt idx="50">
                  <c:v>4.449375504600709</c:v>
                </c:pt>
                <c:pt idx="51">
                  <c:v>4.4950925398606145</c:v>
                </c:pt>
                <c:pt idx="52">
                  <c:v>3.044458415462344</c:v>
                </c:pt>
                <c:pt idx="53">
                  <c:v>2.9377964160540517</c:v>
                </c:pt>
                <c:pt idx="54">
                  <c:v>5.061552038983593</c:v>
                </c:pt>
              </c:numCache>
            </c:numRef>
          </c:xVal>
          <c:yVal>
            <c:numRef>
              <c:f>Sheet1!$B$133:$B$187</c:f>
              <c:numCache>
                <c:formatCode>General</c:formatCode>
                <c:ptCount val="55"/>
                <c:pt idx="0">
                  <c:v>0.003720746235856466</c:v>
                </c:pt>
                <c:pt idx="1">
                  <c:v>0.005028085714869501</c:v>
                </c:pt>
                <c:pt idx="2">
                  <c:v>0.0045947593386477725</c:v>
                </c:pt>
                <c:pt idx="3">
                  <c:v>0.004640245692762252</c:v>
                </c:pt>
                <c:pt idx="4">
                  <c:v>0.003925009019662747</c:v>
                </c:pt>
                <c:pt idx="5">
                  <c:v>0.003847708797441165</c:v>
                </c:pt>
                <c:pt idx="6">
                  <c:v>0.004007275776051753</c:v>
                </c:pt>
                <c:pt idx="7">
                  <c:v>0.0038790444939898034</c:v>
                </c:pt>
                <c:pt idx="8">
                  <c:v>0.0038177525249840903</c:v>
                </c:pt>
                <c:pt idx="9">
                  <c:v>0.004089505006873918</c:v>
                </c:pt>
                <c:pt idx="10">
                  <c:v>0.003769733175437864</c:v>
                </c:pt>
                <c:pt idx="11">
                  <c:v>0.003968838869465715</c:v>
                </c:pt>
                <c:pt idx="12">
                  <c:v>0.0041786518350495645</c:v>
                </c:pt>
                <c:pt idx="13">
                  <c:v>0.00418316799246996</c:v>
                </c:pt>
                <c:pt idx="14">
                  <c:v>0.004432151274973119</c:v>
                </c:pt>
                <c:pt idx="15">
                  <c:v>0.004446258383494919</c:v>
                </c:pt>
                <c:pt idx="16">
                  <c:v>0.0035336712977197845</c:v>
                </c:pt>
                <c:pt idx="17">
                  <c:v>0.004161552249993787</c:v>
                </c:pt>
                <c:pt idx="18">
                  <c:v>0.0033337463362727924</c:v>
                </c:pt>
                <c:pt idx="19">
                  <c:v>0.0036082916879462035</c:v>
                </c:pt>
                <c:pt idx="20">
                  <c:v>0.003939719443584062</c:v>
                </c:pt>
                <c:pt idx="21">
                  <c:v>0.0037942947140458274</c:v>
                </c:pt>
                <c:pt idx="22">
                  <c:v>0.0033129583590898034</c:v>
                </c:pt>
                <c:pt idx="23">
                  <c:v>0.004029008773182598</c:v>
                </c:pt>
                <c:pt idx="24">
                  <c:v>0.0035532989359560296</c:v>
                </c:pt>
                <c:pt idx="25">
                  <c:v>0.00395995147727095</c:v>
                </c:pt>
                <c:pt idx="26">
                  <c:v>0.003818532783521775</c:v>
                </c:pt>
                <c:pt idx="27">
                  <c:v>0.004022020806099282</c:v>
                </c:pt>
                <c:pt idx="28">
                  <c:v>0.004409489893026414</c:v>
                </c:pt>
                <c:pt idx="29">
                  <c:v>0.004363911548711026</c:v>
                </c:pt>
                <c:pt idx="30">
                  <c:v>0.004346680008201959</c:v>
                </c:pt>
                <c:pt idx="31">
                  <c:v>0.00393485662498875</c:v>
                </c:pt>
                <c:pt idx="32">
                  <c:v>0.0041609917397717276</c:v>
                </c:pt>
                <c:pt idx="33">
                  <c:v>0.003927046877568188</c:v>
                </c:pt>
                <c:pt idx="34">
                  <c:v>0.003716722791178113</c:v>
                </c:pt>
                <c:pt idx="35">
                  <c:v>0.0039505663735214976</c:v>
                </c:pt>
                <c:pt idx="36">
                  <c:v>0.004059260854299438</c:v>
                </c:pt>
                <c:pt idx="37">
                  <c:v>0.003956797117293062</c:v>
                </c:pt>
                <c:pt idx="38">
                  <c:v>0.0036313831940812578</c:v>
                </c:pt>
                <c:pt idx="39">
                  <c:v>0.0035756577897150758</c:v>
                </c:pt>
                <c:pt idx="40">
                  <c:v>0.0039134184354584515</c:v>
                </c:pt>
                <c:pt idx="41">
                  <c:v>0.00478608743425125</c:v>
                </c:pt>
                <c:pt idx="42">
                  <c:v>0.0040520464310720644</c:v>
                </c:pt>
                <c:pt idx="43">
                  <c:v>0.003931242854155442</c:v>
                </c:pt>
                <c:pt idx="44">
                  <c:v>0.003064502824443344</c:v>
                </c:pt>
                <c:pt idx="45">
                  <c:v>0.0038029400501935844</c:v>
                </c:pt>
                <c:pt idx="46">
                  <c:v>0.003618819898440142</c:v>
                </c:pt>
                <c:pt idx="47">
                  <c:v>0.003834026615028385</c:v>
                </c:pt>
                <c:pt idx="48">
                  <c:v>0.003824255691940136</c:v>
                </c:pt>
                <c:pt idx="49">
                  <c:v>0.004125954327574828</c:v>
                </c:pt>
                <c:pt idx="50">
                  <c:v>0.003744111812610117</c:v>
                </c:pt>
                <c:pt idx="51">
                  <c:v>0.0037186671026503545</c:v>
                </c:pt>
                <c:pt idx="52">
                  <c:v>0.004526045891393001</c:v>
                </c:pt>
                <c:pt idx="53">
                  <c:v>0.004585410712913974</c:v>
                </c:pt>
                <c:pt idx="54">
                  <c:v>0.00340339299143131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803493449781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572595406066618</c:v>
                </c:pt>
                <c:pt idx="1">
                  <c:v>0.21609796992481203</c:v>
                </c:pt>
                <c:pt idx="2">
                  <c:v>0.20359798142646612</c:v>
                </c:pt>
                <c:pt idx="3">
                  <c:v>0.23514520983918125</c:v>
                </c:pt>
                <c:pt idx="4">
                  <c:v>0.21864200096542818</c:v>
                </c:pt>
                <c:pt idx="5">
                  <c:v>0.19684241932868493</c:v>
                </c:pt>
                <c:pt idx="6">
                  <c:v>0.18916428240791766</c:v>
                </c:pt>
                <c:pt idx="7">
                  <c:v>0.18191952266803896</c:v>
                </c:pt>
                <c:pt idx="8">
                  <c:v>0.15161664673839217</c:v>
                </c:pt>
                <c:pt idx="9">
                  <c:v>0.1810254852358644</c:v>
                </c:pt>
                <c:pt idx="10">
                  <c:v>0.1939344063314294</c:v>
                </c:pt>
                <c:pt idx="11">
                  <c:v>0.19564396758166477</c:v>
                </c:pt>
                <c:pt idx="12">
                  <c:v>0.20933688539335477</c:v>
                </c:pt>
                <c:pt idx="13">
                  <c:v>0.22349572659112812</c:v>
                </c:pt>
                <c:pt idx="14">
                  <c:v>0.20455619410993206</c:v>
                </c:pt>
                <c:pt idx="15">
                  <c:v>0.2061727755629581</c:v>
                </c:pt>
                <c:pt idx="16">
                  <c:v>0.2244288846934594</c:v>
                </c:pt>
                <c:pt idx="17">
                  <c:v>0.16777482846322272</c:v>
                </c:pt>
                <c:pt idx="18">
                  <c:v>0.21753010356994154</c:v>
                </c:pt>
                <c:pt idx="19">
                  <c:v>0.1973239879091535</c:v>
                </c:pt>
                <c:pt idx="20">
                  <c:v>0.2103694178186332</c:v>
                </c:pt>
                <c:pt idx="21">
                  <c:v>0.1607887953451064</c:v>
                </c:pt>
                <c:pt idx="22">
                  <c:v>0.16530455234149558</c:v>
                </c:pt>
                <c:pt idx="23">
                  <c:v>0.16692172360112376</c:v>
                </c:pt>
                <c:pt idx="24">
                  <c:v>0.19804414042338103</c:v>
                </c:pt>
                <c:pt idx="25">
                  <c:v>0.17261025206506306</c:v>
                </c:pt>
                <c:pt idx="26">
                  <c:v>0.1753146676331458</c:v>
                </c:pt>
                <c:pt idx="27">
                  <c:v>0.19430485612797233</c:v>
                </c:pt>
                <c:pt idx="28">
                  <c:v>0.178780159263993</c:v>
                </c:pt>
                <c:pt idx="29">
                  <c:v>0.19287846148092389</c:v>
                </c:pt>
                <c:pt idx="30">
                  <c:v>0.18476143556934943</c:v>
                </c:pt>
                <c:pt idx="31">
                  <c:v>0.16809669363876215</c:v>
                </c:pt>
                <c:pt idx="32">
                  <c:v>0.17943134000374042</c:v>
                </c:pt>
                <c:pt idx="33">
                  <c:v>0.18359687307167452</c:v>
                </c:pt>
                <c:pt idx="34">
                  <c:v>0.20107591313175538</c:v>
                </c:pt>
                <c:pt idx="35">
                  <c:v>0.22180162918849936</c:v>
                </c:pt>
                <c:pt idx="36">
                  <c:v>0.1910948362403653</c:v>
                </c:pt>
                <c:pt idx="37">
                  <c:v>0.19216095447929318</c:v>
                </c:pt>
                <c:pt idx="38">
                  <c:v>0.18004954219676195</c:v>
                </c:pt>
                <c:pt idx="39">
                  <c:v>0.1840990246586076</c:v>
                </c:pt>
                <c:pt idx="40">
                  <c:v>0.2355542778907421</c:v>
                </c:pt>
                <c:pt idx="41">
                  <c:v>0.2100393633673411</c:v>
                </c:pt>
                <c:pt idx="42">
                  <c:v>0.21519290045083894</c:v>
                </c:pt>
                <c:pt idx="43">
                  <c:v>0.19834448704150742</c:v>
                </c:pt>
                <c:pt idx="44">
                  <c:v>0.2263205807134923</c:v>
                </c:pt>
                <c:pt idx="45">
                  <c:v>0.22966175906363684</c:v>
                </c:pt>
                <c:pt idx="46">
                  <c:v>0.25370534819268714</c:v>
                </c:pt>
                <c:pt idx="47">
                  <c:v>0.213229207739366</c:v>
                </c:pt>
                <c:pt idx="48">
                  <c:v>0.26944786622389405</c:v>
                </c:pt>
                <c:pt idx="49">
                  <c:v>0.277589382606434</c:v>
                </c:pt>
                <c:pt idx="50">
                  <c:v>0.22856758616596723</c:v>
                </c:pt>
                <c:pt idx="51">
                  <c:v>0.1989063908326944</c:v>
                </c:pt>
                <c:pt idx="52">
                  <c:v>0.23749555734129263</c:v>
                </c:pt>
                <c:pt idx="53">
                  <c:v>0.23454108546972086</c:v>
                </c:pt>
                <c:pt idx="54">
                  <c:v>0.2355666788141225</c:v>
                </c:pt>
                <c:pt idx="55">
                  <c:v>0.23165994077098562</c:v>
                </c:pt>
                <c:pt idx="56">
                  <c:v>0.2266704714988035</c:v>
                </c:pt>
                <c:pt idx="57">
                  <c:v>0.22921698377071148</c:v>
                </c:pt>
                <c:pt idx="58">
                  <c:v>0.21228129069324517</c:v>
                </c:pt>
                <c:pt idx="59">
                  <c:v>0.2366743544934832</c:v>
                </c:pt>
                <c:pt idx="60">
                  <c:v>0.24524330761277768</c:v>
                </c:pt>
                <c:pt idx="61">
                  <c:v>0.2338385619690015</c:v>
                </c:pt>
                <c:pt idx="62">
                  <c:v>0.23734490055498647</c:v>
                </c:pt>
                <c:pt idx="63">
                  <c:v>0.24420765557241933</c:v>
                </c:pt>
                <c:pt idx="64">
                  <c:v>0.26144648884468197</c:v>
                </c:pt>
                <c:pt idx="65">
                  <c:v>0.21541639964172898</c:v>
                </c:pt>
                <c:pt idx="66">
                  <c:v>0.22709370739707704</c:v>
                </c:pt>
                <c:pt idx="67">
                  <c:v>0.24613481231592366</c:v>
                </c:pt>
                <c:pt idx="68">
                  <c:v>0.22032630803674558</c:v>
                </c:pt>
                <c:pt idx="69">
                  <c:v>0.2065513449694422</c:v>
                </c:pt>
                <c:pt idx="70">
                  <c:v>0.19769285200183837</c:v>
                </c:pt>
                <c:pt idx="71">
                  <c:v>0.2045277010911574</c:v>
                </c:pt>
                <c:pt idx="72">
                  <c:v>0.23519666119321292</c:v>
                </c:pt>
                <c:pt idx="73">
                  <c:v>0.21848219332840021</c:v>
                </c:pt>
                <c:pt idx="74">
                  <c:v>0.21292907219621818</c:v>
                </c:pt>
                <c:pt idx="75">
                  <c:v>0.2214310462143921</c:v>
                </c:pt>
                <c:pt idx="76">
                  <c:v>0.18524672084891178</c:v>
                </c:pt>
                <c:pt idx="77">
                  <c:v>0.19996936849573924</c:v>
                </c:pt>
                <c:pt idx="78">
                  <c:v>0.1876742926680864</c:v>
                </c:pt>
                <c:pt idx="79">
                  <c:v>0.17963428276776652</c:v>
                </c:pt>
                <c:pt idx="80">
                  <c:v>0.1778344825063555</c:v>
                </c:pt>
                <c:pt idx="81">
                  <c:v>0.19706994517840765</c:v>
                </c:pt>
                <c:pt idx="82">
                  <c:v>0.19049596022374146</c:v>
                </c:pt>
                <c:pt idx="83">
                  <c:v>0.18074831074420986</c:v>
                </c:pt>
                <c:pt idx="84">
                  <c:v>0.1750579259693195</c:v>
                </c:pt>
                <c:pt idx="85">
                  <c:v>0.16906821124183388</c:v>
                </c:pt>
                <c:pt idx="86">
                  <c:v>0.18369323759258552</c:v>
                </c:pt>
                <c:pt idx="87">
                  <c:v>0.1929200523408639</c:v>
                </c:pt>
                <c:pt idx="88">
                  <c:v>0.16664039370604852</c:v>
                </c:pt>
                <c:pt idx="89">
                  <c:v>0.16694311784002705</c:v>
                </c:pt>
                <c:pt idx="90">
                  <c:v>0.20877498960339336</c:v>
                </c:pt>
                <c:pt idx="91">
                  <c:v>0.20887417164362268</c:v>
                </c:pt>
                <c:pt idx="92">
                  <c:v>0.2066927591595763</c:v>
                </c:pt>
                <c:pt idx="93">
                  <c:v>0.19194326789533642</c:v>
                </c:pt>
                <c:pt idx="94">
                  <c:v>0.21311473989330562</c:v>
                </c:pt>
                <c:pt idx="95">
                  <c:v>0.19352597291350582</c:v>
                </c:pt>
                <c:pt idx="96">
                  <c:v>0.19591586797693847</c:v>
                </c:pt>
                <c:pt idx="97">
                  <c:v>0.21303481118845624</c:v>
                </c:pt>
                <c:pt idx="98">
                  <c:v>0.23398499185808144</c:v>
                </c:pt>
                <c:pt idx="99">
                  <c:v>0.218620616063962</c:v>
                </c:pt>
                <c:pt idx="100">
                  <c:v>0.22932631989343852</c:v>
                </c:pt>
                <c:pt idx="101">
                  <c:v>0.2315005821830962</c:v>
                </c:pt>
                <c:pt idx="102">
                  <c:v>0.2076142563661465</c:v>
                </c:pt>
                <c:pt idx="103">
                  <c:v>0.201495952913981</c:v>
                </c:pt>
                <c:pt idx="104">
                  <c:v>0.2157606608444799</c:v>
                </c:pt>
              </c:numCache>
            </c:numRef>
          </c:xVal>
          <c:yVal>
            <c:numRef>
              <c:f>Sheet1!$B$2:$B$106</c:f>
              <c:numCache>
                <c:formatCode>General</c:formatCode>
                <c:ptCount val="105"/>
                <c:pt idx="0">
                  <c:v>0.22296712802768165</c:v>
                </c:pt>
                <c:pt idx="1">
                  <c:v>0.2252983293556086</c:v>
                </c:pt>
                <c:pt idx="2">
                  <c:v>0.21428571428571427</c:v>
                </c:pt>
                <c:pt idx="3">
                  <c:v>0.21960326721120188</c:v>
                </c:pt>
                <c:pt idx="4">
                  <c:v>0.22428884026258206</c:v>
                </c:pt>
                <c:pt idx="5">
                  <c:v>0.2336199229172843</c:v>
                </c:pt>
                <c:pt idx="6">
                  <c:v>0.2686014201914171</c:v>
                </c:pt>
                <c:pt idx="7">
                  <c:v>0.2704980842911877</c:v>
                </c:pt>
                <c:pt idx="8">
                  <c:v>0.2760018009905448</c:v>
                </c:pt>
                <c:pt idx="9">
                  <c:v>0.2654718566227947</c:v>
                </c:pt>
                <c:pt idx="10">
                  <c:v>0.2692517749863463</c:v>
                </c:pt>
                <c:pt idx="11">
                  <c:v>0.24356435643564356</c:v>
                </c:pt>
                <c:pt idx="12">
                  <c:v>0.2305059887558054</c:v>
                </c:pt>
                <c:pt idx="13">
                  <c:v>0.223963133640553</c:v>
                </c:pt>
                <c:pt idx="14">
                  <c:v>0.22067097311939987</c:v>
                </c:pt>
                <c:pt idx="15">
                  <c:v>0.18942505133470225</c:v>
                </c:pt>
                <c:pt idx="16">
                  <c:v>0.18484001242621934</c:v>
                </c:pt>
                <c:pt idx="17">
                  <c:v>0.16711140760507004</c:v>
                </c:pt>
                <c:pt idx="18">
                  <c:v>0.15702795863653773</c:v>
                </c:pt>
                <c:pt idx="19">
                  <c:v>0.16336394393426776</c:v>
                </c:pt>
                <c:pt idx="20">
                  <c:v>0.1691524190614769</c:v>
                </c:pt>
                <c:pt idx="21">
                  <c:v>0.1621475054229935</c:v>
                </c:pt>
                <c:pt idx="22">
                  <c:v>0.19924098671726756</c:v>
                </c:pt>
                <c:pt idx="23">
                  <c:v>0.19221753398968588</c:v>
                </c:pt>
                <c:pt idx="24">
                  <c:v>0.19555182543013008</c:v>
                </c:pt>
                <c:pt idx="25">
                  <c:v>0.21047381546134664</c:v>
                </c:pt>
                <c:pt idx="26">
                  <c:v>0.23883318140382861</c:v>
                </c:pt>
                <c:pt idx="27">
                  <c:v>0.22721798474508229</c:v>
                </c:pt>
                <c:pt idx="28">
                  <c:v>0.2260583641594739</c:v>
                </c:pt>
                <c:pt idx="29">
                  <c:v>0.22870370370370371</c:v>
                </c:pt>
                <c:pt idx="30">
                  <c:v>0.2382404181184669</c:v>
                </c:pt>
                <c:pt idx="31">
                  <c:v>0.2361746361746362</c:v>
                </c:pt>
                <c:pt idx="32">
                  <c:v>0.2487785016286645</c:v>
                </c:pt>
                <c:pt idx="33">
                  <c:v>0.2637489202418658</c:v>
                </c:pt>
                <c:pt idx="34">
                  <c:v>0.24895166629883028</c:v>
                </c:pt>
                <c:pt idx="35">
                  <c:v>0.26185448262622385</c:v>
                </c:pt>
                <c:pt idx="36">
                  <c:v>0.22697083453652903</c:v>
                </c:pt>
                <c:pt idx="37">
                  <c:v>0.225759238931577</c:v>
                </c:pt>
                <c:pt idx="38">
                  <c:v>0.20760342899739098</c:v>
                </c:pt>
                <c:pt idx="39">
                  <c:v>0.19955323901712585</c:v>
                </c:pt>
                <c:pt idx="40">
                  <c:v>0.21830790568654646</c:v>
                </c:pt>
                <c:pt idx="41">
                  <c:v>0.1927795303189625</c:v>
                </c:pt>
                <c:pt idx="42">
                  <c:v>0.18770614692653673</c:v>
                </c:pt>
                <c:pt idx="43">
                  <c:v>0.18228187919463087</c:v>
                </c:pt>
                <c:pt idx="44">
                  <c:v>0.1941385736066407</c:v>
                </c:pt>
                <c:pt idx="45">
                  <c:v>0.20877192982456141</c:v>
                </c:pt>
                <c:pt idx="46">
                  <c:v>0.22004608294930875</c:v>
                </c:pt>
                <c:pt idx="47">
                  <c:v>0.19655941382605926</c:v>
                </c:pt>
                <c:pt idx="48">
                  <c:v>0.20157153770599148</c:v>
                </c:pt>
                <c:pt idx="49">
                  <c:v>0.2198908343375629</c:v>
                </c:pt>
                <c:pt idx="50">
                  <c:v>0.211495712924738</c:v>
                </c:pt>
                <c:pt idx="51">
                  <c:v>0.19513314967860423</c:v>
                </c:pt>
                <c:pt idx="52">
                  <c:v>0.19499744767738642</c:v>
                </c:pt>
                <c:pt idx="53">
                  <c:v>0.18393094289508632</c:v>
                </c:pt>
                <c:pt idx="54">
                  <c:v>0.18492975734355044</c:v>
                </c:pt>
                <c:pt idx="55">
                  <c:v>0.1806366047745358</c:v>
                </c:pt>
                <c:pt idx="56">
                  <c:v>0.17890716803760282</c:v>
                </c:pt>
                <c:pt idx="57">
                  <c:v>0.18328298086606243</c:v>
                </c:pt>
                <c:pt idx="58">
                  <c:v>0.21296703296703295</c:v>
                </c:pt>
                <c:pt idx="59">
                  <c:v>0.20263806348746194</c:v>
                </c:pt>
                <c:pt idx="60">
                  <c:v>0.21125598283545138</c:v>
                </c:pt>
                <c:pt idx="61">
                  <c:v>0.20458937198067634</c:v>
                </c:pt>
                <c:pt idx="62">
                  <c:v>0.21975203078238564</c:v>
                </c:pt>
                <c:pt idx="63">
                  <c:v>0.23140662894098626</c:v>
                </c:pt>
                <c:pt idx="64">
                  <c:v>0.21334792122538293</c:v>
                </c:pt>
                <c:pt idx="65">
                  <c:v>0.198727833461835</c:v>
                </c:pt>
                <c:pt idx="66">
                  <c:v>0.2020242914979757</c:v>
                </c:pt>
                <c:pt idx="67">
                  <c:v>0.17771393392160886</c:v>
                </c:pt>
                <c:pt idx="68">
                  <c:v>0.1641829393627955</c:v>
                </c:pt>
                <c:pt idx="69">
                  <c:v>0.16069668090699968</c:v>
                </c:pt>
                <c:pt idx="70">
                  <c:v>0.16136514247846256</c:v>
                </c:pt>
                <c:pt idx="71">
                  <c:v>0.1706379707916987</c:v>
                </c:pt>
                <c:pt idx="72">
                  <c:v>0.16599732262382866</c:v>
                </c:pt>
                <c:pt idx="73">
                  <c:v>0.16704035874439463</c:v>
                </c:pt>
                <c:pt idx="74">
                  <c:v>0.17046580773042616</c:v>
                </c:pt>
                <c:pt idx="75">
                  <c:v>0.18791946308724833</c:v>
                </c:pt>
                <c:pt idx="76">
                  <c:v>0.17807563427477263</c:v>
                </c:pt>
                <c:pt idx="77">
                  <c:v>0.16981132075471697</c:v>
                </c:pt>
                <c:pt idx="78">
                  <c:v>0.16556655665566555</c:v>
                </c:pt>
                <c:pt idx="79">
                  <c:v>0.14982844071673657</c:v>
                </c:pt>
                <c:pt idx="80">
                  <c:v>0.13626453488372092</c:v>
                </c:pt>
                <c:pt idx="81">
                  <c:v>0.1577192397465822</c:v>
                </c:pt>
                <c:pt idx="82">
                  <c:v>0.16024436090225563</c:v>
                </c:pt>
                <c:pt idx="83">
                  <c:v>0.16474291710388247</c:v>
                </c:pt>
                <c:pt idx="84">
                  <c:v>0.15587778353184878</c:v>
                </c:pt>
                <c:pt idx="85">
                  <c:v>0.18100757913508694</c:v>
                </c:pt>
                <c:pt idx="86">
                  <c:v>0.1963151207115629</c:v>
                </c:pt>
                <c:pt idx="87">
                  <c:v>0.20376266280752534</c:v>
                </c:pt>
                <c:pt idx="88">
                  <c:v>0.19917864476386038</c:v>
                </c:pt>
                <c:pt idx="89">
                  <c:v>0.19888991674375578</c:v>
                </c:pt>
                <c:pt idx="90">
                  <c:v>0.17649687220732796</c:v>
                </c:pt>
                <c:pt idx="91">
                  <c:v>0.16882556131260795</c:v>
                </c:pt>
                <c:pt idx="92">
                  <c:v>0.19168110918544193</c:v>
                </c:pt>
                <c:pt idx="93">
                  <c:v>0.17798041202296522</c:v>
                </c:pt>
                <c:pt idx="94">
                  <c:v>0.17783094098883573</c:v>
                </c:pt>
                <c:pt idx="95">
                  <c:v>0.1876790830945559</c:v>
                </c:pt>
                <c:pt idx="96">
                  <c:v>0.19962616822429907</c:v>
                </c:pt>
                <c:pt idx="97">
                  <c:v>0.2051054777521716</c:v>
                </c:pt>
                <c:pt idx="98">
                  <c:v>0.2043827611395179</c:v>
                </c:pt>
                <c:pt idx="99">
                  <c:v>0.199095591006155</c:v>
                </c:pt>
                <c:pt idx="100">
                  <c:v>0.2088791208791209</c:v>
                </c:pt>
                <c:pt idx="101">
                  <c:v>0.2133542812254517</c:v>
                </c:pt>
                <c:pt idx="102">
                  <c:v>0.19175055241836483</c:v>
                </c:pt>
                <c:pt idx="103">
                  <c:v>0.19398968378560216</c:v>
                </c:pt>
                <c:pt idx="104">
                  <c:v>0.189174560216508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3983537998239965</c:v>
                </c:pt>
                <c:pt idx="1">
                  <c:v>0.25694987113538115</c:v>
                </c:pt>
                <c:pt idx="2">
                  <c:v>0.2704448828162279</c:v>
                </c:pt>
                <c:pt idx="3">
                  <c:v>0.2411917317820884</c:v>
                </c:pt>
                <c:pt idx="4">
                  <c:v>0.19159507612164675</c:v>
                </c:pt>
                <c:pt idx="5">
                  <c:v>0.2434576687306656</c:v>
                </c:pt>
                <c:pt idx="6">
                  <c:v>0.20970037404156394</c:v>
                </c:pt>
                <c:pt idx="7">
                  <c:v>0.1811568102137457</c:v>
                </c:pt>
                <c:pt idx="8">
                  <c:v>0.22804174706356156</c:v>
                </c:pt>
                <c:pt idx="9">
                  <c:v>0.19605980958909874</c:v>
                </c:pt>
                <c:pt idx="10">
                  <c:v>0.1776454464430934</c:v>
                </c:pt>
                <c:pt idx="11">
                  <c:v>0.18182244319269167</c:v>
                </c:pt>
                <c:pt idx="12">
                  <c:v>0.19078814523094242</c:v>
                </c:pt>
                <c:pt idx="13">
                  <c:v>0.19495787343583834</c:v>
                </c:pt>
                <c:pt idx="14">
                  <c:v>0.2052603499893362</c:v>
                </c:pt>
                <c:pt idx="15">
                  <c:v>0.1978665216590109</c:v>
                </c:pt>
                <c:pt idx="16">
                  <c:v>0.1996636419054254</c:v>
                </c:pt>
                <c:pt idx="17">
                  <c:v>0.1970624610807445</c:v>
                </c:pt>
                <c:pt idx="18">
                  <c:v>0.15187694313935668</c:v>
                </c:pt>
                <c:pt idx="19">
                  <c:v>0.20793771944493689</c:v>
                </c:pt>
                <c:pt idx="20">
                  <c:v>0.18391632075957517</c:v>
                </c:pt>
                <c:pt idx="21">
                  <c:v>0.15480738042363798</c:v>
                </c:pt>
                <c:pt idx="22">
                  <c:v>0.16100938028042006</c:v>
                </c:pt>
                <c:pt idx="23">
                  <c:v>0.17910609884754108</c:v>
                </c:pt>
                <c:pt idx="24">
                  <c:v>0.18496721533041294</c:v>
                </c:pt>
                <c:pt idx="25">
                  <c:v>0.1599930402982072</c:v>
                </c:pt>
                <c:pt idx="26">
                  <c:v>0.1637515439848659</c:v>
                </c:pt>
                <c:pt idx="27">
                  <c:v>0.1680823396685928</c:v>
                </c:pt>
                <c:pt idx="28">
                  <c:v>0.18785358758744983</c:v>
                </c:pt>
                <c:pt idx="29">
                  <c:v>0.16918473461140995</c:v>
                </c:pt>
                <c:pt idx="30">
                  <c:v>0.16231325987343267</c:v>
                </c:pt>
                <c:pt idx="31">
                  <c:v>0.1559543777838946</c:v>
                </c:pt>
                <c:pt idx="32">
                  <c:v>0.19140855602004983</c:v>
                </c:pt>
                <c:pt idx="33">
                  <c:v>0.18292103873356336</c:v>
                </c:pt>
                <c:pt idx="34">
                  <c:v>0.20769011076410246</c:v>
                </c:pt>
                <c:pt idx="35">
                  <c:v>0.19137178973679106</c:v>
                </c:pt>
                <c:pt idx="36">
                  <c:v>0.15892777901504143</c:v>
                </c:pt>
                <c:pt idx="37">
                  <c:v>0.15841185969656002</c:v>
                </c:pt>
                <c:pt idx="38">
                  <c:v>0.1759659541738063</c:v>
                </c:pt>
                <c:pt idx="39">
                  <c:v>0.1760768701014579</c:v>
                </c:pt>
                <c:pt idx="40">
                  <c:v>0.18277102936404932</c:v>
                </c:pt>
                <c:pt idx="41">
                  <c:v>0.18903065209970593</c:v>
                </c:pt>
                <c:pt idx="42">
                  <c:v>0.19646492308099386</c:v>
                </c:pt>
                <c:pt idx="43">
                  <c:v>0.21697412377789402</c:v>
                </c:pt>
                <c:pt idx="44">
                  <c:v>0.18426326243550897</c:v>
                </c:pt>
                <c:pt idx="45">
                  <c:v>0.19638718637936184</c:v>
                </c:pt>
                <c:pt idx="46">
                  <c:v>0.18980606593631946</c:v>
                </c:pt>
                <c:pt idx="47">
                  <c:v>0.17474048681652052</c:v>
                </c:pt>
                <c:pt idx="48">
                  <c:v>0.16345308948896217</c:v>
                </c:pt>
                <c:pt idx="49">
                  <c:v>0.20492395050234696</c:v>
                </c:pt>
                <c:pt idx="50">
                  <c:v>0.21147032678708513</c:v>
                </c:pt>
                <c:pt idx="51">
                  <c:v>0.18500660850210857</c:v>
                </c:pt>
              </c:numCache>
            </c:numRef>
          </c:xVal>
          <c:yVal>
            <c:numRef>
              <c:f>Sheet1!$B$109:$B$160</c:f>
              <c:numCache>
                <c:formatCode>General</c:formatCode>
                <c:ptCount val="52"/>
                <c:pt idx="0">
                  <c:v>0.191333175467677</c:v>
                </c:pt>
                <c:pt idx="1">
                  <c:v>0.18499874150515982</c:v>
                </c:pt>
                <c:pt idx="2">
                  <c:v>0.20340106007067138</c:v>
                </c:pt>
                <c:pt idx="3">
                  <c:v>0.22463244155218126</c:v>
                </c:pt>
                <c:pt idx="4">
                  <c:v>0.21202213279678067</c:v>
                </c:pt>
                <c:pt idx="5">
                  <c:v>0.21392016376663256</c:v>
                </c:pt>
                <c:pt idx="6">
                  <c:v>0.2353450140601341</c:v>
                </c:pt>
                <c:pt idx="7">
                  <c:v>0.23295944779982744</c:v>
                </c:pt>
                <c:pt idx="8">
                  <c:v>0.2271021021021021</c:v>
                </c:pt>
                <c:pt idx="9">
                  <c:v>0.2303485987696514</c:v>
                </c:pt>
                <c:pt idx="10">
                  <c:v>0.2352</c:v>
                </c:pt>
                <c:pt idx="11">
                  <c:v>0.22851919561243145</c:v>
                </c:pt>
                <c:pt idx="12">
                  <c:v>0.23013827044762128</c:v>
                </c:pt>
                <c:pt idx="13">
                  <c:v>0.22103658536585366</c:v>
                </c:pt>
                <c:pt idx="14">
                  <c:v>0.22444381864263588</c:v>
                </c:pt>
                <c:pt idx="15">
                  <c:v>0.21129441624365483</c:v>
                </c:pt>
                <c:pt idx="16">
                  <c:v>0.2079172610556348</c:v>
                </c:pt>
                <c:pt idx="17">
                  <c:v>0.20647149460708783</c:v>
                </c:pt>
                <c:pt idx="18">
                  <c:v>0.2076958738989337</c:v>
                </c:pt>
                <c:pt idx="19">
                  <c:v>0.20163020163020162</c:v>
                </c:pt>
                <c:pt idx="20">
                  <c:v>0.19196865817825662</c:v>
                </c:pt>
                <c:pt idx="21">
                  <c:v>0.2096168294515402</c:v>
                </c:pt>
                <c:pt idx="22">
                  <c:v>0.18831168831168832</c:v>
                </c:pt>
                <c:pt idx="23">
                  <c:v>0.19840213049267644</c:v>
                </c:pt>
                <c:pt idx="24">
                  <c:v>0.20033575825405708</c:v>
                </c:pt>
                <c:pt idx="25">
                  <c:v>0.19685497961560863</c:v>
                </c:pt>
                <c:pt idx="26">
                  <c:v>0.18927282104177412</c:v>
                </c:pt>
                <c:pt idx="27">
                  <c:v>0.19493006993006992</c:v>
                </c:pt>
                <c:pt idx="28">
                  <c:v>0.18679378531073446</c:v>
                </c:pt>
                <c:pt idx="29">
                  <c:v>0.1991701244813278</c:v>
                </c:pt>
                <c:pt idx="30">
                  <c:v>0.19549929676511954</c:v>
                </c:pt>
                <c:pt idx="31">
                  <c:v>0.2071290944123314</c:v>
                </c:pt>
                <c:pt idx="32">
                  <c:v>0.19129720853858784</c:v>
                </c:pt>
                <c:pt idx="33">
                  <c:v>0.2021021021021021</c:v>
                </c:pt>
                <c:pt idx="34">
                  <c:v>0.2230308219178082</c:v>
                </c:pt>
                <c:pt idx="35">
                  <c:v>0.20384294068504594</c:v>
                </c:pt>
                <c:pt idx="36">
                  <c:v>0.20851063829787234</c:v>
                </c:pt>
                <c:pt idx="37">
                  <c:v>0.20357310766337564</c:v>
                </c:pt>
                <c:pt idx="38">
                  <c:v>0.20180270405608414</c:v>
                </c:pt>
                <c:pt idx="39">
                  <c:v>0.2159827213822894</c:v>
                </c:pt>
                <c:pt idx="40">
                  <c:v>0.18936605316973415</c:v>
                </c:pt>
                <c:pt idx="41">
                  <c:v>0.18884615384615386</c:v>
                </c:pt>
                <c:pt idx="42">
                  <c:v>0.19863013698630136</c:v>
                </c:pt>
                <c:pt idx="43">
                  <c:v>0.17987987987987988</c:v>
                </c:pt>
                <c:pt idx="44">
                  <c:v>0.18468127991937516</c:v>
                </c:pt>
                <c:pt idx="45">
                  <c:v>0.20555555555555555</c:v>
                </c:pt>
                <c:pt idx="46">
                  <c:v>0.20611880303707011</c:v>
                </c:pt>
                <c:pt idx="47">
                  <c:v>0.2171176840780365</c:v>
                </c:pt>
                <c:pt idx="48">
                  <c:v>0.2047071702244116</c:v>
                </c:pt>
                <c:pt idx="49">
                  <c:v>0.21236791962584445</c:v>
                </c:pt>
                <c:pt idx="50">
                  <c:v>0.2196225582165324</c:v>
                </c:pt>
                <c:pt idx="51">
                  <c:v>0.20885122410546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723400014490038</c:v>
                </c:pt>
              </c:numCache>
            </c:numRef>
          </c:xVal>
          <c:yVal>
            <c:numRef>
              <c:f>Sheet1!$B$163:$B$164</c:f>
              <c:numCache>
                <c:formatCode>General</c:formatCode>
                <c:ptCount val="2"/>
                <c:pt idx="0">
                  <c:v>0.2394627230592469</c:v>
                </c:pt>
                <c:pt idx="1">
                  <c:v>0.23946272305924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723400014490038</c:v>
                </c:pt>
                <c:pt idx="1">
                  <c:v>0.7723400014490038</c:v>
                </c:pt>
              </c:numCache>
            </c:numRef>
          </c:xVal>
          <c:yVal>
            <c:numRef>
              <c:f>Sheet1!$B$167:$B$168</c:f>
              <c:numCache>
                <c:formatCode>General</c:formatCode>
                <c:ptCount val="2"/>
                <c:pt idx="0">
                  <c:v>0.23946272305924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5215242387055407</c:v>
                </c:pt>
              </c:numCache>
            </c:numRef>
          </c:xVal>
          <c:yVal>
            <c:numRef>
              <c:f>Sheet1!$B$171:$B$172</c:f>
              <c:numCache>
                <c:formatCode>General</c:formatCode>
                <c:ptCount val="2"/>
                <c:pt idx="0">
                  <c:v>0.2158677849156541</c:v>
                </c:pt>
                <c:pt idx="1">
                  <c:v>0.215867784915654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5215242387055407</c:v>
                </c:pt>
                <c:pt idx="1">
                  <c:v>0.35215242387055407</c:v>
                </c:pt>
              </c:numCache>
            </c:numRef>
          </c:xVal>
          <c:yVal>
            <c:numRef>
              <c:f>Sheet1!$B$175:$B$176</c:f>
              <c:numCache>
                <c:formatCode>General</c:formatCode>
                <c:ptCount val="2"/>
                <c:pt idx="0">
                  <c:v>0.21586778491565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303513520423492</c:v>
                </c:pt>
              </c:numCache>
            </c:numRef>
          </c:xVal>
          <c:yVal>
            <c:numRef>
              <c:f>Sheet1!$B$179:$B$180</c:f>
              <c:numCache>
                <c:formatCode>General</c:formatCode>
                <c:ptCount val="2"/>
                <c:pt idx="0">
                  <c:v>0.20244054923281893</c:v>
                </c:pt>
                <c:pt idx="1">
                  <c:v>0.202440549232818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303513520423492</c:v>
                </c:pt>
                <c:pt idx="1">
                  <c:v>0.11303513520423492</c:v>
                </c:pt>
              </c:numCache>
            </c:numRef>
          </c:xVal>
          <c:yVal>
            <c:numRef>
              <c:f>Sheet1!$B$183:$B$184</c:f>
              <c:numCache>
                <c:formatCode>General</c:formatCode>
                <c:ptCount val="2"/>
                <c:pt idx="0">
                  <c:v>0.202440549232818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3983537998239965</c:v>
                </c:pt>
                <c:pt idx="1">
                  <c:v>0.25694987113538115</c:v>
                </c:pt>
                <c:pt idx="2">
                  <c:v>0.2704448828162279</c:v>
                </c:pt>
                <c:pt idx="3">
                  <c:v>0.2411917317820884</c:v>
                </c:pt>
                <c:pt idx="4">
                  <c:v>0.19159507612164675</c:v>
                </c:pt>
                <c:pt idx="5">
                  <c:v>0.2434576687306656</c:v>
                </c:pt>
                <c:pt idx="6">
                  <c:v>0.20970037404156394</c:v>
                </c:pt>
                <c:pt idx="7">
                  <c:v>0.1811568102137457</c:v>
                </c:pt>
                <c:pt idx="8">
                  <c:v>0.22804174706356156</c:v>
                </c:pt>
                <c:pt idx="9">
                  <c:v>0.19605980958909874</c:v>
                </c:pt>
                <c:pt idx="10">
                  <c:v>0.1776454464430934</c:v>
                </c:pt>
                <c:pt idx="11">
                  <c:v>0.18182244319269167</c:v>
                </c:pt>
                <c:pt idx="12">
                  <c:v>0.19078814523094242</c:v>
                </c:pt>
                <c:pt idx="13">
                  <c:v>0.19495787343583834</c:v>
                </c:pt>
                <c:pt idx="14">
                  <c:v>0.2052603499893362</c:v>
                </c:pt>
                <c:pt idx="15">
                  <c:v>0.1978665216590109</c:v>
                </c:pt>
                <c:pt idx="16">
                  <c:v>0.1996636419054254</c:v>
                </c:pt>
                <c:pt idx="17">
                  <c:v>0.1970624610807445</c:v>
                </c:pt>
                <c:pt idx="18">
                  <c:v>0.15187694313935668</c:v>
                </c:pt>
                <c:pt idx="19">
                  <c:v>0.20793771944493689</c:v>
                </c:pt>
                <c:pt idx="20">
                  <c:v>0.18391632075957517</c:v>
                </c:pt>
                <c:pt idx="21">
                  <c:v>0.15480738042363798</c:v>
                </c:pt>
                <c:pt idx="22">
                  <c:v>0.16100938028042006</c:v>
                </c:pt>
                <c:pt idx="23">
                  <c:v>0.17910609884754108</c:v>
                </c:pt>
                <c:pt idx="24">
                  <c:v>0.18496721533041294</c:v>
                </c:pt>
                <c:pt idx="25">
                  <c:v>0.1599930402982072</c:v>
                </c:pt>
                <c:pt idx="26">
                  <c:v>0.1637515439848659</c:v>
                </c:pt>
                <c:pt idx="27">
                  <c:v>0.1680823396685928</c:v>
                </c:pt>
                <c:pt idx="28">
                  <c:v>0.18785358758744983</c:v>
                </c:pt>
                <c:pt idx="29">
                  <c:v>0.16918473461140995</c:v>
                </c:pt>
                <c:pt idx="30">
                  <c:v>0.16231325987343267</c:v>
                </c:pt>
                <c:pt idx="31">
                  <c:v>0.1559543777838946</c:v>
                </c:pt>
                <c:pt idx="32">
                  <c:v>0.19140855602004983</c:v>
                </c:pt>
                <c:pt idx="33">
                  <c:v>0.18292103873356336</c:v>
                </c:pt>
                <c:pt idx="34">
                  <c:v>0.20769011076410246</c:v>
                </c:pt>
                <c:pt idx="35">
                  <c:v>0.19137178973679106</c:v>
                </c:pt>
                <c:pt idx="36">
                  <c:v>0.15892777901504143</c:v>
                </c:pt>
                <c:pt idx="37">
                  <c:v>0.15841185969656002</c:v>
                </c:pt>
                <c:pt idx="38">
                  <c:v>0.1759659541738063</c:v>
                </c:pt>
                <c:pt idx="39">
                  <c:v>0.1760768701014579</c:v>
                </c:pt>
                <c:pt idx="40">
                  <c:v>0.18277102936404932</c:v>
                </c:pt>
                <c:pt idx="41">
                  <c:v>0.18903065209970593</c:v>
                </c:pt>
                <c:pt idx="42">
                  <c:v>0.19646492308099386</c:v>
                </c:pt>
                <c:pt idx="43">
                  <c:v>0.21697412377789402</c:v>
                </c:pt>
                <c:pt idx="44">
                  <c:v>0.18426326243550897</c:v>
                </c:pt>
                <c:pt idx="45">
                  <c:v>0.19638718637936184</c:v>
                </c:pt>
                <c:pt idx="46">
                  <c:v>0.18980606593631946</c:v>
                </c:pt>
                <c:pt idx="47">
                  <c:v>0.17474048681652052</c:v>
                </c:pt>
                <c:pt idx="48">
                  <c:v>0.16345308948896217</c:v>
                </c:pt>
                <c:pt idx="49">
                  <c:v>0.20492395050234696</c:v>
                </c:pt>
                <c:pt idx="50">
                  <c:v>0.21147032678708513</c:v>
                </c:pt>
                <c:pt idx="51">
                  <c:v>0.18500660850210857</c:v>
                </c:pt>
                <c:pt idx="52">
                  <c:v>0.35215242387055407</c:v>
                </c:pt>
                <c:pt idx="53">
                  <c:v>0.7723400014490038</c:v>
                </c:pt>
                <c:pt idx="54">
                  <c:v>0.11303513520423492</c:v>
                </c:pt>
              </c:numCache>
            </c:numRef>
          </c:xVal>
          <c:yVal>
            <c:numRef>
              <c:f>Sheet1!$B$187:$B$241</c:f>
              <c:numCache>
                <c:formatCode>General</c:formatCode>
                <c:ptCount val="55"/>
                <c:pt idx="0">
                  <c:v>0.20956080716470565</c:v>
                </c:pt>
                <c:pt idx="1">
                  <c:v>0.21052184309642183</c:v>
                </c:pt>
                <c:pt idx="2">
                  <c:v>0.2112796331474549</c:v>
                </c:pt>
                <c:pt idx="3">
                  <c:v>0.2096369708556911</c:v>
                </c:pt>
                <c:pt idx="4">
                  <c:v>0.20685195272359577</c:v>
                </c:pt>
                <c:pt idx="5">
                  <c:v>0.20976421079564142</c:v>
                </c:pt>
                <c:pt idx="6">
                  <c:v>0.2078686257698426</c:v>
                </c:pt>
                <c:pt idx="7">
                  <c:v>0.20626580917351112</c:v>
                </c:pt>
                <c:pt idx="8">
                  <c:v>0.20889855522281842</c:v>
                </c:pt>
                <c:pt idx="9">
                  <c:v>0.20710266244376233</c:v>
                </c:pt>
                <c:pt idx="10">
                  <c:v>0.20606863435114808</c:v>
                </c:pt>
                <c:pt idx="11">
                  <c:v>0.2063031866920353</c:v>
                </c:pt>
                <c:pt idx="12">
                  <c:v>0.20680664085463943</c:v>
                </c:pt>
                <c:pt idx="13">
                  <c:v>0.20704078504242598</c:v>
                </c:pt>
                <c:pt idx="14">
                  <c:v>0.20761930356600183</c:v>
                </c:pt>
                <c:pt idx="15">
                  <c:v>0.20720411537052075</c:v>
                </c:pt>
                <c:pt idx="16">
                  <c:v>0.20730502968430203</c:v>
                </c:pt>
                <c:pt idx="17">
                  <c:v>0.20715896467920988</c:v>
                </c:pt>
                <c:pt idx="18">
                  <c:v>0.20462164668671357</c:v>
                </c:pt>
                <c:pt idx="19">
                  <c:v>0.20776964681759558</c:v>
                </c:pt>
                <c:pt idx="20">
                  <c:v>0.2064207649221096</c:v>
                </c:pt>
                <c:pt idx="21">
                  <c:v>0.20478620054348098</c:v>
                </c:pt>
                <c:pt idx="22">
                  <c:v>0.20513446358312315</c:v>
                </c:pt>
                <c:pt idx="23">
                  <c:v>0.20615065487000978</c:v>
                </c:pt>
                <c:pt idx="24">
                  <c:v>0.20647977616784238</c:v>
                </c:pt>
                <c:pt idx="25">
                  <c:v>0.20507739269313782</c:v>
                </c:pt>
                <c:pt idx="26">
                  <c:v>0.20528844524854714</c:v>
                </c:pt>
                <c:pt idx="27">
                  <c:v>0.20553163391409257</c:v>
                </c:pt>
                <c:pt idx="28">
                  <c:v>0.20664185562591836</c:v>
                </c:pt>
                <c:pt idx="29">
                  <c:v>0.20559353707799732</c:v>
                </c:pt>
                <c:pt idx="30">
                  <c:v>0.20520768078416732</c:v>
                </c:pt>
                <c:pt idx="31">
                  <c:v>0.2048506082823344</c:v>
                </c:pt>
                <c:pt idx="32">
                  <c:v>0.2068414789959214</c:v>
                </c:pt>
                <c:pt idx="33">
                  <c:v>0.2063648765068106</c:v>
                </c:pt>
                <c:pt idx="34">
                  <c:v>0.20775574276183606</c:v>
                </c:pt>
                <c:pt idx="35">
                  <c:v>0.20683941444612136</c:v>
                </c:pt>
                <c:pt idx="36">
                  <c:v>0.20501757470844653</c:v>
                </c:pt>
                <c:pt idx="37">
                  <c:v>0.2049886041127978</c:v>
                </c:pt>
                <c:pt idx="38">
                  <c:v>0.2059743252417859</c:v>
                </c:pt>
                <c:pt idx="39">
                  <c:v>0.20598055354217298</c:v>
                </c:pt>
                <c:pt idx="40">
                  <c:v>0.2063564529788828</c:v>
                </c:pt>
                <c:pt idx="41">
                  <c:v>0.2067079517359408</c:v>
                </c:pt>
                <c:pt idx="42">
                  <c:v>0.20712541092156714</c:v>
                </c:pt>
                <c:pt idx="43">
                  <c:v>0.20827707115056937</c:v>
                </c:pt>
                <c:pt idx="44">
                  <c:v>0.20644024685784473</c:v>
                </c:pt>
                <c:pt idx="45">
                  <c:v>0.20712104574571624</c:v>
                </c:pt>
                <c:pt idx="46">
                  <c:v>0.2067514938168753</c:v>
                </c:pt>
                <c:pt idx="47">
                  <c:v>0.20590551115009192</c:v>
                </c:pt>
                <c:pt idx="48">
                  <c:v>0.20527168603017587</c:v>
                </c:pt>
                <c:pt idx="49">
                  <c:v>0.20760041360944292</c:v>
                </c:pt>
                <c:pt idx="50">
                  <c:v>0.20796801453756472</c:v>
                </c:pt>
                <c:pt idx="51">
                  <c:v>0.2064819882262159</c:v>
                </c:pt>
                <c:pt idx="52">
                  <c:v>0.2158677849156541</c:v>
                </c:pt>
                <c:pt idx="53">
                  <c:v>0.2394627230592469</c:v>
                </c:pt>
                <c:pt idx="54">
                  <c:v>0.202440549232818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12021611886537"/>
          <c:min val="0.109011627906976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4389815627743635</c:v>
                </c:pt>
                <c:pt idx="5">
                  <c:v>0.00036101083032490973</c:v>
                </c:pt>
                <c:pt idx="6">
                  <c:v>0.0</c:v>
                </c:pt>
                <c:pt idx="7">
                  <c:v>0.00032938076416337287</c:v>
                </c:pt>
                <c:pt idx="8">
                  <c:v>0.00031436655139893113</c:v>
                </c:pt>
                <c:pt idx="9">
                  <c:v>0.0002797202797202797</c:v>
                </c:pt>
                <c:pt idx="10">
                  <c:v>0.00027878449958182325</c:v>
                </c:pt>
                <c:pt idx="11">
                  <c:v>0.00029994001199760045</c:v>
                </c:pt>
                <c:pt idx="12">
                  <c:v>0.0003022061045633122</c:v>
                </c:pt>
                <c:pt idx="13">
                  <c:v>0.0007410151908114116</c:v>
                </c:pt>
                <c:pt idx="14">
                  <c:v>0.0004666355576294914</c:v>
                </c:pt>
                <c:pt idx="15">
                  <c:v>0.0009657170449058426</c:v>
                </c:pt>
                <c:pt idx="16">
                  <c:v>0.0005102040816326531</c:v>
                </c:pt>
                <c:pt idx="17">
                  <c:v>0.0006045949214026602</c:v>
                </c:pt>
                <c:pt idx="18">
                  <c:v>0.0005652911249293386</c:v>
                </c:pt>
                <c:pt idx="19">
                  <c:v>0.0019880715705765406</c:v>
                </c:pt>
                <c:pt idx="20">
                  <c:v>0.001226993865030675</c:v>
                </c:pt>
                <c:pt idx="21">
                  <c:v>0.0007267441860465116</c:v>
                </c:pt>
                <c:pt idx="22">
                  <c:v>0.003538570417551309</c:v>
                </c:pt>
                <c:pt idx="23">
                  <c:v>0.0008748906386701663</c:v>
                </c:pt>
                <c:pt idx="24">
                  <c:v>0.0054446460980036296</c:v>
                </c:pt>
                <c:pt idx="25">
                  <c:v>0.0007668711656441718</c:v>
                </c:pt>
                <c:pt idx="26">
                  <c:v>0.00247320692497939</c:v>
                </c:pt>
                <c:pt idx="27">
                  <c:v>0.004143646408839779</c:v>
                </c:pt>
                <c:pt idx="28">
                  <c:v>0.0017953321364452424</c:v>
                </c:pt>
                <c:pt idx="29">
                  <c:v>0.002973240832507433</c:v>
                </c:pt>
                <c:pt idx="30">
                  <c:v>0.004916420845624385</c:v>
                </c:pt>
                <c:pt idx="31">
                  <c:v>0.00463821892393321</c:v>
                </c:pt>
                <c:pt idx="32">
                  <c:v>0.0023148148148148147</c:v>
                </c:pt>
                <c:pt idx="33">
                  <c:v>0.0020891364902506965</c:v>
                </c:pt>
                <c:pt idx="34">
                  <c:v>0.005825242718446602</c:v>
                </c:pt>
                <c:pt idx="35">
                  <c:v>0.004132231404958678</c:v>
                </c:pt>
                <c:pt idx="36">
                  <c:v>0.003083247687564234</c:v>
                </c:pt>
                <c:pt idx="37">
                  <c:v>0.008733624454148471</c:v>
                </c:pt>
                <c:pt idx="38">
                  <c:v>0.004251700680272109</c:v>
                </c:pt>
                <c:pt idx="39">
                  <c:v>0.0037418147801683817</c:v>
                </c:pt>
                <c:pt idx="40">
                  <c:v>0.004633920296570899</c:v>
                </c:pt>
                <c:pt idx="41">
                  <c:v>0.0032743942370661427</c:v>
                </c:pt>
                <c:pt idx="42">
                  <c:v>0.002927400468384075</c:v>
                </c:pt>
                <c:pt idx="43">
                  <c:v>0.005246589716684155</c:v>
                </c:pt>
                <c:pt idx="44">
                  <c:v>0.006068487212830516</c:v>
                </c:pt>
                <c:pt idx="45">
                  <c:v>0.004349176762969867</c:v>
                </c:pt>
                <c:pt idx="46">
                  <c:v>0.0033425088478175385</c:v>
                </c:pt>
                <c:pt idx="47">
                  <c:v>0.005436893203883495</c:v>
                </c:pt>
                <c:pt idx="48">
                  <c:v>0.003911980440097799</c:v>
                </c:pt>
                <c:pt idx="49">
                  <c:v>0.003708281829419036</c:v>
                </c:pt>
                <c:pt idx="50">
                  <c:v>0.00320659642693541</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22192632046160675</c:v>
                </c:pt>
                <c:pt idx="1">
                  <c:v>0.004214963119072708</c:v>
                </c:pt>
                <c:pt idx="2">
                  <c:v>0.0034290612944706386</c:v>
                </c:pt>
                <c:pt idx="3">
                  <c:v>0.0034557235421166306</c:v>
                </c:pt>
                <c:pt idx="4">
                  <c:v>0.002377179080824089</c:v>
                </c:pt>
                <c:pt idx="5">
                  <c:v>0.0023828435266084196</c:v>
                </c:pt>
                <c:pt idx="6">
                  <c:v>0.0027845457709711106</c:v>
                </c:pt>
                <c:pt idx="7">
                  <c:v>0.003049813622500847</c:v>
                </c:pt>
                <c:pt idx="8">
                  <c:v>0.004009355162044771</c:v>
                </c:pt>
                <c:pt idx="9">
                  <c:v>0.00351288056206089</c:v>
                </c:pt>
                <c:pt idx="10">
                  <c:v>0.0031665611146295125</c:v>
                </c:pt>
                <c:pt idx="11">
                  <c:v>0.003416557161629435</c:v>
                </c:pt>
                <c:pt idx="12">
                  <c:v>0.00338409475465313</c:v>
                </c:pt>
                <c:pt idx="13">
                  <c:v>0.004930966469428008</c:v>
                </c:pt>
                <c:pt idx="14">
                  <c:v>0.005472455308281649</c:v>
                </c:pt>
                <c:pt idx="15">
                  <c:v>0.005766062602965404</c:v>
                </c:pt>
                <c:pt idx="16">
                  <c:v>0.0034296913277804997</c:v>
                </c:pt>
                <c:pt idx="17">
                  <c:v>0.004206098843322818</c:v>
                </c:pt>
                <c:pt idx="18">
                  <c:v>0.0032912781130005485</c:v>
                </c:pt>
                <c:pt idx="19">
                  <c:v>0.0033738191632928477</c:v>
                </c:pt>
                <c:pt idx="20">
                  <c:v>0.004208754208754209</c:v>
                </c:pt>
                <c:pt idx="21">
                  <c:v>0.004777070063694267</c:v>
                </c:pt>
                <c:pt idx="22">
                  <c:v>0.0036258158085569255</c:v>
                </c:pt>
                <c:pt idx="23">
                  <c:v>0.0035739814152966403</c:v>
                </c:pt>
                <c:pt idx="24">
                  <c:v>0.003654970760233918</c:v>
                </c:pt>
                <c:pt idx="25">
                  <c:v>0.0037650602409638554</c:v>
                </c:pt>
                <c:pt idx="26">
                  <c:v>0.004071661237785016</c:v>
                </c:pt>
                <c:pt idx="27">
                  <c:v>0.004570383912248629</c:v>
                </c:pt>
                <c:pt idx="28">
                  <c:v>0.004574565416285453</c:v>
                </c:pt>
                <c:pt idx="29">
                  <c:v>0.006097560975609756</c:v>
                </c:pt>
                <c:pt idx="30">
                  <c:v>0.004119464469618949</c:v>
                </c:pt>
                <c:pt idx="31">
                  <c:v>0.004790419161676647</c:v>
                </c:pt>
                <c:pt idx="32">
                  <c:v>0.005500550055005501</c:v>
                </c:pt>
                <c:pt idx="33">
                  <c:v>0.004827031375703942</c:v>
                </c:pt>
                <c:pt idx="34">
                  <c:v>0.00408997955010225</c:v>
                </c:pt>
                <c:pt idx="35">
                  <c:v>0.0040128410914927765</c:v>
                </c:pt>
                <c:pt idx="36">
                  <c:v>0.006376195536663124</c:v>
                </c:pt>
                <c:pt idx="37">
                  <c:v>0.006741573033707865</c:v>
                </c:pt>
                <c:pt idx="38">
                  <c:v>0.006550218340611353</c:v>
                </c:pt>
                <c:pt idx="39">
                  <c:v>0.005649717514124294</c:v>
                </c:pt>
                <c:pt idx="40">
                  <c:v>0.004071661237785016</c:v>
                </c:pt>
                <c:pt idx="41">
                  <c:v>0.005115089514066497</c:v>
                </c:pt>
                <c:pt idx="42">
                  <c:v>0.004647560030983733</c:v>
                </c:pt>
                <c:pt idx="43">
                  <c:v>0.004638833664678595</c:v>
                </c:pt>
                <c:pt idx="44">
                  <c:v>0.0027662517289073307</c:v>
                </c:pt>
                <c:pt idx="45">
                  <c:v>0.002793296089385475</c:v>
                </c:pt>
                <c:pt idx="46">
                  <c:v>0.002827521206409048</c:v>
                </c:pt>
                <c:pt idx="47">
                  <c:v>0.00264783759929391</c:v>
                </c:pt>
                <c:pt idx="48">
                  <c:v>0.0025684931506849314</c:v>
                </c:pt>
                <c:pt idx="49">
                  <c:v>0.002178649237472767</c:v>
                </c:pt>
                <c:pt idx="50">
                  <c:v>0.0018882175226586104</c:v>
                </c:pt>
                <c:pt idx="51">
                  <c:v>0.0024509803921568627</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509.351726291408</c:v>
                </c:pt>
              </c:numCache>
            </c:numRef>
          </c:xVal>
          <c:yVal>
            <c:numRef>
              <c:f>Sheet1!$B$109:$B$110</c:f>
              <c:numCache>
                <c:formatCode>General</c:formatCode>
                <c:ptCount val="2"/>
                <c:pt idx="0">
                  <c:v>0.004585410712913974</c:v>
                </c:pt>
                <c:pt idx="1">
                  <c:v>0.004585410712913974</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509.351726291408</c:v>
                </c:pt>
                <c:pt idx="1">
                  <c:v>3509.351726291408</c:v>
                </c:pt>
              </c:numCache>
            </c:numRef>
          </c:xVal>
          <c:yVal>
            <c:numRef>
              <c:f>Sheet1!$B$113:$B$114</c:f>
              <c:numCache>
                <c:formatCode>General</c:formatCode>
                <c:ptCount val="2"/>
                <c:pt idx="0">
                  <c:v>0.0045854107129139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569.5473256862297</c:v>
                </c:pt>
              </c:numCache>
            </c:numRef>
          </c:xVal>
          <c:yVal>
            <c:numRef>
              <c:f>Sheet1!$B$117:$B$118</c:f>
              <c:numCache>
                <c:formatCode>General</c:formatCode>
                <c:ptCount val="2"/>
                <c:pt idx="0">
                  <c:v>0.004526045891393001</c:v>
                </c:pt>
                <c:pt idx="1">
                  <c:v>0.004526045891393001</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569.5473256862297</c:v>
                </c:pt>
                <c:pt idx="1">
                  <c:v>3569.5473256862297</c:v>
                </c:pt>
              </c:numCache>
            </c:numRef>
          </c:xVal>
          <c:yVal>
            <c:numRef>
              <c:f>Sheet1!$B$121:$B$122</c:f>
              <c:numCache>
                <c:formatCode>General</c:formatCode>
                <c:ptCount val="2"/>
                <c:pt idx="0">
                  <c:v>0.00452604589139300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707.911132636338</c:v>
                </c:pt>
              </c:numCache>
            </c:numRef>
          </c:xVal>
          <c:yVal>
            <c:numRef>
              <c:f>Sheet1!$B$125:$B$126</c:f>
              <c:numCache>
                <c:formatCode>General</c:formatCode>
                <c:ptCount val="2"/>
                <c:pt idx="0">
                  <c:v>0.0034033929914313132</c:v>
                </c:pt>
                <c:pt idx="1">
                  <c:v>0.0034033929914313132</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707.911132636338</c:v>
                </c:pt>
                <c:pt idx="1">
                  <c:v>4707.911132636338</c:v>
                </c:pt>
              </c:numCache>
            </c:numRef>
          </c:xVal>
          <c:yVal>
            <c:numRef>
              <c:f>Sheet1!$B$129:$B$130</c:f>
              <c:numCache>
                <c:formatCode>General</c:formatCode>
                <c:ptCount val="2"/>
                <c:pt idx="0">
                  <c:v>0.00340339299143131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569.5473256862297</c:v>
                </c:pt>
                <c:pt idx="53">
                  <c:v>3509.351726291408</c:v>
                </c:pt>
                <c:pt idx="54">
                  <c:v>4707.911132636338</c:v>
                </c:pt>
              </c:numCache>
            </c:numRef>
          </c:xVal>
          <c:yVal>
            <c:numRef>
              <c:f>Sheet1!$B$133:$B$187</c:f>
              <c:numCache>
                <c:formatCode>General</c:formatCode>
                <c:ptCount val="55"/>
                <c:pt idx="0">
                  <c:v>0.002382984181513133</c:v>
                </c:pt>
                <c:pt idx="1">
                  <c:v>0.005397275835429698</c:v>
                </c:pt>
                <c:pt idx="2">
                  <c:v>0.004428335618358391</c:v>
                </c:pt>
                <c:pt idx="3">
                  <c:v>0.004701142832147042</c:v>
                </c:pt>
                <c:pt idx="4">
                  <c:v>0.002955735542699685</c:v>
                </c:pt>
                <c:pt idx="5">
                  <c:v>0.0032787156150567874</c:v>
                </c:pt>
                <c:pt idx="6">
                  <c:v>0.0039390577911884135</c:v>
                </c:pt>
                <c:pt idx="7">
                  <c:v>0.00403173305212141</c:v>
                </c:pt>
                <c:pt idx="8">
                  <c:v>0.0040126939932301426</c:v>
                </c:pt>
                <c:pt idx="9">
                  <c:v>0.004168595537268156</c:v>
                </c:pt>
                <c:pt idx="10">
                  <c:v>0.0036415709550769023</c:v>
                </c:pt>
                <c:pt idx="11">
                  <c:v>0.004095996125913661</c:v>
                </c:pt>
                <c:pt idx="12">
                  <c:v>0.0043609864329923155</c:v>
                </c:pt>
                <c:pt idx="13">
                  <c:v>0.004443350493477893</c:v>
                </c:pt>
                <c:pt idx="14">
                  <c:v>0.00476899330230939</c:v>
                </c:pt>
                <c:pt idx="15">
                  <c:v>0.004715090541659528</c:v>
                </c:pt>
                <c:pt idx="16">
                  <c:v>0.002853569993112339</c:v>
                </c:pt>
                <c:pt idx="17">
                  <c:v>0.0036136122220957606</c:v>
                </c:pt>
                <c:pt idx="18">
                  <c:v>0.0031833830417422153</c:v>
                </c:pt>
                <c:pt idx="19">
                  <c:v>0.0036009395688750313</c:v>
                </c:pt>
                <c:pt idx="20">
                  <c:v>0.0038129722881323656</c:v>
                </c:pt>
                <c:pt idx="21">
                  <c:v>0.004426486495806728</c:v>
                </c:pt>
                <c:pt idx="22">
                  <c:v>0.003032889121004219</c:v>
                </c:pt>
                <c:pt idx="23">
                  <c:v>0.004319878416961529</c:v>
                </c:pt>
                <c:pt idx="24">
                  <c:v>0.003775891217229688</c:v>
                </c:pt>
                <c:pt idx="25">
                  <c:v>0.0042530141454934015</c:v>
                </c:pt>
                <c:pt idx="26">
                  <c:v>0.003614746350594113</c:v>
                </c:pt>
                <c:pt idx="27">
                  <c:v>0.003868199415008695</c:v>
                </c:pt>
                <c:pt idx="28">
                  <c:v>0.004363073919768371</c:v>
                </c:pt>
                <c:pt idx="29">
                  <c:v>0.00454022804566683</c:v>
                </c:pt>
                <c:pt idx="30">
                  <c:v>0.004483686020071497</c:v>
                </c:pt>
                <c:pt idx="31">
                  <c:v>0.004028801872362448</c:v>
                </c:pt>
                <c:pt idx="32">
                  <c:v>0.004579840392757963</c:v>
                </c:pt>
                <c:pt idx="33">
                  <c:v>0.003894761000299735</c:v>
                </c:pt>
                <c:pt idx="34">
                  <c:v>0.0034481773911403286</c:v>
                </c:pt>
                <c:pt idx="35">
                  <c:v>0.004001533478467261</c:v>
                </c:pt>
                <c:pt idx="36">
                  <c:v>0.0042478201328305515</c:v>
                </c:pt>
                <c:pt idx="37">
                  <c:v>0.004262941911888508</c:v>
                </c:pt>
                <c:pt idx="38">
                  <c:v>0.003980889085341542</c:v>
                </c:pt>
                <c:pt idx="39">
                  <c:v>0.003975958091870441</c:v>
                </c:pt>
                <c:pt idx="40">
                  <c:v>0.0037297371183401843</c:v>
                </c:pt>
                <c:pt idx="41">
                  <c:v>0.0052583450943814326</c:v>
                </c:pt>
                <c:pt idx="42">
                  <c:v>0.004277734892301811</c:v>
                </c:pt>
                <c:pt idx="43">
                  <c:v>0.0042965196105498385</c:v>
                </c:pt>
                <c:pt idx="44">
                  <c:v>0.0024109429144942756</c:v>
                </c:pt>
                <c:pt idx="45">
                  <c:v>0.00345754627873542</c:v>
                </c:pt>
                <c:pt idx="46">
                  <c:v>0.004105807520862849</c:v>
                </c:pt>
                <c:pt idx="47">
                  <c:v>0.0033380518374124543</c:v>
                </c:pt>
                <c:pt idx="48">
                  <c:v>0.0038998563930931623</c:v>
                </c:pt>
                <c:pt idx="49">
                  <c:v>0.004187192384664935</c:v>
                </c:pt>
                <c:pt idx="50">
                  <c:v>0.003973919915029096</c:v>
                </c:pt>
                <c:pt idx="51">
                  <c:v>0.003624213858058627</c:v>
                </c:pt>
                <c:pt idx="52">
                  <c:v>0.004526045891393001</c:v>
                </c:pt>
                <c:pt idx="53">
                  <c:v>0.004585410712913974</c:v>
                </c:pt>
                <c:pt idx="54">
                  <c:v>0.00340339299143131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803493449781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15845303867403315</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numCache>
            </c:numRef>
          </c:xVal>
          <c:yVal>
            <c:numRef>
              <c:f>Sheet1!$B$2:$B$96</c:f>
              <c:numCache>
                <c:formatCode>General</c:formatCode>
                <c:ptCount val="95"/>
                <c:pt idx="0">
                  <c:v>0.5</c:v>
                </c:pt>
                <c:pt idx="1">
                  <c:v>0.5</c:v>
                </c:pt>
                <c:pt idx="2">
                  <c:v>0.5</c:v>
                </c:pt>
                <c:pt idx="3">
                  <c:v>0.47368421052631576</c:v>
                </c:pt>
                <c:pt idx="4">
                  <c:v>0.4</c:v>
                </c:pt>
                <c:pt idx="5">
                  <c:v>0.4</c:v>
                </c:pt>
                <c:pt idx="6">
                  <c:v>0.35294117647058826</c:v>
                </c:pt>
                <c:pt idx="7">
                  <c:v>0.35294117647058826</c:v>
                </c:pt>
                <c:pt idx="8">
                  <c:v>0.4</c:v>
                </c:pt>
                <c:pt idx="9">
                  <c:v>0.24</c:v>
                </c:pt>
                <c:pt idx="10">
                  <c:v>0.2857142857142857</c:v>
                </c:pt>
                <c:pt idx="11">
                  <c:v>0.17647058823529413</c:v>
                </c:pt>
                <c:pt idx="12">
                  <c:v>0.25</c:v>
                </c:pt>
                <c:pt idx="13">
                  <c:v>0.23529411764705882</c:v>
                </c:pt>
                <c:pt idx="14">
                  <c:v>0.35294117647058826</c:v>
                </c:pt>
                <c:pt idx="15">
                  <c:v>0.3076923076923077</c:v>
                </c:pt>
                <c:pt idx="16">
                  <c:v>0.2727272727272727</c:v>
                </c:pt>
                <c:pt idx="17">
                  <c:v>0.25</c:v>
                </c:pt>
                <c:pt idx="18">
                  <c:v>0.3333333333333333</c:v>
                </c:pt>
                <c:pt idx="19">
                  <c:v>0.2857142857142857</c:v>
                </c:pt>
                <c:pt idx="20">
                  <c:v>0.2857142857142857</c:v>
                </c:pt>
                <c:pt idx="21">
                  <c:v>0.2</c:v>
                </c:pt>
                <c:pt idx="22">
                  <c:v>0.5</c:v>
                </c:pt>
                <c:pt idx="23">
                  <c:v>0.25</c:v>
                </c:pt>
                <c:pt idx="24">
                  <c:v>0.4</c:v>
                </c:pt>
                <c:pt idx="25">
                  <c:v>0.16666666666666666</c:v>
                </c:pt>
                <c:pt idx="26">
                  <c:v>0.1</c:v>
                </c:pt>
                <c:pt idx="27">
                  <c:v>0.25</c:v>
                </c:pt>
                <c:pt idx="28">
                  <c:v>0.3333333333333333</c:v>
                </c:pt>
                <c:pt idx="29">
                  <c:v>0.5714285714285714</c:v>
                </c:pt>
                <c:pt idx="30">
                  <c:v>0.6666666666666666</c:v>
                </c:pt>
                <c:pt idx="31">
                  <c:v>0.6</c:v>
                </c:pt>
                <c:pt idx="32">
                  <c:v>0.5555555555555556</c:v>
                </c:pt>
                <c:pt idx="33">
                  <c:v>0.5</c:v>
                </c:pt>
                <c:pt idx="34">
                  <c:v>0.5454545454545454</c:v>
                </c:pt>
                <c:pt idx="35">
                  <c:v>0.5</c:v>
                </c:pt>
                <c:pt idx="36">
                  <c:v>0.5</c:v>
                </c:pt>
                <c:pt idx="37">
                  <c:v>0.47368421052631576</c:v>
                </c:pt>
                <c:pt idx="38">
                  <c:v>0.4</c:v>
                </c:pt>
                <c:pt idx="39">
                  <c:v>0.4375</c:v>
                </c:pt>
                <c:pt idx="40">
                  <c:v>0.4166666666666667</c:v>
                </c:pt>
                <c:pt idx="41">
                  <c:v>0.3</c:v>
                </c:pt>
                <c:pt idx="42">
                  <c:v>0.25</c:v>
                </c:pt>
                <c:pt idx="43">
                  <c:v>0.3</c:v>
                </c:pt>
                <c:pt idx="44">
                  <c:v>0.1111111111111111</c:v>
                </c:pt>
                <c:pt idx="45">
                  <c:v>0.1</c:v>
                </c:pt>
                <c:pt idx="46">
                  <c:v>0.05</c:v>
                </c:pt>
                <c:pt idx="47">
                  <c:v>0.17647058823529413</c:v>
                </c:pt>
                <c:pt idx="48">
                  <c:v>0.05</c:v>
                </c:pt>
                <c:pt idx="49">
                  <c:v>0.07142857142857142</c:v>
                </c:pt>
                <c:pt idx="50">
                  <c:v>0.07692307692307693</c:v>
                </c:pt>
                <c:pt idx="51">
                  <c:v>0.11538461538461539</c:v>
                </c:pt>
                <c:pt idx="52">
                  <c:v>0.08</c:v>
                </c:pt>
                <c:pt idx="53">
                  <c:v>0.07692307692307693</c:v>
                </c:pt>
                <c:pt idx="54">
                  <c:v>0.09523809523809523</c:v>
                </c:pt>
                <c:pt idx="55">
                  <c:v>0.15</c:v>
                </c:pt>
                <c:pt idx="56">
                  <c:v>0.14285714285714285</c:v>
                </c:pt>
                <c:pt idx="57">
                  <c:v>0.1</c:v>
                </c:pt>
                <c:pt idx="58">
                  <c:v>0.1</c:v>
                </c:pt>
                <c:pt idx="59">
                  <c:v>0.125</c:v>
                </c:pt>
                <c:pt idx="60">
                  <c:v>0.14285714285714285</c:v>
                </c:pt>
                <c:pt idx="61">
                  <c:v>0.2</c:v>
                </c:pt>
                <c:pt idx="62">
                  <c:v>0.3333333333333333</c:v>
                </c:pt>
                <c:pt idx="63">
                  <c:v>0.25</c:v>
                </c:pt>
                <c:pt idx="64">
                  <c:v>0.3333333333333333</c:v>
                </c:pt>
                <c:pt idx="65">
                  <c:v>0.25</c:v>
                </c:pt>
                <c:pt idx="66">
                  <c:v>0.25</c:v>
                </c:pt>
                <c:pt idx="67">
                  <c:v>0.2</c:v>
                </c:pt>
                <c:pt idx="68">
                  <c:v>0.25</c:v>
                </c:pt>
                <c:pt idx="69">
                  <c:v>0.25</c:v>
                </c:pt>
                <c:pt idx="70">
                  <c:v>0.25</c:v>
                </c:pt>
                <c:pt idx="71">
                  <c:v>0.16666666666666666</c:v>
                </c:pt>
                <c:pt idx="72">
                  <c:v>0.25</c:v>
                </c:pt>
                <c:pt idx="73">
                  <c:v>0.1111111111111111</c:v>
                </c:pt>
                <c:pt idx="74">
                  <c:v>0.2</c:v>
                </c:pt>
                <c:pt idx="75">
                  <c:v>0.0625</c:v>
                </c:pt>
                <c:pt idx="76">
                  <c:v>0.14285714285714285</c:v>
                </c:pt>
                <c:pt idx="77">
                  <c:v>0.125</c:v>
                </c:pt>
                <c:pt idx="78">
                  <c:v>0.4117647058823529</c:v>
                </c:pt>
                <c:pt idx="79">
                  <c:v>0.375</c:v>
                </c:pt>
                <c:pt idx="80">
                  <c:v>0.25</c:v>
                </c:pt>
                <c:pt idx="81">
                  <c:v>0.16666666666666666</c:v>
                </c:pt>
                <c:pt idx="82">
                  <c:v>0.1</c:v>
                </c:pt>
                <c:pt idx="83">
                  <c:v>0.08333333333333333</c:v>
                </c:pt>
                <c:pt idx="84">
                  <c:v>0.07142857142857142</c:v>
                </c:pt>
                <c:pt idx="85">
                  <c:v>0.15384615384615385</c:v>
                </c:pt>
                <c:pt idx="86">
                  <c:v>0.18181818181818182</c:v>
                </c:pt>
                <c:pt idx="87">
                  <c:v>0.1875</c:v>
                </c:pt>
                <c:pt idx="88">
                  <c:v>0.1</c:v>
                </c:pt>
                <c:pt idx="89">
                  <c:v>0.2727272727272727</c:v>
                </c:pt>
                <c:pt idx="90">
                  <c:v>0.2</c:v>
                </c:pt>
                <c:pt idx="91">
                  <c:v>0.2</c:v>
                </c:pt>
                <c:pt idx="92">
                  <c:v>0.25</c:v>
                </c:pt>
                <c:pt idx="93">
                  <c:v>0.3333333333333333</c:v>
                </c:pt>
                <c:pt idx="94">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9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9:$A$130</c:f>
              <c:numCache>
                <c:formatCode>General</c:formatCode>
                <c:ptCount val="3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2383665811965812</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numCache>
            </c:numRef>
          </c:xVal>
          <c:yVal>
            <c:numRef>
              <c:f>Sheet1!$B$99:$B$130</c:f>
              <c:numCache>
                <c:formatCode>General</c:formatCode>
                <c:ptCount val="3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23076923076923078</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numCache>
            </c:numRef>
          </c:yVal>
          <c:smooth val="0"/>
          <c:extLst>
            <c:ext xmlns:c16="http://schemas.microsoft.com/office/drawing/2014/chart" uri="{C3380CC4-5D6E-409C-BE32-E72D297353CC}">
              <c16:uniqueId val="{00000002-096C-4121-9522-6AB7243CCAAE}"/>
            </c:ext>
          </c:extLst>
        </c:ser>
        <c:ser>
          <c:idx val="2"/>
          <c:order val="2"/>
          <c:tx>
            <c:strRef>
              <c:f>Sheet1!$B$13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3:$A$134</c:f>
              <c:numCache>
                <c:formatCode>General</c:formatCode>
                <c:ptCount val="2"/>
                <c:pt idx="0">
                  <c:v>0</c:v>
                </c:pt>
                <c:pt idx="1">
                  <c:v>0.44926504229732817</c:v>
                </c:pt>
              </c:numCache>
            </c:numRef>
          </c:xVal>
          <c:yVal>
            <c:numRef>
              <c:f>Sheet1!$B$133:$B$134</c:f>
              <c:numCache>
                <c:formatCode>General</c:formatCode>
                <c:ptCount val="2"/>
                <c:pt idx="0">
                  <c:v>0.43494582043343655</c:v>
                </c:pt>
                <c:pt idx="1">
                  <c:v>0.43494582043343655</c:v>
                </c:pt>
              </c:numCache>
            </c:numRef>
          </c:yVal>
          <c:smooth val="0"/>
          <c:extLst>
            <c:ext xmlns:c16="http://schemas.microsoft.com/office/drawing/2014/chart" uri="{C3380CC4-5D6E-409C-BE32-E72D297353CC}">
              <c16:uniqueId val="{00000005-096C-4121-9522-6AB7243CCAAE}"/>
            </c:ext>
          </c:extLst>
        </c:ser>
        <c:ser>
          <c:idx val="3"/>
          <c:order val="3"/>
          <c:tx>
            <c:strRef>
              <c:f>Sheet1!$B$13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7:$A$138</c:f>
              <c:numCache>
                <c:formatCode>General</c:formatCode>
                <c:ptCount val="2"/>
                <c:pt idx="0">
                  <c:v>0.44926504229732817</c:v>
                </c:pt>
                <c:pt idx="1">
                  <c:v>0.44926504229732817</c:v>
                </c:pt>
              </c:numCache>
            </c:numRef>
          </c:xVal>
          <c:yVal>
            <c:numRef>
              <c:f>Sheet1!$B$137:$B$138</c:f>
              <c:numCache>
                <c:formatCode>General</c:formatCode>
                <c:ptCount val="2"/>
                <c:pt idx="0">
                  <c:v>0.434945820433436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1:$A$142</c:f>
              <c:numCache>
                <c:formatCode>General</c:formatCode>
                <c:ptCount val="2"/>
                <c:pt idx="0">
                  <c:v>0</c:v>
                </c:pt>
                <c:pt idx="1">
                  <c:v>0.14116552339220603</c:v>
                </c:pt>
              </c:numCache>
            </c:numRef>
          </c:xVal>
          <c:yVal>
            <c:numRef>
              <c:f>Sheet1!$B$141:$B$142</c:f>
              <c:numCache>
                <c:formatCode>General</c:formatCode>
                <c:ptCount val="2"/>
                <c:pt idx="0">
                  <c:v>0.13666621839698762</c:v>
                </c:pt>
                <c:pt idx="1">
                  <c:v>0.13666621839698762</c:v>
                </c:pt>
              </c:numCache>
            </c:numRef>
          </c:yVal>
          <c:smooth val="0"/>
          <c:extLst>
            <c:ext xmlns:c16="http://schemas.microsoft.com/office/drawing/2014/chart" uri="{C3380CC4-5D6E-409C-BE32-E72D297353CC}">
              <c16:uniqueId val="{0000000D-096C-4121-9522-6AB7243CCAAE}"/>
            </c:ext>
          </c:extLst>
        </c:ser>
        <c:ser>
          <c:idx val="5"/>
          <c:order val="5"/>
          <c:tx>
            <c:strRef>
              <c:f>Sheet1!$B$14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5:$A$146</c:f>
              <c:numCache>
                <c:formatCode>General</c:formatCode>
                <c:ptCount val="2"/>
                <c:pt idx="0">
                  <c:v>0.14116552339220603</c:v>
                </c:pt>
                <c:pt idx="1">
                  <c:v>0.14116552339220603</c:v>
                </c:pt>
              </c:numCache>
            </c:numRef>
          </c:xVal>
          <c:yVal>
            <c:numRef>
              <c:f>Sheet1!$B$145:$B$146</c:f>
              <c:numCache>
                <c:formatCode>General</c:formatCode>
                <c:ptCount val="2"/>
                <c:pt idx="0">
                  <c:v>0.136666218396987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4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49:$A$150</c:f>
              <c:numCache>
                <c:formatCode>General</c:formatCode>
                <c:ptCount val="2"/>
                <c:pt idx="0">
                  <c:v>0</c:v>
                </c:pt>
                <c:pt idx="1">
                  <c:v>5.6155455260612025e-18</c:v>
                </c:pt>
              </c:numCache>
            </c:numRef>
          </c:xVal>
          <c:yVal>
            <c:numRef>
              <c:f>Sheet1!$B$149:$B$15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3:$A$154</c:f>
              <c:numCache>
                <c:formatCode>General</c:formatCode>
                <c:ptCount val="2"/>
                <c:pt idx="0">
                  <c:v>5.6155455260612025e-18</c:v>
                </c:pt>
                <c:pt idx="1">
                  <c:v>5.6155455260612025e-18</c:v>
                </c:pt>
              </c:numCache>
            </c:numRef>
          </c:xVal>
          <c:yVal>
            <c:numRef>
              <c:f>Sheet1!$B$153:$B$15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7:$A$191</c:f>
              <c:numCache>
                <c:formatCode>General</c:formatCode>
                <c:ptCount val="35"/>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2383665811965812</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14116552339220603</c:v>
                </c:pt>
                <c:pt idx="33">
                  <c:v>0.44926504229732817</c:v>
                </c:pt>
                <c:pt idx="34">
                  <c:v>5.6155455260612025e-18</c:v>
                </c:pt>
              </c:numCache>
            </c:numRef>
          </c:xVal>
          <c:yVal>
            <c:numRef>
              <c:f>Sheet1!$B$157:$B$191</c:f>
              <c:numCache>
                <c:formatCode>General</c:formatCode>
                <c:ptCount val="35"/>
                <c:pt idx="0">
                  <c:v>-5.436563778753923e-18</c:v>
                </c:pt>
                <c:pt idx="1">
                  <c:v>-5.436563778753923e-18</c:v>
                </c:pt>
                <c:pt idx="2">
                  <c:v>-5.436563778753923e-18</c:v>
                </c:pt>
                <c:pt idx="3">
                  <c:v>-5.436563778753923e-18</c:v>
                </c:pt>
                <c:pt idx="4">
                  <c:v>-5.436563778753923e-18</c:v>
                </c:pt>
                <c:pt idx="5">
                  <c:v>-5.436563778753923e-18</c:v>
                </c:pt>
                <c:pt idx="6">
                  <c:v>-5.436563778753923e-18</c:v>
                </c:pt>
                <c:pt idx="7">
                  <c:v>-5.436563778753923e-18</c:v>
                </c:pt>
                <c:pt idx="8">
                  <c:v>-5.436563778753923e-18</c:v>
                </c:pt>
                <c:pt idx="9">
                  <c:v>-5.436563778753923e-18</c:v>
                </c:pt>
                <c:pt idx="10">
                  <c:v>-5.436563778753923e-18</c:v>
                </c:pt>
                <c:pt idx="11">
                  <c:v>-5.436563778753923e-18</c:v>
                </c:pt>
                <c:pt idx="12">
                  <c:v>-5.436563778753923e-18</c:v>
                </c:pt>
                <c:pt idx="13">
                  <c:v>-5.436563778753923e-18</c:v>
                </c:pt>
                <c:pt idx="14">
                  <c:v>-5.436563778753923e-18</c:v>
                </c:pt>
                <c:pt idx="15">
                  <c:v>-5.436563778753923e-18</c:v>
                </c:pt>
                <c:pt idx="16">
                  <c:v>-5.436563778753923e-18</c:v>
                </c:pt>
                <c:pt idx="17">
                  <c:v>0.23076923076923084</c:v>
                </c:pt>
                <c:pt idx="18">
                  <c:v>-5.436563778753923e-18</c:v>
                </c:pt>
                <c:pt idx="19">
                  <c:v>-5.436563778753923e-18</c:v>
                </c:pt>
                <c:pt idx="20">
                  <c:v>-5.436563778753923e-18</c:v>
                </c:pt>
                <c:pt idx="21">
                  <c:v>-5.436563778753923e-18</c:v>
                </c:pt>
                <c:pt idx="22">
                  <c:v>-5.436563778753923e-18</c:v>
                </c:pt>
                <c:pt idx="23">
                  <c:v>-5.436563778753923e-18</c:v>
                </c:pt>
                <c:pt idx="24">
                  <c:v>-5.436563778753923e-18</c:v>
                </c:pt>
                <c:pt idx="25">
                  <c:v>-5.436563778753923e-18</c:v>
                </c:pt>
                <c:pt idx="26">
                  <c:v>-5.436563778753923e-18</c:v>
                </c:pt>
                <c:pt idx="27">
                  <c:v>-5.436563778753923e-18</c:v>
                </c:pt>
                <c:pt idx="28">
                  <c:v>-5.436563778753923e-18</c:v>
                </c:pt>
                <c:pt idx="29">
                  <c:v>-5.436563778753923e-18</c:v>
                </c:pt>
                <c:pt idx="30">
                  <c:v>-5.436563778753923e-18</c:v>
                </c:pt>
                <c:pt idx="31">
                  <c:v>-5.436563778753923e-18</c:v>
                </c:pt>
                <c:pt idx="32">
                  <c:v>0.13666621839698762</c:v>
                </c:pt>
                <c:pt idx="33">
                  <c:v>0.43494582043343655</c:v>
                </c:pt>
                <c:pt idx="34">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672.25</c:v>
                </c:pt>
                <c:pt idx="1">
                  <c:v>802.625</c:v>
                </c:pt>
                <c:pt idx="2">
                  <c:v>804.8889</c:v>
                </c:pt>
                <c:pt idx="3">
                  <c:v>746.4444</c:v>
                </c:pt>
                <c:pt idx="4">
                  <c:v>757.6667</c:v>
                </c:pt>
                <c:pt idx="5">
                  <c:v>810.625</c:v>
                </c:pt>
                <c:pt idx="6">
                  <c:v>786.8333</c:v>
                </c:pt>
                <c:pt idx="7">
                  <c:v>788.1667</c:v>
                </c:pt>
                <c:pt idx="8">
                  <c:v>778.2</c:v>
                </c:pt>
                <c:pt idx="9">
                  <c:v>894.3333</c:v>
                </c:pt>
                <c:pt idx="10">
                  <c:v>856.3333</c:v>
                </c:pt>
                <c:pt idx="11">
                  <c:v>1034.0</c:v>
                </c:pt>
                <c:pt idx="12">
                  <c:v>880.6</c:v>
                </c:pt>
                <c:pt idx="13">
                  <c:v>890.5</c:v>
                </c:pt>
                <c:pt idx="14">
                  <c:v>865.0</c:v>
                </c:pt>
                <c:pt idx="15">
                  <c:v>837.75</c:v>
                </c:pt>
                <c:pt idx="16">
                  <c:v>755.3333</c:v>
                </c:pt>
                <c:pt idx="17">
                  <c:v>894.0</c:v>
                </c:pt>
                <c:pt idx="18">
                  <c:v>841.3333</c:v>
                </c:pt>
                <c:pt idx="19">
                  <c:v>1038.5</c:v>
                </c:pt>
                <c:pt idx="20">
                  <c:v>735.5</c:v>
                </c:pt>
                <c:pt idx="21">
                  <c:v>1292.0</c:v>
                </c:pt>
                <c:pt idx="22">
                  <c:v>999.0</c:v>
                </c:pt>
                <c:pt idx="23">
                  <c:v>474.0</c:v>
                </c:pt>
                <c:pt idx="24">
                  <c:v>863.0</c:v>
                </c:pt>
                <c:pt idx="25">
                  <c:v>699.0</c:v>
                </c:pt>
                <c:pt idx="26">
                  <c:v>1118.0</c:v>
                </c:pt>
                <c:pt idx="27">
                  <c:v>815.0</c:v>
                </c:pt>
                <c:pt idx="28">
                  <c:v>915.0</c:v>
                </c:pt>
                <c:pt idx="29">
                  <c:v>785.0</c:v>
                </c:pt>
                <c:pt idx="30">
                  <c:v>784.1667</c:v>
                </c:pt>
                <c:pt idx="31">
                  <c:v>706.0</c:v>
                </c:pt>
                <c:pt idx="32">
                  <c:v>780.8</c:v>
                </c:pt>
                <c:pt idx="33">
                  <c:v>966.75</c:v>
                </c:pt>
                <c:pt idx="34">
                  <c:v>732.5</c:v>
                </c:pt>
                <c:pt idx="35">
                  <c:v>769.875</c:v>
                </c:pt>
                <c:pt idx="36">
                  <c:v>753.5</c:v>
                </c:pt>
                <c:pt idx="37">
                  <c:v>825.3333</c:v>
                </c:pt>
                <c:pt idx="38">
                  <c:v>795.125</c:v>
                </c:pt>
                <c:pt idx="39">
                  <c:v>750.4286</c:v>
                </c:pt>
                <c:pt idx="40">
                  <c:v>868.2</c:v>
                </c:pt>
                <c:pt idx="41">
                  <c:v>760.0</c:v>
                </c:pt>
                <c:pt idx="42">
                  <c:v>779.5</c:v>
                </c:pt>
                <c:pt idx="43">
                  <c:v>940.6667</c:v>
                </c:pt>
                <c:pt idx="44">
                  <c:v>915.0</c:v>
                </c:pt>
                <c:pt idx="45">
                  <c:v>612.5</c:v>
                </c:pt>
                <c:pt idx="46">
                  <c:v>1110.0</c:v>
                </c:pt>
                <c:pt idx="47">
                  <c:v>839.0</c:v>
                </c:pt>
                <c:pt idx="48">
                  <c:v>1628.0</c:v>
                </c:pt>
                <c:pt idx="49">
                  <c:v>985.5</c:v>
                </c:pt>
                <c:pt idx="50">
                  <c:v>1447.5</c:v>
                </c:pt>
                <c:pt idx="51">
                  <c:v>1196.0</c:v>
                </c:pt>
                <c:pt idx="52">
                  <c:v>1198.0</c:v>
                </c:pt>
                <c:pt idx="53">
                  <c:v>1267.0</c:v>
                </c:pt>
                <c:pt idx="54">
                  <c:v>906.0</c:v>
                </c:pt>
                <c:pt idx="55">
                  <c:v>1022.6667</c:v>
                </c:pt>
                <c:pt idx="56">
                  <c:v>943.5</c:v>
                </c:pt>
                <c:pt idx="57">
                  <c:v>991.0</c:v>
                </c:pt>
                <c:pt idx="58">
                  <c:v>1075.0</c:v>
                </c:pt>
                <c:pt idx="59">
                  <c:v>1221.0</c:v>
                </c:pt>
                <c:pt idx="60">
                  <c:v>719.0</c:v>
                </c:pt>
                <c:pt idx="61">
                  <c:v>774.0</c:v>
                </c:pt>
                <c:pt idx="62">
                  <c:v>732.0</c:v>
                </c:pt>
                <c:pt idx="63">
                  <c:v>1004.0</c:v>
                </c:pt>
                <c:pt idx="64">
                  <c:v>1150.0</c:v>
                </c:pt>
                <c:pt idx="65">
                  <c:v>728.0</c:v>
                </c:pt>
                <c:pt idx="66">
                  <c:v>699.0</c:v>
                </c:pt>
                <c:pt idx="67">
                  <c:v>732.0</c:v>
                </c:pt>
                <c:pt idx="68">
                  <c:v>597.0</c:v>
                </c:pt>
                <c:pt idx="69">
                  <c:v>1010.0</c:v>
                </c:pt>
                <c:pt idx="70">
                  <c:v>1041.0</c:v>
                </c:pt>
                <c:pt idx="71">
                  <c:v>1000.0</c:v>
                </c:pt>
                <c:pt idx="72">
                  <c:v>322.0</c:v>
                </c:pt>
                <c:pt idx="73">
                  <c:v>324.0</c:v>
                </c:pt>
                <c:pt idx="74">
                  <c:v>739.0</c:v>
                </c:pt>
                <c:pt idx="75">
                  <c:v>1434.0</c:v>
                </c:pt>
                <c:pt idx="76">
                  <c:v>594.0</c:v>
                </c:pt>
                <c:pt idx="77">
                  <c:v>562.0</c:v>
                </c:pt>
                <c:pt idx="78">
                  <c:v>250.2857</c:v>
                </c:pt>
                <c:pt idx="79">
                  <c:v>174.3333</c:v>
                </c:pt>
              </c:numCache>
            </c:numRef>
          </c:xVal>
          <c:yVal>
            <c:numRef>
              <c:f>Sheet1!$B$2:$B$81</c:f>
              <c:numCache>
                <c:formatCode>General</c:formatCode>
                <c:ptCount val="80"/>
                <c:pt idx="0">
                  <c:v>0.5</c:v>
                </c:pt>
                <c:pt idx="1">
                  <c:v>0.5</c:v>
                </c:pt>
                <c:pt idx="2">
                  <c:v>0.5</c:v>
                </c:pt>
                <c:pt idx="3">
                  <c:v>0.47368421052631576</c:v>
                </c:pt>
                <c:pt idx="4">
                  <c:v>0.4</c:v>
                </c:pt>
                <c:pt idx="5">
                  <c:v>0.4</c:v>
                </c:pt>
                <c:pt idx="6">
                  <c:v>0.35294117647058826</c:v>
                </c:pt>
                <c:pt idx="7">
                  <c:v>0.35294117647058826</c:v>
                </c:pt>
                <c:pt idx="8">
                  <c:v>0.4</c:v>
                </c:pt>
                <c:pt idx="9">
                  <c:v>0.24</c:v>
                </c:pt>
                <c:pt idx="10">
                  <c:v>0.2857142857142857</c:v>
                </c:pt>
                <c:pt idx="11">
                  <c:v>0.17647058823529413</c:v>
                </c:pt>
                <c:pt idx="12">
                  <c:v>0.25</c:v>
                </c:pt>
                <c:pt idx="13">
                  <c:v>0.23529411764705882</c:v>
                </c:pt>
                <c:pt idx="14">
                  <c:v>0.35294117647058826</c:v>
                </c:pt>
                <c:pt idx="15">
                  <c:v>0.3076923076923077</c:v>
                </c:pt>
                <c:pt idx="16">
                  <c:v>0.2727272727272727</c:v>
                </c:pt>
                <c:pt idx="17">
                  <c:v>0.25</c:v>
                </c:pt>
                <c:pt idx="18">
                  <c:v>0.3333333333333333</c:v>
                </c:pt>
                <c:pt idx="19">
                  <c:v>0.2857142857142857</c:v>
                </c:pt>
                <c:pt idx="20">
                  <c:v>0.2857142857142857</c:v>
                </c:pt>
                <c:pt idx="21">
                  <c:v>0.2</c:v>
                </c:pt>
                <c:pt idx="22">
                  <c:v>0.5</c:v>
                </c:pt>
                <c:pt idx="23">
                  <c:v>0.25</c:v>
                </c:pt>
                <c:pt idx="24">
                  <c:v>0.4</c:v>
                </c:pt>
                <c:pt idx="25">
                  <c:v>0.16666666666666666</c:v>
                </c:pt>
                <c:pt idx="26">
                  <c:v>0.1</c:v>
                </c:pt>
                <c:pt idx="27">
                  <c:v>0.25</c:v>
                </c:pt>
                <c:pt idx="28">
                  <c:v>0.3333333333333333</c:v>
                </c:pt>
                <c:pt idx="29">
                  <c:v>0.5714285714285714</c:v>
                </c:pt>
                <c:pt idx="30">
                  <c:v>0.6666666666666666</c:v>
                </c:pt>
                <c:pt idx="31">
                  <c:v>0.6</c:v>
                </c:pt>
                <c:pt idx="32">
                  <c:v>0.5555555555555556</c:v>
                </c:pt>
                <c:pt idx="33">
                  <c:v>0.5</c:v>
                </c:pt>
                <c:pt idx="34">
                  <c:v>0.5454545454545454</c:v>
                </c:pt>
                <c:pt idx="35">
                  <c:v>0.5</c:v>
                </c:pt>
                <c:pt idx="36">
                  <c:v>0.5</c:v>
                </c:pt>
                <c:pt idx="37">
                  <c:v>0.47368421052631576</c:v>
                </c:pt>
                <c:pt idx="38">
                  <c:v>0.4</c:v>
                </c:pt>
                <c:pt idx="39">
                  <c:v>0.4375</c:v>
                </c:pt>
                <c:pt idx="40">
                  <c:v>0.4166666666666667</c:v>
                </c:pt>
                <c:pt idx="41">
                  <c:v>0.3</c:v>
                </c:pt>
                <c:pt idx="42">
                  <c:v>0.25</c:v>
                </c:pt>
                <c:pt idx="43">
                  <c:v>0.3</c:v>
                </c:pt>
                <c:pt idx="44">
                  <c:v>0.1111111111111111</c:v>
                </c:pt>
                <c:pt idx="45">
                  <c:v>0.1</c:v>
                </c:pt>
                <c:pt idx="46">
                  <c:v>0.05</c:v>
                </c:pt>
                <c:pt idx="47">
                  <c:v>0.17647058823529413</c:v>
                </c:pt>
                <c:pt idx="48">
                  <c:v>0.05</c:v>
                </c:pt>
                <c:pt idx="49">
                  <c:v>0.07142857142857142</c:v>
                </c:pt>
                <c:pt idx="50">
                  <c:v>0.07692307692307693</c:v>
                </c:pt>
                <c:pt idx="51">
                  <c:v>0.11538461538461539</c:v>
                </c:pt>
                <c:pt idx="52">
                  <c:v>0.08</c:v>
                </c:pt>
                <c:pt idx="53">
                  <c:v>0.07692307692307693</c:v>
                </c:pt>
                <c:pt idx="54">
                  <c:v>0.09523809523809523</c:v>
                </c:pt>
                <c:pt idx="55">
                  <c:v>0.15</c:v>
                </c:pt>
                <c:pt idx="56">
                  <c:v>0.14285714285714285</c:v>
                </c:pt>
                <c:pt idx="57">
                  <c:v>0.1</c:v>
                </c:pt>
                <c:pt idx="58">
                  <c:v>0.1</c:v>
                </c:pt>
                <c:pt idx="59">
                  <c:v>0.125</c:v>
                </c:pt>
                <c:pt idx="60">
                  <c:v>0.14285714285714285</c:v>
                </c:pt>
                <c:pt idx="61">
                  <c:v>0.2</c:v>
                </c:pt>
                <c:pt idx="62">
                  <c:v>0.3333333333333333</c:v>
                </c:pt>
                <c:pt idx="63">
                  <c:v>0.25</c:v>
                </c:pt>
                <c:pt idx="64">
                  <c:v>0.3333333333333333</c:v>
                </c:pt>
                <c:pt idx="65">
                  <c:v>0.25</c:v>
                </c:pt>
                <c:pt idx="66">
                  <c:v>0.25</c:v>
                </c:pt>
                <c:pt idx="67">
                  <c:v>0.2</c:v>
                </c:pt>
                <c:pt idx="68">
                  <c:v>0.25</c:v>
                </c:pt>
                <c:pt idx="69">
                  <c:v>0.25</c:v>
                </c:pt>
                <c:pt idx="70">
                  <c:v>0.25</c:v>
                </c:pt>
                <c:pt idx="71">
                  <c:v>0.16666666666666666</c:v>
                </c:pt>
                <c:pt idx="72">
                  <c:v>0.25</c:v>
                </c:pt>
                <c:pt idx="73">
                  <c:v>0.1111111111111111</c:v>
                </c:pt>
                <c:pt idx="74">
                  <c:v>0.2</c:v>
                </c:pt>
                <c:pt idx="75">
                  <c:v>0.0625</c:v>
                </c:pt>
                <c:pt idx="76">
                  <c:v>0.14285714285714285</c:v>
                </c:pt>
                <c:pt idx="77">
                  <c:v>0.125</c:v>
                </c:pt>
                <c:pt idx="78">
                  <c:v>0.4117647058823529</c:v>
                </c:pt>
                <c:pt idx="79">
                  <c:v>0.375</c:v>
                </c:pt>
              </c:numCache>
            </c:numRef>
          </c:yVal>
          <c:smooth val="0"/>
          <c:extLst>
            <c:ext xmlns:c16="http://schemas.microsoft.com/office/drawing/2014/chart" uri="{C3380CC4-5D6E-409C-BE32-E72D297353CC}">
              <c16:uniqueId val="{00000000-F32D-48B7-BC20-E66FC6253BAD}"/>
            </c:ext>
          </c:extLst>
        </c:ser>
        <c:ser>
          <c:idx val="1"/>
          <c:order val="1"/>
          <c:tx>
            <c:strRef>
              <c:f>Sheet1!$B$8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4:$A$130</c:f>
              <c:numCache>
                <c:formatCode>General</c:formatCode>
                <c:ptCount val="4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1171.0</c:v>
                </c:pt>
                <c:pt idx="16">
                  <c:v>820.0</c:v>
                </c:pt>
                <c:pt idx="17">
                  <c:v>748.0</c:v>
                </c:pt>
                <c:pt idx="18">
                  <c:v>0.0</c:v>
                </c:pt>
                <c:pt idx="19">
                  <c:v>0.0</c:v>
                </c:pt>
                <c:pt idx="20">
                  <c:v>991.0</c:v>
                </c:pt>
                <c:pt idx="21">
                  <c:v>774.0</c:v>
                </c:pt>
                <c:pt idx="22">
                  <c:v>838.5</c:v>
                </c:pt>
                <c:pt idx="23">
                  <c:v>813.0</c:v>
                </c:pt>
                <c:pt idx="24">
                  <c:v>793.3333</c:v>
                </c:pt>
                <c:pt idx="25">
                  <c:v>987.0</c:v>
                </c:pt>
                <c:pt idx="26">
                  <c:v>836.6667</c:v>
                </c:pt>
                <c:pt idx="27">
                  <c:v>768.0</c:v>
                </c:pt>
                <c:pt idx="28">
                  <c:v>0.0</c:v>
                </c:pt>
                <c:pt idx="29">
                  <c:v>690.0</c:v>
                </c:pt>
                <c:pt idx="30">
                  <c:v>0.0</c:v>
                </c:pt>
                <c:pt idx="31">
                  <c:v>1150.0</c:v>
                </c:pt>
                <c:pt idx="32">
                  <c:v>0.0</c:v>
                </c:pt>
                <c:pt idx="33">
                  <c:v>720.0</c:v>
                </c:pt>
                <c:pt idx="34">
                  <c:v>0.0</c:v>
                </c:pt>
                <c:pt idx="35">
                  <c:v>874.0</c:v>
                </c:pt>
                <c:pt idx="36">
                  <c:v>0.0</c:v>
                </c:pt>
                <c:pt idx="37">
                  <c:v>0.0</c:v>
                </c:pt>
                <c:pt idx="38">
                  <c:v>0.0</c:v>
                </c:pt>
                <c:pt idx="39">
                  <c:v>905.0</c:v>
                </c:pt>
                <c:pt idx="40">
                  <c:v>0.0</c:v>
                </c:pt>
                <c:pt idx="41">
                  <c:v>0.0</c:v>
                </c:pt>
                <c:pt idx="42">
                  <c:v>0.0</c:v>
                </c:pt>
                <c:pt idx="43">
                  <c:v>0.0</c:v>
                </c:pt>
                <c:pt idx="44">
                  <c:v>0.0</c:v>
                </c:pt>
                <c:pt idx="45">
                  <c:v>0.0</c:v>
                </c:pt>
                <c:pt idx="46">
                  <c:v>0.0</c:v>
                </c:pt>
              </c:numCache>
            </c:numRef>
          </c:xVal>
          <c:yVal>
            <c:numRef>
              <c:f>Sheet1!$B$84:$B$130</c:f>
              <c:numCache>
                <c:formatCode>General</c:formatCode>
                <c:ptCount val="4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25</c:v>
                </c:pt>
                <c:pt idx="16">
                  <c:v>0.16666666666666666</c:v>
                </c:pt>
                <c:pt idx="17">
                  <c:v>0.1</c:v>
                </c:pt>
                <c:pt idx="18">
                  <c:v>0.0</c:v>
                </c:pt>
                <c:pt idx="19">
                  <c:v>0.0</c:v>
                </c:pt>
                <c:pt idx="20">
                  <c:v>0.08333333333333333</c:v>
                </c:pt>
                <c:pt idx="21">
                  <c:v>0.07142857142857142</c:v>
                </c:pt>
                <c:pt idx="22">
                  <c:v>0.15384615384615385</c:v>
                </c:pt>
                <c:pt idx="23">
                  <c:v>0.18181818181818182</c:v>
                </c:pt>
                <c:pt idx="24">
                  <c:v>0.1875</c:v>
                </c:pt>
                <c:pt idx="25">
                  <c:v>0.1</c:v>
                </c:pt>
                <c:pt idx="26">
                  <c:v>0.23076923076923078</c:v>
                </c:pt>
                <c:pt idx="27">
                  <c:v>0.2727272727272727</c:v>
                </c:pt>
                <c:pt idx="28">
                  <c:v>0.0</c:v>
                </c:pt>
                <c:pt idx="29">
                  <c:v>0.2</c:v>
                </c:pt>
                <c:pt idx="30">
                  <c:v>0.0</c:v>
                </c:pt>
                <c:pt idx="31">
                  <c:v>0.2</c:v>
                </c:pt>
                <c:pt idx="32">
                  <c:v>0.0</c:v>
                </c:pt>
                <c:pt idx="33">
                  <c:v>0.25</c:v>
                </c:pt>
                <c:pt idx="34">
                  <c:v>0.0</c:v>
                </c:pt>
                <c:pt idx="35">
                  <c:v>0.3333333333333333</c:v>
                </c:pt>
                <c:pt idx="36">
                  <c:v>0.0</c:v>
                </c:pt>
                <c:pt idx="37">
                  <c:v>0.0</c:v>
                </c:pt>
                <c:pt idx="38">
                  <c:v>0.0</c:v>
                </c:pt>
                <c:pt idx="39">
                  <c:v>0.3333333333333333</c:v>
                </c:pt>
                <c:pt idx="40">
                  <c:v>0.0</c:v>
                </c:pt>
                <c:pt idx="41">
                  <c:v>0.0</c:v>
                </c:pt>
                <c:pt idx="42">
                  <c:v>0.0</c:v>
                </c:pt>
                <c:pt idx="43">
                  <c:v>0.0</c:v>
                </c:pt>
                <c:pt idx="44">
                  <c:v>0.0</c:v>
                </c:pt>
                <c:pt idx="45">
                  <c:v>0.0</c:v>
                </c:pt>
                <c:pt idx="46">
                  <c:v>0.0</c:v>
                </c:pt>
              </c:numCache>
            </c:numRef>
          </c:yVal>
          <c:smooth val="0"/>
          <c:extLst>
            <c:ext xmlns:c16="http://schemas.microsoft.com/office/drawing/2014/chart" uri="{C3380CC4-5D6E-409C-BE32-E72D297353CC}">
              <c16:uniqueId val="{00000002-F32D-48B7-BC20-E66FC6253BAD}"/>
            </c:ext>
          </c:extLst>
        </c:ser>
        <c:ser>
          <c:idx val="2"/>
          <c:order val="2"/>
          <c:tx>
            <c:strRef>
              <c:f>Sheet1!$B$132</c:f>
              <c:strCache>
                <c:ptCount val="1"/>
                <c:pt idx="0">
                  <c:v>Custom Linep3yQ</c:v>
                </c:pt>
              </c:strCache>
            </c:strRef>
          </c:tx>
          <c:spPr>
            <a:ln w="19050" cap="rnd">
              <a:solidFill>
                <a:srgbClr val="C00000"/>
              </a:solidFill>
              <a:prstDash val="sysDot"/>
              <a:round/>
            </a:ln>
            <a:effectLst/>
          </c:spPr>
          <c:marker>
            <c:symbol val="none"/>
          </c:marker>
          <c:xVal>
            <c:numRef>
              <c:f>Sheet1!$A$133:$A$134</c:f>
              <c:numCache>
                <c:formatCode>General</c:formatCode>
                <c:ptCount val="2"/>
                <c:pt idx="0">
                  <c:v>0</c:v>
                </c:pt>
                <c:pt idx="1">
                  <c:v>1992.9765294620597</c:v>
                </c:pt>
              </c:numCache>
            </c:numRef>
          </c:xVal>
          <c:yVal>
            <c:numRef>
              <c:f>Sheet1!$B$133:$B$134</c:f>
              <c:numCache>
                <c:formatCode>General</c:formatCode>
                <c:ptCount val="2"/>
                <c:pt idx="0">
                  <c:v>0.43494582043343655</c:v>
                </c:pt>
                <c:pt idx="1">
                  <c:v>0.43494582043343655</c:v>
                </c:pt>
              </c:numCache>
            </c:numRef>
          </c:yVal>
          <c:smooth val="0"/>
          <c:extLst>
            <c:ext xmlns:c16="http://schemas.microsoft.com/office/drawing/2014/chart" uri="{C3380CC4-5D6E-409C-BE32-E72D297353CC}">
              <c16:uniqueId val="{00000003-F32D-48B7-BC20-E66FC6253BAD}"/>
            </c:ext>
          </c:extLst>
        </c:ser>
        <c:ser>
          <c:idx val="3"/>
          <c:order val="3"/>
          <c:tx>
            <c:strRef>
              <c:f>Sheet1!$B$13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7:$A$138</c:f>
              <c:numCache>
                <c:formatCode>General</c:formatCode>
                <c:ptCount val="2"/>
                <c:pt idx="0">
                  <c:v>1992.9765294620597</c:v>
                </c:pt>
                <c:pt idx="1">
                  <c:v>1992.9765294620597</c:v>
                </c:pt>
              </c:numCache>
            </c:numRef>
          </c:xVal>
          <c:yVal>
            <c:numRef>
              <c:f>Sheet1!$B$137:$B$138</c:f>
              <c:numCache>
                <c:formatCode>General</c:formatCode>
                <c:ptCount val="2"/>
                <c:pt idx="0">
                  <c:v>0.434945820433436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1:$A$142</c:f>
              <c:numCache>
                <c:formatCode>General</c:formatCode>
                <c:ptCount val="2"/>
                <c:pt idx="0">
                  <c:v>0</c:v>
                </c:pt>
                <c:pt idx="1">
                  <c:v>619.4617937451628</c:v>
                </c:pt>
              </c:numCache>
            </c:numRef>
          </c:xVal>
          <c:yVal>
            <c:numRef>
              <c:f>Sheet1!$B$141:$B$142</c:f>
              <c:numCache>
                <c:formatCode>General</c:formatCode>
                <c:ptCount val="2"/>
                <c:pt idx="0">
                  <c:v>0.13666621839698762</c:v>
                </c:pt>
                <c:pt idx="1">
                  <c:v>0.13666621839698762</c:v>
                </c:pt>
              </c:numCache>
            </c:numRef>
          </c:yVal>
          <c:smooth val="0"/>
          <c:extLst>
            <c:ext xmlns:c16="http://schemas.microsoft.com/office/drawing/2014/chart" uri="{C3380CC4-5D6E-409C-BE32-E72D297353CC}">
              <c16:uniqueId val="{0000000A-F32D-48B7-BC20-E66FC6253BAD}"/>
            </c:ext>
          </c:extLst>
        </c:ser>
        <c:ser>
          <c:idx val="5"/>
          <c:order val="5"/>
          <c:tx>
            <c:strRef>
              <c:f>Sheet1!$B$14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5:$A$146</c:f>
              <c:numCache>
                <c:formatCode>General</c:formatCode>
                <c:ptCount val="2"/>
                <c:pt idx="0">
                  <c:v>619.4617937451628</c:v>
                </c:pt>
                <c:pt idx="1">
                  <c:v>619.4617937451628</c:v>
                </c:pt>
              </c:numCache>
            </c:numRef>
          </c:xVal>
          <c:yVal>
            <c:numRef>
              <c:f>Sheet1!$B$145:$B$146</c:f>
              <c:numCache>
                <c:formatCode>General</c:formatCode>
                <c:ptCount val="2"/>
                <c:pt idx="0">
                  <c:v>0.136666218396987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4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49:$A$150</c:f>
              <c:numCache>
                <c:formatCode>General</c:formatCode>
                <c:ptCount val="2"/>
                <c:pt idx="0">
                  <c:v>0</c:v>
                </c:pt>
                <c:pt idx="1">
                  <c:v>-9.857353663476223</c:v>
                </c:pt>
              </c:numCache>
            </c:numRef>
          </c:xVal>
          <c:yVal>
            <c:numRef>
              <c:f>Sheet1!$B$149:$B$15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3:$A$154</c:f>
              <c:numCache>
                <c:formatCode>General</c:formatCode>
                <c:ptCount val="2"/>
                <c:pt idx="0">
                  <c:v>-9.857353663476223</c:v>
                </c:pt>
                <c:pt idx="1">
                  <c:v>-9.857353663476223</c:v>
                </c:pt>
              </c:numCache>
            </c:numRef>
          </c:xVal>
          <c:yVal>
            <c:numRef>
              <c:f>Sheet1!$B$153:$B$15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7:$A$206</c:f>
              <c:numCache>
                <c:formatCode>General</c:formatCode>
                <c:ptCount val="5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1171.0</c:v>
                </c:pt>
                <c:pt idx="16">
                  <c:v>820.0</c:v>
                </c:pt>
                <c:pt idx="17">
                  <c:v>748.0</c:v>
                </c:pt>
                <c:pt idx="18">
                  <c:v>0.0</c:v>
                </c:pt>
                <c:pt idx="19">
                  <c:v>0.0</c:v>
                </c:pt>
                <c:pt idx="20">
                  <c:v>991.0</c:v>
                </c:pt>
                <c:pt idx="21">
                  <c:v>774.0</c:v>
                </c:pt>
                <c:pt idx="22">
                  <c:v>838.5</c:v>
                </c:pt>
                <c:pt idx="23">
                  <c:v>813.0</c:v>
                </c:pt>
                <c:pt idx="24">
                  <c:v>793.3333</c:v>
                </c:pt>
                <c:pt idx="25">
                  <c:v>987.0</c:v>
                </c:pt>
                <c:pt idx="26">
                  <c:v>836.6667</c:v>
                </c:pt>
                <c:pt idx="27">
                  <c:v>768.0</c:v>
                </c:pt>
                <c:pt idx="28">
                  <c:v>0.0</c:v>
                </c:pt>
                <c:pt idx="29">
                  <c:v>690.0</c:v>
                </c:pt>
                <c:pt idx="30">
                  <c:v>0.0</c:v>
                </c:pt>
                <c:pt idx="31">
                  <c:v>1150.0</c:v>
                </c:pt>
                <c:pt idx="32">
                  <c:v>0.0</c:v>
                </c:pt>
                <c:pt idx="33">
                  <c:v>720.0</c:v>
                </c:pt>
                <c:pt idx="34">
                  <c:v>0.0</c:v>
                </c:pt>
                <c:pt idx="35">
                  <c:v>874.0</c:v>
                </c:pt>
                <c:pt idx="36">
                  <c:v>0.0</c:v>
                </c:pt>
                <c:pt idx="37">
                  <c:v>0.0</c:v>
                </c:pt>
                <c:pt idx="38">
                  <c:v>0.0</c:v>
                </c:pt>
                <c:pt idx="39">
                  <c:v>905.0</c:v>
                </c:pt>
                <c:pt idx="40">
                  <c:v>0.0</c:v>
                </c:pt>
                <c:pt idx="41">
                  <c:v>0.0</c:v>
                </c:pt>
                <c:pt idx="42">
                  <c:v>0.0</c:v>
                </c:pt>
                <c:pt idx="43">
                  <c:v>0.0</c:v>
                </c:pt>
                <c:pt idx="44">
                  <c:v>0.0</c:v>
                </c:pt>
                <c:pt idx="45">
                  <c:v>0.0</c:v>
                </c:pt>
                <c:pt idx="46">
                  <c:v>0.0</c:v>
                </c:pt>
                <c:pt idx="47">
                  <c:v>619.4617937451628</c:v>
                </c:pt>
                <c:pt idx="48">
                  <c:v>1992.9765294620597</c:v>
                </c:pt>
                <c:pt idx="49">
                  <c:v>-9.857353663476223</c:v>
                </c:pt>
              </c:numCache>
            </c:numRef>
          </c:xVal>
          <c:yVal>
            <c:numRef>
              <c:f>Sheet1!$B$157:$B$206</c:f>
              <c:numCache>
                <c:formatCode>General</c:formatCode>
                <c:ptCount val="50"/>
                <c:pt idx="0">
                  <c:v>0.002140674178016428</c:v>
                </c:pt>
                <c:pt idx="1">
                  <c:v>0.002140674178016428</c:v>
                </c:pt>
                <c:pt idx="2">
                  <c:v>0.002140674178016428</c:v>
                </c:pt>
                <c:pt idx="3">
                  <c:v>0.002140674178016428</c:v>
                </c:pt>
                <c:pt idx="4">
                  <c:v>0.002140674178016428</c:v>
                </c:pt>
                <c:pt idx="5">
                  <c:v>0.002140674178016428</c:v>
                </c:pt>
                <c:pt idx="6">
                  <c:v>0.002140674178016428</c:v>
                </c:pt>
                <c:pt idx="7">
                  <c:v>0.002140674178016428</c:v>
                </c:pt>
                <c:pt idx="8">
                  <c:v>0.002140674178016428</c:v>
                </c:pt>
                <c:pt idx="9">
                  <c:v>0.002140674178016428</c:v>
                </c:pt>
                <c:pt idx="10">
                  <c:v>0.002140674178016428</c:v>
                </c:pt>
                <c:pt idx="11">
                  <c:v>0.002140674178016428</c:v>
                </c:pt>
                <c:pt idx="12">
                  <c:v>0.002140674178016428</c:v>
                </c:pt>
                <c:pt idx="13">
                  <c:v>0.002140674178016428</c:v>
                </c:pt>
                <c:pt idx="14">
                  <c:v>0.002140674178016428</c:v>
                </c:pt>
                <c:pt idx="15">
                  <c:v>0.2564411231661916</c:v>
                </c:pt>
                <c:pt idx="16">
                  <c:v>0.18021613802968478</c:v>
                </c:pt>
                <c:pt idx="17">
                  <c:v>0.164580243642709</c:v>
                </c:pt>
                <c:pt idx="18">
                  <c:v>0.002140674178016428</c:v>
                </c:pt>
                <c:pt idx="19">
                  <c:v>0.002140674178016428</c:v>
                </c:pt>
                <c:pt idx="20">
                  <c:v>0.2173513871987522</c:v>
                </c:pt>
                <c:pt idx="21">
                  <c:v>0.17022653883800581</c:v>
                </c:pt>
                <c:pt idx="22">
                  <c:v>0.18423369422633826</c:v>
                </c:pt>
                <c:pt idx="23">
                  <c:v>0.17869598163095102</c:v>
                </c:pt>
                <c:pt idx="24">
                  <c:v>0.17442505879566858</c:v>
                </c:pt>
                <c:pt idx="25">
                  <c:v>0.21648272639947577</c:v>
                </c:pt>
                <c:pt idx="26">
                  <c:v>0.1838355652655099</c:v>
                </c:pt>
                <c:pt idx="27">
                  <c:v>0.16892354763909118</c:v>
                </c:pt>
                <c:pt idx="28">
                  <c:v>0.002140674178016428</c:v>
                </c:pt>
                <c:pt idx="29">
                  <c:v>0.15198466205320077</c:v>
                </c:pt>
                <c:pt idx="30">
                  <c:v>0.002140674178016428</c:v>
                </c:pt>
                <c:pt idx="31">
                  <c:v>0.2518806539699903</c:v>
                </c:pt>
                <c:pt idx="32">
                  <c:v>0.002140674178016428</c:v>
                </c:pt>
                <c:pt idx="33">
                  <c:v>0.158499618047774</c:v>
                </c:pt>
                <c:pt idx="34">
                  <c:v>0.002140674178016428</c:v>
                </c:pt>
                <c:pt idx="35">
                  <c:v>0.19194305881991658</c:v>
                </c:pt>
                <c:pt idx="36">
                  <c:v>0.002140674178016428</c:v>
                </c:pt>
                <c:pt idx="37">
                  <c:v>0.002140674178016428</c:v>
                </c:pt>
                <c:pt idx="38">
                  <c:v>0.002140674178016428</c:v>
                </c:pt>
                <c:pt idx="39">
                  <c:v>0.19867518001430892</c:v>
                </c:pt>
                <c:pt idx="40">
                  <c:v>0.002140674178016428</c:v>
                </c:pt>
                <c:pt idx="41">
                  <c:v>0.002140674178016428</c:v>
                </c:pt>
                <c:pt idx="42">
                  <c:v>0.002140674178016428</c:v>
                </c:pt>
                <c:pt idx="43">
                  <c:v>0.002140674178016428</c:v>
                </c:pt>
                <c:pt idx="44">
                  <c:v>0.002140674178016428</c:v>
                </c:pt>
                <c:pt idx="45">
                  <c:v>0.002140674178016428</c:v>
                </c:pt>
                <c:pt idx="46">
                  <c:v>0.002140674178016428</c:v>
                </c:pt>
                <c:pt idx="47">
                  <c:v>0.13666621839698762</c:v>
                </c:pt>
                <c:pt idx="48">
                  <c:v>0.43494582043343655</c:v>
                </c:pt>
                <c:pt idx="4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39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7</c:f>
              <c:numCache>
                <c:formatCode>General</c:formatCode>
                <c:ptCount val="9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pt idx="50">
                  <c:v>0.0</c:v>
                </c:pt>
                <c:pt idx="51">
                  <c:v>0.0</c:v>
                </c:pt>
                <c:pt idx="52">
                  <c:v>0.0</c:v>
                </c:pt>
                <c:pt idx="53">
                  <c:v>0.0</c:v>
                </c:pt>
                <c:pt idx="54">
                  <c:v>0.0</c:v>
                </c:pt>
                <c:pt idx="55">
                  <c:v>0.0</c:v>
                </c:pt>
                <c:pt idx="56">
                  <c:v>0.0</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numCache>
            </c:numRef>
          </c:xVal>
          <c:yVal>
            <c:numRef>
              <c:f>Sheet1!$B$2:$B$97</c:f>
              <c:numCache>
                <c:formatCode>General</c:formatCode>
                <c:ptCount val="96"/>
                <c:pt idx="0">
                  <c:v>0.5</c:v>
                </c:pt>
                <c:pt idx="1">
                  <c:v>0.5</c:v>
                </c:pt>
                <c:pt idx="2">
                  <c:v>0.5</c:v>
                </c:pt>
                <c:pt idx="3">
                  <c:v>0.47368421052631576</c:v>
                </c:pt>
                <c:pt idx="4">
                  <c:v>0.4</c:v>
                </c:pt>
                <c:pt idx="5">
                  <c:v>0.35294117647058826</c:v>
                </c:pt>
                <c:pt idx="6">
                  <c:v>0.35294117647058826</c:v>
                </c:pt>
                <c:pt idx="7">
                  <c:v>0.4</c:v>
                </c:pt>
                <c:pt idx="8">
                  <c:v>0.2857142857142857</c:v>
                </c:pt>
                <c:pt idx="9">
                  <c:v>0.17647058823529413</c:v>
                </c:pt>
                <c:pt idx="10">
                  <c:v>0.25</c:v>
                </c:pt>
                <c:pt idx="11">
                  <c:v>0.23529411764705882</c:v>
                </c:pt>
                <c:pt idx="12">
                  <c:v>0.35294117647058826</c:v>
                </c:pt>
                <c:pt idx="13">
                  <c:v>0.2727272727272727</c:v>
                </c:pt>
                <c:pt idx="14">
                  <c:v>0.2857142857142857</c:v>
                </c:pt>
                <c:pt idx="15">
                  <c:v>0.25</c:v>
                </c:pt>
                <c:pt idx="16">
                  <c:v>0.3333333333333333</c:v>
                </c:pt>
                <c:pt idx="17">
                  <c:v>0.125</c:v>
                </c:pt>
                <c:pt idx="18">
                  <c:v>0.2857142857142857</c:v>
                </c:pt>
                <c:pt idx="19">
                  <c:v>0.2857142857142857</c:v>
                </c:pt>
                <c:pt idx="20">
                  <c:v>0.2</c:v>
                </c:pt>
                <c:pt idx="21">
                  <c:v>0.5</c:v>
                </c:pt>
                <c:pt idx="22">
                  <c:v>0.3333333333333333</c:v>
                </c:pt>
                <c:pt idx="23">
                  <c:v>0.0</c:v>
                </c:pt>
                <c:pt idx="24">
                  <c:v>0.0</c:v>
                </c:pt>
                <c:pt idx="25">
                  <c:v>0.0</c:v>
                </c:pt>
                <c:pt idx="26">
                  <c:v>0.4</c:v>
                </c:pt>
                <c:pt idx="27">
                  <c:v>0.25</c:v>
                </c:pt>
                <c:pt idx="28">
                  <c:v>0.3333333333333333</c:v>
                </c:pt>
                <c:pt idx="29">
                  <c:v>0.5714285714285714</c:v>
                </c:pt>
                <c:pt idx="30">
                  <c:v>0.5714285714285714</c:v>
                </c:pt>
                <c:pt idx="31">
                  <c:v>0.6666666666666666</c:v>
                </c:pt>
                <c:pt idx="32">
                  <c:v>0.5555555555555556</c:v>
                </c:pt>
                <c:pt idx="33">
                  <c:v>0.5454545454545454</c:v>
                </c:pt>
                <c:pt idx="34">
                  <c:v>0.5</c:v>
                </c:pt>
                <c:pt idx="35">
                  <c:v>0.5</c:v>
                </c:pt>
                <c:pt idx="36">
                  <c:v>0.47368421052631576</c:v>
                </c:pt>
                <c:pt idx="37">
                  <c:v>0.4</c:v>
                </c:pt>
                <c:pt idx="38">
                  <c:v>0.4166666666666667</c:v>
                </c:pt>
                <c:pt idx="39">
                  <c:v>0.3</c:v>
                </c:pt>
                <c:pt idx="40">
                  <c:v>0.25</c:v>
                </c:pt>
                <c:pt idx="41">
                  <c:v>0.3</c:v>
                </c:pt>
                <c:pt idx="42">
                  <c:v>0.1111111111111111</c:v>
                </c:pt>
                <c:pt idx="43">
                  <c:v>0.1</c:v>
                </c:pt>
                <c:pt idx="44">
                  <c:v>0.05</c:v>
                </c:pt>
                <c:pt idx="45">
                  <c:v>0.05</c:v>
                </c:pt>
                <c:pt idx="46">
                  <c:v>0.07692307692307693</c:v>
                </c:pt>
                <c:pt idx="47">
                  <c:v>0.11538461538461539</c:v>
                </c:pt>
                <c:pt idx="48">
                  <c:v>0.07692307692307693</c:v>
                </c:pt>
                <c:pt idx="49">
                  <c:v>0.09523809523809523</c:v>
                </c:pt>
                <c:pt idx="50">
                  <c:v>0.15</c:v>
                </c:pt>
                <c:pt idx="51">
                  <c:v>0.14285714285714285</c:v>
                </c:pt>
                <c:pt idx="52">
                  <c:v>0.0</c:v>
                </c:pt>
                <c:pt idx="53">
                  <c:v>0.1</c:v>
                </c:pt>
                <c:pt idx="54">
                  <c:v>0.0</c:v>
                </c:pt>
                <c:pt idx="55">
                  <c:v>0.0</c:v>
                </c:pt>
                <c:pt idx="56">
                  <c:v>0.0</c:v>
                </c:pt>
                <c:pt idx="57">
                  <c:v>0.0</c:v>
                </c:pt>
                <c:pt idx="58">
                  <c:v>0.14285714285714285</c:v>
                </c:pt>
                <c:pt idx="59">
                  <c:v>0.0</c:v>
                </c:pt>
                <c:pt idx="60">
                  <c:v>0.0</c:v>
                </c:pt>
                <c:pt idx="61">
                  <c:v>0.0</c:v>
                </c:pt>
                <c:pt idx="62">
                  <c:v>0.0</c:v>
                </c:pt>
                <c:pt idx="63">
                  <c:v>0.0</c:v>
                </c:pt>
                <c:pt idx="64">
                  <c:v>0.25</c:v>
                </c:pt>
                <c:pt idx="65">
                  <c:v>0.25</c:v>
                </c:pt>
                <c:pt idx="66">
                  <c:v>0.25</c:v>
                </c:pt>
                <c:pt idx="67">
                  <c:v>0.1111111111111111</c:v>
                </c:pt>
                <c:pt idx="68">
                  <c:v>0.2</c:v>
                </c:pt>
                <c:pt idx="69">
                  <c:v>0.0</c:v>
                </c:pt>
                <c:pt idx="70">
                  <c:v>0.0625</c:v>
                </c:pt>
                <c:pt idx="71">
                  <c:v>0.4117647058823529</c:v>
                </c:pt>
                <c:pt idx="72">
                  <c:v>0.375</c:v>
                </c:pt>
                <c:pt idx="73">
                  <c:v>0.0</c:v>
                </c:pt>
                <c:pt idx="74">
                  <c:v>0.25</c:v>
                </c:pt>
                <c:pt idx="75">
                  <c:v>0.16666666666666666</c:v>
                </c:pt>
                <c:pt idx="76">
                  <c:v>0.1</c:v>
                </c:pt>
                <c:pt idx="77">
                  <c:v>0.08333333333333333</c:v>
                </c:pt>
                <c:pt idx="78">
                  <c:v>0.07142857142857142</c:v>
                </c:pt>
                <c:pt idx="79">
                  <c:v>0.15384615384615385</c:v>
                </c:pt>
                <c:pt idx="80">
                  <c:v>0.18181818181818182</c:v>
                </c:pt>
                <c:pt idx="81">
                  <c:v>0.1</c:v>
                </c:pt>
                <c:pt idx="82">
                  <c:v>0.2727272727272727</c:v>
                </c:pt>
                <c:pt idx="83">
                  <c:v>0.0</c:v>
                </c:pt>
                <c:pt idx="84">
                  <c:v>0.2</c:v>
                </c:pt>
                <c:pt idx="85">
                  <c:v>0.0</c:v>
                </c:pt>
                <c:pt idx="86">
                  <c:v>0.2</c:v>
                </c:pt>
                <c:pt idx="87">
                  <c:v>0.0</c:v>
                </c:pt>
                <c:pt idx="88">
                  <c:v>0.0</c:v>
                </c:pt>
                <c:pt idx="89">
                  <c:v>0.0</c:v>
                </c:pt>
                <c:pt idx="90">
                  <c:v>0.0</c:v>
                </c:pt>
                <c:pt idx="91">
                  <c:v>0.0</c:v>
                </c:pt>
                <c:pt idx="92">
                  <c:v>0.0</c:v>
                </c:pt>
                <c:pt idx="93">
                  <c:v>0.0</c:v>
                </c:pt>
                <c:pt idx="94">
                  <c:v>0.0</c:v>
                </c:pt>
                <c:pt idx="95">
                  <c:v>0.0</c:v>
                </c:pt>
              </c:numCache>
            </c:numRef>
          </c:yVal>
          <c:smooth val="0"/>
          <c:extLst>
            <c:ext xmlns:c16="http://schemas.microsoft.com/office/drawing/2014/chart" uri="{C3380CC4-5D6E-409C-BE32-E72D297353CC}">
              <c16:uniqueId val="{00000000-096C-4121-9522-6AB7243CCAAE}"/>
            </c:ext>
          </c:extLst>
        </c:ser>
        <c:ser>
          <c:idx val="1"/>
          <c:order val="1"/>
          <c:tx>
            <c:strRef>
              <c:f>Sheet1!$B$9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0:$A$99</c:f>
              <c:numCache>
                <c:formatCode>General</c:formatCode>
                <c:ptCount val="0"/>
              </c:numCache>
            </c:numRef>
          </c:xVal>
          <c:yVal>
            <c:numRef>
              <c:f>Sheet1!$B$100:$B$99</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499318582651916</c:v>
                </c:pt>
              </c:numCache>
            </c:numRef>
          </c:xVal>
          <c:yVal>
            <c:numRef>
              <c:f>Sheet1!$B$102:$B$103</c:f>
              <c:numCache>
                <c:formatCode>General</c:formatCode>
                <c:ptCount val="2"/>
                <c:pt idx="0">
                  <c:v>0.499318582651916</c:v>
                </c:pt>
                <c:pt idx="1">
                  <c:v>0.49931858265191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499318582651916</c:v>
                </c:pt>
                <c:pt idx="1">
                  <c:v>0.499318582651916</c:v>
                </c:pt>
              </c:numCache>
            </c:numRef>
          </c:xVal>
          <c:yVal>
            <c:numRef>
              <c:f>Sheet1!$B$106:$B$107</c:f>
              <c:numCache>
                <c:formatCode>General</c:formatCode>
                <c:ptCount val="2"/>
                <c:pt idx="0">
                  <c:v>0.499318582651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1119047619047619</c:v>
                </c:pt>
              </c:numCache>
            </c:numRef>
          </c:xVal>
          <c:yVal>
            <c:numRef>
              <c:f>Sheet1!$B$110:$B$111</c:f>
              <c:numCache>
                <c:formatCode>General</c:formatCode>
                <c:ptCount val="2"/>
                <c:pt idx="0">
                  <c:v>0.1119047619047619</c:v>
                </c:pt>
                <c:pt idx="1">
                  <c:v>0.1119047619047619</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1119047619047619</c:v>
                </c:pt>
                <c:pt idx="1">
                  <c:v>0.1119047619047619</c:v>
                </c:pt>
              </c:numCache>
            </c:numRef>
          </c:xVal>
          <c:yVal>
            <c:numRef>
              <c:f>Sheet1!$B$114:$B$115</c:f>
              <c:numCache>
                <c:formatCode>General</c:formatCode>
                <c:ptCount val="2"/>
                <c:pt idx="0">
                  <c:v>0.11190476190476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0</c:v>
                </c:pt>
              </c:numCache>
            </c:numRef>
          </c:xVal>
          <c:yVal>
            <c:numRef>
              <c:f>Sheet1!$B$118:$B$119</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0</c:v>
                </c:pt>
                <c:pt idx="1">
                  <c:v>0.0</c:v>
                </c:pt>
              </c:numCache>
            </c:numRef>
          </c:xVal>
          <c:yVal>
            <c:numRef>
              <c:f>Sheet1!$B$122:$B$123</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28</c:f>
              <c:numCache>
                <c:formatCode>General</c:formatCode>
                <c:ptCount val="3"/>
                <c:pt idx="0">
                  <c:v>0.1119047619047619</c:v>
                </c:pt>
                <c:pt idx="1">
                  <c:v>0.499318582651916</c:v>
                </c:pt>
                <c:pt idx="2">
                  <c:v>0.0</c:v>
                </c:pt>
              </c:numCache>
            </c:numRef>
          </c:xVal>
          <c:yVal>
            <c:numRef>
              <c:f>Sheet1!$B$126:$B$128</c:f>
              <c:numCache>
                <c:formatCode>General</c:formatCode>
                <c:ptCount val="3"/>
                <c:pt idx="0">
                  <c:v>0.1119047619047619</c:v>
                </c:pt>
                <c:pt idx="1">
                  <c:v>0.499318582651916</c:v>
                </c:pt>
                <c:pt idx="2">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0</c:f>
              <c:numCache>
                <c:formatCode>General</c:formatCode>
                <c:ptCount val="59"/>
                <c:pt idx="0">
                  <c:v>672.25</c:v>
                </c:pt>
                <c:pt idx="1">
                  <c:v>802.625</c:v>
                </c:pt>
                <c:pt idx="2">
                  <c:v>804.8889</c:v>
                </c:pt>
                <c:pt idx="3">
                  <c:v>746.4444</c:v>
                </c:pt>
                <c:pt idx="4">
                  <c:v>757.6667</c:v>
                </c:pt>
                <c:pt idx="5">
                  <c:v>786.8333</c:v>
                </c:pt>
                <c:pt idx="6">
                  <c:v>788.1667</c:v>
                </c:pt>
                <c:pt idx="7">
                  <c:v>778.2</c:v>
                </c:pt>
                <c:pt idx="8">
                  <c:v>856.3333</c:v>
                </c:pt>
                <c:pt idx="9">
                  <c:v>1034.0</c:v>
                </c:pt>
                <c:pt idx="10">
                  <c:v>880.6</c:v>
                </c:pt>
                <c:pt idx="11">
                  <c:v>890.5</c:v>
                </c:pt>
                <c:pt idx="12">
                  <c:v>865.0</c:v>
                </c:pt>
                <c:pt idx="13">
                  <c:v>755.3333</c:v>
                </c:pt>
                <c:pt idx="14">
                  <c:v>758.0</c:v>
                </c:pt>
                <c:pt idx="15">
                  <c:v>894.0</c:v>
                </c:pt>
                <c:pt idx="16">
                  <c:v>841.3333</c:v>
                </c:pt>
                <c:pt idx="17">
                  <c:v>1049.0</c:v>
                </c:pt>
                <c:pt idx="18">
                  <c:v>1038.5</c:v>
                </c:pt>
                <c:pt idx="19">
                  <c:v>735.5</c:v>
                </c:pt>
                <c:pt idx="20">
                  <c:v>1292.0</c:v>
                </c:pt>
                <c:pt idx="21">
                  <c:v>999.0</c:v>
                </c:pt>
                <c:pt idx="22">
                  <c:v>1025.0</c:v>
                </c:pt>
                <c:pt idx="23">
                  <c:v>863.0</c:v>
                </c:pt>
                <c:pt idx="24">
                  <c:v>815.0</c:v>
                </c:pt>
                <c:pt idx="25">
                  <c:v>915.0</c:v>
                </c:pt>
                <c:pt idx="26">
                  <c:v>785.0</c:v>
                </c:pt>
                <c:pt idx="27">
                  <c:v>808.75</c:v>
                </c:pt>
                <c:pt idx="28">
                  <c:v>784.1667</c:v>
                </c:pt>
                <c:pt idx="29">
                  <c:v>780.8</c:v>
                </c:pt>
                <c:pt idx="30">
                  <c:v>732.5</c:v>
                </c:pt>
                <c:pt idx="31">
                  <c:v>769.875</c:v>
                </c:pt>
                <c:pt idx="32">
                  <c:v>753.5</c:v>
                </c:pt>
                <c:pt idx="33">
                  <c:v>825.3333</c:v>
                </c:pt>
                <c:pt idx="34">
                  <c:v>795.125</c:v>
                </c:pt>
                <c:pt idx="35">
                  <c:v>868.2</c:v>
                </c:pt>
                <c:pt idx="36">
                  <c:v>760.0</c:v>
                </c:pt>
                <c:pt idx="37">
                  <c:v>779.5</c:v>
                </c:pt>
                <c:pt idx="38">
                  <c:v>940.6667</c:v>
                </c:pt>
                <c:pt idx="39">
                  <c:v>915.0</c:v>
                </c:pt>
                <c:pt idx="40">
                  <c:v>612.5</c:v>
                </c:pt>
                <c:pt idx="41">
                  <c:v>1110.0</c:v>
                </c:pt>
                <c:pt idx="42">
                  <c:v>1628.0</c:v>
                </c:pt>
                <c:pt idx="43">
                  <c:v>1447.5</c:v>
                </c:pt>
                <c:pt idx="44">
                  <c:v>1196.0</c:v>
                </c:pt>
                <c:pt idx="45">
                  <c:v>1267.0</c:v>
                </c:pt>
                <c:pt idx="46">
                  <c:v>906.0</c:v>
                </c:pt>
                <c:pt idx="47">
                  <c:v>1022.6667</c:v>
                </c:pt>
                <c:pt idx="48">
                  <c:v>943.5</c:v>
                </c:pt>
                <c:pt idx="49">
                  <c:v>991.0</c:v>
                </c:pt>
                <c:pt idx="50">
                  <c:v>719.0</c:v>
                </c:pt>
                <c:pt idx="51">
                  <c:v>597.0</c:v>
                </c:pt>
                <c:pt idx="52">
                  <c:v>580.0</c:v>
                </c:pt>
                <c:pt idx="53">
                  <c:v>322.0</c:v>
                </c:pt>
                <c:pt idx="54">
                  <c:v>324.0</c:v>
                </c:pt>
                <c:pt idx="55">
                  <c:v>739.0</c:v>
                </c:pt>
                <c:pt idx="56">
                  <c:v>1434.0</c:v>
                </c:pt>
                <c:pt idx="57">
                  <c:v>250.2857</c:v>
                </c:pt>
                <c:pt idx="58">
                  <c:v>174.3333</c:v>
                </c:pt>
              </c:numCache>
            </c:numRef>
          </c:xVal>
          <c:yVal>
            <c:numRef>
              <c:f>Sheet1!$B$2:$B$60</c:f>
              <c:numCache>
                <c:formatCode>General</c:formatCode>
                <c:ptCount val="59"/>
                <c:pt idx="0">
                  <c:v>0.5</c:v>
                </c:pt>
                <c:pt idx="1">
                  <c:v>0.5</c:v>
                </c:pt>
                <c:pt idx="2">
                  <c:v>0.5</c:v>
                </c:pt>
                <c:pt idx="3">
                  <c:v>0.47368421052631576</c:v>
                </c:pt>
                <c:pt idx="4">
                  <c:v>0.4</c:v>
                </c:pt>
                <c:pt idx="5">
                  <c:v>0.35294117647058826</c:v>
                </c:pt>
                <c:pt idx="6">
                  <c:v>0.35294117647058826</c:v>
                </c:pt>
                <c:pt idx="7">
                  <c:v>0.4</c:v>
                </c:pt>
                <c:pt idx="8">
                  <c:v>0.2857142857142857</c:v>
                </c:pt>
                <c:pt idx="9">
                  <c:v>0.17647058823529413</c:v>
                </c:pt>
                <c:pt idx="10">
                  <c:v>0.25</c:v>
                </c:pt>
                <c:pt idx="11">
                  <c:v>0.23529411764705882</c:v>
                </c:pt>
                <c:pt idx="12">
                  <c:v>0.35294117647058826</c:v>
                </c:pt>
                <c:pt idx="13">
                  <c:v>0.2727272727272727</c:v>
                </c:pt>
                <c:pt idx="14">
                  <c:v>0.2857142857142857</c:v>
                </c:pt>
                <c:pt idx="15">
                  <c:v>0.25</c:v>
                </c:pt>
                <c:pt idx="16">
                  <c:v>0.3333333333333333</c:v>
                </c:pt>
                <c:pt idx="17">
                  <c:v>0.125</c:v>
                </c:pt>
                <c:pt idx="18">
                  <c:v>0.2857142857142857</c:v>
                </c:pt>
                <c:pt idx="19">
                  <c:v>0.2857142857142857</c:v>
                </c:pt>
                <c:pt idx="20">
                  <c:v>0.2</c:v>
                </c:pt>
                <c:pt idx="21">
                  <c:v>0.5</c:v>
                </c:pt>
                <c:pt idx="22">
                  <c:v>0.3333333333333333</c:v>
                </c:pt>
                <c:pt idx="23">
                  <c:v>0.4</c:v>
                </c:pt>
                <c:pt idx="24">
                  <c:v>0.25</c:v>
                </c:pt>
                <c:pt idx="25">
                  <c:v>0.3333333333333333</c:v>
                </c:pt>
                <c:pt idx="26">
                  <c:v>0.5714285714285714</c:v>
                </c:pt>
                <c:pt idx="27">
                  <c:v>0.5714285714285714</c:v>
                </c:pt>
                <c:pt idx="28">
                  <c:v>0.6666666666666666</c:v>
                </c:pt>
                <c:pt idx="29">
                  <c:v>0.5555555555555556</c:v>
                </c:pt>
                <c:pt idx="30">
                  <c:v>0.5454545454545454</c:v>
                </c:pt>
                <c:pt idx="31">
                  <c:v>0.5</c:v>
                </c:pt>
                <c:pt idx="32">
                  <c:v>0.5</c:v>
                </c:pt>
                <c:pt idx="33">
                  <c:v>0.47368421052631576</c:v>
                </c:pt>
                <c:pt idx="34">
                  <c:v>0.4</c:v>
                </c:pt>
                <c:pt idx="35">
                  <c:v>0.4166666666666667</c:v>
                </c:pt>
                <c:pt idx="36">
                  <c:v>0.3</c:v>
                </c:pt>
                <c:pt idx="37">
                  <c:v>0.25</c:v>
                </c:pt>
                <c:pt idx="38">
                  <c:v>0.3</c:v>
                </c:pt>
                <c:pt idx="39">
                  <c:v>0.1111111111111111</c:v>
                </c:pt>
                <c:pt idx="40">
                  <c:v>0.1</c:v>
                </c:pt>
                <c:pt idx="41">
                  <c:v>0.05</c:v>
                </c:pt>
                <c:pt idx="42">
                  <c:v>0.05</c:v>
                </c:pt>
                <c:pt idx="43">
                  <c:v>0.07692307692307693</c:v>
                </c:pt>
                <c:pt idx="44">
                  <c:v>0.11538461538461539</c:v>
                </c:pt>
                <c:pt idx="45">
                  <c:v>0.07692307692307693</c:v>
                </c:pt>
                <c:pt idx="46">
                  <c:v>0.09523809523809523</c:v>
                </c:pt>
                <c:pt idx="47">
                  <c:v>0.15</c:v>
                </c:pt>
                <c:pt idx="48">
                  <c:v>0.14285714285714285</c:v>
                </c:pt>
                <c:pt idx="49">
                  <c:v>0.1</c:v>
                </c:pt>
                <c:pt idx="50">
                  <c:v>0.14285714285714285</c:v>
                </c:pt>
                <c:pt idx="51">
                  <c:v>0.25</c:v>
                </c:pt>
                <c:pt idx="52">
                  <c:v>0.25</c:v>
                </c:pt>
                <c:pt idx="53">
                  <c:v>0.25</c:v>
                </c:pt>
                <c:pt idx="54">
                  <c:v>0.1111111111111111</c:v>
                </c:pt>
                <c:pt idx="55">
                  <c:v>0.2</c:v>
                </c:pt>
                <c:pt idx="56">
                  <c:v>0.0625</c:v>
                </c:pt>
                <c:pt idx="57">
                  <c:v>0.4117647058823529</c:v>
                </c:pt>
                <c:pt idx="58">
                  <c:v>0.375</c:v>
                </c:pt>
              </c:numCache>
            </c:numRef>
          </c:yVal>
          <c:smooth val="0"/>
          <c:extLst>
            <c:ext xmlns:c16="http://schemas.microsoft.com/office/drawing/2014/chart" uri="{C3380CC4-5D6E-409C-BE32-E72D297353CC}">
              <c16:uniqueId val="{00000000-F32D-48B7-BC20-E66FC6253BAD}"/>
            </c:ext>
          </c:extLst>
        </c:ser>
        <c:ser>
          <c:idx val="1"/>
          <c:order val="1"/>
          <c:tx>
            <c:strRef>
              <c:f>Sheet1!$B$6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3:$A$99</c:f>
              <c:numCache>
                <c:formatCode>General</c:formatCode>
                <c:ptCount val="3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1171.0</c:v>
                </c:pt>
                <c:pt idx="16">
                  <c:v>820.0</c:v>
                </c:pt>
                <c:pt idx="17">
                  <c:v>748.0</c:v>
                </c:pt>
                <c:pt idx="18">
                  <c:v>991.0</c:v>
                </c:pt>
                <c:pt idx="19">
                  <c:v>774.0</c:v>
                </c:pt>
                <c:pt idx="20">
                  <c:v>838.5</c:v>
                </c:pt>
                <c:pt idx="21">
                  <c:v>813.0</c:v>
                </c:pt>
                <c:pt idx="22">
                  <c:v>987.0</c:v>
                </c:pt>
                <c:pt idx="23">
                  <c:v>768.0</c:v>
                </c:pt>
                <c:pt idx="24">
                  <c:v>0.0</c:v>
                </c:pt>
                <c:pt idx="25">
                  <c:v>690.0</c:v>
                </c:pt>
                <c:pt idx="26">
                  <c:v>0.0</c:v>
                </c:pt>
                <c:pt idx="27">
                  <c:v>1150.0</c:v>
                </c:pt>
                <c:pt idx="28">
                  <c:v>0.0</c:v>
                </c:pt>
                <c:pt idx="29">
                  <c:v>0.0</c:v>
                </c:pt>
                <c:pt idx="30">
                  <c:v>0.0</c:v>
                </c:pt>
                <c:pt idx="31">
                  <c:v>0.0</c:v>
                </c:pt>
                <c:pt idx="32">
                  <c:v>0.0</c:v>
                </c:pt>
                <c:pt idx="33">
                  <c:v>0.0</c:v>
                </c:pt>
                <c:pt idx="34">
                  <c:v>0.0</c:v>
                </c:pt>
                <c:pt idx="35">
                  <c:v>0.0</c:v>
                </c:pt>
                <c:pt idx="36">
                  <c:v>0.0</c:v>
                </c:pt>
              </c:numCache>
            </c:numRef>
          </c:xVal>
          <c:yVal>
            <c:numRef>
              <c:f>Sheet1!$B$63:$B$99</c:f>
              <c:numCache>
                <c:formatCode>General</c:formatCode>
                <c:ptCount val="3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25</c:v>
                </c:pt>
                <c:pt idx="16">
                  <c:v>0.16666666666666666</c:v>
                </c:pt>
                <c:pt idx="17">
                  <c:v>0.1</c:v>
                </c:pt>
                <c:pt idx="18">
                  <c:v>0.08333333333333333</c:v>
                </c:pt>
                <c:pt idx="19">
                  <c:v>0.07142857142857142</c:v>
                </c:pt>
                <c:pt idx="20">
                  <c:v>0.15384615384615385</c:v>
                </c:pt>
                <c:pt idx="21">
                  <c:v>0.18181818181818182</c:v>
                </c:pt>
                <c:pt idx="22">
                  <c:v>0.1</c:v>
                </c:pt>
                <c:pt idx="23">
                  <c:v>0.2727272727272727</c:v>
                </c:pt>
                <c:pt idx="24">
                  <c:v>0.0</c:v>
                </c:pt>
                <c:pt idx="25">
                  <c:v>0.2</c:v>
                </c:pt>
                <c:pt idx="26">
                  <c:v>0.0</c:v>
                </c:pt>
                <c:pt idx="27">
                  <c:v>0.2</c:v>
                </c:pt>
                <c:pt idx="28">
                  <c:v>0.0</c:v>
                </c:pt>
                <c:pt idx="29">
                  <c:v>0.0</c:v>
                </c:pt>
                <c:pt idx="30">
                  <c:v>0.0</c:v>
                </c:pt>
                <c:pt idx="31">
                  <c:v>0.0</c:v>
                </c:pt>
                <c:pt idx="32">
                  <c:v>0.0</c:v>
                </c:pt>
                <c:pt idx="33">
                  <c:v>0.0</c:v>
                </c:pt>
                <c:pt idx="34">
                  <c:v>0.0</c:v>
                </c:pt>
                <c:pt idx="35">
                  <c:v>0.0</c:v>
                </c:pt>
                <c:pt idx="36">
                  <c:v>0.0</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804.6266720279345</c:v>
                </c:pt>
              </c:numCache>
            </c:numRef>
          </c:xVal>
          <c:yVal>
            <c:numRef>
              <c:f>Sheet1!$B$102:$B$103</c:f>
              <c:numCache>
                <c:formatCode>General</c:formatCode>
                <c:ptCount val="2"/>
                <c:pt idx="0">
                  <c:v>0.499318582651916</c:v>
                </c:pt>
                <c:pt idx="1">
                  <c:v>0.49931858265191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804.6266720279345</c:v>
                </c:pt>
                <c:pt idx="1">
                  <c:v>2804.6266720279345</c:v>
                </c:pt>
              </c:numCache>
            </c:numRef>
          </c:xVal>
          <c:yVal>
            <c:numRef>
              <c:f>Sheet1!$B$106:$B$107</c:f>
              <c:numCache>
                <c:formatCode>General</c:formatCode>
                <c:ptCount val="2"/>
                <c:pt idx="0">
                  <c:v>0.499318582651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622.8366330130807</c:v>
                </c:pt>
              </c:numCache>
            </c:numRef>
          </c:xVal>
          <c:yVal>
            <c:numRef>
              <c:f>Sheet1!$B$110:$B$111</c:f>
              <c:numCache>
                <c:formatCode>General</c:formatCode>
                <c:ptCount val="2"/>
                <c:pt idx="0">
                  <c:v>0.1119047619047619</c:v>
                </c:pt>
                <c:pt idx="1">
                  <c:v>0.1119047619047619</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622.8366330130807</c:v>
                </c:pt>
                <c:pt idx="1">
                  <c:v>622.8366330130807</c:v>
                </c:pt>
              </c:numCache>
            </c:numRef>
          </c:xVal>
          <c:yVal>
            <c:numRef>
              <c:f>Sheet1!$B$114:$B$115</c:f>
              <c:numCache>
                <c:formatCode>General</c:formatCode>
                <c:ptCount val="2"/>
                <c:pt idx="0">
                  <c:v>0.11190476190476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7.374995398299157</c:v>
                </c:pt>
              </c:numCache>
            </c:numRef>
          </c:xVal>
          <c:yVal>
            <c:numRef>
              <c:f>Sheet1!$B$118:$B$119</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7.374995398299157</c:v>
                </c:pt>
                <c:pt idx="1">
                  <c:v>-7.374995398299157</c:v>
                </c:pt>
              </c:numCache>
            </c:numRef>
          </c:xVal>
          <c:yVal>
            <c:numRef>
              <c:f>Sheet1!$B$122:$B$123</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65</c:f>
              <c:numCache>
                <c:formatCode>General</c:formatCode>
                <c:ptCount val="40"/>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1171.0</c:v>
                </c:pt>
                <c:pt idx="16">
                  <c:v>820.0</c:v>
                </c:pt>
                <c:pt idx="17">
                  <c:v>748.0</c:v>
                </c:pt>
                <c:pt idx="18">
                  <c:v>991.0</c:v>
                </c:pt>
                <c:pt idx="19">
                  <c:v>774.0</c:v>
                </c:pt>
                <c:pt idx="20">
                  <c:v>838.5</c:v>
                </c:pt>
                <c:pt idx="21">
                  <c:v>813.0</c:v>
                </c:pt>
                <c:pt idx="22">
                  <c:v>987.0</c:v>
                </c:pt>
                <c:pt idx="23">
                  <c:v>768.0</c:v>
                </c:pt>
                <c:pt idx="24">
                  <c:v>0.0</c:v>
                </c:pt>
                <c:pt idx="25">
                  <c:v>690.0</c:v>
                </c:pt>
                <c:pt idx="26">
                  <c:v>0.0</c:v>
                </c:pt>
                <c:pt idx="27">
                  <c:v>1150.0</c:v>
                </c:pt>
                <c:pt idx="28">
                  <c:v>0.0</c:v>
                </c:pt>
                <c:pt idx="29">
                  <c:v>0.0</c:v>
                </c:pt>
                <c:pt idx="30">
                  <c:v>0.0</c:v>
                </c:pt>
                <c:pt idx="31">
                  <c:v>0.0</c:v>
                </c:pt>
                <c:pt idx="32">
                  <c:v>0.0</c:v>
                </c:pt>
                <c:pt idx="33">
                  <c:v>0.0</c:v>
                </c:pt>
                <c:pt idx="34">
                  <c:v>0.0</c:v>
                </c:pt>
                <c:pt idx="35">
                  <c:v>0.0</c:v>
                </c:pt>
                <c:pt idx="36">
                  <c:v>0.0</c:v>
                </c:pt>
                <c:pt idx="37">
                  <c:v>622.8366330130807</c:v>
                </c:pt>
                <c:pt idx="38">
                  <c:v>2804.6266720279345</c:v>
                </c:pt>
                <c:pt idx="39">
                  <c:v>-7.374995398299157</c:v>
                </c:pt>
              </c:numCache>
            </c:numRef>
          </c:xVal>
          <c:yVal>
            <c:numRef>
              <c:f>Sheet1!$B$126:$B$165</c:f>
              <c:numCache>
                <c:formatCode>General</c:formatCode>
                <c:ptCount val="40"/>
                <c:pt idx="0">
                  <c:v>0.0013095554999132087</c:v>
                </c:pt>
                <c:pt idx="1">
                  <c:v>0.0013095554999132087</c:v>
                </c:pt>
                <c:pt idx="2">
                  <c:v>0.0013095554999132087</c:v>
                </c:pt>
                <c:pt idx="3">
                  <c:v>0.0013095554999132087</c:v>
                </c:pt>
                <c:pt idx="4">
                  <c:v>0.0013095554999132087</c:v>
                </c:pt>
                <c:pt idx="5">
                  <c:v>0.0013095554999132087</c:v>
                </c:pt>
                <c:pt idx="6">
                  <c:v>0.0013095554999132087</c:v>
                </c:pt>
                <c:pt idx="7">
                  <c:v>0.0013095554999132087</c:v>
                </c:pt>
                <c:pt idx="8">
                  <c:v>0.0013095554999132087</c:v>
                </c:pt>
                <c:pt idx="9">
                  <c:v>0.0013095554999132087</c:v>
                </c:pt>
                <c:pt idx="10">
                  <c:v>0.0013095554999132087</c:v>
                </c:pt>
                <c:pt idx="11">
                  <c:v>0.0013095554999132087</c:v>
                </c:pt>
                <c:pt idx="12">
                  <c:v>0.0013095554999132087</c:v>
                </c:pt>
                <c:pt idx="13">
                  <c:v>0.0013095554999132087</c:v>
                </c:pt>
                <c:pt idx="14">
                  <c:v>0.0013095554999132087</c:v>
                </c:pt>
                <c:pt idx="15">
                  <c:v>0.20924046359946608</c:v>
                </c:pt>
                <c:pt idx="16">
                  <c:v>0.14691446125707233</c:v>
                </c:pt>
                <c:pt idx="17">
                  <c:v>0.1341296402637608</c:v>
                </c:pt>
                <c:pt idx="18">
                  <c:v>0.17727841111618725</c:v>
                </c:pt>
                <c:pt idx="19">
                  <c:v>0.1387463811780122</c:v>
                </c:pt>
                <c:pt idx="20">
                  <c:v>0.15019944998452045</c:v>
                </c:pt>
                <c:pt idx="21">
                  <c:v>0.14567149254938927</c:v>
                </c:pt>
                <c:pt idx="22">
                  <c:v>0.17656814328322548</c:v>
                </c:pt>
                <c:pt idx="23">
                  <c:v>0.13768097942856958</c:v>
                </c:pt>
                <c:pt idx="24">
                  <c:v>0.0013095554999132087</c:v>
                </c:pt>
                <c:pt idx="25">
                  <c:v>0.1238307566858154</c:v>
                </c:pt>
                <c:pt idx="26">
                  <c:v>0.0013095554999132087</c:v>
                </c:pt>
                <c:pt idx="27">
                  <c:v>0.20551155747641686</c:v>
                </c:pt>
                <c:pt idx="28">
                  <c:v>0.0013095554999132087</c:v>
                </c:pt>
                <c:pt idx="29">
                  <c:v>0.0013095554999132087</c:v>
                </c:pt>
                <c:pt idx="30">
                  <c:v>0.0013095554999132087</c:v>
                </c:pt>
                <c:pt idx="31">
                  <c:v>0.0013095554999132087</c:v>
                </c:pt>
                <c:pt idx="32">
                  <c:v>0.0013095554999132087</c:v>
                </c:pt>
                <c:pt idx="33">
                  <c:v>0.0013095554999132087</c:v>
                </c:pt>
                <c:pt idx="34">
                  <c:v>0.0013095554999132087</c:v>
                </c:pt>
                <c:pt idx="35">
                  <c:v>0.0013095554999132087</c:v>
                </c:pt>
                <c:pt idx="36">
                  <c:v>0.0013095554999132087</c:v>
                </c:pt>
                <c:pt idx="37">
                  <c:v>0.1119047619047619</c:v>
                </c:pt>
                <c:pt idx="38">
                  <c:v>0.4993185826519159</c:v>
                </c:pt>
                <c:pt idx="3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36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4</c:f>
              <c:numCache>
                <c:formatCode>General</c:formatCode>
                <c:ptCount val="103"/>
                <c:pt idx="0">
                  <c:v>1.1746683288743673</c:v>
                </c:pt>
                <c:pt idx="1">
                  <c:v>1.4636959370904326</c:v>
                </c:pt>
                <c:pt idx="2">
                  <c:v>1.6046109510086455</c:v>
                </c:pt>
                <c:pt idx="3">
                  <c:v>1.555628949107733</c:v>
                </c:pt>
                <c:pt idx="4">
                  <c:v>1.742081447963801</c:v>
                </c:pt>
                <c:pt idx="5">
                  <c:v>1.710172001243008</c:v>
                </c:pt>
                <c:pt idx="6">
                  <c:v>1.6759511842865396</c:v>
                </c:pt>
                <c:pt idx="7">
                  <c:v>1.7286613392526824</c:v>
                </c:pt>
                <c:pt idx="8">
                  <c:v>1.8290634715025909</c:v>
                </c:pt>
                <c:pt idx="9">
                  <c:v>1.74777055768655</c:v>
                </c:pt>
                <c:pt idx="10">
                  <c:v>2.0811713824923626</c:v>
                </c:pt>
                <c:pt idx="11">
                  <c:v>1.7869117885353865</c:v>
                </c:pt>
                <c:pt idx="12">
                  <c:v>1.6553997876186228</c:v>
                </c:pt>
                <c:pt idx="13">
                  <c:v>1.8633753896636587</c:v>
                </c:pt>
                <c:pt idx="14">
                  <c:v>1.6570138262476892</c:v>
                </c:pt>
                <c:pt idx="15">
                  <c:v>1.6614110739502046</c:v>
                </c:pt>
                <c:pt idx="16">
                  <c:v>1.5312030263157896</c:v>
                </c:pt>
                <c:pt idx="17">
                  <c:v>1.489342649626078</c:v>
                </c:pt>
                <c:pt idx="18">
                  <c:v>1.8426220040427375</c:v>
                </c:pt>
                <c:pt idx="19">
                  <c:v>2.311144922023583</c:v>
                </c:pt>
                <c:pt idx="20">
                  <c:v>1.7508473410657908</c:v>
                </c:pt>
                <c:pt idx="21">
                  <c:v>1.8993071796483336</c:v>
                </c:pt>
                <c:pt idx="22">
                  <c:v>2.0242215533475805</c:v>
                </c:pt>
                <c:pt idx="23">
                  <c:v>2.509306260575296</c:v>
                </c:pt>
                <c:pt idx="24">
                  <c:v>2.4038461538461537</c:v>
                </c:pt>
                <c:pt idx="25">
                  <c:v>1.4467105263157896</c:v>
                </c:pt>
                <c:pt idx="26">
                  <c:v>1.933588761174968</c:v>
                </c:pt>
                <c:pt idx="27">
                  <c:v>2.422848664688427</c:v>
                </c:pt>
                <c:pt idx="28">
                  <c:v>1.396919431279621</c:v>
                </c:pt>
                <c:pt idx="29">
                  <c:v>2.6571146245059287</c:v>
                </c:pt>
                <c:pt idx="30">
                  <c:v>1.7133492252681763</c:v>
                </c:pt>
                <c:pt idx="31">
                  <c:v>1.8995098039215685</c:v>
                </c:pt>
                <c:pt idx="32">
                  <c:v>2.17825311942959</c:v>
                </c:pt>
                <c:pt idx="33">
                  <c:v>1.434143870314083</c:v>
                </c:pt>
                <c:pt idx="34">
                  <c:v>1.3412650803093398</c:v>
                </c:pt>
                <c:pt idx="35">
                  <c:v>1.9433511627906976</c:v>
                </c:pt>
                <c:pt idx="36">
                  <c:v>2.0891364902506964</c:v>
                </c:pt>
                <c:pt idx="37">
                  <c:v>1.6108843537414965</c:v>
                </c:pt>
                <c:pt idx="38">
                  <c:v>3.5533807829181496</c:v>
                </c:pt>
                <c:pt idx="39">
                  <c:v>1.2435643564356436</c:v>
                </c:pt>
                <c:pt idx="40">
                  <c:v>3.6713352007469653</c:v>
                </c:pt>
                <c:pt idx="41">
                  <c:v>2.2462734931950745</c:v>
                </c:pt>
                <c:pt idx="42">
                  <c:v>3.0472972972972974</c:v>
                </c:pt>
                <c:pt idx="43">
                  <c:v>1.8835403726708075</c:v>
                </c:pt>
                <c:pt idx="44">
                  <c:v>2.076211362281438</c:v>
                </c:pt>
                <c:pt idx="45">
                  <c:v>2.053398148870174</c:v>
                </c:pt>
                <c:pt idx="46">
                  <c:v>1.6107626279300098</c:v>
                </c:pt>
                <c:pt idx="47">
                  <c:v>1.8252967359050445</c:v>
                </c:pt>
                <c:pt idx="48">
                  <c:v>2.1074838312288264</c:v>
                </c:pt>
                <c:pt idx="49">
                  <c:v>2.1531412687099074</c:v>
                </c:pt>
                <c:pt idx="50">
                  <c:v>1.7763936983274367</c:v>
                </c:pt>
                <c:pt idx="51">
                  <c:v>1.7425191370911621</c:v>
                </c:pt>
                <c:pt idx="52">
                  <c:v>1.8898168103448276</c:v>
                </c:pt>
                <c:pt idx="53">
                  <c:v>2.120112381078254</c:v>
                </c:pt>
                <c:pt idx="54">
                  <c:v>2.730000133170738</c:v>
                </c:pt>
                <c:pt idx="55">
                  <c:v>1.4855107815396622</c:v>
                </c:pt>
                <c:pt idx="56">
                  <c:v>1.164637839177971</c:v>
                </c:pt>
                <c:pt idx="57">
                  <c:v>1.1179869670049003</c:v>
                </c:pt>
                <c:pt idx="58">
                  <c:v>1.392577825239721</c:v>
                </c:pt>
                <c:pt idx="59">
                  <c:v>1.23091267512042</c:v>
                </c:pt>
                <c:pt idx="60">
                  <c:v>1.4253714818483771</c:v>
                </c:pt>
                <c:pt idx="61">
                  <c:v>1.3929157812205881</c:v>
                </c:pt>
                <c:pt idx="62">
                  <c:v>1.453481547356023</c:v>
                </c:pt>
                <c:pt idx="63">
                  <c:v>1.4379782104099395</c:v>
                </c:pt>
                <c:pt idx="64">
                  <c:v>1.280452514448374</c:v>
                </c:pt>
                <c:pt idx="65">
                  <c:v>1.321674566374721</c:v>
                </c:pt>
                <c:pt idx="66">
                  <c:v>1.6091515729265968</c:v>
                </c:pt>
                <c:pt idx="67">
                  <c:v>1.307834457334439</c:v>
                </c:pt>
                <c:pt idx="68">
                  <c:v>1.2938497973277285</c:v>
                </c:pt>
                <c:pt idx="69">
                  <c:v>0.9697488584474886</c:v>
                </c:pt>
                <c:pt idx="70">
                  <c:v>0.8873660109474412</c:v>
                </c:pt>
                <c:pt idx="71">
                  <c:v>0.8517128108869076</c:v>
                </c:pt>
                <c:pt idx="72">
                  <c:v>1.4443194136487414</c:v>
                </c:pt>
                <c:pt idx="73">
                  <c:v>1.3647120611884682</c:v>
                </c:pt>
                <c:pt idx="74">
                  <c:v>1.713081714913888</c:v>
                </c:pt>
                <c:pt idx="75">
                  <c:v>1.2086120401337792</c:v>
                </c:pt>
                <c:pt idx="76">
                  <c:v>0.8933566433566433</c:v>
                </c:pt>
                <c:pt idx="77">
                  <c:v>1.3310712554532234</c:v>
                </c:pt>
                <c:pt idx="78">
                  <c:v>1.38489646772229</c:v>
                </c:pt>
                <c:pt idx="79">
                  <c:v>1.1658856607310215</c:v>
                </c:pt>
                <c:pt idx="80">
                  <c:v>2.58656330749354</c:v>
                </c:pt>
                <c:pt idx="81">
                  <c:v>1.0557677616501147</c:v>
                </c:pt>
                <c:pt idx="82">
                  <c:v>1.2294401786648177</c:v>
                </c:pt>
                <c:pt idx="83">
                  <c:v>1.0806954971020954</c:v>
                </c:pt>
                <c:pt idx="84">
                  <c:v>1.6255239869585467</c:v>
                </c:pt>
                <c:pt idx="85">
                  <c:v>1.531151715895271</c:v>
                </c:pt>
                <c:pt idx="86">
                  <c:v>2.529452859165314</c:v>
                </c:pt>
                <c:pt idx="87">
                  <c:v>1.2453333333333334</c:v>
                </c:pt>
                <c:pt idx="88">
                  <c:v>1.3470919324577861</c:v>
                </c:pt>
                <c:pt idx="89">
                  <c:v>2.3300536672629697</c:v>
                </c:pt>
                <c:pt idx="90">
                  <c:v>1.651270207852194</c:v>
                </c:pt>
                <c:pt idx="91">
                  <c:v>1.970235237638022</c:v>
                </c:pt>
                <c:pt idx="92">
                  <c:v>2.055797733217088</c:v>
                </c:pt>
                <c:pt idx="93">
                  <c:v>0.49085286521388216</c:v>
                </c:pt>
                <c:pt idx="94">
                  <c:v>0.7625570776255708</c:v>
                </c:pt>
                <c:pt idx="95">
                  <c:v>1.911911911911912</c:v>
                </c:pt>
                <c:pt idx="96">
                  <c:v>1.7348260048556785</c:v>
                </c:pt>
                <c:pt idx="97">
                  <c:v>1.0372218756498233</c:v>
                </c:pt>
                <c:pt idx="98">
                  <c:v>1.1599398757677637</c:v>
                </c:pt>
                <c:pt idx="99">
                  <c:v>2.274817722938867</c:v>
                </c:pt>
                <c:pt idx="100">
                  <c:v>1.8588001325820351</c:v>
                </c:pt>
                <c:pt idx="101">
                  <c:v>0.8225162780928377</c:v>
                </c:pt>
                <c:pt idx="102">
                  <c:v>1.4058957240038872</c:v>
                </c:pt>
              </c:numCache>
            </c:numRef>
          </c:xVal>
          <c:yVal>
            <c:numRef>
              <c:f>Sheet1!$B$2:$B$104</c:f>
              <c:numCache>
                <c:formatCode>General</c:formatCode>
                <c:ptCount val="103"/>
                <c:pt idx="0">
                  <c:v>0.375</c:v>
                </c:pt>
                <c:pt idx="1">
                  <c:v>0.3125</c:v>
                </c:pt>
                <c:pt idx="2">
                  <c:v>0.2777777777777778</c:v>
                </c:pt>
                <c:pt idx="3">
                  <c:v>0.3157894736842105</c:v>
                </c:pt>
                <c:pt idx="4">
                  <c:v>0.26666666666666666</c:v>
                </c:pt>
                <c:pt idx="5">
                  <c:v>0.35294117647058826</c:v>
                </c:pt>
                <c:pt idx="6">
                  <c:v>0.35</c:v>
                </c:pt>
                <c:pt idx="7">
                  <c:v>0.4117647058823529</c:v>
                </c:pt>
                <c:pt idx="8">
                  <c:v>0.35294117647058826</c:v>
                </c:pt>
                <c:pt idx="9">
                  <c:v>0.36</c:v>
                </c:pt>
                <c:pt idx="10">
                  <c:v>0.52</c:v>
                </c:pt>
                <c:pt idx="11">
                  <c:v>0.42857142857142855</c:v>
                </c:pt>
                <c:pt idx="12">
                  <c:v>0.6470588235294118</c:v>
                </c:pt>
                <c:pt idx="13">
                  <c:v>0.55</c:v>
                </c:pt>
                <c:pt idx="14">
                  <c:v>0.5294117647058824</c:v>
                </c:pt>
                <c:pt idx="15">
                  <c:v>0.4117647058823529</c:v>
                </c:pt>
                <c:pt idx="16">
                  <c:v>0.5384615384615384</c:v>
                </c:pt>
                <c:pt idx="17">
                  <c:v>0.45454545454545453</c:v>
                </c:pt>
                <c:pt idx="18">
                  <c:v>0.35714285714285715</c:v>
                </c:pt>
                <c:pt idx="19">
                  <c:v>0.25</c:v>
                </c:pt>
                <c:pt idx="20">
                  <c:v>0.3333333333333333</c:v>
                </c:pt>
                <c:pt idx="21">
                  <c:v>0.5</c:v>
                </c:pt>
                <c:pt idx="22">
                  <c:v>0.2857142857142857</c:v>
                </c:pt>
                <c:pt idx="23">
                  <c:v>0.2857142857142857</c:v>
                </c:pt>
                <c:pt idx="24">
                  <c:v>0.4</c:v>
                </c:pt>
                <c:pt idx="25">
                  <c:v>0.5</c:v>
                </c:pt>
                <c:pt idx="26">
                  <c:v>0.25</c:v>
                </c:pt>
                <c:pt idx="27">
                  <c:v>0.3333333333333333</c:v>
                </c:pt>
                <c:pt idx="28">
                  <c:v>0.6666666666666666</c:v>
                </c:pt>
                <c:pt idx="29">
                  <c:v>0.6666666666666666</c:v>
                </c:pt>
                <c:pt idx="30">
                  <c:v>0.6666666666666666</c:v>
                </c:pt>
                <c:pt idx="31">
                  <c:v>0.5</c:v>
                </c:pt>
                <c:pt idx="32">
                  <c:v>0.5</c:v>
                </c:pt>
                <c:pt idx="33">
                  <c:v>0.4</c:v>
                </c:pt>
                <c:pt idx="34">
                  <c:v>0.5</c:v>
                </c:pt>
                <c:pt idx="35">
                  <c:v>0.6</c:v>
                </c:pt>
                <c:pt idx="36">
                  <c:v>0.25</c:v>
                </c:pt>
                <c:pt idx="37">
                  <c:v>0.5</c:v>
                </c:pt>
                <c:pt idx="38">
                  <c:v>0.3333333333333333</c:v>
                </c:pt>
                <c:pt idx="39">
                  <c:v>0.2857142857142857</c:v>
                </c:pt>
                <c:pt idx="40">
                  <c:v>0.14285714285714285</c:v>
                </c:pt>
                <c:pt idx="41">
                  <c:v>0.1111111111111111</c:v>
                </c:pt>
                <c:pt idx="42">
                  <c:v>0.1</c:v>
                </c:pt>
                <c:pt idx="43">
                  <c:v>0.2222222222222222</c:v>
                </c:pt>
                <c:pt idx="44">
                  <c:v>0.125</c:v>
                </c:pt>
                <c:pt idx="45">
                  <c:v>0.18181818181818182</c:v>
                </c:pt>
                <c:pt idx="46">
                  <c:v>0.25</c:v>
                </c:pt>
                <c:pt idx="47">
                  <c:v>0.25</c:v>
                </c:pt>
                <c:pt idx="48">
                  <c:v>0.2631578947368421</c:v>
                </c:pt>
                <c:pt idx="49">
                  <c:v>0.35</c:v>
                </c:pt>
                <c:pt idx="50">
                  <c:v>0.375</c:v>
                </c:pt>
                <c:pt idx="51">
                  <c:v>0.25</c:v>
                </c:pt>
                <c:pt idx="52">
                  <c:v>0.45</c:v>
                </c:pt>
                <c:pt idx="53">
                  <c:v>0.3125</c:v>
                </c:pt>
                <c:pt idx="54">
                  <c:v>0.4</c:v>
                </c:pt>
                <c:pt idx="55">
                  <c:v>0.3333333333333333</c:v>
                </c:pt>
                <c:pt idx="56">
                  <c:v>0.25</c:v>
                </c:pt>
                <c:pt idx="57">
                  <c:v>0.3</c:v>
                </c:pt>
                <c:pt idx="58">
                  <c:v>0.29411764705882354</c:v>
                </c:pt>
                <c:pt idx="59">
                  <c:v>0.3</c:v>
                </c:pt>
                <c:pt idx="60">
                  <c:v>0.35714285714285715</c:v>
                </c:pt>
                <c:pt idx="61">
                  <c:v>0.38461538461538464</c:v>
                </c:pt>
                <c:pt idx="62">
                  <c:v>0.4230769230769231</c:v>
                </c:pt>
                <c:pt idx="63">
                  <c:v>0.44</c:v>
                </c:pt>
                <c:pt idx="64">
                  <c:v>0.5384615384615384</c:v>
                </c:pt>
                <c:pt idx="65">
                  <c:v>0.42857142857142855</c:v>
                </c:pt>
                <c:pt idx="66">
                  <c:v>0.35</c:v>
                </c:pt>
                <c:pt idx="67">
                  <c:v>0.42857142857142855</c:v>
                </c:pt>
                <c:pt idx="68">
                  <c:v>0.375</c:v>
                </c:pt>
                <c:pt idx="69">
                  <c:v>0.4</c:v>
                </c:pt>
                <c:pt idx="70">
                  <c:v>0.45454545454545453</c:v>
                </c:pt>
                <c:pt idx="71">
                  <c:v>0.4</c:v>
                </c:pt>
                <c:pt idx="72">
                  <c:v>0.3333333333333333</c:v>
                </c:pt>
                <c:pt idx="73">
                  <c:v>0.42857142857142855</c:v>
                </c:pt>
                <c:pt idx="74">
                  <c:v>0.25</c:v>
                </c:pt>
                <c:pt idx="75">
                  <c:v>0.2857142857142857</c:v>
                </c:pt>
                <c:pt idx="76">
                  <c:v>0.2857142857142857</c:v>
                </c:pt>
                <c:pt idx="77">
                  <c:v>0.2</c:v>
                </c:pt>
                <c:pt idx="78">
                  <c:v>0.3333333333333333</c:v>
                </c:pt>
                <c:pt idx="79">
                  <c:v>0.5</c:v>
                </c:pt>
                <c:pt idx="80">
                  <c:v>0.2</c:v>
                </c:pt>
                <c:pt idx="81">
                  <c:v>0.25</c:v>
                </c:pt>
                <c:pt idx="82">
                  <c:v>0.25</c:v>
                </c:pt>
                <c:pt idx="83">
                  <c:v>0.25</c:v>
                </c:pt>
                <c:pt idx="84">
                  <c:v>0.25</c:v>
                </c:pt>
                <c:pt idx="85">
                  <c:v>0.4</c:v>
                </c:pt>
                <c:pt idx="86">
                  <c:v>0.2</c:v>
                </c:pt>
                <c:pt idx="87">
                  <c:v>0.25</c:v>
                </c:pt>
                <c:pt idx="88">
                  <c:v>0.25</c:v>
                </c:pt>
                <c:pt idx="89">
                  <c:v>0.25</c:v>
                </c:pt>
                <c:pt idx="90">
                  <c:v>0.25</c:v>
                </c:pt>
                <c:pt idx="91">
                  <c:v>0.16666666666666666</c:v>
                </c:pt>
                <c:pt idx="92">
                  <c:v>0.25</c:v>
                </c:pt>
                <c:pt idx="93">
                  <c:v>0.6666666666666666</c:v>
                </c:pt>
                <c:pt idx="94">
                  <c:v>0.5</c:v>
                </c:pt>
                <c:pt idx="95">
                  <c:v>0.4</c:v>
                </c:pt>
                <c:pt idx="96">
                  <c:v>0.5</c:v>
                </c:pt>
                <c:pt idx="97">
                  <c:v>0.5555555555555556</c:v>
                </c:pt>
                <c:pt idx="98">
                  <c:v>0.5</c:v>
                </c:pt>
                <c:pt idx="99">
                  <c:v>0.2857142857142857</c:v>
                </c:pt>
                <c:pt idx="100">
                  <c:v>0.375</c:v>
                </c:pt>
                <c:pt idx="101">
                  <c:v>0.35294117647058826</c:v>
                </c:pt>
                <c:pt idx="102">
                  <c:v>0.375</c:v>
                </c:pt>
              </c:numCache>
            </c:numRef>
          </c:yVal>
          <c:smooth val="0"/>
          <c:extLst>
            <c:ext xmlns:c16="http://schemas.microsoft.com/office/drawing/2014/chart" uri="{C3380CC4-5D6E-409C-BE32-E72D297353CC}">
              <c16:uniqueId val="{00000000-096C-4121-9522-6AB7243CCAAE}"/>
            </c:ext>
          </c:extLst>
        </c:ser>
        <c:ser>
          <c:idx val="1"/>
          <c:order val="1"/>
          <c:tx>
            <c:strRef>
              <c:f>Sheet1!$B$10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7:$A$157</c:f>
              <c:numCache>
                <c:formatCode>General</c:formatCode>
                <c:ptCount val="51"/>
                <c:pt idx="0">
                  <c:v>0.0</c:v>
                </c:pt>
                <c:pt idx="1">
                  <c:v>0.0</c:v>
                </c:pt>
                <c:pt idx="2">
                  <c:v>1.2828449905482042</c:v>
                </c:pt>
                <c:pt idx="3">
                  <c:v>1.2264462809917354</c:v>
                </c:pt>
                <c:pt idx="4">
                  <c:v>1.1355050606212684</c:v>
                </c:pt>
                <c:pt idx="5">
                  <c:v>0.9883984930032292</c:v>
                </c:pt>
                <c:pt idx="6">
                  <c:v>1.7868471135546629</c:v>
                </c:pt>
                <c:pt idx="7">
                  <c:v>1.4888628370457209</c:v>
                </c:pt>
                <c:pt idx="8">
                  <c:v>1.6824197519305637</c:v>
                </c:pt>
                <c:pt idx="9">
                  <c:v>1.5415165198237886</c:v>
                </c:pt>
                <c:pt idx="10">
                  <c:v>1.330577075883989</c:v>
                </c:pt>
                <c:pt idx="11">
                  <c:v>1.6654280710790628</c:v>
                </c:pt>
                <c:pt idx="12">
                  <c:v>1.5864131995776136</c:v>
                </c:pt>
                <c:pt idx="13">
                  <c:v>1.6556830309498398</c:v>
                </c:pt>
                <c:pt idx="14">
                  <c:v>1.630598892803221</c:v>
                </c:pt>
                <c:pt idx="15">
                  <c:v>1.7517845895444046</c:v>
                </c:pt>
                <c:pt idx="16">
                  <c:v>1.9458642484198956</c:v>
                </c:pt>
                <c:pt idx="17">
                  <c:v>1.3632533402115037</c:v>
                </c:pt>
                <c:pt idx="18">
                  <c:v>2.5402750491159134</c:v>
                </c:pt>
                <c:pt idx="19">
                  <c:v>1.5102989301413139</c:v>
                </c:pt>
                <c:pt idx="20">
                  <c:v>1.2823033707865168</c:v>
                </c:pt>
                <c:pt idx="21">
                  <c:v>3.3324432576769025</c:v>
                </c:pt>
                <c:pt idx="22">
                  <c:v>1.5893975903614457</c:v>
                </c:pt>
                <c:pt idx="23">
                  <c:v>2.3750819672131147</c:v>
                </c:pt>
                <c:pt idx="24">
                  <c:v>1.4486646884272998</c:v>
                </c:pt>
                <c:pt idx="25">
                  <c:v>2.503217503217503</c:v>
                </c:pt>
                <c:pt idx="26">
                  <c:v>1.4400196656833826</c:v>
                </c:pt>
                <c:pt idx="27">
                  <c:v>0.0</c:v>
                </c:pt>
                <c:pt idx="28">
                  <c:v>0.7622309197651663</c:v>
                </c:pt>
                <c:pt idx="29">
                  <c:v>0.0</c:v>
                </c:pt>
                <c:pt idx="30">
                  <c:v>0.0</c:v>
                </c:pt>
                <c:pt idx="31">
                  <c:v>1.0716723549488054</c:v>
                </c:pt>
                <c:pt idx="32">
                  <c:v>1.146360153256705</c:v>
                </c:pt>
                <c:pt idx="33">
                  <c:v>0.0</c:v>
                </c:pt>
                <c:pt idx="34">
                  <c:v>2.2548076923076925</c:v>
                </c:pt>
                <c:pt idx="35">
                  <c:v>1.3426763110307414</c:v>
                </c:pt>
                <c:pt idx="36">
                  <c:v>0.0</c:v>
                </c:pt>
                <c:pt idx="37">
                  <c:v>0.0</c:v>
                </c:pt>
                <c:pt idx="38">
                  <c:v>0.0</c:v>
                </c:pt>
                <c:pt idx="39">
                  <c:v>0.3426315789473684</c:v>
                </c:pt>
                <c:pt idx="40">
                  <c:v>2.8134961945989945</c:v>
                </c:pt>
                <c:pt idx="41">
                  <c:v>2.5296964364276286</c:v>
                </c:pt>
                <c:pt idx="42">
                  <c:v>2.521951219512195</c:v>
                </c:pt>
                <c:pt idx="43">
                  <c:v>2.562071917808219</c:v>
                </c:pt>
                <c:pt idx="44">
                  <c:v>1.7136729222520106</c:v>
                </c:pt>
                <c:pt idx="45">
                  <c:v>2.46720471911177</c:v>
                </c:pt>
                <c:pt idx="46">
                  <c:v>0.0</c:v>
                </c:pt>
                <c:pt idx="47">
                  <c:v>2.1464019851116625</c:v>
                </c:pt>
                <c:pt idx="48">
                  <c:v>1.192015334502631</c:v>
                </c:pt>
                <c:pt idx="49">
                  <c:v>1.4664327352217383</c:v>
                </c:pt>
                <c:pt idx="50">
                  <c:v>2.644568119955865</c:v>
                </c:pt>
              </c:numCache>
            </c:numRef>
          </c:xVal>
          <c:yVal>
            <c:numRef>
              <c:f>Sheet1!$B$107:$B$157</c:f>
              <c:numCache>
                <c:formatCode>General</c:formatCode>
                <c:ptCount val="51"/>
                <c:pt idx="0">
                  <c:v>0.0</c:v>
                </c:pt>
                <c:pt idx="1">
                  <c:v>0.0</c:v>
                </c:pt>
                <c:pt idx="2">
                  <c:v>0.5</c:v>
                </c:pt>
                <c:pt idx="3">
                  <c:v>0.5555555555555556</c:v>
                </c:pt>
                <c:pt idx="4">
                  <c:v>0.375</c:v>
                </c:pt>
                <c:pt idx="5">
                  <c:v>0.5</c:v>
                </c:pt>
                <c:pt idx="6">
                  <c:v>0.4</c:v>
                </c:pt>
                <c:pt idx="7">
                  <c:v>0.4444444444444444</c:v>
                </c:pt>
                <c:pt idx="8">
                  <c:v>0.5</c:v>
                </c:pt>
                <c:pt idx="9">
                  <c:v>0.5</c:v>
                </c:pt>
                <c:pt idx="10">
                  <c:v>0.5714285714285714</c:v>
                </c:pt>
                <c:pt idx="11">
                  <c:v>0.5384615384615384</c:v>
                </c:pt>
                <c:pt idx="12">
                  <c:v>0.5454545454545454</c:v>
                </c:pt>
                <c:pt idx="13">
                  <c:v>0.5</c:v>
                </c:pt>
                <c:pt idx="14">
                  <c:v>0.5</c:v>
                </c:pt>
                <c:pt idx="15">
                  <c:v>0.3076923076923077</c:v>
                </c:pt>
                <c:pt idx="16">
                  <c:v>0.36363636363636365</c:v>
                </c:pt>
                <c:pt idx="17">
                  <c:v>0.375</c:v>
                </c:pt>
                <c:pt idx="18">
                  <c:v>0.2</c:v>
                </c:pt>
                <c:pt idx="19">
                  <c:v>0.4</c:v>
                </c:pt>
                <c:pt idx="20">
                  <c:v>0.4</c:v>
                </c:pt>
                <c:pt idx="21">
                  <c:v>0.3333333333333333</c:v>
                </c:pt>
                <c:pt idx="22">
                  <c:v>0.25</c:v>
                </c:pt>
                <c:pt idx="23">
                  <c:v>0.3333333333333333</c:v>
                </c:pt>
                <c:pt idx="24">
                  <c:v>0.3333333333333333</c:v>
                </c:pt>
                <c:pt idx="25">
                  <c:v>0.25</c:v>
                </c:pt>
                <c:pt idx="26">
                  <c:v>0.6666666666666666</c:v>
                </c:pt>
                <c:pt idx="27">
                  <c:v>0.0</c:v>
                </c:pt>
                <c:pt idx="28">
                  <c:v>0.3333333333333333</c:v>
                </c:pt>
                <c:pt idx="29">
                  <c:v>0.0</c:v>
                </c:pt>
                <c:pt idx="30">
                  <c:v>0.0</c:v>
                </c:pt>
                <c:pt idx="31">
                  <c:v>0.5</c:v>
                </c:pt>
                <c:pt idx="32">
                  <c:v>0.5</c:v>
                </c:pt>
                <c:pt idx="33">
                  <c:v>0.0</c:v>
                </c:pt>
                <c:pt idx="34">
                  <c:v>0.3333333333333333</c:v>
                </c:pt>
                <c:pt idx="35">
                  <c:v>0.3333333333333333</c:v>
                </c:pt>
                <c:pt idx="36">
                  <c:v>0.0</c:v>
                </c:pt>
                <c:pt idx="37">
                  <c:v>0.0</c:v>
                </c:pt>
                <c:pt idx="38">
                  <c:v>0.0</c:v>
                </c:pt>
                <c:pt idx="39">
                  <c:v>0.6666666666666666</c:v>
                </c:pt>
                <c:pt idx="40">
                  <c:v>0.15384615384615385</c:v>
                </c:pt>
                <c:pt idx="41">
                  <c:v>0.2857142857142857</c:v>
                </c:pt>
                <c:pt idx="42">
                  <c:v>0.2</c:v>
                </c:pt>
                <c:pt idx="43">
                  <c:v>0.16666666666666666</c:v>
                </c:pt>
                <c:pt idx="44">
                  <c:v>0.2</c:v>
                </c:pt>
                <c:pt idx="45">
                  <c:v>0.2</c:v>
                </c:pt>
                <c:pt idx="46">
                  <c:v>0.0</c:v>
                </c:pt>
                <c:pt idx="47">
                  <c:v>0.3333333333333333</c:v>
                </c:pt>
                <c:pt idx="48">
                  <c:v>0.375</c:v>
                </c:pt>
                <c:pt idx="49">
                  <c:v>0.42857142857142855</c:v>
                </c:pt>
                <c:pt idx="50">
                  <c:v>0.25</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3.2362742778601086</c:v>
                </c:pt>
              </c:numCache>
            </c:numRef>
          </c:xVal>
          <c:yVal>
            <c:numRef>
              <c:f>Sheet1!$B$160:$B$161</c:f>
              <c:numCache>
                <c:formatCode>General</c:formatCode>
                <c:ptCount val="2"/>
                <c:pt idx="0">
                  <c:v>0.4580586080586081</c:v>
                </c:pt>
                <c:pt idx="1">
                  <c:v>0.4580586080586081</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3.2362742778601086</c:v>
                </c:pt>
                <c:pt idx="1">
                  <c:v>3.2362742778601086</c:v>
                </c:pt>
              </c:numCache>
            </c:numRef>
          </c:xVal>
          <c:yVal>
            <c:numRef>
              <c:f>Sheet1!$B$164:$B$165</c:f>
              <c:numCache>
                <c:formatCode>General</c:formatCode>
                <c:ptCount val="2"/>
                <c:pt idx="0">
                  <c:v>0.458058608058608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3.549799316528019</c:v>
                </c:pt>
              </c:numCache>
            </c:numRef>
          </c:xVal>
          <c:yVal>
            <c:numRef>
              <c:f>Sheet1!$B$168:$B$169</c:f>
              <c:numCache>
                <c:formatCode>General</c:formatCode>
                <c:ptCount val="2"/>
                <c:pt idx="0">
                  <c:v>0.48293650793650794</c:v>
                </c:pt>
                <c:pt idx="1">
                  <c:v>0.48293650793650794</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3.549799316528019</c:v>
                </c:pt>
                <c:pt idx="1">
                  <c:v>3.549799316528019</c:v>
                </c:pt>
              </c:numCache>
            </c:numRef>
          </c:xVal>
          <c:yVal>
            <c:numRef>
              <c:f>Sheet1!$B$172:$B$173</c:f>
              <c:numCache>
                <c:formatCode>General</c:formatCode>
                <c:ptCount val="2"/>
                <c:pt idx="0">
                  <c:v>0.482936507936507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8870484743199064</c:v>
                </c:pt>
              </c:numCache>
            </c:numRef>
          </c:xVal>
          <c:yVal>
            <c:numRef>
              <c:f>Sheet1!$B$176:$B$177</c:f>
              <c:numCache>
                <c:formatCode>General</c:formatCode>
                <c:ptCount val="2"/>
                <c:pt idx="0">
                  <c:v>0.2716498778998779</c:v>
                </c:pt>
                <c:pt idx="1">
                  <c:v>0.2716498778998779</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8870484743199064</c:v>
                </c:pt>
                <c:pt idx="1">
                  <c:v>0.8870484743199064</c:v>
                </c:pt>
              </c:numCache>
            </c:numRef>
          </c:xVal>
          <c:yVal>
            <c:numRef>
              <c:f>Sheet1!$B$180:$B$181</c:f>
              <c:numCache>
                <c:formatCode>General</c:formatCode>
                <c:ptCount val="2"/>
                <c:pt idx="0">
                  <c:v>0.27164987789987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7</c:f>
              <c:numCache>
                <c:formatCode>General</c:formatCode>
                <c:ptCount val="54"/>
                <c:pt idx="0">
                  <c:v>0.0</c:v>
                </c:pt>
                <c:pt idx="1">
                  <c:v>0.0</c:v>
                </c:pt>
                <c:pt idx="2">
                  <c:v>1.2828449905482042</c:v>
                </c:pt>
                <c:pt idx="3">
                  <c:v>1.2264462809917354</c:v>
                </c:pt>
                <c:pt idx="4">
                  <c:v>1.1355050606212684</c:v>
                </c:pt>
                <c:pt idx="5">
                  <c:v>0.9883984930032292</c:v>
                </c:pt>
                <c:pt idx="6">
                  <c:v>1.7868471135546629</c:v>
                </c:pt>
                <c:pt idx="7">
                  <c:v>1.4888628370457209</c:v>
                </c:pt>
                <c:pt idx="8">
                  <c:v>1.6824197519305637</c:v>
                </c:pt>
                <c:pt idx="9">
                  <c:v>1.5415165198237886</c:v>
                </c:pt>
                <c:pt idx="10">
                  <c:v>1.330577075883989</c:v>
                </c:pt>
                <c:pt idx="11">
                  <c:v>1.6654280710790628</c:v>
                </c:pt>
                <c:pt idx="12">
                  <c:v>1.5864131995776136</c:v>
                </c:pt>
                <c:pt idx="13">
                  <c:v>1.6556830309498398</c:v>
                </c:pt>
                <c:pt idx="14">
                  <c:v>1.630598892803221</c:v>
                </c:pt>
                <c:pt idx="15">
                  <c:v>1.7517845895444046</c:v>
                </c:pt>
                <c:pt idx="16">
                  <c:v>1.9458642484198956</c:v>
                </c:pt>
                <c:pt idx="17">
                  <c:v>1.3632533402115037</c:v>
                </c:pt>
                <c:pt idx="18">
                  <c:v>2.5402750491159134</c:v>
                </c:pt>
                <c:pt idx="19">
                  <c:v>1.5102989301413139</c:v>
                </c:pt>
                <c:pt idx="20">
                  <c:v>1.2823033707865168</c:v>
                </c:pt>
                <c:pt idx="21">
                  <c:v>3.3324432576769025</c:v>
                </c:pt>
                <c:pt idx="22">
                  <c:v>1.5893975903614457</c:v>
                </c:pt>
                <c:pt idx="23">
                  <c:v>2.3750819672131147</c:v>
                </c:pt>
                <c:pt idx="24">
                  <c:v>1.4486646884272998</c:v>
                </c:pt>
                <c:pt idx="25">
                  <c:v>2.503217503217503</c:v>
                </c:pt>
                <c:pt idx="26">
                  <c:v>1.4400196656833826</c:v>
                </c:pt>
                <c:pt idx="27">
                  <c:v>0.0</c:v>
                </c:pt>
                <c:pt idx="28">
                  <c:v>0.7622309197651663</c:v>
                </c:pt>
                <c:pt idx="29">
                  <c:v>0.0</c:v>
                </c:pt>
                <c:pt idx="30">
                  <c:v>0.0</c:v>
                </c:pt>
                <c:pt idx="31">
                  <c:v>1.0716723549488054</c:v>
                </c:pt>
                <c:pt idx="32">
                  <c:v>1.146360153256705</c:v>
                </c:pt>
                <c:pt idx="33">
                  <c:v>0.0</c:v>
                </c:pt>
                <c:pt idx="34">
                  <c:v>2.2548076923076925</c:v>
                </c:pt>
                <c:pt idx="35">
                  <c:v>1.3426763110307414</c:v>
                </c:pt>
                <c:pt idx="36">
                  <c:v>0.0</c:v>
                </c:pt>
                <c:pt idx="37">
                  <c:v>0.0</c:v>
                </c:pt>
                <c:pt idx="38">
                  <c:v>0.0</c:v>
                </c:pt>
                <c:pt idx="39">
                  <c:v>0.3426315789473684</c:v>
                </c:pt>
                <c:pt idx="40">
                  <c:v>2.8134961945989945</c:v>
                </c:pt>
                <c:pt idx="41">
                  <c:v>2.5296964364276286</c:v>
                </c:pt>
                <c:pt idx="42">
                  <c:v>2.521951219512195</c:v>
                </c:pt>
                <c:pt idx="43">
                  <c:v>2.562071917808219</c:v>
                </c:pt>
                <c:pt idx="44">
                  <c:v>1.7136729222520106</c:v>
                </c:pt>
                <c:pt idx="45">
                  <c:v>2.46720471911177</c:v>
                </c:pt>
                <c:pt idx="46">
                  <c:v>0.0</c:v>
                </c:pt>
                <c:pt idx="47">
                  <c:v>2.1464019851116625</c:v>
                </c:pt>
                <c:pt idx="48">
                  <c:v>1.192015334502631</c:v>
                </c:pt>
                <c:pt idx="49">
                  <c:v>1.4664327352217383</c:v>
                </c:pt>
                <c:pt idx="50">
                  <c:v>2.644568119955865</c:v>
                </c:pt>
                <c:pt idx="51">
                  <c:v>3.549799316528019</c:v>
                </c:pt>
                <c:pt idx="52">
                  <c:v>3.2362742778601086</c:v>
                </c:pt>
                <c:pt idx="53">
                  <c:v>0.8870484743199064</c:v>
                </c:pt>
              </c:numCache>
            </c:numRef>
          </c:xVal>
          <c:yVal>
            <c:numRef>
              <c:f>Sheet1!$B$184:$B$237</c:f>
              <c:numCache>
                <c:formatCode>General</c:formatCode>
                <c:ptCount val="54"/>
                <c:pt idx="0">
                  <c:v>0.2012634640276862</c:v>
                </c:pt>
                <c:pt idx="1">
                  <c:v>0.2012634640276862</c:v>
                </c:pt>
                <c:pt idx="2">
                  <c:v>0.30305593766653904</c:v>
                </c:pt>
                <c:pt idx="3">
                  <c:v>0.2985807561768886</c:v>
                </c:pt>
                <c:pt idx="4">
                  <c:v>0.291364660822071</c:v>
                </c:pt>
                <c:pt idx="5">
                  <c:v>0.2796919010446311</c:v>
                </c:pt>
                <c:pt idx="6">
                  <c:v>0.34304800467234076</c:v>
                </c:pt>
                <c:pt idx="7">
                  <c:v>0.3194032488095401</c:v>
                </c:pt>
                <c:pt idx="8">
                  <c:v>0.33476179742702616</c:v>
                </c:pt>
                <c:pt idx="9">
                  <c:v>0.3235812661504229</c:v>
                </c:pt>
                <c:pt idx="10">
                  <c:v>0.30684343114709905</c:v>
                </c:pt>
                <c:pt idx="11">
                  <c:v>0.3334135244572599</c:v>
                </c:pt>
                <c:pt idx="12">
                  <c:v>0.327143773019129</c:v>
                </c:pt>
                <c:pt idx="13">
                  <c:v>0.33264026521879214</c:v>
                </c:pt>
                <c:pt idx="14">
                  <c:v>0.33064986381421413</c:v>
                </c:pt>
                <c:pt idx="15">
                  <c:v>0.34026582827743534</c:v>
                </c:pt>
                <c:pt idx="16">
                  <c:v>0.35566585611047746</c:v>
                </c:pt>
                <c:pt idx="17">
                  <c:v>0.3094362602103776</c:v>
                </c:pt>
                <c:pt idx="18">
                  <c:v>0.40283176173921775</c:v>
                </c:pt>
                <c:pt idx="19">
                  <c:v>0.32110418146892605</c:v>
                </c:pt>
                <c:pt idx="20">
                  <c:v>0.3030129606773314</c:v>
                </c:pt>
                <c:pt idx="21">
                  <c:v>0.4656895209241548</c:v>
                </c:pt>
                <c:pt idx="22">
                  <c:v>0.3273805814585192</c:v>
                </c:pt>
                <c:pt idx="23">
                  <c:v>0.38972385504838236</c:v>
                </c:pt>
                <c:pt idx="24">
                  <c:v>0.3162135657116448</c:v>
                </c:pt>
                <c:pt idx="25">
                  <c:v>0.399891282342426</c:v>
                </c:pt>
                <c:pt idx="26">
                  <c:v>0.3155275917582434</c:v>
                </c:pt>
                <c:pt idx="27">
                  <c:v>0.2012634640276862</c:v>
                </c:pt>
                <c:pt idx="28">
                  <c:v>0.2617457291326523</c:v>
                </c:pt>
                <c:pt idx="29">
                  <c:v>0.2012634640276862</c:v>
                </c:pt>
                <c:pt idx="30">
                  <c:v>0.2012634640276862</c:v>
                </c:pt>
                <c:pt idx="31">
                  <c:v>0.2862995991370391</c:v>
                </c:pt>
                <c:pt idx="32">
                  <c:v>0.2922260016224648</c:v>
                </c:pt>
                <c:pt idx="33">
                  <c:v>0.2012634640276862</c:v>
                </c:pt>
                <c:pt idx="34">
                  <c:v>0.3801802110010135</c:v>
                </c:pt>
                <c:pt idx="35">
                  <c:v>0.30780349341791147</c:v>
                </c:pt>
                <c:pt idx="36">
                  <c:v>0.2012634640276862</c:v>
                </c:pt>
                <c:pt idx="37">
                  <c:v>0.2012634640276862</c:v>
                </c:pt>
                <c:pt idx="38">
                  <c:v>0.2012634640276862</c:v>
                </c:pt>
                <c:pt idx="39">
                  <c:v>0.22845093891733304</c:v>
                </c:pt>
                <c:pt idx="40">
                  <c:v>0.42451158779308784</c:v>
                </c:pt>
                <c:pt idx="41">
                  <c:v>0.4019923593475479</c:v>
                </c:pt>
                <c:pt idx="42">
                  <c:v>0.40137778409137875</c:v>
                </c:pt>
                <c:pt idx="43">
                  <c:v>0.40456132158325075</c:v>
                </c:pt>
                <c:pt idx="44">
                  <c:v>0.3372417053968246</c:v>
                </c:pt>
                <c:pt idx="45">
                  <c:v>0.3970337037544019</c:v>
                </c:pt>
                <c:pt idx="46">
                  <c:v>0.2012634640276862</c:v>
                </c:pt>
                <c:pt idx="47">
                  <c:v>0.3715783259928041</c:v>
                </c:pt>
                <c:pt idx="48">
                  <c:v>0.2958486948299014</c:v>
                </c:pt>
                <c:pt idx="49">
                  <c:v>0.3176234425465411</c:v>
                </c:pt>
                <c:pt idx="50">
                  <c:v>0.4111073131444223</c:v>
                </c:pt>
                <c:pt idx="51">
                  <c:v>0.48293650793650794</c:v>
                </c:pt>
                <c:pt idx="52">
                  <c:v>0.4580586080586081</c:v>
                </c:pt>
                <c:pt idx="53">
                  <c:v>0.27164987789987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4</c:f>
              <c:numCache>
                <c:formatCode>General</c:formatCode>
                <c:ptCount val="103"/>
                <c:pt idx="0">
                  <c:v>954.2222</c:v>
                </c:pt>
                <c:pt idx="1">
                  <c:v>1116.8</c:v>
                </c:pt>
                <c:pt idx="2">
                  <c:v>1252.8</c:v>
                </c:pt>
                <c:pt idx="3">
                  <c:v>1176.8333</c:v>
                </c:pt>
                <c:pt idx="4">
                  <c:v>1309.0</c:v>
                </c:pt>
                <c:pt idx="5">
                  <c:v>1100.6667</c:v>
                </c:pt>
                <c:pt idx="6">
                  <c:v>1160.4286</c:v>
                </c:pt>
                <c:pt idx="7">
                  <c:v>1168.1429</c:v>
                </c:pt>
                <c:pt idx="8">
                  <c:v>1270.8333</c:v>
                </c:pt>
                <c:pt idx="9">
                  <c:v>1154.1111</c:v>
                </c:pt>
                <c:pt idx="10">
                  <c:v>1168.2308</c:v>
                </c:pt>
                <c:pt idx="11">
                  <c:v>1231.7778</c:v>
                </c:pt>
                <c:pt idx="12">
                  <c:v>1209.5455</c:v>
                </c:pt>
                <c:pt idx="13">
                  <c:v>1135.7273</c:v>
                </c:pt>
                <c:pt idx="14">
                  <c:v>1120.5556</c:v>
                </c:pt>
                <c:pt idx="15">
                  <c:v>1117.7143</c:v>
                </c:pt>
                <c:pt idx="16">
                  <c:v>1163.7143</c:v>
                </c:pt>
                <c:pt idx="17">
                  <c:v>1215.8</c:v>
                </c:pt>
                <c:pt idx="18">
                  <c:v>1276.2</c:v>
                </c:pt>
                <c:pt idx="19">
                  <c:v>1519.0</c:v>
                </c:pt>
                <c:pt idx="20">
                  <c:v>1377.3333</c:v>
                </c:pt>
                <c:pt idx="21">
                  <c:v>1279.5</c:v>
                </c:pt>
                <c:pt idx="22">
                  <c:v>1365.0</c:v>
                </c:pt>
                <c:pt idx="23">
                  <c:v>1483.0</c:v>
                </c:pt>
                <c:pt idx="24">
                  <c:v>1625.0</c:v>
                </c:pt>
                <c:pt idx="25">
                  <c:v>1099.5</c:v>
                </c:pt>
                <c:pt idx="26">
                  <c:v>1514.0</c:v>
                </c:pt>
                <c:pt idx="27">
                  <c:v>1633.0</c:v>
                </c:pt>
                <c:pt idx="28">
                  <c:v>1179.0</c:v>
                </c:pt>
                <c:pt idx="29">
                  <c:v>1344.5</c:v>
                </c:pt>
                <c:pt idx="30">
                  <c:v>1437.5</c:v>
                </c:pt>
                <c:pt idx="31">
                  <c:v>1162.5</c:v>
                </c:pt>
                <c:pt idx="32">
                  <c:v>1222.0</c:v>
                </c:pt>
                <c:pt idx="33">
                  <c:v>1415.5</c:v>
                </c:pt>
                <c:pt idx="34">
                  <c:v>1127.3333</c:v>
                </c:pt>
                <c:pt idx="35">
                  <c:v>1086.3333</c:v>
                </c:pt>
                <c:pt idx="36">
                  <c:v>1500.0</c:v>
                </c:pt>
                <c:pt idx="37">
                  <c:v>1184.0</c:v>
                </c:pt>
                <c:pt idx="38">
                  <c:v>1997.0</c:v>
                </c:pt>
                <c:pt idx="39">
                  <c:v>1256.0</c:v>
                </c:pt>
                <c:pt idx="40">
                  <c:v>1966.0</c:v>
                </c:pt>
                <c:pt idx="41">
                  <c:v>1733.0</c:v>
                </c:pt>
                <c:pt idx="42">
                  <c:v>1804.0</c:v>
                </c:pt>
                <c:pt idx="43">
                  <c:v>1213.0</c:v>
                </c:pt>
                <c:pt idx="44">
                  <c:v>1571.0</c:v>
                </c:pt>
                <c:pt idx="45">
                  <c:v>1551.0</c:v>
                </c:pt>
                <c:pt idx="46">
                  <c:v>1219.75</c:v>
                </c:pt>
                <c:pt idx="47">
                  <c:v>1230.25</c:v>
                </c:pt>
                <c:pt idx="48">
                  <c:v>1368.6</c:v>
                </c:pt>
                <c:pt idx="49">
                  <c:v>1510.4286</c:v>
                </c:pt>
                <c:pt idx="50">
                  <c:v>1402.1667</c:v>
                </c:pt>
                <c:pt idx="51">
                  <c:v>1252.0</c:v>
                </c:pt>
                <c:pt idx="52">
                  <c:v>1403.0</c:v>
                </c:pt>
                <c:pt idx="53">
                  <c:v>1402.0</c:v>
                </c:pt>
                <c:pt idx="54">
                  <c:v>1865.5</c:v>
                </c:pt>
                <c:pt idx="55">
                  <c:v>1522.5</c:v>
                </c:pt>
                <c:pt idx="56">
                  <c:v>1379.2</c:v>
                </c:pt>
                <c:pt idx="57">
                  <c:v>1314.6667</c:v>
                </c:pt>
                <c:pt idx="58">
                  <c:v>1555.2</c:v>
                </c:pt>
                <c:pt idx="59">
                  <c:v>1481.1667</c:v>
                </c:pt>
                <c:pt idx="60">
                  <c:v>1528.8</c:v>
                </c:pt>
                <c:pt idx="61">
                  <c:v>1514.0</c:v>
                </c:pt>
                <c:pt idx="62">
                  <c:v>1573.2727</c:v>
                </c:pt>
                <c:pt idx="63">
                  <c:v>1551.8182</c:v>
                </c:pt>
                <c:pt idx="64">
                  <c:v>1484.4286</c:v>
                </c:pt>
                <c:pt idx="65">
                  <c:v>1539.2222</c:v>
                </c:pt>
                <c:pt idx="66">
                  <c:v>1688.0</c:v>
                </c:pt>
                <c:pt idx="67">
                  <c:v>1533.0</c:v>
                </c:pt>
                <c:pt idx="68">
                  <c:v>1723.6667</c:v>
                </c:pt>
                <c:pt idx="69">
                  <c:v>1274.25</c:v>
                </c:pt>
                <c:pt idx="70">
                  <c:v>979.8</c:v>
                </c:pt>
                <c:pt idx="71">
                  <c:v>1089.0</c:v>
                </c:pt>
                <c:pt idx="72">
                  <c:v>1498.0</c:v>
                </c:pt>
                <c:pt idx="73">
                  <c:v>1739.6667</c:v>
                </c:pt>
                <c:pt idx="74">
                  <c:v>1870.0</c:v>
                </c:pt>
                <c:pt idx="75">
                  <c:v>1445.5</c:v>
                </c:pt>
                <c:pt idx="76">
                  <c:v>1022.0</c:v>
                </c:pt>
                <c:pt idx="77">
                  <c:v>1373.0</c:v>
                </c:pt>
                <c:pt idx="78">
                  <c:v>2274.0</c:v>
                </c:pt>
                <c:pt idx="79">
                  <c:v>1244.0</c:v>
                </c:pt>
                <c:pt idx="80">
                  <c:v>2002.0</c:v>
                </c:pt>
                <c:pt idx="81">
                  <c:v>1382.0</c:v>
                </c:pt>
                <c:pt idx="82">
                  <c:v>1186.0</c:v>
                </c:pt>
                <c:pt idx="83">
                  <c:v>1212.0</c:v>
                </c:pt>
                <c:pt idx="84">
                  <c:v>1745.0</c:v>
                </c:pt>
                <c:pt idx="85">
                  <c:v>1622.0</c:v>
                </c:pt>
                <c:pt idx="86">
                  <c:v>2419.0</c:v>
                </c:pt>
                <c:pt idx="87">
                  <c:v>1401.0</c:v>
                </c:pt>
                <c:pt idx="88">
                  <c:v>1436.0</c:v>
                </c:pt>
                <c:pt idx="89">
                  <c:v>2605.0</c:v>
                </c:pt>
                <c:pt idx="90">
                  <c:v>1430.0</c:v>
                </c:pt>
                <c:pt idx="91">
                  <c:v>2052.0</c:v>
                </c:pt>
                <c:pt idx="92">
                  <c:v>2358.0</c:v>
                </c:pt>
                <c:pt idx="93">
                  <c:v>608.1667</c:v>
                </c:pt>
                <c:pt idx="94">
                  <c:v>835.0</c:v>
                </c:pt>
                <c:pt idx="95">
                  <c:v>1910.0</c:v>
                </c:pt>
                <c:pt idx="96">
                  <c:v>1607.75</c:v>
                </c:pt>
                <c:pt idx="97">
                  <c:v>1247.0</c:v>
                </c:pt>
                <c:pt idx="98">
                  <c:v>1381.875</c:v>
                </c:pt>
                <c:pt idx="99">
                  <c:v>2028.0</c:v>
                </c:pt>
                <c:pt idx="100">
                  <c:v>1402.0</c:v>
                </c:pt>
                <c:pt idx="101">
                  <c:v>979.0</c:v>
                </c:pt>
                <c:pt idx="102">
                  <c:v>1446.6667</c:v>
                </c:pt>
              </c:numCache>
            </c:numRef>
          </c:xVal>
          <c:yVal>
            <c:numRef>
              <c:f>Sheet1!$B$2:$B$104</c:f>
              <c:numCache>
                <c:formatCode>General</c:formatCode>
                <c:ptCount val="103"/>
                <c:pt idx="0">
                  <c:v>0.375</c:v>
                </c:pt>
                <c:pt idx="1">
                  <c:v>0.3125</c:v>
                </c:pt>
                <c:pt idx="2">
                  <c:v>0.2777777777777778</c:v>
                </c:pt>
                <c:pt idx="3">
                  <c:v>0.3157894736842105</c:v>
                </c:pt>
                <c:pt idx="4">
                  <c:v>0.26666666666666666</c:v>
                </c:pt>
                <c:pt idx="5">
                  <c:v>0.35294117647058826</c:v>
                </c:pt>
                <c:pt idx="6">
                  <c:v>0.35</c:v>
                </c:pt>
                <c:pt idx="7">
                  <c:v>0.4117647058823529</c:v>
                </c:pt>
                <c:pt idx="8">
                  <c:v>0.35294117647058826</c:v>
                </c:pt>
                <c:pt idx="9">
                  <c:v>0.36</c:v>
                </c:pt>
                <c:pt idx="10">
                  <c:v>0.52</c:v>
                </c:pt>
                <c:pt idx="11">
                  <c:v>0.42857142857142855</c:v>
                </c:pt>
                <c:pt idx="12">
                  <c:v>0.6470588235294118</c:v>
                </c:pt>
                <c:pt idx="13">
                  <c:v>0.55</c:v>
                </c:pt>
                <c:pt idx="14">
                  <c:v>0.5294117647058824</c:v>
                </c:pt>
                <c:pt idx="15">
                  <c:v>0.4117647058823529</c:v>
                </c:pt>
                <c:pt idx="16">
                  <c:v>0.5384615384615384</c:v>
                </c:pt>
                <c:pt idx="17">
                  <c:v>0.45454545454545453</c:v>
                </c:pt>
                <c:pt idx="18">
                  <c:v>0.35714285714285715</c:v>
                </c:pt>
                <c:pt idx="19">
                  <c:v>0.25</c:v>
                </c:pt>
                <c:pt idx="20">
                  <c:v>0.3333333333333333</c:v>
                </c:pt>
                <c:pt idx="21">
                  <c:v>0.5</c:v>
                </c:pt>
                <c:pt idx="22">
                  <c:v>0.2857142857142857</c:v>
                </c:pt>
                <c:pt idx="23">
                  <c:v>0.2857142857142857</c:v>
                </c:pt>
                <c:pt idx="24">
                  <c:v>0.4</c:v>
                </c:pt>
                <c:pt idx="25">
                  <c:v>0.5</c:v>
                </c:pt>
                <c:pt idx="26">
                  <c:v>0.25</c:v>
                </c:pt>
                <c:pt idx="27">
                  <c:v>0.3333333333333333</c:v>
                </c:pt>
                <c:pt idx="28">
                  <c:v>0.6666666666666666</c:v>
                </c:pt>
                <c:pt idx="29">
                  <c:v>0.6666666666666666</c:v>
                </c:pt>
                <c:pt idx="30">
                  <c:v>0.6666666666666666</c:v>
                </c:pt>
                <c:pt idx="31">
                  <c:v>0.5</c:v>
                </c:pt>
                <c:pt idx="32">
                  <c:v>0.5</c:v>
                </c:pt>
                <c:pt idx="33">
                  <c:v>0.4</c:v>
                </c:pt>
                <c:pt idx="34">
                  <c:v>0.5</c:v>
                </c:pt>
                <c:pt idx="35">
                  <c:v>0.6</c:v>
                </c:pt>
                <c:pt idx="36">
                  <c:v>0.25</c:v>
                </c:pt>
                <c:pt idx="37">
                  <c:v>0.5</c:v>
                </c:pt>
                <c:pt idx="38">
                  <c:v>0.3333333333333333</c:v>
                </c:pt>
                <c:pt idx="39">
                  <c:v>0.2857142857142857</c:v>
                </c:pt>
                <c:pt idx="40">
                  <c:v>0.14285714285714285</c:v>
                </c:pt>
                <c:pt idx="41">
                  <c:v>0.1111111111111111</c:v>
                </c:pt>
                <c:pt idx="42">
                  <c:v>0.1</c:v>
                </c:pt>
                <c:pt idx="43">
                  <c:v>0.2222222222222222</c:v>
                </c:pt>
                <c:pt idx="44">
                  <c:v>0.125</c:v>
                </c:pt>
                <c:pt idx="45">
                  <c:v>0.18181818181818182</c:v>
                </c:pt>
                <c:pt idx="46">
                  <c:v>0.25</c:v>
                </c:pt>
                <c:pt idx="47">
                  <c:v>0.25</c:v>
                </c:pt>
                <c:pt idx="48">
                  <c:v>0.2631578947368421</c:v>
                </c:pt>
                <c:pt idx="49">
                  <c:v>0.35</c:v>
                </c:pt>
                <c:pt idx="50">
                  <c:v>0.375</c:v>
                </c:pt>
                <c:pt idx="51">
                  <c:v>0.25</c:v>
                </c:pt>
                <c:pt idx="52">
                  <c:v>0.45</c:v>
                </c:pt>
                <c:pt idx="53">
                  <c:v>0.3125</c:v>
                </c:pt>
                <c:pt idx="54">
                  <c:v>0.4</c:v>
                </c:pt>
                <c:pt idx="55">
                  <c:v>0.3333333333333333</c:v>
                </c:pt>
                <c:pt idx="56">
                  <c:v>0.25</c:v>
                </c:pt>
                <c:pt idx="57">
                  <c:v>0.3</c:v>
                </c:pt>
                <c:pt idx="58">
                  <c:v>0.29411764705882354</c:v>
                </c:pt>
                <c:pt idx="59">
                  <c:v>0.3</c:v>
                </c:pt>
                <c:pt idx="60">
                  <c:v>0.35714285714285715</c:v>
                </c:pt>
                <c:pt idx="61">
                  <c:v>0.38461538461538464</c:v>
                </c:pt>
                <c:pt idx="62">
                  <c:v>0.4230769230769231</c:v>
                </c:pt>
                <c:pt idx="63">
                  <c:v>0.44</c:v>
                </c:pt>
                <c:pt idx="64">
                  <c:v>0.5384615384615384</c:v>
                </c:pt>
                <c:pt idx="65">
                  <c:v>0.42857142857142855</c:v>
                </c:pt>
                <c:pt idx="66">
                  <c:v>0.35</c:v>
                </c:pt>
                <c:pt idx="67">
                  <c:v>0.42857142857142855</c:v>
                </c:pt>
                <c:pt idx="68">
                  <c:v>0.375</c:v>
                </c:pt>
                <c:pt idx="69">
                  <c:v>0.4</c:v>
                </c:pt>
                <c:pt idx="70">
                  <c:v>0.45454545454545453</c:v>
                </c:pt>
                <c:pt idx="71">
                  <c:v>0.4</c:v>
                </c:pt>
                <c:pt idx="72">
                  <c:v>0.3333333333333333</c:v>
                </c:pt>
                <c:pt idx="73">
                  <c:v>0.42857142857142855</c:v>
                </c:pt>
                <c:pt idx="74">
                  <c:v>0.25</c:v>
                </c:pt>
                <c:pt idx="75">
                  <c:v>0.2857142857142857</c:v>
                </c:pt>
                <c:pt idx="76">
                  <c:v>0.2857142857142857</c:v>
                </c:pt>
                <c:pt idx="77">
                  <c:v>0.2</c:v>
                </c:pt>
                <c:pt idx="78">
                  <c:v>0.3333333333333333</c:v>
                </c:pt>
                <c:pt idx="79">
                  <c:v>0.5</c:v>
                </c:pt>
                <c:pt idx="80">
                  <c:v>0.2</c:v>
                </c:pt>
                <c:pt idx="81">
                  <c:v>0.25</c:v>
                </c:pt>
                <c:pt idx="82">
                  <c:v>0.25</c:v>
                </c:pt>
                <c:pt idx="83">
                  <c:v>0.25</c:v>
                </c:pt>
                <c:pt idx="84">
                  <c:v>0.25</c:v>
                </c:pt>
                <c:pt idx="85">
                  <c:v>0.4</c:v>
                </c:pt>
                <c:pt idx="86">
                  <c:v>0.2</c:v>
                </c:pt>
                <c:pt idx="87">
                  <c:v>0.25</c:v>
                </c:pt>
                <c:pt idx="88">
                  <c:v>0.25</c:v>
                </c:pt>
                <c:pt idx="89">
                  <c:v>0.25</c:v>
                </c:pt>
                <c:pt idx="90">
                  <c:v>0.25</c:v>
                </c:pt>
                <c:pt idx="91">
                  <c:v>0.16666666666666666</c:v>
                </c:pt>
                <c:pt idx="92">
                  <c:v>0.25</c:v>
                </c:pt>
                <c:pt idx="93">
                  <c:v>0.6666666666666666</c:v>
                </c:pt>
                <c:pt idx="94">
                  <c:v>0.5</c:v>
                </c:pt>
                <c:pt idx="95">
                  <c:v>0.4</c:v>
                </c:pt>
                <c:pt idx="96">
                  <c:v>0.5</c:v>
                </c:pt>
                <c:pt idx="97">
                  <c:v>0.5555555555555556</c:v>
                </c:pt>
                <c:pt idx="98">
                  <c:v>0.5</c:v>
                </c:pt>
                <c:pt idx="99">
                  <c:v>0.2857142857142857</c:v>
                </c:pt>
                <c:pt idx="100">
                  <c:v>0.375</c:v>
                </c:pt>
                <c:pt idx="101">
                  <c:v>0.35294117647058826</c:v>
                </c:pt>
                <c:pt idx="102">
                  <c:v>0.375</c:v>
                </c:pt>
              </c:numCache>
            </c:numRef>
          </c:yVal>
          <c:smooth val="0"/>
          <c:extLst>
            <c:ext xmlns:c16="http://schemas.microsoft.com/office/drawing/2014/chart" uri="{C3380CC4-5D6E-409C-BE32-E72D297353CC}">
              <c16:uniqueId val="{00000000-F32D-48B7-BC20-E66FC6253BAD}"/>
            </c:ext>
          </c:extLst>
        </c:ser>
        <c:ser>
          <c:idx val="1"/>
          <c:order val="1"/>
          <c:tx>
            <c:strRef>
              <c:f>Sheet1!$B$10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7:$A$157</c:f>
              <c:numCache>
                <c:formatCode>General</c:formatCode>
                <c:ptCount val="51"/>
                <c:pt idx="0">
                  <c:v>0.0</c:v>
                </c:pt>
                <c:pt idx="1">
                  <c:v>0.0</c:v>
                </c:pt>
                <c:pt idx="2">
                  <c:v>1357.25</c:v>
                </c:pt>
                <c:pt idx="3">
                  <c:v>1335.6</c:v>
                </c:pt>
                <c:pt idx="4">
                  <c:v>1382.6667</c:v>
                </c:pt>
                <c:pt idx="5">
                  <c:v>1377.3333</c:v>
                </c:pt>
                <c:pt idx="6">
                  <c:v>1690.0</c:v>
                </c:pt>
                <c:pt idx="7">
                  <c:v>1524.0</c:v>
                </c:pt>
                <c:pt idx="8">
                  <c:v>1631.6667</c:v>
                </c:pt>
                <c:pt idx="9">
                  <c:v>1539.6667</c:v>
                </c:pt>
                <c:pt idx="10">
                  <c:v>1339.625</c:v>
                </c:pt>
                <c:pt idx="11">
                  <c:v>1616.7143</c:v>
                </c:pt>
                <c:pt idx="12">
                  <c:v>1502.3333</c:v>
                </c:pt>
                <c:pt idx="13">
                  <c:v>1551.375</c:v>
                </c:pt>
                <c:pt idx="14">
                  <c:v>1620.0</c:v>
                </c:pt>
                <c:pt idx="15">
                  <c:v>1668.75</c:v>
                </c:pt>
                <c:pt idx="16">
                  <c:v>1770.25</c:v>
                </c:pt>
                <c:pt idx="17">
                  <c:v>1321.3333</c:v>
                </c:pt>
                <c:pt idx="18">
                  <c:v>2586.0</c:v>
                </c:pt>
                <c:pt idx="19">
                  <c:v>1246.5</c:v>
                </c:pt>
                <c:pt idx="20">
                  <c:v>1369.5</c:v>
                </c:pt>
                <c:pt idx="21">
                  <c:v>2496.0</c:v>
                </c:pt>
                <c:pt idx="22">
                  <c:v>1649.0</c:v>
                </c:pt>
                <c:pt idx="23">
                  <c:v>1811.0</c:v>
                </c:pt>
                <c:pt idx="24">
                  <c:v>1220.5</c:v>
                </c:pt>
                <c:pt idx="25">
                  <c:v>1945.0</c:v>
                </c:pt>
                <c:pt idx="26">
                  <c:v>1464.5</c:v>
                </c:pt>
                <c:pt idx="27">
                  <c:v>0.0</c:v>
                </c:pt>
                <c:pt idx="28">
                  <c:v>779.0</c:v>
                </c:pt>
                <c:pt idx="29">
                  <c:v>0.0</c:v>
                </c:pt>
                <c:pt idx="30">
                  <c:v>0.0</c:v>
                </c:pt>
                <c:pt idx="31">
                  <c:v>942.0</c:v>
                </c:pt>
                <c:pt idx="32">
                  <c:v>1496.0</c:v>
                </c:pt>
                <c:pt idx="33">
                  <c:v>0.0</c:v>
                </c:pt>
                <c:pt idx="34">
                  <c:v>2814.0</c:v>
                </c:pt>
                <c:pt idx="35">
                  <c:v>1485.0</c:v>
                </c:pt>
                <c:pt idx="36">
                  <c:v>0.0</c:v>
                </c:pt>
                <c:pt idx="37">
                  <c:v>0.0</c:v>
                </c:pt>
                <c:pt idx="38">
                  <c:v>0.0</c:v>
                </c:pt>
                <c:pt idx="39">
                  <c:v>651.0</c:v>
                </c:pt>
                <c:pt idx="40">
                  <c:v>930.5</c:v>
                </c:pt>
                <c:pt idx="41">
                  <c:v>1150.0</c:v>
                </c:pt>
                <c:pt idx="42">
                  <c:v>1551.0</c:v>
                </c:pt>
                <c:pt idx="43">
                  <c:v>1197.0</c:v>
                </c:pt>
                <c:pt idx="44">
                  <c:v>799.0</c:v>
                </c:pt>
                <c:pt idx="45">
                  <c:v>1630.0</c:v>
                </c:pt>
                <c:pt idx="46">
                  <c:v>0.0</c:v>
                </c:pt>
                <c:pt idx="47">
                  <c:v>1730.0</c:v>
                </c:pt>
                <c:pt idx="48">
                  <c:v>1189.3333</c:v>
                </c:pt>
                <c:pt idx="49">
                  <c:v>1373.0</c:v>
                </c:pt>
                <c:pt idx="50">
                  <c:v>2061.0</c:v>
                </c:pt>
              </c:numCache>
            </c:numRef>
          </c:xVal>
          <c:yVal>
            <c:numRef>
              <c:f>Sheet1!$B$107:$B$157</c:f>
              <c:numCache>
                <c:formatCode>General</c:formatCode>
                <c:ptCount val="51"/>
                <c:pt idx="0">
                  <c:v>0.0</c:v>
                </c:pt>
                <c:pt idx="1">
                  <c:v>0.0</c:v>
                </c:pt>
                <c:pt idx="2">
                  <c:v>0.5</c:v>
                </c:pt>
                <c:pt idx="3">
                  <c:v>0.5555555555555556</c:v>
                </c:pt>
                <c:pt idx="4">
                  <c:v>0.375</c:v>
                </c:pt>
                <c:pt idx="5">
                  <c:v>0.5</c:v>
                </c:pt>
                <c:pt idx="6">
                  <c:v>0.4</c:v>
                </c:pt>
                <c:pt idx="7">
                  <c:v>0.4444444444444444</c:v>
                </c:pt>
                <c:pt idx="8">
                  <c:v>0.5</c:v>
                </c:pt>
                <c:pt idx="9">
                  <c:v>0.5</c:v>
                </c:pt>
                <c:pt idx="10">
                  <c:v>0.5714285714285714</c:v>
                </c:pt>
                <c:pt idx="11">
                  <c:v>0.5384615384615384</c:v>
                </c:pt>
                <c:pt idx="12">
                  <c:v>0.5454545454545454</c:v>
                </c:pt>
                <c:pt idx="13">
                  <c:v>0.5</c:v>
                </c:pt>
                <c:pt idx="14">
                  <c:v>0.5</c:v>
                </c:pt>
                <c:pt idx="15">
                  <c:v>0.3076923076923077</c:v>
                </c:pt>
                <c:pt idx="16">
                  <c:v>0.36363636363636365</c:v>
                </c:pt>
                <c:pt idx="17">
                  <c:v>0.375</c:v>
                </c:pt>
                <c:pt idx="18">
                  <c:v>0.2</c:v>
                </c:pt>
                <c:pt idx="19">
                  <c:v>0.4</c:v>
                </c:pt>
                <c:pt idx="20">
                  <c:v>0.4</c:v>
                </c:pt>
                <c:pt idx="21">
                  <c:v>0.3333333333333333</c:v>
                </c:pt>
                <c:pt idx="22">
                  <c:v>0.25</c:v>
                </c:pt>
                <c:pt idx="23">
                  <c:v>0.3333333333333333</c:v>
                </c:pt>
                <c:pt idx="24">
                  <c:v>0.3333333333333333</c:v>
                </c:pt>
                <c:pt idx="25">
                  <c:v>0.25</c:v>
                </c:pt>
                <c:pt idx="26">
                  <c:v>0.6666666666666666</c:v>
                </c:pt>
                <c:pt idx="27">
                  <c:v>0.0</c:v>
                </c:pt>
                <c:pt idx="28">
                  <c:v>0.3333333333333333</c:v>
                </c:pt>
                <c:pt idx="29">
                  <c:v>0.0</c:v>
                </c:pt>
                <c:pt idx="30">
                  <c:v>0.0</c:v>
                </c:pt>
                <c:pt idx="31">
                  <c:v>0.5</c:v>
                </c:pt>
                <c:pt idx="32">
                  <c:v>0.5</c:v>
                </c:pt>
                <c:pt idx="33">
                  <c:v>0.0</c:v>
                </c:pt>
                <c:pt idx="34">
                  <c:v>0.3333333333333333</c:v>
                </c:pt>
                <c:pt idx="35">
                  <c:v>0.3333333333333333</c:v>
                </c:pt>
                <c:pt idx="36">
                  <c:v>0.0</c:v>
                </c:pt>
                <c:pt idx="37">
                  <c:v>0.0</c:v>
                </c:pt>
                <c:pt idx="38">
                  <c:v>0.0</c:v>
                </c:pt>
                <c:pt idx="39">
                  <c:v>0.6666666666666666</c:v>
                </c:pt>
                <c:pt idx="40">
                  <c:v>0.15384615384615385</c:v>
                </c:pt>
                <c:pt idx="41">
                  <c:v>0.2857142857142857</c:v>
                </c:pt>
                <c:pt idx="42">
                  <c:v>0.2</c:v>
                </c:pt>
                <c:pt idx="43">
                  <c:v>0.16666666666666666</c:v>
                </c:pt>
                <c:pt idx="44">
                  <c:v>0.2</c:v>
                </c:pt>
                <c:pt idx="45">
                  <c:v>0.2</c:v>
                </c:pt>
                <c:pt idx="46">
                  <c:v>0.0</c:v>
                </c:pt>
                <c:pt idx="47">
                  <c:v>0.3333333333333333</c:v>
                </c:pt>
                <c:pt idx="48">
                  <c:v>0.375</c:v>
                </c:pt>
                <c:pt idx="49">
                  <c:v>0.42857142857142855</c:v>
                </c:pt>
                <c:pt idx="50">
                  <c:v>0.25</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2115.739183574152</c:v>
                </c:pt>
              </c:numCache>
            </c:numRef>
          </c:xVal>
          <c:yVal>
            <c:numRef>
              <c:f>Sheet1!$B$160:$B$161</c:f>
              <c:numCache>
                <c:formatCode>General</c:formatCode>
                <c:ptCount val="2"/>
                <c:pt idx="0">
                  <c:v>0.4580586080586081</c:v>
                </c:pt>
                <c:pt idx="1">
                  <c:v>0.4580586080586081</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2115.739183574152</c:v>
                </c:pt>
                <c:pt idx="1">
                  <c:v>2115.739183574152</c:v>
                </c:pt>
              </c:numCache>
            </c:numRef>
          </c:xVal>
          <c:yVal>
            <c:numRef>
              <c:f>Sheet1!$B$164:$B$165</c:f>
              <c:numCache>
                <c:formatCode>General</c:formatCode>
                <c:ptCount val="2"/>
                <c:pt idx="0">
                  <c:v>0.458058608058608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2269.5472670885474</c:v>
                </c:pt>
              </c:numCache>
            </c:numRef>
          </c:xVal>
          <c:yVal>
            <c:numRef>
              <c:f>Sheet1!$B$168:$B$169</c:f>
              <c:numCache>
                <c:formatCode>General</c:formatCode>
                <c:ptCount val="2"/>
                <c:pt idx="0">
                  <c:v>0.48293650793650794</c:v>
                </c:pt>
                <c:pt idx="1">
                  <c:v>0.48293650793650794</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2269.5472670885474</c:v>
                </c:pt>
                <c:pt idx="1">
                  <c:v>2269.5472670885474</c:v>
                </c:pt>
              </c:numCache>
            </c:numRef>
          </c:xVal>
          <c:yVal>
            <c:numRef>
              <c:f>Sheet1!$B$172:$B$173</c:f>
              <c:numCache>
                <c:formatCode>General</c:formatCode>
                <c:ptCount val="2"/>
                <c:pt idx="0">
                  <c:v>0.482936507936507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963.2637062716565</c:v>
                </c:pt>
              </c:numCache>
            </c:numRef>
          </c:xVal>
          <c:yVal>
            <c:numRef>
              <c:f>Sheet1!$B$176:$B$177</c:f>
              <c:numCache>
                <c:formatCode>General</c:formatCode>
                <c:ptCount val="2"/>
                <c:pt idx="0">
                  <c:v>0.2716498778998779</c:v>
                </c:pt>
                <c:pt idx="1">
                  <c:v>0.2716498778998779</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963.2637062716565</c:v>
                </c:pt>
                <c:pt idx="1">
                  <c:v>963.2637062716565</c:v>
                </c:pt>
              </c:numCache>
            </c:numRef>
          </c:xVal>
          <c:yVal>
            <c:numRef>
              <c:f>Sheet1!$B$180:$B$181</c:f>
              <c:numCache>
                <c:formatCode>General</c:formatCode>
                <c:ptCount val="2"/>
                <c:pt idx="0">
                  <c:v>0.27164987789987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7</c:f>
              <c:numCache>
                <c:formatCode>General</c:formatCode>
                <c:ptCount val="54"/>
                <c:pt idx="0">
                  <c:v>0.0</c:v>
                </c:pt>
                <c:pt idx="1">
                  <c:v>0.0</c:v>
                </c:pt>
                <c:pt idx="2">
                  <c:v>1357.25</c:v>
                </c:pt>
                <c:pt idx="3">
                  <c:v>1335.6</c:v>
                </c:pt>
                <c:pt idx="4">
                  <c:v>1382.6667</c:v>
                </c:pt>
                <c:pt idx="5">
                  <c:v>1377.3333</c:v>
                </c:pt>
                <c:pt idx="6">
                  <c:v>1690.0</c:v>
                </c:pt>
                <c:pt idx="7">
                  <c:v>1524.0</c:v>
                </c:pt>
                <c:pt idx="8">
                  <c:v>1631.6667</c:v>
                </c:pt>
                <c:pt idx="9">
                  <c:v>1539.6667</c:v>
                </c:pt>
                <c:pt idx="10">
                  <c:v>1339.625</c:v>
                </c:pt>
                <c:pt idx="11">
                  <c:v>1616.7143</c:v>
                </c:pt>
                <c:pt idx="12">
                  <c:v>1502.3333</c:v>
                </c:pt>
                <c:pt idx="13">
                  <c:v>1551.375</c:v>
                </c:pt>
                <c:pt idx="14">
                  <c:v>1620.0</c:v>
                </c:pt>
                <c:pt idx="15">
                  <c:v>1668.75</c:v>
                </c:pt>
                <c:pt idx="16">
                  <c:v>1770.25</c:v>
                </c:pt>
                <c:pt idx="17">
                  <c:v>1321.3333</c:v>
                </c:pt>
                <c:pt idx="18">
                  <c:v>2586.0</c:v>
                </c:pt>
                <c:pt idx="19">
                  <c:v>1246.5</c:v>
                </c:pt>
                <c:pt idx="20">
                  <c:v>1369.5</c:v>
                </c:pt>
                <c:pt idx="21">
                  <c:v>2496.0</c:v>
                </c:pt>
                <c:pt idx="22">
                  <c:v>1649.0</c:v>
                </c:pt>
                <c:pt idx="23">
                  <c:v>1811.0</c:v>
                </c:pt>
                <c:pt idx="24">
                  <c:v>1220.5</c:v>
                </c:pt>
                <c:pt idx="25">
                  <c:v>1945.0</c:v>
                </c:pt>
                <c:pt idx="26">
                  <c:v>1464.5</c:v>
                </c:pt>
                <c:pt idx="27">
                  <c:v>0.0</c:v>
                </c:pt>
                <c:pt idx="28">
                  <c:v>779.0</c:v>
                </c:pt>
                <c:pt idx="29">
                  <c:v>0.0</c:v>
                </c:pt>
                <c:pt idx="30">
                  <c:v>0.0</c:v>
                </c:pt>
                <c:pt idx="31">
                  <c:v>942.0</c:v>
                </c:pt>
                <c:pt idx="32">
                  <c:v>1496.0</c:v>
                </c:pt>
                <c:pt idx="33">
                  <c:v>0.0</c:v>
                </c:pt>
                <c:pt idx="34">
                  <c:v>2814.0</c:v>
                </c:pt>
                <c:pt idx="35">
                  <c:v>1485.0</c:v>
                </c:pt>
                <c:pt idx="36">
                  <c:v>0.0</c:v>
                </c:pt>
                <c:pt idx="37">
                  <c:v>0.0</c:v>
                </c:pt>
                <c:pt idx="38">
                  <c:v>0.0</c:v>
                </c:pt>
                <c:pt idx="39">
                  <c:v>651.0</c:v>
                </c:pt>
                <c:pt idx="40">
                  <c:v>930.5</c:v>
                </c:pt>
                <c:pt idx="41">
                  <c:v>1150.0</c:v>
                </c:pt>
                <c:pt idx="42">
                  <c:v>1551.0</c:v>
                </c:pt>
                <c:pt idx="43">
                  <c:v>1197.0</c:v>
                </c:pt>
                <c:pt idx="44">
                  <c:v>799.0</c:v>
                </c:pt>
                <c:pt idx="45">
                  <c:v>1630.0</c:v>
                </c:pt>
                <c:pt idx="46">
                  <c:v>0.0</c:v>
                </c:pt>
                <c:pt idx="47">
                  <c:v>1730.0</c:v>
                </c:pt>
                <c:pt idx="48">
                  <c:v>1189.3333</c:v>
                </c:pt>
                <c:pt idx="49">
                  <c:v>1373.0</c:v>
                </c:pt>
                <c:pt idx="50">
                  <c:v>2061.0</c:v>
                </c:pt>
                <c:pt idx="51">
                  <c:v>2269.5472670885474</c:v>
                </c:pt>
                <c:pt idx="52">
                  <c:v>2115.739183574152</c:v>
                </c:pt>
                <c:pt idx="53">
                  <c:v>963.2637062716565</c:v>
                </c:pt>
              </c:numCache>
            </c:numRef>
          </c:xVal>
          <c:yVal>
            <c:numRef>
              <c:f>Sheet1!$B$184:$B$237</c:f>
              <c:numCache>
                <c:formatCode>General</c:formatCode>
                <c:ptCount val="54"/>
                <c:pt idx="0">
                  <c:v>0.1158454657189136</c:v>
                </c:pt>
                <c:pt idx="1">
                  <c:v>0.1158454657189136</c:v>
                </c:pt>
                <c:pt idx="2">
                  <c:v>0.3353757325148028</c:v>
                </c:pt>
                <c:pt idx="3">
                  <c:v>0.3318739235067858</c:v>
                </c:pt>
                <c:pt idx="4">
                  <c:v>0.33948679159166484</c:v>
                </c:pt>
                <c:pt idx="5">
                  <c:v>0.3386241334778839</c:v>
                </c:pt>
                <c:pt idx="6">
                  <c:v>0.3891968386310909</c:v>
                </c:pt>
                <c:pt idx="7">
                  <c:v>0.36234694046338595</c:v>
                </c:pt>
                <c:pt idx="8">
                  <c:v>0.37976163884322234</c:v>
                </c:pt>
                <c:pt idx="9">
                  <c:v>0.36488097238883166</c:v>
                </c:pt>
                <c:pt idx="10">
                  <c:v>0.3325249526641654</c:v>
                </c:pt>
                <c:pt idx="11">
                  <c:v>0.3773431423530851</c:v>
                </c:pt>
                <c:pt idx="12">
                  <c:v>0.3588424302909148</c:v>
                </c:pt>
                <c:pt idx="13">
                  <c:v>0.3667747474654397</c:v>
                </c:pt>
                <c:pt idx="14">
                  <c:v>0.3778745924157937</c:v>
                </c:pt>
                <c:pt idx="15">
                  <c:v>0.38575972817287574</c:v>
                </c:pt>
                <c:pt idx="16">
                  <c:v>0.40217698518505673</c:v>
                </c:pt>
                <c:pt idx="17">
                  <c:v>0.32956633650564604</c:v>
                </c:pt>
                <c:pt idx="18">
                  <c:v>0.5341215901868962</c:v>
                </c:pt>
                <c:pt idx="19">
                  <c:v>0.31746232153845744</c:v>
                </c:pt>
                <c:pt idx="20">
                  <c:v>0.33735712560247977</c:v>
                </c:pt>
                <c:pt idx="21">
                  <c:v>0.519564416481514</c:v>
                </c:pt>
                <c:pt idx="22">
                  <c:v>0.3825652372764168</c:v>
                </c:pt>
                <c:pt idx="23">
                  <c:v>0.4087681499461048</c:v>
                </c:pt>
                <c:pt idx="24">
                  <c:v>0.31325691580134696</c:v>
                </c:pt>
                <c:pt idx="25">
                  <c:v>0.43044216412967395</c:v>
                </c:pt>
                <c:pt idx="26">
                  <c:v>0.3527230311803833</c:v>
                </c:pt>
                <c:pt idx="27">
                  <c:v>0.1158454657189136</c:v>
                </c:pt>
                <c:pt idx="28">
                  <c:v>0.24184589145772198</c:v>
                </c:pt>
                <c:pt idx="29">
                  <c:v>0.1158454657189136</c:v>
                </c:pt>
                <c:pt idx="30">
                  <c:v>0.1158454657189136</c:v>
                </c:pt>
                <c:pt idx="31">
                  <c:v>0.2682105505019142</c:v>
                </c:pt>
                <c:pt idx="32">
                  <c:v>0.357818041977267</c:v>
                </c:pt>
                <c:pt idx="33">
                  <c:v>0.1158454657189136</c:v>
                </c:pt>
                <c:pt idx="34">
                  <c:v>0.5709997635738645</c:v>
                </c:pt>
                <c:pt idx="35">
                  <c:v>0.35603883185772034</c:v>
                </c:pt>
                <c:pt idx="36">
                  <c:v>0.1158454657189136</c:v>
                </c:pt>
                <c:pt idx="37">
                  <c:v>0.1158454657189136</c:v>
                </c:pt>
                <c:pt idx="38">
                  <c:v>0.1158454657189136</c:v>
                </c:pt>
                <c:pt idx="39">
                  <c:v>0.22114235552117836</c:v>
                </c:pt>
                <c:pt idx="40">
                  <c:v>0.26635046719511535</c:v>
                </c:pt>
                <c:pt idx="41">
                  <c:v>0.3018537963987976</c:v>
                </c:pt>
                <c:pt idx="42">
                  <c:v>0.36671409257500065</c:v>
                </c:pt>
                <c:pt idx="43">
                  <c:v>0.3094558760004972</c:v>
                </c:pt>
                <c:pt idx="44">
                  <c:v>0.24508081894780692</c:v>
                </c:pt>
                <c:pt idx="45">
                  <c:v>0.37949205616083614</c:v>
                </c:pt>
                <c:pt idx="46">
                  <c:v>0.1158454657189136</c:v>
                </c:pt>
                <c:pt idx="47">
                  <c:v>0.39566669361126083</c:v>
                </c:pt>
                <c:pt idx="48">
                  <c:v>0.3082158150710855</c:v>
                </c:pt>
                <c:pt idx="49">
                  <c:v>0.33792323791324463</c:v>
                </c:pt>
                <c:pt idx="50">
                  <c:v>0.44920474357216655</c:v>
                </c:pt>
                <c:pt idx="51">
                  <c:v>0.482936507936508</c:v>
                </c:pt>
                <c:pt idx="52">
                  <c:v>0.4580586080586081</c:v>
                </c:pt>
                <c:pt idx="53">
                  <c:v>0.27164987789987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37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999999999999999"/>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3.1484</c:v>
                </c:pt>
                <c:pt idx="1">
                  <c:v>862.2309</c:v>
                </c:pt>
                <c:pt idx="2">
                  <c:v>893.6481</c:v>
                </c:pt>
                <c:pt idx="3">
                  <c:v>912.3858</c:v>
                </c:pt>
                <c:pt idx="4">
                  <c:v>914.6732</c:v>
                </c:pt>
                <c:pt idx="5">
                  <c:v>910.4454</c:v>
                </c:pt>
                <c:pt idx="6">
                  <c:v>858.1816</c:v>
                </c:pt>
                <c:pt idx="7">
                  <c:v>866.9476</c:v>
                </c:pt>
                <c:pt idx="8">
                  <c:v>869.0245</c:v>
                </c:pt>
                <c:pt idx="9">
                  <c:v>823.9968</c:v>
                </c:pt>
                <c:pt idx="10">
                  <c:v>807.1927</c:v>
                </c:pt>
                <c:pt idx="11">
                  <c:v>871.0116</c:v>
                </c:pt>
                <c:pt idx="12">
                  <c:v>880.088</c:v>
                </c:pt>
                <c:pt idx="13">
                  <c:v>883.0113</c:v>
                </c:pt>
                <c:pt idx="14">
                  <c:v>857.8064</c:v>
                </c:pt>
                <c:pt idx="15">
                  <c:v>902.0108</c:v>
                </c:pt>
                <c:pt idx="16">
                  <c:v>923.0034</c:v>
                </c:pt>
                <c:pt idx="17">
                  <c:v>914.7465</c:v>
                </c:pt>
                <c:pt idx="18">
                  <c:v>974.8366</c:v>
                </c:pt>
                <c:pt idx="19">
                  <c:v>957.7426</c:v>
                </c:pt>
                <c:pt idx="20">
                  <c:v>1021.7914</c:v>
                </c:pt>
                <c:pt idx="21">
                  <c:v>1049.913</c:v>
                </c:pt>
                <c:pt idx="22">
                  <c:v>976.6976</c:v>
                </c:pt>
                <c:pt idx="23">
                  <c:v>983.8439</c:v>
                </c:pt>
                <c:pt idx="24">
                  <c:v>1000.7253</c:v>
                </c:pt>
                <c:pt idx="25">
                  <c:v>968.8886</c:v>
                </c:pt>
                <c:pt idx="26">
                  <c:v>959.895</c:v>
                </c:pt>
                <c:pt idx="27">
                  <c:v>980.6767</c:v>
                </c:pt>
                <c:pt idx="28">
                  <c:v>987.9764</c:v>
                </c:pt>
                <c:pt idx="29">
                  <c:v>955.1228</c:v>
                </c:pt>
                <c:pt idx="30">
                  <c:v>962.8629</c:v>
                </c:pt>
                <c:pt idx="31">
                  <c:v>952.4947</c:v>
                </c:pt>
                <c:pt idx="32">
                  <c:v>921.0426</c:v>
                </c:pt>
                <c:pt idx="33">
                  <c:v>875.1037</c:v>
                </c:pt>
                <c:pt idx="34">
                  <c:v>899.3865</c:v>
                </c:pt>
                <c:pt idx="35">
                  <c:v>933.7163</c:v>
                </c:pt>
                <c:pt idx="36">
                  <c:v>1020.5165</c:v>
                </c:pt>
                <c:pt idx="37">
                  <c:v>1045.9903</c:v>
                </c:pt>
                <c:pt idx="38">
                  <c:v>1100.1724</c:v>
                </c:pt>
                <c:pt idx="39">
                  <c:v>1099.9851</c:v>
                </c:pt>
                <c:pt idx="40">
                  <c:v>1089.5451</c:v>
                </c:pt>
                <c:pt idx="41">
                  <c:v>1140.9455</c:v>
                </c:pt>
                <c:pt idx="42">
                  <c:v>1148.5144</c:v>
                </c:pt>
                <c:pt idx="43">
                  <c:v>1150.8395</c:v>
                </c:pt>
                <c:pt idx="44">
                  <c:v>1095.137</c:v>
                </c:pt>
                <c:pt idx="45">
                  <c:v>1060.877</c:v>
                </c:pt>
                <c:pt idx="46">
                  <c:v>1040.5923</c:v>
                </c:pt>
                <c:pt idx="47">
                  <c:v>1027.1613</c:v>
                </c:pt>
                <c:pt idx="48">
                  <c:v>1030.3996</c:v>
                </c:pt>
                <c:pt idx="49">
                  <c:v>990.4478</c:v>
                </c:pt>
                <c:pt idx="50">
                  <c:v>990.1794</c:v>
                </c:pt>
                <c:pt idx="51">
                  <c:v>1017.5388</c:v>
                </c:pt>
                <c:pt idx="52">
                  <c:v>1034.4119</c:v>
                </c:pt>
                <c:pt idx="53">
                  <c:v>1113.4152</c:v>
                </c:pt>
                <c:pt idx="54">
                  <c:v>1098.895</c:v>
                </c:pt>
                <c:pt idx="55">
                  <c:v>1117.3994</c:v>
                </c:pt>
                <c:pt idx="56">
                  <c:v>1131.913</c:v>
                </c:pt>
                <c:pt idx="57">
                  <c:v>1097.5879</c:v>
                </c:pt>
                <c:pt idx="58">
                  <c:v>1024.3653</c:v>
                </c:pt>
                <c:pt idx="59">
                  <c:v>1056.5515</c:v>
                </c:pt>
                <c:pt idx="60">
                  <c:v>1078.1891</c:v>
                </c:pt>
                <c:pt idx="61">
                  <c:v>1084.9303</c:v>
                </c:pt>
                <c:pt idx="62">
                  <c:v>1004.7675</c:v>
                </c:pt>
                <c:pt idx="63">
                  <c:v>1038.5249</c:v>
                </c:pt>
                <c:pt idx="64">
                  <c:v>1049.7744</c:v>
                </c:pt>
                <c:pt idx="65">
                  <c:v>1038.7963</c:v>
                </c:pt>
                <c:pt idx="66">
                  <c:v>1047.5711</c:v>
                </c:pt>
                <c:pt idx="67">
                  <c:v>1070.3845</c:v>
                </c:pt>
                <c:pt idx="68">
                  <c:v>1094.169</c:v>
                </c:pt>
                <c:pt idx="69">
                  <c:v>1142.2618</c:v>
                </c:pt>
                <c:pt idx="70">
                  <c:v>1139.8871</c:v>
                </c:pt>
                <c:pt idx="71">
                  <c:v>1203.6509</c:v>
                </c:pt>
                <c:pt idx="72">
                  <c:v>1289.1129</c:v>
                </c:pt>
                <c:pt idx="73">
                  <c:v>1272.6801</c:v>
                </c:pt>
                <c:pt idx="74">
                  <c:v>1235.5252</c:v>
                </c:pt>
                <c:pt idx="75">
                  <c:v>1204.0756</c:v>
                </c:pt>
                <c:pt idx="76">
                  <c:v>1203.6344</c:v>
                </c:pt>
                <c:pt idx="77">
                  <c:v>1193.0985</c:v>
                </c:pt>
                <c:pt idx="78">
                  <c:v>1233.7708</c:v>
                </c:pt>
                <c:pt idx="79">
                  <c:v>1149.7634</c:v>
                </c:pt>
                <c:pt idx="80">
                  <c:v>1215.432</c:v>
                </c:pt>
                <c:pt idx="81">
                  <c:v>1178.2262</c:v>
                </c:pt>
                <c:pt idx="82">
                  <c:v>1195.3812</c:v>
                </c:pt>
                <c:pt idx="83">
                  <c:v>1178.621</c:v>
                </c:pt>
                <c:pt idx="84">
                  <c:v>1194.6578</c:v>
                </c:pt>
                <c:pt idx="85">
                  <c:v>1150.9754</c:v>
                </c:pt>
                <c:pt idx="86">
                  <c:v>1152.7265</c:v>
                </c:pt>
                <c:pt idx="87">
                  <c:v>1143.8636</c:v>
                </c:pt>
                <c:pt idx="88">
                  <c:v>1198.868</c:v>
                </c:pt>
                <c:pt idx="89">
                  <c:v>1186.7535</c:v>
                </c:pt>
                <c:pt idx="90">
                  <c:v>1251.3519</c:v>
                </c:pt>
                <c:pt idx="91">
                  <c:v>1276.5345</c:v>
                </c:pt>
                <c:pt idx="92">
                  <c:v>1190.3436</c:v>
                </c:pt>
                <c:pt idx="93">
                  <c:v>1254.6622</c:v>
                </c:pt>
                <c:pt idx="94">
                  <c:v>1254.3274</c:v>
                </c:pt>
                <c:pt idx="95">
                  <c:v>1192.4229</c:v>
                </c:pt>
                <c:pt idx="96">
                  <c:v>1123.3848</c:v>
                </c:pt>
                <c:pt idx="97">
                  <c:v>1117.3224</c:v>
                </c:pt>
                <c:pt idx="98">
                  <c:v>1112.2445</c:v>
                </c:pt>
                <c:pt idx="99">
                  <c:v>1081.9653</c:v>
                </c:pt>
                <c:pt idx="100">
                  <c:v>1077.9394</c:v>
                </c:pt>
                <c:pt idx="101">
                  <c:v>1079.7577</c:v>
                </c:pt>
                <c:pt idx="102">
                  <c:v>1109.5864</c:v>
                </c:pt>
                <c:pt idx="103">
                  <c:v>1101.2289</c:v>
                </c:pt>
                <c:pt idx="104">
                  <c:v>1150.3605</c:v>
                </c:pt>
              </c:numCache>
            </c:numRef>
          </c:xVal>
          <c:yVal>
            <c:numRef>
              <c:f>Sheet1!$B$2:$B$106</c:f>
              <c:numCache>
                <c:formatCode>General</c:formatCode>
                <c:ptCount val="105"/>
                <c:pt idx="0">
                  <c:v>0.22296712802768165</c:v>
                </c:pt>
                <c:pt idx="1">
                  <c:v>0.2252983293556086</c:v>
                </c:pt>
                <c:pt idx="2">
                  <c:v>0.21428571428571427</c:v>
                </c:pt>
                <c:pt idx="3">
                  <c:v>0.21960326721120188</c:v>
                </c:pt>
                <c:pt idx="4">
                  <c:v>0.22428884026258206</c:v>
                </c:pt>
                <c:pt idx="5">
                  <c:v>0.2336199229172843</c:v>
                </c:pt>
                <c:pt idx="6">
                  <c:v>0.2686014201914171</c:v>
                </c:pt>
                <c:pt idx="7">
                  <c:v>0.2704980842911877</c:v>
                </c:pt>
                <c:pt idx="8">
                  <c:v>0.2760018009905448</c:v>
                </c:pt>
                <c:pt idx="9">
                  <c:v>0.2654718566227947</c:v>
                </c:pt>
                <c:pt idx="10">
                  <c:v>0.2692517749863463</c:v>
                </c:pt>
                <c:pt idx="11">
                  <c:v>0.24356435643564356</c:v>
                </c:pt>
                <c:pt idx="12">
                  <c:v>0.2305059887558054</c:v>
                </c:pt>
                <c:pt idx="13">
                  <c:v>0.223963133640553</c:v>
                </c:pt>
                <c:pt idx="14">
                  <c:v>0.22067097311939987</c:v>
                </c:pt>
                <c:pt idx="15">
                  <c:v>0.18942505133470225</c:v>
                </c:pt>
                <c:pt idx="16">
                  <c:v>0.18484001242621934</c:v>
                </c:pt>
                <c:pt idx="17">
                  <c:v>0.16711140760507004</c:v>
                </c:pt>
                <c:pt idx="18">
                  <c:v>0.15702795863653773</c:v>
                </c:pt>
                <c:pt idx="19">
                  <c:v>0.16336394393426776</c:v>
                </c:pt>
                <c:pt idx="20">
                  <c:v>0.1691524190614769</c:v>
                </c:pt>
                <c:pt idx="21">
                  <c:v>0.1621475054229935</c:v>
                </c:pt>
                <c:pt idx="22">
                  <c:v>0.19924098671726756</c:v>
                </c:pt>
                <c:pt idx="23">
                  <c:v>0.19221753398968588</c:v>
                </c:pt>
                <c:pt idx="24">
                  <c:v>0.19555182543013008</c:v>
                </c:pt>
                <c:pt idx="25">
                  <c:v>0.21047381546134664</c:v>
                </c:pt>
                <c:pt idx="26">
                  <c:v>0.23883318140382861</c:v>
                </c:pt>
                <c:pt idx="27">
                  <c:v>0.22721798474508229</c:v>
                </c:pt>
                <c:pt idx="28">
                  <c:v>0.2260583641594739</c:v>
                </c:pt>
                <c:pt idx="29">
                  <c:v>0.22870370370370371</c:v>
                </c:pt>
                <c:pt idx="30">
                  <c:v>0.2382404181184669</c:v>
                </c:pt>
                <c:pt idx="31">
                  <c:v>0.2361746361746362</c:v>
                </c:pt>
                <c:pt idx="32">
                  <c:v>0.2487785016286645</c:v>
                </c:pt>
                <c:pt idx="33">
                  <c:v>0.2637489202418658</c:v>
                </c:pt>
                <c:pt idx="34">
                  <c:v>0.24895166629883028</c:v>
                </c:pt>
                <c:pt idx="35">
                  <c:v>0.26185448262622385</c:v>
                </c:pt>
                <c:pt idx="36">
                  <c:v>0.22697083453652903</c:v>
                </c:pt>
                <c:pt idx="37">
                  <c:v>0.225759238931577</c:v>
                </c:pt>
                <c:pt idx="38">
                  <c:v>0.20760342899739098</c:v>
                </c:pt>
                <c:pt idx="39">
                  <c:v>0.19955323901712585</c:v>
                </c:pt>
                <c:pt idx="40">
                  <c:v>0.21830790568654646</c:v>
                </c:pt>
                <c:pt idx="41">
                  <c:v>0.1927795303189625</c:v>
                </c:pt>
                <c:pt idx="42">
                  <c:v>0.18770614692653673</c:v>
                </c:pt>
                <c:pt idx="43">
                  <c:v>0.18228187919463087</c:v>
                </c:pt>
                <c:pt idx="44">
                  <c:v>0.1941385736066407</c:v>
                </c:pt>
                <c:pt idx="45">
                  <c:v>0.20877192982456141</c:v>
                </c:pt>
                <c:pt idx="46">
                  <c:v>0.22004608294930875</c:v>
                </c:pt>
                <c:pt idx="47">
                  <c:v>0.19655941382605926</c:v>
                </c:pt>
                <c:pt idx="48">
                  <c:v>0.20157153770599148</c:v>
                </c:pt>
                <c:pt idx="49">
                  <c:v>0.2198908343375629</c:v>
                </c:pt>
                <c:pt idx="50">
                  <c:v>0.211495712924738</c:v>
                </c:pt>
                <c:pt idx="51">
                  <c:v>0.19513314967860423</c:v>
                </c:pt>
                <c:pt idx="52">
                  <c:v>0.19499744767738642</c:v>
                </c:pt>
                <c:pt idx="53">
                  <c:v>0.18393094289508632</c:v>
                </c:pt>
                <c:pt idx="54">
                  <c:v>0.18492975734355044</c:v>
                </c:pt>
                <c:pt idx="55">
                  <c:v>0.1806366047745358</c:v>
                </c:pt>
                <c:pt idx="56">
                  <c:v>0.17890716803760282</c:v>
                </c:pt>
                <c:pt idx="57">
                  <c:v>0.18328298086606243</c:v>
                </c:pt>
                <c:pt idx="58">
                  <c:v>0.21296703296703295</c:v>
                </c:pt>
                <c:pt idx="59">
                  <c:v>0.20263806348746194</c:v>
                </c:pt>
                <c:pt idx="60">
                  <c:v>0.21125598283545138</c:v>
                </c:pt>
                <c:pt idx="61">
                  <c:v>0.20458937198067634</c:v>
                </c:pt>
                <c:pt idx="62">
                  <c:v>0.21975203078238564</c:v>
                </c:pt>
                <c:pt idx="63">
                  <c:v>0.23140662894098626</c:v>
                </c:pt>
                <c:pt idx="64">
                  <c:v>0.21334792122538293</c:v>
                </c:pt>
                <c:pt idx="65">
                  <c:v>0.198727833461835</c:v>
                </c:pt>
                <c:pt idx="66">
                  <c:v>0.2020242914979757</c:v>
                </c:pt>
                <c:pt idx="67">
                  <c:v>0.17771393392160886</c:v>
                </c:pt>
                <c:pt idx="68">
                  <c:v>0.1641829393627955</c:v>
                </c:pt>
                <c:pt idx="69">
                  <c:v>0.16069668090699968</c:v>
                </c:pt>
                <c:pt idx="70">
                  <c:v>0.16136514247846256</c:v>
                </c:pt>
                <c:pt idx="71">
                  <c:v>0.1706379707916987</c:v>
                </c:pt>
                <c:pt idx="72">
                  <c:v>0.16599732262382866</c:v>
                </c:pt>
                <c:pt idx="73">
                  <c:v>0.16704035874439463</c:v>
                </c:pt>
                <c:pt idx="74">
                  <c:v>0.17046580773042616</c:v>
                </c:pt>
                <c:pt idx="75">
                  <c:v>0.18791946308724833</c:v>
                </c:pt>
                <c:pt idx="76">
                  <c:v>0.17807563427477263</c:v>
                </c:pt>
                <c:pt idx="77">
                  <c:v>0.16981132075471697</c:v>
                </c:pt>
                <c:pt idx="78">
                  <c:v>0.16556655665566555</c:v>
                </c:pt>
                <c:pt idx="79">
                  <c:v>0.14982844071673657</c:v>
                </c:pt>
                <c:pt idx="80">
                  <c:v>0.13626453488372092</c:v>
                </c:pt>
                <c:pt idx="81">
                  <c:v>0.1577192397465822</c:v>
                </c:pt>
                <c:pt idx="82">
                  <c:v>0.16024436090225563</c:v>
                </c:pt>
                <c:pt idx="83">
                  <c:v>0.16474291710388247</c:v>
                </c:pt>
                <c:pt idx="84">
                  <c:v>0.15587778353184878</c:v>
                </c:pt>
                <c:pt idx="85">
                  <c:v>0.18100757913508694</c:v>
                </c:pt>
                <c:pt idx="86">
                  <c:v>0.1963151207115629</c:v>
                </c:pt>
                <c:pt idx="87">
                  <c:v>0.20376266280752534</c:v>
                </c:pt>
                <c:pt idx="88">
                  <c:v>0.19917864476386038</c:v>
                </c:pt>
                <c:pt idx="89">
                  <c:v>0.19888991674375578</c:v>
                </c:pt>
                <c:pt idx="90">
                  <c:v>0.17649687220732796</c:v>
                </c:pt>
                <c:pt idx="91">
                  <c:v>0.16882556131260795</c:v>
                </c:pt>
                <c:pt idx="92">
                  <c:v>0.19168110918544193</c:v>
                </c:pt>
                <c:pt idx="93">
                  <c:v>0.17798041202296522</c:v>
                </c:pt>
                <c:pt idx="94">
                  <c:v>0.17783094098883573</c:v>
                </c:pt>
                <c:pt idx="95">
                  <c:v>0.1876790830945559</c:v>
                </c:pt>
                <c:pt idx="96">
                  <c:v>0.19962616822429907</c:v>
                </c:pt>
                <c:pt idx="97">
                  <c:v>0.2051054777521716</c:v>
                </c:pt>
                <c:pt idx="98">
                  <c:v>0.2043827611395179</c:v>
                </c:pt>
                <c:pt idx="99">
                  <c:v>0.199095591006155</c:v>
                </c:pt>
                <c:pt idx="100">
                  <c:v>0.2088791208791209</c:v>
                </c:pt>
                <c:pt idx="101">
                  <c:v>0.2133542812254517</c:v>
                </c:pt>
                <c:pt idx="102">
                  <c:v>0.19175055241836483</c:v>
                </c:pt>
                <c:pt idx="103">
                  <c:v>0.19398968378560216</c:v>
                </c:pt>
                <c:pt idx="104">
                  <c:v>0.189174560216508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8.25</c:v>
                </c:pt>
                <c:pt idx="1">
                  <c:v>1187.6776</c:v>
                </c:pt>
                <c:pt idx="2">
                  <c:v>1195.57</c:v>
                </c:pt>
                <c:pt idx="3">
                  <c:v>1164.9592</c:v>
                </c:pt>
                <c:pt idx="4">
                  <c:v>1154.8161</c:v>
                </c:pt>
                <c:pt idx="5">
                  <c:v>1200.5945</c:v>
                </c:pt>
                <c:pt idx="6">
                  <c:v>1081.3226</c:v>
                </c:pt>
                <c:pt idx="7">
                  <c:v>1100.4988</c:v>
                </c:pt>
                <c:pt idx="8">
                  <c:v>1159.1388</c:v>
                </c:pt>
                <c:pt idx="9">
                  <c:v>1111.8323</c:v>
                </c:pt>
                <c:pt idx="10">
                  <c:v>1124.2218</c:v>
                </c:pt>
                <c:pt idx="11">
                  <c:v>999.9724</c:v>
                </c:pt>
                <c:pt idx="12">
                  <c:v>1033.5682</c:v>
                </c:pt>
                <c:pt idx="13">
                  <c:v>1106.954</c:v>
                </c:pt>
                <c:pt idx="14">
                  <c:v>1087.2409</c:v>
                </c:pt>
                <c:pt idx="15">
                  <c:v>1133.0285</c:v>
                </c:pt>
                <c:pt idx="16">
                  <c:v>1146.3688</c:v>
                </c:pt>
                <c:pt idx="17">
                  <c:v>1139.2575</c:v>
                </c:pt>
                <c:pt idx="18">
                  <c:v>1087.5022</c:v>
                </c:pt>
                <c:pt idx="19">
                  <c:v>1240.9511</c:v>
                </c:pt>
                <c:pt idx="20">
                  <c:v>1266.0714</c:v>
                </c:pt>
                <c:pt idx="21">
                  <c:v>1146.5484</c:v>
                </c:pt>
                <c:pt idx="22">
                  <c:v>1223.4253</c:v>
                </c:pt>
                <c:pt idx="23">
                  <c:v>1199.2315</c:v>
                </c:pt>
                <c:pt idx="24">
                  <c:v>1212.2654</c:v>
                </c:pt>
                <c:pt idx="25">
                  <c:v>1168.2751</c:v>
                </c:pt>
                <c:pt idx="26">
                  <c:v>1196.9809</c:v>
                </c:pt>
                <c:pt idx="27">
                  <c:v>1170.6188</c:v>
                </c:pt>
                <c:pt idx="28">
                  <c:v>1204.2098</c:v>
                </c:pt>
                <c:pt idx="29">
                  <c:v>1198.2106</c:v>
                </c:pt>
                <c:pt idx="30">
                  <c:v>1190.8969</c:v>
                </c:pt>
                <c:pt idx="31">
                  <c:v>1166.586</c:v>
                </c:pt>
                <c:pt idx="32">
                  <c:v>1216.2983</c:v>
                </c:pt>
                <c:pt idx="33">
                  <c:v>1202.526</c:v>
                </c:pt>
                <c:pt idx="34">
                  <c:v>1215.0134</c:v>
                </c:pt>
                <c:pt idx="35">
                  <c:v>1276.9577</c:v>
                </c:pt>
                <c:pt idx="36">
                  <c:v>1328.1122</c:v>
                </c:pt>
                <c:pt idx="37">
                  <c:v>1265.4573</c:v>
                </c:pt>
                <c:pt idx="38">
                  <c:v>1316.2978</c:v>
                </c:pt>
                <c:pt idx="39">
                  <c:v>1237.89</c:v>
                </c:pt>
                <c:pt idx="40">
                  <c:v>1261.7927</c:v>
                </c:pt>
                <c:pt idx="41">
                  <c:v>1309.8859</c:v>
                </c:pt>
                <c:pt idx="42">
                  <c:v>1312.7306</c:v>
                </c:pt>
                <c:pt idx="43">
                  <c:v>1289.7012</c:v>
                </c:pt>
                <c:pt idx="44">
                  <c:v>1209.8281</c:v>
                </c:pt>
                <c:pt idx="45">
                  <c:v>1158.742</c:v>
                </c:pt>
                <c:pt idx="46">
                  <c:v>1166.9447</c:v>
                </c:pt>
                <c:pt idx="47">
                  <c:v>1139.6541</c:v>
                </c:pt>
                <c:pt idx="48">
                  <c:v>1136.6096</c:v>
                </c:pt>
                <c:pt idx="49">
                  <c:v>1157.7121</c:v>
                </c:pt>
                <c:pt idx="50">
                  <c:v>1109.9693</c:v>
                </c:pt>
                <c:pt idx="51">
                  <c:v>1094.138</c:v>
                </c:pt>
              </c:numCache>
            </c:numRef>
          </c:xVal>
          <c:yVal>
            <c:numRef>
              <c:f>Sheet1!$B$109:$B$160</c:f>
              <c:numCache>
                <c:formatCode>General</c:formatCode>
                <c:ptCount val="52"/>
                <c:pt idx="0">
                  <c:v>0.191333175467677</c:v>
                </c:pt>
                <c:pt idx="1">
                  <c:v>0.18499874150515982</c:v>
                </c:pt>
                <c:pt idx="2">
                  <c:v>0.20340106007067138</c:v>
                </c:pt>
                <c:pt idx="3">
                  <c:v>0.22463244155218126</c:v>
                </c:pt>
                <c:pt idx="4">
                  <c:v>0.21202213279678067</c:v>
                </c:pt>
                <c:pt idx="5">
                  <c:v>0.21392016376663256</c:v>
                </c:pt>
                <c:pt idx="6">
                  <c:v>0.2353450140601341</c:v>
                </c:pt>
                <c:pt idx="7">
                  <c:v>0.23295944779982744</c:v>
                </c:pt>
                <c:pt idx="8">
                  <c:v>0.2271021021021021</c:v>
                </c:pt>
                <c:pt idx="9">
                  <c:v>0.2303485987696514</c:v>
                </c:pt>
                <c:pt idx="10">
                  <c:v>0.2352</c:v>
                </c:pt>
                <c:pt idx="11">
                  <c:v>0.22851919561243145</c:v>
                </c:pt>
                <c:pt idx="12">
                  <c:v>0.23013827044762128</c:v>
                </c:pt>
                <c:pt idx="13">
                  <c:v>0.22103658536585366</c:v>
                </c:pt>
                <c:pt idx="14">
                  <c:v>0.22444381864263588</c:v>
                </c:pt>
                <c:pt idx="15">
                  <c:v>0.21129441624365483</c:v>
                </c:pt>
                <c:pt idx="16">
                  <c:v>0.2079172610556348</c:v>
                </c:pt>
                <c:pt idx="17">
                  <c:v>0.20647149460708783</c:v>
                </c:pt>
                <c:pt idx="18">
                  <c:v>0.2076958738989337</c:v>
                </c:pt>
                <c:pt idx="19">
                  <c:v>0.20163020163020162</c:v>
                </c:pt>
                <c:pt idx="20">
                  <c:v>0.19196865817825662</c:v>
                </c:pt>
                <c:pt idx="21">
                  <c:v>0.2096168294515402</c:v>
                </c:pt>
                <c:pt idx="22">
                  <c:v>0.18831168831168832</c:v>
                </c:pt>
                <c:pt idx="23">
                  <c:v>0.19840213049267644</c:v>
                </c:pt>
                <c:pt idx="24">
                  <c:v>0.20033575825405708</c:v>
                </c:pt>
                <c:pt idx="25">
                  <c:v>0.19685497961560863</c:v>
                </c:pt>
                <c:pt idx="26">
                  <c:v>0.18927282104177412</c:v>
                </c:pt>
                <c:pt idx="27">
                  <c:v>0.19493006993006992</c:v>
                </c:pt>
                <c:pt idx="28">
                  <c:v>0.18679378531073446</c:v>
                </c:pt>
                <c:pt idx="29">
                  <c:v>0.1991701244813278</c:v>
                </c:pt>
                <c:pt idx="30">
                  <c:v>0.19549929676511954</c:v>
                </c:pt>
                <c:pt idx="31">
                  <c:v>0.2071290944123314</c:v>
                </c:pt>
                <c:pt idx="32">
                  <c:v>0.19129720853858784</c:v>
                </c:pt>
                <c:pt idx="33">
                  <c:v>0.2021021021021021</c:v>
                </c:pt>
                <c:pt idx="34">
                  <c:v>0.2230308219178082</c:v>
                </c:pt>
                <c:pt idx="35">
                  <c:v>0.20384294068504594</c:v>
                </c:pt>
                <c:pt idx="36">
                  <c:v>0.20851063829787234</c:v>
                </c:pt>
                <c:pt idx="37">
                  <c:v>0.20357310766337564</c:v>
                </c:pt>
                <c:pt idx="38">
                  <c:v>0.20180270405608414</c:v>
                </c:pt>
                <c:pt idx="39">
                  <c:v>0.2159827213822894</c:v>
                </c:pt>
                <c:pt idx="40">
                  <c:v>0.18936605316973415</c:v>
                </c:pt>
                <c:pt idx="41">
                  <c:v>0.18884615384615386</c:v>
                </c:pt>
                <c:pt idx="42">
                  <c:v>0.19863013698630136</c:v>
                </c:pt>
                <c:pt idx="43">
                  <c:v>0.17987987987987988</c:v>
                </c:pt>
                <c:pt idx="44">
                  <c:v>0.18468127991937516</c:v>
                </c:pt>
                <c:pt idx="45">
                  <c:v>0.20555555555555555</c:v>
                </c:pt>
                <c:pt idx="46">
                  <c:v>0.20611880303707011</c:v>
                </c:pt>
                <c:pt idx="47">
                  <c:v>0.2171176840780365</c:v>
                </c:pt>
                <c:pt idx="48">
                  <c:v>0.2047071702244116</c:v>
                </c:pt>
                <c:pt idx="49">
                  <c:v>0.21236791962584445</c:v>
                </c:pt>
                <c:pt idx="50">
                  <c:v>0.2196225582165324</c:v>
                </c:pt>
                <c:pt idx="51">
                  <c:v>0.20885122410546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9.0002033379649</c:v>
                </c:pt>
              </c:numCache>
            </c:numRef>
          </c:xVal>
          <c:yVal>
            <c:numRef>
              <c:f>Sheet1!$B$163:$B$164</c:f>
              <c:numCache>
                <c:formatCode>General</c:formatCode>
                <c:ptCount val="2"/>
                <c:pt idx="0">
                  <c:v>0.2394627230592469</c:v>
                </c:pt>
                <c:pt idx="1">
                  <c:v>0.23946272305924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9.0002033379649</c:v>
                </c:pt>
                <c:pt idx="1">
                  <c:v>929.0002033379649</c:v>
                </c:pt>
              </c:numCache>
            </c:numRef>
          </c:xVal>
          <c:yVal>
            <c:numRef>
              <c:f>Sheet1!$B$167:$B$168</c:f>
              <c:numCache>
                <c:formatCode>General</c:formatCode>
                <c:ptCount val="2"/>
                <c:pt idx="0">
                  <c:v>0.23946272305924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0.8855860378064</c:v>
                </c:pt>
              </c:numCache>
            </c:numRef>
          </c:xVal>
          <c:yVal>
            <c:numRef>
              <c:f>Sheet1!$B$171:$B$172</c:f>
              <c:numCache>
                <c:formatCode>General</c:formatCode>
                <c:ptCount val="2"/>
                <c:pt idx="0">
                  <c:v>0.2158677849156541</c:v>
                </c:pt>
                <c:pt idx="1">
                  <c:v>0.215867784915654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0.8855860378064</c:v>
                </c:pt>
                <c:pt idx="1">
                  <c:v>1110.8855860378064</c:v>
                </c:pt>
              </c:numCache>
            </c:numRef>
          </c:xVal>
          <c:yVal>
            <c:numRef>
              <c:f>Sheet1!$B$175:$B$176</c:f>
              <c:numCache>
                <c:formatCode>General</c:formatCode>
                <c:ptCount val="2"/>
                <c:pt idx="0">
                  <c:v>0.21586778491565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4.3915959247884</c:v>
                </c:pt>
              </c:numCache>
            </c:numRef>
          </c:xVal>
          <c:yVal>
            <c:numRef>
              <c:f>Sheet1!$B$179:$B$180</c:f>
              <c:numCache>
                <c:formatCode>General</c:formatCode>
                <c:ptCount val="2"/>
                <c:pt idx="0">
                  <c:v>0.20244054923281893</c:v>
                </c:pt>
                <c:pt idx="1">
                  <c:v>0.202440549232818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4.3915959247884</c:v>
                </c:pt>
                <c:pt idx="1">
                  <c:v>1214.3915959247884</c:v>
                </c:pt>
              </c:numCache>
            </c:numRef>
          </c:xVal>
          <c:yVal>
            <c:numRef>
              <c:f>Sheet1!$B$183:$B$184</c:f>
              <c:numCache>
                <c:formatCode>General</c:formatCode>
                <c:ptCount val="2"/>
                <c:pt idx="0">
                  <c:v>0.202440549232818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8.25</c:v>
                </c:pt>
                <c:pt idx="1">
                  <c:v>1187.6776</c:v>
                </c:pt>
                <c:pt idx="2">
                  <c:v>1195.57</c:v>
                </c:pt>
                <c:pt idx="3">
                  <c:v>1164.9592</c:v>
                </c:pt>
                <c:pt idx="4">
                  <c:v>1154.8161</c:v>
                </c:pt>
                <c:pt idx="5">
                  <c:v>1200.5945</c:v>
                </c:pt>
                <c:pt idx="6">
                  <c:v>1081.3226</c:v>
                </c:pt>
                <c:pt idx="7">
                  <c:v>1100.4988</c:v>
                </c:pt>
                <c:pt idx="8">
                  <c:v>1159.1388</c:v>
                </c:pt>
                <c:pt idx="9">
                  <c:v>1111.8323</c:v>
                </c:pt>
                <c:pt idx="10">
                  <c:v>1124.2218</c:v>
                </c:pt>
                <c:pt idx="11">
                  <c:v>999.9724</c:v>
                </c:pt>
                <c:pt idx="12">
                  <c:v>1033.5682</c:v>
                </c:pt>
                <c:pt idx="13">
                  <c:v>1106.954</c:v>
                </c:pt>
                <c:pt idx="14">
                  <c:v>1087.2409</c:v>
                </c:pt>
                <c:pt idx="15">
                  <c:v>1133.0285</c:v>
                </c:pt>
                <c:pt idx="16">
                  <c:v>1146.3688</c:v>
                </c:pt>
                <c:pt idx="17">
                  <c:v>1139.2575</c:v>
                </c:pt>
                <c:pt idx="18">
                  <c:v>1087.5022</c:v>
                </c:pt>
                <c:pt idx="19">
                  <c:v>1240.9511</c:v>
                </c:pt>
                <c:pt idx="20">
                  <c:v>1266.0714</c:v>
                </c:pt>
                <c:pt idx="21">
                  <c:v>1146.5484</c:v>
                </c:pt>
                <c:pt idx="22">
                  <c:v>1223.4253</c:v>
                </c:pt>
                <c:pt idx="23">
                  <c:v>1199.2315</c:v>
                </c:pt>
                <c:pt idx="24">
                  <c:v>1212.2654</c:v>
                </c:pt>
                <c:pt idx="25">
                  <c:v>1168.2751</c:v>
                </c:pt>
                <c:pt idx="26">
                  <c:v>1196.9809</c:v>
                </c:pt>
                <c:pt idx="27">
                  <c:v>1170.6188</c:v>
                </c:pt>
                <c:pt idx="28">
                  <c:v>1204.2098</c:v>
                </c:pt>
                <c:pt idx="29">
                  <c:v>1198.2106</c:v>
                </c:pt>
                <c:pt idx="30">
                  <c:v>1190.8969</c:v>
                </c:pt>
                <c:pt idx="31">
                  <c:v>1166.586</c:v>
                </c:pt>
                <c:pt idx="32">
                  <c:v>1216.2983</c:v>
                </c:pt>
                <c:pt idx="33">
                  <c:v>1202.526</c:v>
                </c:pt>
                <c:pt idx="34">
                  <c:v>1215.0134</c:v>
                </c:pt>
                <c:pt idx="35">
                  <c:v>1276.9577</c:v>
                </c:pt>
                <c:pt idx="36">
                  <c:v>1328.1122</c:v>
                </c:pt>
                <c:pt idx="37">
                  <c:v>1265.4573</c:v>
                </c:pt>
                <c:pt idx="38">
                  <c:v>1316.2978</c:v>
                </c:pt>
                <c:pt idx="39">
                  <c:v>1237.89</c:v>
                </c:pt>
                <c:pt idx="40">
                  <c:v>1261.7927</c:v>
                </c:pt>
                <c:pt idx="41">
                  <c:v>1309.8859</c:v>
                </c:pt>
                <c:pt idx="42">
                  <c:v>1312.7306</c:v>
                </c:pt>
                <c:pt idx="43">
                  <c:v>1289.7012</c:v>
                </c:pt>
                <c:pt idx="44">
                  <c:v>1209.8281</c:v>
                </c:pt>
                <c:pt idx="45">
                  <c:v>1158.742</c:v>
                </c:pt>
                <c:pt idx="46">
                  <c:v>1166.9447</c:v>
                </c:pt>
                <c:pt idx="47">
                  <c:v>1139.6541</c:v>
                </c:pt>
                <c:pt idx="48">
                  <c:v>1136.6096</c:v>
                </c:pt>
                <c:pt idx="49">
                  <c:v>1157.7121</c:v>
                </c:pt>
                <c:pt idx="50">
                  <c:v>1109.9693</c:v>
                </c:pt>
                <c:pt idx="51">
                  <c:v>1094.138</c:v>
                </c:pt>
                <c:pt idx="52">
                  <c:v>1110.8855860378064</c:v>
                </c:pt>
                <c:pt idx="53">
                  <c:v>929.0002033379649</c:v>
                </c:pt>
                <c:pt idx="54">
                  <c:v>1214.3915959247884</c:v>
                </c:pt>
              </c:numCache>
            </c:numRef>
          </c:xVal>
          <c:yVal>
            <c:numRef>
              <c:f>Sheet1!$B$187:$B$241</c:f>
              <c:numCache>
                <c:formatCode>General</c:formatCode>
                <c:ptCount val="55"/>
                <c:pt idx="0">
                  <c:v>0.20583174719311942</c:v>
                </c:pt>
                <c:pt idx="1">
                  <c:v>0.20590600133269304</c:v>
                </c:pt>
                <c:pt idx="2">
                  <c:v>0.20488216595328926</c:v>
                </c:pt>
                <c:pt idx="3">
                  <c:v>0.20885312789539215</c:v>
                </c:pt>
                <c:pt idx="4">
                  <c:v>0.2101689335612011</c:v>
                </c:pt>
                <c:pt idx="5">
                  <c:v>0.20423036664461078</c:v>
                </c:pt>
                <c:pt idx="6">
                  <c:v>0.2197028200160451</c:v>
                </c:pt>
                <c:pt idx="7">
                  <c:v>0.21721520256095886</c:v>
                </c:pt>
                <c:pt idx="8">
                  <c:v>0.20960817470527024</c:v>
                </c:pt>
                <c:pt idx="9">
                  <c:v>0.21574497319188574</c:v>
                </c:pt>
                <c:pt idx="10">
                  <c:v>0.21413775505378796</c:v>
                </c:pt>
                <c:pt idx="11">
                  <c:v>0.2302559106958855</c:v>
                </c:pt>
                <c:pt idx="12">
                  <c:v>0.22589772197770433</c:v>
                </c:pt>
                <c:pt idx="13">
                  <c:v>0.21637780682061028</c:v>
                </c:pt>
                <c:pt idx="14">
                  <c:v>0.21893507320570535</c:v>
                </c:pt>
                <c:pt idx="15">
                  <c:v>0.2129953128263546</c:v>
                </c:pt>
                <c:pt idx="16">
                  <c:v>0.21126475290644936</c:v>
                </c:pt>
                <c:pt idx="17">
                  <c:v>0.2121872607030073</c:v>
                </c:pt>
                <c:pt idx="18">
                  <c:v>0.21890117626882455</c:v>
                </c:pt>
                <c:pt idx="19">
                  <c:v>0.19899513846656022</c:v>
                </c:pt>
                <c:pt idx="20">
                  <c:v>0.19573642731643648</c:v>
                </c:pt>
                <c:pt idx="21">
                  <c:v>0.21124145443777811</c:v>
                </c:pt>
                <c:pt idx="22">
                  <c:v>0.20126865908036012</c:v>
                </c:pt>
                <c:pt idx="23">
                  <c:v>0.20440718074705452</c:v>
                </c:pt>
                <c:pt idx="24">
                  <c:v>0.20271636832604056</c:v>
                </c:pt>
                <c:pt idx="25">
                  <c:v>0.20842297537720186</c:v>
                </c:pt>
                <c:pt idx="26">
                  <c:v>0.2046991380610384</c:v>
                </c:pt>
                <c:pt idx="27">
                  <c:v>0.2081189407389792</c:v>
                </c:pt>
                <c:pt idx="28">
                  <c:v>0.20376137469702085</c:v>
                </c:pt>
                <c:pt idx="29">
                  <c:v>0.2045396161961997</c:v>
                </c:pt>
                <c:pt idx="30">
                  <c:v>0.2054883801734874</c:v>
                </c:pt>
                <c:pt idx="31">
                  <c:v>0.2086420925455348</c:v>
                </c:pt>
                <c:pt idx="32">
                  <c:v>0.20219320354706363</c:v>
                </c:pt>
                <c:pt idx="33">
                  <c:v>0.20397980432702442</c:v>
                </c:pt>
                <c:pt idx="34">
                  <c:v>0.20235988618846495</c:v>
                </c:pt>
                <c:pt idx="35">
                  <c:v>0.19432421061545793</c:v>
                </c:pt>
                <c:pt idx="36">
                  <c:v>0.1876882333568661</c:v>
                </c:pt>
                <c:pt idx="37">
                  <c:v>0.195816090955696</c:v>
                </c:pt>
                <c:pt idx="38">
                  <c:v>0.18922084710001494</c:v>
                </c:pt>
                <c:pt idx="39">
                  <c:v>0.19939223725525476</c:v>
                </c:pt>
                <c:pt idx="40">
                  <c:v>0.1962914783069913</c:v>
                </c:pt>
                <c:pt idx="41">
                  <c:v>0.19005262578193666</c:v>
                </c:pt>
                <c:pt idx="42">
                  <c:v>0.18968359931295511</c:v>
                </c:pt>
                <c:pt idx="43">
                  <c:v>0.1926710701059257</c:v>
                </c:pt>
                <c:pt idx="44">
                  <c:v>0.20303254515060862</c:v>
                </c:pt>
                <c:pt idx="45">
                  <c:v>0.20965964927302497</c:v>
                </c:pt>
                <c:pt idx="46">
                  <c:v>0.20859556047029887</c:v>
                </c:pt>
                <c:pt idx="47">
                  <c:v>0.2121358120800952</c:v>
                </c:pt>
                <c:pt idx="48">
                  <c:v>0.21253075744685243</c:v>
                </c:pt>
                <c:pt idx="49">
                  <c:v>0.20979325224008794</c:v>
                </c:pt>
                <c:pt idx="50">
                  <c:v>0.2159866494008753</c:v>
                </c:pt>
                <c:pt idx="51">
                  <c:v>0.2180403523355916</c:v>
                </c:pt>
                <c:pt idx="52">
                  <c:v>0.2158677849156541</c:v>
                </c:pt>
                <c:pt idx="53">
                  <c:v>0.2394627230592469</c:v>
                </c:pt>
                <c:pt idx="54">
                  <c:v>0.202440549232818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4.0"/>
          <c:min val="61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12021611886537"/>
          <c:min val="0.109011627906976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0.6852768125873577</c:v>
                </c:pt>
                <c:pt idx="1">
                  <c:v>0.6146901811185188</c:v>
                </c:pt>
                <c:pt idx="2">
                  <c:v>0.5938120851092814</c:v>
                </c:pt>
                <c:pt idx="3">
                  <c:v>0.5843857699387817</c:v>
                </c:pt>
                <c:pt idx="4">
                  <c:v>0.5916539165587289</c:v>
                </c:pt>
                <c:pt idx="5">
                  <c:v>0.6174867370880007</c:v>
                </c:pt>
                <c:pt idx="6">
                  <c:v>0.6032205784793844</c:v>
                </c:pt>
                <c:pt idx="7">
                  <c:v>0.5610106622729533</c:v>
                </c:pt>
                <c:pt idx="8">
                  <c:v>0.6096713297708117</c:v>
                </c:pt>
                <c:pt idx="9">
                  <c:v>0.6288745698524961</c:v>
                </c:pt>
                <c:pt idx="10">
                  <c:v>0.6396951214341068</c:v>
                </c:pt>
                <c:pt idx="11">
                  <c:v>0.6445004916153076</c:v>
                </c:pt>
                <c:pt idx="12">
                  <c:v>0.6929924969243865</c:v>
                </c:pt>
                <c:pt idx="13">
                  <c:v>0.6499526895842113</c:v>
                </c:pt>
                <c:pt idx="14">
                  <c:v>0.7037112625200163</c:v>
                </c:pt>
                <c:pt idx="15">
                  <c:v>0.6491666885216365</c:v>
                </c:pt>
                <c:pt idx="16">
                  <c:v>0.9215073812963829</c:v>
                </c:pt>
                <c:pt idx="17">
                  <c:v>0.7066810443836209</c:v>
                </c:pt>
                <c:pt idx="18">
                  <c:v>0.6384630583111444</c:v>
                </c:pt>
                <c:pt idx="19">
                  <c:v>0.45908283610127093</c:v>
                </c:pt>
                <c:pt idx="20">
                  <c:v>0.46206114614267296</c:v>
                </c:pt>
                <c:pt idx="21">
                  <c:v>0.8281086893360127</c:v>
                </c:pt>
                <c:pt idx="22">
                  <c:v>0.5533060364408255</c:v>
                </c:pt>
                <c:pt idx="23">
                  <c:v>0.5404034087675038</c:v>
                </c:pt>
                <c:pt idx="24">
                  <c:v>0.5130789909015716</c:v>
                </c:pt>
                <c:pt idx="25">
                  <c:v>0.48072589802508336</c:v>
                </c:pt>
                <c:pt idx="26">
                  <c:v>0.539179108346578</c:v>
                </c:pt>
                <c:pt idx="27">
                  <c:v>0.5134822017619893</c:v>
                </c:pt>
                <c:pt idx="28">
                  <c:v>0.5138486815265648</c:v>
                </c:pt>
                <c:pt idx="29">
                  <c:v>0.6420626895854398</c:v>
                </c:pt>
                <c:pt idx="30">
                  <c:v>0.8326783401972033</c:v>
                </c:pt>
                <c:pt idx="31">
                  <c:v>0.5271747924903772</c:v>
                </c:pt>
                <c:pt idx="32">
                  <c:v>0.6792378840942425</c:v>
                </c:pt>
                <c:pt idx="33">
                  <c:v>0.6074569856677297</c:v>
                </c:pt>
                <c:pt idx="34">
                  <c:v>0.5473979922862477</c:v>
                </c:pt>
                <c:pt idx="35">
                  <c:v>0.7202589616624351</c:v>
                </c:pt>
                <c:pt idx="36">
                  <c:v>0.7979978548444763</c:v>
                </c:pt>
                <c:pt idx="37">
                  <c:v>0.624050271163636</c:v>
                </c:pt>
                <c:pt idx="38">
                  <c:v>0.7789674527231729</c:v>
                </c:pt>
                <c:pt idx="39">
                  <c:v>0.7982103494552035</c:v>
                </c:pt>
                <c:pt idx="40">
                  <c:v>0.707911938293206</c:v>
                </c:pt>
                <c:pt idx="41">
                  <c:v>0.9569331331599426</c:v>
                </c:pt>
                <c:pt idx="42">
                  <c:v>0.9068389182852482</c:v>
                </c:pt>
                <c:pt idx="43">
                  <c:v>0.8715369335558413</c:v>
                </c:pt>
                <c:pt idx="44">
                  <c:v>0.755085880453266</c:v>
                </c:pt>
                <c:pt idx="45">
                  <c:v>0.8679206854253094</c:v>
                </c:pt>
                <c:pt idx="46">
                  <c:v>0.8028034223913262</c:v>
                </c:pt>
                <c:pt idx="47">
                  <c:v>0.6980158714459945</c:v>
                </c:pt>
                <c:pt idx="48">
                  <c:v>0.7963101314806447</c:v>
                </c:pt>
                <c:pt idx="49">
                  <c:v>0.7555350465948322</c:v>
                </c:pt>
                <c:pt idx="50">
                  <c:v>0.6476875015030069</c:v>
                </c:pt>
                <c:pt idx="51">
                  <c:v>0.7346224742732379</c:v>
                </c:pt>
                <c:pt idx="52">
                  <c:v>0.7415026862116295</c:v>
                </c:pt>
                <c:pt idx="53">
                  <c:v>0.6956832526805918</c:v>
                </c:pt>
                <c:pt idx="54">
                  <c:v>0.7117399062786846</c:v>
                </c:pt>
                <c:pt idx="55">
                  <c:v>0.7966141824283982</c:v>
                </c:pt>
                <c:pt idx="56">
                  <c:v>0.8069809687586513</c:v>
                </c:pt>
                <c:pt idx="57">
                  <c:v>0.8051036301857113</c:v>
                </c:pt>
                <c:pt idx="58">
                  <c:v>0.8091191870355036</c:v>
                </c:pt>
                <c:pt idx="59">
                  <c:v>0.8470450902581653</c:v>
                </c:pt>
                <c:pt idx="60">
                  <c:v>0.794858598042385</c:v>
                </c:pt>
                <c:pt idx="61">
                  <c:v>0.9028333562189369</c:v>
                </c:pt>
                <c:pt idx="62">
                  <c:v>0.8119587908464926</c:v>
                </c:pt>
                <c:pt idx="63">
                  <c:v>0.957237213382462</c:v>
                </c:pt>
                <c:pt idx="64">
                  <c:v>0.7307541718194672</c:v>
                </c:pt>
                <c:pt idx="65">
                  <c:v>0.711545542034909</c:v>
                </c:pt>
                <c:pt idx="66">
                  <c:v>1.061934967990871</c:v>
                </c:pt>
                <c:pt idx="67">
                  <c:v>0.5617989890093689</c:v>
                </c:pt>
                <c:pt idx="68">
                  <c:v>0.8751974922089749</c:v>
                </c:pt>
                <c:pt idx="69">
                  <c:v>0.3350385955820242</c:v>
                </c:pt>
                <c:pt idx="70">
                  <c:v>0.4123961218836565</c:v>
                </c:pt>
                <c:pt idx="71">
                  <c:v>0.3380750579901171</c:v>
                </c:pt>
                <c:pt idx="72">
                  <c:v>0.3500046349986183</c:v>
                </c:pt>
                <c:pt idx="73">
                  <c:v>0.48669533939199366</c:v>
                </c:pt>
                <c:pt idx="74">
                  <c:v>0.5951055536133029</c:v>
                </c:pt>
                <c:pt idx="75">
                  <c:v>0.735875558423202</c:v>
                </c:pt>
                <c:pt idx="76">
                  <c:v>0.6327662384066752</c:v>
                </c:pt>
                <c:pt idx="77">
                  <c:v>0.3650798403797184</c:v>
                </c:pt>
                <c:pt idx="78">
                  <c:v>0.47252660873475516</c:v>
                </c:pt>
                <c:pt idx="79">
                  <c:v>0.5224501139092285</c:v>
                </c:pt>
              </c:numCache>
            </c:numRef>
          </c:xVal>
          <c:yVal>
            <c:numRef>
              <c:f>Sheet1!$B$2:$B$81</c:f>
              <c:numCache>
                <c:formatCode>General</c:formatCode>
                <c:ptCount val="80"/>
                <c:pt idx="0">
                  <c:v>0.01559792027729636</c:v>
                </c:pt>
                <c:pt idx="1">
                  <c:v>0.01348314606741573</c:v>
                </c:pt>
                <c:pt idx="2">
                  <c:v>0.014</c:v>
                </c:pt>
                <c:pt idx="3">
                  <c:v>0.014018691588785047</c:v>
                </c:pt>
                <c:pt idx="4">
                  <c:v>0.020202020202020204</c:v>
                </c:pt>
                <c:pt idx="5">
                  <c:v>0.011574074074074073</c:v>
                </c:pt>
                <c:pt idx="6">
                  <c:v>0.017937219730941704</c:v>
                </c:pt>
                <c:pt idx="7">
                  <c:v>0.02528735632183908</c:v>
                </c:pt>
                <c:pt idx="8">
                  <c:v>0.017578125</c:v>
                </c:pt>
                <c:pt idx="9">
                  <c:v>0.02593192868719611</c:v>
                </c:pt>
                <c:pt idx="10">
                  <c:v>0.020036429872495445</c:v>
                </c:pt>
                <c:pt idx="11">
                  <c:v>0.029982363315696647</c:v>
                </c:pt>
                <c:pt idx="12">
                  <c:v>0.02249134948096886</c:v>
                </c:pt>
                <c:pt idx="13">
                  <c:v>0.011450381679389313</c:v>
                </c:pt>
                <c:pt idx="14">
                  <c:v>0.00425531914893617</c:v>
                </c:pt>
                <c:pt idx="15">
                  <c:v>0.009852216748768473</c:v>
                </c:pt>
                <c:pt idx="16">
                  <c:v>0.002777777777777778</c:v>
                </c:pt>
                <c:pt idx="17">
                  <c:v>0.005714285714285714</c:v>
                </c:pt>
                <c:pt idx="18">
                  <c:v>0.008797653958944282</c:v>
                </c:pt>
                <c:pt idx="19">
                  <c:v>0.005235602094240838</c:v>
                </c:pt>
                <c:pt idx="20">
                  <c:v>0.004219409282700422</c:v>
                </c:pt>
                <c:pt idx="21">
                  <c:v>0.005319148936170213</c:v>
                </c:pt>
                <c:pt idx="22">
                  <c:v>0.030927835051546393</c:v>
                </c:pt>
                <c:pt idx="23">
                  <c:v>0.03067484662576687</c:v>
                </c:pt>
                <c:pt idx="24">
                  <c:v>0.02097902097902098</c:v>
                </c:pt>
                <c:pt idx="25">
                  <c:v>0.028368794326241134</c:v>
                </c:pt>
                <c:pt idx="26">
                  <c:v>0.03759398496240601</c:v>
                </c:pt>
                <c:pt idx="27">
                  <c:v>0.040983606557377046</c:v>
                </c:pt>
                <c:pt idx="28">
                  <c:v>0.02608695652173913</c:v>
                </c:pt>
                <c:pt idx="29">
                  <c:v>0.014184397163120567</c:v>
                </c:pt>
                <c:pt idx="30">
                  <c:v>0.009708737864077669</c:v>
                </c:pt>
                <c:pt idx="31">
                  <c:v>0.036585365853658534</c:v>
                </c:pt>
                <c:pt idx="32">
                  <c:v>0.00847457627118644</c:v>
                </c:pt>
                <c:pt idx="33">
                  <c:v>0.027586206896551724</c:v>
                </c:pt>
                <c:pt idx="34">
                  <c:v>0.032432432432432434</c:v>
                </c:pt>
                <c:pt idx="35">
                  <c:v>0.02654867256637168</c:v>
                </c:pt>
                <c:pt idx="36">
                  <c:v>0.010101010101010102</c:v>
                </c:pt>
                <c:pt idx="37">
                  <c:v>0.008695652173913044</c:v>
                </c:pt>
                <c:pt idx="38">
                  <c:v>0.005714285714285714</c:v>
                </c:pt>
                <c:pt idx="39">
                  <c:v>0.0038022813688212928</c:v>
                </c:pt>
                <c:pt idx="40">
                  <c:v>0.007142857142857143</c:v>
                </c:pt>
                <c:pt idx="41">
                  <c:v>0.010126582278481013</c:v>
                </c:pt>
                <c:pt idx="42">
                  <c:v>0.011023622047244094</c:v>
                </c:pt>
                <c:pt idx="43">
                  <c:v>0.009929078014184398</c:v>
                </c:pt>
                <c:pt idx="44">
                  <c:v>0.012145748987854251</c:v>
                </c:pt>
                <c:pt idx="45">
                  <c:v>0.012195121951219513</c:v>
                </c:pt>
                <c:pt idx="46">
                  <c:v>0.011406844106463879</c:v>
                </c:pt>
                <c:pt idx="47">
                  <c:v>0.01744186046511628</c:v>
                </c:pt>
                <c:pt idx="48">
                  <c:v>0.0125</c:v>
                </c:pt>
                <c:pt idx="49">
                  <c:v>0.017391304347826087</c:v>
                </c:pt>
                <c:pt idx="50">
                  <c:v>0.015105740181268883</c:v>
                </c:pt>
                <c:pt idx="51">
                  <c:v>0.014285714285714285</c:v>
                </c:pt>
                <c:pt idx="52">
                  <c:v>0.014577259475218658</c:v>
                </c:pt>
                <c:pt idx="53">
                  <c:v>0.01059322033898305</c:v>
                </c:pt>
                <c:pt idx="54">
                  <c:v>0.01486988847583643</c:v>
                </c:pt>
                <c:pt idx="55">
                  <c:v>0.012389380530973451</c:v>
                </c:pt>
                <c:pt idx="56">
                  <c:v>0.01951219512195122</c:v>
                </c:pt>
                <c:pt idx="57">
                  <c:v>0.015037593984962405</c:v>
                </c:pt>
                <c:pt idx="58">
                  <c:v>0.016643550624133148</c:v>
                </c:pt>
                <c:pt idx="59">
                  <c:v>0.016339869281045753</c:v>
                </c:pt>
                <c:pt idx="60">
                  <c:v>0.009433962264150943</c:v>
                </c:pt>
                <c:pt idx="61">
                  <c:v>0.007263922518159807</c:v>
                </c:pt>
                <c:pt idx="62">
                  <c:v>0.01</c:v>
                </c:pt>
                <c:pt idx="63">
                  <c:v>0.006802721088435374</c:v>
                </c:pt>
                <c:pt idx="64">
                  <c:v>0.007220216606498195</c:v>
                </c:pt>
                <c:pt idx="65">
                  <c:v>0.008620689655172414</c:v>
                </c:pt>
                <c:pt idx="66">
                  <c:v>0.004201680672268907</c:v>
                </c:pt>
                <c:pt idx="67">
                  <c:v>0.005154639175257732</c:v>
                </c:pt>
                <c:pt idx="68">
                  <c:v>0.006535947712418301</c:v>
                </c:pt>
                <c:pt idx="69">
                  <c:v>0.016260162601626018</c:v>
                </c:pt>
                <c:pt idx="70">
                  <c:v>0.014598540145985401</c:v>
                </c:pt>
                <c:pt idx="71">
                  <c:v>0.006802721088435374</c:v>
                </c:pt>
                <c:pt idx="72">
                  <c:v>0.005555555555555556</c:v>
                </c:pt>
                <c:pt idx="73">
                  <c:v>0.005405405405405406</c:v>
                </c:pt>
                <c:pt idx="74">
                  <c:v>0.0033222591362126247</c:v>
                </c:pt>
                <c:pt idx="75">
                  <c:v>0.004098360655737705</c:v>
                </c:pt>
                <c:pt idx="76">
                  <c:v>0.0031847133757961785</c:v>
                </c:pt>
                <c:pt idx="77">
                  <c:v>0.0035335689045936395</c:v>
                </c:pt>
                <c:pt idx="78">
                  <c:v>0.0029239766081871343</c:v>
                </c:pt>
                <c:pt idx="79">
                  <c:v>0.0031847133757961785</c:v>
                </c:pt>
              </c:numCache>
            </c:numRef>
          </c:yVal>
          <c:smooth val="0"/>
          <c:extLst>
            <c:ext xmlns:c16="http://schemas.microsoft.com/office/drawing/2014/chart" uri="{C3380CC4-5D6E-409C-BE32-E72D297353CC}">
              <c16:uniqueId val="{00000000-096C-4121-9522-6AB7243CCAAE}"/>
            </c:ext>
          </c:extLst>
        </c:ser>
        <c:ser>
          <c:idx val="1"/>
          <c:order val="1"/>
          <c:tx>
            <c:strRef>
              <c:f>Sheet1!$B$8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4:$A$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4190304107116818</c:v>
                </c:pt>
                <c:pt idx="20">
                  <c:v>0.379626021488388</c:v>
                </c:pt>
                <c:pt idx="21">
                  <c:v>0.41615393338814344</c:v>
                </c:pt>
                <c:pt idx="22">
                  <c:v>0.2981911634407981</c:v>
                </c:pt>
                <c:pt idx="23">
                  <c:v>0.27761674562447597</c:v>
                </c:pt>
                <c:pt idx="24">
                  <c:v>0.37062683841989</c:v>
                </c:pt>
                <c:pt idx="25">
                  <c:v>0.3779903959227668</c:v>
                </c:pt>
                <c:pt idx="26">
                  <c:v>0.33456758265169567</c:v>
                </c:pt>
                <c:pt idx="27">
                  <c:v>0.3690527694773342</c:v>
                </c:pt>
                <c:pt idx="28">
                  <c:v>0.3921497173226209</c:v>
                </c:pt>
                <c:pt idx="29">
                  <c:v>0.37386621080865534</c:v>
                </c:pt>
                <c:pt idx="30">
                  <c:v>0.339342201335389</c:v>
                </c:pt>
                <c:pt idx="31">
                  <c:v>0.2656219491338627</c:v>
                </c:pt>
                <c:pt idx="32">
                  <c:v>0.35247696903398973</c:v>
                </c:pt>
                <c:pt idx="33">
                  <c:v>0.3689061675709256</c:v>
                </c:pt>
                <c:pt idx="34">
                  <c:v>0.49747852812163856</c:v>
                </c:pt>
                <c:pt idx="35">
                  <c:v>0.0</c:v>
                </c:pt>
                <c:pt idx="36">
                  <c:v>0.0</c:v>
                </c:pt>
                <c:pt idx="37">
                  <c:v>0.40901741719134954</c:v>
                </c:pt>
                <c:pt idx="38">
                  <c:v>0.0</c:v>
                </c:pt>
                <c:pt idx="39">
                  <c:v>0.0</c:v>
                </c:pt>
                <c:pt idx="40">
                  <c:v>0.0</c:v>
                </c:pt>
                <c:pt idx="41">
                  <c:v>0.28703067960537887</c:v>
                </c:pt>
                <c:pt idx="42">
                  <c:v>0.2942730011377047</c:v>
                </c:pt>
                <c:pt idx="43">
                  <c:v>0.0</c:v>
                </c:pt>
                <c:pt idx="44">
                  <c:v>0.0</c:v>
                </c:pt>
                <c:pt idx="45">
                  <c:v>0.0</c:v>
                </c:pt>
                <c:pt idx="46">
                  <c:v>0.0</c:v>
                </c:pt>
                <c:pt idx="47">
                  <c:v>0.0</c:v>
                </c:pt>
                <c:pt idx="48">
                  <c:v>0.19989872623046331</c:v>
                </c:pt>
                <c:pt idx="49">
                  <c:v>0.24957979308766914</c:v>
                </c:pt>
                <c:pt idx="50">
                  <c:v>0.2579992487921873</c:v>
                </c:pt>
                <c:pt idx="51">
                  <c:v>0.0</c:v>
                </c:pt>
                <c:pt idx="52">
                  <c:v>0.20201723522220644</c:v>
                </c:pt>
                <c:pt idx="53">
                  <c:v>0.30532725773581754</c:v>
                </c:pt>
                <c:pt idx="54">
                  <c:v>0.2536345883556651</c:v>
                </c:pt>
                <c:pt idx="55">
                  <c:v>0.1632555177970069</c:v>
                </c:pt>
              </c:numCache>
            </c:numRef>
          </c:xVal>
          <c:yVal>
            <c:numRef>
              <c:f>Sheet1!$B$84:$B$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06309148264984227</c:v>
                </c:pt>
                <c:pt idx="20">
                  <c:v>0.011111111111111112</c:v>
                </c:pt>
                <c:pt idx="21">
                  <c:v>0.008982035928143712</c:v>
                </c:pt>
                <c:pt idx="22">
                  <c:v>0.01729106628242075</c:v>
                </c:pt>
                <c:pt idx="23">
                  <c:v>0.019656019656019656</c:v>
                </c:pt>
                <c:pt idx="24">
                  <c:v>0.013927576601671309</c:v>
                </c:pt>
                <c:pt idx="25">
                  <c:v>0.014457831325301205</c:v>
                </c:pt>
                <c:pt idx="26">
                  <c:v>0.009345794392523364</c:v>
                </c:pt>
                <c:pt idx="27">
                  <c:v>0.010351966873706004</c:v>
                </c:pt>
                <c:pt idx="28">
                  <c:v>0.009363295880149813</c:v>
                </c:pt>
                <c:pt idx="29">
                  <c:v>0.007766990291262136</c:v>
                </c:pt>
                <c:pt idx="30">
                  <c:v>0.006299212598425197</c:v>
                </c:pt>
                <c:pt idx="31">
                  <c:v>0.0035714285714285713</c:v>
                </c:pt>
                <c:pt idx="32">
                  <c:v>0.006198347107438017</c:v>
                </c:pt>
                <c:pt idx="33">
                  <c:v>0.005037783375314861</c:v>
                </c:pt>
                <c:pt idx="34">
                  <c:v>0.002890173410404624</c:v>
                </c:pt>
                <c:pt idx="35">
                  <c:v>0.0</c:v>
                </c:pt>
                <c:pt idx="36">
                  <c:v>0.0</c:v>
                </c:pt>
                <c:pt idx="37">
                  <c:v>0.007905138339920948</c:v>
                </c:pt>
                <c:pt idx="38">
                  <c:v>0.0</c:v>
                </c:pt>
                <c:pt idx="39">
                  <c:v>0.0</c:v>
                </c:pt>
                <c:pt idx="40">
                  <c:v>0.0</c:v>
                </c:pt>
                <c:pt idx="41">
                  <c:v>0.006896551724137931</c:v>
                </c:pt>
                <c:pt idx="42">
                  <c:v>0.006666666666666667</c:v>
                </c:pt>
                <c:pt idx="43">
                  <c:v>0.0</c:v>
                </c:pt>
                <c:pt idx="44">
                  <c:v>0.0</c:v>
                </c:pt>
                <c:pt idx="45">
                  <c:v>0.0</c:v>
                </c:pt>
                <c:pt idx="46">
                  <c:v>0.0</c:v>
                </c:pt>
                <c:pt idx="47">
                  <c:v>0.0</c:v>
                </c:pt>
                <c:pt idx="48">
                  <c:v>0.0196078431372549</c:v>
                </c:pt>
                <c:pt idx="49">
                  <c:v>0.012121212121212121</c:v>
                </c:pt>
                <c:pt idx="50">
                  <c:v>0.012578616352201259</c:v>
                </c:pt>
                <c:pt idx="51">
                  <c:v>0.0</c:v>
                </c:pt>
                <c:pt idx="52">
                  <c:v>0.011811023622047244</c:v>
                </c:pt>
                <c:pt idx="53">
                  <c:v>0.0035211267605633804</c:v>
                </c:pt>
                <c:pt idx="54">
                  <c:v>0.0029211295034079843</c:v>
                </c:pt>
                <c:pt idx="55">
                  <c:v>0.011869436201780416</c:v>
                </c:pt>
              </c:numCache>
            </c:numRef>
          </c:yVal>
          <c:smooth val="0"/>
          <c:extLst>
            <c:ext xmlns:c16="http://schemas.microsoft.com/office/drawing/2014/chart" uri="{C3380CC4-5D6E-409C-BE32-E72D297353CC}">
              <c16:uniqueId val="{00000002-096C-4121-9522-6AB7243CCAAE}"/>
            </c:ext>
          </c:extLst>
        </c:ser>
        <c:ser>
          <c:idx val="2"/>
          <c:order val="2"/>
          <c:tx>
            <c:strRef>
              <c:f>Sheet1!$B$14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2:$A$143</c:f>
              <c:numCache>
                <c:formatCode>General</c:formatCode>
                <c:ptCount val="2"/>
                <c:pt idx="0">
                  <c:v>0</c:v>
                </c:pt>
                <c:pt idx="1">
                  <c:v>1.0308142096465596</c:v>
                </c:pt>
              </c:numCache>
            </c:numRef>
          </c:xVal>
          <c:yVal>
            <c:numRef>
              <c:f>Sheet1!$B$142:$B$143</c:f>
              <c:numCache>
                <c:formatCode>General</c:formatCode>
                <c:ptCount val="2"/>
                <c:pt idx="0">
                  <c:v>0.026012860756057705</c:v>
                </c:pt>
                <c:pt idx="1">
                  <c:v>0.026012860756057705</c:v>
                </c:pt>
              </c:numCache>
            </c:numRef>
          </c:yVal>
          <c:smooth val="0"/>
          <c:extLst>
            <c:ext xmlns:c16="http://schemas.microsoft.com/office/drawing/2014/chart" uri="{C3380CC4-5D6E-409C-BE32-E72D297353CC}">
              <c16:uniqueId val="{00000005-096C-4121-9522-6AB7243CCAAE}"/>
            </c:ext>
          </c:extLst>
        </c:ser>
        <c:ser>
          <c:idx val="3"/>
          <c:order val="3"/>
          <c:tx>
            <c:strRef>
              <c:f>Sheet1!$B$14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1.0308142096465596</c:v>
                </c:pt>
                <c:pt idx="1">
                  <c:v>1.0308142096465596</c:v>
                </c:pt>
              </c:numCache>
            </c:numRef>
          </c:xVal>
          <c:yVal>
            <c:numRef>
              <c:f>Sheet1!$B$146:$B$147</c:f>
              <c:numCache>
                <c:formatCode>General</c:formatCode>
                <c:ptCount val="2"/>
                <c:pt idx="0">
                  <c:v>0.026012860756057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0:$A$151</c:f>
              <c:numCache>
                <c:formatCode>General</c:formatCode>
                <c:ptCount val="2"/>
                <c:pt idx="0">
                  <c:v>0</c:v>
                </c:pt>
                <c:pt idx="1">
                  <c:v>0.4749461036537445</c:v>
                </c:pt>
              </c:numCache>
            </c:numRef>
          </c:xVal>
          <c:yVal>
            <c:numRef>
              <c:f>Sheet1!$B$150:$B$151</c:f>
              <c:numCache>
                <c:formatCode>General</c:formatCode>
                <c:ptCount val="2"/>
                <c:pt idx="0">
                  <c:v>0.012381394492875704</c:v>
                </c:pt>
                <c:pt idx="1">
                  <c:v>0.012381394492875704</c:v>
                </c:pt>
              </c:numCache>
            </c:numRef>
          </c:yVal>
          <c:smooth val="0"/>
          <c:extLst>
            <c:ext xmlns:c16="http://schemas.microsoft.com/office/drawing/2014/chart" uri="{C3380CC4-5D6E-409C-BE32-E72D297353CC}">
              <c16:uniqueId val="{0000000D-096C-4121-9522-6AB7243CCAAE}"/>
            </c:ext>
          </c:extLst>
        </c:ser>
        <c:ser>
          <c:idx val="5"/>
          <c:order val="5"/>
          <c:tx>
            <c:strRef>
              <c:f>Sheet1!$B$15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4:$A$155</c:f>
              <c:numCache>
                <c:formatCode>General</c:formatCode>
                <c:ptCount val="2"/>
                <c:pt idx="0">
                  <c:v>0.4749461036537445</c:v>
                </c:pt>
                <c:pt idx="1">
                  <c:v>0.4749461036537445</c:v>
                </c:pt>
              </c:numCache>
            </c:numRef>
          </c:xVal>
          <c:yVal>
            <c:numRef>
              <c:f>Sheet1!$B$154:$B$155</c:f>
              <c:numCache>
                <c:formatCode>General</c:formatCode>
                <c:ptCount val="2"/>
                <c:pt idx="0">
                  <c:v>0.012381394492875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8:$A$159</c:f>
              <c:numCache>
                <c:formatCode>General</c:formatCode>
                <c:ptCount val="2"/>
                <c:pt idx="0">
                  <c:v>0</c:v>
                </c:pt>
                <c:pt idx="1">
                  <c:v>0.27356832158101024</c:v>
                </c:pt>
              </c:numCache>
            </c:numRef>
          </c:xVal>
          <c:yVal>
            <c:numRef>
              <c:f>Sheet1!$B$158:$B$159</c:f>
              <c:numCache>
                <c:formatCode>General</c:formatCode>
                <c:ptCount val="2"/>
                <c:pt idx="0">
                  <c:v>0.00744303876984673</c:v>
                </c:pt>
                <c:pt idx="1">
                  <c:v>0.00744303876984673</c:v>
                </c:pt>
              </c:numCache>
            </c:numRef>
          </c:yVal>
          <c:smooth val="0"/>
          <c:extLst>
            <c:ext xmlns:c16="http://schemas.microsoft.com/office/drawing/2014/chart" uri="{C3380CC4-5D6E-409C-BE32-E72D297353CC}">
              <c16:uniqueId val="{00000015-096C-4121-9522-6AB7243CCAAE}"/>
            </c:ext>
          </c:extLst>
        </c:ser>
        <c:ser>
          <c:idx val="7"/>
          <c:order val="7"/>
          <c:tx>
            <c:strRef>
              <c:f>Sheet1!$B$16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2:$A$163</c:f>
              <c:numCache>
                <c:formatCode>General</c:formatCode>
                <c:ptCount val="2"/>
                <c:pt idx="0">
                  <c:v>0.27356832158101024</c:v>
                </c:pt>
                <c:pt idx="1">
                  <c:v>0.27356832158101024</c:v>
                </c:pt>
              </c:numCache>
            </c:numRef>
          </c:xVal>
          <c:yVal>
            <c:numRef>
              <c:f>Sheet1!$B$162:$B$163</c:f>
              <c:numCache>
                <c:formatCode>General</c:formatCode>
                <c:ptCount val="2"/>
                <c:pt idx="0">
                  <c:v>0.007443038769846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6:$A$224</c:f>
              <c:numCache>
                <c:formatCode>General</c:formatCode>
                <c:ptCount val="5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4190304107116818</c:v>
                </c:pt>
                <c:pt idx="20">
                  <c:v>0.379626021488388</c:v>
                </c:pt>
                <c:pt idx="21">
                  <c:v>0.41615393338814344</c:v>
                </c:pt>
                <c:pt idx="22">
                  <c:v>0.2981911634407981</c:v>
                </c:pt>
                <c:pt idx="23">
                  <c:v>0.27761674562447597</c:v>
                </c:pt>
                <c:pt idx="24">
                  <c:v>0.37062683841989</c:v>
                </c:pt>
                <c:pt idx="25">
                  <c:v>0.3779903959227668</c:v>
                </c:pt>
                <c:pt idx="26">
                  <c:v>0.33456758265169567</c:v>
                </c:pt>
                <c:pt idx="27">
                  <c:v>0.3690527694773342</c:v>
                </c:pt>
                <c:pt idx="28">
                  <c:v>0.3921497173226209</c:v>
                </c:pt>
                <c:pt idx="29">
                  <c:v>0.37386621080865534</c:v>
                </c:pt>
                <c:pt idx="30">
                  <c:v>0.339342201335389</c:v>
                </c:pt>
                <c:pt idx="31">
                  <c:v>0.2656219491338627</c:v>
                </c:pt>
                <c:pt idx="32">
                  <c:v>0.35247696903398973</c:v>
                </c:pt>
                <c:pt idx="33">
                  <c:v>0.3689061675709256</c:v>
                </c:pt>
                <c:pt idx="34">
                  <c:v>0.49747852812163856</c:v>
                </c:pt>
                <c:pt idx="35">
                  <c:v>0.0</c:v>
                </c:pt>
                <c:pt idx="36">
                  <c:v>0.0</c:v>
                </c:pt>
                <c:pt idx="37">
                  <c:v>0.40901741719134954</c:v>
                </c:pt>
                <c:pt idx="38">
                  <c:v>0.0</c:v>
                </c:pt>
                <c:pt idx="39">
                  <c:v>0.0</c:v>
                </c:pt>
                <c:pt idx="40">
                  <c:v>0.0</c:v>
                </c:pt>
                <c:pt idx="41">
                  <c:v>0.28703067960537887</c:v>
                </c:pt>
                <c:pt idx="42">
                  <c:v>0.2942730011377047</c:v>
                </c:pt>
                <c:pt idx="43">
                  <c:v>0.0</c:v>
                </c:pt>
                <c:pt idx="44">
                  <c:v>0.0</c:v>
                </c:pt>
                <c:pt idx="45">
                  <c:v>0.0</c:v>
                </c:pt>
                <c:pt idx="46">
                  <c:v>0.0</c:v>
                </c:pt>
                <c:pt idx="47">
                  <c:v>0.0</c:v>
                </c:pt>
                <c:pt idx="48">
                  <c:v>0.19989872623046331</c:v>
                </c:pt>
                <c:pt idx="49">
                  <c:v>0.24957979308766914</c:v>
                </c:pt>
                <c:pt idx="50">
                  <c:v>0.2579992487921873</c:v>
                </c:pt>
                <c:pt idx="51">
                  <c:v>0.0</c:v>
                </c:pt>
                <c:pt idx="52">
                  <c:v>0.20201723522220644</c:v>
                </c:pt>
                <c:pt idx="53">
                  <c:v>0.30532725773581754</c:v>
                </c:pt>
                <c:pt idx="54">
                  <c:v>0.2536345883556651</c:v>
                </c:pt>
                <c:pt idx="55">
                  <c:v>0.1632555177970069</c:v>
                </c:pt>
                <c:pt idx="56">
                  <c:v>0.4749461036537445</c:v>
                </c:pt>
                <c:pt idx="57">
                  <c:v>1.0308142096465596</c:v>
                </c:pt>
                <c:pt idx="58">
                  <c:v>0.27356832158101024</c:v>
                </c:pt>
              </c:numCache>
            </c:numRef>
          </c:xVal>
          <c:yVal>
            <c:numRef>
              <c:f>Sheet1!$B$166:$B$224</c:f>
              <c:numCache>
                <c:formatCode>General</c:formatCode>
                <c:ptCount val="59"/>
                <c:pt idx="0">
                  <c:v>0.0007343657841095933</c:v>
                </c:pt>
                <c:pt idx="1">
                  <c:v>0.0007343657841095933</c:v>
                </c:pt>
                <c:pt idx="2">
                  <c:v>0.0007343657841095933</c:v>
                </c:pt>
                <c:pt idx="3">
                  <c:v>0.0007343657841095933</c:v>
                </c:pt>
                <c:pt idx="4">
                  <c:v>0.0007343657841095933</c:v>
                </c:pt>
                <c:pt idx="5">
                  <c:v>0.0007343657841095933</c:v>
                </c:pt>
                <c:pt idx="6">
                  <c:v>0.0007343657841095933</c:v>
                </c:pt>
                <c:pt idx="7">
                  <c:v>0.0007343657841095933</c:v>
                </c:pt>
                <c:pt idx="8">
                  <c:v>0.0007343657841095933</c:v>
                </c:pt>
                <c:pt idx="9">
                  <c:v>0.0007343657841095933</c:v>
                </c:pt>
                <c:pt idx="10">
                  <c:v>0.0007343657841095933</c:v>
                </c:pt>
                <c:pt idx="11">
                  <c:v>0.0007343657841095933</c:v>
                </c:pt>
                <c:pt idx="12">
                  <c:v>0.0007343657841095933</c:v>
                </c:pt>
                <c:pt idx="13">
                  <c:v>0.0007343657841095933</c:v>
                </c:pt>
                <c:pt idx="14">
                  <c:v>0.0007343657841095933</c:v>
                </c:pt>
                <c:pt idx="15">
                  <c:v>0.0007343657841095933</c:v>
                </c:pt>
                <c:pt idx="16">
                  <c:v>0.0007343657841095933</c:v>
                </c:pt>
                <c:pt idx="17">
                  <c:v>0.0007343657841095933</c:v>
                </c:pt>
                <c:pt idx="18">
                  <c:v>0.0007343657841095933</c:v>
                </c:pt>
                <c:pt idx="19">
                  <c:v>0.01101018273651704</c:v>
                </c:pt>
                <c:pt idx="20">
                  <c:v>0.01004387508812398</c:v>
                </c:pt>
                <c:pt idx="21">
                  <c:v>0.010939643334867815</c:v>
                </c:pt>
                <c:pt idx="22">
                  <c:v>0.008046860853712975</c:v>
                </c:pt>
                <c:pt idx="23">
                  <c:v>0.007542317636852406</c:v>
                </c:pt>
                <c:pt idx="24">
                  <c:v>0.009823189535072992</c:v>
                </c:pt>
                <c:pt idx="25">
                  <c:v>0.01000376489925617</c:v>
                </c:pt>
                <c:pt idx="26">
                  <c:v>0.008938914069040146</c:v>
                </c:pt>
                <c:pt idx="27">
                  <c:v>0.009784588889605038</c:v>
                </c:pt>
                <c:pt idx="28">
                  <c:v>0.010350991714198052</c:v>
                </c:pt>
                <c:pt idx="29">
                  <c:v>0.00990262815541346</c:v>
                </c:pt>
                <c:pt idx="30">
                  <c:v>0.009056001293157957</c:v>
                </c:pt>
                <c:pt idx="31">
                  <c:v>0.00724817112631733</c:v>
                </c:pt>
                <c:pt idx="32">
                  <c:v>0.009378103138591994</c:v>
                </c:pt>
                <c:pt idx="33">
                  <c:v>0.009780993794078272</c:v>
                </c:pt>
                <c:pt idx="34">
                  <c:v>0.012933953599344326</c:v>
                </c:pt>
                <c:pt idx="35">
                  <c:v>0.0007343657841095933</c:v>
                </c:pt>
                <c:pt idx="36">
                  <c:v>0.0007343657841095933</c:v>
                </c:pt>
                <c:pt idx="37">
                  <c:v>0.010764635668976466</c:v>
                </c:pt>
                <c:pt idx="38">
                  <c:v>0.0007343657841095933</c:v>
                </c:pt>
                <c:pt idx="39">
                  <c:v>0.0007343657841095933</c:v>
                </c:pt>
                <c:pt idx="40">
                  <c:v>0.0007343657841095933</c:v>
                </c:pt>
                <c:pt idx="41">
                  <c:v>0.007773174061390926</c:v>
                </c:pt>
                <c:pt idx="42">
                  <c:v>0.007950776374908609</c:v>
                </c:pt>
                <c:pt idx="43">
                  <c:v>0.0007343657841095933</c:v>
                </c:pt>
                <c:pt idx="44">
                  <c:v>0.0007343657841095933</c:v>
                </c:pt>
                <c:pt idx="45">
                  <c:v>0.0007343657841095933</c:v>
                </c:pt>
                <c:pt idx="46">
                  <c:v>0.0007343657841095933</c:v>
                </c:pt>
                <c:pt idx="47">
                  <c:v>0.0007343657841095933</c:v>
                </c:pt>
                <c:pt idx="48">
                  <c:v>0.005636450853006921</c:v>
                </c:pt>
                <c:pt idx="49">
                  <c:v>0.006854771853045811</c:v>
                </c:pt>
                <c:pt idx="50">
                  <c:v>0.007061240842997139</c:v>
                </c:pt>
                <c:pt idx="51">
                  <c:v>0.0007343657841095933</c:v>
                </c:pt>
                <c:pt idx="52">
                  <c:v>0.005688402716295812</c:v>
                </c:pt>
                <c:pt idx="53">
                  <c:v>0.00822185817337337</c:v>
                </c:pt>
                <c:pt idx="54">
                  <c:v>0.00695420696059003</c:v>
                </c:pt>
                <c:pt idx="55">
                  <c:v>0.0047378552074746625</c:v>
                </c:pt>
                <c:pt idx="56">
                  <c:v>0.012381394492875704</c:v>
                </c:pt>
                <c:pt idx="57">
                  <c:v>0.026012860756057705</c:v>
                </c:pt>
                <c:pt idx="58">
                  <c:v>0.007443038769846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1803278688524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681.0</c:v>
                </c:pt>
                <c:pt idx="1">
                  <c:v>736.8333</c:v>
                </c:pt>
                <c:pt idx="2">
                  <c:v>816.0</c:v>
                </c:pt>
                <c:pt idx="3">
                  <c:v>853.1667</c:v>
                </c:pt>
                <c:pt idx="4">
                  <c:v>871.0</c:v>
                </c:pt>
                <c:pt idx="5">
                  <c:v>887.0</c:v>
                </c:pt>
                <c:pt idx="6">
                  <c:v>857.0</c:v>
                </c:pt>
                <c:pt idx="7">
                  <c:v>808.9091</c:v>
                </c:pt>
                <c:pt idx="8">
                  <c:v>864.3333</c:v>
                </c:pt>
                <c:pt idx="9">
                  <c:v>814.625</c:v>
                </c:pt>
                <c:pt idx="10">
                  <c:v>837.2727</c:v>
                </c:pt>
                <c:pt idx="11">
                  <c:v>830.7059</c:v>
                </c:pt>
                <c:pt idx="12">
                  <c:v>877.6154</c:v>
                </c:pt>
                <c:pt idx="13">
                  <c:v>804.5</c:v>
                </c:pt>
                <c:pt idx="14">
                  <c:v>896.5</c:v>
                </c:pt>
                <c:pt idx="15">
                  <c:v>876.25</c:v>
                </c:pt>
                <c:pt idx="16">
                  <c:v>1242.0</c:v>
                </c:pt>
                <c:pt idx="17">
                  <c:v>924.5</c:v>
                </c:pt>
                <c:pt idx="18">
                  <c:v>856.0</c:v>
                </c:pt>
                <c:pt idx="19">
                  <c:v>604.0</c:v>
                </c:pt>
                <c:pt idx="20">
                  <c:v>604.0</c:v>
                </c:pt>
                <c:pt idx="21">
                  <c:v>1174.0</c:v>
                </c:pt>
                <c:pt idx="22">
                  <c:v>799.5</c:v>
                </c:pt>
                <c:pt idx="23">
                  <c:v>818.4</c:v>
                </c:pt>
                <c:pt idx="24">
                  <c:v>794.0</c:v>
                </c:pt>
                <c:pt idx="25">
                  <c:v>751.5</c:v>
                </c:pt>
                <c:pt idx="26">
                  <c:v>884.0</c:v>
                </c:pt>
                <c:pt idx="27">
                  <c:v>818.4</c:v>
                </c:pt>
                <c:pt idx="28">
                  <c:v>802.3333</c:v>
                </c:pt>
                <c:pt idx="29">
                  <c:v>1016.0</c:v>
                </c:pt>
                <c:pt idx="30">
                  <c:v>1236.0</c:v>
                </c:pt>
                <c:pt idx="31">
                  <c:v>805.3333</c:v>
                </c:pt>
                <c:pt idx="32">
                  <c:v>988.0</c:v>
                </c:pt>
                <c:pt idx="33">
                  <c:v>866.75</c:v>
                </c:pt>
                <c:pt idx="34">
                  <c:v>780.3333</c:v>
                </c:pt>
                <c:pt idx="35">
                  <c:v>1016.6667</c:v>
                </c:pt>
                <c:pt idx="36">
                  <c:v>1116.0</c:v>
                </c:pt>
                <c:pt idx="37">
                  <c:v>837.0</c:v>
                </c:pt>
                <c:pt idx="38">
                  <c:v>1097.0</c:v>
                </c:pt>
                <c:pt idx="39">
                  <c:v>1116.0</c:v>
                </c:pt>
                <c:pt idx="40">
                  <c:v>1004.0</c:v>
                </c:pt>
                <c:pt idx="41">
                  <c:v>1246.25</c:v>
                </c:pt>
                <c:pt idx="42">
                  <c:v>1187.5714</c:v>
                </c:pt>
                <c:pt idx="43">
                  <c:v>1158.1429</c:v>
                </c:pt>
                <c:pt idx="44">
                  <c:v>1056.8333</c:v>
                </c:pt>
                <c:pt idx="45">
                  <c:v>1144.6</c:v>
                </c:pt>
                <c:pt idx="46">
                  <c:v>1124.5</c:v>
                </c:pt>
                <c:pt idx="47">
                  <c:v>1041.0</c:v>
                </c:pt>
                <c:pt idx="48">
                  <c:v>1246.0</c:v>
                </c:pt>
                <c:pt idx="49">
                  <c:v>1138.3333</c:v>
                </c:pt>
                <c:pt idx="50">
                  <c:v>1045.0</c:v>
                </c:pt>
                <c:pt idx="51">
                  <c:v>1152.8</c:v>
                </c:pt>
                <c:pt idx="52">
                  <c:v>1164.2</c:v>
                </c:pt>
                <c:pt idx="53">
                  <c:v>1083.8</c:v>
                </c:pt>
                <c:pt idx="54">
                  <c:v>1123.625</c:v>
                </c:pt>
                <c:pt idx="55">
                  <c:v>1163.1429</c:v>
                </c:pt>
                <c:pt idx="56">
                  <c:v>1150.8333</c:v>
                </c:pt>
                <c:pt idx="57">
                  <c:v>1152.0</c:v>
                </c:pt>
                <c:pt idx="58">
                  <c:v>1087.5833</c:v>
                </c:pt>
                <c:pt idx="59">
                  <c:v>1110.5</c:v>
                </c:pt>
                <c:pt idx="60">
                  <c:v>1103.0</c:v>
                </c:pt>
                <c:pt idx="61">
                  <c:v>1219.0</c:v>
                </c:pt>
                <c:pt idx="62">
                  <c:v>1067.0</c:v>
                </c:pt>
                <c:pt idx="63">
                  <c:v>1273.0</c:v>
                </c:pt>
                <c:pt idx="64">
                  <c:v>1003.0</c:v>
                </c:pt>
                <c:pt idx="65">
                  <c:v>1049.0</c:v>
                </c:pt>
                <c:pt idx="66">
                  <c:v>1578.0</c:v>
                </c:pt>
                <c:pt idx="67">
                  <c:v>817.0</c:v>
                </c:pt>
                <c:pt idx="68">
                  <c:v>1337.0</c:v>
                </c:pt>
                <c:pt idx="69">
                  <c:v>504.0</c:v>
                </c:pt>
                <c:pt idx="70">
                  <c:v>595.5</c:v>
                </c:pt>
                <c:pt idx="71">
                  <c:v>495.0</c:v>
                </c:pt>
                <c:pt idx="72">
                  <c:v>478.0</c:v>
                </c:pt>
                <c:pt idx="73">
                  <c:v>652.0</c:v>
                </c:pt>
                <c:pt idx="74">
                  <c:v>782.0</c:v>
                </c:pt>
                <c:pt idx="75">
                  <c:v>989.5</c:v>
                </c:pt>
                <c:pt idx="76">
                  <c:v>869.3333</c:v>
                </c:pt>
                <c:pt idx="77">
                  <c:v>495.0</c:v>
                </c:pt>
                <c:pt idx="78">
                  <c:v>633.0</c:v>
                </c:pt>
                <c:pt idx="79">
                  <c:v>761.0</c:v>
                </c:pt>
              </c:numCache>
            </c:numRef>
          </c:xVal>
          <c:yVal>
            <c:numRef>
              <c:f>Sheet1!$B$2:$B$81</c:f>
              <c:numCache>
                <c:formatCode>General</c:formatCode>
                <c:ptCount val="80"/>
                <c:pt idx="0">
                  <c:v>0.01559792027729636</c:v>
                </c:pt>
                <c:pt idx="1">
                  <c:v>0.01348314606741573</c:v>
                </c:pt>
                <c:pt idx="2">
                  <c:v>0.014</c:v>
                </c:pt>
                <c:pt idx="3">
                  <c:v>0.014018691588785047</c:v>
                </c:pt>
                <c:pt idx="4">
                  <c:v>0.020202020202020204</c:v>
                </c:pt>
                <c:pt idx="5">
                  <c:v>0.011574074074074073</c:v>
                </c:pt>
                <c:pt idx="6">
                  <c:v>0.017937219730941704</c:v>
                </c:pt>
                <c:pt idx="7">
                  <c:v>0.02528735632183908</c:v>
                </c:pt>
                <c:pt idx="8">
                  <c:v>0.017578125</c:v>
                </c:pt>
                <c:pt idx="9">
                  <c:v>0.02593192868719611</c:v>
                </c:pt>
                <c:pt idx="10">
                  <c:v>0.020036429872495445</c:v>
                </c:pt>
                <c:pt idx="11">
                  <c:v>0.029982363315696647</c:v>
                </c:pt>
                <c:pt idx="12">
                  <c:v>0.02249134948096886</c:v>
                </c:pt>
                <c:pt idx="13">
                  <c:v>0.011450381679389313</c:v>
                </c:pt>
                <c:pt idx="14">
                  <c:v>0.00425531914893617</c:v>
                </c:pt>
                <c:pt idx="15">
                  <c:v>0.009852216748768473</c:v>
                </c:pt>
                <c:pt idx="16">
                  <c:v>0.002777777777777778</c:v>
                </c:pt>
                <c:pt idx="17">
                  <c:v>0.005714285714285714</c:v>
                </c:pt>
                <c:pt idx="18">
                  <c:v>0.008797653958944282</c:v>
                </c:pt>
                <c:pt idx="19">
                  <c:v>0.005235602094240838</c:v>
                </c:pt>
                <c:pt idx="20">
                  <c:v>0.004219409282700422</c:v>
                </c:pt>
                <c:pt idx="21">
                  <c:v>0.005319148936170213</c:v>
                </c:pt>
                <c:pt idx="22">
                  <c:v>0.030927835051546393</c:v>
                </c:pt>
                <c:pt idx="23">
                  <c:v>0.03067484662576687</c:v>
                </c:pt>
                <c:pt idx="24">
                  <c:v>0.02097902097902098</c:v>
                </c:pt>
                <c:pt idx="25">
                  <c:v>0.028368794326241134</c:v>
                </c:pt>
                <c:pt idx="26">
                  <c:v>0.03759398496240601</c:v>
                </c:pt>
                <c:pt idx="27">
                  <c:v>0.040983606557377046</c:v>
                </c:pt>
                <c:pt idx="28">
                  <c:v>0.02608695652173913</c:v>
                </c:pt>
                <c:pt idx="29">
                  <c:v>0.014184397163120567</c:v>
                </c:pt>
                <c:pt idx="30">
                  <c:v>0.009708737864077669</c:v>
                </c:pt>
                <c:pt idx="31">
                  <c:v>0.036585365853658534</c:v>
                </c:pt>
                <c:pt idx="32">
                  <c:v>0.00847457627118644</c:v>
                </c:pt>
                <c:pt idx="33">
                  <c:v>0.027586206896551724</c:v>
                </c:pt>
                <c:pt idx="34">
                  <c:v>0.032432432432432434</c:v>
                </c:pt>
                <c:pt idx="35">
                  <c:v>0.02654867256637168</c:v>
                </c:pt>
                <c:pt idx="36">
                  <c:v>0.010101010101010102</c:v>
                </c:pt>
                <c:pt idx="37">
                  <c:v>0.008695652173913044</c:v>
                </c:pt>
                <c:pt idx="38">
                  <c:v>0.005714285714285714</c:v>
                </c:pt>
                <c:pt idx="39">
                  <c:v>0.0038022813688212928</c:v>
                </c:pt>
                <c:pt idx="40">
                  <c:v>0.007142857142857143</c:v>
                </c:pt>
                <c:pt idx="41">
                  <c:v>0.010126582278481013</c:v>
                </c:pt>
                <c:pt idx="42">
                  <c:v>0.011023622047244094</c:v>
                </c:pt>
                <c:pt idx="43">
                  <c:v>0.009929078014184398</c:v>
                </c:pt>
                <c:pt idx="44">
                  <c:v>0.012145748987854251</c:v>
                </c:pt>
                <c:pt idx="45">
                  <c:v>0.012195121951219513</c:v>
                </c:pt>
                <c:pt idx="46">
                  <c:v>0.011406844106463879</c:v>
                </c:pt>
                <c:pt idx="47">
                  <c:v>0.01744186046511628</c:v>
                </c:pt>
                <c:pt idx="48">
                  <c:v>0.0125</c:v>
                </c:pt>
                <c:pt idx="49">
                  <c:v>0.017391304347826087</c:v>
                </c:pt>
                <c:pt idx="50">
                  <c:v>0.015105740181268883</c:v>
                </c:pt>
                <c:pt idx="51">
                  <c:v>0.014285714285714285</c:v>
                </c:pt>
                <c:pt idx="52">
                  <c:v>0.014577259475218658</c:v>
                </c:pt>
                <c:pt idx="53">
                  <c:v>0.01059322033898305</c:v>
                </c:pt>
                <c:pt idx="54">
                  <c:v>0.01486988847583643</c:v>
                </c:pt>
                <c:pt idx="55">
                  <c:v>0.012389380530973451</c:v>
                </c:pt>
                <c:pt idx="56">
                  <c:v>0.01951219512195122</c:v>
                </c:pt>
                <c:pt idx="57">
                  <c:v>0.015037593984962405</c:v>
                </c:pt>
                <c:pt idx="58">
                  <c:v>0.016643550624133148</c:v>
                </c:pt>
                <c:pt idx="59">
                  <c:v>0.016339869281045753</c:v>
                </c:pt>
                <c:pt idx="60">
                  <c:v>0.009433962264150943</c:v>
                </c:pt>
                <c:pt idx="61">
                  <c:v>0.007263922518159807</c:v>
                </c:pt>
                <c:pt idx="62">
                  <c:v>0.01</c:v>
                </c:pt>
                <c:pt idx="63">
                  <c:v>0.006802721088435374</c:v>
                </c:pt>
                <c:pt idx="64">
                  <c:v>0.007220216606498195</c:v>
                </c:pt>
                <c:pt idx="65">
                  <c:v>0.008620689655172414</c:v>
                </c:pt>
                <c:pt idx="66">
                  <c:v>0.004201680672268907</c:v>
                </c:pt>
                <c:pt idx="67">
                  <c:v>0.005154639175257732</c:v>
                </c:pt>
                <c:pt idx="68">
                  <c:v>0.006535947712418301</c:v>
                </c:pt>
                <c:pt idx="69">
                  <c:v>0.016260162601626018</c:v>
                </c:pt>
                <c:pt idx="70">
                  <c:v>0.014598540145985401</c:v>
                </c:pt>
                <c:pt idx="71">
                  <c:v>0.006802721088435374</c:v>
                </c:pt>
                <c:pt idx="72">
                  <c:v>0.005555555555555556</c:v>
                </c:pt>
                <c:pt idx="73">
                  <c:v>0.005405405405405406</c:v>
                </c:pt>
                <c:pt idx="74">
                  <c:v>0.0033222591362126247</c:v>
                </c:pt>
                <c:pt idx="75">
                  <c:v>0.004098360655737705</c:v>
                </c:pt>
                <c:pt idx="76">
                  <c:v>0.0031847133757961785</c:v>
                </c:pt>
                <c:pt idx="77">
                  <c:v>0.0035335689045936395</c:v>
                </c:pt>
                <c:pt idx="78">
                  <c:v>0.0029239766081871343</c:v>
                </c:pt>
                <c:pt idx="79">
                  <c:v>0.0031847133757961785</c:v>
                </c:pt>
              </c:numCache>
            </c:numRef>
          </c:yVal>
          <c:smooth val="0"/>
          <c:extLst>
            <c:ext xmlns:c16="http://schemas.microsoft.com/office/drawing/2014/chart" uri="{C3380CC4-5D6E-409C-BE32-E72D297353CC}">
              <c16:uniqueId val="{00000000-F32D-48B7-BC20-E66FC6253BAD}"/>
            </c:ext>
          </c:extLst>
        </c:ser>
        <c:ser>
          <c:idx val="1"/>
          <c:order val="1"/>
          <c:tx>
            <c:strRef>
              <c:f>Sheet1!$B$8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4:$A$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623.0</c:v>
                </c:pt>
                <c:pt idx="20">
                  <c:v>601.6667</c:v>
                </c:pt>
                <c:pt idx="21">
                  <c:v>658.3333</c:v>
                </c:pt>
                <c:pt idx="22">
                  <c:v>505.8333</c:v>
                </c:pt>
                <c:pt idx="23">
                  <c:v>459.25</c:v>
                </c:pt>
                <c:pt idx="24">
                  <c:v>587.2</c:v>
                </c:pt>
                <c:pt idx="25">
                  <c:v>573.3333</c:v>
                </c:pt>
                <c:pt idx="26">
                  <c:v>501.75</c:v>
                </c:pt>
                <c:pt idx="27">
                  <c:v>575.2</c:v>
                </c:pt>
                <c:pt idx="28">
                  <c:v>585.4</c:v>
                </c:pt>
                <c:pt idx="29">
                  <c:v>556.25</c:v>
                </c:pt>
                <c:pt idx="30">
                  <c:v>482.0</c:v>
                </c:pt>
                <c:pt idx="31">
                  <c:v>399.0</c:v>
                </c:pt>
                <c:pt idx="32">
                  <c:v>531.3333</c:v>
                </c:pt>
                <c:pt idx="33">
                  <c:v>539.5</c:v>
                </c:pt>
                <c:pt idx="34">
                  <c:v>762.0</c:v>
                </c:pt>
                <c:pt idx="35">
                  <c:v>0.0</c:v>
                </c:pt>
                <c:pt idx="36">
                  <c:v>0.0</c:v>
                </c:pt>
                <c:pt idx="37">
                  <c:v>612.0</c:v>
                </c:pt>
                <c:pt idx="38">
                  <c:v>0.0</c:v>
                </c:pt>
                <c:pt idx="39">
                  <c:v>0.0</c:v>
                </c:pt>
                <c:pt idx="40">
                  <c:v>0.0</c:v>
                </c:pt>
                <c:pt idx="41">
                  <c:v>455.0</c:v>
                </c:pt>
                <c:pt idx="42">
                  <c:v>455.0</c:v>
                </c:pt>
                <c:pt idx="43">
                  <c:v>0.0</c:v>
                </c:pt>
                <c:pt idx="44">
                  <c:v>0.0</c:v>
                </c:pt>
                <c:pt idx="45">
                  <c:v>0.0</c:v>
                </c:pt>
                <c:pt idx="46">
                  <c:v>0.0</c:v>
                </c:pt>
                <c:pt idx="47">
                  <c:v>0.0</c:v>
                </c:pt>
                <c:pt idx="48">
                  <c:v>323.0</c:v>
                </c:pt>
                <c:pt idx="49">
                  <c:v>385.5</c:v>
                </c:pt>
                <c:pt idx="50">
                  <c:v>360.0</c:v>
                </c:pt>
                <c:pt idx="51">
                  <c:v>0.0</c:v>
                </c:pt>
                <c:pt idx="52">
                  <c:v>282.0</c:v>
                </c:pt>
                <c:pt idx="53">
                  <c:v>417.0</c:v>
                </c:pt>
                <c:pt idx="54">
                  <c:v>333.6667</c:v>
                </c:pt>
                <c:pt idx="55">
                  <c:v>204.5</c:v>
                </c:pt>
              </c:numCache>
            </c:numRef>
          </c:xVal>
          <c:yVal>
            <c:numRef>
              <c:f>Sheet1!$B$84:$B$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06309148264984227</c:v>
                </c:pt>
                <c:pt idx="20">
                  <c:v>0.011111111111111112</c:v>
                </c:pt>
                <c:pt idx="21">
                  <c:v>0.008982035928143712</c:v>
                </c:pt>
                <c:pt idx="22">
                  <c:v>0.01729106628242075</c:v>
                </c:pt>
                <c:pt idx="23">
                  <c:v>0.019656019656019656</c:v>
                </c:pt>
                <c:pt idx="24">
                  <c:v>0.013927576601671309</c:v>
                </c:pt>
                <c:pt idx="25">
                  <c:v>0.014457831325301205</c:v>
                </c:pt>
                <c:pt idx="26">
                  <c:v>0.009345794392523364</c:v>
                </c:pt>
                <c:pt idx="27">
                  <c:v>0.010351966873706004</c:v>
                </c:pt>
                <c:pt idx="28">
                  <c:v>0.009363295880149813</c:v>
                </c:pt>
                <c:pt idx="29">
                  <c:v>0.007766990291262136</c:v>
                </c:pt>
                <c:pt idx="30">
                  <c:v>0.006299212598425197</c:v>
                </c:pt>
                <c:pt idx="31">
                  <c:v>0.0035714285714285713</c:v>
                </c:pt>
                <c:pt idx="32">
                  <c:v>0.006198347107438017</c:v>
                </c:pt>
                <c:pt idx="33">
                  <c:v>0.005037783375314861</c:v>
                </c:pt>
                <c:pt idx="34">
                  <c:v>0.002890173410404624</c:v>
                </c:pt>
                <c:pt idx="35">
                  <c:v>0.0</c:v>
                </c:pt>
                <c:pt idx="36">
                  <c:v>0.0</c:v>
                </c:pt>
                <c:pt idx="37">
                  <c:v>0.007905138339920948</c:v>
                </c:pt>
                <c:pt idx="38">
                  <c:v>0.0</c:v>
                </c:pt>
                <c:pt idx="39">
                  <c:v>0.0</c:v>
                </c:pt>
                <c:pt idx="40">
                  <c:v>0.0</c:v>
                </c:pt>
                <c:pt idx="41">
                  <c:v>0.006896551724137931</c:v>
                </c:pt>
                <c:pt idx="42">
                  <c:v>0.006666666666666667</c:v>
                </c:pt>
                <c:pt idx="43">
                  <c:v>0.0</c:v>
                </c:pt>
                <c:pt idx="44">
                  <c:v>0.0</c:v>
                </c:pt>
                <c:pt idx="45">
                  <c:v>0.0</c:v>
                </c:pt>
                <c:pt idx="46">
                  <c:v>0.0</c:v>
                </c:pt>
                <c:pt idx="47">
                  <c:v>0.0</c:v>
                </c:pt>
                <c:pt idx="48">
                  <c:v>0.0196078431372549</c:v>
                </c:pt>
                <c:pt idx="49">
                  <c:v>0.012121212121212121</c:v>
                </c:pt>
                <c:pt idx="50">
                  <c:v>0.012578616352201259</c:v>
                </c:pt>
                <c:pt idx="51">
                  <c:v>0.0</c:v>
                </c:pt>
                <c:pt idx="52">
                  <c:v>0.011811023622047244</c:v>
                </c:pt>
                <c:pt idx="53">
                  <c:v>0.0035211267605633804</c:v>
                </c:pt>
                <c:pt idx="54">
                  <c:v>0.0029211295034079843</c:v>
                </c:pt>
                <c:pt idx="55">
                  <c:v>0.011869436201780416</c:v>
                </c:pt>
              </c:numCache>
            </c:numRef>
          </c:yVal>
          <c:smooth val="0"/>
          <c:extLst>
            <c:ext xmlns:c16="http://schemas.microsoft.com/office/drawing/2014/chart" uri="{C3380CC4-5D6E-409C-BE32-E72D297353CC}">
              <c16:uniqueId val="{00000002-F32D-48B7-BC20-E66FC6253BAD}"/>
            </c:ext>
          </c:extLst>
        </c:ser>
        <c:ser>
          <c:idx val="2"/>
          <c:order val="2"/>
          <c:tx>
            <c:strRef>
              <c:f>Sheet1!$B$141</c:f>
              <c:strCache>
                <c:ptCount val="1"/>
                <c:pt idx="0">
                  <c:v>Custom Linep3yQ</c:v>
                </c:pt>
              </c:strCache>
            </c:strRef>
          </c:tx>
          <c:spPr>
            <a:ln w="19050" cap="rnd">
              <a:solidFill>
                <a:srgbClr val="C00000"/>
              </a:solidFill>
              <a:prstDash val="sysDot"/>
              <a:round/>
            </a:ln>
            <a:effectLst/>
          </c:spPr>
          <c:marker>
            <c:symbol val="none"/>
          </c:marker>
          <c:xVal>
            <c:numRef>
              <c:f>Sheet1!$A$142:$A$143</c:f>
              <c:numCache>
                <c:formatCode>General</c:formatCode>
                <c:ptCount val="2"/>
                <c:pt idx="0">
                  <c:v>0</c:v>
                </c:pt>
                <c:pt idx="1">
                  <c:v>1540.466338042767</c:v>
                </c:pt>
              </c:numCache>
            </c:numRef>
          </c:xVal>
          <c:yVal>
            <c:numRef>
              <c:f>Sheet1!$B$142:$B$143</c:f>
              <c:numCache>
                <c:formatCode>General</c:formatCode>
                <c:ptCount val="2"/>
                <c:pt idx="0">
                  <c:v>0.026012860756057705</c:v>
                </c:pt>
                <c:pt idx="1">
                  <c:v>0.026012860756057705</c:v>
                </c:pt>
              </c:numCache>
            </c:numRef>
          </c:yVal>
          <c:smooth val="0"/>
          <c:extLst>
            <c:ext xmlns:c16="http://schemas.microsoft.com/office/drawing/2014/chart" uri="{C3380CC4-5D6E-409C-BE32-E72D297353CC}">
              <c16:uniqueId val="{00000003-F32D-48B7-BC20-E66FC6253BAD}"/>
            </c:ext>
          </c:extLst>
        </c:ser>
        <c:ser>
          <c:idx val="3"/>
          <c:order val="3"/>
          <c:tx>
            <c:strRef>
              <c:f>Sheet1!$B$14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540.466338042767</c:v>
                </c:pt>
                <c:pt idx="1">
                  <c:v>1540.466338042767</c:v>
                </c:pt>
              </c:numCache>
            </c:numRef>
          </c:xVal>
          <c:yVal>
            <c:numRef>
              <c:f>Sheet1!$B$146:$B$147</c:f>
              <c:numCache>
                <c:formatCode>General</c:formatCode>
                <c:ptCount val="2"/>
                <c:pt idx="0">
                  <c:v>0.026012860756057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0:$A$151</c:f>
              <c:numCache>
                <c:formatCode>General</c:formatCode>
                <c:ptCount val="2"/>
                <c:pt idx="0">
                  <c:v>0</c:v>
                </c:pt>
                <c:pt idx="1">
                  <c:v>711.2773258658691</c:v>
                </c:pt>
              </c:numCache>
            </c:numRef>
          </c:xVal>
          <c:yVal>
            <c:numRef>
              <c:f>Sheet1!$B$150:$B$151</c:f>
              <c:numCache>
                <c:formatCode>General</c:formatCode>
                <c:ptCount val="2"/>
                <c:pt idx="0">
                  <c:v>0.012381394492875704</c:v>
                </c:pt>
                <c:pt idx="1">
                  <c:v>0.012381394492875704</c:v>
                </c:pt>
              </c:numCache>
            </c:numRef>
          </c:yVal>
          <c:smooth val="0"/>
          <c:extLst>
            <c:ext xmlns:c16="http://schemas.microsoft.com/office/drawing/2014/chart" uri="{C3380CC4-5D6E-409C-BE32-E72D297353CC}">
              <c16:uniqueId val="{0000000A-F32D-48B7-BC20-E66FC6253BAD}"/>
            </c:ext>
          </c:extLst>
        </c:ser>
        <c:ser>
          <c:idx val="5"/>
          <c:order val="5"/>
          <c:tx>
            <c:strRef>
              <c:f>Sheet1!$B$15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4:$A$155</c:f>
              <c:numCache>
                <c:formatCode>General</c:formatCode>
                <c:ptCount val="2"/>
                <c:pt idx="0">
                  <c:v>711.2773258658691</c:v>
                </c:pt>
                <c:pt idx="1">
                  <c:v>711.2773258658691</c:v>
                </c:pt>
              </c:numCache>
            </c:numRef>
          </c:xVal>
          <c:yVal>
            <c:numRef>
              <c:f>Sheet1!$B$154:$B$155</c:f>
              <c:numCache>
                <c:formatCode>General</c:formatCode>
                <c:ptCount val="2"/>
                <c:pt idx="0">
                  <c:v>0.012381394492875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8:$A$159</c:f>
              <c:numCache>
                <c:formatCode>General</c:formatCode>
                <c:ptCount val="2"/>
                <c:pt idx="0">
                  <c:v>0</c:v>
                </c:pt>
                <c:pt idx="1">
                  <c:v>410.88188602852125</c:v>
                </c:pt>
              </c:numCache>
            </c:numRef>
          </c:xVal>
          <c:yVal>
            <c:numRef>
              <c:f>Sheet1!$B$158:$B$159</c:f>
              <c:numCache>
                <c:formatCode>General</c:formatCode>
                <c:ptCount val="2"/>
                <c:pt idx="0">
                  <c:v>0.00744303876984673</c:v>
                </c:pt>
                <c:pt idx="1">
                  <c:v>0.00744303876984673</c:v>
                </c:pt>
              </c:numCache>
            </c:numRef>
          </c:yVal>
          <c:smooth val="0"/>
          <c:extLst>
            <c:ext xmlns:c16="http://schemas.microsoft.com/office/drawing/2014/chart" uri="{C3380CC4-5D6E-409C-BE32-E72D297353CC}">
              <c16:uniqueId val="{00000011-F32D-48B7-BC20-E66FC6253BAD}"/>
            </c:ext>
          </c:extLst>
        </c:ser>
        <c:ser>
          <c:idx val="7"/>
          <c:order val="7"/>
          <c:tx>
            <c:strRef>
              <c:f>Sheet1!$B$16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2:$A$163</c:f>
              <c:numCache>
                <c:formatCode>General</c:formatCode>
                <c:ptCount val="2"/>
                <c:pt idx="0">
                  <c:v>410.88188602852125</c:v>
                </c:pt>
                <c:pt idx="1">
                  <c:v>410.88188602852125</c:v>
                </c:pt>
              </c:numCache>
            </c:numRef>
          </c:xVal>
          <c:yVal>
            <c:numRef>
              <c:f>Sheet1!$B$162:$B$163</c:f>
              <c:numCache>
                <c:formatCode>General</c:formatCode>
                <c:ptCount val="2"/>
                <c:pt idx="0">
                  <c:v>0.007443038769846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6:$A$224</c:f>
              <c:numCache>
                <c:formatCode>General</c:formatCode>
                <c:ptCount val="5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623.0</c:v>
                </c:pt>
                <c:pt idx="20">
                  <c:v>601.6667</c:v>
                </c:pt>
                <c:pt idx="21">
                  <c:v>658.3333</c:v>
                </c:pt>
                <c:pt idx="22">
                  <c:v>505.8333</c:v>
                </c:pt>
                <c:pt idx="23">
                  <c:v>459.25</c:v>
                </c:pt>
                <c:pt idx="24">
                  <c:v>587.2</c:v>
                </c:pt>
                <c:pt idx="25">
                  <c:v>573.3333</c:v>
                </c:pt>
                <c:pt idx="26">
                  <c:v>501.75</c:v>
                </c:pt>
                <c:pt idx="27">
                  <c:v>575.2</c:v>
                </c:pt>
                <c:pt idx="28">
                  <c:v>585.4</c:v>
                </c:pt>
                <c:pt idx="29">
                  <c:v>556.25</c:v>
                </c:pt>
                <c:pt idx="30">
                  <c:v>482.0</c:v>
                </c:pt>
                <c:pt idx="31">
                  <c:v>399.0</c:v>
                </c:pt>
                <c:pt idx="32">
                  <c:v>531.3333</c:v>
                </c:pt>
                <c:pt idx="33">
                  <c:v>539.5</c:v>
                </c:pt>
                <c:pt idx="34">
                  <c:v>762.0</c:v>
                </c:pt>
                <c:pt idx="35">
                  <c:v>0.0</c:v>
                </c:pt>
                <c:pt idx="36">
                  <c:v>0.0</c:v>
                </c:pt>
                <c:pt idx="37">
                  <c:v>612.0</c:v>
                </c:pt>
                <c:pt idx="38">
                  <c:v>0.0</c:v>
                </c:pt>
                <c:pt idx="39">
                  <c:v>0.0</c:v>
                </c:pt>
                <c:pt idx="40">
                  <c:v>0.0</c:v>
                </c:pt>
                <c:pt idx="41">
                  <c:v>455.0</c:v>
                </c:pt>
                <c:pt idx="42">
                  <c:v>455.0</c:v>
                </c:pt>
                <c:pt idx="43">
                  <c:v>0.0</c:v>
                </c:pt>
                <c:pt idx="44">
                  <c:v>0.0</c:v>
                </c:pt>
                <c:pt idx="45">
                  <c:v>0.0</c:v>
                </c:pt>
                <c:pt idx="46">
                  <c:v>0.0</c:v>
                </c:pt>
                <c:pt idx="47">
                  <c:v>0.0</c:v>
                </c:pt>
                <c:pt idx="48">
                  <c:v>323.0</c:v>
                </c:pt>
                <c:pt idx="49">
                  <c:v>385.5</c:v>
                </c:pt>
                <c:pt idx="50">
                  <c:v>360.0</c:v>
                </c:pt>
                <c:pt idx="51">
                  <c:v>0.0</c:v>
                </c:pt>
                <c:pt idx="52">
                  <c:v>282.0</c:v>
                </c:pt>
                <c:pt idx="53">
                  <c:v>417.0</c:v>
                </c:pt>
                <c:pt idx="54">
                  <c:v>333.6667</c:v>
                </c:pt>
                <c:pt idx="55">
                  <c:v>204.5</c:v>
                </c:pt>
                <c:pt idx="56">
                  <c:v>711.2773258658691</c:v>
                </c:pt>
                <c:pt idx="57">
                  <c:v>1540.466338042767</c:v>
                </c:pt>
                <c:pt idx="58">
                  <c:v>410.88188602852125</c:v>
                </c:pt>
              </c:numCache>
            </c:numRef>
          </c:xVal>
          <c:yVal>
            <c:numRef>
              <c:f>Sheet1!$B$166:$B$224</c:f>
              <c:numCache>
                <c:formatCode>General</c:formatCode>
                <c:ptCount val="59"/>
                <c:pt idx="0">
                  <c:v>0.0006883393161647661</c:v>
                </c:pt>
                <c:pt idx="1">
                  <c:v>0.0006883393161647661</c:v>
                </c:pt>
                <c:pt idx="2">
                  <c:v>0.0006883393161647661</c:v>
                </c:pt>
                <c:pt idx="3">
                  <c:v>0.0006883393161647661</c:v>
                </c:pt>
                <c:pt idx="4">
                  <c:v>0.0006883393161647661</c:v>
                </c:pt>
                <c:pt idx="5">
                  <c:v>0.0006883393161647661</c:v>
                </c:pt>
                <c:pt idx="6">
                  <c:v>0.0006883393161647661</c:v>
                </c:pt>
                <c:pt idx="7">
                  <c:v>0.0006883393161647661</c:v>
                </c:pt>
                <c:pt idx="8">
                  <c:v>0.0006883393161647661</c:v>
                </c:pt>
                <c:pt idx="9">
                  <c:v>0.0006883393161647661</c:v>
                </c:pt>
                <c:pt idx="10">
                  <c:v>0.0006883393161647661</c:v>
                </c:pt>
                <c:pt idx="11">
                  <c:v>0.0006883393161647661</c:v>
                </c:pt>
                <c:pt idx="12">
                  <c:v>0.0006883393161647661</c:v>
                </c:pt>
                <c:pt idx="13">
                  <c:v>0.0006883393161647661</c:v>
                </c:pt>
                <c:pt idx="14">
                  <c:v>0.0006883393161647661</c:v>
                </c:pt>
                <c:pt idx="15">
                  <c:v>0.0006883393161647661</c:v>
                </c:pt>
                <c:pt idx="16">
                  <c:v>0.0006883393161647661</c:v>
                </c:pt>
                <c:pt idx="17">
                  <c:v>0.0006883393161647661</c:v>
                </c:pt>
                <c:pt idx="18">
                  <c:v>0.0006883393161647661</c:v>
                </c:pt>
                <c:pt idx="19">
                  <c:v>0.010930157957329574</c:v>
                </c:pt>
                <c:pt idx="20">
                  <c:v>0.010579448824717117</c:v>
                </c:pt>
                <c:pt idx="21">
                  <c:v>0.011511020317833376</c:v>
                </c:pt>
                <c:pt idx="22">
                  <c:v>0.009003994085445522</c:v>
                </c:pt>
                <c:pt idx="23">
                  <c:v>0.008238187166814749</c:v>
                </c:pt>
                <c:pt idx="24">
                  <c:v>0.010341623274578854</c:v>
                </c:pt>
                <c:pt idx="25">
                  <c:v>0.010113661434207359</c:v>
                </c:pt>
                <c:pt idx="26">
                  <c:v>0.008936866608627756</c:v>
                </c:pt>
                <c:pt idx="27">
                  <c:v>0.010144349079243416</c:v>
                </c:pt>
                <c:pt idx="28">
                  <c:v>0.010312032145278536</c:v>
                </c:pt>
                <c:pt idx="29">
                  <c:v>0.009832820245776202</c:v>
                </c:pt>
                <c:pt idx="30">
                  <c:v>0.008612186162138182</c:v>
                </c:pt>
                <c:pt idx="31">
                  <c:v>0.00724770631106807</c:v>
                </c:pt>
                <c:pt idx="32">
                  <c:v>0.009423201750533327</c:v>
                </c:pt>
                <c:pt idx="33">
                  <c:v>0.009557458348120487</c:v>
                </c:pt>
                <c:pt idx="34">
                  <c:v>0.013215250719965063</c:v>
                </c:pt>
                <c:pt idx="35">
                  <c:v>0.0006883393161647661</c:v>
                </c:pt>
                <c:pt idx="36">
                  <c:v>0.0006883393161647661</c:v>
                </c:pt>
                <c:pt idx="37">
                  <c:v>0.010749323278272091</c:v>
                </c:pt>
                <c:pt idx="38">
                  <c:v>0.0006883393161647661</c:v>
                </c:pt>
                <c:pt idx="39">
                  <c:v>0.0006883393161647661</c:v>
                </c:pt>
                <c:pt idx="40">
                  <c:v>0.0006883393161647661</c:v>
                </c:pt>
                <c:pt idx="41">
                  <c:v>0.008168319222633447</c:v>
                </c:pt>
                <c:pt idx="42">
                  <c:v>0.008168319222633447</c:v>
                </c:pt>
                <c:pt idx="43">
                  <c:v>0.0006883393161647661</c:v>
                </c:pt>
                <c:pt idx="44">
                  <c:v>0.0006883393161647661</c:v>
                </c:pt>
                <c:pt idx="45">
                  <c:v>0.0006883393161647661</c:v>
                </c:pt>
                <c:pt idx="46">
                  <c:v>0.0006883393161647661</c:v>
                </c:pt>
                <c:pt idx="47">
                  <c:v>0.0006883393161647661</c:v>
                </c:pt>
                <c:pt idx="48">
                  <c:v>0.005998303073943632</c:v>
                </c:pt>
                <c:pt idx="49">
                  <c:v>0.007025772841315703</c:v>
                </c:pt>
                <c:pt idx="50">
                  <c:v>0.006606565176227898</c:v>
                </c:pt>
                <c:pt idx="51">
                  <c:v>0.0006883393161647661</c:v>
                </c:pt>
                <c:pt idx="52">
                  <c:v>0.005324282906547553</c:v>
                </c:pt>
                <c:pt idx="53">
                  <c:v>0.007543617604071227</c:v>
                </c:pt>
                <c:pt idx="54">
                  <c:v>0.006173658462225674</c:v>
                </c:pt>
                <c:pt idx="55">
                  <c:v>0.004050220395006184</c:v>
                </c:pt>
                <c:pt idx="56">
                  <c:v>0.012381394492875704</c:v>
                </c:pt>
                <c:pt idx="57">
                  <c:v>0.026012860756057705</c:v>
                </c:pt>
                <c:pt idx="58">
                  <c:v>0.007443038769846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9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1803278688524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0.651482812190133</c:v>
                </c:pt>
                <c:pt idx="1">
                  <c:v>0.7347026622793897</c:v>
                </c:pt>
                <c:pt idx="2">
                  <c:v>0.8485721006547939</c:v>
                </c:pt>
                <c:pt idx="3">
                  <c:v>0.7440839874411304</c:v>
                </c:pt>
                <c:pt idx="4">
                  <c:v>0.8371285242173786</c:v>
                </c:pt>
                <c:pt idx="5">
                  <c:v>0.8930600374964396</c:v>
                </c:pt>
                <c:pt idx="6">
                  <c:v>0.7694725028058361</c:v>
                </c:pt>
                <c:pt idx="7">
                  <c:v>0.6583795661596872</c:v>
                </c:pt>
                <c:pt idx="8">
                  <c:v>0.8324771467677814</c:v>
                </c:pt>
                <c:pt idx="9">
                  <c:v>0.7032889447251365</c:v>
                </c:pt>
                <c:pt idx="10">
                  <c:v>0.8344747894783581</c:v>
                </c:pt>
                <c:pt idx="11">
                  <c:v>0.8133808871046706</c:v>
                </c:pt>
                <c:pt idx="12">
                  <c:v>0.7860248030539072</c:v>
                </c:pt>
                <c:pt idx="13">
                  <c:v>0.7397215483967305</c:v>
                </c:pt>
                <c:pt idx="14">
                  <c:v>0.842100319368777</c:v>
                </c:pt>
                <c:pt idx="15">
                  <c:v>0.8594234345179171</c:v>
                </c:pt>
                <c:pt idx="16">
                  <c:v>1.2453965700655398</c:v>
                </c:pt>
                <c:pt idx="17">
                  <c:v>0.8648809051041819</c:v>
                </c:pt>
                <c:pt idx="18">
                  <c:v>0.7872857037745568</c:v>
                </c:pt>
                <c:pt idx="19">
                  <c:v>0.5038677270468438</c:v>
                </c:pt>
                <c:pt idx="20">
                  <c:v>0.5328085698200642</c:v>
                </c:pt>
                <c:pt idx="21">
                  <c:v>1.1695556883841403</c:v>
                </c:pt>
                <c:pt idx="22">
                  <c:v>0.769786250722126</c:v>
                </c:pt>
                <c:pt idx="23">
                  <c:v>0.7569017341040463</c:v>
                </c:pt>
                <c:pt idx="24">
                  <c:v>0.7370961752692164</c:v>
                </c:pt>
                <c:pt idx="25">
                  <c:v>0.7610555085430633</c:v>
                </c:pt>
                <c:pt idx="26">
                  <c:v>0.8012689780194879</c:v>
                </c:pt>
                <c:pt idx="27">
                  <c:v>0.7030927835051546</c:v>
                </c:pt>
                <c:pt idx="28">
                  <c:v>0.8511917037980055</c:v>
                </c:pt>
                <c:pt idx="29">
                  <c:v>0.9847687484800781</c:v>
                </c:pt>
                <c:pt idx="30">
                  <c:v>0.9076793861972368</c:v>
                </c:pt>
                <c:pt idx="31">
                  <c:v>0.6111427053690002</c:v>
                </c:pt>
                <c:pt idx="32">
                  <c:v>0.5608856088560885</c:v>
                </c:pt>
                <c:pt idx="33">
                  <c:v>0.5447831552482715</c:v>
                </c:pt>
                <c:pt idx="34">
                  <c:v>0.6619725992534782</c:v>
                </c:pt>
                <c:pt idx="35">
                  <c:v>1.0274549772612431</c:v>
                </c:pt>
                <c:pt idx="36">
                  <c:v>0.630330415136967</c:v>
                </c:pt>
                <c:pt idx="37">
                  <c:v>0.5619964315576641</c:v>
                </c:pt>
                <c:pt idx="38">
                  <c:v>0.702529618956132</c:v>
                </c:pt>
                <c:pt idx="39">
                  <c:v>0.925458390072253</c:v>
                </c:pt>
                <c:pt idx="40">
                  <c:v>0.8354234868995363</c:v>
                </c:pt>
                <c:pt idx="41">
                  <c:v>0.9795252691975164</c:v>
                </c:pt>
                <c:pt idx="42">
                  <c:v>1.1235668524658562</c:v>
                </c:pt>
                <c:pt idx="43">
                  <c:v>1.3273482052867784</c:v>
                </c:pt>
                <c:pt idx="44">
                  <c:v>1.033142313606685</c:v>
                </c:pt>
                <c:pt idx="45">
                  <c:v>0.9728105155326291</c:v>
                </c:pt>
                <c:pt idx="46">
                  <c:v>1.0279106301864582</c:v>
                </c:pt>
                <c:pt idx="47">
                  <c:v>0.874705091623888</c:v>
                </c:pt>
                <c:pt idx="48">
                  <c:v>1.096433528761317</c:v>
                </c:pt>
                <c:pt idx="49">
                  <c:v>0.9739650993072242</c:v>
                </c:pt>
                <c:pt idx="50">
                  <c:v>0.9168415099511082</c:v>
                </c:pt>
                <c:pt idx="51">
                  <c:v>1.1141178289778877</c:v>
                </c:pt>
                <c:pt idx="52">
                  <c:v>1.114066985645933</c:v>
                </c:pt>
                <c:pt idx="53">
                  <c:v>1.0549643431201927</c:v>
                </c:pt>
                <c:pt idx="54">
                  <c:v>0.9970053238686779</c:v>
                </c:pt>
                <c:pt idx="55">
                  <c:v>1.028757719378406</c:v>
                </c:pt>
                <c:pt idx="56">
                  <c:v>1.042446962018093</c:v>
                </c:pt>
                <c:pt idx="57">
                  <c:v>0.9929536492339518</c:v>
                </c:pt>
                <c:pt idx="58">
                  <c:v>1.0200874778775215</c:v>
                </c:pt>
                <c:pt idx="59">
                  <c:v>1.0343145614631999</c:v>
                </c:pt>
                <c:pt idx="60">
                  <c:v>1.0120813889610456</c:v>
                </c:pt>
                <c:pt idx="61">
                  <c:v>1.138239197185608</c:v>
                </c:pt>
                <c:pt idx="62">
                  <c:v>0.9391055613620111</c:v>
                </c:pt>
                <c:pt idx="63">
                  <c:v>0.9929244190300166</c:v>
                </c:pt>
                <c:pt idx="64">
                  <c:v>0.8992059195900124</c:v>
                </c:pt>
                <c:pt idx="65">
                  <c:v>0.9885803420846097</c:v>
                </c:pt>
                <c:pt idx="66">
                  <c:v>1.4109081259188114</c:v>
                </c:pt>
                <c:pt idx="67">
                  <c:v>0.7170335488324859</c:v>
                </c:pt>
                <c:pt idx="68">
                  <c:v>1.0331162037824415</c:v>
                </c:pt>
                <c:pt idx="69">
                  <c:v>0.24983476949495653</c:v>
                </c:pt>
                <c:pt idx="70">
                  <c:v>0.4521067834466207</c:v>
                </c:pt>
                <c:pt idx="71">
                  <c:v>0.3937947494033413</c:v>
                </c:pt>
                <c:pt idx="72">
                  <c:v>0.46959938358695136</c:v>
                </c:pt>
                <c:pt idx="73">
                  <c:v>0.588801944274592</c:v>
                </c:pt>
                <c:pt idx="74">
                  <c:v>0.7396297897531386</c:v>
                </c:pt>
                <c:pt idx="75">
                  <c:v>1.063703990368077</c:v>
                </c:pt>
                <c:pt idx="76">
                  <c:v>0.8754383443822182</c:v>
                </c:pt>
                <c:pt idx="77">
                  <c:v>0.48374201715730325</c:v>
                </c:pt>
                <c:pt idx="78">
                  <c:v>0.5901597710739482</c:v>
                </c:pt>
                <c:pt idx="79">
                  <c:v>0.7685020400649096</c:v>
                </c:pt>
              </c:numCache>
            </c:numRef>
          </c:xVal>
          <c:yVal>
            <c:numRef>
              <c:f>Sheet1!$B$2:$B$81</c:f>
              <c:numCache>
                <c:formatCode>General</c:formatCode>
                <c:ptCount val="80"/>
                <c:pt idx="0">
                  <c:v>0.01559792027729636</c:v>
                </c:pt>
                <c:pt idx="1">
                  <c:v>0.01348314606741573</c:v>
                </c:pt>
                <c:pt idx="2">
                  <c:v>0.014</c:v>
                </c:pt>
                <c:pt idx="3">
                  <c:v>0.014018691588785047</c:v>
                </c:pt>
                <c:pt idx="4">
                  <c:v>0.020202020202020204</c:v>
                </c:pt>
                <c:pt idx="5">
                  <c:v>0.011574074074074073</c:v>
                </c:pt>
                <c:pt idx="6">
                  <c:v>0.017937219730941704</c:v>
                </c:pt>
                <c:pt idx="7">
                  <c:v>0.02528735632183908</c:v>
                </c:pt>
                <c:pt idx="8">
                  <c:v>0.017578125</c:v>
                </c:pt>
                <c:pt idx="9">
                  <c:v>0.02593192868719611</c:v>
                </c:pt>
                <c:pt idx="10">
                  <c:v>0.020036429872495445</c:v>
                </c:pt>
                <c:pt idx="11">
                  <c:v>0.029982363315696647</c:v>
                </c:pt>
                <c:pt idx="12">
                  <c:v>0.02249134948096886</c:v>
                </c:pt>
                <c:pt idx="13">
                  <c:v>0.011450381679389313</c:v>
                </c:pt>
                <c:pt idx="14">
                  <c:v>0.00425531914893617</c:v>
                </c:pt>
                <c:pt idx="15">
                  <c:v>0.009852216748768473</c:v>
                </c:pt>
                <c:pt idx="16">
                  <c:v>0.002777777777777778</c:v>
                </c:pt>
                <c:pt idx="17">
                  <c:v>0.005714285714285714</c:v>
                </c:pt>
                <c:pt idx="18">
                  <c:v>0.008797653958944282</c:v>
                </c:pt>
                <c:pt idx="19">
                  <c:v>0.005235602094240838</c:v>
                </c:pt>
                <c:pt idx="20">
                  <c:v>0.004219409282700422</c:v>
                </c:pt>
                <c:pt idx="21">
                  <c:v>0.005319148936170213</c:v>
                </c:pt>
                <c:pt idx="22">
                  <c:v>0.030927835051546393</c:v>
                </c:pt>
                <c:pt idx="23">
                  <c:v>0.03067484662576687</c:v>
                </c:pt>
                <c:pt idx="24">
                  <c:v>0.02097902097902098</c:v>
                </c:pt>
                <c:pt idx="25">
                  <c:v>0.028368794326241134</c:v>
                </c:pt>
                <c:pt idx="26">
                  <c:v>0.03759398496240601</c:v>
                </c:pt>
                <c:pt idx="27">
                  <c:v>0.040983606557377046</c:v>
                </c:pt>
                <c:pt idx="28">
                  <c:v>0.02608695652173913</c:v>
                </c:pt>
                <c:pt idx="29">
                  <c:v>0.014184397163120567</c:v>
                </c:pt>
                <c:pt idx="30">
                  <c:v>0.009708737864077669</c:v>
                </c:pt>
                <c:pt idx="31">
                  <c:v>0.036585365853658534</c:v>
                </c:pt>
                <c:pt idx="32">
                  <c:v>0.00847457627118644</c:v>
                </c:pt>
                <c:pt idx="33">
                  <c:v>0.027586206896551724</c:v>
                </c:pt>
                <c:pt idx="34">
                  <c:v>0.032432432432432434</c:v>
                </c:pt>
                <c:pt idx="35">
                  <c:v>0.02654867256637168</c:v>
                </c:pt>
                <c:pt idx="36">
                  <c:v>0.010101010101010102</c:v>
                </c:pt>
                <c:pt idx="37">
                  <c:v>0.008695652173913044</c:v>
                </c:pt>
                <c:pt idx="38">
                  <c:v>0.005714285714285714</c:v>
                </c:pt>
                <c:pt idx="39">
                  <c:v>0.0038022813688212928</c:v>
                </c:pt>
                <c:pt idx="40">
                  <c:v>0.007142857142857143</c:v>
                </c:pt>
                <c:pt idx="41">
                  <c:v>0.010126582278481013</c:v>
                </c:pt>
                <c:pt idx="42">
                  <c:v>0.011023622047244094</c:v>
                </c:pt>
                <c:pt idx="43">
                  <c:v>0.009929078014184398</c:v>
                </c:pt>
                <c:pt idx="44">
                  <c:v>0.012145748987854251</c:v>
                </c:pt>
                <c:pt idx="45">
                  <c:v>0.012195121951219513</c:v>
                </c:pt>
                <c:pt idx="46">
                  <c:v>0.011406844106463879</c:v>
                </c:pt>
                <c:pt idx="47">
                  <c:v>0.01744186046511628</c:v>
                </c:pt>
                <c:pt idx="48">
                  <c:v>0.0125</c:v>
                </c:pt>
                <c:pt idx="49">
                  <c:v>0.017391304347826087</c:v>
                </c:pt>
                <c:pt idx="50">
                  <c:v>0.015105740181268883</c:v>
                </c:pt>
                <c:pt idx="51">
                  <c:v>0.014285714285714285</c:v>
                </c:pt>
                <c:pt idx="52">
                  <c:v>0.014577259475218658</c:v>
                </c:pt>
                <c:pt idx="53">
                  <c:v>0.01059322033898305</c:v>
                </c:pt>
                <c:pt idx="54">
                  <c:v>0.01486988847583643</c:v>
                </c:pt>
                <c:pt idx="55">
                  <c:v>0.012389380530973451</c:v>
                </c:pt>
                <c:pt idx="56">
                  <c:v>0.01951219512195122</c:v>
                </c:pt>
                <c:pt idx="57">
                  <c:v>0.015037593984962405</c:v>
                </c:pt>
                <c:pt idx="58">
                  <c:v>0.016643550624133148</c:v>
                </c:pt>
                <c:pt idx="59">
                  <c:v>0.016339869281045753</c:v>
                </c:pt>
                <c:pt idx="60">
                  <c:v>0.009433962264150943</c:v>
                </c:pt>
                <c:pt idx="61">
                  <c:v>0.007263922518159807</c:v>
                </c:pt>
                <c:pt idx="62">
                  <c:v>0.01</c:v>
                </c:pt>
                <c:pt idx="63">
                  <c:v>0.006802721088435374</c:v>
                </c:pt>
                <c:pt idx="64">
                  <c:v>0.007220216606498195</c:v>
                </c:pt>
                <c:pt idx="65">
                  <c:v>0.008620689655172414</c:v>
                </c:pt>
                <c:pt idx="66">
                  <c:v>0.004201680672268907</c:v>
                </c:pt>
                <c:pt idx="67">
                  <c:v>0.005154639175257732</c:v>
                </c:pt>
                <c:pt idx="68">
                  <c:v>0.006535947712418301</c:v>
                </c:pt>
                <c:pt idx="69">
                  <c:v>0.016260162601626018</c:v>
                </c:pt>
                <c:pt idx="70">
                  <c:v>0.014598540145985401</c:v>
                </c:pt>
                <c:pt idx="71">
                  <c:v>0.006802721088435374</c:v>
                </c:pt>
                <c:pt idx="72">
                  <c:v>0.005555555555555556</c:v>
                </c:pt>
                <c:pt idx="73">
                  <c:v>0.005405405405405406</c:v>
                </c:pt>
                <c:pt idx="74">
                  <c:v>0.0033222591362126247</c:v>
                </c:pt>
                <c:pt idx="75">
                  <c:v>0.004098360655737705</c:v>
                </c:pt>
                <c:pt idx="76">
                  <c:v>0.0031847133757961785</c:v>
                </c:pt>
                <c:pt idx="77">
                  <c:v>0.0035335689045936395</c:v>
                </c:pt>
                <c:pt idx="78">
                  <c:v>0.0029239766081871343</c:v>
                </c:pt>
                <c:pt idx="79">
                  <c:v>0.0031847133757961785</c:v>
                </c:pt>
              </c:numCache>
            </c:numRef>
          </c:yVal>
          <c:smooth val="0"/>
          <c:extLst>
            <c:ext xmlns:c16="http://schemas.microsoft.com/office/drawing/2014/chart" uri="{C3380CC4-5D6E-409C-BE32-E72D297353CC}">
              <c16:uniqueId val="{00000000-096C-4121-9522-6AB7243CCAAE}"/>
            </c:ext>
          </c:extLst>
        </c:ser>
        <c:ser>
          <c:idx val="1"/>
          <c:order val="1"/>
          <c:tx>
            <c:strRef>
              <c:f>Sheet1!$B$8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4:$A$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6090169703605224</c:v>
                </c:pt>
                <c:pt idx="20">
                  <c:v>0.5485369972077493</c:v>
                </c:pt>
                <c:pt idx="21">
                  <c:v>0.620609139056079</c:v>
                </c:pt>
                <c:pt idx="22">
                  <c:v>0.492411108756407</c:v>
                </c:pt>
                <c:pt idx="23">
                  <c:v>0.43791074096595145</c:v>
                </c:pt>
                <c:pt idx="24">
                  <c:v>0.6344366646480374</c:v>
                </c:pt>
                <c:pt idx="25">
                  <c:v>0.6179531643928324</c:v>
                </c:pt>
                <c:pt idx="26">
                  <c:v>0.5804678889328634</c:v>
                </c:pt>
                <c:pt idx="27">
                  <c:v>0.6230535669004309</c:v>
                </c:pt>
                <c:pt idx="28">
                  <c:v>0.6072614107883817</c:v>
                </c:pt>
                <c:pt idx="29">
                  <c:v>0.6057457914960369</c:v>
                </c:pt>
                <c:pt idx="30">
                  <c:v>0.6530722850755369</c:v>
                </c:pt>
                <c:pt idx="31">
                  <c:v>0.496913036731463</c:v>
                </c:pt>
                <c:pt idx="32">
                  <c:v>0.6907160220994475</c:v>
                </c:pt>
                <c:pt idx="33">
                  <c:v>0.6139583516600944</c:v>
                </c:pt>
                <c:pt idx="34">
                  <c:v>0.8423681555652788</c:v>
                </c:pt>
                <c:pt idx="35">
                  <c:v>0.0</c:v>
                </c:pt>
                <c:pt idx="36">
                  <c:v>0.0</c:v>
                </c:pt>
                <c:pt idx="37">
                  <c:v>0.8907371198975826</c:v>
                </c:pt>
                <c:pt idx="38">
                  <c:v>0.0</c:v>
                </c:pt>
                <c:pt idx="39">
                  <c:v>0.0</c:v>
                </c:pt>
                <c:pt idx="40">
                  <c:v>0.0</c:v>
                </c:pt>
                <c:pt idx="41">
                  <c:v>0.6432611047719653</c:v>
                </c:pt>
                <c:pt idx="42">
                  <c:v>0.7343344275185291</c:v>
                </c:pt>
                <c:pt idx="43">
                  <c:v>0.0</c:v>
                </c:pt>
                <c:pt idx="44">
                  <c:v>0.0</c:v>
                </c:pt>
                <c:pt idx="45">
                  <c:v>0.0</c:v>
                </c:pt>
                <c:pt idx="46">
                  <c:v>0.0</c:v>
                </c:pt>
                <c:pt idx="47">
                  <c:v>0.0</c:v>
                </c:pt>
                <c:pt idx="48">
                  <c:v>0.4997538364229879</c:v>
                </c:pt>
                <c:pt idx="49">
                  <c:v>0.6674499464481793</c:v>
                </c:pt>
                <c:pt idx="50">
                  <c:v>0.6547006781244135</c:v>
                </c:pt>
                <c:pt idx="51">
                  <c:v>0.0</c:v>
                </c:pt>
                <c:pt idx="52">
                  <c:v>0.5098689474081028</c:v>
                </c:pt>
                <c:pt idx="53">
                  <c:v>0.5949705724986624</c:v>
                </c:pt>
                <c:pt idx="54">
                  <c:v>0.47503801252847383</c:v>
                </c:pt>
                <c:pt idx="55">
                  <c:v>0.25377683845186944</c:v>
                </c:pt>
              </c:numCache>
            </c:numRef>
          </c:xVal>
          <c:yVal>
            <c:numRef>
              <c:f>Sheet1!$B$84:$B$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06309148264984227</c:v>
                </c:pt>
                <c:pt idx="20">
                  <c:v>0.011111111111111112</c:v>
                </c:pt>
                <c:pt idx="21">
                  <c:v>0.008982035928143712</c:v>
                </c:pt>
                <c:pt idx="22">
                  <c:v>0.01729106628242075</c:v>
                </c:pt>
                <c:pt idx="23">
                  <c:v>0.019656019656019656</c:v>
                </c:pt>
                <c:pt idx="24">
                  <c:v>0.013927576601671309</c:v>
                </c:pt>
                <c:pt idx="25">
                  <c:v>0.014457831325301205</c:v>
                </c:pt>
                <c:pt idx="26">
                  <c:v>0.009345794392523364</c:v>
                </c:pt>
                <c:pt idx="27">
                  <c:v>0.010351966873706004</c:v>
                </c:pt>
                <c:pt idx="28">
                  <c:v>0.009363295880149813</c:v>
                </c:pt>
                <c:pt idx="29">
                  <c:v>0.007766990291262136</c:v>
                </c:pt>
                <c:pt idx="30">
                  <c:v>0.006299212598425197</c:v>
                </c:pt>
                <c:pt idx="31">
                  <c:v>0.0035714285714285713</c:v>
                </c:pt>
                <c:pt idx="32">
                  <c:v>0.006198347107438017</c:v>
                </c:pt>
                <c:pt idx="33">
                  <c:v>0.005037783375314861</c:v>
                </c:pt>
                <c:pt idx="34">
                  <c:v>0.002890173410404624</c:v>
                </c:pt>
                <c:pt idx="35">
                  <c:v>0.0</c:v>
                </c:pt>
                <c:pt idx="36">
                  <c:v>0.0</c:v>
                </c:pt>
                <c:pt idx="37">
                  <c:v>0.007905138339920948</c:v>
                </c:pt>
                <c:pt idx="38">
                  <c:v>0.0</c:v>
                </c:pt>
                <c:pt idx="39">
                  <c:v>0.0</c:v>
                </c:pt>
                <c:pt idx="40">
                  <c:v>0.0</c:v>
                </c:pt>
                <c:pt idx="41">
                  <c:v>0.006896551724137931</c:v>
                </c:pt>
                <c:pt idx="42">
                  <c:v>0.006666666666666667</c:v>
                </c:pt>
                <c:pt idx="43">
                  <c:v>0.0</c:v>
                </c:pt>
                <c:pt idx="44">
                  <c:v>0.0</c:v>
                </c:pt>
                <c:pt idx="45">
                  <c:v>0.0</c:v>
                </c:pt>
                <c:pt idx="46">
                  <c:v>0.0</c:v>
                </c:pt>
                <c:pt idx="47">
                  <c:v>0.0</c:v>
                </c:pt>
                <c:pt idx="48">
                  <c:v>0.0196078431372549</c:v>
                </c:pt>
                <c:pt idx="49">
                  <c:v>0.012121212121212121</c:v>
                </c:pt>
                <c:pt idx="50">
                  <c:v>0.012578616352201259</c:v>
                </c:pt>
                <c:pt idx="51">
                  <c:v>0.0</c:v>
                </c:pt>
                <c:pt idx="52">
                  <c:v>0.011811023622047244</c:v>
                </c:pt>
                <c:pt idx="53">
                  <c:v>0.0035211267605633804</c:v>
                </c:pt>
                <c:pt idx="54">
                  <c:v>0.0029211295034079843</c:v>
                </c:pt>
                <c:pt idx="55">
                  <c:v>0.011869436201780416</c:v>
                </c:pt>
              </c:numCache>
            </c:numRef>
          </c:yVal>
          <c:smooth val="0"/>
          <c:extLst>
            <c:ext xmlns:c16="http://schemas.microsoft.com/office/drawing/2014/chart" uri="{C3380CC4-5D6E-409C-BE32-E72D297353CC}">
              <c16:uniqueId val="{00000002-096C-4121-9522-6AB7243CCAAE}"/>
            </c:ext>
          </c:extLst>
        </c:ser>
        <c:ser>
          <c:idx val="2"/>
          <c:order val="2"/>
          <c:tx>
            <c:strRef>
              <c:f>Sheet1!$B$14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2:$A$143</c:f>
              <c:numCache>
                <c:formatCode>General</c:formatCode>
                <c:ptCount val="2"/>
                <c:pt idx="0">
                  <c:v>0</c:v>
                </c:pt>
                <c:pt idx="1">
                  <c:v>1.8501586924904465</c:v>
                </c:pt>
              </c:numCache>
            </c:numRef>
          </c:xVal>
          <c:yVal>
            <c:numRef>
              <c:f>Sheet1!$B$142:$B$143</c:f>
              <c:numCache>
                <c:formatCode>General</c:formatCode>
                <c:ptCount val="2"/>
                <c:pt idx="0">
                  <c:v>0.026012860756057705</c:v>
                </c:pt>
                <c:pt idx="1">
                  <c:v>0.026012860756057705</c:v>
                </c:pt>
              </c:numCache>
            </c:numRef>
          </c:yVal>
          <c:smooth val="0"/>
          <c:extLst>
            <c:ext xmlns:c16="http://schemas.microsoft.com/office/drawing/2014/chart" uri="{C3380CC4-5D6E-409C-BE32-E72D297353CC}">
              <c16:uniqueId val="{00000005-096C-4121-9522-6AB7243CCAAE}"/>
            </c:ext>
          </c:extLst>
        </c:ser>
        <c:ser>
          <c:idx val="3"/>
          <c:order val="3"/>
          <c:tx>
            <c:strRef>
              <c:f>Sheet1!$B$14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6:$A$147</c:f>
              <c:numCache>
                <c:formatCode>General</c:formatCode>
                <c:ptCount val="2"/>
                <c:pt idx="0">
                  <c:v>1.8501586924904465</c:v>
                </c:pt>
                <c:pt idx="1">
                  <c:v>1.8501586924904465</c:v>
                </c:pt>
              </c:numCache>
            </c:numRef>
          </c:xVal>
          <c:yVal>
            <c:numRef>
              <c:f>Sheet1!$B$146:$B$147</c:f>
              <c:numCache>
                <c:formatCode>General</c:formatCode>
                <c:ptCount val="2"/>
                <c:pt idx="0">
                  <c:v>0.026012860756057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0:$A$151</c:f>
              <c:numCache>
                <c:formatCode>General</c:formatCode>
                <c:ptCount val="2"/>
                <c:pt idx="0">
                  <c:v>0</c:v>
                </c:pt>
                <c:pt idx="1">
                  <c:v>0.8572338504863514</c:v>
                </c:pt>
              </c:numCache>
            </c:numRef>
          </c:xVal>
          <c:yVal>
            <c:numRef>
              <c:f>Sheet1!$B$150:$B$151</c:f>
              <c:numCache>
                <c:formatCode>General</c:formatCode>
                <c:ptCount val="2"/>
                <c:pt idx="0">
                  <c:v>0.012381394492875704</c:v>
                </c:pt>
                <c:pt idx="1">
                  <c:v>0.012381394492875704</c:v>
                </c:pt>
              </c:numCache>
            </c:numRef>
          </c:yVal>
          <c:smooth val="0"/>
          <c:extLst>
            <c:ext xmlns:c16="http://schemas.microsoft.com/office/drawing/2014/chart" uri="{C3380CC4-5D6E-409C-BE32-E72D297353CC}">
              <c16:uniqueId val="{0000000D-096C-4121-9522-6AB7243CCAAE}"/>
            </c:ext>
          </c:extLst>
        </c:ser>
        <c:ser>
          <c:idx val="5"/>
          <c:order val="5"/>
          <c:tx>
            <c:strRef>
              <c:f>Sheet1!$B$15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4:$A$155</c:f>
              <c:numCache>
                <c:formatCode>General</c:formatCode>
                <c:ptCount val="2"/>
                <c:pt idx="0">
                  <c:v>0.8572338504863514</c:v>
                </c:pt>
                <c:pt idx="1">
                  <c:v>0.8572338504863514</c:v>
                </c:pt>
              </c:numCache>
            </c:numRef>
          </c:xVal>
          <c:yVal>
            <c:numRef>
              <c:f>Sheet1!$B$154:$B$155</c:f>
              <c:numCache>
                <c:formatCode>General</c:formatCode>
                <c:ptCount val="2"/>
                <c:pt idx="0">
                  <c:v>0.0123813944928757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8:$A$159</c:f>
              <c:numCache>
                <c:formatCode>General</c:formatCode>
                <c:ptCount val="2"/>
                <c:pt idx="0">
                  <c:v>0</c:v>
                </c:pt>
                <c:pt idx="1">
                  <c:v>0.49752081731893066</c:v>
                </c:pt>
              </c:numCache>
            </c:numRef>
          </c:xVal>
          <c:yVal>
            <c:numRef>
              <c:f>Sheet1!$B$158:$B$159</c:f>
              <c:numCache>
                <c:formatCode>General</c:formatCode>
                <c:ptCount val="2"/>
                <c:pt idx="0">
                  <c:v>0.00744303876984673</c:v>
                </c:pt>
                <c:pt idx="1">
                  <c:v>0.00744303876984673</c:v>
                </c:pt>
              </c:numCache>
            </c:numRef>
          </c:yVal>
          <c:smooth val="0"/>
          <c:extLst>
            <c:ext xmlns:c16="http://schemas.microsoft.com/office/drawing/2014/chart" uri="{C3380CC4-5D6E-409C-BE32-E72D297353CC}">
              <c16:uniqueId val="{00000015-096C-4121-9522-6AB7243CCAAE}"/>
            </c:ext>
          </c:extLst>
        </c:ser>
        <c:ser>
          <c:idx val="7"/>
          <c:order val="7"/>
          <c:tx>
            <c:strRef>
              <c:f>Sheet1!$B$16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2:$A$163</c:f>
              <c:numCache>
                <c:formatCode>General</c:formatCode>
                <c:ptCount val="2"/>
                <c:pt idx="0">
                  <c:v>0.49752081731893066</c:v>
                </c:pt>
                <c:pt idx="1">
                  <c:v>0.49752081731893066</c:v>
                </c:pt>
              </c:numCache>
            </c:numRef>
          </c:xVal>
          <c:yVal>
            <c:numRef>
              <c:f>Sheet1!$B$162:$B$163</c:f>
              <c:numCache>
                <c:formatCode>General</c:formatCode>
                <c:ptCount val="2"/>
                <c:pt idx="0">
                  <c:v>0.007443038769846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6:$A$224</c:f>
              <c:numCache>
                <c:formatCode>General</c:formatCode>
                <c:ptCount val="5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6090169703605224</c:v>
                </c:pt>
                <c:pt idx="20">
                  <c:v>0.5485369972077493</c:v>
                </c:pt>
                <c:pt idx="21">
                  <c:v>0.620609139056079</c:v>
                </c:pt>
                <c:pt idx="22">
                  <c:v>0.492411108756407</c:v>
                </c:pt>
                <c:pt idx="23">
                  <c:v>0.43791074096595145</c:v>
                </c:pt>
                <c:pt idx="24">
                  <c:v>0.6344366646480374</c:v>
                </c:pt>
                <c:pt idx="25">
                  <c:v>0.6179531643928324</c:v>
                </c:pt>
                <c:pt idx="26">
                  <c:v>0.5804678889328634</c:v>
                </c:pt>
                <c:pt idx="27">
                  <c:v>0.6230535669004309</c:v>
                </c:pt>
                <c:pt idx="28">
                  <c:v>0.6072614107883817</c:v>
                </c:pt>
                <c:pt idx="29">
                  <c:v>0.6057457914960369</c:v>
                </c:pt>
                <c:pt idx="30">
                  <c:v>0.6530722850755369</c:v>
                </c:pt>
                <c:pt idx="31">
                  <c:v>0.496913036731463</c:v>
                </c:pt>
                <c:pt idx="32">
                  <c:v>0.6907160220994475</c:v>
                </c:pt>
                <c:pt idx="33">
                  <c:v>0.6139583516600944</c:v>
                </c:pt>
                <c:pt idx="34">
                  <c:v>0.8423681555652788</c:v>
                </c:pt>
                <c:pt idx="35">
                  <c:v>0.0</c:v>
                </c:pt>
                <c:pt idx="36">
                  <c:v>0.0</c:v>
                </c:pt>
                <c:pt idx="37">
                  <c:v>0.8907371198975826</c:v>
                </c:pt>
                <c:pt idx="38">
                  <c:v>0.0</c:v>
                </c:pt>
                <c:pt idx="39">
                  <c:v>0.0</c:v>
                </c:pt>
                <c:pt idx="40">
                  <c:v>0.0</c:v>
                </c:pt>
                <c:pt idx="41">
                  <c:v>0.6432611047719653</c:v>
                </c:pt>
                <c:pt idx="42">
                  <c:v>0.7343344275185291</c:v>
                </c:pt>
                <c:pt idx="43">
                  <c:v>0.0</c:v>
                </c:pt>
                <c:pt idx="44">
                  <c:v>0.0</c:v>
                </c:pt>
                <c:pt idx="45">
                  <c:v>0.0</c:v>
                </c:pt>
                <c:pt idx="46">
                  <c:v>0.0</c:v>
                </c:pt>
                <c:pt idx="47">
                  <c:v>0.0</c:v>
                </c:pt>
                <c:pt idx="48">
                  <c:v>0.4997538364229879</c:v>
                </c:pt>
                <c:pt idx="49">
                  <c:v>0.6674499464481793</c:v>
                </c:pt>
                <c:pt idx="50">
                  <c:v>0.6547006781244135</c:v>
                </c:pt>
                <c:pt idx="51">
                  <c:v>0.0</c:v>
                </c:pt>
                <c:pt idx="52">
                  <c:v>0.5098689474081028</c:v>
                </c:pt>
                <c:pt idx="53">
                  <c:v>0.5949705724986624</c:v>
                </c:pt>
                <c:pt idx="54">
                  <c:v>0.47503801252847383</c:v>
                </c:pt>
                <c:pt idx="55">
                  <c:v>0.25377683845186944</c:v>
                </c:pt>
                <c:pt idx="56">
                  <c:v>0.8572338504863514</c:v>
                </c:pt>
                <c:pt idx="57">
                  <c:v>1.8501586924904465</c:v>
                </c:pt>
                <c:pt idx="58">
                  <c:v>0.49752081731893066</c:v>
                </c:pt>
              </c:numCache>
            </c:numRef>
          </c:xVal>
          <c:yVal>
            <c:numRef>
              <c:f>Sheet1!$B$166:$B$224</c:f>
              <c:numCache>
                <c:formatCode>General</c:formatCode>
                <c:ptCount val="59"/>
                <c:pt idx="0">
                  <c:v>0.000612775340416118</c:v>
                </c:pt>
                <c:pt idx="1">
                  <c:v>0.000612775340416118</c:v>
                </c:pt>
                <c:pt idx="2">
                  <c:v>0.000612775340416118</c:v>
                </c:pt>
                <c:pt idx="3">
                  <c:v>0.000612775340416118</c:v>
                </c:pt>
                <c:pt idx="4">
                  <c:v>0.000612775340416118</c:v>
                </c:pt>
                <c:pt idx="5">
                  <c:v>0.000612775340416118</c:v>
                </c:pt>
                <c:pt idx="6">
                  <c:v>0.000612775340416118</c:v>
                </c:pt>
                <c:pt idx="7">
                  <c:v>0.000612775340416118</c:v>
                </c:pt>
                <c:pt idx="8">
                  <c:v>0.000612775340416118</c:v>
                </c:pt>
                <c:pt idx="9">
                  <c:v>0.000612775340416118</c:v>
                </c:pt>
                <c:pt idx="10">
                  <c:v>0.000612775340416118</c:v>
                </c:pt>
                <c:pt idx="11">
                  <c:v>0.000612775340416118</c:v>
                </c:pt>
                <c:pt idx="12">
                  <c:v>0.000612775340416118</c:v>
                </c:pt>
                <c:pt idx="13">
                  <c:v>0.000612775340416118</c:v>
                </c:pt>
                <c:pt idx="14">
                  <c:v>0.000612775340416118</c:v>
                </c:pt>
                <c:pt idx="15">
                  <c:v>0.000612775340416118</c:v>
                </c:pt>
                <c:pt idx="16">
                  <c:v>0.000612775340416118</c:v>
                </c:pt>
                <c:pt idx="17">
                  <c:v>0.000612775340416118</c:v>
                </c:pt>
                <c:pt idx="18">
                  <c:v>0.000612775340416118</c:v>
                </c:pt>
                <c:pt idx="19">
                  <c:v>0.00897372466304424</c:v>
                </c:pt>
                <c:pt idx="20">
                  <c:v>0.008143419408553709</c:v>
                </c:pt>
                <c:pt idx="21">
                  <c:v>0.009132868890085286</c:v>
                </c:pt>
                <c:pt idx="22">
                  <c:v>0.00737288963374077</c:v>
                </c:pt>
                <c:pt idx="23">
                  <c:v>0.006624675979052552</c:v>
                </c:pt>
                <c:pt idx="24">
                  <c:v>0.009322701433935859</c:v>
                </c:pt>
                <c:pt idx="25">
                  <c:v>0.009096406080931638</c:v>
                </c:pt>
                <c:pt idx="26">
                  <c:v>0.008581785793290022</c:v>
                </c:pt>
                <c:pt idx="27">
                  <c:v>0.009166427457948097</c:v>
                </c:pt>
                <c:pt idx="28">
                  <c:v>0.0089496232909481</c:v>
                </c:pt>
                <c:pt idx="29">
                  <c:v>0.00892881596256086</c:v>
                </c:pt>
                <c:pt idx="30">
                  <c:v>0.00957854238020345</c:v>
                </c:pt>
                <c:pt idx="31">
                  <c:v>0.007434694794328139</c:v>
                </c:pt>
                <c:pt idx="32">
                  <c:v>0.010095338122996856</c:v>
                </c:pt>
                <c:pt idx="33">
                  <c:v>0.009041562901780093</c:v>
                </c:pt>
                <c:pt idx="34">
                  <c:v>0.01217730933937471</c:v>
                </c:pt>
                <c:pt idx="35">
                  <c:v>0.000612775340416118</c:v>
                </c:pt>
                <c:pt idx="36">
                  <c:v>0.000612775340416118</c:v>
                </c:pt>
                <c:pt idx="37">
                  <c:v>0.01284134741918552</c:v>
                </c:pt>
                <c:pt idx="38">
                  <c:v>0.000612775340416118</c:v>
                </c:pt>
                <c:pt idx="39">
                  <c:v>0.000612775340416118</c:v>
                </c:pt>
                <c:pt idx="40">
                  <c:v>0.000612775340416118</c:v>
                </c:pt>
                <c:pt idx="41">
                  <c:v>0.009443848627310538</c:v>
                </c:pt>
                <c:pt idx="42">
                  <c:v>0.010694157687953973</c:v>
                </c:pt>
                <c:pt idx="43">
                  <c:v>0.000612775340416118</c:v>
                </c:pt>
                <c:pt idx="44">
                  <c:v>0.000612775340416118</c:v>
                </c:pt>
                <c:pt idx="45">
                  <c:v>0.000612775340416118</c:v>
                </c:pt>
                <c:pt idx="46">
                  <c:v>0.000612775340416118</c:v>
                </c:pt>
                <c:pt idx="47">
                  <c:v>0.000612775340416118</c:v>
                </c:pt>
                <c:pt idx="48">
                  <c:v>0.007473694992044332</c:v>
                </c:pt>
                <c:pt idx="49">
                  <c:v>0.009775927517178219</c:v>
                </c:pt>
                <c:pt idx="50">
                  <c:v>0.009600897934188944</c:v>
                </c:pt>
                <c:pt idx="51">
                  <c:v>0.000612775340416118</c:v>
                </c:pt>
                <c:pt idx="52">
                  <c:v>0.007612561287164549</c:v>
                </c:pt>
                <c:pt idx="53">
                  <c:v>0.008780887309728844</c:v>
                </c:pt>
                <c:pt idx="54">
                  <c:v>0.007134381375008828</c:v>
                </c:pt>
                <c:pt idx="55">
                  <c:v>0.0040967756044757615</c:v>
                </c:pt>
                <c:pt idx="56">
                  <c:v>0.012381394492875704</c:v>
                </c:pt>
                <c:pt idx="57">
                  <c:v>0.026012860756057705</c:v>
                </c:pt>
                <c:pt idx="58">
                  <c:v>0.007443038769846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1803278688524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681.0</c:v>
                </c:pt>
                <c:pt idx="1">
                  <c:v>736.8333</c:v>
                </c:pt>
                <c:pt idx="2">
                  <c:v>816.0</c:v>
                </c:pt>
                <c:pt idx="3">
                  <c:v>853.1667</c:v>
                </c:pt>
                <c:pt idx="4">
                  <c:v>871.0</c:v>
                </c:pt>
                <c:pt idx="5">
                  <c:v>887.0</c:v>
                </c:pt>
                <c:pt idx="6">
                  <c:v>857.0</c:v>
                </c:pt>
                <c:pt idx="7">
                  <c:v>808.9091</c:v>
                </c:pt>
                <c:pt idx="8">
                  <c:v>864.3333</c:v>
                </c:pt>
                <c:pt idx="9">
                  <c:v>814.625</c:v>
                </c:pt>
                <c:pt idx="10">
                  <c:v>837.2727</c:v>
                </c:pt>
                <c:pt idx="11">
                  <c:v>830.7059</c:v>
                </c:pt>
                <c:pt idx="12">
                  <c:v>877.6154</c:v>
                </c:pt>
                <c:pt idx="13">
                  <c:v>804.5</c:v>
                </c:pt>
                <c:pt idx="14">
                  <c:v>896.5</c:v>
                </c:pt>
                <c:pt idx="15">
                  <c:v>876.25</c:v>
                </c:pt>
                <c:pt idx="16">
                  <c:v>1242.0</c:v>
                </c:pt>
                <c:pt idx="17">
                  <c:v>924.5</c:v>
                </c:pt>
                <c:pt idx="18">
                  <c:v>856.0</c:v>
                </c:pt>
                <c:pt idx="19">
                  <c:v>604.0</c:v>
                </c:pt>
                <c:pt idx="20">
                  <c:v>604.0</c:v>
                </c:pt>
                <c:pt idx="21">
                  <c:v>1174.0</c:v>
                </c:pt>
                <c:pt idx="22">
                  <c:v>799.5</c:v>
                </c:pt>
                <c:pt idx="23">
                  <c:v>818.4</c:v>
                </c:pt>
                <c:pt idx="24">
                  <c:v>794.0</c:v>
                </c:pt>
                <c:pt idx="25">
                  <c:v>751.5</c:v>
                </c:pt>
                <c:pt idx="26">
                  <c:v>884.0</c:v>
                </c:pt>
                <c:pt idx="27">
                  <c:v>818.4</c:v>
                </c:pt>
                <c:pt idx="28">
                  <c:v>802.3333</c:v>
                </c:pt>
                <c:pt idx="29">
                  <c:v>1016.0</c:v>
                </c:pt>
                <c:pt idx="30">
                  <c:v>1236.0</c:v>
                </c:pt>
                <c:pt idx="31">
                  <c:v>805.3333</c:v>
                </c:pt>
                <c:pt idx="32">
                  <c:v>988.0</c:v>
                </c:pt>
                <c:pt idx="33">
                  <c:v>866.75</c:v>
                </c:pt>
                <c:pt idx="34">
                  <c:v>780.3333</c:v>
                </c:pt>
                <c:pt idx="35">
                  <c:v>1016.6667</c:v>
                </c:pt>
                <c:pt idx="36">
                  <c:v>1116.0</c:v>
                </c:pt>
                <c:pt idx="37">
                  <c:v>837.0</c:v>
                </c:pt>
                <c:pt idx="38">
                  <c:v>1097.0</c:v>
                </c:pt>
                <c:pt idx="39">
                  <c:v>1116.0</c:v>
                </c:pt>
                <c:pt idx="40">
                  <c:v>1004.0</c:v>
                </c:pt>
                <c:pt idx="41">
                  <c:v>1246.25</c:v>
                </c:pt>
                <c:pt idx="42">
                  <c:v>1187.5714</c:v>
                </c:pt>
                <c:pt idx="43">
                  <c:v>1158.1429</c:v>
                </c:pt>
                <c:pt idx="44">
                  <c:v>1056.8333</c:v>
                </c:pt>
                <c:pt idx="45">
                  <c:v>1144.6</c:v>
                </c:pt>
                <c:pt idx="46">
                  <c:v>1124.5</c:v>
                </c:pt>
                <c:pt idx="47">
                  <c:v>1041.0</c:v>
                </c:pt>
                <c:pt idx="48">
                  <c:v>1246.0</c:v>
                </c:pt>
                <c:pt idx="49">
                  <c:v>1138.3333</c:v>
                </c:pt>
                <c:pt idx="50">
                  <c:v>1045.0</c:v>
                </c:pt>
                <c:pt idx="51">
                  <c:v>1152.8</c:v>
                </c:pt>
                <c:pt idx="52">
                  <c:v>1164.2</c:v>
                </c:pt>
                <c:pt idx="53">
                  <c:v>1083.8</c:v>
                </c:pt>
                <c:pt idx="54">
                  <c:v>1123.625</c:v>
                </c:pt>
                <c:pt idx="55">
                  <c:v>1163.1429</c:v>
                </c:pt>
                <c:pt idx="56">
                  <c:v>1150.8333</c:v>
                </c:pt>
                <c:pt idx="57">
                  <c:v>1152.0</c:v>
                </c:pt>
                <c:pt idx="58">
                  <c:v>1087.5833</c:v>
                </c:pt>
                <c:pt idx="59">
                  <c:v>1110.5</c:v>
                </c:pt>
                <c:pt idx="60">
                  <c:v>1103.0</c:v>
                </c:pt>
                <c:pt idx="61">
                  <c:v>1219.0</c:v>
                </c:pt>
                <c:pt idx="62">
                  <c:v>1067.0</c:v>
                </c:pt>
                <c:pt idx="63">
                  <c:v>1273.0</c:v>
                </c:pt>
                <c:pt idx="64">
                  <c:v>1003.0</c:v>
                </c:pt>
                <c:pt idx="65">
                  <c:v>1049.0</c:v>
                </c:pt>
                <c:pt idx="66">
                  <c:v>1578.0</c:v>
                </c:pt>
                <c:pt idx="67">
                  <c:v>817.0</c:v>
                </c:pt>
                <c:pt idx="68">
                  <c:v>1337.0</c:v>
                </c:pt>
                <c:pt idx="69">
                  <c:v>504.0</c:v>
                </c:pt>
                <c:pt idx="70">
                  <c:v>595.5</c:v>
                </c:pt>
                <c:pt idx="71">
                  <c:v>495.0</c:v>
                </c:pt>
                <c:pt idx="72">
                  <c:v>478.0</c:v>
                </c:pt>
                <c:pt idx="73">
                  <c:v>652.0</c:v>
                </c:pt>
                <c:pt idx="74">
                  <c:v>782.0</c:v>
                </c:pt>
                <c:pt idx="75">
                  <c:v>989.5</c:v>
                </c:pt>
                <c:pt idx="76">
                  <c:v>869.3333</c:v>
                </c:pt>
                <c:pt idx="77">
                  <c:v>495.0</c:v>
                </c:pt>
                <c:pt idx="78">
                  <c:v>633.0</c:v>
                </c:pt>
                <c:pt idx="79">
                  <c:v>761.0</c:v>
                </c:pt>
              </c:numCache>
            </c:numRef>
          </c:xVal>
          <c:yVal>
            <c:numRef>
              <c:f>Sheet1!$B$2:$B$81</c:f>
              <c:numCache>
                <c:formatCode>General</c:formatCode>
                <c:ptCount val="80"/>
                <c:pt idx="0">
                  <c:v>0.01559792027729636</c:v>
                </c:pt>
                <c:pt idx="1">
                  <c:v>0.01348314606741573</c:v>
                </c:pt>
                <c:pt idx="2">
                  <c:v>0.014</c:v>
                </c:pt>
                <c:pt idx="3">
                  <c:v>0.014018691588785047</c:v>
                </c:pt>
                <c:pt idx="4">
                  <c:v>0.020202020202020204</c:v>
                </c:pt>
                <c:pt idx="5">
                  <c:v>0.011574074074074073</c:v>
                </c:pt>
                <c:pt idx="6">
                  <c:v>0.017937219730941704</c:v>
                </c:pt>
                <c:pt idx="7">
                  <c:v>0.02528735632183908</c:v>
                </c:pt>
                <c:pt idx="8">
                  <c:v>0.017578125</c:v>
                </c:pt>
                <c:pt idx="9">
                  <c:v>0.02593192868719611</c:v>
                </c:pt>
                <c:pt idx="10">
                  <c:v>0.020036429872495445</c:v>
                </c:pt>
                <c:pt idx="11">
                  <c:v>0.029982363315696647</c:v>
                </c:pt>
                <c:pt idx="12">
                  <c:v>0.02249134948096886</c:v>
                </c:pt>
                <c:pt idx="13">
                  <c:v>0.011450381679389313</c:v>
                </c:pt>
                <c:pt idx="14">
                  <c:v>0.00425531914893617</c:v>
                </c:pt>
                <c:pt idx="15">
                  <c:v>0.009852216748768473</c:v>
                </c:pt>
                <c:pt idx="16">
                  <c:v>0.002777777777777778</c:v>
                </c:pt>
                <c:pt idx="17">
                  <c:v>0.005714285714285714</c:v>
                </c:pt>
                <c:pt idx="18">
                  <c:v>0.008797653958944282</c:v>
                </c:pt>
                <c:pt idx="19">
                  <c:v>0.005235602094240838</c:v>
                </c:pt>
                <c:pt idx="20">
                  <c:v>0.004219409282700422</c:v>
                </c:pt>
                <c:pt idx="21">
                  <c:v>0.005319148936170213</c:v>
                </c:pt>
                <c:pt idx="22">
                  <c:v>0.030927835051546393</c:v>
                </c:pt>
                <c:pt idx="23">
                  <c:v>0.03067484662576687</c:v>
                </c:pt>
                <c:pt idx="24">
                  <c:v>0.02097902097902098</c:v>
                </c:pt>
                <c:pt idx="25">
                  <c:v>0.028368794326241134</c:v>
                </c:pt>
                <c:pt idx="26">
                  <c:v>0.03759398496240601</c:v>
                </c:pt>
                <c:pt idx="27">
                  <c:v>0.040983606557377046</c:v>
                </c:pt>
                <c:pt idx="28">
                  <c:v>0.02608695652173913</c:v>
                </c:pt>
                <c:pt idx="29">
                  <c:v>0.014184397163120567</c:v>
                </c:pt>
                <c:pt idx="30">
                  <c:v>0.009708737864077669</c:v>
                </c:pt>
                <c:pt idx="31">
                  <c:v>0.036585365853658534</c:v>
                </c:pt>
                <c:pt idx="32">
                  <c:v>0.00847457627118644</c:v>
                </c:pt>
                <c:pt idx="33">
                  <c:v>0.027586206896551724</c:v>
                </c:pt>
                <c:pt idx="34">
                  <c:v>0.032432432432432434</c:v>
                </c:pt>
                <c:pt idx="35">
                  <c:v>0.02654867256637168</c:v>
                </c:pt>
                <c:pt idx="36">
                  <c:v>0.010101010101010102</c:v>
                </c:pt>
                <c:pt idx="37">
                  <c:v>0.008695652173913044</c:v>
                </c:pt>
                <c:pt idx="38">
                  <c:v>0.005714285714285714</c:v>
                </c:pt>
                <c:pt idx="39">
                  <c:v>0.0038022813688212928</c:v>
                </c:pt>
                <c:pt idx="40">
                  <c:v>0.007142857142857143</c:v>
                </c:pt>
                <c:pt idx="41">
                  <c:v>0.010126582278481013</c:v>
                </c:pt>
                <c:pt idx="42">
                  <c:v>0.011023622047244094</c:v>
                </c:pt>
                <c:pt idx="43">
                  <c:v>0.009929078014184398</c:v>
                </c:pt>
                <c:pt idx="44">
                  <c:v>0.012145748987854251</c:v>
                </c:pt>
                <c:pt idx="45">
                  <c:v>0.012195121951219513</c:v>
                </c:pt>
                <c:pt idx="46">
                  <c:v>0.011406844106463879</c:v>
                </c:pt>
                <c:pt idx="47">
                  <c:v>0.01744186046511628</c:v>
                </c:pt>
                <c:pt idx="48">
                  <c:v>0.0125</c:v>
                </c:pt>
                <c:pt idx="49">
                  <c:v>0.017391304347826087</c:v>
                </c:pt>
                <c:pt idx="50">
                  <c:v>0.015105740181268883</c:v>
                </c:pt>
                <c:pt idx="51">
                  <c:v>0.014285714285714285</c:v>
                </c:pt>
                <c:pt idx="52">
                  <c:v>0.014577259475218658</c:v>
                </c:pt>
                <c:pt idx="53">
                  <c:v>0.01059322033898305</c:v>
                </c:pt>
                <c:pt idx="54">
                  <c:v>0.01486988847583643</c:v>
                </c:pt>
                <c:pt idx="55">
                  <c:v>0.012389380530973451</c:v>
                </c:pt>
                <c:pt idx="56">
                  <c:v>0.01951219512195122</c:v>
                </c:pt>
                <c:pt idx="57">
                  <c:v>0.015037593984962405</c:v>
                </c:pt>
                <c:pt idx="58">
                  <c:v>0.016643550624133148</c:v>
                </c:pt>
                <c:pt idx="59">
                  <c:v>0.016339869281045753</c:v>
                </c:pt>
                <c:pt idx="60">
                  <c:v>0.009433962264150943</c:v>
                </c:pt>
                <c:pt idx="61">
                  <c:v>0.007263922518159807</c:v>
                </c:pt>
                <c:pt idx="62">
                  <c:v>0.01</c:v>
                </c:pt>
                <c:pt idx="63">
                  <c:v>0.006802721088435374</c:v>
                </c:pt>
                <c:pt idx="64">
                  <c:v>0.007220216606498195</c:v>
                </c:pt>
                <c:pt idx="65">
                  <c:v>0.008620689655172414</c:v>
                </c:pt>
                <c:pt idx="66">
                  <c:v>0.004201680672268907</c:v>
                </c:pt>
                <c:pt idx="67">
                  <c:v>0.005154639175257732</c:v>
                </c:pt>
                <c:pt idx="68">
                  <c:v>0.006535947712418301</c:v>
                </c:pt>
                <c:pt idx="69">
                  <c:v>0.016260162601626018</c:v>
                </c:pt>
                <c:pt idx="70">
                  <c:v>0.014598540145985401</c:v>
                </c:pt>
                <c:pt idx="71">
                  <c:v>0.006802721088435374</c:v>
                </c:pt>
                <c:pt idx="72">
                  <c:v>0.005555555555555556</c:v>
                </c:pt>
                <c:pt idx="73">
                  <c:v>0.005405405405405406</c:v>
                </c:pt>
                <c:pt idx="74">
                  <c:v>0.0033222591362126247</c:v>
                </c:pt>
                <c:pt idx="75">
                  <c:v>0.004098360655737705</c:v>
                </c:pt>
                <c:pt idx="76">
                  <c:v>0.0031847133757961785</c:v>
                </c:pt>
                <c:pt idx="77">
                  <c:v>0.0035335689045936395</c:v>
                </c:pt>
                <c:pt idx="78">
                  <c:v>0.0029239766081871343</c:v>
                </c:pt>
                <c:pt idx="79">
                  <c:v>0.0031847133757961785</c:v>
                </c:pt>
              </c:numCache>
            </c:numRef>
          </c:yVal>
          <c:smooth val="0"/>
          <c:extLst>
            <c:ext xmlns:c16="http://schemas.microsoft.com/office/drawing/2014/chart" uri="{C3380CC4-5D6E-409C-BE32-E72D297353CC}">
              <c16:uniqueId val="{00000000-F32D-48B7-BC20-E66FC6253BAD}"/>
            </c:ext>
          </c:extLst>
        </c:ser>
        <c:ser>
          <c:idx val="1"/>
          <c:order val="1"/>
          <c:tx>
            <c:strRef>
              <c:f>Sheet1!$B$8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4:$A$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623.0</c:v>
                </c:pt>
                <c:pt idx="20">
                  <c:v>601.6667</c:v>
                </c:pt>
                <c:pt idx="21">
                  <c:v>658.3333</c:v>
                </c:pt>
                <c:pt idx="22">
                  <c:v>505.8333</c:v>
                </c:pt>
                <c:pt idx="23">
                  <c:v>459.25</c:v>
                </c:pt>
                <c:pt idx="24">
                  <c:v>587.2</c:v>
                </c:pt>
                <c:pt idx="25">
                  <c:v>573.3333</c:v>
                </c:pt>
                <c:pt idx="26">
                  <c:v>501.75</c:v>
                </c:pt>
                <c:pt idx="27">
                  <c:v>575.2</c:v>
                </c:pt>
                <c:pt idx="28">
                  <c:v>585.4</c:v>
                </c:pt>
                <c:pt idx="29">
                  <c:v>556.25</c:v>
                </c:pt>
                <c:pt idx="30">
                  <c:v>482.0</c:v>
                </c:pt>
                <c:pt idx="31">
                  <c:v>399.0</c:v>
                </c:pt>
                <c:pt idx="32">
                  <c:v>531.3333</c:v>
                </c:pt>
                <c:pt idx="33">
                  <c:v>539.5</c:v>
                </c:pt>
                <c:pt idx="34">
                  <c:v>762.0</c:v>
                </c:pt>
                <c:pt idx="35">
                  <c:v>0.0</c:v>
                </c:pt>
                <c:pt idx="36">
                  <c:v>0.0</c:v>
                </c:pt>
                <c:pt idx="37">
                  <c:v>612.0</c:v>
                </c:pt>
                <c:pt idx="38">
                  <c:v>0.0</c:v>
                </c:pt>
                <c:pt idx="39">
                  <c:v>0.0</c:v>
                </c:pt>
                <c:pt idx="40">
                  <c:v>0.0</c:v>
                </c:pt>
                <c:pt idx="41">
                  <c:v>455.0</c:v>
                </c:pt>
                <c:pt idx="42">
                  <c:v>455.0</c:v>
                </c:pt>
                <c:pt idx="43">
                  <c:v>0.0</c:v>
                </c:pt>
                <c:pt idx="44">
                  <c:v>0.0</c:v>
                </c:pt>
                <c:pt idx="45">
                  <c:v>0.0</c:v>
                </c:pt>
                <c:pt idx="46">
                  <c:v>0.0</c:v>
                </c:pt>
                <c:pt idx="47">
                  <c:v>0.0</c:v>
                </c:pt>
                <c:pt idx="48">
                  <c:v>323.0</c:v>
                </c:pt>
                <c:pt idx="49">
                  <c:v>385.5</c:v>
                </c:pt>
                <c:pt idx="50">
                  <c:v>360.0</c:v>
                </c:pt>
                <c:pt idx="51">
                  <c:v>0.0</c:v>
                </c:pt>
                <c:pt idx="52">
                  <c:v>282.0</c:v>
                </c:pt>
                <c:pt idx="53">
                  <c:v>417.0</c:v>
                </c:pt>
                <c:pt idx="54">
                  <c:v>333.6667</c:v>
                </c:pt>
                <c:pt idx="55">
                  <c:v>204.5</c:v>
                </c:pt>
              </c:numCache>
            </c:numRef>
          </c:xVal>
          <c:yVal>
            <c:numRef>
              <c:f>Sheet1!$B$84:$B$139</c:f>
              <c:numCache>
                <c:formatCode>General</c:formatCode>
                <c:ptCount val="5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06309148264984227</c:v>
                </c:pt>
                <c:pt idx="20">
                  <c:v>0.011111111111111112</c:v>
                </c:pt>
                <c:pt idx="21">
                  <c:v>0.008982035928143712</c:v>
                </c:pt>
                <c:pt idx="22">
                  <c:v>0.01729106628242075</c:v>
                </c:pt>
                <c:pt idx="23">
                  <c:v>0.019656019656019656</c:v>
                </c:pt>
                <c:pt idx="24">
                  <c:v>0.013927576601671309</c:v>
                </c:pt>
                <c:pt idx="25">
                  <c:v>0.014457831325301205</c:v>
                </c:pt>
                <c:pt idx="26">
                  <c:v>0.009345794392523364</c:v>
                </c:pt>
                <c:pt idx="27">
                  <c:v>0.010351966873706004</c:v>
                </c:pt>
                <c:pt idx="28">
                  <c:v>0.009363295880149813</c:v>
                </c:pt>
                <c:pt idx="29">
                  <c:v>0.007766990291262136</c:v>
                </c:pt>
                <c:pt idx="30">
                  <c:v>0.006299212598425197</c:v>
                </c:pt>
                <c:pt idx="31">
                  <c:v>0.0035714285714285713</c:v>
                </c:pt>
                <c:pt idx="32">
                  <c:v>0.006198347107438017</c:v>
                </c:pt>
                <c:pt idx="33">
                  <c:v>0.005037783375314861</c:v>
                </c:pt>
                <c:pt idx="34">
                  <c:v>0.002890173410404624</c:v>
                </c:pt>
                <c:pt idx="35">
                  <c:v>0.0</c:v>
                </c:pt>
                <c:pt idx="36">
                  <c:v>0.0</c:v>
                </c:pt>
                <c:pt idx="37">
                  <c:v>0.007905138339920948</c:v>
                </c:pt>
                <c:pt idx="38">
                  <c:v>0.0</c:v>
                </c:pt>
                <c:pt idx="39">
                  <c:v>0.0</c:v>
                </c:pt>
                <c:pt idx="40">
                  <c:v>0.0</c:v>
                </c:pt>
                <c:pt idx="41">
                  <c:v>0.006896551724137931</c:v>
                </c:pt>
                <c:pt idx="42">
                  <c:v>0.006666666666666667</c:v>
                </c:pt>
                <c:pt idx="43">
                  <c:v>0.0</c:v>
                </c:pt>
                <c:pt idx="44">
                  <c:v>0.0</c:v>
                </c:pt>
                <c:pt idx="45">
                  <c:v>0.0</c:v>
                </c:pt>
                <c:pt idx="46">
                  <c:v>0.0</c:v>
                </c:pt>
                <c:pt idx="47">
                  <c:v>0.0</c:v>
                </c:pt>
                <c:pt idx="48">
                  <c:v>0.0196078431372549</c:v>
                </c:pt>
                <c:pt idx="49">
                  <c:v>0.012121212121212121</c:v>
                </c:pt>
                <c:pt idx="50">
                  <c:v>0.012578616352201259</c:v>
                </c:pt>
                <c:pt idx="51">
                  <c:v>0.0</c:v>
                </c:pt>
                <c:pt idx="52">
                  <c:v>0.011811023622047244</c:v>
                </c:pt>
                <c:pt idx="53">
                  <c:v>0.0035211267605633804</c:v>
                </c:pt>
                <c:pt idx="54">
                  <c:v>0.0029211295034079843</c:v>
                </c:pt>
                <c:pt idx="55">
                  <c:v>0.011869436201780416</c:v>
                </c:pt>
              </c:numCache>
            </c:numRef>
          </c:yVal>
          <c:smooth val="0"/>
          <c:extLst>
            <c:ext xmlns:c16="http://schemas.microsoft.com/office/drawing/2014/chart" uri="{C3380CC4-5D6E-409C-BE32-E72D297353CC}">
              <c16:uniqueId val="{00000002-F32D-48B7-BC20-E66FC6253BAD}"/>
            </c:ext>
          </c:extLst>
        </c:ser>
        <c:ser>
          <c:idx val="2"/>
          <c:order val="2"/>
          <c:tx>
            <c:strRef>
              <c:f>Sheet1!$B$141</c:f>
              <c:strCache>
                <c:ptCount val="1"/>
                <c:pt idx="0">
                  <c:v>Custom Linep3yQ</c:v>
                </c:pt>
              </c:strCache>
            </c:strRef>
          </c:tx>
          <c:spPr>
            <a:ln w="19050" cap="rnd">
              <a:solidFill>
                <a:srgbClr val="C00000"/>
              </a:solidFill>
              <a:prstDash val="sysDot"/>
              <a:round/>
            </a:ln>
            <a:effectLst/>
          </c:spPr>
          <c:marker>
            <c:symbol val="none"/>
          </c:marker>
          <c:xVal>
            <c:numRef>
              <c:f>Sheet1!$A$142:$A$143</c:f>
              <c:numCache>
                <c:formatCode>General</c:formatCode>
                <c:ptCount val="2"/>
                <c:pt idx="0">
                  <c:v>0</c:v>
                </c:pt>
                <c:pt idx="1">
                  <c:v>1540.466338042767</c:v>
                </c:pt>
              </c:numCache>
            </c:numRef>
          </c:xVal>
          <c:yVal>
            <c:numRef>
              <c:f>Sheet1!$B$142:$B$143</c:f>
              <c:numCache>
                <c:formatCode>General</c:formatCode>
                <c:ptCount val="2"/>
                <c:pt idx="0">
                  <c:v>0.026012860756057705</c:v>
                </c:pt>
                <c:pt idx="1">
                  <c:v>0.026012860756057705</c:v>
                </c:pt>
              </c:numCache>
            </c:numRef>
          </c:yVal>
          <c:smooth val="0"/>
          <c:extLst>
            <c:ext xmlns:c16="http://schemas.microsoft.com/office/drawing/2014/chart" uri="{C3380CC4-5D6E-409C-BE32-E72D297353CC}">
              <c16:uniqueId val="{00000003-F32D-48B7-BC20-E66FC6253BAD}"/>
            </c:ext>
          </c:extLst>
        </c:ser>
        <c:ser>
          <c:idx val="3"/>
          <c:order val="3"/>
          <c:tx>
            <c:strRef>
              <c:f>Sheet1!$B$14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6:$A$147</c:f>
              <c:numCache>
                <c:formatCode>General</c:formatCode>
                <c:ptCount val="2"/>
                <c:pt idx="0">
                  <c:v>1540.466338042767</c:v>
                </c:pt>
                <c:pt idx="1">
                  <c:v>1540.466338042767</c:v>
                </c:pt>
              </c:numCache>
            </c:numRef>
          </c:xVal>
          <c:yVal>
            <c:numRef>
              <c:f>Sheet1!$B$146:$B$147</c:f>
              <c:numCache>
                <c:formatCode>General</c:formatCode>
                <c:ptCount val="2"/>
                <c:pt idx="0">
                  <c:v>0.026012860756057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0:$A$151</c:f>
              <c:numCache>
                <c:formatCode>General</c:formatCode>
                <c:ptCount val="2"/>
                <c:pt idx="0">
                  <c:v>0</c:v>
                </c:pt>
                <c:pt idx="1">
                  <c:v>711.2773258658691</c:v>
                </c:pt>
              </c:numCache>
            </c:numRef>
          </c:xVal>
          <c:yVal>
            <c:numRef>
              <c:f>Sheet1!$B$150:$B$151</c:f>
              <c:numCache>
                <c:formatCode>General</c:formatCode>
                <c:ptCount val="2"/>
                <c:pt idx="0">
                  <c:v>0.012381394492875704</c:v>
                </c:pt>
                <c:pt idx="1">
                  <c:v>0.012381394492875704</c:v>
                </c:pt>
              </c:numCache>
            </c:numRef>
          </c:yVal>
          <c:smooth val="0"/>
          <c:extLst>
            <c:ext xmlns:c16="http://schemas.microsoft.com/office/drawing/2014/chart" uri="{C3380CC4-5D6E-409C-BE32-E72D297353CC}">
              <c16:uniqueId val="{0000000A-F32D-48B7-BC20-E66FC6253BAD}"/>
            </c:ext>
          </c:extLst>
        </c:ser>
        <c:ser>
          <c:idx val="5"/>
          <c:order val="5"/>
          <c:tx>
            <c:strRef>
              <c:f>Sheet1!$B$15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4:$A$155</c:f>
              <c:numCache>
                <c:formatCode>General</c:formatCode>
                <c:ptCount val="2"/>
                <c:pt idx="0">
                  <c:v>711.2773258658691</c:v>
                </c:pt>
                <c:pt idx="1">
                  <c:v>711.2773258658691</c:v>
                </c:pt>
              </c:numCache>
            </c:numRef>
          </c:xVal>
          <c:yVal>
            <c:numRef>
              <c:f>Sheet1!$B$154:$B$155</c:f>
              <c:numCache>
                <c:formatCode>General</c:formatCode>
                <c:ptCount val="2"/>
                <c:pt idx="0">
                  <c:v>0.0123813944928757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8:$A$159</c:f>
              <c:numCache>
                <c:formatCode>General</c:formatCode>
                <c:ptCount val="2"/>
                <c:pt idx="0">
                  <c:v>0</c:v>
                </c:pt>
                <c:pt idx="1">
                  <c:v>410.88188602852125</c:v>
                </c:pt>
              </c:numCache>
            </c:numRef>
          </c:xVal>
          <c:yVal>
            <c:numRef>
              <c:f>Sheet1!$B$158:$B$159</c:f>
              <c:numCache>
                <c:formatCode>General</c:formatCode>
                <c:ptCount val="2"/>
                <c:pt idx="0">
                  <c:v>0.00744303876984673</c:v>
                </c:pt>
                <c:pt idx="1">
                  <c:v>0.00744303876984673</c:v>
                </c:pt>
              </c:numCache>
            </c:numRef>
          </c:yVal>
          <c:smooth val="0"/>
          <c:extLst>
            <c:ext xmlns:c16="http://schemas.microsoft.com/office/drawing/2014/chart" uri="{C3380CC4-5D6E-409C-BE32-E72D297353CC}">
              <c16:uniqueId val="{00000011-F32D-48B7-BC20-E66FC6253BAD}"/>
            </c:ext>
          </c:extLst>
        </c:ser>
        <c:ser>
          <c:idx val="7"/>
          <c:order val="7"/>
          <c:tx>
            <c:strRef>
              <c:f>Sheet1!$B$16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2:$A$163</c:f>
              <c:numCache>
                <c:formatCode>General</c:formatCode>
                <c:ptCount val="2"/>
                <c:pt idx="0">
                  <c:v>410.88188602852125</c:v>
                </c:pt>
                <c:pt idx="1">
                  <c:v>410.88188602852125</c:v>
                </c:pt>
              </c:numCache>
            </c:numRef>
          </c:xVal>
          <c:yVal>
            <c:numRef>
              <c:f>Sheet1!$B$162:$B$163</c:f>
              <c:numCache>
                <c:formatCode>General</c:formatCode>
                <c:ptCount val="2"/>
                <c:pt idx="0">
                  <c:v>0.007443038769846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6:$A$224</c:f>
              <c:numCache>
                <c:formatCode>General</c:formatCode>
                <c:ptCount val="5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623.0</c:v>
                </c:pt>
                <c:pt idx="20">
                  <c:v>601.6667</c:v>
                </c:pt>
                <c:pt idx="21">
                  <c:v>658.3333</c:v>
                </c:pt>
                <c:pt idx="22">
                  <c:v>505.8333</c:v>
                </c:pt>
                <c:pt idx="23">
                  <c:v>459.25</c:v>
                </c:pt>
                <c:pt idx="24">
                  <c:v>587.2</c:v>
                </c:pt>
                <c:pt idx="25">
                  <c:v>573.3333</c:v>
                </c:pt>
                <c:pt idx="26">
                  <c:v>501.75</c:v>
                </c:pt>
                <c:pt idx="27">
                  <c:v>575.2</c:v>
                </c:pt>
                <c:pt idx="28">
                  <c:v>585.4</c:v>
                </c:pt>
                <c:pt idx="29">
                  <c:v>556.25</c:v>
                </c:pt>
                <c:pt idx="30">
                  <c:v>482.0</c:v>
                </c:pt>
                <c:pt idx="31">
                  <c:v>399.0</c:v>
                </c:pt>
                <c:pt idx="32">
                  <c:v>531.3333</c:v>
                </c:pt>
                <c:pt idx="33">
                  <c:v>539.5</c:v>
                </c:pt>
                <c:pt idx="34">
                  <c:v>762.0</c:v>
                </c:pt>
                <c:pt idx="35">
                  <c:v>0.0</c:v>
                </c:pt>
                <c:pt idx="36">
                  <c:v>0.0</c:v>
                </c:pt>
                <c:pt idx="37">
                  <c:v>612.0</c:v>
                </c:pt>
                <c:pt idx="38">
                  <c:v>0.0</c:v>
                </c:pt>
                <c:pt idx="39">
                  <c:v>0.0</c:v>
                </c:pt>
                <c:pt idx="40">
                  <c:v>0.0</c:v>
                </c:pt>
                <c:pt idx="41">
                  <c:v>455.0</c:v>
                </c:pt>
                <c:pt idx="42">
                  <c:v>455.0</c:v>
                </c:pt>
                <c:pt idx="43">
                  <c:v>0.0</c:v>
                </c:pt>
                <c:pt idx="44">
                  <c:v>0.0</c:v>
                </c:pt>
                <c:pt idx="45">
                  <c:v>0.0</c:v>
                </c:pt>
                <c:pt idx="46">
                  <c:v>0.0</c:v>
                </c:pt>
                <c:pt idx="47">
                  <c:v>0.0</c:v>
                </c:pt>
                <c:pt idx="48">
                  <c:v>323.0</c:v>
                </c:pt>
                <c:pt idx="49">
                  <c:v>385.5</c:v>
                </c:pt>
                <c:pt idx="50">
                  <c:v>360.0</c:v>
                </c:pt>
                <c:pt idx="51">
                  <c:v>0.0</c:v>
                </c:pt>
                <c:pt idx="52">
                  <c:v>282.0</c:v>
                </c:pt>
                <c:pt idx="53">
                  <c:v>417.0</c:v>
                </c:pt>
                <c:pt idx="54">
                  <c:v>333.6667</c:v>
                </c:pt>
                <c:pt idx="55">
                  <c:v>204.5</c:v>
                </c:pt>
                <c:pt idx="56">
                  <c:v>711.2773258658691</c:v>
                </c:pt>
                <c:pt idx="57">
                  <c:v>1540.466338042767</c:v>
                </c:pt>
                <c:pt idx="58">
                  <c:v>410.88188602852125</c:v>
                </c:pt>
              </c:numCache>
            </c:numRef>
          </c:xVal>
          <c:yVal>
            <c:numRef>
              <c:f>Sheet1!$B$166:$B$224</c:f>
              <c:numCache>
                <c:formatCode>General</c:formatCode>
                <c:ptCount val="59"/>
                <c:pt idx="0">
                  <c:v>0.0006883393161647661</c:v>
                </c:pt>
                <c:pt idx="1">
                  <c:v>0.0006883393161647661</c:v>
                </c:pt>
                <c:pt idx="2">
                  <c:v>0.0006883393161647661</c:v>
                </c:pt>
                <c:pt idx="3">
                  <c:v>0.0006883393161647661</c:v>
                </c:pt>
                <c:pt idx="4">
                  <c:v>0.0006883393161647661</c:v>
                </c:pt>
                <c:pt idx="5">
                  <c:v>0.0006883393161647661</c:v>
                </c:pt>
                <c:pt idx="6">
                  <c:v>0.0006883393161647661</c:v>
                </c:pt>
                <c:pt idx="7">
                  <c:v>0.0006883393161647661</c:v>
                </c:pt>
                <c:pt idx="8">
                  <c:v>0.0006883393161647661</c:v>
                </c:pt>
                <c:pt idx="9">
                  <c:v>0.0006883393161647661</c:v>
                </c:pt>
                <c:pt idx="10">
                  <c:v>0.0006883393161647661</c:v>
                </c:pt>
                <c:pt idx="11">
                  <c:v>0.0006883393161647661</c:v>
                </c:pt>
                <c:pt idx="12">
                  <c:v>0.0006883393161647661</c:v>
                </c:pt>
                <c:pt idx="13">
                  <c:v>0.0006883393161647661</c:v>
                </c:pt>
                <c:pt idx="14">
                  <c:v>0.0006883393161647661</c:v>
                </c:pt>
                <c:pt idx="15">
                  <c:v>0.0006883393161647661</c:v>
                </c:pt>
                <c:pt idx="16">
                  <c:v>0.0006883393161647661</c:v>
                </c:pt>
                <c:pt idx="17">
                  <c:v>0.0006883393161647661</c:v>
                </c:pt>
                <c:pt idx="18">
                  <c:v>0.0006883393161647661</c:v>
                </c:pt>
                <c:pt idx="19">
                  <c:v>0.010930157957329574</c:v>
                </c:pt>
                <c:pt idx="20">
                  <c:v>0.010579448824717117</c:v>
                </c:pt>
                <c:pt idx="21">
                  <c:v>0.011511020317833376</c:v>
                </c:pt>
                <c:pt idx="22">
                  <c:v>0.009003994085445522</c:v>
                </c:pt>
                <c:pt idx="23">
                  <c:v>0.008238187166814749</c:v>
                </c:pt>
                <c:pt idx="24">
                  <c:v>0.010341623274578854</c:v>
                </c:pt>
                <c:pt idx="25">
                  <c:v>0.010113661434207359</c:v>
                </c:pt>
                <c:pt idx="26">
                  <c:v>0.008936866608627756</c:v>
                </c:pt>
                <c:pt idx="27">
                  <c:v>0.010144349079243416</c:v>
                </c:pt>
                <c:pt idx="28">
                  <c:v>0.010312032145278536</c:v>
                </c:pt>
                <c:pt idx="29">
                  <c:v>0.009832820245776202</c:v>
                </c:pt>
                <c:pt idx="30">
                  <c:v>0.008612186162138182</c:v>
                </c:pt>
                <c:pt idx="31">
                  <c:v>0.00724770631106807</c:v>
                </c:pt>
                <c:pt idx="32">
                  <c:v>0.009423201750533327</c:v>
                </c:pt>
                <c:pt idx="33">
                  <c:v>0.009557458348120487</c:v>
                </c:pt>
                <c:pt idx="34">
                  <c:v>0.013215250719965063</c:v>
                </c:pt>
                <c:pt idx="35">
                  <c:v>0.0006883393161647661</c:v>
                </c:pt>
                <c:pt idx="36">
                  <c:v>0.0006883393161647661</c:v>
                </c:pt>
                <c:pt idx="37">
                  <c:v>0.010749323278272091</c:v>
                </c:pt>
                <c:pt idx="38">
                  <c:v>0.0006883393161647661</c:v>
                </c:pt>
                <c:pt idx="39">
                  <c:v>0.0006883393161647661</c:v>
                </c:pt>
                <c:pt idx="40">
                  <c:v>0.0006883393161647661</c:v>
                </c:pt>
                <c:pt idx="41">
                  <c:v>0.008168319222633447</c:v>
                </c:pt>
                <c:pt idx="42">
                  <c:v>0.008168319222633447</c:v>
                </c:pt>
                <c:pt idx="43">
                  <c:v>0.0006883393161647661</c:v>
                </c:pt>
                <c:pt idx="44">
                  <c:v>0.0006883393161647661</c:v>
                </c:pt>
                <c:pt idx="45">
                  <c:v>0.0006883393161647661</c:v>
                </c:pt>
                <c:pt idx="46">
                  <c:v>0.0006883393161647661</c:v>
                </c:pt>
                <c:pt idx="47">
                  <c:v>0.0006883393161647661</c:v>
                </c:pt>
                <c:pt idx="48">
                  <c:v>0.005998303073943632</c:v>
                </c:pt>
                <c:pt idx="49">
                  <c:v>0.007025772841315703</c:v>
                </c:pt>
                <c:pt idx="50">
                  <c:v>0.006606565176227898</c:v>
                </c:pt>
                <c:pt idx="51">
                  <c:v>0.0006883393161647661</c:v>
                </c:pt>
                <c:pt idx="52">
                  <c:v>0.005324282906547553</c:v>
                </c:pt>
                <c:pt idx="53">
                  <c:v>0.007543617604071227</c:v>
                </c:pt>
                <c:pt idx="54">
                  <c:v>0.006173658462225674</c:v>
                </c:pt>
                <c:pt idx="55">
                  <c:v>0.004050220395006184</c:v>
                </c:pt>
                <c:pt idx="56">
                  <c:v>0.012381394492875704</c:v>
                </c:pt>
                <c:pt idx="57">
                  <c:v>0.026012860756057705</c:v>
                </c:pt>
                <c:pt idx="58">
                  <c:v>0.007443038769846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9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91803278688524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8379774121079</c:v>
                </c:pt>
                <c:pt idx="1">
                  <c:v>0.6548055693537267</c:v>
                </c:pt>
                <c:pt idx="2">
                  <c:v>0.6594759646483648</c:v>
                </c:pt>
                <c:pt idx="3">
                  <c:v>0.6426657713618835</c:v>
                </c:pt>
                <c:pt idx="4">
                  <c:v>0.6463629178594534</c:v>
                </c:pt>
                <c:pt idx="5">
                  <c:v>0.6669782543152077</c:v>
                </c:pt>
                <c:pt idx="6">
                  <c:v>0.6384056223019899</c:v>
                </c:pt>
                <c:pt idx="7">
                  <c:v>0.6273662878238815</c:v>
                </c:pt>
                <c:pt idx="8">
                  <c:v>0.6535576269256651</c:v>
                </c:pt>
                <c:pt idx="9">
                  <c:v>0.6835805415643581</c:v>
                </c:pt>
                <c:pt idx="10">
                  <c:v>0.7002653301112384</c:v>
                </c:pt>
                <c:pt idx="11">
                  <c:v>0.7253519797349783</c:v>
                </c:pt>
                <c:pt idx="12">
                  <c:v>0.752527912717474</c:v>
                </c:pt>
                <c:pt idx="13">
                  <c:v>0.7253737488650387</c:v>
                </c:pt>
                <c:pt idx="14">
                  <c:v>0.7188177920167618</c:v>
                </c:pt>
                <c:pt idx="15">
                  <c:v>0.7406350230435969</c:v>
                </c:pt>
                <c:pt idx="16">
                  <c:v>0.7153405212960593</c:v>
                </c:pt>
                <c:pt idx="17">
                  <c:v>0.7282063320511182</c:v>
                </c:pt>
                <c:pt idx="18">
                  <c:v>0.7611980842024444</c:v>
                </c:pt>
                <c:pt idx="19">
                  <c:v>0.765625915308042</c:v>
                </c:pt>
                <c:pt idx="20">
                  <c:v>0.7898417594052455</c:v>
                </c:pt>
                <c:pt idx="21">
                  <c:v>0.6584900575146356</c:v>
                </c:pt>
                <c:pt idx="22">
                  <c:v>0.6185547746186789</c:v>
                </c:pt>
                <c:pt idx="23">
                  <c:v>0.6141564379424617</c:v>
                </c:pt>
                <c:pt idx="24">
                  <c:v>0.6028005917301844</c:v>
                </c:pt>
                <c:pt idx="25">
                  <c:v>0.5855105973950064</c:v>
                </c:pt>
                <c:pt idx="26">
                  <c:v>0.5849841285738189</c:v>
                </c:pt>
                <c:pt idx="27">
                  <c:v>0.6174175018583405</c:v>
                </c:pt>
                <c:pt idx="28">
                  <c:v>0.5867017841416282</c:v>
                </c:pt>
                <c:pt idx="29">
                  <c:v>0.5262717358322268</c:v>
                </c:pt>
                <c:pt idx="30">
                  <c:v>0.5224365550403444</c:v>
                </c:pt>
                <c:pt idx="31">
                  <c:v>0.584537371998834</c:v>
                </c:pt>
                <c:pt idx="32">
                  <c:v>0.5324537248600489</c:v>
                </c:pt>
                <c:pt idx="33">
                  <c:v>0.539356405082158</c:v>
                </c:pt>
                <c:pt idx="34">
                  <c:v>0.6392076327403704</c:v>
                </c:pt>
                <c:pt idx="35">
                  <c:v>0.7273512037294816</c:v>
                </c:pt>
                <c:pt idx="36">
                  <c:v>0.7138684897768126</c:v>
                </c:pt>
                <c:pt idx="37">
                  <c:v>0.6844363457810926</c:v>
                </c:pt>
                <c:pt idx="38">
                  <c:v>0.7455743516105189</c:v>
                </c:pt>
                <c:pt idx="39">
                  <c:v>0.74310553325712</c:v>
                </c:pt>
                <c:pt idx="40">
                  <c:v>0.7496920327436706</c:v>
                </c:pt>
                <c:pt idx="41">
                  <c:v>0.7177641672490298</c:v>
                </c:pt>
                <c:pt idx="42">
                  <c:v>0.7411950031587641</c:v>
                </c:pt>
                <c:pt idx="43">
                  <c:v>0.7610395265138888</c:v>
                </c:pt>
                <c:pt idx="44">
                  <c:v>0.6663862503417346</c:v>
                </c:pt>
                <c:pt idx="45">
                  <c:v>0.6546440199783999</c:v>
                </c:pt>
                <c:pt idx="46">
                  <c:v>0.6690801393703993</c:v>
                </c:pt>
                <c:pt idx="47">
                  <c:v>0.6633179609177059</c:v>
                </c:pt>
                <c:pt idx="48">
                  <c:v>0.67512256648678</c:v>
                </c:pt>
                <c:pt idx="49">
                  <c:v>0.6888717726735624</c:v>
                </c:pt>
                <c:pt idx="50">
                  <c:v>0.651057813417263</c:v>
                </c:pt>
                <c:pt idx="51">
                  <c:v>0.6435627981189327</c:v>
                </c:pt>
                <c:pt idx="52">
                  <c:v>0.6846904301832571</c:v>
                </c:pt>
                <c:pt idx="53">
                  <c:v>0.6243340117282751</c:v>
                </c:pt>
                <c:pt idx="54">
                  <c:v>0.6197627099949854</c:v>
                </c:pt>
                <c:pt idx="55">
                  <c:v>0.6406409166465523</c:v>
                </c:pt>
                <c:pt idx="56">
                  <c:v>0.6391477043377095</c:v>
                </c:pt>
                <c:pt idx="57">
                  <c:v>0.6203483606019005</c:v>
                </c:pt>
                <c:pt idx="58">
                  <c:v>0.5964967845296443</c:v>
                </c:pt>
                <c:pt idx="59">
                  <c:v>0.6272468224243805</c:v>
                </c:pt>
                <c:pt idx="60">
                  <c:v>0.624981966382606</c:v>
                </c:pt>
                <c:pt idx="61">
                  <c:v>0.6685123696082966</c:v>
                </c:pt>
                <c:pt idx="62">
                  <c:v>0.6760133292247875</c:v>
                </c:pt>
                <c:pt idx="63">
                  <c:v>0.6952352202609045</c:v>
                </c:pt>
                <c:pt idx="64">
                  <c:v>0.7365265663463961</c:v>
                </c:pt>
                <c:pt idx="65">
                  <c:v>0.733137398916165</c:v>
                </c:pt>
                <c:pt idx="66">
                  <c:v>0.6854914781279103</c:v>
                </c:pt>
                <c:pt idx="67">
                  <c:v>0.6425638822551688</c:v>
                </c:pt>
                <c:pt idx="68">
                  <c:v>0.5965985652142537</c:v>
                </c:pt>
                <c:pt idx="69">
                  <c:v>0.6294186133432591</c:v>
                </c:pt>
                <c:pt idx="70">
                  <c:v>0.5785340133189956</c:v>
                </c:pt>
                <c:pt idx="71">
                  <c:v>0.5451761264368952</c:v>
                </c:pt>
                <c:pt idx="72">
                  <c:v>0.5479494893515953</c:v>
                </c:pt>
                <c:pt idx="73">
                  <c:v>0.5373752032030543</c:v>
                </c:pt>
                <c:pt idx="74">
                  <c:v>0.5615274919480796</c:v>
                </c:pt>
                <c:pt idx="75">
                  <c:v>0.5208664034921269</c:v>
                </c:pt>
                <c:pt idx="76">
                  <c:v>0.5664633455282042</c:v>
                </c:pt>
                <c:pt idx="77">
                  <c:v>0.5260176075186755</c:v>
                </c:pt>
                <c:pt idx="78">
                  <c:v>0.5305060566338317</c:v>
                </c:pt>
                <c:pt idx="79">
                  <c:v>0.3551271043695137</c:v>
                </c:pt>
                <c:pt idx="80">
                  <c:v>0.3210041539065213</c:v>
                </c:pt>
                <c:pt idx="81">
                  <c:v>0.4834377726496117</c:v>
                </c:pt>
                <c:pt idx="82">
                  <c:v>0.49461822533268657</c:v>
                </c:pt>
                <c:pt idx="83">
                  <c:v>0.5015958780365989</c:v>
                </c:pt>
                <c:pt idx="84">
                  <c:v>0.4431940593145418</c:v>
                </c:pt>
                <c:pt idx="85">
                  <c:v>0.5964926044936979</c:v>
                </c:pt>
                <c:pt idx="86">
                  <c:v>0.6125902169624241</c:v>
                </c:pt>
                <c:pt idx="87">
                  <c:v>0.6995428199842256</c:v>
                </c:pt>
                <c:pt idx="88">
                  <c:v>0.6328576368909875</c:v>
                </c:pt>
                <c:pt idx="89">
                  <c:v>0.5902992477386839</c:v>
                </c:pt>
                <c:pt idx="90">
                  <c:v>0.5909239539275711</c:v>
                </c:pt>
                <c:pt idx="91">
                  <c:v>0.6571404336902683</c:v>
                </c:pt>
                <c:pt idx="92">
                  <c:v>0.6758726017599035</c:v>
                </c:pt>
                <c:pt idx="93">
                  <c:v>0.675613552546066</c:v>
                </c:pt>
                <c:pt idx="94">
                  <c:v>0.6537574346875885</c:v>
                </c:pt>
                <c:pt idx="95">
                  <c:v>0.6778267538976233</c:v>
                </c:pt>
                <c:pt idx="96">
                  <c:v>0.6902938012566884</c:v>
                </c:pt>
                <c:pt idx="97">
                  <c:v>0.7584950367527323</c:v>
                </c:pt>
                <c:pt idx="98">
                  <c:v>0.7620246098867925</c:v>
                </c:pt>
                <c:pt idx="99">
                  <c:v>0.7705221310032532</c:v>
                </c:pt>
                <c:pt idx="100">
                  <c:v>0.7599846877922779</c:v>
                </c:pt>
                <c:pt idx="101">
                  <c:v>0.6926143996925235</c:v>
                </c:pt>
                <c:pt idx="102">
                  <c:v>0.710379826156861</c:v>
                </c:pt>
                <c:pt idx="103">
                  <c:v>0.6625250545065328</c:v>
                </c:pt>
                <c:pt idx="104">
                  <c:v>0.6795159420624887</c:v>
                </c:pt>
              </c:numCache>
            </c:numRef>
          </c:xVal>
          <c:yVal>
            <c:numRef>
              <c:f>Sheet1!$B$2:$B$106</c:f>
              <c:numCache>
                <c:formatCode>General</c:formatCode>
                <c:ptCount val="105"/>
                <c:pt idx="0">
                  <c:v>0.18620242214532873</c:v>
                </c:pt>
                <c:pt idx="1">
                  <c:v>0.1890214797136038</c:v>
                </c:pt>
                <c:pt idx="2">
                  <c:v>0.16231755860238833</c:v>
                </c:pt>
                <c:pt idx="3">
                  <c:v>0.16826137689614937</c:v>
                </c:pt>
                <c:pt idx="4">
                  <c:v>0.162472647702407</c:v>
                </c:pt>
                <c:pt idx="5">
                  <c:v>0.14882893566557961</c:v>
                </c:pt>
                <c:pt idx="6">
                  <c:v>0.18030256251929608</c:v>
                </c:pt>
                <c:pt idx="7">
                  <c:v>0.1793103448275862</c:v>
                </c:pt>
                <c:pt idx="8">
                  <c:v>0.1728950923007654</c:v>
                </c:pt>
                <c:pt idx="9">
                  <c:v>0.17502100252030245</c:v>
                </c:pt>
                <c:pt idx="10">
                  <c:v>0.187602403058438</c:v>
                </c:pt>
                <c:pt idx="11">
                  <c:v>0.1816124469589816</c:v>
                </c:pt>
                <c:pt idx="12">
                  <c:v>0.20361769738450256</c:v>
                </c:pt>
                <c:pt idx="13">
                  <c:v>0.21497695852534562</c:v>
                </c:pt>
                <c:pt idx="14">
                  <c:v>0.1998332986038758</c:v>
                </c:pt>
                <c:pt idx="15">
                  <c:v>0.199435318275154</c:v>
                </c:pt>
                <c:pt idx="16">
                  <c:v>0.19881950916433674</c:v>
                </c:pt>
                <c:pt idx="17">
                  <c:v>0.16977985323549033</c:v>
                </c:pt>
                <c:pt idx="18">
                  <c:v>0.14209115281501342</c:v>
                </c:pt>
                <c:pt idx="19">
                  <c:v>0.13291445142580957</c:v>
                </c:pt>
                <c:pt idx="20">
                  <c:v>0.1506002182611859</c:v>
                </c:pt>
                <c:pt idx="21">
                  <c:v>0.15075921908893708</c:v>
                </c:pt>
                <c:pt idx="22">
                  <c:v>0.1484819734345351</c:v>
                </c:pt>
                <c:pt idx="23">
                  <c:v>0.16783872480075013</c:v>
                </c:pt>
                <c:pt idx="24">
                  <c:v>0.1594628619387327</c:v>
                </c:pt>
                <c:pt idx="25">
                  <c:v>0.16109725685785536</c:v>
                </c:pt>
                <c:pt idx="26">
                  <c:v>0.18596171376481313</c:v>
                </c:pt>
                <c:pt idx="27">
                  <c:v>0.1718185467683661</c:v>
                </c:pt>
                <c:pt idx="28">
                  <c:v>0.17509247842170161</c:v>
                </c:pt>
                <c:pt idx="29">
                  <c:v>0.21141975308641975</c:v>
                </c:pt>
                <c:pt idx="30">
                  <c:v>0.18292682926829268</c:v>
                </c:pt>
                <c:pt idx="31">
                  <c:v>0.1837837837837838</c:v>
                </c:pt>
                <c:pt idx="32">
                  <c:v>0.19543973941368079</c:v>
                </c:pt>
                <c:pt idx="33">
                  <c:v>0.21220846530377196</c:v>
                </c:pt>
                <c:pt idx="34">
                  <c:v>0.20370779077466342</c:v>
                </c:pt>
                <c:pt idx="35">
                  <c:v>0.1883278940295642</c:v>
                </c:pt>
                <c:pt idx="36">
                  <c:v>0.1565116950620849</c:v>
                </c:pt>
                <c:pt idx="37">
                  <c:v>0.13574826198316867</c:v>
                </c:pt>
                <c:pt idx="38">
                  <c:v>0.13865076407007082</c:v>
                </c:pt>
                <c:pt idx="39">
                  <c:v>0.14408041697691734</c:v>
                </c:pt>
                <c:pt idx="40">
                  <c:v>0.14119278779472955</c:v>
                </c:pt>
                <c:pt idx="41">
                  <c:v>0.11777076761303891</c:v>
                </c:pt>
                <c:pt idx="42">
                  <c:v>0.12353823088455772</c:v>
                </c:pt>
                <c:pt idx="43">
                  <c:v>0.13986577181208054</c:v>
                </c:pt>
                <c:pt idx="44">
                  <c:v>0.17872268338133152</c:v>
                </c:pt>
                <c:pt idx="45">
                  <c:v>0.21164274322169058</c:v>
                </c:pt>
                <c:pt idx="46">
                  <c:v>0.21471774193548387</c:v>
                </c:pt>
                <c:pt idx="47">
                  <c:v>0.21328448550493787</c:v>
                </c:pt>
                <c:pt idx="48">
                  <c:v>0.23169267707082833</c:v>
                </c:pt>
                <c:pt idx="49">
                  <c:v>0.26036719359183386</c:v>
                </c:pt>
                <c:pt idx="50">
                  <c:v>0.21752937440457287</c:v>
                </c:pt>
                <c:pt idx="51">
                  <c:v>0.18434343434343434</c:v>
                </c:pt>
                <c:pt idx="52">
                  <c:v>0.2164369576314446</c:v>
                </c:pt>
                <c:pt idx="53">
                  <c:v>0.20008853474988933</c:v>
                </c:pt>
                <c:pt idx="54">
                  <c:v>0.18109833971902936</c:v>
                </c:pt>
                <c:pt idx="55">
                  <c:v>0.15755968169761272</c:v>
                </c:pt>
                <c:pt idx="56">
                  <c:v>0.16745005875440658</c:v>
                </c:pt>
                <c:pt idx="57">
                  <c:v>0.168932527693857</c:v>
                </c:pt>
                <c:pt idx="58">
                  <c:v>0.1865934065934066</c:v>
                </c:pt>
                <c:pt idx="59">
                  <c:v>0.19930424699231772</c:v>
                </c:pt>
                <c:pt idx="60">
                  <c:v>0.20135335864003961</c:v>
                </c:pt>
                <c:pt idx="61">
                  <c:v>0.19685990338164253</c:v>
                </c:pt>
                <c:pt idx="62">
                  <c:v>0.202009405728944</c:v>
                </c:pt>
                <c:pt idx="63">
                  <c:v>0.2198868229587712</c:v>
                </c:pt>
                <c:pt idx="64">
                  <c:v>0.21553610503282275</c:v>
                </c:pt>
                <c:pt idx="65">
                  <c:v>0.19680030840400925</c:v>
                </c:pt>
                <c:pt idx="66">
                  <c:v>0.2131578947368421</c:v>
                </c:pt>
                <c:pt idx="67">
                  <c:v>0.22634927149599837</c:v>
                </c:pt>
                <c:pt idx="68">
                  <c:v>0.22584789311408016</c:v>
                </c:pt>
                <c:pt idx="69">
                  <c:v>0.19027275714755176</c:v>
                </c:pt>
                <c:pt idx="70">
                  <c:v>0.1749502982107356</c:v>
                </c:pt>
                <c:pt idx="71">
                  <c:v>0.1975403535741737</c:v>
                </c:pt>
                <c:pt idx="72">
                  <c:v>0.1857429718875502</c:v>
                </c:pt>
                <c:pt idx="73">
                  <c:v>0.20366218236173392</c:v>
                </c:pt>
                <c:pt idx="74">
                  <c:v>0.1863230921704658</c:v>
                </c:pt>
                <c:pt idx="75">
                  <c:v>0.20173707066719304</c:v>
                </c:pt>
                <c:pt idx="76">
                  <c:v>0.17472474868358065</c:v>
                </c:pt>
                <c:pt idx="77">
                  <c:v>0.20797598627787306</c:v>
                </c:pt>
                <c:pt idx="78">
                  <c:v>0.15401540154015403</c:v>
                </c:pt>
                <c:pt idx="79">
                  <c:v>0.23789553945863515</c:v>
                </c:pt>
                <c:pt idx="80">
                  <c:v>0.25036337209302323</c:v>
                </c:pt>
                <c:pt idx="81">
                  <c:v>0.1673891297099033</c:v>
                </c:pt>
                <c:pt idx="82">
                  <c:v>0.15413533834586465</c:v>
                </c:pt>
                <c:pt idx="83">
                  <c:v>0.1385099685204617</c:v>
                </c:pt>
                <c:pt idx="84">
                  <c:v>0.1657172449508027</c:v>
                </c:pt>
                <c:pt idx="85">
                  <c:v>0.14534106107891218</c:v>
                </c:pt>
                <c:pt idx="86">
                  <c:v>0.15660736975857686</c:v>
                </c:pt>
                <c:pt idx="87">
                  <c:v>0.16613603473227206</c:v>
                </c:pt>
                <c:pt idx="88">
                  <c:v>0.1462012320328542</c:v>
                </c:pt>
                <c:pt idx="89">
                  <c:v>0.14569842738205366</c:v>
                </c:pt>
                <c:pt idx="90">
                  <c:v>0.14119749776586238</c:v>
                </c:pt>
                <c:pt idx="91">
                  <c:v>0.13169257340241797</c:v>
                </c:pt>
                <c:pt idx="92">
                  <c:v>0.14592720970537262</c:v>
                </c:pt>
                <c:pt idx="93">
                  <c:v>0.13576494427558258</c:v>
                </c:pt>
                <c:pt idx="94">
                  <c:v>0.14393939393939395</c:v>
                </c:pt>
                <c:pt idx="95">
                  <c:v>0.1481375358166189</c:v>
                </c:pt>
                <c:pt idx="96">
                  <c:v>0.14672897196261683</c:v>
                </c:pt>
                <c:pt idx="97">
                  <c:v>0.1480234001063641</c:v>
                </c:pt>
                <c:pt idx="98">
                  <c:v>0.17808619430241052</c:v>
                </c:pt>
                <c:pt idx="99">
                  <c:v>0.18037934932797386</c:v>
                </c:pt>
                <c:pt idx="100">
                  <c:v>0.20448351648351648</c:v>
                </c:pt>
                <c:pt idx="101">
                  <c:v>0.18994501178318932</c:v>
                </c:pt>
                <c:pt idx="102">
                  <c:v>0.1512398723299779</c:v>
                </c:pt>
                <c:pt idx="103">
                  <c:v>0.15945279210585334</c:v>
                </c:pt>
                <c:pt idx="104">
                  <c:v>0.162652232746955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46501773385272</c:v>
                </c:pt>
                <c:pt idx="1">
                  <c:v>0.648122106566353</c:v>
                </c:pt>
                <c:pt idx="2">
                  <c:v>0.655075901573602</c:v>
                </c:pt>
                <c:pt idx="3">
                  <c:v>0.6038642063142401</c:v>
                </c:pt>
                <c:pt idx="4">
                  <c:v>0.6295967373944786</c:v>
                </c:pt>
                <c:pt idx="5">
                  <c:v>0.6495287921295488</c:v>
                </c:pt>
                <c:pt idx="6">
                  <c:v>0.6508329115241007</c:v>
                </c:pt>
                <c:pt idx="7">
                  <c:v>0.6615056823917137</c:v>
                </c:pt>
                <c:pt idx="8">
                  <c:v>0.698343890600794</c:v>
                </c:pt>
                <c:pt idx="9">
                  <c:v>0.6754015841066495</c:v>
                </c:pt>
                <c:pt idx="10">
                  <c:v>0.6974306496582307</c:v>
                </c:pt>
                <c:pt idx="11">
                  <c:v>0.6959406756791725</c:v>
                </c:pt>
                <c:pt idx="12">
                  <c:v>0.7089431595974404</c:v>
                </c:pt>
                <c:pt idx="13">
                  <c:v>0.6464250171803736</c:v>
                </c:pt>
                <c:pt idx="14">
                  <c:v>0.647981337007999</c:v>
                </c:pt>
                <c:pt idx="15">
                  <c:v>0.689439243205879</c:v>
                </c:pt>
                <c:pt idx="16">
                  <c:v>0.715563876300564</c:v>
                </c:pt>
                <c:pt idx="17">
                  <c:v>0.6986204547785815</c:v>
                </c:pt>
                <c:pt idx="18">
                  <c:v>0.6640178508651648</c:v>
                </c:pt>
                <c:pt idx="19">
                  <c:v>0.6730235313378345</c:v>
                </c:pt>
                <c:pt idx="20">
                  <c:v>0.6547224828779213</c:v>
                </c:pt>
                <c:pt idx="21">
                  <c:v>0.6187443117387524</c:v>
                </c:pt>
                <c:pt idx="22">
                  <c:v>0.5727162171978932</c:v>
                </c:pt>
                <c:pt idx="23">
                  <c:v>0.6112107467158958</c:v>
                </c:pt>
                <c:pt idx="24">
                  <c:v>0.6371916443604138</c:v>
                </c:pt>
                <c:pt idx="25">
                  <c:v>0.6272008687370728</c:v>
                </c:pt>
                <c:pt idx="26">
                  <c:v>0.6519526933125669</c:v>
                </c:pt>
                <c:pt idx="27">
                  <c:v>0.6900840095339669</c:v>
                </c:pt>
                <c:pt idx="28">
                  <c:v>0.6567943370803313</c:v>
                </c:pt>
                <c:pt idx="29">
                  <c:v>0.6051219461654367</c:v>
                </c:pt>
                <c:pt idx="30">
                  <c:v>0.6283726166879054</c:v>
                </c:pt>
                <c:pt idx="31">
                  <c:v>0.5743296801351576</c:v>
                </c:pt>
                <c:pt idx="32">
                  <c:v>0.6024979618066979</c:v>
                </c:pt>
                <c:pt idx="33">
                  <c:v>0.6474398590034105</c:v>
                </c:pt>
                <c:pt idx="34">
                  <c:v>0.7145008066889056</c:v>
                </c:pt>
                <c:pt idx="35">
                  <c:v>0.6813676621086595</c:v>
                </c:pt>
                <c:pt idx="36">
                  <c:v>0.5893163518194237</c:v>
                </c:pt>
                <c:pt idx="37">
                  <c:v>0.5909574712674769</c:v>
                </c:pt>
                <c:pt idx="38">
                  <c:v>0.5991621080206487</c:v>
                </c:pt>
                <c:pt idx="39">
                  <c:v>0.6749584668702557</c:v>
                </c:pt>
                <c:pt idx="40">
                  <c:v>0.6927878287952963</c:v>
                </c:pt>
                <c:pt idx="41">
                  <c:v>0.7287363746621783</c:v>
                </c:pt>
                <c:pt idx="42">
                  <c:v>0.6765578032875481</c:v>
                </c:pt>
                <c:pt idx="43">
                  <c:v>0.7586881806305426</c:v>
                </c:pt>
                <c:pt idx="44">
                  <c:v>0.7921800246879556</c:v>
                </c:pt>
                <c:pt idx="45">
                  <c:v>0.7787942670396503</c:v>
                </c:pt>
                <c:pt idx="46">
                  <c:v>0.7201557967869717</c:v>
                </c:pt>
                <c:pt idx="47">
                  <c:v>0.7265408291196206</c:v>
                </c:pt>
                <c:pt idx="48">
                  <c:v>0.7917689412239125</c:v>
                </c:pt>
                <c:pt idx="49">
                  <c:v>0.8159688872448022</c:v>
                </c:pt>
                <c:pt idx="50">
                  <c:v>0.7384938727620499</c:v>
                </c:pt>
                <c:pt idx="51">
                  <c:v>0.7126881341246887</c:v>
                </c:pt>
              </c:numCache>
            </c:numRef>
          </c:xVal>
          <c:yVal>
            <c:numRef>
              <c:f>Sheet1!$B$109:$B$160</c:f>
              <c:numCache>
                <c:formatCode>General</c:formatCode>
                <c:ptCount val="52"/>
                <c:pt idx="0">
                  <c:v>0.16836372247217618</c:v>
                </c:pt>
                <c:pt idx="1">
                  <c:v>0.1693934054870375</c:v>
                </c:pt>
                <c:pt idx="2">
                  <c:v>0.17645759717314488</c:v>
                </c:pt>
                <c:pt idx="3">
                  <c:v>0.1920944805977344</c:v>
                </c:pt>
                <c:pt idx="4">
                  <c:v>0.16725352112676056</c:v>
                </c:pt>
                <c:pt idx="5">
                  <c:v>0.1750255885363357</c:v>
                </c:pt>
                <c:pt idx="6">
                  <c:v>0.17391304347826086</c:v>
                </c:pt>
                <c:pt idx="7">
                  <c:v>0.17457578372159907</c:v>
                </c:pt>
                <c:pt idx="8">
                  <c:v>0.15165165165165165</c:v>
                </c:pt>
                <c:pt idx="9">
                  <c:v>0.15550239234449761</c:v>
                </c:pt>
                <c:pt idx="10">
                  <c:v>0.17184</c:v>
                </c:pt>
                <c:pt idx="11">
                  <c:v>0.18748730448913264</c:v>
                </c:pt>
                <c:pt idx="12">
                  <c:v>0.18795406608858684</c:v>
                </c:pt>
                <c:pt idx="13">
                  <c:v>0.19054878048780488</c:v>
                </c:pt>
                <c:pt idx="14">
                  <c:v>0.19881723458180794</c:v>
                </c:pt>
                <c:pt idx="15">
                  <c:v>0.18496192893401014</c:v>
                </c:pt>
                <c:pt idx="16">
                  <c:v>0.17261055634807418</c:v>
                </c:pt>
                <c:pt idx="17">
                  <c:v>0.14637904468412943</c:v>
                </c:pt>
                <c:pt idx="18">
                  <c:v>0.15252665739452945</c:v>
                </c:pt>
                <c:pt idx="19">
                  <c:v>0.1668811668811669</c:v>
                </c:pt>
                <c:pt idx="20">
                  <c:v>0.13712047012732614</c:v>
                </c:pt>
                <c:pt idx="21">
                  <c:v>0.12997746055597295</c:v>
                </c:pt>
                <c:pt idx="22">
                  <c:v>0.13636363636363635</c:v>
                </c:pt>
                <c:pt idx="23">
                  <c:v>0.13382157123834887</c:v>
                </c:pt>
                <c:pt idx="24">
                  <c:v>0.13094571908226077</c:v>
                </c:pt>
                <c:pt idx="25">
                  <c:v>0.14618520675596972</c:v>
                </c:pt>
                <c:pt idx="26">
                  <c:v>0.13408973697782361</c:v>
                </c:pt>
                <c:pt idx="27">
                  <c:v>0.13374125874125875</c:v>
                </c:pt>
                <c:pt idx="28">
                  <c:v>0.15889830508474576</c:v>
                </c:pt>
                <c:pt idx="29">
                  <c:v>0.1512217611802674</c:v>
                </c:pt>
                <c:pt idx="30">
                  <c:v>0.16268166901078293</c:v>
                </c:pt>
                <c:pt idx="31">
                  <c:v>0.17341040462427745</c:v>
                </c:pt>
                <c:pt idx="32">
                  <c:v>0.18431855500821018</c:v>
                </c:pt>
                <c:pt idx="33">
                  <c:v>0.1981981981981982</c:v>
                </c:pt>
                <c:pt idx="34">
                  <c:v>0.22345890410958905</c:v>
                </c:pt>
                <c:pt idx="35">
                  <c:v>0.2172096908939014</c:v>
                </c:pt>
                <c:pt idx="36">
                  <c:v>0.16542553191489362</c:v>
                </c:pt>
                <c:pt idx="37">
                  <c:v>0.152327221438646</c:v>
                </c:pt>
                <c:pt idx="38">
                  <c:v>0.16174261392088132</c:v>
                </c:pt>
                <c:pt idx="39">
                  <c:v>0.1857451403887689</c:v>
                </c:pt>
                <c:pt idx="40">
                  <c:v>0.1427402862985685</c:v>
                </c:pt>
                <c:pt idx="41">
                  <c:v>0.14615384615384616</c:v>
                </c:pt>
                <c:pt idx="42">
                  <c:v>0.1421232876712329</c:v>
                </c:pt>
                <c:pt idx="43">
                  <c:v>0.14624624624624624</c:v>
                </c:pt>
                <c:pt idx="44">
                  <c:v>0.13151927437641722</c:v>
                </c:pt>
                <c:pt idx="45">
                  <c:v>0.15673400673400673</c:v>
                </c:pt>
                <c:pt idx="46">
                  <c:v>0.1543099598034837</c:v>
                </c:pt>
                <c:pt idx="47">
                  <c:v>0.15733165512901195</c:v>
                </c:pt>
                <c:pt idx="48">
                  <c:v>0.14431673052362706</c:v>
                </c:pt>
                <c:pt idx="49">
                  <c:v>0.16005543045210463</c:v>
                </c:pt>
                <c:pt idx="50">
                  <c:v>0.19688776073281095</c:v>
                </c:pt>
                <c:pt idx="51">
                  <c:v>0.181920903954802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649234381132345</c:v>
                </c:pt>
              </c:numCache>
            </c:numRef>
          </c:xVal>
          <c:yVal>
            <c:numRef>
              <c:f>Sheet1!$B$163:$B$164</c:f>
              <c:numCache>
                <c:formatCode>General</c:formatCode>
                <c:ptCount val="2"/>
                <c:pt idx="0">
                  <c:v>0.20373970523345042</c:v>
                </c:pt>
                <c:pt idx="1">
                  <c:v>0.2037397052334504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649234381132345</c:v>
                </c:pt>
                <c:pt idx="1">
                  <c:v>-9.649234381132345</c:v>
                </c:pt>
              </c:numCache>
            </c:numRef>
          </c:xVal>
          <c:yVal>
            <c:numRef>
              <c:f>Sheet1!$B$167:$B$168</c:f>
              <c:numCache>
                <c:formatCode>General</c:formatCode>
                <c:ptCount val="2"/>
                <c:pt idx="0">
                  <c:v>0.203739705233450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3726995083221079</c:v>
                </c:pt>
              </c:numCache>
            </c:numRef>
          </c:xVal>
          <c:yVal>
            <c:numRef>
              <c:f>Sheet1!$B$171:$B$172</c:f>
              <c:numCache>
                <c:formatCode>General</c:formatCode>
                <c:ptCount val="2"/>
                <c:pt idx="0">
                  <c:v>0.1720809771383001</c:v>
                </c:pt>
                <c:pt idx="1">
                  <c:v>0.172080977138300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3726995083221079</c:v>
                </c:pt>
                <c:pt idx="1">
                  <c:v>-1.3726995083221079</c:v>
                </c:pt>
              </c:numCache>
            </c:numRef>
          </c:xVal>
          <c:yVal>
            <c:numRef>
              <c:f>Sheet1!$B$175:$B$176</c:f>
              <c:numCache>
                <c:formatCode>General</c:formatCode>
                <c:ptCount val="2"/>
                <c:pt idx="0">
                  <c:v>0.172080977138300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67667501790828</c:v>
                </c:pt>
              </c:numCache>
            </c:numRef>
          </c:xVal>
          <c:yVal>
            <c:numRef>
              <c:f>Sheet1!$B$179:$B$180</c:f>
              <c:numCache>
                <c:formatCode>General</c:formatCode>
                <c:ptCount val="2"/>
                <c:pt idx="0">
                  <c:v>0.1573911175742252</c:v>
                </c:pt>
                <c:pt idx="1">
                  <c:v>0.15739111757422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67667501790828</c:v>
                </c:pt>
                <c:pt idx="1">
                  <c:v>2.467667501790828</c:v>
                </c:pt>
              </c:numCache>
            </c:numRef>
          </c:xVal>
          <c:yVal>
            <c:numRef>
              <c:f>Sheet1!$B$183:$B$184</c:f>
              <c:numCache>
                <c:formatCode>General</c:formatCode>
                <c:ptCount val="2"/>
                <c:pt idx="0">
                  <c:v>0.15739111757422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46501773385272</c:v>
                </c:pt>
                <c:pt idx="1">
                  <c:v>0.648122106566353</c:v>
                </c:pt>
                <c:pt idx="2">
                  <c:v>0.655075901573602</c:v>
                </c:pt>
                <c:pt idx="3">
                  <c:v>0.6038642063142401</c:v>
                </c:pt>
                <c:pt idx="4">
                  <c:v>0.6295967373944786</c:v>
                </c:pt>
                <c:pt idx="5">
                  <c:v>0.6495287921295488</c:v>
                </c:pt>
                <c:pt idx="6">
                  <c:v>0.6508329115241007</c:v>
                </c:pt>
                <c:pt idx="7">
                  <c:v>0.6615056823917137</c:v>
                </c:pt>
                <c:pt idx="8">
                  <c:v>0.698343890600794</c:v>
                </c:pt>
                <c:pt idx="9">
                  <c:v>0.6754015841066495</c:v>
                </c:pt>
                <c:pt idx="10">
                  <c:v>0.6974306496582307</c:v>
                </c:pt>
                <c:pt idx="11">
                  <c:v>0.6959406756791725</c:v>
                </c:pt>
                <c:pt idx="12">
                  <c:v>0.7089431595974404</c:v>
                </c:pt>
                <c:pt idx="13">
                  <c:v>0.6464250171803736</c:v>
                </c:pt>
                <c:pt idx="14">
                  <c:v>0.647981337007999</c:v>
                </c:pt>
                <c:pt idx="15">
                  <c:v>0.689439243205879</c:v>
                </c:pt>
                <c:pt idx="16">
                  <c:v>0.715563876300564</c:v>
                </c:pt>
                <c:pt idx="17">
                  <c:v>0.6986204547785815</c:v>
                </c:pt>
                <c:pt idx="18">
                  <c:v>0.6640178508651648</c:v>
                </c:pt>
                <c:pt idx="19">
                  <c:v>0.6730235313378345</c:v>
                </c:pt>
                <c:pt idx="20">
                  <c:v>0.6547224828779213</c:v>
                </c:pt>
                <c:pt idx="21">
                  <c:v>0.6187443117387524</c:v>
                </c:pt>
                <c:pt idx="22">
                  <c:v>0.5727162171978932</c:v>
                </c:pt>
                <c:pt idx="23">
                  <c:v>0.6112107467158958</c:v>
                </c:pt>
                <c:pt idx="24">
                  <c:v>0.6371916443604138</c:v>
                </c:pt>
                <c:pt idx="25">
                  <c:v>0.6272008687370728</c:v>
                </c:pt>
                <c:pt idx="26">
                  <c:v>0.6519526933125669</c:v>
                </c:pt>
                <c:pt idx="27">
                  <c:v>0.6900840095339669</c:v>
                </c:pt>
                <c:pt idx="28">
                  <c:v>0.6567943370803313</c:v>
                </c:pt>
                <c:pt idx="29">
                  <c:v>0.6051219461654367</c:v>
                </c:pt>
                <c:pt idx="30">
                  <c:v>0.6283726166879054</c:v>
                </c:pt>
                <c:pt idx="31">
                  <c:v>0.5743296801351576</c:v>
                </c:pt>
                <c:pt idx="32">
                  <c:v>0.6024979618066979</c:v>
                </c:pt>
                <c:pt idx="33">
                  <c:v>0.6474398590034105</c:v>
                </c:pt>
                <c:pt idx="34">
                  <c:v>0.7145008066889056</c:v>
                </c:pt>
                <c:pt idx="35">
                  <c:v>0.6813676621086595</c:v>
                </c:pt>
                <c:pt idx="36">
                  <c:v>0.5893163518194237</c:v>
                </c:pt>
                <c:pt idx="37">
                  <c:v>0.5909574712674769</c:v>
                </c:pt>
                <c:pt idx="38">
                  <c:v>0.5991621080206487</c:v>
                </c:pt>
                <c:pt idx="39">
                  <c:v>0.6749584668702557</c:v>
                </c:pt>
                <c:pt idx="40">
                  <c:v>0.6927878287952963</c:v>
                </c:pt>
                <c:pt idx="41">
                  <c:v>0.7287363746621783</c:v>
                </c:pt>
                <c:pt idx="42">
                  <c:v>0.6765578032875481</c:v>
                </c:pt>
                <c:pt idx="43">
                  <c:v>0.7586881806305426</c:v>
                </c:pt>
                <c:pt idx="44">
                  <c:v>0.7921800246879556</c:v>
                </c:pt>
                <c:pt idx="45">
                  <c:v>0.7787942670396503</c:v>
                </c:pt>
                <c:pt idx="46">
                  <c:v>0.7201557967869717</c:v>
                </c:pt>
                <c:pt idx="47">
                  <c:v>0.7265408291196206</c:v>
                </c:pt>
                <c:pt idx="48">
                  <c:v>0.7917689412239125</c:v>
                </c:pt>
                <c:pt idx="49">
                  <c:v>0.8159688872448022</c:v>
                </c:pt>
                <c:pt idx="50">
                  <c:v>0.7384938727620499</c:v>
                </c:pt>
                <c:pt idx="51">
                  <c:v>0.7126881341246887</c:v>
                </c:pt>
                <c:pt idx="52">
                  <c:v>-1.3726995083221079</c:v>
                </c:pt>
                <c:pt idx="53">
                  <c:v>-9.649234381132345</c:v>
                </c:pt>
                <c:pt idx="54">
                  <c:v>2.467667501790828</c:v>
                </c:pt>
              </c:numCache>
            </c:numRef>
          </c:xVal>
          <c:yVal>
            <c:numRef>
              <c:f>Sheet1!$B$187:$B$241</c:f>
              <c:numCache>
                <c:formatCode>General</c:formatCode>
                <c:ptCount val="55"/>
                <c:pt idx="0">
                  <c:v>0.16421137043743958</c:v>
                </c:pt>
                <c:pt idx="1">
                  <c:v>0.16435109464306286</c:v>
                </c:pt>
                <c:pt idx="2">
                  <c:v>0.16432449555192785</c:v>
                </c:pt>
                <c:pt idx="3">
                  <c:v>0.164520386363774</c:v>
                </c:pt>
                <c:pt idx="4">
                  <c:v>0.16442195637861856</c:v>
                </c:pt>
                <c:pt idx="5">
                  <c:v>0.1643457139038471</c:v>
                </c:pt>
                <c:pt idx="6">
                  <c:v>0.16434072549239834</c:v>
                </c:pt>
                <c:pt idx="7">
                  <c:v>0.164299900877253</c:v>
                </c:pt>
                <c:pt idx="8">
                  <c:v>0.1641589903591284</c:v>
                </c:pt>
                <c:pt idx="9">
                  <c:v>0.1642467474041159</c:v>
                </c:pt>
                <c:pt idx="10">
                  <c:v>0.16416248361411134</c:v>
                </c:pt>
                <c:pt idx="11">
                  <c:v>0.1641681829414019</c:v>
                </c:pt>
                <c:pt idx="12">
                  <c:v>0.16411844689736224</c:v>
                </c:pt>
                <c:pt idx="13">
                  <c:v>0.16435758621136404</c:v>
                </c:pt>
                <c:pt idx="14">
                  <c:v>0.1643516331033292</c:v>
                </c:pt>
                <c:pt idx="15">
                  <c:v>0.164193051692161</c:v>
                </c:pt>
                <c:pt idx="16">
                  <c:v>0.16409312187026812</c:v>
                </c:pt>
                <c:pt idx="17">
                  <c:v>0.1641579324683275</c:v>
                </c:pt>
                <c:pt idx="18">
                  <c:v>0.1642902915347138</c:v>
                </c:pt>
                <c:pt idx="19">
                  <c:v>0.16425584373816882</c:v>
                </c:pt>
                <c:pt idx="20">
                  <c:v>0.1643258474203803</c:v>
                </c:pt>
                <c:pt idx="21">
                  <c:v>0.16446346819464874</c:v>
                </c:pt>
                <c:pt idx="22">
                  <c:v>0.16463953111858978</c:v>
                </c:pt>
                <c:pt idx="23">
                  <c:v>0.16449228497489687</c:v>
                </c:pt>
                <c:pt idx="24">
                  <c:v>0.16439290495815848</c:v>
                </c:pt>
                <c:pt idx="25">
                  <c:v>0.16443112086055964</c:v>
                </c:pt>
                <c:pt idx="26">
                  <c:v>0.16433644219416885</c:v>
                </c:pt>
                <c:pt idx="27">
                  <c:v>0.1641905853844393</c:v>
                </c:pt>
                <c:pt idx="28">
                  <c:v>0.1643179223321816</c:v>
                </c:pt>
                <c:pt idx="29">
                  <c:v>0.1645155753595826</c:v>
                </c:pt>
                <c:pt idx="30">
                  <c:v>0.16442663878559208</c:v>
                </c:pt>
                <c:pt idx="31">
                  <c:v>0.1646333594313792</c:v>
                </c:pt>
                <c:pt idx="32">
                  <c:v>0.1645256124111526</c:v>
                </c:pt>
                <c:pt idx="33">
                  <c:v>0.16435370432095592</c:v>
                </c:pt>
                <c:pt idx="34">
                  <c:v>0.16409718823769107</c:v>
                </c:pt>
                <c:pt idx="35">
                  <c:v>0.16422392644774192</c:v>
                </c:pt>
                <c:pt idx="36">
                  <c:v>0.16457603363366377</c:v>
                </c:pt>
                <c:pt idx="37">
                  <c:v>0.16456975615701733</c:v>
                </c:pt>
                <c:pt idx="38">
                  <c:v>0.1645383724477622</c:v>
                </c:pt>
                <c:pt idx="39">
                  <c:v>0.16424844238013145</c:v>
                </c:pt>
                <c:pt idx="40">
                  <c:v>0.16418024295489259</c:v>
                </c:pt>
                <c:pt idx="41">
                  <c:v>0.16404273550080642</c:v>
                </c:pt>
                <c:pt idx="42">
                  <c:v>0.1642423247285362</c:v>
                </c:pt>
                <c:pt idx="43">
                  <c:v>0.1639281662884871</c:v>
                </c:pt>
                <c:pt idx="44">
                  <c:v>0.16380005601036793</c:v>
                </c:pt>
                <c:pt idx="45">
                  <c:v>0.16385125812190948</c:v>
                </c:pt>
                <c:pt idx="46">
                  <c:v>0.16407555722946762</c:v>
                </c:pt>
                <c:pt idx="47">
                  <c:v>0.16405113372306013</c:v>
                </c:pt>
                <c:pt idx="48">
                  <c:v>0.16380162845340268</c:v>
                </c:pt>
                <c:pt idx="49">
                  <c:v>0.1637090607879767</c:v>
                </c:pt>
                <c:pt idx="50">
                  <c:v>0.16400541191261644</c:v>
                </c:pt>
                <c:pt idx="51">
                  <c:v>0.1641041219253657</c:v>
                </c:pt>
                <c:pt idx="52">
                  <c:v>0.1720809771383001</c:v>
                </c:pt>
                <c:pt idx="53">
                  <c:v>0.20373970523345042</c:v>
                </c:pt>
                <c:pt idx="54">
                  <c:v>0.15739111757422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44063231020064"/>
          <c:min val="0.094216614090431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9212416592741</c:v>
                </c:pt>
                <c:pt idx="1">
                  <c:v>0.7729383787017648</c:v>
                </c:pt>
                <c:pt idx="2">
                  <c:v>0.8922066971889178</c:v>
                </c:pt>
                <c:pt idx="3">
                  <c:v>0.7394497645211932</c:v>
                </c:pt>
                <c:pt idx="4">
                  <c:v>0.8159022702906356</c:v>
                </c:pt>
                <c:pt idx="5">
                  <c:v>0.8778827489696837</c:v>
                </c:pt>
                <c:pt idx="6">
                  <c:v>0.7757783164983165</c:v>
                </c:pt>
                <c:pt idx="7">
                  <c:v>0.7244032490002738</c:v>
                </c:pt>
                <c:pt idx="8">
                  <c:v>0.8514903733308601</c:v>
                </c:pt>
                <c:pt idx="9">
                  <c:v>0.7750378418446152</c:v>
                </c:pt>
                <c:pt idx="10">
                  <c:v>1.0597558446285449</c:v>
                </c:pt>
                <c:pt idx="11">
                  <c:v>1.0521048663468129</c:v>
                </c:pt>
                <c:pt idx="12">
                  <c:v>0.986847302314559</c:v>
                </c:pt>
                <c:pt idx="13">
                  <c:v>0.9879388148676951</c:v>
                </c:pt>
                <c:pt idx="14">
                  <c:v>1.0154392260003757</c:v>
                </c:pt>
                <c:pt idx="15">
                  <c:v>1.050533901790239</c:v>
                </c:pt>
                <c:pt idx="16">
                  <c:v>1.0511668473427578</c:v>
                </c:pt>
                <c:pt idx="17">
                  <c:v>0.9724042650743504</c:v>
                </c:pt>
                <c:pt idx="18">
                  <c:v>1.0124524501508352</c:v>
                </c:pt>
                <c:pt idx="19">
                  <c:v>0.9643561133545553</c:v>
                </c:pt>
                <c:pt idx="20">
                  <c:v>0.9502022467231833</c:v>
                </c:pt>
                <c:pt idx="21">
                  <c:v>1.1830151424586572</c:v>
                </c:pt>
                <c:pt idx="22">
                  <c:v>1.08200385133834</c:v>
                </c:pt>
                <c:pt idx="23">
                  <c:v>1.1330209479768787</c:v>
                </c:pt>
                <c:pt idx="24">
                  <c:v>1.0299542331971778</c:v>
                </c:pt>
                <c:pt idx="25">
                  <c:v>1.1695960805489403</c:v>
                </c:pt>
                <c:pt idx="26">
                  <c:v>1.0338496261046906</c:v>
                </c:pt>
                <c:pt idx="27">
                  <c:v>0.9048300687285222</c:v>
                </c:pt>
                <c:pt idx="28">
                  <c:v>1.1189485465733078</c:v>
                </c:pt>
                <c:pt idx="29">
                  <c:v>0.9773089313582257</c:v>
                </c:pt>
                <c:pt idx="30">
                  <c:v>0.8690061055810843</c:v>
                </c:pt>
                <c:pt idx="31">
                  <c:v>0.739590602815877</c:v>
                </c:pt>
                <c:pt idx="32">
                  <c:v>0.7250237146651489</c:v>
                </c:pt>
                <c:pt idx="33">
                  <c:v>0.3178273630428612</c:v>
                </c:pt>
                <c:pt idx="34">
                  <c:v>0.6747937146448775</c:v>
                </c:pt>
                <c:pt idx="35">
                  <c:v>0.8639893111638955</c:v>
                </c:pt>
                <c:pt idx="36">
                  <c:v>0.6152012078510317</c:v>
                </c:pt>
                <c:pt idx="37">
                  <c:v>1.1776298130368872</c:v>
                </c:pt>
                <c:pt idx="38">
                  <c:v>0.6653487715334652</c:v>
                </c:pt>
                <c:pt idx="39">
                  <c:v>0.6948411541824541</c:v>
                </c:pt>
                <c:pt idx="40">
                  <c:v>0.9219158666498627</c:v>
                </c:pt>
                <c:pt idx="41">
                  <c:v>0.9671159874608151</c:v>
                </c:pt>
                <c:pt idx="42">
                  <c:v>0.7139637753756921</c:v>
                </c:pt>
                <c:pt idx="43">
                  <c:v>0.8860119862452923</c:v>
                </c:pt>
                <c:pt idx="44">
                  <c:v>0.8061976304835095</c:v>
                </c:pt>
                <c:pt idx="45">
                  <c:v>0.9726109926047084</c:v>
                </c:pt>
                <c:pt idx="46">
                  <c:v>0.9801741691551165</c:v>
                </c:pt>
                <c:pt idx="47">
                  <c:v>0.9107914799968561</c:v>
                </c:pt>
                <c:pt idx="48">
                  <c:v>1.072454777379205</c:v>
                </c:pt>
                <c:pt idx="49">
                  <c:v>1.2739477135179578</c:v>
                </c:pt>
                <c:pt idx="50">
                  <c:v>1.1117130089908311</c:v>
                </c:pt>
                <c:pt idx="51">
                  <c:v>0.9742569826096734</c:v>
                </c:pt>
                <c:pt idx="52">
                  <c:v>1.0313550677548047</c:v>
                </c:pt>
                <c:pt idx="53">
                  <c:v>1.0367441678344806</c:v>
                </c:pt>
                <c:pt idx="54">
                  <c:v>1.174147522931388</c:v>
                </c:pt>
                <c:pt idx="55">
                  <c:v>1.0777172835630595</c:v>
                </c:pt>
                <c:pt idx="56">
                  <c:v>1.1348709832910242</c:v>
                </c:pt>
                <c:pt idx="57">
                  <c:v>1.2543996443482293</c:v>
                </c:pt>
                <c:pt idx="58">
                  <c:v>1.1692278468899522</c:v>
                </c:pt>
                <c:pt idx="59">
                  <c:v>1.158623885743799</c:v>
                </c:pt>
                <c:pt idx="60">
                  <c:v>1.1317827861579415</c:v>
                </c:pt>
                <c:pt idx="61">
                  <c:v>1.0849224935580082</c:v>
                </c:pt>
                <c:pt idx="62">
                  <c:v>1.0597270947749629</c:v>
                </c:pt>
                <c:pt idx="63">
                  <c:v>1.0631688322882324</c:v>
                </c:pt>
                <c:pt idx="64">
                  <c:v>1.1456771253500977</c:v>
                </c:pt>
                <c:pt idx="65">
                  <c:v>1.1391923814838973</c:v>
                </c:pt>
                <c:pt idx="66">
                  <c:v>1.126843802625594</c:v>
                </c:pt>
                <c:pt idx="67">
                  <c:v>1.1053261564192771</c:v>
                </c:pt>
                <c:pt idx="68">
                  <c:v>1.1147525386434898</c:v>
                </c:pt>
                <c:pt idx="69">
                  <c:v>0.9744811404419441</c:v>
                </c:pt>
                <c:pt idx="70">
                  <c:v>1.114531490406468</c:v>
                </c:pt>
                <c:pt idx="71">
                  <c:v>1.1978778789457456</c:v>
                </c:pt>
                <c:pt idx="72">
                  <c:v>1.1983870047672245</c:v>
                </c:pt>
                <c:pt idx="73">
                  <c:v>1.0276700350275716</c:v>
                </c:pt>
                <c:pt idx="74">
                  <c:v>1.1860988118119868</c:v>
                </c:pt>
                <c:pt idx="75">
                  <c:v>1.1229040110579176</c:v>
                </c:pt>
                <c:pt idx="76">
                  <c:v>0.9513667308301116</c:v>
                </c:pt>
                <c:pt idx="77">
                  <c:v>0.7876473961766646</c:v>
                </c:pt>
                <c:pt idx="78">
                  <c:v>0.6308871716934431</c:v>
                </c:pt>
                <c:pt idx="79">
                  <c:v>0.9286816923021208</c:v>
                </c:pt>
                <c:pt idx="80">
                  <c:v>1.191027975500745</c:v>
                </c:pt>
                <c:pt idx="81">
                  <c:v>1.0809700942840308</c:v>
                </c:pt>
                <c:pt idx="82">
                  <c:v>0.9460120698091665</c:v>
                </c:pt>
                <c:pt idx="83">
                  <c:v>0.9967295255305529</c:v>
                </c:pt>
                <c:pt idx="84">
                  <c:v>0.8073370977534912</c:v>
                </c:pt>
                <c:pt idx="85">
                  <c:v>1.242420894447876</c:v>
                </c:pt>
                <c:pt idx="86">
                  <c:v>0.8298568783068783</c:v>
                </c:pt>
                <c:pt idx="87">
                  <c:v>1.142312171837709</c:v>
                </c:pt>
                <c:pt idx="88">
                  <c:v>1.128187862579716</c:v>
                </c:pt>
                <c:pt idx="89">
                  <c:v>1.3617180045351474</c:v>
                </c:pt>
                <c:pt idx="90">
                  <c:v>0.6869472335416791</c:v>
                </c:pt>
                <c:pt idx="91">
                  <c:v>0.7235815425531915</c:v>
                </c:pt>
                <c:pt idx="92">
                  <c:v>0.4606337632275132</c:v>
                </c:pt>
                <c:pt idx="93">
                  <c:v>1.0603523905588057</c:v>
                </c:pt>
                <c:pt idx="94">
                  <c:v>0.9510893464052288</c:v>
                </c:pt>
                <c:pt idx="95">
                  <c:v>0.6758531926406927</c:v>
                </c:pt>
                <c:pt idx="96">
                  <c:v>1.2820234113958802</c:v>
                </c:pt>
                <c:pt idx="97">
                  <c:v>1.1628768862997256</c:v>
                </c:pt>
                <c:pt idx="98">
                  <c:v>1.179476843392472</c:v>
                </c:pt>
                <c:pt idx="99">
                  <c:v>1.2647415720674235</c:v>
                </c:pt>
                <c:pt idx="100">
                  <c:v>1.1786081597234634</c:v>
                </c:pt>
                <c:pt idx="101">
                  <c:v>1.335323478365211</c:v>
                </c:pt>
                <c:pt idx="102">
                  <c:v>1.224358765752277</c:v>
                </c:pt>
                <c:pt idx="103">
                  <c:v>1.0708759509333894</c:v>
                </c:pt>
                <c:pt idx="104">
                  <c:v>1.3076756994100711</c:v>
                </c:pt>
              </c:numCache>
            </c:numRef>
          </c:xVal>
          <c:yVal>
            <c:numRef>
              <c:f>Sheet1!$B$2:$B$106</c:f>
              <c:numCache>
                <c:formatCode>General</c:formatCode>
                <c:ptCount val="105"/>
                <c:pt idx="0">
                  <c:v>0.29116117850953205</c:v>
                </c:pt>
                <c:pt idx="1">
                  <c:v>0.31235955056179776</c:v>
                </c:pt>
                <c:pt idx="2">
                  <c:v>0.298</c:v>
                </c:pt>
                <c:pt idx="3">
                  <c:v>0.3341121495327103</c:v>
                </c:pt>
                <c:pt idx="4">
                  <c:v>0.3560606060606061</c:v>
                </c:pt>
                <c:pt idx="5">
                  <c:v>0.3425925925925926</c:v>
                </c:pt>
                <c:pt idx="6">
                  <c:v>0.38789237668161436</c:v>
                </c:pt>
                <c:pt idx="7">
                  <c:v>0.4068965517241379</c:v>
                </c:pt>
                <c:pt idx="8">
                  <c:v>0.421875</c:v>
                </c:pt>
                <c:pt idx="9">
                  <c:v>0.41166936790923825</c:v>
                </c:pt>
                <c:pt idx="10">
                  <c:v>0.4007285974499089</c:v>
                </c:pt>
                <c:pt idx="11">
                  <c:v>0.35978835978835977</c:v>
                </c:pt>
                <c:pt idx="12">
                  <c:v>0.33217993079584773</c:v>
                </c:pt>
                <c:pt idx="13">
                  <c:v>0.3110687022900763</c:v>
                </c:pt>
                <c:pt idx="14">
                  <c:v>0.34893617021276596</c:v>
                </c:pt>
                <c:pt idx="15">
                  <c:v>0.3374384236453202</c:v>
                </c:pt>
                <c:pt idx="16">
                  <c:v>0.25</c:v>
                </c:pt>
                <c:pt idx="17">
                  <c:v>0.24285714285714285</c:v>
                </c:pt>
                <c:pt idx="18">
                  <c:v>0.2434017595307918</c:v>
                </c:pt>
                <c:pt idx="19">
                  <c:v>0.24607329842931938</c:v>
                </c:pt>
                <c:pt idx="20">
                  <c:v>0.25738396624472576</c:v>
                </c:pt>
                <c:pt idx="21">
                  <c:v>0.25</c:v>
                </c:pt>
                <c:pt idx="22">
                  <c:v>0.26804123711340205</c:v>
                </c:pt>
                <c:pt idx="23">
                  <c:v>0.2331288343558282</c:v>
                </c:pt>
                <c:pt idx="24">
                  <c:v>0.3146853146853147</c:v>
                </c:pt>
                <c:pt idx="25">
                  <c:v>0.3191489361702128</c:v>
                </c:pt>
                <c:pt idx="26">
                  <c:v>0.2781954887218045</c:v>
                </c:pt>
                <c:pt idx="27">
                  <c:v>0.29508196721311475</c:v>
                </c:pt>
                <c:pt idx="28">
                  <c:v>0.3739130434782609</c:v>
                </c:pt>
                <c:pt idx="29">
                  <c:v>0.3971631205673759</c:v>
                </c:pt>
                <c:pt idx="30">
                  <c:v>0.3644067796610169</c:v>
                </c:pt>
                <c:pt idx="31">
                  <c:v>0.34951456310679613</c:v>
                </c:pt>
                <c:pt idx="32">
                  <c:v>0.36585365853658536</c:v>
                </c:pt>
                <c:pt idx="33">
                  <c:v>0.576271186440678</c:v>
                </c:pt>
                <c:pt idx="34">
                  <c:v>0.42758620689655175</c:v>
                </c:pt>
                <c:pt idx="35">
                  <c:v>0.4594594594594595</c:v>
                </c:pt>
                <c:pt idx="36">
                  <c:v>0.3888888888888889</c:v>
                </c:pt>
                <c:pt idx="37">
                  <c:v>0.3008849557522124</c:v>
                </c:pt>
                <c:pt idx="38">
                  <c:v>0.2222222222222222</c:v>
                </c:pt>
                <c:pt idx="39">
                  <c:v>0.21739130434782608</c:v>
                </c:pt>
                <c:pt idx="40">
                  <c:v>0.21739130434782608</c:v>
                </c:pt>
                <c:pt idx="41">
                  <c:v>0.21008403361344538</c:v>
                </c:pt>
                <c:pt idx="42">
                  <c:v>0.25833333333333336</c:v>
                </c:pt>
                <c:pt idx="43">
                  <c:v>0.23703703703703705</c:v>
                </c:pt>
                <c:pt idx="44">
                  <c:v>0.28</c:v>
                </c:pt>
                <c:pt idx="45">
                  <c:v>0.30038022813688214</c:v>
                </c:pt>
                <c:pt idx="46">
                  <c:v>0.29285714285714287</c:v>
                </c:pt>
                <c:pt idx="47">
                  <c:v>0.27848101265822783</c:v>
                </c:pt>
                <c:pt idx="48">
                  <c:v>0.31338582677165355</c:v>
                </c:pt>
                <c:pt idx="49">
                  <c:v>0.32127659574468087</c:v>
                </c:pt>
                <c:pt idx="50">
                  <c:v>0.2854251012145749</c:v>
                </c:pt>
                <c:pt idx="51">
                  <c:v>0.25853658536585367</c:v>
                </c:pt>
                <c:pt idx="52">
                  <c:v>0.2623574144486692</c:v>
                </c:pt>
                <c:pt idx="53">
                  <c:v>0.2441860465116279</c:v>
                </c:pt>
                <c:pt idx="54">
                  <c:v>0.228125</c:v>
                </c:pt>
                <c:pt idx="55">
                  <c:v>0.2289855072463768</c:v>
                </c:pt>
                <c:pt idx="56">
                  <c:v>0.24471299093655588</c:v>
                </c:pt>
                <c:pt idx="57">
                  <c:v>0.24</c:v>
                </c:pt>
                <c:pt idx="58">
                  <c:v>0.29737609329446063</c:v>
                </c:pt>
                <c:pt idx="59">
                  <c:v>0.2966101694915254</c:v>
                </c:pt>
                <c:pt idx="60">
                  <c:v>0.2899628252788104</c:v>
                </c:pt>
                <c:pt idx="61">
                  <c:v>0.3185840707964602</c:v>
                </c:pt>
                <c:pt idx="62">
                  <c:v>0.3073170731707317</c:v>
                </c:pt>
                <c:pt idx="63">
                  <c:v>0.3548872180451128</c:v>
                </c:pt>
                <c:pt idx="64">
                  <c:v>0.3217753120665742</c:v>
                </c:pt>
                <c:pt idx="65">
                  <c:v>0.28594771241830064</c:v>
                </c:pt>
                <c:pt idx="66">
                  <c:v>0.3150943396226415</c:v>
                </c:pt>
                <c:pt idx="67">
                  <c:v>0.36077481840193704</c:v>
                </c:pt>
                <c:pt idx="68">
                  <c:v>0.27</c:v>
                </c:pt>
                <c:pt idx="69">
                  <c:v>0.2687074829931973</c:v>
                </c:pt>
                <c:pt idx="70">
                  <c:v>0.22021660649819494</c:v>
                </c:pt>
                <c:pt idx="71">
                  <c:v>0.2413793103448276</c:v>
                </c:pt>
                <c:pt idx="72">
                  <c:v>0.24369747899159663</c:v>
                </c:pt>
                <c:pt idx="73">
                  <c:v>0.27835051546391754</c:v>
                </c:pt>
                <c:pt idx="74">
                  <c:v>0.24468085106382978</c:v>
                </c:pt>
                <c:pt idx="75">
                  <c:v>0.25949367088607594</c:v>
                </c:pt>
                <c:pt idx="76">
                  <c:v>0.2875816993464052</c:v>
                </c:pt>
                <c:pt idx="77">
                  <c:v>0.2647058823529412</c:v>
                </c:pt>
                <c:pt idx="78">
                  <c:v>0.25203252032520324</c:v>
                </c:pt>
                <c:pt idx="79">
                  <c:v>0.25547445255474455</c:v>
                </c:pt>
                <c:pt idx="80">
                  <c:v>0.19642857142857142</c:v>
                </c:pt>
                <c:pt idx="81">
                  <c:v>0.28368794326241137</c:v>
                </c:pt>
                <c:pt idx="82">
                  <c:v>0.28448275862068967</c:v>
                </c:pt>
                <c:pt idx="83">
                  <c:v>0.1891891891891892</c:v>
                </c:pt>
                <c:pt idx="84">
                  <c:v>0.25</c:v>
                </c:pt>
                <c:pt idx="85">
                  <c:v>0.21929824561403508</c:v>
                </c:pt>
                <c:pt idx="86">
                  <c:v>0.30952380952380953</c:v>
                </c:pt>
                <c:pt idx="87">
                  <c:v>0.29931972789115646</c:v>
                </c:pt>
                <c:pt idx="88">
                  <c:v>0.3173076923076923</c:v>
                </c:pt>
                <c:pt idx="89">
                  <c:v>0.2328767123287671</c:v>
                </c:pt>
                <c:pt idx="90">
                  <c:v>0.2465753424657534</c:v>
                </c:pt>
                <c:pt idx="91">
                  <c:v>0.25925925925925924</c:v>
                </c:pt>
                <c:pt idx="92">
                  <c:v>0.23958333333333334</c:v>
                </c:pt>
                <c:pt idx="93">
                  <c:v>0.26373626373626374</c:v>
                </c:pt>
                <c:pt idx="94">
                  <c:v>0.25</c:v>
                </c:pt>
                <c:pt idx="95">
                  <c:v>0.2905405405405405</c:v>
                </c:pt>
                <c:pt idx="96">
                  <c:v>0.2611111111111111</c:v>
                </c:pt>
                <c:pt idx="97">
                  <c:v>0.2810810810810811</c:v>
                </c:pt>
                <c:pt idx="98">
                  <c:v>0.3023255813953488</c:v>
                </c:pt>
                <c:pt idx="99">
                  <c:v>0.3114754098360656</c:v>
                </c:pt>
                <c:pt idx="100">
                  <c:v>0.3248407643312102</c:v>
                </c:pt>
                <c:pt idx="101">
                  <c:v>0.3126760563380282</c:v>
                </c:pt>
                <c:pt idx="102">
                  <c:v>0.24028268551236748</c:v>
                </c:pt>
                <c:pt idx="103">
                  <c:v>0.24853801169590642</c:v>
                </c:pt>
                <c:pt idx="104">
                  <c:v>0.248407643312101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992931297411433</c:v>
                </c:pt>
                <c:pt idx="1">
                  <c:v>1.1819795851255375</c:v>
                </c:pt>
                <c:pt idx="2">
                  <c:v>1.1506324981567908</c:v>
                </c:pt>
                <c:pt idx="3">
                  <c:v>1.1985746328016298</c:v>
                </c:pt>
                <c:pt idx="4">
                  <c:v>1.0844017290632657</c:v>
                </c:pt>
                <c:pt idx="5">
                  <c:v>1.4390559945459194</c:v>
                </c:pt>
                <c:pt idx="6">
                  <c:v>1.380074523000308</c:v>
                </c:pt>
                <c:pt idx="7">
                  <c:v>1.445300373477725</c:v>
                </c:pt>
                <c:pt idx="8">
                  <c:v>1.425413869722662</c:v>
                </c:pt>
                <c:pt idx="9">
                  <c:v>1.363546265560166</c:v>
                </c:pt>
                <c:pt idx="10">
                  <c:v>1.3566197805811784</c:v>
                </c:pt>
                <c:pt idx="11">
                  <c:v>1.6595278097689858</c:v>
                </c:pt>
                <c:pt idx="12">
                  <c:v>1.5404850867555364</c:v>
                </c:pt>
                <c:pt idx="13">
                  <c:v>1.6641787455313617</c:v>
                </c:pt>
                <c:pt idx="14">
                  <c:v>1.385256305136049</c:v>
                </c:pt>
                <c:pt idx="15">
                  <c:v>1.4291087501710715</c:v>
                </c:pt>
                <c:pt idx="16">
                  <c:v>1.348837969688673</c:v>
                </c:pt>
                <c:pt idx="17">
                  <c:v>1.4010299210473043</c:v>
                </c:pt>
                <c:pt idx="18">
                  <c:v>1.983824388556997</c:v>
                </c:pt>
                <c:pt idx="19">
                  <c:v>2.0060052799025248</c:v>
                </c:pt>
                <c:pt idx="20">
                  <c:v>1.9252314285075358</c:v>
                </c:pt>
                <c:pt idx="21">
                  <c:v>2.1631408366522886</c:v>
                </c:pt>
                <c:pt idx="22">
                  <c:v>2.001142664061387</c:v>
                </c:pt>
                <c:pt idx="23">
                  <c:v>2.186467115290627</c:v>
                </c:pt>
                <c:pt idx="24">
                  <c:v>2.403406214276849</c:v>
                </c:pt>
                <c:pt idx="25">
                  <c:v>2.185782725210219</c:v>
                </c:pt>
                <c:pt idx="26">
                  <c:v>1.7998408561769275</c:v>
                </c:pt>
                <c:pt idx="27">
                  <c:v>2.4185033968396756</c:v>
                </c:pt>
                <c:pt idx="28">
                  <c:v>1.6903261297106302</c:v>
                </c:pt>
                <c:pt idx="29">
                  <c:v>3.083862538967224</c:v>
                </c:pt>
                <c:pt idx="30">
                  <c:v>1.8726718678815488</c:v>
                </c:pt>
                <c:pt idx="31">
                  <c:v>1.6631944148936169</c:v>
                </c:pt>
                <c:pt idx="32">
                  <c:v>1.668830788643533</c:v>
                </c:pt>
                <c:pt idx="33">
                  <c:v>2.1721388034148137</c:v>
                </c:pt>
                <c:pt idx="34">
                  <c:v>1.8565655030633565</c:v>
                </c:pt>
                <c:pt idx="35">
                  <c:v>2.1495292515464692</c:v>
                </c:pt>
                <c:pt idx="36">
                  <c:v>1.796261506740682</c:v>
                </c:pt>
                <c:pt idx="37">
                  <c:v>2.305299051406444</c:v>
                </c:pt>
                <c:pt idx="38">
                  <c:v>3.7652676805488032</c:v>
                </c:pt>
                <c:pt idx="39">
                  <c:v>3.19370600151783</c:v>
                </c:pt>
                <c:pt idx="40">
                  <c:v>2.1580206927240217</c:v>
                </c:pt>
                <c:pt idx="41">
                  <c:v>2.6177847551086604</c:v>
                </c:pt>
                <c:pt idx="42">
                  <c:v>2.1149868594138304</c:v>
                </c:pt>
                <c:pt idx="43">
                  <c:v>2.2502268983540388</c:v>
                </c:pt>
                <c:pt idx="44">
                  <c:v>2.5299387345654316</c:v>
                </c:pt>
                <c:pt idx="45">
                  <c:v>2.4969128816363364</c:v>
                </c:pt>
                <c:pt idx="46">
                  <c:v>2.2187540285522993</c:v>
                </c:pt>
                <c:pt idx="47">
                  <c:v>1.9052923845193506</c:v>
                </c:pt>
                <c:pt idx="48">
                  <c:v>2.0284863323278794</c:v>
                </c:pt>
                <c:pt idx="49">
                  <c:v>2.1222600281530464</c:v>
                </c:pt>
                <c:pt idx="50">
                  <c:v>1.716400911161731</c:v>
                </c:pt>
                <c:pt idx="51">
                  <c:v>1.4065842493808527</c:v>
                </c:pt>
              </c:numCache>
            </c:numRef>
          </c:xVal>
          <c:yVal>
            <c:numRef>
              <c:f>Sheet1!$B$109:$B$160</c:f>
              <c:numCache>
                <c:formatCode>General</c:formatCode>
                <c:ptCount val="52"/>
                <c:pt idx="0">
                  <c:v>0.23974763406940064</c:v>
                </c:pt>
                <c:pt idx="1">
                  <c:v>0.24814814814814815</c:v>
                </c:pt>
                <c:pt idx="2">
                  <c:v>0.281437125748503</c:v>
                </c:pt>
                <c:pt idx="3">
                  <c:v>0.3170028818443804</c:v>
                </c:pt>
                <c:pt idx="4">
                  <c:v>0.32186732186732187</c:v>
                </c:pt>
                <c:pt idx="5">
                  <c:v>0.2841225626740947</c:v>
                </c:pt>
                <c:pt idx="6">
                  <c:v>0.2891566265060241</c:v>
                </c:pt>
                <c:pt idx="7">
                  <c:v>0.29439252336448596</c:v>
                </c:pt>
                <c:pt idx="8">
                  <c:v>0.3188405797101449</c:v>
                </c:pt>
                <c:pt idx="9">
                  <c:v>0.3389513108614232</c:v>
                </c:pt>
                <c:pt idx="10">
                  <c:v>0.34563106796116505</c:v>
                </c:pt>
                <c:pt idx="11">
                  <c:v>0.3480314960629921</c:v>
                </c:pt>
                <c:pt idx="12">
                  <c:v>0.35</c:v>
                </c:pt>
                <c:pt idx="13">
                  <c:v>0.365702479338843</c:v>
                </c:pt>
                <c:pt idx="14">
                  <c:v>0.3904282115869018</c:v>
                </c:pt>
                <c:pt idx="15">
                  <c:v>0.3872832369942196</c:v>
                </c:pt>
                <c:pt idx="16">
                  <c:v>0.3377049180327869</c:v>
                </c:pt>
                <c:pt idx="17">
                  <c:v>0.3029045643153527</c:v>
                </c:pt>
                <c:pt idx="18">
                  <c:v>0.2727272727272727</c:v>
                </c:pt>
                <c:pt idx="19">
                  <c:v>0.2864864864864865</c:v>
                </c:pt>
                <c:pt idx="20">
                  <c:v>0.2698412698412698</c:v>
                </c:pt>
                <c:pt idx="21">
                  <c:v>0.2483221476510067</c:v>
                </c:pt>
                <c:pt idx="22">
                  <c:v>0.23026315789473684</c:v>
                </c:pt>
                <c:pt idx="23">
                  <c:v>0.2827586206896552</c:v>
                </c:pt>
                <c:pt idx="24">
                  <c:v>0.23333333333333334</c:v>
                </c:pt>
                <c:pt idx="25">
                  <c:v>0.31386861313868614</c:v>
                </c:pt>
                <c:pt idx="26">
                  <c:v>0.2702702702702703</c:v>
                </c:pt>
                <c:pt idx="27">
                  <c:v>0.23863636363636365</c:v>
                </c:pt>
                <c:pt idx="28">
                  <c:v>0.26</c:v>
                </c:pt>
                <c:pt idx="29">
                  <c:v>0.3173076923076923</c:v>
                </c:pt>
                <c:pt idx="30">
                  <c:v>0.3617021276595745</c:v>
                </c:pt>
                <c:pt idx="31">
                  <c:v>0.2857142857142857</c:v>
                </c:pt>
                <c:pt idx="32">
                  <c:v>0.34065934065934067</c:v>
                </c:pt>
                <c:pt idx="33">
                  <c:v>0.3888888888888889</c:v>
                </c:pt>
                <c:pt idx="34">
                  <c:v>0.477124183006536</c:v>
                </c:pt>
                <c:pt idx="35">
                  <c:v>0.46206896551724136</c:v>
                </c:pt>
                <c:pt idx="36">
                  <c:v>0.32558139534883723</c:v>
                </c:pt>
                <c:pt idx="37">
                  <c:v>0.2597402597402597</c:v>
                </c:pt>
                <c:pt idx="38">
                  <c:v>0.24</c:v>
                </c:pt>
                <c:pt idx="39">
                  <c:v>0.3069306930693069</c:v>
                </c:pt>
                <c:pt idx="40">
                  <c:v>0.30973451327433627</c:v>
                </c:pt>
                <c:pt idx="41">
                  <c:v>0.3333333333333333</c:v>
                </c:pt>
                <c:pt idx="42">
                  <c:v>0.2875816993464052</c:v>
                </c:pt>
                <c:pt idx="43">
                  <c:v>0.2545454545454545</c:v>
                </c:pt>
                <c:pt idx="44">
                  <c:v>0.27672955974842767</c:v>
                </c:pt>
                <c:pt idx="45">
                  <c:v>0.28078817733990147</c:v>
                </c:pt>
                <c:pt idx="46">
                  <c:v>0.3031496062992126</c:v>
                </c:pt>
                <c:pt idx="47">
                  <c:v>0.2746478873239437</c:v>
                </c:pt>
                <c:pt idx="48">
                  <c:v>0.26174496644295303</c:v>
                </c:pt>
                <c:pt idx="49">
                  <c:v>0.25</c:v>
                </c:pt>
                <c:pt idx="50">
                  <c:v>0.30671859785783834</c:v>
                </c:pt>
                <c:pt idx="51">
                  <c:v>0.31454005934718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973827251163375</c:v>
                </c:pt>
              </c:numCache>
            </c:numRef>
          </c:xVal>
          <c:yVal>
            <c:numRef>
              <c:f>Sheet1!$B$163:$B$164</c:f>
              <c:numCache>
                <c:formatCode>General</c:formatCode>
                <c:ptCount val="2"/>
                <c:pt idx="0">
                  <c:v>0.3509992566882263</c:v>
                </c:pt>
                <c:pt idx="1">
                  <c:v>0.350999256688226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973827251163375</c:v>
                </c:pt>
                <c:pt idx="1">
                  <c:v>-0.3973827251163375</c:v>
                </c:pt>
              </c:numCache>
            </c:numRef>
          </c:xVal>
          <c:yVal>
            <c:numRef>
              <c:f>Sheet1!$B$167:$B$168</c:f>
              <c:numCache>
                <c:formatCode>General</c:formatCode>
                <c:ptCount val="2"/>
                <c:pt idx="0">
                  <c:v>0.35099925668822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91008290910773</c:v>
                </c:pt>
              </c:numCache>
            </c:numRef>
          </c:xVal>
          <c:yVal>
            <c:numRef>
              <c:f>Sheet1!$B$171:$B$172</c:f>
              <c:numCache>
                <c:formatCode>General</c:formatCode>
                <c:ptCount val="2"/>
                <c:pt idx="0">
                  <c:v>0.32646265091228616</c:v>
                </c:pt>
                <c:pt idx="1">
                  <c:v>0.3264626509122861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91008290910773</c:v>
                </c:pt>
                <c:pt idx="1">
                  <c:v>0.8391008290910773</c:v>
                </c:pt>
              </c:numCache>
            </c:numRef>
          </c:xVal>
          <c:yVal>
            <c:numRef>
              <c:f>Sheet1!$B$175:$B$176</c:f>
              <c:numCache>
                <c:formatCode>General</c:formatCode>
                <c:ptCount val="2"/>
                <c:pt idx="0">
                  <c:v>0.326462650912286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7136195390787994</c:v>
                </c:pt>
              </c:numCache>
            </c:numRef>
          </c:xVal>
          <c:yVal>
            <c:numRef>
              <c:f>Sheet1!$B$179:$B$180</c:f>
              <c:numCache>
                <c:formatCode>General</c:formatCode>
                <c:ptCount val="2"/>
                <c:pt idx="0">
                  <c:v>0.28926496522525336</c:v>
                </c:pt>
                <c:pt idx="1">
                  <c:v>0.289264965225253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7136195390787994</c:v>
                </c:pt>
                <c:pt idx="1">
                  <c:v>2.7136195390787994</c:v>
                </c:pt>
              </c:numCache>
            </c:numRef>
          </c:xVal>
          <c:yVal>
            <c:numRef>
              <c:f>Sheet1!$B$183:$B$184</c:f>
              <c:numCache>
                <c:formatCode>General</c:formatCode>
                <c:ptCount val="2"/>
                <c:pt idx="0">
                  <c:v>0.289264965225253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992931297411433</c:v>
                </c:pt>
                <c:pt idx="1">
                  <c:v>1.1819795851255375</c:v>
                </c:pt>
                <c:pt idx="2">
                  <c:v>1.1506324981567908</c:v>
                </c:pt>
                <c:pt idx="3">
                  <c:v>1.1985746328016298</c:v>
                </c:pt>
                <c:pt idx="4">
                  <c:v>1.0844017290632657</c:v>
                </c:pt>
                <c:pt idx="5">
                  <c:v>1.4390559945459194</c:v>
                </c:pt>
                <c:pt idx="6">
                  <c:v>1.380074523000308</c:v>
                </c:pt>
                <c:pt idx="7">
                  <c:v>1.445300373477725</c:v>
                </c:pt>
                <c:pt idx="8">
                  <c:v>1.425413869722662</c:v>
                </c:pt>
                <c:pt idx="9">
                  <c:v>1.363546265560166</c:v>
                </c:pt>
                <c:pt idx="10">
                  <c:v>1.3566197805811784</c:v>
                </c:pt>
                <c:pt idx="11">
                  <c:v>1.6595278097689858</c:v>
                </c:pt>
                <c:pt idx="12">
                  <c:v>1.5404850867555364</c:v>
                </c:pt>
                <c:pt idx="13">
                  <c:v>1.6641787455313617</c:v>
                </c:pt>
                <c:pt idx="14">
                  <c:v>1.385256305136049</c:v>
                </c:pt>
                <c:pt idx="15">
                  <c:v>1.4291087501710715</c:v>
                </c:pt>
                <c:pt idx="16">
                  <c:v>1.348837969688673</c:v>
                </c:pt>
                <c:pt idx="17">
                  <c:v>1.4010299210473043</c:v>
                </c:pt>
                <c:pt idx="18">
                  <c:v>1.983824388556997</c:v>
                </c:pt>
                <c:pt idx="19">
                  <c:v>2.0060052799025248</c:v>
                </c:pt>
                <c:pt idx="20">
                  <c:v>1.9252314285075358</c:v>
                </c:pt>
                <c:pt idx="21">
                  <c:v>2.1631408366522886</c:v>
                </c:pt>
                <c:pt idx="22">
                  <c:v>2.001142664061387</c:v>
                </c:pt>
                <c:pt idx="23">
                  <c:v>2.186467115290627</c:v>
                </c:pt>
                <c:pt idx="24">
                  <c:v>2.403406214276849</c:v>
                </c:pt>
                <c:pt idx="25">
                  <c:v>2.185782725210219</c:v>
                </c:pt>
                <c:pt idx="26">
                  <c:v>1.7998408561769275</c:v>
                </c:pt>
                <c:pt idx="27">
                  <c:v>2.4185033968396756</c:v>
                </c:pt>
                <c:pt idx="28">
                  <c:v>1.6903261297106302</c:v>
                </c:pt>
                <c:pt idx="29">
                  <c:v>3.083862538967224</c:v>
                </c:pt>
                <c:pt idx="30">
                  <c:v>1.8726718678815488</c:v>
                </c:pt>
                <c:pt idx="31">
                  <c:v>1.6631944148936169</c:v>
                </c:pt>
                <c:pt idx="32">
                  <c:v>1.668830788643533</c:v>
                </c:pt>
                <c:pt idx="33">
                  <c:v>2.1721388034148137</c:v>
                </c:pt>
                <c:pt idx="34">
                  <c:v>1.8565655030633565</c:v>
                </c:pt>
                <c:pt idx="35">
                  <c:v>2.1495292515464692</c:v>
                </c:pt>
                <c:pt idx="36">
                  <c:v>1.796261506740682</c:v>
                </c:pt>
                <c:pt idx="37">
                  <c:v>2.305299051406444</c:v>
                </c:pt>
                <c:pt idx="38">
                  <c:v>3.7652676805488032</c:v>
                </c:pt>
                <c:pt idx="39">
                  <c:v>3.19370600151783</c:v>
                </c:pt>
                <c:pt idx="40">
                  <c:v>2.1580206927240217</c:v>
                </c:pt>
                <c:pt idx="41">
                  <c:v>2.6177847551086604</c:v>
                </c:pt>
                <c:pt idx="42">
                  <c:v>2.1149868594138304</c:v>
                </c:pt>
                <c:pt idx="43">
                  <c:v>2.2502268983540388</c:v>
                </c:pt>
                <c:pt idx="44">
                  <c:v>2.5299387345654316</c:v>
                </c:pt>
                <c:pt idx="45">
                  <c:v>2.4969128816363364</c:v>
                </c:pt>
                <c:pt idx="46">
                  <c:v>2.2187540285522993</c:v>
                </c:pt>
                <c:pt idx="47">
                  <c:v>1.9052923845193506</c:v>
                </c:pt>
                <c:pt idx="48">
                  <c:v>2.0284863323278794</c:v>
                </c:pt>
                <c:pt idx="49">
                  <c:v>2.1222600281530464</c:v>
                </c:pt>
                <c:pt idx="50">
                  <c:v>1.716400911161731</c:v>
                </c:pt>
                <c:pt idx="51">
                  <c:v>1.4065842493808527</c:v>
                </c:pt>
                <c:pt idx="52">
                  <c:v>0.8391008290910773</c:v>
                </c:pt>
                <c:pt idx="53">
                  <c:v>-0.3973827251163375</c:v>
                </c:pt>
                <c:pt idx="54">
                  <c:v>2.7136195390787994</c:v>
                </c:pt>
              </c:numCache>
            </c:numRef>
          </c:xVal>
          <c:yVal>
            <c:numRef>
              <c:f>Sheet1!$B$187:$B$241</c:f>
              <c:numCache>
                <c:formatCode>General</c:formatCode>
                <c:ptCount val="55"/>
                <c:pt idx="0">
                  <c:v>0.3193150455482628</c:v>
                </c:pt>
                <c:pt idx="1">
                  <c:v>0.31965861309299215</c:v>
                </c:pt>
                <c:pt idx="2">
                  <c:v>0.32028066027878693</c:v>
                </c:pt>
                <c:pt idx="3">
                  <c:v>0.3193293033004958</c:v>
                </c:pt>
                <c:pt idx="4">
                  <c:v>0.3215949343473384</c:v>
                </c:pt>
                <c:pt idx="5">
                  <c:v>0.3145572249744212</c:v>
                </c:pt>
                <c:pt idx="6">
                  <c:v>0.31572764500182476</c:v>
                </c:pt>
                <c:pt idx="7">
                  <c:v>0.31443331239698014</c:v>
                </c:pt>
                <c:pt idx="8">
                  <c:v>0.31482793738106457</c:v>
                </c:pt>
                <c:pt idx="9">
                  <c:v>0.3160556294182709</c:v>
                </c:pt>
                <c:pt idx="10">
                  <c:v>0.31619307761219484</c:v>
                </c:pt>
                <c:pt idx="11">
                  <c:v>0.3101822132757805</c:v>
                </c:pt>
                <c:pt idx="12">
                  <c:v>0.3125444803315261</c:v>
                </c:pt>
                <c:pt idx="13">
                  <c:v>0.31008992076052433</c:v>
                </c:pt>
                <c:pt idx="14">
                  <c:v>0.31562481844578294</c:v>
                </c:pt>
                <c:pt idx="15">
                  <c:v>0.31475461669301874</c:v>
                </c:pt>
                <c:pt idx="16">
                  <c:v>0.316347498773271</c:v>
                </c:pt>
                <c:pt idx="17">
                  <c:v>0.31531180902971867</c:v>
                </c:pt>
                <c:pt idx="18">
                  <c:v>0.3037469175687478</c:v>
                </c:pt>
                <c:pt idx="19">
                  <c:v>0.3033067630799539</c:v>
                </c:pt>
                <c:pt idx="20">
                  <c:v>0.304909628028654</c:v>
                </c:pt>
                <c:pt idx="21">
                  <c:v>0.3001885871881417</c:v>
                </c:pt>
                <c:pt idx="22">
                  <c:v>0.30340325614492664</c:v>
                </c:pt>
                <c:pt idx="23">
                  <c:v>0.29972570379497315</c:v>
                </c:pt>
                <c:pt idx="24">
                  <c:v>0.29542079482056743</c:v>
                </c:pt>
                <c:pt idx="25">
                  <c:v>0.29973928473549016</c:v>
                </c:pt>
                <c:pt idx="26">
                  <c:v>0.3073978609136177</c:v>
                </c:pt>
                <c:pt idx="27">
                  <c:v>0.2951212084527496</c:v>
                </c:pt>
                <c:pt idx="28">
                  <c:v>0.30957105574570415</c:v>
                </c:pt>
                <c:pt idx="29">
                  <c:v>0.2819179151988688</c:v>
                </c:pt>
                <c:pt idx="30">
                  <c:v>0.30595261255881473</c:v>
                </c:pt>
                <c:pt idx="31">
                  <c:v>0.31010945367928366</c:v>
                </c:pt>
                <c:pt idx="32">
                  <c:v>0.3099976062711746</c:v>
                </c:pt>
                <c:pt idx="33">
                  <c:v>0.30001003280099614</c:v>
                </c:pt>
                <c:pt idx="34">
                  <c:v>0.3062722249973973</c:v>
                </c:pt>
                <c:pt idx="35">
                  <c:v>0.30045869356892674</c:v>
                </c:pt>
                <c:pt idx="36">
                  <c:v>0.30746888902050407</c:v>
                </c:pt>
                <c:pt idx="37">
                  <c:v>0.29736761956478336</c:v>
                </c:pt>
                <c:pt idx="38">
                  <c:v>0.26839620738820325</c:v>
                </c:pt>
                <c:pt idx="39">
                  <c:v>0.279738196974152</c:v>
                </c:pt>
                <c:pt idx="40">
                  <c:v>0.30029019060426193</c:v>
                </c:pt>
                <c:pt idx="41">
                  <c:v>0.2911666972021133</c:v>
                </c:pt>
                <c:pt idx="42">
                  <c:v>0.3011441479410714</c:v>
                </c:pt>
                <c:pt idx="43">
                  <c:v>0.2984604636257343</c:v>
                </c:pt>
                <c:pt idx="44">
                  <c:v>0.29290990128090594</c:v>
                </c:pt>
                <c:pt idx="45">
                  <c:v>0.29356526166235053</c:v>
                </c:pt>
                <c:pt idx="46">
                  <c:v>0.2990850068283795</c:v>
                </c:pt>
                <c:pt idx="47">
                  <c:v>0.3053052956137363</c:v>
                </c:pt>
                <c:pt idx="48">
                  <c:v>0.30286065223690045</c:v>
                </c:pt>
                <c:pt idx="49">
                  <c:v>0.3009998202033601</c:v>
                </c:pt>
                <c:pt idx="50">
                  <c:v>0.30905363144921233</c:v>
                </c:pt>
                <c:pt idx="51">
                  <c:v>0.31520158971931483</c:v>
                </c:pt>
                <c:pt idx="52">
                  <c:v>0.32646265091228616</c:v>
                </c:pt>
                <c:pt idx="53">
                  <c:v>0.3509992566882263</c:v>
                </c:pt>
                <c:pt idx="54">
                  <c:v>0.289264965225253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915254237288135"/>
          <c:min val="0.151351351351351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1.3452</c:v>
                </c:pt>
                <c:pt idx="1">
                  <c:v>775.1799</c:v>
                </c:pt>
                <c:pt idx="2">
                  <c:v>857.9597</c:v>
                </c:pt>
                <c:pt idx="3">
                  <c:v>847.8531</c:v>
                </c:pt>
                <c:pt idx="4">
                  <c:v>848.9149</c:v>
                </c:pt>
                <c:pt idx="5">
                  <c:v>871.9257</c:v>
                </c:pt>
                <c:pt idx="6">
                  <c:v>864.0231</c:v>
                </c:pt>
                <c:pt idx="7">
                  <c:v>890.0282</c:v>
                </c:pt>
                <c:pt idx="8">
                  <c:v>884.0741</c:v>
                </c:pt>
                <c:pt idx="9">
                  <c:v>897.7323</c:v>
                </c:pt>
                <c:pt idx="10">
                  <c:v>1063.3091</c:v>
                </c:pt>
                <c:pt idx="11">
                  <c:v>1074.5147</c:v>
                </c:pt>
                <c:pt idx="12">
                  <c:v>1101.8385</c:v>
                </c:pt>
                <c:pt idx="13">
                  <c:v>1074.454</c:v>
                </c:pt>
                <c:pt idx="14">
                  <c:v>1081.0366</c:v>
                </c:pt>
                <c:pt idx="15">
                  <c:v>1071.1022</c:v>
                </c:pt>
                <c:pt idx="16">
                  <c:v>1048.3</c:v>
                </c:pt>
                <c:pt idx="17">
                  <c:v>1039.4353</c:v>
                </c:pt>
                <c:pt idx="18">
                  <c:v>1100.8193</c:v>
                </c:pt>
                <c:pt idx="19">
                  <c:v>1156.0</c:v>
                </c:pt>
                <c:pt idx="20">
                  <c:v>1077.1639</c:v>
                </c:pt>
                <c:pt idx="21">
                  <c:v>1187.5106</c:v>
                </c:pt>
                <c:pt idx="22">
                  <c:v>1123.7692</c:v>
                </c:pt>
                <c:pt idx="23">
                  <c:v>1225.0789</c:v>
                </c:pt>
                <c:pt idx="24">
                  <c:v>1109.4667</c:v>
                </c:pt>
                <c:pt idx="25">
                  <c:v>1154.9111</c:v>
                </c:pt>
                <c:pt idx="26">
                  <c:v>1140.5946</c:v>
                </c:pt>
                <c:pt idx="27">
                  <c:v>1053.2222</c:v>
                </c:pt>
                <c:pt idx="28">
                  <c:v>1054.7209</c:v>
                </c:pt>
                <c:pt idx="29">
                  <c:v>1008.3036</c:v>
                </c:pt>
                <c:pt idx="30">
                  <c:v>1001.6744</c:v>
                </c:pt>
                <c:pt idx="31">
                  <c:v>1007.1111</c:v>
                </c:pt>
                <c:pt idx="32">
                  <c:v>955.4</c:v>
                </c:pt>
                <c:pt idx="33">
                  <c:v>559.8529</c:v>
                </c:pt>
                <c:pt idx="34">
                  <c:v>1073.5968</c:v>
                </c:pt>
                <c:pt idx="35">
                  <c:v>1018.4706</c:v>
                </c:pt>
                <c:pt idx="36">
                  <c:v>1222.4048</c:v>
                </c:pt>
                <c:pt idx="37">
                  <c:v>1165.2647</c:v>
                </c:pt>
                <c:pt idx="38">
                  <c:v>1178.0</c:v>
                </c:pt>
                <c:pt idx="39">
                  <c:v>1192.0</c:v>
                </c:pt>
                <c:pt idx="40">
                  <c:v>1373.04</c:v>
                </c:pt>
                <c:pt idx="41">
                  <c:v>1234.04</c:v>
                </c:pt>
                <c:pt idx="42">
                  <c:v>1354.0323</c:v>
                </c:pt>
                <c:pt idx="43">
                  <c:v>1352.7188</c:v>
                </c:pt>
                <c:pt idx="44">
                  <c:v>1258.8776</c:v>
                </c:pt>
                <c:pt idx="45">
                  <c:v>1172.8608</c:v>
                </c:pt>
                <c:pt idx="46">
                  <c:v>1177.9593</c:v>
                </c:pt>
                <c:pt idx="47">
                  <c:v>1158.8</c:v>
                </c:pt>
                <c:pt idx="48">
                  <c:v>1133.5477</c:v>
                </c:pt>
                <c:pt idx="49">
                  <c:v>1111.5497</c:v>
                </c:pt>
                <c:pt idx="50">
                  <c:v>1137.2057</c:v>
                </c:pt>
                <c:pt idx="51">
                  <c:v>1146.3019</c:v>
                </c:pt>
                <c:pt idx="52">
                  <c:v>1128.2681</c:v>
                </c:pt>
                <c:pt idx="53">
                  <c:v>1233.8452</c:v>
                </c:pt>
                <c:pt idx="54">
                  <c:v>1334.3151</c:v>
                </c:pt>
                <c:pt idx="55">
                  <c:v>1259.5949</c:v>
                </c:pt>
                <c:pt idx="56">
                  <c:v>1293.5062</c:v>
                </c:pt>
                <c:pt idx="57">
                  <c:v>1297.9524</c:v>
                </c:pt>
                <c:pt idx="58">
                  <c:v>1221.8431</c:v>
                </c:pt>
                <c:pt idx="59">
                  <c:v>1190.2929</c:v>
                </c:pt>
                <c:pt idx="60">
                  <c:v>1275.5192</c:v>
                </c:pt>
                <c:pt idx="61">
                  <c:v>1226.6444</c:v>
                </c:pt>
                <c:pt idx="62">
                  <c:v>1169.9101</c:v>
                </c:pt>
                <c:pt idx="63">
                  <c:v>1233.4619</c:v>
                </c:pt>
                <c:pt idx="64">
                  <c:v>1221.4828</c:v>
                </c:pt>
                <c:pt idx="65">
                  <c:v>1223.1029</c:v>
                </c:pt>
                <c:pt idx="66">
                  <c:v>1228.0719</c:v>
                </c:pt>
                <c:pt idx="67">
                  <c:v>1183.7517</c:v>
                </c:pt>
                <c:pt idx="68">
                  <c:v>1266.5679</c:v>
                </c:pt>
                <c:pt idx="69">
                  <c:v>1249.3544</c:v>
                </c:pt>
                <c:pt idx="70">
                  <c:v>1243.1803</c:v>
                </c:pt>
                <c:pt idx="71">
                  <c:v>1271.0893</c:v>
                </c:pt>
                <c:pt idx="72">
                  <c:v>1340.3103</c:v>
                </c:pt>
                <c:pt idx="73">
                  <c:v>1170.9444</c:v>
                </c:pt>
                <c:pt idx="74">
                  <c:v>1357.6087</c:v>
                </c:pt>
                <c:pt idx="75">
                  <c:v>1367.0732</c:v>
                </c:pt>
                <c:pt idx="76">
                  <c:v>1231.2045</c:v>
                </c:pt>
                <c:pt idx="77">
                  <c:v>1194.8611</c:v>
                </c:pt>
                <c:pt idx="78">
                  <c:v>1272.7097</c:v>
                </c:pt>
                <c:pt idx="79">
                  <c:v>1223.2286</c:v>
                </c:pt>
                <c:pt idx="80">
                  <c:v>1439.0</c:v>
                </c:pt>
                <c:pt idx="81">
                  <c:v>1467.525</c:v>
                </c:pt>
                <c:pt idx="82">
                  <c:v>1450.0</c:v>
                </c:pt>
                <c:pt idx="83">
                  <c:v>1407.7143</c:v>
                </c:pt>
                <c:pt idx="84">
                  <c:v>1329.6842</c:v>
                </c:pt>
                <c:pt idx="85">
                  <c:v>1289.84</c:v>
                </c:pt>
                <c:pt idx="86">
                  <c:v>1254.7436</c:v>
                </c:pt>
                <c:pt idx="87">
                  <c:v>1435.8864</c:v>
                </c:pt>
                <c:pt idx="88">
                  <c:v>1371.0303</c:v>
                </c:pt>
                <c:pt idx="89">
                  <c:v>1501.2941</c:v>
                </c:pt>
                <c:pt idx="90">
                  <c:v>1251.3889</c:v>
                </c:pt>
                <c:pt idx="91">
                  <c:v>1360.3333</c:v>
                </c:pt>
                <c:pt idx="92">
                  <c:v>1392.9565</c:v>
                </c:pt>
                <c:pt idx="93">
                  <c:v>1314.0417</c:v>
                </c:pt>
                <c:pt idx="94">
                  <c:v>1455.1667</c:v>
                </c:pt>
                <c:pt idx="95">
                  <c:v>1248.9767</c:v>
                </c:pt>
                <c:pt idx="96">
                  <c:v>1304.9574</c:v>
                </c:pt>
                <c:pt idx="97">
                  <c:v>1287.6923</c:v>
                </c:pt>
                <c:pt idx="98">
                  <c:v>1247.044</c:v>
                </c:pt>
                <c:pt idx="99">
                  <c:v>1176.5132</c:v>
                </c:pt>
                <c:pt idx="100">
                  <c:v>1170.3889</c:v>
                </c:pt>
                <c:pt idx="101">
                  <c:v>1239.7027</c:v>
                </c:pt>
                <c:pt idx="102">
                  <c:v>1252.8529</c:v>
                </c:pt>
                <c:pt idx="103">
                  <c:v>1148.6118</c:v>
                </c:pt>
                <c:pt idx="104">
                  <c:v>1294.9103</c:v>
                </c:pt>
              </c:numCache>
            </c:numRef>
          </c:xVal>
          <c:yVal>
            <c:numRef>
              <c:f>Sheet1!$B$2:$B$106</c:f>
              <c:numCache>
                <c:formatCode>General</c:formatCode>
                <c:ptCount val="105"/>
                <c:pt idx="0">
                  <c:v>0.29116117850953205</c:v>
                </c:pt>
                <c:pt idx="1">
                  <c:v>0.31235955056179776</c:v>
                </c:pt>
                <c:pt idx="2">
                  <c:v>0.298</c:v>
                </c:pt>
                <c:pt idx="3">
                  <c:v>0.3341121495327103</c:v>
                </c:pt>
                <c:pt idx="4">
                  <c:v>0.3560606060606061</c:v>
                </c:pt>
                <c:pt idx="5">
                  <c:v>0.3425925925925926</c:v>
                </c:pt>
                <c:pt idx="6">
                  <c:v>0.38789237668161436</c:v>
                </c:pt>
                <c:pt idx="7">
                  <c:v>0.4068965517241379</c:v>
                </c:pt>
                <c:pt idx="8">
                  <c:v>0.421875</c:v>
                </c:pt>
                <c:pt idx="9">
                  <c:v>0.41166936790923825</c:v>
                </c:pt>
                <c:pt idx="10">
                  <c:v>0.4007285974499089</c:v>
                </c:pt>
                <c:pt idx="11">
                  <c:v>0.35978835978835977</c:v>
                </c:pt>
                <c:pt idx="12">
                  <c:v>0.33217993079584773</c:v>
                </c:pt>
                <c:pt idx="13">
                  <c:v>0.3110687022900763</c:v>
                </c:pt>
                <c:pt idx="14">
                  <c:v>0.34893617021276596</c:v>
                </c:pt>
                <c:pt idx="15">
                  <c:v>0.3374384236453202</c:v>
                </c:pt>
                <c:pt idx="16">
                  <c:v>0.25</c:v>
                </c:pt>
                <c:pt idx="17">
                  <c:v>0.24285714285714285</c:v>
                </c:pt>
                <c:pt idx="18">
                  <c:v>0.2434017595307918</c:v>
                </c:pt>
                <c:pt idx="19">
                  <c:v>0.24607329842931938</c:v>
                </c:pt>
                <c:pt idx="20">
                  <c:v>0.25738396624472576</c:v>
                </c:pt>
                <c:pt idx="21">
                  <c:v>0.25</c:v>
                </c:pt>
                <c:pt idx="22">
                  <c:v>0.26804123711340205</c:v>
                </c:pt>
                <c:pt idx="23">
                  <c:v>0.2331288343558282</c:v>
                </c:pt>
                <c:pt idx="24">
                  <c:v>0.3146853146853147</c:v>
                </c:pt>
                <c:pt idx="25">
                  <c:v>0.3191489361702128</c:v>
                </c:pt>
                <c:pt idx="26">
                  <c:v>0.2781954887218045</c:v>
                </c:pt>
                <c:pt idx="27">
                  <c:v>0.29508196721311475</c:v>
                </c:pt>
                <c:pt idx="28">
                  <c:v>0.3739130434782609</c:v>
                </c:pt>
                <c:pt idx="29">
                  <c:v>0.3971631205673759</c:v>
                </c:pt>
                <c:pt idx="30">
                  <c:v>0.3644067796610169</c:v>
                </c:pt>
                <c:pt idx="31">
                  <c:v>0.34951456310679613</c:v>
                </c:pt>
                <c:pt idx="32">
                  <c:v>0.36585365853658536</c:v>
                </c:pt>
                <c:pt idx="33">
                  <c:v>0.576271186440678</c:v>
                </c:pt>
                <c:pt idx="34">
                  <c:v>0.42758620689655175</c:v>
                </c:pt>
                <c:pt idx="35">
                  <c:v>0.4594594594594595</c:v>
                </c:pt>
                <c:pt idx="36">
                  <c:v>0.3888888888888889</c:v>
                </c:pt>
                <c:pt idx="37">
                  <c:v>0.3008849557522124</c:v>
                </c:pt>
                <c:pt idx="38">
                  <c:v>0.2222222222222222</c:v>
                </c:pt>
                <c:pt idx="39">
                  <c:v>0.21739130434782608</c:v>
                </c:pt>
                <c:pt idx="40">
                  <c:v>0.21739130434782608</c:v>
                </c:pt>
                <c:pt idx="41">
                  <c:v>0.21008403361344538</c:v>
                </c:pt>
                <c:pt idx="42">
                  <c:v>0.25833333333333336</c:v>
                </c:pt>
                <c:pt idx="43">
                  <c:v>0.23703703703703705</c:v>
                </c:pt>
                <c:pt idx="44">
                  <c:v>0.28</c:v>
                </c:pt>
                <c:pt idx="45">
                  <c:v>0.30038022813688214</c:v>
                </c:pt>
                <c:pt idx="46">
                  <c:v>0.29285714285714287</c:v>
                </c:pt>
                <c:pt idx="47">
                  <c:v>0.27848101265822783</c:v>
                </c:pt>
                <c:pt idx="48">
                  <c:v>0.31338582677165355</c:v>
                </c:pt>
                <c:pt idx="49">
                  <c:v>0.32127659574468087</c:v>
                </c:pt>
                <c:pt idx="50">
                  <c:v>0.2854251012145749</c:v>
                </c:pt>
                <c:pt idx="51">
                  <c:v>0.25853658536585367</c:v>
                </c:pt>
                <c:pt idx="52">
                  <c:v>0.2623574144486692</c:v>
                </c:pt>
                <c:pt idx="53">
                  <c:v>0.2441860465116279</c:v>
                </c:pt>
                <c:pt idx="54">
                  <c:v>0.228125</c:v>
                </c:pt>
                <c:pt idx="55">
                  <c:v>0.2289855072463768</c:v>
                </c:pt>
                <c:pt idx="56">
                  <c:v>0.24471299093655588</c:v>
                </c:pt>
                <c:pt idx="57">
                  <c:v>0.24</c:v>
                </c:pt>
                <c:pt idx="58">
                  <c:v>0.29737609329446063</c:v>
                </c:pt>
                <c:pt idx="59">
                  <c:v>0.2966101694915254</c:v>
                </c:pt>
                <c:pt idx="60">
                  <c:v>0.2899628252788104</c:v>
                </c:pt>
                <c:pt idx="61">
                  <c:v>0.3185840707964602</c:v>
                </c:pt>
                <c:pt idx="62">
                  <c:v>0.3073170731707317</c:v>
                </c:pt>
                <c:pt idx="63">
                  <c:v>0.3548872180451128</c:v>
                </c:pt>
                <c:pt idx="64">
                  <c:v>0.3217753120665742</c:v>
                </c:pt>
                <c:pt idx="65">
                  <c:v>0.28594771241830064</c:v>
                </c:pt>
                <c:pt idx="66">
                  <c:v>0.3150943396226415</c:v>
                </c:pt>
                <c:pt idx="67">
                  <c:v>0.36077481840193704</c:v>
                </c:pt>
                <c:pt idx="68">
                  <c:v>0.27</c:v>
                </c:pt>
                <c:pt idx="69">
                  <c:v>0.2687074829931973</c:v>
                </c:pt>
                <c:pt idx="70">
                  <c:v>0.22021660649819494</c:v>
                </c:pt>
                <c:pt idx="71">
                  <c:v>0.2413793103448276</c:v>
                </c:pt>
                <c:pt idx="72">
                  <c:v>0.24369747899159663</c:v>
                </c:pt>
                <c:pt idx="73">
                  <c:v>0.27835051546391754</c:v>
                </c:pt>
                <c:pt idx="74">
                  <c:v>0.24468085106382978</c:v>
                </c:pt>
                <c:pt idx="75">
                  <c:v>0.25949367088607594</c:v>
                </c:pt>
                <c:pt idx="76">
                  <c:v>0.2875816993464052</c:v>
                </c:pt>
                <c:pt idx="77">
                  <c:v>0.2647058823529412</c:v>
                </c:pt>
                <c:pt idx="78">
                  <c:v>0.25203252032520324</c:v>
                </c:pt>
                <c:pt idx="79">
                  <c:v>0.25547445255474455</c:v>
                </c:pt>
                <c:pt idx="80">
                  <c:v>0.19642857142857142</c:v>
                </c:pt>
                <c:pt idx="81">
                  <c:v>0.28368794326241137</c:v>
                </c:pt>
                <c:pt idx="82">
                  <c:v>0.28448275862068967</c:v>
                </c:pt>
                <c:pt idx="83">
                  <c:v>0.1891891891891892</c:v>
                </c:pt>
                <c:pt idx="84">
                  <c:v>0.25</c:v>
                </c:pt>
                <c:pt idx="85">
                  <c:v>0.21929824561403508</c:v>
                </c:pt>
                <c:pt idx="86">
                  <c:v>0.30952380952380953</c:v>
                </c:pt>
                <c:pt idx="87">
                  <c:v>0.29931972789115646</c:v>
                </c:pt>
                <c:pt idx="88">
                  <c:v>0.3173076923076923</c:v>
                </c:pt>
                <c:pt idx="89">
                  <c:v>0.2328767123287671</c:v>
                </c:pt>
                <c:pt idx="90">
                  <c:v>0.2465753424657534</c:v>
                </c:pt>
                <c:pt idx="91">
                  <c:v>0.25925925925925924</c:v>
                </c:pt>
                <c:pt idx="92">
                  <c:v>0.23958333333333334</c:v>
                </c:pt>
                <c:pt idx="93">
                  <c:v>0.26373626373626374</c:v>
                </c:pt>
                <c:pt idx="94">
                  <c:v>0.25</c:v>
                </c:pt>
                <c:pt idx="95">
                  <c:v>0.2905405405405405</c:v>
                </c:pt>
                <c:pt idx="96">
                  <c:v>0.2611111111111111</c:v>
                </c:pt>
                <c:pt idx="97">
                  <c:v>0.2810810810810811</c:v>
                </c:pt>
                <c:pt idx="98">
                  <c:v>0.3023255813953488</c:v>
                </c:pt>
                <c:pt idx="99">
                  <c:v>0.3114754098360656</c:v>
                </c:pt>
                <c:pt idx="100">
                  <c:v>0.3248407643312102</c:v>
                </c:pt>
                <c:pt idx="101">
                  <c:v>0.3126760563380282</c:v>
                </c:pt>
                <c:pt idx="102">
                  <c:v>0.24028268551236748</c:v>
                </c:pt>
                <c:pt idx="103">
                  <c:v>0.24853801169590642</c:v>
                </c:pt>
                <c:pt idx="104">
                  <c:v>0.248407643312101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6.8289</c:v>
                </c:pt>
                <c:pt idx="1">
                  <c:v>1296.4627</c:v>
                </c:pt>
                <c:pt idx="2">
                  <c:v>1220.5745</c:v>
                </c:pt>
                <c:pt idx="3">
                  <c:v>1231.2455</c:v>
                </c:pt>
                <c:pt idx="4">
                  <c:v>1137.2443</c:v>
                </c:pt>
                <c:pt idx="5">
                  <c:v>1331.9118</c:v>
                </c:pt>
                <c:pt idx="6">
                  <c:v>1280.425</c:v>
                </c:pt>
                <c:pt idx="7">
                  <c:v>1249.3016</c:v>
                </c:pt>
                <c:pt idx="8">
                  <c:v>1315.9351</c:v>
                </c:pt>
                <c:pt idx="9">
                  <c:v>1314.4586</c:v>
                </c:pt>
                <c:pt idx="10">
                  <c:v>1245.7697</c:v>
                </c:pt>
                <c:pt idx="11">
                  <c:v>1224.8145</c:v>
                </c:pt>
                <c:pt idx="12">
                  <c:v>1236.9439</c:v>
                </c:pt>
                <c:pt idx="13">
                  <c:v>1280.1695</c:v>
                </c:pt>
                <c:pt idx="14">
                  <c:v>1217.2581</c:v>
                </c:pt>
                <c:pt idx="15">
                  <c:v>1292.7612</c:v>
                </c:pt>
                <c:pt idx="16">
                  <c:v>1291.2233</c:v>
                </c:pt>
                <c:pt idx="17">
                  <c:v>1297.6164</c:v>
                </c:pt>
                <c:pt idx="18">
                  <c:v>1363.029</c:v>
                </c:pt>
                <c:pt idx="19">
                  <c:v>1481.7358</c:v>
                </c:pt>
                <c:pt idx="20">
                  <c:v>1437.7353</c:v>
                </c:pt>
                <c:pt idx="21">
                  <c:v>1452.3784</c:v>
                </c:pt>
                <c:pt idx="22">
                  <c:v>1472.3143</c:v>
                </c:pt>
                <c:pt idx="23">
                  <c:v>1546.561</c:v>
                </c:pt>
                <c:pt idx="24">
                  <c:v>1489.1714</c:v>
                </c:pt>
                <c:pt idx="25">
                  <c:v>1337.814</c:v>
                </c:pt>
                <c:pt idx="26">
                  <c:v>1453.5</c:v>
                </c:pt>
                <c:pt idx="27">
                  <c:v>1426.5714</c:v>
                </c:pt>
                <c:pt idx="28">
                  <c:v>1607.6538</c:v>
                </c:pt>
                <c:pt idx="29">
                  <c:v>1623.0606</c:v>
                </c:pt>
                <c:pt idx="30">
                  <c:v>1644.2059</c:v>
                </c:pt>
                <c:pt idx="31">
                  <c:v>1250.7222</c:v>
                </c:pt>
                <c:pt idx="32">
                  <c:v>1322.5484</c:v>
                </c:pt>
                <c:pt idx="33">
                  <c:v>1377.4464</c:v>
                </c:pt>
                <c:pt idx="34">
                  <c:v>1527.1096</c:v>
                </c:pt>
                <c:pt idx="35">
                  <c:v>1380.6119</c:v>
                </c:pt>
                <c:pt idx="36">
                  <c:v>1415.6786</c:v>
                </c:pt>
                <c:pt idx="37">
                  <c:v>1583.95</c:v>
                </c:pt>
                <c:pt idx="38">
                  <c:v>1600.8333</c:v>
                </c:pt>
                <c:pt idx="39">
                  <c:v>1310.871</c:v>
                </c:pt>
                <c:pt idx="40">
                  <c:v>1390.4</c:v>
                </c:pt>
                <c:pt idx="41">
                  <c:v>1513.2432</c:v>
                </c:pt>
                <c:pt idx="42">
                  <c:v>1366.9545</c:v>
                </c:pt>
                <c:pt idx="43">
                  <c:v>1299.6667</c:v>
                </c:pt>
                <c:pt idx="44">
                  <c:v>1391.1364</c:v>
                </c:pt>
                <c:pt idx="45">
                  <c:v>1328.1579</c:v>
                </c:pt>
                <c:pt idx="46">
                  <c:v>1227.1558</c:v>
                </c:pt>
                <c:pt idx="47">
                  <c:v>1335.3718</c:v>
                </c:pt>
                <c:pt idx="48">
                  <c:v>1302.7564</c:v>
                </c:pt>
                <c:pt idx="49">
                  <c:v>1375.136</c:v>
                </c:pt>
                <c:pt idx="50">
                  <c:v>1205.6</c:v>
                </c:pt>
                <c:pt idx="51">
                  <c:v>1133.4623</c:v>
                </c:pt>
              </c:numCache>
            </c:numRef>
          </c:xVal>
          <c:yVal>
            <c:numRef>
              <c:f>Sheet1!$B$109:$B$160</c:f>
              <c:numCache>
                <c:formatCode>General</c:formatCode>
                <c:ptCount val="52"/>
                <c:pt idx="0">
                  <c:v>0.23974763406940064</c:v>
                </c:pt>
                <c:pt idx="1">
                  <c:v>0.24814814814814815</c:v>
                </c:pt>
                <c:pt idx="2">
                  <c:v>0.281437125748503</c:v>
                </c:pt>
                <c:pt idx="3">
                  <c:v>0.3170028818443804</c:v>
                </c:pt>
                <c:pt idx="4">
                  <c:v>0.32186732186732187</c:v>
                </c:pt>
                <c:pt idx="5">
                  <c:v>0.2841225626740947</c:v>
                </c:pt>
                <c:pt idx="6">
                  <c:v>0.2891566265060241</c:v>
                </c:pt>
                <c:pt idx="7">
                  <c:v>0.29439252336448596</c:v>
                </c:pt>
                <c:pt idx="8">
                  <c:v>0.3188405797101449</c:v>
                </c:pt>
                <c:pt idx="9">
                  <c:v>0.3389513108614232</c:v>
                </c:pt>
                <c:pt idx="10">
                  <c:v>0.34563106796116505</c:v>
                </c:pt>
                <c:pt idx="11">
                  <c:v>0.3480314960629921</c:v>
                </c:pt>
                <c:pt idx="12">
                  <c:v>0.35</c:v>
                </c:pt>
                <c:pt idx="13">
                  <c:v>0.365702479338843</c:v>
                </c:pt>
                <c:pt idx="14">
                  <c:v>0.3904282115869018</c:v>
                </c:pt>
                <c:pt idx="15">
                  <c:v>0.3872832369942196</c:v>
                </c:pt>
                <c:pt idx="16">
                  <c:v>0.3377049180327869</c:v>
                </c:pt>
                <c:pt idx="17">
                  <c:v>0.3029045643153527</c:v>
                </c:pt>
                <c:pt idx="18">
                  <c:v>0.2727272727272727</c:v>
                </c:pt>
                <c:pt idx="19">
                  <c:v>0.2864864864864865</c:v>
                </c:pt>
                <c:pt idx="20">
                  <c:v>0.2698412698412698</c:v>
                </c:pt>
                <c:pt idx="21">
                  <c:v>0.2483221476510067</c:v>
                </c:pt>
                <c:pt idx="22">
                  <c:v>0.23026315789473684</c:v>
                </c:pt>
                <c:pt idx="23">
                  <c:v>0.2827586206896552</c:v>
                </c:pt>
                <c:pt idx="24">
                  <c:v>0.23333333333333334</c:v>
                </c:pt>
                <c:pt idx="25">
                  <c:v>0.31386861313868614</c:v>
                </c:pt>
                <c:pt idx="26">
                  <c:v>0.2702702702702703</c:v>
                </c:pt>
                <c:pt idx="27">
                  <c:v>0.23863636363636365</c:v>
                </c:pt>
                <c:pt idx="28">
                  <c:v>0.26</c:v>
                </c:pt>
                <c:pt idx="29">
                  <c:v>0.3173076923076923</c:v>
                </c:pt>
                <c:pt idx="30">
                  <c:v>0.3617021276595745</c:v>
                </c:pt>
                <c:pt idx="31">
                  <c:v>0.2857142857142857</c:v>
                </c:pt>
                <c:pt idx="32">
                  <c:v>0.34065934065934067</c:v>
                </c:pt>
                <c:pt idx="33">
                  <c:v>0.3888888888888889</c:v>
                </c:pt>
                <c:pt idx="34">
                  <c:v>0.477124183006536</c:v>
                </c:pt>
                <c:pt idx="35">
                  <c:v>0.46206896551724136</c:v>
                </c:pt>
                <c:pt idx="36">
                  <c:v>0.32558139534883723</c:v>
                </c:pt>
                <c:pt idx="37">
                  <c:v>0.2597402597402597</c:v>
                </c:pt>
                <c:pt idx="38">
                  <c:v>0.24</c:v>
                </c:pt>
                <c:pt idx="39">
                  <c:v>0.3069306930693069</c:v>
                </c:pt>
                <c:pt idx="40">
                  <c:v>0.30973451327433627</c:v>
                </c:pt>
                <c:pt idx="41">
                  <c:v>0.3333333333333333</c:v>
                </c:pt>
                <c:pt idx="42">
                  <c:v>0.2875816993464052</c:v>
                </c:pt>
                <c:pt idx="43">
                  <c:v>0.2545454545454545</c:v>
                </c:pt>
                <c:pt idx="44">
                  <c:v>0.27672955974842767</c:v>
                </c:pt>
                <c:pt idx="45">
                  <c:v>0.28078817733990147</c:v>
                </c:pt>
                <c:pt idx="46">
                  <c:v>0.3031496062992126</c:v>
                </c:pt>
                <c:pt idx="47">
                  <c:v>0.2746478873239437</c:v>
                </c:pt>
                <c:pt idx="48">
                  <c:v>0.26174496644295303</c:v>
                </c:pt>
                <c:pt idx="49">
                  <c:v>0.25</c:v>
                </c:pt>
                <c:pt idx="50">
                  <c:v>0.30671859785783834</c:v>
                </c:pt>
                <c:pt idx="51">
                  <c:v>0.31454005934718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18.4907715085288</c:v>
                </c:pt>
              </c:numCache>
            </c:numRef>
          </c:xVal>
          <c:yVal>
            <c:numRef>
              <c:f>Sheet1!$B$163:$B$164</c:f>
              <c:numCache>
                <c:formatCode>General</c:formatCode>
                <c:ptCount val="2"/>
                <c:pt idx="0">
                  <c:v>0.3509992566882263</c:v>
                </c:pt>
                <c:pt idx="1">
                  <c:v>0.350999256688226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18.4907715085288</c:v>
                </c:pt>
                <c:pt idx="1">
                  <c:v>518.4907715085288</c:v>
                </c:pt>
              </c:numCache>
            </c:numRef>
          </c:xVal>
          <c:yVal>
            <c:numRef>
              <c:f>Sheet1!$B$167:$B$168</c:f>
              <c:numCache>
                <c:formatCode>General</c:formatCode>
                <c:ptCount val="2"/>
                <c:pt idx="0">
                  <c:v>0.35099925668822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1.9394955089708</c:v>
                </c:pt>
              </c:numCache>
            </c:numRef>
          </c:xVal>
          <c:yVal>
            <c:numRef>
              <c:f>Sheet1!$B$171:$B$172</c:f>
              <c:numCache>
                <c:formatCode>General</c:formatCode>
                <c:ptCount val="2"/>
                <c:pt idx="0">
                  <c:v>0.32646265091228616</c:v>
                </c:pt>
                <c:pt idx="1">
                  <c:v>0.3264626509122861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1.9394955089708</c:v>
                </c:pt>
                <c:pt idx="1">
                  <c:v>971.9394955089708</c:v>
                </c:pt>
              </c:numCache>
            </c:numRef>
          </c:xVal>
          <c:yVal>
            <c:numRef>
              <c:f>Sheet1!$B$175:$B$176</c:f>
              <c:numCache>
                <c:formatCode>General</c:formatCode>
                <c:ptCount val="2"/>
                <c:pt idx="0">
                  <c:v>0.326462650912286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659.3712969806334</c:v>
                </c:pt>
              </c:numCache>
            </c:numRef>
          </c:xVal>
          <c:yVal>
            <c:numRef>
              <c:f>Sheet1!$B$179:$B$180</c:f>
              <c:numCache>
                <c:formatCode>General</c:formatCode>
                <c:ptCount val="2"/>
                <c:pt idx="0">
                  <c:v>0.28926496522525336</c:v>
                </c:pt>
                <c:pt idx="1">
                  <c:v>0.289264965225253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659.3712969806334</c:v>
                </c:pt>
                <c:pt idx="1">
                  <c:v>1659.3712969806334</c:v>
                </c:pt>
              </c:numCache>
            </c:numRef>
          </c:xVal>
          <c:yVal>
            <c:numRef>
              <c:f>Sheet1!$B$183:$B$184</c:f>
              <c:numCache>
                <c:formatCode>General</c:formatCode>
                <c:ptCount val="2"/>
                <c:pt idx="0">
                  <c:v>0.289264965225253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6.8289</c:v>
                </c:pt>
                <c:pt idx="1">
                  <c:v>1296.4627</c:v>
                </c:pt>
                <c:pt idx="2">
                  <c:v>1220.5745</c:v>
                </c:pt>
                <c:pt idx="3">
                  <c:v>1231.2455</c:v>
                </c:pt>
                <c:pt idx="4">
                  <c:v>1137.2443</c:v>
                </c:pt>
                <c:pt idx="5">
                  <c:v>1331.9118</c:v>
                </c:pt>
                <c:pt idx="6">
                  <c:v>1280.425</c:v>
                </c:pt>
                <c:pt idx="7">
                  <c:v>1249.3016</c:v>
                </c:pt>
                <c:pt idx="8">
                  <c:v>1315.9351</c:v>
                </c:pt>
                <c:pt idx="9">
                  <c:v>1314.4586</c:v>
                </c:pt>
                <c:pt idx="10">
                  <c:v>1245.7697</c:v>
                </c:pt>
                <c:pt idx="11">
                  <c:v>1224.8145</c:v>
                </c:pt>
                <c:pt idx="12">
                  <c:v>1236.9439</c:v>
                </c:pt>
                <c:pt idx="13">
                  <c:v>1280.1695</c:v>
                </c:pt>
                <c:pt idx="14">
                  <c:v>1217.2581</c:v>
                </c:pt>
                <c:pt idx="15">
                  <c:v>1292.7612</c:v>
                </c:pt>
                <c:pt idx="16">
                  <c:v>1291.2233</c:v>
                </c:pt>
                <c:pt idx="17">
                  <c:v>1297.6164</c:v>
                </c:pt>
                <c:pt idx="18">
                  <c:v>1363.029</c:v>
                </c:pt>
                <c:pt idx="19">
                  <c:v>1481.7358</c:v>
                </c:pt>
                <c:pt idx="20">
                  <c:v>1437.7353</c:v>
                </c:pt>
                <c:pt idx="21">
                  <c:v>1452.3784</c:v>
                </c:pt>
                <c:pt idx="22">
                  <c:v>1472.3143</c:v>
                </c:pt>
                <c:pt idx="23">
                  <c:v>1546.561</c:v>
                </c:pt>
                <c:pt idx="24">
                  <c:v>1489.1714</c:v>
                </c:pt>
                <c:pt idx="25">
                  <c:v>1337.814</c:v>
                </c:pt>
                <c:pt idx="26">
                  <c:v>1453.5</c:v>
                </c:pt>
                <c:pt idx="27">
                  <c:v>1426.5714</c:v>
                </c:pt>
                <c:pt idx="28">
                  <c:v>1607.6538</c:v>
                </c:pt>
                <c:pt idx="29">
                  <c:v>1623.0606</c:v>
                </c:pt>
                <c:pt idx="30">
                  <c:v>1644.2059</c:v>
                </c:pt>
                <c:pt idx="31">
                  <c:v>1250.7222</c:v>
                </c:pt>
                <c:pt idx="32">
                  <c:v>1322.5484</c:v>
                </c:pt>
                <c:pt idx="33">
                  <c:v>1377.4464</c:v>
                </c:pt>
                <c:pt idx="34">
                  <c:v>1527.1096</c:v>
                </c:pt>
                <c:pt idx="35">
                  <c:v>1380.6119</c:v>
                </c:pt>
                <c:pt idx="36">
                  <c:v>1415.6786</c:v>
                </c:pt>
                <c:pt idx="37">
                  <c:v>1583.95</c:v>
                </c:pt>
                <c:pt idx="38">
                  <c:v>1600.8333</c:v>
                </c:pt>
                <c:pt idx="39">
                  <c:v>1310.871</c:v>
                </c:pt>
                <c:pt idx="40">
                  <c:v>1390.4</c:v>
                </c:pt>
                <c:pt idx="41">
                  <c:v>1513.2432</c:v>
                </c:pt>
                <c:pt idx="42">
                  <c:v>1366.9545</c:v>
                </c:pt>
                <c:pt idx="43">
                  <c:v>1299.6667</c:v>
                </c:pt>
                <c:pt idx="44">
                  <c:v>1391.1364</c:v>
                </c:pt>
                <c:pt idx="45">
                  <c:v>1328.1579</c:v>
                </c:pt>
                <c:pt idx="46">
                  <c:v>1227.1558</c:v>
                </c:pt>
                <c:pt idx="47">
                  <c:v>1335.3718</c:v>
                </c:pt>
                <c:pt idx="48">
                  <c:v>1302.7564</c:v>
                </c:pt>
                <c:pt idx="49">
                  <c:v>1375.136</c:v>
                </c:pt>
                <c:pt idx="50">
                  <c:v>1205.6</c:v>
                </c:pt>
                <c:pt idx="51">
                  <c:v>1133.4623</c:v>
                </c:pt>
                <c:pt idx="52">
                  <c:v>971.9394955089708</c:v>
                </c:pt>
                <c:pt idx="53">
                  <c:v>518.4907715085288</c:v>
                </c:pt>
                <c:pt idx="54">
                  <c:v>1659.3712969806334</c:v>
                </c:pt>
              </c:numCache>
            </c:numRef>
          </c:xVal>
          <c:yVal>
            <c:numRef>
              <c:f>Sheet1!$B$187:$B$241</c:f>
              <c:numCache>
                <c:formatCode>General</c:formatCode>
                <c:ptCount val="55"/>
                <c:pt idx="0">
                  <c:v>0.31267030680932995</c:v>
                </c:pt>
                <c:pt idx="1">
                  <c:v>0.3089023458275299</c:v>
                </c:pt>
                <c:pt idx="2">
                  <c:v>0.31300873922526257</c:v>
                </c:pt>
                <c:pt idx="3">
                  <c:v>0.31243131975890015</c:v>
                </c:pt>
                <c:pt idx="4">
                  <c:v>0.31751782737219103</c:v>
                </c:pt>
                <c:pt idx="5">
                  <c:v>0.3069841563040524</c:v>
                </c:pt>
                <c:pt idx="6">
                  <c:v>0.30977016329315454</c:v>
                </c:pt>
                <c:pt idx="7">
                  <c:v>0.31145428446449597</c:v>
                </c:pt>
                <c:pt idx="8">
                  <c:v>0.30784867299304436</c:v>
                </c:pt>
                <c:pt idx="9">
                  <c:v>0.30792856802088464</c:v>
                </c:pt>
                <c:pt idx="10">
                  <c:v>0.31164539943153236</c:v>
                </c:pt>
                <c:pt idx="11">
                  <c:v>0.31277930819374006</c:v>
                </c:pt>
                <c:pt idx="12">
                  <c:v>0.3121229731103087</c:v>
                </c:pt>
                <c:pt idx="13">
                  <c:v>0.3097839886772475</c:v>
                </c:pt>
                <c:pt idx="14">
                  <c:v>0.3131881932518996</c:v>
                </c:pt>
                <c:pt idx="15">
                  <c:v>0.3091026380358272</c:v>
                </c:pt>
                <c:pt idx="16">
                  <c:v>0.3091858554847372</c:v>
                </c:pt>
                <c:pt idx="17">
                  <c:v>0.308839917860297</c:v>
                </c:pt>
                <c:pt idx="18">
                  <c:v>0.3053003706214835</c:v>
                </c:pt>
                <c:pt idx="19">
                  <c:v>0.2988770160052722</c:v>
                </c:pt>
                <c:pt idx="20">
                  <c:v>0.3012579311237878</c:v>
                </c:pt>
                <c:pt idx="21">
                  <c:v>0.30046557698754084</c:v>
                </c:pt>
                <c:pt idx="22">
                  <c:v>0.2993868236617555</c:v>
                </c:pt>
                <c:pt idx="23">
                  <c:v>0.29536925362209937</c:v>
                </c:pt>
                <c:pt idx="24">
                  <c:v>0.2984746675670673</c:v>
                </c:pt>
                <c:pt idx="25">
                  <c:v>0.306664781814842</c:v>
                </c:pt>
                <c:pt idx="26">
                  <c:v>0.30040488598637205</c:v>
                </c:pt>
                <c:pt idx="27">
                  <c:v>0.30186202194756473</c:v>
                </c:pt>
                <c:pt idx="28">
                  <c:v>0.29206345547997714</c:v>
                </c:pt>
                <c:pt idx="29">
                  <c:v>0.29122977670250993</c:v>
                </c:pt>
                <c:pt idx="30">
                  <c:v>0.2900855814216484</c:v>
                </c:pt>
                <c:pt idx="31">
                  <c:v>0.3113774142467175</c:v>
                </c:pt>
                <c:pt idx="32">
                  <c:v>0.3074908201060708</c:v>
                </c:pt>
                <c:pt idx="33">
                  <c:v>0.3045202293587777</c:v>
                </c:pt>
                <c:pt idx="34">
                  <c:v>0.2964217901236458</c:v>
                </c:pt>
                <c:pt idx="35">
                  <c:v>0.3043489406959748</c:v>
                </c:pt>
                <c:pt idx="36">
                  <c:v>0.3024514432542082</c:v>
                </c:pt>
                <c:pt idx="37">
                  <c:v>0.2933460939905911</c:v>
                </c:pt>
                <c:pt idx="38">
                  <c:v>0.29243252018528354</c:v>
                </c:pt>
                <c:pt idx="39">
                  <c:v>0.3081226969757644</c:v>
                </c:pt>
                <c:pt idx="40">
                  <c:v>0.3038192959130395</c:v>
                </c:pt>
                <c:pt idx="41">
                  <c:v>0.29717211617447215</c:v>
                </c:pt>
                <c:pt idx="42">
                  <c:v>0.30508795752850204</c:v>
                </c:pt>
                <c:pt idx="43">
                  <c:v>0.30872897388767184</c:v>
                </c:pt>
                <c:pt idx="44">
                  <c:v>0.3037794485046402</c:v>
                </c:pt>
                <c:pt idx="45">
                  <c:v>0.30718728393358835</c:v>
                </c:pt>
                <c:pt idx="46">
                  <c:v>0.3126526178932439</c:v>
                </c:pt>
                <c:pt idx="47">
                  <c:v>0.3067969319245553</c:v>
                </c:pt>
                <c:pt idx="48">
                  <c:v>0.3085617868456683</c:v>
                </c:pt>
                <c:pt idx="49">
                  <c:v>0.30464524762652057</c:v>
                </c:pt>
                <c:pt idx="50">
                  <c:v>0.3138190257775111</c:v>
                </c:pt>
                <c:pt idx="51">
                  <c:v>0.31772247552342175</c:v>
                </c:pt>
                <c:pt idx="52">
                  <c:v>0.32646265091228616</c:v>
                </c:pt>
                <c:pt idx="53">
                  <c:v>0.3509992566882263</c:v>
                </c:pt>
                <c:pt idx="54">
                  <c:v>0.289264965225253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91.0"/>
          <c:min val="4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915254237288135"/>
          <c:min val="0.151351351351351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79279529606865</c:v>
                </c:pt>
                <c:pt idx="1">
                  <c:v>0.6579368749436679</c:v>
                </c:pt>
                <c:pt idx="2">
                  <c:v>0.6447640471344035</c:v>
                </c:pt>
                <c:pt idx="3">
                  <c:v>0.6461613412789735</c:v>
                </c:pt>
                <c:pt idx="4">
                  <c:v>0.6496481104226968</c:v>
                </c:pt>
                <c:pt idx="5">
                  <c:v>0.6565724106114127</c:v>
                </c:pt>
                <c:pt idx="6">
                  <c:v>0.614861343523226</c:v>
                </c:pt>
                <c:pt idx="7">
                  <c:v>0.6044386257863704</c:v>
                </c:pt>
                <c:pt idx="8">
                  <c:v>0.6169620244720727</c:v>
                </c:pt>
                <c:pt idx="9">
                  <c:v>0.650190949673297</c:v>
                </c:pt>
                <c:pt idx="10">
                  <c:v>0.6576854315031885</c:v>
                </c:pt>
                <c:pt idx="11">
                  <c:v>0.7054917881835904</c:v>
                </c:pt>
                <c:pt idx="12">
                  <c:v>0.7335340646758723</c:v>
                </c:pt>
                <c:pt idx="13">
                  <c:v>0.7338651597145731</c:v>
                </c:pt>
                <c:pt idx="14">
                  <c:v>0.7341478316218306</c:v>
                </c:pt>
                <c:pt idx="15">
                  <c:v>0.7477538234379962</c:v>
                </c:pt>
                <c:pt idx="16">
                  <c:v>0.7573954412181404</c:v>
                </c:pt>
                <c:pt idx="17">
                  <c:v>0.7567776142856512</c:v>
                </c:pt>
                <c:pt idx="18">
                  <c:v>0.786531356864981</c:v>
                </c:pt>
                <c:pt idx="19">
                  <c:v>0.7704884606182171</c:v>
                </c:pt>
                <c:pt idx="20">
                  <c:v>0.8100148221757818</c:v>
                </c:pt>
                <c:pt idx="21">
                  <c:v>0.7274030015634683</c:v>
                </c:pt>
                <c:pt idx="22">
                  <c:v>0.6565779606006501</c:v>
                </c:pt>
                <c:pt idx="23">
                  <c:v>0.6411556249785454</c:v>
                </c:pt>
                <c:pt idx="24">
                  <c:v>0.6225681615532679</c:v>
                </c:pt>
                <c:pt idx="25">
                  <c:v>0.5964031052659859</c:v>
                </c:pt>
                <c:pt idx="26">
                  <c:v>0.5929224362547151</c:v>
                </c:pt>
                <c:pt idx="27">
                  <c:v>0.6187086483228224</c:v>
                </c:pt>
                <c:pt idx="28">
                  <c:v>0.6107819338264258</c:v>
                </c:pt>
                <c:pt idx="29">
                  <c:v>0.6033292426259558</c:v>
                </c:pt>
                <c:pt idx="30">
                  <c:v>0.5979947190264008</c:v>
                </c:pt>
                <c:pt idx="31">
                  <c:v>0.5954344081504233</c:v>
                </c:pt>
                <c:pt idx="32">
                  <c:v>0.5663825761533464</c:v>
                </c:pt>
                <c:pt idx="33">
                  <c:v>0.5646531876797359</c:v>
                </c:pt>
                <c:pt idx="34">
                  <c:v>0.6078757507126805</c:v>
                </c:pt>
                <c:pt idx="35">
                  <c:v>0.6643996654074438</c:v>
                </c:pt>
                <c:pt idx="36">
                  <c:v>0.7195948383603721</c:v>
                </c:pt>
                <c:pt idx="37">
                  <c:v>0.6896483749461222</c:v>
                </c:pt>
                <c:pt idx="38">
                  <c:v>0.7324757980222512</c:v>
                </c:pt>
                <c:pt idx="39">
                  <c:v>0.746624711602309</c:v>
                </c:pt>
                <c:pt idx="40">
                  <c:v>0.731397001241367</c:v>
                </c:pt>
                <c:pt idx="41">
                  <c:v>0.7253518386963603</c:v>
                </c:pt>
                <c:pt idx="42">
                  <c:v>0.7441180054591539</c:v>
                </c:pt>
                <c:pt idx="43">
                  <c:v>0.7548607747979795</c:v>
                </c:pt>
                <c:pt idx="44">
                  <c:v>0.7510750537226625</c:v>
                </c:pt>
                <c:pt idx="45">
                  <c:v>0.7578218958757268</c:v>
                </c:pt>
                <c:pt idx="46">
                  <c:v>0.7536081983877745</c:v>
                </c:pt>
                <c:pt idx="47">
                  <c:v>0.7556647047102663</c:v>
                </c:pt>
                <c:pt idx="48">
                  <c:v>0.7657103785976845</c:v>
                </c:pt>
                <c:pt idx="49">
                  <c:v>0.7641447011239603</c:v>
                </c:pt>
                <c:pt idx="50">
                  <c:v>0.7259466400962183</c:v>
                </c:pt>
                <c:pt idx="51">
                  <c:v>0.7276335002242439</c:v>
                </c:pt>
                <c:pt idx="52">
                  <c:v>0.7347701783463643</c:v>
                </c:pt>
                <c:pt idx="53">
                  <c:v>0.6969408514535226</c:v>
                </c:pt>
                <c:pt idx="54">
                  <c:v>0.6606792865919302</c:v>
                </c:pt>
                <c:pt idx="55">
                  <c:v>0.6776107892209846</c:v>
                </c:pt>
                <c:pt idx="56">
                  <c:v>0.672481719767747</c:v>
                </c:pt>
                <c:pt idx="57">
                  <c:v>0.6735821847892772</c:v>
                </c:pt>
                <c:pt idx="58">
                  <c:v>0.6540289908856756</c:v>
                </c:pt>
                <c:pt idx="59">
                  <c:v>0.6617708670558581</c:v>
                </c:pt>
                <c:pt idx="60">
                  <c:v>0.6589564493788134</c:v>
                </c:pt>
                <c:pt idx="61">
                  <c:v>0.7106281531721093</c:v>
                </c:pt>
                <c:pt idx="62">
                  <c:v>0.7104912521800477</c:v>
                </c:pt>
                <c:pt idx="63">
                  <c:v>0.7277229794782774</c:v>
                </c:pt>
                <c:pt idx="64">
                  <c:v>0.7864061478227724</c:v>
                </c:pt>
                <c:pt idx="65">
                  <c:v>0.7900637629883748</c:v>
                </c:pt>
                <c:pt idx="66">
                  <c:v>0.7885632859956236</c:v>
                </c:pt>
                <c:pt idx="67">
                  <c:v>0.8077192328087849</c:v>
                </c:pt>
                <c:pt idx="68">
                  <c:v>0.8147278517347156</c:v>
                </c:pt>
                <c:pt idx="69">
                  <c:v>0.8189801203096696</c:v>
                </c:pt>
                <c:pt idx="70">
                  <c:v>0.7912274837950982</c:v>
                </c:pt>
                <c:pt idx="71">
                  <c:v>0.7649210244363961</c:v>
                </c:pt>
                <c:pt idx="72">
                  <c:v>0.8297659938656657</c:v>
                </c:pt>
                <c:pt idx="73">
                  <c:v>0.7787217992702472</c:v>
                </c:pt>
                <c:pt idx="74">
                  <c:v>0.7633435093177166</c:v>
                </c:pt>
                <c:pt idx="75">
                  <c:v>0.727947748718567</c:v>
                </c:pt>
                <c:pt idx="76">
                  <c:v>0.7154976763661353</c:v>
                </c:pt>
                <c:pt idx="77">
                  <c:v>0.7243241882861027</c:v>
                </c:pt>
                <c:pt idx="78">
                  <c:v>0.7527513098874842</c:v>
                </c:pt>
                <c:pt idx="79">
                  <c:v>0.7429014428457125</c:v>
                </c:pt>
                <c:pt idx="80">
                  <c:v>0.7754620069657858</c:v>
                </c:pt>
                <c:pt idx="81">
                  <c:v>0.7687270279113327</c:v>
                </c:pt>
                <c:pt idx="82">
                  <c:v>0.7556572032110378</c:v>
                </c:pt>
                <c:pt idx="83">
                  <c:v>0.708311801844589</c:v>
                </c:pt>
                <c:pt idx="84">
                  <c:v>0.7275024200173431</c:v>
                </c:pt>
                <c:pt idx="85">
                  <c:v>0.7150228984259082</c:v>
                </c:pt>
                <c:pt idx="86">
                  <c:v>0.7398359383935201</c:v>
                </c:pt>
                <c:pt idx="87">
                  <c:v>0.7564754858909898</c:v>
                </c:pt>
                <c:pt idx="88">
                  <c:v>0.7412614840446339</c:v>
                </c:pt>
                <c:pt idx="89">
                  <c:v>0.7148042837682431</c:v>
                </c:pt>
                <c:pt idx="90">
                  <c:v>0.7374192719508404</c:v>
                </c:pt>
                <c:pt idx="91">
                  <c:v>0.7677624242793901</c:v>
                </c:pt>
                <c:pt idx="92">
                  <c:v>0.757878607241198</c:v>
                </c:pt>
                <c:pt idx="93">
                  <c:v>0.7777484213222567</c:v>
                </c:pt>
                <c:pt idx="94">
                  <c:v>0.7612109484682407</c:v>
                </c:pt>
                <c:pt idx="95">
                  <c:v>0.7691420098375762</c:v>
                </c:pt>
                <c:pt idx="96">
                  <c:v>0.799659764676817</c:v>
                </c:pt>
                <c:pt idx="97">
                  <c:v>0.8323868453280524</c:v>
                </c:pt>
                <c:pt idx="98">
                  <c:v>0.8394578115490282</c:v>
                </c:pt>
                <c:pt idx="99">
                  <c:v>0.8265863392540806</c:v>
                </c:pt>
                <c:pt idx="100">
                  <c:v>0.8166562348933734</c:v>
                </c:pt>
                <c:pt idx="101">
                  <c:v>0.7539705222460237</c:v>
                </c:pt>
                <c:pt idx="102">
                  <c:v>0.7481961117218635</c:v>
                </c:pt>
                <c:pt idx="103">
                  <c:v>0.7719535707332771</c:v>
                </c:pt>
                <c:pt idx="104">
                  <c:v>0.7667449546923675</c:v>
                </c:pt>
              </c:numCache>
            </c:numRef>
          </c:xVal>
          <c:yVal>
            <c:numRef>
              <c:f>Sheet1!$B$2:$B$106</c:f>
              <c:numCache>
                <c:formatCode>General</c:formatCode>
                <c:ptCount val="105"/>
                <c:pt idx="0">
                  <c:v>0.2341275435875746</c:v>
                </c:pt>
                <c:pt idx="1">
                  <c:v>0.23947285519269138</c:v>
                </c:pt>
                <c:pt idx="2">
                  <c:v>0.24317544636269736</c:v>
                </c:pt>
                <c:pt idx="3">
                  <c:v>0.2391224671448767</c:v>
                </c:pt>
                <c:pt idx="4">
                  <c:v>0.24000500531815053</c:v>
                </c:pt>
                <c:pt idx="5">
                  <c:v>0.24944714727996462</c:v>
                </c:pt>
                <c:pt idx="6">
                  <c:v>0.28148987039134266</c:v>
                </c:pt>
                <c:pt idx="7">
                  <c:v>0.2934603269836508</c:v>
                </c:pt>
                <c:pt idx="8">
                  <c:v>0.2822255591559314</c:v>
                </c:pt>
                <c:pt idx="9">
                  <c:v>0.25795366367365036</c:v>
                </c:pt>
                <c:pt idx="10">
                  <c:v>0.2570964247020585</c:v>
                </c:pt>
                <c:pt idx="11">
                  <c:v>0.22894096838381606</c:v>
                </c:pt>
                <c:pt idx="12">
                  <c:v>0.2148625166104467</c:v>
                </c:pt>
                <c:pt idx="13">
                  <c:v>0.20276968674945067</c:v>
                </c:pt>
                <c:pt idx="14">
                  <c:v>0.1868550245466386</c:v>
                </c:pt>
                <c:pt idx="15">
                  <c:v>0.17611286791534905</c:v>
                </c:pt>
                <c:pt idx="16">
                  <c:v>0.16489472587033563</c:v>
                </c:pt>
                <c:pt idx="17">
                  <c:v>0.15665737321980258</c:v>
                </c:pt>
                <c:pt idx="18">
                  <c:v>0.14462950373895309</c:v>
                </c:pt>
                <c:pt idx="19">
                  <c:v>0.14776179866315575</c:v>
                </c:pt>
                <c:pt idx="20">
                  <c:v>0.14232334136012623</c:v>
                </c:pt>
                <c:pt idx="21">
                  <c:v>0.16119533209728432</c:v>
                </c:pt>
                <c:pt idx="22">
                  <c:v>0.19895995839833594</c:v>
                </c:pt>
                <c:pt idx="23">
                  <c:v>0.20905651980418336</c:v>
                </c:pt>
                <c:pt idx="24">
                  <c:v>0.215928841631735</c:v>
                </c:pt>
                <c:pt idx="25">
                  <c:v>0.22416627524659463</c:v>
                </c:pt>
                <c:pt idx="26">
                  <c:v>0.2430452325334466</c:v>
                </c:pt>
                <c:pt idx="27">
                  <c:v>0.23551159072741806</c:v>
                </c:pt>
                <c:pt idx="28">
                  <c:v>0.23971559167089893</c:v>
                </c:pt>
                <c:pt idx="29">
                  <c:v>0.23399342864754463</c:v>
                </c:pt>
                <c:pt idx="30">
                  <c:v>0.23508490133088572</c:v>
                </c:pt>
                <c:pt idx="31">
                  <c:v>0.2505432420686658</c:v>
                </c:pt>
                <c:pt idx="32">
                  <c:v>0.26301105268805663</c:v>
                </c:pt>
                <c:pt idx="33">
                  <c:v>0.25654623798475307</c:v>
                </c:pt>
                <c:pt idx="34">
                  <c:v>0.24403454838237446</c:v>
                </c:pt>
                <c:pt idx="35">
                  <c:v>0.24270342972427708</c:v>
                </c:pt>
                <c:pt idx="36">
                  <c:v>0.2130062933677586</c:v>
                </c:pt>
                <c:pt idx="37">
                  <c:v>0.2127444679092829</c:v>
                </c:pt>
                <c:pt idx="38">
                  <c:v>0.20360292737849503</c:v>
                </c:pt>
                <c:pt idx="39">
                  <c:v>0.19511249030256012</c:v>
                </c:pt>
                <c:pt idx="40">
                  <c:v>0.19810210963845973</c:v>
                </c:pt>
                <c:pt idx="41">
                  <c:v>0.1957584220631873</c:v>
                </c:pt>
                <c:pt idx="42">
                  <c:v>0.19305628616517623</c:v>
                </c:pt>
                <c:pt idx="43">
                  <c:v>0.18498914223669924</c:v>
                </c:pt>
                <c:pt idx="44">
                  <c:v>0.18627828393002266</c:v>
                </c:pt>
                <c:pt idx="45">
                  <c:v>0.1983413693346191</c:v>
                </c:pt>
                <c:pt idx="46">
                  <c:v>0.20363786069837944</c:v>
                </c:pt>
                <c:pt idx="47">
                  <c:v>0.19912321181356715</c:v>
                </c:pt>
                <c:pt idx="48">
                  <c:v>0.1982256800626889</c:v>
                </c:pt>
                <c:pt idx="49">
                  <c:v>0.20834819835890117</c:v>
                </c:pt>
                <c:pt idx="50">
                  <c:v>0.20451648876852</c:v>
                </c:pt>
                <c:pt idx="51">
                  <c:v>0.19633350075339026</c:v>
                </c:pt>
                <c:pt idx="52">
                  <c:v>0.2006137806364821</c:v>
                </c:pt>
                <c:pt idx="53">
                  <c:v>0.1965070069023217</c:v>
                </c:pt>
                <c:pt idx="54">
                  <c:v>0.20151760889712697</c:v>
                </c:pt>
                <c:pt idx="55">
                  <c:v>0.19578083797245824</c:v>
                </c:pt>
                <c:pt idx="56">
                  <c:v>0.20037197768133913</c:v>
                </c:pt>
                <c:pt idx="57">
                  <c:v>0.1987260475889661</c:v>
                </c:pt>
                <c:pt idx="58">
                  <c:v>0.21546933915459415</c:v>
                </c:pt>
                <c:pt idx="59">
                  <c:v>0.21248978565591803</c:v>
                </c:pt>
                <c:pt idx="60">
                  <c:v>0.21965214911968067</c:v>
                </c:pt>
                <c:pt idx="61">
                  <c:v>0.21980128108135372</c:v>
                </c:pt>
                <c:pt idx="62">
                  <c:v>0.23275491180266744</c:v>
                </c:pt>
                <c:pt idx="63">
                  <c:v>0.242300987797792</c:v>
                </c:pt>
                <c:pt idx="64">
                  <c:v>0.22283314572690277</c:v>
                </c:pt>
                <c:pt idx="65">
                  <c:v>0.206984126984127</c:v>
                </c:pt>
                <c:pt idx="66">
                  <c:v>0.20236719219566324</c:v>
                </c:pt>
                <c:pt idx="67">
                  <c:v>0.1919454527616992</c:v>
                </c:pt>
                <c:pt idx="68">
                  <c:v>0.18001868504028962</c:v>
                </c:pt>
                <c:pt idx="69">
                  <c:v>0.17428379085945098</c:v>
                </c:pt>
                <c:pt idx="70">
                  <c:v>0.1748206599713056</c:v>
                </c:pt>
                <c:pt idx="71">
                  <c:v>0.17924682099771763</c:v>
                </c:pt>
                <c:pt idx="72">
                  <c:v>0.17167910160756863</c:v>
                </c:pt>
                <c:pt idx="73">
                  <c:v>0.17936654624884482</c:v>
                </c:pt>
                <c:pt idx="74">
                  <c:v>0.18271566246180365</c:v>
                </c:pt>
                <c:pt idx="75">
                  <c:v>0.19658197770060318</c:v>
                </c:pt>
                <c:pt idx="76">
                  <c:v>0.19994046437785276</c:v>
                </c:pt>
                <c:pt idx="77">
                  <c:v>0.1948224700706027</c:v>
                </c:pt>
                <c:pt idx="78">
                  <c:v>0.19479333181091574</c:v>
                </c:pt>
                <c:pt idx="79">
                  <c:v>0.16088791047514217</c:v>
                </c:pt>
                <c:pt idx="80">
                  <c:v>0.15307323255182403</c:v>
                </c:pt>
                <c:pt idx="81">
                  <c:v>0.1695434747539926</c:v>
                </c:pt>
                <c:pt idx="82">
                  <c:v>0.17326888725438688</c:v>
                </c:pt>
                <c:pt idx="83">
                  <c:v>0.17703862660944206</c:v>
                </c:pt>
                <c:pt idx="84">
                  <c:v>0.1789090909090909</c:v>
                </c:pt>
                <c:pt idx="85">
                  <c:v>0.1872948650079407</c:v>
                </c:pt>
                <c:pt idx="86">
                  <c:v>0.19651181482076838</c:v>
                </c:pt>
                <c:pt idx="87">
                  <c:v>0.205010693553315</c:v>
                </c:pt>
                <c:pt idx="88">
                  <c:v>0.19495616195448726</c:v>
                </c:pt>
                <c:pt idx="89">
                  <c:v>0.20688903422716373</c:v>
                </c:pt>
                <c:pt idx="90">
                  <c:v>0.1942696629213483</c:v>
                </c:pt>
                <c:pt idx="91">
                  <c:v>0.17880649407634927</c:v>
                </c:pt>
                <c:pt idx="92">
                  <c:v>0.1896536908137836</c:v>
                </c:pt>
                <c:pt idx="93">
                  <c:v>0.18572980198847022</c:v>
                </c:pt>
                <c:pt idx="94">
                  <c:v>0.1892093717912816</c:v>
                </c:pt>
                <c:pt idx="95">
                  <c:v>0.19022747577486082</c:v>
                </c:pt>
                <c:pt idx="96">
                  <c:v>0.18617823048462978</c:v>
                </c:pt>
                <c:pt idx="97">
                  <c:v>0.18814298867139026</c:v>
                </c:pt>
                <c:pt idx="98">
                  <c:v>0.18773292466302113</c:v>
                </c:pt>
                <c:pt idx="99">
                  <c:v>0.19094287598153808</c:v>
                </c:pt>
                <c:pt idx="100">
                  <c:v>0.19330871557592205</c:v>
                </c:pt>
                <c:pt idx="101">
                  <c:v>0.2026939829004678</c:v>
                </c:pt>
                <c:pt idx="102">
                  <c:v>0.20075821875176825</c:v>
                </c:pt>
                <c:pt idx="103">
                  <c:v>0.18975667189952905</c:v>
                </c:pt>
                <c:pt idx="104">
                  <c:v>0.187883435582822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2947248154889</c:v>
                </c:pt>
                <c:pt idx="1">
                  <c:v>0.7185830114511569</c:v>
                </c:pt>
                <c:pt idx="2">
                  <c:v>0.7240625494614734</c:v>
                </c:pt>
                <c:pt idx="3">
                  <c:v>0.6888361601960202</c:v>
                </c:pt>
                <c:pt idx="4">
                  <c:v>0.7035558616250802</c:v>
                </c:pt>
                <c:pt idx="5">
                  <c:v>0.716782423119655</c:v>
                </c:pt>
                <c:pt idx="6">
                  <c:v>0.7159596682610722</c:v>
                </c:pt>
                <c:pt idx="7">
                  <c:v>0.7112323265371956</c:v>
                </c:pt>
                <c:pt idx="8">
                  <c:v>0.7377150007675437</c:v>
                </c:pt>
                <c:pt idx="9">
                  <c:v>0.7199695578099964</c:v>
                </c:pt>
                <c:pt idx="10">
                  <c:v>0.7317790712578416</c:v>
                </c:pt>
                <c:pt idx="11">
                  <c:v>0.7060728581368232</c:v>
                </c:pt>
                <c:pt idx="12">
                  <c:v>0.7231632595725884</c:v>
                </c:pt>
                <c:pt idx="13">
                  <c:v>0.703463665767661</c:v>
                </c:pt>
                <c:pt idx="14">
                  <c:v>0.6877837348616465</c:v>
                </c:pt>
                <c:pt idx="15">
                  <c:v>0.694581968708388</c:v>
                </c:pt>
                <c:pt idx="16">
                  <c:v>0.7160649413330125</c:v>
                </c:pt>
                <c:pt idx="17">
                  <c:v>0.6780477395574402</c:v>
                </c:pt>
                <c:pt idx="18">
                  <c:v>0.6851183051793147</c:v>
                </c:pt>
                <c:pt idx="19">
                  <c:v>0.716761580092878</c:v>
                </c:pt>
                <c:pt idx="20">
                  <c:v>0.6810647843809586</c:v>
                </c:pt>
                <c:pt idx="21">
                  <c:v>0.6382366236077941</c:v>
                </c:pt>
                <c:pt idx="22">
                  <c:v>0.6624218903000191</c:v>
                </c:pt>
                <c:pt idx="23">
                  <c:v>0.673254868937172</c:v>
                </c:pt>
                <c:pt idx="24">
                  <c:v>0.6784128962542019</c:v>
                </c:pt>
                <c:pt idx="25">
                  <c:v>0.7082637590345042</c:v>
                </c:pt>
                <c:pt idx="26">
                  <c:v>0.6834875909712528</c:v>
                </c:pt>
                <c:pt idx="27">
                  <c:v>0.702167298244088</c:v>
                </c:pt>
                <c:pt idx="28">
                  <c:v>0.7135020740633584</c:v>
                </c:pt>
                <c:pt idx="29">
                  <c:v>0.6710239939925027</c:v>
                </c:pt>
                <c:pt idx="30">
                  <c:v>0.6690609298479935</c:v>
                </c:pt>
                <c:pt idx="31">
                  <c:v>0.6765318015881661</c:v>
                </c:pt>
                <c:pt idx="32">
                  <c:v>0.6825040736699148</c:v>
                </c:pt>
                <c:pt idx="33">
                  <c:v>0.6995750645849215</c:v>
                </c:pt>
                <c:pt idx="34">
                  <c:v>0.7296297397657485</c:v>
                </c:pt>
                <c:pt idx="35">
                  <c:v>0.7112784590817388</c:v>
                </c:pt>
                <c:pt idx="36">
                  <c:v>0.6610183505019213</c:v>
                </c:pt>
                <c:pt idx="37">
                  <c:v>0.6512005313796304</c:v>
                </c:pt>
                <c:pt idx="38">
                  <c:v>0.6648193379970876</c:v>
                </c:pt>
                <c:pt idx="39">
                  <c:v>0.7001974563461977</c:v>
                </c:pt>
                <c:pt idx="40">
                  <c:v>0.7253397447515819</c:v>
                </c:pt>
                <c:pt idx="41">
                  <c:v>0.7392739070421374</c:v>
                </c:pt>
                <c:pt idx="42">
                  <c:v>0.7053884030397102</c:v>
                </c:pt>
                <c:pt idx="43">
                  <c:v>0.7687351898884659</c:v>
                </c:pt>
                <c:pt idx="44">
                  <c:v>0.8072422369234529</c:v>
                </c:pt>
                <c:pt idx="45">
                  <c:v>0.8061936490891046</c:v>
                </c:pt>
                <c:pt idx="46">
                  <c:v>0.7682580403040764</c:v>
                </c:pt>
                <c:pt idx="47">
                  <c:v>0.7709597404476547</c:v>
                </c:pt>
                <c:pt idx="48">
                  <c:v>0.8239065842456548</c:v>
                </c:pt>
                <c:pt idx="49">
                  <c:v>0.8546300810709186</c:v>
                </c:pt>
                <c:pt idx="50">
                  <c:v>0.8357541688253999</c:v>
                </c:pt>
                <c:pt idx="51">
                  <c:v>0.7982545590419149</c:v>
                </c:pt>
              </c:numCache>
            </c:numRef>
          </c:xVal>
          <c:yVal>
            <c:numRef>
              <c:f>Sheet1!$B$109:$B$160</c:f>
              <c:numCache>
                <c:formatCode>General</c:formatCode>
                <c:ptCount val="52"/>
                <c:pt idx="0">
                  <c:v>0.19244094488188976</c:v>
                </c:pt>
                <c:pt idx="1">
                  <c:v>0.19705701337212556</c:v>
                </c:pt>
                <c:pt idx="2">
                  <c:v>0.21274424030329542</c:v>
                </c:pt>
                <c:pt idx="3">
                  <c:v>0.23173842073046316</c:v>
                </c:pt>
                <c:pt idx="4">
                  <c:v>0.21654206591555228</c:v>
                </c:pt>
                <c:pt idx="5">
                  <c:v>0.21796240922682614</c:v>
                </c:pt>
                <c:pt idx="6">
                  <c:v>0.23622267887166076</c:v>
                </c:pt>
                <c:pt idx="7">
                  <c:v>0.2354304848992208</c:v>
                </c:pt>
                <c:pt idx="8">
                  <c:v>0.21848247603716983</c:v>
                </c:pt>
                <c:pt idx="9">
                  <c:v>0.22256077366364177</c:v>
                </c:pt>
                <c:pt idx="10">
                  <c:v>0.22480821739695747</c:v>
                </c:pt>
                <c:pt idx="11">
                  <c:v>0.22533050579795155</c:v>
                </c:pt>
                <c:pt idx="12">
                  <c:v>0.2226366833635298</c:v>
                </c:pt>
                <c:pt idx="13">
                  <c:v>0.22325204193940798</c:v>
                </c:pt>
                <c:pt idx="14">
                  <c:v>0.22996825396825396</c:v>
                </c:pt>
                <c:pt idx="15">
                  <c:v>0.21708474576271186</c:v>
                </c:pt>
                <c:pt idx="16">
                  <c:v>0.20913519124810348</c:v>
                </c:pt>
                <c:pt idx="17">
                  <c:v>0.2253698722259583</c:v>
                </c:pt>
                <c:pt idx="18">
                  <c:v>0.22333461686561418</c:v>
                </c:pt>
                <c:pt idx="19">
                  <c:v>0.20840546258895942</c:v>
                </c:pt>
                <c:pt idx="20">
                  <c:v>0.2017836037391211</c:v>
                </c:pt>
                <c:pt idx="21">
                  <c:v>0.22206322362430075</c:v>
                </c:pt>
                <c:pt idx="22">
                  <c:v>0.21503700818075575</c:v>
                </c:pt>
                <c:pt idx="23">
                  <c:v>0.21863066012002183</c:v>
                </c:pt>
                <c:pt idx="24">
                  <c:v>0.2143478801442248</c:v>
                </c:pt>
                <c:pt idx="25">
                  <c:v>0.2192856208295172</c:v>
                </c:pt>
                <c:pt idx="26">
                  <c:v>0.21049521333175747</c:v>
                </c:pt>
                <c:pt idx="27">
                  <c:v>0.20969452694102672</c:v>
                </c:pt>
                <c:pt idx="28">
                  <c:v>0.20547273440564928</c:v>
                </c:pt>
                <c:pt idx="29">
                  <c:v>0.2160960960960961</c:v>
                </c:pt>
                <c:pt idx="30">
                  <c:v>0.2172803499817718</c:v>
                </c:pt>
                <c:pt idx="31">
                  <c:v>0.20391762933199398</c:v>
                </c:pt>
                <c:pt idx="32">
                  <c:v>0.20312156517916025</c:v>
                </c:pt>
                <c:pt idx="33">
                  <c:v>0.21543463381245723</c:v>
                </c:pt>
                <c:pt idx="34">
                  <c:v>0.2322291725902758</c:v>
                </c:pt>
                <c:pt idx="35">
                  <c:v>0.21850428097151844</c:v>
                </c:pt>
                <c:pt idx="36">
                  <c:v>0.2211885587336851</c:v>
                </c:pt>
                <c:pt idx="37">
                  <c:v>0.2241075917546506</c:v>
                </c:pt>
                <c:pt idx="38">
                  <c:v>0.222127417519909</c:v>
                </c:pt>
                <c:pt idx="39">
                  <c:v>0.21559917355371902</c:v>
                </c:pt>
                <c:pt idx="40">
                  <c:v>0.19986141358146903</c:v>
                </c:pt>
                <c:pt idx="41">
                  <c:v>0.2035894559730791</c:v>
                </c:pt>
                <c:pt idx="42">
                  <c:v>0.20829335891695983</c:v>
                </c:pt>
                <c:pt idx="43">
                  <c:v>0.19385160644117422</c:v>
                </c:pt>
                <c:pt idx="44">
                  <c:v>0.18837775419761563</c:v>
                </c:pt>
                <c:pt idx="45">
                  <c:v>0.20420927684441198</c:v>
                </c:pt>
                <c:pt idx="46">
                  <c:v>0.22446562213966512</c:v>
                </c:pt>
                <c:pt idx="47">
                  <c:v>0.22428271518544438</c:v>
                </c:pt>
                <c:pt idx="48">
                  <c:v>0.2128295398722777</c:v>
                </c:pt>
                <c:pt idx="49">
                  <c:v>0.2189755529685681</c:v>
                </c:pt>
                <c:pt idx="50">
                  <c:v>0.21591290214390754</c:v>
                </c:pt>
                <c:pt idx="51">
                  <c:v>0.216418613413715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36717786114822175</c:v>
                </c:pt>
              </c:numCache>
            </c:numRef>
          </c:xVal>
          <c:yVal>
            <c:numRef>
              <c:f>Sheet1!$B$163:$B$164</c:f>
              <c:numCache>
                <c:formatCode>General</c:formatCode>
                <c:ptCount val="2"/>
                <c:pt idx="0">
                  <c:v>0.2558362468240978</c:v>
                </c:pt>
                <c:pt idx="1">
                  <c:v>0.25583624682409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36717786114822175</c:v>
                </c:pt>
                <c:pt idx="1">
                  <c:v>-0.036717786114822175</c:v>
                </c:pt>
              </c:numCache>
            </c:numRef>
          </c:xVal>
          <c:yVal>
            <c:numRef>
              <c:f>Sheet1!$B$167:$B$168</c:f>
              <c:numCache>
                <c:formatCode>General</c:formatCode>
                <c:ptCount val="2"/>
                <c:pt idx="0">
                  <c:v>0.25583624682409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398627047757383</c:v>
                </c:pt>
              </c:numCache>
            </c:numRef>
          </c:xVal>
          <c:yVal>
            <c:numRef>
              <c:f>Sheet1!$B$171:$B$172</c:f>
              <c:numCache>
                <c:formatCode>General</c:formatCode>
                <c:ptCount val="2"/>
                <c:pt idx="0">
                  <c:v>0.2196717840141932</c:v>
                </c:pt>
                <c:pt idx="1">
                  <c:v>0.21967178401419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398627047757383</c:v>
                </c:pt>
                <c:pt idx="1">
                  <c:v>0.6398627047757383</c:v>
                </c:pt>
              </c:numCache>
            </c:numRef>
          </c:xVal>
          <c:yVal>
            <c:numRef>
              <c:f>Sheet1!$B$175:$B$176</c:f>
              <c:numCache>
                <c:formatCode>General</c:formatCode>
                <c:ptCount val="2"/>
                <c:pt idx="0">
                  <c:v>0.21967178401419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25603220512071</c:v>
                </c:pt>
              </c:numCache>
            </c:numRef>
          </c:xVal>
          <c:yVal>
            <c:numRef>
              <c:f>Sheet1!$B$179:$B$180</c:f>
              <c:numCache>
                <c:formatCode>General</c:formatCode>
                <c:ptCount val="2"/>
                <c:pt idx="0">
                  <c:v>0.20974361424861593</c:v>
                </c:pt>
                <c:pt idx="1">
                  <c:v>0.209743614248615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25603220512071</c:v>
                </c:pt>
                <c:pt idx="1">
                  <c:v>0.825603220512071</c:v>
                </c:pt>
              </c:numCache>
            </c:numRef>
          </c:xVal>
          <c:yVal>
            <c:numRef>
              <c:f>Sheet1!$B$183:$B$184</c:f>
              <c:numCache>
                <c:formatCode>General</c:formatCode>
                <c:ptCount val="2"/>
                <c:pt idx="0">
                  <c:v>0.209743614248615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2947248154889</c:v>
                </c:pt>
                <c:pt idx="1">
                  <c:v>0.7185830114511569</c:v>
                </c:pt>
                <c:pt idx="2">
                  <c:v>0.7240625494614734</c:v>
                </c:pt>
                <c:pt idx="3">
                  <c:v>0.6888361601960202</c:v>
                </c:pt>
                <c:pt idx="4">
                  <c:v>0.7035558616250802</c:v>
                </c:pt>
                <c:pt idx="5">
                  <c:v>0.716782423119655</c:v>
                </c:pt>
                <c:pt idx="6">
                  <c:v>0.7159596682610722</c:v>
                </c:pt>
                <c:pt idx="7">
                  <c:v>0.7112323265371956</c:v>
                </c:pt>
                <c:pt idx="8">
                  <c:v>0.7377150007675437</c:v>
                </c:pt>
                <c:pt idx="9">
                  <c:v>0.7199695578099964</c:v>
                </c:pt>
                <c:pt idx="10">
                  <c:v>0.7317790712578416</c:v>
                </c:pt>
                <c:pt idx="11">
                  <c:v>0.7060728581368232</c:v>
                </c:pt>
                <c:pt idx="12">
                  <c:v>0.7231632595725884</c:v>
                </c:pt>
                <c:pt idx="13">
                  <c:v>0.703463665767661</c:v>
                </c:pt>
                <c:pt idx="14">
                  <c:v>0.6877837348616465</c:v>
                </c:pt>
                <c:pt idx="15">
                  <c:v>0.694581968708388</c:v>
                </c:pt>
                <c:pt idx="16">
                  <c:v>0.7160649413330125</c:v>
                </c:pt>
                <c:pt idx="17">
                  <c:v>0.6780477395574402</c:v>
                </c:pt>
                <c:pt idx="18">
                  <c:v>0.6851183051793147</c:v>
                </c:pt>
                <c:pt idx="19">
                  <c:v>0.716761580092878</c:v>
                </c:pt>
                <c:pt idx="20">
                  <c:v>0.6810647843809586</c:v>
                </c:pt>
                <c:pt idx="21">
                  <c:v>0.6382366236077941</c:v>
                </c:pt>
                <c:pt idx="22">
                  <c:v>0.6624218903000191</c:v>
                </c:pt>
                <c:pt idx="23">
                  <c:v>0.673254868937172</c:v>
                </c:pt>
                <c:pt idx="24">
                  <c:v>0.6784128962542019</c:v>
                </c:pt>
                <c:pt idx="25">
                  <c:v>0.7082637590345042</c:v>
                </c:pt>
                <c:pt idx="26">
                  <c:v>0.6834875909712528</c:v>
                </c:pt>
                <c:pt idx="27">
                  <c:v>0.702167298244088</c:v>
                </c:pt>
                <c:pt idx="28">
                  <c:v>0.7135020740633584</c:v>
                </c:pt>
                <c:pt idx="29">
                  <c:v>0.6710239939925027</c:v>
                </c:pt>
                <c:pt idx="30">
                  <c:v>0.6690609298479935</c:v>
                </c:pt>
                <c:pt idx="31">
                  <c:v>0.6765318015881661</c:v>
                </c:pt>
                <c:pt idx="32">
                  <c:v>0.6825040736699148</c:v>
                </c:pt>
                <c:pt idx="33">
                  <c:v>0.6995750645849215</c:v>
                </c:pt>
                <c:pt idx="34">
                  <c:v>0.7296297397657485</c:v>
                </c:pt>
                <c:pt idx="35">
                  <c:v>0.7112784590817388</c:v>
                </c:pt>
                <c:pt idx="36">
                  <c:v>0.6610183505019213</c:v>
                </c:pt>
                <c:pt idx="37">
                  <c:v>0.6512005313796304</c:v>
                </c:pt>
                <c:pt idx="38">
                  <c:v>0.6648193379970876</c:v>
                </c:pt>
                <c:pt idx="39">
                  <c:v>0.7001974563461977</c:v>
                </c:pt>
                <c:pt idx="40">
                  <c:v>0.7253397447515819</c:v>
                </c:pt>
                <c:pt idx="41">
                  <c:v>0.7392739070421374</c:v>
                </c:pt>
                <c:pt idx="42">
                  <c:v>0.7053884030397102</c:v>
                </c:pt>
                <c:pt idx="43">
                  <c:v>0.7687351898884659</c:v>
                </c:pt>
                <c:pt idx="44">
                  <c:v>0.8072422369234529</c:v>
                </c:pt>
                <c:pt idx="45">
                  <c:v>0.8061936490891046</c:v>
                </c:pt>
                <c:pt idx="46">
                  <c:v>0.7682580403040764</c:v>
                </c:pt>
                <c:pt idx="47">
                  <c:v>0.7709597404476547</c:v>
                </c:pt>
                <c:pt idx="48">
                  <c:v>0.8239065842456548</c:v>
                </c:pt>
                <c:pt idx="49">
                  <c:v>0.8546300810709186</c:v>
                </c:pt>
                <c:pt idx="50">
                  <c:v>0.8357541688253999</c:v>
                </c:pt>
                <c:pt idx="51">
                  <c:v>0.7982545590419149</c:v>
                </c:pt>
                <c:pt idx="52">
                  <c:v>0.6398627047757383</c:v>
                </c:pt>
                <c:pt idx="53">
                  <c:v>-0.036717786114822175</c:v>
                </c:pt>
                <c:pt idx="54">
                  <c:v>0.825603220512071</c:v>
                </c:pt>
              </c:numCache>
            </c:numRef>
          </c:xVal>
          <c:yVal>
            <c:numRef>
              <c:f>Sheet1!$B$187:$B$241</c:f>
              <c:numCache>
                <c:formatCode>General</c:formatCode>
                <c:ptCount val="55"/>
                <c:pt idx="0">
                  <c:v>0.21362720865549897</c:v>
                </c:pt>
                <c:pt idx="1">
                  <c:v>0.2154640398633085</c:v>
                </c:pt>
                <c:pt idx="2">
                  <c:v>0.21517114854992064</c:v>
                </c:pt>
                <c:pt idx="3">
                  <c:v>0.2170540633866178</c:v>
                </c:pt>
                <c:pt idx="4">
                  <c:v>0.21626726846410468</c:v>
                </c:pt>
                <c:pt idx="5">
                  <c:v>0.21556028459786306</c:v>
                </c:pt>
                <c:pt idx="6">
                  <c:v>0.21560426234756985</c:v>
                </c:pt>
                <c:pt idx="7">
                  <c:v>0.2158569473957861</c:v>
                </c:pt>
                <c:pt idx="8">
                  <c:v>0.21444140009549428</c:v>
                </c:pt>
                <c:pt idx="9">
                  <c:v>0.21538992642831653</c:v>
                </c:pt>
                <c:pt idx="10">
                  <c:v>0.2147586863679868</c:v>
                </c:pt>
                <c:pt idx="11">
                  <c:v>0.2161327304040111</c:v>
                </c:pt>
                <c:pt idx="12">
                  <c:v>0.2152192172367654</c:v>
                </c:pt>
                <c:pt idx="13">
                  <c:v>0.2162721965010519</c:v>
                </c:pt>
                <c:pt idx="14">
                  <c:v>0.21711031744268003</c:v>
                </c:pt>
                <c:pt idx="15">
                  <c:v>0.2167469394286319</c:v>
                </c:pt>
                <c:pt idx="16">
                  <c:v>0.21559863530962486</c:v>
                </c:pt>
                <c:pt idx="17">
                  <c:v>0.21763072417157184</c:v>
                </c:pt>
                <c:pt idx="18">
                  <c:v>0.21725278952681037</c:v>
                </c:pt>
                <c:pt idx="19">
                  <c:v>0.21556139869570784</c:v>
                </c:pt>
                <c:pt idx="20">
                  <c:v>0.21746945761602526</c:v>
                </c:pt>
                <c:pt idx="21">
                  <c:v>0.2197587010221705</c:v>
                </c:pt>
                <c:pt idx="22">
                  <c:v>0.21846595435031874</c:v>
                </c:pt>
                <c:pt idx="23">
                  <c:v>0.21788691185896913</c:v>
                </c:pt>
                <c:pt idx="24">
                  <c:v>0.2176112058792805</c:v>
                </c:pt>
                <c:pt idx="25">
                  <c:v>0.21601562275000516</c:v>
                </c:pt>
                <c:pt idx="26">
                  <c:v>0.2173399541792428</c:v>
                </c:pt>
                <c:pt idx="27">
                  <c:v>0.21634148971261422</c:v>
                </c:pt>
                <c:pt idx="28">
                  <c:v>0.21573562524549802</c:v>
                </c:pt>
                <c:pt idx="29">
                  <c:v>0.21800615619878722</c:v>
                </c:pt>
                <c:pt idx="30">
                  <c:v>0.21811108556226047</c:v>
                </c:pt>
                <c:pt idx="31">
                  <c:v>0.2177117538244366</c:v>
                </c:pt>
                <c:pt idx="32">
                  <c:v>0.21739252497509937</c:v>
                </c:pt>
                <c:pt idx="33">
                  <c:v>0.21648004933563572</c:v>
                </c:pt>
                <c:pt idx="34">
                  <c:v>0.21487357206135</c:v>
                </c:pt>
                <c:pt idx="35">
                  <c:v>0.21585448152703296</c:v>
                </c:pt>
                <c:pt idx="36">
                  <c:v>0.21854097611567253</c:v>
                </c:pt>
                <c:pt idx="37">
                  <c:v>0.21906575647706766</c:v>
                </c:pt>
                <c:pt idx="38">
                  <c:v>0.21833780639268963</c:v>
                </c:pt>
                <c:pt idx="39">
                  <c:v>0.21644678135938322</c:v>
                </c:pt>
                <c:pt idx="40">
                  <c:v>0.21510288012924933</c:v>
                </c:pt>
                <c:pt idx="41">
                  <c:v>0.21435807370824142</c:v>
                </c:pt>
                <c:pt idx="42">
                  <c:v>0.2161693157789042</c:v>
                </c:pt>
                <c:pt idx="43">
                  <c:v>0.21278331433788816</c:v>
                </c:pt>
                <c:pt idx="44">
                  <c:v>0.2107250423522697</c:v>
                </c:pt>
                <c:pt idx="45">
                  <c:v>0.2107810912869475</c:v>
                </c:pt>
                <c:pt idx="46">
                  <c:v>0.2128088188545447</c:v>
                </c:pt>
                <c:pt idx="47">
                  <c:v>0.2126644080480236</c:v>
                </c:pt>
                <c:pt idx="48">
                  <c:v>0.20983430255545432</c:v>
                </c:pt>
                <c:pt idx="49">
                  <c:v>0.2081920755428708</c:v>
                </c:pt>
                <c:pt idx="50">
                  <c:v>0.209201027523599</c:v>
                </c:pt>
                <c:pt idx="51">
                  <c:v>0.21120545014834202</c:v>
                </c:pt>
                <c:pt idx="52">
                  <c:v>0.2196717840141932</c:v>
                </c:pt>
                <c:pt idx="53">
                  <c:v>0.2558362468240978</c:v>
                </c:pt>
                <c:pt idx="54">
                  <c:v>0.209743614248615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2152392380381"/>
          <c:min val="0.113858673088100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4344</c:v>
                </c:pt>
                <c:pt idx="1">
                  <c:v>894.2201</c:v>
                </c:pt>
                <c:pt idx="2">
                  <c:v>928.6416</c:v>
                </c:pt>
                <c:pt idx="3">
                  <c:v>943.8102</c:v>
                </c:pt>
                <c:pt idx="4">
                  <c:v>948.9408</c:v>
                </c:pt>
                <c:pt idx="5">
                  <c:v>941.2844</c:v>
                </c:pt>
                <c:pt idx="6">
                  <c:v>892.9884</c:v>
                </c:pt>
                <c:pt idx="7">
                  <c:v>903.2428</c:v>
                </c:pt>
                <c:pt idx="8">
                  <c:v>906.396</c:v>
                </c:pt>
                <c:pt idx="9">
                  <c:v>891.422</c:v>
                </c:pt>
                <c:pt idx="10">
                  <c:v>883.3717</c:v>
                </c:pt>
                <c:pt idx="11">
                  <c:v>946.9884</c:v>
                </c:pt>
                <c:pt idx="12">
                  <c:v>953.823</c:v>
                </c:pt>
                <c:pt idx="13">
                  <c:v>957.7399</c:v>
                </c:pt>
                <c:pt idx="14">
                  <c:v>965.622</c:v>
                </c:pt>
                <c:pt idx="15">
                  <c:v>984.6954</c:v>
                </c:pt>
                <c:pt idx="16">
                  <c:v>1006.1032</c:v>
                </c:pt>
                <c:pt idx="17">
                  <c:v>1029.658</c:v>
                </c:pt>
                <c:pt idx="18">
                  <c:v>1080.386</c:v>
                </c:pt>
                <c:pt idx="19">
                  <c:v>1072.0212</c:v>
                </c:pt>
                <c:pt idx="20">
                  <c:v>1111.8308</c:v>
                </c:pt>
                <c:pt idx="21">
                  <c:v>1123.0196</c:v>
                </c:pt>
                <c:pt idx="22">
                  <c:v>1057.6079</c:v>
                </c:pt>
                <c:pt idx="23">
                  <c:v>1053.421</c:v>
                </c:pt>
                <c:pt idx="24">
                  <c:v>1058.9834</c:v>
                </c:pt>
                <c:pt idx="25">
                  <c:v>1031.1493</c:v>
                </c:pt>
                <c:pt idx="26">
                  <c:v>1015.5164</c:v>
                </c:pt>
                <c:pt idx="27">
                  <c:v>1038.745</c:v>
                </c:pt>
                <c:pt idx="28">
                  <c:v>1033.9148</c:v>
                </c:pt>
                <c:pt idx="29">
                  <c:v>1009.652</c:v>
                </c:pt>
                <c:pt idx="30">
                  <c:v>1013.6633</c:v>
                </c:pt>
                <c:pt idx="31">
                  <c:v>991.856</c:v>
                </c:pt>
                <c:pt idx="32">
                  <c:v>975.7417</c:v>
                </c:pt>
                <c:pt idx="33">
                  <c:v>938.7213</c:v>
                </c:pt>
                <c:pt idx="34">
                  <c:v>957.1938</c:v>
                </c:pt>
                <c:pt idx="35">
                  <c:v>996.4231</c:v>
                </c:pt>
                <c:pt idx="36">
                  <c:v>1093.0352</c:v>
                </c:pt>
                <c:pt idx="37">
                  <c:v>1100.9797</c:v>
                </c:pt>
                <c:pt idx="38">
                  <c:v>1151.0885</c:v>
                </c:pt>
                <c:pt idx="39">
                  <c:v>1161.8534</c:v>
                </c:pt>
                <c:pt idx="40">
                  <c:v>1154.2759</c:v>
                </c:pt>
                <c:pt idx="41">
                  <c:v>1198.8172</c:v>
                </c:pt>
                <c:pt idx="42">
                  <c:v>1221.306</c:v>
                </c:pt>
                <c:pt idx="43">
                  <c:v>1230.588</c:v>
                </c:pt>
                <c:pt idx="44">
                  <c:v>1156.9995</c:v>
                </c:pt>
                <c:pt idx="45">
                  <c:v>1125.7007</c:v>
                </c:pt>
                <c:pt idx="46">
                  <c:v>1115.4271</c:v>
                </c:pt>
                <c:pt idx="47">
                  <c:v>1096.7781</c:v>
                </c:pt>
                <c:pt idx="48">
                  <c:v>1108.5657</c:v>
                </c:pt>
                <c:pt idx="49">
                  <c:v>1073.2057</c:v>
                </c:pt>
                <c:pt idx="50">
                  <c:v>1069.5488</c:v>
                </c:pt>
                <c:pt idx="51">
                  <c:v>1091.0737</c:v>
                </c:pt>
                <c:pt idx="52">
                  <c:v>1093.2705</c:v>
                </c:pt>
                <c:pt idx="53">
                  <c:v>1165.2996</c:v>
                </c:pt>
                <c:pt idx="54">
                  <c:v>1148.1613</c:v>
                </c:pt>
                <c:pt idx="55">
                  <c:v>1168.5642</c:v>
                </c:pt>
                <c:pt idx="56">
                  <c:v>1179.0353</c:v>
                </c:pt>
                <c:pt idx="57">
                  <c:v>1151.1597</c:v>
                </c:pt>
                <c:pt idx="58">
                  <c:v>1125.085</c:v>
                </c:pt>
                <c:pt idx="59">
                  <c:v>1109.1649</c:v>
                </c:pt>
                <c:pt idx="60">
                  <c:v>1129.06</c:v>
                </c:pt>
                <c:pt idx="61">
                  <c:v>1162.6379</c:v>
                </c:pt>
                <c:pt idx="62">
                  <c:v>1101.9298</c:v>
                </c:pt>
                <c:pt idx="63">
                  <c:v>1128.4114</c:v>
                </c:pt>
                <c:pt idx="64">
                  <c:v>1141.1251</c:v>
                </c:pt>
                <c:pt idx="65">
                  <c:v>1129.7531</c:v>
                </c:pt>
                <c:pt idx="66">
                  <c:v>1143.7053</c:v>
                </c:pt>
                <c:pt idx="67">
                  <c:v>1158.9893</c:v>
                </c:pt>
                <c:pt idx="68">
                  <c:v>1181.1803</c:v>
                </c:pt>
                <c:pt idx="69">
                  <c:v>1209.5017</c:v>
                </c:pt>
                <c:pt idx="70">
                  <c:v>1190.4982</c:v>
                </c:pt>
                <c:pt idx="71">
                  <c:v>1257.5948</c:v>
                </c:pt>
                <c:pt idx="72">
                  <c:v>1345.0296</c:v>
                </c:pt>
                <c:pt idx="73">
                  <c:v>1310.4244</c:v>
                </c:pt>
                <c:pt idx="74">
                  <c:v>1300.0214</c:v>
                </c:pt>
                <c:pt idx="75">
                  <c:v>1253.2264</c:v>
                </c:pt>
                <c:pt idx="76">
                  <c:v>1224.8516</c:v>
                </c:pt>
                <c:pt idx="77">
                  <c:v>1217.4207</c:v>
                </c:pt>
                <c:pt idx="78">
                  <c:v>1285.2034</c:v>
                </c:pt>
                <c:pt idx="79">
                  <c:v>1278.2412</c:v>
                </c:pt>
                <c:pt idx="80">
                  <c:v>1281.7002</c:v>
                </c:pt>
                <c:pt idx="81">
                  <c:v>1255.5514</c:v>
                </c:pt>
                <c:pt idx="82">
                  <c:v>1262.9187</c:v>
                </c:pt>
                <c:pt idx="83">
                  <c:v>1209.3596</c:v>
                </c:pt>
                <c:pt idx="84">
                  <c:v>1233.5136</c:v>
                </c:pt>
                <c:pt idx="85">
                  <c:v>1216.1221</c:v>
                </c:pt>
                <c:pt idx="86">
                  <c:v>1217.4209</c:v>
                </c:pt>
                <c:pt idx="87">
                  <c:v>1219.3353</c:v>
                </c:pt>
                <c:pt idx="88">
                  <c:v>1278.1531</c:v>
                </c:pt>
                <c:pt idx="89">
                  <c:v>1261.0337</c:v>
                </c:pt>
                <c:pt idx="90">
                  <c:v>1329.8965</c:v>
                </c:pt>
                <c:pt idx="91">
                  <c:v>1329.2515</c:v>
                </c:pt>
                <c:pt idx="92">
                  <c:v>1253.4599</c:v>
                </c:pt>
                <c:pt idx="93">
                  <c:v>1301.9969</c:v>
                </c:pt>
                <c:pt idx="94">
                  <c:v>1273.6236</c:v>
                </c:pt>
                <c:pt idx="95">
                  <c:v>1234.2298</c:v>
                </c:pt>
                <c:pt idx="96">
                  <c:v>1215.7233</c:v>
                </c:pt>
                <c:pt idx="97">
                  <c:v>1198.834</c:v>
                </c:pt>
                <c:pt idx="98">
                  <c:v>1185.2121</c:v>
                </c:pt>
                <c:pt idx="99">
                  <c:v>1145.2872</c:v>
                </c:pt>
                <c:pt idx="100">
                  <c:v>1146.2297</c:v>
                </c:pt>
                <c:pt idx="101">
                  <c:v>1154.159</c:v>
                </c:pt>
                <c:pt idx="102">
                  <c:v>1163.3117</c:v>
                </c:pt>
                <c:pt idx="103">
                  <c:v>1160.6122</c:v>
                </c:pt>
                <c:pt idx="104">
                  <c:v>1208.4691</c:v>
                </c:pt>
              </c:numCache>
            </c:numRef>
          </c:xVal>
          <c:yVal>
            <c:numRef>
              <c:f>Sheet1!$B$2:$B$106</c:f>
              <c:numCache>
                <c:formatCode>General</c:formatCode>
                <c:ptCount val="105"/>
                <c:pt idx="0">
                  <c:v>0.2341275435875746</c:v>
                </c:pt>
                <c:pt idx="1">
                  <c:v>0.23947285519269138</c:v>
                </c:pt>
                <c:pt idx="2">
                  <c:v>0.24317544636269736</c:v>
                </c:pt>
                <c:pt idx="3">
                  <c:v>0.2391224671448767</c:v>
                </c:pt>
                <c:pt idx="4">
                  <c:v>0.24000500531815053</c:v>
                </c:pt>
                <c:pt idx="5">
                  <c:v>0.24944714727996462</c:v>
                </c:pt>
                <c:pt idx="6">
                  <c:v>0.28148987039134266</c:v>
                </c:pt>
                <c:pt idx="7">
                  <c:v>0.2934603269836508</c:v>
                </c:pt>
                <c:pt idx="8">
                  <c:v>0.2822255591559314</c:v>
                </c:pt>
                <c:pt idx="9">
                  <c:v>0.25795366367365036</c:v>
                </c:pt>
                <c:pt idx="10">
                  <c:v>0.2570964247020585</c:v>
                </c:pt>
                <c:pt idx="11">
                  <c:v>0.22894096838381606</c:v>
                </c:pt>
                <c:pt idx="12">
                  <c:v>0.2148625166104467</c:v>
                </c:pt>
                <c:pt idx="13">
                  <c:v>0.20276968674945067</c:v>
                </c:pt>
                <c:pt idx="14">
                  <c:v>0.1868550245466386</c:v>
                </c:pt>
                <c:pt idx="15">
                  <c:v>0.17611286791534905</c:v>
                </c:pt>
                <c:pt idx="16">
                  <c:v>0.16489472587033563</c:v>
                </c:pt>
                <c:pt idx="17">
                  <c:v>0.15665737321980258</c:v>
                </c:pt>
                <c:pt idx="18">
                  <c:v>0.14462950373895309</c:v>
                </c:pt>
                <c:pt idx="19">
                  <c:v>0.14776179866315575</c:v>
                </c:pt>
                <c:pt idx="20">
                  <c:v>0.14232334136012623</c:v>
                </c:pt>
                <c:pt idx="21">
                  <c:v>0.16119533209728432</c:v>
                </c:pt>
                <c:pt idx="22">
                  <c:v>0.19895995839833594</c:v>
                </c:pt>
                <c:pt idx="23">
                  <c:v>0.20905651980418336</c:v>
                </c:pt>
                <c:pt idx="24">
                  <c:v>0.215928841631735</c:v>
                </c:pt>
                <c:pt idx="25">
                  <c:v>0.22416627524659463</c:v>
                </c:pt>
                <c:pt idx="26">
                  <c:v>0.2430452325334466</c:v>
                </c:pt>
                <c:pt idx="27">
                  <c:v>0.23551159072741806</c:v>
                </c:pt>
                <c:pt idx="28">
                  <c:v>0.23971559167089893</c:v>
                </c:pt>
                <c:pt idx="29">
                  <c:v>0.23399342864754463</c:v>
                </c:pt>
                <c:pt idx="30">
                  <c:v>0.23508490133088572</c:v>
                </c:pt>
                <c:pt idx="31">
                  <c:v>0.2505432420686658</c:v>
                </c:pt>
                <c:pt idx="32">
                  <c:v>0.26301105268805663</c:v>
                </c:pt>
                <c:pt idx="33">
                  <c:v>0.25654623798475307</c:v>
                </c:pt>
                <c:pt idx="34">
                  <c:v>0.24403454838237446</c:v>
                </c:pt>
                <c:pt idx="35">
                  <c:v>0.24270342972427708</c:v>
                </c:pt>
                <c:pt idx="36">
                  <c:v>0.2130062933677586</c:v>
                </c:pt>
                <c:pt idx="37">
                  <c:v>0.2127444679092829</c:v>
                </c:pt>
                <c:pt idx="38">
                  <c:v>0.20360292737849503</c:v>
                </c:pt>
                <c:pt idx="39">
                  <c:v>0.19511249030256012</c:v>
                </c:pt>
                <c:pt idx="40">
                  <c:v>0.19810210963845973</c:v>
                </c:pt>
                <c:pt idx="41">
                  <c:v>0.1957584220631873</c:v>
                </c:pt>
                <c:pt idx="42">
                  <c:v>0.19305628616517623</c:v>
                </c:pt>
                <c:pt idx="43">
                  <c:v>0.18498914223669924</c:v>
                </c:pt>
                <c:pt idx="44">
                  <c:v>0.18627828393002266</c:v>
                </c:pt>
                <c:pt idx="45">
                  <c:v>0.1983413693346191</c:v>
                </c:pt>
                <c:pt idx="46">
                  <c:v>0.20363786069837944</c:v>
                </c:pt>
                <c:pt idx="47">
                  <c:v>0.19912321181356715</c:v>
                </c:pt>
                <c:pt idx="48">
                  <c:v>0.1982256800626889</c:v>
                </c:pt>
                <c:pt idx="49">
                  <c:v>0.20834819835890117</c:v>
                </c:pt>
                <c:pt idx="50">
                  <c:v>0.20451648876852</c:v>
                </c:pt>
                <c:pt idx="51">
                  <c:v>0.19633350075339026</c:v>
                </c:pt>
                <c:pt idx="52">
                  <c:v>0.2006137806364821</c:v>
                </c:pt>
                <c:pt idx="53">
                  <c:v>0.1965070069023217</c:v>
                </c:pt>
                <c:pt idx="54">
                  <c:v>0.20151760889712697</c:v>
                </c:pt>
                <c:pt idx="55">
                  <c:v>0.19578083797245824</c:v>
                </c:pt>
                <c:pt idx="56">
                  <c:v>0.20037197768133913</c:v>
                </c:pt>
                <c:pt idx="57">
                  <c:v>0.1987260475889661</c:v>
                </c:pt>
                <c:pt idx="58">
                  <c:v>0.21546933915459415</c:v>
                </c:pt>
                <c:pt idx="59">
                  <c:v>0.21248978565591803</c:v>
                </c:pt>
                <c:pt idx="60">
                  <c:v>0.21965214911968067</c:v>
                </c:pt>
                <c:pt idx="61">
                  <c:v>0.21980128108135372</c:v>
                </c:pt>
                <c:pt idx="62">
                  <c:v>0.23275491180266744</c:v>
                </c:pt>
                <c:pt idx="63">
                  <c:v>0.242300987797792</c:v>
                </c:pt>
                <c:pt idx="64">
                  <c:v>0.22283314572690277</c:v>
                </c:pt>
                <c:pt idx="65">
                  <c:v>0.206984126984127</c:v>
                </c:pt>
                <c:pt idx="66">
                  <c:v>0.20236719219566324</c:v>
                </c:pt>
                <c:pt idx="67">
                  <c:v>0.1919454527616992</c:v>
                </c:pt>
                <c:pt idx="68">
                  <c:v>0.18001868504028962</c:v>
                </c:pt>
                <c:pt idx="69">
                  <c:v>0.17428379085945098</c:v>
                </c:pt>
                <c:pt idx="70">
                  <c:v>0.1748206599713056</c:v>
                </c:pt>
                <c:pt idx="71">
                  <c:v>0.17924682099771763</c:v>
                </c:pt>
                <c:pt idx="72">
                  <c:v>0.17167910160756863</c:v>
                </c:pt>
                <c:pt idx="73">
                  <c:v>0.17936654624884482</c:v>
                </c:pt>
                <c:pt idx="74">
                  <c:v>0.18271566246180365</c:v>
                </c:pt>
                <c:pt idx="75">
                  <c:v>0.19658197770060318</c:v>
                </c:pt>
                <c:pt idx="76">
                  <c:v>0.19994046437785276</c:v>
                </c:pt>
                <c:pt idx="77">
                  <c:v>0.1948224700706027</c:v>
                </c:pt>
                <c:pt idx="78">
                  <c:v>0.19479333181091574</c:v>
                </c:pt>
                <c:pt idx="79">
                  <c:v>0.16088791047514217</c:v>
                </c:pt>
                <c:pt idx="80">
                  <c:v>0.15307323255182403</c:v>
                </c:pt>
                <c:pt idx="81">
                  <c:v>0.1695434747539926</c:v>
                </c:pt>
                <c:pt idx="82">
                  <c:v>0.17326888725438688</c:v>
                </c:pt>
                <c:pt idx="83">
                  <c:v>0.17703862660944206</c:v>
                </c:pt>
                <c:pt idx="84">
                  <c:v>0.1789090909090909</c:v>
                </c:pt>
                <c:pt idx="85">
                  <c:v>0.1872948650079407</c:v>
                </c:pt>
                <c:pt idx="86">
                  <c:v>0.19651181482076838</c:v>
                </c:pt>
                <c:pt idx="87">
                  <c:v>0.205010693553315</c:v>
                </c:pt>
                <c:pt idx="88">
                  <c:v>0.19495616195448726</c:v>
                </c:pt>
                <c:pt idx="89">
                  <c:v>0.20688903422716373</c:v>
                </c:pt>
                <c:pt idx="90">
                  <c:v>0.1942696629213483</c:v>
                </c:pt>
                <c:pt idx="91">
                  <c:v>0.17880649407634927</c:v>
                </c:pt>
                <c:pt idx="92">
                  <c:v>0.1896536908137836</c:v>
                </c:pt>
                <c:pt idx="93">
                  <c:v>0.18572980198847022</c:v>
                </c:pt>
                <c:pt idx="94">
                  <c:v>0.1892093717912816</c:v>
                </c:pt>
                <c:pt idx="95">
                  <c:v>0.19022747577486082</c:v>
                </c:pt>
                <c:pt idx="96">
                  <c:v>0.18617823048462978</c:v>
                </c:pt>
                <c:pt idx="97">
                  <c:v>0.18814298867139026</c:v>
                </c:pt>
                <c:pt idx="98">
                  <c:v>0.18773292466302113</c:v>
                </c:pt>
                <c:pt idx="99">
                  <c:v>0.19094287598153808</c:v>
                </c:pt>
                <c:pt idx="100">
                  <c:v>0.19330871557592205</c:v>
                </c:pt>
                <c:pt idx="101">
                  <c:v>0.2026939829004678</c:v>
                </c:pt>
                <c:pt idx="102">
                  <c:v>0.20075821875176825</c:v>
                </c:pt>
                <c:pt idx="103">
                  <c:v>0.18975667189952905</c:v>
                </c:pt>
                <c:pt idx="104">
                  <c:v>0.187883435582822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3213</c:v>
                </c:pt>
                <c:pt idx="1">
                  <c:v>1239.3583</c:v>
                </c:pt>
                <c:pt idx="2">
                  <c:v>1238.8186</c:v>
                </c:pt>
                <c:pt idx="3">
                  <c:v>1216.4994</c:v>
                </c:pt>
                <c:pt idx="4">
                  <c:v>1247.0083</c:v>
                </c:pt>
                <c:pt idx="5">
                  <c:v>1241.3319</c:v>
                </c:pt>
                <c:pt idx="6">
                  <c:v>1140.6789</c:v>
                </c:pt>
                <c:pt idx="7">
                  <c:v>1174.727</c:v>
                </c:pt>
                <c:pt idx="8">
                  <c:v>1239.3868</c:v>
                </c:pt>
                <c:pt idx="9">
                  <c:v>1193.3985</c:v>
                </c:pt>
                <c:pt idx="10">
                  <c:v>1213.7857</c:v>
                </c:pt>
                <c:pt idx="11">
                  <c:v>1066.0461</c:v>
                </c:pt>
                <c:pt idx="12">
                  <c:v>1117.14</c:v>
                </c:pt>
                <c:pt idx="13">
                  <c:v>1188.0036</c:v>
                </c:pt>
                <c:pt idx="14">
                  <c:v>1160.5682</c:v>
                </c:pt>
                <c:pt idx="15">
                  <c:v>1190.2333</c:v>
                </c:pt>
                <c:pt idx="16">
                  <c:v>1227.412</c:v>
                </c:pt>
                <c:pt idx="17">
                  <c:v>1157.8788</c:v>
                </c:pt>
                <c:pt idx="18">
                  <c:v>1153.9858</c:v>
                </c:pt>
                <c:pt idx="19">
                  <c:v>1296.9737</c:v>
                </c:pt>
                <c:pt idx="20">
                  <c:v>1300.4409</c:v>
                </c:pt>
                <c:pt idx="21">
                  <c:v>1199.5882</c:v>
                </c:pt>
                <c:pt idx="22">
                  <c:v>1250.8339</c:v>
                </c:pt>
                <c:pt idx="23">
                  <c:v>1260.0012</c:v>
                </c:pt>
                <c:pt idx="24">
                  <c:v>1271.6961</c:v>
                </c:pt>
                <c:pt idx="25">
                  <c:v>1238.0107</c:v>
                </c:pt>
                <c:pt idx="26">
                  <c:v>1234.9208</c:v>
                </c:pt>
                <c:pt idx="27">
                  <c:v>1239.8432</c:v>
                </c:pt>
                <c:pt idx="28">
                  <c:v>1269.558</c:v>
                </c:pt>
                <c:pt idx="29">
                  <c:v>1276.9288</c:v>
                </c:pt>
                <c:pt idx="30">
                  <c:v>1262.3574</c:v>
                </c:pt>
                <c:pt idx="31">
                  <c:v>1249.0419</c:v>
                </c:pt>
                <c:pt idx="32">
                  <c:v>1267.5265</c:v>
                </c:pt>
                <c:pt idx="33">
                  <c:v>1263.1307</c:v>
                </c:pt>
                <c:pt idx="34">
                  <c:v>1278.341</c:v>
                </c:pt>
                <c:pt idx="35">
                  <c:v>1310.6497</c:v>
                </c:pt>
                <c:pt idx="36">
                  <c:v>1345.548</c:v>
                </c:pt>
                <c:pt idx="37">
                  <c:v>1320.9804</c:v>
                </c:pt>
                <c:pt idx="38">
                  <c:v>1349.1716</c:v>
                </c:pt>
                <c:pt idx="39">
                  <c:v>1289.7829</c:v>
                </c:pt>
                <c:pt idx="40">
                  <c:v>1326.2447</c:v>
                </c:pt>
                <c:pt idx="41">
                  <c:v>1354.7649</c:v>
                </c:pt>
                <c:pt idx="42">
                  <c:v>1337.8874</c:v>
                </c:pt>
                <c:pt idx="43">
                  <c:v>1355.3657</c:v>
                </c:pt>
                <c:pt idx="44">
                  <c:v>1269.9304</c:v>
                </c:pt>
                <c:pt idx="45">
                  <c:v>1222.6566</c:v>
                </c:pt>
                <c:pt idx="46">
                  <c:v>1209.4399</c:v>
                </c:pt>
                <c:pt idx="47">
                  <c:v>1179.1315</c:v>
                </c:pt>
                <c:pt idx="48">
                  <c:v>1180.2985</c:v>
                </c:pt>
                <c:pt idx="49">
                  <c:v>1204.4065</c:v>
                </c:pt>
                <c:pt idx="50">
                  <c:v>1162.9027</c:v>
                </c:pt>
                <c:pt idx="51">
                  <c:v>1123.7225</c:v>
                </c:pt>
              </c:numCache>
            </c:numRef>
          </c:xVal>
          <c:yVal>
            <c:numRef>
              <c:f>Sheet1!$B$109:$B$160</c:f>
              <c:numCache>
                <c:formatCode>General</c:formatCode>
                <c:ptCount val="52"/>
                <c:pt idx="0">
                  <c:v>0.19244094488188976</c:v>
                </c:pt>
                <c:pt idx="1">
                  <c:v>0.19705701337212556</c:v>
                </c:pt>
                <c:pt idx="2">
                  <c:v>0.21274424030329542</c:v>
                </c:pt>
                <c:pt idx="3">
                  <c:v>0.23173842073046316</c:v>
                </c:pt>
                <c:pt idx="4">
                  <c:v>0.21654206591555228</c:v>
                </c:pt>
                <c:pt idx="5">
                  <c:v>0.21796240922682614</c:v>
                </c:pt>
                <c:pt idx="6">
                  <c:v>0.23622267887166076</c:v>
                </c:pt>
                <c:pt idx="7">
                  <c:v>0.2354304848992208</c:v>
                </c:pt>
                <c:pt idx="8">
                  <c:v>0.21848247603716983</c:v>
                </c:pt>
                <c:pt idx="9">
                  <c:v>0.22256077366364177</c:v>
                </c:pt>
                <c:pt idx="10">
                  <c:v>0.22480821739695747</c:v>
                </c:pt>
                <c:pt idx="11">
                  <c:v>0.22533050579795155</c:v>
                </c:pt>
                <c:pt idx="12">
                  <c:v>0.2226366833635298</c:v>
                </c:pt>
                <c:pt idx="13">
                  <c:v>0.22325204193940798</c:v>
                </c:pt>
                <c:pt idx="14">
                  <c:v>0.22996825396825396</c:v>
                </c:pt>
                <c:pt idx="15">
                  <c:v>0.21708474576271186</c:v>
                </c:pt>
                <c:pt idx="16">
                  <c:v>0.20913519124810348</c:v>
                </c:pt>
                <c:pt idx="17">
                  <c:v>0.2253698722259583</c:v>
                </c:pt>
                <c:pt idx="18">
                  <c:v>0.22333461686561418</c:v>
                </c:pt>
                <c:pt idx="19">
                  <c:v>0.20840546258895942</c:v>
                </c:pt>
                <c:pt idx="20">
                  <c:v>0.2017836037391211</c:v>
                </c:pt>
                <c:pt idx="21">
                  <c:v>0.22206322362430075</c:v>
                </c:pt>
                <c:pt idx="22">
                  <c:v>0.21503700818075575</c:v>
                </c:pt>
                <c:pt idx="23">
                  <c:v>0.21863066012002183</c:v>
                </c:pt>
                <c:pt idx="24">
                  <c:v>0.2143478801442248</c:v>
                </c:pt>
                <c:pt idx="25">
                  <c:v>0.2192856208295172</c:v>
                </c:pt>
                <c:pt idx="26">
                  <c:v>0.21049521333175747</c:v>
                </c:pt>
                <c:pt idx="27">
                  <c:v>0.20969452694102672</c:v>
                </c:pt>
                <c:pt idx="28">
                  <c:v>0.20547273440564928</c:v>
                </c:pt>
                <c:pt idx="29">
                  <c:v>0.2160960960960961</c:v>
                </c:pt>
                <c:pt idx="30">
                  <c:v>0.2172803499817718</c:v>
                </c:pt>
                <c:pt idx="31">
                  <c:v>0.20391762933199398</c:v>
                </c:pt>
                <c:pt idx="32">
                  <c:v>0.20312156517916025</c:v>
                </c:pt>
                <c:pt idx="33">
                  <c:v>0.21543463381245723</c:v>
                </c:pt>
                <c:pt idx="34">
                  <c:v>0.2322291725902758</c:v>
                </c:pt>
                <c:pt idx="35">
                  <c:v>0.21850428097151844</c:v>
                </c:pt>
                <c:pt idx="36">
                  <c:v>0.2211885587336851</c:v>
                </c:pt>
                <c:pt idx="37">
                  <c:v>0.2241075917546506</c:v>
                </c:pt>
                <c:pt idx="38">
                  <c:v>0.222127417519909</c:v>
                </c:pt>
                <c:pt idx="39">
                  <c:v>0.21559917355371902</c:v>
                </c:pt>
                <c:pt idx="40">
                  <c:v>0.19986141358146903</c:v>
                </c:pt>
                <c:pt idx="41">
                  <c:v>0.2035894559730791</c:v>
                </c:pt>
                <c:pt idx="42">
                  <c:v>0.20829335891695983</c:v>
                </c:pt>
                <c:pt idx="43">
                  <c:v>0.19385160644117422</c:v>
                </c:pt>
                <c:pt idx="44">
                  <c:v>0.18837775419761563</c:v>
                </c:pt>
                <c:pt idx="45">
                  <c:v>0.20420927684441198</c:v>
                </c:pt>
                <c:pt idx="46">
                  <c:v>0.22446562213966512</c:v>
                </c:pt>
                <c:pt idx="47">
                  <c:v>0.22428271518544438</c:v>
                </c:pt>
                <c:pt idx="48">
                  <c:v>0.2128295398722777</c:v>
                </c:pt>
                <c:pt idx="49">
                  <c:v>0.2189755529685681</c:v>
                </c:pt>
                <c:pt idx="50">
                  <c:v>0.21591290214390754</c:v>
                </c:pt>
                <c:pt idx="51">
                  <c:v>0.216418613413715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956504779106</c:v>
                </c:pt>
              </c:numCache>
            </c:numRef>
          </c:xVal>
          <c:yVal>
            <c:numRef>
              <c:f>Sheet1!$B$163:$B$164</c:f>
              <c:numCache>
                <c:formatCode>General</c:formatCode>
                <c:ptCount val="2"/>
                <c:pt idx="0">
                  <c:v>0.2558362468240978</c:v>
                </c:pt>
                <c:pt idx="1">
                  <c:v>0.25583624682409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956504779106</c:v>
                </c:pt>
                <c:pt idx="1">
                  <c:v>709.0956504779106</c:v>
                </c:pt>
              </c:numCache>
            </c:numRef>
          </c:xVal>
          <c:yVal>
            <c:numRef>
              <c:f>Sheet1!$B$167:$B$168</c:f>
              <c:numCache>
                <c:formatCode>General</c:formatCode>
                <c:ptCount val="2"/>
                <c:pt idx="0">
                  <c:v>0.25583624682409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3.1042835104781</c:v>
                </c:pt>
              </c:numCache>
            </c:numRef>
          </c:xVal>
          <c:yVal>
            <c:numRef>
              <c:f>Sheet1!$B$171:$B$172</c:f>
              <c:numCache>
                <c:formatCode>General</c:formatCode>
                <c:ptCount val="2"/>
                <c:pt idx="0">
                  <c:v>0.2196717840141932</c:v>
                </c:pt>
                <c:pt idx="1">
                  <c:v>0.21967178401419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3.1042835104781</c:v>
                </c:pt>
                <c:pt idx="1">
                  <c:v>1183.1042835104781</c:v>
                </c:pt>
              </c:numCache>
            </c:numRef>
          </c:xVal>
          <c:yVal>
            <c:numRef>
              <c:f>Sheet1!$B$175:$B$176</c:f>
              <c:numCache>
                <c:formatCode>General</c:formatCode>
                <c:ptCount val="2"/>
                <c:pt idx="0">
                  <c:v>0.21967178401419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3.2330843676468</c:v>
                </c:pt>
              </c:numCache>
            </c:numRef>
          </c:xVal>
          <c:yVal>
            <c:numRef>
              <c:f>Sheet1!$B$179:$B$180</c:f>
              <c:numCache>
                <c:formatCode>General</c:formatCode>
                <c:ptCount val="2"/>
                <c:pt idx="0">
                  <c:v>0.20974361424861593</c:v>
                </c:pt>
                <c:pt idx="1">
                  <c:v>0.209743614248615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3.2330843676468</c:v>
                </c:pt>
                <c:pt idx="1">
                  <c:v>1313.2330843676468</c:v>
                </c:pt>
              </c:numCache>
            </c:numRef>
          </c:xVal>
          <c:yVal>
            <c:numRef>
              <c:f>Sheet1!$B$183:$B$184</c:f>
              <c:numCache>
                <c:formatCode>General</c:formatCode>
                <c:ptCount val="2"/>
                <c:pt idx="0">
                  <c:v>0.209743614248615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3213</c:v>
                </c:pt>
                <c:pt idx="1">
                  <c:v>1239.3583</c:v>
                </c:pt>
                <c:pt idx="2">
                  <c:v>1238.8186</c:v>
                </c:pt>
                <c:pt idx="3">
                  <c:v>1216.4994</c:v>
                </c:pt>
                <c:pt idx="4">
                  <c:v>1247.0083</c:v>
                </c:pt>
                <c:pt idx="5">
                  <c:v>1241.3319</c:v>
                </c:pt>
                <c:pt idx="6">
                  <c:v>1140.6789</c:v>
                </c:pt>
                <c:pt idx="7">
                  <c:v>1174.727</c:v>
                </c:pt>
                <c:pt idx="8">
                  <c:v>1239.3868</c:v>
                </c:pt>
                <c:pt idx="9">
                  <c:v>1193.3985</c:v>
                </c:pt>
                <c:pt idx="10">
                  <c:v>1213.7857</c:v>
                </c:pt>
                <c:pt idx="11">
                  <c:v>1066.0461</c:v>
                </c:pt>
                <c:pt idx="12">
                  <c:v>1117.14</c:v>
                </c:pt>
                <c:pt idx="13">
                  <c:v>1188.0036</c:v>
                </c:pt>
                <c:pt idx="14">
                  <c:v>1160.5682</c:v>
                </c:pt>
                <c:pt idx="15">
                  <c:v>1190.2333</c:v>
                </c:pt>
                <c:pt idx="16">
                  <c:v>1227.412</c:v>
                </c:pt>
                <c:pt idx="17">
                  <c:v>1157.8788</c:v>
                </c:pt>
                <c:pt idx="18">
                  <c:v>1153.9858</c:v>
                </c:pt>
                <c:pt idx="19">
                  <c:v>1296.9737</c:v>
                </c:pt>
                <c:pt idx="20">
                  <c:v>1300.4409</c:v>
                </c:pt>
                <c:pt idx="21">
                  <c:v>1199.5882</c:v>
                </c:pt>
                <c:pt idx="22">
                  <c:v>1250.8339</c:v>
                </c:pt>
                <c:pt idx="23">
                  <c:v>1260.0012</c:v>
                </c:pt>
                <c:pt idx="24">
                  <c:v>1271.6961</c:v>
                </c:pt>
                <c:pt idx="25">
                  <c:v>1238.0107</c:v>
                </c:pt>
                <c:pt idx="26">
                  <c:v>1234.9208</c:v>
                </c:pt>
                <c:pt idx="27">
                  <c:v>1239.8432</c:v>
                </c:pt>
                <c:pt idx="28">
                  <c:v>1269.558</c:v>
                </c:pt>
                <c:pt idx="29">
                  <c:v>1276.9288</c:v>
                </c:pt>
                <c:pt idx="30">
                  <c:v>1262.3574</c:v>
                </c:pt>
                <c:pt idx="31">
                  <c:v>1249.0419</c:v>
                </c:pt>
                <c:pt idx="32">
                  <c:v>1267.5265</c:v>
                </c:pt>
                <c:pt idx="33">
                  <c:v>1263.1307</c:v>
                </c:pt>
                <c:pt idx="34">
                  <c:v>1278.341</c:v>
                </c:pt>
                <c:pt idx="35">
                  <c:v>1310.6497</c:v>
                </c:pt>
                <c:pt idx="36">
                  <c:v>1345.548</c:v>
                </c:pt>
                <c:pt idx="37">
                  <c:v>1320.9804</c:v>
                </c:pt>
                <c:pt idx="38">
                  <c:v>1349.1716</c:v>
                </c:pt>
                <c:pt idx="39">
                  <c:v>1289.7829</c:v>
                </c:pt>
                <c:pt idx="40">
                  <c:v>1326.2447</c:v>
                </c:pt>
                <c:pt idx="41">
                  <c:v>1354.7649</c:v>
                </c:pt>
                <c:pt idx="42">
                  <c:v>1337.8874</c:v>
                </c:pt>
                <c:pt idx="43">
                  <c:v>1355.3657</c:v>
                </c:pt>
                <c:pt idx="44">
                  <c:v>1269.9304</c:v>
                </c:pt>
                <c:pt idx="45">
                  <c:v>1222.6566</c:v>
                </c:pt>
                <c:pt idx="46">
                  <c:v>1209.4399</c:v>
                </c:pt>
                <c:pt idx="47">
                  <c:v>1179.1315</c:v>
                </c:pt>
                <c:pt idx="48">
                  <c:v>1180.2985</c:v>
                </c:pt>
                <c:pt idx="49">
                  <c:v>1204.4065</c:v>
                </c:pt>
                <c:pt idx="50">
                  <c:v>1162.9027</c:v>
                </c:pt>
                <c:pt idx="51">
                  <c:v>1123.7225</c:v>
                </c:pt>
                <c:pt idx="52">
                  <c:v>1183.1042835104781</c:v>
                </c:pt>
                <c:pt idx="53">
                  <c:v>709.0956504779106</c:v>
                </c:pt>
                <c:pt idx="54">
                  <c:v>1313.2330843676468</c:v>
                </c:pt>
              </c:numCache>
            </c:numRef>
          </c:xVal>
          <c:yVal>
            <c:numRef>
              <c:f>Sheet1!$B$187:$B$241</c:f>
              <c:numCache>
                <c:formatCode>General</c:formatCode>
                <c:ptCount val="55"/>
                <c:pt idx="0">
                  <c:v>0.21606936431583162</c:v>
                </c:pt>
                <c:pt idx="1">
                  <c:v>0.2153798868936121</c:v>
                </c:pt>
                <c:pt idx="2">
                  <c:v>0.21542106327568267</c:v>
                </c:pt>
                <c:pt idx="3">
                  <c:v>0.21712390542263438</c:v>
                </c:pt>
                <c:pt idx="4">
                  <c:v>0.21479623056076053</c:v>
                </c:pt>
                <c:pt idx="5">
                  <c:v>0.21522931118923094</c:v>
                </c:pt>
                <c:pt idx="6">
                  <c:v>0.22290862633570258</c:v>
                </c:pt>
                <c:pt idx="7">
                  <c:v>0.22031092840281852</c:v>
                </c:pt>
                <c:pt idx="8">
                  <c:v>0.21537771248766618</c:v>
                </c:pt>
                <c:pt idx="9">
                  <c:v>0.2188863873284606</c:v>
                </c:pt>
                <c:pt idx="10">
                  <c:v>0.21733094701615846</c:v>
                </c:pt>
                <c:pt idx="11">
                  <c:v>0.22860273174203516</c:v>
                </c:pt>
                <c:pt idx="12">
                  <c:v>0.22470452542764502</c:v>
                </c:pt>
                <c:pt idx="13">
                  <c:v>0.21929799092978097</c:v>
                </c:pt>
                <c:pt idx="14">
                  <c:v>0.22139117327675037</c:v>
                </c:pt>
                <c:pt idx="15">
                  <c:v>0.21912787608986475</c:v>
                </c:pt>
                <c:pt idx="16">
                  <c:v>0.21629132920068983</c:v>
                </c:pt>
                <c:pt idx="17">
                  <c:v>0.22159636090309953</c:v>
                </c:pt>
                <c:pt idx="18">
                  <c:v>0.2218933771258173</c:v>
                </c:pt>
                <c:pt idx="19">
                  <c:v>0.2109841230923342</c:v>
                </c:pt>
                <c:pt idx="20">
                  <c:v>0.21071959325739786</c:v>
                </c:pt>
                <c:pt idx="21">
                  <c:v>0.21841414450448005</c:v>
                </c:pt>
                <c:pt idx="22">
                  <c:v>0.21450435661736744</c:v>
                </c:pt>
                <c:pt idx="23">
                  <c:v>0.21380493796375308</c:v>
                </c:pt>
                <c:pt idx="24">
                  <c:v>0.2129126762059667</c:v>
                </c:pt>
                <c:pt idx="25">
                  <c:v>0.21548270196212854</c:v>
                </c:pt>
                <c:pt idx="26">
                  <c:v>0.21571844571413873</c:v>
                </c:pt>
                <c:pt idx="27">
                  <c:v>0.2153428914745533</c:v>
                </c:pt>
                <c:pt idx="28">
                  <c:v>0.2130758024288778</c:v>
                </c:pt>
                <c:pt idx="29">
                  <c:v>0.21251344764480168</c:v>
                </c:pt>
                <c:pt idx="30">
                  <c:v>0.2136251718132348</c:v>
                </c:pt>
                <c:pt idx="31">
                  <c:v>0.21464107715965114</c:v>
                </c:pt>
                <c:pt idx="32">
                  <c:v>0.2132307956106017</c:v>
                </c:pt>
                <c:pt idx="33">
                  <c:v>0.21356617293190222</c:v>
                </c:pt>
                <c:pt idx="34">
                  <c:v>0.21240570392280783</c:v>
                </c:pt>
                <c:pt idx="35">
                  <c:v>0.20994071341807563</c:v>
                </c:pt>
                <c:pt idx="36">
                  <c:v>0.2072781495225523</c:v>
                </c:pt>
                <c:pt idx="37">
                  <c:v>0.20915253322490052</c:v>
                </c:pt>
                <c:pt idx="38">
                  <c:v>0.20700168715814432</c:v>
                </c:pt>
                <c:pt idx="39">
                  <c:v>0.21153274478622558</c:v>
                </c:pt>
                <c:pt idx="40">
                  <c:v>0.20875089374345862</c:v>
                </c:pt>
                <c:pt idx="41">
                  <c:v>0.20657494663964254</c:v>
                </c:pt>
                <c:pt idx="42">
                  <c:v>0.20786261458182584</c:v>
                </c:pt>
                <c:pt idx="43">
                  <c:v>0.20652910863640367</c:v>
                </c:pt>
                <c:pt idx="44">
                  <c:v>0.21304739019118446</c:v>
                </c:pt>
                <c:pt idx="45">
                  <c:v>0.21665414218438162</c:v>
                </c:pt>
                <c:pt idx="46">
                  <c:v>0.21766250959018543</c:v>
                </c:pt>
                <c:pt idx="47">
                  <c:v>0.21997488731549242</c:v>
                </c:pt>
                <c:pt idx="48">
                  <c:v>0.21988585111412798</c:v>
                </c:pt>
                <c:pt idx="49">
                  <c:v>0.21804653256871814</c:v>
                </c:pt>
                <c:pt idx="50">
                  <c:v>0.22121306272654878</c:v>
                </c:pt>
                <c:pt idx="51">
                  <c:v>0.22420231394908352</c:v>
                </c:pt>
                <c:pt idx="52">
                  <c:v>0.2196717840141932</c:v>
                </c:pt>
                <c:pt idx="53">
                  <c:v>0.2558362468240978</c:v>
                </c:pt>
                <c:pt idx="54">
                  <c:v>0.209743614248615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6.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2152392380381"/>
          <c:min val="0.113858673088100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323567653720326</c:v>
                </c:pt>
                <c:pt idx="1">
                  <c:v>2.352803382993155</c:v>
                </c:pt>
                <c:pt idx="2">
                  <c:v>2.4162321060867273</c:v>
                </c:pt>
                <c:pt idx="3">
                  <c:v>2.427173869716331</c:v>
                </c:pt>
                <c:pt idx="4">
                  <c:v>2.4676918932174283</c:v>
                </c:pt>
                <c:pt idx="5">
                  <c:v>2.0355109891951564</c:v>
                </c:pt>
                <c:pt idx="6">
                  <c:v>1.7777854756424298</c:v>
                </c:pt>
                <c:pt idx="7">
                  <c:v>1.7911352129975682</c:v>
                </c:pt>
                <c:pt idx="8">
                  <c:v>1.8184116192681865</c:v>
                </c:pt>
                <c:pt idx="9">
                  <c:v>1.8957777558492466</c:v>
                </c:pt>
                <c:pt idx="10">
                  <c:v>1.8071601759020133</c:v>
                </c:pt>
                <c:pt idx="11">
                  <c:v>1.8812329517383342</c:v>
                </c:pt>
                <c:pt idx="12">
                  <c:v>1.892806397840927</c:v>
                </c:pt>
                <c:pt idx="13">
                  <c:v>1.8845409148920347</c:v>
                </c:pt>
                <c:pt idx="14">
                  <c:v>1.885942897231344</c:v>
                </c:pt>
                <c:pt idx="15">
                  <c:v>1.9073481963979289</c:v>
                </c:pt>
                <c:pt idx="16">
                  <c:v>1.893696951103022</c:v>
                </c:pt>
                <c:pt idx="17">
                  <c:v>2.350391276102003</c:v>
                </c:pt>
                <c:pt idx="18">
                  <c:v>2.4571360212075146</c:v>
                </c:pt>
                <c:pt idx="19">
                  <c:v>2.413636959255822</c:v>
                </c:pt>
                <c:pt idx="20">
                  <c:v>2.518503853534868</c:v>
                </c:pt>
                <c:pt idx="21">
                  <c:v>2.562016251066823</c:v>
                </c:pt>
                <c:pt idx="22">
                  <c:v>2.417661921674831</c:v>
                </c:pt>
                <c:pt idx="23">
                  <c:v>2.5210234663022657</c:v>
                </c:pt>
                <c:pt idx="24">
                  <c:v>2.6745327954887324</c:v>
                </c:pt>
                <c:pt idx="25">
                  <c:v>2.672753320110606</c:v>
                </c:pt>
                <c:pt idx="26">
                  <c:v>2.1710777350861874</c:v>
                </c:pt>
                <c:pt idx="27">
                  <c:v>2.097577662240209</c:v>
                </c:pt>
                <c:pt idx="28">
                  <c:v>2.0351720088429013</c:v>
                </c:pt>
                <c:pt idx="29">
                  <c:v>2.02273293687459</c:v>
                </c:pt>
                <c:pt idx="30">
                  <c:v>2.0128957478048375</c:v>
                </c:pt>
                <c:pt idx="31">
                  <c:v>1.9192390041341223</c:v>
                </c:pt>
                <c:pt idx="32">
                  <c:v>1.849333258279047</c:v>
                </c:pt>
                <c:pt idx="33">
                  <c:v>1.7695789753075155</c:v>
                </c:pt>
                <c:pt idx="34">
                  <c:v>1.8525588198976788</c:v>
                </c:pt>
                <c:pt idx="35">
                  <c:v>1.969544908101236</c:v>
                </c:pt>
                <c:pt idx="36">
                  <c:v>2.164796511720025</c:v>
                </c:pt>
                <c:pt idx="37">
                  <c:v>2.1878069146306376</c:v>
                </c:pt>
                <c:pt idx="38">
                  <c:v>2.297646042005166</c:v>
                </c:pt>
                <c:pt idx="39">
                  <c:v>2.3151933709363925</c:v>
                </c:pt>
                <c:pt idx="40">
                  <c:v>2.291993977110558</c:v>
                </c:pt>
                <c:pt idx="41">
                  <c:v>2.3896310476950595</c:v>
                </c:pt>
                <c:pt idx="42">
                  <c:v>2.4405253508250446</c:v>
                </c:pt>
                <c:pt idx="43">
                  <c:v>2.463254001075307</c:v>
                </c:pt>
                <c:pt idx="44">
                  <c:v>2.316015322940151</c:v>
                </c:pt>
                <c:pt idx="45">
                  <c:v>2.261439931857516</c:v>
                </c:pt>
                <c:pt idx="46">
                  <c:v>2.285581067308051</c:v>
                </c:pt>
                <c:pt idx="47">
                  <c:v>2.2639286096893043</c:v>
                </c:pt>
                <c:pt idx="48">
                  <c:v>2.260749394518074</c:v>
                </c:pt>
                <c:pt idx="49">
                  <c:v>2.194832926082052</c:v>
                </c:pt>
                <c:pt idx="50">
                  <c:v>2.169683630133999</c:v>
                </c:pt>
                <c:pt idx="51">
                  <c:v>2.2336175424783455</c:v>
                </c:pt>
                <c:pt idx="52">
                  <c:v>2.241737509301524</c:v>
                </c:pt>
                <c:pt idx="53">
                  <c:v>2.3696640598929597</c:v>
                </c:pt>
                <c:pt idx="54">
                  <c:v>2.4435868262351574</c:v>
                </c:pt>
                <c:pt idx="55">
                  <c:v>2.5013452152654803</c:v>
                </c:pt>
                <c:pt idx="56">
                  <c:v>2.5335901229474294</c:v>
                </c:pt>
                <c:pt idx="57">
                  <c:v>2.462125633973561</c:v>
                </c:pt>
                <c:pt idx="58">
                  <c:v>2.3992543893975045</c:v>
                </c:pt>
                <c:pt idx="59">
                  <c:v>2.4562065245216536</c:v>
                </c:pt>
                <c:pt idx="60">
                  <c:v>2.508412399296704</c:v>
                </c:pt>
                <c:pt idx="61">
                  <c:v>2.4589949624606238</c:v>
                </c:pt>
                <c:pt idx="62">
                  <c:v>2.3833553335514965</c:v>
                </c:pt>
                <c:pt idx="63">
                  <c:v>2.469684404923473</c:v>
                </c:pt>
                <c:pt idx="64">
                  <c:v>2.4320187805434252</c:v>
                </c:pt>
                <c:pt idx="65">
                  <c:v>2.3966323986474944</c:v>
                </c:pt>
                <c:pt idx="66">
                  <c:v>2.4191318451415906</c:v>
                </c:pt>
                <c:pt idx="67">
                  <c:v>2.458416112086143</c:v>
                </c:pt>
                <c:pt idx="68">
                  <c:v>2.4583871695524544</c:v>
                </c:pt>
                <c:pt idx="69">
                  <c:v>2.4966904190800965</c:v>
                </c:pt>
                <c:pt idx="70">
                  <c:v>2.479374509409037</c:v>
                </c:pt>
                <c:pt idx="71">
                  <c:v>2.6054248418009993</c:v>
                </c:pt>
                <c:pt idx="72">
                  <c:v>2.789184010550971</c:v>
                </c:pt>
                <c:pt idx="73">
                  <c:v>2.690884449568931</c:v>
                </c:pt>
                <c:pt idx="74">
                  <c:v>2.6886577324730325</c:v>
                </c:pt>
                <c:pt idx="75">
                  <c:v>2.629538333966994</c:v>
                </c:pt>
                <c:pt idx="76">
                  <c:v>2.666168921503048</c:v>
                </c:pt>
                <c:pt idx="77">
                  <c:v>2.7346553379793677</c:v>
                </c:pt>
                <c:pt idx="78">
                  <c:v>2.8262123686706437</c:v>
                </c:pt>
                <c:pt idx="79">
                  <c:v>2.885295916135444</c:v>
                </c:pt>
                <c:pt idx="80">
                  <c:v>2.823123840998483</c:v>
                </c:pt>
                <c:pt idx="81">
                  <c:v>2.784509931899286</c:v>
                </c:pt>
                <c:pt idx="82">
                  <c:v>2.76146310552748</c:v>
                </c:pt>
                <c:pt idx="83">
                  <c:v>2.65643449069503</c:v>
                </c:pt>
                <c:pt idx="84">
                  <c:v>2.71727460472186</c:v>
                </c:pt>
                <c:pt idx="85">
                  <c:v>2.6107898520887014</c:v>
                </c:pt>
                <c:pt idx="86">
                  <c:v>2.5955444132366656</c:v>
                </c:pt>
                <c:pt idx="87">
                  <c:v>2.6167689408197696</c:v>
                </c:pt>
                <c:pt idx="88">
                  <c:v>2.703603378549456</c:v>
                </c:pt>
                <c:pt idx="89">
                  <c:v>2.6583649616202227</c:v>
                </c:pt>
                <c:pt idx="90">
                  <c:v>2.7975258270645296</c:v>
                </c:pt>
                <c:pt idx="91">
                  <c:v>2.822072584665267</c:v>
                </c:pt>
                <c:pt idx="92">
                  <c:v>2.648038540280944</c:v>
                </c:pt>
                <c:pt idx="93">
                  <c:v>2.4440952245794723</c:v>
                </c:pt>
                <c:pt idx="94">
                  <c:v>2.286620073337096</c:v>
                </c:pt>
                <c:pt idx="95">
                  <c:v>2.244948487661176</c:v>
                </c:pt>
                <c:pt idx="96">
                  <c:v>2.1981256713629147</c:v>
                </c:pt>
                <c:pt idx="97">
                  <c:v>2.1906882673952675</c:v>
                </c:pt>
                <c:pt idx="98">
                  <c:v>2.272813671260381</c:v>
                </c:pt>
                <c:pt idx="99">
                  <c:v>2.550704419206598</c:v>
                </c:pt>
                <c:pt idx="100">
                  <c:v>2.183937368235033</c:v>
                </c:pt>
                <c:pt idx="101">
                  <c:v>1.9539493543120887</c:v>
                </c:pt>
                <c:pt idx="102">
                  <c:v>1.9148186676893855</c:v>
                </c:pt>
                <c:pt idx="103">
                  <c:v>1.9239221607112902</c:v>
                </c:pt>
                <c:pt idx="104">
                  <c:v>1.9838186193484144</c:v>
                </c:pt>
              </c:numCache>
            </c:numRef>
          </c:xVal>
          <c:yVal>
            <c:numRef>
              <c:f>Sheet1!$B$2:$B$106</c:f>
              <c:numCache>
                <c:formatCode>General</c:formatCode>
                <c:ptCount val="105"/>
                <c:pt idx="0">
                  <c:v>0.2341275435875746</c:v>
                </c:pt>
                <c:pt idx="1">
                  <c:v>0.23947285519269138</c:v>
                </c:pt>
                <c:pt idx="2">
                  <c:v>0.24317544636269736</c:v>
                </c:pt>
                <c:pt idx="3">
                  <c:v>0.2391224671448767</c:v>
                </c:pt>
                <c:pt idx="4">
                  <c:v>0.24000500531815053</c:v>
                </c:pt>
                <c:pt idx="5">
                  <c:v>0.24944714727996462</c:v>
                </c:pt>
                <c:pt idx="6">
                  <c:v>0.28148987039134266</c:v>
                </c:pt>
                <c:pt idx="7">
                  <c:v>0.2934603269836508</c:v>
                </c:pt>
                <c:pt idx="8">
                  <c:v>0.2822255591559314</c:v>
                </c:pt>
                <c:pt idx="9">
                  <c:v>0.25795366367365036</c:v>
                </c:pt>
                <c:pt idx="10">
                  <c:v>0.2570964247020585</c:v>
                </c:pt>
                <c:pt idx="11">
                  <c:v>0.22894096838381606</c:v>
                </c:pt>
                <c:pt idx="12">
                  <c:v>0.2148625166104467</c:v>
                </c:pt>
                <c:pt idx="13">
                  <c:v>0.20276968674945067</c:v>
                </c:pt>
                <c:pt idx="14">
                  <c:v>0.1868550245466386</c:v>
                </c:pt>
                <c:pt idx="15">
                  <c:v>0.17611286791534905</c:v>
                </c:pt>
                <c:pt idx="16">
                  <c:v>0.16489472587033563</c:v>
                </c:pt>
                <c:pt idx="17">
                  <c:v>0.15665737321980258</c:v>
                </c:pt>
                <c:pt idx="18">
                  <c:v>0.14462950373895309</c:v>
                </c:pt>
                <c:pt idx="19">
                  <c:v>0.14776179866315575</c:v>
                </c:pt>
                <c:pt idx="20">
                  <c:v>0.14232334136012623</c:v>
                </c:pt>
                <c:pt idx="21">
                  <c:v>0.16119533209728432</c:v>
                </c:pt>
                <c:pt idx="22">
                  <c:v>0.19895995839833594</c:v>
                </c:pt>
                <c:pt idx="23">
                  <c:v>0.20905651980418336</c:v>
                </c:pt>
                <c:pt idx="24">
                  <c:v>0.215928841631735</c:v>
                </c:pt>
                <c:pt idx="25">
                  <c:v>0.22416627524659463</c:v>
                </c:pt>
                <c:pt idx="26">
                  <c:v>0.2430452325334466</c:v>
                </c:pt>
                <c:pt idx="27">
                  <c:v>0.23551159072741806</c:v>
                </c:pt>
                <c:pt idx="28">
                  <c:v>0.23971559167089893</c:v>
                </c:pt>
                <c:pt idx="29">
                  <c:v>0.23399342864754463</c:v>
                </c:pt>
                <c:pt idx="30">
                  <c:v>0.23508490133088572</c:v>
                </c:pt>
                <c:pt idx="31">
                  <c:v>0.2505432420686658</c:v>
                </c:pt>
                <c:pt idx="32">
                  <c:v>0.26301105268805663</c:v>
                </c:pt>
                <c:pt idx="33">
                  <c:v>0.25654623798475307</c:v>
                </c:pt>
                <c:pt idx="34">
                  <c:v>0.24403454838237446</c:v>
                </c:pt>
                <c:pt idx="35">
                  <c:v>0.24270342972427708</c:v>
                </c:pt>
                <c:pt idx="36">
                  <c:v>0.2130062933677586</c:v>
                </c:pt>
                <c:pt idx="37">
                  <c:v>0.2127444679092829</c:v>
                </c:pt>
                <c:pt idx="38">
                  <c:v>0.20360292737849503</c:v>
                </c:pt>
                <c:pt idx="39">
                  <c:v>0.19511249030256012</c:v>
                </c:pt>
                <c:pt idx="40">
                  <c:v>0.19810210963845973</c:v>
                </c:pt>
                <c:pt idx="41">
                  <c:v>0.1957584220631873</c:v>
                </c:pt>
                <c:pt idx="42">
                  <c:v>0.19305628616517623</c:v>
                </c:pt>
                <c:pt idx="43">
                  <c:v>0.18498914223669924</c:v>
                </c:pt>
                <c:pt idx="44">
                  <c:v>0.18627828393002266</c:v>
                </c:pt>
                <c:pt idx="45">
                  <c:v>0.1983413693346191</c:v>
                </c:pt>
                <c:pt idx="46">
                  <c:v>0.20363786069837944</c:v>
                </c:pt>
                <c:pt idx="47">
                  <c:v>0.19912321181356715</c:v>
                </c:pt>
                <c:pt idx="48">
                  <c:v>0.1982256800626889</c:v>
                </c:pt>
                <c:pt idx="49">
                  <c:v>0.20834819835890117</c:v>
                </c:pt>
                <c:pt idx="50">
                  <c:v>0.20451648876852</c:v>
                </c:pt>
                <c:pt idx="51">
                  <c:v>0.19633350075339026</c:v>
                </c:pt>
                <c:pt idx="52">
                  <c:v>0.2006137806364821</c:v>
                </c:pt>
                <c:pt idx="53">
                  <c:v>0.1965070069023217</c:v>
                </c:pt>
                <c:pt idx="54">
                  <c:v>0.20151760889712697</c:v>
                </c:pt>
                <c:pt idx="55">
                  <c:v>0.19578083797245824</c:v>
                </c:pt>
                <c:pt idx="56">
                  <c:v>0.20037197768133913</c:v>
                </c:pt>
                <c:pt idx="57">
                  <c:v>0.1987260475889661</c:v>
                </c:pt>
                <c:pt idx="58">
                  <c:v>0.21546933915459415</c:v>
                </c:pt>
                <c:pt idx="59">
                  <c:v>0.21248978565591803</c:v>
                </c:pt>
                <c:pt idx="60">
                  <c:v>0.21965214911968067</c:v>
                </c:pt>
                <c:pt idx="61">
                  <c:v>0.21980128108135372</c:v>
                </c:pt>
                <c:pt idx="62">
                  <c:v>0.23275491180266744</c:v>
                </c:pt>
                <c:pt idx="63">
                  <c:v>0.242300987797792</c:v>
                </c:pt>
                <c:pt idx="64">
                  <c:v>0.22283314572690277</c:v>
                </c:pt>
                <c:pt idx="65">
                  <c:v>0.206984126984127</c:v>
                </c:pt>
                <c:pt idx="66">
                  <c:v>0.20236719219566324</c:v>
                </c:pt>
                <c:pt idx="67">
                  <c:v>0.1919454527616992</c:v>
                </c:pt>
                <c:pt idx="68">
                  <c:v>0.18001868504028962</c:v>
                </c:pt>
                <c:pt idx="69">
                  <c:v>0.17428379085945098</c:v>
                </c:pt>
                <c:pt idx="70">
                  <c:v>0.1748206599713056</c:v>
                </c:pt>
                <c:pt idx="71">
                  <c:v>0.17924682099771763</c:v>
                </c:pt>
                <c:pt idx="72">
                  <c:v>0.17167910160756863</c:v>
                </c:pt>
                <c:pt idx="73">
                  <c:v>0.17936654624884482</c:v>
                </c:pt>
                <c:pt idx="74">
                  <c:v>0.18271566246180365</c:v>
                </c:pt>
                <c:pt idx="75">
                  <c:v>0.19658197770060318</c:v>
                </c:pt>
                <c:pt idx="76">
                  <c:v>0.19994046437785276</c:v>
                </c:pt>
                <c:pt idx="77">
                  <c:v>0.1948224700706027</c:v>
                </c:pt>
                <c:pt idx="78">
                  <c:v>0.19479333181091574</c:v>
                </c:pt>
                <c:pt idx="79">
                  <c:v>0.16088791047514217</c:v>
                </c:pt>
                <c:pt idx="80">
                  <c:v>0.15307323255182403</c:v>
                </c:pt>
                <c:pt idx="81">
                  <c:v>0.1695434747539926</c:v>
                </c:pt>
                <c:pt idx="82">
                  <c:v>0.17326888725438688</c:v>
                </c:pt>
                <c:pt idx="83">
                  <c:v>0.17703862660944206</c:v>
                </c:pt>
                <c:pt idx="84">
                  <c:v>0.1789090909090909</c:v>
                </c:pt>
                <c:pt idx="85">
                  <c:v>0.1872948650079407</c:v>
                </c:pt>
                <c:pt idx="86">
                  <c:v>0.19651181482076838</c:v>
                </c:pt>
                <c:pt idx="87">
                  <c:v>0.205010693553315</c:v>
                </c:pt>
                <c:pt idx="88">
                  <c:v>0.19495616195448726</c:v>
                </c:pt>
                <c:pt idx="89">
                  <c:v>0.20688903422716373</c:v>
                </c:pt>
                <c:pt idx="90">
                  <c:v>0.1942696629213483</c:v>
                </c:pt>
                <c:pt idx="91">
                  <c:v>0.17880649407634927</c:v>
                </c:pt>
                <c:pt idx="92">
                  <c:v>0.1896536908137836</c:v>
                </c:pt>
                <c:pt idx="93">
                  <c:v>0.18572980198847022</c:v>
                </c:pt>
                <c:pt idx="94">
                  <c:v>0.1892093717912816</c:v>
                </c:pt>
                <c:pt idx="95">
                  <c:v>0.19022747577486082</c:v>
                </c:pt>
                <c:pt idx="96">
                  <c:v>0.18617823048462978</c:v>
                </c:pt>
                <c:pt idx="97">
                  <c:v>0.18814298867139026</c:v>
                </c:pt>
                <c:pt idx="98">
                  <c:v>0.18773292466302113</c:v>
                </c:pt>
                <c:pt idx="99">
                  <c:v>0.19094287598153808</c:v>
                </c:pt>
                <c:pt idx="100">
                  <c:v>0.19330871557592205</c:v>
                </c:pt>
                <c:pt idx="101">
                  <c:v>0.2026939829004678</c:v>
                </c:pt>
                <c:pt idx="102">
                  <c:v>0.20075821875176825</c:v>
                </c:pt>
                <c:pt idx="103">
                  <c:v>0.18975667189952905</c:v>
                </c:pt>
                <c:pt idx="104">
                  <c:v>0.1878834355828220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221725000824132</c:v>
                </c:pt>
                <c:pt idx="1">
                  <c:v>1.9242769822396644</c:v>
                </c:pt>
                <c:pt idx="2">
                  <c:v>1.8777478398948428</c:v>
                </c:pt>
                <c:pt idx="3">
                  <c:v>1.8401207325514415</c:v>
                </c:pt>
                <c:pt idx="4">
                  <c:v>1.8472396320477205</c:v>
                </c:pt>
                <c:pt idx="5">
                  <c:v>1.7853176533937924</c:v>
                </c:pt>
                <c:pt idx="6">
                  <c:v>1.795203144834828</c:v>
                </c:pt>
                <c:pt idx="7">
                  <c:v>1.7009020785365194</c:v>
                </c:pt>
                <c:pt idx="8">
                  <c:v>1.788807092261227</c:v>
                </c:pt>
                <c:pt idx="9">
                  <c:v>1.7983065699150196</c:v>
                </c:pt>
                <c:pt idx="10">
                  <c:v>1.7855041188584877</c:v>
                </c:pt>
                <c:pt idx="11">
                  <c:v>1.9092697305359623</c:v>
                </c:pt>
                <c:pt idx="12">
                  <c:v>1.9044057004317363</c:v>
                </c:pt>
                <c:pt idx="13">
                  <c:v>1.811354689465678</c:v>
                </c:pt>
                <c:pt idx="14">
                  <c:v>1.7632519474394923</c:v>
                </c:pt>
                <c:pt idx="15">
                  <c:v>1.8783848488559567</c:v>
                </c:pt>
                <c:pt idx="16">
                  <c:v>1.8235139784038867</c:v>
                </c:pt>
                <c:pt idx="17">
                  <c:v>1.8159768107795622</c:v>
                </c:pt>
                <c:pt idx="18">
                  <c:v>1.7473005842172904</c:v>
                </c:pt>
                <c:pt idx="19">
                  <c:v>1.9686704859952133</c:v>
                </c:pt>
                <c:pt idx="20">
                  <c:v>1.8877279910743643</c:v>
                </c:pt>
                <c:pt idx="21">
                  <c:v>1.7762398486361048</c:v>
                </c:pt>
                <c:pt idx="22">
                  <c:v>1.819840525301034</c:v>
                </c:pt>
                <c:pt idx="23">
                  <c:v>1.8203611535299802</c:v>
                </c:pt>
                <c:pt idx="24">
                  <c:v>1.8229018932607894</c:v>
                </c:pt>
                <c:pt idx="25">
                  <c:v>1.8234012826736545</c:v>
                </c:pt>
                <c:pt idx="26">
                  <c:v>1.7626181939840768</c:v>
                </c:pt>
                <c:pt idx="27">
                  <c:v>1.7739125756833931</c:v>
                </c:pt>
                <c:pt idx="28">
                  <c:v>1.8324412588317973</c:v>
                </c:pt>
                <c:pt idx="29">
                  <c:v>1.8397758373968183</c:v>
                </c:pt>
                <c:pt idx="30">
                  <c:v>1.7959650031093268</c:v>
                </c:pt>
                <c:pt idx="31">
                  <c:v>1.7531150785296221</c:v>
                </c:pt>
                <c:pt idx="32">
                  <c:v>1.7567584236711005</c:v>
                </c:pt>
                <c:pt idx="33">
                  <c:v>1.7236288198034966</c:v>
                </c:pt>
                <c:pt idx="34">
                  <c:v>1.7952807945102094</c:v>
                </c:pt>
                <c:pt idx="35">
                  <c:v>1.74292371347559</c:v>
                </c:pt>
                <c:pt idx="36">
                  <c:v>1.7847547193836946</c:v>
                </c:pt>
                <c:pt idx="37">
                  <c:v>1.7614943881369793</c:v>
                </c:pt>
                <c:pt idx="38">
                  <c:v>1.7987381370376136</c:v>
                </c:pt>
                <c:pt idx="39">
                  <c:v>1.8356572538527893</c:v>
                </c:pt>
                <c:pt idx="40">
                  <c:v>1.8043364926524268</c:v>
                </c:pt>
                <c:pt idx="41">
                  <c:v>1.81516206046865</c:v>
                </c:pt>
                <c:pt idx="42">
                  <c:v>1.8278256457323854</c:v>
                </c:pt>
                <c:pt idx="43">
                  <c:v>1.8981606953992598</c:v>
                </c:pt>
                <c:pt idx="44">
                  <c:v>1.815392484349244</c:v>
                </c:pt>
                <c:pt idx="45">
                  <c:v>1.855506924820999</c:v>
                </c:pt>
                <c:pt idx="46">
                  <c:v>1.7989209210397343</c:v>
                </c:pt>
                <c:pt idx="47">
                  <c:v>1.8174333612725484</c:v>
                </c:pt>
                <c:pt idx="48">
                  <c:v>1.7907847069856475</c:v>
                </c:pt>
                <c:pt idx="49">
                  <c:v>1.8778111861999396</c:v>
                </c:pt>
                <c:pt idx="50">
                  <c:v>1.8718032623286989</c:v>
                </c:pt>
                <c:pt idx="51">
                  <c:v>1.8679006609912128</c:v>
                </c:pt>
              </c:numCache>
            </c:numRef>
          </c:xVal>
          <c:yVal>
            <c:numRef>
              <c:f>Sheet1!$B$109:$B$160</c:f>
              <c:numCache>
                <c:formatCode>General</c:formatCode>
                <c:ptCount val="52"/>
                <c:pt idx="0">
                  <c:v>0.19244094488188976</c:v>
                </c:pt>
                <c:pt idx="1">
                  <c:v>0.19705701337212556</c:v>
                </c:pt>
                <c:pt idx="2">
                  <c:v>0.21274424030329542</c:v>
                </c:pt>
                <c:pt idx="3">
                  <c:v>0.23173842073046316</c:v>
                </c:pt>
                <c:pt idx="4">
                  <c:v>0.21654206591555228</c:v>
                </c:pt>
                <c:pt idx="5">
                  <c:v>0.21796240922682614</c:v>
                </c:pt>
                <c:pt idx="6">
                  <c:v>0.23622267887166076</c:v>
                </c:pt>
                <c:pt idx="7">
                  <c:v>0.2354304848992208</c:v>
                </c:pt>
                <c:pt idx="8">
                  <c:v>0.21848247603716983</c:v>
                </c:pt>
                <c:pt idx="9">
                  <c:v>0.22256077366364177</c:v>
                </c:pt>
                <c:pt idx="10">
                  <c:v>0.22480821739695747</c:v>
                </c:pt>
                <c:pt idx="11">
                  <c:v>0.22533050579795155</c:v>
                </c:pt>
                <c:pt idx="12">
                  <c:v>0.2226366833635298</c:v>
                </c:pt>
                <c:pt idx="13">
                  <c:v>0.22325204193940798</c:v>
                </c:pt>
                <c:pt idx="14">
                  <c:v>0.22996825396825396</c:v>
                </c:pt>
                <c:pt idx="15">
                  <c:v>0.21708474576271186</c:v>
                </c:pt>
                <c:pt idx="16">
                  <c:v>0.20913519124810348</c:v>
                </c:pt>
                <c:pt idx="17">
                  <c:v>0.2253698722259583</c:v>
                </c:pt>
                <c:pt idx="18">
                  <c:v>0.22333461686561418</c:v>
                </c:pt>
                <c:pt idx="19">
                  <c:v>0.20840546258895942</c:v>
                </c:pt>
                <c:pt idx="20">
                  <c:v>0.2017836037391211</c:v>
                </c:pt>
                <c:pt idx="21">
                  <c:v>0.22206322362430075</c:v>
                </c:pt>
                <c:pt idx="22">
                  <c:v>0.21503700818075575</c:v>
                </c:pt>
                <c:pt idx="23">
                  <c:v>0.21863066012002183</c:v>
                </c:pt>
                <c:pt idx="24">
                  <c:v>0.2143478801442248</c:v>
                </c:pt>
                <c:pt idx="25">
                  <c:v>0.2192856208295172</c:v>
                </c:pt>
                <c:pt idx="26">
                  <c:v>0.21049521333175747</c:v>
                </c:pt>
                <c:pt idx="27">
                  <c:v>0.20969452694102672</c:v>
                </c:pt>
                <c:pt idx="28">
                  <c:v>0.20547273440564928</c:v>
                </c:pt>
                <c:pt idx="29">
                  <c:v>0.2160960960960961</c:v>
                </c:pt>
                <c:pt idx="30">
                  <c:v>0.2172803499817718</c:v>
                </c:pt>
                <c:pt idx="31">
                  <c:v>0.20391762933199398</c:v>
                </c:pt>
                <c:pt idx="32">
                  <c:v>0.20312156517916025</c:v>
                </c:pt>
                <c:pt idx="33">
                  <c:v>0.21543463381245723</c:v>
                </c:pt>
                <c:pt idx="34">
                  <c:v>0.2322291725902758</c:v>
                </c:pt>
                <c:pt idx="35">
                  <c:v>0.21850428097151844</c:v>
                </c:pt>
                <c:pt idx="36">
                  <c:v>0.2211885587336851</c:v>
                </c:pt>
                <c:pt idx="37">
                  <c:v>0.2241075917546506</c:v>
                </c:pt>
                <c:pt idx="38">
                  <c:v>0.222127417519909</c:v>
                </c:pt>
                <c:pt idx="39">
                  <c:v>0.21559917355371902</c:v>
                </c:pt>
                <c:pt idx="40">
                  <c:v>0.19986141358146903</c:v>
                </c:pt>
                <c:pt idx="41">
                  <c:v>0.2035894559730791</c:v>
                </c:pt>
                <c:pt idx="42">
                  <c:v>0.20829335891695983</c:v>
                </c:pt>
                <c:pt idx="43">
                  <c:v>0.19385160644117422</c:v>
                </c:pt>
                <c:pt idx="44">
                  <c:v>0.18837775419761563</c:v>
                </c:pt>
                <c:pt idx="45">
                  <c:v>0.20420927684441198</c:v>
                </c:pt>
                <c:pt idx="46">
                  <c:v>0.22446562213966512</c:v>
                </c:pt>
                <c:pt idx="47">
                  <c:v>0.22428271518544438</c:v>
                </c:pt>
                <c:pt idx="48">
                  <c:v>0.2128295398722777</c:v>
                </c:pt>
                <c:pt idx="49">
                  <c:v>0.2189755529685681</c:v>
                </c:pt>
                <c:pt idx="50">
                  <c:v>0.21591290214390754</c:v>
                </c:pt>
                <c:pt idx="51">
                  <c:v>0.216418613413715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539537035096837</c:v>
                </c:pt>
              </c:numCache>
            </c:numRef>
          </c:xVal>
          <c:yVal>
            <c:numRef>
              <c:f>Sheet1!$B$163:$B$164</c:f>
              <c:numCache>
                <c:formatCode>General</c:formatCode>
                <c:ptCount val="2"/>
                <c:pt idx="0">
                  <c:v>0.2558362468240978</c:v>
                </c:pt>
                <c:pt idx="1">
                  <c:v>0.255836246824097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539537035096837</c:v>
                </c:pt>
                <c:pt idx="1">
                  <c:v>1.2539537035096837</c:v>
                </c:pt>
              </c:numCache>
            </c:numRef>
          </c:xVal>
          <c:yVal>
            <c:numRef>
              <c:f>Sheet1!$B$167:$B$168</c:f>
              <c:numCache>
                <c:formatCode>General</c:formatCode>
                <c:ptCount val="2"/>
                <c:pt idx="0">
                  <c:v>0.25583624682409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18751423773114</c:v>
                </c:pt>
              </c:numCache>
            </c:numRef>
          </c:xVal>
          <c:yVal>
            <c:numRef>
              <c:f>Sheet1!$B$171:$B$172</c:f>
              <c:numCache>
                <c:formatCode>General</c:formatCode>
                <c:ptCount val="2"/>
                <c:pt idx="0">
                  <c:v>0.2196717840141932</c:v>
                </c:pt>
                <c:pt idx="1">
                  <c:v>0.21967178401419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18751423773114</c:v>
                </c:pt>
                <c:pt idx="1">
                  <c:v>1.7618751423773114</c:v>
                </c:pt>
              </c:numCache>
            </c:numRef>
          </c:xVal>
          <c:yVal>
            <c:numRef>
              <c:f>Sheet1!$B$175:$B$176</c:f>
              <c:numCache>
                <c:formatCode>General</c:formatCode>
                <c:ptCount val="2"/>
                <c:pt idx="0">
                  <c:v>0.21967178401419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013139693595005</c:v>
                </c:pt>
              </c:numCache>
            </c:numRef>
          </c:xVal>
          <c:yVal>
            <c:numRef>
              <c:f>Sheet1!$B$179:$B$180</c:f>
              <c:numCache>
                <c:formatCode>General</c:formatCode>
                <c:ptCount val="2"/>
                <c:pt idx="0">
                  <c:v>0.20974361424861593</c:v>
                </c:pt>
                <c:pt idx="1">
                  <c:v>0.209743614248615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013139693595005</c:v>
                </c:pt>
                <c:pt idx="1">
                  <c:v>1.9013139693595005</c:v>
                </c:pt>
              </c:numCache>
            </c:numRef>
          </c:xVal>
          <c:yVal>
            <c:numRef>
              <c:f>Sheet1!$B$183:$B$184</c:f>
              <c:numCache>
                <c:formatCode>General</c:formatCode>
                <c:ptCount val="2"/>
                <c:pt idx="0">
                  <c:v>0.209743614248615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221725000824132</c:v>
                </c:pt>
                <c:pt idx="1">
                  <c:v>1.9242769822396644</c:v>
                </c:pt>
                <c:pt idx="2">
                  <c:v>1.8777478398948428</c:v>
                </c:pt>
                <c:pt idx="3">
                  <c:v>1.8401207325514415</c:v>
                </c:pt>
                <c:pt idx="4">
                  <c:v>1.8472396320477205</c:v>
                </c:pt>
                <c:pt idx="5">
                  <c:v>1.7853176533937924</c:v>
                </c:pt>
                <c:pt idx="6">
                  <c:v>1.795203144834828</c:v>
                </c:pt>
                <c:pt idx="7">
                  <c:v>1.7009020785365194</c:v>
                </c:pt>
                <c:pt idx="8">
                  <c:v>1.788807092261227</c:v>
                </c:pt>
                <c:pt idx="9">
                  <c:v>1.7983065699150196</c:v>
                </c:pt>
                <c:pt idx="10">
                  <c:v>1.7855041188584877</c:v>
                </c:pt>
                <c:pt idx="11">
                  <c:v>1.9092697305359623</c:v>
                </c:pt>
                <c:pt idx="12">
                  <c:v>1.9044057004317363</c:v>
                </c:pt>
                <c:pt idx="13">
                  <c:v>1.811354689465678</c:v>
                </c:pt>
                <c:pt idx="14">
                  <c:v>1.7632519474394923</c:v>
                </c:pt>
                <c:pt idx="15">
                  <c:v>1.8783848488559567</c:v>
                </c:pt>
                <c:pt idx="16">
                  <c:v>1.8235139784038867</c:v>
                </c:pt>
                <c:pt idx="17">
                  <c:v>1.8159768107795622</c:v>
                </c:pt>
                <c:pt idx="18">
                  <c:v>1.7473005842172904</c:v>
                </c:pt>
                <c:pt idx="19">
                  <c:v>1.9686704859952133</c:v>
                </c:pt>
                <c:pt idx="20">
                  <c:v>1.8877279910743643</c:v>
                </c:pt>
                <c:pt idx="21">
                  <c:v>1.7762398486361048</c:v>
                </c:pt>
                <c:pt idx="22">
                  <c:v>1.819840525301034</c:v>
                </c:pt>
                <c:pt idx="23">
                  <c:v>1.8203611535299802</c:v>
                </c:pt>
                <c:pt idx="24">
                  <c:v>1.8229018932607894</c:v>
                </c:pt>
                <c:pt idx="25">
                  <c:v>1.8234012826736545</c:v>
                </c:pt>
                <c:pt idx="26">
                  <c:v>1.7626181939840768</c:v>
                </c:pt>
                <c:pt idx="27">
                  <c:v>1.7739125756833931</c:v>
                </c:pt>
                <c:pt idx="28">
                  <c:v>1.8324412588317973</c:v>
                </c:pt>
                <c:pt idx="29">
                  <c:v>1.8397758373968183</c:v>
                </c:pt>
                <c:pt idx="30">
                  <c:v>1.7959650031093268</c:v>
                </c:pt>
                <c:pt idx="31">
                  <c:v>1.7531150785296221</c:v>
                </c:pt>
                <c:pt idx="32">
                  <c:v>1.7567584236711005</c:v>
                </c:pt>
                <c:pt idx="33">
                  <c:v>1.7236288198034966</c:v>
                </c:pt>
                <c:pt idx="34">
                  <c:v>1.7952807945102094</c:v>
                </c:pt>
                <c:pt idx="35">
                  <c:v>1.74292371347559</c:v>
                </c:pt>
                <c:pt idx="36">
                  <c:v>1.7847547193836946</c:v>
                </c:pt>
                <c:pt idx="37">
                  <c:v>1.7614943881369793</c:v>
                </c:pt>
                <c:pt idx="38">
                  <c:v>1.7987381370376136</c:v>
                </c:pt>
                <c:pt idx="39">
                  <c:v>1.8356572538527893</c:v>
                </c:pt>
                <c:pt idx="40">
                  <c:v>1.8043364926524268</c:v>
                </c:pt>
                <c:pt idx="41">
                  <c:v>1.81516206046865</c:v>
                </c:pt>
                <c:pt idx="42">
                  <c:v>1.8278256457323854</c:v>
                </c:pt>
                <c:pt idx="43">
                  <c:v>1.8981606953992598</c:v>
                </c:pt>
                <c:pt idx="44">
                  <c:v>1.815392484349244</c:v>
                </c:pt>
                <c:pt idx="45">
                  <c:v>1.855506924820999</c:v>
                </c:pt>
                <c:pt idx="46">
                  <c:v>1.7989209210397343</c:v>
                </c:pt>
                <c:pt idx="47">
                  <c:v>1.8174333612725484</c:v>
                </c:pt>
                <c:pt idx="48">
                  <c:v>1.7907847069856475</c:v>
                </c:pt>
                <c:pt idx="49">
                  <c:v>1.8778111861999396</c:v>
                </c:pt>
                <c:pt idx="50">
                  <c:v>1.8718032623286989</c:v>
                </c:pt>
                <c:pt idx="51">
                  <c:v>1.8679006609912128</c:v>
                </c:pt>
                <c:pt idx="52">
                  <c:v>1.7618751423773114</c:v>
                </c:pt>
                <c:pt idx="53">
                  <c:v>1.2539537035096837</c:v>
                </c:pt>
                <c:pt idx="54">
                  <c:v>1.9013139693595005</c:v>
                </c:pt>
              </c:numCache>
            </c:numRef>
          </c:xVal>
          <c:yVal>
            <c:numRef>
              <c:f>Sheet1!$B$187:$B$241</c:f>
              <c:numCache>
                <c:formatCode>General</c:formatCode>
                <c:ptCount val="55"/>
                <c:pt idx="0">
                  <c:v>0.20825846811995521</c:v>
                </c:pt>
                <c:pt idx="1">
                  <c:v>0.20810862709950195</c:v>
                </c:pt>
                <c:pt idx="2">
                  <c:v>0.2114215438404403</c:v>
                </c:pt>
                <c:pt idx="3">
                  <c:v>0.21410062769088467</c:v>
                </c:pt>
                <c:pt idx="4">
                  <c:v>0.21359375565048686</c:v>
                </c:pt>
                <c:pt idx="5">
                  <c:v>0.218002656166949</c:v>
                </c:pt>
                <c:pt idx="6">
                  <c:v>0.21729880029432824</c:v>
                </c:pt>
                <c:pt idx="7">
                  <c:v>0.22401312094336923</c:v>
                </c:pt>
                <c:pt idx="8">
                  <c:v>0.21775420498436038</c:v>
                </c:pt>
                <c:pt idx="9">
                  <c:v>0.217077833640221</c:v>
                </c:pt>
                <c:pt idx="10">
                  <c:v>0.21798937965832527</c:v>
                </c:pt>
                <c:pt idx="11">
                  <c:v>0.20917715690467692</c:v>
                </c:pt>
                <c:pt idx="12">
                  <c:v>0.2095234802183821</c:v>
                </c:pt>
                <c:pt idx="13">
                  <c:v>0.21614879580460417</c:v>
                </c:pt>
                <c:pt idx="14">
                  <c:v>0.21957375425671982</c:v>
                </c:pt>
                <c:pt idx="15">
                  <c:v>0.21137618823006257</c:v>
                </c:pt>
                <c:pt idx="16">
                  <c:v>0.21528304350719948</c:v>
                </c:pt>
                <c:pt idx="17">
                  <c:v>0.21581969661412406</c:v>
                </c:pt>
                <c:pt idx="18">
                  <c:v>0.22070950565028707</c:v>
                </c:pt>
                <c:pt idx="19">
                  <c:v>0.20494776974497056</c:v>
                </c:pt>
                <c:pt idx="20">
                  <c:v>0.21071094810938848</c:v>
                </c:pt>
                <c:pt idx="21">
                  <c:v>0.21864900402201665</c:v>
                </c:pt>
                <c:pt idx="22">
                  <c:v>0.21554459666868492</c:v>
                </c:pt>
                <c:pt idx="23">
                  <c:v>0.2155075274710045</c:v>
                </c:pt>
                <c:pt idx="24">
                  <c:v>0.21532662451934065</c:v>
                </c:pt>
                <c:pt idx="25">
                  <c:v>0.21529106754444807</c:v>
                </c:pt>
                <c:pt idx="26">
                  <c:v>0.2196188780721668</c:v>
                </c:pt>
                <c:pt idx="27">
                  <c:v>0.2188147079472821</c:v>
                </c:pt>
                <c:pt idx="28">
                  <c:v>0.21464741311965663</c:v>
                </c:pt>
                <c:pt idx="29">
                  <c:v>0.2141251845357788</c:v>
                </c:pt>
                <c:pt idx="30">
                  <c:v>0.21724455530066158</c:v>
                </c:pt>
                <c:pt idx="31">
                  <c:v>0.22029550843098183</c:v>
                </c:pt>
                <c:pt idx="32">
                  <c:v>0.220036098983398</c:v>
                </c:pt>
                <c:pt idx="33">
                  <c:v>0.22239495654540195</c:v>
                </c:pt>
                <c:pt idx="34">
                  <c:v>0.2172932715676736</c:v>
                </c:pt>
                <c:pt idx="35">
                  <c:v>0.22102114277967244</c:v>
                </c:pt>
                <c:pt idx="36">
                  <c:v>0.21804273757425877</c:v>
                </c:pt>
                <c:pt idx="37">
                  <c:v>0.2196988940582089</c:v>
                </c:pt>
                <c:pt idx="38">
                  <c:v>0.2170471056733334</c:v>
                </c:pt>
                <c:pt idx="39">
                  <c:v>0.21441843138462138</c:v>
                </c:pt>
                <c:pt idx="40">
                  <c:v>0.21664849772349</c:v>
                </c:pt>
                <c:pt idx="41">
                  <c:v>0.21587770756830632</c:v>
                </c:pt>
                <c:pt idx="42">
                  <c:v>0.21497604891941877</c:v>
                </c:pt>
                <c:pt idx="43">
                  <c:v>0.20996813018777138</c:v>
                </c:pt>
                <c:pt idx="44">
                  <c:v>0.21586130118097438</c:v>
                </c:pt>
                <c:pt idx="45">
                  <c:v>0.21300511697694635</c:v>
                </c:pt>
                <c:pt idx="46">
                  <c:v>0.21703409128815274</c:v>
                </c:pt>
                <c:pt idx="47">
                  <c:v>0.2157159889103268</c:v>
                </c:pt>
                <c:pt idx="48">
                  <c:v>0.21761339703911384</c:v>
                </c:pt>
                <c:pt idx="49">
                  <c:v>0.21141703352660135</c:v>
                </c:pt>
                <c:pt idx="50">
                  <c:v>0.21184480310429554</c:v>
                </c:pt>
                <c:pt idx="51">
                  <c:v>0.21212267182597433</c:v>
                </c:pt>
                <c:pt idx="52">
                  <c:v>0.2196717840141932</c:v>
                </c:pt>
                <c:pt idx="53">
                  <c:v>0.2558362468240978</c:v>
                </c:pt>
                <c:pt idx="54">
                  <c:v>0.209743614248615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2152392380381"/>
          <c:min val="0.113858673088100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4344</c:v>
                </c:pt>
                <c:pt idx="1">
                  <c:v>894.2201</c:v>
                </c:pt>
                <c:pt idx="2">
                  <c:v>928.6416</c:v>
                </c:pt>
                <c:pt idx="3">
                  <c:v>943.8102</c:v>
                </c:pt>
                <c:pt idx="4">
                  <c:v>948.9408</c:v>
                </c:pt>
                <c:pt idx="5">
                  <c:v>941.2844</c:v>
                </c:pt>
                <c:pt idx="6">
                  <c:v>892.9884</c:v>
                </c:pt>
                <c:pt idx="7">
                  <c:v>903.2428</c:v>
                </c:pt>
                <c:pt idx="8">
                  <c:v>906.396</c:v>
                </c:pt>
                <c:pt idx="9">
                  <c:v>891.422</c:v>
                </c:pt>
                <c:pt idx="10">
                  <c:v>883.3717</c:v>
                </c:pt>
                <c:pt idx="11">
                  <c:v>946.9884</c:v>
                </c:pt>
                <c:pt idx="12">
                  <c:v>953.823</c:v>
                </c:pt>
                <c:pt idx="13">
                  <c:v>957.7399</c:v>
                </c:pt>
                <c:pt idx="14">
                  <c:v>965.622</c:v>
                </c:pt>
                <c:pt idx="15">
                  <c:v>984.6954</c:v>
                </c:pt>
                <c:pt idx="16">
                  <c:v>1006.1032</c:v>
                </c:pt>
                <c:pt idx="17">
                  <c:v>1029.658</c:v>
                </c:pt>
                <c:pt idx="18">
                  <c:v>1080.386</c:v>
                </c:pt>
                <c:pt idx="19">
                  <c:v>1072.0212</c:v>
                </c:pt>
                <c:pt idx="20">
                  <c:v>1111.8308</c:v>
                </c:pt>
                <c:pt idx="21">
                  <c:v>1123.0196</c:v>
                </c:pt>
                <c:pt idx="22">
                  <c:v>1057.6079</c:v>
                </c:pt>
                <c:pt idx="23">
                  <c:v>1053.421</c:v>
                </c:pt>
                <c:pt idx="24">
                  <c:v>1058.9834</c:v>
                </c:pt>
                <c:pt idx="25">
                  <c:v>1031.1493</c:v>
                </c:pt>
                <c:pt idx="26">
                  <c:v>1015.5164</c:v>
                </c:pt>
                <c:pt idx="27">
                  <c:v>1038.745</c:v>
                </c:pt>
                <c:pt idx="28">
                  <c:v>1033.9148</c:v>
                </c:pt>
                <c:pt idx="29">
                  <c:v>1009.652</c:v>
                </c:pt>
                <c:pt idx="30">
                  <c:v>1013.6633</c:v>
                </c:pt>
                <c:pt idx="31">
                  <c:v>991.856</c:v>
                </c:pt>
                <c:pt idx="32">
                  <c:v>975.7417</c:v>
                </c:pt>
                <c:pt idx="33">
                  <c:v>938.7213</c:v>
                </c:pt>
                <c:pt idx="34">
                  <c:v>957.1938</c:v>
                </c:pt>
                <c:pt idx="35">
                  <c:v>996.4231</c:v>
                </c:pt>
                <c:pt idx="36">
                  <c:v>1093.0352</c:v>
                </c:pt>
                <c:pt idx="37">
                  <c:v>1100.9797</c:v>
                </c:pt>
                <c:pt idx="38">
                  <c:v>1151.0885</c:v>
                </c:pt>
                <c:pt idx="39">
                  <c:v>1161.8534</c:v>
                </c:pt>
                <c:pt idx="40">
                  <c:v>1154.2759</c:v>
                </c:pt>
                <c:pt idx="41">
                  <c:v>1198.8172</c:v>
                </c:pt>
                <c:pt idx="42">
                  <c:v>1221.306</c:v>
                </c:pt>
                <c:pt idx="43">
                  <c:v>1230.588</c:v>
                </c:pt>
                <c:pt idx="44">
                  <c:v>1156.9995</c:v>
                </c:pt>
                <c:pt idx="45">
                  <c:v>1125.7007</c:v>
                </c:pt>
                <c:pt idx="46">
                  <c:v>1115.4271</c:v>
                </c:pt>
                <c:pt idx="47">
                  <c:v>1096.7781</c:v>
                </c:pt>
                <c:pt idx="48">
                  <c:v>1108.5657</c:v>
                </c:pt>
                <c:pt idx="49">
                  <c:v>1073.2057</c:v>
                </c:pt>
                <c:pt idx="50">
                  <c:v>1069.5488</c:v>
                </c:pt>
                <c:pt idx="51">
                  <c:v>1091.0737</c:v>
                </c:pt>
                <c:pt idx="52">
                  <c:v>1093.2705</c:v>
                </c:pt>
                <c:pt idx="53">
                  <c:v>1165.2996</c:v>
                </c:pt>
                <c:pt idx="54">
                  <c:v>1148.1613</c:v>
                </c:pt>
                <c:pt idx="55">
                  <c:v>1168.5642</c:v>
                </c:pt>
                <c:pt idx="56">
                  <c:v>1179.0353</c:v>
                </c:pt>
                <c:pt idx="57">
                  <c:v>1151.1597</c:v>
                </c:pt>
                <c:pt idx="58">
                  <c:v>1125.085</c:v>
                </c:pt>
                <c:pt idx="59">
                  <c:v>1109.1649</c:v>
                </c:pt>
                <c:pt idx="60">
                  <c:v>1129.06</c:v>
                </c:pt>
                <c:pt idx="61">
                  <c:v>1162.6379</c:v>
                </c:pt>
                <c:pt idx="62">
                  <c:v>1101.9298</c:v>
                </c:pt>
                <c:pt idx="63">
                  <c:v>1128.4114</c:v>
                </c:pt>
                <c:pt idx="64">
                  <c:v>1141.1251</c:v>
                </c:pt>
                <c:pt idx="65">
                  <c:v>1129.7531</c:v>
                </c:pt>
                <c:pt idx="66">
                  <c:v>1143.7053</c:v>
                </c:pt>
                <c:pt idx="67">
                  <c:v>1158.9893</c:v>
                </c:pt>
                <c:pt idx="68">
                  <c:v>1181.1803</c:v>
                </c:pt>
                <c:pt idx="69">
                  <c:v>1209.5017</c:v>
                </c:pt>
                <c:pt idx="70">
                  <c:v>1190.4982</c:v>
                </c:pt>
                <c:pt idx="71">
                  <c:v>1257.5948</c:v>
                </c:pt>
                <c:pt idx="72">
                  <c:v>1345.0296</c:v>
                </c:pt>
                <c:pt idx="73">
                  <c:v>1310.4244</c:v>
                </c:pt>
                <c:pt idx="74">
                  <c:v>1300.0214</c:v>
                </c:pt>
                <c:pt idx="75">
                  <c:v>1253.2264</c:v>
                </c:pt>
                <c:pt idx="76">
                  <c:v>1224.8516</c:v>
                </c:pt>
                <c:pt idx="77">
                  <c:v>1217.4207</c:v>
                </c:pt>
                <c:pt idx="78">
                  <c:v>1285.2034</c:v>
                </c:pt>
                <c:pt idx="79">
                  <c:v>1278.2412</c:v>
                </c:pt>
                <c:pt idx="80">
                  <c:v>1281.7002</c:v>
                </c:pt>
                <c:pt idx="81">
                  <c:v>1255.5514</c:v>
                </c:pt>
                <c:pt idx="82">
                  <c:v>1262.9187</c:v>
                </c:pt>
                <c:pt idx="83">
                  <c:v>1209.3596</c:v>
                </c:pt>
                <c:pt idx="84">
                  <c:v>1233.5136</c:v>
                </c:pt>
                <c:pt idx="85">
                  <c:v>1216.1221</c:v>
                </c:pt>
                <c:pt idx="86">
                  <c:v>1217.4209</c:v>
                </c:pt>
                <c:pt idx="87">
                  <c:v>1219.3353</c:v>
                </c:pt>
                <c:pt idx="88">
                  <c:v>1278.1531</c:v>
                </c:pt>
                <c:pt idx="89">
                  <c:v>1261.0337</c:v>
                </c:pt>
                <c:pt idx="90">
                  <c:v>1329.8965</c:v>
                </c:pt>
                <c:pt idx="91">
                  <c:v>1329.2515</c:v>
                </c:pt>
                <c:pt idx="92">
                  <c:v>1253.4599</c:v>
                </c:pt>
                <c:pt idx="93">
                  <c:v>1301.9969</c:v>
                </c:pt>
                <c:pt idx="94">
                  <c:v>1273.6236</c:v>
                </c:pt>
                <c:pt idx="95">
                  <c:v>1234.2298</c:v>
                </c:pt>
                <c:pt idx="96">
                  <c:v>1215.7233</c:v>
                </c:pt>
                <c:pt idx="97">
                  <c:v>1198.834</c:v>
                </c:pt>
                <c:pt idx="98">
                  <c:v>1185.2121</c:v>
                </c:pt>
                <c:pt idx="99">
                  <c:v>1145.2872</c:v>
                </c:pt>
                <c:pt idx="100">
                  <c:v>1146.2297</c:v>
                </c:pt>
                <c:pt idx="101">
                  <c:v>1154.159</c:v>
                </c:pt>
                <c:pt idx="102">
                  <c:v>1163.3117</c:v>
                </c:pt>
                <c:pt idx="103">
                  <c:v>1160.6122</c:v>
                </c:pt>
                <c:pt idx="104">
                  <c:v>1208.4691</c:v>
                </c:pt>
              </c:numCache>
            </c:numRef>
          </c:xVal>
          <c:yVal>
            <c:numRef>
              <c:f>Sheet1!$B$2:$B$106</c:f>
              <c:numCache>
                <c:formatCode>General</c:formatCode>
                <c:ptCount val="105"/>
                <c:pt idx="0">
                  <c:v>0.2341275435875746</c:v>
                </c:pt>
                <c:pt idx="1">
                  <c:v>0.23947285519269138</c:v>
                </c:pt>
                <c:pt idx="2">
                  <c:v>0.24317544636269736</c:v>
                </c:pt>
                <c:pt idx="3">
                  <c:v>0.2391224671448767</c:v>
                </c:pt>
                <c:pt idx="4">
                  <c:v>0.24000500531815053</c:v>
                </c:pt>
                <c:pt idx="5">
                  <c:v>0.24944714727996462</c:v>
                </c:pt>
                <c:pt idx="6">
                  <c:v>0.28148987039134266</c:v>
                </c:pt>
                <c:pt idx="7">
                  <c:v>0.2934603269836508</c:v>
                </c:pt>
                <c:pt idx="8">
                  <c:v>0.2822255591559314</c:v>
                </c:pt>
                <c:pt idx="9">
                  <c:v>0.25795366367365036</c:v>
                </c:pt>
                <c:pt idx="10">
                  <c:v>0.2570964247020585</c:v>
                </c:pt>
                <c:pt idx="11">
                  <c:v>0.22894096838381606</c:v>
                </c:pt>
                <c:pt idx="12">
                  <c:v>0.2148625166104467</c:v>
                </c:pt>
                <c:pt idx="13">
                  <c:v>0.20276968674945067</c:v>
                </c:pt>
                <c:pt idx="14">
                  <c:v>0.1868550245466386</c:v>
                </c:pt>
                <c:pt idx="15">
                  <c:v>0.17611286791534905</c:v>
                </c:pt>
                <c:pt idx="16">
                  <c:v>0.16489472587033563</c:v>
                </c:pt>
                <c:pt idx="17">
                  <c:v>0.15665737321980258</c:v>
                </c:pt>
                <c:pt idx="18">
                  <c:v>0.14462950373895309</c:v>
                </c:pt>
                <c:pt idx="19">
                  <c:v>0.14776179866315575</c:v>
                </c:pt>
                <c:pt idx="20">
                  <c:v>0.14232334136012623</c:v>
                </c:pt>
                <c:pt idx="21">
                  <c:v>0.16119533209728432</c:v>
                </c:pt>
                <c:pt idx="22">
                  <c:v>0.19895995839833594</c:v>
                </c:pt>
                <c:pt idx="23">
                  <c:v>0.20905651980418336</c:v>
                </c:pt>
                <c:pt idx="24">
                  <c:v>0.215928841631735</c:v>
                </c:pt>
                <c:pt idx="25">
                  <c:v>0.22416627524659463</c:v>
                </c:pt>
                <c:pt idx="26">
                  <c:v>0.2430452325334466</c:v>
                </c:pt>
                <c:pt idx="27">
                  <c:v>0.23551159072741806</c:v>
                </c:pt>
                <c:pt idx="28">
                  <c:v>0.23971559167089893</c:v>
                </c:pt>
                <c:pt idx="29">
                  <c:v>0.23399342864754463</c:v>
                </c:pt>
                <c:pt idx="30">
                  <c:v>0.23508490133088572</c:v>
                </c:pt>
                <c:pt idx="31">
                  <c:v>0.2505432420686658</c:v>
                </c:pt>
                <c:pt idx="32">
                  <c:v>0.26301105268805663</c:v>
                </c:pt>
                <c:pt idx="33">
                  <c:v>0.25654623798475307</c:v>
                </c:pt>
                <c:pt idx="34">
                  <c:v>0.24403454838237446</c:v>
                </c:pt>
                <c:pt idx="35">
                  <c:v>0.24270342972427708</c:v>
                </c:pt>
                <c:pt idx="36">
                  <c:v>0.2130062933677586</c:v>
                </c:pt>
                <c:pt idx="37">
                  <c:v>0.2127444679092829</c:v>
                </c:pt>
                <c:pt idx="38">
                  <c:v>0.20360292737849503</c:v>
                </c:pt>
                <c:pt idx="39">
                  <c:v>0.19511249030256012</c:v>
                </c:pt>
                <c:pt idx="40">
                  <c:v>0.19810210963845973</c:v>
                </c:pt>
                <c:pt idx="41">
                  <c:v>0.1957584220631873</c:v>
                </c:pt>
                <c:pt idx="42">
                  <c:v>0.19305628616517623</c:v>
                </c:pt>
                <c:pt idx="43">
                  <c:v>0.18498914223669924</c:v>
                </c:pt>
                <c:pt idx="44">
                  <c:v>0.18627828393002266</c:v>
                </c:pt>
                <c:pt idx="45">
                  <c:v>0.1983413693346191</c:v>
                </c:pt>
                <c:pt idx="46">
                  <c:v>0.20363786069837944</c:v>
                </c:pt>
                <c:pt idx="47">
                  <c:v>0.19912321181356715</c:v>
                </c:pt>
                <c:pt idx="48">
                  <c:v>0.1982256800626889</c:v>
                </c:pt>
                <c:pt idx="49">
                  <c:v>0.20834819835890117</c:v>
                </c:pt>
                <c:pt idx="50">
                  <c:v>0.20451648876852</c:v>
                </c:pt>
                <c:pt idx="51">
                  <c:v>0.19633350075339026</c:v>
                </c:pt>
                <c:pt idx="52">
                  <c:v>0.2006137806364821</c:v>
                </c:pt>
                <c:pt idx="53">
                  <c:v>0.1965070069023217</c:v>
                </c:pt>
                <c:pt idx="54">
                  <c:v>0.20151760889712697</c:v>
                </c:pt>
                <c:pt idx="55">
                  <c:v>0.19578083797245824</c:v>
                </c:pt>
                <c:pt idx="56">
                  <c:v>0.20037197768133913</c:v>
                </c:pt>
                <c:pt idx="57">
                  <c:v>0.1987260475889661</c:v>
                </c:pt>
                <c:pt idx="58">
                  <c:v>0.21546933915459415</c:v>
                </c:pt>
                <c:pt idx="59">
                  <c:v>0.21248978565591803</c:v>
                </c:pt>
                <c:pt idx="60">
                  <c:v>0.21965214911968067</c:v>
                </c:pt>
                <c:pt idx="61">
                  <c:v>0.21980128108135372</c:v>
                </c:pt>
                <c:pt idx="62">
                  <c:v>0.23275491180266744</c:v>
                </c:pt>
                <c:pt idx="63">
                  <c:v>0.242300987797792</c:v>
                </c:pt>
                <c:pt idx="64">
                  <c:v>0.22283314572690277</c:v>
                </c:pt>
                <c:pt idx="65">
                  <c:v>0.206984126984127</c:v>
                </c:pt>
                <c:pt idx="66">
                  <c:v>0.20236719219566324</c:v>
                </c:pt>
                <c:pt idx="67">
                  <c:v>0.1919454527616992</c:v>
                </c:pt>
                <c:pt idx="68">
                  <c:v>0.18001868504028962</c:v>
                </c:pt>
                <c:pt idx="69">
                  <c:v>0.17428379085945098</c:v>
                </c:pt>
                <c:pt idx="70">
                  <c:v>0.1748206599713056</c:v>
                </c:pt>
                <c:pt idx="71">
                  <c:v>0.17924682099771763</c:v>
                </c:pt>
                <c:pt idx="72">
                  <c:v>0.17167910160756863</c:v>
                </c:pt>
                <c:pt idx="73">
                  <c:v>0.17936654624884482</c:v>
                </c:pt>
                <c:pt idx="74">
                  <c:v>0.18271566246180365</c:v>
                </c:pt>
                <c:pt idx="75">
                  <c:v>0.19658197770060318</c:v>
                </c:pt>
                <c:pt idx="76">
                  <c:v>0.19994046437785276</c:v>
                </c:pt>
                <c:pt idx="77">
                  <c:v>0.1948224700706027</c:v>
                </c:pt>
                <c:pt idx="78">
                  <c:v>0.19479333181091574</c:v>
                </c:pt>
                <c:pt idx="79">
                  <c:v>0.16088791047514217</c:v>
                </c:pt>
                <c:pt idx="80">
                  <c:v>0.15307323255182403</c:v>
                </c:pt>
                <c:pt idx="81">
                  <c:v>0.1695434747539926</c:v>
                </c:pt>
                <c:pt idx="82">
                  <c:v>0.17326888725438688</c:v>
                </c:pt>
                <c:pt idx="83">
                  <c:v>0.17703862660944206</c:v>
                </c:pt>
                <c:pt idx="84">
                  <c:v>0.1789090909090909</c:v>
                </c:pt>
                <c:pt idx="85">
                  <c:v>0.1872948650079407</c:v>
                </c:pt>
                <c:pt idx="86">
                  <c:v>0.19651181482076838</c:v>
                </c:pt>
                <c:pt idx="87">
                  <c:v>0.205010693553315</c:v>
                </c:pt>
                <c:pt idx="88">
                  <c:v>0.19495616195448726</c:v>
                </c:pt>
                <c:pt idx="89">
                  <c:v>0.20688903422716373</c:v>
                </c:pt>
                <c:pt idx="90">
                  <c:v>0.1942696629213483</c:v>
                </c:pt>
                <c:pt idx="91">
                  <c:v>0.17880649407634927</c:v>
                </c:pt>
                <c:pt idx="92">
                  <c:v>0.1896536908137836</c:v>
                </c:pt>
                <c:pt idx="93">
                  <c:v>0.18572980198847022</c:v>
                </c:pt>
                <c:pt idx="94">
                  <c:v>0.1892093717912816</c:v>
                </c:pt>
                <c:pt idx="95">
                  <c:v>0.19022747577486082</c:v>
                </c:pt>
                <c:pt idx="96">
                  <c:v>0.18617823048462978</c:v>
                </c:pt>
                <c:pt idx="97">
                  <c:v>0.18814298867139026</c:v>
                </c:pt>
                <c:pt idx="98">
                  <c:v>0.18773292466302113</c:v>
                </c:pt>
                <c:pt idx="99">
                  <c:v>0.19094287598153808</c:v>
                </c:pt>
                <c:pt idx="100">
                  <c:v>0.19330871557592205</c:v>
                </c:pt>
                <c:pt idx="101">
                  <c:v>0.2026939829004678</c:v>
                </c:pt>
                <c:pt idx="102">
                  <c:v>0.20075821875176825</c:v>
                </c:pt>
                <c:pt idx="103">
                  <c:v>0.18975667189952905</c:v>
                </c:pt>
                <c:pt idx="104">
                  <c:v>0.1878834355828220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3213</c:v>
                </c:pt>
                <c:pt idx="1">
                  <c:v>1239.3583</c:v>
                </c:pt>
                <c:pt idx="2">
                  <c:v>1238.8186</c:v>
                </c:pt>
                <c:pt idx="3">
                  <c:v>1216.4994</c:v>
                </c:pt>
                <c:pt idx="4">
                  <c:v>1247.0083</c:v>
                </c:pt>
                <c:pt idx="5">
                  <c:v>1241.3319</c:v>
                </c:pt>
                <c:pt idx="6">
                  <c:v>1140.6789</c:v>
                </c:pt>
                <c:pt idx="7">
                  <c:v>1174.727</c:v>
                </c:pt>
                <c:pt idx="8">
                  <c:v>1239.3868</c:v>
                </c:pt>
                <c:pt idx="9">
                  <c:v>1193.3985</c:v>
                </c:pt>
                <c:pt idx="10">
                  <c:v>1213.7857</c:v>
                </c:pt>
                <c:pt idx="11">
                  <c:v>1066.0461</c:v>
                </c:pt>
                <c:pt idx="12">
                  <c:v>1117.14</c:v>
                </c:pt>
                <c:pt idx="13">
                  <c:v>1188.0036</c:v>
                </c:pt>
                <c:pt idx="14">
                  <c:v>1160.5682</c:v>
                </c:pt>
                <c:pt idx="15">
                  <c:v>1190.2333</c:v>
                </c:pt>
                <c:pt idx="16">
                  <c:v>1227.412</c:v>
                </c:pt>
                <c:pt idx="17">
                  <c:v>1157.8788</c:v>
                </c:pt>
                <c:pt idx="18">
                  <c:v>1153.9858</c:v>
                </c:pt>
                <c:pt idx="19">
                  <c:v>1296.9737</c:v>
                </c:pt>
                <c:pt idx="20">
                  <c:v>1300.4409</c:v>
                </c:pt>
                <c:pt idx="21">
                  <c:v>1199.5882</c:v>
                </c:pt>
                <c:pt idx="22">
                  <c:v>1250.8339</c:v>
                </c:pt>
                <c:pt idx="23">
                  <c:v>1260.0012</c:v>
                </c:pt>
                <c:pt idx="24">
                  <c:v>1271.6961</c:v>
                </c:pt>
                <c:pt idx="25">
                  <c:v>1238.0107</c:v>
                </c:pt>
                <c:pt idx="26">
                  <c:v>1234.9208</c:v>
                </c:pt>
                <c:pt idx="27">
                  <c:v>1239.8432</c:v>
                </c:pt>
                <c:pt idx="28">
                  <c:v>1269.558</c:v>
                </c:pt>
                <c:pt idx="29">
                  <c:v>1276.9288</c:v>
                </c:pt>
                <c:pt idx="30">
                  <c:v>1262.3574</c:v>
                </c:pt>
                <c:pt idx="31">
                  <c:v>1249.0419</c:v>
                </c:pt>
                <c:pt idx="32">
                  <c:v>1267.5265</c:v>
                </c:pt>
                <c:pt idx="33">
                  <c:v>1263.1307</c:v>
                </c:pt>
                <c:pt idx="34">
                  <c:v>1278.341</c:v>
                </c:pt>
                <c:pt idx="35">
                  <c:v>1310.6497</c:v>
                </c:pt>
                <c:pt idx="36">
                  <c:v>1345.548</c:v>
                </c:pt>
                <c:pt idx="37">
                  <c:v>1320.9804</c:v>
                </c:pt>
                <c:pt idx="38">
                  <c:v>1349.1716</c:v>
                </c:pt>
                <c:pt idx="39">
                  <c:v>1289.7829</c:v>
                </c:pt>
                <c:pt idx="40">
                  <c:v>1326.2447</c:v>
                </c:pt>
                <c:pt idx="41">
                  <c:v>1354.7649</c:v>
                </c:pt>
                <c:pt idx="42">
                  <c:v>1337.8874</c:v>
                </c:pt>
                <c:pt idx="43">
                  <c:v>1355.3657</c:v>
                </c:pt>
                <c:pt idx="44">
                  <c:v>1269.9304</c:v>
                </c:pt>
                <c:pt idx="45">
                  <c:v>1222.6566</c:v>
                </c:pt>
                <c:pt idx="46">
                  <c:v>1209.4399</c:v>
                </c:pt>
                <c:pt idx="47">
                  <c:v>1179.1315</c:v>
                </c:pt>
                <c:pt idx="48">
                  <c:v>1180.2985</c:v>
                </c:pt>
                <c:pt idx="49">
                  <c:v>1204.4065</c:v>
                </c:pt>
                <c:pt idx="50">
                  <c:v>1162.9027</c:v>
                </c:pt>
                <c:pt idx="51">
                  <c:v>1123.7225</c:v>
                </c:pt>
              </c:numCache>
            </c:numRef>
          </c:xVal>
          <c:yVal>
            <c:numRef>
              <c:f>Sheet1!$B$109:$B$160</c:f>
              <c:numCache>
                <c:formatCode>General</c:formatCode>
                <c:ptCount val="52"/>
                <c:pt idx="0">
                  <c:v>0.19244094488188976</c:v>
                </c:pt>
                <c:pt idx="1">
                  <c:v>0.19705701337212556</c:v>
                </c:pt>
                <c:pt idx="2">
                  <c:v>0.21274424030329542</c:v>
                </c:pt>
                <c:pt idx="3">
                  <c:v>0.23173842073046316</c:v>
                </c:pt>
                <c:pt idx="4">
                  <c:v>0.21654206591555228</c:v>
                </c:pt>
                <c:pt idx="5">
                  <c:v>0.21796240922682614</c:v>
                </c:pt>
                <c:pt idx="6">
                  <c:v>0.23622267887166076</c:v>
                </c:pt>
                <c:pt idx="7">
                  <c:v>0.2354304848992208</c:v>
                </c:pt>
                <c:pt idx="8">
                  <c:v>0.21848247603716983</c:v>
                </c:pt>
                <c:pt idx="9">
                  <c:v>0.22256077366364177</c:v>
                </c:pt>
                <c:pt idx="10">
                  <c:v>0.22480821739695747</c:v>
                </c:pt>
                <c:pt idx="11">
                  <c:v>0.22533050579795155</c:v>
                </c:pt>
                <c:pt idx="12">
                  <c:v>0.2226366833635298</c:v>
                </c:pt>
                <c:pt idx="13">
                  <c:v>0.22325204193940798</c:v>
                </c:pt>
                <c:pt idx="14">
                  <c:v>0.22996825396825396</c:v>
                </c:pt>
                <c:pt idx="15">
                  <c:v>0.21708474576271186</c:v>
                </c:pt>
                <c:pt idx="16">
                  <c:v>0.20913519124810348</c:v>
                </c:pt>
                <c:pt idx="17">
                  <c:v>0.2253698722259583</c:v>
                </c:pt>
                <c:pt idx="18">
                  <c:v>0.22333461686561418</c:v>
                </c:pt>
                <c:pt idx="19">
                  <c:v>0.20840546258895942</c:v>
                </c:pt>
                <c:pt idx="20">
                  <c:v>0.2017836037391211</c:v>
                </c:pt>
                <c:pt idx="21">
                  <c:v>0.22206322362430075</c:v>
                </c:pt>
                <c:pt idx="22">
                  <c:v>0.21503700818075575</c:v>
                </c:pt>
                <c:pt idx="23">
                  <c:v>0.21863066012002183</c:v>
                </c:pt>
                <c:pt idx="24">
                  <c:v>0.2143478801442248</c:v>
                </c:pt>
                <c:pt idx="25">
                  <c:v>0.2192856208295172</c:v>
                </c:pt>
                <c:pt idx="26">
                  <c:v>0.21049521333175747</c:v>
                </c:pt>
                <c:pt idx="27">
                  <c:v>0.20969452694102672</c:v>
                </c:pt>
                <c:pt idx="28">
                  <c:v>0.20547273440564928</c:v>
                </c:pt>
                <c:pt idx="29">
                  <c:v>0.2160960960960961</c:v>
                </c:pt>
                <c:pt idx="30">
                  <c:v>0.2172803499817718</c:v>
                </c:pt>
                <c:pt idx="31">
                  <c:v>0.20391762933199398</c:v>
                </c:pt>
                <c:pt idx="32">
                  <c:v>0.20312156517916025</c:v>
                </c:pt>
                <c:pt idx="33">
                  <c:v>0.21543463381245723</c:v>
                </c:pt>
                <c:pt idx="34">
                  <c:v>0.2322291725902758</c:v>
                </c:pt>
                <c:pt idx="35">
                  <c:v>0.21850428097151844</c:v>
                </c:pt>
                <c:pt idx="36">
                  <c:v>0.2211885587336851</c:v>
                </c:pt>
                <c:pt idx="37">
                  <c:v>0.2241075917546506</c:v>
                </c:pt>
                <c:pt idx="38">
                  <c:v>0.222127417519909</c:v>
                </c:pt>
                <c:pt idx="39">
                  <c:v>0.21559917355371902</c:v>
                </c:pt>
                <c:pt idx="40">
                  <c:v>0.19986141358146903</c:v>
                </c:pt>
                <c:pt idx="41">
                  <c:v>0.2035894559730791</c:v>
                </c:pt>
                <c:pt idx="42">
                  <c:v>0.20829335891695983</c:v>
                </c:pt>
                <c:pt idx="43">
                  <c:v>0.19385160644117422</c:v>
                </c:pt>
                <c:pt idx="44">
                  <c:v>0.18837775419761563</c:v>
                </c:pt>
                <c:pt idx="45">
                  <c:v>0.20420927684441198</c:v>
                </c:pt>
                <c:pt idx="46">
                  <c:v>0.22446562213966512</c:v>
                </c:pt>
                <c:pt idx="47">
                  <c:v>0.22428271518544438</c:v>
                </c:pt>
                <c:pt idx="48">
                  <c:v>0.2128295398722777</c:v>
                </c:pt>
                <c:pt idx="49">
                  <c:v>0.2189755529685681</c:v>
                </c:pt>
                <c:pt idx="50">
                  <c:v>0.21591290214390754</c:v>
                </c:pt>
                <c:pt idx="51">
                  <c:v>0.216418613413715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9.0956504779106</c:v>
                </c:pt>
              </c:numCache>
            </c:numRef>
          </c:xVal>
          <c:yVal>
            <c:numRef>
              <c:f>Sheet1!$B$163:$B$164</c:f>
              <c:numCache>
                <c:formatCode>General</c:formatCode>
                <c:ptCount val="2"/>
                <c:pt idx="0">
                  <c:v>0.2558362468240978</c:v>
                </c:pt>
                <c:pt idx="1">
                  <c:v>0.255836246824097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9.0956504779106</c:v>
                </c:pt>
                <c:pt idx="1">
                  <c:v>709.0956504779106</c:v>
                </c:pt>
              </c:numCache>
            </c:numRef>
          </c:xVal>
          <c:yVal>
            <c:numRef>
              <c:f>Sheet1!$B$167:$B$168</c:f>
              <c:numCache>
                <c:formatCode>General</c:formatCode>
                <c:ptCount val="2"/>
                <c:pt idx="0">
                  <c:v>0.25583624682409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3.1042835104781</c:v>
                </c:pt>
              </c:numCache>
            </c:numRef>
          </c:xVal>
          <c:yVal>
            <c:numRef>
              <c:f>Sheet1!$B$171:$B$172</c:f>
              <c:numCache>
                <c:formatCode>General</c:formatCode>
                <c:ptCount val="2"/>
                <c:pt idx="0">
                  <c:v>0.2196717840141932</c:v>
                </c:pt>
                <c:pt idx="1">
                  <c:v>0.21967178401419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3.1042835104781</c:v>
                </c:pt>
                <c:pt idx="1">
                  <c:v>1183.1042835104781</c:v>
                </c:pt>
              </c:numCache>
            </c:numRef>
          </c:xVal>
          <c:yVal>
            <c:numRef>
              <c:f>Sheet1!$B$175:$B$176</c:f>
              <c:numCache>
                <c:formatCode>General</c:formatCode>
                <c:ptCount val="2"/>
                <c:pt idx="0">
                  <c:v>0.21967178401419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3.2330843676468</c:v>
                </c:pt>
              </c:numCache>
            </c:numRef>
          </c:xVal>
          <c:yVal>
            <c:numRef>
              <c:f>Sheet1!$B$179:$B$180</c:f>
              <c:numCache>
                <c:formatCode>General</c:formatCode>
                <c:ptCount val="2"/>
                <c:pt idx="0">
                  <c:v>0.20974361424861593</c:v>
                </c:pt>
                <c:pt idx="1">
                  <c:v>0.209743614248615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3.2330843676468</c:v>
                </c:pt>
                <c:pt idx="1">
                  <c:v>1313.2330843676468</c:v>
                </c:pt>
              </c:numCache>
            </c:numRef>
          </c:xVal>
          <c:yVal>
            <c:numRef>
              <c:f>Sheet1!$B$183:$B$184</c:f>
              <c:numCache>
                <c:formatCode>General</c:formatCode>
                <c:ptCount val="2"/>
                <c:pt idx="0">
                  <c:v>0.209743614248615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3213</c:v>
                </c:pt>
                <c:pt idx="1">
                  <c:v>1239.3583</c:v>
                </c:pt>
                <c:pt idx="2">
                  <c:v>1238.8186</c:v>
                </c:pt>
                <c:pt idx="3">
                  <c:v>1216.4994</c:v>
                </c:pt>
                <c:pt idx="4">
                  <c:v>1247.0083</c:v>
                </c:pt>
                <c:pt idx="5">
                  <c:v>1241.3319</c:v>
                </c:pt>
                <c:pt idx="6">
                  <c:v>1140.6789</c:v>
                </c:pt>
                <c:pt idx="7">
                  <c:v>1174.727</c:v>
                </c:pt>
                <c:pt idx="8">
                  <c:v>1239.3868</c:v>
                </c:pt>
                <c:pt idx="9">
                  <c:v>1193.3985</c:v>
                </c:pt>
                <c:pt idx="10">
                  <c:v>1213.7857</c:v>
                </c:pt>
                <c:pt idx="11">
                  <c:v>1066.0461</c:v>
                </c:pt>
                <c:pt idx="12">
                  <c:v>1117.14</c:v>
                </c:pt>
                <c:pt idx="13">
                  <c:v>1188.0036</c:v>
                </c:pt>
                <c:pt idx="14">
                  <c:v>1160.5682</c:v>
                </c:pt>
                <c:pt idx="15">
                  <c:v>1190.2333</c:v>
                </c:pt>
                <c:pt idx="16">
                  <c:v>1227.412</c:v>
                </c:pt>
                <c:pt idx="17">
                  <c:v>1157.8788</c:v>
                </c:pt>
                <c:pt idx="18">
                  <c:v>1153.9858</c:v>
                </c:pt>
                <c:pt idx="19">
                  <c:v>1296.9737</c:v>
                </c:pt>
                <c:pt idx="20">
                  <c:v>1300.4409</c:v>
                </c:pt>
                <c:pt idx="21">
                  <c:v>1199.5882</c:v>
                </c:pt>
                <c:pt idx="22">
                  <c:v>1250.8339</c:v>
                </c:pt>
                <c:pt idx="23">
                  <c:v>1260.0012</c:v>
                </c:pt>
                <c:pt idx="24">
                  <c:v>1271.6961</c:v>
                </c:pt>
                <c:pt idx="25">
                  <c:v>1238.0107</c:v>
                </c:pt>
                <c:pt idx="26">
                  <c:v>1234.9208</c:v>
                </c:pt>
                <c:pt idx="27">
                  <c:v>1239.8432</c:v>
                </c:pt>
                <c:pt idx="28">
                  <c:v>1269.558</c:v>
                </c:pt>
                <c:pt idx="29">
                  <c:v>1276.9288</c:v>
                </c:pt>
                <c:pt idx="30">
                  <c:v>1262.3574</c:v>
                </c:pt>
                <c:pt idx="31">
                  <c:v>1249.0419</c:v>
                </c:pt>
                <c:pt idx="32">
                  <c:v>1267.5265</c:v>
                </c:pt>
                <c:pt idx="33">
                  <c:v>1263.1307</c:v>
                </c:pt>
                <c:pt idx="34">
                  <c:v>1278.341</c:v>
                </c:pt>
                <c:pt idx="35">
                  <c:v>1310.6497</c:v>
                </c:pt>
                <c:pt idx="36">
                  <c:v>1345.548</c:v>
                </c:pt>
                <c:pt idx="37">
                  <c:v>1320.9804</c:v>
                </c:pt>
                <c:pt idx="38">
                  <c:v>1349.1716</c:v>
                </c:pt>
                <c:pt idx="39">
                  <c:v>1289.7829</c:v>
                </c:pt>
                <c:pt idx="40">
                  <c:v>1326.2447</c:v>
                </c:pt>
                <c:pt idx="41">
                  <c:v>1354.7649</c:v>
                </c:pt>
                <c:pt idx="42">
                  <c:v>1337.8874</c:v>
                </c:pt>
                <c:pt idx="43">
                  <c:v>1355.3657</c:v>
                </c:pt>
                <c:pt idx="44">
                  <c:v>1269.9304</c:v>
                </c:pt>
                <c:pt idx="45">
                  <c:v>1222.6566</c:v>
                </c:pt>
                <c:pt idx="46">
                  <c:v>1209.4399</c:v>
                </c:pt>
                <c:pt idx="47">
                  <c:v>1179.1315</c:v>
                </c:pt>
                <c:pt idx="48">
                  <c:v>1180.2985</c:v>
                </c:pt>
                <c:pt idx="49">
                  <c:v>1204.4065</c:v>
                </c:pt>
                <c:pt idx="50">
                  <c:v>1162.9027</c:v>
                </c:pt>
                <c:pt idx="51">
                  <c:v>1123.7225</c:v>
                </c:pt>
                <c:pt idx="52">
                  <c:v>1183.1042835104781</c:v>
                </c:pt>
                <c:pt idx="53">
                  <c:v>709.0956504779106</c:v>
                </c:pt>
                <c:pt idx="54">
                  <c:v>1313.2330843676468</c:v>
                </c:pt>
              </c:numCache>
            </c:numRef>
          </c:xVal>
          <c:yVal>
            <c:numRef>
              <c:f>Sheet1!$B$187:$B$241</c:f>
              <c:numCache>
                <c:formatCode>General</c:formatCode>
                <c:ptCount val="55"/>
                <c:pt idx="0">
                  <c:v>0.21606936431583162</c:v>
                </c:pt>
                <c:pt idx="1">
                  <c:v>0.2153798868936121</c:v>
                </c:pt>
                <c:pt idx="2">
                  <c:v>0.21542106327568267</c:v>
                </c:pt>
                <c:pt idx="3">
                  <c:v>0.21712390542263438</c:v>
                </c:pt>
                <c:pt idx="4">
                  <c:v>0.21479623056076053</c:v>
                </c:pt>
                <c:pt idx="5">
                  <c:v>0.21522931118923094</c:v>
                </c:pt>
                <c:pt idx="6">
                  <c:v>0.22290862633570258</c:v>
                </c:pt>
                <c:pt idx="7">
                  <c:v>0.22031092840281852</c:v>
                </c:pt>
                <c:pt idx="8">
                  <c:v>0.21537771248766618</c:v>
                </c:pt>
                <c:pt idx="9">
                  <c:v>0.2188863873284606</c:v>
                </c:pt>
                <c:pt idx="10">
                  <c:v>0.21733094701615846</c:v>
                </c:pt>
                <c:pt idx="11">
                  <c:v>0.22860273174203516</c:v>
                </c:pt>
                <c:pt idx="12">
                  <c:v>0.22470452542764502</c:v>
                </c:pt>
                <c:pt idx="13">
                  <c:v>0.21929799092978097</c:v>
                </c:pt>
                <c:pt idx="14">
                  <c:v>0.22139117327675037</c:v>
                </c:pt>
                <c:pt idx="15">
                  <c:v>0.21912787608986475</c:v>
                </c:pt>
                <c:pt idx="16">
                  <c:v>0.21629132920068983</c:v>
                </c:pt>
                <c:pt idx="17">
                  <c:v>0.22159636090309953</c:v>
                </c:pt>
                <c:pt idx="18">
                  <c:v>0.2218933771258173</c:v>
                </c:pt>
                <c:pt idx="19">
                  <c:v>0.2109841230923342</c:v>
                </c:pt>
                <c:pt idx="20">
                  <c:v>0.21071959325739786</c:v>
                </c:pt>
                <c:pt idx="21">
                  <c:v>0.21841414450448005</c:v>
                </c:pt>
                <c:pt idx="22">
                  <c:v>0.21450435661736744</c:v>
                </c:pt>
                <c:pt idx="23">
                  <c:v>0.21380493796375308</c:v>
                </c:pt>
                <c:pt idx="24">
                  <c:v>0.2129126762059667</c:v>
                </c:pt>
                <c:pt idx="25">
                  <c:v>0.21548270196212854</c:v>
                </c:pt>
                <c:pt idx="26">
                  <c:v>0.21571844571413873</c:v>
                </c:pt>
                <c:pt idx="27">
                  <c:v>0.2153428914745533</c:v>
                </c:pt>
                <c:pt idx="28">
                  <c:v>0.2130758024288778</c:v>
                </c:pt>
                <c:pt idx="29">
                  <c:v>0.21251344764480168</c:v>
                </c:pt>
                <c:pt idx="30">
                  <c:v>0.2136251718132348</c:v>
                </c:pt>
                <c:pt idx="31">
                  <c:v>0.21464107715965114</c:v>
                </c:pt>
                <c:pt idx="32">
                  <c:v>0.2132307956106017</c:v>
                </c:pt>
                <c:pt idx="33">
                  <c:v>0.21356617293190222</c:v>
                </c:pt>
                <c:pt idx="34">
                  <c:v>0.21240570392280783</c:v>
                </c:pt>
                <c:pt idx="35">
                  <c:v>0.20994071341807563</c:v>
                </c:pt>
                <c:pt idx="36">
                  <c:v>0.2072781495225523</c:v>
                </c:pt>
                <c:pt idx="37">
                  <c:v>0.20915253322490052</c:v>
                </c:pt>
                <c:pt idx="38">
                  <c:v>0.20700168715814432</c:v>
                </c:pt>
                <c:pt idx="39">
                  <c:v>0.21153274478622558</c:v>
                </c:pt>
                <c:pt idx="40">
                  <c:v>0.20875089374345862</c:v>
                </c:pt>
                <c:pt idx="41">
                  <c:v>0.20657494663964254</c:v>
                </c:pt>
                <c:pt idx="42">
                  <c:v>0.20786261458182584</c:v>
                </c:pt>
                <c:pt idx="43">
                  <c:v>0.20652910863640367</c:v>
                </c:pt>
                <c:pt idx="44">
                  <c:v>0.21304739019118446</c:v>
                </c:pt>
                <c:pt idx="45">
                  <c:v>0.21665414218438162</c:v>
                </c:pt>
                <c:pt idx="46">
                  <c:v>0.21766250959018543</c:v>
                </c:pt>
                <c:pt idx="47">
                  <c:v>0.21997488731549242</c:v>
                </c:pt>
                <c:pt idx="48">
                  <c:v>0.21988585111412798</c:v>
                </c:pt>
                <c:pt idx="49">
                  <c:v>0.21804653256871814</c:v>
                </c:pt>
                <c:pt idx="50">
                  <c:v>0.22121306272654878</c:v>
                </c:pt>
                <c:pt idx="51">
                  <c:v>0.22420231394908352</c:v>
                </c:pt>
                <c:pt idx="52">
                  <c:v>0.2196717840141932</c:v>
                </c:pt>
                <c:pt idx="53">
                  <c:v>0.2558362468240978</c:v>
                </c:pt>
                <c:pt idx="54">
                  <c:v>0.209743614248615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6.0"/>
          <c:min val="56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2152392380381"/>
          <c:min val="0.113858673088100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1423945308986</c:v>
                </c:pt>
                <c:pt idx="6">
                  <c:v>0.21003957329662767</c:v>
                </c:pt>
                <c:pt idx="7">
                  <c:v>0.2073639490188145</c:v>
                </c:pt>
                <c:pt idx="8">
                  <c:v>0.2137272874319297</c:v>
                </c:pt>
                <c:pt idx="9">
                  <c:v>0.21458712399829663</c:v>
                </c:pt>
                <c:pt idx="10">
                  <c:v>0.22435340758920144</c:v>
                </c:pt>
                <c:pt idx="11">
                  <c:v>0.21762858264625048</c:v>
                </c:pt>
                <c:pt idx="12">
                  <c:v>0.2199875444188006</c:v>
                </c:pt>
                <c:pt idx="13">
                  <c:v>0.23027560369449906</c:v>
                </c:pt>
                <c:pt idx="14">
                  <c:v>0.2161569659103365</c:v>
                </c:pt>
                <c:pt idx="15">
                  <c:v>0.21368379688250447</c:v>
                </c:pt>
                <c:pt idx="16">
                  <c:v>0.20372046254399195</c:v>
                </c:pt>
                <c:pt idx="17">
                  <c:v>0.19133534411845352</c:v>
                </c:pt>
                <c:pt idx="18">
                  <c:v>0.17340107591153617</c:v>
                </c:pt>
                <c:pt idx="19">
                  <c:v>0.16212729357798164</c:v>
                </c:pt>
                <c:pt idx="20">
                  <c:v>0.17247294020228307</c:v>
                </c:pt>
                <c:pt idx="21">
                  <c:v>0.1783948269303918</c:v>
                </c:pt>
                <c:pt idx="22">
                  <c:v>0.17771652400986507</c:v>
                </c:pt>
                <c:pt idx="23">
                  <c:v>0.18375094912680334</c:v>
                </c:pt>
                <c:pt idx="24">
                  <c:v>0.1905131096701438</c:v>
                </c:pt>
                <c:pt idx="25">
                  <c:v>0.19003645200486027</c:v>
                </c:pt>
                <c:pt idx="26">
                  <c:v>0.19381918133868212</c:v>
                </c:pt>
                <c:pt idx="27">
                  <c:v>0.18466152527849186</c:v>
                </c:pt>
                <c:pt idx="28">
                  <c:v>0.1814139941690962</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numCache>
            </c:numRef>
          </c:xVal>
          <c:yVal>
            <c:numRef>
              <c:f>Sheet1!$B$109:$B$160</c:f>
              <c:numCache>
                <c:formatCode>General</c:formatCode>
                <c:ptCount val="52"/>
                <c:pt idx="0">
                  <c:v>0.17586504865311642</c:v>
                </c:pt>
                <c:pt idx="1">
                  <c:v>0.18501328890475624</c:v>
                </c:pt>
                <c:pt idx="2">
                  <c:v>0.1932705437484682</c:v>
                </c:pt>
                <c:pt idx="3">
                  <c:v>0.20842007034670879</c:v>
                </c:pt>
                <c:pt idx="4">
                  <c:v>0.1960059983175451</c:v>
                </c:pt>
                <c:pt idx="5">
                  <c:v>0.1932523413698424</c:v>
                </c:pt>
                <c:pt idx="6">
                  <c:v>0.19092039800995025</c:v>
                </c:pt>
                <c:pt idx="7">
                  <c:v>0.18701948864652243</c:v>
                </c:pt>
                <c:pt idx="8">
                  <c:v>0.1838410991636798</c:v>
                </c:pt>
                <c:pt idx="9">
                  <c:v>0.19139282276914615</c:v>
                </c:pt>
                <c:pt idx="10">
                  <c:v>0.19937750111160515</c:v>
                </c:pt>
                <c:pt idx="11">
                  <c:v>0.20998158613245285</c:v>
                </c:pt>
                <c:pt idx="12">
                  <c:v>0.21063448172782304</c:v>
                </c:pt>
                <c:pt idx="13">
                  <c:v>0.2027168234064786</c:v>
                </c:pt>
                <c:pt idx="14">
                  <c:v>0.20394852811563546</c:v>
                </c:pt>
                <c:pt idx="15">
                  <c:v>0.1911484166348722</c:v>
                </c:pt>
                <c:pt idx="16">
                  <c:v>0.17354389539820003</c:v>
                </c:pt>
                <c:pt idx="17">
                  <c:v>0.15987517253795835</c:v>
                </c:pt>
                <c:pt idx="18">
                  <c:v>0.15772739839646116</c:v>
                </c:pt>
                <c:pt idx="19">
                  <c:v>0.16408564503097225</c:v>
                </c:pt>
                <c:pt idx="20">
                  <c:v>0.15580800481492627</c:v>
                </c:pt>
                <c:pt idx="21">
                  <c:v>0.1632854578096948</c:v>
                </c:pt>
                <c:pt idx="22">
                  <c:v>0.16744678972003885</c:v>
                </c:pt>
                <c:pt idx="23">
                  <c:v>0.17244567730004623</c:v>
                </c:pt>
                <c:pt idx="24">
                  <c:v>0.16679431537741468</c:v>
                </c:pt>
                <c:pt idx="25">
                  <c:v>0.1732283464566929</c:v>
                </c:pt>
                <c:pt idx="26">
                  <c:v>0.15100587797003062</c:v>
                </c:pt>
                <c:pt idx="27">
                  <c:v>0.1507983883002537</c:v>
                </c:pt>
                <c:pt idx="28">
                  <c:v>0.16056965442764579</c:v>
                </c:pt>
                <c:pt idx="29">
                  <c:v>0.1633265720081136</c:v>
                </c:pt>
                <c:pt idx="30">
                  <c:v>0.16941176470588235</c:v>
                </c:pt>
                <c:pt idx="31">
                  <c:v>0.17265540783327343</c:v>
                </c:pt>
                <c:pt idx="32">
                  <c:v>0.17580369622612207</c:v>
                </c:pt>
                <c:pt idx="33">
                  <c:v>0.1932656268891307</c:v>
                </c:pt>
                <c:pt idx="34">
                  <c:v>0.2121571534469978</c:v>
                </c:pt>
                <c:pt idx="35">
                  <c:v>0.2041537507749535</c:v>
                </c:pt>
                <c:pt idx="36">
                  <c:v>0.1746545133784181</c:v>
                </c:pt>
                <c:pt idx="37">
                  <c:v>0.1571340442407685</c:v>
                </c:pt>
                <c:pt idx="38">
                  <c:v>0.16235547717029197</c:v>
                </c:pt>
                <c:pt idx="39">
                  <c:v>0.18015759312320917</c:v>
                </c:pt>
                <c:pt idx="40">
                  <c:v>0.160164700956103</c:v>
                </c:pt>
                <c:pt idx="41">
                  <c:v>0.16189848384970337</c:v>
                </c:pt>
                <c:pt idx="42">
                  <c:v>0.16194241384454722</c:v>
                </c:pt>
                <c:pt idx="43">
                  <c:v>0.15235745614035087</c:v>
                </c:pt>
                <c:pt idx="44">
                  <c:v>0.14751594645584404</c:v>
                </c:pt>
                <c:pt idx="45">
                  <c:v>0.1632826827351323</c:v>
                </c:pt>
                <c:pt idx="46">
                  <c:v>0.161425251742835</c:v>
                </c:pt>
                <c:pt idx="47">
                  <c:v>0.16117163263833778</c:v>
                </c:pt>
                <c:pt idx="48">
                  <c:v>0.1530141418983701</c:v>
                </c:pt>
                <c:pt idx="49">
                  <c:v>0.16894482413735623</c:v>
                </c:pt>
                <c:pt idx="50">
                  <c:v>0.2009994551842041</c:v>
                </c:pt>
                <c:pt idx="51">
                  <c:v>0.189459122043391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9.6245049916512</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9.6245049916512</c:v>
                </c:pt>
                <c:pt idx="1">
                  <c:v>959.6245049916512</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0000236705669</c:v>
                </c:pt>
              </c:numCache>
            </c:numRef>
          </c:xVal>
          <c:yVal>
            <c:numRef>
              <c:f>Sheet1!$B$171:$B$172</c:f>
              <c:numCache>
                <c:formatCode>General</c:formatCode>
                <c:ptCount val="2"/>
                <c:pt idx="0">
                  <c:v>0.19040091968450995</c:v>
                </c:pt>
                <c:pt idx="1">
                  <c:v>0.1904009196845099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0000236705669</c:v>
                </c:pt>
                <c:pt idx="1">
                  <c:v>1065.0000236705669</c:v>
                </c:pt>
              </c:numCache>
            </c:numRef>
          </c:xVal>
          <c:yVal>
            <c:numRef>
              <c:f>Sheet1!$B$175:$B$176</c:f>
              <c:numCache>
                <c:formatCode>General</c:formatCode>
                <c:ptCount val="2"/>
                <c:pt idx="0">
                  <c:v>0.190400919684509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5.3397920654834</c:v>
                </c:pt>
              </c:numCache>
            </c:numRef>
          </c:xVal>
          <c:yVal>
            <c:numRef>
              <c:f>Sheet1!$B$179:$B$180</c:f>
              <c:numCache>
                <c:formatCode>General</c:formatCode>
                <c:ptCount val="2"/>
                <c:pt idx="0">
                  <c:v>0.16633336190379883</c:v>
                </c:pt>
                <c:pt idx="1">
                  <c:v>0.166333361903798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5.3397920654834</c:v>
                </c:pt>
                <c:pt idx="1">
                  <c:v>1225.3397920654834</c:v>
                </c:pt>
              </c:numCache>
            </c:numRef>
          </c:xVal>
          <c:yVal>
            <c:numRef>
              <c:f>Sheet1!$B$183:$B$184</c:f>
              <c:numCache>
                <c:formatCode>General</c:formatCode>
                <c:ptCount val="2"/>
                <c:pt idx="0">
                  <c:v>0.166333361903798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4433</c:v>
                </c:pt>
                <c:pt idx="1">
                  <c:v>1122.0109</c:v>
                </c:pt>
                <c:pt idx="2">
                  <c:v>1110.1645</c:v>
                </c:pt>
                <c:pt idx="3">
                  <c:v>1125.5175</c:v>
                </c:pt>
                <c:pt idx="4">
                  <c:v>1125.9547</c:v>
                </c:pt>
                <c:pt idx="5">
                  <c:v>1144.0119</c:v>
                </c:pt>
                <c:pt idx="6">
                  <c:v>1079.4272</c:v>
                </c:pt>
                <c:pt idx="7">
                  <c:v>1121.5717</c:v>
                </c:pt>
                <c:pt idx="8">
                  <c:v>1199.8703</c:v>
                </c:pt>
                <c:pt idx="9">
                  <c:v>1172.2325</c:v>
                </c:pt>
                <c:pt idx="10">
                  <c:v>1183.9893</c:v>
                </c:pt>
                <c:pt idx="11">
                  <c:v>1054.8777</c:v>
                </c:pt>
                <c:pt idx="12">
                  <c:v>1075.6816</c:v>
                </c:pt>
                <c:pt idx="13">
                  <c:v>1125.8916</c:v>
                </c:pt>
                <c:pt idx="14">
                  <c:v>1132.5514</c:v>
                </c:pt>
                <c:pt idx="15">
                  <c:v>1166.5818</c:v>
                </c:pt>
                <c:pt idx="16">
                  <c:v>1207.5535</c:v>
                </c:pt>
                <c:pt idx="17">
                  <c:v>1180.2406</c:v>
                </c:pt>
                <c:pt idx="18">
                  <c:v>1161.6626</c:v>
                </c:pt>
                <c:pt idx="19">
                  <c:v>1264.1924</c:v>
                </c:pt>
                <c:pt idx="20">
                  <c:v>1251.5852</c:v>
                </c:pt>
                <c:pt idx="21">
                  <c:v>1193.7526</c:v>
                </c:pt>
                <c:pt idx="22">
                  <c:v>1149.8687</c:v>
                </c:pt>
                <c:pt idx="23">
                  <c:v>1144.5925</c:v>
                </c:pt>
                <c:pt idx="24">
                  <c:v>1151.4388</c:v>
                </c:pt>
                <c:pt idx="25">
                  <c:v>1087.1338</c:v>
                </c:pt>
                <c:pt idx="26">
                  <c:v>1174.517</c:v>
                </c:pt>
                <c:pt idx="27">
                  <c:v>1191.0267</c:v>
                </c:pt>
                <c:pt idx="28">
                  <c:v>1176.0542</c:v>
                </c:pt>
                <c:pt idx="29">
                  <c:v>1181.2375</c:v>
                </c:pt>
                <c:pt idx="30">
                  <c:v>1159.4911</c:v>
                </c:pt>
                <c:pt idx="31">
                  <c:v>1070.3803</c:v>
                </c:pt>
                <c:pt idx="32">
                  <c:v>1109.3997</c:v>
                </c:pt>
                <c:pt idx="33">
                  <c:v>1161.3775</c:v>
                </c:pt>
                <c:pt idx="34">
                  <c:v>1202.4617</c:v>
                </c:pt>
                <c:pt idx="35">
                  <c:v>1172.9848</c:v>
                </c:pt>
                <c:pt idx="36">
                  <c:v>1194.147</c:v>
                </c:pt>
                <c:pt idx="37">
                  <c:v>1239.6882</c:v>
                </c:pt>
                <c:pt idx="38">
                  <c:v>1217.6795</c:v>
                </c:pt>
                <c:pt idx="39">
                  <c:v>1181.6465</c:v>
                </c:pt>
                <c:pt idx="40">
                  <c:v>1218.0632</c:v>
                </c:pt>
                <c:pt idx="41">
                  <c:v>1272.2565</c:v>
                </c:pt>
                <c:pt idx="42">
                  <c:v>1249.9871</c:v>
                </c:pt>
                <c:pt idx="43">
                  <c:v>1255.3505</c:v>
                </c:pt>
                <c:pt idx="44">
                  <c:v>1193.7811</c:v>
                </c:pt>
                <c:pt idx="45">
                  <c:v>1144.1968</c:v>
                </c:pt>
                <c:pt idx="46">
                  <c:v>1130.7881</c:v>
                </c:pt>
                <c:pt idx="47">
                  <c:v>1116.1609</c:v>
                </c:pt>
                <c:pt idx="48">
                  <c:v>1100.292</c:v>
                </c:pt>
                <c:pt idx="49">
                  <c:v>1127.8783</c:v>
                </c:pt>
                <c:pt idx="50">
                  <c:v>1031.4544</c:v>
                </c:pt>
                <c:pt idx="51">
                  <c:v>994.7733</c:v>
                </c:pt>
                <c:pt idx="52">
                  <c:v>1065.0000236705669</c:v>
                </c:pt>
                <c:pt idx="53">
                  <c:v>959.6245049916512</c:v>
                </c:pt>
                <c:pt idx="54">
                  <c:v>1225.3397920654834</c:v>
                </c:pt>
              </c:numCache>
            </c:numRef>
          </c:xVal>
          <c:yVal>
            <c:numRef>
              <c:f>Sheet1!$B$187:$B$241</c:f>
              <c:numCache>
                <c:formatCode>General</c:formatCode>
                <c:ptCount val="55"/>
                <c:pt idx="0">
                  <c:v>0.17937682806732758</c:v>
                </c:pt>
                <c:pt idx="1">
                  <c:v>0.18184338854970067</c:v>
                </c:pt>
                <c:pt idx="2">
                  <c:v>0.1836215744567127</c:v>
                </c:pt>
                <c:pt idx="3">
                  <c:v>0.1813170356744366</c:v>
                </c:pt>
                <c:pt idx="4">
                  <c:v>0.18125141043144752</c:v>
                </c:pt>
                <c:pt idx="5">
                  <c:v>0.17854096180907297</c:v>
                </c:pt>
                <c:pt idx="6">
                  <c:v>0.18823535026029872</c:v>
                </c:pt>
                <c:pt idx="7">
                  <c:v>0.18190931399965676</c:v>
                </c:pt>
                <c:pt idx="8">
                  <c:v>0.17015642138597042</c:v>
                </c:pt>
                <c:pt idx="9">
                  <c:v>0.17430495144242789</c:v>
                </c:pt>
                <c:pt idx="10">
                  <c:v>0.17254021480753803</c:v>
                </c:pt>
                <c:pt idx="11">
                  <c:v>0.1919203157286429</c:v>
                </c:pt>
                <c:pt idx="12">
                  <c:v>0.1887975778681209</c:v>
                </c:pt>
                <c:pt idx="13">
                  <c:v>0.18126088196125678</c:v>
                </c:pt>
                <c:pt idx="14">
                  <c:v>0.18026122278179982</c:v>
                </c:pt>
                <c:pt idx="15">
                  <c:v>0.17515314119667838</c:v>
                </c:pt>
                <c:pt idx="16">
                  <c:v>0.16900314630149288</c:v>
                </c:pt>
                <c:pt idx="17">
                  <c:v>0.17310290773615902</c:v>
                </c:pt>
                <c:pt idx="18">
                  <c:v>0.1758915302527438</c:v>
                </c:pt>
                <c:pt idx="19">
                  <c:v>0.1605014501095135</c:v>
                </c:pt>
                <c:pt idx="20">
                  <c:v>0.16239383474677732</c:v>
                </c:pt>
                <c:pt idx="21">
                  <c:v>0.17107470946701847</c:v>
                </c:pt>
                <c:pt idx="22">
                  <c:v>0.17766183572687178</c:v>
                </c:pt>
                <c:pt idx="23">
                  <c:v>0.17845381172654906</c:v>
                </c:pt>
                <c:pt idx="24">
                  <c:v>0.17742615824741814</c:v>
                </c:pt>
                <c:pt idx="25">
                  <c:v>0.18707856275430712</c:v>
                </c:pt>
                <c:pt idx="26">
                  <c:v>0.17396204003435714</c:v>
                </c:pt>
                <c:pt idx="27">
                  <c:v>0.17148387655270902</c:v>
                </c:pt>
                <c:pt idx="28">
                  <c:v>0.1737313009595109</c:v>
                </c:pt>
                <c:pt idx="29">
                  <c:v>0.17295326957345136</c:v>
                </c:pt>
                <c:pt idx="30">
                  <c:v>0.1762174799671783</c:v>
                </c:pt>
                <c:pt idx="31">
                  <c:v>0.18959332146523417</c:v>
                </c:pt>
                <c:pt idx="32">
                  <c:v>0.18373637360089853</c:v>
                </c:pt>
                <c:pt idx="33">
                  <c:v>0.17593432475589152</c:v>
                </c:pt>
                <c:pt idx="34">
                  <c:v>0.16976744321881154</c:v>
                </c:pt>
                <c:pt idx="35">
                  <c:v>0.17419202859178592</c:v>
                </c:pt>
                <c:pt idx="36">
                  <c:v>0.1710155086531235</c:v>
                </c:pt>
                <c:pt idx="37">
                  <c:v>0.16417961589005478</c:v>
                </c:pt>
                <c:pt idx="38">
                  <c:v>0.1674831984275055</c:v>
                </c:pt>
                <c:pt idx="39">
                  <c:v>0.17289187724869717</c:v>
                </c:pt>
                <c:pt idx="40">
                  <c:v>0.16742560372088403</c:v>
                </c:pt>
                <c:pt idx="41">
                  <c:v>0.15929100060816828</c:v>
                </c:pt>
                <c:pt idx="42">
                  <c:v>0.16263371512376912</c:v>
                </c:pt>
                <c:pt idx="43">
                  <c:v>0.16182865010033007</c:v>
                </c:pt>
                <c:pt idx="44">
                  <c:v>0.17107043151773854</c:v>
                </c:pt>
                <c:pt idx="45">
                  <c:v>0.1785132076749726</c:v>
                </c:pt>
                <c:pt idx="46">
                  <c:v>0.18052590025426693</c:v>
                </c:pt>
                <c:pt idx="47">
                  <c:v>0.182721493928214</c:v>
                </c:pt>
                <c:pt idx="48">
                  <c:v>0.1851034710976312</c:v>
                </c:pt>
                <c:pt idx="49">
                  <c:v>0.18096267137057429</c:v>
                </c:pt>
                <c:pt idx="50">
                  <c:v>0.19543623465386195</c:v>
                </c:pt>
                <c:pt idx="51">
                  <c:v>0.20094219554271425</c:v>
                </c:pt>
                <c:pt idx="52">
                  <c:v>0.19040091968450995</c:v>
                </c:pt>
                <c:pt idx="53">
                  <c:v>0.2062181521145252</c:v>
                </c:pt>
                <c:pt idx="54">
                  <c:v>0.166333361903798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27.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2.3078</c:v>
                </c:pt>
                <c:pt idx="1">
                  <c:v>883.2083</c:v>
                </c:pt>
                <c:pt idx="2">
                  <c:v>928.4619</c:v>
                </c:pt>
                <c:pt idx="3">
                  <c:v>938.1401</c:v>
                </c:pt>
                <c:pt idx="4">
                  <c:v>946.6195</c:v>
                </c:pt>
                <c:pt idx="5">
                  <c:v>956.5538</c:v>
                </c:pt>
                <c:pt idx="6">
                  <c:v>886.589</c:v>
                </c:pt>
                <c:pt idx="7">
                  <c:v>904.5662</c:v>
                </c:pt>
                <c:pt idx="8">
                  <c:v>927.0313</c:v>
                </c:pt>
                <c:pt idx="9">
                  <c:v>895.0496</c:v>
                </c:pt>
                <c:pt idx="10">
                  <c:v>879.7322</c:v>
                </c:pt>
                <c:pt idx="11">
                  <c:v>926.0156</c:v>
                </c:pt>
                <c:pt idx="12">
                  <c:v>946.3782</c:v>
                </c:pt>
                <c:pt idx="13">
                  <c:v>914.3376</c:v>
                </c:pt>
                <c:pt idx="14">
                  <c:v>915.5933</c:v>
                </c:pt>
                <c:pt idx="15">
                  <c:v>932.8327</c:v>
                </c:pt>
                <c:pt idx="16">
                  <c:v>925.4625</c:v>
                </c:pt>
                <c:pt idx="17">
                  <c:v>939.9214</c:v>
                </c:pt>
                <c:pt idx="18">
                  <c:v>992.8248</c:v>
                </c:pt>
                <c:pt idx="19">
                  <c:v>1027.2873</c:v>
                </c:pt>
                <c:pt idx="20">
                  <c:v>1029.4758</c:v>
                </c:pt>
                <c:pt idx="21">
                  <c:v>1033.7266</c:v>
                </c:pt>
                <c:pt idx="22">
                  <c:v>996.377</c:v>
                </c:pt>
                <c:pt idx="23">
                  <c:v>988.7821</c:v>
                </c:pt>
                <c:pt idx="24">
                  <c:v>981.5868</c:v>
                </c:pt>
                <c:pt idx="25">
                  <c:v>975.6811</c:v>
                </c:pt>
                <c:pt idx="26">
                  <c:v>957.9314</c:v>
                </c:pt>
                <c:pt idx="27">
                  <c:v>991.1589</c:v>
                </c:pt>
                <c:pt idx="28">
                  <c:v>966.7019</c:v>
                </c:pt>
                <c:pt idx="29">
                  <c:v>838.746</c:v>
                </c:pt>
                <c:pt idx="30">
                  <c:v>868.2976</c:v>
                </c:pt>
                <c:pt idx="31">
                  <c:v>905.4253</c:v>
                </c:pt>
                <c:pt idx="32">
                  <c:v>889.1375</c:v>
                </c:pt>
                <c:pt idx="33">
                  <c:v>876.2985</c:v>
                </c:pt>
                <c:pt idx="34">
                  <c:v>942.8202</c:v>
                </c:pt>
                <c:pt idx="35">
                  <c:v>996.1845</c:v>
                </c:pt>
                <c:pt idx="36">
                  <c:v>1052.6033</c:v>
                </c:pt>
                <c:pt idx="37">
                  <c:v>1052.1213</c:v>
                </c:pt>
                <c:pt idx="38">
                  <c:v>1122.1398</c:v>
                </c:pt>
                <c:pt idx="39">
                  <c:v>1113.1628</c:v>
                </c:pt>
                <c:pt idx="40">
                  <c:v>1144.8625</c:v>
                </c:pt>
                <c:pt idx="41">
                  <c:v>1176.9375</c:v>
                </c:pt>
                <c:pt idx="42">
                  <c:v>1198.2257</c:v>
                </c:pt>
                <c:pt idx="43">
                  <c:v>1216.8503</c:v>
                </c:pt>
                <c:pt idx="44">
                  <c:v>1008.1555</c:v>
                </c:pt>
                <c:pt idx="45">
                  <c:v>953.9563</c:v>
                </c:pt>
                <c:pt idx="46">
                  <c:v>962.163</c:v>
                </c:pt>
                <c:pt idx="47">
                  <c:v>928.8588</c:v>
                </c:pt>
                <c:pt idx="48">
                  <c:v>939.2746</c:v>
                </c:pt>
                <c:pt idx="49">
                  <c:v>930.5045</c:v>
                </c:pt>
                <c:pt idx="50">
                  <c:v>918.9474</c:v>
                </c:pt>
                <c:pt idx="51">
                  <c:v>926.5604</c:v>
                </c:pt>
                <c:pt idx="52">
                  <c:v>963.1289</c:v>
                </c:pt>
                <c:pt idx="53">
                  <c:v>996.1748</c:v>
                </c:pt>
                <c:pt idx="54">
                  <c:v>1014.8082</c:v>
                </c:pt>
                <c:pt idx="55">
                  <c:v>1034.8586</c:v>
                </c:pt>
                <c:pt idx="56">
                  <c:v>1045.3579</c:v>
                </c:pt>
                <c:pt idx="57">
                  <c:v>1015.3174</c:v>
                </c:pt>
                <c:pt idx="58">
                  <c:v>970.311</c:v>
                </c:pt>
                <c:pt idx="59">
                  <c:v>997.1556</c:v>
                </c:pt>
                <c:pt idx="60">
                  <c:v>1029.7311</c:v>
                </c:pt>
                <c:pt idx="61">
                  <c:v>1024.1669</c:v>
                </c:pt>
                <c:pt idx="62">
                  <c:v>968.363</c:v>
                </c:pt>
                <c:pt idx="63">
                  <c:v>999.3042</c:v>
                </c:pt>
                <c:pt idx="64">
                  <c:v>995.2724</c:v>
                </c:pt>
                <c:pt idx="65">
                  <c:v>976.2223</c:v>
                </c:pt>
                <c:pt idx="66">
                  <c:v>937.5214</c:v>
                </c:pt>
                <c:pt idx="67">
                  <c:v>856.2983</c:v>
                </c:pt>
                <c:pt idx="68">
                  <c:v>806.8714</c:v>
                </c:pt>
                <c:pt idx="69">
                  <c:v>858.0069</c:v>
                </c:pt>
                <c:pt idx="70">
                  <c:v>820.2424</c:v>
                </c:pt>
                <c:pt idx="71">
                  <c:v>877.3774</c:v>
                </c:pt>
                <c:pt idx="72">
                  <c:v>872.0649</c:v>
                </c:pt>
                <c:pt idx="73">
                  <c:v>886.2128</c:v>
                </c:pt>
                <c:pt idx="74">
                  <c:v>926.805</c:v>
                </c:pt>
                <c:pt idx="75">
                  <c:v>890.1898</c:v>
                </c:pt>
                <c:pt idx="76">
                  <c:v>944.6575</c:v>
                </c:pt>
                <c:pt idx="77">
                  <c:v>860.7052</c:v>
                </c:pt>
                <c:pt idx="78">
                  <c:v>899.2214</c:v>
                </c:pt>
                <c:pt idx="79">
                  <c:v>594.6554</c:v>
                </c:pt>
                <c:pt idx="80">
                  <c:v>533.7954</c:v>
                </c:pt>
                <c:pt idx="81">
                  <c:v>796.5697</c:v>
                </c:pt>
                <c:pt idx="82">
                  <c:v>825.5976</c:v>
                </c:pt>
                <c:pt idx="83">
                  <c:v>865.5076</c:v>
                </c:pt>
                <c:pt idx="84">
                  <c:v>748.9563</c:v>
                </c:pt>
                <c:pt idx="85">
                  <c:v>999.0184</c:v>
                </c:pt>
                <c:pt idx="86">
                  <c:v>1009.6247</c:v>
                </c:pt>
                <c:pt idx="87">
                  <c:v>1109.1115</c:v>
                </c:pt>
                <c:pt idx="88">
                  <c:v>1122.5225</c:v>
                </c:pt>
                <c:pt idx="89">
                  <c:v>1066.7365</c:v>
                </c:pt>
                <c:pt idx="90">
                  <c:v>1071.2975</c:v>
                </c:pt>
                <c:pt idx="91">
                  <c:v>1153.5869</c:v>
                </c:pt>
                <c:pt idx="92">
                  <c:v>1139.0998</c:v>
                </c:pt>
                <c:pt idx="93">
                  <c:v>1165.4602</c:v>
                </c:pt>
                <c:pt idx="94">
                  <c:v>1160.4792</c:v>
                </c:pt>
                <c:pt idx="95">
                  <c:v>1135.9826</c:v>
                </c:pt>
                <c:pt idx="96">
                  <c:v>1086.3975</c:v>
                </c:pt>
                <c:pt idx="97">
                  <c:v>1110.9114</c:v>
                </c:pt>
                <c:pt idx="98">
                  <c:v>1091.8646</c:v>
                </c:pt>
                <c:pt idx="99">
                  <c:v>1063.6588</c:v>
                </c:pt>
                <c:pt idx="100">
                  <c:v>1072.2627</c:v>
                </c:pt>
                <c:pt idx="101">
                  <c:v>1068.2622</c:v>
                </c:pt>
                <c:pt idx="102">
                  <c:v>1096.4513</c:v>
                </c:pt>
                <c:pt idx="103">
                  <c:v>1006.4008</c:v>
                </c:pt>
                <c:pt idx="104">
                  <c:v>1093.4742</c:v>
                </c:pt>
              </c:numCache>
            </c:numRef>
          </c:xVal>
          <c:yVal>
            <c:numRef>
              <c:f>Sheet1!$B$2:$B$106</c:f>
              <c:numCache>
                <c:formatCode>General</c:formatCode>
                <c:ptCount val="105"/>
                <c:pt idx="0">
                  <c:v>0.18620242214532873</c:v>
                </c:pt>
                <c:pt idx="1">
                  <c:v>0.1890214797136038</c:v>
                </c:pt>
                <c:pt idx="2">
                  <c:v>0.16231755860238833</c:v>
                </c:pt>
                <c:pt idx="3">
                  <c:v>0.16826137689614937</c:v>
                </c:pt>
                <c:pt idx="4">
                  <c:v>0.162472647702407</c:v>
                </c:pt>
                <c:pt idx="5">
                  <c:v>0.14882893566557961</c:v>
                </c:pt>
                <c:pt idx="6">
                  <c:v>0.18030256251929608</c:v>
                </c:pt>
                <c:pt idx="7">
                  <c:v>0.1793103448275862</c:v>
                </c:pt>
                <c:pt idx="8">
                  <c:v>0.1728950923007654</c:v>
                </c:pt>
                <c:pt idx="9">
                  <c:v>0.17502100252030245</c:v>
                </c:pt>
                <c:pt idx="10">
                  <c:v>0.187602403058438</c:v>
                </c:pt>
                <c:pt idx="11">
                  <c:v>0.1816124469589816</c:v>
                </c:pt>
                <c:pt idx="12">
                  <c:v>0.20361769738450256</c:v>
                </c:pt>
                <c:pt idx="13">
                  <c:v>0.21497695852534562</c:v>
                </c:pt>
                <c:pt idx="14">
                  <c:v>0.1998332986038758</c:v>
                </c:pt>
                <c:pt idx="15">
                  <c:v>0.199435318275154</c:v>
                </c:pt>
                <c:pt idx="16">
                  <c:v>0.19881950916433674</c:v>
                </c:pt>
                <c:pt idx="17">
                  <c:v>0.16977985323549033</c:v>
                </c:pt>
                <c:pt idx="18">
                  <c:v>0.14209115281501342</c:v>
                </c:pt>
                <c:pt idx="19">
                  <c:v>0.13291445142580957</c:v>
                </c:pt>
                <c:pt idx="20">
                  <c:v>0.1506002182611859</c:v>
                </c:pt>
                <c:pt idx="21">
                  <c:v>0.15075921908893708</c:v>
                </c:pt>
                <c:pt idx="22">
                  <c:v>0.1484819734345351</c:v>
                </c:pt>
                <c:pt idx="23">
                  <c:v>0.16783872480075013</c:v>
                </c:pt>
                <c:pt idx="24">
                  <c:v>0.1594628619387327</c:v>
                </c:pt>
                <c:pt idx="25">
                  <c:v>0.16109725685785536</c:v>
                </c:pt>
                <c:pt idx="26">
                  <c:v>0.18596171376481313</c:v>
                </c:pt>
                <c:pt idx="27">
                  <c:v>0.1718185467683661</c:v>
                </c:pt>
                <c:pt idx="28">
                  <c:v>0.17509247842170161</c:v>
                </c:pt>
                <c:pt idx="29">
                  <c:v>0.21141975308641975</c:v>
                </c:pt>
                <c:pt idx="30">
                  <c:v>0.18292682926829268</c:v>
                </c:pt>
                <c:pt idx="31">
                  <c:v>0.1837837837837838</c:v>
                </c:pt>
                <c:pt idx="32">
                  <c:v>0.19543973941368079</c:v>
                </c:pt>
                <c:pt idx="33">
                  <c:v>0.21220846530377196</c:v>
                </c:pt>
                <c:pt idx="34">
                  <c:v>0.20370779077466342</c:v>
                </c:pt>
                <c:pt idx="35">
                  <c:v>0.1883278940295642</c:v>
                </c:pt>
                <c:pt idx="36">
                  <c:v>0.1565116950620849</c:v>
                </c:pt>
                <c:pt idx="37">
                  <c:v>0.13574826198316867</c:v>
                </c:pt>
                <c:pt idx="38">
                  <c:v>0.13865076407007082</c:v>
                </c:pt>
                <c:pt idx="39">
                  <c:v>0.14408041697691734</c:v>
                </c:pt>
                <c:pt idx="40">
                  <c:v>0.14119278779472955</c:v>
                </c:pt>
                <c:pt idx="41">
                  <c:v>0.11777076761303891</c:v>
                </c:pt>
                <c:pt idx="42">
                  <c:v>0.12353823088455772</c:v>
                </c:pt>
                <c:pt idx="43">
                  <c:v>0.13986577181208054</c:v>
                </c:pt>
                <c:pt idx="44">
                  <c:v>0.17872268338133152</c:v>
                </c:pt>
                <c:pt idx="45">
                  <c:v>0.21164274322169058</c:v>
                </c:pt>
                <c:pt idx="46">
                  <c:v>0.21471774193548387</c:v>
                </c:pt>
                <c:pt idx="47">
                  <c:v>0.21328448550493787</c:v>
                </c:pt>
                <c:pt idx="48">
                  <c:v>0.23169267707082833</c:v>
                </c:pt>
                <c:pt idx="49">
                  <c:v>0.26036719359183386</c:v>
                </c:pt>
                <c:pt idx="50">
                  <c:v>0.21752937440457287</c:v>
                </c:pt>
                <c:pt idx="51">
                  <c:v>0.18434343434343434</c:v>
                </c:pt>
                <c:pt idx="52">
                  <c:v>0.2164369576314446</c:v>
                </c:pt>
                <c:pt idx="53">
                  <c:v>0.20008853474988933</c:v>
                </c:pt>
                <c:pt idx="54">
                  <c:v>0.18109833971902936</c:v>
                </c:pt>
                <c:pt idx="55">
                  <c:v>0.15755968169761272</c:v>
                </c:pt>
                <c:pt idx="56">
                  <c:v>0.16745005875440658</c:v>
                </c:pt>
                <c:pt idx="57">
                  <c:v>0.168932527693857</c:v>
                </c:pt>
                <c:pt idx="58">
                  <c:v>0.1865934065934066</c:v>
                </c:pt>
                <c:pt idx="59">
                  <c:v>0.19930424699231772</c:v>
                </c:pt>
                <c:pt idx="60">
                  <c:v>0.20135335864003961</c:v>
                </c:pt>
                <c:pt idx="61">
                  <c:v>0.19685990338164253</c:v>
                </c:pt>
                <c:pt idx="62">
                  <c:v>0.202009405728944</c:v>
                </c:pt>
                <c:pt idx="63">
                  <c:v>0.2198868229587712</c:v>
                </c:pt>
                <c:pt idx="64">
                  <c:v>0.21553610503282275</c:v>
                </c:pt>
                <c:pt idx="65">
                  <c:v>0.19680030840400925</c:v>
                </c:pt>
                <c:pt idx="66">
                  <c:v>0.2131578947368421</c:v>
                </c:pt>
                <c:pt idx="67">
                  <c:v>0.22634927149599837</c:v>
                </c:pt>
                <c:pt idx="68">
                  <c:v>0.22584789311408016</c:v>
                </c:pt>
                <c:pt idx="69">
                  <c:v>0.19027275714755176</c:v>
                </c:pt>
                <c:pt idx="70">
                  <c:v>0.1749502982107356</c:v>
                </c:pt>
                <c:pt idx="71">
                  <c:v>0.1975403535741737</c:v>
                </c:pt>
                <c:pt idx="72">
                  <c:v>0.1857429718875502</c:v>
                </c:pt>
                <c:pt idx="73">
                  <c:v>0.20366218236173392</c:v>
                </c:pt>
                <c:pt idx="74">
                  <c:v>0.1863230921704658</c:v>
                </c:pt>
                <c:pt idx="75">
                  <c:v>0.20173707066719304</c:v>
                </c:pt>
                <c:pt idx="76">
                  <c:v>0.17472474868358065</c:v>
                </c:pt>
                <c:pt idx="77">
                  <c:v>0.20797598627787306</c:v>
                </c:pt>
                <c:pt idx="78">
                  <c:v>0.15401540154015403</c:v>
                </c:pt>
                <c:pt idx="79">
                  <c:v>0.23789553945863515</c:v>
                </c:pt>
                <c:pt idx="80">
                  <c:v>0.25036337209302323</c:v>
                </c:pt>
                <c:pt idx="81">
                  <c:v>0.1673891297099033</c:v>
                </c:pt>
                <c:pt idx="82">
                  <c:v>0.15413533834586465</c:v>
                </c:pt>
                <c:pt idx="83">
                  <c:v>0.1385099685204617</c:v>
                </c:pt>
                <c:pt idx="84">
                  <c:v>0.1657172449508027</c:v>
                </c:pt>
                <c:pt idx="85">
                  <c:v>0.14534106107891218</c:v>
                </c:pt>
                <c:pt idx="86">
                  <c:v>0.15660736975857686</c:v>
                </c:pt>
                <c:pt idx="87">
                  <c:v>0.16613603473227206</c:v>
                </c:pt>
                <c:pt idx="88">
                  <c:v>0.1462012320328542</c:v>
                </c:pt>
                <c:pt idx="89">
                  <c:v>0.14569842738205366</c:v>
                </c:pt>
                <c:pt idx="90">
                  <c:v>0.14119749776586238</c:v>
                </c:pt>
                <c:pt idx="91">
                  <c:v>0.13169257340241797</c:v>
                </c:pt>
                <c:pt idx="92">
                  <c:v>0.14592720970537262</c:v>
                </c:pt>
                <c:pt idx="93">
                  <c:v>0.13576494427558258</c:v>
                </c:pt>
                <c:pt idx="94">
                  <c:v>0.14393939393939395</c:v>
                </c:pt>
                <c:pt idx="95">
                  <c:v>0.1481375358166189</c:v>
                </c:pt>
                <c:pt idx="96">
                  <c:v>0.14672897196261683</c:v>
                </c:pt>
                <c:pt idx="97">
                  <c:v>0.1480234001063641</c:v>
                </c:pt>
                <c:pt idx="98">
                  <c:v>0.17808619430241052</c:v>
                </c:pt>
                <c:pt idx="99">
                  <c:v>0.18037934932797386</c:v>
                </c:pt>
                <c:pt idx="100">
                  <c:v>0.20448351648351648</c:v>
                </c:pt>
                <c:pt idx="101">
                  <c:v>0.18994501178318932</c:v>
                </c:pt>
                <c:pt idx="102">
                  <c:v>0.1512398723299779</c:v>
                </c:pt>
                <c:pt idx="103">
                  <c:v>0.15945279210585334</c:v>
                </c:pt>
                <c:pt idx="104">
                  <c:v>0.162652232746955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7.3812</c:v>
                </c:pt>
                <c:pt idx="1">
                  <c:v>1124.7058</c:v>
                </c:pt>
                <c:pt idx="2">
                  <c:v>1114.6934</c:v>
                </c:pt>
                <c:pt idx="3">
                  <c:v>1064.7039</c:v>
                </c:pt>
                <c:pt idx="4">
                  <c:v>1103.809</c:v>
                </c:pt>
                <c:pt idx="5">
                  <c:v>1113.864</c:v>
                </c:pt>
                <c:pt idx="6">
                  <c:v>1034.6803</c:v>
                </c:pt>
                <c:pt idx="7">
                  <c:v>1064.9193</c:v>
                </c:pt>
                <c:pt idx="8">
                  <c:v>1159.2797</c:v>
                </c:pt>
                <c:pt idx="9">
                  <c:v>1113.5275</c:v>
                </c:pt>
                <c:pt idx="10">
                  <c:v>1134.5587</c:v>
                </c:pt>
                <c:pt idx="11">
                  <c:v>997.7833</c:v>
                </c:pt>
                <c:pt idx="12">
                  <c:v>1039.9439</c:v>
                </c:pt>
                <c:pt idx="13">
                  <c:v>1072.1467</c:v>
                </c:pt>
                <c:pt idx="14">
                  <c:v>1071.3796</c:v>
                </c:pt>
                <c:pt idx="15">
                  <c:v>1152.3928</c:v>
                </c:pt>
                <c:pt idx="16">
                  <c:v>1185.8492</c:v>
                </c:pt>
                <c:pt idx="17">
                  <c:v>1157.15</c:v>
                </c:pt>
                <c:pt idx="18">
                  <c:v>1090.7964</c:v>
                </c:pt>
                <c:pt idx="19">
                  <c:v>1207.3779</c:v>
                </c:pt>
                <c:pt idx="20">
                  <c:v>1249.1464</c:v>
                </c:pt>
                <c:pt idx="21">
                  <c:v>1149.8266</c:v>
                </c:pt>
                <c:pt idx="22">
                  <c:v>1094.2804</c:v>
                </c:pt>
                <c:pt idx="23">
                  <c:v>1093.4677</c:v>
                </c:pt>
                <c:pt idx="24">
                  <c:v>1132.1026</c:v>
                </c:pt>
                <c:pt idx="25">
                  <c:v>1026.1195</c:v>
                </c:pt>
                <c:pt idx="26">
                  <c:v>1117.8154</c:v>
                </c:pt>
                <c:pt idx="27">
                  <c:v>1168.5</c:v>
                </c:pt>
                <c:pt idx="28">
                  <c:v>1114.2489</c:v>
                </c:pt>
                <c:pt idx="29">
                  <c:v>1103.8476</c:v>
                </c:pt>
                <c:pt idx="30">
                  <c:v>1132.755</c:v>
                </c:pt>
                <c:pt idx="31">
                  <c:v>1018.5139</c:v>
                </c:pt>
                <c:pt idx="32">
                  <c:v>1066.539</c:v>
                </c:pt>
                <c:pt idx="33">
                  <c:v>1094.6682</c:v>
                </c:pt>
                <c:pt idx="34">
                  <c:v>1159.9837</c:v>
                </c:pt>
                <c:pt idx="35">
                  <c:v>1184.5833</c:v>
                </c:pt>
                <c:pt idx="36">
                  <c:v>1164.7203</c:v>
                </c:pt>
                <c:pt idx="37">
                  <c:v>1136.0895</c:v>
                </c:pt>
                <c:pt idx="38">
                  <c:v>1150.9257</c:v>
                </c:pt>
                <c:pt idx="39">
                  <c:v>1176.0911</c:v>
                </c:pt>
                <c:pt idx="40">
                  <c:v>1221.3352</c:v>
                </c:pt>
                <c:pt idx="41">
                  <c:v>1296.6974</c:v>
                </c:pt>
                <c:pt idx="42">
                  <c:v>1243.6175</c:v>
                </c:pt>
                <c:pt idx="43">
                  <c:v>1266.3162</c:v>
                </c:pt>
                <c:pt idx="44">
                  <c:v>1199.182</c:v>
                </c:pt>
                <c:pt idx="45">
                  <c:v>1142.3373</c:v>
                </c:pt>
                <c:pt idx="46">
                  <c:v>1091.0724</c:v>
                </c:pt>
                <c:pt idx="47">
                  <c:v>1078.52</c:v>
                </c:pt>
                <c:pt idx="48">
                  <c:v>1095.598</c:v>
                </c:pt>
                <c:pt idx="49">
                  <c:v>1115.0325</c:v>
                </c:pt>
                <c:pt idx="50">
                  <c:v>1004.2982</c:v>
                </c:pt>
                <c:pt idx="51">
                  <c:v>977.3582</c:v>
                </c:pt>
              </c:numCache>
            </c:numRef>
          </c:xVal>
          <c:yVal>
            <c:numRef>
              <c:f>Sheet1!$B$109:$B$160</c:f>
              <c:numCache>
                <c:formatCode>General</c:formatCode>
                <c:ptCount val="52"/>
                <c:pt idx="0">
                  <c:v>0.16836372247217618</c:v>
                </c:pt>
                <c:pt idx="1">
                  <c:v>0.1693934054870375</c:v>
                </c:pt>
                <c:pt idx="2">
                  <c:v>0.17645759717314488</c:v>
                </c:pt>
                <c:pt idx="3">
                  <c:v>0.1920944805977344</c:v>
                </c:pt>
                <c:pt idx="4">
                  <c:v>0.16725352112676056</c:v>
                </c:pt>
                <c:pt idx="5">
                  <c:v>0.1750255885363357</c:v>
                </c:pt>
                <c:pt idx="6">
                  <c:v>0.17391304347826086</c:v>
                </c:pt>
                <c:pt idx="7">
                  <c:v>0.17457578372159907</c:v>
                </c:pt>
                <c:pt idx="8">
                  <c:v>0.15165165165165165</c:v>
                </c:pt>
                <c:pt idx="9">
                  <c:v>0.15550239234449761</c:v>
                </c:pt>
                <c:pt idx="10">
                  <c:v>0.17184</c:v>
                </c:pt>
                <c:pt idx="11">
                  <c:v>0.18748730448913264</c:v>
                </c:pt>
                <c:pt idx="12">
                  <c:v>0.18795406608858684</c:v>
                </c:pt>
                <c:pt idx="13">
                  <c:v>0.19054878048780488</c:v>
                </c:pt>
                <c:pt idx="14">
                  <c:v>0.19881723458180794</c:v>
                </c:pt>
                <c:pt idx="15">
                  <c:v>0.18496192893401014</c:v>
                </c:pt>
                <c:pt idx="16">
                  <c:v>0.17261055634807418</c:v>
                </c:pt>
                <c:pt idx="17">
                  <c:v>0.14637904468412943</c:v>
                </c:pt>
                <c:pt idx="18">
                  <c:v>0.15252665739452945</c:v>
                </c:pt>
                <c:pt idx="19">
                  <c:v>0.1668811668811669</c:v>
                </c:pt>
                <c:pt idx="20">
                  <c:v>0.13712047012732614</c:v>
                </c:pt>
                <c:pt idx="21">
                  <c:v>0.12997746055597295</c:v>
                </c:pt>
                <c:pt idx="22">
                  <c:v>0.13636363636363635</c:v>
                </c:pt>
                <c:pt idx="23">
                  <c:v>0.13382157123834887</c:v>
                </c:pt>
                <c:pt idx="24">
                  <c:v>0.13094571908226077</c:v>
                </c:pt>
                <c:pt idx="25">
                  <c:v>0.14618520675596972</c:v>
                </c:pt>
                <c:pt idx="26">
                  <c:v>0.13408973697782361</c:v>
                </c:pt>
                <c:pt idx="27">
                  <c:v>0.13374125874125875</c:v>
                </c:pt>
                <c:pt idx="28">
                  <c:v>0.15889830508474576</c:v>
                </c:pt>
                <c:pt idx="29">
                  <c:v>0.1512217611802674</c:v>
                </c:pt>
                <c:pt idx="30">
                  <c:v>0.16268166901078293</c:v>
                </c:pt>
                <c:pt idx="31">
                  <c:v>0.17341040462427745</c:v>
                </c:pt>
                <c:pt idx="32">
                  <c:v>0.18431855500821018</c:v>
                </c:pt>
                <c:pt idx="33">
                  <c:v>0.1981981981981982</c:v>
                </c:pt>
                <c:pt idx="34">
                  <c:v>0.22345890410958905</c:v>
                </c:pt>
                <c:pt idx="35">
                  <c:v>0.2172096908939014</c:v>
                </c:pt>
                <c:pt idx="36">
                  <c:v>0.16542553191489362</c:v>
                </c:pt>
                <c:pt idx="37">
                  <c:v>0.152327221438646</c:v>
                </c:pt>
                <c:pt idx="38">
                  <c:v>0.16174261392088132</c:v>
                </c:pt>
                <c:pt idx="39">
                  <c:v>0.1857451403887689</c:v>
                </c:pt>
                <c:pt idx="40">
                  <c:v>0.1427402862985685</c:v>
                </c:pt>
                <c:pt idx="41">
                  <c:v>0.14615384615384616</c:v>
                </c:pt>
                <c:pt idx="42">
                  <c:v>0.1421232876712329</c:v>
                </c:pt>
                <c:pt idx="43">
                  <c:v>0.14624624624624624</c:v>
                </c:pt>
                <c:pt idx="44">
                  <c:v>0.13151927437641722</c:v>
                </c:pt>
                <c:pt idx="45">
                  <c:v>0.15673400673400673</c:v>
                </c:pt>
                <c:pt idx="46">
                  <c:v>0.1543099598034837</c:v>
                </c:pt>
                <c:pt idx="47">
                  <c:v>0.15733165512901195</c:v>
                </c:pt>
                <c:pt idx="48">
                  <c:v>0.14431673052362706</c:v>
                </c:pt>
                <c:pt idx="49">
                  <c:v>0.16005543045210463</c:v>
                </c:pt>
                <c:pt idx="50">
                  <c:v>0.19688776073281095</c:v>
                </c:pt>
                <c:pt idx="51">
                  <c:v>0.181920903954802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87.5764019677173</c:v>
                </c:pt>
              </c:numCache>
            </c:numRef>
          </c:xVal>
          <c:yVal>
            <c:numRef>
              <c:f>Sheet1!$B$163:$B$164</c:f>
              <c:numCache>
                <c:formatCode>General</c:formatCode>
                <c:ptCount val="2"/>
                <c:pt idx="0">
                  <c:v>0.20373970523345042</c:v>
                </c:pt>
                <c:pt idx="1">
                  <c:v>0.2037397052334504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87.5764019677173</c:v>
                </c:pt>
                <c:pt idx="1">
                  <c:v>787.5764019677173</c:v>
                </c:pt>
              </c:numCache>
            </c:numRef>
          </c:xVal>
          <c:yVal>
            <c:numRef>
              <c:f>Sheet1!$B$167:$B$168</c:f>
              <c:numCache>
                <c:formatCode>General</c:formatCode>
                <c:ptCount val="2"/>
                <c:pt idx="0">
                  <c:v>0.203739705233450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6.552577382931</c:v>
                </c:pt>
              </c:numCache>
            </c:numRef>
          </c:xVal>
          <c:yVal>
            <c:numRef>
              <c:f>Sheet1!$B$171:$B$172</c:f>
              <c:numCache>
                <c:formatCode>General</c:formatCode>
                <c:ptCount val="2"/>
                <c:pt idx="0">
                  <c:v>0.1720809771383001</c:v>
                </c:pt>
                <c:pt idx="1">
                  <c:v>0.172080977138300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6.552577382931</c:v>
                </c:pt>
                <c:pt idx="1">
                  <c:v>1056.552577382931</c:v>
                </c:pt>
              </c:numCache>
            </c:numRef>
          </c:xVal>
          <c:yVal>
            <c:numRef>
              <c:f>Sheet1!$B$175:$B$176</c:f>
              <c:numCache>
                <c:formatCode>General</c:formatCode>
                <c:ptCount val="2"/>
                <c:pt idx="0">
                  <c:v>0.172080977138300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1.3593046480337</c:v>
                </c:pt>
              </c:numCache>
            </c:numRef>
          </c:xVal>
          <c:yVal>
            <c:numRef>
              <c:f>Sheet1!$B$179:$B$180</c:f>
              <c:numCache>
                <c:formatCode>General</c:formatCode>
                <c:ptCount val="2"/>
                <c:pt idx="0">
                  <c:v>0.1573911175742252</c:v>
                </c:pt>
                <c:pt idx="1">
                  <c:v>0.15739111757422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1.3593046480337</c:v>
                </c:pt>
                <c:pt idx="1">
                  <c:v>1181.3593046480337</c:v>
                </c:pt>
              </c:numCache>
            </c:numRef>
          </c:xVal>
          <c:yVal>
            <c:numRef>
              <c:f>Sheet1!$B$183:$B$184</c:f>
              <c:numCache>
                <c:formatCode>General</c:formatCode>
                <c:ptCount val="2"/>
                <c:pt idx="0">
                  <c:v>0.15739111757422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7.3812</c:v>
                </c:pt>
                <c:pt idx="1">
                  <c:v>1124.7058</c:v>
                </c:pt>
                <c:pt idx="2">
                  <c:v>1114.6934</c:v>
                </c:pt>
                <c:pt idx="3">
                  <c:v>1064.7039</c:v>
                </c:pt>
                <c:pt idx="4">
                  <c:v>1103.809</c:v>
                </c:pt>
                <c:pt idx="5">
                  <c:v>1113.864</c:v>
                </c:pt>
                <c:pt idx="6">
                  <c:v>1034.6803</c:v>
                </c:pt>
                <c:pt idx="7">
                  <c:v>1064.9193</c:v>
                </c:pt>
                <c:pt idx="8">
                  <c:v>1159.2797</c:v>
                </c:pt>
                <c:pt idx="9">
                  <c:v>1113.5275</c:v>
                </c:pt>
                <c:pt idx="10">
                  <c:v>1134.5587</c:v>
                </c:pt>
                <c:pt idx="11">
                  <c:v>997.7833</c:v>
                </c:pt>
                <c:pt idx="12">
                  <c:v>1039.9439</c:v>
                </c:pt>
                <c:pt idx="13">
                  <c:v>1072.1467</c:v>
                </c:pt>
                <c:pt idx="14">
                  <c:v>1071.3796</c:v>
                </c:pt>
                <c:pt idx="15">
                  <c:v>1152.3928</c:v>
                </c:pt>
                <c:pt idx="16">
                  <c:v>1185.8492</c:v>
                </c:pt>
                <c:pt idx="17">
                  <c:v>1157.15</c:v>
                </c:pt>
                <c:pt idx="18">
                  <c:v>1090.7964</c:v>
                </c:pt>
                <c:pt idx="19">
                  <c:v>1207.3779</c:v>
                </c:pt>
                <c:pt idx="20">
                  <c:v>1249.1464</c:v>
                </c:pt>
                <c:pt idx="21">
                  <c:v>1149.8266</c:v>
                </c:pt>
                <c:pt idx="22">
                  <c:v>1094.2804</c:v>
                </c:pt>
                <c:pt idx="23">
                  <c:v>1093.4677</c:v>
                </c:pt>
                <c:pt idx="24">
                  <c:v>1132.1026</c:v>
                </c:pt>
                <c:pt idx="25">
                  <c:v>1026.1195</c:v>
                </c:pt>
                <c:pt idx="26">
                  <c:v>1117.8154</c:v>
                </c:pt>
                <c:pt idx="27">
                  <c:v>1168.5</c:v>
                </c:pt>
                <c:pt idx="28">
                  <c:v>1114.2489</c:v>
                </c:pt>
                <c:pt idx="29">
                  <c:v>1103.8476</c:v>
                </c:pt>
                <c:pt idx="30">
                  <c:v>1132.755</c:v>
                </c:pt>
                <c:pt idx="31">
                  <c:v>1018.5139</c:v>
                </c:pt>
                <c:pt idx="32">
                  <c:v>1066.539</c:v>
                </c:pt>
                <c:pt idx="33">
                  <c:v>1094.6682</c:v>
                </c:pt>
                <c:pt idx="34">
                  <c:v>1159.9837</c:v>
                </c:pt>
                <c:pt idx="35">
                  <c:v>1184.5833</c:v>
                </c:pt>
                <c:pt idx="36">
                  <c:v>1164.7203</c:v>
                </c:pt>
                <c:pt idx="37">
                  <c:v>1136.0895</c:v>
                </c:pt>
                <c:pt idx="38">
                  <c:v>1150.9257</c:v>
                </c:pt>
                <c:pt idx="39">
                  <c:v>1176.0911</c:v>
                </c:pt>
                <c:pt idx="40">
                  <c:v>1221.3352</c:v>
                </c:pt>
                <c:pt idx="41">
                  <c:v>1296.6974</c:v>
                </c:pt>
                <c:pt idx="42">
                  <c:v>1243.6175</c:v>
                </c:pt>
                <c:pt idx="43">
                  <c:v>1266.3162</c:v>
                </c:pt>
                <c:pt idx="44">
                  <c:v>1199.182</c:v>
                </c:pt>
                <c:pt idx="45">
                  <c:v>1142.3373</c:v>
                </c:pt>
                <c:pt idx="46">
                  <c:v>1091.0724</c:v>
                </c:pt>
                <c:pt idx="47">
                  <c:v>1078.52</c:v>
                </c:pt>
                <c:pt idx="48">
                  <c:v>1095.598</c:v>
                </c:pt>
                <c:pt idx="49">
                  <c:v>1115.0325</c:v>
                </c:pt>
                <c:pt idx="50">
                  <c:v>1004.2982</c:v>
                </c:pt>
                <c:pt idx="51">
                  <c:v>977.3582</c:v>
                </c:pt>
                <c:pt idx="52">
                  <c:v>1056.552577382931</c:v>
                </c:pt>
                <c:pt idx="53">
                  <c:v>787.5764019677173</c:v>
                </c:pt>
                <c:pt idx="54">
                  <c:v>1181.3593046480337</c:v>
                </c:pt>
              </c:numCache>
            </c:numRef>
          </c:xVal>
          <c:yVal>
            <c:numRef>
              <c:f>Sheet1!$B$187:$B$241</c:f>
              <c:numCache>
                <c:formatCode>General</c:formatCode>
                <c:ptCount val="55"/>
                <c:pt idx="0">
                  <c:v>0.16374438709895428</c:v>
                </c:pt>
                <c:pt idx="1">
                  <c:v>0.16405928398904138</c:v>
                </c:pt>
                <c:pt idx="2">
                  <c:v>0.16523775211429656</c:v>
                </c:pt>
                <c:pt idx="3">
                  <c:v>0.17112155942797214</c:v>
                </c:pt>
                <c:pt idx="4">
                  <c:v>0.1665188553924844</c:v>
                </c:pt>
                <c:pt idx="5">
                  <c:v>0.165335373210446</c:v>
                </c:pt>
                <c:pt idx="6">
                  <c:v>0.17465536307199478</c:v>
                </c:pt>
                <c:pt idx="7">
                  <c:v>0.17109620666198397</c:v>
                </c:pt>
                <c:pt idx="8">
                  <c:v>0.15998990610604016</c:v>
                </c:pt>
                <c:pt idx="9">
                  <c:v>0.16537497955099859</c:v>
                </c:pt>
                <c:pt idx="10">
                  <c:v>0.1628995891515072</c:v>
                </c:pt>
                <c:pt idx="11">
                  <c:v>0.1789981718308879</c:v>
                </c:pt>
                <c:pt idx="12">
                  <c:v>0.1740358328071139</c:v>
                </c:pt>
                <c:pt idx="13">
                  <c:v>0.1702455354414505</c:v>
                </c:pt>
                <c:pt idx="14">
                  <c:v>0.17033582377380668</c:v>
                </c:pt>
                <c:pt idx="15">
                  <c:v>0.16080050018256728</c:v>
                </c:pt>
                <c:pt idx="16">
                  <c:v>0.15686265301447688</c:v>
                </c:pt>
                <c:pt idx="17">
                  <c:v>0.16024057363493993</c:v>
                </c:pt>
                <c:pt idx="18">
                  <c:v>0.1680504496482768</c:v>
                </c:pt>
                <c:pt idx="19">
                  <c:v>0.15432870643541674</c:v>
                </c:pt>
                <c:pt idx="20">
                  <c:v>0.14941251792020338</c:v>
                </c:pt>
                <c:pt idx="21">
                  <c:v>0.16110254413836508</c:v>
                </c:pt>
                <c:pt idx="22">
                  <c:v>0.16764037984000016</c:v>
                </c:pt>
                <c:pt idx="23">
                  <c:v>0.1677360353317299</c:v>
                </c:pt>
                <c:pt idx="24">
                  <c:v>0.16318867424223862</c:v>
                </c:pt>
                <c:pt idx="25">
                  <c:v>0.17566297662385894</c:v>
                </c:pt>
                <c:pt idx="26">
                  <c:v>0.16487029001859058</c:v>
                </c:pt>
                <c:pt idx="27">
                  <c:v>0.15890466883472754</c:v>
                </c:pt>
                <c:pt idx="28">
                  <c:v>0.16529007014810224</c:v>
                </c:pt>
                <c:pt idx="29">
                  <c:v>0.16651431213915505</c:v>
                </c:pt>
                <c:pt idx="30">
                  <c:v>0.16311188619892067</c:v>
                </c:pt>
                <c:pt idx="31">
                  <c:v>0.17655816231095106</c:v>
                </c:pt>
                <c:pt idx="32">
                  <c:v>0.17090556657344616</c:v>
                </c:pt>
                <c:pt idx="33">
                  <c:v>0.16759473544515235</c:v>
                </c:pt>
                <c:pt idx="34">
                  <c:v>0.15990704469816797</c:v>
                </c:pt>
                <c:pt idx="35">
                  <c:v>0.15701165053752436</c:v>
                </c:pt>
                <c:pt idx="36">
                  <c:v>0.1593495427883278</c:v>
                </c:pt>
                <c:pt idx="37">
                  <c:v>0.16271941266973053</c:v>
                </c:pt>
                <c:pt idx="38">
                  <c:v>0.1609731791193419</c:v>
                </c:pt>
                <c:pt idx="39">
                  <c:v>0.15801118981015552</c:v>
                </c:pt>
                <c:pt idx="40">
                  <c:v>0.15268592017391855</c:v>
                </c:pt>
                <c:pt idx="41">
                  <c:v>0.14381572416206245</c:v>
                </c:pt>
                <c:pt idx="42">
                  <c:v>0.15006327422415883</c:v>
                </c:pt>
                <c:pt idx="43">
                  <c:v>0.14739161763485653</c:v>
                </c:pt>
                <c:pt idx="44">
                  <c:v>0.15529337094220624</c:v>
                </c:pt>
                <c:pt idx="45">
                  <c:v>0.16198404121503743</c:v>
                </c:pt>
                <c:pt idx="46">
                  <c:v>0.16801796420996326</c:v>
                </c:pt>
                <c:pt idx="47">
                  <c:v>0.16949539252839377</c:v>
                </c:pt>
                <c:pt idx="48">
                  <c:v>0.16748529718231206</c:v>
                </c:pt>
                <c:pt idx="49">
                  <c:v>0.16519783975149904</c:v>
                </c:pt>
                <c:pt idx="50">
                  <c:v>0.17823136247556598</c:v>
                </c:pt>
                <c:pt idx="51">
                  <c:v>0.1814022237370393</c:v>
                </c:pt>
                <c:pt idx="52">
                  <c:v>0.1720809771383001</c:v>
                </c:pt>
                <c:pt idx="53">
                  <c:v>0.20373970523345042</c:v>
                </c:pt>
                <c:pt idx="54">
                  <c:v>0.15739111757422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6.0"/>
          <c:min val="4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44063231020064"/>
          <c:min val="0.094216614090431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22878005089998</c:v>
                </c:pt>
                <c:pt idx="1">
                  <c:v>0.6703296048383981</c:v>
                </c:pt>
                <c:pt idx="2">
                  <c:v>0.6725488277880161</c:v>
                </c:pt>
                <c:pt idx="3">
                  <c:v>0.6759497555081442</c:v>
                </c:pt>
                <c:pt idx="4">
                  <c:v>0.6779127838528344</c:v>
                </c:pt>
                <c:pt idx="5">
                  <c:v>0.6838047484650543</c:v>
                </c:pt>
                <c:pt idx="6">
                  <c:v>0.6501628990600072</c:v>
                </c:pt>
                <c:pt idx="7">
                  <c:v>0.6484809213692189</c:v>
                </c:pt>
                <c:pt idx="8">
                  <c:v>0.6537308499458556</c:v>
                </c:pt>
                <c:pt idx="9">
                  <c:v>0.6963746658772763</c:v>
                </c:pt>
                <c:pt idx="10">
                  <c:v>0.7193354022473848</c:v>
                </c:pt>
                <c:pt idx="11">
                  <c:v>0.7456466079062535</c:v>
                </c:pt>
                <c:pt idx="12">
                  <c:v>0.7620162333372658</c:v>
                </c:pt>
                <c:pt idx="13">
                  <c:v>0.7405630764810114</c:v>
                </c:pt>
                <c:pt idx="14">
                  <c:v>0.7427257460751813</c:v>
                </c:pt>
                <c:pt idx="15">
                  <c:v>0.740619488118465</c:v>
                </c:pt>
                <c:pt idx="16">
                  <c:v>0.729263269848124</c:v>
                </c:pt>
                <c:pt idx="17">
                  <c:v>0.7263753305570704</c:v>
                </c:pt>
                <c:pt idx="18">
                  <c:v>0.7570872278509091</c:v>
                </c:pt>
                <c:pt idx="19">
                  <c:v>0.7689187651700392</c:v>
                </c:pt>
                <c:pt idx="20">
                  <c:v>0.7600553837209599</c:v>
                </c:pt>
                <c:pt idx="21">
                  <c:v>0.6877102906102397</c:v>
                </c:pt>
                <c:pt idx="22">
                  <c:v>0.6564259852941542</c:v>
                </c:pt>
                <c:pt idx="23">
                  <c:v>0.6342552749123617</c:v>
                </c:pt>
                <c:pt idx="24">
                  <c:v>0.6058164062979959</c:v>
                </c:pt>
                <c:pt idx="25">
                  <c:v>0.5894625219548385</c:v>
                </c:pt>
                <c:pt idx="26">
                  <c:v>0.5964076311826273</c:v>
                </c:pt>
                <c:pt idx="27">
                  <c:v>0.6141538586162778</c:v>
                </c:pt>
                <c:pt idx="28">
                  <c:v>0.6033821794353452</c:v>
                </c:pt>
                <c:pt idx="29">
                  <c:v>0.5277758274031821</c:v>
                </c:pt>
                <c:pt idx="30">
                  <c:v>0.5514667211293984</c:v>
                </c:pt>
                <c:pt idx="31">
                  <c:v>0.5732342071261154</c:v>
                </c:pt>
                <c:pt idx="32">
                  <c:v>0.5445930160472655</c:v>
                </c:pt>
                <c:pt idx="33">
                  <c:v>0.5317597429036639</c:v>
                </c:pt>
                <c:pt idx="34">
                  <c:v>0.6319538702382625</c:v>
                </c:pt>
                <c:pt idx="35">
                  <c:v>0.6936171702391324</c:v>
                </c:pt>
                <c:pt idx="36">
                  <c:v>0.7393128136687279</c:v>
                </c:pt>
                <c:pt idx="37">
                  <c:v>0.7059483676235626</c:v>
                </c:pt>
                <c:pt idx="38">
                  <c:v>0.7516130091444896</c:v>
                </c:pt>
                <c:pt idx="39">
                  <c:v>0.7672433431647041</c:v>
                </c:pt>
                <c:pt idx="40">
                  <c:v>0.7621524975894697</c:v>
                </c:pt>
                <c:pt idx="41">
                  <c:v>0.7438986884135177</c:v>
                </c:pt>
                <c:pt idx="42">
                  <c:v>0.7806533924741665</c:v>
                </c:pt>
                <c:pt idx="43">
                  <c:v>0.7868094368945022</c:v>
                </c:pt>
                <c:pt idx="44">
                  <c:v>0.7155138092381492</c:v>
                </c:pt>
                <c:pt idx="45">
                  <c:v>0.6900213491968016</c:v>
                </c:pt>
                <c:pt idx="46">
                  <c:v>0.6851777908668473</c:v>
                </c:pt>
                <c:pt idx="47">
                  <c:v>0.6880483811448246</c:v>
                </c:pt>
                <c:pt idx="48">
                  <c:v>0.6948103523433528</c:v>
                </c:pt>
                <c:pt idx="49">
                  <c:v>0.7076933483379834</c:v>
                </c:pt>
                <c:pt idx="50">
                  <c:v>0.6752284642262759</c:v>
                </c:pt>
                <c:pt idx="51">
                  <c:v>0.6810793056937976</c:v>
                </c:pt>
                <c:pt idx="52">
                  <c:v>0.691227300933438</c:v>
                </c:pt>
                <c:pt idx="53">
                  <c:v>0.6447168599816462</c:v>
                </c:pt>
                <c:pt idx="54">
                  <c:v>0.6275540399149592</c:v>
                </c:pt>
                <c:pt idx="55">
                  <c:v>0.6406855525196342</c:v>
                </c:pt>
                <c:pt idx="56">
                  <c:v>0.6448100110651016</c:v>
                </c:pt>
                <c:pt idx="57">
                  <c:v>0.6489076287666876</c:v>
                </c:pt>
                <c:pt idx="58">
                  <c:v>0.6311894080653528</c:v>
                </c:pt>
                <c:pt idx="59">
                  <c:v>0.6391628488741246</c:v>
                </c:pt>
                <c:pt idx="60">
                  <c:v>0.6469270770076049</c:v>
                </c:pt>
                <c:pt idx="61">
                  <c:v>0.66525780334554</c:v>
                </c:pt>
                <c:pt idx="62">
                  <c:v>0.6941413040485686</c:v>
                </c:pt>
                <c:pt idx="63">
                  <c:v>0.7154621577877599</c:v>
                </c:pt>
                <c:pt idx="64">
                  <c:v>0.7671490968037025</c:v>
                </c:pt>
                <c:pt idx="65">
                  <c:v>0.767564473152172</c:v>
                </c:pt>
                <c:pt idx="66">
                  <c:v>0.7062502641574792</c:v>
                </c:pt>
                <c:pt idx="67">
                  <c:v>0.687794608553275</c:v>
                </c:pt>
                <c:pt idx="68">
                  <c:v>0.6671600501343268</c:v>
                </c:pt>
                <c:pt idx="69">
                  <c:v>0.6593184943868962</c:v>
                </c:pt>
                <c:pt idx="70">
                  <c:v>0.6133409330277593</c:v>
                </c:pt>
                <c:pt idx="71">
                  <c:v>0.5913605413833657</c:v>
                </c:pt>
                <c:pt idx="72">
                  <c:v>0.6434032340790534</c:v>
                </c:pt>
                <c:pt idx="73">
                  <c:v>0.6074322810187303</c:v>
                </c:pt>
                <c:pt idx="74">
                  <c:v>0.5913268811513097</c:v>
                </c:pt>
                <c:pt idx="75">
                  <c:v>0.5635777982704809</c:v>
                </c:pt>
                <c:pt idx="76">
                  <c:v>0.5795764277981802</c:v>
                </c:pt>
                <c:pt idx="77">
                  <c:v>0.5653269633870284</c:v>
                </c:pt>
                <c:pt idx="78">
                  <c:v>0.6040282045540631</c:v>
                </c:pt>
                <c:pt idx="79">
                  <c:v>0.32479607338504496</c:v>
                </c:pt>
                <c:pt idx="80">
                  <c:v>0.341857625996372</c:v>
                </c:pt>
                <c:pt idx="81">
                  <c:v>0.48526663786583907</c:v>
                </c:pt>
                <c:pt idx="82">
                  <c:v>0.46498550935531524</c:v>
                </c:pt>
                <c:pt idx="83">
                  <c:v>0.4761559956872011</c:v>
                </c:pt>
                <c:pt idx="84">
                  <c:v>0.4922270157625359</c:v>
                </c:pt>
                <c:pt idx="85">
                  <c:v>0.5385308083956897</c:v>
                </c:pt>
                <c:pt idx="86">
                  <c:v>0.6515483599734117</c:v>
                </c:pt>
                <c:pt idx="87">
                  <c:v>0.6847679915347676</c:v>
                </c:pt>
                <c:pt idx="88">
                  <c:v>0.628649514337603</c:v>
                </c:pt>
                <c:pt idx="89">
                  <c:v>0.5693814937185063</c:v>
                </c:pt>
                <c:pt idx="90">
                  <c:v>0.5979541177508471</c:v>
                </c:pt>
                <c:pt idx="91">
                  <c:v>0.637243883581414</c:v>
                </c:pt>
                <c:pt idx="92">
                  <c:v>0.6902863699802994</c:v>
                </c:pt>
                <c:pt idx="93">
                  <c:v>0.7125045518103541</c:v>
                </c:pt>
                <c:pt idx="94">
                  <c:v>0.7006261107013063</c:v>
                </c:pt>
                <c:pt idx="95">
                  <c:v>0.7543795385496171</c:v>
                </c:pt>
                <c:pt idx="96">
                  <c:v>0.7634230517686402</c:v>
                </c:pt>
                <c:pt idx="97">
                  <c:v>0.8200906017802908</c:v>
                </c:pt>
                <c:pt idx="98">
                  <c:v>0.834506038446237</c:v>
                </c:pt>
                <c:pt idx="99">
                  <c:v>0.8228422286483319</c:v>
                </c:pt>
                <c:pt idx="100">
                  <c:v>0.8164106458947915</c:v>
                </c:pt>
                <c:pt idx="101">
                  <c:v>0.7538179851025759</c:v>
                </c:pt>
                <c:pt idx="102">
                  <c:v>0.7695171389083213</c:v>
                </c:pt>
                <c:pt idx="103">
                  <c:v>0.6622845049342719</c:v>
                </c:pt>
                <c:pt idx="104">
                  <c:v>0.6995835488173331</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319293493976435</c:v>
                </c:pt>
                <c:pt idx="1">
                  <c:v>0.6671711141478587</c:v>
                </c:pt>
                <c:pt idx="2">
                  <c:v>0.6628468089473805</c:v>
                </c:pt>
                <c:pt idx="3">
                  <c:v>0.6451920684539836</c:v>
                </c:pt>
                <c:pt idx="4">
                  <c:v>0.6491162900702581</c:v>
                </c:pt>
                <c:pt idx="5">
                  <c:v>0.6737683834260696</c:v>
                </c:pt>
                <c:pt idx="6">
                  <c:v>0.6949104914604524</c:v>
                </c:pt>
                <c:pt idx="7">
                  <c:v>0.7162637542674017</c:v>
                </c:pt>
                <c:pt idx="8">
                  <c:v>0.7664466692265344</c:v>
                </c:pt>
                <c:pt idx="9">
                  <c:v>0.7518204984652214</c:v>
                </c:pt>
                <c:pt idx="10">
                  <c:v>0.7600150553651831</c:v>
                </c:pt>
                <c:pt idx="11">
                  <c:v>0.7411158714141942</c:v>
                </c:pt>
                <c:pt idx="12">
                  <c:v>0.7309869442989382</c:v>
                </c:pt>
                <c:pt idx="13">
                  <c:v>0.7036100426121232</c:v>
                </c:pt>
                <c:pt idx="14">
                  <c:v>0.7002830029676376</c:v>
                </c:pt>
                <c:pt idx="15">
                  <c:v>0.7102919671992813</c:v>
                </c:pt>
                <c:pt idx="16">
                  <c:v>0.7344993787144339</c:v>
                </c:pt>
                <c:pt idx="17">
                  <c:v>0.7210653537788664</c:v>
                </c:pt>
                <c:pt idx="18">
                  <c:v>0.7208718872967708</c:v>
                </c:pt>
                <c:pt idx="19">
                  <c:v>0.7337985249001777</c:v>
                </c:pt>
                <c:pt idx="20">
                  <c:v>0.7022632279737672</c:v>
                </c:pt>
                <c:pt idx="21">
                  <c:v>0.6725406898471495</c:v>
                </c:pt>
                <c:pt idx="22">
                  <c:v>0.6684307646486437</c:v>
                </c:pt>
                <c:pt idx="23">
                  <c:v>0.6717455505108985</c:v>
                </c:pt>
                <c:pt idx="24">
                  <c:v>0.6699184386970422</c:v>
                </c:pt>
                <c:pt idx="25">
                  <c:v>0.687108595404392</c:v>
                </c:pt>
                <c:pt idx="26">
                  <c:v>0.6868646236401253</c:v>
                </c:pt>
                <c:pt idx="27">
                  <c:v>0.7137433670778717</c:v>
                </c:pt>
                <c:pt idx="28">
                  <c:v>0.7068167048860379</c:v>
                </c:pt>
                <c:pt idx="29">
                  <c:v>0.6713967299813368</c:v>
                </c:pt>
                <c:pt idx="30">
                  <c:v>0.6439762873921432</c:v>
                </c:pt>
                <c:pt idx="31">
                  <c:v>0.6025119557683288</c:v>
                </c:pt>
                <c:pt idx="32">
                  <c:v>0.6259011961529005</c:v>
                </c:pt>
                <c:pt idx="33">
                  <c:v>0.6729940182275</c:v>
                </c:pt>
                <c:pt idx="34">
                  <c:v>0.7073539444603084</c:v>
                </c:pt>
                <c:pt idx="35">
                  <c:v>0.6592903494526279</c:v>
                </c:pt>
                <c:pt idx="36">
                  <c:v>0.6033370631680598</c:v>
                </c:pt>
                <c:pt idx="37">
                  <c:v>0.6491788712708295</c:v>
                </c:pt>
                <c:pt idx="38">
                  <c:v>0.6422301324620792</c:v>
                </c:pt>
                <c:pt idx="39">
                  <c:v>0.6886466509672984</c:v>
                </c:pt>
                <c:pt idx="40">
                  <c:v>0.7087738758734055</c:v>
                </c:pt>
                <c:pt idx="41">
                  <c:v>0.736086128623787</c:v>
                </c:pt>
                <c:pt idx="42">
                  <c:v>0.6977758412820549</c:v>
                </c:pt>
                <c:pt idx="43">
                  <c:v>0.7552443229193755</c:v>
                </c:pt>
                <c:pt idx="44">
                  <c:v>0.8238498360699922</c:v>
                </c:pt>
                <c:pt idx="45">
                  <c:v>0.815785432387215</c:v>
                </c:pt>
                <c:pt idx="46">
                  <c:v>0.7884678197906754</c:v>
                </c:pt>
                <c:pt idx="47">
                  <c:v>0.8051096442061253</c:v>
                </c:pt>
                <c:pt idx="48">
                  <c:v>0.8581889040171693</c:v>
                </c:pt>
                <c:pt idx="49">
                  <c:v>0.8937523287728</c:v>
                </c:pt>
                <c:pt idx="50">
                  <c:v>0.7968416341877497</c:v>
                </c:pt>
                <c:pt idx="51">
                  <c:v>0.7579495135589385</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22609118530622</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22609118530622</c:v>
                </c:pt>
                <c:pt idx="1">
                  <c:v>0.3422609118530622</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353372753540822</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353372753540822</c:v>
                </c:pt>
                <c:pt idx="1">
                  <c:v>0.5353372753540822</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668395894467338</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668395894467338</c:v>
                </c:pt>
                <c:pt idx="1">
                  <c:v>0.8668395894467338</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319293493976435</c:v>
                </c:pt>
                <c:pt idx="1">
                  <c:v>0.6671711141478587</c:v>
                </c:pt>
                <c:pt idx="2">
                  <c:v>0.6628468089473805</c:v>
                </c:pt>
                <c:pt idx="3">
                  <c:v>0.6451920684539836</c:v>
                </c:pt>
                <c:pt idx="4">
                  <c:v>0.6491162900702581</c:v>
                </c:pt>
                <c:pt idx="5">
                  <c:v>0.6737683834260696</c:v>
                </c:pt>
                <c:pt idx="6">
                  <c:v>0.6949104914604524</c:v>
                </c:pt>
                <c:pt idx="7">
                  <c:v>0.7162637542674017</c:v>
                </c:pt>
                <c:pt idx="8">
                  <c:v>0.7664466692265344</c:v>
                </c:pt>
                <c:pt idx="9">
                  <c:v>0.7518204984652214</c:v>
                </c:pt>
                <c:pt idx="10">
                  <c:v>0.7600150553651831</c:v>
                </c:pt>
                <c:pt idx="11">
                  <c:v>0.7411158714141942</c:v>
                </c:pt>
                <c:pt idx="12">
                  <c:v>0.7309869442989382</c:v>
                </c:pt>
                <c:pt idx="13">
                  <c:v>0.7036100426121232</c:v>
                </c:pt>
                <c:pt idx="14">
                  <c:v>0.7002830029676376</c:v>
                </c:pt>
                <c:pt idx="15">
                  <c:v>0.7102919671992813</c:v>
                </c:pt>
                <c:pt idx="16">
                  <c:v>0.7344993787144339</c:v>
                </c:pt>
                <c:pt idx="17">
                  <c:v>0.7210653537788664</c:v>
                </c:pt>
                <c:pt idx="18">
                  <c:v>0.7208718872967708</c:v>
                </c:pt>
                <c:pt idx="19">
                  <c:v>0.7337985249001777</c:v>
                </c:pt>
                <c:pt idx="20">
                  <c:v>0.7022632279737672</c:v>
                </c:pt>
                <c:pt idx="21">
                  <c:v>0.6725406898471495</c:v>
                </c:pt>
                <c:pt idx="22">
                  <c:v>0.6684307646486437</c:v>
                </c:pt>
                <c:pt idx="23">
                  <c:v>0.6717455505108985</c:v>
                </c:pt>
                <c:pt idx="24">
                  <c:v>0.6699184386970422</c:v>
                </c:pt>
                <c:pt idx="25">
                  <c:v>0.687108595404392</c:v>
                </c:pt>
                <c:pt idx="26">
                  <c:v>0.6868646236401253</c:v>
                </c:pt>
                <c:pt idx="27">
                  <c:v>0.7137433670778717</c:v>
                </c:pt>
                <c:pt idx="28">
                  <c:v>0.7068167048860379</c:v>
                </c:pt>
                <c:pt idx="29">
                  <c:v>0.6713967299813368</c:v>
                </c:pt>
                <c:pt idx="30">
                  <c:v>0.6439762873921432</c:v>
                </c:pt>
                <c:pt idx="31">
                  <c:v>0.6025119557683288</c:v>
                </c:pt>
                <c:pt idx="32">
                  <c:v>0.6259011961529005</c:v>
                </c:pt>
                <c:pt idx="33">
                  <c:v>0.6729940182275</c:v>
                </c:pt>
                <c:pt idx="34">
                  <c:v>0.7073539444603084</c:v>
                </c:pt>
                <c:pt idx="35">
                  <c:v>0.6592903494526279</c:v>
                </c:pt>
                <c:pt idx="36">
                  <c:v>0.6033370631680598</c:v>
                </c:pt>
                <c:pt idx="37">
                  <c:v>0.6491788712708295</c:v>
                </c:pt>
                <c:pt idx="38">
                  <c:v>0.6422301324620792</c:v>
                </c:pt>
                <c:pt idx="39">
                  <c:v>0.6886466509672984</c:v>
                </c:pt>
                <c:pt idx="40">
                  <c:v>0.7087738758734055</c:v>
                </c:pt>
                <c:pt idx="41">
                  <c:v>0.736086128623787</c:v>
                </c:pt>
                <c:pt idx="42">
                  <c:v>0.6977758412820549</c:v>
                </c:pt>
                <c:pt idx="43">
                  <c:v>0.7552443229193755</c:v>
                </c:pt>
                <c:pt idx="44">
                  <c:v>0.8238498360699922</c:v>
                </c:pt>
                <c:pt idx="45">
                  <c:v>0.815785432387215</c:v>
                </c:pt>
                <c:pt idx="46">
                  <c:v>0.7884678197906754</c:v>
                </c:pt>
                <c:pt idx="47">
                  <c:v>0.8051096442061253</c:v>
                </c:pt>
                <c:pt idx="48">
                  <c:v>0.8581889040171693</c:v>
                </c:pt>
                <c:pt idx="49">
                  <c:v>0.8937523287728</c:v>
                </c:pt>
                <c:pt idx="50">
                  <c:v>0.7968416341877497</c:v>
                </c:pt>
                <c:pt idx="51">
                  <c:v>0.7579495135589385</c:v>
                </c:pt>
                <c:pt idx="52">
                  <c:v>0.5353372753540822</c:v>
                </c:pt>
                <c:pt idx="53">
                  <c:v>0.3422609118530622</c:v>
                </c:pt>
                <c:pt idx="54">
                  <c:v>0.8668395894467338</c:v>
                </c:pt>
              </c:numCache>
            </c:numRef>
          </c:xVal>
          <c:yVal>
            <c:numRef>
              <c:f>Sheet1!$B$187:$B$241</c:f>
              <c:numCache>
                <c:formatCode>General</c:formatCode>
                <c:ptCount val="55"/>
                <c:pt idx="0">
                  <c:v>0.13574165103521865</c:v>
                </c:pt>
                <c:pt idx="1">
                  <c:v>0.14281672319828992</c:v>
                </c:pt>
                <c:pt idx="2">
                  <c:v>0.14328916923130053</c:v>
                </c:pt>
                <c:pt idx="3">
                  <c:v>0.14521801368682472</c:v>
                </c:pt>
                <c:pt idx="4">
                  <c:v>0.14478927823700996</c:v>
                </c:pt>
                <c:pt idx="5">
                  <c:v>0.14209594759280103</c:v>
                </c:pt>
                <c:pt idx="6">
                  <c:v>0.13978609558022315</c:v>
                </c:pt>
                <c:pt idx="7">
                  <c:v>0.13745317414261043</c:v>
                </c:pt>
                <c:pt idx="8">
                  <c:v>0.13197050860486614</c:v>
                </c:pt>
                <c:pt idx="9">
                  <c:v>0.1335684708286134</c:v>
                </c:pt>
                <c:pt idx="10">
                  <c:v>0.13267318575501624</c:v>
                </c:pt>
                <c:pt idx="11">
                  <c:v>0.13473799017349136</c:v>
                </c:pt>
                <c:pt idx="12">
                  <c:v>0.13584461221157668</c:v>
                </c:pt>
                <c:pt idx="13">
                  <c:v>0.13883563805235832</c:v>
                </c:pt>
                <c:pt idx="14">
                  <c:v>0.1391991292050023</c:v>
                </c:pt>
                <c:pt idx="15">
                  <c:v>0.13810561354721246</c:v>
                </c:pt>
                <c:pt idx="16">
                  <c:v>0.13546086600753277</c:v>
                </c:pt>
                <c:pt idx="17">
                  <c:v>0.13692858197435961</c:v>
                </c:pt>
                <c:pt idx="18">
                  <c:v>0.13694971888948218</c:v>
                </c:pt>
                <c:pt idx="19">
                  <c:v>0.1355374368296452</c:v>
                </c:pt>
                <c:pt idx="20">
                  <c:v>0.13898278243824058</c:v>
                </c:pt>
                <c:pt idx="21">
                  <c:v>0.14223007757073347</c:v>
                </c:pt>
                <c:pt idx="22">
                  <c:v>0.14267910181069454</c:v>
                </c:pt>
                <c:pt idx="23">
                  <c:v>0.14231694942821962</c:v>
                </c:pt>
                <c:pt idx="24">
                  <c:v>0.14251656802318552</c:v>
                </c:pt>
                <c:pt idx="25">
                  <c:v>0.14063848103193438</c:v>
                </c:pt>
                <c:pt idx="26">
                  <c:v>0.14066513583238222</c:v>
                </c:pt>
                <c:pt idx="27">
                  <c:v>0.1377285355877768</c:v>
                </c:pt>
                <c:pt idx="28">
                  <c:v>0.1384852985642139</c:v>
                </c:pt>
                <c:pt idx="29">
                  <c:v>0.1423550593366983</c:v>
                </c:pt>
                <c:pt idx="30">
                  <c:v>0.1453508421790441</c:v>
                </c:pt>
                <c:pt idx="31">
                  <c:v>0.14988097085380564</c:v>
                </c:pt>
                <c:pt idx="32">
                  <c:v>0.14732561147870876</c:v>
                </c:pt>
                <c:pt idx="33">
                  <c:v>0.14218054980037076</c:v>
                </c:pt>
                <c:pt idx="34">
                  <c:v>0.13842660319146077</c:v>
                </c:pt>
                <c:pt idx="35">
                  <c:v>0.14367772533498924</c:v>
                </c:pt>
                <c:pt idx="36">
                  <c:v>0.1497908248766513</c:v>
                </c:pt>
                <c:pt idx="37">
                  <c:v>0.1447824410137844</c:v>
                </c:pt>
                <c:pt idx="38">
                  <c:v>0.14554161594072015</c:v>
                </c:pt>
                <c:pt idx="39">
                  <c:v>0.14047044288116634</c:v>
                </c:pt>
                <c:pt idx="40">
                  <c:v>0.13827147053264877</c:v>
                </c:pt>
                <c:pt idx="41">
                  <c:v>0.1352875078227379</c:v>
                </c:pt>
                <c:pt idx="42">
                  <c:v>0.13947304571587638</c:v>
                </c:pt>
                <c:pt idx="43">
                  <c:v>0.1331944055843492</c:v>
                </c:pt>
                <c:pt idx="44">
                  <c:v>0.12569900435154985</c:v>
                </c:pt>
                <c:pt idx="45">
                  <c:v>0.12658006971393515</c:v>
                </c:pt>
                <c:pt idx="46">
                  <c:v>0.1295646180064859</c:v>
                </c:pt>
                <c:pt idx="47">
                  <c:v>0.12774643830763655</c:v>
                </c:pt>
                <c:pt idx="48">
                  <c:v>0.1219473365860251</c:v>
                </c:pt>
                <c:pt idx="49">
                  <c:v>0.11806190339684818</c:v>
                </c:pt>
                <c:pt idx="50">
                  <c:v>0.12864974840093</c:v>
                </c:pt>
                <c:pt idx="51">
                  <c:v>0.13289885369174514</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8.1761</c:v>
                </c:pt>
                <c:pt idx="1">
                  <c:v>911.0634</c:v>
                </c:pt>
                <c:pt idx="2">
                  <c:v>968.6595</c:v>
                </c:pt>
                <c:pt idx="3">
                  <c:v>987.3204</c:v>
                </c:pt>
                <c:pt idx="4">
                  <c:v>990.227</c:v>
                </c:pt>
                <c:pt idx="5">
                  <c:v>980.3256</c:v>
                </c:pt>
                <c:pt idx="6">
                  <c:v>944.2583</c:v>
                </c:pt>
                <c:pt idx="7">
                  <c:v>969.0574</c:v>
                </c:pt>
                <c:pt idx="8">
                  <c:v>960.4141</c:v>
                </c:pt>
                <c:pt idx="9">
                  <c:v>954.7406</c:v>
                </c:pt>
                <c:pt idx="10">
                  <c:v>966.177</c:v>
                </c:pt>
                <c:pt idx="11">
                  <c:v>1000.8886</c:v>
                </c:pt>
                <c:pt idx="12">
                  <c:v>990.8587</c:v>
                </c:pt>
                <c:pt idx="13">
                  <c:v>966.4811</c:v>
                </c:pt>
                <c:pt idx="14">
                  <c:v>976.9045</c:v>
                </c:pt>
                <c:pt idx="15">
                  <c:v>975.3004</c:v>
                </c:pt>
                <c:pt idx="16">
                  <c:v>968.7332</c:v>
                </c:pt>
                <c:pt idx="17">
                  <c:v>988.2932</c:v>
                </c:pt>
                <c:pt idx="18">
                  <c:v>1039.9413</c:v>
                </c:pt>
                <c:pt idx="19">
                  <c:v>1069.8372</c:v>
                </c:pt>
                <c:pt idx="20">
                  <c:v>1043.2562</c:v>
                </c:pt>
                <c:pt idx="21">
                  <c:v>1061.739</c:v>
                </c:pt>
                <c:pt idx="22">
                  <c:v>1057.3631</c:v>
                </c:pt>
                <c:pt idx="23">
                  <c:v>1042.0837</c:v>
                </c:pt>
                <c:pt idx="24">
                  <c:v>1030.4888</c:v>
                </c:pt>
                <c:pt idx="25">
                  <c:v>1019.1494</c:v>
                </c:pt>
                <c:pt idx="26">
                  <c:v>1021.4856</c:v>
                </c:pt>
                <c:pt idx="27">
                  <c:v>1031.098</c:v>
                </c:pt>
                <c:pt idx="28">
                  <c:v>1021.3887</c:v>
                </c:pt>
                <c:pt idx="29">
                  <c:v>883.2158</c:v>
                </c:pt>
                <c:pt idx="30">
                  <c:v>934.7935</c:v>
                </c:pt>
                <c:pt idx="31">
                  <c:v>954.8756</c:v>
                </c:pt>
                <c:pt idx="32">
                  <c:v>938.2035</c:v>
                </c:pt>
                <c:pt idx="33">
                  <c:v>884.0368</c:v>
                </c:pt>
                <c:pt idx="34">
                  <c:v>995.1085</c:v>
                </c:pt>
                <c:pt idx="35">
                  <c:v>1040.2416</c:v>
                </c:pt>
                <c:pt idx="36">
                  <c:v>1122.986</c:v>
                </c:pt>
                <c:pt idx="37">
                  <c:v>1127.0016</c:v>
                </c:pt>
                <c:pt idx="38">
                  <c:v>1181.1627</c:v>
                </c:pt>
                <c:pt idx="39">
                  <c:v>1193.9389</c:v>
                </c:pt>
                <c:pt idx="40">
                  <c:v>1202.8136</c:v>
                </c:pt>
                <c:pt idx="41">
                  <c:v>1229.4703</c:v>
                </c:pt>
                <c:pt idx="42">
                  <c:v>1281.2708</c:v>
                </c:pt>
                <c:pt idx="43">
                  <c:v>1282.6713</c:v>
                </c:pt>
                <c:pt idx="44">
                  <c:v>1102.2189</c:v>
                </c:pt>
                <c:pt idx="45">
                  <c:v>1024.9869</c:v>
                </c:pt>
                <c:pt idx="46">
                  <c:v>1014.1422</c:v>
                </c:pt>
                <c:pt idx="47">
                  <c:v>998.6392</c:v>
                </c:pt>
                <c:pt idx="48">
                  <c:v>1005.9194</c:v>
                </c:pt>
                <c:pt idx="49">
                  <c:v>993.9224</c:v>
                </c:pt>
                <c:pt idx="50">
                  <c:v>994.8249</c:v>
                </c:pt>
                <c:pt idx="51">
                  <c:v>1021.2665</c:v>
                </c:pt>
                <c:pt idx="52">
                  <c:v>1028.4827</c:v>
                </c:pt>
                <c:pt idx="53">
                  <c:v>1077.98</c:v>
                </c:pt>
                <c:pt idx="54">
                  <c:v>1090.5946</c:v>
                </c:pt>
                <c:pt idx="55">
                  <c:v>1104.8853</c:v>
                </c:pt>
                <c:pt idx="56">
                  <c:v>1130.5196</c:v>
                </c:pt>
                <c:pt idx="57">
                  <c:v>1108.9906</c:v>
                </c:pt>
                <c:pt idx="58">
                  <c:v>1085.7955</c:v>
                </c:pt>
                <c:pt idx="59">
                  <c:v>1071.2726</c:v>
                </c:pt>
                <c:pt idx="60">
                  <c:v>1108.4488</c:v>
                </c:pt>
                <c:pt idx="61">
                  <c:v>1088.4088</c:v>
                </c:pt>
                <c:pt idx="62">
                  <c:v>1076.572</c:v>
                </c:pt>
                <c:pt idx="63">
                  <c:v>1109.3997</c:v>
                </c:pt>
                <c:pt idx="64">
                  <c:v>1113.1819</c:v>
                </c:pt>
                <c:pt idx="65">
                  <c:v>1097.5802</c:v>
                </c:pt>
                <c:pt idx="66">
                  <c:v>1024.3213</c:v>
                </c:pt>
                <c:pt idx="67">
                  <c:v>986.9105</c:v>
                </c:pt>
                <c:pt idx="68">
                  <c:v>967.2387</c:v>
                </c:pt>
                <c:pt idx="69">
                  <c:v>973.7072</c:v>
                </c:pt>
                <c:pt idx="70">
                  <c:v>922.8462</c:v>
                </c:pt>
                <c:pt idx="71">
                  <c:v>972.2467</c:v>
                </c:pt>
                <c:pt idx="72">
                  <c:v>1042.9403</c:v>
                </c:pt>
                <c:pt idx="73">
                  <c:v>1022.1803</c:v>
                </c:pt>
                <c:pt idx="74">
                  <c:v>1007.0664</c:v>
                </c:pt>
                <c:pt idx="75">
                  <c:v>970.249</c:v>
                </c:pt>
                <c:pt idx="76">
                  <c:v>992.1697</c:v>
                </c:pt>
                <c:pt idx="77">
                  <c:v>950.1833</c:v>
                </c:pt>
                <c:pt idx="78">
                  <c:v>1031.2823</c:v>
                </c:pt>
                <c:pt idx="79">
                  <c:v>558.8463</c:v>
                </c:pt>
                <c:pt idx="80">
                  <c:v>565.0296</c:v>
                </c:pt>
                <c:pt idx="81">
                  <c:v>792.5794</c:v>
                </c:pt>
                <c:pt idx="82">
                  <c:v>777.1234</c:v>
                </c:pt>
                <c:pt idx="83">
                  <c:v>812.9807</c:v>
                </c:pt>
                <c:pt idx="84">
                  <c:v>834.5934</c:v>
                </c:pt>
                <c:pt idx="85">
                  <c:v>915.9416</c:v>
                </c:pt>
                <c:pt idx="86">
                  <c:v>1072.1412</c:v>
                </c:pt>
                <c:pt idx="87">
                  <c:v>1103.7526</c:v>
                </c:pt>
                <c:pt idx="88">
                  <c:v>1083.9769</c:v>
                </c:pt>
                <c:pt idx="89">
                  <c:v>1004.4837</c:v>
                </c:pt>
                <c:pt idx="90">
                  <c:v>1078.3785</c:v>
                </c:pt>
                <c:pt idx="91">
                  <c:v>1103.2806</c:v>
                </c:pt>
                <c:pt idx="92">
                  <c:v>1141.6687</c:v>
                </c:pt>
                <c:pt idx="93">
                  <c:v>1192.7748</c:v>
                </c:pt>
                <c:pt idx="94">
                  <c:v>1172.2558</c:v>
                </c:pt>
                <c:pt idx="95">
                  <c:v>1210.5407</c:v>
                </c:pt>
                <c:pt idx="96">
                  <c:v>1160.6326</c:v>
                </c:pt>
                <c:pt idx="97">
                  <c:v>1181.1245</c:v>
                </c:pt>
                <c:pt idx="98">
                  <c:v>1178.2208</c:v>
                </c:pt>
                <c:pt idx="99">
                  <c:v>1140.0995</c:v>
                </c:pt>
                <c:pt idx="100">
                  <c:v>1145.885</c:v>
                </c:pt>
                <c:pt idx="101">
                  <c:v>1153.9255</c:v>
                </c:pt>
                <c:pt idx="102">
                  <c:v>1196.4621</c:v>
                </c:pt>
                <c:pt idx="103">
                  <c:v>995.7276</c:v>
                </c:pt>
                <c:pt idx="104">
                  <c:v>1102.6158</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7.0252985260495</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7.0252985260495</c:v>
                </c:pt>
                <c:pt idx="1">
                  <c:v>1007.0252985260495</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53541186983</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53541186983</c:v>
                </c:pt>
                <c:pt idx="1">
                  <c:v>1121.53541186983</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14346306857</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14346306857</c:v>
                </c:pt>
                <c:pt idx="1">
                  <c:v>1318.14346306857</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pt idx="52">
                  <c:v>1121.53541186983</c:v>
                </c:pt>
                <c:pt idx="53">
                  <c:v>1007.0252985260495</c:v>
                </c:pt>
                <c:pt idx="54">
                  <c:v>1318.14346306857</c:v>
                </c:pt>
              </c:numCache>
            </c:numRef>
          </c:xVal>
          <c:yVal>
            <c:numRef>
              <c:f>Sheet1!$B$187:$B$241</c:f>
              <c:numCache>
                <c:formatCode>General</c:formatCode>
                <c:ptCount val="55"/>
                <c:pt idx="0">
                  <c:v>0.1435067472169612</c:v>
                </c:pt>
                <c:pt idx="1">
                  <c:v>0.15184995470944396</c:v>
                </c:pt>
                <c:pt idx="2">
                  <c:v>0.1549086334139367</c:v>
                </c:pt>
                <c:pt idx="3">
                  <c:v>0.15392491562606261</c:v>
                </c:pt>
                <c:pt idx="4">
                  <c:v>0.15188114203205721</c:v>
                </c:pt>
                <c:pt idx="5">
                  <c:v>0.14887439307502265</c:v>
                </c:pt>
                <c:pt idx="6">
                  <c:v>0.1598713230327735</c:v>
                </c:pt>
                <c:pt idx="7">
                  <c:v>0.14589057868187083</c:v>
                </c:pt>
                <c:pt idx="8">
                  <c:v>0.12661823174978068</c:v>
                </c:pt>
                <c:pt idx="9">
                  <c:v>0.13425634416822602</c:v>
                </c:pt>
                <c:pt idx="10">
                  <c:v>0.13159879006497588</c:v>
                </c:pt>
                <c:pt idx="11">
                  <c:v>0.15769541319239777</c:v>
                </c:pt>
                <c:pt idx="12">
                  <c:v>0.1558033393040747</c:v>
                </c:pt>
                <c:pt idx="13">
                  <c:v>0.14493018230594495</c:v>
                </c:pt>
                <c:pt idx="14">
                  <c:v>0.14614438785550674</c:v>
                </c:pt>
                <c:pt idx="15">
                  <c:v>0.1396058450098822</c:v>
                </c:pt>
                <c:pt idx="16">
                  <c:v>0.13189528147517107</c:v>
                </c:pt>
                <c:pt idx="17">
                  <c:v>0.13699285211950948</c:v>
                </c:pt>
                <c:pt idx="18">
                  <c:v>0.14014857442443154</c:v>
                </c:pt>
                <c:pt idx="19">
                  <c:v>0.11922300465245517</c:v>
                </c:pt>
                <c:pt idx="20">
                  <c:v>0.1168068990060816</c:v>
                </c:pt>
                <c:pt idx="21">
                  <c:v>0.13096439608024132</c:v>
                </c:pt>
                <c:pt idx="22">
                  <c:v>0.13131138037365153</c:v>
                </c:pt>
                <c:pt idx="23">
                  <c:v>0.13223314720703752</c:v>
                </c:pt>
                <c:pt idx="24">
                  <c:v>0.1324916722428051</c:v>
                </c:pt>
                <c:pt idx="25">
                  <c:v>0.1425756223446576</c:v>
                </c:pt>
                <c:pt idx="26">
                  <c:v>0.13520894831883268</c:v>
                </c:pt>
                <c:pt idx="27">
                  <c:v>0.13166079628347338</c:v>
                </c:pt>
                <c:pt idx="28">
                  <c:v>0.13214361951188075</c:v>
                </c:pt>
                <c:pt idx="29">
                  <c:v>0.12846384702757177</c:v>
                </c:pt>
                <c:pt idx="30">
                  <c:v>0.13999733525216046</c:v>
                </c:pt>
                <c:pt idx="31">
                  <c:v>0.15890598973867848</c:v>
                </c:pt>
                <c:pt idx="32">
                  <c:v>0.14969126881865086</c:v>
                </c:pt>
                <c:pt idx="33">
                  <c:v>0.13997742178745584</c:v>
                </c:pt>
                <c:pt idx="34">
                  <c:v>0.13552386106547992</c:v>
                </c:pt>
                <c:pt idx="35">
                  <c:v>0.1400297199616431</c:v>
                </c:pt>
                <c:pt idx="36">
                  <c:v>0.13758320068878727</c:v>
                </c:pt>
                <c:pt idx="37">
                  <c:v>0.12123507512642664</c:v>
                </c:pt>
                <c:pt idx="38">
                  <c:v>0.12373114779433841</c:v>
                </c:pt>
                <c:pt idx="39">
                  <c:v>0.13014610189370632</c:v>
                </c:pt>
                <c:pt idx="40">
                  <c:v>0.12508964767232883</c:v>
                </c:pt>
                <c:pt idx="41">
                  <c:v>0.11533219733775188</c:v>
                </c:pt>
                <c:pt idx="42">
                  <c:v>0.12002488542821141</c:v>
                </c:pt>
                <c:pt idx="43">
                  <c:v>0.11852706498263443</c:v>
                </c:pt>
                <c:pt idx="44">
                  <c:v>0.1250708394878113</c:v>
                </c:pt>
                <c:pt idx="45">
                  <c:v>0.13591247757927166</c:v>
                </c:pt>
                <c:pt idx="46">
                  <c:v>0.1351660266048995</c:v>
                </c:pt>
                <c:pt idx="47">
                  <c:v>0.13698861521212555</c:v>
                </c:pt>
                <c:pt idx="48">
                  <c:v>0.13734808917165017</c:v>
                </c:pt>
                <c:pt idx="49">
                  <c:v>0.1317976852346483</c:v>
                </c:pt>
                <c:pt idx="50">
                  <c:v>0.1595737816064005</c:v>
                </c:pt>
                <c:pt idx="51">
                  <c:v>0.16726912911720232</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9.0"/>
          <c:min val="4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44786773341163</c:v>
                </c:pt>
                <c:pt idx="1">
                  <c:v>2.397120182873597</c:v>
                </c:pt>
                <c:pt idx="2">
                  <c:v>2.5203546597157787</c:v>
                </c:pt>
                <c:pt idx="3">
                  <c:v>2.5390679989661864</c:v>
                </c:pt>
                <c:pt idx="4">
                  <c:v>2.575055409510282</c:v>
                </c:pt>
                <c:pt idx="5">
                  <c:v>2.119936898762303</c:v>
                </c:pt>
                <c:pt idx="6">
                  <c:v>1.8798549801932614</c:v>
                </c:pt>
                <c:pt idx="7">
                  <c:v>1.9216459102202306</c:v>
                </c:pt>
                <c:pt idx="8">
                  <c:v>1.9267827293467732</c:v>
                </c:pt>
                <c:pt idx="9">
                  <c:v>2.0304367539573436</c:v>
                </c:pt>
                <c:pt idx="10">
                  <c:v>1.9765593546549878</c:v>
                </c:pt>
                <c:pt idx="11">
                  <c:v>1.9883080039198462</c:v>
                </c:pt>
                <c:pt idx="12">
                  <c:v>1.9663015954913479</c:v>
                </c:pt>
                <c:pt idx="13">
                  <c:v>1.9017409386618014</c:v>
                </c:pt>
                <c:pt idx="14">
                  <c:v>1.9079785910515061</c:v>
                </c:pt>
                <c:pt idx="15">
                  <c:v>1.8891501462139242</c:v>
                </c:pt>
                <c:pt idx="16">
                  <c:v>1.8233587839421186</c:v>
                </c:pt>
                <c:pt idx="17">
                  <c:v>2.255968210328995</c:v>
                </c:pt>
                <c:pt idx="18">
                  <c:v>2.365152110608033</c:v>
                </c:pt>
                <c:pt idx="19">
                  <c:v>2.408719721500622</c:v>
                </c:pt>
                <c:pt idx="20">
                  <c:v>2.363169611710832</c:v>
                </c:pt>
                <c:pt idx="21">
                  <c:v>2.422212909188261</c:v>
                </c:pt>
                <c:pt idx="22">
                  <c:v>2.417102315758096</c:v>
                </c:pt>
                <c:pt idx="23">
                  <c:v>2.4938912946970775</c:v>
                </c:pt>
                <c:pt idx="24">
                  <c:v>2.6025677937763985</c:v>
                </c:pt>
                <c:pt idx="25">
                  <c:v>2.6416494124941288</c:v>
                </c:pt>
                <c:pt idx="26">
                  <c:v>2.1838393184700466</c:v>
                </c:pt>
                <c:pt idx="27">
                  <c:v>2.0821357815253556</c:v>
                </c:pt>
                <c:pt idx="28">
                  <c:v>2.010515462578193</c:v>
                </c:pt>
                <c:pt idx="29">
                  <c:v>1.769431139667965</c:v>
                </c:pt>
                <c:pt idx="30">
                  <c:v>1.8562789648452314</c:v>
                </c:pt>
                <c:pt idx="31">
                  <c:v>1.8476820179703228</c:v>
                </c:pt>
                <c:pt idx="32">
                  <c:v>1.7781867225555756</c:v>
                </c:pt>
                <c:pt idx="33">
                  <c:v>1.6664934892583505</c:v>
                </c:pt>
                <c:pt idx="34">
                  <c:v>1.9259391655380023</c:v>
                </c:pt>
                <c:pt idx="35">
                  <c:v>2.056157215218197</c:v>
                </c:pt>
                <c:pt idx="36">
                  <c:v>2.2241151753488126</c:v>
                </c:pt>
                <c:pt idx="37">
                  <c:v>2.239516217492286</c:v>
                </c:pt>
                <c:pt idx="38">
                  <c:v>2.3576760628041504</c:v>
                </c:pt>
                <c:pt idx="39">
                  <c:v>2.379129265863567</c:v>
                </c:pt>
                <c:pt idx="40">
                  <c:v>2.3883731149430285</c:v>
                </c:pt>
                <c:pt idx="41">
                  <c:v>2.4507326063547965</c:v>
                </c:pt>
                <c:pt idx="42">
                  <c:v>2.5603524986136854</c:v>
                </c:pt>
                <c:pt idx="43">
                  <c:v>2.5675085502129598</c:v>
                </c:pt>
                <c:pt idx="44">
                  <c:v>2.2063586558457793</c:v>
                </c:pt>
                <c:pt idx="45">
                  <c:v>2.0591142079691753</c:v>
                </c:pt>
                <c:pt idx="46">
                  <c:v>2.0780418656478177</c:v>
                </c:pt>
                <c:pt idx="47">
                  <c:v>2.0613539380821324</c:v>
                </c:pt>
                <c:pt idx="48">
                  <c:v>2.05141803907877</c:v>
                </c:pt>
                <c:pt idx="49">
                  <c:v>2.0326891755145313</c:v>
                </c:pt>
                <c:pt idx="50">
                  <c:v>2.0180989407680063</c:v>
                </c:pt>
                <c:pt idx="51">
                  <c:v>2.0907100683899364</c:v>
                </c:pt>
                <c:pt idx="52">
                  <c:v>2.1088909343641</c:v>
                </c:pt>
                <c:pt idx="53">
                  <c:v>2.1920976058718398</c:v>
                </c:pt>
                <c:pt idx="54">
                  <c:v>2.3210698682521356</c:v>
                </c:pt>
                <c:pt idx="55">
                  <c:v>2.365038701829274</c:v>
                </c:pt>
                <c:pt idx="56">
                  <c:v>2.4293363331517543</c:v>
                </c:pt>
                <c:pt idx="57">
                  <c:v>2.3719334372943393</c:v>
                </c:pt>
                <c:pt idx="58">
                  <c:v>2.3154691595417747</c:v>
                </c:pt>
                <c:pt idx="59">
                  <c:v>2.3722953635309554</c:v>
                </c:pt>
                <c:pt idx="60">
                  <c:v>2.462620865060805</c:v>
                </c:pt>
                <c:pt idx="61">
                  <c:v>2.301999406950188</c:v>
                </c:pt>
                <c:pt idx="62">
                  <c:v>2.3285091465465424</c:v>
                </c:pt>
                <c:pt idx="63">
                  <c:v>2.42807467021051</c:v>
                </c:pt>
                <c:pt idx="64">
                  <c:v>2.372464935668327</c:v>
                </c:pt>
                <c:pt idx="65">
                  <c:v>2.328381544103749</c:v>
                </c:pt>
                <c:pt idx="66">
                  <c:v>2.166614316193894</c:v>
                </c:pt>
                <c:pt idx="67">
                  <c:v>2.093407311341866</c:v>
                </c:pt>
                <c:pt idx="68">
                  <c:v>2.0131111312765677</c:v>
                </c:pt>
                <c:pt idx="69">
                  <c:v>2.009956197026682</c:v>
                </c:pt>
                <c:pt idx="70">
                  <c:v>1.9219527962200986</c:v>
                </c:pt>
                <c:pt idx="71">
                  <c:v>2.0142542769253207</c:v>
                </c:pt>
                <c:pt idx="72">
                  <c:v>2.162742298548101</c:v>
                </c:pt>
                <c:pt idx="73">
                  <c:v>2.098991039792684</c:v>
                </c:pt>
                <c:pt idx="74">
                  <c:v>2.0827786861614586</c:v>
                </c:pt>
                <c:pt idx="75">
                  <c:v>2.0357909305079613</c:v>
                </c:pt>
                <c:pt idx="76">
                  <c:v>2.159683686576401</c:v>
                </c:pt>
                <c:pt idx="77">
                  <c:v>2.1343680400734533</c:v>
                </c:pt>
                <c:pt idx="78">
                  <c:v>2.267829972945224</c:v>
                </c:pt>
                <c:pt idx="79">
                  <c:v>1.261449675646039</c:v>
                </c:pt>
                <c:pt idx="80">
                  <c:v>1.244556671388392</c:v>
                </c:pt>
                <c:pt idx="81">
                  <c:v>1.7577497911425823</c:v>
                </c:pt>
                <c:pt idx="82">
                  <c:v>1.6992365363994324</c:v>
                </c:pt>
                <c:pt idx="83">
                  <c:v>1.785763284757808</c:v>
                </c:pt>
                <c:pt idx="84">
                  <c:v>1.8385038082178202</c:v>
                </c:pt>
                <c:pt idx="85">
                  <c:v>1.966357682658582</c:v>
                </c:pt>
                <c:pt idx="86">
                  <c:v>2.285807728338535</c:v>
                </c:pt>
                <c:pt idx="87">
                  <c:v>2.3687213205662685</c:v>
                </c:pt>
                <c:pt idx="88">
                  <c:v>2.2928736855620544</c:v>
                </c:pt>
                <c:pt idx="89">
                  <c:v>2.117536012398907</c:v>
                </c:pt>
                <c:pt idx="90">
                  <c:v>2.2684409689784935</c:v>
                </c:pt>
                <c:pt idx="91">
                  <c:v>2.3423241835371607</c:v>
                </c:pt>
                <c:pt idx="92">
                  <c:v>2.411870310196954</c:v>
                </c:pt>
                <c:pt idx="93">
                  <c:v>2.2390646188779213</c:v>
                </c:pt>
                <c:pt idx="94">
                  <c:v>2.104627806336061</c:v>
                </c:pt>
                <c:pt idx="95">
                  <c:v>2.201860231957858</c:v>
                </c:pt>
                <c:pt idx="96">
                  <c:v>2.098517247370915</c:v>
                </c:pt>
                <c:pt idx="97">
                  <c:v>2.158326827970429</c:v>
                </c:pt>
                <c:pt idx="98">
                  <c:v>2.259406853847799</c:v>
                </c:pt>
                <c:pt idx="99">
                  <c:v>2.5391507326592255</c:v>
                </c:pt>
                <c:pt idx="100">
                  <c:v>2.183280603529991</c:v>
                </c:pt>
                <c:pt idx="101">
                  <c:v>1.9535540472753357</c:v>
                </c:pt>
                <c:pt idx="102">
                  <c:v>1.9693844429337763</c:v>
                </c:pt>
                <c:pt idx="103">
                  <c:v>1.6505964659615566</c:v>
                </c:pt>
                <c:pt idx="104">
                  <c:v>1.8100502147946913</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68516646900541</c:v>
                </c:pt>
                <c:pt idx="1">
                  <c:v>1.7866022403970783</c:v>
                </c:pt>
                <c:pt idx="2">
                  <c:v>1.718993980019899</c:v>
                </c:pt>
                <c:pt idx="3">
                  <c:v>1.7235321985740077</c:v>
                </c:pt>
                <c:pt idx="4">
                  <c:v>1.7043043804026214</c:v>
                </c:pt>
                <c:pt idx="5">
                  <c:v>1.678180924127316</c:v>
                </c:pt>
                <c:pt idx="6">
                  <c:v>1.7424242662697327</c:v>
                </c:pt>
                <c:pt idx="7">
                  <c:v>1.7129346669960184</c:v>
                </c:pt>
                <c:pt idx="8">
                  <c:v>1.8584754767436724</c:v>
                </c:pt>
                <c:pt idx="9">
                  <c:v>1.877862372263791</c:v>
                </c:pt>
                <c:pt idx="10">
                  <c:v>1.854398499558694</c:v>
                </c:pt>
                <c:pt idx="11">
                  <c:v>2.0040284565600817</c:v>
                </c:pt>
                <c:pt idx="12">
                  <c:v>1.925008890090524</c:v>
                </c:pt>
                <c:pt idx="13">
                  <c:v>1.8117315964710405</c:v>
                </c:pt>
                <c:pt idx="14">
                  <c:v>1.79529597190874</c:v>
                </c:pt>
                <c:pt idx="15">
                  <c:v>1.9208700046334932</c:v>
                </c:pt>
                <c:pt idx="16">
                  <c:v>1.8704586789591957</c:v>
                </c:pt>
                <c:pt idx="17">
                  <c:v>1.9311884475474377</c:v>
                </c:pt>
                <c:pt idx="18">
                  <c:v>1.8384852080252048</c:v>
                </c:pt>
                <c:pt idx="19">
                  <c:v>2.0154644706969522</c:v>
                </c:pt>
                <c:pt idx="20">
                  <c:v>1.9464843623551495</c:v>
                </c:pt>
                <c:pt idx="21">
                  <c:v>1.8717095336569372</c:v>
                </c:pt>
                <c:pt idx="22">
                  <c:v>1.8363484233810872</c:v>
                </c:pt>
                <c:pt idx="23">
                  <c:v>1.8162802255512005</c:v>
                </c:pt>
                <c:pt idx="24">
                  <c:v>1.8000772051561464</c:v>
                </c:pt>
                <c:pt idx="25">
                  <c:v>1.7689380237446624</c:v>
                </c:pt>
                <c:pt idx="26">
                  <c:v>1.7713270854145338</c:v>
                </c:pt>
                <c:pt idx="27">
                  <c:v>1.803157648948094</c:v>
                </c:pt>
                <c:pt idx="28">
                  <c:v>1.8152716572898167</c:v>
                </c:pt>
                <c:pt idx="29">
                  <c:v>1.8407977839622538</c:v>
                </c:pt>
                <c:pt idx="30">
                  <c:v>1.7286301193096512</c:v>
                </c:pt>
                <c:pt idx="31">
                  <c:v>1.5613054584754444</c:v>
                </c:pt>
                <c:pt idx="32">
                  <c:v>1.6110632026193792</c:v>
                </c:pt>
                <c:pt idx="33">
                  <c:v>1.6581378383755518</c:v>
                </c:pt>
                <c:pt idx="34">
                  <c:v>1.7404703813448459</c:v>
                </c:pt>
                <c:pt idx="35">
                  <c:v>1.6155315396589873</c:v>
                </c:pt>
                <c:pt idx="36">
                  <c:v>1.6290147921773364</c:v>
                </c:pt>
                <c:pt idx="37">
                  <c:v>1.7560258070090915</c:v>
                </c:pt>
                <c:pt idx="38">
                  <c:v>1.737620682777613</c:v>
                </c:pt>
                <c:pt idx="39">
                  <c:v>1.8053753391022525</c:v>
                </c:pt>
                <c:pt idx="40">
                  <c:v>1.7631276633201447</c:v>
                </c:pt>
                <c:pt idx="41">
                  <c:v>1.8073350096461454</c:v>
                </c:pt>
                <c:pt idx="42">
                  <c:v>1.8080997251609627</c:v>
                </c:pt>
                <c:pt idx="43">
                  <c:v>1.8648490508116053</c:v>
                </c:pt>
                <c:pt idx="44">
                  <c:v>1.8527410140652025</c:v>
                </c:pt>
                <c:pt idx="45">
                  <c:v>1.8775830356302754</c:v>
                </c:pt>
                <c:pt idx="46">
                  <c:v>1.8462432961022235</c:v>
                </c:pt>
                <c:pt idx="47">
                  <c:v>1.8979371426228604</c:v>
                </c:pt>
                <c:pt idx="48">
                  <c:v>1.865298317072923</c:v>
                </c:pt>
                <c:pt idx="49">
                  <c:v>1.9637714115547753</c:v>
                </c:pt>
                <c:pt idx="50">
                  <c:v>1.7846525043700525</c:v>
                </c:pt>
                <c:pt idx="51">
                  <c:v>1.7735876122949517</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3196910040304</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3196910040304</c:v>
                </c:pt>
                <c:pt idx="1">
                  <c:v>1.03196910040304</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361211908277745</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361211908277745</c:v>
                </c:pt>
                <c:pt idx="1">
                  <c:v>1.4361211908277745</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300298122239623</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300298122239623</c:v>
                </c:pt>
                <c:pt idx="1">
                  <c:v>2.1300298122239623</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68516646900541</c:v>
                </c:pt>
                <c:pt idx="1">
                  <c:v>1.7866022403970783</c:v>
                </c:pt>
                <c:pt idx="2">
                  <c:v>1.718993980019899</c:v>
                </c:pt>
                <c:pt idx="3">
                  <c:v>1.7235321985740077</c:v>
                </c:pt>
                <c:pt idx="4">
                  <c:v>1.7043043804026214</c:v>
                </c:pt>
                <c:pt idx="5">
                  <c:v>1.678180924127316</c:v>
                </c:pt>
                <c:pt idx="6">
                  <c:v>1.7424242662697327</c:v>
                </c:pt>
                <c:pt idx="7">
                  <c:v>1.7129346669960184</c:v>
                </c:pt>
                <c:pt idx="8">
                  <c:v>1.8584754767436724</c:v>
                </c:pt>
                <c:pt idx="9">
                  <c:v>1.877862372263791</c:v>
                </c:pt>
                <c:pt idx="10">
                  <c:v>1.854398499558694</c:v>
                </c:pt>
                <c:pt idx="11">
                  <c:v>2.0040284565600817</c:v>
                </c:pt>
                <c:pt idx="12">
                  <c:v>1.925008890090524</c:v>
                </c:pt>
                <c:pt idx="13">
                  <c:v>1.8117315964710405</c:v>
                </c:pt>
                <c:pt idx="14">
                  <c:v>1.79529597190874</c:v>
                </c:pt>
                <c:pt idx="15">
                  <c:v>1.9208700046334932</c:v>
                </c:pt>
                <c:pt idx="16">
                  <c:v>1.8704586789591957</c:v>
                </c:pt>
                <c:pt idx="17">
                  <c:v>1.9311884475474377</c:v>
                </c:pt>
                <c:pt idx="18">
                  <c:v>1.8384852080252048</c:v>
                </c:pt>
                <c:pt idx="19">
                  <c:v>2.0154644706969522</c:v>
                </c:pt>
                <c:pt idx="20">
                  <c:v>1.9464843623551495</c:v>
                </c:pt>
                <c:pt idx="21">
                  <c:v>1.8717095336569372</c:v>
                </c:pt>
                <c:pt idx="22">
                  <c:v>1.8363484233810872</c:v>
                </c:pt>
                <c:pt idx="23">
                  <c:v>1.8162802255512005</c:v>
                </c:pt>
                <c:pt idx="24">
                  <c:v>1.8000772051561464</c:v>
                </c:pt>
                <c:pt idx="25">
                  <c:v>1.7689380237446624</c:v>
                </c:pt>
                <c:pt idx="26">
                  <c:v>1.7713270854145338</c:v>
                </c:pt>
                <c:pt idx="27">
                  <c:v>1.803157648948094</c:v>
                </c:pt>
                <c:pt idx="28">
                  <c:v>1.8152716572898167</c:v>
                </c:pt>
                <c:pt idx="29">
                  <c:v>1.8407977839622538</c:v>
                </c:pt>
                <c:pt idx="30">
                  <c:v>1.7286301193096512</c:v>
                </c:pt>
                <c:pt idx="31">
                  <c:v>1.5613054584754444</c:v>
                </c:pt>
                <c:pt idx="32">
                  <c:v>1.6110632026193792</c:v>
                </c:pt>
                <c:pt idx="33">
                  <c:v>1.6581378383755518</c:v>
                </c:pt>
                <c:pt idx="34">
                  <c:v>1.7404703813448459</c:v>
                </c:pt>
                <c:pt idx="35">
                  <c:v>1.6155315396589873</c:v>
                </c:pt>
                <c:pt idx="36">
                  <c:v>1.6290147921773364</c:v>
                </c:pt>
                <c:pt idx="37">
                  <c:v>1.7560258070090915</c:v>
                </c:pt>
                <c:pt idx="38">
                  <c:v>1.737620682777613</c:v>
                </c:pt>
                <c:pt idx="39">
                  <c:v>1.8053753391022525</c:v>
                </c:pt>
                <c:pt idx="40">
                  <c:v>1.7631276633201447</c:v>
                </c:pt>
                <c:pt idx="41">
                  <c:v>1.8073350096461454</c:v>
                </c:pt>
                <c:pt idx="42">
                  <c:v>1.8080997251609627</c:v>
                </c:pt>
                <c:pt idx="43">
                  <c:v>1.8648490508116053</c:v>
                </c:pt>
                <c:pt idx="44">
                  <c:v>1.8527410140652025</c:v>
                </c:pt>
                <c:pt idx="45">
                  <c:v>1.8775830356302754</c:v>
                </c:pt>
                <c:pt idx="46">
                  <c:v>1.8462432961022235</c:v>
                </c:pt>
                <c:pt idx="47">
                  <c:v>1.8979371426228604</c:v>
                </c:pt>
                <c:pt idx="48">
                  <c:v>1.865298317072923</c:v>
                </c:pt>
                <c:pt idx="49">
                  <c:v>1.9637714115547753</c:v>
                </c:pt>
                <c:pt idx="50">
                  <c:v>1.7846525043700525</c:v>
                </c:pt>
                <c:pt idx="51">
                  <c:v>1.7735876122949517</c:v>
                </c:pt>
                <c:pt idx="52">
                  <c:v>1.4361211908277745</c:v>
                </c:pt>
                <c:pt idx="53">
                  <c:v>1.03196910040304</c:v>
                </c:pt>
                <c:pt idx="54">
                  <c:v>2.1300298122239623</c:v>
                </c:pt>
              </c:numCache>
            </c:numRef>
          </c:xVal>
          <c:yVal>
            <c:numRef>
              <c:f>Sheet1!$B$187:$B$241</c:f>
              <c:numCache>
                <c:formatCode>General</c:formatCode>
                <c:ptCount val="55"/>
                <c:pt idx="0">
                  <c:v>0.13465162240593292</c:v>
                </c:pt>
                <c:pt idx="1">
                  <c:v>0.13892705869136823</c:v>
                </c:pt>
                <c:pt idx="2">
                  <c:v>0.1424558007277221</c:v>
                </c:pt>
                <c:pt idx="3">
                  <c:v>0.14221893318383466</c:v>
                </c:pt>
                <c:pt idx="4">
                  <c:v>0.14322250892842875</c:v>
                </c:pt>
                <c:pt idx="5">
                  <c:v>0.144585995250651</c:v>
                </c:pt>
                <c:pt idx="6">
                  <c:v>0.14123288158215716</c:v>
                </c:pt>
                <c:pt idx="7">
                  <c:v>0.14277206019748967</c:v>
                </c:pt>
                <c:pt idx="8">
                  <c:v>0.13517571072042364</c:v>
                </c:pt>
                <c:pt idx="9">
                  <c:v>0.13416383210093863</c:v>
                </c:pt>
                <c:pt idx="10">
                  <c:v>0.135388504256208</c:v>
                </c:pt>
                <c:pt idx="11">
                  <c:v>0.12757872603942008</c:v>
                </c:pt>
                <c:pt idx="12">
                  <c:v>0.13170306919423536</c:v>
                </c:pt>
                <c:pt idx="13">
                  <c:v>0.13761545838350664</c:v>
                </c:pt>
                <c:pt idx="14">
                  <c:v>0.1384732985196551</c:v>
                </c:pt>
                <c:pt idx="15">
                  <c:v>0.131919093967161</c:v>
                </c:pt>
                <c:pt idx="16">
                  <c:v>0.13455026008536605</c:v>
                </c:pt>
                <c:pt idx="17">
                  <c:v>0.13138053369276526</c:v>
                </c:pt>
                <c:pt idx="18">
                  <c:v>0.13621908176933584</c:v>
                </c:pt>
                <c:pt idx="19">
                  <c:v>0.12698183531056567</c:v>
                </c:pt>
                <c:pt idx="20">
                  <c:v>0.13058217950844903</c:v>
                </c:pt>
                <c:pt idx="21">
                  <c:v>0.1344849730401342</c:v>
                </c:pt>
                <c:pt idx="22">
                  <c:v>0.13633060899624966</c:v>
                </c:pt>
                <c:pt idx="23">
                  <c:v>0.1373780474731623</c:v>
                </c:pt>
                <c:pt idx="24">
                  <c:v>0.138223747079467</c:v>
                </c:pt>
                <c:pt idx="25">
                  <c:v>0.1398490238993605</c:v>
                </c:pt>
                <c:pt idx="26">
                  <c:v>0.13972432933844614</c:v>
                </c:pt>
                <c:pt idx="27">
                  <c:v>0.13806296655592404</c:v>
                </c:pt>
                <c:pt idx="28">
                  <c:v>0.13743068863269847</c:v>
                </c:pt>
                <c:pt idx="29">
                  <c:v>0.1360983793007943</c:v>
                </c:pt>
                <c:pt idx="30">
                  <c:v>0.14195285257330711</c:v>
                </c:pt>
                <c:pt idx="31">
                  <c:v>0.1506861872444004</c:v>
                </c:pt>
                <c:pt idx="32">
                  <c:v>0.14808913412670013</c:v>
                </c:pt>
                <c:pt idx="33">
                  <c:v>0.14563212302906028</c:v>
                </c:pt>
                <c:pt idx="34">
                  <c:v>0.14133486255060956</c:v>
                </c:pt>
                <c:pt idx="35">
                  <c:v>0.1478559139749569</c:v>
                </c:pt>
                <c:pt idx="36">
                  <c:v>0.14715216979217755</c:v>
                </c:pt>
                <c:pt idx="37">
                  <c:v>0.14052296347010415</c:v>
                </c:pt>
                <c:pt idx="38">
                  <c:v>0.14148359956985884</c:v>
                </c:pt>
                <c:pt idx="39">
                  <c:v>0.13794721655101447</c:v>
                </c:pt>
                <c:pt idx="40">
                  <c:v>0.14015228955006614</c:v>
                </c:pt>
                <c:pt idx="41">
                  <c:v>0.1378449336082637</c:v>
                </c:pt>
                <c:pt idx="42">
                  <c:v>0.13780502008633702</c:v>
                </c:pt>
                <c:pt idx="43">
                  <c:v>0.13484304872601857</c:v>
                </c:pt>
                <c:pt idx="44">
                  <c:v>0.1354750149681077</c:v>
                </c:pt>
                <c:pt idx="45">
                  <c:v>0.13417841178270357</c:v>
                </c:pt>
                <c:pt idx="46">
                  <c:v>0.13581415652253342</c:v>
                </c:pt>
                <c:pt idx="47">
                  <c:v>0.13311605057777864</c:v>
                </c:pt>
                <c:pt idx="48">
                  <c:v>0.13481959974607172</c:v>
                </c:pt>
                <c:pt idx="49">
                  <c:v>0.12967990015892997</c:v>
                </c:pt>
                <c:pt idx="50">
                  <c:v>0.1390288231124608</c:v>
                </c:pt>
                <c:pt idx="51">
                  <c:v>0.13960634351566742</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8.1761</c:v>
                </c:pt>
                <c:pt idx="1">
                  <c:v>911.0634</c:v>
                </c:pt>
                <c:pt idx="2">
                  <c:v>968.6595</c:v>
                </c:pt>
                <c:pt idx="3">
                  <c:v>987.3204</c:v>
                </c:pt>
                <c:pt idx="4">
                  <c:v>990.227</c:v>
                </c:pt>
                <c:pt idx="5">
                  <c:v>980.3256</c:v>
                </c:pt>
                <c:pt idx="6">
                  <c:v>944.2583</c:v>
                </c:pt>
                <c:pt idx="7">
                  <c:v>969.0574</c:v>
                </c:pt>
                <c:pt idx="8">
                  <c:v>960.4141</c:v>
                </c:pt>
                <c:pt idx="9">
                  <c:v>954.7406</c:v>
                </c:pt>
                <c:pt idx="10">
                  <c:v>966.177</c:v>
                </c:pt>
                <c:pt idx="11">
                  <c:v>1000.8886</c:v>
                </c:pt>
                <c:pt idx="12">
                  <c:v>990.8587</c:v>
                </c:pt>
                <c:pt idx="13">
                  <c:v>966.4811</c:v>
                </c:pt>
                <c:pt idx="14">
                  <c:v>976.9045</c:v>
                </c:pt>
                <c:pt idx="15">
                  <c:v>975.3004</c:v>
                </c:pt>
                <c:pt idx="16">
                  <c:v>968.7332</c:v>
                </c:pt>
                <c:pt idx="17">
                  <c:v>988.2932</c:v>
                </c:pt>
                <c:pt idx="18">
                  <c:v>1039.9413</c:v>
                </c:pt>
                <c:pt idx="19">
                  <c:v>1069.8372</c:v>
                </c:pt>
                <c:pt idx="20">
                  <c:v>1043.2562</c:v>
                </c:pt>
                <c:pt idx="21">
                  <c:v>1061.739</c:v>
                </c:pt>
                <c:pt idx="22">
                  <c:v>1057.3631</c:v>
                </c:pt>
                <c:pt idx="23">
                  <c:v>1042.0837</c:v>
                </c:pt>
                <c:pt idx="24">
                  <c:v>1030.4888</c:v>
                </c:pt>
                <c:pt idx="25">
                  <c:v>1019.1494</c:v>
                </c:pt>
                <c:pt idx="26">
                  <c:v>1021.4856</c:v>
                </c:pt>
                <c:pt idx="27">
                  <c:v>1031.098</c:v>
                </c:pt>
                <c:pt idx="28">
                  <c:v>1021.3887</c:v>
                </c:pt>
                <c:pt idx="29">
                  <c:v>883.2158</c:v>
                </c:pt>
                <c:pt idx="30">
                  <c:v>934.7935</c:v>
                </c:pt>
                <c:pt idx="31">
                  <c:v>954.8756</c:v>
                </c:pt>
                <c:pt idx="32">
                  <c:v>938.2035</c:v>
                </c:pt>
                <c:pt idx="33">
                  <c:v>884.0368</c:v>
                </c:pt>
                <c:pt idx="34">
                  <c:v>995.1085</c:v>
                </c:pt>
                <c:pt idx="35">
                  <c:v>1040.2416</c:v>
                </c:pt>
                <c:pt idx="36">
                  <c:v>1122.986</c:v>
                </c:pt>
                <c:pt idx="37">
                  <c:v>1127.0016</c:v>
                </c:pt>
                <c:pt idx="38">
                  <c:v>1181.1627</c:v>
                </c:pt>
                <c:pt idx="39">
                  <c:v>1193.9389</c:v>
                </c:pt>
                <c:pt idx="40">
                  <c:v>1202.8136</c:v>
                </c:pt>
                <c:pt idx="41">
                  <c:v>1229.4703</c:v>
                </c:pt>
                <c:pt idx="42">
                  <c:v>1281.2708</c:v>
                </c:pt>
                <c:pt idx="43">
                  <c:v>1282.6713</c:v>
                </c:pt>
                <c:pt idx="44">
                  <c:v>1102.2189</c:v>
                </c:pt>
                <c:pt idx="45">
                  <c:v>1024.9869</c:v>
                </c:pt>
                <c:pt idx="46">
                  <c:v>1014.1422</c:v>
                </c:pt>
                <c:pt idx="47">
                  <c:v>998.6392</c:v>
                </c:pt>
                <c:pt idx="48">
                  <c:v>1005.9194</c:v>
                </c:pt>
                <c:pt idx="49">
                  <c:v>993.9224</c:v>
                </c:pt>
                <c:pt idx="50">
                  <c:v>994.8249</c:v>
                </c:pt>
                <c:pt idx="51">
                  <c:v>1021.2665</c:v>
                </c:pt>
                <c:pt idx="52">
                  <c:v>1028.4827</c:v>
                </c:pt>
                <c:pt idx="53">
                  <c:v>1077.98</c:v>
                </c:pt>
                <c:pt idx="54">
                  <c:v>1090.5946</c:v>
                </c:pt>
                <c:pt idx="55">
                  <c:v>1104.8853</c:v>
                </c:pt>
                <c:pt idx="56">
                  <c:v>1130.5196</c:v>
                </c:pt>
                <c:pt idx="57">
                  <c:v>1108.9906</c:v>
                </c:pt>
                <c:pt idx="58">
                  <c:v>1085.7955</c:v>
                </c:pt>
                <c:pt idx="59">
                  <c:v>1071.2726</c:v>
                </c:pt>
                <c:pt idx="60">
                  <c:v>1108.4488</c:v>
                </c:pt>
                <c:pt idx="61">
                  <c:v>1088.4088</c:v>
                </c:pt>
                <c:pt idx="62">
                  <c:v>1076.572</c:v>
                </c:pt>
                <c:pt idx="63">
                  <c:v>1109.3997</c:v>
                </c:pt>
                <c:pt idx="64">
                  <c:v>1113.1819</c:v>
                </c:pt>
                <c:pt idx="65">
                  <c:v>1097.5802</c:v>
                </c:pt>
                <c:pt idx="66">
                  <c:v>1024.3213</c:v>
                </c:pt>
                <c:pt idx="67">
                  <c:v>986.9105</c:v>
                </c:pt>
                <c:pt idx="68">
                  <c:v>967.2387</c:v>
                </c:pt>
                <c:pt idx="69">
                  <c:v>973.7072</c:v>
                </c:pt>
                <c:pt idx="70">
                  <c:v>922.8462</c:v>
                </c:pt>
                <c:pt idx="71">
                  <c:v>972.2467</c:v>
                </c:pt>
                <c:pt idx="72">
                  <c:v>1042.9403</c:v>
                </c:pt>
                <c:pt idx="73">
                  <c:v>1022.1803</c:v>
                </c:pt>
                <c:pt idx="74">
                  <c:v>1007.0664</c:v>
                </c:pt>
                <c:pt idx="75">
                  <c:v>970.249</c:v>
                </c:pt>
                <c:pt idx="76">
                  <c:v>992.1697</c:v>
                </c:pt>
                <c:pt idx="77">
                  <c:v>950.1833</c:v>
                </c:pt>
                <c:pt idx="78">
                  <c:v>1031.2823</c:v>
                </c:pt>
                <c:pt idx="79">
                  <c:v>558.8463</c:v>
                </c:pt>
                <c:pt idx="80">
                  <c:v>565.0296</c:v>
                </c:pt>
                <c:pt idx="81">
                  <c:v>792.5794</c:v>
                </c:pt>
                <c:pt idx="82">
                  <c:v>777.1234</c:v>
                </c:pt>
                <c:pt idx="83">
                  <c:v>812.9807</c:v>
                </c:pt>
                <c:pt idx="84">
                  <c:v>834.5934</c:v>
                </c:pt>
                <c:pt idx="85">
                  <c:v>915.9416</c:v>
                </c:pt>
                <c:pt idx="86">
                  <c:v>1072.1412</c:v>
                </c:pt>
                <c:pt idx="87">
                  <c:v>1103.7526</c:v>
                </c:pt>
                <c:pt idx="88">
                  <c:v>1083.9769</c:v>
                </c:pt>
                <c:pt idx="89">
                  <c:v>1004.4837</c:v>
                </c:pt>
                <c:pt idx="90">
                  <c:v>1078.3785</c:v>
                </c:pt>
                <c:pt idx="91">
                  <c:v>1103.2806</c:v>
                </c:pt>
                <c:pt idx="92">
                  <c:v>1141.6687</c:v>
                </c:pt>
                <c:pt idx="93">
                  <c:v>1192.7748</c:v>
                </c:pt>
                <c:pt idx="94">
                  <c:v>1172.2558</c:v>
                </c:pt>
                <c:pt idx="95">
                  <c:v>1210.5407</c:v>
                </c:pt>
                <c:pt idx="96">
                  <c:v>1160.6326</c:v>
                </c:pt>
                <c:pt idx="97">
                  <c:v>1181.1245</c:v>
                </c:pt>
                <c:pt idx="98">
                  <c:v>1178.2208</c:v>
                </c:pt>
                <c:pt idx="99">
                  <c:v>1140.0995</c:v>
                </c:pt>
                <c:pt idx="100">
                  <c:v>1145.885</c:v>
                </c:pt>
                <c:pt idx="101">
                  <c:v>1153.9255</c:v>
                </c:pt>
                <c:pt idx="102">
                  <c:v>1196.4621</c:v>
                </c:pt>
                <c:pt idx="103">
                  <c:v>995.7276</c:v>
                </c:pt>
                <c:pt idx="104">
                  <c:v>1102.6158</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7.0252985260495</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7.0252985260495</c:v>
                </c:pt>
                <c:pt idx="1">
                  <c:v>1007.0252985260495</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53541186983</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53541186983</c:v>
                </c:pt>
                <c:pt idx="1">
                  <c:v>1121.53541186983</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14346306857</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14346306857</c:v>
                </c:pt>
                <c:pt idx="1">
                  <c:v>1318.14346306857</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pt idx="52">
                  <c:v>1121.53541186983</c:v>
                </c:pt>
                <c:pt idx="53">
                  <c:v>1007.0252985260495</c:v>
                </c:pt>
                <c:pt idx="54">
                  <c:v>1318.14346306857</c:v>
                </c:pt>
              </c:numCache>
            </c:numRef>
          </c:xVal>
          <c:yVal>
            <c:numRef>
              <c:f>Sheet1!$B$187:$B$241</c:f>
              <c:numCache>
                <c:formatCode>General</c:formatCode>
                <c:ptCount val="55"/>
                <c:pt idx="0">
                  <c:v>0.1435067472169612</c:v>
                </c:pt>
                <c:pt idx="1">
                  <c:v>0.15184995470944396</c:v>
                </c:pt>
                <c:pt idx="2">
                  <c:v>0.1549086334139367</c:v>
                </c:pt>
                <c:pt idx="3">
                  <c:v>0.15392491562606261</c:v>
                </c:pt>
                <c:pt idx="4">
                  <c:v>0.15188114203205721</c:v>
                </c:pt>
                <c:pt idx="5">
                  <c:v>0.14887439307502265</c:v>
                </c:pt>
                <c:pt idx="6">
                  <c:v>0.1598713230327735</c:v>
                </c:pt>
                <c:pt idx="7">
                  <c:v>0.14589057868187083</c:v>
                </c:pt>
                <c:pt idx="8">
                  <c:v>0.12661823174978068</c:v>
                </c:pt>
                <c:pt idx="9">
                  <c:v>0.13425634416822602</c:v>
                </c:pt>
                <c:pt idx="10">
                  <c:v>0.13159879006497588</c:v>
                </c:pt>
                <c:pt idx="11">
                  <c:v>0.15769541319239777</c:v>
                </c:pt>
                <c:pt idx="12">
                  <c:v>0.1558033393040747</c:v>
                </c:pt>
                <c:pt idx="13">
                  <c:v>0.14493018230594495</c:v>
                </c:pt>
                <c:pt idx="14">
                  <c:v>0.14614438785550674</c:v>
                </c:pt>
                <c:pt idx="15">
                  <c:v>0.1396058450098822</c:v>
                </c:pt>
                <c:pt idx="16">
                  <c:v>0.13189528147517107</c:v>
                </c:pt>
                <c:pt idx="17">
                  <c:v>0.13699285211950948</c:v>
                </c:pt>
                <c:pt idx="18">
                  <c:v>0.14014857442443154</c:v>
                </c:pt>
                <c:pt idx="19">
                  <c:v>0.11922300465245517</c:v>
                </c:pt>
                <c:pt idx="20">
                  <c:v>0.1168068990060816</c:v>
                </c:pt>
                <c:pt idx="21">
                  <c:v>0.13096439608024132</c:v>
                </c:pt>
                <c:pt idx="22">
                  <c:v>0.13131138037365153</c:v>
                </c:pt>
                <c:pt idx="23">
                  <c:v>0.13223314720703752</c:v>
                </c:pt>
                <c:pt idx="24">
                  <c:v>0.1324916722428051</c:v>
                </c:pt>
                <c:pt idx="25">
                  <c:v>0.1425756223446576</c:v>
                </c:pt>
                <c:pt idx="26">
                  <c:v>0.13520894831883268</c:v>
                </c:pt>
                <c:pt idx="27">
                  <c:v>0.13166079628347338</c:v>
                </c:pt>
                <c:pt idx="28">
                  <c:v>0.13214361951188075</c:v>
                </c:pt>
                <c:pt idx="29">
                  <c:v>0.12846384702757177</c:v>
                </c:pt>
                <c:pt idx="30">
                  <c:v>0.13999733525216046</c:v>
                </c:pt>
                <c:pt idx="31">
                  <c:v>0.15890598973867848</c:v>
                </c:pt>
                <c:pt idx="32">
                  <c:v>0.14969126881865086</c:v>
                </c:pt>
                <c:pt idx="33">
                  <c:v>0.13997742178745584</c:v>
                </c:pt>
                <c:pt idx="34">
                  <c:v>0.13552386106547992</c:v>
                </c:pt>
                <c:pt idx="35">
                  <c:v>0.1400297199616431</c:v>
                </c:pt>
                <c:pt idx="36">
                  <c:v>0.13758320068878727</c:v>
                </c:pt>
                <c:pt idx="37">
                  <c:v>0.12123507512642664</c:v>
                </c:pt>
                <c:pt idx="38">
                  <c:v>0.12373114779433841</c:v>
                </c:pt>
                <c:pt idx="39">
                  <c:v>0.13014610189370632</c:v>
                </c:pt>
                <c:pt idx="40">
                  <c:v>0.12508964767232883</c:v>
                </c:pt>
                <c:pt idx="41">
                  <c:v>0.11533219733775188</c:v>
                </c:pt>
                <c:pt idx="42">
                  <c:v>0.12002488542821141</c:v>
                </c:pt>
                <c:pt idx="43">
                  <c:v>0.11852706498263443</c:v>
                </c:pt>
                <c:pt idx="44">
                  <c:v>0.1250708394878113</c:v>
                </c:pt>
                <c:pt idx="45">
                  <c:v>0.13591247757927166</c:v>
                </c:pt>
                <c:pt idx="46">
                  <c:v>0.1351660266048995</c:v>
                </c:pt>
                <c:pt idx="47">
                  <c:v>0.13698861521212555</c:v>
                </c:pt>
                <c:pt idx="48">
                  <c:v>0.13734808917165017</c:v>
                </c:pt>
                <c:pt idx="49">
                  <c:v>0.1317976852346483</c:v>
                </c:pt>
                <c:pt idx="50">
                  <c:v>0.1595737816064005</c:v>
                </c:pt>
                <c:pt idx="51">
                  <c:v>0.16726912911720232</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9.0"/>
          <c:min val="4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19928346279746</c:v>
                </c:pt>
                <c:pt idx="1">
                  <c:v>0.8423572081990139</c:v>
                </c:pt>
                <c:pt idx="2">
                  <c:v>0.9037239517758634</c:v>
                </c:pt>
                <c:pt idx="3">
                  <c:v>0.8879471289808064</c:v>
                </c:pt>
                <c:pt idx="4">
                  <c:v>0.8968293120966948</c:v>
                </c:pt>
                <c:pt idx="5">
                  <c:v>0.87179660021544</c:v>
                </c:pt>
                <c:pt idx="6">
                  <c:v>0.8486789710029818</c:v>
                </c:pt>
                <c:pt idx="7">
                  <c:v>0.8657000820803016</c:v>
                </c:pt>
                <c:pt idx="8">
                  <c:v>0.8663960105954238</c:v>
                </c:pt>
                <c:pt idx="9">
                  <c:v>0.9454061325502648</c:v>
                </c:pt>
                <c:pt idx="10">
                  <c:v>0.8989289353802458</c:v>
                </c:pt>
                <c:pt idx="11">
                  <c:v>0.8999675849725551</c:v>
                </c:pt>
                <c:pt idx="12">
                  <c:v>0.8607069800781766</c:v>
                </c:pt>
                <c:pt idx="13">
                  <c:v>0.8751924057349993</c:v>
                </c:pt>
                <c:pt idx="14">
                  <c:v>0.8640131470196194</c:v>
                </c:pt>
                <c:pt idx="15">
                  <c:v>0.8498239010151177</c:v>
                </c:pt>
                <c:pt idx="16">
                  <c:v>0.8479894270625845</c:v>
                </c:pt>
                <c:pt idx="17">
                  <c:v>0.8505338485626239</c:v>
                </c:pt>
                <c:pt idx="18">
                  <c:v>0.9866444444086028</c:v>
                </c:pt>
                <c:pt idx="19">
                  <c:v>0.9953443359498746</c:v>
                </c:pt>
                <c:pt idx="20">
                  <c:v>0.9201579319435569</c:v>
                </c:pt>
                <c:pt idx="21">
                  <c:v>0.9781492055282516</c:v>
                </c:pt>
                <c:pt idx="22">
                  <c:v>1.011116550119002</c:v>
                </c:pt>
                <c:pt idx="23">
                  <c:v>0.9164143358605108</c:v>
                </c:pt>
                <c:pt idx="24">
                  <c:v>0.8084365130769656</c:v>
                </c:pt>
                <c:pt idx="25">
                  <c:v>0.833374818794124</c:v>
                </c:pt>
                <c:pt idx="26">
                  <c:v>0.8331384830255122</c:v>
                </c:pt>
                <c:pt idx="27">
                  <c:v>0.8335664294960369</c:v>
                </c:pt>
                <c:pt idx="28">
                  <c:v>0.7898425617721868</c:v>
                </c:pt>
                <c:pt idx="29">
                  <c:v>0.679720734590117</c:v>
                </c:pt>
                <c:pt idx="30">
                  <c:v>0.6757321765905461</c:v>
                </c:pt>
                <c:pt idx="31">
                  <c:v>0.7323652427708243</c:v>
                </c:pt>
                <c:pt idx="32">
                  <c:v>0.6880158816529097</c:v>
                </c:pt>
                <c:pt idx="33">
                  <c:v>0.6691221316556525</c:v>
                </c:pt>
                <c:pt idx="34">
                  <c:v>0.7856639308804816</c:v>
                </c:pt>
                <c:pt idx="35">
                  <c:v>0.8278143408125435</c:v>
                </c:pt>
                <c:pt idx="36">
                  <c:v>0.8742452242494204</c:v>
                </c:pt>
                <c:pt idx="37">
                  <c:v>0.8583303084912434</c:v>
                </c:pt>
                <c:pt idx="38">
                  <c:v>0.8926646450333003</c:v>
                </c:pt>
                <c:pt idx="39">
                  <c:v>0.8994534373046236</c:v>
                </c:pt>
                <c:pt idx="40">
                  <c:v>0.9113342698119011</c:v>
                </c:pt>
                <c:pt idx="41">
                  <c:v>0.9069037660761703</c:v>
                </c:pt>
                <c:pt idx="42">
                  <c:v>0.9338708454810496</c:v>
                </c:pt>
                <c:pt idx="43">
                  <c:v>0.9830055106098685</c:v>
                </c:pt>
                <c:pt idx="44">
                  <c:v>0.8571517557972818</c:v>
                </c:pt>
                <c:pt idx="45">
                  <c:v>0.8266051385012757</c:v>
                </c:pt>
                <c:pt idx="46">
                  <c:v>0.8088854857717133</c:v>
                </c:pt>
                <c:pt idx="47">
                  <c:v>0.7904734667882383</c:v>
                </c:pt>
                <c:pt idx="48">
                  <c:v>0.8427993737984854</c:v>
                </c:pt>
                <c:pt idx="49">
                  <c:v>0.8616589564998173</c:v>
                </c:pt>
                <c:pt idx="50">
                  <c:v>0.8244537571169305</c:v>
                </c:pt>
                <c:pt idx="51">
                  <c:v>0.8018857850423334</c:v>
                </c:pt>
                <c:pt idx="52">
                  <c:v>0.834266873523988</c:v>
                </c:pt>
                <c:pt idx="53">
                  <c:v>0.8045798309888252</c:v>
                </c:pt>
                <c:pt idx="54">
                  <c:v>0.8404526198076689</c:v>
                </c:pt>
                <c:pt idx="55">
                  <c:v>0.8228854879543497</c:v>
                </c:pt>
                <c:pt idx="56">
                  <c:v>0.8472076131506525</c:v>
                </c:pt>
                <c:pt idx="57">
                  <c:v>0.782513297370345</c:v>
                </c:pt>
                <c:pt idx="58">
                  <c:v>0.7453901874309175</c:v>
                </c:pt>
                <c:pt idx="59">
                  <c:v>0.8270225031067212</c:v>
                </c:pt>
                <c:pt idx="60">
                  <c:v>0.8405812707870524</c:v>
                </c:pt>
                <c:pt idx="61">
                  <c:v>0.7545995953870238</c:v>
                </c:pt>
                <c:pt idx="62">
                  <c:v>0.713362253329171</c:v>
                </c:pt>
                <c:pt idx="63">
                  <c:v>0.7760356570783263</c:v>
                </c:pt>
                <c:pt idx="64">
                  <c:v>0.7418908848172349</c:v>
                </c:pt>
                <c:pt idx="65">
                  <c:v>0.636077855572255</c:v>
                </c:pt>
                <c:pt idx="66">
                  <c:v>0.6130765803092372</c:v>
                </c:pt>
                <c:pt idx="67">
                  <c:v>0.5760267221258912</c:v>
                </c:pt>
                <c:pt idx="68">
                  <c:v>0.5484482659391361</c:v>
                </c:pt>
                <c:pt idx="69">
                  <c:v>0.5178945415584824</c:v>
                </c:pt>
                <c:pt idx="70">
                  <c:v>0.5253338503677267</c:v>
                </c:pt>
                <c:pt idx="71">
                  <c:v>0.525608591671261</c:v>
                </c:pt>
                <c:pt idx="72">
                  <c:v>0.5427204224115671</c:v>
                </c:pt>
                <c:pt idx="73">
                  <c:v>0.5289279543500817</c:v>
                </c:pt>
                <c:pt idx="74">
                  <c:v>0.5122896647821891</c:v>
                </c:pt>
                <c:pt idx="75">
                  <c:v>0.5187095423514949</c:v>
                </c:pt>
                <c:pt idx="76">
                  <c:v>0.5398790268386077</c:v>
                </c:pt>
                <c:pt idx="77">
                  <c:v>0.49241240403567615</c:v>
                </c:pt>
                <c:pt idx="78">
                  <c:v>0.48940119528316023</c:v>
                </c:pt>
                <c:pt idx="79">
                  <c:v>0.2831527531182476</c:v>
                </c:pt>
                <c:pt idx="80">
                  <c:v>0.2592186394220892</c:v>
                </c:pt>
                <c:pt idx="81">
                  <c:v>0.39823535849097935</c:v>
                </c:pt>
                <c:pt idx="82">
                  <c:v>0.39491170246537716</c:v>
                </c:pt>
                <c:pt idx="83">
                  <c:v>0.39944523453715947</c:v>
                </c:pt>
                <c:pt idx="84">
                  <c:v>0.3871550710270031</c:v>
                </c:pt>
                <c:pt idx="85">
                  <c:v>0.4270782844775448</c:v>
                </c:pt>
                <c:pt idx="86">
                  <c:v>0.48288288515512645</c:v>
                </c:pt>
                <c:pt idx="87">
                  <c:v>0.5181489972837087</c:v>
                </c:pt>
                <c:pt idx="88">
                  <c:v>0.49966189132140704</c:v>
                </c:pt>
                <c:pt idx="89">
                  <c:v>0.4733951608285421</c:v>
                </c:pt>
                <c:pt idx="90">
                  <c:v>0.48922008987148596</c:v>
                </c:pt>
                <c:pt idx="91">
                  <c:v>0.5025077550065601</c:v>
                </c:pt>
                <c:pt idx="92">
                  <c:v>0.5508441869146576</c:v>
                </c:pt>
                <c:pt idx="93">
                  <c:v>0.5257260355893368</c:v>
                </c:pt>
                <c:pt idx="94">
                  <c:v>0.5602730362246449</c:v>
                </c:pt>
                <c:pt idx="95">
                  <c:v>0.7246211400406433</c:v>
                </c:pt>
                <c:pt idx="96">
                  <c:v>0.8312520505873497</c:v>
                </c:pt>
                <c:pt idx="97">
                  <c:v>0.8757691831439987</c:v>
                </c:pt>
                <c:pt idx="98">
                  <c:v>0.91931022208573</c:v>
                </c:pt>
                <c:pt idx="99">
                  <c:v>0.88655628293483</c:v>
                </c:pt>
                <c:pt idx="100">
                  <c:v>0.9578140856767933</c:v>
                </c:pt>
                <c:pt idx="101">
                  <c:v>0.8969653020694575</c:v>
                </c:pt>
                <c:pt idx="102">
                  <c:v>0.8673949293378787</c:v>
                </c:pt>
                <c:pt idx="103">
                  <c:v>0.7291750393393567</c:v>
                </c:pt>
                <c:pt idx="104">
                  <c:v>0.8198658699026987</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82879578241518</c:v>
                </c:pt>
                <c:pt idx="1">
                  <c:v>0.8545640492909421</c:v>
                </c:pt>
                <c:pt idx="2">
                  <c:v>0.8571128096424341</c:v>
                </c:pt>
                <c:pt idx="3">
                  <c:v>0.8322466041386524</c:v>
                </c:pt>
                <c:pt idx="4">
                  <c:v>0.8797678885886024</c:v>
                </c:pt>
                <c:pt idx="5">
                  <c:v>0.9845999894860316</c:v>
                </c:pt>
                <c:pt idx="6">
                  <c:v>1.0180073925191546</c:v>
                </c:pt>
                <c:pt idx="7">
                  <c:v>1.0668093783564998</c:v>
                </c:pt>
                <c:pt idx="8">
                  <c:v>1.1487499288530976</c:v>
                </c:pt>
                <c:pt idx="9">
                  <c:v>1.1461154836380183</c:v>
                </c:pt>
                <c:pt idx="10">
                  <c:v>1.1579931855309562</c:v>
                </c:pt>
                <c:pt idx="11">
                  <c:v>1.0908732055923591</c:v>
                </c:pt>
                <c:pt idx="12">
                  <c:v>1.0643251549701673</c:v>
                </c:pt>
                <c:pt idx="13">
                  <c:v>1.1260189955699367</c:v>
                </c:pt>
                <c:pt idx="14">
                  <c:v>1.0755519936212856</c:v>
                </c:pt>
                <c:pt idx="15">
                  <c:v>1.175643571395041</c:v>
                </c:pt>
                <c:pt idx="16">
                  <c:v>1.051629740907844</c:v>
                </c:pt>
                <c:pt idx="17">
                  <c:v>1.0366716715191342</c:v>
                </c:pt>
                <c:pt idx="18">
                  <c:v>1.4315355544276576</c:v>
                </c:pt>
                <c:pt idx="19">
                  <c:v>1.7432139736294299</c:v>
                </c:pt>
                <c:pt idx="20">
                  <c:v>1.7544529663261736</c:v>
                </c:pt>
                <c:pt idx="21">
                  <c:v>1.6307907400022683</c:v>
                </c:pt>
                <c:pt idx="22">
                  <c:v>1.6322329792247199</c:v>
                </c:pt>
                <c:pt idx="23">
                  <c:v>1.5911336558270033</c:v>
                </c:pt>
                <c:pt idx="24">
                  <c:v>1.5897960958643023</c:v>
                </c:pt>
                <c:pt idx="25">
                  <c:v>1.4663887400020268</c:v>
                </c:pt>
                <c:pt idx="26">
                  <c:v>1.5359228037597623</c:v>
                </c:pt>
                <c:pt idx="27">
                  <c:v>1.3978984994605992</c:v>
                </c:pt>
                <c:pt idx="28">
                  <c:v>1.3147370771510343</c:v>
                </c:pt>
                <c:pt idx="29">
                  <c:v>1.3698458486899416</c:v>
                </c:pt>
                <c:pt idx="30">
                  <c:v>1.1917121370120765</c:v>
                </c:pt>
                <c:pt idx="31">
                  <c:v>1.1853276525407672</c:v>
                </c:pt>
                <c:pt idx="32">
                  <c:v>1.3270218268066318</c:v>
                </c:pt>
                <c:pt idx="33">
                  <c:v>1.3071082007771846</c:v>
                </c:pt>
                <c:pt idx="34">
                  <c:v>1.4057758831125342</c:v>
                </c:pt>
                <c:pt idx="35">
                  <c:v>1.222253522855538</c:v>
                </c:pt>
                <c:pt idx="36">
                  <c:v>1.2748467340282639</c:v>
                </c:pt>
                <c:pt idx="37">
                  <c:v>1.3228789204801616</c:v>
                </c:pt>
                <c:pt idx="38">
                  <c:v>1.351250098363348</c:v>
                </c:pt>
                <c:pt idx="39">
                  <c:v>1.3800665801459133</c:v>
                </c:pt>
                <c:pt idx="40">
                  <c:v>1.627584932811433</c:v>
                </c:pt>
                <c:pt idx="41">
                  <c:v>1.4913404454464425</c:v>
                </c:pt>
                <c:pt idx="42">
                  <c:v>1.3612309541162602</c:v>
                </c:pt>
                <c:pt idx="43">
                  <c:v>1.3442356441662608</c:v>
                </c:pt>
                <c:pt idx="44">
                  <c:v>1.2651345805814287</c:v>
                </c:pt>
                <c:pt idx="45">
                  <c:v>1.270964045024387</c:v>
                </c:pt>
                <c:pt idx="46">
                  <c:v>1.1960389098069657</c:v>
                </c:pt>
                <c:pt idx="47">
                  <c:v>1.0856242596382362</c:v>
                </c:pt>
                <c:pt idx="48">
                  <c:v>1.0323615046020491</c:v>
                </c:pt>
                <c:pt idx="49">
                  <c:v>1.0386997463163423</c:v>
                </c:pt>
                <c:pt idx="50">
                  <c:v>0.9161546429506316</c:v>
                </c:pt>
                <c:pt idx="51">
                  <c:v>0.7087488881211583</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933843329399032</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933843329399032</c:v>
                </c:pt>
                <c:pt idx="1">
                  <c:v>0.1933843329399032</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379280984364294</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379280984364294</c:v>
                </c:pt>
                <c:pt idx="1">
                  <c:v>0.7379280984364294</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728820985715673</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728820985715673</c:v>
                </c:pt>
                <c:pt idx="1">
                  <c:v>1.6728820985715673</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82879578241518</c:v>
                </c:pt>
                <c:pt idx="1">
                  <c:v>0.8545640492909421</c:v>
                </c:pt>
                <c:pt idx="2">
                  <c:v>0.8571128096424341</c:v>
                </c:pt>
                <c:pt idx="3">
                  <c:v>0.8322466041386524</c:v>
                </c:pt>
                <c:pt idx="4">
                  <c:v>0.8797678885886024</c:v>
                </c:pt>
                <c:pt idx="5">
                  <c:v>0.9845999894860316</c:v>
                </c:pt>
                <c:pt idx="6">
                  <c:v>1.0180073925191546</c:v>
                </c:pt>
                <c:pt idx="7">
                  <c:v>1.0668093783564998</c:v>
                </c:pt>
                <c:pt idx="8">
                  <c:v>1.1487499288530976</c:v>
                </c:pt>
                <c:pt idx="9">
                  <c:v>1.1461154836380183</c:v>
                </c:pt>
                <c:pt idx="10">
                  <c:v>1.1579931855309562</c:v>
                </c:pt>
                <c:pt idx="11">
                  <c:v>1.0908732055923591</c:v>
                </c:pt>
                <c:pt idx="12">
                  <c:v>1.0643251549701673</c:v>
                </c:pt>
                <c:pt idx="13">
                  <c:v>1.1260189955699367</c:v>
                </c:pt>
                <c:pt idx="14">
                  <c:v>1.0755519936212856</c:v>
                </c:pt>
                <c:pt idx="15">
                  <c:v>1.175643571395041</c:v>
                </c:pt>
                <c:pt idx="16">
                  <c:v>1.051629740907844</c:v>
                </c:pt>
                <c:pt idx="17">
                  <c:v>1.0366716715191342</c:v>
                </c:pt>
                <c:pt idx="18">
                  <c:v>1.4315355544276576</c:v>
                </c:pt>
                <c:pt idx="19">
                  <c:v>1.7432139736294299</c:v>
                </c:pt>
                <c:pt idx="20">
                  <c:v>1.7544529663261736</c:v>
                </c:pt>
                <c:pt idx="21">
                  <c:v>1.6307907400022683</c:v>
                </c:pt>
                <c:pt idx="22">
                  <c:v>1.6322329792247199</c:v>
                </c:pt>
                <c:pt idx="23">
                  <c:v>1.5911336558270033</c:v>
                </c:pt>
                <c:pt idx="24">
                  <c:v>1.5897960958643023</c:v>
                </c:pt>
                <c:pt idx="25">
                  <c:v>1.4663887400020268</c:v>
                </c:pt>
                <c:pt idx="26">
                  <c:v>1.5359228037597623</c:v>
                </c:pt>
                <c:pt idx="27">
                  <c:v>1.3978984994605992</c:v>
                </c:pt>
                <c:pt idx="28">
                  <c:v>1.3147370771510343</c:v>
                </c:pt>
                <c:pt idx="29">
                  <c:v>1.3698458486899416</c:v>
                </c:pt>
                <c:pt idx="30">
                  <c:v>1.1917121370120765</c:v>
                </c:pt>
                <c:pt idx="31">
                  <c:v>1.1853276525407672</c:v>
                </c:pt>
                <c:pt idx="32">
                  <c:v>1.3270218268066318</c:v>
                </c:pt>
                <c:pt idx="33">
                  <c:v>1.3071082007771846</c:v>
                </c:pt>
                <c:pt idx="34">
                  <c:v>1.4057758831125342</c:v>
                </c:pt>
                <c:pt idx="35">
                  <c:v>1.222253522855538</c:v>
                </c:pt>
                <c:pt idx="36">
                  <c:v>1.2748467340282639</c:v>
                </c:pt>
                <c:pt idx="37">
                  <c:v>1.3228789204801616</c:v>
                </c:pt>
                <c:pt idx="38">
                  <c:v>1.351250098363348</c:v>
                </c:pt>
                <c:pt idx="39">
                  <c:v>1.3800665801459133</c:v>
                </c:pt>
                <c:pt idx="40">
                  <c:v>1.627584932811433</c:v>
                </c:pt>
                <c:pt idx="41">
                  <c:v>1.4913404454464425</c:v>
                </c:pt>
                <c:pt idx="42">
                  <c:v>1.3612309541162602</c:v>
                </c:pt>
                <c:pt idx="43">
                  <c:v>1.3442356441662608</c:v>
                </c:pt>
                <c:pt idx="44">
                  <c:v>1.2651345805814287</c:v>
                </c:pt>
                <c:pt idx="45">
                  <c:v>1.270964045024387</c:v>
                </c:pt>
                <c:pt idx="46">
                  <c:v>1.1960389098069657</c:v>
                </c:pt>
                <c:pt idx="47">
                  <c:v>1.0856242596382362</c:v>
                </c:pt>
                <c:pt idx="48">
                  <c:v>1.0323615046020491</c:v>
                </c:pt>
                <c:pt idx="49">
                  <c:v>1.0386997463163423</c:v>
                </c:pt>
                <c:pt idx="50">
                  <c:v>0.9161546429506316</c:v>
                </c:pt>
                <c:pt idx="51">
                  <c:v>0.7087488881211583</c:v>
                </c:pt>
                <c:pt idx="52">
                  <c:v>0.7379280984364294</c:v>
                </c:pt>
                <c:pt idx="53">
                  <c:v>0.1933843329399032</c:v>
                </c:pt>
                <c:pt idx="54">
                  <c:v>1.6728820985715673</c:v>
                </c:pt>
              </c:numCache>
            </c:numRef>
          </c:xVal>
          <c:yVal>
            <c:numRef>
              <c:f>Sheet1!$B$187:$B$241</c:f>
              <c:numCache>
                <c:formatCode>General</c:formatCode>
                <c:ptCount val="55"/>
                <c:pt idx="0">
                  <c:v>0.1516049827143845</c:v>
                </c:pt>
                <c:pt idx="1">
                  <c:v>0.15270185703207298</c:v>
                </c:pt>
                <c:pt idx="2">
                  <c:v>0.15260312429159073</c:v>
                </c:pt>
                <c:pt idx="3">
                  <c:v>0.1535663802577099</c:v>
                </c:pt>
                <c:pt idx="4">
                  <c:v>0.15172552195879901</c:v>
                </c:pt>
                <c:pt idx="5">
                  <c:v>0.14766458284145367</c:v>
                </c:pt>
                <c:pt idx="6">
                  <c:v>0.146370461779062</c:v>
                </c:pt>
                <c:pt idx="7">
                  <c:v>0.14447999224163552</c:v>
                </c:pt>
                <c:pt idx="8">
                  <c:v>0.14130581578270884</c:v>
                </c:pt>
                <c:pt idx="9">
                  <c:v>0.14140786774517866</c:v>
                </c:pt>
                <c:pt idx="10">
                  <c:v>0.1409477546326084</c:v>
                </c:pt>
                <c:pt idx="11">
                  <c:v>0.14354781844659964</c:v>
                </c:pt>
                <c:pt idx="12">
                  <c:v>0.14457622497797695</c:v>
                </c:pt>
                <c:pt idx="13">
                  <c:v>0.14218635652693826</c:v>
                </c:pt>
                <c:pt idx="14">
                  <c:v>0.1441413247150598</c:v>
                </c:pt>
                <c:pt idx="15">
                  <c:v>0.14026402186584994</c:v>
                </c:pt>
                <c:pt idx="16">
                  <c:v>0.14506801425945887</c:v>
                </c:pt>
                <c:pt idx="17">
                  <c:v>0.1456474532727055</c:v>
                </c:pt>
                <c:pt idx="18">
                  <c:v>0.1303513924821369</c:v>
                </c:pt>
                <c:pt idx="19">
                  <c:v>0.11827773304257988</c:v>
                </c:pt>
                <c:pt idx="20">
                  <c:v>0.11784236196167001</c:v>
                </c:pt>
                <c:pt idx="21">
                  <c:v>0.12263273407019157</c:v>
                </c:pt>
                <c:pt idx="22">
                  <c:v>0.12257686525114773</c:v>
                </c:pt>
                <c:pt idx="23">
                  <c:v>0.1241689524902036</c:v>
                </c:pt>
                <c:pt idx="24">
                  <c:v>0.12422076629082218</c:v>
                </c:pt>
                <c:pt idx="25">
                  <c:v>0.12900126534120002</c:v>
                </c:pt>
                <c:pt idx="26">
                  <c:v>0.1263076858261042</c:v>
                </c:pt>
                <c:pt idx="27">
                  <c:v>0.13165440969860645</c:v>
                </c:pt>
                <c:pt idx="28">
                  <c:v>0.13487587974470824</c:v>
                </c:pt>
                <c:pt idx="29">
                  <c:v>0.13274110075873558</c:v>
                </c:pt>
                <c:pt idx="30">
                  <c:v>0.13964156494554367</c:v>
                </c:pt>
                <c:pt idx="31">
                  <c:v>0.13988888425434004</c:v>
                </c:pt>
                <c:pt idx="32">
                  <c:v>0.13439999859765364</c:v>
                </c:pt>
                <c:pt idx="33">
                  <c:v>0.13517140375140796</c:v>
                </c:pt>
                <c:pt idx="34">
                  <c:v>0.131349259127926</c:v>
                </c:pt>
                <c:pt idx="35">
                  <c:v>0.13845846637737702</c:v>
                </c:pt>
                <c:pt idx="36">
                  <c:v>0.13642113404567932</c:v>
                </c:pt>
                <c:pt idx="37">
                  <c:v>0.1345604846531332</c:v>
                </c:pt>
                <c:pt idx="38">
                  <c:v>0.1334614546319403</c:v>
                </c:pt>
                <c:pt idx="39">
                  <c:v>0.13234517462712014</c:v>
                </c:pt>
                <c:pt idx="40">
                  <c:v>0.12275691919776682</c:v>
                </c:pt>
                <c:pt idx="41">
                  <c:v>0.12803469731655603</c:v>
                </c:pt>
                <c:pt idx="42">
                  <c:v>0.1330748206982062</c:v>
                </c:pt>
                <c:pt idx="43">
                  <c:v>0.13373317742669427</c:v>
                </c:pt>
                <c:pt idx="44">
                  <c:v>0.13679735910945537</c:v>
                </c:pt>
                <c:pt idx="45">
                  <c:v>0.13657153991870247</c:v>
                </c:pt>
                <c:pt idx="46">
                  <c:v>0.13947395635290635</c:v>
                </c:pt>
                <c:pt idx="47">
                  <c:v>0.1437511497713318</c:v>
                </c:pt>
                <c:pt idx="48">
                  <c:v>0.14581441859426292</c:v>
                </c:pt>
                <c:pt idx="49">
                  <c:v>0.14556889061674058</c:v>
                </c:pt>
                <c:pt idx="50">
                  <c:v>0.15031598811489963</c:v>
                </c:pt>
                <c:pt idx="51">
                  <c:v>0.15835037963943505</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8.1761</c:v>
                </c:pt>
                <c:pt idx="1">
                  <c:v>911.0634</c:v>
                </c:pt>
                <c:pt idx="2">
                  <c:v>968.6595</c:v>
                </c:pt>
                <c:pt idx="3">
                  <c:v>987.3204</c:v>
                </c:pt>
                <c:pt idx="4">
                  <c:v>990.227</c:v>
                </c:pt>
                <c:pt idx="5">
                  <c:v>980.3256</c:v>
                </c:pt>
                <c:pt idx="6">
                  <c:v>944.2583</c:v>
                </c:pt>
                <c:pt idx="7">
                  <c:v>969.0574</c:v>
                </c:pt>
                <c:pt idx="8">
                  <c:v>960.4141</c:v>
                </c:pt>
                <c:pt idx="9">
                  <c:v>954.7406</c:v>
                </c:pt>
                <c:pt idx="10">
                  <c:v>966.177</c:v>
                </c:pt>
                <c:pt idx="11">
                  <c:v>1000.8886</c:v>
                </c:pt>
                <c:pt idx="12">
                  <c:v>990.8587</c:v>
                </c:pt>
                <c:pt idx="13">
                  <c:v>966.4811</c:v>
                </c:pt>
                <c:pt idx="14">
                  <c:v>976.9045</c:v>
                </c:pt>
                <c:pt idx="15">
                  <c:v>975.3004</c:v>
                </c:pt>
                <c:pt idx="16">
                  <c:v>968.7332</c:v>
                </c:pt>
                <c:pt idx="17">
                  <c:v>988.2932</c:v>
                </c:pt>
                <c:pt idx="18">
                  <c:v>1039.9413</c:v>
                </c:pt>
                <c:pt idx="19">
                  <c:v>1069.8372</c:v>
                </c:pt>
                <c:pt idx="20">
                  <c:v>1043.2562</c:v>
                </c:pt>
                <c:pt idx="21">
                  <c:v>1061.739</c:v>
                </c:pt>
                <c:pt idx="22">
                  <c:v>1057.3631</c:v>
                </c:pt>
                <c:pt idx="23">
                  <c:v>1042.0837</c:v>
                </c:pt>
                <c:pt idx="24">
                  <c:v>1030.4888</c:v>
                </c:pt>
                <c:pt idx="25">
                  <c:v>1019.1494</c:v>
                </c:pt>
                <c:pt idx="26">
                  <c:v>1021.4856</c:v>
                </c:pt>
                <c:pt idx="27">
                  <c:v>1031.098</c:v>
                </c:pt>
                <c:pt idx="28">
                  <c:v>1021.3887</c:v>
                </c:pt>
                <c:pt idx="29">
                  <c:v>883.2158</c:v>
                </c:pt>
                <c:pt idx="30">
                  <c:v>934.7935</c:v>
                </c:pt>
                <c:pt idx="31">
                  <c:v>954.8756</c:v>
                </c:pt>
                <c:pt idx="32">
                  <c:v>938.2035</c:v>
                </c:pt>
                <c:pt idx="33">
                  <c:v>884.0368</c:v>
                </c:pt>
                <c:pt idx="34">
                  <c:v>995.1085</c:v>
                </c:pt>
                <c:pt idx="35">
                  <c:v>1040.2416</c:v>
                </c:pt>
                <c:pt idx="36">
                  <c:v>1122.986</c:v>
                </c:pt>
                <c:pt idx="37">
                  <c:v>1127.0016</c:v>
                </c:pt>
                <c:pt idx="38">
                  <c:v>1181.1627</c:v>
                </c:pt>
                <c:pt idx="39">
                  <c:v>1193.9389</c:v>
                </c:pt>
                <c:pt idx="40">
                  <c:v>1202.8136</c:v>
                </c:pt>
                <c:pt idx="41">
                  <c:v>1229.4703</c:v>
                </c:pt>
                <c:pt idx="42">
                  <c:v>1281.2708</c:v>
                </c:pt>
                <c:pt idx="43">
                  <c:v>1282.6713</c:v>
                </c:pt>
                <c:pt idx="44">
                  <c:v>1102.2189</c:v>
                </c:pt>
                <c:pt idx="45">
                  <c:v>1024.9869</c:v>
                </c:pt>
                <c:pt idx="46">
                  <c:v>1014.1422</c:v>
                </c:pt>
                <c:pt idx="47">
                  <c:v>998.6392</c:v>
                </c:pt>
                <c:pt idx="48">
                  <c:v>1005.9194</c:v>
                </c:pt>
                <c:pt idx="49">
                  <c:v>993.9224</c:v>
                </c:pt>
                <c:pt idx="50">
                  <c:v>994.8249</c:v>
                </c:pt>
                <c:pt idx="51">
                  <c:v>1021.2665</c:v>
                </c:pt>
                <c:pt idx="52">
                  <c:v>1028.4827</c:v>
                </c:pt>
                <c:pt idx="53">
                  <c:v>1077.98</c:v>
                </c:pt>
                <c:pt idx="54">
                  <c:v>1090.5946</c:v>
                </c:pt>
                <c:pt idx="55">
                  <c:v>1104.8853</c:v>
                </c:pt>
                <c:pt idx="56">
                  <c:v>1130.5196</c:v>
                </c:pt>
                <c:pt idx="57">
                  <c:v>1108.9906</c:v>
                </c:pt>
                <c:pt idx="58">
                  <c:v>1085.7955</c:v>
                </c:pt>
                <c:pt idx="59">
                  <c:v>1071.2726</c:v>
                </c:pt>
                <c:pt idx="60">
                  <c:v>1108.4488</c:v>
                </c:pt>
                <c:pt idx="61">
                  <c:v>1088.4088</c:v>
                </c:pt>
                <c:pt idx="62">
                  <c:v>1076.572</c:v>
                </c:pt>
                <c:pt idx="63">
                  <c:v>1109.3997</c:v>
                </c:pt>
                <c:pt idx="64">
                  <c:v>1113.1819</c:v>
                </c:pt>
                <c:pt idx="65">
                  <c:v>1097.5802</c:v>
                </c:pt>
                <c:pt idx="66">
                  <c:v>1024.3213</c:v>
                </c:pt>
                <c:pt idx="67">
                  <c:v>986.9105</c:v>
                </c:pt>
                <c:pt idx="68">
                  <c:v>967.2387</c:v>
                </c:pt>
                <c:pt idx="69">
                  <c:v>973.7072</c:v>
                </c:pt>
                <c:pt idx="70">
                  <c:v>922.8462</c:v>
                </c:pt>
                <c:pt idx="71">
                  <c:v>972.2467</c:v>
                </c:pt>
                <c:pt idx="72">
                  <c:v>1042.9403</c:v>
                </c:pt>
                <c:pt idx="73">
                  <c:v>1022.1803</c:v>
                </c:pt>
                <c:pt idx="74">
                  <c:v>1007.0664</c:v>
                </c:pt>
                <c:pt idx="75">
                  <c:v>970.249</c:v>
                </c:pt>
                <c:pt idx="76">
                  <c:v>992.1697</c:v>
                </c:pt>
                <c:pt idx="77">
                  <c:v>950.1833</c:v>
                </c:pt>
                <c:pt idx="78">
                  <c:v>1031.2823</c:v>
                </c:pt>
                <c:pt idx="79">
                  <c:v>558.8463</c:v>
                </c:pt>
                <c:pt idx="80">
                  <c:v>565.0296</c:v>
                </c:pt>
                <c:pt idx="81">
                  <c:v>792.5794</c:v>
                </c:pt>
                <c:pt idx="82">
                  <c:v>777.1234</c:v>
                </c:pt>
                <c:pt idx="83">
                  <c:v>812.9807</c:v>
                </c:pt>
                <c:pt idx="84">
                  <c:v>834.5934</c:v>
                </c:pt>
                <c:pt idx="85">
                  <c:v>915.9416</c:v>
                </c:pt>
                <c:pt idx="86">
                  <c:v>1072.1412</c:v>
                </c:pt>
                <c:pt idx="87">
                  <c:v>1103.7526</c:v>
                </c:pt>
                <c:pt idx="88">
                  <c:v>1083.9769</c:v>
                </c:pt>
                <c:pt idx="89">
                  <c:v>1004.4837</c:v>
                </c:pt>
                <c:pt idx="90">
                  <c:v>1078.3785</c:v>
                </c:pt>
                <c:pt idx="91">
                  <c:v>1103.2806</c:v>
                </c:pt>
                <c:pt idx="92">
                  <c:v>1141.6687</c:v>
                </c:pt>
                <c:pt idx="93">
                  <c:v>1192.7748</c:v>
                </c:pt>
                <c:pt idx="94">
                  <c:v>1172.2558</c:v>
                </c:pt>
                <c:pt idx="95">
                  <c:v>1210.5407</c:v>
                </c:pt>
                <c:pt idx="96">
                  <c:v>1160.6326</c:v>
                </c:pt>
                <c:pt idx="97">
                  <c:v>1181.1245</c:v>
                </c:pt>
                <c:pt idx="98">
                  <c:v>1178.2208</c:v>
                </c:pt>
                <c:pt idx="99">
                  <c:v>1140.0995</c:v>
                </c:pt>
                <c:pt idx="100">
                  <c:v>1145.885</c:v>
                </c:pt>
                <c:pt idx="101">
                  <c:v>1153.9255</c:v>
                </c:pt>
                <c:pt idx="102">
                  <c:v>1196.4621</c:v>
                </c:pt>
                <c:pt idx="103">
                  <c:v>995.7276</c:v>
                </c:pt>
                <c:pt idx="104">
                  <c:v>1102.6158</c:v>
                </c:pt>
              </c:numCache>
            </c:numRef>
          </c:xVal>
          <c:yVal>
            <c:numRef>
              <c:f>Sheet1!$B$2:$B$106</c:f>
              <c:numCache>
                <c:formatCode>General</c:formatCode>
                <c:ptCount val="105"/>
                <c:pt idx="0">
                  <c:v>0.18013064523708822</c:v>
                </c:pt>
                <c:pt idx="1">
                  <c:v>0.18313556652315446</c:v>
                </c:pt>
                <c:pt idx="2">
                  <c:v>0.1671339334021937</c:v>
                </c:pt>
                <c:pt idx="3">
                  <c:v>0.1689617257448034</c:v>
                </c:pt>
                <c:pt idx="4">
                  <c:v>0.16980541825689796</c:v>
                </c:pt>
                <c:pt idx="5">
                  <c:v>0.16667719719466734</c:v>
                </c:pt>
                <c:pt idx="6">
                  <c:v>0.1880583868126337</c:v>
                </c:pt>
                <c:pt idx="7">
                  <c:v>0.18816559172041397</c:v>
                </c:pt>
                <c:pt idx="8">
                  <c:v>0.1927606101319845</c:v>
                </c:pt>
                <c:pt idx="9">
                  <c:v>0.18334996120164063</c:v>
                </c:pt>
                <c:pt idx="10">
                  <c:v>0.19528710725893825</c:v>
                </c:pt>
                <c:pt idx="11">
                  <c:v>0.19107892991377404</c:v>
                </c:pt>
                <c:pt idx="12">
                  <c:v>0.18849023816825106</c:v>
                </c:pt>
                <c:pt idx="13">
                  <c:v>0.19152741581072102</c:v>
                </c:pt>
                <c:pt idx="14">
                  <c:v>0.1809938883879371</c:v>
                </c:pt>
                <c:pt idx="15">
                  <c:v>0.18140355144733641</c:v>
                </c:pt>
                <c:pt idx="16">
                  <c:v>0.17399763741227156</c:v>
                </c:pt>
                <c:pt idx="17">
                  <c:v>0.1614045663476754</c:v>
                </c:pt>
                <c:pt idx="18">
                  <c:v>0.14760367097212782</c:v>
                </c:pt>
                <c:pt idx="19">
                  <c:v>0.1393558841401661</c:v>
                </c:pt>
                <c:pt idx="20">
                  <c:v>0.154280494893299</c:v>
                </c:pt>
                <c:pt idx="21">
                  <c:v>0.1537790380630385</c:v>
                </c:pt>
                <c:pt idx="22">
                  <c:v>0.1515340613624545</c:v>
                </c:pt>
                <c:pt idx="23">
                  <c:v>0.15676457498887406</c:v>
                </c:pt>
                <c:pt idx="24">
                  <c:v>0.15540333299253656</c:v>
                </c:pt>
                <c:pt idx="25">
                  <c:v>0.15793799906059183</c:v>
                </c:pt>
                <c:pt idx="26">
                  <c:v>0.1618177957103419</c:v>
                </c:pt>
                <c:pt idx="27">
                  <c:v>0.1457833733013589</c:v>
                </c:pt>
                <c:pt idx="28">
                  <c:v>0.15520568816658203</c:v>
                </c:pt>
                <c:pt idx="29">
                  <c:v>0.18026818222182756</c:v>
                </c:pt>
                <c:pt idx="30">
                  <c:v>0.1622303809086737</c:v>
                </c:pt>
                <c:pt idx="31">
                  <c:v>0.1502607561929596</c:v>
                </c:pt>
                <c:pt idx="32">
                  <c:v>0.15237686447043675</c:v>
                </c:pt>
                <c:pt idx="33">
                  <c:v>0.1779085183957574</c:v>
                </c:pt>
                <c:pt idx="34">
                  <c:v>0.16593470941297028</c:v>
                </c:pt>
                <c:pt idx="35">
                  <c:v>0.16005379959650304</c:v>
                </c:pt>
                <c:pt idx="36">
                  <c:v>0.12070356624172987</c:v>
                </c:pt>
                <c:pt idx="37">
                  <c:v>0.11137636580662932</c:v>
                </c:pt>
                <c:pt idx="38">
                  <c:v>0.10377181459936198</c:v>
                </c:pt>
                <c:pt idx="39">
                  <c:v>0.10308378588052754</c:v>
                </c:pt>
                <c:pt idx="40">
                  <c:v>0.10689357697435495</c:v>
                </c:pt>
                <c:pt idx="41">
                  <c:v>0.09853377552801536</c:v>
                </c:pt>
                <c:pt idx="42">
                  <c:v>0.09769294356353798</c:v>
                </c:pt>
                <c:pt idx="43">
                  <c:v>0.10342019543973942</c:v>
                </c:pt>
                <c:pt idx="44">
                  <c:v>0.12742204542538174</c:v>
                </c:pt>
                <c:pt idx="45">
                  <c:v>0.15294117647058825</c:v>
                </c:pt>
                <c:pt idx="46">
                  <c:v>0.16033534189153786</c:v>
                </c:pt>
                <c:pt idx="47">
                  <c:v>0.16124442393477925</c:v>
                </c:pt>
                <c:pt idx="48">
                  <c:v>0.18115414754281875</c:v>
                </c:pt>
                <c:pt idx="49">
                  <c:v>0.2045031117453522</c:v>
                </c:pt>
                <c:pt idx="50">
                  <c:v>0.16875099569858212</c:v>
                </c:pt>
                <c:pt idx="51">
                  <c:v>0.14886991461577098</c:v>
                </c:pt>
                <c:pt idx="52">
                  <c:v>0.16416530037415394</c:v>
                </c:pt>
                <c:pt idx="53">
                  <c:v>0.15446559297218154</c:v>
                </c:pt>
                <c:pt idx="54">
                  <c:v>0.15147126969416125</c:v>
                </c:pt>
                <c:pt idx="55">
                  <c:v>0.1404629358335775</c:v>
                </c:pt>
                <c:pt idx="56">
                  <c:v>0.1472411655300682</c:v>
                </c:pt>
                <c:pt idx="57">
                  <c:v>0.1448726047588966</c:v>
                </c:pt>
                <c:pt idx="58">
                  <c:v>0.16426870410795794</c:v>
                </c:pt>
                <c:pt idx="59">
                  <c:v>0.17178955308316046</c:v>
                </c:pt>
                <c:pt idx="60">
                  <c:v>0.18454629695630478</c:v>
                </c:pt>
                <c:pt idx="61">
                  <c:v>0.19185958541382964</c:v>
                </c:pt>
                <c:pt idx="62">
                  <c:v>0.1876284717242698</c:v>
                </c:pt>
                <c:pt idx="63">
                  <c:v>0.19769364859428776</c:v>
                </c:pt>
                <c:pt idx="64">
                  <c:v>0.1820503939735042</c:v>
                </c:pt>
                <c:pt idx="65">
                  <c:v>0.16634920634920636</c:v>
                </c:pt>
                <c:pt idx="66">
                  <c:v>0.17541264043645105</c:v>
                </c:pt>
                <c:pt idx="67">
                  <c:v>0.17423722162268224</c:v>
                </c:pt>
                <c:pt idx="68">
                  <c:v>0.15800537194908326</c:v>
                </c:pt>
                <c:pt idx="69">
                  <c:v>0.14384022739172714</c:v>
                </c:pt>
                <c:pt idx="70">
                  <c:v>0.13335724533715926</c:v>
                </c:pt>
                <c:pt idx="71">
                  <c:v>0.14770133681121617</c:v>
                </c:pt>
                <c:pt idx="72">
                  <c:v>0.1442196754095839</c:v>
                </c:pt>
                <c:pt idx="73">
                  <c:v>0.1500462068386121</c:v>
                </c:pt>
                <c:pt idx="74">
                  <c:v>0.14988639034709708</c:v>
                </c:pt>
                <c:pt idx="75">
                  <c:v>0.15783220617802962</c:v>
                </c:pt>
                <c:pt idx="76">
                  <c:v>0.15141893232784281</c:v>
                </c:pt>
                <c:pt idx="77">
                  <c:v>0.1518469252020874</c:v>
                </c:pt>
                <c:pt idx="78">
                  <c:v>0.13427723224480476</c:v>
                </c:pt>
                <c:pt idx="79">
                  <c:v>0.22261970280682444</c:v>
                </c:pt>
                <c:pt idx="80">
                  <c:v>0.2048519960170182</c:v>
                </c:pt>
                <c:pt idx="81">
                  <c:v>0.15341184061945476</c:v>
                </c:pt>
                <c:pt idx="82">
                  <c:v>0.1533046127981507</c:v>
                </c:pt>
                <c:pt idx="83">
                  <c:v>0.12947067238912732</c:v>
                </c:pt>
                <c:pt idx="84">
                  <c:v>0.13296969696969696</c:v>
                </c:pt>
                <c:pt idx="85">
                  <c:v>0.13965060878771837</c:v>
                </c:pt>
                <c:pt idx="86">
                  <c:v>0.12634624658415045</c:v>
                </c:pt>
                <c:pt idx="87">
                  <c:v>0.13741216009776963</c:v>
                </c:pt>
                <c:pt idx="88">
                  <c:v>0.11929859127179589</c:v>
                </c:pt>
                <c:pt idx="89">
                  <c:v>0.12012208415086113</c:v>
                </c:pt>
                <c:pt idx="90">
                  <c:v>0.11932584269662921</c:v>
                </c:pt>
                <c:pt idx="91">
                  <c:v>0.11101360245721807</c:v>
                </c:pt>
                <c:pt idx="92">
                  <c:v>0.1151499527369597</c:v>
                </c:pt>
                <c:pt idx="93">
                  <c:v>0.10761132926727379</c:v>
                </c:pt>
                <c:pt idx="94">
                  <c:v>0.10874638289928125</c:v>
                </c:pt>
                <c:pt idx="95">
                  <c:v>0.10892722149680434</c:v>
                </c:pt>
                <c:pt idx="96">
                  <c:v>0.10903028365230896</c:v>
                </c:pt>
                <c:pt idx="97">
                  <c:v>0.12121212121212122</c:v>
                </c:pt>
                <c:pt idx="98">
                  <c:v>0.1361499077008812</c:v>
                </c:pt>
                <c:pt idx="99">
                  <c:v>0.14062219025355152</c:v>
                </c:pt>
                <c:pt idx="100">
                  <c:v>0.15778351203452418</c:v>
                </c:pt>
                <c:pt idx="101">
                  <c:v>0.14885465397644781</c:v>
                </c:pt>
                <c:pt idx="102">
                  <c:v>0.12255983703955185</c:v>
                </c:pt>
                <c:pt idx="103">
                  <c:v>0.14550627943485087</c:v>
                </c:pt>
                <c:pt idx="104">
                  <c:v>0.147711184521000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numCache>
            </c:numRef>
          </c:xVal>
          <c:yVal>
            <c:numRef>
              <c:f>Sheet1!$B$109:$B$160</c:f>
              <c:numCache>
                <c:formatCode>General</c:formatCode>
                <c:ptCount val="52"/>
                <c:pt idx="0">
                  <c:v>0.1378477690288714</c:v>
                </c:pt>
                <c:pt idx="1">
                  <c:v>0.15615733228892742</c:v>
                </c:pt>
                <c:pt idx="2">
                  <c:v>0.16306989404102265</c:v>
                </c:pt>
                <c:pt idx="3">
                  <c:v>0.17776984288920628</c:v>
                </c:pt>
                <c:pt idx="4">
                  <c:v>0.16863219964199222</c:v>
                </c:pt>
                <c:pt idx="5">
                  <c:v>0.1615228534814182</c:v>
                </c:pt>
                <c:pt idx="6">
                  <c:v>0.15738838034746871</c:v>
                </c:pt>
                <c:pt idx="7">
                  <c:v>0.1466932835340331</c:v>
                </c:pt>
                <c:pt idx="8">
                  <c:v>0.14589888051510938</c:v>
                </c:pt>
                <c:pt idx="9">
                  <c:v>0.1522819103133073</c:v>
                </c:pt>
                <c:pt idx="10">
                  <c:v>0.16207255233389675</c:v>
                </c:pt>
                <c:pt idx="11">
                  <c:v>0.16789243333483733</c:v>
                </c:pt>
                <c:pt idx="12">
                  <c:v>0.16908238303314505</c:v>
                </c:pt>
                <c:pt idx="13">
                  <c:v>0.16468748189770027</c:v>
                </c:pt>
                <c:pt idx="14">
                  <c:v>0.168</c:v>
                </c:pt>
                <c:pt idx="15">
                  <c:v>0.1576949152542373</c:v>
                </c:pt>
                <c:pt idx="16">
                  <c:v>0.1426175836460912</c:v>
                </c:pt>
                <c:pt idx="17">
                  <c:v>0.12390719569603229</c:v>
                </c:pt>
                <c:pt idx="18">
                  <c:v>0.1228340392760878</c:v>
                </c:pt>
                <c:pt idx="19">
                  <c:v>0.12964031544527793</c:v>
                </c:pt>
                <c:pt idx="20">
                  <c:v>0.12141398947029118</c:v>
                </c:pt>
                <c:pt idx="21">
                  <c:v>0.1324313776505789</c:v>
                </c:pt>
                <c:pt idx="22">
                  <c:v>0.13037267887287365</c:v>
                </c:pt>
                <c:pt idx="23">
                  <c:v>0.13134206219312602</c:v>
                </c:pt>
                <c:pt idx="24">
                  <c:v>0.12495337560611712</c:v>
                </c:pt>
                <c:pt idx="25">
                  <c:v>0.12900693444982336</c:v>
                </c:pt>
                <c:pt idx="26">
                  <c:v>0.1162983098924477</c:v>
                </c:pt>
                <c:pt idx="27">
                  <c:v>0.11635553669919389</c:v>
                </c:pt>
                <c:pt idx="28">
                  <c:v>0.12524519419380148</c:v>
                </c:pt>
                <c:pt idx="29">
                  <c:v>0.12612612612612611</c:v>
                </c:pt>
                <c:pt idx="30">
                  <c:v>0.13112164296998421</c:v>
                </c:pt>
                <c:pt idx="31">
                  <c:v>0.1366147664490206</c:v>
                </c:pt>
                <c:pt idx="32">
                  <c:v>0.14156957573092988</c:v>
                </c:pt>
                <c:pt idx="33">
                  <c:v>0.1551163586584531</c:v>
                </c:pt>
                <c:pt idx="34">
                  <c:v>0.16903611032129656</c:v>
                </c:pt>
                <c:pt idx="35">
                  <c:v>0.16276428446618907</c:v>
                </c:pt>
                <c:pt idx="36">
                  <c:v>0.13385170785892808</c:v>
                </c:pt>
                <c:pt idx="37">
                  <c:v>0.1177727501256913</c:v>
                </c:pt>
                <c:pt idx="38">
                  <c:v>0.12428896473265073</c:v>
                </c:pt>
                <c:pt idx="39">
                  <c:v>0.1378099173553719</c:v>
                </c:pt>
                <c:pt idx="40">
                  <c:v>0.12076816471985745</c:v>
                </c:pt>
                <c:pt idx="41">
                  <c:v>0.12161151617124696</c:v>
                </c:pt>
                <c:pt idx="42">
                  <c:v>0.12205521799381729</c:v>
                </c:pt>
                <c:pt idx="43">
                  <c:v>0.11295169119346637</c:v>
                </c:pt>
                <c:pt idx="44">
                  <c:v>0.10617314774358655</c:v>
                </c:pt>
                <c:pt idx="45">
                  <c:v>0.11564097881665449</c:v>
                </c:pt>
                <c:pt idx="46">
                  <c:v>0.10919076078178</c:v>
                </c:pt>
                <c:pt idx="47">
                  <c:v>0.10936718984304708</c:v>
                </c:pt>
                <c:pt idx="48">
                  <c:v>0.10291468806287866</c:v>
                </c:pt>
                <c:pt idx="49">
                  <c:v>0.11870391928599146</c:v>
                </c:pt>
                <c:pt idx="50">
                  <c:v>0.15355640979334897</c:v>
                </c:pt>
                <c:pt idx="51">
                  <c:v>0.1422852298417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7.0252985260495</c:v>
                </c:pt>
              </c:numCache>
            </c:numRef>
          </c:xVal>
          <c:yVal>
            <c:numRef>
              <c:f>Sheet1!$B$163:$B$164</c:f>
              <c:numCache>
                <c:formatCode>General</c:formatCode>
                <c:ptCount val="2"/>
                <c:pt idx="0">
                  <c:v>0.17831434166931526</c:v>
                </c:pt>
                <c:pt idx="1">
                  <c:v>0.1783143416693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7.0252985260495</c:v>
                </c:pt>
                <c:pt idx="1">
                  <c:v>1007.0252985260495</c:v>
                </c:pt>
              </c:numCache>
            </c:numRef>
          </c:xVal>
          <c:yVal>
            <c:numRef>
              <c:f>Sheet1!$B$167:$B$168</c:f>
              <c:numCache>
                <c:formatCode>General</c:formatCode>
                <c:ptCount val="2"/>
                <c:pt idx="0">
                  <c:v>0.1783143416693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21.53541186983</c:v>
                </c:pt>
              </c:numCache>
            </c:numRef>
          </c:xVal>
          <c:yVal>
            <c:numRef>
              <c:f>Sheet1!$B$171:$B$172</c:f>
              <c:numCache>
                <c:formatCode>General</c:formatCode>
                <c:ptCount val="2"/>
                <c:pt idx="0">
                  <c:v>0.15722004841867215</c:v>
                </c:pt>
                <c:pt idx="1">
                  <c:v>0.1572200484186721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21.53541186983</c:v>
                </c:pt>
                <c:pt idx="1">
                  <c:v>1121.53541186983</c:v>
                </c:pt>
              </c:numCache>
            </c:numRef>
          </c:xVal>
          <c:yVal>
            <c:numRef>
              <c:f>Sheet1!$B$175:$B$176</c:f>
              <c:numCache>
                <c:formatCode>General</c:formatCode>
                <c:ptCount val="2"/>
                <c:pt idx="0">
                  <c:v>0.157220048418672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14346306857</c:v>
                </c:pt>
              </c:numCache>
            </c:numRef>
          </c:xVal>
          <c:yVal>
            <c:numRef>
              <c:f>Sheet1!$B$179:$B$180</c:f>
              <c:numCache>
                <c:formatCode>General</c:formatCode>
                <c:ptCount val="2"/>
                <c:pt idx="0">
                  <c:v>0.12100221781559967</c:v>
                </c:pt>
                <c:pt idx="1">
                  <c:v>0.1210022178155996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14346306857</c:v>
                </c:pt>
                <c:pt idx="1">
                  <c:v>1318.14346306857</c:v>
                </c:pt>
              </c:numCache>
            </c:numRef>
          </c:xVal>
          <c:yVal>
            <c:numRef>
              <c:f>Sheet1!$B$183:$B$184</c:f>
              <c:numCache>
                <c:formatCode>General</c:formatCode>
                <c:ptCount val="2"/>
                <c:pt idx="0">
                  <c:v>0.12100221781559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9779</c:v>
                </c:pt>
                <c:pt idx="1">
                  <c:v>1150.6869</c:v>
                </c:pt>
                <c:pt idx="2">
                  <c:v>1134.0829</c:v>
                </c:pt>
                <c:pt idx="3">
                  <c:v>1139.423</c:v>
                </c:pt>
                <c:pt idx="4">
                  <c:v>1150.5176</c:v>
                </c:pt>
                <c:pt idx="5">
                  <c:v>1166.8397</c:v>
                </c:pt>
                <c:pt idx="6">
                  <c:v>1107.143</c:v>
                </c:pt>
                <c:pt idx="7">
                  <c:v>1183.0373</c:v>
                </c:pt>
                <c:pt idx="8">
                  <c:v>1287.657</c:v>
                </c:pt>
                <c:pt idx="9">
                  <c:v>1246.1936</c:v>
                </c:pt>
                <c:pt idx="10">
                  <c:v>1260.6201</c:v>
                </c:pt>
                <c:pt idx="11">
                  <c:v>1118.9549</c:v>
                </c:pt>
                <c:pt idx="12">
                  <c:v>1129.226</c:v>
                </c:pt>
                <c:pt idx="13">
                  <c:v>1188.2508</c:v>
                </c:pt>
                <c:pt idx="14">
                  <c:v>1181.6595</c:v>
                </c:pt>
                <c:pt idx="15">
                  <c:v>1217.1539</c:v>
                </c:pt>
                <c:pt idx="16">
                  <c:v>1259.0106</c:v>
                </c:pt>
                <c:pt idx="17">
                  <c:v>1231.3385</c:v>
                </c:pt>
                <c:pt idx="18">
                  <c:v>1214.2077</c:v>
                </c:pt>
                <c:pt idx="19">
                  <c:v>1327.8019</c:v>
                </c:pt>
                <c:pt idx="20">
                  <c:v>1340.9177</c:v>
                </c:pt>
                <c:pt idx="21">
                  <c:v>1264.0639</c:v>
                </c:pt>
                <c:pt idx="22">
                  <c:v>1262.1803</c:v>
                </c:pt>
                <c:pt idx="23">
                  <c:v>1257.1765</c:v>
                </c:pt>
                <c:pt idx="24">
                  <c:v>1255.7731</c:v>
                </c:pt>
                <c:pt idx="25">
                  <c:v>1201.0325</c:v>
                </c:pt>
                <c:pt idx="26">
                  <c:v>1241.0224</c:v>
                </c:pt>
                <c:pt idx="27">
                  <c:v>1260.2835</c:v>
                </c:pt>
                <c:pt idx="28">
                  <c:v>1257.6625</c:v>
                </c:pt>
                <c:pt idx="29">
                  <c:v>1277.6381</c:v>
                </c:pt>
                <c:pt idx="30">
                  <c:v>1215.0287</c:v>
                </c:pt>
                <c:pt idx="31">
                  <c:v>1112.3833</c:v>
                </c:pt>
                <c:pt idx="32">
                  <c:v>1162.4053</c:v>
                </c:pt>
                <c:pt idx="33">
                  <c:v>1215.1368</c:v>
                </c:pt>
                <c:pt idx="34">
                  <c:v>1239.3129</c:v>
                </c:pt>
                <c:pt idx="35">
                  <c:v>1214.8529</c:v>
                </c:pt>
                <c:pt idx="36">
                  <c:v>1228.1338</c:v>
                </c:pt>
                <c:pt idx="37">
                  <c:v>1316.8794</c:v>
                </c:pt>
                <c:pt idx="38">
                  <c:v>1303.3295</c:v>
                </c:pt>
                <c:pt idx="39">
                  <c:v>1268.506</c:v>
                </c:pt>
                <c:pt idx="40">
                  <c:v>1295.9549</c:v>
                </c:pt>
                <c:pt idx="41">
                  <c:v>1348.9231</c:v>
                </c:pt>
                <c:pt idx="42">
                  <c:v>1323.4489</c:v>
                </c:pt>
                <c:pt idx="43">
                  <c:v>1331.5798</c:v>
                </c:pt>
                <c:pt idx="44">
                  <c:v>1296.057</c:v>
                </c:pt>
                <c:pt idx="45">
                  <c:v>1237.2033</c:v>
                </c:pt>
                <c:pt idx="46">
                  <c:v>1241.2554</c:v>
                </c:pt>
                <c:pt idx="47">
                  <c:v>1231.3615</c:v>
                </c:pt>
                <c:pt idx="48">
                  <c:v>1229.4101</c:v>
                </c:pt>
                <c:pt idx="49">
                  <c:v>1259.5404</c:v>
                </c:pt>
                <c:pt idx="50">
                  <c:v>1108.7582</c:v>
                </c:pt>
                <c:pt idx="51">
                  <c:v>1066.9841</c:v>
                </c:pt>
                <c:pt idx="52">
                  <c:v>1121.53541186983</c:v>
                </c:pt>
                <c:pt idx="53">
                  <c:v>1007.0252985260495</c:v>
                </c:pt>
                <c:pt idx="54">
                  <c:v>1318.14346306857</c:v>
                </c:pt>
              </c:numCache>
            </c:numRef>
          </c:xVal>
          <c:yVal>
            <c:numRef>
              <c:f>Sheet1!$B$187:$B$241</c:f>
              <c:numCache>
                <c:formatCode>General</c:formatCode>
                <c:ptCount val="55"/>
                <c:pt idx="0">
                  <c:v>0.1435067472169612</c:v>
                </c:pt>
                <c:pt idx="1">
                  <c:v>0.15184995470944396</c:v>
                </c:pt>
                <c:pt idx="2">
                  <c:v>0.1549086334139367</c:v>
                </c:pt>
                <c:pt idx="3">
                  <c:v>0.15392491562606261</c:v>
                </c:pt>
                <c:pt idx="4">
                  <c:v>0.15188114203205721</c:v>
                </c:pt>
                <c:pt idx="5">
                  <c:v>0.14887439307502265</c:v>
                </c:pt>
                <c:pt idx="6">
                  <c:v>0.1598713230327735</c:v>
                </c:pt>
                <c:pt idx="7">
                  <c:v>0.14589057868187083</c:v>
                </c:pt>
                <c:pt idx="8">
                  <c:v>0.12661823174978068</c:v>
                </c:pt>
                <c:pt idx="9">
                  <c:v>0.13425634416822602</c:v>
                </c:pt>
                <c:pt idx="10">
                  <c:v>0.13159879006497588</c:v>
                </c:pt>
                <c:pt idx="11">
                  <c:v>0.15769541319239777</c:v>
                </c:pt>
                <c:pt idx="12">
                  <c:v>0.1558033393040747</c:v>
                </c:pt>
                <c:pt idx="13">
                  <c:v>0.14493018230594495</c:v>
                </c:pt>
                <c:pt idx="14">
                  <c:v>0.14614438785550674</c:v>
                </c:pt>
                <c:pt idx="15">
                  <c:v>0.1396058450098822</c:v>
                </c:pt>
                <c:pt idx="16">
                  <c:v>0.13189528147517107</c:v>
                </c:pt>
                <c:pt idx="17">
                  <c:v>0.13699285211950948</c:v>
                </c:pt>
                <c:pt idx="18">
                  <c:v>0.14014857442443154</c:v>
                </c:pt>
                <c:pt idx="19">
                  <c:v>0.11922300465245517</c:v>
                </c:pt>
                <c:pt idx="20">
                  <c:v>0.1168068990060816</c:v>
                </c:pt>
                <c:pt idx="21">
                  <c:v>0.13096439608024132</c:v>
                </c:pt>
                <c:pt idx="22">
                  <c:v>0.13131138037365153</c:v>
                </c:pt>
                <c:pt idx="23">
                  <c:v>0.13223314720703752</c:v>
                </c:pt>
                <c:pt idx="24">
                  <c:v>0.1324916722428051</c:v>
                </c:pt>
                <c:pt idx="25">
                  <c:v>0.1425756223446576</c:v>
                </c:pt>
                <c:pt idx="26">
                  <c:v>0.13520894831883268</c:v>
                </c:pt>
                <c:pt idx="27">
                  <c:v>0.13166079628347338</c:v>
                </c:pt>
                <c:pt idx="28">
                  <c:v>0.13214361951188075</c:v>
                </c:pt>
                <c:pt idx="29">
                  <c:v>0.12846384702757177</c:v>
                </c:pt>
                <c:pt idx="30">
                  <c:v>0.13999733525216046</c:v>
                </c:pt>
                <c:pt idx="31">
                  <c:v>0.15890598973867848</c:v>
                </c:pt>
                <c:pt idx="32">
                  <c:v>0.14969126881865086</c:v>
                </c:pt>
                <c:pt idx="33">
                  <c:v>0.13997742178745584</c:v>
                </c:pt>
                <c:pt idx="34">
                  <c:v>0.13552386106547992</c:v>
                </c:pt>
                <c:pt idx="35">
                  <c:v>0.1400297199616431</c:v>
                </c:pt>
                <c:pt idx="36">
                  <c:v>0.13758320068878727</c:v>
                </c:pt>
                <c:pt idx="37">
                  <c:v>0.12123507512642664</c:v>
                </c:pt>
                <c:pt idx="38">
                  <c:v>0.12373114779433841</c:v>
                </c:pt>
                <c:pt idx="39">
                  <c:v>0.13014610189370632</c:v>
                </c:pt>
                <c:pt idx="40">
                  <c:v>0.12508964767232883</c:v>
                </c:pt>
                <c:pt idx="41">
                  <c:v>0.11533219733775188</c:v>
                </c:pt>
                <c:pt idx="42">
                  <c:v>0.12002488542821141</c:v>
                </c:pt>
                <c:pt idx="43">
                  <c:v>0.11852706498263443</c:v>
                </c:pt>
                <c:pt idx="44">
                  <c:v>0.1250708394878113</c:v>
                </c:pt>
                <c:pt idx="45">
                  <c:v>0.13591247757927166</c:v>
                </c:pt>
                <c:pt idx="46">
                  <c:v>0.1351660266048995</c:v>
                </c:pt>
                <c:pt idx="47">
                  <c:v>0.13698861521212555</c:v>
                </c:pt>
                <c:pt idx="48">
                  <c:v>0.13734808917165017</c:v>
                </c:pt>
                <c:pt idx="49">
                  <c:v>0.1317976852346483</c:v>
                </c:pt>
                <c:pt idx="50">
                  <c:v>0.1595737816064005</c:v>
                </c:pt>
                <c:pt idx="51">
                  <c:v>0.16726912911720232</c:v>
                </c:pt>
                <c:pt idx="52">
                  <c:v>0.15722004841867215</c:v>
                </c:pt>
                <c:pt idx="53">
                  <c:v>0.17831434166931526</c:v>
                </c:pt>
                <c:pt idx="54">
                  <c:v>0.12100221781559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9.0"/>
          <c:min val="44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71436433681893"/>
          <c:min val="0.078154354850830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035207384306694</c:v>
                </c:pt>
                <c:pt idx="2">
                  <c:v>0.0</c:v>
                </c:pt>
                <c:pt idx="3">
                  <c:v>2.758110049592807</c:v>
                </c:pt>
                <c:pt idx="4">
                  <c:v>2.912050923205791</c:v>
                </c:pt>
                <c:pt idx="5">
                  <c:v>2.094188968461492</c:v>
                </c:pt>
                <c:pt idx="6">
                  <c:v>1.3286609813900672</c:v>
                </c:pt>
                <c:pt idx="7">
                  <c:v>1.5276740468930494</c:v>
                </c:pt>
                <c:pt idx="8">
                  <c:v>1.9949768272604336</c:v>
                </c:pt>
                <c:pt idx="9">
                  <c:v>1.6684748277316515</c:v>
                </c:pt>
                <c:pt idx="10">
                  <c:v>1.521181170382552</c:v>
                </c:pt>
                <c:pt idx="11">
                  <c:v>1.7316017029167177</c:v>
                </c:pt>
                <c:pt idx="12">
                  <c:v>1.48410487018817</c:v>
                </c:pt>
                <c:pt idx="13">
                  <c:v>1.411622244239089</c:v>
                </c:pt>
                <c:pt idx="14">
                  <c:v>1.1571582825078102</c:v>
                </c:pt>
                <c:pt idx="15">
                  <c:v>1.1556220311547512</c:v>
                </c:pt>
                <c:pt idx="16">
                  <c:v>1.066884226456114</c:v>
                </c:pt>
                <c:pt idx="17">
                  <c:v>0.8559456654219529</c:v>
                </c:pt>
                <c:pt idx="18">
                  <c:v>0.615472821401795</c:v>
                </c:pt>
                <c:pt idx="19">
                  <c:v>0.8229277505155733</c:v>
                </c:pt>
                <c:pt idx="20">
                  <c:v>0.7847529147386176</c:v>
                </c:pt>
                <c:pt idx="21">
                  <c:v>0.7023648145501943</c:v>
                </c:pt>
                <c:pt idx="22">
                  <c:v>0.34458767998424467</c:v>
                </c:pt>
                <c:pt idx="23">
                  <c:v>0.46874552348380394</c:v>
                </c:pt>
                <c:pt idx="24">
                  <c:v>1.8336844683795086</c:v>
                </c:pt>
                <c:pt idx="25">
                  <c:v>2.025594431926206</c:v>
                </c:pt>
                <c:pt idx="26">
                  <c:v>1.9071080995335215</c:v>
                </c:pt>
                <c:pt idx="27">
                  <c:v>1.3125230248635547</c:v>
                </c:pt>
                <c:pt idx="28">
                  <c:v>1.968756874929509</c:v>
                </c:pt>
                <c:pt idx="29">
                  <c:v>1.683468644491498</c:v>
                </c:pt>
                <c:pt idx="30">
                  <c:v>1.5872375163335508</c:v>
                </c:pt>
                <c:pt idx="31">
                  <c:v>1.7471559819698839</c:v>
                </c:pt>
                <c:pt idx="32">
                  <c:v>1.8605533553336417</c:v>
                </c:pt>
                <c:pt idx="33">
                  <c:v>1.6137814657020155</c:v>
                </c:pt>
                <c:pt idx="34">
                  <c:v>1.478782904085297</c:v>
                </c:pt>
                <c:pt idx="35">
                  <c:v>1.9833616959640092</c:v>
                </c:pt>
                <c:pt idx="36">
                  <c:v>2.096202355871827</c:v>
                </c:pt>
                <c:pt idx="37">
                  <c:v>1.8364348677766897</c:v>
                </c:pt>
                <c:pt idx="38">
                  <c:v>1.7386119281964056</c:v>
                </c:pt>
                <c:pt idx="39">
                  <c:v>1.8783537978303941</c:v>
                </c:pt>
                <c:pt idx="40">
                  <c:v>1.6248715241843341</c:v>
                </c:pt>
                <c:pt idx="41">
                  <c:v>1.9780589903376953</c:v>
                </c:pt>
                <c:pt idx="42">
                  <c:v>1.833018073228026</c:v>
                </c:pt>
                <c:pt idx="43">
                  <c:v>2.183357710088325</c:v>
                </c:pt>
                <c:pt idx="44">
                  <c:v>2.686418697937003</c:v>
                </c:pt>
                <c:pt idx="45">
                  <c:v>2.4468928583731966</c:v>
                </c:pt>
                <c:pt idx="46">
                  <c:v>2.570002394950288</c:v>
                </c:pt>
                <c:pt idx="47">
                  <c:v>2.5997528002692185</c:v>
                </c:pt>
                <c:pt idx="48">
                  <c:v>2.69147089090975</c:v>
                </c:pt>
                <c:pt idx="49">
                  <c:v>3.274627173572244</c:v>
                </c:pt>
                <c:pt idx="50">
                  <c:v>2.837301443251272</c:v>
                </c:pt>
                <c:pt idx="51">
                  <c:v>2.7911110553692433</c:v>
                </c:pt>
                <c:pt idx="52">
                  <c:v>2.9897011732091663</c:v>
                </c:pt>
                <c:pt idx="53">
                  <c:v>3.175897448785886</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3.2706474542811628</c:v>
                </c:pt>
                <c:pt idx="1">
                  <c:v>2.7642097491071795</c:v>
                </c:pt>
                <c:pt idx="2">
                  <c:v>3.291428039794033</c:v>
                </c:pt>
                <c:pt idx="3">
                  <c:v>2.6592118285609523</c:v>
                </c:pt>
                <c:pt idx="4">
                  <c:v>3.4211977460852077</c:v>
                </c:pt>
                <c:pt idx="5">
                  <c:v>4.0847438519653485</c:v>
                </c:pt>
                <c:pt idx="6">
                  <c:v>4.146509674096732</c:v>
                </c:pt>
                <c:pt idx="7">
                  <c:v>3.7849047354833507</c:v>
                </c:pt>
                <c:pt idx="8">
                  <c:v>3.6327570865437164</c:v>
                </c:pt>
                <c:pt idx="9">
                  <c:v>3.74641462297095</c:v>
                </c:pt>
                <c:pt idx="10">
                  <c:v>3.92962212508846</c:v>
                </c:pt>
                <c:pt idx="11">
                  <c:v>3.8921168706685028</c:v>
                </c:pt>
                <c:pt idx="12">
                  <c:v>3.586355292435737</c:v>
                </c:pt>
                <c:pt idx="13">
                  <c:v>3.227349170650729</c:v>
                </c:pt>
                <c:pt idx="14">
                  <c:v>3.0903170606942676</c:v>
                </c:pt>
                <c:pt idx="15">
                  <c:v>3.495137102116219</c:v>
                </c:pt>
                <c:pt idx="16">
                  <c:v>3.1277873069609536</c:v>
                </c:pt>
                <c:pt idx="17">
                  <c:v>2.459069461144592</c:v>
                </c:pt>
                <c:pt idx="18">
                  <c:v>4.825495012588638</c:v>
                </c:pt>
                <c:pt idx="19">
                  <c:v>5.6978290334642</c:v>
                </c:pt>
                <c:pt idx="20">
                  <c:v>5.378767513387193</c:v>
                </c:pt>
                <c:pt idx="21">
                  <c:v>4.865506300739508</c:v>
                </c:pt>
                <c:pt idx="22">
                  <c:v>5.162876814791557</c:v>
                </c:pt>
                <c:pt idx="23">
                  <c:v>3.8888073956950753</c:v>
                </c:pt>
                <c:pt idx="24">
                  <c:v>5.044351551730184</c:v>
                </c:pt>
                <c:pt idx="25">
                  <c:v>4.518557312759678</c:v>
                </c:pt>
                <c:pt idx="26">
                  <c:v>4.898032532015244</c:v>
                </c:pt>
                <c:pt idx="27">
                  <c:v>4.080333241713935</c:v>
                </c:pt>
                <c:pt idx="28">
                  <c:v>4.00387773803702</c:v>
                </c:pt>
                <c:pt idx="29">
                  <c:v>3.918189961803927</c:v>
                </c:pt>
                <c:pt idx="30">
                  <c:v>3.510885224060129</c:v>
                </c:pt>
                <c:pt idx="31">
                  <c:v>3.9771278623737643</c:v>
                </c:pt>
                <c:pt idx="32">
                  <c:v>4.815659767950331</c:v>
                </c:pt>
                <c:pt idx="33">
                  <c:v>4.984151887160317</c:v>
                </c:pt>
                <c:pt idx="34">
                  <c:v>5.315118064434751</c:v>
                </c:pt>
                <c:pt idx="35">
                  <c:v>3.9434461722282244</c:v>
                </c:pt>
                <c:pt idx="36">
                  <c:v>4.384945887198737</c:v>
                </c:pt>
                <c:pt idx="37">
                  <c:v>4.166053887591002</c:v>
                </c:pt>
                <c:pt idx="38">
                  <c:v>3.7230909242277193</c:v>
                </c:pt>
                <c:pt idx="39">
                  <c:v>3.462549565479634</c:v>
                </c:pt>
                <c:pt idx="40">
                  <c:v>4.051282138228716</c:v>
                </c:pt>
                <c:pt idx="41">
                  <c:v>3.7919598568850676</c:v>
                </c:pt>
                <c:pt idx="42">
                  <c:v>3.3668171021231084</c:v>
                </c:pt>
                <c:pt idx="43">
                  <c:v>3.480451401903784</c:v>
                </c:pt>
                <c:pt idx="44">
                  <c:v>3.975447511913803</c:v>
                </c:pt>
                <c:pt idx="45">
                  <c:v>4.285448805156245</c:v>
                </c:pt>
                <c:pt idx="46">
                  <c:v>3.9555174709087986</c:v>
                </c:pt>
                <c:pt idx="47">
                  <c:v>3.5857518337343643</c:v>
                </c:pt>
                <c:pt idx="48">
                  <c:v>3.0364312125311232</c:v>
                </c:pt>
                <c:pt idx="49">
                  <c:v>3.1313631410394387</c:v>
                </c:pt>
                <c:pt idx="50">
                  <c:v>3.3892978560115496</c:v>
                </c:pt>
                <c:pt idx="51">
                  <c:v>2.798603444969478</c:v>
                </c:pt>
              </c:numCache>
            </c:numRef>
          </c:xVal>
          <c:yVal>
            <c:numRef>
              <c:f>Sheet1!$B$58:$B$109</c:f>
              <c:numCache>
                <c:formatCode>General</c:formatCode>
                <c:ptCount val="52"/>
                <c:pt idx="0">
                  <c:v>0.0028871391076115485</c:v>
                </c:pt>
                <c:pt idx="1">
                  <c:v>0.0036367705477535948</c:v>
                </c:pt>
                <c:pt idx="2">
                  <c:v>0.0032079323417906094</c:v>
                </c:pt>
                <c:pt idx="3">
                  <c:v>0.003672719853091206</c:v>
                </c:pt>
                <c:pt idx="4">
                  <c:v>0.0034747815099505108</c:v>
                </c:pt>
                <c:pt idx="5">
                  <c:v>0.0030435711234515165</c:v>
                </c:pt>
                <c:pt idx="6">
                  <c:v>0.0031757892770409115</c:v>
                </c:pt>
                <c:pt idx="7">
                  <c:v>0.003863738811256359</c:v>
                </c:pt>
                <c:pt idx="8">
                  <c:v>0.004755981561425331</c:v>
                </c:pt>
                <c:pt idx="9">
                  <c:v>0.004702921110154335</c:v>
                </c:pt>
                <c:pt idx="10">
                  <c:v>0.0044857625796385385</c:v>
                </c:pt>
                <c:pt idx="11">
                  <c:v>0.0043766638090511215</c:v>
                </c:pt>
                <c:pt idx="12">
                  <c:v>0.004689331770222743</c:v>
                </c:pt>
                <c:pt idx="13">
                  <c:v>0.007125065168278978</c:v>
                </c:pt>
                <c:pt idx="14">
                  <c:v>0.007047619047619047</c:v>
                </c:pt>
                <c:pt idx="15">
                  <c:v>0.006711864406779661</c:v>
                </c:pt>
                <c:pt idx="16">
                  <c:v>0.006547951768745508</c:v>
                </c:pt>
                <c:pt idx="17">
                  <c:v>0.008658372562205783</c:v>
                </c:pt>
                <c:pt idx="18">
                  <c:v>0.004524451289949942</c:v>
                </c:pt>
                <c:pt idx="19">
                  <c:v>0.0042315829967301405</c:v>
                </c:pt>
                <c:pt idx="20">
                  <c:v>0.005264854410658644</c:v>
                </c:pt>
                <c:pt idx="21">
                  <c:v>0.006374398334851047</c:v>
                </c:pt>
                <c:pt idx="22">
                  <c:v>0.00558369042981431</c:v>
                </c:pt>
                <c:pt idx="23">
                  <c:v>0.0061374795417348605</c:v>
                </c:pt>
                <c:pt idx="24">
                  <c:v>0.005346263831903519</c:v>
                </c:pt>
                <c:pt idx="25">
                  <c:v>0.0056260630642417896</c:v>
                </c:pt>
                <c:pt idx="26">
                  <c:v>0.005318520269471693</c:v>
                </c:pt>
                <c:pt idx="27">
                  <c:v>0.0057276198557488335</c:v>
                </c:pt>
                <c:pt idx="28">
                  <c:v>0.004609650843468027</c:v>
                </c:pt>
                <c:pt idx="29">
                  <c:v>0.005645645645645646</c:v>
                </c:pt>
                <c:pt idx="30">
                  <c:v>0.005468465184104995</c:v>
                </c:pt>
                <c:pt idx="31">
                  <c:v>0.005650426921145153</c:v>
                </c:pt>
                <c:pt idx="32">
                  <c:v>0.004726313475489119</c:v>
                </c:pt>
                <c:pt idx="33">
                  <c:v>0.0037645448323066393</c:v>
                </c:pt>
                <c:pt idx="34">
                  <c:v>0.0037674154108615298</c:v>
                </c:pt>
                <c:pt idx="35">
                  <c:v>0.005067272409575397</c:v>
                </c:pt>
                <c:pt idx="36">
                  <c:v>0.006109414051652319</c:v>
                </c:pt>
                <c:pt idx="37">
                  <c:v>0.00628456510809452</c:v>
                </c:pt>
                <c:pt idx="38">
                  <c:v>0.007679180887372013</c:v>
                </c:pt>
                <c:pt idx="39">
                  <c:v>0.0070247933884297524</c:v>
                </c:pt>
                <c:pt idx="40">
                  <c:v>0.006236388833894278</c:v>
                </c:pt>
                <c:pt idx="41">
                  <c:v>0.00532809871003926</c:v>
                </c:pt>
                <c:pt idx="42">
                  <c:v>0.006076111288775184</c:v>
                </c:pt>
                <c:pt idx="43">
                  <c:v>0.00462285229986902</c:v>
                </c:pt>
                <c:pt idx="44">
                  <c:v>0.0032457399662942387</c:v>
                </c:pt>
                <c:pt idx="45">
                  <c:v>0.002602264426588751</c:v>
                </c:pt>
                <c:pt idx="46">
                  <c:v>0.0028536046949873472</c:v>
                </c:pt>
                <c:pt idx="47">
                  <c:v>0.0026492052384284714</c:v>
                </c:pt>
                <c:pt idx="48">
                  <c:v>0.002947437366955952</c:v>
                </c:pt>
                <c:pt idx="49">
                  <c:v>0.0026775320139697323</c:v>
                </c:pt>
                <c:pt idx="50">
                  <c:v>0.0021413276231263384</c:v>
                </c:pt>
                <c:pt idx="51">
                  <c:v>0.002825923134890731</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107.86246356577006</c:v>
                </c:pt>
              </c:numCache>
            </c:numRef>
          </c:xVal>
          <c:yVal>
            <c:numRef>
              <c:f>Sheet1!$B$112:$B$113</c:f>
              <c:numCache>
                <c:formatCode>General</c:formatCode>
                <c:ptCount val="2"/>
                <c:pt idx="0">
                  <c:v>0.005749295327298884</c:v>
                </c:pt>
                <c:pt idx="1">
                  <c:v>0.005749295327298884</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107.86246356577006</c:v>
                </c:pt>
                <c:pt idx="1">
                  <c:v>107.86246356577006</c:v>
                </c:pt>
              </c:numCache>
            </c:numRef>
          </c:xVal>
          <c:yVal>
            <c:numRef>
              <c:f>Sheet1!$B$116:$B$117</c:f>
              <c:numCache>
                <c:formatCode>General</c:formatCode>
                <c:ptCount val="2"/>
                <c:pt idx="0">
                  <c:v>0.0057492953272988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107.86246356577006</c:v>
                </c:pt>
              </c:numCache>
            </c:numRef>
          </c:xVal>
          <c:yVal>
            <c:numRef>
              <c:f>Sheet1!$B$120:$B$121</c:f>
              <c:numCache>
                <c:formatCode>General</c:formatCode>
                <c:ptCount val="2"/>
                <c:pt idx="0">
                  <c:v>0.005749295327298884</c:v>
                </c:pt>
                <c:pt idx="1">
                  <c:v>0.005749295327298884</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107.86246356577006</c:v>
                </c:pt>
                <c:pt idx="1">
                  <c:v>107.86246356577006</c:v>
                </c:pt>
              </c:numCache>
            </c:numRef>
          </c:xVal>
          <c:yVal>
            <c:numRef>
              <c:f>Sheet1!$B$124:$B$125</c:f>
              <c:numCache>
                <c:formatCode>General</c:formatCode>
                <c:ptCount val="2"/>
                <c:pt idx="0">
                  <c:v>0.0057492953272988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92.62945114742963</c:v>
                </c:pt>
              </c:numCache>
            </c:numRef>
          </c:xVal>
          <c:yVal>
            <c:numRef>
              <c:f>Sheet1!$B$128:$B$129</c:f>
              <c:numCache>
                <c:formatCode>General</c:formatCode>
                <c:ptCount val="2"/>
                <c:pt idx="0">
                  <c:v>0.0039408676143268505</c:v>
                </c:pt>
                <c:pt idx="1">
                  <c:v>0.003940867614326850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92.62945114742963</c:v>
                </c:pt>
                <c:pt idx="1">
                  <c:v>-92.62945114742963</c:v>
                </c:pt>
              </c:numCache>
            </c:numRef>
          </c:xVal>
          <c:yVal>
            <c:numRef>
              <c:f>Sheet1!$B$132:$B$133</c:f>
              <c:numCache>
                <c:formatCode>General</c:formatCode>
                <c:ptCount val="2"/>
                <c:pt idx="0">
                  <c:v>0.00394086761432685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3.2706474542811628</c:v>
                </c:pt>
                <c:pt idx="1">
                  <c:v>2.7642097491071795</c:v>
                </c:pt>
                <c:pt idx="2">
                  <c:v>3.291428039794033</c:v>
                </c:pt>
                <c:pt idx="3">
                  <c:v>2.6592118285609523</c:v>
                </c:pt>
                <c:pt idx="4">
                  <c:v>3.4211977460852077</c:v>
                </c:pt>
                <c:pt idx="5">
                  <c:v>4.0847438519653485</c:v>
                </c:pt>
                <c:pt idx="6">
                  <c:v>4.146509674096732</c:v>
                </c:pt>
                <c:pt idx="7">
                  <c:v>3.7849047354833507</c:v>
                </c:pt>
                <c:pt idx="8">
                  <c:v>3.6327570865437164</c:v>
                </c:pt>
                <c:pt idx="9">
                  <c:v>3.74641462297095</c:v>
                </c:pt>
                <c:pt idx="10">
                  <c:v>3.92962212508846</c:v>
                </c:pt>
                <c:pt idx="11">
                  <c:v>3.8921168706685028</c:v>
                </c:pt>
                <c:pt idx="12">
                  <c:v>3.586355292435737</c:v>
                </c:pt>
                <c:pt idx="13">
                  <c:v>3.227349170650729</c:v>
                </c:pt>
                <c:pt idx="14">
                  <c:v>3.0903170606942676</c:v>
                </c:pt>
                <c:pt idx="15">
                  <c:v>3.495137102116219</c:v>
                </c:pt>
                <c:pt idx="16">
                  <c:v>3.1277873069609536</c:v>
                </c:pt>
                <c:pt idx="17">
                  <c:v>2.459069461144592</c:v>
                </c:pt>
                <c:pt idx="18">
                  <c:v>4.825495012588638</c:v>
                </c:pt>
                <c:pt idx="19">
                  <c:v>5.6978290334642</c:v>
                </c:pt>
                <c:pt idx="20">
                  <c:v>5.378767513387193</c:v>
                </c:pt>
                <c:pt idx="21">
                  <c:v>4.865506300739508</c:v>
                </c:pt>
                <c:pt idx="22">
                  <c:v>5.162876814791557</c:v>
                </c:pt>
                <c:pt idx="23">
                  <c:v>3.8888073956950753</c:v>
                </c:pt>
                <c:pt idx="24">
                  <c:v>5.044351551730184</c:v>
                </c:pt>
                <c:pt idx="25">
                  <c:v>4.518557312759678</c:v>
                </c:pt>
                <c:pt idx="26">
                  <c:v>4.898032532015244</c:v>
                </c:pt>
                <c:pt idx="27">
                  <c:v>4.080333241713935</c:v>
                </c:pt>
                <c:pt idx="28">
                  <c:v>4.00387773803702</c:v>
                </c:pt>
                <c:pt idx="29">
                  <c:v>3.918189961803927</c:v>
                </c:pt>
                <c:pt idx="30">
                  <c:v>3.510885224060129</c:v>
                </c:pt>
                <c:pt idx="31">
                  <c:v>3.9771278623737643</c:v>
                </c:pt>
                <c:pt idx="32">
                  <c:v>4.815659767950331</c:v>
                </c:pt>
                <c:pt idx="33">
                  <c:v>4.984151887160317</c:v>
                </c:pt>
                <c:pt idx="34">
                  <c:v>5.315118064434751</c:v>
                </c:pt>
                <c:pt idx="35">
                  <c:v>3.9434461722282244</c:v>
                </c:pt>
                <c:pt idx="36">
                  <c:v>4.384945887198737</c:v>
                </c:pt>
                <c:pt idx="37">
                  <c:v>4.166053887591002</c:v>
                </c:pt>
                <c:pt idx="38">
                  <c:v>3.7230909242277193</c:v>
                </c:pt>
                <c:pt idx="39">
                  <c:v>3.462549565479634</c:v>
                </c:pt>
                <c:pt idx="40">
                  <c:v>4.051282138228716</c:v>
                </c:pt>
                <c:pt idx="41">
                  <c:v>3.7919598568850676</c:v>
                </c:pt>
                <c:pt idx="42">
                  <c:v>3.3668171021231084</c:v>
                </c:pt>
                <c:pt idx="43">
                  <c:v>3.480451401903784</c:v>
                </c:pt>
                <c:pt idx="44">
                  <c:v>3.975447511913803</c:v>
                </c:pt>
                <c:pt idx="45">
                  <c:v>4.285448805156245</c:v>
                </c:pt>
                <c:pt idx="46">
                  <c:v>3.9555174709087986</c:v>
                </c:pt>
                <c:pt idx="47">
                  <c:v>3.5857518337343643</c:v>
                </c:pt>
                <c:pt idx="48">
                  <c:v>3.0364312125311232</c:v>
                </c:pt>
                <c:pt idx="49">
                  <c:v>3.1313631410394387</c:v>
                </c:pt>
                <c:pt idx="50">
                  <c:v>3.3892978560115496</c:v>
                </c:pt>
                <c:pt idx="51">
                  <c:v>2.798603444969478</c:v>
                </c:pt>
                <c:pt idx="52">
                  <c:v>107.86246356577006</c:v>
                </c:pt>
                <c:pt idx="53">
                  <c:v>107.86246356577006</c:v>
                </c:pt>
                <c:pt idx="54">
                  <c:v>-92.62945114742963</c:v>
                </c:pt>
              </c:numCache>
            </c:numRef>
          </c:xVal>
          <c:yVal>
            <c:numRef>
              <c:f>Sheet1!$B$136:$B$190</c:f>
              <c:numCache>
                <c:formatCode>General</c:formatCode>
                <c:ptCount val="55"/>
                <c:pt idx="0">
                  <c:v>0.0048058820276819765</c:v>
                </c:pt>
                <c:pt idx="1">
                  <c:v>0.004801313983218734</c:v>
                </c:pt>
                <c:pt idx="2">
                  <c:v>0.004806069467593392</c:v>
                </c:pt>
                <c:pt idx="3">
                  <c:v>0.004800366906876069</c:v>
                </c:pt>
                <c:pt idx="4">
                  <c:v>0.004807239984287279</c:v>
                </c:pt>
                <c:pt idx="5">
                  <c:v>0.004813225139192028</c:v>
                </c:pt>
                <c:pt idx="6">
                  <c:v>0.004813782264024801</c:v>
                </c:pt>
                <c:pt idx="7">
                  <c:v>0.004810520604356023</c:v>
                </c:pt>
                <c:pt idx="8">
                  <c:v>0.004809148239663913</c:v>
                </c:pt>
                <c:pt idx="9">
                  <c:v>0.004810173425337645</c:v>
                </c:pt>
                <c:pt idx="10">
                  <c:v>0.0048118259484557354</c:v>
                </c:pt>
                <c:pt idx="11">
                  <c:v>0.0048114876528113845</c:v>
                </c:pt>
                <c:pt idx="12">
                  <c:v>0.004808729697646812</c:v>
                </c:pt>
                <c:pt idx="13">
                  <c:v>0.00480549147918453</c:v>
                </c:pt>
                <c:pt idx="14">
                  <c:v>0.004804255455948547</c:v>
                </c:pt>
                <c:pt idx="15">
                  <c:v>0.004807906913827639</c:v>
                </c:pt>
                <c:pt idx="16">
                  <c:v>0.004804593435820989</c:v>
                </c:pt>
                <c:pt idx="17">
                  <c:v>0.0047985616320634005</c:v>
                </c:pt>
                <c:pt idx="18">
                  <c:v>0.004819906680087099</c:v>
                </c:pt>
                <c:pt idx="19">
                  <c:v>0.004827775092240159</c:v>
                </c:pt>
                <c:pt idx="20">
                  <c:v>0.004824897172220913</c:v>
                </c:pt>
                <c:pt idx="21">
                  <c:v>0.004820267580038737</c:v>
                </c:pt>
                <c:pt idx="22">
                  <c:v>0.004822949848196043</c:v>
                </c:pt>
                <c:pt idx="23">
                  <c:v>0.00481145780150159</c:v>
                </c:pt>
                <c:pt idx="24">
                  <c:v>0.004821880755855266</c:v>
                </c:pt>
                <c:pt idx="25">
                  <c:v>0.004817138116360624</c:v>
                </c:pt>
                <c:pt idx="26">
                  <c:v>0.004820560965126718</c:v>
                </c:pt>
                <c:pt idx="27">
                  <c:v>0.00481318535569342</c:v>
                </c:pt>
                <c:pt idx="28">
                  <c:v>0.004812495730618732</c:v>
                </c:pt>
                <c:pt idx="29">
                  <c:v>0.004811722830876493</c:v>
                </c:pt>
                <c:pt idx="30">
                  <c:v>0.004808048961152547</c:v>
                </c:pt>
                <c:pt idx="31">
                  <c:v>0.00481225444798877</c:v>
                </c:pt>
                <c:pt idx="32">
                  <c:v>0.004819817966639511</c:v>
                </c:pt>
                <c:pt idx="33">
                  <c:v>0.0048213377576906</c:v>
                </c:pt>
                <c:pt idx="34">
                  <c:v>0.00482432305716213</c:v>
                </c:pt>
                <c:pt idx="35">
                  <c:v>0.004811950640715714</c:v>
                </c:pt>
                <c:pt idx="36">
                  <c:v>0.004815932947538231</c:v>
                </c:pt>
                <c:pt idx="37">
                  <c:v>0.004813958551918314</c:v>
                </c:pt>
                <c:pt idx="38">
                  <c:v>0.00480996304666359</c:v>
                </c:pt>
                <c:pt idx="39">
                  <c:v>0.004807612975768165</c:v>
                </c:pt>
                <c:pt idx="40">
                  <c:v>0.004812923316095913</c:v>
                </c:pt>
                <c:pt idx="41">
                  <c:v>0.004810584241221777</c:v>
                </c:pt>
                <c:pt idx="42">
                  <c:v>0.004806749473416898</c:v>
                </c:pt>
                <c:pt idx="43">
                  <c:v>0.0048077744494971625</c:v>
                </c:pt>
                <c:pt idx="44">
                  <c:v>0.00481223929130605</c:v>
                </c:pt>
                <c:pt idx="45">
                  <c:v>0.0048150354885021255</c:v>
                </c:pt>
                <c:pt idx="46">
                  <c:v>0.004812059523266398</c:v>
                </c:pt>
                <c:pt idx="47">
                  <c:v>0.0048087242544774915</c:v>
                </c:pt>
                <c:pt idx="48">
                  <c:v>0.004803769408113178</c:v>
                </c:pt>
                <c:pt idx="49">
                  <c:v>0.004804625689677479</c:v>
                </c:pt>
                <c:pt idx="50">
                  <c:v>0.004806952248767707</c:v>
                </c:pt>
                <c:pt idx="51">
                  <c:v>0.004801624212750123</c:v>
                </c:pt>
                <c:pt idx="52">
                  <c:v>0.005749295327298884</c:v>
                </c:pt>
                <c:pt idx="53">
                  <c:v>0.005749295327298884</c:v>
                </c:pt>
                <c:pt idx="54">
                  <c:v>0.00394086761432685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3900470746469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8871391076115485</c:v>
                </c:pt>
                <c:pt idx="1">
                  <c:v>0.0036367705477535948</c:v>
                </c:pt>
                <c:pt idx="2">
                  <c:v>0.0032079323417906094</c:v>
                </c:pt>
                <c:pt idx="3">
                  <c:v>0.003672719853091206</c:v>
                </c:pt>
                <c:pt idx="4">
                  <c:v>0.0034747815099505108</c:v>
                </c:pt>
                <c:pt idx="5">
                  <c:v>0.0030435711234515165</c:v>
                </c:pt>
                <c:pt idx="6">
                  <c:v>0.0031757892770409115</c:v>
                </c:pt>
                <c:pt idx="7">
                  <c:v>0.003863738811256359</c:v>
                </c:pt>
                <c:pt idx="8">
                  <c:v>0.004755981561425331</c:v>
                </c:pt>
                <c:pt idx="9">
                  <c:v>0.004702921110154335</c:v>
                </c:pt>
                <c:pt idx="10">
                  <c:v>0.0044857625796385385</c:v>
                </c:pt>
                <c:pt idx="11">
                  <c:v>0.0043766638090511215</c:v>
                </c:pt>
                <c:pt idx="12">
                  <c:v>0.004689331770222743</c:v>
                </c:pt>
                <c:pt idx="13">
                  <c:v>0.007125065168278978</c:v>
                </c:pt>
                <c:pt idx="14">
                  <c:v>0.007047619047619047</c:v>
                </c:pt>
                <c:pt idx="15">
                  <c:v>0.006711864406779661</c:v>
                </c:pt>
                <c:pt idx="16">
                  <c:v>0.006547951768745508</c:v>
                </c:pt>
                <c:pt idx="17">
                  <c:v>0.008658372562205783</c:v>
                </c:pt>
                <c:pt idx="18">
                  <c:v>0.004524451289949942</c:v>
                </c:pt>
                <c:pt idx="19">
                  <c:v>0.0042315829967301405</c:v>
                </c:pt>
                <c:pt idx="20">
                  <c:v>0.005264854410658644</c:v>
                </c:pt>
                <c:pt idx="21">
                  <c:v>0.006374398334851047</c:v>
                </c:pt>
                <c:pt idx="22">
                  <c:v>0.00558369042981431</c:v>
                </c:pt>
                <c:pt idx="23">
                  <c:v>0.0061374795417348605</c:v>
                </c:pt>
                <c:pt idx="24">
                  <c:v>0.005346263831903519</c:v>
                </c:pt>
                <c:pt idx="25">
                  <c:v>0.0056260630642417896</c:v>
                </c:pt>
                <c:pt idx="26">
                  <c:v>0.005318520269471693</c:v>
                </c:pt>
                <c:pt idx="27">
                  <c:v>0.0057276198557488335</c:v>
                </c:pt>
                <c:pt idx="28">
                  <c:v>0.004609650843468027</c:v>
                </c:pt>
                <c:pt idx="29">
                  <c:v>0.005645645645645646</c:v>
                </c:pt>
                <c:pt idx="30">
                  <c:v>0.005468465184104995</c:v>
                </c:pt>
                <c:pt idx="31">
                  <c:v>0.005650426921145153</c:v>
                </c:pt>
                <c:pt idx="32">
                  <c:v>0.004726313475489119</c:v>
                </c:pt>
                <c:pt idx="33">
                  <c:v>0.0037645448323066393</c:v>
                </c:pt>
                <c:pt idx="34">
                  <c:v>0.0037674154108615298</c:v>
                </c:pt>
                <c:pt idx="35">
                  <c:v>0.005067272409575397</c:v>
                </c:pt>
                <c:pt idx="36">
                  <c:v>0.006109414051652319</c:v>
                </c:pt>
                <c:pt idx="37">
                  <c:v>0.00628456510809452</c:v>
                </c:pt>
                <c:pt idx="38">
                  <c:v>0.007679180887372013</c:v>
                </c:pt>
                <c:pt idx="39">
                  <c:v>0.0070247933884297524</c:v>
                </c:pt>
                <c:pt idx="40">
                  <c:v>0.006236388833894278</c:v>
                </c:pt>
                <c:pt idx="41">
                  <c:v>0.00532809871003926</c:v>
                </c:pt>
                <c:pt idx="42">
                  <c:v>0.006076111288775184</c:v>
                </c:pt>
                <c:pt idx="43">
                  <c:v>0.00462285229986902</c:v>
                </c:pt>
                <c:pt idx="44">
                  <c:v>0.0032457399662942387</c:v>
                </c:pt>
                <c:pt idx="45">
                  <c:v>0.002602264426588751</c:v>
                </c:pt>
                <c:pt idx="46">
                  <c:v>0.0028536046949873472</c:v>
                </c:pt>
                <c:pt idx="47">
                  <c:v>0.0026492052384284714</c:v>
                </c:pt>
                <c:pt idx="48">
                  <c:v>0.002947437366955952</c:v>
                </c:pt>
                <c:pt idx="49">
                  <c:v>0.0026775320139697323</c:v>
                </c:pt>
                <c:pt idx="50">
                  <c:v>0.0021413276231263384</c:v>
                </c:pt>
                <c:pt idx="51">
                  <c:v>0.002825923134890731</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11.9802331761325</c:v>
                </c:pt>
              </c:numCache>
            </c:numRef>
          </c:xVal>
          <c:yVal>
            <c:numRef>
              <c:f>Sheet1!$B$112:$B$113</c:f>
              <c:numCache>
                <c:formatCode>General</c:formatCode>
                <c:ptCount val="2"/>
                <c:pt idx="0">
                  <c:v>0.005749295327298884</c:v>
                </c:pt>
                <c:pt idx="1">
                  <c:v>0.005749295327298884</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11.9802331761325</c:v>
                </c:pt>
                <c:pt idx="1">
                  <c:v>3511.9802331761325</c:v>
                </c:pt>
              </c:numCache>
            </c:numRef>
          </c:xVal>
          <c:yVal>
            <c:numRef>
              <c:f>Sheet1!$B$116:$B$117</c:f>
              <c:numCache>
                <c:formatCode>General</c:formatCode>
                <c:ptCount val="2"/>
                <c:pt idx="0">
                  <c:v>0.0057492953272988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11.9802331761325</c:v>
                </c:pt>
              </c:numCache>
            </c:numRef>
          </c:xVal>
          <c:yVal>
            <c:numRef>
              <c:f>Sheet1!$B$120:$B$121</c:f>
              <c:numCache>
                <c:formatCode>General</c:formatCode>
                <c:ptCount val="2"/>
                <c:pt idx="0">
                  <c:v>0.005749295327298884</c:v>
                </c:pt>
                <c:pt idx="1">
                  <c:v>0.005749295327298884</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11.9802331761325</c:v>
                </c:pt>
                <c:pt idx="1">
                  <c:v>3511.9802331761325</c:v>
                </c:pt>
              </c:numCache>
            </c:numRef>
          </c:xVal>
          <c:yVal>
            <c:numRef>
              <c:f>Sheet1!$B$124:$B$125</c:f>
              <c:numCache>
                <c:formatCode>General</c:formatCode>
                <c:ptCount val="2"/>
                <c:pt idx="0">
                  <c:v>0.0057492953272988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71.340561315409</c:v>
                </c:pt>
              </c:numCache>
            </c:numRef>
          </c:xVal>
          <c:yVal>
            <c:numRef>
              <c:f>Sheet1!$B$128:$B$129</c:f>
              <c:numCache>
                <c:formatCode>General</c:formatCode>
                <c:ptCount val="2"/>
                <c:pt idx="0">
                  <c:v>0.0039408676143268505</c:v>
                </c:pt>
                <c:pt idx="1">
                  <c:v>0.003940867614326850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71.340561315409</c:v>
                </c:pt>
                <c:pt idx="1">
                  <c:v>4271.340561315409</c:v>
                </c:pt>
              </c:numCache>
            </c:numRef>
          </c:xVal>
          <c:yVal>
            <c:numRef>
              <c:f>Sheet1!$B$132:$B$133</c:f>
              <c:numCache>
                <c:formatCode>General</c:formatCode>
                <c:ptCount val="2"/>
                <c:pt idx="0">
                  <c:v>0.00394086761432685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11.9802331761325</c:v>
                </c:pt>
                <c:pt idx="53">
                  <c:v>3511.9802331761325</c:v>
                </c:pt>
                <c:pt idx="54">
                  <c:v>4271.340561315409</c:v>
                </c:pt>
              </c:numCache>
            </c:numRef>
          </c:xVal>
          <c:yVal>
            <c:numRef>
              <c:f>Sheet1!$B$136:$B$190</c:f>
              <c:numCache>
                <c:formatCode>General</c:formatCode>
                <c:ptCount val="55"/>
                <c:pt idx="0">
                  <c:v>0.0035617620710069083</c:v>
                </c:pt>
                <c:pt idx="1">
                  <c:v>0.005248983721830245</c:v>
                </c:pt>
                <c:pt idx="2">
                  <c:v>0.0037415592792450596</c:v>
                </c:pt>
                <c:pt idx="3">
                  <c:v>0.005442727555906303</c:v>
                </c:pt>
                <c:pt idx="4">
                  <c:v>0.0034580506821708067</c:v>
                </c:pt>
                <c:pt idx="5">
                  <c:v>0.002584716649259782</c:v>
                </c:pt>
                <c:pt idx="6">
                  <c:v>0.0033735123911277764</c:v>
                </c:pt>
                <c:pt idx="7">
                  <c:v>0.004117275597000741</c:v>
                </c:pt>
                <c:pt idx="8">
                  <c:v>0.004415526722094354</c:v>
                </c:pt>
                <c:pt idx="9">
                  <c:v>0.004411910392164559</c:v>
                </c:pt>
                <c:pt idx="10">
                  <c:v>0.0039252840813720595</c:v>
                </c:pt>
                <c:pt idx="11">
                  <c:v>0.004605384638787175</c:v>
                </c:pt>
                <c:pt idx="12">
                  <c:v>0.005051356113734097</c:v>
                </c:pt>
                <c:pt idx="13">
                  <c:v>0.006002366579652774</c:v>
                </c:pt>
                <c:pt idx="14">
                  <c:v>0.006027434878702491</c:v>
                </c:pt>
                <c:pt idx="15">
                  <c:v>0.005495508587824664</c:v>
                </c:pt>
                <c:pt idx="16">
                  <c:v>0.005195342724987518</c:v>
                </c:pt>
                <c:pt idx="17">
                  <c:v>0.007157116334601962</c:v>
                </c:pt>
                <c:pt idx="18">
                  <c:v>0.0043657909329031745</c:v>
                </c:pt>
                <c:pt idx="19">
                  <c:v>0.003777300097851823</c:v>
                </c:pt>
                <c:pt idx="20">
                  <c:v>0.004322818168891204</c:v>
                </c:pt>
                <c:pt idx="21">
                  <c:v>0.00513156123895081</c:v>
                </c:pt>
                <c:pt idx="22">
                  <c:v>0.004605235079669893</c:v>
                </c:pt>
                <c:pt idx="23">
                  <c:v>0.0067956857703641346</c:v>
                </c:pt>
                <c:pt idx="24">
                  <c:v>0.004623954975233373</c:v>
                </c:pt>
                <c:pt idx="25">
                  <c:v>0.005299418961861318</c:v>
                </c:pt>
                <c:pt idx="26">
                  <c:v>0.004688045343714529</c:v>
                </c:pt>
                <c:pt idx="27">
                  <c:v>0.005352373368043025</c:v>
                </c:pt>
                <c:pt idx="28">
                  <c:v>0.0049917746668572075</c:v>
                </c:pt>
                <c:pt idx="29">
                  <c:v>0.005410009117486498</c:v>
                </c:pt>
                <c:pt idx="30">
                  <c:v>0.005588310734551842</c:v>
                </c:pt>
                <c:pt idx="31">
                  <c:v>0.0052244153026964075</c:v>
                </c:pt>
                <c:pt idx="32">
                  <c:v>0.004067234259485564</c:v>
                </c:pt>
                <c:pt idx="33">
                  <c:v>0.0030784879801743544</c:v>
                </c:pt>
                <c:pt idx="34">
                  <c:v>0.002953979300583623</c:v>
                </c:pt>
                <c:pt idx="35">
                  <c:v>0.00477861672570991</c:v>
                </c:pt>
                <c:pt idx="36">
                  <c:v>0.004052960413540741</c:v>
                </c:pt>
                <c:pt idx="37">
                  <c:v>0.004236605434928429</c:v>
                </c:pt>
                <c:pt idx="38">
                  <c:v>0.005560976186202691</c:v>
                </c:pt>
                <c:pt idx="39">
                  <c:v>0.0065336069943239625</c:v>
                </c:pt>
                <c:pt idx="40">
                  <c:v>0.0064308151082773865</c:v>
                </c:pt>
                <c:pt idx="41">
                  <c:v>0.005944908491198936</c:v>
                </c:pt>
                <c:pt idx="42">
                  <c:v>0.006317552893263843</c:v>
                </c:pt>
                <c:pt idx="43">
                  <c:v>0.005902419412803521</c:v>
                </c:pt>
                <c:pt idx="44">
                  <c:v>0.004414134488655462</c:v>
                </c:pt>
                <c:pt idx="45">
                  <c:v>0.004178367876743921</c:v>
                </c:pt>
                <c:pt idx="46">
                  <c:v>0.004336875297006847</c:v>
                </c:pt>
                <c:pt idx="47">
                  <c:v>0.004427238058322706</c:v>
                </c:pt>
                <c:pt idx="48">
                  <c:v>0.0055015707332552125</c:v>
                </c:pt>
                <c:pt idx="49">
                  <c:v>0.005070206039995084</c:v>
                </c:pt>
                <c:pt idx="50">
                  <c:v>0.004344556396066816</c:v>
                </c:pt>
                <c:pt idx="51">
                  <c:v>0.004079449286053166</c:v>
                </c:pt>
                <c:pt idx="52">
                  <c:v>0.005749295327298884</c:v>
                </c:pt>
                <c:pt idx="53">
                  <c:v>0.005749295327298884</c:v>
                </c:pt>
                <c:pt idx="54">
                  <c:v>0.00394086761432685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3900470746469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457134443822222</c:v>
                </c:pt>
                <c:pt idx="1">
                  <c:v>0.6329557401685267</c:v>
                </c:pt>
                <c:pt idx="2">
                  <c:v>0.7244213007486902</c:v>
                </c:pt>
                <c:pt idx="3">
                  <c:v>0.7077065992372741</c:v>
                </c:pt>
                <c:pt idx="4">
                  <c:v>0.6958228063242512</c:v>
                </c:pt>
                <c:pt idx="5">
                  <c:v>0.6795594151741842</c:v>
                </c:pt>
                <c:pt idx="6">
                  <c:v>0.6016225170583775</c:v>
                </c:pt>
                <c:pt idx="7">
                  <c:v>0.6065601615037105</c:v>
                </c:pt>
                <c:pt idx="8">
                  <c:v>0.6648745750839247</c:v>
                </c:pt>
                <c:pt idx="9">
                  <c:v>0.5742547864666028</c:v>
                </c:pt>
                <c:pt idx="10">
                  <c:v>0.62638374946488</c:v>
                </c:pt>
                <c:pt idx="11">
                  <c:v>0.6637022828234631</c:v>
                </c:pt>
                <c:pt idx="12">
                  <c:v>0.6977317539166985</c:v>
                </c:pt>
                <c:pt idx="13">
                  <c:v>0.6816598220866829</c:v>
                </c:pt>
                <c:pt idx="14">
                  <c:v>0.6932679172766445</c:v>
                </c:pt>
                <c:pt idx="15">
                  <c:v>0.7016725536948296</c:v>
                </c:pt>
                <c:pt idx="16">
                  <c:v>0.6424661482623653</c:v>
                </c:pt>
                <c:pt idx="17">
                  <c:v>0.840134940361955</c:v>
                </c:pt>
                <c:pt idx="18">
                  <c:v>0.7049455359692909</c:v>
                </c:pt>
                <c:pt idx="19">
                  <c:v>0.7728787923899127</c:v>
                </c:pt>
                <c:pt idx="20">
                  <c:v>0.9193514523965419</c:v>
                </c:pt>
                <c:pt idx="21">
                  <c:v>0.893018000923064</c:v>
                </c:pt>
                <c:pt idx="22">
                  <c:v>0.8312150414175893</c:v>
                </c:pt>
                <c:pt idx="23">
                  <c:v>0.8109467683663557</c:v>
                </c:pt>
                <c:pt idx="24">
                  <c:v>0.8281609790111051</c:v>
                </c:pt>
                <c:pt idx="25">
                  <c:v>0.7840054441990111</c:v>
                </c:pt>
                <c:pt idx="26">
                  <c:v>0.7912668454769977</c:v>
                </c:pt>
                <c:pt idx="27">
                  <c:v>0.832314262621152</c:v>
                </c:pt>
                <c:pt idx="28">
                  <c:v>0.8871952351239435</c:v>
                </c:pt>
                <c:pt idx="29">
                  <c:v>0.7875061318377616</c:v>
                </c:pt>
                <c:pt idx="30">
                  <c:v>0.7870291354879796</c:v>
                </c:pt>
                <c:pt idx="31">
                  <c:v>0.8549213738788012</c:v>
                </c:pt>
                <c:pt idx="32">
                  <c:v>0.794631575666178</c:v>
                </c:pt>
                <c:pt idx="33">
                  <c:v>0.8445390046280088</c:v>
                </c:pt>
                <c:pt idx="34">
                  <c:v>0.8444547047423918</c:v>
                </c:pt>
                <c:pt idx="35">
                  <c:v>0.8586915794852317</c:v>
                </c:pt>
                <c:pt idx="36">
                  <c:v>0.9656461639093963</c:v>
                </c:pt>
                <c:pt idx="37">
                  <c:v>1.0299907833088329</c:v>
                </c:pt>
                <c:pt idx="38">
                  <c:v>1.0968211075787904</c:v>
                </c:pt>
                <c:pt idx="39">
                  <c:v>1.0771442390546693</c:v>
                </c:pt>
                <c:pt idx="40">
                  <c:v>0.9396969688612569</c:v>
                </c:pt>
                <c:pt idx="41">
                  <c:v>0.9119123544527685</c:v>
                </c:pt>
                <c:pt idx="42">
                  <c:v>1.0122669020667283</c:v>
                </c:pt>
                <c:pt idx="43">
                  <c:v>1.0479040427073847</c:v>
                </c:pt>
                <c:pt idx="44">
                  <c:v>0.7910229860409149</c:v>
                </c:pt>
                <c:pt idx="45">
                  <c:v>0.7523067271352986</c:v>
                </c:pt>
                <c:pt idx="46">
                  <c:v>0.7305646185684721</c:v>
                </c:pt>
                <c:pt idx="47">
                  <c:v>0.7009997065118605</c:v>
                </c:pt>
                <c:pt idx="48">
                  <c:v>0.7338093753638921</c:v>
                </c:pt>
                <c:pt idx="49">
                  <c:v>0.7315838284012942</c:v>
                </c:pt>
                <c:pt idx="50">
                  <c:v>0.7096964225510395</c:v>
                </c:pt>
                <c:pt idx="51">
                  <c:v>0.6564140290141773</c:v>
                </c:pt>
                <c:pt idx="52">
                  <c:v>0.746387084179291</c:v>
                </c:pt>
                <c:pt idx="53">
                  <c:v>0.772754209664802</c:v>
                </c:pt>
                <c:pt idx="54">
                  <c:v>0.7342773235860376</c:v>
                </c:pt>
                <c:pt idx="55">
                  <c:v>0.7372063011779174</c:v>
                </c:pt>
                <c:pt idx="56">
                  <c:v>0.8801131364094276</c:v>
                </c:pt>
                <c:pt idx="57">
                  <c:v>0.7989132138964837</c:v>
                </c:pt>
                <c:pt idx="58">
                  <c:v>0.7335518308673543</c:v>
                </c:pt>
                <c:pt idx="59">
                  <c:v>0.7433750013879747</c:v>
                </c:pt>
                <c:pt idx="60">
                  <c:v>0.7730551092356921</c:v>
                </c:pt>
                <c:pt idx="61">
                  <c:v>0.7538777956439117</c:v>
                </c:pt>
                <c:pt idx="62">
                  <c:v>0.7004335833917675</c:v>
                </c:pt>
                <c:pt idx="63">
                  <c:v>0.6819616598246834</c:v>
                </c:pt>
                <c:pt idx="64">
                  <c:v>0.7135371828595075</c:v>
                </c:pt>
                <c:pt idx="65">
                  <c:v>0.636648478598676</c:v>
                </c:pt>
                <c:pt idx="66">
                  <c:v>0.4906102028272895</c:v>
                </c:pt>
                <c:pt idx="67">
                  <c:v>0.6999948876631239</c:v>
                </c:pt>
                <c:pt idx="68">
                  <c:v>0.6055947191642967</c:v>
                </c:pt>
                <c:pt idx="69">
                  <c:v>0.31226103850723325</c:v>
                </c:pt>
                <c:pt idx="70">
                  <c:v>0.4215203065142452</c:v>
                </c:pt>
                <c:pt idx="71">
                  <c:v>0.6392347801969214</c:v>
                </c:pt>
                <c:pt idx="72">
                  <c:v>1.0381357442676813</c:v>
                </c:pt>
                <c:pt idx="73">
                  <c:v>0.6153072315144631</c:v>
                </c:pt>
                <c:pt idx="74">
                  <c:v>0.4147555722172994</c:v>
                </c:pt>
                <c:pt idx="75">
                  <c:v>0.450074808332688</c:v>
                </c:pt>
                <c:pt idx="76">
                  <c:v>0.4333654035246956</c:v>
                </c:pt>
                <c:pt idx="77">
                  <c:v>0.4650718653220043</c:v>
                </c:pt>
                <c:pt idx="78">
                  <c:v>0.5903016472868217</c:v>
                </c:pt>
                <c:pt idx="79">
                  <c:v>0.4828326849894292</c:v>
                </c:pt>
                <c:pt idx="80">
                  <c:v>0.5572957159529071</c:v>
                </c:pt>
                <c:pt idx="81">
                  <c:v>0.5656896672504378</c:v>
                </c:pt>
                <c:pt idx="82">
                  <c:v>0.49874702400893356</c:v>
                </c:pt>
                <c:pt idx="83">
                  <c:v>0.2825170007612281</c:v>
                </c:pt>
                <c:pt idx="84">
                  <c:v>0.6347514583800763</c:v>
                </c:pt>
                <c:pt idx="85">
                  <c:v>0.36049379039515667</c:v>
                </c:pt>
                <c:pt idx="86">
                  <c:v>0.41934808655024025</c:v>
                </c:pt>
                <c:pt idx="87">
                  <c:v>0.5337841246472825</c:v>
                </c:pt>
                <c:pt idx="88">
                  <c:v>0.5718209743741057</c:v>
                </c:pt>
                <c:pt idx="89">
                  <c:v>0.6245414058603151</c:v>
                </c:pt>
                <c:pt idx="90">
                  <c:v>0.7947531087757411</c:v>
                </c:pt>
                <c:pt idx="91">
                  <c:v>0.5255520040723333</c:v>
                </c:pt>
                <c:pt idx="92">
                  <c:v>0.502421215932914</c:v>
                </c:pt>
                <c:pt idx="93">
                  <c:v>0.5570152700612864</c:v>
                </c:pt>
                <c:pt idx="94">
                  <c:v>0.5341140086206897</c:v>
                </c:pt>
                <c:pt idx="95">
                  <c:v>0.9048661016449366</c:v>
                </c:pt>
                <c:pt idx="96">
                  <c:v>0.9895603081709061</c:v>
                </c:pt>
                <c:pt idx="97">
                  <c:v>1.0038987121745861</c:v>
                </c:pt>
                <c:pt idx="98">
                  <c:v>1.0264331835774345</c:v>
                </c:pt>
                <c:pt idx="99">
                  <c:v>0.9662802712275305</c:v>
                </c:pt>
                <c:pt idx="100">
                  <c:v>0.9815169861280922</c:v>
                </c:pt>
                <c:pt idx="101">
                  <c:v>1.0038423603832105</c:v>
                </c:pt>
                <c:pt idx="102">
                  <c:v>0.9647574190903501</c:v>
                </c:pt>
                <c:pt idx="103">
                  <c:v>0.971451440645533</c:v>
                </c:pt>
                <c:pt idx="104">
                  <c:v>1.023043525948113</c:v>
                </c:pt>
              </c:numCache>
            </c:numRef>
          </c:xVal>
          <c:yVal>
            <c:numRef>
              <c:f>Sheet1!$B$2:$B$106</c:f>
              <c:numCache>
                <c:formatCode>General</c:formatCode>
                <c:ptCount val="105"/>
                <c:pt idx="0">
                  <c:v>0.3754054851076379</c:v>
                </c:pt>
                <c:pt idx="1">
                  <c:v>0.3365983971504898</c:v>
                </c:pt>
                <c:pt idx="2">
                  <c:v>0.3293510724952484</c:v>
                </c:pt>
                <c:pt idx="3">
                  <c:v>0.3299624386015602</c:v>
                </c:pt>
                <c:pt idx="4">
                  <c:v>0.335669002335669</c:v>
                </c:pt>
                <c:pt idx="5">
                  <c:v>0.36349981224183253</c:v>
                </c:pt>
                <c:pt idx="6">
                  <c:v>0.3894496906545099</c:v>
                </c:pt>
                <c:pt idx="7">
                  <c:v>0.3921869015702796</c:v>
                </c:pt>
                <c:pt idx="8">
                  <c:v>0.37278350515463915</c:v>
                </c:pt>
                <c:pt idx="9">
                  <c:v>0.36108676599474143</c:v>
                </c:pt>
                <c:pt idx="10">
                  <c:v>0.35204240723417524</c:v>
                </c:pt>
                <c:pt idx="11">
                  <c:v>0.32066240120436584</c:v>
                </c:pt>
                <c:pt idx="12">
                  <c:v>0.29833863556026863</c:v>
                </c:pt>
                <c:pt idx="13">
                  <c:v>0.26637712631197974</c:v>
                </c:pt>
                <c:pt idx="14">
                  <c:v>0.26129666011787817</c:v>
                </c:pt>
                <c:pt idx="15">
                  <c:v>0.2847161572052402</c:v>
                </c:pt>
                <c:pt idx="16">
                  <c:v>0.3142857142857143</c:v>
                </c:pt>
                <c:pt idx="17">
                  <c:v>0.2881844380403458</c:v>
                </c:pt>
                <c:pt idx="18">
                  <c:v>0.34896810506566606</c:v>
                </c:pt>
                <c:pt idx="19">
                  <c:v>0.34210526315789475</c:v>
                </c:pt>
                <c:pt idx="20">
                  <c:v>0.3381754793724579</c:v>
                </c:pt>
                <c:pt idx="21">
                  <c:v>0.32936507936507936</c:v>
                </c:pt>
                <c:pt idx="22">
                  <c:v>0.308703819661866</c:v>
                </c:pt>
                <c:pt idx="23">
                  <c:v>0.32388924661944624</c:v>
                </c:pt>
                <c:pt idx="24">
                  <c:v>0.2940516273849607</c:v>
                </c:pt>
                <c:pt idx="25">
                  <c:v>0.3104342190537913</c:v>
                </c:pt>
                <c:pt idx="26">
                  <c:v>0.3437301082113304</c:v>
                </c:pt>
                <c:pt idx="27">
                  <c:v>0.3379224030037547</c:v>
                </c:pt>
                <c:pt idx="28">
                  <c:v>0.35812133072407043</c:v>
                </c:pt>
                <c:pt idx="29">
                  <c:v>0.3387605042016807</c:v>
                </c:pt>
                <c:pt idx="30">
                  <c:v>0.3699127906976744</c:v>
                </c:pt>
                <c:pt idx="31">
                  <c:v>0.3419141914191419</c:v>
                </c:pt>
                <c:pt idx="32">
                  <c:v>0.3020408163265306</c:v>
                </c:pt>
                <c:pt idx="33">
                  <c:v>0.2874946282767512</c:v>
                </c:pt>
                <c:pt idx="34">
                  <c:v>0.31341557440246726</c:v>
                </c:pt>
                <c:pt idx="35">
                  <c:v>0.3381967826412271</c:v>
                </c:pt>
                <c:pt idx="36">
                  <c:v>0.358841778697001</c:v>
                </c:pt>
                <c:pt idx="37">
                  <c:v>0.37272192827748385</c:v>
                </c:pt>
                <c:pt idx="38">
                  <c:v>0.34416445623342173</c:v>
                </c:pt>
                <c:pt idx="39">
                  <c:v>0.3464788732394366</c:v>
                </c:pt>
                <c:pt idx="40">
                  <c:v>0.3410241980866629</c:v>
                </c:pt>
                <c:pt idx="41">
                  <c:v>0.32577720207253885</c:v>
                </c:pt>
                <c:pt idx="42">
                  <c:v>0.28107838242636046</c:v>
                </c:pt>
                <c:pt idx="43">
                  <c:v>0.2696676482961716</c:v>
                </c:pt>
                <c:pt idx="44">
                  <c:v>0.29021913415285944</c:v>
                </c:pt>
                <c:pt idx="45">
                  <c:v>0.335418114431318</c:v>
                </c:pt>
                <c:pt idx="46">
                  <c:v>0.31493071077335716</c:v>
                </c:pt>
                <c:pt idx="47">
                  <c:v>0.29876434245366285</c:v>
                </c:pt>
                <c:pt idx="48">
                  <c:v>0.28941292875989444</c:v>
                </c:pt>
                <c:pt idx="49">
                  <c:v>0.2849056603773585</c:v>
                </c:pt>
                <c:pt idx="50">
                  <c:v>0.29102031898623554</c:v>
                </c:pt>
                <c:pt idx="51">
                  <c:v>0.27238261883931175</c:v>
                </c:pt>
                <c:pt idx="52">
                  <c:v>0.27350630802189957</c:v>
                </c:pt>
                <c:pt idx="53">
                  <c:v>0.27004716981132076</c:v>
                </c:pt>
                <c:pt idx="54">
                  <c:v>0.2795969773299748</c:v>
                </c:pt>
                <c:pt idx="55">
                  <c:v>0.2830858618463525</c:v>
                </c:pt>
                <c:pt idx="56">
                  <c:v>0.2687052700065062</c:v>
                </c:pt>
                <c:pt idx="57">
                  <c:v>0.2835332606324973</c:v>
                </c:pt>
                <c:pt idx="58">
                  <c:v>0.3012836037781545</c:v>
                </c:pt>
                <c:pt idx="59">
                  <c:v>0.3104875804967801</c:v>
                </c:pt>
                <c:pt idx="60">
                  <c:v>0.30923229649238915</c:v>
                </c:pt>
                <c:pt idx="61">
                  <c:v>0.3021307158247546</c:v>
                </c:pt>
                <c:pt idx="62">
                  <c:v>0.29963980189104006</c:v>
                </c:pt>
                <c:pt idx="63">
                  <c:v>0.2947819314641745</c:v>
                </c:pt>
                <c:pt idx="64">
                  <c:v>0.28729166666666667</c:v>
                </c:pt>
                <c:pt idx="65">
                  <c:v>0.27869249394673123</c:v>
                </c:pt>
                <c:pt idx="66">
                  <c:v>0.3200790318597184</c:v>
                </c:pt>
                <c:pt idx="67">
                  <c:v>0.31241360243295546</c:v>
                </c:pt>
                <c:pt idx="68">
                  <c:v>0.3050600655260284</c:v>
                </c:pt>
                <c:pt idx="69">
                  <c:v>0.29854368932038833</c:v>
                </c:pt>
                <c:pt idx="70">
                  <c:v>0.30619629127091813</c:v>
                </c:pt>
                <c:pt idx="71">
                  <c:v>0.31069858329262334</c:v>
                </c:pt>
                <c:pt idx="72">
                  <c:v>0.29510426110607435</c:v>
                </c:pt>
                <c:pt idx="73">
                  <c:v>0.2913875598086124</c:v>
                </c:pt>
                <c:pt idx="74">
                  <c:v>0.28745115067303517</c:v>
                </c:pt>
                <c:pt idx="75">
                  <c:v>0.31390593047034765</c:v>
                </c:pt>
                <c:pt idx="76">
                  <c:v>0.3196902654867257</c:v>
                </c:pt>
                <c:pt idx="77">
                  <c:v>0.30716934487021014</c:v>
                </c:pt>
                <c:pt idx="78">
                  <c:v>0.31420765027322406</c:v>
                </c:pt>
                <c:pt idx="79">
                  <c:v>0.3274282223579719</c:v>
                </c:pt>
                <c:pt idx="80">
                  <c:v>0.3237679351216469</c:v>
                </c:pt>
                <c:pt idx="81">
                  <c:v>0.32598039215686275</c:v>
                </c:pt>
                <c:pt idx="82">
                  <c:v>0.3125827814569536</c:v>
                </c:pt>
                <c:pt idx="83">
                  <c:v>0.32229580573951433</c:v>
                </c:pt>
                <c:pt idx="84">
                  <c:v>0.3303370786516854</c:v>
                </c:pt>
                <c:pt idx="85">
                  <c:v>0.33906947100063733</c:v>
                </c:pt>
                <c:pt idx="86">
                  <c:v>0.3492822966507177</c:v>
                </c:pt>
                <c:pt idx="87">
                  <c:v>0.3315972222222222</c:v>
                </c:pt>
                <c:pt idx="88">
                  <c:v>0.3301245753114383</c:v>
                </c:pt>
                <c:pt idx="89">
                  <c:v>0.32837670384138784</c:v>
                </c:pt>
                <c:pt idx="90">
                  <c:v>0.2979830839297333</c:v>
                </c:pt>
                <c:pt idx="91">
                  <c:v>0.2911555842479019</c:v>
                </c:pt>
                <c:pt idx="92">
                  <c:v>0.3008474576271186</c:v>
                </c:pt>
                <c:pt idx="93">
                  <c:v>0.3050483351235231</c:v>
                </c:pt>
                <c:pt idx="94">
                  <c:v>0.3082706766917293</c:v>
                </c:pt>
                <c:pt idx="95">
                  <c:v>0.3015741507870754</c:v>
                </c:pt>
                <c:pt idx="96">
                  <c:v>0.3085926348843848</c:v>
                </c:pt>
                <c:pt idx="97">
                  <c:v>0.33391695847923963</c:v>
                </c:pt>
                <c:pt idx="98">
                  <c:v>0.3342880523731588</c:v>
                </c:pt>
                <c:pt idx="99">
                  <c:v>0.3379850238257318</c:v>
                </c:pt>
                <c:pt idx="100">
                  <c:v>0.3145211636908478</c:v>
                </c:pt>
                <c:pt idx="101">
                  <c:v>0.3303303303303303</c:v>
                </c:pt>
                <c:pt idx="102">
                  <c:v>0.3227564102564103</c:v>
                </c:pt>
                <c:pt idx="103">
                  <c:v>0.3270233196159122</c:v>
                </c:pt>
                <c:pt idx="104">
                  <c:v>0.31482691051600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072643086673333</c:v>
                </c:pt>
                <c:pt idx="1">
                  <c:v>1.0943077327541348</c:v>
                </c:pt>
                <c:pt idx="2">
                  <c:v>1.0911963163637064</c:v>
                </c:pt>
                <c:pt idx="3">
                  <c:v>1.0670978354157195</c:v>
                </c:pt>
                <c:pt idx="4">
                  <c:v>1.1114385156970916</c:v>
                </c:pt>
                <c:pt idx="5">
                  <c:v>1.362255797764578</c:v>
                </c:pt>
                <c:pt idx="6">
                  <c:v>1.2992455857184149</c:v>
                </c:pt>
                <c:pt idx="7">
                  <c:v>1.3925921751406458</c:v>
                </c:pt>
                <c:pt idx="8">
                  <c:v>1.4150330478859068</c:v>
                </c:pt>
                <c:pt idx="9">
                  <c:v>1.348096732881056</c:v>
                </c:pt>
                <c:pt idx="10">
                  <c:v>1.4771247731281218</c:v>
                </c:pt>
                <c:pt idx="11">
                  <c:v>1.3875768004022184</c:v>
                </c:pt>
                <c:pt idx="12">
                  <c:v>1.3633923290646057</c:v>
                </c:pt>
                <c:pt idx="13">
                  <c:v>1.4719457782990355</c:v>
                </c:pt>
                <c:pt idx="14">
                  <c:v>1.4563007475314658</c:v>
                </c:pt>
                <c:pt idx="15">
                  <c:v>1.480087418799926</c:v>
                </c:pt>
                <c:pt idx="16">
                  <c:v>1.4365130626927685</c:v>
                </c:pt>
                <c:pt idx="17">
                  <c:v>1.3918346126627053</c:v>
                </c:pt>
                <c:pt idx="18">
                  <c:v>2.413379046422906</c:v>
                </c:pt>
                <c:pt idx="19">
                  <c:v>2.605153439344875</c:v>
                </c:pt>
                <c:pt idx="20">
                  <c:v>2.5143894112447667</c:v>
                </c:pt>
                <c:pt idx="21">
                  <c:v>2.403210346989363</c:v>
                </c:pt>
                <c:pt idx="22">
                  <c:v>2.4062351153750434</c:v>
                </c:pt>
                <c:pt idx="23">
                  <c:v>2.549728957731688</c:v>
                </c:pt>
                <c:pt idx="24">
                  <c:v>2.4550646004634666</c:v>
                </c:pt>
                <c:pt idx="25">
                  <c:v>2.413290099528549</c:v>
                </c:pt>
                <c:pt idx="26">
                  <c:v>2.402302545477481</c:v>
                </c:pt>
                <c:pt idx="27">
                  <c:v>2.1905866566816217</c:v>
                </c:pt>
                <c:pt idx="28">
                  <c:v>2.2304809887608528</c:v>
                </c:pt>
                <c:pt idx="29">
                  <c:v>2.190984408138532</c:v>
                </c:pt>
                <c:pt idx="30">
                  <c:v>1.960696614259134</c:v>
                </c:pt>
                <c:pt idx="31">
                  <c:v>2.0755383924562194</c:v>
                </c:pt>
                <c:pt idx="32">
                  <c:v>2.4606849622127998</c:v>
                </c:pt>
                <c:pt idx="33">
                  <c:v>2.4825451031414287</c:v>
                </c:pt>
                <c:pt idx="34">
                  <c:v>2.59226340188524</c:v>
                </c:pt>
                <c:pt idx="35">
                  <c:v>2.54944152404238</c:v>
                </c:pt>
                <c:pt idx="36">
                  <c:v>2.8740224355257507</c:v>
                </c:pt>
                <c:pt idx="37">
                  <c:v>2.6753886452052886</c:v>
                </c:pt>
                <c:pt idx="38">
                  <c:v>2.8168817154530315</c:v>
                </c:pt>
                <c:pt idx="39">
                  <c:v>2.596666780393822</c:v>
                </c:pt>
                <c:pt idx="40">
                  <c:v>2.395789730390698</c:v>
                </c:pt>
                <c:pt idx="41">
                  <c:v>2.644880084858149</c:v>
                </c:pt>
                <c:pt idx="42">
                  <c:v>2.611538614990648</c:v>
                </c:pt>
                <c:pt idx="43">
                  <c:v>2.4569254158762353</c:v>
                </c:pt>
                <c:pt idx="44">
                  <c:v>2.4174323860266185</c:v>
                </c:pt>
                <c:pt idx="45">
                  <c:v>2.343913066063055</c:v>
                </c:pt>
                <c:pt idx="46">
                  <c:v>2.10652947196815</c:v>
                </c:pt>
                <c:pt idx="47">
                  <c:v>1.946359294127968</c:v>
                </c:pt>
                <c:pt idx="48">
                  <c:v>1.6900292647307136</c:v>
                </c:pt>
                <c:pt idx="49">
                  <c:v>1.801355889448701</c:v>
                </c:pt>
                <c:pt idx="50">
                  <c:v>1.5882886689750524</c:v>
                </c:pt>
                <c:pt idx="51">
                  <c:v>1.474478900731576</c:v>
                </c:pt>
              </c:numCache>
            </c:numRef>
          </c:xVal>
          <c:yVal>
            <c:numRef>
              <c:f>Sheet1!$B$109:$B$160</c:f>
              <c:numCache>
                <c:formatCode>General</c:formatCode>
                <c:ptCount val="52"/>
                <c:pt idx="0">
                  <c:v>0.29814385150812067</c:v>
                </c:pt>
                <c:pt idx="1">
                  <c:v>0.3</c:v>
                </c:pt>
                <c:pt idx="2">
                  <c:v>0.3182565789473684</c:v>
                </c:pt>
                <c:pt idx="3">
                  <c:v>0.32784313725490194</c:v>
                </c:pt>
                <c:pt idx="4">
                  <c:v>0.29737687366167026</c:v>
                </c:pt>
                <c:pt idx="5">
                  <c:v>0.31350176582450423</c:v>
                </c:pt>
                <c:pt idx="6">
                  <c:v>0.31964669372165194</c:v>
                </c:pt>
                <c:pt idx="7">
                  <c:v>0.3187396351575456</c:v>
                </c:pt>
                <c:pt idx="8">
                  <c:v>0.3005259203606311</c:v>
                </c:pt>
                <c:pt idx="9">
                  <c:v>0.314169766655394</c:v>
                </c:pt>
                <c:pt idx="10">
                  <c:v>0.3167283742847526</c:v>
                </c:pt>
                <c:pt idx="11">
                  <c:v>0.3043968432919955</c:v>
                </c:pt>
                <c:pt idx="12">
                  <c:v>0.2942413883775966</c:v>
                </c:pt>
                <c:pt idx="13">
                  <c:v>0.2979154603358425</c:v>
                </c:pt>
                <c:pt idx="14">
                  <c:v>0.2972459639126306</c:v>
                </c:pt>
                <c:pt idx="15">
                  <c:v>0.31816553206735937</c:v>
                </c:pt>
                <c:pt idx="16">
                  <c:v>0.3429930795847751</c:v>
                </c:pt>
                <c:pt idx="17">
                  <c:v>0.34214123006833713</c:v>
                </c:pt>
                <c:pt idx="18">
                  <c:v>0.32686822589845976</c:v>
                </c:pt>
                <c:pt idx="19">
                  <c:v>0.3110435663627153</c:v>
                </c:pt>
                <c:pt idx="20">
                  <c:v>0.3126410835214447</c:v>
                </c:pt>
                <c:pt idx="21">
                  <c:v>0.3303049967553537</c:v>
                </c:pt>
                <c:pt idx="22">
                  <c:v>0.31782477341389725</c:v>
                </c:pt>
                <c:pt idx="23">
                  <c:v>0.3042659974905897</c:v>
                </c:pt>
                <c:pt idx="24">
                  <c:v>0.3106796116504854</c:v>
                </c:pt>
                <c:pt idx="25">
                  <c:v>0.3118214716525935</c:v>
                </c:pt>
                <c:pt idx="26">
                  <c:v>0.3259938837920489</c:v>
                </c:pt>
                <c:pt idx="27">
                  <c:v>0.3449612403100775</c:v>
                </c:pt>
                <c:pt idx="28">
                  <c:v>0.3218045112781955</c:v>
                </c:pt>
                <c:pt idx="29">
                  <c:v>0.3181818181818182</c:v>
                </c:pt>
                <c:pt idx="30">
                  <c:v>0.2994522215459525</c:v>
                </c:pt>
                <c:pt idx="31">
                  <c:v>0.31100478468899523</c:v>
                </c:pt>
                <c:pt idx="32">
                  <c:v>0.29362214199759323</c:v>
                </c:pt>
                <c:pt idx="33">
                  <c:v>0.2932537861404314</c:v>
                </c:pt>
                <c:pt idx="34">
                  <c:v>0.28102564102564104</c:v>
                </c:pt>
                <c:pt idx="35">
                  <c:v>0.2864963503649635</c:v>
                </c:pt>
                <c:pt idx="36">
                  <c:v>0.2677916360968452</c:v>
                </c:pt>
                <c:pt idx="37">
                  <c:v>0.27718832891246686</c:v>
                </c:pt>
                <c:pt idx="38">
                  <c:v>0.2826388888888889</c:v>
                </c:pt>
                <c:pt idx="39">
                  <c:v>0.27101879327398615</c:v>
                </c:pt>
                <c:pt idx="40">
                  <c:v>0.2919191919191919</c:v>
                </c:pt>
                <c:pt idx="41">
                  <c:v>0.2766461392704879</c:v>
                </c:pt>
                <c:pt idx="42">
                  <c:v>0.2924683892248488</c:v>
                </c:pt>
                <c:pt idx="43">
                  <c:v>0.2710868652958456</c:v>
                </c:pt>
                <c:pt idx="44">
                  <c:v>0.30310786106032905</c:v>
                </c:pt>
                <c:pt idx="45">
                  <c:v>0.3201631404537344</c:v>
                </c:pt>
                <c:pt idx="46">
                  <c:v>0.33663366336633666</c:v>
                </c:pt>
                <c:pt idx="47">
                  <c:v>0.33324446814182884</c:v>
                </c:pt>
                <c:pt idx="48">
                  <c:v>0.34182944259171033</c:v>
                </c:pt>
                <c:pt idx="49">
                  <c:v>0.3314667241007969</c:v>
                </c:pt>
                <c:pt idx="50">
                  <c:v>0.3012902311073302</c:v>
                </c:pt>
                <c:pt idx="51">
                  <c:v>0.307927606423655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89050792141744</c:v>
                </c:pt>
              </c:numCache>
            </c:numRef>
          </c:xVal>
          <c:yVal>
            <c:numRef>
              <c:f>Sheet1!$B$163:$B$164</c:f>
              <c:numCache>
                <c:formatCode>General</c:formatCode>
                <c:ptCount val="2"/>
                <c:pt idx="0">
                  <c:v>0.3583229228124296</c:v>
                </c:pt>
                <c:pt idx="1">
                  <c:v>0.35832292281242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89050792141744</c:v>
                </c:pt>
                <c:pt idx="1">
                  <c:v>-1.989050792141744</c:v>
                </c:pt>
              </c:numCache>
            </c:numRef>
          </c:xVal>
          <c:yVal>
            <c:numRef>
              <c:f>Sheet1!$B$167:$B$168</c:f>
              <c:numCache>
                <c:formatCode>General</c:formatCode>
                <c:ptCount val="2"/>
                <c:pt idx="0">
                  <c:v>0.35832292281242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0014950071227542</c:v>
                </c:pt>
              </c:numCache>
            </c:numRef>
          </c:xVal>
          <c:yVal>
            <c:numRef>
              <c:f>Sheet1!$B$171:$B$172</c:f>
              <c:numCache>
                <c:formatCode>General</c:formatCode>
                <c:ptCount val="2"/>
                <c:pt idx="0">
                  <c:v>0.3206285010558732</c:v>
                </c:pt>
                <c:pt idx="1">
                  <c:v>0.32062850105587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0014950071227542</c:v>
                </c:pt>
                <c:pt idx="1">
                  <c:v>1.0014950071227542</c:v>
                </c:pt>
              </c:numCache>
            </c:numRef>
          </c:xVal>
          <c:yVal>
            <c:numRef>
              <c:f>Sheet1!$B$175:$B$176</c:f>
              <c:numCache>
                <c:formatCode>General</c:formatCode>
                <c:ptCount val="2"/>
                <c:pt idx="0">
                  <c:v>0.320628501055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57172370667719</c:v>
                </c:pt>
              </c:numCache>
            </c:numRef>
          </c:xVal>
          <c:yVal>
            <c:numRef>
              <c:f>Sheet1!$B$179:$B$180</c:f>
              <c:numCache>
                <c:formatCode>General</c:formatCode>
                <c:ptCount val="2"/>
                <c:pt idx="0">
                  <c:v>0.30606173201769865</c:v>
                </c:pt>
                <c:pt idx="1">
                  <c:v>0.306061732017698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57172370667719</c:v>
                </c:pt>
                <c:pt idx="1">
                  <c:v>2.157172370667719</c:v>
                </c:pt>
              </c:numCache>
            </c:numRef>
          </c:xVal>
          <c:yVal>
            <c:numRef>
              <c:f>Sheet1!$B$183:$B$184</c:f>
              <c:numCache>
                <c:formatCode>General</c:formatCode>
                <c:ptCount val="2"/>
                <c:pt idx="0">
                  <c:v>0.306061732017698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072643086673333</c:v>
                </c:pt>
                <c:pt idx="1">
                  <c:v>1.0943077327541348</c:v>
                </c:pt>
                <c:pt idx="2">
                  <c:v>1.0911963163637064</c:v>
                </c:pt>
                <c:pt idx="3">
                  <c:v>1.0670978354157195</c:v>
                </c:pt>
                <c:pt idx="4">
                  <c:v>1.1114385156970916</c:v>
                </c:pt>
                <c:pt idx="5">
                  <c:v>1.362255797764578</c:v>
                </c:pt>
                <c:pt idx="6">
                  <c:v>1.2992455857184149</c:v>
                </c:pt>
                <c:pt idx="7">
                  <c:v>1.3925921751406458</c:v>
                </c:pt>
                <c:pt idx="8">
                  <c:v>1.4150330478859068</c:v>
                </c:pt>
                <c:pt idx="9">
                  <c:v>1.348096732881056</c:v>
                </c:pt>
                <c:pt idx="10">
                  <c:v>1.4771247731281218</c:v>
                </c:pt>
                <c:pt idx="11">
                  <c:v>1.3875768004022184</c:v>
                </c:pt>
                <c:pt idx="12">
                  <c:v>1.3633923290646057</c:v>
                </c:pt>
                <c:pt idx="13">
                  <c:v>1.4719457782990355</c:v>
                </c:pt>
                <c:pt idx="14">
                  <c:v>1.4563007475314658</c:v>
                </c:pt>
                <c:pt idx="15">
                  <c:v>1.480087418799926</c:v>
                </c:pt>
                <c:pt idx="16">
                  <c:v>1.4365130626927685</c:v>
                </c:pt>
                <c:pt idx="17">
                  <c:v>1.3918346126627053</c:v>
                </c:pt>
                <c:pt idx="18">
                  <c:v>2.413379046422906</c:v>
                </c:pt>
                <c:pt idx="19">
                  <c:v>2.605153439344875</c:v>
                </c:pt>
                <c:pt idx="20">
                  <c:v>2.5143894112447667</c:v>
                </c:pt>
                <c:pt idx="21">
                  <c:v>2.403210346989363</c:v>
                </c:pt>
                <c:pt idx="22">
                  <c:v>2.4062351153750434</c:v>
                </c:pt>
                <c:pt idx="23">
                  <c:v>2.549728957731688</c:v>
                </c:pt>
                <c:pt idx="24">
                  <c:v>2.4550646004634666</c:v>
                </c:pt>
                <c:pt idx="25">
                  <c:v>2.413290099528549</c:v>
                </c:pt>
                <c:pt idx="26">
                  <c:v>2.402302545477481</c:v>
                </c:pt>
                <c:pt idx="27">
                  <c:v>2.1905866566816217</c:v>
                </c:pt>
                <c:pt idx="28">
                  <c:v>2.2304809887608528</c:v>
                </c:pt>
                <c:pt idx="29">
                  <c:v>2.190984408138532</c:v>
                </c:pt>
                <c:pt idx="30">
                  <c:v>1.960696614259134</c:v>
                </c:pt>
                <c:pt idx="31">
                  <c:v>2.0755383924562194</c:v>
                </c:pt>
                <c:pt idx="32">
                  <c:v>2.4606849622127998</c:v>
                </c:pt>
                <c:pt idx="33">
                  <c:v>2.4825451031414287</c:v>
                </c:pt>
                <c:pt idx="34">
                  <c:v>2.59226340188524</c:v>
                </c:pt>
                <c:pt idx="35">
                  <c:v>2.54944152404238</c:v>
                </c:pt>
                <c:pt idx="36">
                  <c:v>2.8740224355257507</c:v>
                </c:pt>
                <c:pt idx="37">
                  <c:v>2.6753886452052886</c:v>
                </c:pt>
                <c:pt idx="38">
                  <c:v>2.8168817154530315</c:v>
                </c:pt>
                <c:pt idx="39">
                  <c:v>2.596666780393822</c:v>
                </c:pt>
                <c:pt idx="40">
                  <c:v>2.395789730390698</c:v>
                </c:pt>
                <c:pt idx="41">
                  <c:v>2.644880084858149</c:v>
                </c:pt>
                <c:pt idx="42">
                  <c:v>2.611538614990648</c:v>
                </c:pt>
                <c:pt idx="43">
                  <c:v>2.4569254158762353</c:v>
                </c:pt>
                <c:pt idx="44">
                  <c:v>2.4174323860266185</c:v>
                </c:pt>
                <c:pt idx="45">
                  <c:v>2.343913066063055</c:v>
                </c:pt>
                <c:pt idx="46">
                  <c:v>2.10652947196815</c:v>
                </c:pt>
                <c:pt idx="47">
                  <c:v>1.946359294127968</c:v>
                </c:pt>
                <c:pt idx="48">
                  <c:v>1.6900292647307136</c:v>
                </c:pt>
                <c:pt idx="49">
                  <c:v>1.801355889448701</c:v>
                </c:pt>
                <c:pt idx="50">
                  <c:v>1.5882886689750524</c:v>
                </c:pt>
                <c:pt idx="51">
                  <c:v>1.474478900731576</c:v>
                </c:pt>
                <c:pt idx="52">
                  <c:v>1.0014950071227542</c:v>
                </c:pt>
                <c:pt idx="53">
                  <c:v>-1.989050792141744</c:v>
                </c:pt>
                <c:pt idx="54">
                  <c:v>2.157172370667719</c:v>
                </c:pt>
              </c:numCache>
            </c:numRef>
          </c:xVal>
          <c:yVal>
            <c:numRef>
              <c:f>Sheet1!$B$187:$B$241</c:f>
              <c:numCache>
                <c:formatCode>General</c:formatCode>
                <c:ptCount val="55"/>
                <c:pt idx="0">
                  <c:v>0.31929532880942296</c:v>
                </c:pt>
                <c:pt idx="1">
                  <c:v>0.31945864034844473</c:v>
                </c:pt>
                <c:pt idx="2">
                  <c:v>0.3194978582870932</c:v>
                </c:pt>
                <c:pt idx="3">
                  <c:v>0.3198016082931186</c:v>
                </c:pt>
                <c:pt idx="4">
                  <c:v>0.31924271489516104</c:v>
                </c:pt>
                <c:pt idx="5">
                  <c:v>0.3160812811473782</c:v>
                </c:pt>
                <c:pt idx="6">
                  <c:v>0.31687549520302727</c:v>
                </c:pt>
                <c:pt idx="7">
                  <c:v>0.315698905393875</c:v>
                </c:pt>
                <c:pt idx="8">
                  <c:v>0.3154160487587908</c:v>
                </c:pt>
                <c:pt idx="9">
                  <c:v>0.31625974949370117</c:v>
                </c:pt>
                <c:pt idx="10">
                  <c:v>0.314633411796853</c:v>
                </c:pt>
                <c:pt idx="11">
                  <c:v>0.31576212183105645</c:v>
                </c:pt>
                <c:pt idx="12">
                  <c:v>0.31606695570545607</c:v>
                </c:pt>
                <c:pt idx="13">
                  <c:v>0.31469869058823974</c:v>
                </c:pt>
                <c:pt idx="14">
                  <c:v>0.3148958888348916</c:v>
                </c:pt>
                <c:pt idx="15">
                  <c:v>0.3145960690430668</c:v>
                </c:pt>
                <c:pt idx="16">
                  <c:v>0.31514530328561796</c:v>
                </c:pt>
                <c:pt idx="17">
                  <c:v>0.31570845411222515</c:v>
                </c:pt>
                <c:pt idx="18">
                  <c:v>0.30283236749997866</c:v>
                </c:pt>
                <c:pt idx="19">
                  <c:v>0.3004151415706229</c:v>
                </c:pt>
                <c:pt idx="20">
                  <c:v>0.301559179410261</c:v>
                </c:pt>
                <c:pt idx="21">
                  <c:v>0.30296053916859444</c:v>
                </c:pt>
                <c:pt idx="22">
                  <c:v>0.3029224133872492</c:v>
                </c:pt>
                <c:pt idx="23">
                  <c:v>0.3011137410657651</c:v>
                </c:pt>
                <c:pt idx="24">
                  <c:v>0.30230694071816944</c:v>
                </c:pt>
                <c:pt idx="25">
                  <c:v>0.302833488633703</c:v>
                </c:pt>
                <c:pt idx="26">
                  <c:v>0.30297198157923017</c:v>
                </c:pt>
                <c:pt idx="27">
                  <c:v>0.3056405606749919</c:v>
                </c:pt>
                <c:pt idx="28">
                  <c:v>0.3051377114026415</c:v>
                </c:pt>
                <c:pt idx="29">
                  <c:v>0.30563554720515146</c:v>
                </c:pt>
                <c:pt idx="30">
                  <c:v>0.30853821642025325</c:v>
                </c:pt>
                <c:pt idx="31">
                  <c:v>0.30709068987720595</c:v>
                </c:pt>
                <c:pt idx="32">
                  <c:v>0.3022360987045625</c:v>
                </c:pt>
                <c:pt idx="33">
                  <c:v>0.3019605619206001</c:v>
                </c:pt>
                <c:pt idx="34">
                  <c:v>0.30057761442376585</c:v>
                </c:pt>
                <c:pt idx="35">
                  <c:v>0.301117364032086</c:v>
                </c:pt>
                <c:pt idx="36">
                  <c:v>0.2970261744657564</c:v>
                </c:pt>
                <c:pt idx="37">
                  <c:v>0.2995298598696999</c:v>
                </c:pt>
                <c:pt idx="38">
                  <c:v>0.2977464063386219</c:v>
                </c:pt>
                <c:pt idx="39">
                  <c:v>0.3005221119109145</c:v>
                </c:pt>
                <c:pt idx="40">
                  <c:v>0.30305407254696054</c:v>
                </c:pt>
                <c:pt idx="41">
                  <c:v>0.2999144059084842</c:v>
                </c:pt>
                <c:pt idx="42">
                  <c:v>0.30033465943794974</c:v>
                </c:pt>
                <c:pt idx="43">
                  <c:v>0.302283486016022</c:v>
                </c:pt>
                <c:pt idx="44">
                  <c:v>0.30278127706271385</c:v>
                </c:pt>
                <c:pt idx="45">
                  <c:v>0.30370795347564267</c:v>
                </c:pt>
                <c:pt idx="46">
                  <c:v>0.30670006191153465</c:v>
                </c:pt>
                <c:pt idx="47">
                  <c:v>0.3087189315900446</c:v>
                </c:pt>
                <c:pt idx="48">
                  <c:v>0.31194985092234406</c:v>
                </c:pt>
                <c:pt idx="49">
                  <c:v>0.31054663123385584</c:v>
                </c:pt>
                <c:pt idx="50">
                  <c:v>0.3132322432291666</c:v>
                </c:pt>
                <c:pt idx="51">
                  <c:v>0.3146667617726514</c:v>
                </c:pt>
                <c:pt idx="52">
                  <c:v>0.3206285010558732</c:v>
                </c:pt>
                <c:pt idx="53">
                  <c:v>0.3583229228124296</c:v>
                </c:pt>
                <c:pt idx="54">
                  <c:v>0.306061732017698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062428188433547"/>
          <c:min val="0.20903732809430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11.0841</c:v>
                </c:pt>
                <c:pt idx="1">
                  <c:v>805.8933</c:v>
                </c:pt>
                <c:pt idx="2">
                  <c:v>839.8829</c:v>
                </c:pt>
                <c:pt idx="3">
                  <c:v>853.6357</c:v>
                </c:pt>
                <c:pt idx="4">
                  <c:v>861.3777</c:v>
                </c:pt>
                <c:pt idx="5">
                  <c:v>847.0878</c:v>
                </c:pt>
                <c:pt idx="6">
                  <c:v>793.5401</c:v>
                </c:pt>
                <c:pt idx="7">
                  <c:v>818.1426</c:v>
                </c:pt>
                <c:pt idx="8">
                  <c:v>819.698</c:v>
                </c:pt>
                <c:pt idx="9">
                  <c:v>801.1699</c:v>
                </c:pt>
                <c:pt idx="10">
                  <c:v>792.0221</c:v>
                </c:pt>
                <c:pt idx="11">
                  <c:v>858.507</c:v>
                </c:pt>
                <c:pt idx="12">
                  <c:v>867.3329</c:v>
                </c:pt>
                <c:pt idx="13">
                  <c:v>878.8424</c:v>
                </c:pt>
                <c:pt idx="14">
                  <c:v>886.4586</c:v>
                </c:pt>
                <c:pt idx="15">
                  <c:v>902.2653</c:v>
                </c:pt>
                <c:pt idx="16">
                  <c:v>934.6169</c:v>
                </c:pt>
                <c:pt idx="17">
                  <c:v>967.018</c:v>
                </c:pt>
                <c:pt idx="18">
                  <c:v>990.5072</c:v>
                </c:pt>
                <c:pt idx="19">
                  <c:v>1038.3472</c:v>
                </c:pt>
                <c:pt idx="20">
                  <c:v>1040.8591</c:v>
                </c:pt>
                <c:pt idx="21">
                  <c:v>1064.7751</c:v>
                </c:pt>
                <c:pt idx="22">
                  <c:v>1068.8418</c:v>
                </c:pt>
                <c:pt idx="23">
                  <c:v>1040.5348</c:v>
                </c:pt>
                <c:pt idx="24">
                  <c:v>1027.605</c:v>
                </c:pt>
                <c:pt idx="25">
                  <c:v>1013.0063</c:v>
                </c:pt>
                <c:pt idx="26">
                  <c:v>993.8056</c:v>
                </c:pt>
                <c:pt idx="27">
                  <c:v>981.7741</c:v>
                </c:pt>
                <c:pt idx="28">
                  <c:v>977.5228</c:v>
                </c:pt>
                <c:pt idx="29">
                  <c:v>987.4589</c:v>
                </c:pt>
                <c:pt idx="30">
                  <c:v>988.666</c:v>
                </c:pt>
                <c:pt idx="31">
                  <c:v>976.9614</c:v>
                </c:pt>
                <c:pt idx="32">
                  <c:v>986.556</c:v>
                </c:pt>
                <c:pt idx="33">
                  <c:v>952.8236</c:v>
                </c:pt>
                <c:pt idx="34">
                  <c:v>936.4268</c:v>
                </c:pt>
                <c:pt idx="35">
                  <c:v>952.6825</c:v>
                </c:pt>
                <c:pt idx="36">
                  <c:v>1015.9712</c:v>
                </c:pt>
                <c:pt idx="37">
                  <c:v>1012.0331</c:v>
                </c:pt>
                <c:pt idx="38">
                  <c:v>1117.8362</c:v>
                </c:pt>
                <c:pt idx="39">
                  <c:v>1144.9146</c:v>
                </c:pt>
                <c:pt idx="40">
                  <c:v>1124.4257</c:v>
                </c:pt>
                <c:pt idx="41">
                  <c:v>1129.9423</c:v>
                </c:pt>
                <c:pt idx="42">
                  <c:v>1150.389</c:v>
                </c:pt>
                <c:pt idx="43">
                  <c:v>1154.6053</c:v>
                </c:pt>
                <c:pt idx="44">
                  <c:v>1036.1777</c:v>
                </c:pt>
                <c:pt idx="45">
                  <c:v>995.3018</c:v>
                </c:pt>
                <c:pt idx="46">
                  <c:v>1023.7402</c:v>
                </c:pt>
                <c:pt idx="47">
                  <c:v>1013.4453</c:v>
                </c:pt>
                <c:pt idx="48">
                  <c:v>1007.0182</c:v>
                </c:pt>
                <c:pt idx="49">
                  <c:v>974.6339</c:v>
                </c:pt>
                <c:pt idx="50">
                  <c:v>947.2673</c:v>
                </c:pt>
                <c:pt idx="51">
                  <c:v>955.6338</c:v>
                </c:pt>
                <c:pt idx="52">
                  <c:v>955.8233</c:v>
                </c:pt>
                <c:pt idx="53">
                  <c:v>1050.3548</c:v>
                </c:pt>
                <c:pt idx="54">
                  <c:v>1052.6306</c:v>
                </c:pt>
                <c:pt idx="55">
                  <c:v>1050.7742</c:v>
                </c:pt>
                <c:pt idx="56">
                  <c:v>1092.1404</c:v>
                </c:pt>
                <c:pt idx="57">
                  <c:v>1044.599</c:v>
                </c:pt>
                <c:pt idx="58">
                  <c:v>1016.7781</c:v>
                </c:pt>
                <c:pt idx="59">
                  <c:v>997.5225</c:v>
                </c:pt>
                <c:pt idx="60">
                  <c:v>1010.4676</c:v>
                </c:pt>
                <c:pt idx="61">
                  <c:v>1031.4556</c:v>
                </c:pt>
                <c:pt idx="62">
                  <c:v>986.6056</c:v>
                </c:pt>
                <c:pt idx="63">
                  <c:v>1015.6024</c:v>
                </c:pt>
                <c:pt idx="64">
                  <c:v>1034.2212</c:v>
                </c:pt>
                <c:pt idx="65">
                  <c:v>1015.8288</c:v>
                </c:pt>
                <c:pt idx="66">
                  <c:v>997.7785</c:v>
                </c:pt>
                <c:pt idx="67">
                  <c:v>1040.6124</c:v>
                </c:pt>
                <c:pt idx="68">
                  <c:v>1082.0632</c:v>
                </c:pt>
                <c:pt idx="69">
                  <c:v>1117.0358</c:v>
                </c:pt>
                <c:pt idx="70">
                  <c:v>1082.8154</c:v>
                </c:pt>
                <c:pt idx="71">
                  <c:v>1152.3805</c:v>
                </c:pt>
                <c:pt idx="72">
                  <c:v>1249.3564</c:v>
                </c:pt>
                <c:pt idx="73">
                  <c:v>1240.5961</c:v>
                </c:pt>
                <c:pt idx="74">
                  <c:v>1216.9758</c:v>
                </c:pt>
                <c:pt idx="75">
                  <c:v>1162.3632</c:v>
                </c:pt>
                <c:pt idx="76">
                  <c:v>1145.9048</c:v>
                </c:pt>
                <c:pt idx="77">
                  <c:v>1171.33</c:v>
                </c:pt>
                <c:pt idx="78">
                  <c:v>1218.3826</c:v>
                </c:pt>
                <c:pt idx="79">
                  <c:v>1141.8993</c:v>
                </c:pt>
                <c:pt idx="80">
                  <c:v>1160.4489</c:v>
                </c:pt>
                <c:pt idx="81">
                  <c:v>1130.5308</c:v>
                </c:pt>
                <c:pt idx="82">
                  <c:v>1116.5699</c:v>
                </c:pt>
                <c:pt idx="83">
                  <c:v>1113.3995</c:v>
                </c:pt>
                <c:pt idx="84">
                  <c:v>1131.6349</c:v>
                </c:pt>
                <c:pt idx="85">
                  <c:v>1101.5789</c:v>
                </c:pt>
                <c:pt idx="86">
                  <c:v>1086.6507</c:v>
                </c:pt>
                <c:pt idx="87">
                  <c:v>1087.7186</c:v>
                </c:pt>
                <c:pt idx="88">
                  <c:v>1121.5043</c:v>
                </c:pt>
                <c:pt idx="89">
                  <c:v>1104.7245</c:v>
                </c:pt>
                <c:pt idx="90">
                  <c:v>1206.941</c:v>
                </c:pt>
                <c:pt idx="91">
                  <c:v>1228.3902</c:v>
                </c:pt>
                <c:pt idx="92">
                  <c:v>1198.2746</c:v>
                </c:pt>
                <c:pt idx="93">
                  <c:v>1215.6162</c:v>
                </c:pt>
                <c:pt idx="94">
                  <c:v>1239.1445</c:v>
                </c:pt>
                <c:pt idx="95">
                  <c:v>1193.7047</c:v>
                </c:pt>
                <c:pt idx="96">
                  <c:v>1117.7243</c:v>
                </c:pt>
                <c:pt idx="97">
                  <c:v>1089.4869</c:v>
                </c:pt>
                <c:pt idx="98">
                  <c:v>1087.9192</c:v>
                </c:pt>
                <c:pt idx="99">
                  <c:v>1043.0065</c:v>
                </c:pt>
                <c:pt idx="100">
                  <c:v>1037.7531</c:v>
                </c:pt>
                <c:pt idx="101">
                  <c:v>1051.2708</c:v>
                </c:pt>
                <c:pt idx="102">
                  <c:v>1058.9901</c:v>
                </c:pt>
                <c:pt idx="103">
                  <c:v>1054.682</c:v>
                </c:pt>
                <c:pt idx="104">
                  <c:v>1101.5747</c:v>
                </c:pt>
              </c:numCache>
            </c:numRef>
          </c:xVal>
          <c:yVal>
            <c:numRef>
              <c:f>Sheet1!$B$2:$B$106</c:f>
              <c:numCache>
                <c:formatCode>General</c:formatCode>
                <c:ptCount val="105"/>
                <c:pt idx="0">
                  <c:v>0.3754054851076379</c:v>
                </c:pt>
                <c:pt idx="1">
                  <c:v>0.3365983971504898</c:v>
                </c:pt>
                <c:pt idx="2">
                  <c:v>0.3293510724952484</c:v>
                </c:pt>
                <c:pt idx="3">
                  <c:v>0.3299624386015602</c:v>
                </c:pt>
                <c:pt idx="4">
                  <c:v>0.335669002335669</c:v>
                </c:pt>
                <c:pt idx="5">
                  <c:v>0.36349981224183253</c:v>
                </c:pt>
                <c:pt idx="6">
                  <c:v>0.3894496906545099</c:v>
                </c:pt>
                <c:pt idx="7">
                  <c:v>0.3921869015702796</c:v>
                </c:pt>
                <c:pt idx="8">
                  <c:v>0.37278350515463915</c:v>
                </c:pt>
                <c:pt idx="9">
                  <c:v>0.36108676599474143</c:v>
                </c:pt>
                <c:pt idx="10">
                  <c:v>0.35204240723417524</c:v>
                </c:pt>
                <c:pt idx="11">
                  <c:v>0.32066240120436584</c:v>
                </c:pt>
                <c:pt idx="12">
                  <c:v>0.29833863556026863</c:v>
                </c:pt>
                <c:pt idx="13">
                  <c:v>0.26637712631197974</c:v>
                </c:pt>
                <c:pt idx="14">
                  <c:v>0.26129666011787817</c:v>
                </c:pt>
                <c:pt idx="15">
                  <c:v>0.2847161572052402</c:v>
                </c:pt>
                <c:pt idx="16">
                  <c:v>0.3142857142857143</c:v>
                </c:pt>
                <c:pt idx="17">
                  <c:v>0.2881844380403458</c:v>
                </c:pt>
                <c:pt idx="18">
                  <c:v>0.34896810506566606</c:v>
                </c:pt>
                <c:pt idx="19">
                  <c:v>0.34210526315789475</c:v>
                </c:pt>
                <c:pt idx="20">
                  <c:v>0.3381754793724579</c:v>
                </c:pt>
                <c:pt idx="21">
                  <c:v>0.32936507936507936</c:v>
                </c:pt>
                <c:pt idx="22">
                  <c:v>0.308703819661866</c:v>
                </c:pt>
                <c:pt idx="23">
                  <c:v>0.32388924661944624</c:v>
                </c:pt>
                <c:pt idx="24">
                  <c:v>0.2940516273849607</c:v>
                </c:pt>
                <c:pt idx="25">
                  <c:v>0.3104342190537913</c:v>
                </c:pt>
                <c:pt idx="26">
                  <c:v>0.3437301082113304</c:v>
                </c:pt>
                <c:pt idx="27">
                  <c:v>0.3379224030037547</c:v>
                </c:pt>
                <c:pt idx="28">
                  <c:v>0.35812133072407043</c:v>
                </c:pt>
                <c:pt idx="29">
                  <c:v>0.3387605042016807</c:v>
                </c:pt>
                <c:pt idx="30">
                  <c:v>0.3699127906976744</c:v>
                </c:pt>
                <c:pt idx="31">
                  <c:v>0.3419141914191419</c:v>
                </c:pt>
                <c:pt idx="32">
                  <c:v>0.3020408163265306</c:v>
                </c:pt>
                <c:pt idx="33">
                  <c:v>0.2874946282767512</c:v>
                </c:pt>
                <c:pt idx="34">
                  <c:v>0.31341557440246726</c:v>
                </c:pt>
                <c:pt idx="35">
                  <c:v>0.3381967826412271</c:v>
                </c:pt>
                <c:pt idx="36">
                  <c:v>0.358841778697001</c:v>
                </c:pt>
                <c:pt idx="37">
                  <c:v>0.37272192827748385</c:v>
                </c:pt>
                <c:pt idx="38">
                  <c:v>0.34416445623342173</c:v>
                </c:pt>
                <c:pt idx="39">
                  <c:v>0.3464788732394366</c:v>
                </c:pt>
                <c:pt idx="40">
                  <c:v>0.3410241980866629</c:v>
                </c:pt>
                <c:pt idx="41">
                  <c:v>0.32577720207253885</c:v>
                </c:pt>
                <c:pt idx="42">
                  <c:v>0.28107838242636046</c:v>
                </c:pt>
                <c:pt idx="43">
                  <c:v>0.2696676482961716</c:v>
                </c:pt>
                <c:pt idx="44">
                  <c:v>0.29021913415285944</c:v>
                </c:pt>
                <c:pt idx="45">
                  <c:v>0.335418114431318</c:v>
                </c:pt>
                <c:pt idx="46">
                  <c:v>0.31493071077335716</c:v>
                </c:pt>
                <c:pt idx="47">
                  <c:v>0.29876434245366285</c:v>
                </c:pt>
                <c:pt idx="48">
                  <c:v>0.28941292875989444</c:v>
                </c:pt>
                <c:pt idx="49">
                  <c:v>0.2849056603773585</c:v>
                </c:pt>
                <c:pt idx="50">
                  <c:v>0.29102031898623554</c:v>
                </c:pt>
                <c:pt idx="51">
                  <c:v>0.27238261883931175</c:v>
                </c:pt>
                <c:pt idx="52">
                  <c:v>0.27350630802189957</c:v>
                </c:pt>
                <c:pt idx="53">
                  <c:v>0.27004716981132076</c:v>
                </c:pt>
                <c:pt idx="54">
                  <c:v>0.2795969773299748</c:v>
                </c:pt>
                <c:pt idx="55">
                  <c:v>0.2830858618463525</c:v>
                </c:pt>
                <c:pt idx="56">
                  <c:v>0.2687052700065062</c:v>
                </c:pt>
                <c:pt idx="57">
                  <c:v>0.2835332606324973</c:v>
                </c:pt>
                <c:pt idx="58">
                  <c:v>0.3012836037781545</c:v>
                </c:pt>
                <c:pt idx="59">
                  <c:v>0.3104875804967801</c:v>
                </c:pt>
                <c:pt idx="60">
                  <c:v>0.30923229649238915</c:v>
                </c:pt>
                <c:pt idx="61">
                  <c:v>0.3021307158247546</c:v>
                </c:pt>
                <c:pt idx="62">
                  <c:v>0.29963980189104006</c:v>
                </c:pt>
                <c:pt idx="63">
                  <c:v>0.2947819314641745</c:v>
                </c:pt>
                <c:pt idx="64">
                  <c:v>0.28729166666666667</c:v>
                </c:pt>
                <c:pt idx="65">
                  <c:v>0.27869249394673123</c:v>
                </c:pt>
                <c:pt idx="66">
                  <c:v>0.3200790318597184</c:v>
                </c:pt>
                <c:pt idx="67">
                  <c:v>0.31241360243295546</c:v>
                </c:pt>
                <c:pt idx="68">
                  <c:v>0.3050600655260284</c:v>
                </c:pt>
                <c:pt idx="69">
                  <c:v>0.29854368932038833</c:v>
                </c:pt>
                <c:pt idx="70">
                  <c:v>0.30619629127091813</c:v>
                </c:pt>
                <c:pt idx="71">
                  <c:v>0.31069858329262334</c:v>
                </c:pt>
                <c:pt idx="72">
                  <c:v>0.29510426110607435</c:v>
                </c:pt>
                <c:pt idx="73">
                  <c:v>0.2913875598086124</c:v>
                </c:pt>
                <c:pt idx="74">
                  <c:v>0.28745115067303517</c:v>
                </c:pt>
                <c:pt idx="75">
                  <c:v>0.31390593047034765</c:v>
                </c:pt>
                <c:pt idx="76">
                  <c:v>0.3196902654867257</c:v>
                </c:pt>
                <c:pt idx="77">
                  <c:v>0.30716934487021014</c:v>
                </c:pt>
                <c:pt idx="78">
                  <c:v>0.31420765027322406</c:v>
                </c:pt>
                <c:pt idx="79">
                  <c:v>0.3274282223579719</c:v>
                </c:pt>
                <c:pt idx="80">
                  <c:v>0.3237679351216469</c:v>
                </c:pt>
                <c:pt idx="81">
                  <c:v>0.32598039215686275</c:v>
                </c:pt>
                <c:pt idx="82">
                  <c:v>0.3125827814569536</c:v>
                </c:pt>
                <c:pt idx="83">
                  <c:v>0.32229580573951433</c:v>
                </c:pt>
                <c:pt idx="84">
                  <c:v>0.3303370786516854</c:v>
                </c:pt>
                <c:pt idx="85">
                  <c:v>0.33906947100063733</c:v>
                </c:pt>
                <c:pt idx="86">
                  <c:v>0.3492822966507177</c:v>
                </c:pt>
                <c:pt idx="87">
                  <c:v>0.3315972222222222</c:v>
                </c:pt>
                <c:pt idx="88">
                  <c:v>0.3301245753114383</c:v>
                </c:pt>
                <c:pt idx="89">
                  <c:v>0.32837670384138784</c:v>
                </c:pt>
                <c:pt idx="90">
                  <c:v>0.2979830839297333</c:v>
                </c:pt>
                <c:pt idx="91">
                  <c:v>0.2911555842479019</c:v>
                </c:pt>
                <c:pt idx="92">
                  <c:v>0.3008474576271186</c:v>
                </c:pt>
                <c:pt idx="93">
                  <c:v>0.3050483351235231</c:v>
                </c:pt>
                <c:pt idx="94">
                  <c:v>0.3082706766917293</c:v>
                </c:pt>
                <c:pt idx="95">
                  <c:v>0.3015741507870754</c:v>
                </c:pt>
                <c:pt idx="96">
                  <c:v>0.3085926348843848</c:v>
                </c:pt>
                <c:pt idx="97">
                  <c:v>0.33391695847923963</c:v>
                </c:pt>
                <c:pt idx="98">
                  <c:v>0.3342880523731588</c:v>
                </c:pt>
                <c:pt idx="99">
                  <c:v>0.3379850238257318</c:v>
                </c:pt>
                <c:pt idx="100">
                  <c:v>0.3145211636908478</c:v>
                </c:pt>
                <c:pt idx="101">
                  <c:v>0.3303303303303303</c:v>
                </c:pt>
                <c:pt idx="102">
                  <c:v>0.3227564102564103</c:v>
                </c:pt>
                <c:pt idx="103">
                  <c:v>0.3270233196159122</c:v>
                </c:pt>
                <c:pt idx="104">
                  <c:v>0.31482691051600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numCache>
            </c:numRef>
          </c:xVal>
          <c:yVal>
            <c:numRef>
              <c:f>Sheet1!$B$109:$B$160</c:f>
              <c:numCache>
                <c:formatCode>General</c:formatCode>
                <c:ptCount val="52"/>
                <c:pt idx="0">
                  <c:v>0.29814385150812067</c:v>
                </c:pt>
                <c:pt idx="1">
                  <c:v>0.3</c:v>
                </c:pt>
                <c:pt idx="2">
                  <c:v>0.3182565789473684</c:v>
                </c:pt>
                <c:pt idx="3">
                  <c:v>0.32784313725490194</c:v>
                </c:pt>
                <c:pt idx="4">
                  <c:v>0.29737687366167026</c:v>
                </c:pt>
                <c:pt idx="5">
                  <c:v>0.31350176582450423</c:v>
                </c:pt>
                <c:pt idx="6">
                  <c:v>0.31964669372165194</c:v>
                </c:pt>
                <c:pt idx="7">
                  <c:v>0.3187396351575456</c:v>
                </c:pt>
                <c:pt idx="8">
                  <c:v>0.3005259203606311</c:v>
                </c:pt>
                <c:pt idx="9">
                  <c:v>0.314169766655394</c:v>
                </c:pt>
                <c:pt idx="10">
                  <c:v>0.3167283742847526</c:v>
                </c:pt>
                <c:pt idx="11">
                  <c:v>0.3043968432919955</c:v>
                </c:pt>
                <c:pt idx="12">
                  <c:v>0.2942413883775966</c:v>
                </c:pt>
                <c:pt idx="13">
                  <c:v>0.2979154603358425</c:v>
                </c:pt>
                <c:pt idx="14">
                  <c:v>0.2972459639126306</c:v>
                </c:pt>
                <c:pt idx="15">
                  <c:v>0.31816553206735937</c:v>
                </c:pt>
                <c:pt idx="16">
                  <c:v>0.3429930795847751</c:v>
                </c:pt>
                <c:pt idx="17">
                  <c:v>0.34214123006833713</c:v>
                </c:pt>
                <c:pt idx="18">
                  <c:v>0.32686822589845976</c:v>
                </c:pt>
                <c:pt idx="19">
                  <c:v>0.3110435663627153</c:v>
                </c:pt>
                <c:pt idx="20">
                  <c:v>0.3126410835214447</c:v>
                </c:pt>
                <c:pt idx="21">
                  <c:v>0.3303049967553537</c:v>
                </c:pt>
                <c:pt idx="22">
                  <c:v>0.31782477341389725</c:v>
                </c:pt>
                <c:pt idx="23">
                  <c:v>0.3042659974905897</c:v>
                </c:pt>
                <c:pt idx="24">
                  <c:v>0.3106796116504854</c:v>
                </c:pt>
                <c:pt idx="25">
                  <c:v>0.3118214716525935</c:v>
                </c:pt>
                <c:pt idx="26">
                  <c:v>0.3259938837920489</c:v>
                </c:pt>
                <c:pt idx="27">
                  <c:v>0.3449612403100775</c:v>
                </c:pt>
                <c:pt idx="28">
                  <c:v>0.3218045112781955</c:v>
                </c:pt>
                <c:pt idx="29">
                  <c:v>0.3181818181818182</c:v>
                </c:pt>
                <c:pt idx="30">
                  <c:v>0.2994522215459525</c:v>
                </c:pt>
                <c:pt idx="31">
                  <c:v>0.31100478468899523</c:v>
                </c:pt>
                <c:pt idx="32">
                  <c:v>0.29362214199759323</c:v>
                </c:pt>
                <c:pt idx="33">
                  <c:v>0.2932537861404314</c:v>
                </c:pt>
                <c:pt idx="34">
                  <c:v>0.28102564102564104</c:v>
                </c:pt>
                <c:pt idx="35">
                  <c:v>0.2864963503649635</c:v>
                </c:pt>
                <c:pt idx="36">
                  <c:v>0.2677916360968452</c:v>
                </c:pt>
                <c:pt idx="37">
                  <c:v>0.27718832891246686</c:v>
                </c:pt>
                <c:pt idx="38">
                  <c:v>0.2826388888888889</c:v>
                </c:pt>
                <c:pt idx="39">
                  <c:v>0.27101879327398615</c:v>
                </c:pt>
                <c:pt idx="40">
                  <c:v>0.2919191919191919</c:v>
                </c:pt>
                <c:pt idx="41">
                  <c:v>0.2766461392704879</c:v>
                </c:pt>
                <c:pt idx="42">
                  <c:v>0.2924683892248488</c:v>
                </c:pt>
                <c:pt idx="43">
                  <c:v>0.2710868652958456</c:v>
                </c:pt>
                <c:pt idx="44">
                  <c:v>0.30310786106032905</c:v>
                </c:pt>
                <c:pt idx="45">
                  <c:v>0.3201631404537344</c:v>
                </c:pt>
                <c:pt idx="46">
                  <c:v>0.33663366336633666</c:v>
                </c:pt>
                <c:pt idx="47">
                  <c:v>0.33324446814182884</c:v>
                </c:pt>
                <c:pt idx="48">
                  <c:v>0.34182944259171033</c:v>
                </c:pt>
                <c:pt idx="49">
                  <c:v>0.3314667241007969</c:v>
                </c:pt>
                <c:pt idx="50">
                  <c:v>0.3012902311073302</c:v>
                </c:pt>
                <c:pt idx="51">
                  <c:v>0.307927606423655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5.8535674699732</c:v>
                </c:pt>
              </c:numCache>
            </c:numRef>
          </c:xVal>
          <c:yVal>
            <c:numRef>
              <c:f>Sheet1!$B$163:$B$164</c:f>
              <c:numCache>
                <c:formatCode>General</c:formatCode>
                <c:ptCount val="2"/>
                <c:pt idx="0">
                  <c:v>0.3583229228124296</c:v>
                </c:pt>
                <c:pt idx="1">
                  <c:v>0.35832292281242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5.8535674699732</c:v>
                </c:pt>
                <c:pt idx="1">
                  <c:v>855.8535674699732</c:v>
                </c:pt>
              </c:numCache>
            </c:numRef>
          </c:xVal>
          <c:yVal>
            <c:numRef>
              <c:f>Sheet1!$B$167:$B$168</c:f>
              <c:numCache>
                <c:formatCode>General</c:formatCode>
                <c:ptCount val="2"/>
                <c:pt idx="0">
                  <c:v>0.35832292281242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4.1359913147144</c:v>
                </c:pt>
              </c:numCache>
            </c:numRef>
          </c:xVal>
          <c:yVal>
            <c:numRef>
              <c:f>Sheet1!$B$171:$B$172</c:f>
              <c:numCache>
                <c:formatCode>General</c:formatCode>
                <c:ptCount val="2"/>
                <c:pt idx="0">
                  <c:v>0.3206285010558732</c:v>
                </c:pt>
                <c:pt idx="1">
                  <c:v>0.32062850105587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4.1359913147144</c:v>
                </c:pt>
                <c:pt idx="1">
                  <c:v>1104.1359913147144</c:v>
                </c:pt>
              </c:numCache>
            </c:numRef>
          </c:xVal>
          <c:yVal>
            <c:numRef>
              <c:f>Sheet1!$B$175:$B$176</c:f>
              <c:numCache>
                <c:formatCode>General</c:formatCode>
                <c:ptCount val="2"/>
                <c:pt idx="0">
                  <c:v>0.320628501055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0.0831515534953</c:v>
                </c:pt>
              </c:numCache>
            </c:numRef>
          </c:xVal>
          <c:yVal>
            <c:numRef>
              <c:f>Sheet1!$B$179:$B$180</c:f>
              <c:numCache>
                <c:formatCode>General</c:formatCode>
                <c:ptCount val="2"/>
                <c:pt idx="0">
                  <c:v>0.30606173201769865</c:v>
                </c:pt>
                <c:pt idx="1">
                  <c:v>0.306061732017698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0.0831515534953</c:v>
                </c:pt>
                <c:pt idx="1">
                  <c:v>1200.0831515534953</c:v>
                </c:pt>
              </c:numCache>
            </c:numRef>
          </c:xVal>
          <c:yVal>
            <c:numRef>
              <c:f>Sheet1!$B$183:$B$184</c:f>
              <c:numCache>
                <c:formatCode>General</c:formatCode>
                <c:ptCount val="2"/>
                <c:pt idx="0">
                  <c:v>0.306061732017698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pt idx="52">
                  <c:v>1104.1359913147144</c:v>
                </c:pt>
                <c:pt idx="53">
                  <c:v>855.8535674699732</c:v>
                </c:pt>
                <c:pt idx="54">
                  <c:v>1200.0831515534953</c:v>
                </c:pt>
              </c:numCache>
            </c:numRef>
          </c:xVal>
          <c:yVal>
            <c:numRef>
              <c:f>Sheet1!$B$187:$B$241</c:f>
              <c:numCache>
                <c:formatCode>General</c:formatCode>
                <c:ptCount val="55"/>
                <c:pt idx="0">
                  <c:v>0.3133437306311404</c:v>
                </c:pt>
                <c:pt idx="1">
                  <c:v>0.3114420088376555</c:v>
                </c:pt>
                <c:pt idx="2">
                  <c:v>0.3109986619075388</c:v>
                </c:pt>
                <c:pt idx="3">
                  <c:v>0.31402835108407795</c:v>
                </c:pt>
                <c:pt idx="4">
                  <c:v>0.3058186748370148</c:v>
                </c:pt>
                <c:pt idx="5">
                  <c:v>0.3107118573442612</c:v>
                </c:pt>
                <c:pt idx="6">
                  <c:v>0.3242662006204462</c:v>
                </c:pt>
                <c:pt idx="7">
                  <c:v>0.31718696643452815</c:v>
                </c:pt>
                <c:pt idx="8">
                  <c:v>0.3080461280319672</c:v>
                </c:pt>
                <c:pt idx="9">
                  <c:v>0.31451176350794774</c:v>
                </c:pt>
                <c:pt idx="10">
                  <c:v>0.30793589099136803</c:v>
                </c:pt>
                <c:pt idx="11">
                  <c:v>0.32962512361722035</c:v>
                </c:pt>
                <c:pt idx="12">
                  <c:v>0.3262213329508858</c:v>
                </c:pt>
                <c:pt idx="13">
                  <c:v>0.31543870504682436</c:v>
                </c:pt>
                <c:pt idx="14">
                  <c:v>0.3166777141204091</c:v>
                </c:pt>
                <c:pt idx="15">
                  <c:v>0.31341543556747836</c:v>
                </c:pt>
                <c:pt idx="16">
                  <c:v>0.31071914473986617</c:v>
                </c:pt>
                <c:pt idx="17">
                  <c:v>0.3167804512163649</c:v>
                </c:pt>
                <c:pt idx="18">
                  <c:v>0.3020173263762814</c:v>
                </c:pt>
                <c:pt idx="19">
                  <c:v>0.29149264191248714</c:v>
                </c:pt>
                <c:pt idx="20">
                  <c:v>0.29659131379371917</c:v>
                </c:pt>
                <c:pt idx="21">
                  <c:v>0.30999634137037346</c:v>
                </c:pt>
                <c:pt idx="22">
                  <c:v>0.31285202879477</c:v>
                </c:pt>
                <c:pt idx="23">
                  <c:v>0.30395042951709017</c:v>
                </c:pt>
                <c:pt idx="24">
                  <c:v>0.3035458727864957</c:v>
                </c:pt>
                <c:pt idx="25">
                  <c:v>0.3134008152300459</c:v>
                </c:pt>
                <c:pt idx="26">
                  <c:v>0.3147813971453312</c:v>
                </c:pt>
                <c:pt idx="27">
                  <c:v>0.31550454970252995</c:v>
                </c:pt>
                <c:pt idx="28">
                  <c:v>0.31089715455959144</c:v>
                </c:pt>
                <c:pt idx="29">
                  <c:v>0.30985361469103545</c:v>
                </c:pt>
                <c:pt idx="30">
                  <c:v>0.3107197064766107</c:v>
                </c:pt>
                <c:pt idx="31">
                  <c:v>0.3128218771954545</c:v>
                </c:pt>
                <c:pt idx="32">
                  <c:v>0.3084288225757468</c:v>
                </c:pt>
                <c:pt idx="33">
                  <c:v>0.30853722258537053</c:v>
                </c:pt>
                <c:pt idx="34">
                  <c:v>0.306201247924201</c:v>
                </c:pt>
                <c:pt idx="35">
                  <c:v>0.29829112918272416</c:v>
                </c:pt>
                <c:pt idx="36">
                  <c:v>0.2907213318159989</c:v>
                </c:pt>
                <c:pt idx="37">
                  <c:v>0.2917120380664189</c:v>
                </c:pt>
                <c:pt idx="38">
                  <c:v>0.2877648506011413</c:v>
                </c:pt>
                <c:pt idx="39">
                  <c:v>0.2964498016803153</c:v>
                </c:pt>
                <c:pt idx="40">
                  <c:v>0.2976472574168777</c:v>
                </c:pt>
                <c:pt idx="41">
                  <c:v>0.2867523125280548</c:v>
                </c:pt>
                <c:pt idx="42">
                  <c:v>0.2885136608636991</c:v>
                </c:pt>
                <c:pt idx="43">
                  <c:v>0.2858690346345112</c:v>
                </c:pt>
                <c:pt idx="44">
                  <c:v>0.29780571272506307</c:v>
                </c:pt>
                <c:pt idx="45">
                  <c:v>0.307403394921684</c:v>
                </c:pt>
                <c:pt idx="46">
                  <c:v>0.3097993843220752</c:v>
                </c:pt>
                <c:pt idx="47">
                  <c:v>0.31378016971750655</c:v>
                </c:pt>
                <c:pt idx="48">
                  <c:v>0.31594080660400603</c:v>
                </c:pt>
                <c:pt idx="49">
                  <c:v>0.31392572026264143</c:v>
                </c:pt>
                <c:pt idx="50">
                  <c:v>0.32168652330458747</c:v>
                </c:pt>
                <c:pt idx="51">
                  <c:v>0.3268759384431754</c:v>
                </c:pt>
                <c:pt idx="52">
                  <c:v>0.3206285010558732</c:v>
                </c:pt>
                <c:pt idx="53">
                  <c:v>0.3583229228124296</c:v>
                </c:pt>
                <c:pt idx="54">
                  <c:v>0.30606173201769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0.0"/>
          <c:min val="5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062428188433547"/>
          <c:min val="0.20903732809430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332464191976003</c:v>
                </c:pt>
                <c:pt idx="1">
                  <c:v>0.5768742304939155</c:v>
                </c:pt>
                <c:pt idx="2">
                  <c:v>0.6199922829726308</c:v>
                </c:pt>
                <c:pt idx="3">
                  <c:v>0.6468570435247022</c:v>
                </c:pt>
                <c:pt idx="4">
                  <c:v>0.8478126968503937</c:v>
                </c:pt>
                <c:pt idx="5">
                  <c:v>0.8337478346456693</c:v>
                </c:pt>
                <c:pt idx="6">
                  <c:v>0.657720762536262</c:v>
                </c:pt>
                <c:pt idx="7">
                  <c:v>0.7578903195924039</c:v>
                </c:pt>
                <c:pt idx="8">
                  <c:v>0.7015559739815131</c:v>
                </c:pt>
                <c:pt idx="9">
                  <c:v>0.664044674678823</c:v>
                </c:pt>
                <c:pt idx="10">
                  <c:v>0.6236394488188977</c:v>
                </c:pt>
                <c:pt idx="11">
                  <c:v>0.6145361488904796</c:v>
                </c:pt>
                <c:pt idx="12">
                  <c:v>0.5962075270665063</c:v>
                </c:pt>
                <c:pt idx="13">
                  <c:v>0.6017407737076343</c:v>
                </c:pt>
                <c:pt idx="14">
                  <c:v>0.6979988976377953</c:v>
                </c:pt>
                <c:pt idx="15">
                  <c:v>0.8880563976377953</c:v>
                </c:pt>
                <c:pt idx="16">
                  <c:v>0.9334500873907615</c:v>
                </c:pt>
                <c:pt idx="17">
                  <c:v>0.8773127693354502</c:v>
                </c:pt>
                <c:pt idx="18">
                  <c:v>0.8800597067969791</c:v>
                </c:pt>
                <c:pt idx="19">
                  <c:v>0.7074816100958071</c:v>
                </c:pt>
                <c:pt idx="20">
                  <c:v>0.9377109009009008</c:v>
                </c:pt>
                <c:pt idx="21">
                  <c:v>0.8322890524306684</c:v>
                </c:pt>
                <c:pt idx="22">
                  <c:v>1.1076080829015542</c:v>
                </c:pt>
                <c:pt idx="23">
                  <c:v>1.3025001408230323</c:v>
                </c:pt>
                <c:pt idx="24">
                  <c:v>1.0211378277952246</c:v>
                </c:pt>
                <c:pt idx="25">
                  <c:v>0.8573900126957258</c:v>
                </c:pt>
                <c:pt idx="26">
                  <c:v>1.4730319430320187</c:v>
                </c:pt>
                <c:pt idx="27">
                  <c:v>0.9821014344080882</c:v>
                </c:pt>
                <c:pt idx="28">
                  <c:v>0.7697029921259843</c:v>
                </c:pt>
                <c:pt idx="29">
                  <c:v>0.87244199300374</c:v>
                </c:pt>
                <c:pt idx="30">
                  <c:v>0.8427327505971658</c:v>
                </c:pt>
                <c:pt idx="31">
                  <c:v>0.9328826927667702</c:v>
                </c:pt>
                <c:pt idx="32">
                  <c:v>0.7709476225332738</c:v>
                </c:pt>
                <c:pt idx="33">
                  <c:v>0.991491779396462</c:v>
                </c:pt>
                <c:pt idx="34">
                  <c:v>0.8722538622023649</c:v>
                </c:pt>
                <c:pt idx="35">
                  <c:v>0.7850340767246264</c:v>
                </c:pt>
                <c:pt idx="36">
                  <c:v>0.8420813924575217</c:v>
                </c:pt>
                <c:pt idx="37">
                  <c:v>0.7812514281303071</c:v>
                </c:pt>
                <c:pt idx="38">
                  <c:v>0.9923719976570197</c:v>
                </c:pt>
                <c:pt idx="39">
                  <c:v>0.8995008222993538</c:v>
                </c:pt>
                <c:pt idx="40">
                  <c:v>0.8853745669291339</c:v>
                </c:pt>
                <c:pt idx="41">
                  <c:v>0.8897183464566929</c:v>
                </c:pt>
                <c:pt idx="42">
                  <c:v>0.9152771755345598</c:v>
                </c:pt>
                <c:pt idx="43">
                  <c:v>0.9692939398503233</c:v>
                </c:pt>
                <c:pt idx="44">
                  <c:v>0.8322712449799197</c:v>
                </c:pt>
                <c:pt idx="45">
                  <c:v>0.8453866037765176</c:v>
                </c:pt>
                <c:pt idx="46">
                  <c:v>0.9165086839749328</c:v>
                </c:pt>
                <c:pt idx="47">
                  <c:v>0.778525292874976</c:v>
                </c:pt>
                <c:pt idx="48">
                  <c:v>0.9268460193281178</c:v>
                </c:pt>
                <c:pt idx="49">
                  <c:v>0.8296521813151735</c:v>
                </c:pt>
                <c:pt idx="50">
                  <c:v>0.6687042389815296</c:v>
                </c:pt>
                <c:pt idx="51">
                  <c:v>0.44185028666543363</c:v>
                </c:pt>
                <c:pt idx="52">
                  <c:v>0.5693491184179176</c:v>
                </c:pt>
                <c:pt idx="53">
                  <c:v>0.5734629831841014</c:v>
                </c:pt>
                <c:pt idx="54">
                  <c:v>0.6297789806875388</c:v>
                </c:pt>
                <c:pt idx="55">
                  <c:v>0.645280152296733</c:v>
                </c:pt>
                <c:pt idx="56">
                  <c:v>0.5890724919093852</c:v>
                </c:pt>
                <c:pt idx="57">
                  <c:v>0.5661783197831978</c:v>
                </c:pt>
                <c:pt idx="58">
                  <c:v>0.5265552045572243</c:v>
                </c:pt>
                <c:pt idx="59">
                  <c:v>0.47512383900928795</c:v>
                </c:pt>
                <c:pt idx="60">
                  <c:v>0.5556599395105856</c:v>
                </c:pt>
                <c:pt idx="61">
                  <c:v>0.5682324812692816</c:v>
                </c:pt>
                <c:pt idx="62">
                  <c:v>0.587405096451536</c:v>
                </c:pt>
                <c:pt idx="63">
                  <c:v>0.6140955517359769</c:v>
                </c:pt>
                <c:pt idx="64">
                  <c:v>0.5806969118472768</c:v>
                </c:pt>
                <c:pt idx="65">
                  <c:v>0.7046211166561591</c:v>
                </c:pt>
                <c:pt idx="66">
                  <c:v>0.6111342259874597</c:v>
                </c:pt>
                <c:pt idx="67">
                  <c:v>0.7010638378860058</c:v>
                </c:pt>
                <c:pt idx="68">
                  <c:v>0.6842314600861525</c:v>
                </c:pt>
                <c:pt idx="69">
                  <c:v>0.6505741409435062</c:v>
                </c:pt>
                <c:pt idx="70">
                  <c:v>0.9432189895470383</c:v>
                </c:pt>
                <c:pt idx="71">
                  <c:v>0.7051073976158964</c:v>
                </c:pt>
                <c:pt idx="72">
                  <c:v>0.8928757548686795</c:v>
                </c:pt>
                <c:pt idx="73">
                  <c:v>0.777965765510749</c:v>
                </c:pt>
                <c:pt idx="74">
                  <c:v>1.1631231960240849</c:v>
                </c:pt>
                <c:pt idx="75">
                  <c:v>1.0703160220994474</c:v>
                </c:pt>
                <c:pt idx="76">
                  <c:v>0.8689142325568416</c:v>
                </c:pt>
                <c:pt idx="77">
                  <c:v>0.7867309763979363</c:v>
                </c:pt>
                <c:pt idx="78">
                  <c:v>0.6213860002550045</c:v>
                </c:pt>
                <c:pt idx="79">
                  <c:v>0.8656216837492942</c:v>
                </c:pt>
                <c:pt idx="80">
                  <c:v>0.6278805865166108</c:v>
                </c:pt>
                <c:pt idx="81">
                  <c:v>0.695772446697005</c:v>
                </c:pt>
                <c:pt idx="82">
                  <c:v>0.7123077997765286</c:v>
                </c:pt>
                <c:pt idx="83">
                  <c:v>0.6841164362519201</c:v>
                </c:pt>
                <c:pt idx="84">
                  <c:v>0.7896963712491277</c:v>
                </c:pt>
                <c:pt idx="85">
                  <c:v>0.6318808342615838</c:v>
                </c:pt>
                <c:pt idx="86">
                  <c:v>0.6012730391478766</c:v>
                </c:pt>
                <c:pt idx="87">
                  <c:v>0.580137224081518</c:v>
                </c:pt>
                <c:pt idx="88">
                  <c:v>0.6946615326534576</c:v>
                </c:pt>
                <c:pt idx="89">
                  <c:v>0.612375</c:v>
                </c:pt>
                <c:pt idx="90">
                  <c:v>0.6777106142026003</c:v>
                </c:pt>
                <c:pt idx="91">
                  <c:v>0.6435152642263113</c:v>
                </c:pt>
                <c:pt idx="92">
                  <c:v>0.7256498088641611</c:v>
                </c:pt>
                <c:pt idx="93">
                  <c:v>0.7034815972222221</c:v>
                </c:pt>
                <c:pt idx="94">
                  <c:v>0.6554586088336419</c:v>
                </c:pt>
                <c:pt idx="95">
                  <c:v>0.5891097686767468</c:v>
                </c:pt>
                <c:pt idx="96">
                  <c:v>0.5962521377417584</c:v>
                </c:pt>
                <c:pt idx="97">
                  <c:v>0.5502806490308733</c:v>
                </c:pt>
                <c:pt idx="98">
                  <c:v>0.5546161613082247</c:v>
                </c:pt>
                <c:pt idx="99">
                  <c:v>0.5123540665799714</c:v>
                </c:pt>
                <c:pt idx="100">
                  <c:v>0.5735555190411848</c:v>
                </c:pt>
                <c:pt idx="101">
                  <c:v>0.6069692840646651</c:v>
                </c:pt>
                <c:pt idx="102">
                  <c:v>0.6504853194103194</c:v>
                </c:pt>
                <c:pt idx="103">
                  <c:v>0.4874512326690612</c:v>
                </c:pt>
                <c:pt idx="104">
                  <c:v>0.634391013831493</c:v>
                </c:pt>
              </c:numCache>
            </c:numRef>
          </c:xVal>
          <c:yVal>
            <c:numRef>
              <c:f>Sheet1!$B$2:$B$106</c:f>
              <c:numCache>
                <c:formatCode>General</c:formatCode>
                <c:ptCount val="105"/>
                <c:pt idx="0">
                  <c:v>0.3754054851076379</c:v>
                </c:pt>
                <c:pt idx="1">
                  <c:v>0.3365983971504898</c:v>
                </c:pt>
                <c:pt idx="2">
                  <c:v>0.3293510724952484</c:v>
                </c:pt>
                <c:pt idx="3">
                  <c:v>0.3299624386015602</c:v>
                </c:pt>
                <c:pt idx="4">
                  <c:v>0.335669002335669</c:v>
                </c:pt>
                <c:pt idx="5">
                  <c:v>0.36349981224183253</c:v>
                </c:pt>
                <c:pt idx="6">
                  <c:v>0.3894496906545099</c:v>
                </c:pt>
                <c:pt idx="7">
                  <c:v>0.3921869015702796</c:v>
                </c:pt>
                <c:pt idx="8">
                  <c:v>0.37278350515463915</c:v>
                </c:pt>
                <c:pt idx="9">
                  <c:v>0.36108676599474143</c:v>
                </c:pt>
                <c:pt idx="10">
                  <c:v>0.35204240723417524</c:v>
                </c:pt>
                <c:pt idx="11">
                  <c:v>0.32066240120436584</c:v>
                </c:pt>
                <c:pt idx="12">
                  <c:v>0.29833863556026863</c:v>
                </c:pt>
                <c:pt idx="13">
                  <c:v>0.26637712631197974</c:v>
                </c:pt>
                <c:pt idx="14">
                  <c:v>0.26129666011787817</c:v>
                </c:pt>
                <c:pt idx="15">
                  <c:v>0.2847161572052402</c:v>
                </c:pt>
                <c:pt idx="16">
                  <c:v>0.3142857142857143</c:v>
                </c:pt>
                <c:pt idx="17">
                  <c:v>0.2881844380403458</c:v>
                </c:pt>
                <c:pt idx="18">
                  <c:v>0.34896810506566606</c:v>
                </c:pt>
                <c:pt idx="19">
                  <c:v>0.34210526315789475</c:v>
                </c:pt>
                <c:pt idx="20">
                  <c:v>0.3381754793724579</c:v>
                </c:pt>
                <c:pt idx="21">
                  <c:v>0.32936507936507936</c:v>
                </c:pt>
                <c:pt idx="22">
                  <c:v>0.308703819661866</c:v>
                </c:pt>
                <c:pt idx="23">
                  <c:v>0.32388924661944624</c:v>
                </c:pt>
                <c:pt idx="24">
                  <c:v>0.2940516273849607</c:v>
                </c:pt>
                <c:pt idx="25">
                  <c:v>0.3104342190537913</c:v>
                </c:pt>
                <c:pt idx="26">
                  <c:v>0.3437301082113304</c:v>
                </c:pt>
                <c:pt idx="27">
                  <c:v>0.3379224030037547</c:v>
                </c:pt>
                <c:pt idx="28">
                  <c:v>0.35812133072407043</c:v>
                </c:pt>
                <c:pt idx="29">
                  <c:v>0.3387605042016807</c:v>
                </c:pt>
                <c:pt idx="30">
                  <c:v>0.3699127906976744</c:v>
                </c:pt>
                <c:pt idx="31">
                  <c:v>0.3419141914191419</c:v>
                </c:pt>
                <c:pt idx="32">
                  <c:v>0.3020408163265306</c:v>
                </c:pt>
                <c:pt idx="33">
                  <c:v>0.2874946282767512</c:v>
                </c:pt>
                <c:pt idx="34">
                  <c:v>0.31341557440246726</c:v>
                </c:pt>
                <c:pt idx="35">
                  <c:v>0.3381967826412271</c:v>
                </c:pt>
                <c:pt idx="36">
                  <c:v>0.358841778697001</c:v>
                </c:pt>
                <c:pt idx="37">
                  <c:v>0.37272192827748385</c:v>
                </c:pt>
                <c:pt idx="38">
                  <c:v>0.34416445623342173</c:v>
                </c:pt>
                <c:pt idx="39">
                  <c:v>0.3464788732394366</c:v>
                </c:pt>
                <c:pt idx="40">
                  <c:v>0.3410241980866629</c:v>
                </c:pt>
                <c:pt idx="41">
                  <c:v>0.32577720207253885</c:v>
                </c:pt>
                <c:pt idx="42">
                  <c:v>0.28107838242636046</c:v>
                </c:pt>
                <c:pt idx="43">
                  <c:v>0.2696676482961716</c:v>
                </c:pt>
                <c:pt idx="44">
                  <c:v>0.29021913415285944</c:v>
                </c:pt>
                <c:pt idx="45">
                  <c:v>0.335418114431318</c:v>
                </c:pt>
                <c:pt idx="46">
                  <c:v>0.31493071077335716</c:v>
                </c:pt>
                <c:pt idx="47">
                  <c:v>0.29876434245366285</c:v>
                </c:pt>
                <c:pt idx="48">
                  <c:v>0.28941292875989444</c:v>
                </c:pt>
                <c:pt idx="49">
                  <c:v>0.2849056603773585</c:v>
                </c:pt>
                <c:pt idx="50">
                  <c:v>0.29102031898623554</c:v>
                </c:pt>
                <c:pt idx="51">
                  <c:v>0.27238261883931175</c:v>
                </c:pt>
                <c:pt idx="52">
                  <c:v>0.27350630802189957</c:v>
                </c:pt>
                <c:pt idx="53">
                  <c:v>0.27004716981132076</c:v>
                </c:pt>
                <c:pt idx="54">
                  <c:v>0.2795969773299748</c:v>
                </c:pt>
                <c:pt idx="55">
                  <c:v>0.2830858618463525</c:v>
                </c:pt>
                <c:pt idx="56">
                  <c:v>0.2687052700065062</c:v>
                </c:pt>
                <c:pt idx="57">
                  <c:v>0.2835332606324973</c:v>
                </c:pt>
                <c:pt idx="58">
                  <c:v>0.3012836037781545</c:v>
                </c:pt>
                <c:pt idx="59">
                  <c:v>0.3104875804967801</c:v>
                </c:pt>
                <c:pt idx="60">
                  <c:v>0.30923229649238915</c:v>
                </c:pt>
                <c:pt idx="61">
                  <c:v>0.3021307158247546</c:v>
                </c:pt>
                <c:pt idx="62">
                  <c:v>0.29963980189104006</c:v>
                </c:pt>
                <c:pt idx="63">
                  <c:v>0.2947819314641745</c:v>
                </c:pt>
                <c:pt idx="64">
                  <c:v>0.28729166666666667</c:v>
                </c:pt>
                <c:pt idx="65">
                  <c:v>0.27869249394673123</c:v>
                </c:pt>
                <c:pt idx="66">
                  <c:v>0.3200790318597184</c:v>
                </c:pt>
                <c:pt idx="67">
                  <c:v>0.31241360243295546</c:v>
                </c:pt>
                <c:pt idx="68">
                  <c:v>0.3050600655260284</c:v>
                </c:pt>
                <c:pt idx="69">
                  <c:v>0.29854368932038833</c:v>
                </c:pt>
                <c:pt idx="70">
                  <c:v>0.30619629127091813</c:v>
                </c:pt>
                <c:pt idx="71">
                  <c:v>0.31069858329262334</c:v>
                </c:pt>
                <c:pt idx="72">
                  <c:v>0.29510426110607435</c:v>
                </c:pt>
                <c:pt idx="73">
                  <c:v>0.2913875598086124</c:v>
                </c:pt>
                <c:pt idx="74">
                  <c:v>0.28745115067303517</c:v>
                </c:pt>
                <c:pt idx="75">
                  <c:v>0.31390593047034765</c:v>
                </c:pt>
                <c:pt idx="76">
                  <c:v>0.3196902654867257</c:v>
                </c:pt>
                <c:pt idx="77">
                  <c:v>0.30716934487021014</c:v>
                </c:pt>
                <c:pt idx="78">
                  <c:v>0.31420765027322406</c:v>
                </c:pt>
                <c:pt idx="79">
                  <c:v>0.3274282223579719</c:v>
                </c:pt>
                <c:pt idx="80">
                  <c:v>0.3237679351216469</c:v>
                </c:pt>
                <c:pt idx="81">
                  <c:v>0.32598039215686275</c:v>
                </c:pt>
                <c:pt idx="82">
                  <c:v>0.3125827814569536</c:v>
                </c:pt>
                <c:pt idx="83">
                  <c:v>0.32229580573951433</c:v>
                </c:pt>
                <c:pt idx="84">
                  <c:v>0.3303370786516854</c:v>
                </c:pt>
                <c:pt idx="85">
                  <c:v>0.33906947100063733</c:v>
                </c:pt>
                <c:pt idx="86">
                  <c:v>0.3492822966507177</c:v>
                </c:pt>
                <c:pt idx="87">
                  <c:v>0.3315972222222222</c:v>
                </c:pt>
                <c:pt idx="88">
                  <c:v>0.3301245753114383</c:v>
                </c:pt>
                <c:pt idx="89">
                  <c:v>0.32837670384138784</c:v>
                </c:pt>
                <c:pt idx="90">
                  <c:v>0.2979830839297333</c:v>
                </c:pt>
                <c:pt idx="91">
                  <c:v>0.2911555842479019</c:v>
                </c:pt>
                <c:pt idx="92">
                  <c:v>0.3008474576271186</c:v>
                </c:pt>
                <c:pt idx="93">
                  <c:v>0.3050483351235231</c:v>
                </c:pt>
                <c:pt idx="94">
                  <c:v>0.3082706766917293</c:v>
                </c:pt>
                <c:pt idx="95">
                  <c:v>0.3015741507870754</c:v>
                </c:pt>
                <c:pt idx="96">
                  <c:v>0.3085926348843848</c:v>
                </c:pt>
                <c:pt idx="97">
                  <c:v>0.33391695847923963</c:v>
                </c:pt>
                <c:pt idx="98">
                  <c:v>0.3342880523731588</c:v>
                </c:pt>
                <c:pt idx="99">
                  <c:v>0.3379850238257318</c:v>
                </c:pt>
                <c:pt idx="100">
                  <c:v>0.3145211636908478</c:v>
                </c:pt>
                <c:pt idx="101">
                  <c:v>0.3303303303303303</c:v>
                </c:pt>
                <c:pt idx="102">
                  <c:v>0.3227564102564103</c:v>
                </c:pt>
                <c:pt idx="103">
                  <c:v>0.3270233196159122</c:v>
                </c:pt>
                <c:pt idx="104">
                  <c:v>0.31482691051600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10238573959256</c:v>
                </c:pt>
                <c:pt idx="1">
                  <c:v>0.7109078589958797</c:v>
                </c:pt>
                <c:pt idx="2">
                  <c:v>0.611674874266555</c:v>
                </c:pt>
                <c:pt idx="3">
                  <c:v>0.6274517769272827</c:v>
                </c:pt>
                <c:pt idx="4">
                  <c:v>0.6299077907001064</c:v>
                </c:pt>
                <c:pt idx="5">
                  <c:v>0.6506908332174155</c:v>
                </c:pt>
                <c:pt idx="6">
                  <c:v>0.6388870668450607</c:v>
                </c:pt>
                <c:pt idx="7">
                  <c:v>0.4920543231441048</c:v>
                </c:pt>
                <c:pt idx="8">
                  <c:v>0.6219066429984869</c:v>
                </c:pt>
                <c:pt idx="9">
                  <c:v>0.5618741162608012</c:v>
                </c:pt>
                <c:pt idx="10">
                  <c:v>0.6048428735279872</c:v>
                </c:pt>
                <c:pt idx="11">
                  <c:v>0.6023838511346377</c:v>
                </c:pt>
                <c:pt idx="12">
                  <c:v>0.7627186460866757</c:v>
                </c:pt>
                <c:pt idx="13">
                  <c:v>0.5911984267112569</c:v>
                </c:pt>
                <c:pt idx="14">
                  <c:v>0.7066015325723198</c:v>
                </c:pt>
                <c:pt idx="15">
                  <c:v>0.6021680522875817</c:v>
                </c:pt>
                <c:pt idx="16">
                  <c:v>0.6074048045708349</c:v>
                </c:pt>
                <c:pt idx="17">
                  <c:v>0.5297757973733583</c:v>
                </c:pt>
                <c:pt idx="18">
                  <c:v>0.7065017413419417</c:v>
                </c:pt>
                <c:pt idx="19">
                  <c:v>0.6788625408815652</c:v>
                </c:pt>
                <c:pt idx="20">
                  <c:v>0.6326545226760211</c:v>
                </c:pt>
                <c:pt idx="21">
                  <c:v>0.5516837987734347</c:v>
                </c:pt>
                <c:pt idx="22">
                  <c:v>0.5947785842985843</c:v>
                </c:pt>
                <c:pt idx="23">
                  <c:v>0.6362629454926625</c:v>
                </c:pt>
                <c:pt idx="24">
                  <c:v>0.7588912175648702</c:v>
                </c:pt>
                <c:pt idx="25">
                  <c:v>0.6470464606741573</c:v>
                </c:pt>
                <c:pt idx="26">
                  <c:v>0.5792898352344741</c:v>
                </c:pt>
                <c:pt idx="27">
                  <c:v>0.6545844804330677</c:v>
                </c:pt>
                <c:pt idx="28">
                  <c:v>0.6322978999783503</c:v>
                </c:pt>
                <c:pt idx="29">
                  <c:v>0.7769669920285823</c:v>
                </c:pt>
                <c:pt idx="30">
                  <c:v>0.7249859888406696</c:v>
                </c:pt>
                <c:pt idx="31">
                  <c:v>0.6160993815312434</c:v>
                </c:pt>
                <c:pt idx="32">
                  <c:v>0.8124086419753086</c:v>
                </c:pt>
                <c:pt idx="33">
                  <c:v>0.8835481415136588</c:v>
                </c:pt>
                <c:pt idx="34">
                  <c:v>0.8117086374482996</c:v>
                </c:pt>
                <c:pt idx="35">
                  <c:v>0.6732132743219518</c:v>
                </c:pt>
                <c:pt idx="36">
                  <c:v>0.8251848146196666</c:v>
                </c:pt>
                <c:pt idx="37">
                  <c:v>0.6918961018943548</c:v>
                </c:pt>
                <c:pt idx="38">
                  <c:v>0.7541973158195318</c:v>
                </c:pt>
                <c:pt idx="39">
                  <c:v>0.6679677487575341</c:v>
                </c:pt>
                <c:pt idx="40">
                  <c:v>0.6860693442622952</c:v>
                </c:pt>
                <c:pt idx="41">
                  <c:v>0.7342147990271384</c:v>
                </c:pt>
                <c:pt idx="42">
                  <c:v>0.760241660810767</c:v>
                </c:pt>
                <c:pt idx="43">
                  <c:v>0.7207072765562142</c:v>
                </c:pt>
                <c:pt idx="44">
                  <c:v>0.7062093583450808</c:v>
                </c:pt>
                <c:pt idx="45">
                  <c:v>0.6506874231872184</c:v>
                </c:pt>
                <c:pt idx="46">
                  <c:v>0.543850234225898</c:v>
                </c:pt>
                <c:pt idx="47">
                  <c:v>0.6275449695585178</c:v>
                </c:pt>
                <c:pt idx="48">
                  <c:v>0.5385019429979909</c:v>
                </c:pt>
                <c:pt idx="49">
                  <c:v>0.6506871061608216</c:v>
                </c:pt>
                <c:pt idx="50">
                  <c:v>0.5850357841266265</c:v>
                </c:pt>
                <c:pt idx="51">
                  <c:v>0.5878127600746526</c:v>
                </c:pt>
              </c:numCache>
            </c:numRef>
          </c:xVal>
          <c:yVal>
            <c:numRef>
              <c:f>Sheet1!$B$109:$B$160</c:f>
              <c:numCache>
                <c:formatCode>General</c:formatCode>
                <c:ptCount val="52"/>
                <c:pt idx="0">
                  <c:v>0.29814385150812067</c:v>
                </c:pt>
                <c:pt idx="1">
                  <c:v>0.3</c:v>
                </c:pt>
                <c:pt idx="2">
                  <c:v>0.3182565789473684</c:v>
                </c:pt>
                <c:pt idx="3">
                  <c:v>0.32784313725490194</c:v>
                </c:pt>
                <c:pt idx="4">
                  <c:v>0.29737687366167026</c:v>
                </c:pt>
                <c:pt idx="5">
                  <c:v>0.31350176582450423</c:v>
                </c:pt>
                <c:pt idx="6">
                  <c:v>0.31964669372165194</c:v>
                </c:pt>
                <c:pt idx="7">
                  <c:v>0.3187396351575456</c:v>
                </c:pt>
                <c:pt idx="8">
                  <c:v>0.3005259203606311</c:v>
                </c:pt>
                <c:pt idx="9">
                  <c:v>0.314169766655394</c:v>
                </c:pt>
                <c:pt idx="10">
                  <c:v>0.3167283742847526</c:v>
                </c:pt>
                <c:pt idx="11">
                  <c:v>0.3043968432919955</c:v>
                </c:pt>
                <c:pt idx="12">
                  <c:v>0.2942413883775966</c:v>
                </c:pt>
                <c:pt idx="13">
                  <c:v>0.2979154603358425</c:v>
                </c:pt>
                <c:pt idx="14">
                  <c:v>0.2972459639126306</c:v>
                </c:pt>
                <c:pt idx="15">
                  <c:v>0.31816553206735937</c:v>
                </c:pt>
                <c:pt idx="16">
                  <c:v>0.3429930795847751</c:v>
                </c:pt>
                <c:pt idx="17">
                  <c:v>0.34214123006833713</c:v>
                </c:pt>
                <c:pt idx="18">
                  <c:v>0.32686822589845976</c:v>
                </c:pt>
                <c:pt idx="19">
                  <c:v>0.3110435663627153</c:v>
                </c:pt>
                <c:pt idx="20">
                  <c:v>0.3126410835214447</c:v>
                </c:pt>
                <c:pt idx="21">
                  <c:v>0.3303049967553537</c:v>
                </c:pt>
                <c:pt idx="22">
                  <c:v>0.31782477341389725</c:v>
                </c:pt>
                <c:pt idx="23">
                  <c:v>0.3042659974905897</c:v>
                </c:pt>
                <c:pt idx="24">
                  <c:v>0.3106796116504854</c:v>
                </c:pt>
                <c:pt idx="25">
                  <c:v>0.3118214716525935</c:v>
                </c:pt>
                <c:pt idx="26">
                  <c:v>0.3259938837920489</c:v>
                </c:pt>
                <c:pt idx="27">
                  <c:v>0.3449612403100775</c:v>
                </c:pt>
                <c:pt idx="28">
                  <c:v>0.3218045112781955</c:v>
                </c:pt>
                <c:pt idx="29">
                  <c:v>0.3181818181818182</c:v>
                </c:pt>
                <c:pt idx="30">
                  <c:v>0.2994522215459525</c:v>
                </c:pt>
                <c:pt idx="31">
                  <c:v>0.31100478468899523</c:v>
                </c:pt>
                <c:pt idx="32">
                  <c:v>0.29362214199759323</c:v>
                </c:pt>
                <c:pt idx="33">
                  <c:v>0.2932537861404314</c:v>
                </c:pt>
                <c:pt idx="34">
                  <c:v>0.28102564102564104</c:v>
                </c:pt>
                <c:pt idx="35">
                  <c:v>0.2864963503649635</c:v>
                </c:pt>
                <c:pt idx="36">
                  <c:v>0.2677916360968452</c:v>
                </c:pt>
                <c:pt idx="37">
                  <c:v>0.27718832891246686</c:v>
                </c:pt>
                <c:pt idx="38">
                  <c:v>0.2826388888888889</c:v>
                </c:pt>
                <c:pt idx="39">
                  <c:v>0.27101879327398615</c:v>
                </c:pt>
                <c:pt idx="40">
                  <c:v>0.2919191919191919</c:v>
                </c:pt>
                <c:pt idx="41">
                  <c:v>0.2766461392704879</c:v>
                </c:pt>
                <c:pt idx="42">
                  <c:v>0.2924683892248488</c:v>
                </c:pt>
                <c:pt idx="43">
                  <c:v>0.2710868652958456</c:v>
                </c:pt>
                <c:pt idx="44">
                  <c:v>0.30310786106032905</c:v>
                </c:pt>
                <c:pt idx="45">
                  <c:v>0.3201631404537344</c:v>
                </c:pt>
                <c:pt idx="46">
                  <c:v>0.33663366336633666</c:v>
                </c:pt>
                <c:pt idx="47">
                  <c:v>0.33324446814182884</c:v>
                </c:pt>
                <c:pt idx="48">
                  <c:v>0.34182944259171033</c:v>
                </c:pt>
                <c:pt idx="49">
                  <c:v>0.3314667241007969</c:v>
                </c:pt>
                <c:pt idx="50">
                  <c:v>0.3012902311073302</c:v>
                </c:pt>
                <c:pt idx="51">
                  <c:v>0.307927606423655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058725532912665</c:v>
                </c:pt>
              </c:numCache>
            </c:numRef>
          </c:xVal>
          <c:yVal>
            <c:numRef>
              <c:f>Sheet1!$B$163:$B$164</c:f>
              <c:numCache>
                <c:formatCode>General</c:formatCode>
                <c:ptCount val="2"/>
                <c:pt idx="0">
                  <c:v>0.3583229228124296</c:v>
                </c:pt>
                <c:pt idx="1">
                  <c:v>0.35832292281242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058725532912665</c:v>
                </c:pt>
                <c:pt idx="1">
                  <c:v>0.28058725532912665</c:v>
                </c:pt>
              </c:numCache>
            </c:numRef>
          </c:xVal>
          <c:yVal>
            <c:numRef>
              <c:f>Sheet1!$B$167:$B$168</c:f>
              <c:numCache>
                <c:formatCode>General</c:formatCode>
                <c:ptCount val="2"/>
                <c:pt idx="0">
                  <c:v>0.35832292281242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640419120978813</c:v>
                </c:pt>
              </c:numCache>
            </c:numRef>
          </c:xVal>
          <c:yVal>
            <c:numRef>
              <c:f>Sheet1!$B$171:$B$172</c:f>
              <c:numCache>
                <c:formatCode>General</c:formatCode>
                <c:ptCount val="2"/>
                <c:pt idx="0">
                  <c:v>0.3206285010558732</c:v>
                </c:pt>
                <c:pt idx="1">
                  <c:v>0.320628501055873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640419120978813</c:v>
                </c:pt>
                <c:pt idx="1">
                  <c:v>0.5640419120978813</c:v>
                </c:pt>
              </c:numCache>
            </c:numRef>
          </c:xVal>
          <c:yVal>
            <c:numRef>
              <c:f>Sheet1!$B$175:$B$176</c:f>
              <c:numCache>
                <c:formatCode>General</c:formatCode>
                <c:ptCount val="2"/>
                <c:pt idx="0">
                  <c:v>0.320628501055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735811575759555</c:v>
                </c:pt>
              </c:numCache>
            </c:numRef>
          </c:xVal>
          <c:yVal>
            <c:numRef>
              <c:f>Sheet1!$B$179:$B$180</c:f>
              <c:numCache>
                <c:formatCode>General</c:formatCode>
                <c:ptCount val="2"/>
                <c:pt idx="0">
                  <c:v>0.30606173201769865</c:v>
                </c:pt>
                <c:pt idx="1">
                  <c:v>0.306061732017698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735811575759555</c:v>
                </c:pt>
                <c:pt idx="1">
                  <c:v>0.6735811575759555</c:v>
                </c:pt>
              </c:numCache>
            </c:numRef>
          </c:xVal>
          <c:yVal>
            <c:numRef>
              <c:f>Sheet1!$B$183:$B$184</c:f>
              <c:numCache>
                <c:formatCode>General</c:formatCode>
                <c:ptCount val="2"/>
                <c:pt idx="0">
                  <c:v>0.306061732017698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10238573959256</c:v>
                </c:pt>
                <c:pt idx="1">
                  <c:v>0.7109078589958797</c:v>
                </c:pt>
                <c:pt idx="2">
                  <c:v>0.611674874266555</c:v>
                </c:pt>
                <c:pt idx="3">
                  <c:v>0.6274517769272827</c:v>
                </c:pt>
                <c:pt idx="4">
                  <c:v>0.6299077907001064</c:v>
                </c:pt>
                <c:pt idx="5">
                  <c:v>0.6506908332174155</c:v>
                </c:pt>
                <c:pt idx="6">
                  <c:v>0.6388870668450607</c:v>
                </c:pt>
                <c:pt idx="7">
                  <c:v>0.4920543231441048</c:v>
                </c:pt>
                <c:pt idx="8">
                  <c:v>0.6219066429984869</c:v>
                </c:pt>
                <c:pt idx="9">
                  <c:v>0.5618741162608012</c:v>
                </c:pt>
                <c:pt idx="10">
                  <c:v>0.6048428735279872</c:v>
                </c:pt>
                <c:pt idx="11">
                  <c:v>0.6023838511346377</c:v>
                </c:pt>
                <c:pt idx="12">
                  <c:v>0.7627186460866757</c:v>
                </c:pt>
                <c:pt idx="13">
                  <c:v>0.5911984267112569</c:v>
                </c:pt>
                <c:pt idx="14">
                  <c:v>0.7066015325723198</c:v>
                </c:pt>
                <c:pt idx="15">
                  <c:v>0.6021680522875817</c:v>
                </c:pt>
                <c:pt idx="16">
                  <c:v>0.6074048045708349</c:v>
                </c:pt>
                <c:pt idx="17">
                  <c:v>0.5297757973733583</c:v>
                </c:pt>
                <c:pt idx="18">
                  <c:v>0.7065017413419417</c:v>
                </c:pt>
                <c:pt idx="19">
                  <c:v>0.6788625408815652</c:v>
                </c:pt>
                <c:pt idx="20">
                  <c:v>0.6326545226760211</c:v>
                </c:pt>
                <c:pt idx="21">
                  <c:v>0.5516837987734347</c:v>
                </c:pt>
                <c:pt idx="22">
                  <c:v>0.5947785842985843</c:v>
                </c:pt>
                <c:pt idx="23">
                  <c:v>0.6362629454926625</c:v>
                </c:pt>
                <c:pt idx="24">
                  <c:v>0.7588912175648702</c:v>
                </c:pt>
                <c:pt idx="25">
                  <c:v>0.6470464606741573</c:v>
                </c:pt>
                <c:pt idx="26">
                  <c:v>0.5792898352344741</c:v>
                </c:pt>
                <c:pt idx="27">
                  <c:v>0.6545844804330677</c:v>
                </c:pt>
                <c:pt idx="28">
                  <c:v>0.6322978999783503</c:v>
                </c:pt>
                <c:pt idx="29">
                  <c:v>0.7769669920285823</c:v>
                </c:pt>
                <c:pt idx="30">
                  <c:v>0.7249859888406696</c:v>
                </c:pt>
                <c:pt idx="31">
                  <c:v>0.6160993815312434</c:v>
                </c:pt>
                <c:pt idx="32">
                  <c:v>0.8124086419753086</c:v>
                </c:pt>
                <c:pt idx="33">
                  <c:v>0.8835481415136588</c:v>
                </c:pt>
                <c:pt idx="34">
                  <c:v>0.8117086374482996</c:v>
                </c:pt>
                <c:pt idx="35">
                  <c:v>0.6732132743219518</c:v>
                </c:pt>
                <c:pt idx="36">
                  <c:v>0.8251848146196666</c:v>
                </c:pt>
                <c:pt idx="37">
                  <c:v>0.6918961018943548</c:v>
                </c:pt>
                <c:pt idx="38">
                  <c:v>0.7541973158195318</c:v>
                </c:pt>
                <c:pt idx="39">
                  <c:v>0.6679677487575341</c:v>
                </c:pt>
                <c:pt idx="40">
                  <c:v>0.6860693442622952</c:v>
                </c:pt>
                <c:pt idx="41">
                  <c:v>0.7342147990271384</c:v>
                </c:pt>
                <c:pt idx="42">
                  <c:v>0.760241660810767</c:v>
                </c:pt>
                <c:pt idx="43">
                  <c:v>0.7207072765562142</c:v>
                </c:pt>
                <c:pt idx="44">
                  <c:v>0.7062093583450808</c:v>
                </c:pt>
                <c:pt idx="45">
                  <c:v>0.6506874231872184</c:v>
                </c:pt>
                <c:pt idx="46">
                  <c:v>0.543850234225898</c:v>
                </c:pt>
                <c:pt idx="47">
                  <c:v>0.6275449695585178</c:v>
                </c:pt>
                <c:pt idx="48">
                  <c:v>0.5385019429979909</c:v>
                </c:pt>
                <c:pt idx="49">
                  <c:v>0.6506871061608216</c:v>
                </c:pt>
                <c:pt idx="50">
                  <c:v>0.5850357841266265</c:v>
                </c:pt>
                <c:pt idx="51">
                  <c:v>0.5878127600746526</c:v>
                </c:pt>
                <c:pt idx="52">
                  <c:v>0.5640419120978813</c:v>
                </c:pt>
                <c:pt idx="53">
                  <c:v>0.28058725532912665</c:v>
                </c:pt>
                <c:pt idx="54">
                  <c:v>0.6735811575759555</c:v>
                </c:pt>
              </c:numCache>
            </c:numRef>
          </c:xVal>
          <c:yVal>
            <c:numRef>
              <c:f>Sheet1!$B$187:$B$241</c:f>
              <c:numCache>
                <c:formatCode>General</c:formatCode>
                <c:ptCount val="55"/>
                <c:pt idx="0">
                  <c:v>0.32778338693013315</c:v>
                </c:pt>
                <c:pt idx="1">
                  <c:v>0.30109794542077734</c:v>
                </c:pt>
                <c:pt idx="2">
                  <c:v>0.31429416530719345</c:v>
                </c:pt>
                <c:pt idx="3">
                  <c:v>0.312196118199113</c:v>
                </c:pt>
                <c:pt idx="4">
                  <c:v>0.31186951210257513</c:v>
                </c:pt>
                <c:pt idx="5">
                  <c:v>0.3091057375399614</c:v>
                </c:pt>
                <c:pt idx="6">
                  <c:v>0.3106754282729607</c:v>
                </c:pt>
                <c:pt idx="7">
                  <c:v>0.33020156847411286</c:v>
                </c:pt>
                <c:pt idx="8">
                  <c:v>0.3129335222671617</c:v>
                </c:pt>
                <c:pt idx="9">
                  <c:v>0.32091677929937257</c:v>
                </c:pt>
                <c:pt idx="10">
                  <c:v>0.31520269974517506</c:v>
                </c:pt>
                <c:pt idx="11">
                  <c:v>0.3155297059346671</c:v>
                </c:pt>
                <c:pt idx="12">
                  <c:v>0.29420803335370244</c:v>
                </c:pt>
                <c:pt idx="13">
                  <c:v>0.3170171681995223</c:v>
                </c:pt>
                <c:pt idx="14">
                  <c:v>0.3016706101505845</c:v>
                </c:pt>
                <c:pt idx="15">
                  <c:v>0.3155584033385067</c:v>
                </c:pt>
                <c:pt idx="16">
                  <c:v>0.3148620085378364</c:v>
                </c:pt>
                <c:pt idx="17">
                  <c:v>0.3251852841234326</c:v>
                </c:pt>
                <c:pt idx="18">
                  <c:v>0.3016838806072013</c:v>
                </c:pt>
                <c:pt idx="19">
                  <c:v>0.3053594020858179</c:v>
                </c:pt>
                <c:pt idx="20">
                  <c:v>0.31150424566196483</c:v>
                </c:pt>
                <c:pt idx="21">
                  <c:v>0.32227191006201644</c:v>
                </c:pt>
                <c:pt idx="22">
                  <c:v>0.31654107099374684</c:v>
                </c:pt>
                <c:pt idx="23">
                  <c:v>0.31102438968402113</c:v>
                </c:pt>
                <c:pt idx="24">
                  <c:v>0.29471701319050825</c:v>
                </c:pt>
                <c:pt idx="25">
                  <c:v>0.3095903741913736</c:v>
                </c:pt>
                <c:pt idx="26">
                  <c:v>0.31860079880474673</c:v>
                </c:pt>
                <c:pt idx="27">
                  <c:v>0.30858795179605747</c:v>
                </c:pt>
                <c:pt idx="28">
                  <c:v>0.31155167013022794</c:v>
                </c:pt>
                <c:pt idx="29">
                  <c:v>0.2923132570695869</c:v>
                </c:pt>
                <c:pt idx="30">
                  <c:v>0.29922580484647027</c:v>
                </c:pt>
                <c:pt idx="31">
                  <c:v>0.313705784630011</c:v>
                </c:pt>
                <c:pt idx="32">
                  <c:v>0.2876001487507138</c:v>
                </c:pt>
                <c:pt idx="33">
                  <c:v>0.27813986212244873</c:v>
                </c:pt>
                <c:pt idx="34">
                  <c:v>0.2876932368875374</c:v>
                </c:pt>
                <c:pt idx="35">
                  <c:v>0.3061106539394327</c:v>
                </c:pt>
                <c:pt idx="36">
                  <c:v>0.28590114529957666</c:v>
                </c:pt>
                <c:pt idx="37">
                  <c:v>0.3036261705650999</c:v>
                </c:pt>
                <c:pt idx="38">
                  <c:v>0.29534121853639883</c:v>
                </c:pt>
                <c:pt idx="39">
                  <c:v>0.3068082154302685</c:v>
                </c:pt>
                <c:pt idx="40">
                  <c:v>0.3044010255706935</c:v>
                </c:pt>
                <c:pt idx="41">
                  <c:v>0.2979985374328897</c:v>
                </c:pt>
                <c:pt idx="42">
                  <c:v>0.29453742828670243</c:v>
                </c:pt>
                <c:pt idx="43">
                  <c:v>0.29979479738751286</c:v>
                </c:pt>
                <c:pt idx="44">
                  <c:v>0.3017227623391995</c:v>
                </c:pt>
                <c:pt idx="45">
                  <c:v>0.3091061910132538</c:v>
                </c:pt>
                <c:pt idx="46">
                  <c:v>0.32331363465133217</c:v>
                </c:pt>
                <c:pt idx="47">
                  <c:v>0.31218372523867827</c:v>
                </c:pt>
                <c:pt idx="48">
                  <c:v>0.3240248621454216</c:v>
                </c:pt>
                <c:pt idx="49">
                  <c:v>0.30910623317211916</c:v>
                </c:pt>
                <c:pt idx="50">
                  <c:v>0.3178366899225663</c:v>
                </c:pt>
                <c:pt idx="51">
                  <c:v>0.317467401572232</c:v>
                </c:pt>
                <c:pt idx="52">
                  <c:v>0.3206285010558732</c:v>
                </c:pt>
                <c:pt idx="53">
                  <c:v>0.3583229228124296</c:v>
                </c:pt>
                <c:pt idx="54">
                  <c:v>0.306061732017698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062428188433547"/>
          <c:min val="0.20903732809430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11.0841</c:v>
                </c:pt>
                <c:pt idx="1">
                  <c:v>805.8933</c:v>
                </c:pt>
                <c:pt idx="2">
                  <c:v>839.8829</c:v>
                </c:pt>
                <c:pt idx="3">
                  <c:v>853.6357</c:v>
                </c:pt>
                <c:pt idx="4">
                  <c:v>861.3777</c:v>
                </c:pt>
                <c:pt idx="5">
                  <c:v>847.0878</c:v>
                </c:pt>
                <c:pt idx="6">
                  <c:v>793.5401</c:v>
                </c:pt>
                <c:pt idx="7">
                  <c:v>818.1426</c:v>
                </c:pt>
                <c:pt idx="8">
                  <c:v>819.698</c:v>
                </c:pt>
                <c:pt idx="9">
                  <c:v>801.1699</c:v>
                </c:pt>
                <c:pt idx="10">
                  <c:v>792.0221</c:v>
                </c:pt>
                <c:pt idx="11">
                  <c:v>858.507</c:v>
                </c:pt>
                <c:pt idx="12">
                  <c:v>867.3329</c:v>
                </c:pt>
                <c:pt idx="13">
                  <c:v>878.8424</c:v>
                </c:pt>
                <c:pt idx="14">
                  <c:v>886.4586</c:v>
                </c:pt>
                <c:pt idx="15">
                  <c:v>902.2653</c:v>
                </c:pt>
                <c:pt idx="16">
                  <c:v>934.6169</c:v>
                </c:pt>
                <c:pt idx="17">
                  <c:v>967.018</c:v>
                </c:pt>
                <c:pt idx="18">
                  <c:v>990.5072</c:v>
                </c:pt>
                <c:pt idx="19">
                  <c:v>1038.3472</c:v>
                </c:pt>
                <c:pt idx="20">
                  <c:v>1040.8591</c:v>
                </c:pt>
                <c:pt idx="21">
                  <c:v>1064.7751</c:v>
                </c:pt>
                <c:pt idx="22">
                  <c:v>1068.8418</c:v>
                </c:pt>
                <c:pt idx="23">
                  <c:v>1040.5348</c:v>
                </c:pt>
                <c:pt idx="24">
                  <c:v>1027.605</c:v>
                </c:pt>
                <c:pt idx="25">
                  <c:v>1013.0063</c:v>
                </c:pt>
                <c:pt idx="26">
                  <c:v>993.8056</c:v>
                </c:pt>
                <c:pt idx="27">
                  <c:v>981.7741</c:v>
                </c:pt>
                <c:pt idx="28">
                  <c:v>977.5228</c:v>
                </c:pt>
                <c:pt idx="29">
                  <c:v>987.4589</c:v>
                </c:pt>
                <c:pt idx="30">
                  <c:v>988.666</c:v>
                </c:pt>
                <c:pt idx="31">
                  <c:v>976.9614</c:v>
                </c:pt>
                <c:pt idx="32">
                  <c:v>986.556</c:v>
                </c:pt>
                <c:pt idx="33">
                  <c:v>952.8236</c:v>
                </c:pt>
                <c:pt idx="34">
                  <c:v>936.4268</c:v>
                </c:pt>
                <c:pt idx="35">
                  <c:v>952.6825</c:v>
                </c:pt>
                <c:pt idx="36">
                  <c:v>1015.9712</c:v>
                </c:pt>
                <c:pt idx="37">
                  <c:v>1012.0331</c:v>
                </c:pt>
                <c:pt idx="38">
                  <c:v>1117.8362</c:v>
                </c:pt>
                <c:pt idx="39">
                  <c:v>1144.9146</c:v>
                </c:pt>
                <c:pt idx="40">
                  <c:v>1124.4257</c:v>
                </c:pt>
                <c:pt idx="41">
                  <c:v>1129.9423</c:v>
                </c:pt>
                <c:pt idx="42">
                  <c:v>1150.389</c:v>
                </c:pt>
                <c:pt idx="43">
                  <c:v>1154.6053</c:v>
                </c:pt>
                <c:pt idx="44">
                  <c:v>1036.1777</c:v>
                </c:pt>
                <c:pt idx="45">
                  <c:v>995.3018</c:v>
                </c:pt>
                <c:pt idx="46">
                  <c:v>1023.7402</c:v>
                </c:pt>
                <c:pt idx="47">
                  <c:v>1013.4453</c:v>
                </c:pt>
                <c:pt idx="48">
                  <c:v>1007.0182</c:v>
                </c:pt>
                <c:pt idx="49">
                  <c:v>974.6339</c:v>
                </c:pt>
                <c:pt idx="50">
                  <c:v>947.2673</c:v>
                </c:pt>
                <c:pt idx="51">
                  <c:v>955.6338</c:v>
                </c:pt>
                <c:pt idx="52">
                  <c:v>955.8233</c:v>
                </c:pt>
                <c:pt idx="53">
                  <c:v>1050.3548</c:v>
                </c:pt>
                <c:pt idx="54">
                  <c:v>1052.6306</c:v>
                </c:pt>
                <c:pt idx="55">
                  <c:v>1050.7742</c:v>
                </c:pt>
                <c:pt idx="56">
                  <c:v>1092.1404</c:v>
                </c:pt>
                <c:pt idx="57">
                  <c:v>1044.599</c:v>
                </c:pt>
                <c:pt idx="58">
                  <c:v>1016.7781</c:v>
                </c:pt>
                <c:pt idx="59">
                  <c:v>997.5225</c:v>
                </c:pt>
                <c:pt idx="60">
                  <c:v>1010.4676</c:v>
                </c:pt>
                <c:pt idx="61">
                  <c:v>1031.4556</c:v>
                </c:pt>
                <c:pt idx="62">
                  <c:v>986.6056</c:v>
                </c:pt>
                <c:pt idx="63">
                  <c:v>1015.6024</c:v>
                </c:pt>
                <c:pt idx="64">
                  <c:v>1034.2212</c:v>
                </c:pt>
                <c:pt idx="65">
                  <c:v>1015.8288</c:v>
                </c:pt>
                <c:pt idx="66">
                  <c:v>997.7785</c:v>
                </c:pt>
                <c:pt idx="67">
                  <c:v>1040.6124</c:v>
                </c:pt>
                <c:pt idx="68">
                  <c:v>1082.0632</c:v>
                </c:pt>
                <c:pt idx="69">
                  <c:v>1117.0358</c:v>
                </c:pt>
                <c:pt idx="70">
                  <c:v>1082.8154</c:v>
                </c:pt>
                <c:pt idx="71">
                  <c:v>1152.3805</c:v>
                </c:pt>
                <c:pt idx="72">
                  <c:v>1249.3564</c:v>
                </c:pt>
                <c:pt idx="73">
                  <c:v>1240.5961</c:v>
                </c:pt>
                <c:pt idx="74">
                  <c:v>1216.9758</c:v>
                </c:pt>
                <c:pt idx="75">
                  <c:v>1162.3632</c:v>
                </c:pt>
                <c:pt idx="76">
                  <c:v>1145.9048</c:v>
                </c:pt>
                <c:pt idx="77">
                  <c:v>1171.33</c:v>
                </c:pt>
                <c:pt idx="78">
                  <c:v>1218.3826</c:v>
                </c:pt>
                <c:pt idx="79">
                  <c:v>1141.8993</c:v>
                </c:pt>
                <c:pt idx="80">
                  <c:v>1160.4489</c:v>
                </c:pt>
                <c:pt idx="81">
                  <c:v>1130.5308</c:v>
                </c:pt>
                <c:pt idx="82">
                  <c:v>1116.5699</c:v>
                </c:pt>
                <c:pt idx="83">
                  <c:v>1113.3995</c:v>
                </c:pt>
                <c:pt idx="84">
                  <c:v>1131.6349</c:v>
                </c:pt>
                <c:pt idx="85">
                  <c:v>1101.5789</c:v>
                </c:pt>
                <c:pt idx="86">
                  <c:v>1086.6507</c:v>
                </c:pt>
                <c:pt idx="87">
                  <c:v>1087.7186</c:v>
                </c:pt>
                <c:pt idx="88">
                  <c:v>1121.5043</c:v>
                </c:pt>
                <c:pt idx="89">
                  <c:v>1104.7245</c:v>
                </c:pt>
                <c:pt idx="90">
                  <c:v>1206.941</c:v>
                </c:pt>
                <c:pt idx="91">
                  <c:v>1228.3902</c:v>
                </c:pt>
                <c:pt idx="92">
                  <c:v>1198.2746</c:v>
                </c:pt>
                <c:pt idx="93">
                  <c:v>1215.6162</c:v>
                </c:pt>
                <c:pt idx="94">
                  <c:v>1239.1445</c:v>
                </c:pt>
                <c:pt idx="95">
                  <c:v>1193.7047</c:v>
                </c:pt>
                <c:pt idx="96">
                  <c:v>1117.7243</c:v>
                </c:pt>
                <c:pt idx="97">
                  <c:v>1089.4869</c:v>
                </c:pt>
                <c:pt idx="98">
                  <c:v>1087.9192</c:v>
                </c:pt>
                <c:pt idx="99">
                  <c:v>1043.0065</c:v>
                </c:pt>
                <c:pt idx="100">
                  <c:v>1037.7531</c:v>
                </c:pt>
                <c:pt idx="101">
                  <c:v>1051.2708</c:v>
                </c:pt>
                <c:pt idx="102">
                  <c:v>1058.9901</c:v>
                </c:pt>
                <c:pt idx="103">
                  <c:v>1054.682</c:v>
                </c:pt>
                <c:pt idx="104">
                  <c:v>1101.5747</c:v>
                </c:pt>
              </c:numCache>
            </c:numRef>
          </c:xVal>
          <c:yVal>
            <c:numRef>
              <c:f>Sheet1!$B$2:$B$106</c:f>
              <c:numCache>
                <c:formatCode>General</c:formatCode>
                <c:ptCount val="105"/>
                <c:pt idx="0">
                  <c:v>0.3754054851076379</c:v>
                </c:pt>
                <c:pt idx="1">
                  <c:v>0.3365983971504898</c:v>
                </c:pt>
                <c:pt idx="2">
                  <c:v>0.3293510724952484</c:v>
                </c:pt>
                <c:pt idx="3">
                  <c:v>0.3299624386015602</c:v>
                </c:pt>
                <c:pt idx="4">
                  <c:v>0.335669002335669</c:v>
                </c:pt>
                <c:pt idx="5">
                  <c:v>0.36349981224183253</c:v>
                </c:pt>
                <c:pt idx="6">
                  <c:v>0.3894496906545099</c:v>
                </c:pt>
                <c:pt idx="7">
                  <c:v>0.3921869015702796</c:v>
                </c:pt>
                <c:pt idx="8">
                  <c:v>0.37278350515463915</c:v>
                </c:pt>
                <c:pt idx="9">
                  <c:v>0.36108676599474143</c:v>
                </c:pt>
                <c:pt idx="10">
                  <c:v>0.35204240723417524</c:v>
                </c:pt>
                <c:pt idx="11">
                  <c:v>0.32066240120436584</c:v>
                </c:pt>
                <c:pt idx="12">
                  <c:v>0.29833863556026863</c:v>
                </c:pt>
                <c:pt idx="13">
                  <c:v>0.26637712631197974</c:v>
                </c:pt>
                <c:pt idx="14">
                  <c:v>0.26129666011787817</c:v>
                </c:pt>
                <c:pt idx="15">
                  <c:v>0.2847161572052402</c:v>
                </c:pt>
                <c:pt idx="16">
                  <c:v>0.3142857142857143</c:v>
                </c:pt>
                <c:pt idx="17">
                  <c:v>0.2881844380403458</c:v>
                </c:pt>
                <c:pt idx="18">
                  <c:v>0.34896810506566606</c:v>
                </c:pt>
                <c:pt idx="19">
                  <c:v>0.34210526315789475</c:v>
                </c:pt>
                <c:pt idx="20">
                  <c:v>0.3381754793724579</c:v>
                </c:pt>
                <c:pt idx="21">
                  <c:v>0.32936507936507936</c:v>
                </c:pt>
                <c:pt idx="22">
                  <c:v>0.308703819661866</c:v>
                </c:pt>
                <c:pt idx="23">
                  <c:v>0.32388924661944624</c:v>
                </c:pt>
                <c:pt idx="24">
                  <c:v>0.2940516273849607</c:v>
                </c:pt>
                <c:pt idx="25">
                  <c:v>0.3104342190537913</c:v>
                </c:pt>
                <c:pt idx="26">
                  <c:v>0.3437301082113304</c:v>
                </c:pt>
                <c:pt idx="27">
                  <c:v>0.3379224030037547</c:v>
                </c:pt>
                <c:pt idx="28">
                  <c:v>0.35812133072407043</c:v>
                </c:pt>
                <c:pt idx="29">
                  <c:v>0.3387605042016807</c:v>
                </c:pt>
                <c:pt idx="30">
                  <c:v>0.3699127906976744</c:v>
                </c:pt>
                <c:pt idx="31">
                  <c:v>0.3419141914191419</c:v>
                </c:pt>
                <c:pt idx="32">
                  <c:v>0.3020408163265306</c:v>
                </c:pt>
                <c:pt idx="33">
                  <c:v>0.2874946282767512</c:v>
                </c:pt>
                <c:pt idx="34">
                  <c:v>0.31341557440246726</c:v>
                </c:pt>
                <c:pt idx="35">
                  <c:v>0.3381967826412271</c:v>
                </c:pt>
                <c:pt idx="36">
                  <c:v>0.358841778697001</c:v>
                </c:pt>
                <c:pt idx="37">
                  <c:v>0.37272192827748385</c:v>
                </c:pt>
                <c:pt idx="38">
                  <c:v>0.34416445623342173</c:v>
                </c:pt>
                <c:pt idx="39">
                  <c:v>0.3464788732394366</c:v>
                </c:pt>
                <c:pt idx="40">
                  <c:v>0.3410241980866629</c:v>
                </c:pt>
                <c:pt idx="41">
                  <c:v>0.32577720207253885</c:v>
                </c:pt>
                <c:pt idx="42">
                  <c:v>0.28107838242636046</c:v>
                </c:pt>
                <c:pt idx="43">
                  <c:v>0.2696676482961716</c:v>
                </c:pt>
                <c:pt idx="44">
                  <c:v>0.29021913415285944</c:v>
                </c:pt>
                <c:pt idx="45">
                  <c:v>0.335418114431318</c:v>
                </c:pt>
                <c:pt idx="46">
                  <c:v>0.31493071077335716</c:v>
                </c:pt>
                <c:pt idx="47">
                  <c:v>0.29876434245366285</c:v>
                </c:pt>
                <c:pt idx="48">
                  <c:v>0.28941292875989444</c:v>
                </c:pt>
                <c:pt idx="49">
                  <c:v>0.2849056603773585</c:v>
                </c:pt>
                <c:pt idx="50">
                  <c:v>0.29102031898623554</c:v>
                </c:pt>
                <c:pt idx="51">
                  <c:v>0.27238261883931175</c:v>
                </c:pt>
                <c:pt idx="52">
                  <c:v>0.27350630802189957</c:v>
                </c:pt>
                <c:pt idx="53">
                  <c:v>0.27004716981132076</c:v>
                </c:pt>
                <c:pt idx="54">
                  <c:v>0.2795969773299748</c:v>
                </c:pt>
                <c:pt idx="55">
                  <c:v>0.2830858618463525</c:v>
                </c:pt>
                <c:pt idx="56">
                  <c:v>0.2687052700065062</c:v>
                </c:pt>
                <c:pt idx="57">
                  <c:v>0.2835332606324973</c:v>
                </c:pt>
                <c:pt idx="58">
                  <c:v>0.3012836037781545</c:v>
                </c:pt>
                <c:pt idx="59">
                  <c:v>0.3104875804967801</c:v>
                </c:pt>
                <c:pt idx="60">
                  <c:v>0.30923229649238915</c:v>
                </c:pt>
                <c:pt idx="61">
                  <c:v>0.3021307158247546</c:v>
                </c:pt>
                <c:pt idx="62">
                  <c:v>0.29963980189104006</c:v>
                </c:pt>
                <c:pt idx="63">
                  <c:v>0.2947819314641745</c:v>
                </c:pt>
                <c:pt idx="64">
                  <c:v>0.28729166666666667</c:v>
                </c:pt>
                <c:pt idx="65">
                  <c:v>0.27869249394673123</c:v>
                </c:pt>
                <c:pt idx="66">
                  <c:v>0.3200790318597184</c:v>
                </c:pt>
                <c:pt idx="67">
                  <c:v>0.31241360243295546</c:v>
                </c:pt>
                <c:pt idx="68">
                  <c:v>0.3050600655260284</c:v>
                </c:pt>
                <c:pt idx="69">
                  <c:v>0.29854368932038833</c:v>
                </c:pt>
                <c:pt idx="70">
                  <c:v>0.30619629127091813</c:v>
                </c:pt>
                <c:pt idx="71">
                  <c:v>0.31069858329262334</c:v>
                </c:pt>
                <c:pt idx="72">
                  <c:v>0.29510426110607435</c:v>
                </c:pt>
                <c:pt idx="73">
                  <c:v>0.2913875598086124</c:v>
                </c:pt>
                <c:pt idx="74">
                  <c:v>0.28745115067303517</c:v>
                </c:pt>
                <c:pt idx="75">
                  <c:v>0.31390593047034765</c:v>
                </c:pt>
                <c:pt idx="76">
                  <c:v>0.3196902654867257</c:v>
                </c:pt>
                <c:pt idx="77">
                  <c:v>0.30716934487021014</c:v>
                </c:pt>
                <c:pt idx="78">
                  <c:v>0.31420765027322406</c:v>
                </c:pt>
                <c:pt idx="79">
                  <c:v>0.3274282223579719</c:v>
                </c:pt>
                <c:pt idx="80">
                  <c:v>0.3237679351216469</c:v>
                </c:pt>
                <c:pt idx="81">
                  <c:v>0.32598039215686275</c:v>
                </c:pt>
                <c:pt idx="82">
                  <c:v>0.3125827814569536</c:v>
                </c:pt>
                <c:pt idx="83">
                  <c:v>0.32229580573951433</c:v>
                </c:pt>
                <c:pt idx="84">
                  <c:v>0.3303370786516854</c:v>
                </c:pt>
                <c:pt idx="85">
                  <c:v>0.33906947100063733</c:v>
                </c:pt>
                <c:pt idx="86">
                  <c:v>0.3492822966507177</c:v>
                </c:pt>
                <c:pt idx="87">
                  <c:v>0.3315972222222222</c:v>
                </c:pt>
                <c:pt idx="88">
                  <c:v>0.3301245753114383</c:v>
                </c:pt>
                <c:pt idx="89">
                  <c:v>0.32837670384138784</c:v>
                </c:pt>
                <c:pt idx="90">
                  <c:v>0.2979830839297333</c:v>
                </c:pt>
                <c:pt idx="91">
                  <c:v>0.2911555842479019</c:v>
                </c:pt>
                <c:pt idx="92">
                  <c:v>0.3008474576271186</c:v>
                </c:pt>
                <c:pt idx="93">
                  <c:v>0.3050483351235231</c:v>
                </c:pt>
                <c:pt idx="94">
                  <c:v>0.3082706766917293</c:v>
                </c:pt>
                <c:pt idx="95">
                  <c:v>0.3015741507870754</c:v>
                </c:pt>
                <c:pt idx="96">
                  <c:v>0.3085926348843848</c:v>
                </c:pt>
                <c:pt idx="97">
                  <c:v>0.33391695847923963</c:v>
                </c:pt>
                <c:pt idx="98">
                  <c:v>0.3342880523731588</c:v>
                </c:pt>
                <c:pt idx="99">
                  <c:v>0.3379850238257318</c:v>
                </c:pt>
                <c:pt idx="100">
                  <c:v>0.3145211636908478</c:v>
                </c:pt>
                <c:pt idx="101">
                  <c:v>0.3303303303303303</c:v>
                </c:pt>
                <c:pt idx="102">
                  <c:v>0.3227564102564103</c:v>
                </c:pt>
                <c:pt idx="103">
                  <c:v>0.3270233196159122</c:v>
                </c:pt>
                <c:pt idx="104">
                  <c:v>0.31482691051600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numCache>
            </c:numRef>
          </c:xVal>
          <c:yVal>
            <c:numRef>
              <c:f>Sheet1!$B$109:$B$160</c:f>
              <c:numCache>
                <c:formatCode>General</c:formatCode>
                <c:ptCount val="52"/>
                <c:pt idx="0">
                  <c:v>0.29814385150812067</c:v>
                </c:pt>
                <c:pt idx="1">
                  <c:v>0.3</c:v>
                </c:pt>
                <c:pt idx="2">
                  <c:v>0.3182565789473684</c:v>
                </c:pt>
                <c:pt idx="3">
                  <c:v>0.32784313725490194</c:v>
                </c:pt>
                <c:pt idx="4">
                  <c:v>0.29737687366167026</c:v>
                </c:pt>
                <c:pt idx="5">
                  <c:v>0.31350176582450423</c:v>
                </c:pt>
                <c:pt idx="6">
                  <c:v>0.31964669372165194</c:v>
                </c:pt>
                <c:pt idx="7">
                  <c:v>0.3187396351575456</c:v>
                </c:pt>
                <c:pt idx="8">
                  <c:v>0.3005259203606311</c:v>
                </c:pt>
                <c:pt idx="9">
                  <c:v>0.314169766655394</c:v>
                </c:pt>
                <c:pt idx="10">
                  <c:v>0.3167283742847526</c:v>
                </c:pt>
                <c:pt idx="11">
                  <c:v>0.3043968432919955</c:v>
                </c:pt>
                <c:pt idx="12">
                  <c:v>0.2942413883775966</c:v>
                </c:pt>
                <c:pt idx="13">
                  <c:v>0.2979154603358425</c:v>
                </c:pt>
                <c:pt idx="14">
                  <c:v>0.2972459639126306</c:v>
                </c:pt>
                <c:pt idx="15">
                  <c:v>0.31816553206735937</c:v>
                </c:pt>
                <c:pt idx="16">
                  <c:v>0.3429930795847751</c:v>
                </c:pt>
                <c:pt idx="17">
                  <c:v>0.34214123006833713</c:v>
                </c:pt>
                <c:pt idx="18">
                  <c:v>0.32686822589845976</c:v>
                </c:pt>
                <c:pt idx="19">
                  <c:v>0.3110435663627153</c:v>
                </c:pt>
                <c:pt idx="20">
                  <c:v>0.3126410835214447</c:v>
                </c:pt>
                <c:pt idx="21">
                  <c:v>0.3303049967553537</c:v>
                </c:pt>
                <c:pt idx="22">
                  <c:v>0.31782477341389725</c:v>
                </c:pt>
                <c:pt idx="23">
                  <c:v>0.3042659974905897</c:v>
                </c:pt>
                <c:pt idx="24">
                  <c:v>0.3106796116504854</c:v>
                </c:pt>
                <c:pt idx="25">
                  <c:v>0.3118214716525935</c:v>
                </c:pt>
                <c:pt idx="26">
                  <c:v>0.3259938837920489</c:v>
                </c:pt>
                <c:pt idx="27">
                  <c:v>0.3449612403100775</c:v>
                </c:pt>
                <c:pt idx="28">
                  <c:v>0.3218045112781955</c:v>
                </c:pt>
                <c:pt idx="29">
                  <c:v>0.3181818181818182</c:v>
                </c:pt>
                <c:pt idx="30">
                  <c:v>0.2994522215459525</c:v>
                </c:pt>
                <c:pt idx="31">
                  <c:v>0.31100478468899523</c:v>
                </c:pt>
                <c:pt idx="32">
                  <c:v>0.29362214199759323</c:v>
                </c:pt>
                <c:pt idx="33">
                  <c:v>0.2932537861404314</c:v>
                </c:pt>
                <c:pt idx="34">
                  <c:v>0.28102564102564104</c:v>
                </c:pt>
                <c:pt idx="35">
                  <c:v>0.2864963503649635</c:v>
                </c:pt>
                <c:pt idx="36">
                  <c:v>0.2677916360968452</c:v>
                </c:pt>
                <c:pt idx="37">
                  <c:v>0.27718832891246686</c:v>
                </c:pt>
                <c:pt idx="38">
                  <c:v>0.2826388888888889</c:v>
                </c:pt>
                <c:pt idx="39">
                  <c:v>0.27101879327398615</c:v>
                </c:pt>
                <c:pt idx="40">
                  <c:v>0.2919191919191919</c:v>
                </c:pt>
                <c:pt idx="41">
                  <c:v>0.2766461392704879</c:v>
                </c:pt>
                <c:pt idx="42">
                  <c:v>0.2924683892248488</c:v>
                </c:pt>
                <c:pt idx="43">
                  <c:v>0.2710868652958456</c:v>
                </c:pt>
                <c:pt idx="44">
                  <c:v>0.30310786106032905</c:v>
                </c:pt>
                <c:pt idx="45">
                  <c:v>0.3201631404537344</c:v>
                </c:pt>
                <c:pt idx="46">
                  <c:v>0.33663366336633666</c:v>
                </c:pt>
                <c:pt idx="47">
                  <c:v>0.33324446814182884</c:v>
                </c:pt>
                <c:pt idx="48">
                  <c:v>0.34182944259171033</c:v>
                </c:pt>
                <c:pt idx="49">
                  <c:v>0.3314667241007969</c:v>
                </c:pt>
                <c:pt idx="50">
                  <c:v>0.3012902311073302</c:v>
                </c:pt>
                <c:pt idx="51">
                  <c:v>0.307927606423655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5.8535674699732</c:v>
                </c:pt>
              </c:numCache>
            </c:numRef>
          </c:xVal>
          <c:yVal>
            <c:numRef>
              <c:f>Sheet1!$B$163:$B$164</c:f>
              <c:numCache>
                <c:formatCode>General</c:formatCode>
                <c:ptCount val="2"/>
                <c:pt idx="0">
                  <c:v>0.3583229228124296</c:v>
                </c:pt>
                <c:pt idx="1">
                  <c:v>0.35832292281242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5.8535674699732</c:v>
                </c:pt>
                <c:pt idx="1">
                  <c:v>855.8535674699732</c:v>
                </c:pt>
              </c:numCache>
            </c:numRef>
          </c:xVal>
          <c:yVal>
            <c:numRef>
              <c:f>Sheet1!$B$167:$B$168</c:f>
              <c:numCache>
                <c:formatCode>General</c:formatCode>
                <c:ptCount val="2"/>
                <c:pt idx="0">
                  <c:v>0.35832292281242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4.1359913147144</c:v>
                </c:pt>
              </c:numCache>
            </c:numRef>
          </c:xVal>
          <c:yVal>
            <c:numRef>
              <c:f>Sheet1!$B$171:$B$172</c:f>
              <c:numCache>
                <c:formatCode>General</c:formatCode>
                <c:ptCount val="2"/>
                <c:pt idx="0">
                  <c:v>0.3206285010558732</c:v>
                </c:pt>
                <c:pt idx="1">
                  <c:v>0.320628501055873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4.1359913147144</c:v>
                </c:pt>
                <c:pt idx="1">
                  <c:v>1104.1359913147144</c:v>
                </c:pt>
              </c:numCache>
            </c:numRef>
          </c:xVal>
          <c:yVal>
            <c:numRef>
              <c:f>Sheet1!$B$175:$B$176</c:f>
              <c:numCache>
                <c:formatCode>General</c:formatCode>
                <c:ptCount val="2"/>
                <c:pt idx="0">
                  <c:v>0.320628501055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0.0831515534953</c:v>
                </c:pt>
              </c:numCache>
            </c:numRef>
          </c:xVal>
          <c:yVal>
            <c:numRef>
              <c:f>Sheet1!$B$179:$B$180</c:f>
              <c:numCache>
                <c:formatCode>General</c:formatCode>
                <c:ptCount val="2"/>
                <c:pt idx="0">
                  <c:v>0.30606173201769865</c:v>
                </c:pt>
                <c:pt idx="1">
                  <c:v>0.306061732017698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0.0831515534953</c:v>
                </c:pt>
                <c:pt idx="1">
                  <c:v>1200.0831515534953</c:v>
                </c:pt>
              </c:numCache>
            </c:numRef>
          </c:xVal>
          <c:yVal>
            <c:numRef>
              <c:f>Sheet1!$B$183:$B$184</c:f>
              <c:numCache>
                <c:formatCode>General</c:formatCode>
                <c:ptCount val="2"/>
                <c:pt idx="0">
                  <c:v>0.306061732017698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pt idx="52">
                  <c:v>1104.1359913147144</c:v>
                </c:pt>
                <c:pt idx="53">
                  <c:v>855.8535674699732</c:v>
                </c:pt>
                <c:pt idx="54">
                  <c:v>1200.0831515534953</c:v>
                </c:pt>
              </c:numCache>
            </c:numRef>
          </c:xVal>
          <c:yVal>
            <c:numRef>
              <c:f>Sheet1!$B$187:$B$241</c:f>
              <c:numCache>
                <c:formatCode>General</c:formatCode>
                <c:ptCount val="55"/>
                <c:pt idx="0">
                  <c:v>0.3133437306311404</c:v>
                </c:pt>
                <c:pt idx="1">
                  <c:v>0.3114420088376555</c:v>
                </c:pt>
                <c:pt idx="2">
                  <c:v>0.3109986619075388</c:v>
                </c:pt>
                <c:pt idx="3">
                  <c:v>0.31402835108407795</c:v>
                </c:pt>
                <c:pt idx="4">
                  <c:v>0.3058186748370148</c:v>
                </c:pt>
                <c:pt idx="5">
                  <c:v>0.3107118573442612</c:v>
                </c:pt>
                <c:pt idx="6">
                  <c:v>0.3242662006204462</c:v>
                </c:pt>
                <c:pt idx="7">
                  <c:v>0.31718696643452815</c:v>
                </c:pt>
                <c:pt idx="8">
                  <c:v>0.3080461280319672</c:v>
                </c:pt>
                <c:pt idx="9">
                  <c:v>0.31451176350794774</c:v>
                </c:pt>
                <c:pt idx="10">
                  <c:v>0.30793589099136803</c:v>
                </c:pt>
                <c:pt idx="11">
                  <c:v>0.32962512361722035</c:v>
                </c:pt>
                <c:pt idx="12">
                  <c:v>0.3262213329508858</c:v>
                </c:pt>
                <c:pt idx="13">
                  <c:v>0.31543870504682436</c:v>
                </c:pt>
                <c:pt idx="14">
                  <c:v>0.3166777141204091</c:v>
                </c:pt>
                <c:pt idx="15">
                  <c:v>0.31341543556747836</c:v>
                </c:pt>
                <c:pt idx="16">
                  <c:v>0.31071914473986617</c:v>
                </c:pt>
                <c:pt idx="17">
                  <c:v>0.3167804512163649</c:v>
                </c:pt>
                <c:pt idx="18">
                  <c:v>0.3020173263762814</c:v>
                </c:pt>
                <c:pt idx="19">
                  <c:v>0.29149264191248714</c:v>
                </c:pt>
                <c:pt idx="20">
                  <c:v>0.29659131379371917</c:v>
                </c:pt>
                <c:pt idx="21">
                  <c:v>0.30999634137037346</c:v>
                </c:pt>
                <c:pt idx="22">
                  <c:v>0.31285202879477</c:v>
                </c:pt>
                <c:pt idx="23">
                  <c:v>0.30395042951709017</c:v>
                </c:pt>
                <c:pt idx="24">
                  <c:v>0.3035458727864957</c:v>
                </c:pt>
                <c:pt idx="25">
                  <c:v>0.3134008152300459</c:v>
                </c:pt>
                <c:pt idx="26">
                  <c:v>0.3147813971453312</c:v>
                </c:pt>
                <c:pt idx="27">
                  <c:v>0.31550454970252995</c:v>
                </c:pt>
                <c:pt idx="28">
                  <c:v>0.31089715455959144</c:v>
                </c:pt>
                <c:pt idx="29">
                  <c:v>0.30985361469103545</c:v>
                </c:pt>
                <c:pt idx="30">
                  <c:v>0.3107197064766107</c:v>
                </c:pt>
                <c:pt idx="31">
                  <c:v>0.3128218771954545</c:v>
                </c:pt>
                <c:pt idx="32">
                  <c:v>0.3084288225757468</c:v>
                </c:pt>
                <c:pt idx="33">
                  <c:v>0.30853722258537053</c:v>
                </c:pt>
                <c:pt idx="34">
                  <c:v>0.306201247924201</c:v>
                </c:pt>
                <c:pt idx="35">
                  <c:v>0.29829112918272416</c:v>
                </c:pt>
                <c:pt idx="36">
                  <c:v>0.2907213318159989</c:v>
                </c:pt>
                <c:pt idx="37">
                  <c:v>0.2917120380664189</c:v>
                </c:pt>
                <c:pt idx="38">
                  <c:v>0.2877648506011413</c:v>
                </c:pt>
                <c:pt idx="39">
                  <c:v>0.2964498016803153</c:v>
                </c:pt>
                <c:pt idx="40">
                  <c:v>0.2976472574168777</c:v>
                </c:pt>
                <c:pt idx="41">
                  <c:v>0.2867523125280548</c:v>
                </c:pt>
                <c:pt idx="42">
                  <c:v>0.2885136608636991</c:v>
                </c:pt>
                <c:pt idx="43">
                  <c:v>0.2858690346345112</c:v>
                </c:pt>
                <c:pt idx="44">
                  <c:v>0.29780571272506307</c:v>
                </c:pt>
                <c:pt idx="45">
                  <c:v>0.307403394921684</c:v>
                </c:pt>
                <c:pt idx="46">
                  <c:v>0.3097993843220752</c:v>
                </c:pt>
                <c:pt idx="47">
                  <c:v>0.31378016971750655</c:v>
                </c:pt>
                <c:pt idx="48">
                  <c:v>0.31594080660400603</c:v>
                </c:pt>
                <c:pt idx="49">
                  <c:v>0.31392572026264143</c:v>
                </c:pt>
                <c:pt idx="50">
                  <c:v>0.32168652330458747</c:v>
                </c:pt>
                <c:pt idx="51">
                  <c:v>0.3268759384431754</c:v>
                </c:pt>
                <c:pt idx="52">
                  <c:v>0.3206285010558732</c:v>
                </c:pt>
                <c:pt idx="53">
                  <c:v>0.3583229228124296</c:v>
                </c:pt>
                <c:pt idx="54">
                  <c:v>0.306061732017698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0.0"/>
          <c:min val="5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062428188433547"/>
          <c:min val="0.20903732809430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912379864940737</c:v>
                </c:pt>
                <c:pt idx="1">
                  <c:v>2.2729043448830226</c:v>
                </c:pt>
                <c:pt idx="2">
                  <c:v>2.5430212164303914</c:v>
                </c:pt>
                <c:pt idx="3">
                  <c:v>2.629281484049504</c:v>
                </c:pt>
                <c:pt idx="4">
                  <c:v>2.66187067419866</c:v>
                </c:pt>
                <c:pt idx="5">
                  <c:v>2.207448242174542</c:v>
                </c:pt>
                <c:pt idx="6">
                  <c:v>1.8765025226391914</c:v>
                </c:pt>
                <c:pt idx="7">
                  <c:v>1.9292991863575377</c:v>
                </c:pt>
                <c:pt idx="8">
                  <c:v>1.9139175470374912</c:v>
                </c:pt>
                <c:pt idx="9">
                  <c:v>2.0296144943717174</c:v>
                </c:pt>
                <c:pt idx="10">
                  <c:v>1.9648563486447348</c:v>
                </c:pt>
                <c:pt idx="11">
                  <c:v>2.051516907917817</c:v>
                </c:pt>
                <c:pt idx="12">
                  <c:v>2.026884525471799</c:v>
                </c:pt>
                <c:pt idx="13">
                  <c:v>1.971998371212621</c:v>
                </c:pt>
                <c:pt idx="14">
                  <c:v>1.9633880179148013</c:v>
                </c:pt>
                <c:pt idx="15">
                  <c:v>1.9393066159593573</c:v>
                </c:pt>
                <c:pt idx="16">
                  <c:v>1.9432569535864304</c:v>
                </c:pt>
                <c:pt idx="17">
                  <c:v>2.2539151585219246</c:v>
                </c:pt>
                <c:pt idx="18">
                  <c:v>2.3610079681941905</c:v>
                </c:pt>
                <c:pt idx="19">
                  <c:v>2.7173814516094983</c:v>
                </c:pt>
                <c:pt idx="20">
                  <c:v>2.9402628527792705</c:v>
                </c:pt>
                <c:pt idx="21">
                  <c:v>2.9730875479190786</c:v>
                </c:pt>
                <c:pt idx="22">
                  <c:v>2.9861172736792603</c:v>
                </c:pt>
                <c:pt idx="23">
                  <c:v>2.955047848209948</c:v>
                </c:pt>
                <c:pt idx="24">
                  <c:v>2.896286735590301</c:v>
                </c:pt>
                <c:pt idx="25">
                  <c:v>2.8282418145873485</c:v>
                </c:pt>
                <c:pt idx="26">
                  <c:v>2.122409305949</c:v>
                </c:pt>
                <c:pt idx="27">
                  <c:v>2.0181721749138295</c:v>
                </c:pt>
                <c:pt idx="28">
                  <c:v>2.026403817440589</c:v>
                </c:pt>
                <c:pt idx="29">
                  <c:v>1.8881256265578654</c:v>
                </c:pt>
                <c:pt idx="30">
                  <c:v>1.9633250354834202</c:v>
                </c:pt>
                <c:pt idx="31">
                  <c:v>1.969752569939015</c:v>
                </c:pt>
                <c:pt idx="32">
                  <c:v>1.9056284977287619</c:v>
                </c:pt>
                <c:pt idx="33">
                  <c:v>1.7571798777621064</c:v>
                </c:pt>
                <c:pt idx="34">
                  <c:v>1.9103035809091848</c:v>
                </c:pt>
                <c:pt idx="35">
                  <c:v>2.0647988139057976</c:v>
                </c:pt>
                <c:pt idx="36">
                  <c:v>2.2029056226747072</c:v>
                </c:pt>
                <c:pt idx="37">
                  <c:v>2.1426216316366595</c:v>
                </c:pt>
                <c:pt idx="38">
                  <c:v>2.279240791317358</c:v>
                </c:pt>
                <c:pt idx="39">
                  <c:v>2.2934112185606224</c:v>
                </c:pt>
                <c:pt idx="40">
                  <c:v>2.388276118120331</c:v>
                </c:pt>
                <c:pt idx="41">
                  <c:v>2.437376257483771</c:v>
                </c:pt>
                <c:pt idx="42">
                  <c:v>2.4687740424757156</c:v>
                </c:pt>
                <c:pt idx="43">
                  <c:v>2.438220796961661</c:v>
                </c:pt>
                <c:pt idx="44">
                  <c:v>2.1864434148186414</c:v>
                </c:pt>
                <c:pt idx="45">
                  <c:v>2.122469126087718</c:v>
                </c:pt>
                <c:pt idx="46">
                  <c:v>2.1927808902639576</c:v>
                </c:pt>
                <c:pt idx="47">
                  <c:v>2.1525843536054783</c:v>
                </c:pt>
                <c:pt idx="48">
                  <c:v>2.138796252153235</c:v>
                </c:pt>
                <c:pt idx="49">
                  <c:v>2.0352985422968732</c:v>
                </c:pt>
                <c:pt idx="50">
                  <c:v>1.9942554013213645</c:v>
                </c:pt>
                <c:pt idx="51">
                  <c:v>2.0380176519397843</c:v>
                </c:pt>
                <c:pt idx="52">
                  <c:v>2.0749977864361027</c:v>
                </c:pt>
                <c:pt idx="53">
                  <c:v>2.187896722010928</c:v>
                </c:pt>
                <c:pt idx="54">
                  <c:v>2.2464703347430084</c:v>
                </c:pt>
                <c:pt idx="55">
                  <c:v>2.2738711303434793</c:v>
                </c:pt>
                <c:pt idx="56">
                  <c:v>2.323482234837521</c:v>
                </c:pt>
                <c:pt idx="57">
                  <c:v>2.2695595073788475</c:v>
                </c:pt>
                <c:pt idx="58">
                  <c:v>2.218571962508951</c:v>
                </c:pt>
                <c:pt idx="59">
                  <c:v>2.255271614903095</c:v>
                </c:pt>
                <c:pt idx="60">
                  <c:v>2.253626304657241</c:v>
                </c:pt>
                <c:pt idx="61">
                  <c:v>2.300029158641539</c:v>
                </c:pt>
                <c:pt idx="62">
                  <c:v>2.2702940810671492</c:v>
                </c:pt>
                <c:pt idx="63">
                  <c:v>2.301835786680379</c:v>
                </c:pt>
                <c:pt idx="64">
                  <c:v>2.222575436806033</c:v>
                </c:pt>
                <c:pt idx="65">
                  <c:v>2.1861924673928397</c:v>
                </c:pt>
                <c:pt idx="66">
                  <c:v>2.2220201649126268</c:v>
                </c:pt>
                <c:pt idx="67">
                  <c:v>2.280112649655895</c:v>
                </c:pt>
                <c:pt idx="68">
                  <c:v>2.2753677288417635</c:v>
                </c:pt>
                <c:pt idx="69">
                  <c:v>2.25291269649143</c:v>
                </c:pt>
                <c:pt idx="70">
                  <c:v>2.141515622924492</c:v>
                </c:pt>
                <c:pt idx="71">
                  <c:v>2.349516207625113</c:v>
                </c:pt>
                <c:pt idx="72">
                  <c:v>2.3981435077715227</c:v>
                </c:pt>
                <c:pt idx="73">
                  <c:v>2.4128011882164913</c:v>
                </c:pt>
                <c:pt idx="74">
                  <c:v>2.2150862443406174</c:v>
                </c:pt>
                <c:pt idx="75">
                  <c:v>2.390763588550512</c:v>
                </c:pt>
                <c:pt idx="76">
                  <c:v>2.5543713660486076</c:v>
                </c:pt>
                <c:pt idx="77">
                  <c:v>2.613174228320792</c:v>
                </c:pt>
                <c:pt idx="78">
                  <c:v>2.670731831255018</c:v>
                </c:pt>
                <c:pt idx="79">
                  <c:v>2.64832310228146</c:v>
                </c:pt>
                <c:pt idx="80">
                  <c:v>2.637287849669722</c:v>
                </c:pt>
                <c:pt idx="81">
                  <c:v>2.6491163422464044</c:v>
                </c:pt>
                <c:pt idx="82">
                  <c:v>2.7056329064656213</c:v>
                </c:pt>
                <c:pt idx="83">
                  <c:v>2.606657101100706</c:v>
                </c:pt>
                <c:pt idx="84">
                  <c:v>2.5759485053617244</c:v>
                </c:pt>
                <c:pt idx="85">
                  <c:v>2.564292049397572</c:v>
                </c:pt>
                <c:pt idx="86">
                  <c:v>2.6842113695981396</c:v>
                </c:pt>
                <c:pt idx="87">
                  <c:v>2.730155545519198</c:v>
                </c:pt>
                <c:pt idx="88">
                  <c:v>2.7591310013596084</c:v>
                </c:pt>
                <c:pt idx="89">
                  <c:v>2.7627364938746113</c:v>
                </c:pt>
                <c:pt idx="90">
                  <c:v>2.8942706382978725</c:v>
                </c:pt>
                <c:pt idx="91">
                  <c:v>2.9057917030470684</c:v>
                </c:pt>
                <c:pt idx="92">
                  <c:v>2.4681756053675667</c:v>
                </c:pt>
                <c:pt idx="93">
                  <c:v>2.198794934789665</c:v>
                </c:pt>
                <c:pt idx="94">
                  <c:v>2.1421403809571085</c:v>
                </c:pt>
                <c:pt idx="95">
                  <c:v>2.0057884704369977</c:v>
                </c:pt>
                <c:pt idx="96">
                  <c:v>1.805854558196331</c:v>
                </c:pt>
                <c:pt idx="97">
                  <c:v>1.7834448417338116</c:v>
                </c:pt>
                <c:pt idx="98">
                  <c:v>1.742610768895762</c:v>
                </c:pt>
                <c:pt idx="99">
                  <c:v>1.6782725556536089</c:v>
                </c:pt>
                <c:pt idx="100">
                  <c:v>1.613188978041373</c:v>
                </c:pt>
                <c:pt idx="101">
                  <c:v>1.6952389397921621</c:v>
                </c:pt>
                <c:pt idx="102">
                  <c:v>1.7582887065292363</c:v>
                </c:pt>
                <c:pt idx="103">
                  <c:v>1.6836617668189073</c:v>
                </c:pt>
                <c:pt idx="104">
                  <c:v>1.7719983646760638</c:v>
                </c:pt>
              </c:numCache>
            </c:numRef>
          </c:xVal>
          <c:yVal>
            <c:numRef>
              <c:f>Sheet1!$B$2:$B$106</c:f>
              <c:numCache>
                <c:formatCode>General</c:formatCode>
                <c:ptCount val="105"/>
                <c:pt idx="0">
                  <c:v>0.49306989088764375</c:v>
                </c:pt>
                <c:pt idx="1">
                  <c:v>0.4980706441080439</c:v>
                </c:pt>
                <c:pt idx="2">
                  <c:v>0.431441759435243</c:v>
                </c:pt>
                <c:pt idx="3">
                  <c:v>0.40219589713955506</c:v>
                </c:pt>
                <c:pt idx="4">
                  <c:v>0.38805472138805475</c:v>
                </c:pt>
                <c:pt idx="5">
                  <c:v>0.37363875328576795</c:v>
                </c:pt>
                <c:pt idx="6">
                  <c:v>0.40345164441549985</c:v>
                </c:pt>
                <c:pt idx="7">
                  <c:v>0.38988893144389125</c:v>
                </c:pt>
                <c:pt idx="8">
                  <c:v>0.42350515463917526</c:v>
                </c:pt>
                <c:pt idx="9">
                  <c:v>0.4618755477651183</c:v>
                </c:pt>
                <c:pt idx="10">
                  <c:v>0.4989086373557842</c:v>
                </c:pt>
                <c:pt idx="11">
                  <c:v>0.5159954836281521</c:v>
                </c:pt>
                <c:pt idx="12">
                  <c:v>0.5404736656062212</c:v>
                </c:pt>
                <c:pt idx="13">
                  <c:v>0.5888526963445531</c:v>
                </c:pt>
                <c:pt idx="14">
                  <c:v>0.6129666011787819</c:v>
                </c:pt>
                <c:pt idx="15">
                  <c:v>0.5812227074235807</c:v>
                </c:pt>
                <c:pt idx="16">
                  <c:v>0.5372448979591836</c:v>
                </c:pt>
                <c:pt idx="17">
                  <c:v>0.5389048991354467</c:v>
                </c:pt>
                <c:pt idx="18">
                  <c:v>0.4965603502188868</c:v>
                </c:pt>
                <c:pt idx="19">
                  <c:v>0.4267425320056899</c:v>
                </c:pt>
                <c:pt idx="20">
                  <c:v>0.42823939570017433</c:v>
                </c:pt>
                <c:pt idx="21">
                  <c:v>0.43716931216931215</c:v>
                </c:pt>
                <c:pt idx="22">
                  <c:v>0.4370695053224796</c:v>
                </c:pt>
                <c:pt idx="23">
                  <c:v>0.4578235672891178</c:v>
                </c:pt>
                <c:pt idx="24">
                  <c:v>0.4730639730639731</c:v>
                </c:pt>
                <c:pt idx="25">
                  <c:v>0.46532728451069344</c:v>
                </c:pt>
                <c:pt idx="26">
                  <c:v>0.49649904519414384</c:v>
                </c:pt>
                <c:pt idx="27">
                  <c:v>0.5050062578222778</c:v>
                </c:pt>
                <c:pt idx="28">
                  <c:v>0.4461839530332681</c:v>
                </c:pt>
                <c:pt idx="29">
                  <c:v>0.4721638655462185</c:v>
                </c:pt>
                <c:pt idx="30">
                  <c:v>0.4382267441860465</c:v>
                </c:pt>
                <c:pt idx="31">
                  <c:v>0.45676567656765676</c:v>
                </c:pt>
                <c:pt idx="32">
                  <c:v>0.47463556851311955</c:v>
                </c:pt>
                <c:pt idx="33">
                  <c:v>0.4813064030941126</c:v>
                </c:pt>
                <c:pt idx="34">
                  <c:v>0.4818812644564379</c:v>
                </c:pt>
                <c:pt idx="35">
                  <c:v>0.487467265245043</c:v>
                </c:pt>
                <c:pt idx="36">
                  <c:v>0.4343329886246122</c:v>
                </c:pt>
                <c:pt idx="37">
                  <c:v>0.43209876543209874</c:v>
                </c:pt>
                <c:pt idx="38">
                  <c:v>0.47546419098143233</c:v>
                </c:pt>
                <c:pt idx="39">
                  <c:v>0.5028169014084507</c:v>
                </c:pt>
                <c:pt idx="40">
                  <c:v>0.46764209341586943</c:v>
                </c:pt>
                <c:pt idx="41">
                  <c:v>0.44494818652849744</c:v>
                </c:pt>
                <c:pt idx="42">
                  <c:v>0.4558162755866201</c:v>
                </c:pt>
                <c:pt idx="43">
                  <c:v>0.4249053428691628</c:v>
                </c:pt>
                <c:pt idx="44">
                  <c:v>0.45884553714591125</c:v>
                </c:pt>
                <c:pt idx="45">
                  <c:v>0.47625665971739634</c:v>
                </c:pt>
                <c:pt idx="46">
                  <c:v>0.4843540455967814</c:v>
                </c:pt>
                <c:pt idx="47">
                  <c:v>0.48036187113857015</c:v>
                </c:pt>
                <c:pt idx="48">
                  <c:v>0.49521767810026385</c:v>
                </c:pt>
                <c:pt idx="49">
                  <c:v>0.5517819706498952</c:v>
                </c:pt>
                <c:pt idx="50">
                  <c:v>0.5149661350229408</c:v>
                </c:pt>
                <c:pt idx="51">
                  <c:v>0.4972295129775445</c:v>
                </c:pt>
                <c:pt idx="52">
                  <c:v>0.4936919781004523</c:v>
                </c:pt>
                <c:pt idx="53">
                  <c:v>0.4849646226415094</c:v>
                </c:pt>
                <c:pt idx="54">
                  <c:v>0.46977329974811083</c:v>
                </c:pt>
                <c:pt idx="55">
                  <c:v>0.4522272433828276</c:v>
                </c:pt>
                <c:pt idx="56">
                  <c:v>0.47657774886141835</c:v>
                </c:pt>
                <c:pt idx="57">
                  <c:v>0.46564885496183206</c:v>
                </c:pt>
                <c:pt idx="58">
                  <c:v>0.48680067813029787</c:v>
                </c:pt>
                <c:pt idx="59">
                  <c:v>0.4934069303894511</c:v>
                </c:pt>
                <c:pt idx="60">
                  <c:v>0.5057908669755129</c:v>
                </c:pt>
                <c:pt idx="61">
                  <c:v>0.4972468278668901</c:v>
                </c:pt>
                <c:pt idx="62">
                  <c:v>0.5141828005402972</c:v>
                </c:pt>
                <c:pt idx="63">
                  <c:v>0.5434190031152648</c:v>
                </c:pt>
                <c:pt idx="64">
                  <c:v>0.5566666666666666</c:v>
                </c:pt>
                <c:pt idx="65">
                  <c:v>0.5430992736077482</c:v>
                </c:pt>
                <c:pt idx="66">
                  <c:v>0.514448011854779</c:v>
                </c:pt>
                <c:pt idx="67">
                  <c:v>0.5286148742051424</c:v>
                </c:pt>
                <c:pt idx="68">
                  <c:v>0.5154714233709501</c:v>
                </c:pt>
                <c:pt idx="69">
                  <c:v>0.49854368932038834</c:v>
                </c:pt>
                <c:pt idx="70">
                  <c:v>0.46404341926729986</c:v>
                </c:pt>
                <c:pt idx="71">
                  <c:v>0.45530043966780653</c:v>
                </c:pt>
                <c:pt idx="72">
                  <c:v>0.4610154125113327</c:v>
                </c:pt>
                <c:pt idx="73">
                  <c:v>0.4511961722488038</c:v>
                </c:pt>
                <c:pt idx="74">
                  <c:v>0.45896656534954405</c:v>
                </c:pt>
                <c:pt idx="75">
                  <c:v>0.44683026584867075</c:v>
                </c:pt>
                <c:pt idx="76">
                  <c:v>0.4264380530973451</c:v>
                </c:pt>
                <c:pt idx="77">
                  <c:v>0.43757725587144625</c:v>
                </c:pt>
                <c:pt idx="78">
                  <c:v>0.4344262295081967</c:v>
                </c:pt>
                <c:pt idx="79">
                  <c:v>0.4306658521686011</c:v>
                </c:pt>
                <c:pt idx="80">
                  <c:v>0.4029943855271366</c:v>
                </c:pt>
                <c:pt idx="81">
                  <c:v>0.39509803921568626</c:v>
                </c:pt>
                <c:pt idx="82">
                  <c:v>0.40728476821192056</c:v>
                </c:pt>
                <c:pt idx="83">
                  <c:v>0.39072847682119205</c:v>
                </c:pt>
                <c:pt idx="84">
                  <c:v>0.40074906367041196</c:v>
                </c:pt>
                <c:pt idx="85">
                  <c:v>0.3989802421924793</c:v>
                </c:pt>
                <c:pt idx="86">
                  <c:v>0.423444976076555</c:v>
                </c:pt>
                <c:pt idx="87">
                  <c:v>0.4500868055555556</c:v>
                </c:pt>
                <c:pt idx="88">
                  <c:v>0.4150622876557191</c:v>
                </c:pt>
                <c:pt idx="89">
                  <c:v>0.38413878562577447</c:v>
                </c:pt>
                <c:pt idx="90">
                  <c:v>0.38126219908913467</c:v>
                </c:pt>
                <c:pt idx="91">
                  <c:v>0.3763718528082634</c:v>
                </c:pt>
                <c:pt idx="92">
                  <c:v>0.4247881355932203</c:v>
                </c:pt>
                <c:pt idx="93">
                  <c:v>0.42910848549946295</c:v>
                </c:pt>
                <c:pt idx="94">
                  <c:v>0.4349334875650665</c:v>
                </c:pt>
                <c:pt idx="95">
                  <c:v>0.4544324772162386</c:v>
                </c:pt>
                <c:pt idx="96">
                  <c:v>0.4530402512132458</c:v>
                </c:pt>
                <c:pt idx="97">
                  <c:v>0.45797898949474736</c:v>
                </c:pt>
                <c:pt idx="98">
                  <c:v>0.464607201309329</c:v>
                </c:pt>
                <c:pt idx="99">
                  <c:v>0.4909802586793737</c:v>
                </c:pt>
                <c:pt idx="100">
                  <c:v>0.5016856036958421</c:v>
                </c:pt>
                <c:pt idx="101">
                  <c:v>0.4772629772629773</c:v>
                </c:pt>
                <c:pt idx="102">
                  <c:v>0.446474358974359</c:v>
                </c:pt>
                <c:pt idx="103">
                  <c:v>0.4419753086419753</c:v>
                </c:pt>
                <c:pt idx="104">
                  <c:v>0.44839973873285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9988482137604</c:v>
                </c:pt>
                <c:pt idx="1">
                  <c:v>1.8299186032277284</c:v>
                </c:pt>
                <c:pt idx="2">
                  <c:v>1.7912270621647137</c:v>
                </c:pt>
                <c:pt idx="3">
                  <c:v>1.8960566200989117</c:v>
                </c:pt>
                <c:pt idx="4">
                  <c:v>1.9696760908458832</c:v>
                </c:pt>
                <c:pt idx="5">
                  <c:v>1.969544944363457</c:v>
                </c:pt>
                <c:pt idx="6">
                  <c:v>1.8837559826218553</c:v>
                </c:pt>
                <c:pt idx="7">
                  <c:v>1.9714845210941487</c:v>
                </c:pt>
                <c:pt idx="8">
                  <c:v>2.037923118637235</c:v>
                </c:pt>
                <c:pt idx="9">
                  <c:v>2.005778054258617</c:v>
                </c:pt>
                <c:pt idx="10">
                  <c:v>1.99386719366701</c:v>
                </c:pt>
                <c:pt idx="11">
                  <c:v>1.7575700441683855</c:v>
                </c:pt>
                <c:pt idx="12">
                  <c:v>1.811572153475645</c:v>
                </c:pt>
                <c:pt idx="13">
                  <c:v>1.9054211564810803</c:v>
                </c:pt>
                <c:pt idx="14">
                  <c:v>1.918088679568703</c:v>
                </c:pt>
                <c:pt idx="15">
                  <c:v>2.0158691745560606</c:v>
                </c:pt>
                <c:pt idx="16">
                  <c:v>2.0778491850615937</c:v>
                </c:pt>
                <c:pt idx="17">
                  <c:v>2.0825830146374655</c:v>
                </c:pt>
                <c:pt idx="18">
                  <c:v>2.0796189806295966</c:v>
                </c:pt>
                <c:pt idx="19">
                  <c:v>2.2519461327477677</c:v>
                </c:pt>
                <c:pt idx="20">
                  <c:v>2.22061449917893</c:v>
                </c:pt>
                <c:pt idx="21">
                  <c:v>2.086565383911011</c:v>
                </c:pt>
                <c:pt idx="22">
                  <c:v>1.8148046819855244</c:v>
                </c:pt>
                <c:pt idx="23">
                  <c:v>1.8240724977574314</c:v>
                </c:pt>
                <c:pt idx="24">
                  <c:v>1.8830624999801588</c:v>
                </c:pt>
                <c:pt idx="25">
                  <c:v>1.8527848070326949</c:v>
                </c:pt>
                <c:pt idx="26">
                  <c:v>2.023525568291034</c:v>
                </c:pt>
                <c:pt idx="27">
                  <c:v>2.017324714552655</c:v>
                </c:pt>
                <c:pt idx="28">
                  <c:v>1.9306768904171345</c:v>
                </c:pt>
                <c:pt idx="29">
                  <c:v>1.9608242331189416</c:v>
                </c:pt>
                <c:pt idx="30">
                  <c:v>1.987734657979806</c:v>
                </c:pt>
                <c:pt idx="31">
                  <c:v>1.811741510797445</c:v>
                </c:pt>
                <c:pt idx="32">
                  <c:v>1.8470215471389118</c:v>
                </c:pt>
                <c:pt idx="33">
                  <c:v>1.9472329915124482</c:v>
                </c:pt>
                <c:pt idx="34">
                  <c:v>1.9785158772806024</c:v>
                </c:pt>
                <c:pt idx="35">
                  <c:v>1.9366293904110572</c:v>
                </c:pt>
                <c:pt idx="36">
                  <c:v>2.0545033882415797</c:v>
                </c:pt>
                <c:pt idx="37">
                  <c:v>2.1339602687628525</c:v>
                </c:pt>
                <c:pt idx="38">
                  <c:v>2.0601465443890694</c:v>
                </c:pt>
                <c:pt idx="39">
                  <c:v>1.978298512530788</c:v>
                </c:pt>
                <c:pt idx="40">
                  <c:v>2.011311771458341</c:v>
                </c:pt>
                <c:pt idx="41">
                  <c:v>2.1571229912515846</c:v>
                </c:pt>
                <c:pt idx="42">
                  <c:v>2.2045970760882314</c:v>
                </c:pt>
                <c:pt idx="43">
                  <c:v>2.1377739964465117</c:v>
                </c:pt>
                <c:pt idx="44">
                  <c:v>2.036493993024157</c:v>
                </c:pt>
                <c:pt idx="45">
                  <c:v>1.9541949955539168</c:v>
                </c:pt>
                <c:pt idx="46">
                  <c:v>1.9647331280137907</c:v>
                </c:pt>
                <c:pt idx="47">
                  <c:v>1.891493952923365</c:v>
                </c:pt>
                <c:pt idx="48">
                  <c:v>1.8107333750211119</c:v>
                </c:pt>
                <c:pt idx="49">
                  <c:v>1.8307829719738495</c:v>
                </c:pt>
                <c:pt idx="50">
                  <c:v>1.6438777030704996</c:v>
                </c:pt>
                <c:pt idx="51">
                  <c:v>1.6924512335573076</c:v>
                </c:pt>
              </c:numCache>
            </c:numRef>
          </c:xVal>
          <c:yVal>
            <c:numRef>
              <c:f>Sheet1!$B$109:$B$160</c:f>
              <c:numCache>
                <c:formatCode>General</c:formatCode>
                <c:ptCount val="52"/>
                <c:pt idx="0">
                  <c:v>0.4573665893271462</c:v>
                </c:pt>
                <c:pt idx="1">
                  <c:v>0.4459375</c:v>
                </c:pt>
                <c:pt idx="2">
                  <c:v>0.45723684210526316</c:v>
                </c:pt>
                <c:pt idx="3">
                  <c:v>0.4603921568627451</c:v>
                </c:pt>
                <c:pt idx="4">
                  <c:v>0.4333511777301927</c:v>
                </c:pt>
                <c:pt idx="5">
                  <c:v>0.4441727791361043</c:v>
                </c:pt>
                <c:pt idx="6">
                  <c:v>0.45714967772738124</c:v>
                </c:pt>
                <c:pt idx="7">
                  <c:v>0.4703150912106136</c:v>
                </c:pt>
                <c:pt idx="8">
                  <c:v>0.4827197595792637</c:v>
                </c:pt>
                <c:pt idx="9">
                  <c:v>0.4890091308758877</c:v>
                </c:pt>
                <c:pt idx="10">
                  <c:v>0.5011780545270953</c:v>
                </c:pt>
                <c:pt idx="11">
                  <c:v>0.5271702367531004</c:v>
                </c:pt>
                <c:pt idx="12">
                  <c:v>0.5211674993426243</c:v>
                </c:pt>
                <c:pt idx="13">
                  <c:v>0.48755066589461493</c:v>
                </c:pt>
                <c:pt idx="14">
                  <c:v>0.4954099398543843</c:v>
                </c:pt>
                <c:pt idx="15">
                  <c:v>0.4743819419562881</c:v>
                </c:pt>
                <c:pt idx="16">
                  <c:v>0.43252595155709345</c:v>
                </c:pt>
                <c:pt idx="17">
                  <c:v>0.428246013667426</c:v>
                </c:pt>
                <c:pt idx="18">
                  <c:v>0.41756988020536223</c:v>
                </c:pt>
                <c:pt idx="19">
                  <c:v>0.4027355623100304</c:v>
                </c:pt>
                <c:pt idx="20">
                  <c:v>0.3752821670428894</c:v>
                </c:pt>
                <c:pt idx="21">
                  <c:v>0.381570408825438</c:v>
                </c:pt>
                <c:pt idx="22">
                  <c:v>0.4229607250755287</c:v>
                </c:pt>
                <c:pt idx="23">
                  <c:v>0.44291091593475534</c:v>
                </c:pt>
                <c:pt idx="24">
                  <c:v>0.4260422615648201</c:v>
                </c:pt>
                <c:pt idx="25">
                  <c:v>0.4384800965018094</c:v>
                </c:pt>
                <c:pt idx="26">
                  <c:v>0.3926605504587156</c:v>
                </c:pt>
                <c:pt idx="27">
                  <c:v>0.384828349944629</c:v>
                </c:pt>
                <c:pt idx="28">
                  <c:v>0.43157894736842106</c:v>
                </c:pt>
                <c:pt idx="29">
                  <c:v>0.44976076555023925</c:v>
                </c:pt>
                <c:pt idx="30">
                  <c:v>0.46804625684723067</c:v>
                </c:pt>
                <c:pt idx="31">
                  <c:v>0.4531784005468216</c:v>
                </c:pt>
                <c:pt idx="32">
                  <c:v>0.4645006016847172</c:v>
                </c:pt>
                <c:pt idx="33">
                  <c:v>0.49701698026617713</c:v>
                </c:pt>
                <c:pt idx="34">
                  <c:v>0.5258119658119658</c:v>
                </c:pt>
                <c:pt idx="35">
                  <c:v>0.5241788321167883</c:v>
                </c:pt>
                <c:pt idx="36">
                  <c:v>0.4798239178283199</c:v>
                </c:pt>
                <c:pt idx="37">
                  <c:v>0.4363395225464191</c:v>
                </c:pt>
                <c:pt idx="38">
                  <c:v>0.4222222222222222</c:v>
                </c:pt>
                <c:pt idx="39">
                  <c:v>0.45548961424332346</c:v>
                </c:pt>
                <c:pt idx="40">
                  <c:v>0.4292929292929293</c:v>
                </c:pt>
                <c:pt idx="41">
                  <c:v>0.4258645191852203</c:v>
                </c:pt>
                <c:pt idx="42">
                  <c:v>0.42550852116547555</c:v>
                </c:pt>
                <c:pt idx="43">
                  <c:v>0.42761225346202264</c:v>
                </c:pt>
                <c:pt idx="44">
                  <c:v>0.4296160877513711</c:v>
                </c:pt>
                <c:pt idx="45">
                  <c:v>0.4613815957175631</c:v>
                </c:pt>
                <c:pt idx="46">
                  <c:v>0.46624662466246625</c:v>
                </c:pt>
                <c:pt idx="47">
                  <c:v>0.45827779258864304</c:v>
                </c:pt>
                <c:pt idx="48">
                  <c:v>0.4549785612196284</c:v>
                </c:pt>
                <c:pt idx="49">
                  <c:v>0.47964678009907386</c:v>
                </c:pt>
                <c:pt idx="50">
                  <c:v>0.5064511555366511</c:v>
                </c:pt>
                <c:pt idx="51">
                  <c:v>0.48508794290084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56497685177651</c:v>
                </c:pt>
              </c:numCache>
            </c:numRef>
          </c:xVal>
          <c:yVal>
            <c:numRef>
              <c:f>Sheet1!$B$163:$B$164</c:f>
              <c:numCache>
                <c:formatCode>General</c:formatCode>
                <c:ptCount val="2"/>
                <c:pt idx="0">
                  <c:v>0.512704363576222</c:v>
                </c:pt>
                <c:pt idx="1">
                  <c:v>0.5127043635762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56497685177651</c:v>
                </c:pt>
                <c:pt idx="1">
                  <c:v>1.556497685177651</c:v>
                </c:pt>
              </c:numCache>
            </c:numRef>
          </c:xVal>
          <c:yVal>
            <c:numRef>
              <c:f>Sheet1!$B$167:$B$168</c:f>
              <c:numCache>
                <c:formatCode>General</c:formatCode>
                <c:ptCount val="2"/>
                <c:pt idx="0">
                  <c:v>0.5127043635762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88273844217</c:v>
                </c:pt>
              </c:numCache>
            </c:numRef>
          </c:xVal>
          <c:yVal>
            <c:numRef>
              <c:f>Sheet1!$B$171:$B$172</c:f>
              <c:numCache>
                <c:formatCode>General</c:formatCode>
                <c:ptCount val="2"/>
                <c:pt idx="0">
                  <c:v>0.48154110993904864</c:v>
                </c:pt>
                <c:pt idx="1">
                  <c:v>0.481541109939048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88273844217</c:v>
                </c:pt>
                <c:pt idx="1">
                  <c:v>1.7688273844217</c:v>
                </c:pt>
              </c:numCache>
            </c:numRef>
          </c:xVal>
          <c:yVal>
            <c:numRef>
              <c:f>Sheet1!$B$175:$B$176</c:f>
              <c:numCache>
                <c:formatCode>General</c:formatCode>
                <c:ptCount val="2"/>
                <c:pt idx="0">
                  <c:v>0.48154110993904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546672559193914</c:v>
                </c:pt>
              </c:numCache>
            </c:numRef>
          </c:xVal>
          <c:yVal>
            <c:numRef>
              <c:f>Sheet1!$B$179:$B$180</c:f>
              <c:numCache>
                <c:formatCode>General</c:formatCode>
                <c:ptCount val="2"/>
                <c:pt idx="0">
                  <c:v>0.45426572137116994</c:v>
                </c:pt>
                <c:pt idx="1">
                  <c:v>0.4542657213711699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546672559193914</c:v>
                </c:pt>
                <c:pt idx="1">
                  <c:v>1.9546672559193914</c:v>
                </c:pt>
              </c:numCache>
            </c:numRef>
          </c:xVal>
          <c:yVal>
            <c:numRef>
              <c:f>Sheet1!$B$183:$B$184</c:f>
              <c:numCache>
                <c:formatCode>General</c:formatCode>
                <c:ptCount val="2"/>
                <c:pt idx="0">
                  <c:v>0.4542657213711699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9988482137604</c:v>
                </c:pt>
                <c:pt idx="1">
                  <c:v>1.8299186032277284</c:v>
                </c:pt>
                <c:pt idx="2">
                  <c:v>1.7912270621647137</c:v>
                </c:pt>
                <c:pt idx="3">
                  <c:v>1.8960566200989117</c:v>
                </c:pt>
                <c:pt idx="4">
                  <c:v>1.9696760908458832</c:v>
                </c:pt>
                <c:pt idx="5">
                  <c:v>1.969544944363457</c:v>
                </c:pt>
                <c:pt idx="6">
                  <c:v>1.8837559826218553</c:v>
                </c:pt>
                <c:pt idx="7">
                  <c:v>1.9714845210941487</c:v>
                </c:pt>
                <c:pt idx="8">
                  <c:v>2.037923118637235</c:v>
                </c:pt>
                <c:pt idx="9">
                  <c:v>2.005778054258617</c:v>
                </c:pt>
                <c:pt idx="10">
                  <c:v>1.99386719366701</c:v>
                </c:pt>
                <c:pt idx="11">
                  <c:v>1.7575700441683855</c:v>
                </c:pt>
                <c:pt idx="12">
                  <c:v>1.811572153475645</c:v>
                </c:pt>
                <c:pt idx="13">
                  <c:v>1.9054211564810803</c:v>
                </c:pt>
                <c:pt idx="14">
                  <c:v>1.918088679568703</c:v>
                </c:pt>
                <c:pt idx="15">
                  <c:v>2.0158691745560606</c:v>
                </c:pt>
                <c:pt idx="16">
                  <c:v>2.0778491850615937</c:v>
                </c:pt>
                <c:pt idx="17">
                  <c:v>2.0825830146374655</c:v>
                </c:pt>
                <c:pt idx="18">
                  <c:v>2.0796189806295966</c:v>
                </c:pt>
                <c:pt idx="19">
                  <c:v>2.2519461327477677</c:v>
                </c:pt>
                <c:pt idx="20">
                  <c:v>2.22061449917893</c:v>
                </c:pt>
                <c:pt idx="21">
                  <c:v>2.086565383911011</c:v>
                </c:pt>
                <c:pt idx="22">
                  <c:v>1.8148046819855244</c:v>
                </c:pt>
                <c:pt idx="23">
                  <c:v>1.8240724977574314</c:v>
                </c:pt>
                <c:pt idx="24">
                  <c:v>1.8830624999801588</c:v>
                </c:pt>
                <c:pt idx="25">
                  <c:v>1.8527848070326949</c:v>
                </c:pt>
                <c:pt idx="26">
                  <c:v>2.023525568291034</c:v>
                </c:pt>
                <c:pt idx="27">
                  <c:v>2.017324714552655</c:v>
                </c:pt>
                <c:pt idx="28">
                  <c:v>1.9306768904171345</c:v>
                </c:pt>
                <c:pt idx="29">
                  <c:v>1.9608242331189416</c:v>
                </c:pt>
                <c:pt idx="30">
                  <c:v>1.987734657979806</c:v>
                </c:pt>
                <c:pt idx="31">
                  <c:v>1.811741510797445</c:v>
                </c:pt>
                <c:pt idx="32">
                  <c:v>1.8470215471389118</c:v>
                </c:pt>
                <c:pt idx="33">
                  <c:v>1.9472329915124482</c:v>
                </c:pt>
                <c:pt idx="34">
                  <c:v>1.9785158772806024</c:v>
                </c:pt>
                <c:pt idx="35">
                  <c:v>1.9366293904110572</c:v>
                </c:pt>
                <c:pt idx="36">
                  <c:v>2.0545033882415797</c:v>
                </c:pt>
                <c:pt idx="37">
                  <c:v>2.1339602687628525</c:v>
                </c:pt>
                <c:pt idx="38">
                  <c:v>2.0601465443890694</c:v>
                </c:pt>
                <c:pt idx="39">
                  <c:v>1.978298512530788</c:v>
                </c:pt>
                <c:pt idx="40">
                  <c:v>2.011311771458341</c:v>
                </c:pt>
                <c:pt idx="41">
                  <c:v>2.1571229912515846</c:v>
                </c:pt>
                <c:pt idx="42">
                  <c:v>2.2045970760882314</c:v>
                </c:pt>
                <c:pt idx="43">
                  <c:v>2.1377739964465117</c:v>
                </c:pt>
                <c:pt idx="44">
                  <c:v>2.036493993024157</c:v>
                </c:pt>
                <c:pt idx="45">
                  <c:v>1.9541949955539168</c:v>
                </c:pt>
                <c:pt idx="46">
                  <c:v>1.9647331280137907</c:v>
                </c:pt>
                <c:pt idx="47">
                  <c:v>1.891493952923365</c:v>
                </c:pt>
                <c:pt idx="48">
                  <c:v>1.8107333750211119</c:v>
                </c:pt>
                <c:pt idx="49">
                  <c:v>1.8307829719738495</c:v>
                </c:pt>
                <c:pt idx="50">
                  <c:v>1.6438777030704996</c:v>
                </c:pt>
                <c:pt idx="51">
                  <c:v>1.6924512335573076</c:v>
                </c:pt>
                <c:pt idx="52">
                  <c:v>1.7688273844217</c:v>
                </c:pt>
                <c:pt idx="53">
                  <c:v>1.556497685177651</c:v>
                </c:pt>
                <c:pt idx="54">
                  <c:v>1.9546672559193914</c:v>
                </c:pt>
              </c:numCache>
            </c:numRef>
          </c:xVal>
          <c:yVal>
            <c:numRef>
              <c:f>Sheet1!$B$187:$B$241</c:f>
              <c:numCache>
                <c:formatCode>General</c:formatCode>
                <c:ptCount val="55"/>
                <c:pt idx="0">
                  <c:v>0.47698286496166475</c:v>
                </c:pt>
                <c:pt idx="1">
                  <c:v>0.47257486002942994</c:v>
                </c:pt>
                <c:pt idx="2">
                  <c:v>0.4782535489365995</c:v>
                </c:pt>
                <c:pt idx="3">
                  <c:v>0.4628679005124414</c:v>
                </c:pt>
                <c:pt idx="4">
                  <c:v>0.4520629012697995</c:v>
                </c:pt>
                <c:pt idx="5">
                  <c:v>0.45208214940658875</c:v>
                </c:pt>
                <c:pt idx="6">
                  <c:v>0.4646732432740107</c:v>
                </c:pt>
                <c:pt idx="7">
                  <c:v>0.4517974811674187</c:v>
                </c:pt>
                <c:pt idx="8">
                  <c:v>0.4420464059579468</c:v>
                </c:pt>
                <c:pt idx="9">
                  <c:v>0.446764280084744</c:v>
                </c:pt>
                <c:pt idx="10">
                  <c:v>0.4485124159836539</c:v>
                </c:pt>
                <c:pt idx="11">
                  <c:v>0.48319332981616897</c:v>
                </c:pt>
                <c:pt idx="12">
                  <c:v>0.475267535943357</c:v>
                </c:pt>
                <c:pt idx="13">
                  <c:v>0.4614934841047931</c:v>
                </c:pt>
                <c:pt idx="14">
                  <c:v>0.45963429419240776</c:v>
                </c:pt>
                <c:pt idx="15">
                  <c:v>0.44528322424360606</c:v>
                </c:pt>
                <c:pt idx="16">
                  <c:v>0.4361865279514941</c:v>
                </c:pt>
                <c:pt idx="17">
                  <c:v>0.43549175217460906</c:v>
                </c:pt>
                <c:pt idx="18">
                  <c:v>0.43592677819266157</c:v>
                </c:pt>
                <c:pt idx="19">
                  <c:v>0.4106346274989529</c:v>
                </c:pt>
                <c:pt idx="20">
                  <c:v>0.4152331158274764</c:v>
                </c:pt>
                <c:pt idx="21">
                  <c:v>0.4349072668944517</c:v>
                </c:pt>
                <c:pt idx="22">
                  <c:v>0.47479310346310855</c:v>
                </c:pt>
                <c:pt idx="23">
                  <c:v>0.4734328825680063</c:v>
                </c:pt>
                <c:pt idx="24">
                  <c:v>0.46477502449224395</c:v>
                </c:pt>
                <c:pt idx="25">
                  <c:v>0.4692188278237118</c:v>
                </c:pt>
                <c:pt idx="26">
                  <c:v>0.4441595089048733</c:v>
                </c:pt>
                <c:pt idx="27">
                  <c:v>0.44506959721802075</c:v>
                </c:pt>
                <c:pt idx="28">
                  <c:v>0.4577867447968002</c:v>
                </c:pt>
                <c:pt idx="29">
                  <c:v>0.4533620727398621</c:v>
                </c:pt>
                <c:pt idx="30">
                  <c:v>0.44941247737751333</c:v>
                </c:pt>
                <c:pt idx="31">
                  <c:v>0.47524267966939554</c:v>
                </c:pt>
                <c:pt idx="32">
                  <c:v>0.470064691263854</c:v>
                </c:pt>
                <c:pt idx="33">
                  <c:v>0.4553568351821168</c:v>
                </c:pt>
                <c:pt idx="34">
                  <c:v>0.45076550148190186</c:v>
                </c:pt>
                <c:pt idx="35">
                  <c:v>0.45691310692255876</c:v>
                </c:pt>
                <c:pt idx="36">
                  <c:v>0.43961294917402777</c:v>
                </c:pt>
                <c:pt idx="37">
                  <c:v>0.4279512036446991</c:v>
                </c:pt>
                <c:pt idx="38">
                  <c:v>0.4387847131478642</c:v>
                </c:pt>
                <c:pt idx="39">
                  <c:v>0.4507974037209874</c:v>
                </c:pt>
                <c:pt idx="40">
                  <c:v>0.4459521062189808</c:v>
                </c:pt>
                <c:pt idx="41">
                  <c:v>0.4245516519172972</c:v>
                </c:pt>
                <c:pt idx="42">
                  <c:v>0.41758396462614417</c:v>
                </c:pt>
                <c:pt idx="43">
                  <c:v>0.42739146959179874</c:v>
                </c:pt>
                <c:pt idx="44">
                  <c:v>0.44225615619127867</c:v>
                </c:pt>
                <c:pt idx="45">
                  <c:v>0.4543350341880037</c:v>
                </c:pt>
                <c:pt idx="46">
                  <c:v>0.4527883711640443</c:v>
                </c:pt>
                <c:pt idx="47">
                  <c:v>0.463537555087189</c:v>
                </c:pt>
                <c:pt idx="48">
                  <c:v>0.47539064197052644</c:v>
                </c:pt>
                <c:pt idx="49">
                  <c:v>0.4724479981605189</c:v>
                </c:pt>
                <c:pt idx="50">
                  <c:v>0.4998797532173774</c:v>
                </c:pt>
                <c:pt idx="51">
                  <c:v>0.492750702236744</c:v>
                </c:pt>
                <c:pt idx="52">
                  <c:v>0.48154110993904864</c:v>
                </c:pt>
                <c:pt idx="53">
                  <c:v>0.512704363576222</c:v>
                </c:pt>
                <c:pt idx="54">
                  <c:v>0.4542657213711699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55599214145382"/>
          <c:min val="0.298911002628614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1.9683</c:v>
                </c:pt>
                <c:pt idx="1">
                  <c:v>940.1812</c:v>
                </c:pt>
                <c:pt idx="2">
                  <c:v>999.3046</c:v>
                </c:pt>
                <c:pt idx="3">
                  <c:v>1025.3714</c:v>
                </c:pt>
                <c:pt idx="4">
                  <c:v>1032.7068</c:v>
                </c:pt>
                <c:pt idx="5">
                  <c:v>1064.7035</c:v>
                </c:pt>
                <c:pt idx="6">
                  <c:v>988.2244</c:v>
                </c:pt>
                <c:pt idx="7">
                  <c:v>1027.1749</c:v>
                </c:pt>
                <c:pt idx="8">
                  <c:v>1020.6884</c:v>
                </c:pt>
                <c:pt idx="9">
                  <c:v>969.2834</c:v>
                </c:pt>
                <c:pt idx="10">
                  <c:v>963.2219</c:v>
                </c:pt>
                <c:pt idx="11">
                  <c:v>1022.1962</c:v>
                </c:pt>
                <c:pt idx="12">
                  <c:v>1024.8293</c:v>
                </c:pt>
                <c:pt idx="13">
                  <c:v>1001.0197</c:v>
                </c:pt>
                <c:pt idx="14">
                  <c:v>990.0013</c:v>
                </c:pt>
                <c:pt idx="15">
                  <c:v>1009.6709</c:v>
                </c:pt>
                <c:pt idx="16">
                  <c:v>1021.1928</c:v>
                </c:pt>
                <c:pt idx="17">
                  <c:v>1032.4845</c:v>
                </c:pt>
                <c:pt idx="18">
                  <c:v>1071.7909</c:v>
                </c:pt>
                <c:pt idx="19">
                  <c:v>1094.205</c:v>
                </c:pt>
                <c:pt idx="20">
                  <c:v>1134.3243</c:v>
                </c:pt>
                <c:pt idx="21">
                  <c:v>1143.0817</c:v>
                </c:pt>
                <c:pt idx="22">
                  <c:v>1123.2307</c:v>
                </c:pt>
                <c:pt idx="23">
                  <c:v>1097.917</c:v>
                </c:pt>
                <c:pt idx="24">
                  <c:v>1070.8244</c:v>
                </c:pt>
                <c:pt idx="25">
                  <c:v>1046.915</c:v>
                </c:pt>
                <c:pt idx="26">
                  <c:v>1067.4231</c:v>
                </c:pt>
                <c:pt idx="27">
                  <c:v>1097.0235</c:v>
                </c:pt>
                <c:pt idx="28">
                  <c:v>1105.5658</c:v>
                </c:pt>
                <c:pt idx="29">
                  <c:v>1023.8331</c:v>
                </c:pt>
                <c:pt idx="30">
                  <c:v>1067.8839</c:v>
                </c:pt>
                <c:pt idx="31">
                  <c:v>1076.3382</c:v>
                </c:pt>
                <c:pt idx="32">
                  <c:v>1021.2629</c:v>
                </c:pt>
                <c:pt idx="33">
                  <c:v>934.3804</c:v>
                </c:pt>
                <c:pt idx="34">
                  <c:v>999.2032</c:v>
                </c:pt>
                <c:pt idx="35">
                  <c:v>1081.6876</c:v>
                </c:pt>
                <c:pt idx="36">
                  <c:v>1158.8667</c:v>
                </c:pt>
                <c:pt idx="37">
                  <c:v>1132.1497</c:v>
                </c:pt>
                <c:pt idx="38">
                  <c:v>1199.6499</c:v>
                </c:pt>
                <c:pt idx="39">
                  <c:v>1191.3081</c:v>
                </c:pt>
                <c:pt idx="40">
                  <c:v>1240.8568</c:v>
                </c:pt>
                <c:pt idx="41">
                  <c:v>1275.8836</c:v>
                </c:pt>
                <c:pt idx="42">
                  <c:v>1309.8609</c:v>
                </c:pt>
                <c:pt idx="43">
                  <c:v>1303.4921</c:v>
                </c:pt>
                <c:pt idx="44">
                  <c:v>1163.1293</c:v>
                </c:pt>
                <c:pt idx="45">
                  <c:v>1132.8541</c:v>
                </c:pt>
                <c:pt idx="46">
                  <c:v>1140.7208</c:v>
                </c:pt>
                <c:pt idx="47">
                  <c:v>1111.028</c:v>
                </c:pt>
                <c:pt idx="48">
                  <c:v>1119.3187</c:v>
                </c:pt>
                <c:pt idx="49">
                  <c:v>1066.0965</c:v>
                </c:pt>
                <c:pt idx="50">
                  <c:v>1063.7119</c:v>
                </c:pt>
                <c:pt idx="51">
                  <c:v>1091.2645</c:v>
                </c:pt>
                <c:pt idx="52">
                  <c:v>1110.8206</c:v>
                </c:pt>
                <c:pt idx="53">
                  <c:v>1168.1325</c:v>
                </c:pt>
                <c:pt idx="54">
                  <c:v>1168.7527</c:v>
                </c:pt>
                <c:pt idx="55">
                  <c:v>1173.3291</c:v>
                </c:pt>
                <c:pt idx="56">
                  <c:v>1194.4669</c:v>
                </c:pt>
                <c:pt idx="57">
                  <c:v>1164.0691</c:v>
                </c:pt>
                <c:pt idx="58">
                  <c:v>1137.908</c:v>
                </c:pt>
                <c:pt idx="59">
                  <c:v>1117.087</c:v>
                </c:pt>
                <c:pt idx="60">
                  <c:v>1130.3696</c:v>
                </c:pt>
                <c:pt idx="61">
                  <c:v>1179.2537</c:v>
                </c:pt>
                <c:pt idx="62">
                  <c:v>1135.4054</c:v>
                </c:pt>
                <c:pt idx="63">
                  <c:v>1154.0233</c:v>
                </c:pt>
                <c:pt idx="64">
                  <c:v>1141.1658</c:v>
                </c:pt>
                <c:pt idx="65">
                  <c:v>1118.7864</c:v>
                </c:pt>
                <c:pt idx="66">
                  <c:v>1128.6567</c:v>
                </c:pt>
                <c:pt idx="67">
                  <c:v>1141.4969</c:v>
                </c:pt>
                <c:pt idx="68">
                  <c:v>1134.3616</c:v>
                </c:pt>
                <c:pt idx="69">
                  <c:v>1135.3914</c:v>
                </c:pt>
                <c:pt idx="70">
                  <c:v>1105.9639</c:v>
                </c:pt>
                <c:pt idx="71">
                  <c:v>1203.9882</c:v>
                </c:pt>
                <c:pt idx="72">
                  <c:v>1222.1347</c:v>
                </c:pt>
                <c:pt idx="73">
                  <c:v>1245.3309</c:v>
                </c:pt>
                <c:pt idx="74">
                  <c:v>1144.8959</c:v>
                </c:pt>
                <c:pt idx="75">
                  <c:v>1228.4188</c:v>
                </c:pt>
                <c:pt idx="76">
                  <c:v>1264.6381</c:v>
                </c:pt>
                <c:pt idx="77">
                  <c:v>1260.7881</c:v>
                </c:pt>
                <c:pt idx="78">
                  <c:v>1287.6808</c:v>
                </c:pt>
                <c:pt idx="79">
                  <c:v>1248.5702</c:v>
                </c:pt>
                <c:pt idx="80">
                  <c:v>1275.692</c:v>
                </c:pt>
                <c:pt idx="81">
                  <c:v>1282.531</c:v>
                </c:pt>
                <c:pt idx="82">
                  <c:v>1306.8813</c:v>
                </c:pt>
                <c:pt idx="83">
                  <c:v>1252.4294</c:v>
                </c:pt>
                <c:pt idx="84">
                  <c:v>1231.6617</c:v>
                </c:pt>
                <c:pt idx="85">
                  <c:v>1236.008</c:v>
                </c:pt>
                <c:pt idx="86">
                  <c:v>1256.4678</c:v>
                </c:pt>
                <c:pt idx="87">
                  <c:v>1279.1292</c:v>
                </c:pt>
                <c:pt idx="88">
                  <c:v>1294.5266</c:v>
                </c:pt>
                <c:pt idx="89">
                  <c:v>1308.8</c:v>
                </c:pt>
                <c:pt idx="90">
                  <c:v>1360.3072</c:v>
                </c:pt>
                <c:pt idx="91">
                  <c:v>1360.494</c:v>
                </c:pt>
                <c:pt idx="92">
                  <c:v>1266.394</c:v>
                </c:pt>
                <c:pt idx="93">
                  <c:v>1324.9349</c:v>
                </c:pt>
                <c:pt idx="94">
                  <c:v>1346.3378</c:v>
                </c:pt>
                <c:pt idx="95">
                  <c:v>1270.0793</c:v>
                </c:pt>
                <c:pt idx="96">
                  <c:v>1179.6837</c:v>
                </c:pt>
                <c:pt idx="97">
                  <c:v>1196.1775</c:v>
                </c:pt>
                <c:pt idx="98">
                  <c:v>1180.3879</c:v>
                </c:pt>
                <c:pt idx="99">
                  <c:v>1131.1698</c:v>
                </c:pt>
                <c:pt idx="100">
                  <c:v>1145.4358</c:v>
                </c:pt>
                <c:pt idx="101">
                  <c:v>1168.0337</c:v>
                </c:pt>
                <c:pt idx="102">
                  <c:v>1184.1292</c:v>
                </c:pt>
                <c:pt idx="103">
                  <c:v>1150.6754</c:v>
                </c:pt>
                <c:pt idx="104">
                  <c:v>1207.5375</c:v>
                </c:pt>
              </c:numCache>
            </c:numRef>
          </c:xVal>
          <c:yVal>
            <c:numRef>
              <c:f>Sheet1!$B$2:$B$106</c:f>
              <c:numCache>
                <c:formatCode>General</c:formatCode>
                <c:ptCount val="105"/>
                <c:pt idx="0">
                  <c:v>0.49306989088764375</c:v>
                </c:pt>
                <c:pt idx="1">
                  <c:v>0.4980706441080439</c:v>
                </c:pt>
                <c:pt idx="2">
                  <c:v>0.431441759435243</c:v>
                </c:pt>
                <c:pt idx="3">
                  <c:v>0.40219589713955506</c:v>
                </c:pt>
                <c:pt idx="4">
                  <c:v>0.38805472138805475</c:v>
                </c:pt>
                <c:pt idx="5">
                  <c:v>0.37363875328576795</c:v>
                </c:pt>
                <c:pt idx="6">
                  <c:v>0.40345164441549985</c:v>
                </c:pt>
                <c:pt idx="7">
                  <c:v>0.38988893144389125</c:v>
                </c:pt>
                <c:pt idx="8">
                  <c:v>0.42350515463917526</c:v>
                </c:pt>
                <c:pt idx="9">
                  <c:v>0.4618755477651183</c:v>
                </c:pt>
                <c:pt idx="10">
                  <c:v>0.4989086373557842</c:v>
                </c:pt>
                <c:pt idx="11">
                  <c:v>0.5159954836281521</c:v>
                </c:pt>
                <c:pt idx="12">
                  <c:v>0.5404736656062212</c:v>
                </c:pt>
                <c:pt idx="13">
                  <c:v>0.5888526963445531</c:v>
                </c:pt>
                <c:pt idx="14">
                  <c:v>0.6129666011787819</c:v>
                </c:pt>
                <c:pt idx="15">
                  <c:v>0.5812227074235807</c:v>
                </c:pt>
                <c:pt idx="16">
                  <c:v>0.5372448979591836</c:v>
                </c:pt>
                <c:pt idx="17">
                  <c:v>0.5389048991354467</c:v>
                </c:pt>
                <c:pt idx="18">
                  <c:v>0.4965603502188868</c:v>
                </c:pt>
                <c:pt idx="19">
                  <c:v>0.4267425320056899</c:v>
                </c:pt>
                <c:pt idx="20">
                  <c:v>0.42823939570017433</c:v>
                </c:pt>
                <c:pt idx="21">
                  <c:v>0.43716931216931215</c:v>
                </c:pt>
                <c:pt idx="22">
                  <c:v>0.4370695053224796</c:v>
                </c:pt>
                <c:pt idx="23">
                  <c:v>0.4578235672891178</c:v>
                </c:pt>
                <c:pt idx="24">
                  <c:v>0.4730639730639731</c:v>
                </c:pt>
                <c:pt idx="25">
                  <c:v>0.46532728451069344</c:v>
                </c:pt>
                <c:pt idx="26">
                  <c:v>0.49649904519414384</c:v>
                </c:pt>
                <c:pt idx="27">
                  <c:v>0.5050062578222778</c:v>
                </c:pt>
                <c:pt idx="28">
                  <c:v>0.4461839530332681</c:v>
                </c:pt>
                <c:pt idx="29">
                  <c:v>0.4721638655462185</c:v>
                </c:pt>
                <c:pt idx="30">
                  <c:v>0.4382267441860465</c:v>
                </c:pt>
                <c:pt idx="31">
                  <c:v>0.45676567656765676</c:v>
                </c:pt>
                <c:pt idx="32">
                  <c:v>0.47463556851311955</c:v>
                </c:pt>
                <c:pt idx="33">
                  <c:v>0.4813064030941126</c:v>
                </c:pt>
                <c:pt idx="34">
                  <c:v>0.4818812644564379</c:v>
                </c:pt>
                <c:pt idx="35">
                  <c:v>0.487467265245043</c:v>
                </c:pt>
                <c:pt idx="36">
                  <c:v>0.4343329886246122</c:v>
                </c:pt>
                <c:pt idx="37">
                  <c:v>0.43209876543209874</c:v>
                </c:pt>
                <c:pt idx="38">
                  <c:v>0.47546419098143233</c:v>
                </c:pt>
                <c:pt idx="39">
                  <c:v>0.5028169014084507</c:v>
                </c:pt>
                <c:pt idx="40">
                  <c:v>0.46764209341586943</c:v>
                </c:pt>
                <c:pt idx="41">
                  <c:v>0.44494818652849744</c:v>
                </c:pt>
                <c:pt idx="42">
                  <c:v>0.4558162755866201</c:v>
                </c:pt>
                <c:pt idx="43">
                  <c:v>0.4249053428691628</c:v>
                </c:pt>
                <c:pt idx="44">
                  <c:v>0.45884553714591125</c:v>
                </c:pt>
                <c:pt idx="45">
                  <c:v>0.47625665971739634</c:v>
                </c:pt>
                <c:pt idx="46">
                  <c:v>0.4843540455967814</c:v>
                </c:pt>
                <c:pt idx="47">
                  <c:v>0.48036187113857015</c:v>
                </c:pt>
                <c:pt idx="48">
                  <c:v>0.49521767810026385</c:v>
                </c:pt>
                <c:pt idx="49">
                  <c:v>0.5517819706498952</c:v>
                </c:pt>
                <c:pt idx="50">
                  <c:v>0.5149661350229408</c:v>
                </c:pt>
                <c:pt idx="51">
                  <c:v>0.4972295129775445</c:v>
                </c:pt>
                <c:pt idx="52">
                  <c:v>0.4936919781004523</c:v>
                </c:pt>
                <c:pt idx="53">
                  <c:v>0.4849646226415094</c:v>
                </c:pt>
                <c:pt idx="54">
                  <c:v>0.46977329974811083</c:v>
                </c:pt>
                <c:pt idx="55">
                  <c:v>0.4522272433828276</c:v>
                </c:pt>
                <c:pt idx="56">
                  <c:v>0.47657774886141835</c:v>
                </c:pt>
                <c:pt idx="57">
                  <c:v>0.46564885496183206</c:v>
                </c:pt>
                <c:pt idx="58">
                  <c:v>0.48680067813029787</c:v>
                </c:pt>
                <c:pt idx="59">
                  <c:v>0.4934069303894511</c:v>
                </c:pt>
                <c:pt idx="60">
                  <c:v>0.5057908669755129</c:v>
                </c:pt>
                <c:pt idx="61">
                  <c:v>0.4972468278668901</c:v>
                </c:pt>
                <c:pt idx="62">
                  <c:v>0.5141828005402972</c:v>
                </c:pt>
                <c:pt idx="63">
                  <c:v>0.5434190031152648</c:v>
                </c:pt>
                <c:pt idx="64">
                  <c:v>0.5566666666666666</c:v>
                </c:pt>
                <c:pt idx="65">
                  <c:v>0.5430992736077482</c:v>
                </c:pt>
                <c:pt idx="66">
                  <c:v>0.514448011854779</c:v>
                </c:pt>
                <c:pt idx="67">
                  <c:v>0.5286148742051424</c:v>
                </c:pt>
                <c:pt idx="68">
                  <c:v>0.5154714233709501</c:v>
                </c:pt>
                <c:pt idx="69">
                  <c:v>0.49854368932038834</c:v>
                </c:pt>
                <c:pt idx="70">
                  <c:v>0.46404341926729986</c:v>
                </c:pt>
                <c:pt idx="71">
                  <c:v>0.45530043966780653</c:v>
                </c:pt>
                <c:pt idx="72">
                  <c:v>0.4610154125113327</c:v>
                </c:pt>
                <c:pt idx="73">
                  <c:v>0.4511961722488038</c:v>
                </c:pt>
                <c:pt idx="74">
                  <c:v>0.45896656534954405</c:v>
                </c:pt>
                <c:pt idx="75">
                  <c:v>0.44683026584867075</c:v>
                </c:pt>
                <c:pt idx="76">
                  <c:v>0.4264380530973451</c:v>
                </c:pt>
                <c:pt idx="77">
                  <c:v>0.43757725587144625</c:v>
                </c:pt>
                <c:pt idx="78">
                  <c:v>0.4344262295081967</c:v>
                </c:pt>
                <c:pt idx="79">
                  <c:v>0.4306658521686011</c:v>
                </c:pt>
                <c:pt idx="80">
                  <c:v>0.4029943855271366</c:v>
                </c:pt>
                <c:pt idx="81">
                  <c:v>0.39509803921568626</c:v>
                </c:pt>
                <c:pt idx="82">
                  <c:v>0.40728476821192056</c:v>
                </c:pt>
                <c:pt idx="83">
                  <c:v>0.39072847682119205</c:v>
                </c:pt>
                <c:pt idx="84">
                  <c:v>0.40074906367041196</c:v>
                </c:pt>
                <c:pt idx="85">
                  <c:v>0.3989802421924793</c:v>
                </c:pt>
                <c:pt idx="86">
                  <c:v>0.423444976076555</c:v>
                </c:pt>
                <c:pt idx="87">
                  <c:v>0.4500868055555556</c:v>
                </c:pt>
                <c:pt idx="88">
                  <c:v>0.4150622876557191</c:v>
                </c:pt>
                <c:pt idx="89">
                  <c:v>0.38413878562577447</c:v>
                </c:pt>
                <c:pt idx="90">
                  <c:v>0.38126219908913467</c:v>
                </c:pt>
                <c:pt idx="91">
                  <c:v>0.3763718528082634</c:v>
                </c:pt>
                <c:pt idx="92">
                  <c:v>0.4247881355932203</c:v>
                </c:pt>
                <c:pt idx="93">
                  <c:v>0.42910848549946295</c:v>
                </c:pt>
                <c:pt idx="94">
                  <c:v>0.4349334875650665</c:v>
                </c:pt>
                <c:pt idx="95">
                  <c:v>0.4544324772162386</c:v>
                </c:pt>
                <c:pt idx="96">
                  <c:v>0.4530402512132458</c:v>
                </c:pt>
                <c:pt idx="97">
                  <c:v>0.45797898949474736</c:v>
                </c:pt>
                <c:pt idx="98">
                  <c:v>0.464607201309329</c:v>
                </c:pt>
                <c:pt idx="99">
                  <c:v>0.4909802586793737</c:v>
                </c:pt>
                <c:pt idx="100">
                  <c:v>0.5016856036958421</c:v>
                </c:pt>
                <c:pt idx="101">
                  <c:v>0.4772629772629773</c:v>
                </c:pt>
                <c:pt idx="102">
                  <c:v>0.446474358974359</c:v>
                </c:pt>
                <c:pt idx="103">
                  <c:v>0.4419753086419753</c:v>
                </c:pt>
                <c:pt idx="104">
                  <c:v>0.44839973873285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2.026</c:v>
                </c:pt>
                <c:pt idx="1">
                  <c:v>1260.1535</c:v>
                </c:pt>
                <c:pt idx="2">
                  <c:v>1244.2062</c:v>
                </c:pt>
                <c:pt idx="3">
                  <c:v>1295.5315</c:v>
                </c:pt>
                <c:pt idx="4">
                  <c:v>1285.0025</c:v>
                </c:pt>
                <c:pt idx="5">
                  <c:v>1287.293</c:v>
                </c:pt>
                <c:pt idx="6">
                  <c:v>1197.9279</c:v>
                </c:pt>
                <c:pt idx="7">
                  <c:v>1244.5621</c:v>
                </c:pt>
                <c:pt idx="8">
                  <c:v>1286.0</c:v>
                </c:pt>
                <c:pt idx="9">
                  <c:v>1251.6729</c:v>
                </c:pt>
                <c:pt idx="10">
                  <c:v>1278.092</c:v>
                </c:pt>
                <c:pt idx="11">
                  <c:v>1080.4059</c:v>
                </c:pt>
                <c:pt idx="12">
                  <c:v>1121.1811</c:v>
                </c:pt>
                <c:pt idx="13">
                  <c:v>1203.3331</c:v>
                </c:pt>
                <c:pt idx="14">
                  <c:v>1204.0326</c:v>
                </c:pt>
                <c:pt idx="15">
                  <c:v>1244.4924</c:v>
                </c:pt>
                <c:pt idx="16">
                  <c:v>1287.191</c:v>
                </c:pt>
                <c:pt idx="17">
                  <c:v>1270.183</c:v>
                </c:pt>
                <c:pt idx="18">
                  <c:v>1315.082</c:v>
                </c:pt>
                <c:pt idx="19">
                  <c:v>1428.7774</c:v>
                </c:pt>
                <c:pt idx="20">
                  <c:v>1414.4737</c:v>
                </c:pt>
                <c:pt idx="21">
                  <c:v>1310.2483</c:v>
                </c:pt>
                <c:pt idx="22">
                  <c:v>1160.8429</c:v>
                </c:pt>
                <c:pt idx="23">
                  <c:v>1162.5312</c:v>
                </c:pt>
                <c:pt idx="24">
                  <c:v>1186.3177</c:v>
                </c:pt>
                <c:pt idx="25">
                  <c:v>1137.0633</c:v>
                </c:pt>
                <c:pt idx="26">
                  <c:v>1268.5156</c:v>
                </c:pt>
                <c:pt idx="27">
                  <c:v>1303.941</c:v>
                </c:pt>
                <c:pt idx="28">
                  <c:v>1239.41</c:v>
                </c:pt>
                <c:pt idx="29">
                  <c:v>1240.3178</c:v>
                </c:pt>
                <c:pt idx="30">
                  <c:v>1215.5878</c:v>
                </c:pt>
                <c:pt idx="31">
                  <c:v>1151.5083</c:v>
                </c:pt>
                <c:pt idx="32">
                  <c:v>1173.3873</c:v>
                </c:pt>
                <c:pt idx="33">
                  <c:v>1239.4765</c:v>
                </c:pt>
                <c:pt idx="34">
                  <c:v>1291.2588</c:v>
                </c:pt>
                <c:pt idx="35">
                  <c:v>1257.9138</c:v>
                </c:pt>
                <c:pt idx="36">
                  <c:v>1296.737</c:v>
                </c:pt>
                <c:pt idx="37">
                  <c:v>1327.5258</c:v>
                </c:pt>
                <c:pt idx="38">
                  <c:v>1292.4523</c:v>
                </c:pt>
                <c:pt idx="39">
                  <c:v>1224.6287</c:v>
                </c:pt>
                <c:pt idx="40">
                  <c:v>1277.1341</c:v>
                </c:pt>
                <c:pt idx="41">
                  <c:v>1357.4583</c:v>
                </c:pt>
                <c:pt idx="42">
                  <c:v>1375.9393</c:v>
                </c:pt>
                <c:pt idx="43">
                  <c:v>1351.3111</c:v>
                </c:pt>
                <c:pt idx="44">
                  <c:v>1280.0774</c:v>
                </c:pt>
                <c:pt idx="45">
                  <c:v>1246.5122</c:v>
                </c:pt>
                <c:pt idx="46">
                  <c:v>1236.8443</c:v>
                </c:pt>
                <c:pt idx="47">
                  <c:v>1180.8941</c:v>
                </c:pt>
                <c:pt idx="48">
                  <c:v>1160.0199</c:v>
                </c:pt>
                <c:pt idx="49">
                  <c:v>1177.7804</c:v>
                </c:pt>
                <c:pt idx="50">
                  <c:v>1081.1422</c:v>
                </c:pt>
                <c:pt idx="51">
                  <c:v>1062.6138</c:v>
                </c:pt>
              </c:numCache>
            </c:numRef>
          </c:xVal>
          <c:yVal>
            <c:numRef>
              <c:f>Sheet1!$B$109:$B$160</c:f>
              <c:numCache>
                <c:formatCode>General</c:formatCode>
                <c:ptCount val="52"/>
                <c:pt idx="0">
                  <c:v>0.4573665893271462</c:v>
                </c:pt>
                <c:pt idx="1">
                  <c:v>0.4459375</c:v>
                </c:pt>
                <c:pt idx="2">
                  <c:v>0.45723684210526316</c:v>
                </c:pt>
                <c:pt idx="3">
                  <c:v>0.4603921568627451</c:v>
                </c:pt>
                <c:pt idx="4">
                  <c:v>0.4333511777301927</c:v>
                </c:pt>
                <c:pt idx="5">
                  <c:v>0.4441727791361043</c:v>
                </c:pt>
                <c:pt idx="6">
                  <c:v>0.45714967772738124</c:v>
                </c:pt>
                <c:pt idx="7">
                  <c:v>0.4703150912106136</c:v>
                </c:pt>
                <c:pt idx="8">
                  <c:v>0.4827197595792637</c:v>
                </c:pt>
                <c:pt idx="9">
                  <c:v>0.4890091308758877</c:v>
                </c:pt>
                <c:pt idx="10">
                  <c:v>0.5011780545270953</c:v>
                </c:pt>
                <c:pt idx="11">
                  <c:v>0.5271702367531004</c:v>
                </c:pt>
                <c:pt idx="12">
                  <c:v>0.5211674993426243</c:v>
                </c:pt>
                <c:pt idx="13">
                  <c:v>0.48755066589461493</c:v>
                </c:pt>
                <c:pt idx="14">
                  <c:v>0.4954099398543843</c:v>
                </c:pt>
                <c:pt idx="15">
                  <c:v>0.4743819419562881</c:v>
                </c:pt>
                <c:pt idx="16">
                  <c:v>0.43252595155709345</c:v>
                </c:pt>
                <c:pt idx="17">
                  <c:v>0.428246013667426</c:v>
                </c:pt>
                <c:pt idx="18">
                  <c:v>0.41756988020536223</c:v>
                </c:pt>
                <c:pt idx="19">
                  <c:v>0.4027355623100304</c:v>
                </c:pt>
                <c:pt idx="20">
                  <c:v>0.3752821670428894</c:v>
                </c:pt>
                <c:pt idx="21">
                  <c:v>0.381570408825438</c:v>
                </c:pt>
                <c:pt idx="22">
                  <c:v>0.4229607250755287</c:v>
                </c:pt>
                <c:pt idx="23">
                  <c:v>0.44291091593475534</c:v>
                </c:pt>
                <c:pt idx="24">
                  <c:v>0.4260422615648201</c:v>
                </c:pt>
                <c:pt idx="25">
                  <c:v>0.4384800965018094</c:v>
                </c:pt>
                <c:pt idx="26">
                  <c:v>0.3926605504587156</c:v>
                </c:pt>
                <c:pt idx="27">
                  <c:v>0.384828349944629</c:v>
                </c:pt>
                <c:pt idx="28">
                  <c:v>0.43157894736842106</c:v>
                </c:pt>
                <c:pt idx="29">
                  <c:v>0.44976076555023925</c:v>
                </c:pt>
                <c:pt idx="30">
                  <c:v>0.46804625684723067</c:v>
                </c:pt>
                <c:pt idx="31">
                  <c:v>0.4531784005468216</c:v>
                </c:pt>
                <c:pt idx="32">
                  <c:v>0.4645006016847172</c:v>
                </c:pt>
                <c:pt idx="33">
                  <c:v>0.49701698026617713</c:v>
                </c:pt>
                <c:pt idx="34">
                  <c:v>0.5258119658119658</c:v>
                </c:pt>
                <c:pt idx="35">
                  <c:v>0.5241788321167883</c:v>
                </c:pt>
                <c:pt idx="36">
                  <c:v>0.4798239178283199</c:v>
                </c:pt>
                <c:pt idx="37">
                  <c:v>0.4363395225464191</c:v>
                </c:pt>
                <c:pt idx="38">
                  <c:v>0.4222222222222222</c:v>
                </c:pt>
                <c:pt idx="39">
                  <c:v>0.45548961424332346</c:v>
                </c:pt>
                <c:pt idx="40">
                  <c:v>0.4292929292929293</c:v>
                </c:pt>
                <c:pt idx="41">
                  <c:v>0.4258645191852203</c:v>
                </c:pt>
                <c:pt idx="42">
                  <c:v>0.42550852116547555</c:v>
                </c:pt>
                <c:pt idx="43">
                  <c:v>0.42761225346202264</c:v>
                </c:pt>
                <c:pt idx="44">
                  <c:v>0.4296160877513711</c:v>
                </c:pt>
                <c:pt idx="45">
                  <c:v>0.4613815957175631</c:v>
                </c:pt>
                <c:pt idx="46">
                  <c:v>0.46624662466246625</c:v>
                </c:pt>
                <c:pt idx="47">
                  <c:v>0.45827779258864304</c:v>
                </c:pt>
                <c:pt idx="48">
                  <c:v>0.4549785612196284</c:v>
                </c:pt>
                <c:pt idx="49">
                  <c:v>0.47964678009907386</c:v>
                </c:pt>
                <c:pt idx="50">
                  <c:v>0.5064511555366511</c:v>
                </c:pt>
                <c:pt idx="51">
                  <c:v>0.48508794290084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0.1219569538952</c:v>
                </c:pt>
              </c:numCache>
            </c:numRef>
          </c:xVal>
          <c:yVal>
            <c:numRef>
              <c:f>Sheet1!$B$163:$B$164</c:f>
              <c:numCache>
                <c:formatCode>General</c:formatCode>
                <c:ptCount val="2"/>
                <c:pt idx="0">
                  <c:v>0.512704363576222</c:v>
                </c:pt>
                <c:pt idx="1">
                  <c:v>0.5127043635762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0.1219569538952</c:v>
                </c:pt>
                <c:pt idx="1">
                  <c:v>1010.1219569538952</c:v>
                </c:pt>
              </c:numCache>
            </c:numRef>
          </c:xVal>
          <c:yVal>
            <c:numRef>
              <c:f>Sheet1!$B$167:$B$168</c:f>
              <c:numCache>
                <c:formatCode>General</c:formatCode>
                <c:ptCount val="2"/>
                <c:pt idx="0">
                  <c:v>0.5127043635762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500342134915</c:v>
                </c:pt>
              </c:numCache>
            </c:numRef>
          </c:xVal>
          <c:yVal>
            <c:numRef>
              <c:f>Sheet1!$B$171:$B$172</c:f>
              <c:numCache>
                <c:formatCode>General</c:formatCode>
                <c:ptCount val="2"/>
                <c:pt idx="0">
                  <c:v>0.48154110993904864</c:v>
                </c:pt>
                <c:pt idx="1">
                  <c:v>0.481541109939048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500342134915</c:v>
                </c:pt>
                <c:pt idx="1">
                  <c:v>1134.500342134915</c:v>
                </c:pt>
              </c:numCache>
            </c:numRef>
          </c:xVal>
          <c:yVal>
            <c:numRef>
              <c:f>Sheet1!$B$175:$B$176</c:f>
              <c:numCache>
                <c:formatCode>General</c:formatCode>
                <c:ptCount val="2"/>
                <c:pt idx="0">
                  <c:v>0.48154110993904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3.3615292482805</c:v>
                </c:pt>
              </c:numCache>
            </c:numRef>
          </c:xVal>
          <c:yVal>
            <c:numRef>
              <c:f>Sheet1!$B$179:$B$180</c:f>
              <c:numCache>
                <c:formatCode>General</c:formatCode>
                <c:ptCount val="2"/>
                <c:pt idx="0">
                  <c:v>0.45426572137116994</c:v>
                </c:pt>
                <c:pt idx="1">
                  <c:v>0.4542657213711699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3.3615292482805</c:v>
                </c:pt>
                <c:pt idx="1">
                  <c:v>1243.3615292482805</c:v>
                </c:pt>
              </c:numCache>
            </c:numRef>
          </c:xVal>
          <c:yVal>
            <c:numRef>
              <c:f>Sheet1!$B$183:$B$184</c:f>
              <c:numCache>
                <c:formatCode>General</c:formatCode>
                <c:ptCount val="2"/>
                <c:pt idx="0">
                  <c:v>0.4542657213711699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2.026</c:v>
                </c:pt>
                <c:pt idx="1">
                  <c:v>1260.1535</c:v>
                </c:pt>
                <c:pt idx="2">
                  <c:v>1244.2062</c:v>
                </c:pt>
                <c:pt idx="3">
                  <c:v>1295.5315</c:v>
                </c:pt>
                <c:pt idx="4">
                  <c:v>1285.0025</c:v>
                </c:pt>
                <c:pt idx="5">
                  <c:v>1287.293</c:v>
                </c:pt>
                <c:pt idx="6">
                  <c:v>1197.9279</c:v>
                </c:pt>
                <c:pt idx="7">
                  <c:v>1244.5621</c:v>
                </c:pt>
                <c:pt idx="8">
                  <c:v>1286.0</c:v>
                </c:pt>
                <c:pt idx="9">
                  <c:v>1251.6729</c:v>
                </c:pt>
                <c:pt idx="10">
                  <c:v>1278.092</c:v>
                </c:pt>
                <c:pt idx="11">
                  <c:v>1080.4059</c:v>
                </c:pt>
                <c:pt idx="12">
                  <c:v>1121.1811</c:v>
                </c:pt>
                <c:pt idx="13">
                  <c:v>1203.3331</c:v>
                </c:pt>
                <c:pt idx="14">
                  <c:v>1204.0326</c:v>
                </c:pt>
                <c:pt idx="15">
                  <c:v>1244.4924</c:v>
                </c:pt>
                <c:pt idx="16">
                  <c:v>1287.191</c:v>
                </c:pt>
                <c:pt idx="17">
                  <c:v>1270.183</c:v>
                </c:pt>
                <c:pt idx="18">
                  <c:v>1315.082</c:v>
                </c:pt>
                <c:pt idx="19">
                  <c:v>1428.7774</c:v>
                </c:pt>
                <c:pt idx="20">
                  <c:v>1414.4737</c:v>
                </c:pt>
                <c:pt idx="21">
                  <c:v>1310.2483</c:v>
                </c:pt>
                <c:pt idx="22">
                  <c:v>1160.8429</c:v>
                </c:pt>
                <c:pt idx="23">
                  <c:v>1162.5312</c:v>
                </c:pt>
                <c:pt idx="24">
                  <c:v>1186.3177</c:v>
                </c:pt>
                <c:pt idx="25">
                  <c:v>1137.0633</c:v>
                </c:pt>
                <c:pt idx="26">
                  <c:v>1268.5156</c:v>
                </c:pt>
                <c:pt idx="27">
                  <c:v>1303.941</c:v>
                </c:pt>
                <c:pt idx="28">
                  <c:v>1239.41</c:v>
                </c:pt>
                <c:pt idx="29">
                  <c:v>1240.3178</c:v>
                </c:pt>
                <c:pt idx="30">
                  <c:v>1215.5878</c:v>
                </c:pt>
                <c:pt idx="31">
                  <c:v>1151.5083</c:v>
                </c:pt>
                <c:pt idx="32">
                  <c:v>1173.3873</c:v>
                </c:pt>
                <c:pt idx="33">
                  <c:v>1239.4765</c:v>
                </c:pt>
                <c:pt idx="34">
                  <c:v>1291.2588</c:v>
                </c:pt>
                <c:pt idx="35">
                  <c:v>1257.9138</c:v>
                </c:pt>
                <c:pt idx="36">
                  <c:v>1296.737</c:v>
                </c:pt>
                <c:pt idx="37">
                  <c:v>1327.5258</c:v>
                </c:pt>
                <c:pt idx="38">
                  <c:v>1292.4523</c:v>
                </c:pt>
                <c:pt idx="39">
                  <c:v>1224.6287</c:v>
                </c:pt>
                <c:pt idx="40">
                  <c:v>1277.1341</c:v>
                </c:pt>
                <c:pt idx="41">
                  <c:v>1357.4583</c:v>
                </c:pt>
                <c:pt idx="42">
                  <c:v>1375.9393</c:v>
                </c:pt>
                <c:pt idx="43">
                  <c:v>1351.3111</c:v>
                </c:pt>
                <c:pt idx="44">
                  <c:v>1280.0774</c:v>
                </c:pt>
                <c:pt idx="45">
                  <c:v>1246.5122</c:v>
                </c:pt>
                <c:pt idx="46">
                  <c:v>1236.8443</c:v>
                </c:pt>
                <c:pt idx="47">
                  <c:v>1180.8941</c:v>
                </c:pt>
                <c:pt idx="48">
                  <c:v>1160.0199</c:v>
                </c:pt>
                <c:pt idx="49">
                  <c:v>1177.7804</c:v>
                </c:pt>
                <c:pt idx="50">
                  <c:v>1081.1422</c:v>
                </c:pt>
                <c:pt idx="51">
                  <c:v>1062.6138</c:v>
                </c:pt>
                <c:pt idx="52">
                  <c:v>1134.500342134915</c:v>
                </c:pt>
                <c:pt idx="53">
                  <c:v>1010.1219569538952</c:v>
                </c:pt>
                <c:pt idx="54">
                  <c:v>1243.3615292482805</c:v>
                </c:pt>
              </c:numCache>
            </c:numRef>
          </c:xVal>
          <c:yVal>
            <c:numRef>
              <c:f>Sheet1!$B$187:$B$241</c:f>
              <c:numCache>
                <c:formatCode>General</c:formatCode>
                <c:ptCount val="55"/>
                <c:pt idx="0">
                  <c:v>0.4546003409004672</c:v>
                </c:pt>
                <c:pt idx="1">
                  <c:v>0.4500584594514865</c:v>
                </c:pt>
                <c:pt idx="2">
                  <c:v>0.4540540874217709</c:v>
                </c:pt>
                <c:pt idx="3">
                  <c:v>0.4411944306608621</c:v>
                </c:pt>
                <c:pt idx="4">
                  <c:v>0.4438324927089283</c:v>
                </c:pt>
                <c:pt idx="5">
                  <c:v>0.44325860334421224</c:v>
                </c:pt>
                <c:pt idx="6">
                  <c:v>0.46564920821947425</c:v>
                </c:pt>
                <c:pt idx="7">
                  <c:v>0.45396491596361654</c:v>
                </c:pt>
                <c:pt idx="8">
                  <c:v>0.4435825670851325</c:v>
                </c:pt>
                <c:pt idx="9">
                  <c:v>0.4521832907749578</c:v>
                </c:pt>
                <c:pt idx="10">
                  <c:v>0.4455639323312248</c:v>
                </c:pt>
                <c:pt idx="11">
                  <c:v>0.49509458081068203</c:v>
                </c:pt>
                <c:pt idx="12">
                  <c:v>0.4848782727451197</c:v>
                </c:pt>
                <c:pt idx="13">
                  <c:v>0.46429492452850574</c:v>
                </c:pt>
                <c:pt idx="14">
                  <c:v>0.46411966340184396</c:v>
                </c:pt>
                <c:pt idx="15">
                  <c:v>0.4539823794382818</c:v>
                </c:pt>
                <c:pt idx="16">
                  <c:v>0.44328415964860035</c:v>
                </c:pt>
                <c:pt idx="17">
                  <c:v>0.44754554812932107</c:v>
                </c:pt>
                <c:pt idx="18">
                  <c:v>0.4362960137104664</c:v>
                </c:pt>
                <c:pt idx="19">
                  <c:v>0.40780940341702004</c:v>
                </c:pt>
                <c:pt idx="20">
                  <c:v>0.41139322411385004</c:v>
                </c:pt>
                <c:pt idx="21">
                  <c:v>0.43750710693126016</c:v>
                </c:pt>
                <c:pt idx="22">
                  <c:v>0.47494092928059417</c:v>
                </c:pt>
                <c:pt idx="23">
                  <c:v>0.47451792233256973</c:v>
                </c:pt>
                <c:pt idx="24">
                  <c:v>0.4685581670940546</c:v>
                </c:pt>
                <c:pt idx="25">
                  <c:v>0.48089895571028296</c:v>
                </c:pt>
                <c:pt idx="26">
                  <c:v>0.44796331854046606</c:v>
                </c:pt>
                <c:pt idx="27">
                  <c:v>0.43908741358486136</c:v>
                </c:pt>
                <c:pt idx="28">
                  <c:v>0.4552557849424219</c:v>
                </c:pt>
                <c:pt idx="29">
                  <c:v>0.45502833383336744</c:v>
                </c:pt>
                <c:pt idx="30">
                  <c:v>0.4612244848874728</c:v>
                </c:pt>
                <c:pt idx="31">
                  <c:v>0.47727973201531526</c:v>
                </c:pt>
                <c:pt idx="32">
                  <c:v>0.4717979047240588</c:v>
                </c:pt>
                <c:pt idx="33">
                  <c:v>0.4552391232341689</c:v>
                </c:pt>
                <c:pt idx="34">
                  <c:v>0.4422649642075211</c:v>
                </c:pt>
                <c:pt idx="35">
                  <c:v>0.4506196207744092</c:v>
                </c:pt>
                <c:pt idx="36">
                  <c:v>0.4408923902202748</c:v>
                </c:pt>
                <c:pt idx="37">
                  <c:v>0.4331781946855139</c:v>
                </c:pt>
                <c:pt idx="38">
                  <c:v>0.4419659303909795</c:v>
                </c:pt>
                <c:pt idx="39">
                  <c:v>0.4589592692762694</c:v>
                </c:pt>
                <c:pt idx="40">
                  <c:v>0.44580393609567</c:v>
                </c:pt>
                <c:pt idx="41">
                  <c:v>0.4256785468316114</c:v>
                </c:pt>
                <c:pt idx="42">
                  <c:v>0.42104809524928544</c:v>
                </c:pt>
                <c:pt idx="43">
                  <c:v>0.4272187401094034</c:v>
                </c:pt>
                <c:pt idx="44">
                  <c:v>0.44506648638286983</c:v>
                </c:pt>
                <c:pt idx="45">
                  <c:v>0.45347631450099585</c:v>
                </c:pt>
                <c:pt idx="46">
                  <c:v>0.45589862621858523</c:v>
                </c:pt>
                <c:pt idx="47">
                  <c:v>0.4699170609418931</c:v>
                </c:pt>
                <c:pt idx="48">
                  <c:v>0.475147133579726</c:v>
                </c:pt>
                <c:pt idx="49">
                  <c:v>0.4706972047161417</c:v>
                </c:pt>
                <c:pt idx="50">
                  <c:v>0.4949100993702802</c:v>
                </c:pt>
                <c:pt idx="51">
                  <c:v>0.49955242711758646</c:v>
                </c:pt>
                <c:pt idx="52">
                  <c:v>0.48154110993904864</c:v>
                </c:pt>
                <c:pt idx="53">
                  <c:v>0.512704363576222</c:v>
                </c:pt>
                <c:pt idx="54">
                  <c:v>0.454265721371169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5.0"/>
          <c:min val="6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55599214145382"/>
          <c:min val="0.298911002628614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313973003374578</c:v>
                </c:pt>
                <c:pt idx="1">
                  <c:v>0.6730001431639226</c:v>
                </c:pt>
                <c:pt idx="2">
                  <c:v>0.7376756216123125</c:v>
                </c:pt>
                <c:pt idx="3">
                  <c:v>0.7769927058097321</c:v>
                </c:pt>
                <c:pt idx="4">
                  <c:v>1.0164437007874014</c:v>
                </c:pt>
                <c:pt idx="5">
                  <c:v>1.0479365157480316</c:v>
                </c:pt>
                <c:pt idx="6">
                  <c:v>0.8190836303356817</c:v>
                </c:pt>
                <c:pt idx="7">
                  <c:v>0.9515283927744326</c:v>
                </c:pt>
                <c:pt idx="8">
                  <c:v>0.8735778842862033</c:v>
                </c:pt>
                <c:pt idx="9">
                  <c:v>0.8033845006216328</c:v>
                </c:pt>
                <c:pt idx="10">
                  <c:v>0.7584424409448819</c:v>
                </c:pt>
                <c:pt idx="11">
                  <c:v>0.7317080887616321</c:v>
                </c:pt>
                <c:pt idx="12">
                  <c:v>0.7044710775047259</c:v>
                </c:pt>
                <c:pt idx="13">
                  <c:v>0.685395207120849</c:v>
                </c:pt>
                <c:pt idx="14">
                  <c:v>0.7795285826771654</c:v>
                </c:pt>
                <c:pt idx="15">
                  <c:v>0.9937705708661417</c:v>
                </c:pt>
                <c:pt idx="16">
                  <c:v>1.0199179026217229</c:v>
                </c:pt>
                <c:pt idx="17">
                  <c:v>0.9367062826037651</c:v>
                </c:pt>
                <c:pt idx="18">
                  <c:v>0.9522797867614393</c:v>
                </c:pt>
                <c:pt idx="19">
                  <c:v>0.7455405236079826</c:v>
                </c:pt>
                <c:pt idx="20">
                  <c:v>1.0219137837837837</c:v>
                </c:pt>
                <c:pt idx="21">
                  <c:v>0.8934979649165702</c:v>
                </c:pt>
                <c:pt idx="22">
                  <c:v>1.1639696373056996</c:v>
                </c:pt>
                <c:pt idx="23">
                  <c:v>1.374328900015647</c:v>
                </c:pt>
                <c:pt idx="24">
                  <c:v>1.0640852290190537</c:v>
                </c:pt>
                <c:pt idx="25">
                  <c:v>0.8860897164621244</c:v>
                </c:pt>
                <c:pt idx="26">
                  <c:v>1.5821487854669571</c:v>
                </c:pt>
                <c:pt idx="27">
                  <c:v>1.0973892598403048</c:v>
                </c:pt>
                <c:pt idx="28">
                  <c:v>0.870524251968504</c:v>
                </c:pt>
                <c:pt idx="29">
                  <c:v>0.9045794111199944</c:v>
                </c:pt>
                <c:pt idx="30">
                  <c:v>0.9102575959580169</c:v>
                </c:pt>
                <c:pt idx="31">
                  <c:v>1.0277757937455239</c:v>
                </c:pt>
                <c:pt idx="32">
                  <c:v>0.7980694504279903</c:v>
                </c:pt>
                <c:pt idx="33">
                  <c:v>0.9723001040582726</c:v>
                </c:pt>
                <c:pt idx="34">
                  <c:v>0.9307282217093339</c:v>
                </c:pt>
                <c:pt idx="35">
                  <c:v>0.8913374879568765</c:v>
                </c:pt>
                <c:pt idx="36">
                  <c:v>0.9605194363862413</c:v>
                </c:pt>
                <c:pt idx="37">
                  <c:v>0.8739769183263856</c:v>
                </c:pt>
                <c:pt idx="38">
                  <c:v>1.0650030547874938</c:v>
                </c:pt>
                <c:pt idx="39">
                  <c:v>0.9359498215516517</c:v>
                </c:pt>
                <c:pt idx="40">
                  <c:v>0.9770525984251969</c:v>
                </c:pt>
                <c:pt idx="41">
                  <c:v>1.0046327559055117</c:v>
                </c:pt>
                <c:pt idx="42">
                  <c:v>1.0421568572849327</c:v>
                </c:pt>
                <c:pt idx="43">
                  <c:v>1.0942847682864194</c:v>
                </c:pt>
                <c:pt idx="44">
                  <c:v>0.9342404016064257</c:v>
                </c:pt>
                <c:pt idx="45">
                  <c:v>0.9622203839813246</c:v>
                </c:pt>
                <c:pt idx="46">
                  <c:v>1.0212361683079678</c:v>
                </c:pt>
                <c:pt idx="47">
                  <c:v>0.8534879969272133</c:v>
                </c:pt>
                <c:pt idx="48">
                  <c:v>1.030205890473999</c:v>
                </c:pt>
                <c:pt idx="49">
                  <c:v>0.907509257288785</c:v>
                </c:pt>
                <c:pt idx="50">
                  <c:v>0.750905955040459</c:v>
                </c:pt>
                <c:pt idx="51">
                  <c:v>0.5045609857592009</c:v>
                </c:pt>
                <c:pt idx="52">
                  <c:v>0.6616753633547773</c:v>
                </c:pt>
                <c:pt idx="53">
                  <c:v>0.6377661607337847</c:v>
                </c:pt>
                <c:pt idx="54">
                  <c:v>0.6992537401836968</c:v>
                </c:pt>
                <c:pt idx="55">
                  <c:v>0.7205410832719232</c:v>
                </c:pt>
                <c:pt idx="56">
                  <c:v>0.6442647788565263</c:v>
                </c:pt>
                <c:pt idx="57">
                  <c:v>0.6309317615176151</c:v>
                </c:pt>
                <c:pt idx="58">
                  <c:v>0.5892843086483687</c:v>
                </c:pt>
                <c:pt idx="59">
                  <c:v>0.5320728744939272</c:v>
                </c:pt>
                <c:pt idx="60">
                  <c:v>0.6215945009623316</c:v>
                </c:pt>
                <c:pt idx="61">
                  <c:v>0.649654969149405</c:v>
                </c:pt>
                <c:pt idx="62">
                  <c:v>0.6759974994046203</c:v>
                </c:pt>
                <c:pt idx="63">
                  <c:v>0.6977933245625185</c:v>
                </c:pt>
                <c:pt idx="64">
                  <c:v>0.6407444132509826</c:v>
                </c:pt>
                <c:pt idx="65">
                  <c:v>0.7760367913055077</c:v>
                </c:pt>
                <c:pt idx="66">
                  <c:v>0.6912964538322488</c:v>
                </c:pt>
                <c:pt idx="67">
                  <c:v>0.7690300419723792</c:v>
                </c:pt>
                <c:pt idx="68">
                  <c:v>0.7173018117921985</c:v>
                </c:pt>
                <c:pt idx="69">
                  <c:v>0.6612646476412347</c:v>
                </c:pt>
                <c:pt idx="70">
                  <c:v>0.96338318815331</c:v>
                </c:pt>
                <c:pt idx="71">
                  <c:v>0.7366846162897127</c:v>
                </c:pt>
                <c:pt idx="72">
                  <c:v>0.8734212613900304</c:v>
                </c:pt>
                <c:pt idx="73">
                  <c:v>0.7809349126058756</c:v>
                </c:pt>
                <c:pt idx="74">
                  <c:v>1.094232915989678</c:v>
                </c:pt>
                <c:pt idx="75">
                  <c:v>1.1311406998158378</c:v>
                </c:pt>
                <c:pt idx="76">
                  <c:v>0.9589470644713611</c:v>
                </c:pt>
                <c:pt idx="77">
                  <c:v>0.846816057766726</c:v>
                </c:pt>
                <c:pt idx="78">
                  <c:v>0.6567287007522632</c:v>
                </c:pt>
                <c:pt idx="79">
                  <c:v>0.9464840190402017</c:v>
                </c:pt>
                <c:pt idx="80">
                  <c:v>0.6902348230710962</c:v>
                </c:pt>
                <c:pt idx="81">
                  <c:v>0.7893192576750288</c:v>
                </c:pt>
                <c:pt idx="82">
                  <c:v>0.8337155993297771</c:v>
                </c:pt>
                <c:pt idx="83">
                  <c:v>0.7695418740399386</c:v>
                </c:pt>
                <c:pt idx="84">
                  <c:v>0.8594987438939289</c:v>
                </c:pt>
                <c:pt idx="85">
                  <c:v>0.7089912181451475</c:v>
                </c:pt>
                <c:pt idx="86">
                  <c:v>0.6952374048969429</c:v>
                </c:pt>
                <c:pt idx="87">
                  <c:v>0.6822265090710161</c:v>
                </c:pt>
                <c:pt idx="88">
                  <c:v>0.8018318182254578</c:v>
                </c:pt>
                <c:pt idx="89">
                  <c:v>0.7254988913525499</c:v>
                </c:pt>
                <c:pt idx="90">
                  <c:v>0.7638274182550923</c:v>
                </c:pt>
                <c:pt idx="91">
                  <c:v>0.7127203195599502</c:v>
                </c:pt>
                <c:pt idx="92">
                  <c:v>0.766901479883426</c:v>
                </c:pt>
                <c:pt idx="93">
                  <c:v>0.7667447337962963</c:v>
                </c:pt>
                <c:pt idx="94">
                  <c:v>0.7121596403067971</c:v>
                </c:pt>
                <c:pt idx="95">
                  <c:v>0.6268016894162557</c:v>
                </c:pt>
                <c:pt idx="96">
                  <c:v>0.6293044966313314</c:v>
                </c:pt>
                <c:pt idx="97">
                  <c:v>0.6041681924363912</c:v>
                </c:pt>
                <c:pt idx="98">
                  <c:v>0.6017562756063837</c:v>
                </c:pt>
                <c:pt idx="99">
                  <c:v>0.5556623539953518</c:v>
                </c:pt>
                <c:pt idx="100">
                  <c:v>0.6330706454139765</c:v>
                </c:pt>
                <c:pt idx="101">
                  <c:v>0.6743843533487298</c:v>
                </c:pt>
                <c:pt idx="102">
                  <c:v>0.7273520884520885</c:v>
                </c:pt>
                <c:pt idx="103">
                  <c:v>0.5318173080909365</c:v>
                </c:pt>
                <c:pt idx="104">
                  <c:v>0.6954144270602315</c:v>
                </c:pt>
              </c:numCache>
            </c:numRef>
          </c:xVal>
          <c:yVal>
            <c:numRef>
              <c:f>Sheet1!$B$2:$B$106</c:f>
              <c:numCache>
                <c:formatCode>General</c:formatCode>
                <c:ptCount val="105"/>
                <c:pt idx="0">
                  <c:v>0.49306989088764375</c:v>
                </c:pt>
                <c:pt idx="1">
                  <c:v>0.4980706441080439</c:v>
                </c:pt>
                <c:pt idx="2">
                  <c:v>0.431441759435243</c:v>
                </c:pt>
                <c:pt idx="3">
                  <c:v>0.40219589713955506</c:v>
                </c:pt>
                <c:pt idx="4">
                  <c:v>0.38805472138805475</c:v>
                </c:pt>
                <c:pt idx="5">
                  <c:v>0.37363875328576795</c:v>
                </c:pt>
                <c:pt idx="6">
                  <c:v>0.40345164441549985</c:v>
                </c:pt>
                <c:pt idx="7">
                  <c:v>0.38988893144389125</c:v>
                </c:pt>
                <c:pt idx="8">
                  <c:v>0.42350515463917526</c:v>
                </c:pt>
                <c:pt idx="9">
                  <c:v>0.4618755477651183</c:v>
                </c:pt>
                <c:pt idx="10">
                  <c:v>0.4989086373557842</c:v>
                </c:pt>
                <c:pt idx="11">
                  <c:v>0.5159954836281521</c:v>
                </c:pt>
                <c:pt idx="12">
                  <c:v>0.5404736656062212</c:v>
                </c:pt>
                <c:pt idx="13">
                  <c:v>0.5888526963445531</c:v>
                </c:pt>
                <c:pt idx="14">
                  <c:v>0.6129666011787819</c:v>
                </c:pt>
                <c:pt idx="15">
                  <c:v>0.5812227074235807</c:v>
                </c:pt>
                <c:pt idx="16">
                  <c:v>0.5372448979591836</c:v>
                </c:pt>
                <c:pt idx="17">
                  <c:v>0.5389048991354467</c:v>
                </c:pt>
                <c:pt idx="18">
                  <c:v>0.4965603502188868</c:v>
                </c:pt>
                <c:pt idx="19">
                  <c:v>0.4267425320056899</c:v>
                </c:pt>
                <c:pt idx="20">
                  <c:v>0.42823939570017433</c:v>
                </c:pt>
                <c:pt idx="21">
                  <c:v>0.43716931216931215</c:v>
                </c:pt>
                <c:pt idx="22">
                  <c:v>0.4370695053224796</c:v>
                </c:pt>
                <c:pt idx="23">
                  <c:v>0.4578235672891178</c:v>
                </c:pt>
                <c:pt idx="24">
                  <c:v>0.4730639730639731</c:v>
                </c:pt>
                <c:pt idx="25">
                  <c:v>0.46532728451069344</c:v>
                </c:pt>
                <c:pt idx="26">
                  <c:v>0.49649904519414384</c:v>
                </c:pt>
                <c:pt idx="27">
                  <c:v>0.5050062578222778</c:v>
                </c:pt>
                <c:pt idx="28">
                  <c:v>0.4461839530332681</c:v>
                </c:pt>
                <c:pt idx="29">
                  <c:v>0.4721638655462185</c:v>
                </c:pt>
                <c:pt idx="30">
                  <c:v>0.4382267441860465</c:v>
                </c:pt>
                <c:pt idx="31">
                  <c:v>0.45676567656765676</c:v>
                </c:pt>
                <c:pt idx="32">
                  <c:v>0.47463556851311955</c:v>
                </c:pt>
                <c:pt idx="33">
                  <c:v>0.4813064030941126</c:v>
                </c:pt>
                <c:pt idx="34">
                  <c:v>0.4818812644564379</c:v>
                </c:pt>
                <c:pt idx="35">
                  <c:v>0.487467265245043</c:v>
                </c:pt>
                <c:pt idx="36">
                  <c:v>0.4343329886246122</c:v>
                </c:pt>
                <c:pt idx="37">
                  <c:v>0.43209876543209874</c:v>
                </c:pt>
                <c:pt idx="38">
                  <c:v>0.47546419098143233</c:v>
                </c:pt>
                <c:pt idx="39">
                  <c:v>0.5028169014084507</c:v>
                </c:pt>
                <c:pt idx="40">
                  <c:v>0.46764209341586943</c:v>
                </c:pt>
                <c:pt idx="41">
                  <c:v>0.44494818652849744</c:v>
                </c:pt>
                <c:pt idx="42">
                  <c:v>0.4558162755866201</c:v>
                </c:pt>
                <c:pt idx="43">
                  <c:v>0.4249053428691628</c:v>
                </c:pt>
                <c:pt idx="44">
                  <c:v>0.45884553714591125</c:v>
                </c:pt>
                <c:pt idx="45">
                  <c:v>0.47625665971739634</c:v>
                </c:pt>
                <c:pt idx="46">
                  <c:v>0.4843540455967814</c:v>
                </c:pt>
                <c:pt idx="47">
                  <c:v>0.48036187113857015</c:v>
                </c:pt>
                <c:pt idx="48">
                  <c:v>0.49521767810026385</c:v>
                </c:pt>
                <c:pt idx="49">
                  <c:v>0.5517819706498952</c:v>
                </c:pt>
                <c:pt idx="50">
                  <c:v>0.5149661350229408</c:v>
                </c:pt>
                <c:pt idx="51">
                  <c:v>0.4972295129775445</c:v>
                </c:pt>
                <c:pt idx="52">
                  <c:v>0.4936919781004523</c:v>
                </c:pt>
                <c:pt idx="53">
                  <c:v>0.4849646226415094</c:v>
                </c:pt>
                <c:pt idx="54">
                  <c:v>0.46977329974811083</c:v>
                </c:pt>
                <c:pt idx="55">
                  <c:v>0.4522272433828276</c:v>
                </c:pt>
                <c:pt idx="56">
                  <c:v>0.47657774886141835</c:v>
                </c:pt>
                <c:pt idx="57">
                  <c:v>0.46564885496183206</c:v>
                </c:pt>
                <c:pt idx="58">
                  <c:v>0.48680067813029787</c:v>
                </c:pt>
                <c:pt idx="59">
                  <c:v>0.4934069303894511</c:v>
                </c:pt>
                <c:pt idx="60">
                  <c:v>0.5057908669755129</c:v>
                </c:pt>
                <c:pt idx="61">
                  <c:v>0.4972468278668901</c:v>
                </c:pt>
                <c:pt idx="62">
                  <c:v>0.5141828005402972</c:v>
                </c:pt>
                <c:pt idx="63">
                  <c:v>0.5434190031152648</c:v>
                </c:pt>
                <c:pt idx="64">
                  <c:v>0.5566666666666666</c:v>
                </c:pt>
                <c:pt idx="65">
                  <c:v>0.5430992736077482</c:v>
                </c:pt>
                <c:pt idx="66">
                  <c:v>0.514448011854779</c:v>
                </c:pt>
                <c:pt idx="67">
                  <c:v>0.5286148742051424</c:v>
                </c:pt>
                <c:pt idx="68">
                  <c:v>0.5154714233709501</c:v>
                </c:pt>
                <c:pt idx="69">
                  <c:v>0.49854368932038834</c:v>
                </c:pt>
                <c:pt idx="70">
                  <c:v>0.46404341926729986</c:v>
                </c:pt>
                <c:pt idx="71">
                  <c:v>0.45530043966780653</c:v>
                </c:pt>
                <c:pt idx="72">
                  <c:v>0.4610154125113327</c:v>
                </c:pt>
                <c:pt idx="73">
                  <c:v>0.4511961722488038</c:v>
                </c:pt>
                <c:pt idx="74">
                  <c:v>0.45896656534954405</c:v>
                </c:pt>
                <c:pt idx="75">
                  <c:v>0.44683026584867075</c:v>
                </c:pt>
                <c:pt idx="76">
                  <c:v>0.4264380530973451</c:v>
                </c:pt>
                <c:pt idx="77">
                  <c:v>0.43757725587144625</c:v>
                </c:pt>
                <c:pt idx="78">
                  <c:v>0.4344262295081967</c:v>
                </c:pt>
                <c:pt idx="79">
                  <c:v>0.4306658521686011</c:v>
                </c:pt>
                <c:pt idx="80">
                  <c:v>0.4029943855271366</c:v>
                </c:pt>
                <c:pt idx="81">
                  <c:v>0.39509803921568626</c:v>
                </c:pt>
                <c:pt idx="82">
                  <c:v>0.40728476821192056</c:v>
                </c:pt>
                <c:pt idx="83">
                  <c:v>0.39072847682119205</c:v>
                </c:pt>
                <c:pt idx="84">
                  <c:v>0.40074906367041196</c:v>
                </c:pt>
                <c:pt idx="85">
                  <c:v>0.3989802421924793</c:v>
                </c:pt>
                <c:pt idx="86">
                  <c:v>0.423444976076555</c:v>
                </c:pt>
                <c:pt idx="87">
                  <c:v>0.4500868055555556</c:v>
                </c:pt>
                <c:pt idx="88">
                  <c:v>0.4150622876557191</c:v>
                </c:pt>
                <c:pt idx="89">
                  <c:v>0.38413878562577447</c:v>
                </c:pt>
                <c:pt idx="90">
                  <c:v>0.38126219908913467</c:v>
                </c:pt>
                <c:pt idx="91">
                  <c:v>0.3763718528082634</c:v>
                </c:pt>
                <c:pt idx="92">
                  <c:v>0.4247881355932203</c:v>
                </c:pt>
                <c:pt idx="93">
                  <c:v>0.42910848549946295</c:v>
                </c:pt>
                <c:pt idx="94">
                  <c:v>0.4349334875650665</c:v>
                </c:pt>
                <c:pt idx="95">
                  <c:v>0.4544324772162386</c:v>
                </c:pt>
                <c:pt idx="96">
                  <c:v>0.4530402512132458</c:v>
                </c:pt>
                <c:pt idx="97">
                  <c:v>0.45797898949474736</c:v>
                </c:pt>
                <c:pt idx="98">
                  <c:v>0.464607201309329</c:v>
                </c:pt>
                <c:pt idx="99">
                  <c:v>0.4909802586793737</c:v>
                </c:pt>
                <c:pt idx="100">
                  <c:v>0.5016856036958421</c:v>
                </c:pt>
                <c:pt idx="101">
                  <c:v>0.4772629772629773</c:v>
                </c:pt>
                <c:pt idx="102">
                  <c:v>0.446474358974359</c:v>
                </c:pt>
                <c:pt idx="103">
                  <c:v>0.4419753086419753</c:v>
                </c:pt>
                <c:pt idx="104">
                  <c:v>0.448399738732854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500558015943313</c:v>
                </c:pt>
                <c:pt idx="1">
                  <c:v>0.7692070807263848</c:v>
                </c:pt>
                <c:pt idx="2">
                  <c:v>0.6518263830678961</c:v>
                </c:pt>
                <c:pt idx="3">
                  <c:v>0.7083277747402953</c:v>
                </c:pt>
                <c:pt idx="4">
                  <c:v>0.673582254952956</c:v>
                </c:pt>
                <c:pt idx="5">
                  <c:v>0.7162570593962998</c:v>
                </c:pt>
                <c:pt idx="6">
                  <c:v>0.7085336061805355</c:v>
                </c:pt>
                <c:pt idx="7">
                  <c:v>0.5434768995633188</c:v>
                </c:pt>
                <c:pt idx="8">
                  <c:v>0.6737687622464414</c:v>
                </c:pt>
                <c:pt idx="9">
                  <c:v>0.6145291142969364</c:v>
                </c:pt>
                <c:pt idx="10">
                  <c:v>0.6508543528964473</c:v>
                </c:pt>
                <c:pt idx="11">
                  <c:v>0.6228662019908779</c:v>
                </c:pt>
                <c:pt idx="12">
                  <c:v>0.801225197742382</c:v>
                </c:pt>
                <c:pt idx="13">
                  <c:v>0.6249638265327215</c:v>
                </c:pt>
                <c:pt idx="14">
                  <c:v>0.7527892148483527</c:v>
                </c:pt>
                <c:pt idx="15">
                  <c:v>0.6507149803921569</c:v>
                </c:pt>
                <c:pt idx="16">
                  <c:v>0.6685838202830802</c:v>
                </c:pt>
                <c:pt idx="17">
                  <c:v>0.5957706378986867</c:v>
                </c:pt>
                <c:pt idx="18">
                  <c:v>0.7573903005834192</c:v>
                </c:pt>
                <c:pt idx="19">
                  <c:v>0.7483868284558478</c:v>
                </c:pt>
                <c:pt idx="20">
                  <c:v>0.7088317213730895</c:v>
                </c:pt>
                <c:pt idx="21">
                  <c:v>0.6156217637528859</c:v>
                </c:pt>
                <c:pt idx="22">
                  <c:v>0.5976025225225226</c:v>
                </c:pt>
                <c:pt idx="23">
                  <c:v>0.6092930817610063</c:v>
                </c:pt>
                <c:pt idx="24">
                  <c:v>0.739968625249501</c:v>
                </c:pt>
                <c:pt idx="25">
                  <c:v>0.6387996067415731</c:v>
                </c:pt>
                <c:pt idx="26">
                  <c:v>0.6431004309252217</c:v>
                </c:pt>
                <c:pt idx="27">
                  <c:v>0.7501098897432386</c:v>
                </c:pt>
                <c:pt idx="28">
                  <c:v>0.6708216064083136</c:v>
                </c:pt>
                <c:pt idx="29">
                  <c:v>0.8200835398114</c:v>
                </c:pt>
                <c:pt idx="30">
                  <c:v>0.7536192188468692</c:v>
                </c:pt>
                <c:pt idx="31">
                  <c:v>0.613941298784389</c:v>
                </c:pt>
                <c:pt idx="32">
                  <c:v>0.8047923868312757</c:v>
                </c:pt>
                <c:pt idx="33">
                  <c:v>0.9251205403791611</c:v>
                </c:pt>
                <c:pt idx="34">
                  <c:v>0.8740470413819279</c:v>
                </c:pt>
                <c:pt idx="35">
                  <c:v>0.6767900157055097</c:v>
                </c:pt>
                <c:pt idx="36">
                  <c:v>0.8224012747078013</c:v>
                </c:pt>
                <c:pt idx="37">
                  <c:v>0.7094929487391552</c:v>
                </c:pt>
                <c:pt idx="38">
                  <c:v>0.73812238720731</c:v>
                </c:pt>
                <c:pt idx="39">
                  <c:v>0.6474720841704557</c:v>
                </c:pt>
                <c:pt idx="40">
                  <c:v>0.6978874863387978</c:v>
                </c:pt>
                <c:pt idx="41">
                  <c:v>0.7509149412102665</c:v>
                </c:pt>
                <c:pt idx="42">
                  <c:v>0.7950690714945976</c:v>
                </c:pt>
                <c:pt idx="43">
                  <c:v>0.7305599423212173</c:v>
                </c:pt>
                <c:pt idx="44">
                  <c:v>0.7206290621247712</c:v>
                </c:pt>
                <c:pt idx="45">
                  <c:v>0.680875160453366</c:v>
                </c:pt>
                <c:pt idx="46">
                  <c:v>0.5722488230871552</c:v>
                </c:pt>
                <c:pt idx="47">
                  <c:v>0.6448275144671918</c:v>
                </c:pt>
                <c:pt idx="48">
                  <c:v>0.5503665995452341</c:v>
                </c:pt>
                <c:pt idx="49">
                  <c:v>0.6674007933123719</c:v>
                </c:pt>
                <c:pt idx="50">
                  <c:v>0.5764909235151019</c:v>
                </c:pt>
                <c:pt idx="51">
                  <c:v>0.5876069952305247</c:v>
                </c:pt>
              </c:numCache>
            </c:numRef>
          </c:xVal>
          <c:yVal>
            <c:numRef>
              <c:f>Sheet1!$B$109:$B$160</c:f>
              <c:numCache>
                <c:formatCode>General</c:formatCode>
                <c:ptCount val="52"/>
                <c:pt idx="0">
                  <c:v>0.4573665893271462</c:v>
                </c:pt>
                <c:pt idx="1">
                  <c:v>0.4459375</c:v>
                </c:pt>
                <c:pt idx="2">
                  <c:v>0.45723684210526316</c:v>
                </c:pt>
                <c:pt idx="3">
                  <c:v>0.4603921568627451</c:v>
                </c:pt>
                <c:pt idx="4">
                  <c:v>0.4333511777301927</c:v>
                </c:pt>
                <c:pt idx="5">
                  <c:v>0.4441727791361043</c:v>
                </c:pt>
                <c:pt idx="6">
                  <c:v>0.45714967772738124</c:v>
                </c:pt>
                <c:pt idx="7">
                  <c:v>0.4703150912106136</c:v>
                </c:pt>
                <c:pt idx="8">
                  <c:v>0.4827197595792637</c:v>
                </c:pt>
                <c:pt idx="9">
                  <c:v>0.4890091308758877</c:v>
                </c:pt>
                <c:pt idx="10">
                  <c:v>0.5011780545270953</c:v>
                </c:pt>
                <c:pt idx="11">
                  <c:v>0.5271702367531004</c:v>
                </c:pt>
                <c:pt idx="12">
                  <c:v>0.5211674993426243</c:v>
                </c:pt>
                <c:pt idx="13">
                  <c:v>0.48755066589461493</c:v>
                </c:pt>
                <c:pt idx="14">
                  <c:v>0.4954099398543843</c:v>
                </c:pt>
                <c:pt idx="15">
                  <c:v>0.4743819419562881</c:v>
                </c:pt>
                <c:pt idx="16">
                  <c:v>0.43252595155709345</c:v>
                </c:pt>
                <c:pt idx="17">
                  <c:v>0.428246013667426</c:v>
                </c:pt>
                <c:pt idx="18">
                  <c:v>0.41756988020536223</c:v>
                </c:pt>
                <c:pt idx="19">
                  <c:v>0.4027355623100304</c:v>
                </c:pt>
                <c:pt idx="20">
                  <c:v>0.3752821670428894</c:v>
                </c:pt>
                <c:pt idx="21">
                  <c:v>0.381570408825438</c:v>
                </c:pt>
                <c:pt idx="22">
                  <c:v>0.4229607250755287</c:v>
                </c:pt>
                <c:pt idx="23">
                  <c:v>0.44291091593475534</c:v>
                </c:pt>
                <c:pt idx="24">
                  <c:v>0.4260422615648201</c:v>
                </c:pt>
                <c:pt idx="25">
                  <c:v>0.4384800965018094</c:v>
                </c:pt>
                <c:pt idx="26">
                  <c:v>0.3926605504587156</c:v>
                </c:pt>
                <c:pt idx="27">
                  <c:v>0.384828349944629</c:v>
                </c:pt>
                <c:pt idx="28">
                  <c:v>0.43157894736842106</c:v>
                </c:pt>
                <c:pt idx="29">
                  <c:v>0.44976076555023925</c:v>
                </c:pt>
                <c:pt idx="30">
                  <c:v>0.46804625684723067</c:v>
                </c:pt>
                <c:pt idx="31">
                  <c:v>0.4531784005468216</c:v>
                </c:pt>
                <c:pt idx="32">
                  <c:v>0.4645006016847172</c:v>
                </c:pt>
                <c:pt idx="33">
                  <c:v>0.49701698026617713</c:v>
                </c:pt>
                <c:pt idx="34">
                  <c:v>0.5258119658119658</c:v>
                </c:pt>
                <c:pt idx="35">
                  <c:v>0.5241788321167883</c:v>
                </c:pt>
                <c:pt idx="36">
                  <c:v>0.4798239178283199</c:v>
                </c:pt>
                <c:pt idx="37">
                  <c:v>0.4363395225464191</c:v>
                </c:pt>
                <c:pt idx="38">
                  <c:v>0.4222222222222222</c:v>
                </c:pt>
                <c:pt idx="39">
                  <c:v>0.45548961424332346</c:v>
                </c:pt>
                <c:pt idx="40">
                  <c:v>0.4292929292929293</c:v>
                </c:pt>
                <c:pt idx="41">
                  <c:v>0.4258645191852203</c:v>
                </c:pt>
                <c:pt idx="42">
                  <c:v>0.42550852116547555</c:v>
                </c:pt>
                <c:pt idx="43">
                  <c:v>0.42761225346202264</c:v>
                </c:pt>
                <c:pt idx="44">
                  <c:v>0.4296160877513711</c:v>
                </c:pt>
                <c:pt idx="45">
                  <c:v>0.4613815957175631</c:v>
                </c:pt>
                <c:pt idx="46">
                  <c:v>0.46624662466246625</c:v>
                </c:pt>
                <c:pt idx="47">
                  <c:v>0.45827779258864304</c:v>
                </c:pt>
                <c:pt idx="48">
                  <c:v>0.4549785612196284</c:v>
                </c:pt>
                <c:pt idx="49">
                  <c:v>0.47964678009907386</c:v>
                </c:pt>
                <c:pt idx="50">
                  <c:v>0.5064511555366511</c:v>
                </c:pt>
                <c:pt idx="51">
                  <c:v>0.48508794290084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1839406192232955</c:v>
                </c:pt>
              </c:numCache>
            </c:numRef>
          </c:xVal>
          <c:yVal>
            <c:numRef>
              <c:f>Sheet1!$B$163:$B$164</c:f>
              <c:numCache>
                <c:formatCode>General</c:formatCode>
                <c:ptCount val="2"/>
                <c:pt idx="0">
                  <c:v>0.512704363576222</c:v>
                </c:pt>
                <c:pt idx="1">
                  <c:v>0.5127043635762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1839406192232955</c:v>
                </c:pt>
                <c:pt idx="1">
                  <c:v>5.1839406192232955</c:v>
                </c:pt>
              </c:numCache>
            </c:numRef>
          </c:xVal>
          <c:yVal>
            <c:numRef>
              <c:f>Sheet1!$B$167:$B$168</c:f>
              <c:numCache>
                <c:formatCode>General</c:formatCode>
                <c:ptCount val="2"/>
                <c:pt idx="0">
                  <c:v>0.5127043635762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797512776604445</c:v>
                </c:pt>
              </c:numCache>
            </c:numRef>
          </c:xVal>
          <c:yVal>
            <c:numRef>
              <c:f>Sheet1!$B$171:$B$172</c:f>
              <c:numCache>
                <c:formatCode>General</c:formatCode>
                <c:ptCount val="2"/>
                <c:pt idx="0">
                  <c:v>0.48154110993904864</c:v>
                </c:pt>
                <c:pt idx="1">
                  <c:v>0.481541109939048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797512776604445</c:v>
                </c:pt>
                <c:pt idx="1">
                  <c:v>2.797512776604445</c:v>
                </c:pt>
              </c:numCache>
            </c:numRef>
          </c:xVal>
          <c:yVal>
            <c:numRef>
              <c:f>Sheet1!$B$175:$B$176</c:f>
              <c:numCache>
                <c:formatCode>General</c:formatCode>
                <c:ptCount val="2"/>
                <c:pt idx="0">
                  <c:v>0.48154110993904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88108889751745</c:v>
                </c:pt>
              </c:numCache>
            </c:numRef>
          </c:xVal>
          <c:yVal>
            <c:numRef>
              <c:f>Sheet1!$B$179:$B$180</c:f>
              <c:numCache>
                <c:formatCode>General</c:formatCode>
                <c:ptCount val="2"/>
                <c:pt idx="0">
                  <c:v>0.45426572137116994</c:v>
                </c:pt>
                <c:pt idx="1">
                  <c:v>0.4542657213711699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88108889751745</c:v>
                </c:pt>
                <c:pt idx="1">
                  <c:v>0.7088108889751745</c:v>
                </c:pt>
              </c:numCache>
            </c:numRef>
          </c:xVal>
          <c:yVal>
            <c:numRef>
              <c:f>Sheet1!$B$183:$B$184</c:f>
              <c:numCache>
                <c:formatCode>General</c:formatCode>
                <c:ptCount val="2"/>
                <c:pt idx="0">
                  <c:v>0.4542657213711699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500558015943313</c:v>
                </c:pt>
                <c:pt idx="1">
                  <c:v>0.7692070807263848</c:v>
                </c:pt>
                <c:pt idx="2">
                  <c:v>0.6518263830678961</c:v>
                </c:pt>
                <c:pt idx="3">
                  <c:v>0.7083277747402953</c:v>
                </c:pt>
                <c:pt idx="4">
                  <c:v>0.673582254952956</c:v>
                </c:pt>
                <c:pt idx="5">
                  <c:v>0.7162570593962998</c:v>
                </c:pt>
                <c:pt idx="6">
                  <c:v>0.7085336061805355</c:v>
                </c:pt>
                <c:pt idx="7">
                  <c:v>0.5434768995633188</c:v>
                </c:pt>
                <c:pt idx="8">
                  <c:v>0.6737687622464414</c:v>
                </c:pt>
                <c:pt idx="9">
                  <c:v>0.6145291142969364</c:v>
                </c:pt>
                <c:pt idx="10">
                  <c:v>0.6508543528964473</c:v>
                </c:pt>
                <c:pt idx="11">
                  <c:v>0.6228662019908779</c:v>
                </c:pt>
                <c:pt idx="12">
                  <c:v>0.801225197742382</c:v>
                </c:pt>
                <c:pt idx="13">
                  <c:v>0.6249638265327215</c:v>
                </c:pt>
                <c:pt idx="14">
                  <c:v>0.7527892148483527</c:v>
                </c:pt>
                <c:pt idx="15">
                  <c:v>0.6507149803921569</c:v>
                </c:pt>
                <c:pt idx="16">
                  <c:v>0.6685838202830802</c:v>
                </c:pt>
                <c:pt idx="17">
                  <c:v>0.5957706378986867</c:v>
                </c:pt>
                <c:pt idx="18">
                  <c:v>0.7573903005834192</c:v>
                </c:pt>
                <c:pt idx="19">
                  <c:v>0.7483868284558478</c:v>
                </c:pt>
                <c:pt idx="20">
                  <c:v>0.7088317213730895</c:v>
                </c:pt>
                <c:pt idx="21">
                  <c:v>0.6156217637528859</c:v>
                </c:pt>
                <c:pt idx="22">
                  <c:v>0.5976025225225226</c:v>
                </c:pt>
                <c:pt idx="23">
                  <c:v>0.6092930817610063</c:v>
                </c:pt>
                <c:pt idx="24">
                  <c:v>0.739968625249501</c:v>
                </c:pt>
                <c:pt idx="25">
                  <c:v>0.6387996067415731</c:v>
                </c:pt>
                <c:pt idx="26">
                  <c:v>0.6431004309252217</c:v>
                </c:pt>
                <c:pt idx="27">
                  <c:v>0.7501098897432386</c:v>
                </c:pt>
                <c:pt idx="28">
                  <c:v>0.6708216064083136</c:v>
                </c:pt>
                <c:pt idx="29">
                  <c:v>0.8200835398114</c:v>
                </c:pt>
                <c:pt idx="30">
                  <c:v>0.7536192188468692</c:v>
                </c:pt>
                <c:pt idx="31">
                  <c:v>0.613941298784389</c:v>
                </c:pt>
                <c:pt idx="32">
                  <c:v>0.8047923868312757</c:v>
                </c:pt>
                <c:pt idx="33">
                  <c:v>0.9251205403791611</c:v>
                </c:pt>
                <c:pt idx="34">
                  <c:v>0.8740470413819279</c:v>
                </c:pt>
                <c:pt idx="35">
                  <c:v>0.6767900157055097</c:v>
                </c:pt>
                <c:pt idx="36">
                  <c:v>0.8224012747078013</c:v>
                </c:pt>
                <c:pt idx="37">
                  <c:v>0.7094929487391552</c:v>
                </c:pt>
                <c:pt idx="38">
                  <c:v>0.73812238720731</c:v>
                </c:pt>
                <c:pt idx="39">
                  <c:v>0.6474720841704557</c:v>
                </c:pt>
                <c:pt idx="40">
                  <c:v>0.6978874863387978</c:v>
                </c:pt>
                <c:pt idx="41">
                  <c:v>0.7509149412102665</c:v>
                </c:pt>
                <c:pt idx="42">
                  <c:v>0.7950690714945976</c:v>
                </c:pt>
                <c:pt idx="43">
                  <c:v>0.7305599423212173</c:v>
                </c:pt>
                <c:pt idx="44">
                  <c:v>0.7206290621247712</c:v>
                </c:pt>
                <c:pt idx="45">
                  <c:v>0.680875160453366</c:v>
                </c:pt>
                <c:pt idx="46">
                  <c:v>0.5722488230871552</c:v>
                </c:pt>
                <c:pt idx="47">
                  <c:v>0.6448275144671918</c:v>
                </c:pt>
                <c:pt idx="48">
                  <c:v>0.5503665995452341</c:v>
                </c:pt>
                <c:pt idx="49">
                  <c:v>0.6674007933123719</c:v>
                </c:pt>
                <c:pt idx="50">
                  <c:v>0.5764909235151019</c:v>
                </c:pt>
                <c:pt idx="51">
                  <c:v>0.5876069952305247</c:v>
                </c:pt>
                <c:pt idx="52">
                  <c:v>2.797512776604445</c:v>
                </c:pt>
                <c:pt idx="53">
                  <c:v>5.1839406192232955</c:v>
                </c:pt>
                <c:pt idx="54">
                  <c:v>0.7088108889751745</c:v>
                </c:pt>
              </c:numCache>
            </c:numRef>
          </c:xVal>
          <c:yVal>
            <c:numRef>
              <c:f>Sheet1!$B$187:$B$241</c:f>
              <c:numCache>
                <c:formatCode>General</c:formatCode>
                <c:ptCount val="55"/>
                <c:pt idx="0">
                  <c:v>0.45219261236452524</c:v>
                </c:pt>
                <c:pt idx="1">
                  <c:v>0.4550544072089101</c:v>
                </c:pt>
                <c:pt idx="2">
                  <c:v>0.4535215871554759</c:v>
                </c:pt>
                <c:pt idx="3">
                  <c:v>0.4542594126065937</c:v>
                </c:pt>
                <c:pt idx="4">
                  <c:v>0.4538056869893548</c:v>
                </c:pt>
                <c:pt idx="5">
                  <c:v>0.4543629574548742</c:v>
                </c:pt>
                <c:pt idx="6">
                  <c:v>0.45426210046384385</c:v>
                </c:pt>
                <c:pt idx="7">
                  <c:v>0.45210670153622146</c:v>
                </c:pt>
                <c:pt idx="8">
                  <c:v>0.45380812250154096</c:v>
                </c:pt>
                <c:pt idx="9">
                  <c:v>0.45303453943254635</c:v>
                </c:pt>
                <c:pt idx="10">
                  <c:v>0.4535088938645937</c:v>
                </c:pt>
                <c:pt idx="11">
                  <c:v>0.4531434095914348</c:v>
                </c:pt>
                <c:pt idx="12">
                  <c:v>0.45547251693916674</c:v>
                </c:pt>
                <c:pt idx="13">
                  <c:v>0.45317080149680294</c:v>
                </c:pt>
                <c:pt idx="14">
                  <c:v>0.4548400139180672</c:v>
                </c:pt>
                <c:pt idx="15">
                  <c:v>0.453507073863744</c:v>
                </c:pt>
                <c:pt idx="16">
                  <c:v>0.45374041475081306</c:v>
                </c:pt>
                <c:pt idx="17">
                  <c:v>0.45278958119521534</c:v>
                </c:pt>
                <c:pt idx="18">
                  <c:v>0.454900097361282</c:v>
                </c:pt>
                <c:pt idx="19">
                  <c:v>0.45478252519734896</c:v>
                </c:pt>
                <c:pt idx="20">
                  <c:v>0.4542659934117858</c:v>
                </c:pt>
                <c:pt idx="21">
                  <c:v>0.45304880783468454</c:v>
                </c:pt>
                <c:pt idx="22">
                  <c:v>0.4528135029263262</c:v>
                </c:pt>
                <c:pt idx="23">
                  <c:v>0.4529661645137428</c:v>
                </c:pt>
                <c:pt idx="24">
                  <c:v>0.4546725957886304</c:v>
                </c:pt>
                <c:pt idx="25">
                  <c:v>0.45335147652925795</c:v>
                </c:pt>
                <c:pt idx="26">
                  <c:v>0.4534076389962265</c:v>
                </c:pt>
                <c:pt idx="27">
                  <c:v>0.454805025855015</c:v>
                </c:pt>
                <c:pt idx="28">
                  <c:v>0.4537696369612486</c:v>
                </c:pt>
                <c:pt idx="29">
                  <c:v>0.4557187792759439</c:v>
                </c:pt>
                <c:pt idx="30">
                  <c:v>0.45485085255507257</c:v>
                </c:pt>
                <c:pt idx="31">
                  <c:v>0.4530268634225777</c:v>
                </c:pt>
                <c:pt idx="32">
                  <c:v>0.4555190992059186</c:v>
                </c:pt>
                <c:pt idx="33">
                  <c:v>0.4570904087178754</c:v>
                </c:pt>
                <c:pt idx="34">
                  <c:v>0.4564234635980757</c:v>
                </c:pt>
                <c:pt idx="35">
                  <c:v>0.4538475756482759</c:v>
                </c:pt>
                <c:pt idx="36">
                  <c:v>0.45574904550027734</c:v>
                </c:pt>
                <c:pt idx="37">
                  <c:v>0.45427462807307856</c:v>
                </c:pt>
                <c:pt idx="38">
                  <c:v>0.45464848662289076</c:v>
                </c:pt>
                <c:pt idx="39">
                  <c:v>0.453464726387038</c:v>
                </c:pt>
                <c:pt idx="40">
                  <c:v>0.454123077725777</c:v>
                </c:pt>
                <c:pt idx="41">
                  <c:v>0.4548155386484923</c:v>
                </c:pt>
                <c:pt idx="42">
                  <c:v>0.4553921269436026</c:v>
                </c:pt>
                <c:pt idx="43">
                  <c:v>0.45454973216491235</c:v>
                </c:pt>
                <c:pt idx="44">
                  <c:v>0.4544200494094251</c:v>
                </c:pt>
                <c:pt idx="45">
                  <c:v>0.45390092165759094</c:v>
                </c:pt>
                <c:pt idx="46">
                  <c:v>0.4524824207322474</c:v>
                </c:pt>
                <c:pt idx="47">
                  <c:v>0.4534301921786483</c:v>
                </c:pt>
                <c:pt idx="48">
                  <c:v>0.45219667093072236</c:v>
                </c:pt>
                <c:pt idx="49">
                  <c:v>0.4537249661506545</c:v>
                </c:pt>
                <c:pt idx="50">
                  <c:v>0.4525378163529444</c:v>
                </c:pt>
                <c:pt idx="51">
                  <c:v>0.4526829759744214</c:v>
                </c:pt>
                <c:pt idx="52">
                  <c:v>0.48154110993904864</c:v>
                </c:pt>
                <c:pt idx="53">
                  <c:v>0.512704363576222</c:v>
                </c:pt>
                <c:pt idx="54">
                  <c:v>0.4542657213711699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55599214145382"/>
          <c:min val="0.298911002628614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1.9683</c:v>
                </c:pt>
                <c:pt idx="1">
                  <c:v>940.1812</c:v>
                </c:pt>
                <c:pt idx="2">
                  <c:v>999.3046</c:v>
                </c:pt>
                <c:pt idx="3">
                  <c:v>1025.3714</c:v>
                </c:pt>
                <c:pt idx="4">
                  <c:v>1032.7068</c:v>
                </c:pt>
                <c:pt idx="5">
                  <c:v>1064.7035</c:v>
                </c:pt>
                <c:pt idx="6">
                  <c:v>988.2244</c:v>
                </c:pt>
                <c:pt idx="7">
                  <c:v>1027.1749</c:v>
                </c:pt>
                <c:pt idx="8">
                  <c:v>1020.6884</c:v>
                </c:pt>
                <c:pt idx="9">
                  <c:v>969.2834</c:v>
                </c:pt>
                <c:pt idx="10">
                  <c:v>963.2219</c:v>
                </c:pt>
                <c:pt idx="11">
                  <c:v>1022.1962</c:v>
                </c:pt>
                <c:pt idx="12">
                  <c:v>1024.8293</c:v>
                </c:pt>
                <c:pt idx="13">
                  <c:v>1001.0197</c:v>
                </c:pt>
                <c:pt idx="14">
                  <c:v>990.0013</c:v>
                </c:pt>
                <c:pt idx="15">
                  <c:v>1009.6709</c:v>
                </c:pt>
                <c:pt idx="16">
                  <c:v>1021.1928</c:v>
                </c:pt>
                <c:pt idx="17">
                  <c:v>1032.4845</c:v>
                </c:pt>
                <c:pt idx="18">
                  <c:v>1071.7909</c:v>
                </c:pt>
                <c:pt idx="19">
                  <c:v>1094.205</c:v>
                </c:pt>
                <c:pt idx="20">
                  <c:v>1134.3243</c:v>
                </c:pt>
                <c:pt idx="21">
                  <c:v>1143.0817</c:v>
                </c:pt>
                <c:pt idx="22">
                  <c:v>1123.2307</c:v>
                </c:pt>
                <c:pt idx="23">
                  <c:v>1097.917</c:v>
                </c:pt>
                <c:pt idx="24">
                  <c:v>1070.8244</c:v>
                </c:pt>
                <c:pt idx="25">
                  <c:v>1046.915</c:v>
                </c:pt>
                <c:pt idx="26">
                  <c:v>1067.4231</c:v>
                </c:pt>
                <c:pt idx="27">
                  <c:v>1097.0235</c:v>
                </c:pt>
                <c:pt idx="28">
                  <c:v>1105.5658</c:v>
                </c:pt>
                <c:pt idx="29">
                  <c:v>1023.8331</c:v>
                </c:pt>
                <c:pt idx="30">
                  <c:v>1067.8839</c:v>
                </c:pt>
                <c:pt idx="31">
                  <c:v>1076.3382</c:v>
                </c:pt>
                <c:pt idx="32">
                  <c:v>1021.2629</c:v>
                </c:pt>
                <c:pt idx="33">
                  <c:v>934.3804</c:v>
                </c:pt>
                <c:pt idx="34">
                  <c:v>999.2032</c:v>
                </c:pt>
                <c:pt idx="35">
                  <c:v>1081.6876</c:v>
                </c:pt>
                <c:pt idx="36">
                  <c:v>1158.8667</c:v>
                </c:pt>
                <c:pt idx="37">
                  <c:v>1132.1497</c:v>
                </c:pt>
                <c:pt idx="38">
                  <c:v>1199.6499</c:v>
                </c:pt>
                <c:pt idx="39">
                  <c:v>1191.3081</c:v>
                </c:pt>
                <c:pt idx="40">
                  <c:v>1240.8568</c:v>
                </c:pt>
                <c:pt idx="41">
                  <c:v>1275.8836</c:v>
                </c:pt>
                <c:pt idx="42">
                  <c:v>1309.8609</c:v>
                </c:pt>
                <c:pt idx="43">
                  <c:v>1303.4921</c:v>
                </c:pt>
                <c:pt idx="44">
                  <c:v>1163.1293</c:v>
                </c:pt>
                <c:pt idx="45">
                  <c:v>1132.8541</c:v>
                </c:pt>
                <c:pt idx="46">
                  <c:v>1140.7208</c:v>
                </c:pt>
                <c:pt idx="47">
                  <c:v>1111.028</c:v>
                </c:pt>
                <c:pt idx="48">
                  <c:v>1119.3187</c:v>
                </c:pt>
                <c:pt idx="49">
                  <c:v>1066.0965</c:v>
                </c:pt>
                <c:pt idx="50">
                  <c:v>1063.7119</c:v>
                </c:pt>
                <c:pt idx="51">
                  <c:v>1091.2645</c:v>
                </c:pt>
                <c:pt idx="52">
                  <c:v>1110.8206</c:v>
                </c:pt>
                <c:pt idx="53">
                  <c:v>1168.1325</c:v>
                </c:pt>
                <c:pt idx="54">
                  <c:v>1168.7527</c:v>
                </c:pt>
                <c:pt idx="55">
                  <c:v>1173.3291</c:v>
                </c:pt>
                <c:pt idx="56">
                  <c:v>1194.4669</c:v>
                </c:pt>
                <c:pt idx="57">
                  <c:v>1164.0691</c:v>
                </c:pt>
                <c:pt idx="58">
                  <c:v>1137.908</c:v>
                </c:pt>
                <c:pt idx="59">
                  <c:v>1117.087</c:v>
                </c:pt>
                <c:pt idx="60">
                  <c:v>1130.3696</c:v>
                </c:pt>
                <c:pt idx="61">
                  <c:v>1179.2537</c:v>
                </c:pt>
                <c:pt idx="62">
                  <c:v>1135.4054</c:v>
                </c:pt>
                <c:pt idx="63">
                  <c:v>1154.0233</c:v>
                </c:pt>
                <c:pt idx="64">
                  <c:v>1141.1658</c:v>
                </c:pt>
                <c:pt idx="65">
                  <c:v>1118.7864</c:v>
                </c:pt>
                <c:pt idx="66">
                  <c:v>1128.6567</c:v>
                </c:pt>
                <c:pt idx="67">
                  <c:v>1141.4969</c:v>
                </c:pt>
                <c:pt idx="68">
                  <c:v>1134.3616</c:v>
                </c:pt>
                <c:pt idx="69">
                  <c:v>1135.3914</c:v>
                </c:pt>
                <c:pt idx="70">
                  <c:v>1105.9639</c:v>
                </c:pt>
                <c:pt idx="71">
                  <c:v>1203.9882</c:v>
                </c:pt>
                <c:pt idx="72">
                  <c:v>1222.1347</c:v>
                </c:pt>
                <c:pt idx="73">
                  <c:v>1245.3309</c:v>
                </c:pt>
                <c:pt idx="74">
                  <c:v>1144.8959</c:v>
                </c:pt>
                <c:pt idx="75">
                  <c:v>1228.4188</c:v>
                </c:pt>
                <c:pt idx="76">
                  <c:v>1264.6381</c:v>
                </c:pt>
                <c:pt idx="77">
                  <c:v>1260.7881</c:v>
                </c:pt>
                <c:pt idx="78">
                  <c:v>1287.6808</c:v>
                </c:pt>
                <c:pt idx="79">
                  <c:v>1248.5702</c:v>
                </c:pt>
                <c:pt idx="80">
                  <c:v>1275.692</c:v>
                </c:pt>
                <c:pt idx="81">
                  <c:v>1282.531</c:v>
                </c:pt>
                <c:pt idx="82">
                  <c:v>1306.8813</c:v>
                </c:pt>
                <c:pt idx="83">
                  <c:v>1252.4294</c:v>
                </c:pt>
                <c:pt idx="84">
                  <c:v>1231.6617</c:v>
                </c:pt>
                <c:pt idx="85">
                  <c:v>1236.008</c:v>
                </c:pt>
                <c:pt idx="86">
                  <c:v>1256.4678</c:v>
                </c:pt>
                <c:pt idx="87">
                  <c:v>1279.1292</c:v>
                </c:pt>
                <c:pt idx="88">
                  <c:v>1294.5266</c:v>
                </c:pt>
                <c:pt idx="89">
                  <c:v>1308.8</c:v>
                </c:pt>
                <c:pt idx="90">
                  <c:v>1360.3072</c:v>
                </c:pt>
                <c:pt idx="91">
                  <c:v>1360.494</c:v>
                </c:pt>
                <c:pt idx="92">
                  <c:v>1266.394</c:v>
                </c:pt>
                <c:pt idx="93">
                  <c:v>1324.9349</c:v>
                </c:pt>
                <c:pt idx="94">
                  <c:v>1346.3378</c:v>
                </c:pt>
                <c:pt idx="95">
                  <c:v>1270.0793</c:v>
                </c:pt>
                <c:pt idx="96">
                  <c:v>1179.6837</c:v>
                </c:pt>
                <c:pt idx="97">
                  <c:v>1196.1775</c:v>
                </c:pt>
                <c:pt idx="98">
                  <c:v>1180.3879</c:v>
                </c:pt>
                <c:pt idx="99">
                  <c:v>1131.1698</c:v>
                </c:pt>
                <c:pt idx="100">
                  <c:v>1145.4358</c:v>
                </c:pt>
                <c:pt idx="101">
                  <c:v>1168.0337</c:v>
                </c:pt>
                <c:pt idx="102">
                  <c:v>1184.1292</c:v>
                </c:pt>
                <c:pt idx="103">
                  <c:v>1150.6754</c:v>
                </c:pt>
                <c:pt idx="104">
                  <c:v>1207.5375</c:v>
                </c:pt>
              </c:numCache>
            </c:numRef>
          </c:xVal>
          <c:yVal>
            <c:numRef>
              <c:f>Sheet1!$B$2:$B$106</c:f>
              <c:numCache>
                <c:formatCode>General</c:formatCode>
                <c:ptCount val="105"/>
                <c:pt idx="0">
                  <c:v>0.49306989088764375</c:v>
                </c:pt>
                <c:pt idx="1">
                  <c:v>0.4980706441080439</c:v>
                </c:pt>
                <c:pt idx="2">
                  <c:v>0.431441759435243</c:v>
                </c:pt>
                <c:pt idx="3">
                  <c:v>0.40219589713955506</c:v>
                </c:pt>
                <c:pt idx="4">
                  <c:v>0.38805472138805475</c:v>
                </c:pt>
                <c:pt idx="5">
                  <c:v>0.37363875328576795</c:v>
                </c:pt>
                <c:pt idx="6">
                  <c:v>0.40345164441549985</c:v>
                </c:pt>
                <c:pt idx="7">
                  <c:v>0.38988893144389125</c:v>
                </c:pt>
                <c:pt idx="8">
                  <c:v>0.42350515463917526</c:v>
                </c:pt>
                <c:pt idx="9">
                  <c:v>0.4618755477651183</c:v>
                </c:pt>
                <c:pt idx="10">
                  <c:v>0.4989086373557842</c:v>
                </c:pt>
                <c:pt idx="11">
                  <c:v>0.5159954836281521</c:v>
                </c:pt>
                <c:pt idx="12">
                  <c:v>0.5404736656062212</c:v>
                </c:pt>
                <c:pt idx="13">
                  <c:v>0.5888526963445531</c:v>
                </c:pt>
                <c:pt idx="14">
                  <c:v>0.6129666011787819</c:v>
                </c:pt>
                <c:pt idx="15">
                  <c:v>0.5812227074235807</c:v>
                </c:pt>
                <c:pt idx="16">
                  <c:v>0.5372448979591836</c:v>
                </c:pt>
                <c:pt idx="17">
                  <c:v>0.5389048991354467</c:v>
                </c:pt>
                <c:pt idx="18">
                  <c:v>0.4965603502188868</c:v>
                </c:pt>
                <c:pt idx="19">
                  <c:v>0.4267425320056899</c:v>
                </c:pt>
                <c:pt idx="20">
                  <c:v>0.42823939570017433</c:v>
                </c:pt>
                <c:pt idx="21">
                  <c:v>0.43716931216931215</c:v>
                </c:pt>
                <c:pt idx="22">
                  <c:v>0.4370695053224796</c:v>
                </c:pt>
                <c:pt idx="23">
                  <c:v>0.4578235672891178</c:v>
                </c:pt>
                <c:pt idx="24">
                  <c:v>0.4730639730639731</c:v>
                </c:pt>
                <c:pt idx="25">
                  <c:v>0.46532728451069344</c:v>
                </c:pt>
                <c:pt idx="26">
                  <c:v>0.49649904519414384</c:v>
                </c:pt>
                <c:pt idx="27">
                  <c:v>0.5050062578222778</c:v>
                </c:pt>
                <c:pt idx="28">
                  <c:v>0.4461839530332681</c:v>
                </c:pt>
                <c:pt idx="29">
                  <c:v>0.4721638655462185</c:v>
                </c:pt>
                <c:pt idx="30">
                  <c:v>0.4382267441860465</c:v>
                </c:pt>
                <c:pt idx="31">
                  <c:v>0.45676567656765676</c:v>
                </c:pt>
                <c:pt idx="32">
                  <c:v>0.47463556851311955</c:v>
                </c:pt>
                <c:pt idx="33">
                  <c:v>0.4813064030941126</c:v>
                </c:pt>
                <c:pt idx="34">
                  <c:v>0.4818812644564379</c:v>
                </c:pt>
                <c:pt idx="35">
                  <c:v>0.487467265245043</c:v>
                </c:pt>
                <c:pt idx="36">
                  <c:v>0.4343329886246122</c:v>
                </c:pt>
                <c:pt idx="37">
                  <c:v>0.43209876543209874</c:v>
                </c:pt>
                <c:pt idx="38">
                  <c:v>0.47546419098143233</c:v>
                </c:pt>
                <c:pt idx="39">
                  <c:v>0.5028169014084507</c:v>
                </c:pt>
                <c:pt idx="40">
                  <c:v>0.46764209341586943</c:v>
                </c:pt>
                <c:pt idx="41">
                  <c:v>0.44494818652849744</c:v>
                </c:pt>
                <c:pt idx="42">
                  <c:v>0.4558162755866201</c:v>
                </c:pt>
                <c:pt idx="43">
                  <c:v>0.4249053428691628</c:v>
                </c:pt>
                <c:pt idx="44">
                  <c:v>0.45884553714591125</c:v>
                </c:pt>
                <c:pt idx="45">
                  <c:v>0.47625665971739634</c:v>
                </c:pt>
                <c:pt idx="46">
                  <c:v>0.4843540455967814</c:v>
                </c:pt>
                <c:pt idx="47">
                  <c:v>0.48036187113857015</c:v>
                </c:pt>
                <c:pt idx="48">
                  <c:v>0.49521767810026385</c:v>
                </c:pt>
                <c:pt idx="49">
                  <c:v>0.5517819706498952</c:v>
                </c:pt>
                <c:pt idx="50">
                  <c:v>0.5149661350229408</c:v>
                </c:pt>
                <c:pt idx="51">
                  <c:v>0.4972295129775445</c:v>
                </c:pt>
                <c:pt idx="52">
                  <c:v>0.4936919781004523</c:v>
                </c:pt>
                <c:pt idx="53">
                  <c:v>0.4849646226415094</c:v>
                </c:pt>
                <c:pt idx="54">
                  <c:v>0.46977329974811083</c:v>
                </c:pt>
                <c:pt idx="55">
                  <c:v>0.4522272433828276</c:v>
                </c:pt>
                <c:pt idx="56">
                  <c:v>0.47657774886141835</c:v>
                </c:pt>
                <c:pt idx="57">
                  <c:v>0.46564885496183206</c:v>
                </c:pt>
                <c:pt idx="58">
                  <c:v>0.48680067813029787</c:v>
                </c:pt>
                <c:pt idx="59">
                  <c:v>0.4934069303894511</c:v>
                </c:pt>
                <c:pt idx="60">
                  <c:v>0.5057908669755129</c:v>
                </c:pt>
                <c:pt idx="61">
                  <c:v>0.4972468278668901</c:v>
                </c:pt>
                <c:pt idx="62">
                  <c:v>0.5141828005402972</c:v>
                </c:pt>
                <c:pt idx="63">
                  <c:v>0.5434190031152648</c:v>
                </c:pt>
                <c:pt idx="64">
                  <c:v>0.5566666666666666</c:v>
                </c:pt>
                <c:pt idx="65">
                  <c:v>0.5430992736077482</c:v>
                </c:pt>
                <c:pt idx="66">
                  <c:v>0.514448011854779</c:v>
                </c:pt>
                <c:pt idx="67">
                  <c:v>0.5286148742051424</c:v>
                </c:pt>
                <c:pt idx="68">
                  <c:v>0.5154714233709501</c:v>
                </c:pt>
                <c:pt idx="69">
                  <c:v>0.49854368932038834</c:v>
                </c:pt>
                <c:pt idx="70">
                  <c:v>0.46404341926729986</c:v>
                </c:pt>
                <c:pt idx="71">
                  <c:v>0.45530043966780653</c:v>
                </c:pt>
                <c:pt idx="72">
                  <c:v>0.4610154125113327</c:v>
                </c:pt>
                <c:pt idx="73">
                  <c:v>0.4511961722488038</c:v>
                </c:pt>
                <c:pt idx="74">
                  <c:v>0.45896656534954405</c:v>
                </c:pt>
                <c:pt idx="75">
                  <c:v>0.44683026584867075</c:v>
                </c:pt>
                <c:pt idx="76">
                  <c:v>0.4264380530973451</c:v>
                </c:pt>
                <c:pt idx="77">
                  <c:v>0.43757725587144625</c:v>
                </c:pt>
                <c:pt idx="78">
                  <c:v>0.4344262295081967</c:v>
                </c:pt>
                <c:pt idx="79">
                  <c:v>0.4306658521686011</c:v>
                </c:pt>
                <c:pt idx="80">
                  <c:v>0.4029943855271366</c:v>
                </c:pt>
                <c:pt idx="81">
                  <c:v>0.39509803921568626</c:v>
                </c:pt>
                <c:pt idx="82">
                  <c:v>0.40728476821192056</c:v>
                </c:pt>
                <c:pt idx="83">
                  <c:v>0.39072847682119205</c:v>
                </c:pt>
                <c:pt idx="84">
                  <c:v>0.40074906367041196</c:v>
                </c:pt>
                <c:pt idx="85">
                  <c:v>0.3989802421924793</c:v>
                </c:pt>
                <c:pt idx="86">
                  <c:v>0.423444976076555</c:v>
                </c:pt>
                <c:pt idx="87">
                  <c:v>0.4500868055555556</c:v>
                </c:pt>
                <c:pt idx="88">
                  <c:v>0.4150622876557191</c:v>
                </c:pt>
                <c:pt idx="89">
                  <c:v>0.38413878562577447</c:v>
                </c:pt>
                <c:pt idx="90">
                  <c:v>0.38126219908913467</c:v>
                </c:pt>
                <c:pt idx="91">
                  <c:v>0.3763718528082634</c:v>
                </c:pt>
                <c:pt idx="92">
                  <c:v>0.4247881355932203</c:v>
                </c:pt>
                <c:pt idx="93">
                  <c:v>0.42910848549946295</c:v>
                </c:pt>
                <c:pt idx="94">
                  <c:v>0.4349334875650665</c:v>
                </c:pt>
                <c:pt idx="95">
                  <c:v>0.4544324772162386</c:v>
                </c:pt>
                <c:pt idx="96">
                  <c:v>0.4530402512132458</c:v>
                </c:pt>
                <c:pt idx="97">
                  <c:v>0.45797898949474736</c:v>
                </c:pt>
                <c:pt idx="98">
                  <c:v>0.464607201309329</c:v>
                </c:pt>
                <c:pt idx="99">
                  <c:v>0.4909802586793737</c:v>
                </c:pt>
                <c:pt idx="100">
                  <c:v>0.5016856036958421</c:v>
                </c:pt>
                <c:pt idx="101">
                  <c:v>0.4772629772629773</c:v>
                </c:pt>
                <c:pt idx="102">
                  <c:v>0.446474358974359</c:v>
                </c:pt>
                <c:pt idx="103">
                  <c:v>0.4419753086419753</c:v>
                </c:pt>
                <c:pt idx="104">
                  <c:v>0.448399738732854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2.026</c:v>
                </c:pt>
                <c:pt idx="1">
                  <c:v>1260.1535</c:v>
                </c:pt>
                <c:pt idx="2">
                  <c:v>1244.2062</c:v>
                </c:pt>
                <c:pt idx="3">
                  <c:v>1295.5315</c:v>
                </c:pt>
                <c:pt idx="4">
                  <c:v>1285.0025</c:v>
                </c:pt>
                <c:pt idx="5">
                  <c:v>1287.293</c:v>
                </c:pt>
                <c:pt idx="6">
                  <c:v>1197.9279</c:v>
                </c:pt>
                <c:pt idx="7">
                  <c:v>1244.5621</c:v>
                </c:pt>
                <c:pt idx="8">
                  <c:v>1286.0</c:v>
                </c:pt>
                <c:pt idx="9">
                  <c:v>1251.6729</c:v>
                </c:pt>
                <c:pt idx="10">
                  <c:v>1278.092</c:v>
                </c:pt>
                <c:pt idx="11">
                  <c:v>1080.4059</c:v>
                </c:pt>
                <c:pt idx="12">
                  <c:v>1121.1811</c:v>
                </c:pt>
                <c:pt idx="13">
                  <c:v>1203.3331</c:v>
                </c:pt>
                <c:pt idx="14">
                  <c:v>1204.0326</c:v>
                </c:pt>
                <c:pt idx="15">
                  <c:v>1244.4924</c:v>
                </c:pt>
                <c:pt idx="16">
                  <c:v>1287.191</c:v>
                </c:pt>
                <c:pt idx="17">
                  <c:v>1270.183</c:v>
                </c:pt>
                <c:pt idx="18">
                  <c:v>1315.082</c:v>
                </c:pt>
                <c:pt idx="19">
                  <c:v>1428.7774</c:v>
                </c:pt>
                <c:pt idx="20">
                  <c:v>1414.4737</c:v>
                </c:pt>
                <c:pt idx="21">
                  <c:v>1310.2483</c:v>
                </c:pt>
                <c:pt idx="22">
                  <c:v>1160.8429</c:v>
                </c:pt>
                <c:pt idx="23">
                  <c:v>1162.5312</c:v>
                </c:pt>
                <c:pt idx="24">
                  <c:v>1186.3177</c:v>
                </c:pt>
                <c:pt idx="25">
                  <c:v>1137.0633</c:v>
                </c:pt>
                <c:pt idx="26">
                  <c:v>1268.5156</c:v>
                </c:pt>
                <c:pt idx="27">
                  <c:v>1303.941</c:v>
                </c:pt>
                <c:pt idx="28">
                  <c:v>1239.41</c:v>
                </c:pt>
                <c:pt idx="29">
                  <c:v>1240.3178</c:v>
                </c:pt>
                <c:pt idx="30">
                  <c:v>1215.5878</c:v>
                </c:pt>
                <c:pt idx="31">
                  <c:v>1151.5083</c:v>
                </c:pt>
                <c:pt idx="32">
                  <c:v>1173.3873</c:v>
                </c:pt>
                <c:pt idx="33">
                  <c:v>1239.4765</c:v>
                </c:pt>
                <c:pt idx="34">
                  <c:v>1291.2588</c:v>
                </c:pt>
                <c:pt idx="35">
                  <c:v>1257.9138</c:v>
                </c:pt>
                <c:pt idx="36">
                  <c:v>1296.737</c:v>
                </c:pt>
                <c:pt idx="37">
                  <c:v>1327.5258</c:v>
                </c:pt>
                <c:pt idx="38">
                  <c:v>1292.4523</c:v>
                </c:pt>
                <c:pt idx="39">
                  <c:v>1224.6287</c:v>
                </c:pt>
                <c:pt idx="40">
                  <c:v>1277.1341</c:v>
                </c:pt>
                <c:pt idx="41">
                  <c:v>1357.4583</c:v>
                </c:pt>
                <c:pt idx="42">
                  <c:v>1375.9393</c:v>
                </c:pt>
                <c:pt idx="43">
                  <c:v>1351.3111</c:v>
                </c:pt>
                <c:pt idx="44">
                  <c:v>1280.0774</c:v>
                </c:pt>
                <c:pt idx="45">
                  <c:v>1246.5122</c:v>
                </c:pt>
                <c:pt idx="46">
                  <c:v>1236.8443</c:v>
                </c:pt>
                <c:pt idx="47">
                  <c:v>1180.8941</c:v>
                </c:pt>
                <c:pt idx="48">
                  <c:v>1160.0199</c:v>
                </c:pt>
                <c:pt idx="49">
                  <c:v>1177.7804</c:v>
                </c:pt>
                <c:pt idx="50">
                  <c:v>1081.1422</c:v>
                </c:pt>
                <c:pt idx="51">
                  <c:v>1062.6138</c:v>
                </c:pt>
              </c:numCache>
            </c:numRef>
          </c:xVal>
          <c:yVal>
            <c:numRef>
              <c:f>Sheet1!$B$109:$B$160</c:f>
              <c:numCache>
                <c:formatCode>General</c:formatCode>
                <c:ptCount val="52"/>
                <c:pt idx="0">
                  <c:v>0.4573665893271462</c:v>
                </c:pt>
                <c:pt idx="1">
                  <c:v>0.4459375</c:v>
                </c:pt>
                <c:pt idx="2">
                  <c:v>0.45723684210526316</c:v>
                </c:pt>
                <c:pt idx="3">
                  <c:v>0.4603921568627451</c:v>
                </c:pt>
                <c:pt idx="4">
                  <c:v>0.4333511777301927</c:v>
                </c:pt>
                <c:pt idx="5">
                  <c:v>0.4441727791361043</c:v>
                </c:pt>
                <c:pt idx="6">
                  <c:v>0.45714967772738124</c:v>
                </c:pt>
                <c:pt idx="7">
                  <c:v>0.4703150912106136</c:v>
                </c:pt>
                <c:pt idx="8">
                  <c:v>0.4827197595792637</c:v>
                </c:pt>
                <c:pt idx="9">
                  <c:v>0.4890091308758877</c:v>
                </c:pt>
                <c:pt idx="10">
                  <c:v>0.5011780545270953</c:v>
                </c:pt>
                <c:pt idx="11">
                  <c:v>0.5271702367531004</c:v>
                </c:pt>
                <c:pt idx="12">
                  <c:v>0.5211674993426243</c:v>
                </c:pt>
                <c:pt idx="13">
                  <c:v>0.48755066589461493</c:v>
                </c:pt>
                <c:pt idx="14">
                  <c:v>0.4954099398543843</c:v>
                </c:pt>
                <c:pt idx="15">
                  <c:v>0.4743819419562881</c:v>
                </c:pt>
                <c:pt idx="16">
                  <c:v>0.43252595155709345</c:v>
                </c:pt>
                <c:pt idx="17">
                  <c:v>0.428246013667426</c:v>
                </c:pt>
                <c:pt idx="18">
                  <c:v>0.41756988020536223</c:v>
                </c:pt>
                <c:pt idx="19">
                  <c:v>0.4027355623100304</c:v>
                </c:pt>
                <c:pt idx="20">
                  <c:v>0.3752821670428894</c:v>
                </c:pt>
                <c:pt idx="21">
                  <c:v>0.381570408825438</c:v>
                </c:pt>
                <c:pt idx="22">
                  <c:v>0.4229607250755287</c:v>
                </c:pt>
                <c:pt idx="23">
                  <c:v>0.44291091593475534</c:v>
                </c:pt>
                <c:pt idx="24">
                  <c:v>0.4260422615648201</c:v>
                </c:pt>
                <c:pt idx="25">
                  <c:v>0.4384800965018094</c:v>
                </c:pt>
                <c:pt idx="26">
                  <c:v>0.3926605504587156</c:v>
                </c:pt>
                <c:pt idx="27">
                  <c:v>0.384828349944629</c:v>
                </c:pt>
                <c:pt idx="28">
                  <c:v>0.43157894736842106</c:v>
                </c:pt>
                <c:pt idx="29">
                  <c:v>0.44976076555023925</c:v>
                </c:pt>
                <c:pt idx="30">
                  <c:v>0.46804625684723067</c:v>
                </c:pt>
                <c:pt idx="31">
                  <c:v>0.4531784005468216</c:v>
                </c:pt>
                <c:pt idx="32">
                  <c:v>0.4645006016847172</c:v>
                </c:pt>
                <c:pt idx="33">
                  <c:v>0.49701698026617713</c:v>
                </c:pt>
                <c:pt idx="34">
                  <c:v>0.5258119658119658</c:v>
                </c:pt>
                <c:pt idx="35">
                  <c:v>0.5241788321167883</c:v>
                </c:pt>
                <c:pt idx="36">
                  <c:v>0.4798239178283199</c:v>
                </c:pt>
                <c:pt idx="37">
                  <c:v>0.4363395225464191</c:v>
                </c:pt>
                <c:pt idx="38">
                  <c:v>0.4222222222222222</c:v>
                </c:pt>
                <c:pt idx="39">
                  <c:v>0.45548961424332346</c:v>
                </c:pt>
                <c:pt idx="40">
                  <c:v>0.4292929292929293</c:v>
                </c:pt>
                <c:pt idx="41">
                  <c:v>0.4258645191852203</c:v>
                </c:pt>
                <c:pt idx="42">
                  <c:v>0.42550852116547555</c:v>
                </c:pt>
                <c:pt idx="43">
                  <c:v>0.42761225346202264</c:v>
                </c:pt>
                <c:pt idx="44">
                  <c:v>0.4296160877513711</c:v>
                </c:pt>
                <c:pt idx="45">
                  <c:v>0.4613815957175631</c:v>
                </c:pt>
                <c:pt idx="46">
                  <c:v>0.46624662466246625</c:v>
                </c:pt>
                <c:pt idx="47">
                  <c:v>0.45827779258864304</c:v>
                </c:pt>
                <c:pt idx="48">
                  <c:v>0.4549785612196284</c:v>
                </c:pt>
                <c:pt idx="49">
                  <c:v>0.47964678009907386</c:v>
                </c:pt>
                <c:pt idx="50">
                  <c:v>0.5064511555366511</c:v>
                </c:pt>
                <c:pt idx="51">
                  <c:v>0.48508794290084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0.1219569538952</c:v>
                </c:pt>
              </c:numCache>
            </c:numRef>
          </c:xVal>
          <c:yVal>
            <c:numRef>
              <c:f>Sheet1!$B$163:$B$164</c:f>
              <c:numCache>
                <c:formatCode>General</c:formatCode>
                <c:ptCount val="2"/>
                <c:pt idx="0">
                  <c:v>0.512704363576222</c:v>
                </c:pt>
                <c:pt idx="1">
                  <c:v>0.5127043635762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0.1219569538952</c:v>
                </c:pt>
                <c:pt idx="1">
                  <c:v>1010.1219569538952</c:v>
                </c:pt>
              </c:numCache>
            </c:numRef>
          </c:xVal>
          <c:yVal>
            <c:numRef>
              <c:f>Sheet1!$B$167:$B$168</c:f>
              <c:numCache>
                <c:formatCode>General</c:formatCode>
                <c:ptCount val="2"/>
                <c:pt idx="0">
                  <c:v>0.5127043635762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500342134915</c:v>
                </c:pt>
              </c:numCache>
            </c:numRef>
          </c:xVal>
          <c:yVal>
            <c:numRef>
              <c:f>Sheet1!$B$171:$B$172</c:f>
              <c:numCache>
                <c:formatCode>General</c:formatCode>
                <c:ptCount val="2"/>
                <c:pt idx="0">
                  <c:v>0.48154110993904864</c:v>
                </c:pt>
                <c:pt idx="1">
                  <c:v>0.481541109939048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500342134915</c:v>
                </c:pt>
                <c:pt idx="1">
                  <c:v>1134.500342134915</c:v>
                </c:pt>
              </c:numCache>
            </c:numRef>
          </c:xVal>
          <c:yVal>
            <c:numRef>
              <c:f>Sheet1!$B$175:$B$176</c:f>
              <c:numCache>
                <c:formatCode>General</c:formatCode>
                <c:ptCount val="2"/>
                <c:pt idx="0">
                  <c:v>0.48154110993904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43.3615292482805</c:v>
                </c:pt>
              </c:numCache>
            </c:numRef>
          </c:xVal>
          <c:yVal>
            <c:numRef>
              <c:f>Sheet1!$B$179:$B$180</c:f>
              <c:numCache>
                <c:formatCode>General</c:formatCode>
                <c:ptCount val="2"/>
                <c:pt idx="0">
                  <c:v>0.45426572137116994</c:v>
                </c:pt>
                <c:pt idx="1">
                  <c:v>0.4542657213711699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43.3615292482805</c:v>
                </c:pt>
                <c:pt idx="1">
                  <c:v>1243.3615292482805</c:v>
                </c:pt>
              </c:numCache>
            </c:numRef>
          </c:xVal>
          <c:yVal>
            <c:numRef>
              <c:f>Sheet1!$B$183:$B$184</c:f>
              <c:numCache>
                <c:formatCode>General</c:formatCode>
                <c:ptCount val="2"/>
                <c:pt idx="0">
                  <c:v>0.4542657213711699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2.026</c:v>
                </c:pt>
                <c:pt idx="1">
                  <c:v>1260.1535</c:v>
                </c:pt>
                <c:pt idx="2">
                  <c:v>1244.2062</c:v>
                </c:pt>
                <c:pt idx="3">
                  <c:v>1295.5315</c:v>
                </c:pt>
                <c:pt idx="4">
                  <c:v>1285.0025</c:v>
                </c:pt>
                <c:pt idx="5">
                  <c:v>1287.293</c:v>
                </c:pt>
                <c:pt idx="6">
                  <c:v>1197.9279</c:v>
                </c:pt>
                <c:pt idx="7">
                  <c:v>1244.5621</c:v>
                </c:pt>
                <c:pt idx="8">
                  <c:v>1286.0</c:v>
                </c:pt>
                <c:pt idx="9">
                  <c:v>1251.6729</c:v>
                </c:pt>
                <c:pt idx="10">
                  <c:v>1278.092</c:v>
                </c:pt>
                <c:pt idx="11">
                  <c:v>1080.4059</c:v>
                </c:pt>
                <c:pt idx="12">
                  <c:v>1121.1811</c:v>
                </c:pt>
                <c:pt idx="13">
                  <c:v>1203.3331</c:v>
                </c:pt>
                <c:pt idx="14">
                  <c:v>1204.0326</c:v>
                </c:pt>
                <c:pt idx="15">
                  <c:v>1244.4924</c:v>
                </c:pt>
                <c:pt idx="16">
                  <c:v>1287.191</c:v>
                </c:pt>
                <c:pt idx="17">
                  <c:v>1270.183</c:v>
                </c:pt>
                <c:pt idx="18">
                  <c:v>1315.082</c:v>
                </c:pt>
                <c:pt idx="19">
                  <c:v>1428.7774</c:v>
                </c:pt>
                <c:pt idx="20">
                  <c:v>1414.4737</c:v>
                </c:pt>
                <c:pt idx="21">
                  <c:v>1310.2483</c:v>
                </c:pt>
                <c:pt idx="22">
                  <c:v>1160.8429</c:v>
                </c:pt>
                <c:pt idx="23">
                  <c:v>1162.5312</c:v>
                </c:pt>
                <c:pt idx="24">
                  <c:v>1186.3177</c:v>
                </c:pt>
                <c:pt idx="25">
                  <c:v>1137.0633</c:v>
                </c:pt>
                <c:pt idx="26">
                  <c:v>1268.5156</c:v>
                </c:pt>
                <c:pt idx="27">
                  <c:v>1303.941</c:v>
                </c:pt>
                <c:pt idx="28">
                  <c:v>1239.41</c:v>
                </c:pt>
                <c:pt idx="29">
                  <c:v>1240.3178</c:v>
                </c:pt>
                <c:pt idx="30">
                  <c:v>1215.5878</c:v>
                </c:pt>
                <c:pt idx="31">
                  <c:v>1151.5083</c:v>
                </c:pt>
                <c:pt idx="32">
                  <c:v>1173.3873</c:v>
                </c:pt>
                <c:pt idx="33">
                  <c:v>1239.4765</c:v>
                </c:pt>
                <c:pt idx="34">
                  <c:v>1291.2588</c:v>
                </c:pt>
                <c:pt idx="35">
                  <c:v>1257.9138</c:v>
                </c:pt>
                <c:pt idx="36">
                  <c:v>1296.737</c:v>
                </c:pt>
                <c:pt idx="37">
                  <c:v>1327.5258</c:v>
                </c:pt>
                <c:pt idx="38">
                  <c:v>1292.4523</c:v>
                </c:pt>
                <c:pt idx="39">
                  <c:v>1224.6287</c:v>
                </c:pt>
                <c:pt idx="40">
                  <c:v>1277.1341</c:v>
                </c:pt>
                <c:pt idx="41">
                  <c:v>1357.4583</c:v>
                </c:pt>
                <c:pt idx="42">
                  <c:v>1375.9393</c:v>
                </c:pt>
                <c:pt idx="43">
                  <c:v>1351.3111</c:v>
                </c:pt>
                <c:pt idx="44">
                  <c:v>1280.0774</c:v>
                </c:pt>
                <c:pt idx="45">
                  <c:v>1246.5122</c:v>
                </c:pt>
                <c:pt idx="46">
                  <c:v>1236.8443</c:v>
                </c:pt>
                <c:pt idx="47">
                  <c:v>1180.8941</c:v>
                </c:pt>
                <c:pt idx="48">
                  <c:v>1160.0199</c:v>
                </c:pt>
                <c:pt idx="49">
                  <c:v>1177.7804</c:v>
                </c:pt>
                <c:pt idx="50">
                  <c:v>1081.1422</c:v>
                </c:pt>
                <c:pt idx="51">
                  <c:v>1062.6138</c:v>
                </c:pt>
                <c:pt idx="52">
                  <c:v>1134.500342134915</c:v>
                </c:pt>
                <c:pt idx="53">
                  <c:v>1010.1219569538952</c:v>
                </c:pt>
                <c:pt idx="54">
                  <c:v>1243.3615292482805</c:v>
                </c:pt>
              </c:numCache>
            </c:numRef>
          </c:xVal>
          <c:yVal>
            <c:numRef>
              <c:f>Sheet1!$B$187:$B$241</c:f>
              <c:numCache>
                <c:formatCode>General</c:formatCode>
                <c:ptCount val="55"/>
                <c:pt idx="0">
                  <c:v>0.4546003409004672</c:v>
                </c:pt>
                <c:pt idx="1">
                  <c:v>0.4500584594514865</c:v>
                </c:pt>
                <c:pt idx="2">
                  <c:v>0.4540540874217709</c:v>
                </c:pt>
                <c:pt idx="3">
                  <c:v>0.4411944306608621</c:v>
                </c:pt>
                <c:pt idx="4">
                  <c:v>0.4438324927089283</c:v>
                </c:pt>
                <c:pt idx="5">
                  <c:v>0.44325860334421224</c:v>
                </c:pt>
                <c:pt idx="6">
                  <c:v>0.46564920821947425</c:v>
                </c:pt>
                <c:pt idx="7">
                  <c:v>0.45396491596361654</c:v>
                </c:pt>
                <c:pt idx="8">
                  <c:v>0.4435825670851325</c:v>
                </c:pt>
                <c:pt idx="9">
                  <c:v>0.4521832907749578</c:v>
                </c:pt>
                <c:pt idx="10">
                  <c:v>0.4455639323312248</c:v>
                </c:pt>
                <c:pt idx="11">
                  <c:v>0.49509458081068203</c:v>
                </c:pt>
                <c:pt idx="12">
                  <c:v>0.4848782727451197</c:v>
                </c:pt>
                <c:pt idx="13">
                  <c:v>0.46429492452850574</c:v>
                </c:pt>
                <c:pt idx="14">
                  <c:v>0.46411966340184396</c:v>
                </c:pt>
                <c:pt idx="15">
                  <c:v>0.4539823794382818</c:v>
                </c:pt>
                <c:pt idx="16">
                  <c:v>0.44328415964860035</c:v>
                </c:pt>
                <c:pt idx="17">
                  <c:v>0.44754554812932107</c:v>
                </c:pt>
                <c:pt idx="18">
                  <c:v>0.4362960137104664</c:v>
                </c:pt>
                <c:pt idx="19">
                  <c:v>0.40780940341702004</c:v>
                </c:pt>
                <c:pt idx="20">
                  <c:v>0.41139322411385004</c:v>
                </c:pt>
                <c:pt idx="21">
                  <c:v>0.43750710693126016</c:v>
                </c:pt>
                <c:pt idx="22">
                  <c:v>0.47494092928059417</c:v>
                </c:pt>
                <c:pt idx="23">
                  <c:v>0.47451792233256973</c:v>
                </c:pt>
                <c:pt idx="24">
                  <c:v>0.4685581670940546</c:v>
                </c:pt>
                <c:pt idx="25">
                  <c:v>0.48089895571028296</c:v>
                </c:pt>
                <c:pt idx="26">
                  <c:v>0.44796331854046606</c:v>
                </c:pt>
                <c:pt idx="27">
                  <c:v>0.43908741358486136</c:v>
                </c:pt>
                <c:pt idx="28">
                  <c:v>0.4552557849424219</c:v>
                </c:pt>
                <c:pt idx="29">
                  <c:v>0.45502833383336744</c:v>
                </c:pt>
                <c:pt idx="30">
                  <c:v>0.4612244848874728</c:v>
                </c:pt>
                <c:pt idx="31">
                  <c:v>0.47727973201531526</c:v>
                </c:pt>
                <c:pt idx="32">
                  <c:v>0.4717979047240588</c:v>
                </c:pt>
                <c:pt idx="33">
                  <c:v>0.4552391232341689</c:v>
                </c:pt>
                <c:pt idx="34">
                  <c:v>0.4422649642075211</c:v>
                </c:pt>
                <c:pt idx="35">
                  <c:v>0.4506196207744092</c:v>
                </c:pt>
                <c:pt idx="36">
                  <c:v>0.4408923902202748</c:v>
                </c:pt>
                <c:pt idx="37">
                  <c:v>0.4331781946855139</c:v>
                </c:pt>
                <c:pt idx="38">
                  <c:v>0.4419659303909795</c:v>
                </c:pt>
                <c:pt idx="39">
                  <c:v>0.4589592692762694</c:v>
                </c:pt>
                <c:pt idx="40">
                  <c:v>0.44580393609567</c:v>
                </c:pt>
                <c:pt idx="41">
                  <c:v>0.4256785468316114</c:v>
                </c:pt>
                <c:pt idx="42">
                  <c:v>0.42104809524928544</c:v>
                </c:pt>
                <c:pt idx="43">
                  <c:v>0.4272187401094034</c:v>
                </c:pt>
                <c:pt idx="44">
                  <c:v>0.44506648638286983</c:v>
                </c:pt>
                <c:pt idx="45">
                  <c:v>0.45347631450099585</c:v>
                </c:pt>
                <c:pt idx="46">
                  <c:v>0.45589862621858523</c:v>
                </c:pt>
                <c:pt idx="47">
                  <c:v>0.4699170609418931</c:v>
                </c:pt>
                <c:pt idx="48">
                  <c:v>0.475147133579726</c:v>
                </c:pt>
                <c:pt idx="49">
                  <c:v>0.4706972047161417</c:v>
                </c:pt>
                <c:pt idx="50">
                  <c:v>0.4949100993702802</c:v>
                </c:pt>
                <c:pt idx="51">
                  <c:v>0.49955242711758646</c:v>
                </c:pt>
                <c:pt idx="52">
                  <c:v>0.48154110993904864</c:v>
                </c:pt>
                <c:pt idx="53">
                  <c:v>0.512704363576222</c:v>
                </c:pt>
                <c:pt idx="54">
                  <c:v>0.4542657213711699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5.0"/>
          <c:min val="6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55599214145382"/>
          <c:min val="0.298911002628614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64946887503298</c:v>
                </c:pt>
                <c:pt idx="1">
                  <c:v>0.6330837336626202</c:v>
                </c:pt>
                <c:pt idx="2">
                  <c:v>0.6447053442884977</c:v>
                </c:pt>
                <c:pt idx="3">
                  <c:v>0.6550136711587542</c:v>
                </c:pt>
                <c:pt idx="4">
                  <c:v>0.6483300455277946</c:v>
                </c:pt>
                <c:pt idx="5">
                  <c:v>0.6831300308350917</c:v>
                </c:pt>
                <c:pt idx="6">
                  <c:v>0.6363875974833078</c:v>
                </c:pt>
                <c:pt idx="7">
                  <c:v>0.5860211542663141</c:v>
                </c:pt>
                <c:pt idx="8">
                  <c:v>0.6061460540108967</c:v>
                </c:pt>
                <c:pt idx="9">
                  <c:v>0.6395090875577547</c:v>
                </c:pt>
                <c:pt idx="10">
                  <c:v>0.6459253095610237</c:v>
                </c:pt>
                <c:pt idx="11">
                  <c:v>0.6942066096594613</c:v>
                </c:pt>
                <c:pt idx="12">
                  <c:v>0.718858479002454</c:v>
                </c:pt>
                <c:pt idx="13">
                  <c:v>0.7448579996551864</c:v>
                </c:pt>
                <c:pt idx="14">
                  <c:v>0.7331311583471017</c:v>
                </c:pt>
                <c:pt idx="15">
                  <c:v>0.7497105143369918</c:v>
                </c:pt>
                <c:pt idx="16">
                  <c:v>0.7564689532459541</c:v>
                </c:pt>
                <c:pt idx="17">
                  <c:v>0.7764349376503012</c:v>
                </c:pt>
                <c:pt idx="18">
                  <c:v>0.8089338038701565</c:v>
                </c:pt>
                <c:pt idx="19">
                  <c:v>0.7930251766099201</c:v>
                </c:pt>
                <c:pt idx="20">
                  <c:v>0.8349697744790262</c:v>
                </c:pt>
                <c:pt idx="21">
                  <c:v>0.6849804889911192</c:v>
                </c:pt>
                <c:pt idx="22">
                  <c:v>0.6274316697573853</c:v>
                </c:pt>
                <c:pt idx="23">
                  <c:v>0.6157659552521992</c:v>
                </c:pt>
                <c:pt idx="24">
                  <c:v>0.6128347956004991</c:v>
                </c:pt>
                <c:pt idx="25">
                  <c:v>0.5844202037802497</c:v>
                </c:pt>
                <c:pt idx="26">
                  <c:v>0.5876634307371766</c:v>
                </c:pt>
                <c:pt idx="27">
                  <c:v>0.6091883341621791</c:v>
                </c:pt>
                <c:pt idx="28">
                  <c:v>0.5961468581053636</c:v>
                </c:pt>
                <c:pt idx="29">
                  <c:v>0.599264543573983</c:v>
                </c:pt>
                <c:pt idx="30">
                  <c:v>0.5658318297839782</c:v>
                </c:pt>
                <c:pt idx="31">
                  <c:v>0.5689994316162121</c:v>
                </c:pt>
                <c:pt idx="32">
                  <c:v>0.5454975711513359</c:v>
                </c:pt>
                <c:pt idx="33">
                  <c:v>0.5560575399431591</c:v>
                </c:pt>
                <c:pt idx="34">
                  <c:v>0.6030220089077287</c:v>
                </c:pt>
                <c:pt idx="35">
                  <c:v>0.6278206407691519</c:v>
                </c:pt>
                <c:pt idx="36">
                  <c:v>0.6815556924082972</c:v>
                </c:pt>
                <c:pt idx="37">
                  <c:v>0.6742343683507837</c:v>
                </c:pt>
                <c:pt idx="38">
                  <c:v>0.7262265664517611</c:v>
                </c:pt>
                <c:pt idx="39">
                  <c:v>0.7432618528248695</c:v>
                </c:pt>
                <c:pt idx="40">
                  <c:v>0.7143100243636425</c:v>
                </c:pt>
                <c:pt idx="41">
                  <c:v>0.7000676358204366</c:v>
                </c:pt>
                <c:pt idx="42">
                  <c:v>0.7121631351311545</c:v>
                </c:pt>
                <c:pt idx="43">
                  <c:v>0.7157642053747906</c:v>
                </c:pt>
                <c:pt idx="44">
                  <c:v>0.7411847226086312</c:v>
                </c:pt>
                <c:pt idx="45">
                  <c:v>0.7514592018516714</c:v>
                </c:pt>
                <c:pt idx="46">
                  <c:v>0.7293402167166649</c:v>
                </c:pt>
                <c:pt idx="47">
                  <c:v>0.7308287313488032</c:v>
                </c:pt>
                <c:pt idx="48">
                  <c:v>0.7494405015556105</c:v>
                </c:pt>
                <c:pt idx="49">
                  <c:v>0.7489431344445755</c:v>
                </c:pt>
                <c:pt idx="50">
                  <c:v>0.7153256634795122</c:v>
                </c:pt>
                <c:pt idx="51">
                  <c:v>0.7134051744198237</c:v>
                </c:pt>
                <c:pt idx="52">
                  <c:v>0.7282127838630704</c:v>
                </c:pt>
                <c:pt idx="53">
                  <c:v>0.6863624325722223</c:v>
                </c:pt>
                <c:pt idx="54">
                  <c:v>0.6621168678297529</c:v>
                </c:pt>
                <c:pt idx="55">
                  <c:v>0.6826679630125829</c:v>
                </c:pt>
                <c:pt idx="56">
                  <c:v>0.6775522794620666</c:v>
                </c:pt>
                <c:pt idx="57">
                  <c:v>0.6962804916510988</c:v>
                </c:pt>
                <c:pt idx="58">
                  <c:v>0.6570602025328981</c:v>
                </c:pt>
                <c:pt idx="59">
                  <c:v>0.6647435721824696</c:v>
                </c:pt>
                <c:pt idx="60">
                  <c:v>0.6748204284638429</c:v>
                </c:pt>
                <c:pt idx="61">
                  <c:v>0.7162952822428575</c:v>
                </c:pt>
                <c:pt idx="62">
                  <c:v>0.7122836986333904</c:v>
                </c:pt>
                <c:pt idx="63">
                  <c:v>0.7177271489918907</c:v>
                </c:pt>
                <c:pt idx="64">
                  <c:v>0.8146550436315453</c:v>
                </c:pt>
                <c:pt idx="65">
                  <c:v>0.8231069349197339</c:v>
                </c:pt>
                <c:pt idx="66">
                  <c:v>0.7877545403042377</c:v>
                </c:pt>
                <c:pt idx="67">
                  <c:v>0.8363557582715921</c:v>
                </c:pt>
                <c:pt idx="68">
                  <c:v>0.8702790896321193</c:v>
                </c:pt>
                <c:pt idx="69">
                  <c:v>0.8670359261199397</c:v>
                </c:pt>
                <c:pt idx="70">
                  <c:v>0.8593383960724204</c:v>
                </c:pt>
                <c:pt idx="71">
                  <c:v>0.7929585509374991</c:v>
                </c:pt>
                <c:pt idx="72">
                  <c:v>0.8665547629548603</c:v>
                </c:pt>
                <c:pt idx="73">
                  <c:v>0.7890865671147891</c:v>
                </c:pt>
                <c:pt idx="74">
                  <c:v>0.7746249183484425</c:v>
                </c:pt>
                <c:pt idx="75">
                  <c:v>0.7399524692748541</c:v>
                </c:pt>
                <c:pt idx="76">
                  <c:v>0.7180713894248625</c:v>
                </c:pt>
                <c:pt idx="77">
                  <c:v>0.7622253708778506</c:v>
                </c:pt>
                <c:pt idx="78">
                  <c:v>0.7702949896936985</c:v>
                </c:pt>
                <c:pt idx="79">
                  <c:v>0.7556811142636756</c:v>
                </c:pt>
                <c:pt idx="80">
                  <c:v>0.7826683089512867</c:v>
                </c:pt>
                <c:pt idx="81">
                  <c:v>0.7717531354511126</c:v>
                </c:pt>
                <c:pt idx="82">
                  <c:v>0.7421677868182801</c:v>
                </c:pt>
                <c:pt idx="83">
                  <c:v>0.7020971269993685</c:v>
                </c:pt>
                <c:pt idx="84">
                  <c:v>0.7205707996944501</c:v>
                </c:pt>
                <c:pt idx="85">
                  <c:v>0.7082663788593734</c:v>
                </c:pt>
                <c:pt idx="86">
                  <c:v>0.7411627974115766</c:v>
                </c:pt>
                <c:pt idx="87">
                  <c:v>0.7432391844123073</c:v>
                </c:pt>
                <c:pt idx="88">
                  <c:v>0.6574826637344144</c:v>
                </c:pt>
                <c:pt idx="89">
                  <c:v>0.6575163106703822</c:v>
                </c:pt>
                <c:pt idx="90">
                  <c:v>0.7312368570824405</c:v>
                </c:pt>
                <c:pt idx="91">
                  <c:v>0.7600983026943428</c:v>
                </c:pt>
                <c:pt idx="92">
                  <c:v>0.7471675503482976</c:v>
                </c:pt>
                <c:pt idx="93">
                  <c:v>0.7777492865588311</c:v>
                </c:pt>
                <c:pt idx="94">
                  <c:v>0.7659273418221274</c:v>
                </c:pt>
                <c:pt idx="95">
                  <c:v>0.7991748021313608</c:v>
                </c:pt>
                <c:pt idx="96">
                  <c:v>0.807048414831469</c:v>
                </c:pt>
                <c:pt idx="97">
                  <c:v>0.8138297801375028</c:v>
                </c:pt>
                <c:pt idx="98">
                  <c:v>0.8176549650956488</c:v>
                </c:pt>
                <c:pt idx="99">
                  <c:v>0.800445393236149</c:v>
                </c:pt>
                <c:pt idx="100">
                  <c:v>0.7914777643968133</c:v>
                </c:pt>
                <c:pt idx="101">
                  <c:v>0.7366847053633411</c:v>
                </c:pt>
                <c:pt idx="102">
                  <c:v>0.7501844999291669</c:v>
                </c:pt>
                <c:pt idx="103">
                  <c:v>0.780135391713913</c:v>
                </c:pt>
                <c:pt idx="104">
                  <c:v>0.7649628593831092</c:v>
                </c:pt>
              </c:numCache>
            </c:numRef>
          </c:xVal>
          <c:yVal>
            <c:numRef>
              <c:f>Sheet1!$B$2:$B$106</c:f>
              <c:numCache>
                <c:formatCode>General</c:formatCode>
                <c:ptCount val="105"/>
                <c:pt idx="0">
                  <c:v>0.22488252405459835</c:v>
                </c:pt>
                <c:pt idx="1">
                  <c:v>0.24555160142348753</c:v>
                </c:pt>
                <c:pt idx="2">
                  <c:v>0.2509471807443726</c:v>
                </c:pt>
                <c:pt idx="3">
                  <c:v>0.24086572026995579</c:v>
                </c:pt>
                <c:pt idx="4">
                  <c:v>0.22952677812411448</c:v>
                </c:pt>
                <c:pt idx="5">
                  <c:v>0.23972781994242345</c:v>
                </c:pt>
                <c:pt idx="6">
                  <c:v>0.28502994011976046</c:v>
                </c:pt>
                <c:pt idx="7">
                  <c:v>0.2987394957983193</c:v>
                </c:pt>
                <c:pt idx="8">
                  <c:v>0.30186823992133727</c:v>
                </c:pt>
                <c:pt idx="9">
                  <c:v>0.2639218009478673</c:v>
                </c:pt>
                <c:pt idx="10">
                  <c:v>0.26634086744043983</c:v>
                </c:pt>
                <c:pt idx="11">
                  <c:v>0.22626327647248148</c:v>
                </c:pt>
                <c:pt idx="12">
                  <c:v>0.21311475409836064</c:v>
                </c:pt>
                <c:pt idx="13">
                  <c:v>0.1916083916083916</c:v>
                </c:pt>
                <c:pt idx="14">
                  <c:v>0.18277254374158816</c:v>
                </c:pt>
                <c:pt idx="15">
                  <c:v>0.174692793091996</c:v>
                </c:pt>
                <c:pt idx="16">
                  <c:v>0.15866141732283465</c:v>
                </c:pt>
                <c:pt idx="17">
                  <c:v>0.15151515151515152</c:v>
                </c:pt>
                <c:pt idx="18">
                  <c:v>0.1418319966230477</c:v>
                </c:pt>
                <c:pt idx="19">
                  <c:v>0.1390532544378698</c:v>
                </c:pt>
                <c:pt idx="20">
                  <c:v>0.1368330464716007</c:v>
                </c:pt>
                <c:pt idx="21">
                  <c:v>0.1682600382409178</c:v>
                </c:pt>
                <c:pt idx="22">
                  <c:v>0.19413092550790068</c:v>
                </c:pt>
                <c:pt idx="23">
                  <c:v>0.1978798586572438</c:v>
                </c:pt>
                <c:pt idx="24">
                  <c:v>0.2233659289758106</c:v>
                </c:pt>
                <c:pt idx="25">
                  <c:v>0.22608695652173913</c:v>
                </c:pt>
                <c:pt idx="26">
                  <c:v>0.24731182795698925</c:v>
                </c:pt>
                <c:pt idx="27">
                  <c:v>0.2411282984531392</c:v>
                </c:pt>
                <c:pt idx="28">
                  <c:v>0.24978429680759276</c:v>
                </c:pt>
                <c:pt idx="29">
                  <c:v>0.23611635814129203</c:v>
                </c:pt>
                <c:pt idx="30">
                  <c:v>0.2481827622014538</c:v>
                </c:pt>
                <c:pt idx="31">
                  <c:v>0.2623645784267546</c:v>
                </c:pt>
                <c:pt idx="32">
                  <c:v>0.26955307262569833</c:v>
                </c:pt>
                <c:pt idx="33">
                  <c:v>0.2673815288827395</c:v>
                </c:pt>
                <c:pt idx="34">
                  <c:v>0.2511430437622469</c:v>
                </c:pt>
                <c:pt idx="35">
                  <c:v>0.24653148345784417</c:v>
                </c:pt>
                <c:pt idx="36">
                  <c:v>0.22285464098073554</c:v>
                </c:pt>
                <c:pt idx="37">
                  <c:v>0.21818996415770608</c:v>
                </c:pt>
                <c:pt idx="38">
                  <c:v>0.21212121212121213</c:v>
                </c:pt>
                <c:pt idx="39">
                  <c:v>0.191869918699187</c:v>
                </c:pt>
                <c:pt idx="40">
                  <c:v>0.20207427233188358</c:v>
                </c:pt>
                <c:pt idx="41">
                  <c:v>0.19456478928712093</c:v>
                </c:pt>
                <c:pt idx="42">
                  <c:v>0.19506172839506172</c:v>
                </c:pt>
                <c:pt idx="43">
                  <c:v>0.193205317577548</c:v>
                </c:pt>
                <c:pt idx="44">
                  <c:v>0.19493087557603686</c:v>
                </c:pt>
                <c:pt idx="45">
                  <c:v>0.19699759240900722</c:v>
                </c:pt>
                <c:pt idx="46">
                  <c:v>0.21148232241323386</c:v>
                </c:pt>
                <c:pt idx="47">
                  <c:v>0.21009933774834438</c:v>
                </c:pt>
                <c:pt idx="48">
                  <c:v>0.20361152911216576</c:v>
                </c:pt>
                <c:pt idx="49">
                  <c:v>0.2160007248346471</c:v>
                </c:pt>
                <c:pt idx="50">
                  <c:v>0.21899791231732776</c:v>
                </c:pt>
                <c:pt idx="51">
                  <c:v>0.21113924050632912</c:v>
                </c:pt>
                <c:pt idx="52">
                  <c:v>0.21407567143697315</c:v>
                </c:pt>
                <c:pt idx="53">
                  <c:v>0.20894023103967854</c:v>
                </c:pt>
                <c:pt idx="54">
                  <c:v>0.20167564332734889</c:v>
                </c:pt>
                <c:pt idx="55">
                  <c:v>0.2043139604553625</c:v>
                </c:pt>
                <c:pt idx="56">
                  <c:v>0.19907407407407407</c:v>
                </c:pt>
                <c:pt idx="57">
                  <c:v>0.19453106260494124</c:v>
                </c:pt>
                <c:pt idx="58">
                  <c:v>0.2269321344465853</c:v>
                </c:pt>
                <c:pt idx="59">
                  <c:v>0.22564102564102564</c:v>
                </c:pt>
                <c:pt idx="60">
                  <c:v>0.2108644859813084</c:v>
                </c:pt>
                <c:pt idx="61">
                  <c:v>0.21758003255561584</c:v>
                </c:pt>
                <c:pt idx="62">
                  <c:v>0.24066390041493776</c:v>
                </c:pt>
                <c:pt idx="63">
                  <c:v>0.25859247135842883</c:v>
                </c:pt>
                <c:pt idx="64">
                  <c:v>0.21868158598881052</c:v>
                </c:pt>
                <c:pt idx="65">
                  <c:v>0.20125621565035332</c:v>
                </c:pt>
                <c:pt idx="66">
                  <c:v>0.21462765957446808</c:v>
                </c:pt>
                <c:pt idx="67">
                  <c:v>0.19342105263157894</c:v>
                </c:pt>
                <c:pt idx="68">
                  <c:v>0.1723433242506812</c:v>
                </c:pt>
                <c:pt idx="69">
                  <c:v>0.1640519946212461</c:v>
                </c:pt>
                <c:pt idx="70">
                  <c:v>0.16360153256704982</c:v>
                </c:pt>
                <c:pt idx="71">
                  <c:v>0.16745791972378074</c:v>
                </c:pt>
                <c:pt idx="72">
                  <c:v>0.1756701030927835</c:v>
                </c:pt>
                <c:pt idx="73">
                  <c:v>0.18726275832981865</c:v>
                </c:pt>
                <c:pt idx="74">
                  <c:v>0.19971056439942114</c:v>
                </c:pt>
                <c:pt idx="75">
                  <c:v>0.20474406991260924</c:v>
                </c:pt>
                <c:pt idx="76">
                  <c:v>0.20463137996219283</c:v>
                </c:pt>
                <c:pt idx="77">
                  <c:v>0.19665683382497542</c:v>
                </c:pt>
                <c:pt idx="78">
                  <c:v>0.20352564102564102</c:v>
                </c:pt>
                <c:pt idx="79">
                  <c:v>0.17194183062446536</c:v>
                </c:pt>
                <c:pt idx="80">
                  <c:v>0.16707317073170733</c:v>
                </c:pt>
                <c:pt idx="81">
                  <c:v>0.16963015647226173</c:v>
                </c:pt>
                <c:pt idx="82">
                  <c:v>0.1854043392504931</c:v>
                </c:pt>
                <c:pt idx="83">
                  <c:v>0.18274687854710556</c:v>
                </c:pt>
                <c:pt idx="84">
                  <c:v>0.18171493469619535</c:v>
                </c:pt>
                <c:pt idx="85">
                  <c:v>0.19408054342552158</c:v>
                </c:pt>
                <c:pt idx="86">
                  <c:v>0.2127008416220352</c:v>
                </c:pt>
                <c:pt idx="87">
                  <c:v>0.20189274447949526</c:v>
                </c:pt>
                <c:pt idx="88">
                  <c:v>0.2026504693539481</c:v>
                </c:pt>
                <c:pt idx="89">
                  <c:v>0.2238069116840373</c:v>
                </c:pt>
                <c:pt idx="90">
                  <c:v>0.19037546271813854</c:v>
                </c:pt>
                <c:pt idx="91">
                  <c:v>0.1761006289308176</c:v>
                </c:pt>
                <c:pt idx="92">
                  <c:v>0.18492586490939045</c:v>
                </c:pt>
                <c:pt idx="93">
                  <c:v>0.18620689655172415</c:v>
                </c:pt>
                <c:pt idx="94">
                  <c:v>0.176253081347576</c:v>
                </c:pt>
                <c:pt idx="95">
                  <c:v>0.17799939558779088</c:v>
                </c:pt>
                <c:pt idx="96">
                  <c:v>0.1876750700280112</c:v>
                </c:pt>
                <c:pt idx="97">
                  <c:v>0.1955694482196249</c:v>
                </c:pt>
                <c:pt idx="98">
                  <c:v>0.19588799192734613</c:v>
                </c:pt>
                <c:pt idx="99">
                  <c:v>0.20316052751250568</c:v>
                </c:pt>
                <c:pt idx="100">
                  <c:v>0.2082603769698218</c:v>
                </c:pt>
                <c:pt idx="101">
                  <c:v>0.21141374837872892</c:v>
                </c:pt>
                <c:pt idx="102">
                  <c:v>0.20416984490211035</c:v>
                </c:pt>
                <c:pt idx="103">
                  <c:v>0.19626168224299065</c:v>
                </c:pt>
                <c:pt idx="104">
                  <c:v>0.19724319002297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03253922474185</c:v>
                </c:pt>
                <c:pt idx="1">
                  <c:v>0.6999880910182158</c:v>
                </c:pt>
                <c:pt idx="2">
                  <c:v>0.709742176777802</c:v>
                </c:pt>
                <c:pt idx="3">
                  <c:v>0.6833728844422441</c:v>
                </c:pt>
                <c:pt idx="4">
                  <c:v>0.7080715909983007</c:v>
                </c:pt>
                <c:pt idx="5">
                  <c:v>0.7078924243460691</c:v>
                </c:pt>
                <c:pt idx="6">
                  <c:v>0.7136564227645155</c:v>
                </c:pt>
                <c:pt idx="7">
                  <c:v>0.6938318571279319</c:v>
                </c:pt>
                <c:pt idx="8">
                  <c:v>0.7025362351261565</c:v>
                </c:pt>
                <c:pt idx="9">
                  <c:v>0.6934352534571977</c:v>
                </c:pt>
                <c:pt idx="10">
                  <c:v>0.7002950016124666</c:v>
                </c:pt>
                <c:pt idx="11">
                  <c:v>0.6738168689374782</c:v>
                </c:pt>
                <c:pt idx="12">
                  <c:v>0.6743910354191913</c:v>
                </c:pt>
                <c:pt idx="13">
                  <c:v>0.6719962880625963</c:v>
                </c:pt>
                <c:pt idx="14">
                  <c:v>0.6378128531222647</c:v>
                </c:pt>
                <c:pt idx="15">
                  <c:v>0.6540340131103489</c:v>
                </c:pt>
                <c:pt idx="16">
                  <c:v>0.6693628566699228</c:v>
                </c:pt>
                <c:pt idx="17">
                  <c:v>0.6519314708900348</c:v>
                </c:pt>
                <c:pt idx="18">
                  <c:v>0.6113946236501007</c:v>
                </c:pt>
                <c:pt idx="19">
                  <c:v>0.648357177183838</c:v>
                </c:pt>
                <c:pt idx="20">
                  <c:v>0.6548608570934701</c:v>
                </c:pt>
                <c:pt idx="21">
                  <c:v>0.586840957349649</c:v>
                </c:pt>
                <c:pt idx="22">
                  <c:v>0.6006333257614118</c:v>
                </c:pt>
                <c:pt idx="23">
                  <c:v>0.6601575154153504</c:v>
                </c:pt>
                <c:pt idx="24">
                  <c:v>0.6552272682311482</c:v>
                </c:pt>
                <c:pt idx="25">
                  <c:v>0.6994171910718311</c:v>
                </c:pt>
                <c:pt idx="26">
                  <c:v>0.6496333147523381</c:v>
                </c:pt>
                <c:pt idx="27">
                  <c:v>0.6865295033237877</c:v>
                </c:pt>
                <c:pt idx="28">
                  <c:v>0.6965727615592467</c:v>
                </c:pt>
                <c:pt idx="29">
                  <c:v>0.6577447601784658</c:v>
                </c:pt>
                <c:pt idx="30">
                  <c:v>0.6545285177026928</c:v>
                </c:pt>
                <c:pt idx="31">
                  <c:v>0.6933192844671486</c:v>
                </c:pt>
                <c:pt idx="32">
                  <c:v>0.6954114371342733</c:v>
                </c:pt>
                <c:pt idx="33">
                  <c:v>0.6928443806224245</c:v>
                </c:pt>
                <c:pt idx="34">
                  <c:v>0.7097586920649617</c:v>
                </c:pt>
                <c:pt idx="35">
                  <c:v>0.6775268224987844</c:v>
                </c:pt>
                <c:pt idx="36">
                  <c:v>0.6540389340271143</c:v>
                </c:pt>
                <c:pt idx="37">
                  <c:v>0.6584162331057819</c:v>
                </c:pt>
                <c:pt idx="38">
                  <c:v>0.6567480079440817</c:v>
                </c:pt>
                <c:pt idx="39">
                  <c:v>0.6945478699421627</c:v>
                </c:pt>
                <c:pt idx="40">
                  <c:v>0.6951413217602034</c:v>
                </c:pt>
                <c:pt idx="41">
                  <c:v>0.7123062730101225</c:v>
                </c:pt>
                <c:pt idx="42">
                  <c:v>0.6831878001007478</c:v>
                </c:pt>
                <c:pt idx="43">
                  <c:v>0.7749965393093383</c:v>
                </c:pt>
                <c:pt idx="44">
                  <c:v>0.8303471765333624</c:v>
                </c:pt>
                <c:pt idx="45">
                  <c:v>0.8192051784428561</c:v>
                </c:pt>
                <c:pt idx="46">
                  <c:v>0.7728138822904469</c:v>
                </c:pt>
                <c:pt idx="47">
                  <c:v>0.7794414047053105</c:v>
                </c:pt>
                <c:pt idx="48">
                  <c:v>0.8536170737824492</c:v>
                </c:pt>
                <c:pt idx="49">
                  <c:v>0.8806695719551942</c:v>
                </c:pt>
                <c:pt idx="50">
                  <c:v>0.8351600448240518</c:v>
                </c:pt>
                <c:pt idx="51">
                  <c:v>0.8035284221637744</c:v>
                </c:pt>
              </c:numCache>
            </c:numRef>
          </c:xVal>
          <c:yVal>
            <c:numRef>
              <c:f>Sheet1!$B$109:$B$160</c:f>
              <c:numCache>
                <c:formatCode>General</c:formatCode>
                <c:ptCount val="52"/>
                <c:pt idx="0">
                  <c:v>0.19562243502051985</c:v>
                </c:pt>
                <c:pt idx="1">
                  <c:v>0.2102728731942215</c:v>
                </c:pt>
                <c:pt idx="2">
                  <c:v>0.21708103130755063</c:v>
                </c:pt>
                <c:pt idx="3">
                  <c:v>0.23735886107020127</c:v>
                </c:pt>
                <c:pt idx="4">
                  <c:v>0.21292039680619404</c:v>
                </c:pt>
                <c:pt idx="5">
                  <c:v>0.22138660399529964</c:v>
                </c:pt>
                <c:pt idx="6">
                  <c:v>0.2595886603668705</c:v>
                </c:pt>
                <c:pt idx="7">
                  <c:v>0.2535750766087845</c:v>
                </c:pt>
                <c:pt idx="8">
                  <c:v>0.239918533604888</c:v>
                </c:pt>
                <c:pt idx="9">
                  <c:v>0.24322370798698953</c:v>
                </c:pt>
                <c:pt idx="10">
                  <c:v>0.23978494623655913</c:v>
                </c:pt>
                <c:pt idx="11">
                  <c:v>0.24065477644759345</c:v>
                </c:pt>
                <c:pt idx="12">
                  <c:v>0.24311618535930155</c:v>
                </c:pt>
                <c:pt idx="13">
                  <c:v>0.2456958393113343</c:v>
                </c:pt>
                <c:pt idx="14">
                  <c:v>0.2586989409984871</c:v>
                </c:pt>
                <c:pt idx="15">
                  <c:v>0.23709677419354838</c:v>
                </c:pt>
                <c:pt idx="16">
                  <c:v>0.2401500938086304</c:v>
                </c:pt>
                <c:pt idx="17">
                  <c:v>0.24231298760899495</c:v>
                </c:pt>
                <c:pt idx="18">
                  <c:v>0.2628841607565012</c:v>
                </c:pt>
                <c:pt idx="19">
                  <c:v>0.2320855614973262</c:v>
                </c:pt>
                <c:pt idx="20">
                  <c:v>0.2066590126291619</c:v>
                </c:pt>
                <c:pt idx="21">
                  <c:v>0.23783783783783785</c:v>
                </c:pt>
                <c:pt idx="22">
                  <c:v>0.22919937205651492</c:v>
                </c:pt>
                <c:pt idx="23">
                  <c:v>0.22598425196850394</c:v>
                </c:pt>
                <c:pt idx="24">
                  <c:v>0.22123331214240305</c:v>
                </c:pt>
                <c:pt idx="25">
                  <c:v>0.21335168616655195</c:v>
                </c:pt>
                <c:pt idx="26">
                  <c:v>0.21609907120743035</c:v>
                </c:pt>
                <c:pt idx="27">
                  <c:v>0.2153267512929008</c:v>
                </c:pt>
                <c:pt idx="28">
                  <c:v>0.225713104588673</c:v>
                </c:pt>
                <c:pt idx="29">
                  <c:v>0.2239782016348774</c:v>
                </c:pt>
                <c:pt idx="30">
                  <c:v>0.22114347357065803</c:v>
                </c:pt>
                <c:pt idx="31">
                  <c:v>0.19781854238968766</c:v>
                </c:pt>
                <c:pt idx="32">
                  <c:v>0.20322847682119205</c:v>
                </c:pt>
                <c:pt idx="33">
                  <c:v>0.21653819201121233</c:v>
                </c:pt>
                <c:pt idx="34">
                  <c:v>0.22461131326496858</c:v>
                </c:pt>
                <c:pt idx="35">
                  <c:v>0.2224903474903475</c:v>
                </c:pt>
                <c:pt idx="36">
                  <c:v>0.20960415314730693</c:v>
                </c:pt>
                <c:pt idx="37">
                  <c:v>0.2163265306122449</c:v>
                </c:pt>
                <c:pt idx="38">
                  <c:v>0.21320093457943926</c:v>
                </c:pt>
                <c:pt idx="39">
                  <c:v>0.21608040201005024</c:v>
                </c:pt>
                <c:pt idx="40">
                  <c:v>0.19398148148148148</c:v>
                </c:pt>
                <c:pt idx="41">
                  <c:v>0.20509442248572685</c:v>
                </c:pt>
                <c:pt idx="42">
                  <c:v>0.21099476439790577</c:v>
                </c:pt>
                <c:pt idx="43">
                  <c:v>0.19639764461378595</c:v>
                </c:pt>
                <c:pt idx="44">
                  <c:v>0.18049940546967896</c:v>
                </c:pt>
                <c:pt idx="45">
                  <c:v>0.19410954185325524</c:v>
                </c:pt>
                <c:pt idx="46">
                  <c:v>0.2222699914015477</c:v>
                </c:pt>
                <c:pt idx="47">
                  <c:v>0.22492594159966145</c:v>
                </c:pt>
                <c:pt idx="48">
                  <c:v>0.21024258760107817</c:v>
                </c:pt>
                <c:pt idx="49">
                  <c:v>0.22300613496932514</c:v>
                </c:pt>
                <c:pt idx="50">
                  <c:v>0.22176100628930817</c:v>
                </c:pt>
                <c:pt idx="51">
                  <c:v>0.217288055093801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1602430938799284</c:v>
                </c:pt>
              </c:numCache>
            </c:numRef>
          </c:xVal>
          <c:yVal>
            <c:numRef>
              <c:f>Sheet1!$B$163:$B$164</c:f>
              <c:numCache>
                <c:formatCode>General</c:formatCode>
                <c:ptCount val="2"/>
                <c:pt idx="0">
                  <c:v>0.2574599222664855</c:v>
                </c:pt>
                <c:pt idx="1">
                  <c:v>0.25745992226648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1602430938799284</c:v>
                </c:pt>
                <c:pt idx="1">
                  <c:v>0.41602430938799284</c:v>
                </c:pt>
              </c:numCache>
            </c:numRef>
          </c:xVal>
          <c:yVal>
            <c:numRef>
              <c:f>Sheet1!$B$167:$B$168</c:f>
              <c:numCache>
                <c:formatCode>General</c:formatCode>
                <c:ptCount val="2"/>
                <c:pt idx="0">
                  <c:v>0.25745992226648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533060659274402</c:v>
                </c:pt>
              </c:numCache>
            </c:numRef>
          </c:xVal>
          <c:yVal>
            <c:numRef>
              <c:f>Sheet1!$B$171:$B$172</c:f>
              <c:numCache>
                <c:formatCode>General</c:formatCode>
                <c:ptCount val="2"/>
                <c:pt idx="0">
                  <c:v>0.24078467882094354</c:v>
                </c:pt>
                <c:pt idx="1">
                  <c:v>0.2407846788209435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533060659274402</c:v>
                </c:pt>
                <c:pt idx="1">
                  <c:v>0.5533060659274402</c:v>
                </c:pt>
              </c:numCache>
            </c:numRef>
          </c:xVal>
          <c:yVal>
            <c:numRef>
              <c:f>Sheet1!$B$175:$B$176</c:f>
              <c:numCache>
                <c:formatCode>General</c:formatCode>
                <c:ptCount val="2"/>
                <c:pt idx="0">
                  <c:v>0.240784678820943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151995750622972</c:v>
                </c:pt>
              </c:numCache>
            </c:numRef>
          </c:xVal>
          <c:yVal>
            <c:numRef>
              <c:f>Sheet1!$B$179:$B$180</c:f>
              <c:numCache>
                <c:formatCode>General</c:formatCode>
                <c:ptCount val="2"/>
                <c:pt idx="0">
                  <c:v>0.20897318302050824</c:v>
                </c:pt>
                <c:pt idx="1">
                  <c:v>0.208973183020508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151995750622972</c:v>
                </c:pt>
                <c:pt idx="1">
                  <c:v>0.8151995750622972</c:v>
                </c:pt>
              </c:numCache>
            </c:numRef>
          </c:xVal>
          <c:yVal>
            <c:numRef>
              <c:f>Sheet1!$B$183:$B$184</c:f>
              <c:numCache>
                <c:formatCode>General</c:formatCode>
                <c:ptCount val="2"/>
                <c:pt idx="0">
                  <c:v>0.208973183020508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03253922474185</c:v>
                </c:pt>
                <c:pt idx="1">
                  <c:v>0.6999880910182158</c:v>
                </c:pt>
                <c:pt idx="2">
                  <c:v>0.709742176777802</c:v>
                </c:pt>
                <c:pt idx="3">
                  <c:v>0.6833728844422441</c:v>
                </c:pt>
                <c:pt idx="4">
                  <c:v>0.7080715909983007</c:v>
                </c:pt>
                <c:pt idx="5">
                  <c:v>0.7078924243460691</c:v>
                </c:pt>
                <c:pt idx="6">
                  <c:v>0.7136564227645155</c:v>
                </c:pt>
                <c:pt idx="7">
                  <c:v>0.6938318571279319</c:v>
                </c:pt>
                <c:pt idx="8">
                  <c:v>0.7025362351261565</c:v>
                </c:pt>
                <c:pt idx="9">
                  <c:v>0.6934352534571977</c:v>
                </c:pt>
                <c:pt idx="10">
                  <c:v>0.7002950016124666</c:v>
                </c:pt>
                <c:pt idx="11">
                  <c:v>0.6738168689374782</c:v>
                </c:pt>
                <c:pt idx="12">
                  <c:v>0.6743910354191913</c:v>
                </c:pt>
                <c:pt idx="13">
                  <c:v>0.6719962880625963</c:v>
                </c:pt>
                <c:pt idx="14">
                  <c:v>0.6378128531222647</c:v>
                </c:pt>
                <c:pt idx="15">
                  <c:v>0.6540340131103489</c:v>
                </c:pt>
                <c:pt idx="16">
                  <c:v>0.6693628566699228</c:v>
                </c:pt>
                <c:pt idx="17">
                  <c:v>0.6519314708900348</c:v>
                </c:pt>
                <c:pt idx="18">
                  <c:v>0.6113946236501007</c:v>
                </c:pt>
                <c:pt idx="19">
                  <c:v>0.648357177183838</c:v>
                </c:pt>
                <c:pt idx="20">
                  <c:v>0.6548608570934701</c:v>
                </c:pt>
                <c:pt idx="21">
                  <c:v>0.586840957349649</c:v>
                </c:pt>
                <c:pt idx="22">
                  <c:v>0.6006333257614118</c:v>
                </c:pt>
                <c:pt idx="23">
                  <c:v>0.6601575154153504</c:v>
                </c:pt>
                <c:pt idx="24">
                  <c:v>0.6552272682311482</c:v>
                </c:pt>
                <c:pt idx="25">
                  <c:v>0.6994171910718311</c:v>
                </c:pt>
                <c:pt idx="26">
                  <c:v>0.6496333147523381</c:v>
                </c:pt>
                <c:pt idx="27">
                  <c:v>0.6865295033237877</c:v>
                </c:pt>
                <c:pt idx="28">
                  <c:v>0.6965727615592467</c:v>
                </c:pt>
                <c:pt idx="29">
                  <c:v>0.6577447601784658</c:v>
                </c:pt>
                <c:pt idx="30">
                  <c:v>0.6545285177026928</c:v>
                </c:pt>
                <c:pt idx="31">
                  <c:v>0.6933192844671486</c:v>
                </c:pt>
                <c:pt idx="32">
                  <c:v>0.6954114371342733</c:v>
                </c:pt>
                <c:pt idx="33">
                  <c:v>0.6928443806224245</c:v>
                </c:pt>
                <c:pt idx="34">
                  <c:v>0.7097586920649617</c:v>
                </c:pt>
                <c:pt idx="35">
                  <c:v>0.6775268224987844</c:v>
                </c:pt>
                <c:pt idx="36">
                  <c:v>0.6540389340271143</c:v>
                </c:pt>
                <c:pt idx="37">
                  <c:v>0.6584162331057819</c:v>
                </c:pt>
                <c:pt idx="38">
                  <c:v>0.6567480079440817</c:v>
                </c:pt>
                <c:pt idx="39">
                  <c:v>0.6945478699421627</c:v>
                </c:pt>
                <c:pt idx="40">
                  <c:v>0.6951413217602034</c:v>
                </c:pt>
                <c:pt idx="41">
                  <c:v>0.7123062730101225</c:v>
                </c:pt>
                <c:pt idx="42">
                  <c:v>0.6831878001007478</c:v>
                </c:pt>
                <c:pt idx="43">
                  <c:v>0.7749965393093383</c:v>
                </c:pt>
                <c:pt idx="44">
                  <c:v>0.8303471765333624</c:v>
                </c:pt>
                <c:pt idx="45">
                  <c:v>0.8192051784428561</c:v>
                </c:pt>
                <c:pt idx="46">
                  <c:v>0.7728138822904469</c:v>
                </c:pt>
                <c:pt idx="47">
                  <c:v>0.7794414047053105</c:v>
                </c:pt>
                <c:pt idx="48">
                  <c:v>0.8536170737824492</c:v>
                </c:pt>
                <c:pt idx="49">
                  <c:v>0.8806695719551942</c:v>
                </c:pt>
                <c:pt idx="50">
                  <c:v>0.8351600448240518</c:v>
                </c:pt>
                <c:pt idx="51">
                  <c:v>0.8035284221637744</c:v>
                </c:pt>
                <c:pt idx="52">
                  <c:v>0.5533060659274402</c:v>
                </c:pt>
                <c:pt idx="53">
                  <c:v>0.41602430938799284</c:v>
                </c:pt>
                <c:pt idx="54">
                  <c:v>0.8151995750622972</c:v>
                </c:pt>
              </c:numCache>
            </c:numRef>
          </c:xVal>
          <c:yVal>
            <c:numRef>
              <c:f>Sheet1!$B$187:$B$241</c:f>
              <c:numCache>
                <c:formatCode>General</c:formatCode>
                <c:ptCount val="55"/>
                <c:pt idx="0">
                  <c:v>0.2168532744400688</c:v>
                </c:pt>
                <c:pt idx="1">
                  <c:v>0.2229676101941232</c:v>
                </c:pt>
                <c:pt idx="2">
                  <c:v>0.22178280779408208</c:v>
                </c:pt>
                <c:pt idx="3">
                  <c:v>0.2249858143716949</c:v>
                </c:pt>
                <c:pt idx="4">
                  <c:v>0.2219857293276643</c:v>
                </c:pt>
                <c:pt idx="5">
                  <c:v>0.22200749221603777</c:v>
                </c:pt>
                <c:pt idx="6">
                  <c:v>0.22130735492707693</c:v>
                </c:pt>
                <c:pt idx="7">
                  <c:v>0.22371539126435358</c:v>
                </c:pt>
                <c:pt idx="8">
                  <c:v>0.22265809402529396</c:v>
                </c:pt>
                <c:pt idx="9">
                  <c:v>0.22376356563892164</c:v>
                </c:pt>
                <c:pt idx="10">
                  <c:v>0.22293033059482203</c:v>
                </c:pt>
                <c:pt idx="11">
                  <c:v>0.2261465577139143</c:v>
                </c:pt>
                <c:pt idx="12">
                  <c:v>0.22607681526522933</c:v>
                </c:pt>
                <c:pt idx="13">
                  <c:v>0.22636769874580537</c:v>
                </c:pt>
                <c:pt idx="14">
                  <c:v>0.23051986807845143</c:v>
                </c:pt>
                <c:pt idx="15">
                  <c:v>0.2285495276735145</c:v>
                </c:pt>
                <c:pt idx="16">
                  <c:v>0.22668757453030078</c:v>
                </c:pt>
                <c:pt idx="17">
                  <c:v>0.2288049177869721</c:v>
                </c:pt>
                <c:pt idx="18">
                  <c:v>0.23372881891761077</c:v>
                </c:pt>
                <c:pt idx="19">
                  <c:v>0.22923907757046505</c:v>
                </c:pt>
                <c:pt idx="20">
                  <c:v>0.22844909317254664</c:v>
                </c:pt>
                <c:pt idx="21">
                  <c:v>0.23671128631431093</c:v>
                </c:pt>
                <c:pt idx="22">
                  <c:v>0.2350359646491874</c:v>
                </c:pt>
                <c:pt idx="23">
                  <c:v>0.22780572242036784</c:v>
                </c:pt>
                <c:pt idx="24">
                  <c:v>0.22840458620325982</c:v>
                </c:pt>
                <c:pt idx="25">
                  <c:v>0.22303695586560196</c:v>
                </c:pt>
                <c:pt idx="26">
                  <c:v>0.22908406859359035</c:v>
                </c:pt>
                <c:pt idx="27">
                  <c:v>0.2246023884188123</c:v>
                </c:pt>
                <c:pt idx="28">
                  <c:v>0.22338246102070533</c:v>
                </c:pt>
                <c:pt idx="29">
                  <c:v>0.22809879326942853</c:v>
                </c:pt>
                <c:pt idx="30">
                  <c:v>0.22848946153894473</c:v>
                </c:pt>
                <c:pt idx="31">
                  <c:v>0.22377765207829964</c:v>
                </c:pt>
                <c:pt idx="32">
                  <c:v>0.22352352395575104</c:v>
                </c:pt>
                <c:pt idx="33">
                  <c:v>0.22383533736310096</c:v>
                </c:pt>
                <c:pt idx="34">
                  <c:v>0.2217808017268456</c:v>
                </c:pt>
                <c:pt idx="35">
                  <c:v>0.22569591969495317</c:v>
                </c:pt>
                <c:pt idx="36">
                  <c:v>0.2285489299430723</c:v>
                </c:pt>
                <c:pt idx="37">
                  <c:v>0.2280172312701335</c:v>
                </c:pt>
                <c:pt idx="38">
                  <c:v>0.22821986606585992</c:v>
                </c:pt>
                <c:pt idx="39">
                  <c:v>0.22362841912553197</c:v>
                </c:pt>
                <c:pt idx="40">
                  <c:v>0.2235563341392346</c:v>
                </c:pt>
                <c:pt idx="41">
                  <c:v>0.22147135396387518</c:v>
                </c:pt>
                <c:pt idx="42">
                  <c:v>0.22500829606576855</c:v>
                </c:pt>
                <c:pt idx="43">
                  <c:v>0.21385653697320758</c:v>
                </c:pt>
                <c:pt idx="44">
                  <c:v>0.20713324486329593</c:v>
                </c:pt>
                <c:pt idx="45">
                  <c:v>0.20848663321811034</c:v>
                </c:pt>
                <c:pt idx="46">
                  <c:v>0.2141216584144362</c:v>
                </c:pt>
                <c:pt idx="47">
                  <c:v>0.2133166312025584</c:v>
                </c:pt>
                <c:pt idx="48">
                  <c:v>0.2043067134190412</c:v>
                </c:pt>
                <c:pt idx="49">
                  <c:v>0.20102071967732377</c:v>
                </c:pt>
                <c:pt idx="50">
                  <c:v>0.20654863877694013</c:v>
                </c:pt>
                <c:pt idx="51">
                  <c:v>0.2103908463778174</c:v>
                </c:pt>
                <c:pt idx="52">
                  <c:v>0.24078467882094354</c:v>
                </c:pt>
                <c:pt idx="53">
                  <c:v>0.2574599222664855</c:v>
                </c:pt>
                <c:pt idx="54">
                  <c:v>0.208973183020508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2418879056047"/>
          <c:min val="0.109466437177280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5781</c:v>
                </c:pt>
                <c:pt idx="1">
                  <c:v>919.5621</c:v>
                </c:pt>
                <c:pt idx="2">
                  <c:v>974.3428</c:v>
                </c:pt>
                <c:pt idx="3">
                  <c:v>979.3469</c:v>
                </c:pt>
                <c:pt idx="4">
                  <c:v>978.2383</c:v>
                </c:pt>
                <c:pt idx="5">
                  <c:v>968.7413</c:v>
                </c:pt>
                <c:pt idx="6">
                  <c:v>902.0462</c:v>
                </c:pt>
                <c:pt idx="7">
                  <c:v>909.0056</c:v>
                </c:pt>
                <c:pt idx="8">
                  <c:v>925.4544</c:v>
                </c:pt>
                <c:pt idx="9">
                  <c:v>873.6184</c:v>
                </c:pt>
                <c:pt idx="10">
                  <c:v>864.2947</c:v>
                </c:pt>
                <c:pt idx="11">
                  <c:v>949.1081</c:v>
                </c:pt>
                <c:pt idx="12">
                  <c:v>965.0348</c:v>
                </c:pt>
                <c:pt idx="13">
                  <c:v>987.6321</c:v>
                </c:pt>
                <c:pt idx="14">
                  <c:v>993.4153</c:v>
                </c:pt>
                <c:pt idx="15">
                  <c:v>1012.4183</c:v>
                </c:pt>
                <c:pt idx="16">
                  <c:v>1033.9429</c:v>
                </c:pt>
                <c:pt idx="17">
                  <c:v>1067.5565</c:v>
                </c:pt>
                <c:pt idx="18">
                  <c:v>1113.8631</c:v>
                </c:pt>
                <c:pt idx="19">
                  <c:v>1111.273</c:v>
                </c:pt>
                <c:pt idx="20">
                  <c:v>1156.5755</c:v>
                </c:pt>
                <c:pt idx="21">
                  <c:v>1178.8182</c:v>
                </c:pt>
                <c:pt idx="22">
                  <c:v>1106.75</c:v>
                </c:pt>
                <c:pt idx="23">
                  <c:v>1090.6845</c:v>
                </c:pt>
                <c:pt idx="24">
                  <c:v>1099.7788</c:v>
                </c:pt>
                <c:pt idx="25">
                  <c:v>1064.7</c:v>
                </c:pt>
                <c:pt idx="26">
                  <c:v>1040.8613</c:v>
                </c:pt>
                <c:pt idx="27">
                  <c:v>1062.7868</c:v>
                </c:pt>
                <c:pt idx="28">
                  <c:v>1058.1658</c:v>
                </c:pt>
                <c:pt idx="29">
                  <c:v>1041.128</c:v>
                </c:pt>
                <c:pt idx="30">
                  <c:v>1017.5983</c:v>
                </c:pt>
                <c:pt idx="31">
                  <c:v>1034.219</c:v>
                </c:pt>
                <c:pt idx="32">
                  <c:v>1005.6287</c:v>
                </c:pt>
                <c:pt idx="33">
                  <c:v>983.8266</c:v>
                </c:pt>
                <c:pt idx="34">
                  <c:v>1000.3511</c:v>
                </c:pt>
                <c:pt idx="35">
                  <c:v>1020.0519</c:v>
                </c:pt>
                <c:pt idx="36">
                  <c:v>1153.9705</c:v>
                </c:pt>
                <c:pt idx="37">
                  <c:v>1153.2731</c:v>
                </c:pt>
                <c:pt idx="38">
                  <c:v>1206.5839</c:v>
                </c:pt>
                <c:pt idx="39">
                  <c:v>1208.447</c:v>
                </c:pt>
                <c:pt idx="40">
                  <c:v>1213.5298</c:v>
                </c:pt>
                <c:pt idx="41">
                  <c:v>1250.4494</c:v>
                </c:pt>
                <c:pt idx="42">
                  <c:v>1257.1709</c:v>
                </c:pt>
                <c:pt idx="43">
                  <c:v>1270.3119</c:v>
                </c:pt>
                <c:pt idx="44">
                  <c:v>1190.0433</c:v>
                </c:pt>
                <c:pt idx="45">
                  <c:v>1155.537</c:v>
                </c:pt>
                <c:pt idx="46">
                  <c:v>1128.0851</c:v>
                </c:pt>
                <c:pt idx="47">
                  <c:v>1101.7124</c:v>
                </c:pt>
                <c:pt idx="48">
                  <c:v>1125.6708</c:v>
                </c:pt>
                <c:pt idx="49">
                  <c:v>1089.1883</c:v>
                </c:pt>
                <c:pt idx="50">
                  <c:v>1101.1935</c:v>
                </c:pt>
                <c:pt idx="51">
                  <c:v>1099.0815</c:v>
                </c:pt>
                <c:pt idx="52">
                  <c:v>1104.1337</c:v>
                </c:pt>
                <c:pt idx="53">
                  <c:v>1185.6887</c:v>
                </c:pt>
                <c:pt idx="54">
                  <c:v>1165.319</c:v>
                </c:pt>
                <c:pt idx="55">
                  <c:v>1189.2947</c:v>
                </c:pt>
                <c:pt idx="56">
                  <c:v>1217.5233</c:v>
                </c:pt>
                <c:pt idx="57">
                  <c:v>1199.8742</c:v>
                </c:pt>
                <c:pt idx="58">
                  <c:v>1128.8245</c:v>
                </c:pt>
                <c:pt idx="59">
                  <c:v>1128.3148</c:v>
                </c:pt>
                <c:pt idx="60">
                  <c:v>1176.4349</c:v>
                </c:pt>
                <c:pt idx="61">
                  <c:v>1206.0586</c:v>
                </c:pt>
                <c:pt idx="62">
                  <c:v>1082.7146</c:v>
                </c:pt>
                <c:pt idx="63">
                  <c:v>1132.4159</c:v>
                </c:pt>
                <c:pt idx="64">
                  <c:v>1172.4605</c:v>
                </c:pt>
                <c:pt idx="65">
                  <c:v>1163.6671</c:v>
                </c:pt>
                <c:pt idx="66">
                  <c:v>1135.0496</c:v>
                </c:pt>
                <c:pt idx="67">
                  <c:v>1198.668</c:v>
                </c:pt>
                <c:pt idx="68">
                  <c:v>1269.4822</c:v>
                </c:pt>
                <c:pt idx="69">
                  <c:v>1317.3443</c:v>
                </c:pt>
                <c:pt idx="70">
                  <c:v>1298.37</c:v>
                </c:pt>
                <c:pt idx="71">
                  <c:v>1367.2139</c:v>
                </c:pt>
                <c:pt idx="72">
                  <c:v>1427.2254</c:v>
                </c:pt>
                <c:pt idx="73">
                  <c:v>1373.5158</c:v>
                </c:pt>
                <c:pt idx="74">
                  <c:v>1352.3659</c:v>
                </c:pt>
                <c:pt idx="75">
                  <c:v>1306.7053</c:v>
                </c:pt>
                <c:pt idx="76">
                  <c:v>1268.2979</c:v>
                </c:pt>
                <c:pt idx="77">
                  <c:v>1329.4475</c:v>
                </c:pt>
                <c:pt idx="78">
                  <c:v>1357.8425</c:v>
                </c:pt>
                <c:pt idx="79">
                  <c:v>1343.1393</c:v>
                </c:pt>
                <c:pt idx="80">
                  <c:v>1323.983</c:v>
                </c:pt>
                <c:pt idx="81">
                  <c:v>1274.434</c:v>
                </c:pt>
                <c:pt idx="82">
                  <c:v>1272.1596</c:v>
                </c:pt>
                <c:pt idx="83">
                  <c:v>1240.0186</c:v>
                </c:pt>
                <c:pt idx="84">
                  <c:v>1251.6781</c:v>
                </c:pt>
                <c:pt idx="85">
                  <c:v>1226.7775</c:v>
                </c:pt>
                <c:pt idx="86">
                  <c:v>1227.1511</c:v>
                </c:pt>
                <c:pt idx="87">
                  <c:v>1239.9961</c:v>
                </c:pt>
                <c:pt idx="88">
                  <c:v>1259.0054</c:v>
                </c:pt>
                <c:pt idx="89">
                  <c:v>1265.7475</c:v>
                </c:pt>
                <c:pt idx="90">
                  <c:v>1385.3</c:v>
                </c:pt>
                <c:pt idx="91">
                  <c:v>1419.2649</c:v>
                </c:pt>
                <c:pt idx="92">
                  <c:v>1327.588</c:v>
                </c:pt>
                <c:pt idx="93">
                  <c:v>1375.5088</c:v>
                </c:pt>
                <c:pt idx="94">
                  <c:v>1383.2261</c:v>
                </c:pt>
                <c:pt idx="95">
                  <c:v>1347.2309</c:v>
                </c:pt>
                <c:pt idx="96">
                  <c:v>1272.1371</c:v>
                </c:pt>
                <c:pt idx="97">
                  <c:v>1219.9979</c:v>
                </c:pt>
                <c:pt idx="98">
                  <c:v>1195.7006</c:v>
                </c:pt>
                <c:pt idx="99">
                  <c:v>1151.3721</c:v>
                </c:pt>
                <c:pt idx="100">
                  <c:v>1171.7522</c:v>
                </c:pt>
                <c:pt idx="101">
                  <c:v>1179.9378</c:v>
                </c:pt>
                <c:pt idx="102">
                  <c:v>1213.7136</c:v>
                </c:pt>
                <c:pt idx="103">
                  <c:v>1225.2102</c:v>
                </c:pt>
                <c:pt idx="104">
                  <c:v>1296.193</c:v>
                </c:pt>
              </c:numCache>
            </c:numRef>
          </c:xVal>
          <c:yVal>
            <c:numRef>
              <c:f>Sheet1!$B$2:$B$106</c:f>
              <c:numCache>
                <c:formatCode>General</c:formatCode>
                <c:ptCount val="105"/>
                <c:pt idx="0">
                  <c:v>0.22488252405459835</c:v>
                </c:pt>
                <c:pt idx="1">
                  <c:v>0.24555160142348753</c:v>
                </c:pt>
                <c:pt idx="2">
                  <c:v>0.2509471807443726</c:v>
                </c:pt>
                <c:pt idx="3">
                  <c:v>0.24086572026995579</c:v>
                </c:pt>
                <c:pt idx="4">
                  <c:v>0.22952677812411448</c:v>
                </c:pt>
                <c:pt idx="5">
                  <c:v>0.23972781994242345</c:v>
                </c:pt>
                <c:pt idx="6">
                  <c:v>0.28502994011976046</c:v>
                </c:pt>
                <c:pt idx="7">
                  <c:v>0.2987394957983193</c:v>
                </c:pt>
                <c:pt idx="8">
                  <c:v>0.30186823992133727</c:v>
                </c:pt>
                <c:pt idx="9">
                  <c:v>0.2639218009478673</c:v>
                </c:pt>
                <c:pt idx="10">
                  <c:v>0.26634086744043983</c:v>
                </c:pt>
                <c:pt idx="11">
                  <c:v>0.22626327647248148</c:v>
                </c:pt>
                <c:pt idx="12">
                  <c:v>0.21311475409836064</c:v>
                </c:pt>
                <c:pt idx="13">
                  <c:v>0.1916083916083916</c:v>
                </c:pt>
                <c:pt idx="14">
                  <c:v>0.18277254374158816</c:v>
                </c:pt>
                <c:pt idx="15">
                  <c:v>0.174692793091996</c:v>
                </c:pt>
                <c:pt idx="16">
                  <c:v>0.15866141732283465</c:v>
                </c:pt>
                <c:pt idx="17">
                  <c:v>0.15151515151515152</c:v>
                </c:pt>
                <c:pt idx="18">
                  <c:v>0.1418319966230477</c:v>
                </c:pt>
                <c:pt idx="19">
                  <c:v>0.1390532544378698</c:v>
                </c:pt>
                <c:pt idx="20">
                  <c:v>0.1368330464716007</c:v>
                </c:pt>
                <c:pt idx="21">
                  <c:v>0.1682600382409178</c:v>
                </c:pt>
                <c:pt idx="22">
                  <c:v>0.19413092550790068</c:v>
                </c:pt>
                <c:pt idx="23">
                  <c:v>0.1978798586572438</c:v>
                </c:pt>
                <c:pt idx="24">
                  <c:v>0.2233659289758106</c:v>
                </c:pt>
                <c:pt idx="25">
                  <c:v>0.22608695652173913</c:v>
                </c:pt>
                <c:pt idx="26">
                  <c:v>0.24731182795698925</c:v>
                </c:pt>
                <c:pt idx="27">
                  <c:v>0.2411282984531392</c:v>
                </c:pt>
                <c:pt idx="28">
                  <c:v>0.24978429680759276</c:v>
                </c:pt>
                <c:pt idx="29">
                  <c:v>0.23611635814129203</c:v>
                </c:pt>
                <c:pt idx="30">
                  <c:v>0.2481827622014538</c:v>
                </c:pt>
                <c:pt idx="31">
                  <c:v>0.2623645784267546</c:v>
                </c:pt>
                <c:pt idx="32">
                  <c:v>0.26955307262569833</c:v>
                </c:pt>
                <c:pt idx="33">
                  <c:v>0.2673815288827395</c:v>
                </c:pt>
                <c:pt idx="34">
                  <c:v>0.2511430437622469</c:v>
                </c:pt>
                <c:pt idx="35">
                  <c:v>0.24653148345784417</c:v>
                </c:pt>
                <c:pt idx="36">
                  <c:v>0.22285464098073554</c:v>
                </c:pt>
                <c:pt idx="37">
                  <c:v>0.21818996415770608</c:v>
                </c:pt>
                <c:pt idx="38">
                  <c:v>0.21212121212121213</c:v>
                </c:pt>
                <c:pt idx="39">
                  <c:v>0.191869918699187</c:v>
                </c:pt>
                <c:pt idx="40">
                  <c:v>0.20207427233188358</c:v>
                </c:pt>
                <c:pt idx="41">
                  <c:v>0.19456478928712093</c:v>
                </c:pt>
                <c:pt idx="42">
                  <c:v>0.19506172839506172</c:v>
                </c:pt>
                <c:pt idx="43">
                  <c:v>0.193205317577548</c:v>
                </c:pt>
                <c:pt idx="44">
                  <c:v>0.19493087557603686</c:v>
                </c:pt>
                <c:pt idx="45">
                  <c:v>0.19699759240900722</c:v>
                </c:pt>
                <c:pt idx="46">
                  <c:v>0.21148232241323386</c:v>
                </c:pt>
                <c:pt idx="47">
                  <c:v>0.21009933774834438</c:v>
                </c:pt>
                <c:pt idx="48">
                  <c:v>0.20361152911216576</c:v>
                </c:pt>
                <c:pt idx="49">
                  <c:v>0.2160007248346471</c:v>
                </c:pt>
                <c:pt idx="50">
                  <c:v>0.21899791231732776</c:v>
                </c:pt>
                <c:pt idx="51">
                  <c:v>0.21113924050632912</c:v>
                </c:pt>
                <c:pt idx="52">
                  <c:v>0.21407567143697315</c:v>
                </c:pt>
                <c:pt idx="53">
                  <c:v>0.20894023103967854</c:v>
                </c:pt>
                <c:pt idx="54">
                  <c:v>0.20167564332734889</c:v>
                </c:pt>
                <c:pt idx="55">
                  <c:v>0.2043139604553625</c:v>
                </c:pt>
                <c:pt idx="56">
                  <c:v>0.19907407407407407</c:v>
                </c:pt>
                <c:pt idx="57">
                  <c:v>0.19453106260494124</c:v>
                </c:pt>
                <c:pt idx="58">
                  <c:v>0.2269321344465853</c:v>
                </c:pt>
                <c:pt idx="59">
                  <c:v>0.22564102564102564</c:v>
                </c:pt>
                <c:pt idx="60">
                  <c:v>0.2108644859813084</c:v>
                </c:pt>
                <c:pt idx="61">
                  <c:v>0.21758003255561584</c:v>
                </c:pt>
                <c:pt idx="62">
                  <c:v>0.24066390041493776</c:v>
                </c:pt>
                <c:pt idx="63">
                  <c:v>0.25859247135842883</c:v>
                </c:pt>
                <c:pt idx="64">
                  <c:v>0.21868158598881052</c:v>
                </c:pt>
                <c:pt idx="65">
                  <c:v>0.20125621565035332</c:v>
                </c:pt>
                <c:pt idx="66">
                  <c:v>0.21462765957446808</c:v>
                </c:pt>
                <c:pt idx="67">
                  <c:v>0.19342105263157894</c:v>
                </c:pt>
                <c:pt idx="68">
                  <c:v>0.1723433242506812</c:v>
                </c:pt>
                <c:pt idx="69">
                  <c:v>0.1640519946212461</c:v>
                </c:pt>
                <c:pt idx="70">
                  <c:v>0.16360153256704982</c:v>
                </c:pt>
                <c:pt idx="71">
                  <c:v>0.16745791972378074</c:v>
                </c:pt>
                <c:pt idx="72">
                  <c:v>0.1756701030927835</c:v>
                </c:pt>
                <c:pt idx="73">
                  <c:v>0.18726275832981865</c:v>
                </c:pt>
                <c:pt idx="74">
                  <c:v>0.19971056439942114</c:v>
                </c:pt>
                <c:pt idx="75">
                  <c:v>0.20474406991260924</c:v>
                </c:pt>
                <c:pt idx="76">
                  <c:v>0.20463137996219283</c:v>
                </c:pt>
                <c:pt idx="77">
                  <c:v>0.19665683382497542</c:v>
                </c:pt>
                <c:pt idx="78">
                  <c:v>0.20352564102564102</c:v>
                </c:pt>
                <c:pt idx="79">
                  <c:v>0.17194183062446536</c:v>
                </c:pt>
                <c:pt idx="80">
                  <c:v>0.16707317073170733</c:v>
                </c:pt>
                <c:pt idx="81">
                  <c:v>0.16963015647226173</c:v>
                </c:pt>
                <c:pt idx="82">
                  <c:v>0.1854043392504931</c:v>
                </c:pt>
                <c:pt idx="83">
                  <c:v>0.18274687854710556</c:v>
                </c:pt>
                <c:pt idx="84">
                  <c:v>0.18171493469619535</c:v>
                </c:pt>
                <c:pt idx="85">
                  <c:v>0.19408054342552158</c:v>
                </c:pt>
                <c:pt idx="86">
                  <c:v>0.2127008416220352</c:v>
                </c:pt>
                <c:pt idx="87">
                  <c:v>0.20189274447949526</c:v>
                </c:pt>
                <c:pt idx="88">
                  <c:v>0.2026504693539481</c:v>
                </c:pt>
                <c:pt idx="89">
                  <c:v>0.2238069116840373</c:v>
                </c:pt>
                <c:pt idx="90">
                  <c:v>0.19037546271813854</c:v>
                </c:pt>
                <c:pt idx="91">
                  <c:v>0.1761006289308176</c:v>
                </c:pt>
                <c:pt idx="92">
                  <c:v>0.18492586490939045</c:v>
                </c:pt>
                <c:pt idx="93">
                  <c:v>0.18620689655172415</c:v>
                </c:pt>
                <c:pt idx="94">
                  <c:v>0.176253081347576</c:v>
                </c:pt>
                <c:pt idx="95">
                  <c:v>0.17799939558779088</c:v>
                </c:pt>
                <c:pt idx="96">
                  <c:v>0.1876750700280112</c:v>
                </c:pt>
                <c:pt idx="97">
                  <c:v>0.1955694482196249</c:v>
                </c:pt>
                <c:pt idx="98">
                  <c:v>0.19588799192734613</c:v>
                </c:pt>
                <c:pt idx="99">
                  <c:v>0.20316052751250568</c:v>
                </c:pt>
                <c:pt idx="100">
                  <c:v>0.2082603769698218</c:v>
                </c:pt>
                <c:pt idx="101">
                  <c:v>0.21141374837872892</c:v>
                </c:pt>
                <c:pt idx="102">
                  <c:v>0.20416984490211035</c:v>
                </c:pt>
                <c:pt idx="103">
                  <c:v>0.19626168224299065</c:v>
                </c:pt>
                <c:pt idx="104">
                  <c:v>0.19724319002297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3.9385</c:v>
                </c:pt>
                <c:pt idx="1">
                  <c:v>1300.173</c:v>
                </c:pt>
                <c:pt idx="2">
                  <c:v>1296.5695</c:v>
                </c:pt>
                <c:pt idx="3">
                  <c:v>1281.6122</c:v>
                </c:pt>
                <c:pt idx="4">
                  <c:v>1330.3727</c:v>
                </c:pt>
                <c:pt idx="5">
                  <c:v>1278.035</c:v>
                </c:pt>
                <c:pt idx="6">
                  <c:v>1128.5874</c:v>
                </c:pt>
                <c:pt idx="7">
                  <c:v>1142.9164</c:v>
                </c:pt>
                <c:pt idx="8">
                  <c:v>1216.9287</c:v>
                </c:pt>
                <c:pt idx="9">
                  <c:v>1161.7385</c:v>
                </c:pt>
                <c:pt idx="10">
                  <c:v>1189.3318</c:v>
                </c:pt>
                <c:pt idx="11">
                  <c:v>1023.802</c:v>
                </c:pt>
                <c:pt idx="12">
                  <c:v>1099.5262</c:v>
                </c:pt>
                <c:pt idx="13">
                  <c:v>1180.7927</c:v>
                </c:pt>
                <c:pt idx="14">
                  <c:v>1117.0278</c:v>
                </c:pt>
                <c:pt idx="15">
                  <c:v>1169.1582</c:v>
                </c:pt>
                <c:pt idx="16">
                  <c:v>1194.1426</c:v>
                </c:pt>
                <c:pt idx="17">
                  <c:v>1169.4659</c:v>
                </c:pt>
                <c:pt idx="18">
                  <c:v>1029.0935</c:v>
                </c:pt>
                <c:pt idx="19">
                  <c:v>1227.7097</c:v>
                </c:pt>
                <c:pt idx="20">
                  <c:v>1337.3444</c:v>
                </c:pt>
                <c:pt idx="21">
                  <c:v>1197.0714</c:v>
                </c:pt>
                <c:pt idx="22">
                  <c:v>1243.0034</c:v>
                </c:pt>
                <c:pt idx="23">
                  <c:v>1277.7387</c:v>
                </c:pt>
                <c:pt idx="24">
                  <c:v>1255.2787</c:v>
                </c:pt>
                <c:pt idx="25">
                  <c:v>1221.9452</c:v>
                </c:pt>
                <c:pt idx="26">
                  <c:v>1214.0057</c:v>
                </c:pt>
                <c:pt idx="27">
                  <c:v>1221.4148</c:v>
                </c:pt>
                <c:pt idx="28">
                  <c:v>1231.5513</c:v>
                </c:pt>
                <c:pt idx="29">
                  <c:v>1250.8905</c:v>
                </c:pt>
                <c:pt idx="30">
                  <c:v>1240.9341</c:v>
                </c:pt>
                <c:pt idx="31">
                  <c:v>1263.3083</c:v>
                </c:pt>
                <c:pt idx="32">
                  <c:v>1260.7454</c:v>
                </c:pt>
                <c:pt idx="33">
                  <c:v>1231.9256</c:v>
                </c:pt>
                <c:pt idx="34">
                  <c:v>1243.1075</c:v>
                </c:pt>
                <c:pt idx="35">
                  <c:v>1280.6009</c:v>
                </c:pt>
                <c:pt idx="36">
                  <c:v>1380.4892</c:v>
                </c:pt>
                <c:pt idx="37">
                  <c:v>1383.6442</c:v>
                </c:pt>
                <c:pt idx="38">
                  <c:v>1360.1753</c:v>
                </c:pt>
                <c:pt idx="39">
                  <c:v>1317.0846</c:v>
                </c:pt>
                <c:pt idx="40">
                  <c:v>1323.1623</c:v>
                </c:pt>
                <c:pt idx="41">
                  <c:v>1373.9722</c:v>
                </c:pt>
                <c:pt idx="42">
                  <c:v>1356.3697</c:v>
                </c:pt>
                <c:pt idx="43">
                  <c:v>1386.7654</c:v>
                </c:pt>
                <c:pt idx="44">
                  <c:v>1292.8748</c:v>
                </c:pt>
                <c:pt idx="45">
                  <c:v>1229.1393</c:v>
                </c:pt>
                <c:pt idx="46">
                  <c:v>1197.6238</c:v>
                </c:pt>
                <c:pt idx="47">
                  <c:v>1175.7441</c:v>
                </c:pt>
                <c:pt idx="48">
                  <c:v>1187.1478</c:v>
                </c:pt>
                <c:pt idx="49">
                  <c:v>1207.4938</c:v>
                </c:pt>
                <c:pt idx="50">
                  <c:v>1163.3052</c:v>
                </c:pt>
                <c:pt idx="51">
                  <c:v>1122.3366</c:v>
                </c:pt>
              </c:numCache>
            </c:numRef>
          </c:xVal>
          <c:yVal>
            <c:numRef>
              <c:f>Sheet1!$B$109:$B$160</c:f>
              <c:numCache>
                <c:formatCode>General</c:formatCode>
                <c:ptCount val="52"/>
                <c:pt idx="0">
                  <c:v>0.19562243502051985</c:v>
                </c:pt>
                <c:pt idx="1">
                  <c:v>0.2102728731942215</c:v>
                </c:pt>
                <c:pt idx="2">
                  <c:v>0.21708103130755063</c:v>
                </c:pt>
                <c:pt idx="3">
                  <c:v>0.23735886107020127</c:v>
                </c:pt>
                <c:pt idx="4">
                  <c:v>0.21292039680619404</c:v>
                </c:pt>
                <c:pt idx="5">
                  <c:v>0.22138660399529964</c:v>
                </c:pt>
                <c:pt idx="6">
                  <c:v>0.2595886603668705</c:v>
                </c:pt>
                <c:pt idx="7">
                  <c:v>0.2535750766087845</c:v>
                </c:pt>
                <c:pt idx="8">
                  <c:v>0.239918533604888</c:v>
                </c:pt>
                <c:pt idx="9">
                  <c:v>0.24322370798698953</c:v>
                </c:pt>
                <c:pt idx="10">
                  <c:v>0.23978494623655913</c:v>
                </c:pt>
                <c:pt idx="11">
                  <c:v>0.24065477644759345</c:v>
                </c:pt>
                <c:pt idx="12">
                  <c:v>0.24311618535930155</c:v>
                </c:pt>
                <c:pt idx="13">
                  <c:v>0.2456958393113343</c:v>
                </c:pt>
                <c:pt idx="14">
                  <c:v>0.2586989409984871</c:v>
                </c:pt>
                <c:pt idx="15">
                  <c:v>0.23709677419354838</c:v>
                </c:pt>
                <c:pt idx="16">
                  <c:v>0.2401500938086304</c:v>
                </c:pt>
                <c:pt idx="17">
                  <c:v>0.24231298760899495</c:v>
                </c:pt>
                <c:pt idx="18">
                  <c:v>0.2628841607565012</c:v>
                </c:pt>
                <c:pt idx="19">
                  <c:v>0.2320855614973262</c:v>
                </c:pt>
                <c:pt idx="20">
                  <c:v>0.2066590126291619</c:v>
                </c:pt>
                <c:pt idx="21">
                  <c:v>0.23783783783783785</c:v>
                </c:pt>
                <c:pt idx="22">
                  <c:v>0.22919937205651492</c:v>
                </c:pt>
                <c:pt idx="23">
                  <c:v>0.22598425196850394</c:v>
                </c:pt>
                <c:pt idx="24">
                  <c:v>0.22123331214240305</c:v>
                </c:pt>
                <c:pt idx="25">
                  <c:v>0.21335168616655195</c:v>
                </c:pt>
                <c:pt idx="26">
                  <c:v>0.21609907120743035</c:v>
                </c:pt>
                <c:pt idx="27">
                  <c:v>0.2153267512929008</c:v>
                </c:pt>
                <c:pt idx="28">
                  <c:v>0.225713104588673</c:v>
                </c:pt>
                <c:pt idx="29">
                  <c:v>0.2239782016348774</c:v>
                </c:pt>
                <c:pt idx="30">
                  <c:v>0.22114347357065803</c:v>
                </c:pt>
                <c:pt idx="31">
                  <c:v>0.19781854238968766</c:v>
                </c:pt>
                <c:pt idx="32">
                  <c:v>0.20322847682119205</c:v>
                </c:pt>
                <c:pt idx="33">
                  <c:v>0.21653819201121233</c:v>
                </c:pt>
                <c:pt idx="34">
                  <c:v>0.22461131326496858</c:v>
                </c:pt>
                <c:pt idx="35">
                  <c:v>0.2224903474903475</c:v>
                </c:pt>
                <c:pt idx="36">
                  <c:v>0.20960415314730693</c:v>
                </c:pt>
                <c:pt idx="37">
                  <c:v>0.2163265306122449</c:v>
                </c:pt>
                <c:pt idx="38">
                  <c:v>0.21320093457943926</c:v>
                </c:pt>
                <c:pt idx="39">
                  <c:v>0.21608040201005024</c:v>
                </c:pt>
                <c:pt idx="40">
                  <c:v>0.19398148148148148</c:v>
                </c:pt>
                <c:pt idx="41">
                  <c:v>0.20509442248572685</c:v>
                </c:pt>
                <c:pt idx="42">
                  <c:v>0.21099476439790577</c:v>
                </c:pt>
                <c:pt idx="43">
                  <c:v>0.19639764461378595</c:v>
                </c:pt>
                <c:pt idx="44">
                  <c:v>0.18049940546967896</c:v>
                </c:pt>
                <c:pt idx="45">
                  <c:v>0.19410954185325524</c:v>
                </c:pt>
                <c:pt idx="46">
                  <c:v>0.2222699914015477</c:v>
                </c:pt>
                <c:pt idx="47">
                  <c:v>0.22492594159966145</c:v>
                </c:pt>
                <c:pt idx="48">
                  <c:v>0.21024258760107817</c:v>
                </c:pt>
                <c:pt idx="49">
                  <c:v>0.22300613496932514</c:v>
                </c:pt>
                <c:pt idx="50">
                  <c:v>0.22176100628930817</c:v>
                </c:pt>
                <c:pt idx="51">
                  <c:v>0.217288055093801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7.5414445251085</c:v>
                </c:pt>
              </c:numCache>
            </c:numRef>
          </c:xVal>
          <c:yVal>
            <c:numRef>
              <c:f>Sheet1!$B$163:$B$164</c:f>
              <c:numCache>
                <c:formatCode>General</c:formatCode>
                <c:ptCount val="2"/>
                <c:pt idx="0">
                  <c:v>0.2574599222664855</c:v>
                </c:pt>
                <c:pt idx="1">
                  <c:v>0.25745992226648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7.5414445251085</c:v>
                </c:pt>
                <c:pt idx="1">
                  <c:v>1007.5414445251085</c:v>
                </c:pt>
              </c:numCache>
            </c:numRef>
          </c:xVal>
          <c:yVal>
            <c:numRef>
              <c:f>Sheet1!$B$167:$B$168</c:f>
              <c:numCache>
                <c:formatCode>General</c:formatCode>
                <c:ptCount val="2"/>
                <c:pt idx="0">
                  <c:v>0.25745992226648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7.908987268695</c:v>
                </c:pt>
              </c:numCache>
            </c:numRef>
          </c:xVal>
          <c:yVal>
            <c:numRef>
              <c:f>Sheet1!$B$171:$B$172</c:f>
              <c:numCache>
                <c:formatCode>General</c:formatCode>
                <c:ptCount val="2"/>
                <c:pt idx="0">
                  <c:v>0.24078467882094354</c:v>
                </c:pt>
                <c:pt idx="1">
                  <c:v>0.2407846788209435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7.908987268695</c:v>
                </c:pt>
                <c:pt idx="1">
                  <c:v>1117.908987268695</c:v>
                </c:pt>
              </c:numCache>
            </c:numRef>
          </c:xVal>
          <c:yVal>
            <c:numRef>
              <c:f>Sheet1!$B$175:$B$176</c:f>
              <c:numCache>
                <c:formatCode>General</c:formatCode>
                <c:ptCount val="2"/>
                <c:pt idx="0">
                  <c:v>0.240784678820943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8.4580346608993</c:v>
                </c:pt>
              </c:numCache>
            </c:numRef>
          </c:xVal>
          <c:yVal>
            <c:numRef>
              <c:f>Sheet1!$B$179:$B$180</c:f>
              <c:numCache>
                <c:formatCode>General</c:formatCode>
                <c:ptCount val="2"/>
                <c:pt idx="0">
                  <c:v>0.20897318302050824</c:v>
                </c:pt>
                <c:pt idx="1">
                  <c:v>0.208973183020508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8.4580346608993</c:v>
                </c:pt>
                <c:pt idx="1">
                  <c:v>1328.4580346608993</c:v>
                </c:pt>
              </c:numCache>
            </c:numRef>
          </c:xVal>
          <c:yVal>
            <c:numRef>
              <c:f>Sheet1!$B$183:$B$184</c:f>
              <c:numCache>
                <c:formatCode>General</c:formatCode>
                <c:ptCount val="2"/>
                <c:pt idx="0">
                  <c:v>0.208973183020508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3.9385</c:v>
                </c:pt>
                <c:pt idx="1">
                  <c:v>1300.173</c:v>
                </c:pt>
                <c:pt idx="2">
                  <c:v>1296.5695</c:v>
                </c:pt>
                <c:pt idx="3">
                  <c:v>1281.6122</c:v>
                </c:pt>
                <c:pt idx="4">
                  <c:v>1330.3727</c:v>
                </c:pt>
                <c:pt idx="5">
                  <c:v>1278.035</c:v>
                </c:pt>
                <c:pt idx="6">
                  <c:v>1128.5874</c:v>
                </c:pt>
                <c:pt idx="7">
                  <c:v>1142.9164</c:v>
                </c:pt>
                <c:pt idx="8">
                  <c:v>1216.9287</c:v>
                </c:pt>
                <c:pt idx="9">
                  <c:v>1161.7385</c:v>
                </c:pt>
                <c:pt idx="10">
                  <c:v>1189.3318</c:v>
                </c:pt>
                <c:pt idx="11">
                  <c:v>1023.802</c:v>
                </c:pt>
                <c:pt idx="12">
                  <c:v>1099.5262</c:v>
                </c:pt>
                <c:pt idx="13">
                  <c:v>1180.7927</c:v>
                </c:pt>
                <c:pt idx="14">
                  <c:v>1117.0278</c:v>
                </c:pt>
                <c:pt idx="15">
                  <c:v>1169.1582</c:v>
                </c:pt>
                <c:pt idx="16">
                  <c:v>1194.1426</c:v>
                </c:pt>
                <c:pt idx="17">
                  <c:v>1169.4659</c:v>
                </c:pt>
                <c:pt idx="18">
                  <c:v>1029.0935</c:v>
                </c:pt>
                <c:pt idx="19">
                  <c:v>1227.7097</c:v>
                </c:pt>
                <c:pt idx="20">
                  <c:v>1337.3444</c:v>
                </c:pt>
                <c:pt idx="21">
                  <c:v>1197.0714</c:v>
                </c:pt>
                <c:pt idx="22">
                  <c:v>1243.0034</c:v>
                </c:pt>
                <c:pt idx="23">
                  <c:v>1277.7387</c:v>
                </c:pt>
                <c:pt idx="24">
                  <c:v>1255.2787</c:v>
                </c:pt>
                <c:pt idx="25">
                  <c:v>1221.9452</c:v>
                </c:pt>
                <c:pt idx="26">
                  <c:v>1214.0057</c:v>
                </c:pt>
                <c:pt idx="27">
                  <c:v>1221.4148</c:v>
                </c:pt>
                <c:pt idx="28">
                  <c:v>1231.5513</c:v>
                </c:pt>
                <c:pt idx="29">
                  <c:v>1250.8905</c:v>
                </c:pt>
                <c:pt idx="30">
                  <c:v>1240.9341</c:v>
                </c:pt>
                <c:pt idx="31">
                  <c:v>1263.3083</c:v>
                </c:pt>
                <c:pt idx="32">
                  <c:v>1260.7454</c:v>
                </c:pt>
                <c:pt idx="33">
                  <c:v>1231.9256</c:v>
                </c:pt>
                <c:pt idx="34">
                  <c:v>1243.1075</c:v>
                </c:pt>
                <c:pt idx="35">
                  <c:v>1280.6009</c:v>
                </c:pt>
                <c:pt idx="36">
                  <c:v>1380.4892</c:v>
                </c:pt>
                <c:pt idx="37">
                  <c:v>1383.6442</c:v>
                </c:pt>
                <c:pt idx="38">
                  <c:v>1360.1753</c:v>
                </c:pt>
                <c:pt idx="39">
                  <c:v>1317.0846</c:v>
                </c:pt>
                <c:pt idx="40">
                  <c:v>1323.1623</c:v>
                </c:pt>
                <c:pt idx="41">
                  <c:v>1373.9722</c:v>
                </c:pt>
                <c:pt idx="42">
                  <c:v>1356.3697</c:v>
                </c:pt>
                <c:pt idx="43">
                  <c:v>1386.7654</c:v>
                </c:pt>
                <c:pt idx="44">
                  <c:v>1292.8748</c:v>
                </c:pt>
                <c:pt idx="45">
                  <c:v>1229.1393</c:v>
                </c:pt>
                <c:pt idx="46">
                  <c:v>1197.6238</c:v>
                </c:pt>
                <c:pt idx="47">
                  <c:v>1175.7441</c:v>
                </c:pt>
                <c:pt idx="48">
                  <c:v>1187.1478</c:v>
                </c:pt>
                <c:pt idx="49">
                  <c:v>1207.4938</c:v>
                </c:pt>
                <c:pt idx="50">
                  <c:v>1163.3052</c:v>
                </c:pt>
                <c:pt idx="51">
                  <c:v>1122.3366</c:v>
                </c:pt>
                <c:pt idx="52">
                  <c:v>1117.908987268695</c:v>
                </c:pt>
                <c:pt idx="53">
                  <c:v>1007.5414445251085</c:v>
                </c:pt>
                <c:pt idx="54">
                  <c:v>1328.4580346608993</c:v>
                </c:pt>
              </c:numCache>
            </c:numRef>
          </c:xVal>
          <c:yVal>
            <c:numRef>
              <c:f>Sheet1!$B$187:$B$241</c:f>
              <c:numCache>
                <c:formatCode>General</c:formatCode>
                <c:ptCount val="55"/>
                <c:pt idx="0">
                  <c:v>0.20965603178978956</c:v>
                </c:pt>
                <c:pt idx="1">
                  <c:v>0.21324672057612712</c:v>
                </c:pt>
                <c:pt idx="2">
                  <c:v>0.2137911672337429</c:v>
                </c:pt>
                <c:pt idx="3">
                  <c:v>0.2160510401328566</c:v>
                </c:pt>
                <c:pt idx="4">
                  <c:v>0.20868389950605673</c:v>
                </c:pt>
                <c:pt idx="5">
                  <c:v>0.21659151316841177</c:v>
                </c:pt>
                <c:pt idx="6">
                  <c:v>0.2391712956878228</c:v>
                </c:pt>
                <c:pt idx="7">
                  <c:v>0.23700635156211824</c:v>
                </c:pt>
                <c:pt idx="8">
                  <c:v>0.22582395962165616</c:v>
                </c:pt>
                <c:pt idx="9">
                  <c:v>0.23416255263487817</c:v>
                </c:pt>
                <c:pt idx="10">
                  <c:v>0.22999352808719148</c:v>
                </c:pt>
                <c:pt idx="11">
                  <c:v>0.25500314272457336</c:v>
                </c:pt>
                <c:pt idx="12">
                  <c:v>0.2435621027382746</c:v>
                </c:pt>
                <c:pt idx="13">
                  <c:v>0.23128368611523276</c:v>
                </c:pt>
                <c:pt idx="14">
                  <c:v>0.24091781589966546</c:v>
                </c:pt>
                <c:pt idx="15">
                  <c:v>0.23304152284009205</c:v>
                </c:pt>
                <c:pt idx="16">
                  <c:v>0.2292666725355173</c:v>
                </c:pt>
                <c:pt idx="17">
                  <c:v>0.23299503297286622</c:v>
                </c:pt>
                <c:pt idx="18">
                  <c:v>0.2542036590312825</c:v>
                </c:pt>
                <c:pt idx="19">
                  <c:v>0.22419507675340153</c:v>
                </c:pt>
                <c:pt idx="20">
                  <c:v>0.2076305572657626</c:v>
                </c:pt>
                <c:pt idx="21">
                  <c:v>0.22882416514802592</c:v>
                </c:pt>
                <c:pt idx="22">
                  <c:v>0.22188437775310232</c:v>
                </c:pt>
                <c:pt idx="23">
                  <c:v>0.21663628062911708</c:v>
                </c:pt>
                <c:pt idx="24">
                  <c:v>0.22002972365119286</c:v>
                </c:pt>
                <c:pt idx="25">
                  <c:v>0.22506602520846633</c:v>
                </c:pt>
                <c:pt idx="26">
                  <c:v>0.2262655906970581</c:v>
                </c:pt>
                <c:pt idx="27">
                  <c:v>0.22514616243815955</c:v>
                </c:pt>
                <c:pt idx="28">
                  <c:v>0.22361465597363275</c:v>
                </c:pt>
                <c:pt idx="29">
                  <c:v>0.2206927292909735</c:v>
                </c:pt>
                <c:pt idx="30">
                  <c:v>0.2221970247542413</c:v>
                </c:pt>
                <c:pt idx="31">
                  <c:v>0.2188165451075571</c:v>
                </c:pt>
                <c:pt idx="32">
                  <c:v>0.21920376928927027</c:v>
                </c:pt>
                <c:pt idx="33">
                  <c:v>0.2235581036262079</c:v>
                </c:pt>
                <c:pt idx="34">
                  <c:v>0.2218686494619804</c:v>
                </c:pt>
                <c:pt idx="35">
                  <c:v>0.21620383572182478</c:v>
                </c:pt>
                <c:pt idx="36">
                  <c:v>0.20111188315628553</c:v>
                </c:pt>
                <c:pt idx="37">
                  <c:v>0.2006351995973074</c:v>
                </c:pt>
                <c:pt idx="38">
                  <c:v>0.20418107559645227</c:v>
                </c:pt>
                <c:pt idx="39">
                  <c:v>0.21069157582937129</c:v>
                </c:pt>
                <c:pt idx="40">
                  <c:v>0.20977330652147858</c:v>
                </c:pt>
                <c:pt idx="41">
                  <c:v>0.20209652555053612</c:v>
                </c:pt>
                <c:pt idx="42">
                  <c:v>0.20475605719773507</c:v>
                </c:pt>
                <c:pt idx="43">
                  <c:v>0.2001636228225744</c:v>
                </c:pt>
                <c:pt idx="44">
                  <c:v>0.21434939314352308</c:v>
                </c:pt>
                <c:pt idx="45">
                  <c:v>0.2239790809321923</c:v>
                </c:pt>
                <c:pt idx="46">
                  <c:v>0.22874070397592466</c:v>
                </c:pt>
                <c:pt idx="47">
                  <c:v>0.23204647046257254</c:v>
                </c:pt>
                <c:pt idx="48">
                  <c:v>0.2303235049153399</c:v>
                </c:pt>
                <c:pt idx="49">
                  <c:v>0.22724946254102316</c:v>
                </c:pt>
                <c:pt idx="50">
                  <c:v>0.23392584260893487</c:v>
                </c:pt>
                <c:pt idx="51">
                  <c:v>0.24011571837893547</c:v>
                </c:pt>
                <c:pt idx="52">
                  <c:v>0.24078467882094354</c:v>
                </c:pt>
                <c:pt idx="53">
                  <c:v>0.2574599222664855</c:v>
                </c:pt>
                <c:pt idx="54">
                  <c:v>0.208973183020508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3.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2418879056047"/>
          <c:min val="0.109466437177280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56669685945646</c:v>
                </c:pt>
                <c:pt idx="1">
                  <c:v>2.1984246046270663</c:v>
                </c:pt>
                <c:pt idx="2">
                  <c:v>2.323305066862131</c:v>
                </c:pt>
                <c:pt idx="3">
                  <c:v>2.317820638194946</c:v>
                </c:pt>
                <c:pt idx="4">
                  <c:v>2.3387538721692254</c:v>
                </c:pt>
                <c:pt idx="5">
                  <c:v>2.030735603501261</c:v>
                </c:pt>
                <c:pt idx="6">
                  <c:v>1.7906005827292517</c:v>
                </c:pt>
                <c:pt idx="7">
                  <c:v>1.8250309992354592</c:v>
                </c:pt>
                <c:pt idx="8">
                  <c:v>1.865310865190133</c:v>
                </c:pt>
                <c:pt idx="9">
                  <c:v>1.9781744207689447</c:v>
                </c:pt>
                <c:pt idx="10">
                  <c:v>1.7777977757542112</c:v>
                </c:pt>
                <c:pt idx="11">
                  <c:v>1.8760391658130904</c:v>
                </c:pt>
                <c:pt idx="12">
                  <c:v>1.9183645071233364</c:v>
                </c:pt>
                <c:pt idx="13">
                  <c:v>1.9186256046990422</c:v>
                </c:pt>
                <c:pt idx="14">
                  <c:v>1.921864284112711</c:v>
                </c:pt>
                <c:pt idx="15">
                  <c:v>1.9441101478641483</c:v>
                </c:pt>
                <c:pt idx="16">
                  <c:v>1.9029884273876874</c:v>
                </c:pt>
                <c:pt idx="17">
                  <c:v>2.323262405945496</c:v>
                </c:pt>
                <c:pt idx="18">
                  <c:v>2.4581068573721154</c:v>
                </c:pt>
                <c:pt idx="19">
                  <c:v>2.3497402599599435</c:v>
                </c:pt>
                <c:pt idx="20">
                  <c:v>2.4988235878733405</c:v>
                </c:pt>
                <c:pt idx="21">
                  <c:v>2.544706970334373</c:v>
                </c:pt>
                <c:pt idx="22">
                  <c:v>2.383434596551875</c:v>
                </c:pt>
                <c:pt idx="23">
                  <c:v>2.5729832214670108</c:v>
                </c:pt>
                <c:pt idx="24">
                  <c:v>2.7140892029091015</c:v>
                </c:pt>
                <c:pt idx="25">
                  <c:v>2.7186701165629494</c:v>
                </c:pt>
                <c:pt idx="26">
                  <c:v>2.2421821213309263</c:v>
                </c:pt>
                <c:pt idx="27">
                  <c:v>2.1574945955388354</c:v>
                </c:pt>
                <c:pt idx="28">
                  <c:v>2.067981368413935</c:v>
                </c:pt>
                <c:pt idx="29">
                  <c:v>2.095258335124448</c:v>
                </c:pt>
                <c:pt idx="30">
                  <c:v>2.018645723711291</c:v>
                </c:pt>
                <c:pt idx="31">
                  <c:v>1.9922215790502737</c:v>
                </c:pt>
                <c:pt idx="32">
                  <c:v>1.8817388222552305</c:v>
                </c:pt>
                <c:pt idx="33">
                  <c:v>1.8208012123047153</c:v>
                </c:pt>
                <c:pt idx="34">
                  <c:v>1.9240314699538106</c:v>
                </c:pt>
                <c:pt idx="35">
                  <c:v>2.024723996522416</c:v>
                </c:pt>
                <c:pt idx="36">
                  <c:v>2.277614562105564</c:v>
                </c:pt>
                <c:pt idx="37">
                  <c:v>2.310934201862497</c:v>
                </c:pt>
                <c:pt idx="38">
                  <c:v>2.4253035338225413</c:v>
                </c:pt>
                <c:pt idx="39">
                  <c:v>2.43122118645176</c:v>
                </c:pt>
                <c:pt idx="40">
                  <c:v>2.4139455991381222</c:v>
                </c:pt>
                <c:pt idx="41">
                  <c:v>2.5081760219099696</c:v>
                </c:pt>
                <c:pt idx="42">
                  <c:v>2.5229870674854458</c:v>
                </c:pt>
                <c:pt idx="43">
                  <c:v>2.5437342782754753</c:v>
                </c:pt>
                <c:pt idx="44">
                  <c:v>2.386681956919752</c:v>
                </c:pt>
                <c:pt idx="45">
                  <c:v>2.3256511816063083</c:v>
                </c:pt>
                <c:pt idx="46">
                  <c:v>2.333239431667406</c:v>
                </c:pt>
                <c:pt idx="47">
                  <c:v>2.302028507889849</c:v>
                </c:pt>
                <c:pt idx="48">
                  <c:v>2.320590336223238</c:v>
                </c:pt>
                <c:pt idx="49">
                  <c:v>2.236562564361927</c:v>
                </c:pt>
                <c:pt idx="50">
                  <c:v>2.2316922435266457</c:v>
                </c:pt>
                <c:pt idx="51">
                  <c:v>2.2527285919543174</c:v>
                </c:pt>
                <c:pt idx="52">
                  <c:v>2.2615328304489997</c:v>
                </c:pt>
                <c:pt idx="53">
                  <c:v>2.390179989908615</c:v>
                </c:pt>
                <c:pt idx="54">
                  <c:v>2.464639982944707</c:v>
                </c:pt>
                <c:pt idx="55">
                  <c:v>2.5316558439830597</c:v>
                </c:pt>
                <c:pt idx="56">
                  <c:v>2.62068378412178</c:v>
                </c:pt>
                <c:pt idx="57">
                  <c:v>2.528772438885807</c:v>
                </c:pt>
                <c:pt idx="58">
                  <c:v>2.384563581313691</c:v>
                </c:pt>
                <c:pt idx="59">
                  <c:v>2.473417197071748</c:v>
                </c:pt>
                <c:pt idx="60">
                  <c:v>2.6139204688741833</c:v>
                </c:pt>
                <c:pt idx="61">
                  <c:v>2.497231851534978</c:v>
                </c:pt>
                <c:pt idx="62">
                  <c:v>2.328175663398549</c:v>
                </c:pt>
                <c:pt idx="63">
                  <c:v>2.4520677717417665</c:v>
                </c:pt>
                <c:pt idx="64">
                  <c:v>2.473206727602064</c:v>
                </c:pt>
                <c:pt idx="65">
                  <c:v>2.435510822914918</c:v>
                </c:pt>
                <c:pt idx="66">
                  <c:v>2.3911124443642997</c:v>
                </c:pt>
                <c:pt idx="67">
                  <c:v>2.532310157228399</c:v>
                </c:pt>
                <c:pt idx="68">
                  <c:v>2.5770391222150786</c:v>
                </c:pt>
                <c:pt idx="69">
                  <c:v>2.6933299339867056</c:v>
                </c:pt>
                <c:pt idx="70">
                  <c:v>2.66182972219688</c:v>
                </c:pt>
                <c:pt idx="71">
                  <c:v>2.7668531049070264</c:v>
                </c:pt>
                <c:pt idx="72">
                  <c:v>2.8501755366949575</c:v>
                </c:pt>
                <c:pt idx="73">
                  <c:v>2.7541157364974183</c:v>
                </c:pt>
                <c:pt idx="74">
                  <c:v>2.7100223055448844</c:v>
                </c:pt>
                <c:pt idx="75">
                  <c:v>2.6674428559792878</c:v>
                </c:pt>
                <c:pt idx="76">
                  <c:v>2.6533589848139245</c:v>
                </c:pt>
                <c:pt idx="77">
                  <c:v>2.9509938105482605</c:v>
                </c:pt>
                <c:pt idx="78">
                  <c:v>2.8571739692622478</c:v>
                </c:pt>
                <c:pt idx="79">
                  <c:v>2.9075564381949652</c:v>
                </c:pt>
                <c:pt idx="80">
                  <c:v>2.8310693753477403</c:v>
                </c:pt>
                <c:pt idx="81">
                  <c:v>2.7421884464079342</c:v>
                </c:pt>
                <c:pt idx="82">
                  <c:v>2.676227228626317</c:v>
                </c:pt>
                <c:pt idx="83">
                  <c:v>2.643940350188911</c:v>
                </c:pt>
                <c:pt idx="84">
                  <c:v>2.5900128499330606</c:v>
                </c:pt>
                <c:pt idx="85">
                  <c:v>2.5617585579716047</c:v>
                </c:pt>
                <c:pt idx="86">
                  <c:v>2.6010966501067654</c:v>
                </c:pt>
                <c:pt idx="87">
                  <c:v>2.607977660497869</c:v>
                </c:pt>
                <c:pt idx="88">
                  <c:v>2.621963798728176</c:v>
                </c:pt>
                <c:pt idx="89">
                  <c:v>2.607759446566733</c:v>
                </c:pt>
                <c:pt idx="90">
                  <c:v>2.8133454074517403</c:v>
                </c:pt>
                <c:pt idx="91">
                  <c:v>2.9513308454452556</c:v>
                </c:pt>
                <c:pt idx="92">
                  <c:v>2.747942698377445</c:v>
                </c:pt>
                <c:pt idx="93">
                  <c:v>2.5915413986434013</c:v>
                </c:pt>
                <c:pt idx="94">
                  <c:v>2.5062934282972074</c:v>
                </c:pt>
                <c:pt idx="95">
                  <c:v>2.5335018409402776</c:v>
                </c:pt>
                <c:pt idx="96">
                  <c:v>2.3364798333196806</c:v>
                </c:pt>
                <c:pt idx="97">
                  <c:v>2.248888825805196</c:v>
                </c:pt>
                <c:pt idx="98">
                  <c:v>2.3474286961774644</c:v>
                </c:pt>
                <c:pt idx="99">
                  <c:v>2.50240672853793</c:v>
                </c:pt>
                <c:pt idx="100">
                  <c:v>2.174561418648358</c:v>
                </c:pt>
                <c:pt idx="101">
                  <c:v>1.9945306410708692</c:v>
                </c:pt>
                <c:pt idx="102">
                  <c:v>1.990963747215233</c:v>
                </c:pt>
                <c:pt idx="103">
                  <c:v>2.0084194893096647</c:v>
                </c:pt>
                <c:pt idx="104">
                  <c:v>2.1708986466897806</c:v>
                </c:pt>
              </c:numCache>
            </c:numRef>
          </c:xVal>
          <c:yVal>
            <c:numRef>
              <c:f>Sheet1!$B$2:$B$106</c:f>
              <c:numCache>
                <c:formatCode>General</c:formatCode>
                <c:ptCount val="105"/>
                <c:pt idx="0">
                  <c:v>0.22488252405459835</c:v>
                </c:pt>
                <c:pt idx="1">
                  <c:v>0.24555160142348753</c:v>
                </c:pt>
                <c:pt idx="2">
                  <c:v>0.2509471807443726</c:v>
                </c:pt>
                <c:pt idx="3">
                  <c:v>0.24086572026995579</c:v>
                </c:pt>
                <c:pt idx="4">
                  <c:v>0.22952677812411448</c:v>
                </c:pt>
                <c:pt idx="5">
                  <c:v>0.23972781994242345</c:v>
                </c:pt>
                <c:pt idx="6">
                  <c:v>0.28502994011976046</c:v>
                </c:pt>
                <c:pt idx="7">
                  <c:v>0.2987394957983193</c:v>
                </c:pt>
                <c:pt idx="8">
                  <c:v>0.30186823992133727</c:v>
                </c:pt>
                <c:pt idx="9">
                  <c:v>0.2639218009478673</c:v>
                </c:pt>
                <c:pt idx="10">
                  <c:v>0.26634086744043983</c:v>
                </c:pt>
                <c:pt idx="11">
                  <c:v>0.22626327647248148</c:v>
                </c:pt>
                <c:pt idx="12">
                  <c:v>0.21311475409836064</c:v>
                </c:pt>
                <c:pt idx="13">
                  <c:v>0.1916083916083916</c:v>
                </c:pt>
                <c:pt idx="14">
                  <c:v>0.18277254374158816</c:v>
                </c:pt>
                <c:pt idx="15">
                  <c:v>0.174692793091996</c:v>
                </c:pt>
                <c:pt idx="16">
                  <c:v>0.15866141732283465</c:v>
                </c:pt>
                <c:pt idx="17">
                  <c:v>0.15151515151515152</c:v>
                </c:pt>
                <c:pt idx="18">
                  <c:v>0.1418319966230477</c:v>
                </c:pt>
                <c:pt idx="19">
                  <c:v>0.1390532544378698</c:v>
                </c:pt>
                <c:pt idx="20">
                  <c:v>0.1368330464716007</c:v>
                </c:pt>
                <c:pt idx="21">
                  <c:v>0.1682600382409178</c:v>
                </c:pt>
                <c:pt idx="22">
                  <c:v>0.19413092550790068</c:v>
                </c:pt>
                <c:pt idx="23">
                  <c:v>0.1978798586572438</c:v>
                </c:pt>
                <c:pt idx="24">
                  <c:v>0.2233659289758106</c:v>
                </c:pt>
                <c:pt idx="25">
                  <c:v>0.22608695652173913</c:v>
                </c:pt>
                <c:pt idx="26">
                  <c:v>0.24731182795698925</c:v>
                </c:pt>
                <c:pt idx="27">
                  <c:v>0.2411282984531392</c:v>
                </c:pt>
                <c:pt idx="28">
                  <c:v>0.24978429680759276</c:v>
                </c:pt>
                <c:pt idx="29">
                  <c:v>0.23611635814129203</c:v>
                </c:pt>
                <c:pt idx="30">
                  <c:v>0.2481827622014538</c:v>
                </c:pt>
                <c:pt idx="31">
                  <c:v>0.2623645784267546</c:v>
                </c:pt>
                <c:pt idx="32">
                  <c:v>0.26955307262569833</c:v>
                </c:pt>
                <c:pt idx="33">
                  <c:v>0.2673815288827395</c:v>
                </c:pt>
                <c:pt idx="34">
                  <c:v>0.2511430437622469</c:v>
                </c:pt>
                <c:pt idx="35">
                  <c:v>0.24653148345784417</c:v>
                </c:pt>
                <c:pt idx="36">
                  <c:v>0.22285464098073554</c:v>
                </c:pt>
                <c:pt idx="37">
                  <c:v>0.21818996415770608</c:v>
                </c:pt>
                <c:pt idx="38">
                  <c:v>0.21212121212121213</c:v>
                </c:pt>
                <c:pt idx="39">
                  <c:v>0.191869918699187</c:v>
                </c:pt>
                <c:pt idx="40">
                  <c:v>0.20207427233188358</c:v>
                </c:pt>
                <c:pt idx="41">
                  <c:v>0.19456478928712093</c:v>
                </c:pt>
                <c:pt idx="42">
                  <c:v>0.19506172839506172</c:v>
                </c:pt>
                <c:pt idx="43">
                  <c:v>0.193205317577548</c:v>
                </c:pt>
                <c:pt idx="44">
                  <c:v>0.19493087557603686</c:v>
                </c:pt>
                <c:pt idx="45">
                  <c:v>0.19699759240900722</c:v>
                </c:pt>
                <c:pt idx="46">
                  <c:v>0.21148232241323386</c:v>
                </c:pt>
                <c:pt idx="47">
                  <c:v>0.21009933774834438</c:v>
                </c:pt>
                <c:pt idx="48">
                  <c:v>0.20361152911216576</c:v>
                </c:pt>
                <c:pt idx="49">
                  <c:v>0.2160007248346471</c:v>
                </c:pt>
                <c:pt idx="50">
                  <c:v>0.21899791231732776</c:v>
                </c:pt>
                <c:pt idx="51">
                  <c:v>0.21113924050632912</c:v>
                </c:pt>
                <c:pt idx="52">
                  <c:v>0.21407567143697315</c:v>
                </c:pt>
                <c:pt idx="53">
                  <c:v>0.20894023103967854</c:v>
                </c:pt>
                <c:pt idx="54">
                  <c:v>0.20167564332734889</c:v>
                </c:pt>
                <c:pt idx="55">
                  <c:v>0.2043139604553625</c:v>
                </c:pt>
                <c:pt idx="56">
                  <c:v>0.19907407407407407</c:v>
                </c:pt>
                <c:pt idx="57">
                  <c:v>0.19453106260494124</c:v>
                </c:pt>
                <c:pt idx="58">
                  <c:v>0.2269321344465853</c:v>
                </c:pt>
                <c:pt idx="59">
                  <c:v>0.22564102564102564</c:v>
                </c:pt>
                <c:pt idx="60">
                  <c:v>0.2108644859813084</c:v>
                </c:pt>
                <c:pt idx="61">
                  <c:v>0.21758003255561584</c:v>
                </c:pt>
                <c:pt idx="62">
                  <c:v>0.24066390041493776</c:v>
                </c:pt>
                <c:pt idx="63">
                  <c:v>0.25859247135842883</c:v>
                </c:pt>
                <c:pt idx="64">
                  <c:v>0.21868158598881052</c:v>
                </c:pt>
                <c:pt idx="65">
                  <c:v>0.20125621565035332</c:v>
                </c:pt>
                <c:pt idx="66">
                  <c:v>0.21462765957446808</c:v>
                </c:pt>
                <c:pt idx="67">
                  <c:v>0.19342105263157894</c:v>
                </c:pt>
                <c:pt idx="68">
                  <c:v>0.1723433242506812</c:v>
                </c:pt>
                <c:pt idx="69">
                  <c:v>0.1640519946212461</c:v>
                </c:pt>
                <c:pt idx="70">
                  <c:v>0.16360153256704982</c:v>
                </c:pt>
                <c:pt idx="71">
                  <c:v>0.16745791972378074</c:v>
                </c:pt>
                <c:pt idx="72">
                  <c:v>0.1756701030927835</c:v>
                </c:pt>
                <c:pt idx="73">
                  <c:v>0.18726275832981865</c:v>
                </c:pt>
                <c:pt idx="74">
                  <c:v>0.19971056439942114</c:v>
                </c:pt>
                <c:pt idx="75">
                  <c:v>0.20474406991260924</c:v>
                </c:pt>
                <c:pt idx="76">
                  <c:v>0.20463137996219283</c:v>
                </c:pt>
                <c:pt idx="77">
                  <c:v>0.19665683382497542</c:v>
                </c:pt>
                <c:pt idx="78">
                  <c:v>0.20352564102564102</c:v>
                </c:pt>
                <c:pt idx="79">
                  <c:v>0.17194183062446536</c:v>
                </c:pt>
                <c:pt idx="80">
                  <c:v>0.16707317073170733</c:v>
                </c:pt>
                <c:pt idx="81">
                  <c:v>0.16963015647226173</c:v>
                </c:pt>
                <c:pt idx="82">
                  <c:v>0.1854043392504931</c:v>
                </c:pt>
                <c:pt idx="83">
                  <c:v>0.18274687854710556</c:v>
                </c:pt>
                <c:pt idx="84">
                  <c:v>0.18171493469619535</c:v>
                </c:pt>
                <c:pt idx="85">
                  <c:v>0.19408054342552158</c:v>
                </c:pt>
                <c:pt idx="86">
                  <c:v>0.2127008416220352</c:v>
                </c:pt>
                <c:pt idx="87">
                  <c:v>0.20189274447949526</c:v>
                </c:pt>
                <c:pt idx="88">
                  <c:v>0.2026504693539481</c:v>
                </c:pt>
                <c:pt idx="89">
                  <c:v>0.2238069116840373</c:v>
                </c:pt>
                <c:pt idx="90">
                  <c:v>0.19037546271813854</c:v>
                </c:pt>
                <c:pt idx="91">
                  <c:v>0.1761006289308176</c:v>
                </c:pt>
                <c:pt idx="92">
                  <c:v>0.18492586490939045</c:v>
                </c:pt>
                <c:pt idx="93">
                  <c:v>0.18620689655172415</c:v>
                </c:pt>
                <c:pt idx="94">
                  <c:v>0.176253081347576</c:v>
                </c:pt>
                <c:pt idx="95">
                  <c:v>0.17799939558779088</c:v>
                </c:pt>
                <c:pt idx="96">
                  <c:v>0.1876750700280112</c:v>
                </c:pt>
                <c:pt idx="97">
                  <c:v>0.1955694482196249</c:v>
                </c:pt>
                <c:pt idx="98">
                  <c:v>0.19588799192734613</c:v>
                </c:pt>
                <c:pt idx="99">
                  <c:v>0.20316052751250568</c:v>
                </c:pt>
                <c:pt idx="100">
                  <c:v>0.2082603769698218</c:v>
                </c:pt>
                <c:pt idx="101">
                  <c:v>0.21141374837872892</c:v>
                </c:pt>
                <c:pt idx="102">
                  <c:v>0.20416984490211035</c:v>
                </c:pt>
                <c:pt idx="103">
                  <c:v>0.19626168224299065</c:v>
                </c:pt>
                <c:pt idx="104">
                  <c:v>0.19724319002297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119726734678259</c:v>
                </c:pt>
                <c:pt idx="1">
                  <c:v>2.0456538628920877</c:v>
                </c:pt>
                <c:pt idx="2">
                  <c:v>1.9530616988300786</c:v>
                </c:pt>
                <c:pt idx="3">
                  <c:v>1.992001605274402</c:v>
                </c:pt>
                <c:pt idx="4">
                  <c:v>1.9943889420077239</c:v>
                </c:pt>
                <c:pt idx="5">
                  <c:v>1.8420328567576183</c:v>
                </c:pt>
                <c:pt idx="6">
                  <c:v>1.808271419987983</c:v>
                </c:pt>
                <c:pt idx="7">
                  <c:v>1.6889595587990813</c:v>
                </c:pt>
                <c:pt idx="8">
                  <c:v>1.7553062179127594</c:v>
                </c:pt>
                <c:pt idx="9">
                  <c:v>1.785454552719804</c:v>
                </c:pt>
                <c:pt idx="10">
                  <c:v>1.717625722133051</c:v>
                </c:pt>
                <c:pt idx="11">
                  <c:v>2.0069948672549374</c:v>
                </c:pt>
                <c:pt idx="12">
                  <c:v>1.9489720060196007</c:v>
                </c:pt>
                <c:pt idx="13">
                  <c:v>1.7114872405866168</c:v>
                </c:pt>
                <c:pt idx="14">
                  <c:v>1.6198243585647931</c:v>
                </c:pt>
                <c:pt idx="15">
                  <c:v>1.7213455361052326</c:v>
                </c:pt>
                <c:pt idx="16">
                  <c:v>1.7520636008236943</c:v>
                </c:pt>
                <c:pt idx="17">
                  <c:v>1.703008376657314</c:v>
                </c:pt>
                <c:pt idx="18">
                  <c:v>1.5109816656317847</c:v>
                </c:pt>
                <c:pt idx="19">
                  <c:v>1.8488195026101928</c:v>
                </c:pt>
                <c:pt idx="20">
                  <c:v>1.8483946535028146</c:v>
                </c:pt>
                <c:pt idx="21">
                  <c:v>1.7358845979665694</c:v>
                </c:pt>
                <c:pt idx="22">
                  <c:v>1.812832485402582</c:v>
                </c:pt>
                <c:pt idx="23">
                  <c:v>1.8119596777795979</c:v>
                </c:pt>
                <c:pt idx="24">
                  <c:v>1.8330588492990656</c:v>
                </c:pt>
                <c:pt idx="25">
                  <c:v>1.9043924084584376</c:v>
                </c:pt>
                <c:pt idx="26">
                  <c:v>1.7440317831779297</c:v>
                </c:pt>
                <c:pt idx="27">
                  <c:v>1.7509839668065403</c:v>
                </c:pt>
                <c:pt idx="28">
                  <c:v>1.8273960890752827</c:v>
                </c:pt>
                <c:pt idx="29">
                  <c:v>1.7622800179821831</c:v>
                </c:pt>
                <c:pt idx="30">
                  <c:v>1.7449519557295818</c:v>
                </c:pt>
                <c:pt idx="31">
                  <c:v>1.7537878751069123</c:v>
                </c:pt>
                <c:pt idx="32">
                  <c:v>1.8654445463420581</c:v>
                </c:pt>
                <c:pt idx="33">
                  <c:v>1.7490744395382845</c:v>
                </c:pt>
                <c:pt idx="34">
                  <c:v>1.8268800909040408</c:v>
                </c:pt>
                <c:pt idx="35">
                  <c:v>1.7084341570258805</c:v>
                </c:pt>
                <c:pt idx="36">
                  <c:v>1.8702526303639277</c:v>
                </c:pt>
                <c:pt idx="37">
                  <c:v>1.8905246830883105</c:v>
                </c:pt>
                <c:pt idx="38">
                  <c:v>1.858177193705307</c:v>
                </c:pt>
                <c:pt idx="39">
                  <c:v>1.9111778730870765</c:v>
                </c:pt>
                <c:pt idx="40">
                  <c:v>1.8602002527762507</c:v>
                </c:pt>
                <c:pt idx="41">
                  <c:v>1.8306680408058034</c:v>
                </c:pt>
                <c:pt idx="42">
                  <c:v>1.852243163828723</c:v>
                </c:pt>
                <c:pt idx="43">
                  <c:v>1.9749513299353296</c:v>
                </c:pt>
                <c:pt idx="44">
                  <c:v>1.8420055841112273</c:v>
                </c:pt>
                <c:pt idx="45">
                  <c:v>1.9065308576369082</c:v>
                </c:pt>
                <c:pt idx="46">
                  <c:v>1.7728662411141953</c:v>
                </c:pt>
                <c:pt idx="47">
                  <c:v>1.8776668552727207</c:v>
                </c:pt>
                <c:pt idx="48">
                  <c:v>1.812439389312977</c:v>
                </c:pt>
                <c:pt idx="49">
                  <c:v>1.920940522762586</c:v>
                </c:pt>
                <c:pt idx="50">
                  <c:v>1.9067451237502049</c:v>
                </c:pt>
                <c:pt idx="51">
                  <c:v>1.8160707064872048</c:v>
                </c:pt>
              </c:numCache>
            </c:numRef>
          </c:xVal>
          <c:yVal>
            <c:numRef>
              <c:f>Sheet1!$B$109:$B$160</c:f>
              <c:numCache>
                <c:formatCode>General</c:formatCode>
                <c:ptCount val="52"/>
                <c:pt idx="0">
                  <c:v>0.19562243502051985</c:v>
                </c:pt>
                <c:pt idx="1">
                  <c:v>0.2102728731942215</c:v>
                </c:pt>
                <c:pt idx="2">
                  <c:v>0.21708103130755063</c:v>
                </c:pt>
                <c:pt idx="3">
                  <c:v>0.23735886107020127</c:v>
                </c:pt>
                <c:pt idx="4">
                  <c:v>0.21292039680619404</c:v>
                </c:pt>
                <c:pt idx="5">
                  <c:v>0.22138660399529964</c:v>
                </c:pt>
                <c:pt idx="6">
                  <c:v>0.2595886603668705</c:v>
                </c:pt>
                <c:pt idx="7">
                  <c:v>0.2535750766087845</c:v>
                </c:pt>
                <c:pt idx="8">
                  <c:v>0.239918533604888</c:v>
                </c:pt>
                <c:pt idx="9">
                  <c:v>0.24322370798698953</c:v>
                </c:pt>
                <c:pt idx="10">
                  <c:v>0.23978494623655913</c:v>
                </c:pt>
                <c:pt idx="11">
                  <c:v>0.24065477644759345</c:v>
                </c:pt>
                <c:pt idx="12">
                  <c:v>0.24311618535930155</c:v>
                </c:pt>
                <c:pt idx="13">
                  <c:v>0.2456958393113343</c:v>
                </c:pt>
                <c:pt idx="14">
                  <c:v>0.2586989409984871</c:v>
                </c:pt>
                <c:pt idx="15">
                  <c:v>0.23709677419354838</c:v>
                </c:pt>
                <c:pt idx="16">
                  <c:v>0.2401500938086304</c:v>
                </c:pt>
                <c:pt idx="17">
                  <c:v>0.24231298760899495</c:v>
                </c:pt>
                <c:pt idx="18">
                  <c:v>0.2628841607565012</c:v>
                </c:pt>
                <c:pt idx="19">
                  <c:v>0.2320855614973262</c:v>
                </c:pt>
                <c:pt idx="20">
                  <c:v>0.2066590126291619</c:v>
                </c:pt>
                <c:pt idx="21">
                  <c:v>0.23783783783783785</c:v>
                </c:pt>
                <c:pt idx="22">
                  <c:v>0.22919937205651492</c:v>
                </c:pt>
                <c:pt idx="23">
                  <c:v>0.22598425196850394</c:v>
                </c:pt>
                <c:pt idx="24">
                  <c:v>0.22123331214240305</c:v>
                </c:pt>
                <c:pt idx="25">
                  <c:v>0.21335168616655195</c:v>
                </c:pt>
                <c:pt idx="26">
                  <c:v>0.21609907120743035</c:v>
                </c:pt>
                <c:pt idx="27">
                  <c:v>0.2153267512929008</c:v>
                </c:pt>
                <c:pt idx="28">
                  <c:v>0.225713104588673</c:v>
                </c:pt>
                <c:pt idx="29">
                  <c:v>0.2239782016348774</c:v>
                </c:pt>
                <c:pt idx="30">
                  <c:v>0.22114347357065803</c:v>
                </c:pt>
                <c:pt idx="31">
                  <c:v>0.19781854238968766</c:v>
                </c:pt>
                <c:pt idx="32">
                  <c:v>0.20322847682119205</c:v>
                </c:pt>
                <c:pt idx="33">
                  <c:v>0.21653819201121233</c:v>
                </c:pt>
                <c:pt idx="34">
                  <c:v>0.22461131326496858</c:v>
                </c:pt>
                <c:pt idx="35">
                  <c:v>0.2224903474903475</c:v>
                </c:pt>
                <c:pt idx="36">
                  <c:v>0.20960415314730693</c:v>
                </c:pt>
                <c:pt idx="37">
                  <c:v>0.2163265306122449</c:v>
                </c:pt>
                <c:pt idx="38">
                  <c:v>0.21320093457943926</c:v>
                </c:pt>
                <c:pt idx="39">
                  <c:v>0.21608040201005024</c:v>
                </c:pt>
                <c:pt idx="40">
                  <c:v>0.19398148148148148</c:v>
                </c:pt>
                <c:pt idx="41">
                  <c:v>0.20509442248572685</c:v>
                </c:pt>
                <c:pt idx="42">
                  <c:v>0.21099476439790577</c:v>
                </c:pt>
                <c:pt idx="43">
                  <c:v>0.19639764461378595</c:v>
                </c:pt>
                <c:pt idx="44">
                  <c:v>0.18049940546967896</c:v>
                </c:pt>
                <c:pt idx="45">
                  <c:v>0.19410954185325524</c:v>
                </c:pt>
                <c:pt idx="46">
                  <c:v>0.2222699914015477</c:v>
                </c:pt>
                <c:pt idx="47">
                  <c:v>0.22492594159966145</c:v>
                </c:pt>
                <c:pt idx="48">
                  <c:v>0.21024258760107817</c:v>
                </c:pt>
                <c:pt idx="49">
                  <c:v>0.22300613496932514</c:v>
                </c:pt>
                <c:pt idx="50">
                  <c:v>0.22176100628930817</c:v>
                </c:pt>
                <c:pt idx="51">
                  <c:v>0.2172880550938019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16776183348163</c:v>
                </c:pt>
              </c:numCache>
            </c:numRef>
          </c:xVal>
          <c:yVal>
            <c:numRef>
              <c:f>Sheet1!$B$163:$B$164</c:f>
              <c:numCache>
                <c:formatCode>General</c:formatCode>
                <c:ptCount val="2"/>
                <c:pt idx="0">
                  <c:v>0.2574599222664855</c:v>
                </c:pt>
                <c:pt idx="1">
                  <c:v>0.257459922266485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16776183348163</c:v>
                </c:pt>
                <c:pt idx="1">
                  <c:v>1.416776183348163</c:v>
                </c:pt>
              </c:numCache>
            </c:numRef>
          </c:xVal>
          <c:yVal>
            <c:numRef>
              <c:f>Sheet1!$B$167:$B$168</c:f>
              <c:numCache>
                <c:formatCode>General</c:formatCode>
                <c:ptCount val="2"/>
                <c:pt idx="0">
                  <c:v>0.257459922266485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15644973463316</c:v>
                </c:pt>
              </c:numCache>
            </c:numRef>
          </c:xVal>
          <c:yVal>
            <c:numRef>
              <c:f>Sheet1!$B$171:$B$172</c:f>
              <c:numCache>
                <c:formatCode>General</c:formatCode>
                <c:ptCount val="2"/>
                <c:pt idx="0">
                  <c:v>0.24078467882094354</c:v>
                </c:pt>
                <c:pt idx="1">
                  <c:v>0.2407846788209435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15644973463316</c:v>
                </c:pt>
                <c:pt idx="1">
                  <c:v>1.615644973463316</c:v>
                </c:pt>
              </c:numCache>
            </c:numRef>
          </c:xVal>
          <c:yVal>
            <c:numRef>
              <c:f>Sheet1!$B$175:$B$176</c:f>
              <c:numCache>
                <c:formatCode>General</c:formatCode>
                <c:ptCount val="2"/>
                <c:pt idx="0">
                  <c:v>0.240784678820943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950285610101077</c:v>
                </c:pt>
              </c:numCache>
            </c:numRef>
          </c:xVal>
          <c:yVal>
            <c:numRef>
              <c:f>Sheet1!$B$179:$B$180</c:f>
              <c:numCache>
                <c:formatCode>General</c:formatCode>
                <c:ptCount val="2"/>
                <c:pt idx="0">
                  <c:v>0.20897318302050824</c:v>
                </c:pt>
                <c:pt idx="1">
                  <c:v>0.2089731830205082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950285610101077</c:v>
                </c:pt>
                <c:pt idx="1">
                  <c:v>1.9950285610101077</c:v>
                </c:pt>
              </c:numCache>
            </c:numRef>
          </c:xVal>
          <c:yVal>
            <c:numRef>
              <c:f>Sheet1!$B$183:$B$184</c:f>
              <c:numCache>
                <c:formatCode>General</c:formatCode>
                <c:ptCount val="2"/>
                <c:pt idx="0">
                  <c:v>0.2089731830205082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119726734678259</c:v>
                </c:pt>
                <c:pt idx="1">
                  <c:v>2.0456538628920877</c:v>
                </c:pt>
                <c:pt idx="2">
                  <c:v>1.9530616988300786</c:v>
                </c:pt>
                <c:pt idx="3">
                  <c:v>1.992001605274402</c:v>
                </c:pt>
                <c:pt idx="4">
                  <c:v>1.9943889420077239</c:v>
                </c:pt>
                <c:pt idx="5">
                  <c:v>1.8420328567576183</c:v>
                </c:pt>
                <c:pt idx="6">
                  <c:v>1.808271419987983</c:v>
                </c:pt>
                <c:pt idx="7">
                  <c:v>1.6889595587990813</c:v>
                </c:pt>
                <c:pt idx="8">
                  <c:v>1.7553062179127594</c:v>
                </c:pt>
                <c:pt idx="9">
                  <c:v>1.785454552719804</c:v>
                </c:pt>
                <c:pt idx="10">
                  <c:v>1.717625722133051</c:v>
                </c:pt>
                <c:pt idx="11">
                  <c:v>2.0069948672549374</c:v>
                </c:pt>
                <c:pt idx="12">
                  <c:v>1.9489720060196007</c:v>
                </c:pt>
                <c:pt idx="13">
                  <c:v>1.7114872405866168</c:v>
                </c:pt>
                <c:pt idx="14">
                  <c:v>1.6198243585647931</c:v>
                </c:pt>
                <c:pt idx="15">
                  <c:v>1.7213455361052326</c:v>
                </c:pt>
                <c:pt idx="16">
                  <c:v>1.7520636008236943</c:v>
                </c:pt>
                <c:pt idx="17">
                  <c:v>1.703008376657314</c:v>
                </c:pt>
                <c:pt idx="18">
                  <c:v>1.5109816656317847</c:v>
                </c:pt>
                <c:pt idx="19">
                  <c:v>1.8488195026101928</c:v>
                </c:pt>
                <c:pt idx="20">
                  <c:v>1.8483946535028146</c:v>
                </c:pt>
                <c:pt idx="21">
                  <c:v>1.7358845979665694</c:v>
                </c:pt>
                <c:pt idx="22">
                  <c:v>1.812832485402582</c:v>
                </c:pt>
                <c:pt idx="23">
                  <c:v>1.8119596777795979</c:v>
                </c:pt>
                <c:pt idx="24">
                  <c:v>1.8330588492990656</c:v>
                </c:pt>
                <c:pt idx="25">
                  <c:v>1.9043924084584376</c:v>
                </c:pt>
                <c:pt idx="26">
                  <c:v>1.7440317831779297</c:v>
                </c:pt>
                <c:pt idx="27">
                  <c:v>1.7509839668065403</c:v>
                </c:pt>
                <c:pt idx="28">
                  <c:v>1.8273960890752827</c:v>
                </c:pt>
                <c:pt idx="29">
                  <c:v>1.7622800179821831</c:v>
                </c:pt>
                <c:pt idx="30">
                  <c:v>1.7449519557295818</c:v>
                </c:pt>
                <c:pt idx="31">
                  <c:v>1.7537878751069123</c:v>
                </c:pt>
                <c:pt idx="32">
                  <c:v>1.8654445463420581</c:v>
                </c:pt>
                <c:pt idx="33">
                  <c:v>1.7490744395382845</c:v>
                </c:pt>
                <c:pt idx="34">
                  <c:v>1.8268800909040408</c:v>
                </c:pt>
                <c:pt idx="35">
                  <c:v>1.7084341570258805</c:v>
                </c:pt>
                <c:pt idx="36">
                  <c:v>1.8702526303639277</c:v>
                </c:pt>
                <c:pt idx="37">
                  <c:v>1.8905246830883105</c:v>
                </c:pt>
                <c:pt idx="38">
                  <c:v>1.858177193705307</c:v>
                </c:pt>
                <c:pt idx="39">
                  <c:v>1.9111778730870765</c:v>
                </c:pt>
                <c:pt idx="40">
                  <c:v>1.8602002527762507</c:v>
                </c:pt>
                <c:pt idx="41">
                  <c:v>1.8306680408058034</c:v>
                </c:pt>
                <c:pt idx="42">
                  <c:v>1.852243163828723</c:v>
                </c:pt>
                <c:pt idx="43">
                  <c:v>1.9749513299353296</c:v>
                </c:pt>
                <c:pt idx="44">
                  <c:v>1.8420055841112273</c:v>
                </c:pt>
                <c:pt idx="45">
                  <c:v>1.9065308576369082</c:v>
                </c:pt>
                <c:pt idx="46">
                  <c:v>1.7728662411141953</c:v>
                </c:pt>
                <c:pt idx="47">
                  <c:v>1.8776668552727207</c:v>
                </c:pt>
                <c:pt idx="48">
                  <c:v>1.812439389312977</c:v>
                </c:pt>
                <c:pt idx="49">
                  <c:v>1.920940522762586</c:v>
                </c:pt>
                <c:pt idx="50">
                  <c:v>1.9067451237502049</c:v>
                </c:pt>
                <c:pt idx="51">
                  <c:v>1.8160707064872048</c:v>
                </c:pt>
                <c:pt idx="52">
                  <c:v>1.615644973463316</c:v>
                </c:pt>
                <c:pt idx="53">
                  <c:v>1.416776183348163</c:v>
                </c:pt>
                <c:pt idx="54">
                  <c:v>1.9950285610101077</c:v>
                </c:pt>
              </c:numCache>
            </c:numRef>
          </c:xVal>
          <c:yVal>
            <c:numRef>
              <c:f>Sheet1!$B$187:$B$241</c:f>
              <c:numCache>
                <c:formatCode>General</c:formatCode>
                <c:ptCount val="55"/>
                <c:pt idx="0">
                  <c:v>0.19851718134258353</c:v>
                </c:pt>
                <c:pt idx="1">
                  <c:v>0.20472822717350353</c:v>
                </c:pt>
                <c:pt idx="2">
                  <c:v>0.21249212454518024</c:v>
                </c:pt>
                <c:pt idx="3">
                  <c:v>0.2092269947109326</c:v>
                </c:pt>
                <c:pt idx="4">
                  <c:v>0.2090268153806738</c:v>
                </c:pt>
                <c:pt idx="5">
                  <c:v>0.2218019462118322</c:v>
                </c:pt>
                <c:pt idx="6">
                  <c:v>0.22463285887982273</c:v>
                </c:pt>
                <c:pt idx="7">
                  <c:v>0.23463721567262877</c:v>
                </c:pt>
                <c:pt idx="8">
                  <c:v>0.22907401648044606</c:v>
                </c:pt>
                <c:pt idx="9">
                  <c:v>0.22654606414516976</c:v>
                </c:pt>
                <c:pt idx="10">
                  <c:v>0.23223354412634528</c:v>
                </c:pt>
                <c:pt idx="11">
                  <c:v>0.207969802501821</c:v>
                </c:pt>
                <c:pt idx="12">
                  <c:v>0.21283504724910332</c:v>
                </c:pt>
                <c:pt idx="13">
                  <c:v>0.23274825874855165</c:v>
                </c:pt>
                <c:pt idx="14">
                  <c:v>0.2404342353753961</c:v>
                </c:pt>
                <c:pt idx="15">
                  <c:v>0.2319216359404387</c:v>
                </c:pt>
                <c:pt idx="16">
                  <c:v>0.22934591147879912</c:v>
                </c:pt>
                <c:pt idx="17">
                  <c:v>0.233459215556208</c:v>
                </c:pt>
                <c:pt idx="18">
                  <c:v>0.24956074738804193</c:v>
                </c:pt>
                <c:pt idx="19">
                  <c:v>0.22123288270164124</c:v>
                </c:pt>
                <c:pt idx="20">
                  <c:v>0.22126850650308866</c:v>
                </c:pt>
                <c:pt idx="21">
                  <c:v>0.23070252862919494</c:v>
                </c:pt>
                <c:pt idx="22">
                  <c:v>0.22425041135693372</c:v>
                </c:pt>
                <c:pt idx="23">
                  <c:v>0.22432359669479368</c:v>
                </c:pt>
                <c:pt idx="24">
                  <c:v>0.22255442104192907</c:v>
                </c:pt>
                <c:pt idx="25">
                  <c:v>0.21657306788877353</c:v>
                </c:pt>
                <c:pt idx="26">
                  <c:v>0.23001938324113938</c:v>
                </c:pt>
                <c:pt idx="27">
                  <c:v>0.2294364393090218</c:v>
                </c:pt>
                <c:pt idx="28">
                  <c:v>0.22302924620303471</c:v>
                </c:pt>
                <c:pt idx="29">
                  <c:v>0.22848925999939723</c:v>
                </c:pt>
                <c:pt idx="30">
                  <c:v>0.22994222633129033</c:v>
                </c:pt>
                <c:pt idx="31">
                  <c:v>0.2292013302530427</c:v>
                </c:pt>
                <c:pt idx="32">
                  <c:v>0.2198388648099393</c:v>
                </c:pt>
                <c:pt idx="33">
                  <c:v>0.22959655408643675</c:v>
                </c:pt>
                <c:pt idx="34">
                  <c:v>0.22307251289720997</c:v>
                </c:pt>
                <c:pt idx="35">
                  <c:v>0.23300426126963794</c:v>
                </c:pt>
                <c:pt idx="36">
                  <c:v>0.2194357046583395</c:v>
                </c:pt>
                <c:pt idx="37">
                  <c:v>0.2177358833131993</c:v>
                </c:pt>
                <c:pt idx="38">
                  <c:v>0.22044823581457132</c:v>
                </c:pt>
                <c:pt idx="39">
                  <c:v>0.2160041034247762</c:v>
                </c:pt>
                <c:pt idx="40">
                  <c:v>0.22027860134104152</c:v>
                </c:pt>
                <c:pt idx="41">
                  <c:v>0.22275489148092423</c:v>
                </c:pt>
                <c:pt idx="42">
                  <c:v>0.22094580706618835</c:v>
                </c:pt>
                <c:pt idx="43">
                  <c:v>0.21065666847687606</c:v>
                </c:pt>
                <c:pt idx="44">
                  <c:v>0.22180423303631436</c:v>
                </c:pt>
                <c:pt idx="45">
                  <c:v>0.21639375789937668</c:v>
                </c:pt>
                <c:pt idx="46">
                  <c:v>0.22760160011172498</c:v>
                </c:pt>
                <c:pt idx="47">
                  <c:v>0.21881401834324432</c:v>
                </c:pt>
                <c:pt idx="48">
                  <c:v>0.2242833726526094</c:v>
                </c:pt>
                <c:pt idx="49">
                  <c:v>0.21518550056648758</c:v>
                </c:pt>
                <c:pt idx="50">
                  <c:v>0.2163757915829965</c:v>
                </c:pt>
                <c:pt idx="51">
                  <c:v>0.22397888496566182</c:v>
                </c:pt>
                <c:pt idx="52">
                  <c:v>0.24078467882094354</c:v>
                </c:pt>
                <c:pt idx="53">
                  <c:v>0.2574599222664855</c:v>
                </c:pt>
                <c:pt idx="54">
                  <c:v>0.2089731830205082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2418879056047"/>
          <c:min val="0.109466437177280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5781</c:v>
                </c:pt>
                <c:pt idx="1">
                  <c:v>919.5621</c:v>
                </c:pt>
                <c:pt idx="2">
                  <c:v>974.3428</c:v>
                </c:pt>
                <c:pt idx="3">
                  <c:v>979.3469</c:v>
                </c:pt>
                <c:pt idx="4">
                  <c:v>978.2383</c:v>
                </c:pt>
                <c:pt idx="5">
                  <c:v>968.7413</c:v>
                </c:pt>
                <c:pt idx="6">
                  <c:v>902.0462</c:v>
                </c:pt>
                <c:pt idx="7">
                  <c:v>909.0056</c:v>
                </c:pt>
                <c:pt idx="8">
                  <c:v>925.4544</c:v>
                </c:pt>
                <c:pt idx="9">
                  <c:v>873.6184</c:v>
                </c:pt>
                <c:pt idx="10">
                  <c:v>864.2947</c:v>
                </c:pt>
                <c:pt idx="11">
                  <c:v>949.1081</c:v>
                </c:pt>
                <c:pt idx="12">
                  <c:v>965.0348</c:v>
                </c:pt>
                <c:pt idx="13">
                  <c:v>987.6321</c:v>
                </c:pt>
                <c:pt idx="14">
                  <c:v>993.4153</c:v>
                </c:pt>
                <c:pt idx="15">
                  <c:v>1012.4183</c:v>
                </c:pt>
                <c:pt idx="16">
                  <c:v>1033.9429</c:v>
                </c:pt>
                <c:pt idx="17">
                  <c:v>1067.5565</c:v>
                </c:pt>
                <c:pt idx="18">
                  <c:v>1113.8631</c:v>
                </c:pt>
                <c:pt idx="19">
                  <c:v>1111.273</c:v>
                </c:pt>
                <c:pt idx="20">
                  <c:v>1156.5755</c:v>
                </c:pt>
                <c:pt idx="21">
                  <c:v>1178.8182</c:v>
                </c:pt>
                <c:pt idx="22">
                  <c:v>1106.75</c:v>
                </c:pt>
                <c:pt idx="23">
                  <c:v>1090.6845</c:v>
                </c:pt>
                <c:pt idx="24">
                  <c:v>1099.7788</c:v>
                </c:pt>
                <c:pt idx="25">
                  <c:v>1064.7</c:v>
                </c:pt>
                <c:pt idx="26">
                  <c:v>1040.8613</c:v>
                </c:pt>
                <c:pt idx="27">
                  <c:v>1062.7868</c:v>
                </c:pt>
                <c:pt idx="28">
                  <c:v>1058.1658</c:v>
                </c:pt>
                <c:pt idx="29">
                  <c:v>1041.128</c:v>
                </c:pt>
                <c:pt idx="30">
                  <c:v>1017.5983</c:v>
                </c:pt>
                <c:pt idx="31">
                  <c:v>1034.219</c:v>
                </c:pt>
                <c:pt idx="32">
                  <c:v>1005.6287</c:v>
                </c:pt>
                <c:pt idx="33">
                  <c:v>983.8266</c:v>
                </c:pt>
                <c:pt idx="34">
                  <c:v>1000.3511</c:v>
                </c:pt>
                <c:pt idx="35">
                  <c:v>1020.0519</c:v>
                </c:pt>
                <c:pt idx="36">
                  <c:v>1153.9705</c:v>
                </c:pt>
                <c:pt idx="37">
                  <c:v>1153.2731</c:v>
                </c:pt>
                <c:pt idx="38">
                  <c:v>1206.5839</c:v>
                </c:pt>
                <c:pt idx="39">
                  <c:v>1208.447</c:v>
                </c:pt>
                <c:pt idx="40">
                  <c:v>1213.5298</c:v>
                </c:pt>
                <c:pt idx="41">
                  <c:v>1250.4494</c:v>
                </c:pt>
                <c:pt idx="42">
                  <c:v>1257.1709</c:v>
                </c:pt>
                <c:pt idx="43">
                  <c:v>1270.3119</c:v>
                </c:pt>
                <c:pt idx="44">
                  <c:v>1190.0433</c:v>
                </c:pt>
                <c:pt idx="45">
                  <c:v>1155.537</c:v>
                </c:pt>
                <c:pt idx="46">
                  <c:v>1128.0851</c:v>
                </c:pt>
                <c:pt idx="47">
                  <c:v>1101.7124</c:v>
                </c:pt>
                <c:pt idx="48">
                  <c:v>1125.6708</c:v>
                </c:pt>
                <c:pt idx="49">
                  <c:v>1089.1883</c:v>
                </c:pt>
                <c:pt idx="50">
                  <c:v>1101.1935</c:v>
                </c:pt>
                <c:pt idx="51">
                  <c:v>1099.0815</c:v>
                </c:pt>
                <c:pt idx="52">
                  <c:v>1104.1337</c:v>
                </c:pt>
                <c:pt idx="53">
                  <c:v>1185.6887</c:v>
                </c:pt>
                <c:pt idx="54">
                  <c:v>1165.319</c:v>
                </c:pt>
                <c:pt idx="55">
                  <c:v>1189.2947</c:v>
                </c:pt>
                <c:pt idx="56">
                  <c:v>1217.5233</c:v>
                </c:pt>
                <c:pt idx="57">
                  <c:v>1199.8742</c:v>
                </c:pt>
                <c:pt idx="58">
                  <c:v>1128.8245</c:v>
                </c:pt>
                <c:pt idx="59">
                  <c:v>1128.3148</c:v>
                </c:pt>
                <c:pt idx="60">
                  <c:v>1176.4349</c:v>
                </c:pt>
                <c:pt idx="61">
                  <c:v>1206.0586</c:v>
                </c:pt>
                <c:pt idx="62">
                  <c:v>1082.7146</c:v>
                </c:pt>
                <c:pt idx="63">
                  <c:v>1132.4159</c:v>
                </c:pt>
                <c:pt idx="64">
                  <c:v>1172.4605</c:v>
                </c:pt>
                <c:pt idx="65">
                  <c:v>1163.6671</c:v>
                </c:pt>
                <c:pt idx="66">
                  <c:v>1135.0496</c:v>
                </c:pt>
                <c:pt idx="67">
                  <c:v>1198.668</c:v>
                </c:pt>
                <c:pt idx="68">
                  <c:v>1269.4822</c:v>
                </c:pt>
                <c:pt idx="69">
                  <c:v>1317.3443</c:v>
                </c:pt>
                <c:pt idx="70">
                  <c:v>1298.37</c:v>
                </c:pt>
                <c:pt idx="71">
                  <c:v>1367.2139</c:v>
                </c:pt>
                <c:pt idx="72">
                  <c:v>1427.2254</c:v>
                </c:pt>
                <c:pt idx="73">
                  <c:v>1373.5158</c:v>
                </c:pt>
                <c:pt idx="74">
                  <c:v>1352.3659</c:v>
                </c:pt>
                <c:pt idx="75">
                  <c:v>1306.7053</c:v>
                </c:pt>
                <c:pt idx="76">
                  <c:v>1268.2979</c:v>
                </c:pt>
                <c:pt idx="77">
                  <c:v>1329.4475</c:v>
                </c:pt>
                <c:pt idx="78">
                  <c:v>1357.8425</c:v>
                </c:pt>
                <c:pt idx="79">
                  <c:v>1343.1393</c:v>
                </c:pt>
                <c:pt idx="80">
                  <c:v>1323.983</c:v>
                </c:pt>
                <c:pt idx="81">
                  <c:v>1274.434</c:v>
                </c:pt>
                <c:pt idx="82">
                  <c:v>1272.1596</c:v>
                </c:pt>
                <c:pt idx="83">
                  <c:v>1240.0186</c:v>
                </c:pt>
                <c:pt idx="84">
                  <c:v>1251.6781</c:v>
                </c:pt>
                <c:pt idx="85">
                  <c:v>1226.7775</c:v>
                </c:pt>
                <c:pt idx="86">
                  <c:v>1227.1511</c:v>
                </c:pt>
                <c:pt idx="87">
                  <c:v>1239.9961</c:v>
                </c:pt>
                <c:pt idx="88">
                  <c:v>1259.0054</c:v>
                </c:pt>
                <c:pt idx="89">
                  <c:v>1265.7475</c:v>
                </c:pt>
                <c:pt idx="90">
                  <c:v>1385.3</c:v>
                </c:pt>
                <c:pt idx="91">
                  <c:v>1419.2649</c:v>
                </c:pt>
                <c:pt idx="92">
                  <c:v>1327.588</c:v>
                </c:pt>
                <c:pt idx="93">
                  <c:v>1375.5088</c:v>
                </c:pt>
                <c:pt idx="94">
                  <c:v>1383.2261</c:v>
                </c:pt>
                <c:pt idx="95">
                  <c:v>1347.2309</c:v>
                </c:pt>
                <c:pt idx="96">
                  <c:v>1272.1371</c:v>
                </c:pt>
                <c:pt idx="97">
                  <c:v>1219.9979</c:v>
                </c:pt>
                <c:pt idx="98">
                  <c:v>1195.7006</c:v>
                </c:pt>
                <c:pt idx="99">
                  <c:v>1151.3721</c:v>
                </c:pt>
                <c:pt idx="100">
                  <c:v>1171.7522</c:v>
                </c:pt>
                <c:pt idx="101">
                  <c:v>1179.9378</c:v>
                </c:pt>
                <c:pt idx="102">
                  <c:v>1213.7136</c:v>
                </c:pt>
                <c:pt idx="103">
                  <c:v>1225.2102</c:v>
                </c:pt>
                <c:pt idx="104">
                  <c:v>1296.193</c:v>
                </c:pt>
              </c:numCache>
            </c:numRef>
          </c:xVal>
          <c:yVal>
            <c:numRef>
              <c:f>Sheet1!$B$2:$B$106</c:f>
              <c:numCache>
                <c:formatCode>General</c:formatCode>
                <c:ptCount val="105"/>
                <c:pt idx="0">
                  <c:v>0.22488252405459835</c:v>
                </c:pt>
                <c:pt idx="1">
                  <c:v>0.24555160142348753</c:v>
                </c:pt>
                <c:pt idx="2">
                  <c:v>0.2509471807443726</c:v>
                </c:pt>
                <c:pt idx="3">
                  <c:v>0.24086572026995579</c:v>
                </c:pt>
                <c:pt idx="4">
                  <c:v>0.22952677812411448</c:v>
                </c:pt>
                <c:pt idx="5">
                  <c:v>0.23972781994242345</c:v>
                </c:pt>
                <c:pt idx="6">
                  <c:v>0.28502994011976046</c:v>
                </c:pt>
                <c:pt idx="7">
                  <c:v>0.2987394957983193</c:v>
                </c:pt>
                <c:pt idx="8">
                  <c:v>0.30186823992133727</c:v>
                </c:pt>
                <c:pt idx="9">
                  <c:v>0.2639218009478673</c:v>
                </c:pt>
                <c:pt idx="10">
                  <c:v>0.26634086744043983</c:v>
                </c:pt>
                <c:pt idx="11">
                  <c:v>0.22626327647248148</c:v>
                </c:pt>
                <c:pt idx="12">
                  <c:v>0.21311475409836064</c:v>
                </c:pt>
                <c:pt idx="13">
                  <c:v>0.1916083916083916</c:v>
                </c:pt>
                <c:pt idx="14">
                  <c:v>0.18277254374158816</c:v>
                </c:pt>
                <c:pt idx="15">
                  <c:v>0.174692793091996</c:v>
                </c:pt>
                <c:pt idx="16">
                  <c:v>0.15866141732283465</c:v>
                </c:pt>
                <c:pt idx="17">
                  <c:v>0.15151515151515152</c:v>
                </c:pt>
                <c:pt idx="18">
                  <c:v>0.1418319966230477</c:v>
                </c:pt>
                <c:pt idx="19">
                  <c:v>0.1390532544378698</c:v>
                </c:pt>
                <c:pt idx="20">
                  <c:v>0.1368330464716007</c:v>
                </c:pt>
                <c:pt idx="21">
                  <c:v>0.1682600382409178</c:v>
                </c:pt>
                <c:pt idx="22">
                  <c:v>0.19413092550790068</c:v>
                </c:pt>
                <c:pt idx="23">
                  <c:v>0.1978798586572438</c:v>
                </c:pt>
                <c:pt idx="24">
                  <c:v>0.2233659289758106</c:v>
                </c:pt>
                <c:pt idx="25">
                  <c:v>0.22608695652173913</c:v>
                </c:pt>
                <c:pt idx="26">
                  <c:v>0.24731182795698925</c:v>
                </c:pt>
                <c:pt idx="27">
                  <c:v>0.2411282984531392</c:v>
                </c:pt>
                <c:pt idx="28">
                  <c:v>0.24978429680759276</c:v>
                </c:pt>
                <c:pt idx="29">
                  <c:v>0.23611635814129203</c:v>
                </c:pt>
                <c:pt idx="30">
                  <c:v>0.2481827622014538</c:v>
                </c:pt>
                <c:pt idx="31">
                  <c:v>0.2623645784267546</c:v>
                </c:pt>
                <c:pt idx="32">
                  <c:v>0.26955307262569833</c:v>
                </c:pt>
                <c:pt idx="33">
                  <c:v>0.2673815288827395</c:v>
                </c:pt>
                <c:pt idx="34">
                  <c:v>0.2511430437622469</c:v>
                </c:pt>
                <c:pt idx="35">
                  <c:v>0.24653148345784417</c:v>
                </c:pt>
                <c:pt idx="36">
                  <c:v>0.22285464098073554</c:v>
                </c:pt>
                <c:pt idx="37">
                  <c:v>0.21818996415770608</c:v>
                </c:pt>
                <c:pt idx="38">
                  <c:v>0.21212121212121213</c:v>
                </c:pt>
                <c:pt idx="39">
                  <c:v>0.191869918699187</c:v>
                </c:pt>
                <c:pt idx="40">
                  <c:v>0.20207427233188358</c:v>
                </c:pt>
                <c:pt idx="41">
                  <c:v>0.19456478928712093</c:v>
                </c:pt>
                <c:pt idx="42">
                  <c:v>0.19506172839506172</c:v>
                </c:pt>
                <c:pt idx="43">
                  <c:v>0.193205317577548</c:v>
                </c:pt>
                <c:pt idx="44">
                  <c:v>0.19493087557603686</c:v>
                </c:pt>
                <c:pt idx="45">
                  <c:v>0.19699759240900722</c:v>
                </c:pt>
                <c:pt idx="46">
                  <c:v>0.21148232241323386</c:v>
                </c:pt>
                <c:pt idx="47">
                  <c:v>0.21009933774834438</c:v>
                </c:pt>
                <c:pt idx="48">
                  <c:v>0.20361152911216576</c:v>
                </c:pt>
                <c:pt idx="49">
                  <c:v>0.2160007248346471</c:v>
                </c:pt>
                <c:pt idx="50">
                  <c:v>0.21899791231732776</c:v>
                </c:pt>
                <c:pt idx="51">
                  <c:v>0.21113924050632912</c:v>
                </c:pt>
                <c:pt idx="52">
                  <c:v>0.21407567143697315</c:v>
                </c:pt>
                <c:pt idx="53">
                  <c:v>0.20894023103967854</c:v>
                </c:pt>
                <c:pt idx="54">
                  <c:v>0.20167564332734889</c:v>
                </c:pt>
                <c:pt idx="55">
                  <c:v>0.2043139604553625</c:v>
                </c:pt>
                <c:pt idx="56">
                  <c:v>0.19907407407407407</c:v>
                </c:pt>
                <c:pt idx="57">
                  <c:v>0.19453106260494124</c:v>
                </c:pt>
                <c:pt idx="58">
                  <c:v>0.2269321344465853</c:v>
                </c:pt>
                <c:pt idx="59">
                  <c:v>0.22564102564102564</c:v>
                </c:pt>
                <c:pt idx="60">
                  <c:v>0.2108644859813084</c:v>
                </c:pt>
                <c:pt idx="61">
                  <c:v>0.21758003255561584</c:v>
                </c:pt>
                <c:pt idx="62">
                  <c:v>0.24066390041493776</c:v>
                </c:pt>
                <c:pt idx="63">
                  <c:v>0.25859247135842883</c:v>
                </c:pt>
                <c:pt idx="64">
                  <c:v>0.21868158598881052</c:v>
                </c:pt>
                <c:pt idx="65">
                  <c:v>0.20125621565035332</c:v>
                </c:pt>
                <c:pt idx="66">
                  <c:v>0.21462765957446808</c:v>
                </c:pt>
                <c:pt idx="67">
                  <c:v>0.19342105263157894</c:v>
                </c:pt>
                <c:pt idx="68">
                  <c:v>0.1723433242506812</c:v>
                </c:pt>
                <c:pt idx="69">
                  <c:v>0.1640519946212461</c:v>
                </c:pt>
                <c:pt idx="70">
                  <c:v>0.16360153256704982</c:v>
                </c:pt>
                <c:pt idx="71">
                  <c:v>0.16745791972378074</c:v>
                </c:pt>
                <c:pt idx="72">
                  <c:v>0.1756701030927835</c:v>
                </c:pt>
                <c:pt idx="73">
                  <c:v>0.18726275832981865</c:v>
                </c:pt>
                <c:pt idx="74">
                  <c:v>0.19971056439942114</c:v>
                </c:pt>
                <c:pt idx="75">
                  <c:v>0.20474406991260924</c:v>
                </c:pt>
                <c:pt idx="76">
                  <c:v>0.20463137996219283</c:v>
                </c:pt>
                <c:pt idx="77">
                  <c:v>0.19665683382497542</c:v>
                </c:pt>
                <c:pt idx="78">
                  <c:v>0.20352564102564102</c:v>
                </c:pt>
                <c:pt idx="79">
                  <c:v>0.17194183062446536</c:v>
                </c:pt>
                <c:pt idx="80">
                  <c:v>0.16707317073170733</c:v>
                </c:pt>
                <c:pt idx="81">
                  <c:v>0.16963015647226173</c:v>
                </c:pt>
                <c:pt idx="82">
                  <c:v>0.1854043392504931</c:v>
                </c:pt>
                <c:pt idx="83">
                  <c:v>0.18274687854710556</c:v>
                </c:pt>
                <c:pt idx="84">
                  <c:v>0.18171493469619535</c:v>
                </c:pt>
                <c:pt idx="85">
                  <c:v>0.19408054342552158</c:v>
                </c:pt>
                <c:pt idx="86">
                  <c:v>0.2127008416220352</c:v>
                </c:pt>
                <c:pt idx="87">
                  <c:v>0.20189274447949526</c:v>
                </c:pt>
                <c:pt idx="88">
                  <c:v>0.2026504693539481</c:v>
                </c:pt>
                <c:pt idx="89">
                  <c:v>0.2238069116840373</c:v>
                </c:pt>
                <c:pt idx="90">
                  <c:v>0.19037546271813854</c:v>
                </c:pt>
                <c:pt idx="91">
                  <c:v>0.1761006289308176</c:v>
                </c:pt>
                <c:pt idx="92">
                  <c:v>0.18492586490939045</c:v>
                </c:pt>
                <c:pt idx="93">
                  <c:v>0.18620689655172415</c:v>
                </c:pt>
                <c:pt idx="94">
                  <c:v>0.176253081347576</c:v>
                </c:pt>
                <c:pt idx="95">
                  <c:v>0.17799939558779088</c:v>
                </c:pt>
                <c:pt idx="96">
                  <c:v>0.1876750700280112</c:v>
                </c:pt>
                <c:pt idx="97">
                  <c:v>0.1955694482196249</c:v>
                </c:pt>
                <c:pt idx="98">
                  <c:v>0.19588799192734613</c:v>
                </c:pt>
                <c:pt idx="99">
                  <c:v>0.20316052751250568</c:v>
                </c:pt>
                <c:pt idx="100">
                  <c:v>0.2082603769698218</c:v>
                </c:pt>
                <c:pt idx="101">
                  <c:v>0.21141374837872892</c:v>
                </c:pt>
                <c:pt idx="102">
                  <c:v>0.20416984490211035</c:v>
                </c:pt>
                <c:pt idx="103">
                  <c:v>0.19626168224299065</c:v>
                </c:pt>
                <c:pt idx="104">
                  <c:v>0.19724319002297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3.9385</c:v>
                </c:pt>
                <c:pt idx="1">
                  <c:v>1300.173</c:v>
                </c:pt>
                <c:pt idx="2">
                  <c:v>1296.5695</c:v>
                </c:pt>
                <c:pt idx="3">
                  <c:v>1281.6122</c:v>
                </c:pt>
                <c:pt idx="4">
                  <c:v>1330.3727</c:v>
                </c:pt>
                <c:pt idx="5">
                  <c:v>1278.035</c:v>
                </c:pt>
                <c:pt idx="6">
                  <c:v>1128.5874</c:v>
                </c:pt>
                <c:pt idx="7">
                  <c:v>1142.9164</c:v>
                </c:pt>
                <c:pt idx="8">
                  <c:v>1216.9287</c:v>
                </c:pt>
                <c:pt idx="9">
                  <c:v>1161.7385</c:v>
                </c:pt>
                <c:pt idx="10">
                  <c:v>1189.3318</c:v>
                </c:pt>
                <c:pt idx="11">
                  <c:v>1023.802</c:v>
                </c:pt>
                <c:pt idx="12">
                  <c:v>1099.5262</c:v>
                </c:pt>
                <c:pt idx="13">
                  <c:v>1180.7927</c:v>
                </c:pt>
                <c:pt idx="14">
                  <c:v>1117.0278</c:v>
                </c:pt>
                <c:pt idx="15">
                  <c:v>1169.1582</c:v>
                </c:pt>
                <c:pt idx="16">
                  <c:v>1194.1426</c:v>
                </c:pt>
                <c:pt idx="17">
                  <c:v>1169.4659</c:v>
                </c:pt>
                <c:pt idx="18">
                  <c:v>1029.0935</c:v>
                </c:pt>
                <c:pt idx="19">
                  <c:v>1227.7097</c:v>
                </c:pt>
                <c:pt idx="20">
                  <c:v>1337.3444</c:v>
                </c:pt>
                <c:pt idx="21">
                  <c:v>1197.0714</c:v>
                </c:pt>
                <c:pt idx="22">
                  <c:v>1243.0034</c:v>
                </c:pt>
                <c:pt idx="23">
                  <c:v>1277.7387</c:v>
                </c:pt>
                <c:pt idx="24">
                  <c:v>1255.2787</c:v>
                </c:pt>
                <c:pt idx="25">
                  <c:v>1221.9452</c:v>
                </c:pt>
                <c:pt idx="26">
                  <c:v>1214.0057</c:v>
                </c:pt>
                <c:pt idx="27">
                  <c:v>1221.4148</c:v>
                </c:pt>
                <c:pt idx="28">
                  <c:v>1231.5513</c:v>
                </c:pt>
                <c:pt idx="29">
                  <c:v>1250.8905</c:v>
                </c:pt>
                <c:pt idx="30">
                  <c:v>1240.9341</c:v>
                </c:pt>
                <c:pt idx="31">
                  <c:v>1263.3083</c:v>
                </c:pt>
                <c:pt idx="32">
                  <c:v>1260.7454</c:v>
                </c:pt>
                <c:pt idx="33">
                  <c:v>1231.9256</c:v>
                </c:pt>
                <c:pt idx="34">
                  <c:v>1243.1075</c:v>
                </c:pt>
                <c:pt idx="35">
                  <c:v>1280.6009</c:v>
                </c:pt>
                <c:pt idx="36">
                  <c:v>1380.4892</c:v>
                </c:pt>
                <c:pt idx="37">
                  <c:v>1383.6442</c:v>
                </c:pt>
                <c:pt idx="38">
                  <c:v>1360.1753</c:v>
                </c:pt>
                <c:pt idx="39">
                  <c:v>1317.0846</c:v>
                </c:pt>
                <c:pt idx="40">
                  <c:v>1323.1623</c:v>
                </c:pt>
                <c:pt idx="41">
                  <c:v>1373.9722</c:v>
                </c:pt>
                <c:pt idx="42">
                  <c:v>1356.3697</c:v>
                </c:pt>
                <c:pt idx="43">
                  <c:v>1386.7654</c:v>
                </c:pt>
                <c:pt idx="44">
                  <c:v>1292.8748</c:v>
                </c:pt>
                <c:pt idx="45">
                  <c:v>1229.1393</c:v>
                </c:pt>
                <c:pt idx="46">
                  <c:v>1197.6238</c:v>
                </c:pt>
                <c:pt idx="47">
                  <c:v>1175.7441</c:v>
                </c:pt>
                <c:pt idx="48">
                  <c:v>1187.1478</c:v>
                </c:pt>
                <c:pt idx="49">
                  <c:v>1207.4938</c:v>
                </c:pt>
                <c:pt idx="50">
                  <c:v>1163.3052</c:v>
                </c:pt>
                <c:pt idx="51">
                  <c:v>1122.3366</c:v>
                </c:pt>
              </c:numCache>
            </c:numRef>
          </c:xVal>
          <c:yVal>
            <c:numRef>
              <c:f>Sheet1!$B$109:$B$160</c:f>
              <c:numCache>
                <c:formatCode>General</c:formatCode>
                <c:ptCount val="52"/>
                <c:pt idx="0">
                  <c:v>0.19562243502051985</c:v>
                </c:pt>
                <c:pt idx="1">
                  <c:v>0.2102728731942215</c:v>
                </c:pt>
                <c:pt idx="2">
                  <c:v>0.21708103130755063</c:v>
                </c:pt>
                <c:pt idx="3">
                  <c:v>0.23735886107020127</c:v>
                </c:pt>
                <c:pt idx="4">
                  <c:v>0.21292039680619404</c:v>
                </c:pt>
                <c:pt idx="5">
                  <c:v>0.22138660399529964</c:v>
                </c:pt>
                <c:pt idx="6">
                  <c:v>0.2595886603668705</c:v>
                </c:pt>
                <c:pt idx="7">
                  <c:v>0.2535750766087845</c:v>
                </c:pt>
                <c:pt idx="8">
                  <c:v>0.239918533604888</c:v>
                </c:pt>
                <c:pt idx="9">
                  <c:v>0.24322370798698953</c:v>
                </c:pt>
                <c:pt idx="10">
                  <c:v>0.23978494623655913</c:v>
                </c:pt>
                <c:pt idx="11">
                  <c:v>0.24065477644759345</c:v>
                </c:pt>
                <c:pt idx="12">
                  <c:v>0.24311618535930155</c:v>
                </c:pt>
                <c:pt idx="13">
                  <c:v>0.2456958393113343</c:v>
                </c:pt>
                <c:pt idx="14">
                  <c:v>0.2586989409984871</c:v>
                </c:pt>
                <c:pt idx="15">
                  <c:v>0.23709677419354838</c:v>
                </c:pt>
                <c:pt idx="16">
                  <c:v>0.2401500938086304</c:v>
                </c:pt>
                <c:pt idx="17">
                  <c:v>0.24231298760899495</c:v>
                </c:pt>
                <c:pt idx="18">
                  <c:v>0.2628841607565012</c:v>
                </c:pt>
                <c:pt idx="19">
                  <c:v>0.2320855614973262</c:v>
                </c:pt>
                <c:pt idx="20">
                  <c:v>0.2066590126291619</c:v>
                </c:pt>
                <c:pt idx="21">
                  <c:v>0.23783783783783785</c:v>
                </c:pt>
                <c:pt idx="22">
                  <c:v>0.22919937205651492</c:v>
                </c:pt>
                <c:pt idx="23">
                  <c:v>0.22598425196850394</c:v>
                </c:pt>
                <c:pt idx="24">
                  <c:v>0.22123331214240305</c:v>
                </c:pt>
                <c:pt idx="25">
                  <c:v>0.21335168616655195</c:v>
                </c:pt>
                <c:pt idx="26">
                  <c:v>0.21609907120743035</c:v>
                </c:pt>
                <c:pt idx="27">
                  <c:v>0.2153267512929008</c:v>
                </c:pt>
                <c:pt idx="28">
                  <c:v>0.225713104588673</c:v>
                </c:pt>
                <c:pt idx="29">
                  <c:v>0.2239782016348774</c:v>
                </c:pt>
                <c:pt idx="30">
                  <c:v>0.22114347357065803</c:v>
                </c:pt>
                <c:pt idx="31">
                  <c:v>0.19781854238968766</c:v>
                </c:pt>
                <c:pt idx="32">
                  <c:v>0.20322847682119205</c:v>
                </c:pt>
                <c:pt idx="33">
                  <c:v>0.21653819201121233</c:v>
                </c:pt>
                <c:pt idx="34">
                  <c:v>0.22461131326496858</c:v>
                </c:pt>
                <c:pt idx="35">
                  <c:v>0.2224903474903475</c:v>
                </c:pt>
                <c:pt idx="36">
                  <c:v>0.20960415314730693</c:v>
                </c:pt>
                <c:pt idx="37">
                  <c:v>0.2163265306122449</c:v>
                </c:pt>
                <c:pt idx="38">
                  <c:v>0.21320093457943926</c:v>
                </c:pt>
                <c:pt idx="39">
                  <c:v>0.21608040201005024</c:v>
                </c:pt>
                <c:pt idx="40">
                  <c:v>0.19398148148148148</c:v>
                </c:pt>
                <c:pt idx="41">
                  <c:v>0.20509442248572685</c:v>
                </c:pt>
                <c:pt idx="42">
                  <c:v>0.21099476439790577</c:v>
                </c:pt>
                <c:pt idx="43">
                  <c:v>0.19639764461378595</c:v>
                </c:pt>
                <c:pt idx="44">
                  <c:v>0.18049940546967896</c:v>
                </c:pt>
                <c:pt idx="45">
                  <c:v>0.19410954185325524</c:v>
                </c:pt>
                <c:pt idx="46">
                  <c:v>0.2222699914015477</c:v>
                </c:pt>
                <c:pt idx="47">
                  <c:v>0.22492594159966145</c:v>
                </c:pt>
                <c:pt idx="48">
                  <c:v>0.21024258760107817</c:v>
                </c:pt>
                <c:pt idx="49">
                  <c:v>0.22300613496932514</c:v>
                </c:pt>
                <c:pt idx="50">
                  <c:v>0.22176100628930817</c:v>
                </c:pt>
                <c:pt idx="51">
                  <c:v>0.2172880550938019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7.5414445251085</c:v>
                </c:pt>
              </c:numCache>
            </c:numRef>
          </c:xVal>
          <c:yVal>
            <c:numRef>
              <c:f>Sheet1!$B$163:$B$164</c:f>
              <c:numCache>
                <c:formatCode>General</c:formatCode>
                <c:ptCount val="2"/>
                <c:pt idx="0">
                  <c:v>0.2574599222664855</c:v>
                </c:pt>
                <c:pt idx="1">
                  <c:v>0.257459922266485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7.5414445251085</c:v>
                </c:pt>
                <c:pt idx="1">
                  <c:v>1007.5414445251085</c:v>
                </c:pt>
              </c:numCache>
            </c:numRef>
          </c:xVal>
          <c:yVal>
            <c:numRef>
              <c:f>Sheet1!$B$167:$B$168</c:f>
              <c:numCache>
                <c:formatCode>General</c:formatCode>
                <c:ptCount val="2"/>
                <c:pt idx="0">
                  <c:v>0.257459922266485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7.908987268695</c:v>
                </c:pt>
              </c:numCache>
            </c:numRef>
          </c:xVal>
          <c:yVal>
            <c:numRef>
              <c:f>Sheet1!$B$171:$B$172</c:f>
              <c:numCache>
                <c:formatCode>General</c:formatCode>
                <c:ptCount val="2"/>
                <c:pt idx="0">
                  <c:v>0.24078467882094354</c:v>
                </c:pt>
                <c:pt idx="1">
                  <c:v>0.2407846788209435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7.908987268695</c:v>
                </c:pt>
                <c:pt idx="1">
                  <c:v>1117.908987268695</c:v>
                </c:pt>
              </c:numCache>
            </c:numRef>
          </c:xVal>
          <c:yVal>
            <c:numRef>
              <c:f>Sheet1!$B$175:$B$176</c:f>
              <c:numCache>
                <c:formatCode>General</c:formatCode>
                <c:ptCount val="2"/>
                <c:pt idx="0">
                  <c:v>0.240784678820943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28.4580346608993</c:v>
                </c:pt>
              </c:numCache>
            </c:numRef>
          </c:xVal>
          <c:yVal>
            <c:numRef>
              <c:f>Sheet1!$B$179:$B$180</c:f>
              <c:numCache>
                <c:formatCode>General</c:formatCode>
                <c:ptCount val="2"/>
                <c:pt idx="0">
                  <c:v>0.20897318302050824</c:v>
                </c:pt>
                <c:pt idx="1">
                  <c:v>0.2089731830205082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28.4580346608993</c:v>
                </c:pt>
                <c:pt idx="1">
                  <c:v>1328.4580346608993</c:v>
                </c:pt>
              </c:numCache>
            </c:numRef>
          </c:xVal>
          <c:yVal>
            <c:numRef>
              <c:f>Sheet1!$B$183:$B$184</c:f>
              <c:numCache>
                <c:formatCode>General</c:formatCode>
                <c:ptCount val="2"/>
                <c:pt idx="0">
                  <c:v>0.2089731830205082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3.9385</c:v>
                </c:pt>
                <c:pt idx="1">
                  <c:v>1300.173</c:v>
                </c:pt>
                <c:pt idx="2">
                  <c:v>1296.5695</c:v>
                </c:pt>
                <c:pt idx="3">
                  <c:v>1281.6122</c:v>
                </c:pt>
                <c:pt idx="4">
                  <c:v>1330.3727</c:v>
                </c:pt>
                <c:pt idx="5">
                  <c:v>1278.035</c:v>
                </c:pt>
                <c:pt idx="6">
                  <c:v>1128.5874</c:v>
                </c:pt>
                <c:pt idx="7">
                  <c:v>1142.9164</c:v>
                </c:pt>
                <c:pt idx="8">
                  <c:v>1216.9287</c:v>
                </c:pt>
                <c:pt idx="9">
                  <c:v>1161.7385</c:v>
                </c:pt>
                <c:pt idx="10">
                  <c:v>1189.3318</c:v>
                </c:pt>
                <c:pt idx="11">
                  <c:v>1023.802</c:v>
                </c:pt>
                <c:pt idx="12">
                  <c:v>1099.5262</c:v>
                </c:pt>
                <c:pt idx="13">
                  <c:v>1180.7927</c:v>
                </c:pt>
                <c:pt idx="14">
                  <c:v>1117.0278</c:v>
                </c:pt>
                <c:pt idx="15">
                  <c:v>1169.1582</c:v>
                </c:pt>
                <c:pt idx="16">
                  <c:v>1194.1426</c:v>
                </c:pt>
                <c:pt idx="17">
                  <c:v>1169.4659</c:v>
                </c:pt>
                <c:pt idx="18">
                  <c:v>1029.0935</c:v>
                </c:pt>
                <c:pt idx="19">
                  <c:v>1227.7097</c:v>
                </c:pt>
                <c:pt idx="20">
                  <c:v>1337.3444</c:v>
                </c:pt>
                <c:pt idx="21">
                  <c:v>1197.0714</c:v>
                </c:pt>
                <c:pt idx="22">
                  <c:v>1243.0034</c:v>
                </c:pt>
                <c:pt idx="23">
                  <c:v>1277.7387</c:v>
                </c:pt>
                <c:pt idx="24">
                  <c:v>1255.2787</c:v>
                </c:pt>
                <c:pt idx="25">
                  <c:v>1221.9452</c:v>
                </c:pt>
                <c:pt idx="26">
                  <c:v>1214.0057</c:v>
                </c:pt>
                <c:pt idx="27">
                  <c:v>1221.4148</c:v>
                </c:pt>
                <c:pt idx="28">
                  <c:v>1231.5513</c:v>
                </c:pt>
                <c:pt idx="29">
                  <c:v>1250.8905</c:v>
                </c:pt>
                <c:pt idx="30">
                  <c:v>1240.9341</c:v>
                </c:pt>
                <c:pt idx="31">
                  <c:v>1263.3083</c:v>
                </c:pt>
                <c:pt idx="32">
                  <c:v>1260.7454</c:v>
                </c:pt>
                <c:pt idx="33">
                  <c:v>1231.9256</c:v>
                </c:pt>
                <c:pt idx="34">
                  <c:v>1243.1075</c:v>
                </c:pt>
                <c:pt idx="35">
                  <c:v>1280.6009</c:v>
                </c:pt>
                <c:pt idx="36">
                  <c:v>1380.4892</c:v>
                </c:pt>
                <c:pt idx="37">
                  <c:v>1383.6442</c:v>
                </c:pt>
                <c:pt idx="38">
                  <c:v>1360.1753</c:v>
                </c:pt>
                <c:pt idx="39">
                  <c:v>1317.0846</c:v>
                </c:pt>
                <c:pt idx="40">
                  <c:v>1323.1623</c:v>
                </c:pt>
                <c:pt idx="41">
                  <c:v>1373.9722</c:v>
                </c:pt>
                <c:pt idx="42">
                  <c:v>1356.3697</c:v>
                </c:pt>
                <c:pt idx="43">
                  <c:v>1386.7654</c:v>
                </c:pt>
                <c:pt idx="44">
                  <c:v>1292.8748</c:v>
                </c:pt>
                <c:pt idx="45">
                  <c:v>1229.1393</c:v>
                </c:pt>
                <c:pt idx="46">
                  <c:v>1197.6238</c:v>
                </c:pt>
                <c:pt idx="47">
                  <c:v>1175.7441</c:v>
                </c:pt>
                <c:pt idx="48">
                  <c:v>1187.1478</c:v>
                </c:pt>
                <c:pt idx="49">
                  <c:v>1207.4938</c:v>
                </c:pt>
                <c:pt idx="50">
                  <c:v>1163.3052</c:v>
                </c:pt>
                <c:pt idx="51">
                  <c:v>1122.3366</c:v>
                </c:pt>
                <c:pt idx="52">
                  <c:v>1117.908987268695</c:v>
                </c:pt>
                <c:pt idx="53">
                  <c:v>1007.5414445251085</c:v>
                </c:pt>
                <c:pt idx="54">
                  <c:v>1328.4580346608993</c:v>
                </c:pt>
              </c:numCache>
            </c:numRef>
          </c:xVal>
          <c:yVal>
            <c:numRef>
              <c:f>Sheet1!$B$187:$B$241</c:f>
              <c:numCache>
                <c:formatCode>General</c:formatCode>
                <c:ptCount val="55"/>
                <c:pt idx="0">
                  <c:v>0.20965603178978956</c:v>
                </c:pt>
                <c:pt idx="1">
                  <c:v>0.21324672057612712</c:v>
                </c:pt>
                <c:pt idx="2">
                  <c:v>0.2137911672337429</c:v>
                </c:pt>
                <c:pt idx="3">
                  <c:v>0.2160510401328566</c:v>
                </c:pt>
                <c:pt idx="4">
                  <c:v>0.20868389950605673</c:v>
                </c:pt>
                <c:pt idx="5">
                  <c:v>0.21659151316841177</c:v>
                </c:pt>
                <c:pt idx="6">
                  <c:v>0.2391712956878228</c:v>
                </c:pt>
                <c:pt idx="7">
                  <c:v>0.23700635156211824</c:v>
                </c:pt>
                <c:pt idx="8">
                  <c:v>0.22582395962165616</c:v>
                </c:pt>
                <c:pt idx="9">
                  <c:v>0.23416255263487817</c:v>
                </c:pt>
                <c:pt idx="10">
                  <c:v>0.22999352808719148</c:v>
                </c:pt>
                <c:pt idx="11">
                  <c:v>0.25500314272457336</c:v>
                </c:pt>
                <c:pt idx="12">
                  <c:v>0.2435621027382746</c:v>
                </c:pt>
                <c:pt idx="13">
                  <c:v>0.23128368611523276</c:v>
                </c:pt>
                <c:pt idx="14">
                  <c:v>0.24091781589966546</c:v>
                </c:pt>
                <c:pt idx="15">
                  <c:v>0.23304152284009205</c:v>
                </c:pt>
                <c:pt idx="16">
                  <c:v>0.2292666725355173</c:v>
                </c:pt>
                <c:pt idx="17">
                  <c:v>0.23299503297286622</c:v>
                </c:pt>
                <c:pt idx="18">
                  <c:v>0.2542036590312825</c:v>
                </c:pt>
                <c:pt idx="19">
                  <c:v>0.22419507675340153</c:v>
                </c:pt>
                <c:pt idx="20">
                  <c:v>0.2076305572657626</c:v>
                </c:pt>
                <c:pt idx="21">
                  <c:v>0.22882416514802592</c:v>
                </c:pt>
                <c:pt idx="22">
                  <c:v>0.22188437775310232</c:v>
                </c:pt>
                <c:pt idx="23">
                  <c:v>0.21663628062911708</c:v>
                </c:pt>
                <c:pt idx="24">
                  <c:v>0.22002972365119286</c:v>
                </c:pt>
                <c:pt idx="25">
                  <c:v>0.22506602520846633</c:v>
                </c:pt>
                <c:pt idx="26">
                  <c:v>0.2262655906970581</c:v>
                </c:pt>
                <c:pt idx="27">
                  <c:v>0.22514616243815955</c:v>
                </c:pt>
                <c:pt idx="28">
                  <c:v>0.22361465597363275</c:v>
                </c:pt>
                <c:pt idx="29">
                  <c:v>0.2206927292909735</c:v>
                </c:pt>
                <c:pt idx="30">
                  <c:v>0.2221970247542413</c:v>
                </c:pt>
                <c:pt idx="31">
                  <c:v>0.2188165451075571</c:v>
                </c:pt>
                <c:pt idx="32">
                  <c:v>0.21920376928927027</c:v>
                </c:pt>
                <c:pt idx="33">
                  <c:v>0.2235581036262079</c:v>
                </c:pt>
                <c:pt idx="34">
                  <c:v>0.2218686494619804</c:v>
                </c:pt>
                <c:pt idx="35">
                  <c:v>0.21620383572182478</c:v>
                </c:pt>
                <c:pt idx="36">
                  <c:v>0.20111188315628553</c:v>
                </c:pt>
                <c:pt idx="37">
                  <c:v>0.2006351995973074</c:v>
                </c:pt>
                <c:pt idx="38">
                  <c:v>0.20418107559645227</c:v>
                </c:pt>
                <c:pt idx="39">
                  <c:v>0.21069157582937129</c:v>
                </c:pt>
                <c:pt idx="40">
                  <c:v>0.20977330652147858</c:v>
                </c:pt>
                <c:pt idx="41">
                  <c:v>0.20209652555053612</c:v>
                </c:pt>
                <c:pt idx="42">
                  <c:v>0.20475605719773507</c:v>
                </c:pt>
                <c:pt idx="43">
                  <c:v>0.2001636228225744</c:v>
                </c:pt>
                <c:pt idx="44">
                  <c:v>0.21434939314352308</c:v>
                </c:pt>
                <c:pt idx="45">
                  <c:v>0.2239790809321923</c:v>
                </c:pt>
                <c:pt idx="46">
                  <c:v>0.22874070397592466</c:v>
                </c:pt>
                <c:pt idx="47">
                  <c:v>0.23204647046257254</c:v>
                </c:pt>
                <c:pt idx="48">
                  <c:v>0.2303235049153399</c:v>
                </c:pt>
                <c:pt idx="49">
                  <c:v>0.22724946254102316</c:v>
                </c:pt>
                <c:pt idx="50">
                  <c:v>0.23392584260893487</c:v>
                </c:pt>
                <c:pt idx="51">
                  <c:v>0.24011571837893547</c:v>
                </c:pt>
                <c:pt idx="52">
                  <c:v>0.24078467882094354</c:v>
                </c:pt>
                <c:pt idx="53">
                  <c:v>0.2574599222664855</c:v>
                </c:pt>
                <c:pt idx="54">
                  <c:v>0.208973183020508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3.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2418879056047"/>
          <c:min val="0.109466437177280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554576971703513</c:v>
                </c:pt>
                <c:pt idx="1">
                  <c:v>0.22135546365914788</c:v>
                </c:pt>
                <c:pt idx="2">
                  <c:v>0.21152953681810707</c:v>
                </c:pt>
                <c:pt idx="3">
                  <c:v>0.24178275316543776</c:v>
                </c:pt>
                <c:pt idx="4">
                  <c:v>0.2262783927996285</c:v>
                </c:pt>
                <c:pt idx="5">
                  <c:v>0.20681126425598617</c:v>
                </c:pt>
                <c:pt idx="6">
                  <c:v>0.19542597041902707</c:v>
                </c:pt>
                <c:pt idx="7">
                  <c:v>0.18981337663965142</c:v>
                </c:pt>
                <c:pt idx="8">
                  <c:v>0.1617369557791897</c:v>
                </c:pt>
                <c:pt idx="9">
                  <c:v>0.19663521527045535</c:v>
                </c:pt>
                <c:pt idx="10">
                  <c:v>0.21136259277077496</c:v>
                </c:pt>
                <c:pt idx="11">
                  <c:v>0.20799879820947947</c:v>
                </c:pt>
                <c:pt idx="12">
                  <c:v>0.22510460862114853</c:v>
                </c:pt>
                <c:pt idx="13">
                  <c:v>0.23142461060417716</c:v>
                </c:pt>
                <c:pt idx="14">
                  <c:v>0.21833630618814834</c:v>
                </c:pt>
                <c:pt idx="15">
                  <c:v>0.21321774295262122</c:v>
                </c:pt>
                <c:pt idx="16">
                  <c:v>0.22502681647827152</c:v>
                </c:pt>
                <c:pt idx="17">
                  <c:v>0.17239218915176188</c:v>
                </c:pt>
                <c:pt idx="18">
                  <c:v>0.22154408397346437</c:v>
                </c:pt>
                <c:pt idx="19">
                  <c:v>0.21165230278409558</c:v>
                </c:pt>
                <c:pt idx="20">
                  <c:v>0.21195150468517512</c:v>
                </c:pt>
                <c:pt idx="21">
                  <c:v>0.15830993113733485</c:v>
                </c:pt>
                <c:pt idx="22">
                  <c:v>0.1686352602364973</c:v>
                </c:pt>
                <c:pt idx="23">
                  <c:v>0.16775955250415103</c:v>
                </c:pt>
                <c:pt idx="24">
                  <c:v>0.19425661973064662</c:v>
                </c:pt>
                <c:pt idx="25">
                  <c:v>0.1738203552050442</c:v>
                </c:pt>
                <c:pt idx="26">
                  <c:v>0.17495603686481756</c:v>
                </c:pt>
                <c:pt idx="27">
                  <c:v>0.19638173055856156</c:v>
                </c:pt>
                <c:pt idx="28">
                  <c:v>0.17493041295602266</c:v>
                </c:pt>
                <c:pt idx="29">
                  <c:v>0.16937721312199747</c:v>
                </c:pt>
                <c:pt idx="30">
                  <c:v>0.1666155286255403</c:v>
                </c:pt>
                <c:pt idx="31">
                  <c:v>0.15978986472773477</c:v>
                </c:pt>
                <c:pt idx="32">
                  <c:v>0.17321580247490806</c:v>
                </c:pt>
                <c:pt idx="33">
                  <c:v>0.1838475422711603</c:v>
                </c:pt>
                <c:pt idx="34">
                  <c:v>0.21078638898189406</c:v>
                </c:pt>
                <c:pt idx="35">
                  <c:v>0.23664077094116343</c:v>
                </c:pt>
                <c:pt idx="36">
                  <c:v>0.19710318768933976</c:v>
                </c:pt>
                <c:pt idx="37">
                  <c:v>0.19328729266035716</c:v>
                </c:pt>
                <c:pt idx="38">
                  <c:v>0.1836446335781247</c:v>
                </c:pt>
                <c:pt idx="39">
                  <c:v>0.18630451063950293</c:v>
                </c:pt>
                <c:pt idx="40">
                  <c:v>0.24751362699138357</c:v>
                </c:pt>
                <c:pt idx="41">
                  <c:v>0.21666521601877567</c:v>
                </c:pt>
                <c:pt idx="42">
                  <c:v>0.22450712309548473</c:v>
                </c:pt>
                <c:pt idx="43">
                  <c:v>0.20972129350774318</c:v>
                </c:pt>
                <c:pt idx="44">
                  <c:v>0.20834501821187776</c:v>
                </c:pt>
                <c:pt idx="45">
                  <c:v>0.20651525287836242</c:v>
                </c:pt>
                <c:pt idx="46">
                  <c:v>0.2345836106351358</c:v>
                </c:pt>
                <c:pt idx="47">
                  <c:v>0.19282251582661672</c:v>
                </c:pt>
                <c:pt idx="48">
                  <c:v>0.24561882280263073</c:v>
                </c:pt>
                <c:pt idx="49">
                  <c:v>0.2607892810378382</c:v>
                </c:pt>
                <c:pt idx="50">
                  <c:v>0.21212478166228418</c:v>
                </c:pt>
                <c:pt idx="51">
                  <c:v>0.18112212040710157</c:v>
                </c:pt>
                <c:pt idx="52">
                  <c:v>0.22112935369073586</c:v>
                </c:pt>
                <c:pt idx="53">
                  <c:v>0.20984437693106947</c:v>
                </c:pt>
                <c:pt idx="54">
                  <c:v>0.21754125490364212</c:v>
                </c:pt>
                <c:pt idx="55">
                  <c:v>0.2145475306164878</c:v>
                </c:pt>
                <c:pt idx="56">
                  <c:v>0.20933743854695464</c:v>
                </c:pt>
                <c:pt idx="57">
                  <c:v>0.21203585790069387</c:v>
                </c:pt>
                <c:pt idx="58">
                  <c:v>0.20107950889575568</c:v>
                </c:pt>
                <c:pt idx="59">
                  <c:v>0.22336928957988508</c:v>
                </c:pt>
                <c:pt idx="60">
                  <c:v>0.2342211221721161</c:v>
                </c:pt>
                <c:pt idx="61">
                  <c:v>0.22074202841624954</c:v>
                </c:pt>
                <c:pt idx="62">
                  <c:v>0.22874547587987107</c:v>
                </c:pt>
                <c:pt idx="63">
                  <c:v>0.23498496365919785</c:v>
                </c:pt>
                <c:pt idx="64">
                  <c:v>0.24787275668374062</c:v>
                </c:pt>
                <c:pt idx="65">
                  <c:v>0.2024403563200676</c:v>
                </c:pt>
                <c:pt idx="66">
                  <c:v>0.20323700271045855</c:v>
                </c:pt>
                <c:pt idx="67">
                  <c:v>0.19690571131863785</c:v>
                </c:pt>
                <c:pt idx="68">
                  <c:v>0.16247489795675085</c:v>
                </c:pt>
                <c:pt idx="69">
                  <c:v>0.15515049105910894</c:v>
                </c:pt>
                <c:pt idx="70">
                  <c:v>0.14225624571839854</c:v>
                </c:pt>
                <c:pt idx="71">
                  <c:v>0.14908640255354508</c:v>
                </c:pt>
                <c:pt idx="72">
                  <c:v>0.15910689655172414</c:v>
                </c:pt>
                <c:pt idx="73">
                  <c:v>0.1521369873699627</c:v>
                </c:pt>
                <c:pt idx="74">
                  <c:v>0.15972456794634055</c:v>
                </c:pt>
                <c:pt idx="75">
                  <c:v>0.16370704525810545</c:v>
                </c:pt>
                <c:pt idx="76">
                  <c:v>0.14538858660099022</c:v>
                </c:pt>
                <c:pt idx="77">
                  <c:v>0.1442585631488087</c:v>
                </c:pt>
                <c:pt idx="78">
                  <c:v>0.13678451475509584</c:v>
                </c:pt>
                <c:pt idx="79">
                  <c:v>0.09290650256651004</c:v>
                </c:pt>
                <c:pt idx="80">
                  <c:v>0.07810163688571062</c:v>
                </c:pt>
                <c:pt idx="81">
                  <c:v>0.13323413374255352</c:v>
                </c:pt>
                <c:pt idx="82">
                  <c:v>0.13156724195630348</c:v>
                </c:pt>
                <c:pt idx="83">
                  <c:v>0.13273056956924684</c:v>
                </c:pt>
                <c:pt idx="84">
                  <c:v>0.10974752478881858</c:v>
                </c:pt>
                <c:pt idx="85">
                  <c:v>0.14674705809149258</c:v>
                </c:pt>
                <c:pt idx="86">
                  <c:v>0.16088918741474484</c:v>
                </c:pt>
                <c:pt idx="87">
                  <c:v>0.18705888414654867</c:v>
                </c:pt>
                <c:pt idx="88">
                  <c:v>0.15602851301719445</c:v>
                </c:pt>
                <c:pt idx="89">
                  <c:v>0.15006007332083537</c:v>
                </c:pt>
                <c:pt idx="90">
                  <c:v>0.17873479428499792</c:v>
                </c:pt>
                <c:pt idx="91">
                  <c:v>0.18875675366113065</c:v>
                </c:pt>
                <c:pt idx="92">
                  <c:v>0.19779472130578224</c:v>
                </c:pt>
                <c:pt idx="93">
                  <c:v>0.17829678728661177</c:v>
                </c:pt>
                <c:pt idx="94">
                  <c:v>0.19716959293051514</c:v>
                </c:pt>
                <c:pt idx="95">
                  <c:v>0.18436591403755656</c:v>
                </c:pt>
                <c:pt idx="96">
                  <c:v>0.18946536323125968</c:v>
                </c:pt>
                <c:pt idx="97">
                  <c:v>0.21181245479917307</c:v>
                </c:pt>
                <c:pt idx="98">
                  <c:v>0.2296976335159467</c:v>
                </c:pt>
                <c:pt idx="99">
                  <c:v>0.21492162654186275</c:v>
                </c:pt>
                <c:pt idx="100">
                  <c:v>0.22811862981351466</c:v>
                </c:pt>
                <c:pt idx="101">
                  <c:v>0.22903594132664679</c:v>
                </c:pt>
                <c:pt idx="102">
                  <c:v>0.20515655319062545</c:v>
                </c:pt>
                <c:pt idx="103">
                  <c:v>0.18414490230813302</c:v>
                </c:pt>
                <c:pt idx="104">
                  <c:v>0.20509111361906898</c:v>
                </c:pt>
              </c:numCache>
            </c:numRef>
          </c:xVal>
          <c:yVal>
            <c:numRef>
              <c:f>Sheet1!$B$2:$B$106</c:f>
              <c:numCache>
                <c:formatCode>General</c:formatCode>
                <c:ptCount val="105"/>
                <c:pt idx="0">
                  <c:v>0.18620242214532873</c:v>
                </c:pt>
                <c:pt idx="1">
                  <c:v>0.1890214797136038</c:v>
                </c:pt>
                <c:pt idx="2">
                  <c:v>0.16231755860238833</c:v>
                </c:pt>
                <c:pt idx="3">
                  <c:v>0.16826137689614937</c:v>
                </c:pt>
                <c:pt idx="4">
                  <c:v>0.162472647702407</c:v>
                </c:pt>
                <c:pt idx="5">
                  <c:v>0.14882893566557961</c:v>
                </c:pt>
                <c:pt idx="6">
                  <c:v>0.18030256251929608</c:v>
                </c:pt>
                <c:pt idx="7">
                  <c:v>0.1793103448275862</c:v>
                </c:pt>
                <c:pt idx="8">
                  <c:v>0.1728950923007654</c:v>
                </c:pt>
                <c:pt idx="9">
                  <c:v>0.17502100252030245</c:v>
                </c:pt>
                <c:pt idx="10">
                  <c:v>0.187602403058438</c:v>
                </c:pt>
                <c:pt idx="11">
                  <c:v>0.1816124469589816</c:v>
                </c:pt>
                <c:pt idx="12">
                  <c:v>0.20361769738450256</c:v>
                </c:pt>
                <c:pt idx="13">
                  <c:v>0.21497695852534562</c:v>
                </c:pt>
                <c:pt idx="14">
                  <c:v>0.1998332986038758</c:v>
                </c:pt>
                <c:pt idx="15">
                  <c:v>0.199435318275154</c:v>
                </c:pt>
                <c:pt idx="16">
                  <c:v>0.19881950916433674</c:v>
                </c:pt>
                <c:pt idx="17">
                  <c:v>0.16977985323549033</c:v>
                </c:pt>
                <c:pt idx="18">
                  <c:v>0.14209115281501342</c:v>
                </c:pt>
                <c:pt idx="19">
                  <c:v>0.13291445142580957</c:v>
                </c:pt>
                <c:pt idx="20">
                  <c:v>0.1506002182611859</c:v>
                </c:pt>
                <c:pt idx="21">
                  <c:v>0.15075921908893708</c:v>
                </c:pt>
                <c:pt idx="22">
                  <c:v>0.1484819734345351</c:v>
                </c:pt>
                <c:pt idx="23">
                  <c:v>0.16783872480075013</c:v>
                </c:pt>
                <c:pt idx="24">
                  <c:v>0.1594628619387327</c:v>
                </c:pt>
                <c:pt idx="25">
                  <c:v>0.16109725685785536</c:v>
                </c:pt>
                <c:pt idx="26">
                  <c:v>0.18596171376481313</c:v>
                </c:pt>
                <c:pt idx="27">
                  <c:v>0.1718185467683661</c:v>
                </c:pt>
                <c:pt idx="28">
                  <c:v>0.17509247842170161</c:v>
                </c:pt>
                <c:pt idx="29">
                  <c:v>0.21141975308641975</c:v>
                </c:pt>
                <c:pt idx="30">
                  <c:v>0.18292682926829268</c:v>
                </c:pt>
                <c:pt idx="31">
                  <c:v>0.1837837837837838</c:v>
                </c:pt>
                <c:pt idx="32">
                  <c:v>0.19543973941368079</c:v>
                </c:pt>
                <c:pt idx="33">
                  <c:v>0.21220846530377196</c:v>
                </c:pt>
                <c:pt idx="34">
                  <c:v>0.20370779077466342</c:v>
                </c:pt>
                <c:pt idx="35">
                  <c:v>0.1883278940295642</c:v>
                </c:pt>
                <c:pt idx="36">
                  <c:v>0.1565116950620849</c:v>
                </c:pt>
                <c:pt idx="37">
                  <c:v>0.13574826198316867</c:v>
                </c:pt>
                <c:pt idx="38">
                  <c:v>0.13865076407007082</c:v>
                </c:pt>
                <c:pt idx="39">
                  <c:v>0.14408041697691734</c:v>
                </c:pt>
                <c:pt idx="40">
                  <c:v>0.14119278779472955</c:v>
                </c:pt>
                <c:pt idx="41">
                  <c:v>0.11777076761303891</c:v>
                </c:pt>
                <c:pt idx="42">
                  <c:v>0.12353823088455772</c:v>
                </c:pt>
                <c:pt idx="43">
                  <c:v>0.13986577181208054</c:v>
                </c:pt>
                <c:pt idx="44">
                  <c:v>0.17872268338133152</c:v>
                </c:pt>
                <c:pt idx="45">
                  <c:v>0.21164274322169058</c:v>
                </c:pt>
                <c:pt idx="46">
                  <c:v>0.21471774193548387</c:v>
                </c:pt>
                <c:pt idx="47">
                  <c:v>0.21328448550493787</c:v>
                </c:pt>
                <c:pt idx="48">
                  <c:v>0.23169267707082833</c:v>
                </c:pt>
                <c:pt idx="49">
                  <c:v>0.26036719359183386</c:v>
                </c:pt>
                <c:pt idx="50">
                  <c:v>0.21752937440457287</c:v>
                </c:pt>
                <c:pt idx="51">
                  <c:v>0.18434343434343434</c:v>
                </c:pt>
                <c:pt idx="52">
                  <c:v>0.2164369576314446</c:v>
                </c:pt>
                <c:pt idx="53">
                  <c:v>0.20008853474988933</c:v>
                </c:pt>
                <c:pt idx="54">
                  <c:v>0.18109833971902936</c:v>
                </c:pt>
                <c:pt idx="55">
                  <c:v>0.15755968169761272</c:v>
                </c:pt>
                <c:pt idx="56">
                  <c:v>0.16745005875440658</c:v>
                </c:pt>
                <c:pt idx="57">
                  <c:v>0.168932527693857</c:v>
                </c:pt>
                <c:pt idx="58">
                  <c:v>0.1865934065934066</c:v>
                </c:pt>
                <c:pt idx="59">
                  <c:v>0.19930424699231772</c:v>
                </c:pt>
                <c:pt idx="60">
                  <c:v>0.20135335864003961</c:v>
                </c:pt>
                <c:pt idx="61">
                  <c:v>0.19685990338164253</c:v>
                </c:pt>
                <c:pt idx="62">
                  <c:v>0.202009405728944</c:v>
                </c:pt>
                <c:pt idx="63">
                  <c:v>0.2198868229587712</c:v>
                </c:pt>
                <c:pt idx="64">
                  <c:v>0.21553610503282275</c:v>
                </c:pt>
                <c:pt idx="65">
                  <c:v>0.19680030840400925</c:v>
                </c:pt>
                <c:pt idx="66">
                  <c:v>0.2131578947368421</c:v>
                </c:pt>
                <c:pt idx="67">
                  <c:v>0.22634927149599837</c:v>
                </c:pt>
                <c:pt idx="68">
                  <c:v>0.22584789311408016</c:v>
                </c:pt>
                <c:pt idx="69">
                  <c:v>0.19027275714755176</c:v>
                </c:pt>
                <c:pt idx="70">
                  <c:v>0.1749502982107356</c:v>
                </c:pt>
                <c:pt idx="71">
                  <c:v>0.1975403535741737</c:v>
                </c:pt>
                <c:pt idx="72">
                  <c:v>0.1857429718875502</c:v>
                </c:pt>
                <c:pt idx="73">
                  <c:v>0.20366218236173392</c:v>
                </c:pt>
                <c:pt idx="74">
                  <c:v>0.1863230921704658</c:v>
                </c:pt>
                <c:pt idx="75">
                  <c:v>0.20173707066719304</c:v>
                </c:pt>
                <c:pt idx="76">
                  <c:v>0.17472474868358065</c:v>
                </c:pt>
                <c:pt idx="77">
                  <c:v>0.20797598627787306</c:v>
                </c:pt>
                <c:pt idx="78">
                  <c:v>0.15401540154015403</c:v>
                </c:pt>
                <c:pt idx="79">
                  <c:v>0.23789553945863515</c:v>
                </c:pt>
                <c:pt idx="80">
                  <c:v>0.25036337209302323</c:v>
                </c:pt>
                <c:pt idx="81">
                  <c:v>0.1673891297099033</c:v>
                </c:pt>
                <c:pt idx="82">
                  <c:v>0.15413533834586465</c:v>
                </c:pt>
                <c:pt idx="83">
                  <c:v>0.1385099685204617</c:v>
                </c:pt>
                <c:pt idx="84">
                  <c:v>0.1657172449508027</c:v>
                </c:pt>
                <c:pt idx="85">
                  <c:v>0.14534106107891218</c:v>
                </c:pt>
                <c:pt idx="86">
                  <c:v>0.15660736975857686</c:v>
                </c:pt>
                <c:pt idx="87">
                  <c:v>0.16613603473227206</c:v>
                </c:pt>
                <c:pt idx="88">
                  <c:v>0.1462012320328542</c:v>
                </c:pt>
                <c:pt idx="89">
                  <c:v>0.14569842738205366</c:v>
                </c:pt>
                <c:pt idx="90">
                  <c:v>0.14119749776586238</c:v>
                </c:pt>
                <c:pt idx="91">
                  <c:v>0.13169257340241797</c:v>
                </c:pt>
                <c:pt idx="92">
                  <c:v>0.14592720970537262</c:v>
                </c:pt>
                <c:pt idx="93">
                  <c:v>0.13576494427558258</c:v>
                </c:pt>
                <c:pt idx="94">
                  <c:v>0.14393939393939395</c:v>
                </c:pt>
                <c:pt idx="95">
                  <c:v>0.1481375358166189</c:v>
                </c:pt>
                <c:pt idx="96">
                  <c:v>0.14672897196261683</c:v>
                </c:pt>
                <c:pt idx="97">
                  <c:v>0.1480234001063641</c:v>
                </c:pt>
                <c:pt idx="98">
                  <c:v>0.17808619430241052</c:v>
                </c:pt>
                <c:pt idx="99">
                  <c:v>0.18037934932797386</c:v>
                </c:pt>
                <c:pt idx="100">
                  <c:v>0.20448351648351648</c:v>
                </c:pt>
                <c:pt idx="101">
                  <c:v>0.18994501178318932</c:v>
                </c:pt>
                <c:pt idx="102">
                  <c:v>0.1512398723299779</c:v>
                </c:pt>
                <c:pt idx="103">
                  <c:v>0.15945279210585334</c:v>
                </c:pt>
                <c:pt idx="104">
                  <c:v>0.162652232746955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754967261688508</c:v>
                </c:pt>
                <c:pt idx="1">
                  <c:v>0.24332614370702602</c:v>
                </c:pt>
                <c:pt idx="2">
                  <c:v>0.2521501258303761</c:v>
                </c:pt>
                <c:pt idx="3">
                  <c:v>0.2204349967588079</c:v>
                </c:pt>
                <c:pt idx="4">
                  <c:v>0.18313250861220137</c:v>
                </c:pt>
                <c:pt idx="5">
                  <c:v>0.22587037731974793</c:v>
                </c:pt>
                <c:pt idx="6">
                  <c:v>0.200655055136587</c:v>
                </c:pt>
                <c:pt idx="7">
                  <c:v>0.17529994900771803</c:v>
                </c:pt>
                <c:pt idx="8">
                  <c:v>0.22806946685187446</c:v>
                </c:pt>
                <c:pt idx="9">
                  <c:v>0.19635874009257073</c:v>
                </c:pt>
                <c:pt idx="10">
                  <c:v>0.17927884584465067</c:v>
                </c:pt>
                <c:pt idx="11">
                  <c:v>0.18142440469643606</c:v>
                </c:pt>
                <c:pt idx="12">
                  <c:v>0.1919650467431493</c:v>
                </c:pt>
                <c:pt idx="13">
                  <c:v>0.1888275760720425</c:v>
                </c:pt>
                <c:pt idx="14">
                  <c:v>0.20226589311295684</c:v>
                </c:pt>
                <c:pt idx="15">
                  <c:v>0.20124820772018379</c:v>
                </c:pt>
                <c:pt idx="16">
                  <c:v>0.2065399634241923</c:v>
                </c:pt>
                <c:pt idx="17">
                  <c:v>0.20015740676676125</c:v>
                </c:pt>
                <c:pt idx="18">
                  <c:v>0.1523370001636916</c:v>
                </c:pt>
                <c:pt idx="19">
                  <c:v>0.20231208710336537</c:v>
                </c:pt>
                <c:pt idx="20">
                  <c:v>0.181457704500764</c:v>
                </c:pt>
                <c:pt idx="21">
                  <c:v>0.15525000417550472</c:v>
                </c:pt>
                <c:pt idx="22">
                  <c:v>0.1440132136036505</c:v>
                </c:pt>
                <c:pt idx="23">
                  <c:v>0.16331019820843046</c:v>
                </c:pt>
                <c:pt idx="24">
                  <c:v>0.17273599113718854</c:v>
                </c:pt>
                <c:pt idx="25">
                  <c:v>0.14052510278981056</c:v>
                </c:pt>
                <c:pt idx="26">
                  <c:v>0.15292140220454684</c:v>
                </c:pt>
                <c:pt idx="27">
                  <c:v>0.1677781135094966</c:v>
                </c:pt>
                <c:pt idx="28">
                  <c:v>0.17381992185279477</c:v>
                </c:pt>
                <c:pt idx="29">
                  <c:v>0.155860883935964</c:v>
                </c:pt>
                <c:pt idx="30">
                  <c:v>0.15438881122952813</c:v>
                </c:pt>
                <c:pt idx="31">
                  <c:v>0.13615944434336416</c:v>
                </c:pt>
                <c:pt idx="32">
                  <c:v>0.16784097283459817</c:v>
                </c:pt>
                <c:pt idx="33">
                  <c:v>0.16651435745472454</c:v>
                </c:pt>
                <c:pt idx="34">
                  <c:v>0.19828352768582913</c:v>
                </c:pt>
                <c:pt idx="35">
                  <c:v>0.17752806237302465</c:v>
                </c:pt>
                <c:pt idx="36">
                  <c:v>0.13937558171119332</c:v>
                </c:pt>
                <c:pt idx="37">
                  <c:v>0.14221740273396427</c:v>
                </c:pt>
                <c:pt idx="38">
                  <c:v>0.15385860174168486</c:v>
                </c:pt>
                <c:pt idx="39">
                  <c:v>0.1672866246937779</c:v>
                </c:pt>
                <c:pt idx="40">
                  <c:v>0.17691074904978213</c:v>
                </c:pt>
                <c:pt idx="41">
                  <c:v>0.1871274094163417</c:v>
                </c:pt>
                <c:pt idx="42">
                  <c:v>0.1861213690605505</c:v>
                </c:pt>
                <c:pt idx="43">
                  <c:v>0.21303992577563888</c:v>
                </c:pt>
                <c:pt idx="44">
                  <c:v>0.1826418047108829</c:v>
                </c:pt>
                <c:pt idx="45">
                  <c:v>0.1936068669671048</c:v>
                </c:pt>
                <c:pt idx="46">
                  <c:v>0.17746527311508276</c:v>
                </c:pt>
                <c:pt idx="47">
                  <c:v>0.1653669388293814</c:v>
                </c:pt>
                <c:pt idx="48">
                  <c:v>0.15755531005362614</c:v>
                </c:pt>
                <c:pt idx="49">
                  <c:v>0.19736933287516664</c:v>
                </c:pt>
                <c:pt idx="50">
                  <c:v>0.19133796632544828</c:v>
                </c:pt>
                <c:pt idx="51">
                  <c:v>0.16526043869578202</c:v>
                </c:pt>
              </c:numCache>
            </c:numRef>
          </c:xVal>
          <c:yVal>
            <c:numRef>
              <c:f>Sheet1!$B$109:$B$160</c:f>
              <c:numCache>
                <c:formatCode>General</c:formatCode>
                <c:ptCount val="52"/>
                <c:pt idx="0">
                  <c:v>0.16836372247217618</c:v>
                </c:pt>
                <c:pt idx="1">
                  <c:v>0.1693934054870375</c:v>
                </c:pt>
                <c:pt idx="2">
                  <c:v>0.17645759717314488</c:v>
                </c:pt>
                <c:pt idx="3">
                  <c:v>0.1920944805977344</c:v>
                </c:pt>
                <c:pt idx="4">
                  <c:v>0.16725352112676056</c:v>
                </c:pt>
                <c:pt idx="5">
                  <c:v>0.1750255885363357</c:v>
                </c:pt>
                <c:pt idx="6">
                  <c:v>0.17391304347826086</c:v>
                </c:pt>
                <c:pt idx="7">
                  <c:v>0.17457578372159907</c:v>
                </c:pt>
                <c:pt idx="8">
                  <c:v>0.15165165165165165</c:v>
                </c:pt>
                <c:pt idx="9">
                  <c:v>0.15550239234449761</c:v>
                </c:pt>
                <c:pt idx="10">
                  <c:v>0.17184</c:v>
                </c:pt>
                <c:pt idx="11">
                  <c:v>0.18748730448913264</c:v>
                </c:pt>
                <c:pt idx="12">
                  <c:v>0.18795406608858684</c:v>
                </c:pt>
                <c:pt idx="13">
                  <c:v>0.19054878048780488</c:v>
                </c:pt>
                <c:pt idx="14">
                  <c:v>0.19881723458180794</c:v>
                </c:pt>
                <c:pt idx="15">
                  <c:v>0.18496192893401014</c:v>
                </c:pt>
                <c:pt idx="16">
                  <c:v>0.17261055634807418</c:v>
                </c:pt>
                <c:pt idx="17">
                  <c:v>0.14637904468412943</c:v>
                </c:pt>
                <c:pt idx="18">
                  <c:v>0.15252665739452945</c:v>
                </c:pt>
                <c:pt idx="19">
                  <c:v>0.1668811668811669</c:v>
                </c:pt>
                <c:pt idx="20">
                  <c:v>0.13712047012732614</c:v>
                </c:pt>
                <c:pt idx="21">
                  <c:v>0.12997746055597295</c:v>
                </c:pt>
                <c:pt idx="22">
                  <c:v>0.13636363636363635</c:v>
                </c:pt>
                <c:pt idx="23">
                  <c:v>0.13382157123834887</c:v>
                </c:pt>
                <c:pt idx="24">
                  <c:v>0.13094571908226077</c:v>
                </c:pt>
                <c:pt idx="25">
                  <c:v>0.14618520675596972</c:v>
                </c:pt>
                <c:pt idx="26">
                  <c:v>0.13408973697782361</c:v>
                </c:pt>
                <c:pt idx="27">
                  <c:v>0.13374125874125875</c:v>
                </c:pt>
                <c:pt idx="28">
                  <c:v>0.15889830508474576</c:v>
                </c:pt>
                <c:pt idx="29">
                  <c:v>0.1512217611802674</c:v>
                </c:pt>
                <c:pt idx="30">
                  <c:v>0.16268166901078293</c:v>
                </c:pt>
                <c:pt idx="31">
                  <c:v>0.17341040462427745</c:v>
                </c:pt>
                <c:pt idx="32">
                  <c:v>0.18431855500821018</c:v>
                </c:pt>
                <c:pt idx="33">
                  <c:v>0.1981981981981982</c:v>
                </c:pt>
                <c:pt idx="34">
                  <c:v>0.22345890410958905</c:v>
                </c:pt>
                <c:pt idx="35">
                  <c:v>0.2172096908939014</c:v>
                </c:pt>
                <c:pt idx="36">
                  <c:v>0.16542553191489362</c:v>
                </c:pt>
                <c:pt idx="37">
                  <c:v>0.152327221438646</c:v>
                </c:pt>
                <c:pt idx="38">
                  <c:v>0.16174261392088132</c:v>
                </c:pt>
                <c:pt idx="39">
                  <c:v>0.1857451403887689</c:v>
                </c:pt>
                <c:pt idx="40">
                  <c:v>0.1427402862985685</c:v>
                </c:pt>
                <c:pt idx="41">
                  <c:v>0.14615384615384616</c:v>
                </c:pt>
                <c:pt idx="42">
                  <c:v>0.1421232876712329</c:v>
                </c:pt>
                <c:pt idx="43">
                  <c:v>0.14624624624624624</c:v>
                </c:pt>
                <c:pt idx="44">
                  <c:v>0.13151927437641722</c:v>
                </c:pt>
                <c:pt idx="45">
                  <c:v>0.15673400673400673</c:v>
                </c:pt>
                <c:pt idx="46">
                  <c:v>0.1543099598034837</c:v>
                </c:pt>
                <c:pt idx="47">
                  <c:v>0.15733165512901195</c:v>
                </c:pt>
                <c:pt idx="48">
                  <c:v>0.14431673052362706</c:v>
                </c:pt>
                <c:pt idx="49">
                  <c:v>0.16005543045210463</c:v>
                </c:pt>
                <c:pt idx="50">
                  <c:v>0.19688776073281095</c:v>
                </c:pt>
                <c:pt idx="51">
                  <c:v>0.1819209039548022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43067628888371</c:v>
                </c:pt>
              </c:numCache>
            </c:numRef>
          </c:xVal>
          <c:yVal>
            <c:numRef>
              <c:f>Sheet1!$B$163:$B$164</c:f>
              <c:numCache>
                <c:formatCode>General</c:formatCode>
                <c:ptCount val="2"/>
                <c:pt idx="0">
                  <c:v>0.20373970523345042</c:v>
                </c:pt>
                <c:pt idx="1">
                  <c:v>0.2037397052334504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43067628888371</c:v>
                </c:pt>
                <c:pt idx="1">
                  <c:v>0.3443067628888371</c:v>
                </c:pt>
              </c:numCache>
            </c:numRef>
          </c:xVal>
          <c:yVal>
            <c:numRef>
              <c:f>Sheet1!$B$167:$B$168</c:f>
              <c:numCache>
                <c:formatCode>General</c:formatCode>
                <c:ptCount val="2"/>
                <c:pt idx="0">
                  <c:v>0.203739705233450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1415899295273388</c:v>
                </c:pt>
              </c:numCache>
            </c:numRef>
          </c:xVal>
          <c:yVal>
            <c:numRef>
              <c:f>Sheet1!$B$171:$B$172</c:f>
              <c:numCache>
                <c:formatCode>General</c:formatCode>
                <c:ptCount val="2"/>
                <c:pt idx="0">
                  <c:v>0.1720809771383001</c:v>
                </c:pt>
                <c:pt idx="1">
                  <c:v>0.172080977138300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1415899295273388</c:v>
                </c:pt>
                <c:pt idx="1">
                  <c:v>0.21415899295273388</c:v>
                </c:pt>
              </c:numCache>
            </c:numRef>
          </c:xVal>
          <c:yVal>
            <c:numRef>
              <c:f>Sheet1!$B$175:$B$176</c:f>
              <c:numCache>
                <c:formatCode>General</c:formatCode>
                <c:ptCount val="2"/>
                <c:pt idx="0">
                  <c:v>0.172080977138300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376956551923712</c:v>
                </c:pt>
              </c:numCache>
            </c:numRef>
          </c:xVal>
          <c:yVal>
            <c:numRef>
              <c:f>Sheet1!$B$179:$B$180</c:f>
              <c:numCache>
                <c:formatCode>General</c:formatCode>
                <c:ptCount val="2"/>
                <c:pt idx="0">
                  <c:v>0.1573911175742252</c:v>
                </c:pt>
                <c:pt idx="1">
                  <c:v>0.15739111757422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376956551923712</c:v>
                </c:pt>
                <c:pt idx="1">
                  <c:v>0.15376956551923712</c:v>
                </c:pt>
              </c:numCache>
            </c:numRef>
          </c:xVal>
          <c:yVal>
            <c:numRef>
              <c:f>Sheet1!$B$183:$B$184</c:f>
              <c:numCache>
                <c:formatCode>General</c:formatCode>
                <c:ptCount val="2"/>
                <c:pt idx="0">
                  <c:v>0.15739111757422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754967261688508</c:v>
                </c:pt>
                <c:pt idx="1">
                  <c:v>0.24332614370702602</c:v>
                </c:pt>
                <c:pt idx="2">
                  <c:v>0.2521501258303761</c:v>
                </c:pt>
                <c:pt idx="3">
                  <c:v>0.2204349967588079</c:v>
                </c:pt>
                <c:pt idx="4">
                  <c:v>0.18313250861220137</c:v>
                </c:pt>
                <c:pt idx="5">
                  <c:v>0.22587037731974793</c:v>
                </c:pt>
                <c:pt idx="6">
                  <c:v>0.200655055136587</c:v>
                </c:pt>
                <c:pt idx="7">
                  <c:v>0.17529994900771803</c:v>
                </c:pt>
                <c:pt idx="8">
                  <c:v>0.22806946685187446</c:v>
                </c:pt>
                <c:pt idx="9">
                  <c:v>0.19635874009257073</c:v>
                </c:pt>
                <c:pt idx="10">
                  <c:v>0.17927884584465067</c:v>
                </c:pt>
                <c:pt idx="11">
                  <c:v>0.18142440469643606</c:v>
                </c:pt>
                <c:pt idx="12">
                  <c:v>0.1919650467431493</c:v>
                </c:pt>
                <c:pt idx="13">
                  <c:v>0.1888275760720425</c:v>
                </c:pt>
                <c:pt idx="14">
                  <c:v>0.20226589311295684</c:v>
                </c:pt>
                <c:pt idx="15">
                  <c:v>0.20124820772018379</c:v>
                </c:pt>
                <c:pt idx="16">
                  <c:v>0.2065399634241923</c:v>
                </c:pt>
                <c:pt idx="17">
                  <c:v>0.20015740676676125</c:v>
                </c:pt>
                <c:pt idx="18">
                  <c:v>0.1523370001636916</c:v>
                </c:pt>
                <c:pt idx="19">
                  <c:v>0.20231208710336537</c:v>
                </c:pt>
                <c:pt idx="20">
                  <c:v>0.181457704500764</c:v>
                </c:pt>
                <c:pt idx="21">
                  <c:v>0.15525000417550472</c:v>
                </c:pt>
                <c:pt idx="22">
                  <c:v>0.1440132136036505</c:v>
                </c:pt>
                <c:pt idx="23">
                  <c:v>0.16331019820843046</c:v>
                </c:pt>
                <c:pt idx="24">
                  <c:v>0.17273599113718854</c:v>
                </c:pt>
                <c:pt idx="25">
                  <c:v>0.14052510278981056</c:v>
                </c:pt>
                <c:pt idx="26">
                  <c:v>0.15292140220454684</c:v>
                </c:pt>
                <c:pt idx="27">
                  <c:v>0.1677781135094966</c:v>
                </c:pt>
                <c:pt idx="28">
                  <c:v>0.17381992185279477</c:v>
                </c:pt>
                <c:pt idx="29">
                  <c:v>0.155860883935964</c:v>
                </c:pt>
                <c:pt idx="30">
                  <c:v>0.15438881122952813</c:v>
                </c:pt>
                <c:pt idx="31">
                  <c:v>0.13615944434336416</c:v>
                </c:pt>
                <c:pt idx="32">
                  <c:v>0.16784097283459817</c:v>
                </c:pt>
                <c:pt idx="33">
                  <c:v>0.16651435745472454</c:v>
                </c:pt>
                <c:pt idx="34">
                  <c:v>0.19828352768582913</c:v>
                </c:pt>
                <c:pt idx="35">
                  <c:v>0.17752806237302465</c:v>
                </c:pt>
                <c:pt idx="36">
                  <c:v>0.13937558171119332</c:v>
                </c:pt>
                <c:pt idx="37">
                  <c:v>0.14221740273396427</c:v>
                </c:pt>
                <c:pt idx="38">
                  <c:v>0.15385860174168486</c:v>
                </c:pt>
                <c:pt idx="39">
                  <c:v>0.1672866246937779</c:v>
                </c:pt>
                <c:pt idx="40">
                  <c:v>0.17691074904978213</c:v>
                </c:pt>
                <c:pt idx="41">
                  <c:v>0.1871274094163417</c:v>
                </c:pt>
                <c:pt idx="42">
                  <c:v>0.1861213690605505</c:v>
                </c:pt>
                <c:pt idx="43">
                  <c:v>0.21303992577563888</c:v>
                </c:pt>
                <c:pt idx="44">
                  <c:v>0.1826418047108829</c:v>
                </c:pt>
                <c:pt idx="45">
                  <c:v>0.1936068669671048</c:v>
                </c:pt>
                <c:pt idx="46">
                  <c:v>0.17746527311508276</c:v>
                </c:pt>
                <c:pt idx="47">
                  <c:v>0.1653669388293814</c:v>
                </c:pt>
                <c:pt idx="48">
                  <c:v>0.15755531005362614</c:v>
                </c:pt>
                <c:pt idx="49">
                  <c:v>0.19736933287516664</c:v>
                </c:pt>
                <c:pt idx="50">
                  <c:v>0.19133796632544828</c:v>
                </c:pt>
                <c:pt idx="51">
                  <c:v>0.16526043869578202</c:v>
                </c:pt>
                <c:pt idx="52">
                  <c:v>0.21415899295273388</c:v>
                </c:pt>
                <c:pt idx="53">
                  <c:v>0.3443067628888371</c:v>
                </c:pt>
                <c:pt idx="54">
                  <c:v>0.15376956551923712</c:v>
                </c:pt>
              </c:numCache>
            </c:numRef>
          </c:xVal>
          <c:yVal>
            <c:numRef>
              <c:f>Sheet1!$B$187:$B$241</c:f>
              <c:numCache>
                <c:formatCode>General</c:formatCode>
                <c:ptCount val="55"/>
                <c:pt idx="0">
                  <c:v>0.17533828908997434</c:v>
                </c:pt>
                <c:pt idx="1">
                  <c:v>0.17917594999487488</c:v>
                </c:pt>
                <c:pt idx="2">
                  <c:v>0.18132240283764553</c:v>
                </c:pt>
                <c:pt idx="3">
                  <c:v>0.17360762871379903</c:v>
                </c:pt>
                <c:pt idx="4">
                  <c:v>0.16453371734301045</c:v>
                </c:pt>
                <c:pt idx="5">
                  <c:v>0.1749297968566489</c:v>
                </c:pt>
                <c:pt idx="6">
                  <c:v>0.16879611489482788</c:v>
                </c:pt>
                <c:pt idx="7">
                  <c:v>0.16262843018419754</c:v>
                </c:pt>
                <c:pt idx="8">
                  <c:v>0.17546473016813524</c:v>
                </c:pt>
                <c:pt idx="9">
                  <c:v>0.16775102691632165</c:v>
                </c:pt>
                <c:pt idx="10">
                  <c:v>0.16359630549347826</c:v>
                </c:pt>
                <c:pt idx="11">
                  <c:v>0.16411821735054785</c:v>
                </c:pt>
                <c:pt idx="12">
                  <c:v>0.1666822514532377</c:v>
                </c:pt>
                <c:pt idx="13">
                  <c:v>0.16591905488881065</c:v>
                </c:pt>
                <c:pt idx="14">
                  <c:v>0.169187954735989</c:v>
                </c:pt>
                <c:pt idx="15">
                  <c:v>0.16894040055083448</c:v>
                </c:pt>
                <c:pt idx="16">
                  <c:v>0.17022763163486626</c:v>
                </c:pt>
                <c:pt idx="17">
                  <c:v>0.16867506084653305</c:v>
                </c:pt>
                <c:pt idx="18">
                  <c:v>0.15704264293580444</c:v>
                </c:pt>
                <c:pt idx="19">
                  <c:v>0.16919919152462312</c:v>
                </c:pt>
                <c:pt idx="20">
                  <c:v>0.16412631760037433</c:v>
                </c:pt>
                <c:pt idx="21">
                  <c:v>0.15775123749716613</c:v>
                </c:pt>
                <c:pt idx="22">
                  <c:v>0.15501786375168333</c:v>
                </c:pt>
                <c:pt idx="23">
                  <c:v>0.15971189722577947</c:v>
                </c:pt>
                <c:pt idx="24">
                  <c:v>0.16200474185584302</c:v>
                </c:pt>
                <c:pt idx="25">
                  <c:v>0.15416937320992968</c:v>
                </c:pt>
                <c:pt idx="26">
                  <c:v>0.15718480000325763</c:v>
                </c:pt>
                <c:pt idx="27">
                  <c:v>0.1607987273400262</c:v>
                </c:pt>
                <c:pt idx="28">
                  <c:v>0.16226841035985357</c:v>
                </c:pt>
                <c:pt idx="29">
                  <c:v>0.15789983532749935</c:v>
                </c:pt>
                <c:pt idx="30">
                  <c:v>0.15754175044005006</c:v>
                </c:pt>
                <c:pt idx="31">
                  <c:v>0.15310741729796748</c:v>
                </c:pt>
                <c:pt idx="32">
                  <c:v>0.16081401800756984</c:v>
                </c:pt>
                <c:pt idx="33">
                  <c:v>0.16049131593116173</c:v>
                </c:pt>
                <c:pt idx="34">
                  <c:v>0.16821923568459948</c:v>
                </c:pt>
                <c:pt idx="35">
                  <c:v>0.16317042360622885</c:v>
                </c:pt>
                <c:pt idx="36">
                  <c:v>0.15388974970746436</c:v>
                </c:pt>
                <c:pt idx="37">
                  <c:v>0.15458102885192573</c:v>
                </c:pt>
                <c:pt idx="38">
                  <c:v>0.15741277582898036</c:v>
                </c:pt>
                <c:pt idx="39">
                  <c:v>0.16067917161666434</c:v>
                </c:pt>
                <c:pt idx="40">
                  <c:v>0.16302026079775625</c:v>
                </c:pt>
                <c:pt idx="41">
                  <c:v>0.16550548565212148</c:v>
                </c:pt>
                <c:pt idx="42">
                  <c:v>0.16526076414753957</c:v>
                </c:pt>
                <c:pt idx="43">
                  <c:v>0.1718087616136142</c:v>
                </c:pt>
                <c:pt idx="44">
                  <c:v>0.16441435255178355</c:v>
                </c:pt>
                <c:pt idx="45">
                  <c:v>0.16708162779350727</c:v>
                </c:pt>
                <c:pt idx="46">
                  <c:v>0.16315514998267422</c:v>
                </c:pt>
                <c:pt idx="47">
                  <c:v>0.16021220385502793</c:v>
                </c:pt>
                <c:pt idx="48">
                  <c:v>0.15831200816582552</c:v>
                </c:pt>
                <c:pt idx="49">
                  <c:v>0.1679968558086249</c:v>
                </c:pt>
                <c:pt idx="50">
                  <c:v>0.16652971277779566</c:v>
                </c:pt>
                <c:pt idx="51">
                  <c:v>0.1601862974659029</c:v>
                </c:pt>
                <c:pt idx="52">
                  <c:v>0.1720809771383001</c:v>
                </c:pt>
                <c:pt idx="53">
                  <c:v>0.20373970523345042</c:v>
                </c:pt>
                <c:pt idx="54">
                  <c:v>0.15739111757422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44063231020064"/>
          <c:min val="0.094216614090431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317799723919802</c:v>
                </c:pt>
                <c:pt idx="1">
                  <c:v>2.1750946669270967</c:v>
                </c:pt>
                <c:pt idx="2">
                  <c:v>2.3693754487301306</c:v>
                </c:pt>
                <c:pt idx="3">
                  <c:v>2.358851411926087</c:v>
                </c:pt>
                <c:pt idx="4">
                  <c:v>2.3688471150322052</c:v>
                </c:pt>
                <c:pt idx="5">
                  <c:v>2.0690106230174603</c:v>
                </c:pt>
                <c:pt idx="6">
                  <c:v>1.831023206344833</c:v>
                </c:pt>
                <c:pt idx="7">
                  <c:v>1.8963784299931257</c:v>
                </c:pt>
                <c:pt idx="8">
                  <c:v>1.9976718241542955</c:v>
                </c:pt>
                <c:pt idx="9">
                  <c:v>2.1588592767769117</c:v>
                </c:pt>
                <c:pt idx="10">
                  <c:v>1.9377199248889718</c:v>
                </c:pt>
                <c:pt idx="11">
                  <c:v>1.9253623070953643</c:v>
                </c:pt>
                <c:pt idx="12">
                  <c:v>1.927362206759238</c:v>
                </c:pt>
                <c:pt idx="13">
                  <c:v>1.8603155411004968</c:v>
                </c:pt>
                <c:pt idx="14">
                  <c:v>1.8647958152214186</c:v>
                </c:pt>
                <c:pt idx="15">
                  <c:v>1.8702558444186959</c:v>
                </c:pt>
                <c:pt idx="16">
                  <c:v>1.784144286145755</c:v>
                </c:pt>
                <c:pt idx="17">
                  <c:v>2.18289364156189</c:v>
                </c:pt>
                <c:pt idx="18">
                  <c:v>2.3313412276067407</c:v>
                </c:pt>
                <c:pt idx="19">
                  <c:v>2.3383792762801776</c:v>
                </c:pt>
                <c:pt idx="20">
                  <c:v>2.3361697576742255</c:v>
                </c:pt>
                <c:pt idx="21">
                  <c:v>2.364184730612344</c:v>
                </c:pt>
                <c:pt idx="22">
                  <c:v>2.3447351991780354</c:v>
                </c:pt>
                <c:pt idx="23">
                  <c:v>2.517494741669474</c:v>
                </c:pt>
                <c:pt idx="24">
                  <c:v>2.61550402136171</c:v>
                </c:pt>
                <c:pt idx="25">
                  <c:v>2.693699309007871</c:v>
                </c:pt>
                <c:pt idx="26">
                  <c:v>2.257757131347772</c:v>
                </c:pt>
                <c:pt idx="27">
                  <c:v>2.1255040831112644</c:v>
                </c:pt>
                <c:pt idx="28">
                  <c:v>1.9902071605045397</c:v>
                </c:pt>
                <c:pt idx="29">
                  <c:v>1.8787552032895334</c:v>
                </c:pt>
                <c:pt idx="30">
                  <c:v>1.9340556775001763</c:v>
                </c:pt>
                <c:pt idx="31">
                  <c:v>1.8779365802493986</c:v>
                </c:pt>
                <c:pt idx="32">
                  <c:v>1.8223341952109842</c:v>
                </c:pt>
                <c:pt idx="33">
                  <c:v>1.7376525513661933</c:v>
                </c:pt>
                <c:pt idx="34">
                  <c:v>1.9039610558840756</c:v>
                </c:pt>
                <c:pt idx="35">
                  <c:v>2.0153579410795595</c:v>
                </c:pt>
                <c:pt idx="36">
                  <c:v>2.2052350947138843</c:v>
                </c:pt>
                <c:pt idx="37">
                  <c:v>2.2494177945082123</c:v>
                </c:pt>
                <c:pt idx="38">
                  <c:v>2.4545830426287054</c:v>
                </c:pt>
                <c:pt idx="39">
                  <c:v>2.434255869840973</c:v>
                </c:pt>
                <c:pt idx="40">
                  <c:v>2.4191602699176453</c:v>
                </c:pt>
                <c:pt idx="41">
                  <c:v>2.4522086381427073</c:v>
                </c:pt>
                <c:pt idx="42">
                  <c:v>2.543280203946844</c:v>
                </c:pt>
                <c:pt idx="43">
                  <c:v>2.5897956020622015</c:v>
                </c:pt>
                <c:pt idx="44">
                  <c:v>2.1620291513568595</c:v>
                </c:pt>
                <c:pt idx="45">
                  <c:v>2.0252094125981652</c:v>
                </c:pt>
                <c:pt idx="46">
                  <c:v>2.036331050943722</c:v>
                </c:pt>
                <c:pt idx="47">
                  <c:v>2.0173031528680587</c:v>
                </c:pt>
                <c:pt idx="48">
                  <c:v>2.0203224419914676</c:v>
                </c:pt>
                <c:pt idx="49">
                  <c:v>1.9950654230325298</c:v>
                </c:pt>
                <c:pt idx="50">
                  <c:v>1.9267853896658582</c:v>
                </c:pt>
                <c:pt idx="51">
                  <c:v>2.0261827997761785</c:v>
                </c:pt>
                <c:pt idx="52">
                  <c:v>2.0491074171752452</c:v>
                </c:pt>
                <c:pt idx="53">
                  <c:v>2.1765224313585247</c:v>
                </c:pt>
                <c:pt idx="54">
                  <c:v>2.2611067201533963</c:v>
                </c:pt>
                <c:pt idx="55">
                  <c:v>2.3284925905151357</c:v>
                </c:pt>
                <c:pt idx="56">
                  <c:v>2.3667272730794955</c:v>
                </c:pt>
                <c:pt idx="57">
                  <c:v>2.274981833080149</c:v>
                </c:pt>
                <c:pt idx="58">
                  <c:v>2.1571635800884814</c:v>
                </c:pt>
                <c:pt idx="59">
                  <c:v>2.277315468902936</c:v>
                </c:pt>
                <c:pt idx="60">
                  <c:v>2.406609218706708</c:v>
                </c:pt>
                <c:pt idx="61">
                  <c:v>2.1698641828630305</c:v>
                </c:pt>
                <c:pt idx="62">
                  <c:v>2.2185769871314496</c:v>
                </c:pt>
                <c:pt idx="63">
                  <c:v>2.2585585144714138</c:v>
                </c:pt>
                <c:pt idx="64">
                  <c:v>2.27580400911352</c:v>
                </c:pt>
                <c:pt idx="65">
                  <c:v>2.227956193471717</c:v>
                </c:pt>
                <c:pt idx="66">
                  <c:v>2.062522856772093</c:v>
                </c:pt>
                <c:pt idx="67">
                  <c:v>1.98600970614531</c:v>
                </c:pt>
                <c:pt idx="68">
                  <c:v>1.9480457974388399</c:v>
                </c:pt>
                <c:pt idx="69">
                  <c:v>1.867014329595415</c:v>
                </c:pt>
                <c:pt idx="70">
                  <c:v>1.6913704824062807</c:v>
                </c:pt>
                <c:pt idx="71">
                  <c:v>1.7966828860785313</c:v>
                </c:pt>
                <c:pt idx="72">
                  <c:v>2.0769861208187717</c:v>
                </c:pt>
                <c:pt idx="73">
                  <c:v>2.08746297225724</c:v>
                </c:pt>
                <c:pt idx="74">
                  <c:v>2.1015261994465595</c:v>
                </c:pt>
                <c:pt idx="75">
                  <c:v>2.03093972118017</c:v>
                </c:pt>
                <c:pt idx="76">
                  <c:v>2.090371887193458</c:v>
                </c:pt>
                <c:pt idx="77">
                  <c:v>2.206382167346935</c:v>
                </c:pt>
                <c:pt idx="78">
                  <c:v>2.2051953992900843</c:v>
                </c:pt>
                <c:pt idx="79">
                  <c:v>1.4765328463519038</c:v>
                </c:pt>
                <c:pt idx="80">
                  <c:v>1.5908810597743923</c:v>
                </c:pt>
                <c:pt idx="81">
                  <c:v>1.8075688750979826</c:v>
                </c:pt>
                <c:pt idx="82">
                  <c:v>1.964073211717712</c:v>
                </c:pt>
                <c:pt idx="83">
                  <c:v>2.025251383783507</c:v>
                </c:pt>
                <c:pt idx="84">
                  <c:v>1.6710783390685557</c:v>
                </c:pt>
                <c:pt idx="85">
                  <c:v>2.269107982985335</c:v>
                </c:pt>
                <c:pt idx="86">
                  <c:v>2.4457402165660342</c:v>
                </c:pt>
                <c:pt idx="87">
                  <c:v>2.037664153255345</c:v>
                </c:pt>
                <c:pt idx="88">
                  <c:v>2.1702290720183104</c:v>
                </c:pt>
                <c:pt idx="89">
                  <c:v>2.0827100726156593</c:v>
                </c:pt>
                <c:pt idx="90">
                  <c:v>2.1617087707205744</c:v>
                </c:pt>
                <c:pt idx="91">
                  <c:v>2.286843472246656</c:v>
                </c:pt>
                <c:pt idx="92">
                  <c:v>2.4332184483090873</c:v>
                </c:pt>
                <c:pt idx="93">
                  <c:v>2.267784492149686</c:v>
                </c:pt>
                <c:pt idx="94">
                  <c:v>1.9525293571619986</c:v>
                </c:pt>
                <c:pt idx="95">
                  <c:v>2.308430413886702</c:v>
                </c:pt>
                <c:pt idx="96">
                  <c:v>2.249001684949365</c:v>
                </c:pt>
                <c:pt idx="97">
                  <c:v>2.2144245452259694</c:v>
                </c:pt>
                <c:pt idx="98">
                  <c:v>2.3107688163778466</c:v>
                </c:pt>
                <c:pt idx="99">
                  <c:v>2.4580645455752688</c:v>
                </c:pt>
                <c:pt idx="100">
                  <c:v>2.0994339191601004</c:v>
                </c:pt>
                <c:pt idx="101">
                  <c:v>1.9383081127415478</c:v>
                </c:pt>
                <c:pt idx="102">
                  <c:v>1.9591472333755078</c:v>
                </c:pt>
                <c:pt idx="103">
                  <c:v>1.7926189722918446</c:v>
                </c:pt>
                <c:pt idx="104">
                  <c:v>2.0947161394842575</c:v>
                </c:pt>
              </c:numCache>
            </c:numRef>
          </c:xVal>
          <c:yVal>
            <c:numRef>
              <c:f>Sheet1!$B$2:$B$106</c:f>
              <c:numCache>
                <c:formatCode>General</c:formatCode>
                <c:ptCount val="105"/>
                <c:pt idx="0">
                  <c:v>0.165585142089953</c:v>
                </c:pt>
                <c:pt idx="1">
                  <c:v>0.18378240976105745</c:v>
                </c:pt>
                <c:pt idx="2">
                  <c:v>0.15177178515712056</c:v>
                </c:pt>
                <c:pt idx="3">
                  <c:v>0.16476611589481033</c:v>
                </c:pt>
                <c:pt idx="4">
                  <c:v>0.15755171436667612</c:v>
                </c:pt>
                <c:pt idx="5">
                  <c:v>0.1517927244176917</c:v>
                </c:pt>
                <c:pt idx="6">
                  <c:v>0.17754491017964072</c:v>
                </c:pt>
                <c:pt idx="7">
                  <c:v>0.17983193277310924</c:v>
                </c:pt>
                <c:pt idx="8">
                  <c:v>0.16666666666666666</c:v>
                </c:pt>
                <c:pt idx="9">
                  <c:v>0.15669431279620852</c:v>
                </c:pt>
                <c:pt idx="10">
                  <c:v>0.1725717776420281</c:v>
                </c:pt>
                <c:pt idx="11">
                  <c:v>0.1734792404248471</c:v>
                </c:pt>
                <c:pt idx="12">
                  <c:v>0.17970924837612126</c:v>
                </c:pt>
                <c:pt idx="13">
                  <c:v>0.1874125874125874</c:v>
                </c:pt>
                <c:pt idx="14">
                  <c:v>0.1838492597577389</c:v>
                </c:pt>
                <c:pt idx="15">
                  <c:v>0.1889737628694786</c:v>
                </c:pt>
                <c:pt idx="16">
                  <c:v>0.18425196850393702</c:v>
                </c:pt>
                <c:pt idx="17">
                  <c:v>0.15678524374176547</c:v>
                </c:pt>
                <c:pt idx="18">
                  <c:v>0.13845504432249894</c:v>
                </c:pt>
                <c:pt idx="19">
                  <c:v>0.13806706114398423</c:v>
                </c:pt>
                <c:pt idx="20">
                  <c:v>0.14759036144578314</c:v>
                </c:pt>
                <c:pt idx="21">
                  <c:v>0.15232632249840664</c:v>
                </c:pt>
                <c:pt idx="22">
                  <c:v>0.14616252821670428</c:v>
                </c:pt>
                <c:pt idx="23">
                  <c:v>0.15901060070671377</c:v>
                </c:pt>
                <c:pt idx="24">
                  <c:v>0.14925373134328357</c:v>
                </c:pt>
                <c:pt idx="25">
                  <c:v>0.1536231884057971</c:v>
                </c:pt>
                <c:pt idx="26">
                  <c:v>0.1679467485919099</c:v>
                </c:pt>
                <c:pt idx="27">
                  <c:v>0.1451319381255687</c:v>
                </c:pt>
                <c:pt idx="28">
                  <c:v>0.16695427092320966</c:v>
                </c:pt>
                <c:pt idx="29">
                  <c:v>0.1881375141669815</c:v>
                </c:pt>
                <c:pt idx="30">
                  <c:v>0.1671858774662513</c:v>
                </c:pt>
                <c:pt idx="31">
                  <c:v>0.167687235044748</c:v>
                </c:pt>
                <c:pt idx="32">
                  <c:v>0.14990689013035383</c:v>
                </c:pt>
                <c:pt idx="33">
                  <c:v>0.18194396402628848</c:v>
                </c:pt>
                <c:pt idx="34">
                  <c:v>0.16721097322011758</c:v>
                </c:pt>
                <c:pt idx="35">
                  <c:v>0.1568836712913554</c:v>
                </c:pt>
                <c:pt idx="36">
                  <c:v>0.11427320490367776</c:v>
                </c:pt>
                <c:pt idx="37">
                  <c:v>0.1039426523297491</c:v>
                </c:pt>
                <c:pt idx="38">
                  <c:v>0.0992534036012297</c:v>
                </c:pt>
                <c:pt idx="39">
                  <c:v>0.10934959349593495</c:v>
                </c:pt>
                <c:pt idx="40">
                  <c:v>0.11274673803947809</c:v>
                </c:pt>
                <c:pt idx="41">
                  <c:v>0.10082709728239464</c:v>
                </c:pt>
                <c:pt idx="42">
                  <c:v>0.1037037037037037</c:v>
                </c:pt>
                <c:pt idx="43">
                  <c:v>0.10901033973412112</c:v>
                </c:pt>
                <c:pt idx="44">
                  <c:v>0.14086021505376345</c:v>
                </c:pt>
                <c:pt idx="45">
                  <c:v>0.1703724684888826</c:v>
                </c:pt>
                <c:pt idx="46">
                  <c:v>0.17872202400259488</c:v>
                </c:pt>
                <c:pt idx="47">
                  <c:v>0.1849337748344371</c:v>
                </c:pt>
                <c:pt idx="48">
                  <c:v>0.20384303738858664</c:v>
                </c:pt>
                <c:pt idx="49">
                  <c:v>0.22388330162181752</c:v>
                </c:pt>
                <c:pt idx="50">
                  <c:v>0.18204592901878913</c:v>
                </c:pt>
                <c:pt idx="51">
                  <c:v>0.14759493670886076</c:v>
                </c:pt>
                <c:pt idx="52">
                  <c:v>0.16467359341305626</c:v>
                </c:pt>
                <c:pt idx="53">
                  <c:v>0.14665996986438976</c:v>
                </c:pt>
                <c:pt idx="54">
                  <c:v>0.1436265709156194</c:v>
                </c:pt>
                <c:pt idx="55">
                  <c:v>0.12792091072498502</c:v>
                </c:pt>
                <c:pt idx="56">
                  <c:v>0.1335978835978836</c:v>
                </c:pt>
                <c:pt idx="57">
                  <c:v>0.13912209162868794</c:v>
                </c:pt>
                <c:pt idx="58">
                  <c:v>0.16784414472275744</c:v>
                </c:pt>
                <c:pt idx="59">
                  <c:v>0.18846153846153846</c:v>
                </c:pt>
                <c:pt idx="60">
                  <c:v>0.21013434579439252</c:v>
                </c:pt>
                <c:pt idx="61">
                  <c:v>0.2224633749321758</c:v>
                </c:pt>
                <c:pt idx="62">
                  <c:v>0.1987090825265099</c:v>
                </c:pt>
                <c:pt idx="63">
                  <c:v>0.2038812251578209</c:v>
                </c:pt>
                <c:pt idx="64">
                  <c:v>0.17659936755047434</c:v>
                </c:pt>
                <c:pt idx="65">
                  <c:v>0.15833551426328185</c:v>
                </c:pt>
                <c:pt idx="66">
                  <c:v>0.17925531914893617</c:v>
                </c:pt>
                <c:pt idx="67">
                  <c:v>0.1744736842105263</c:v>
                </c:pt>
                <c:pt idx="68">
                  <c:v>0.15088555858310626</c:v>
                </c:pt>
                <c:pt idx="69">
                  <c:v>0.13536530703720304</c:v>
                </c:pt>
                <c:pt idx="70">
                  <c:v>0.13524904214559386</c:v>
                </c:pt>
                <c:pt idx="71">
                  <c:v>0.15278377211911956</c:v>
                </c:pt>
                <c:pt idx="72">
                  <c:v>0.14597938144329897</c:v>
                </c:pt>
                <c:pt idx="73">
                  <c:v>0.1442429354702657</c:v>
                </c:pt>
                <c:pt idx="74">
                  <c:v>0.14688856729377714</c:v>
                </c:pt>
                <c:pt idx="75">
                  <c:v>0.15439034540158136</c:v>
                </c:pt>
                <c:pt idx="76">
                  <c:v>0.16020793950850662</c:v>
                </c:pt>
                <c:pt idx="77">
                  <c:v>0.1553588987217306</c:v>
                </c:pt>
                <c:pt idx="78">
                  <c:v>0.1469017094017094</c:v>
                </c:pt>
                <c:pt idx="79">
                  <c:v>0.179213002566296</c:v>
                </c:pt>
                <c:pt idx="80">
                  <c:v>0.141869918699187</c:v>
                </c:pt>
                <c:pt idx="81">
                  <c:v>0.13940256045519203</c:v>
                </c:pt>
                <c:pt idx="82">
                  <c:v>0.11291913214990137</c:v>
                </c:pt>
                <c:pt idx="83">
                  <c:v>0.11804767309875142</c:v>
                </c:pt>
                <c:pt idx="84">
                  <c:v>0.13231118682566723</c:v>
                </c:pt>
                <c:pt idx="85">
                  <c:v>0.11887433284813198</c:v>
                </c:pt>
                <c:pt idx="86">
                  <c:v>0.12280030604437643</c:v>
                </c:pt>
                <c:pt idx="87">
                  <c:v>0.15378548895899052</c:v>
                </c:pt>
                <c:pt idx="88">
                  <c:v>0.11871893981225842</c:v>
                </c:pt>
                <c:pt idx="89">
                  <c:v>0.1321996708721887</c:v>
                </c:pt>
                <c:pt idx="90">
                  <c:v>0.1285034373347435</c:v>
                </c:pt>
                <c:pt idx="91">
                  <c:v>0.12526205450733752</c:v>
                </c:pt>
                <c:pt idx="92">
                  <c:v>0.12397034596375618</c:v>
                </c:pt>
                <c:pt idx="93">
                  <c:v>0.11506352087114338</c:v>
                </c:pt>
                <c:pt idx="94">
                  <c:v>0.1314708299096138</c:v>
                </c:pt>
                <c:pt idx="95">
                  <c:v>0.11967361740707162</c:v>
                </c:pt>
                <c:pt idx="96">
                  <c:v>0.11817226890756302</c:v>
                </c:pt>
                <c:pt idx="97">
                  <c:v>0.1420222886653982</c:v>
                </c:pt>
                <c:pt idx="98">
                  <c:v>0.14795660948536832</c:v>
                </c:pt>
                <c:pt idx="99">
                  <c:v>0.15552523874488403</c:v>
                </c:pt>
                <c:pt idx="100">
                  <c:v>0.17427129467504376</c:v>
                </c:pt>
                <c:pt idx="101">
                  <c:v>0.15730961645358532</c:v>
                </c:pt>
                <c:pt idx="102">
                  <c:v>0.12636664124078312</c:v>
                </c:pt>
                <c:pt idx="103">
                  <c:v>0.14634146341463414</c:v>
                </c:pt>
                <c:pt idx="104">
                  <c:v>0.138496882179192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69553129960335</c:v>
                </c:pt>
                <c:pt idx="1">
                  <c:v>1.737226512803617</c:v>
                </c:pt>
                <c:pt idx="2">
                  <c:v>1.6369336179895584</c:v>
                </c:pt>
                <c:pt idx="3">
                  <c:v>1.6964811259800014</c:v>
                </c:pt>
                <c:pt idx="4">
                  <c:v>1.6296871125710544</c:v>
                </c:pt>
                <c:pt idx="5">
                  <c:v>1.5657414044063735</c:v>
                </c:pt>
                <c:pt idx="6">
                  <c:v>1.6691579411175648</c:v>
                </c:pt>
                <c:pt idx="7">
                  <c:v>1.625930159443238</c:v>
                </c:pt>
                <c:pt idx="8">
                  <c:v>1.7742200654073783</c:v>
                </c:pt>
                <c:pt idx="9">
                  <c:v>1.8293738652050309</c:v>
                </c:pt>
                <c:pt idx="10">
                  <c:v>1.7859685876274751</c:v>
                </c:pt>
                <c:pt idx="11">
                  <c:v>2.049658617465918</c:v>
                </c:pt>
                <c:pt idx="12">
                  <c:v>1.8571833727136238</c:v>
                </c:pt>
                <c:pt idx="13">
                  <c:v>1.6230852183290285</c:v>
                </c:pt>
                <c:pt idx="14">
                  <c:v>1.5605910167095876</c:v>
                </c:pt>
                <c:pt idx="15">
                  <c:v>1.6362598529648629</c:v>
                </c:pt>
                <c:pt idx="16">
                  <c:v>1.684562773681396</c:v>
                </c:pt>
                <c:pt idx="17">
                  <c:v>1.6761587456872002</c:v>
                </c:pt>
                <c:pt idx="18">
                  <c:v>1.503760299326316</c:v>
                </c:pt>
                <c:pt idx="19">
                  <c:v>1.8121381111620107</c:v>
                </c:pt>
                <c:pt idx="20">
                  <c:v>1.818342133636998</c:v>
                </c:pt>
                <c:pt idx="21">
                  <c:v>1.8726328231413112</c:v>
                </c:pt>
                <c:pt idx="22">
                  <c:v>1.8233941381645844</c:v>
                </c:pt>
                <c:pt idx="23">
                  <c:v>1.7714508355792473</c:v>
                </c:pt>
                <c:pt idx="24">
                  <c:v>1.9055081775700937</c:v>
                </c:pt>
                <c:pt idx="25">
                  <c:v>1.8611087084352</c:v>
                </c:pt>
                <c:pt idx="26">
                  <c:v>1.7466310104346916</c:v>
                </c:pt>
                <c:pt idx="27">
                  <c:v>1.7760420586585424</c:v>
                </c:pt>
                <c:pt idx="28">
                  <c:v>1.8153000173012999</c:v>
                </c:pt>
                <c:pt idx="29">
                  <c:v>1.7192421053580678</c:v>
                </c:pt>
                <c:pt idx="30">
                  <c:v>1.618958890348483</c:v>
                </c:pt>
                <c:pt idx="31">
                  <c:v>1.5532420984621935</c:v>
                </c:pt>
                <c:pt idx="32">
                  <c:v>1.6759957729752732</c:v>
                </c:pt>
                <c:pt idx="33">
                  <c:v>1.6180720684906222</c:v>
                </c:pt>
                <c:pt idx="34">
                  <c:v>1.6665922065539203</c:v>
                </c:pt>
                <c:pt idx="35">
                  <c:v>1.478743977593727</c:v>
                </c:pt>
                <c:pt idx="36">
                  <c:v>1.5661202135450973</c:v>
                </c:pt>
                <c:pt idx="37">
                  <c:v>1.7218547154418113</c:v>
                </c:pt>
                <c:pt idx="38">
                  <c:v>1.7122632358936078</c:v>
                </c:pt>
                <c:pt idx="39">
                  <c:v>1.8746813638461746</c:v>
                </c:pt>
                <c:pt idx="40">
                  <c:v>1.8320727793156482</c:v>
                </c:pt>
                <c:pt idx="41">
                  <c:v>1.7987596773215744</c:v>
                </c:pt>
                <c:pt idx="42">
                  <c:v>1.9445983387066974</c:v>
                </c:pt>
                <c:pt idx="43">
                  <c:v>1.9301123505896662</c:v>
                </c:pt>
                <c:pt idx="44">
                  <c:v>1.877260967370263</c:v>
                </c:pt>
                <c:pt idx="45">
                  <c:v>1.9109434567489902</c:v>
                </c:pt>
                <c:pt idx="46">
                  <c:v>1.8050429166918938</c:v>
                </c:pt>
                <c:pt idx="47">
                  <c:v>1.964518106740167</c:v>
                </c:pt>
                <c:pt idx="48">
                  <c:v>1.9034502290076336</c:v>
                </c:pt>
                <c:pt idx="49">
                  <c:v>1.9875632183578904</c:v>
                </c:pt>
                <c:pt idx="50">
                  <c:v>1.76869906572693</c:v>
                </c:pt>
                <c:pt idx="51">
                  <c:v>1.685111731712499</c:v>
                </c:pt>
              </c:numCache>
            </c:numRef>
          </c:xVal>
          <c:yVal>
            <c:numRef>
              <c:f>Sheet1!$B$109:$B$160</c:f>
              <c:numCache>
                <c:formatCode>General</c:formatCode>
                <c:ptCount val="52"/>
                <c:pt idx="0">
                  <c:v>0.14145006839945282</c:v>
                </c:pt>
                <c:pt idx="1">
                  <c:v>0.18673087212413056</c:v>
                </c:pt>
                <c:pt idx="2">
                  <c:v>0.19152854511970535</c:v>
                </c:pt>
                <c:pt idx="3">
                  <c:v>0.20127638684339716</c:v>
                </c:pt>
                <c:pt idx="4">
                  <c:v>0.18751512218727318</c:v>
                </c:pt>
                <c:pt idx="5">
                  <c:v>0.1891891891891892</c:v>
                </c:pt>
                <c:pt idx="6">
                  <c:v>0.16120066703724292</c:v>
                </c:pt>
                <c:pt idx="7">
                  <c:v>0.1544943820224719</c:v>
                </c:pt>
                <c:pt idx="8">
                  <c:v>0.13767820773930753</c:v>
                </c:pt>
                <c:pt idx="9">
                  <c:v>0.13408023129743404</c:v>
                </c:pt>
                <c:pt idx="10">
                  <c:v>0.13476702508960572</c:v>
                </c:pt>
                <c:pt idx="11">
                  <c:v>0.16027363791839727</c:v>
                </c:pt>
                <c:pt idx="12">
                  <c:v>0.16722632639355273</c:v>
                </c:pt>
                <c:pt idx="13">
                  <c:v>0.16319942611190819</c:v>
                </c:pt>
                <c:pt idx="14">
                  <c:v>0.16754916792738275</c:v>
                </c:pt>
                <c:pt idx="15">
                  <c:v>0.16370967741935483</c:v>
                </c:pt>
                <c:pt idx="16">
                  <c:v>0.1374296435272045</c:v>
                </c:pt>
                <c:pt idx="17">
                  <c:v>0.13079394217530976</c:v>
                </c:pt>
                <c:pt idx="18">
                  <c:v>0.12955082742316784</c:v>
                </c:pt>
                <c:pt idx="19">
                  <c:v>0.13850267379679143</c:v>
                </c:pt>
                <c:pt idx="20">
                  <c:v>0.12227324913892078</c:v>
                </c:pt>
                <c:pt idx="21">
                  <c:v>0.122007722007722</c:v>
                </c:pt>
                <c:pt idx="22">
                  <c:v>0.12166405023547881</c:v>
                </c:pt>
                <c:pt idx="23">
                  <c:v>0.12283464566929134</c:v>
                </c:pt>
                <c:pt idx="24">
                  <c:v>0.11188811188811189</c:v>
                </c:pt>
                <c:pt idx="25">
                  <c:v>0.11975223675154852</c:v>
                </c:pt>
                <c:pt idx="26">
                  <c:v>0.1238390092879257</c:v>
                </c:pt>
                <c:pt idx="27">
                  <c:v>0.12458862247296662</c:v>
                </c:pt>
                <c:pt idx="28">
                  <c:v>0.12525837122778008</c:v>
                </c:pt>
                <c:pt idx="29">
                  <c:v>0.13242506811989102</c:v>
                </c:pt>
                <c:pt idx="30">
                  <c:v>0.12944983818770225</c:v>
                </c:pt>
                <c:pt idx="31">
                  <c:v>0.13782845810609817</c:v>
                </c:pt>
                <c:pt idx="32">
                  <c:v>0.160182119205298</c:v>
                </c:pt>
                <c:pt idx="33">
                  <c:v>0.16433076384022424</c:v>
                </c:pt>
                <c:pt idx="34">
                  <c:v>0.17829970228250083</c:v>
                </c:pt>
                <c:pt idx="35">
                  <c:v>0.16361003861003862</c:v>
                </c:pt>
                <c:pt idx="36">
                  <c:v>0.15963659961064244</c:v>
                </c:pt>
                <c:pt idx="37">
                  <c:v>0.13294460641399417</c:v>
                </c:pt>
                <c:pt idx="38">
                  <c:v>0.13843457943925233</c:v>
                </c:pt>
                <c:pt idx="39">
                  <c:v>0.15029693924166285</c:v>
                </c:pt>
                <c:pt idx="40">
                  <c:v>0.12824074074074074</c:v>
                </c:pt>
                <c:pt idx="41">
                  <c:v>0.1282389108476065</c:v>
                </c:pt>
                <c:pt idx="42">
                  <c:v>0.12722513089005236</c:v>
                </c:pt>
                <c:pt idx="43">
                  <c:v>0.12227225493591964</c:v>
                </c:pt>
                <c:pt idx="44">
                  <c:v>0.11200951248513674</c:v>
                </c:pt>
                <c:pt idx="45">
                  <c:v>0.11953151911815363</c:v>
                </c:pt>
                <c:pt idx="46">
                  <c:v>0.10984522785898539</c:v>
                </c:pt>
                <c:pt idx="47">
                  <c:v>0.10579771476936098</c:v>
                </c:pt>
                <c:pt idx="48">
                  <c:v>0.09973045822102426</c:v>
                </c:pt>
                <c:pt idx="49">
                  <c:v>0.11733128834355828</c:v>
                </c:pt>
                <c:pt idx="50">
                  <c:v>0.1569811320754717</c:v>
                </c:pt>
                <c:pt idx="51">
                  <c:v>0.146521016385656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967934346759784</c:v>
                </c:pt>
              </c:numCache>
            </c:numRef>
          </c:xVal>
          <c:yVal>
            <c:numRef>
              <c:f>Sheet1!$B$163:$B$164</c:f>
              <c:numCache>
                <c:formatCode>General</c:formatCode>
                <c:ptCount val="2"/>
                <c:pt idx="0">
                  <c:v>0.16764678875856648</c:v>
                </c:pt>
                <c:pt idx="1">
                  <c:v>0.1676467887585664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967934346759784</c:v>
                </c:pt>
                <c:pt idx="1">
                  <c:v>1.4967934346759784</c:v>
                </c:pt>
              </c:numCache>
            </c:numRef>
          </c:xVal>
          <c:yVal>
            <c:numRef>
              <c:f>Sheet1!$B$167:$B$168</c:f>
              <c:numCache>
                <c:formatCode>General</c:formatCode>
                <c:ptCount val="2"/>
                <c:pt idx="0">
                  <c:v>0.167646788758566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48962358376112</c:v>
                </c:pt>
              </c:numCache>
            </c:numRef>
          </c:xVal>
          <c:yVal>
            <c:numRef>
              <c:f>Sheet1!$B$171:$B$172</c:f>
              <c:numCache>
                <c:formatCode>General</c:formatCode>
                <c:ptCount val="2"/>
                <c:pt idx="0">
                  <c:v>0.17234038229579673</c:v>
                </c:pt>
                <c:pt idx="1">
                  <c:v>0.172340382295796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48962358376112</c:v>
                </c:pt>
                <c:pt idx="1">
                  <c:v>1.448962358376112</c:v>
                </c:pt>
              </c:numCache>
            </c:numRef>
          </c:xVal>
          <c:yVal>
            <c:numRef>
              <c:f>Sheet1!$B$175:$B$176</c:f>
              <c:numCache>
                <c:formatCode>General</c:formatCode>
                <c:ptCount val="2"/>
                <c:pt idx="0">
                  <c:v>0.172340382295796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321615010504434</c:v>
                </c:pt>
              </c:numCache>
            </c:numRef>
          </c:xVal>
          <c:yVal>
            <c:numRef>
              <c:f>Sheet1!$B$179:$B$180</c:f>
              <c:numCache>
                <c:formatCode>General</c:formatCode>
                <c:ptCount val="2"/>
                <c:pt idx="0">
                  <c:v>0.12492475737794842</c:v>
                </c:pt>
                <c:pt idx="1">
                  <c:v>0.1249247573779484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321615010504434</c:v>
                </c:pt>
                <c:pt idx="1">
                  <c:v>1.9321615010504434</c:v>
                </c:pt>
              </c:numCache>
            </c:numRef>
          </c:xVal>
          <c:yVal>
            <c:numRef>
              <c:f>Sheet1!$B$183:$B$184</c:f>
              <c:numCache>
                <c:formatCode>General</c:formatCode>
                <c:ptCount val="2"/>
                <c:pt idx="0">
                  <c:v>0.124924757377948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69553129960335</c:v>
                </c:pt>
                <c:pt idx="1">
                  <c:v>1.737226512803617</c:v>
                </c:pt>
                <c:pt idx="2">
                  <c:v>1.6369336179895584</c:v>
                </c:pt>
                <c:pt idx="3">
                  <c:v>1.6964811259800014</c:v>
                </c:pt>
                <c:pt idx="4">
                  <c:v>1.6296871125710544</c:v>
                </c:pt>
                <c:pt idx="5">
                  <c:v>1.5657414044063735</c:v>
                </c:pt>
                <c:pt idx="6">
                  <c:v>1.6691579411175648</c:v>
                </c:pt>
                <c:pt idx="7">
                  <c:v>1.625930159443238</c:v>
                </c:pt>
                <c:pt idx="8">
                  <c:v>1.7742200654073783</c:v>
                </c:pt>
                <c:pt idx="9">
                  <c:v>1.8293738652050309</c:v>
                </c:pt>
                <c:pt idx="10">
                  <c:v>1.7859685876274751</c:v>
                </c:pt>
                <c:pt idx="11">
                  <c:v>2.049658617465918</c:v>
                </c:pt>
                <c:pt idx="12">
                  <c:v>1.8571833727136238</c:v>
                </c:pt>
                <c:pt idx="13">
                  <c:v>1.6230852183290285</c:v>
                </c:pt>
                <c:pt idx="14">
                  <c:v>1.5605910167095876</c:v>
                </c:pt>
                <c:pt idx="15">
                  <c:v>1.6362598529648629</c:v>
                </c:pt>
                <c:pt idx="16">
                  <c:v>1.684562773681396</c:v>
                </c:pt>
                <c:pt idx="17">
                  <c:v>1.6761587456872002</c:v>
                </c:pt>
                <c:pt idx="18">
                  <c:v>1.503760299326316</c:v>
                </c:pt>
                <c:pt idx="19">
                  <c:v>1.8121381111620107</c:v>
                </c:pt>
                <c:pt idx="20">
                  <c:v>1.818342133636998</c:v>
                </c:pt>
                <c:pt idx="21">
                  <c:v>1.8726328231413112</c:v>
                </c:pt>
                <c:pt idx="22">
                  <c:v>1.8233941381645844</c:v>
                </c:pt>
                <c:pt idx="23">
                  <c:v>1.7714508355792473</c:v>
                </c:pt>
                <c:pt idx="24">
                  <c:v>1.9055081775700937</c:v>
                </c:pt>
                <c:pt idx="25">
                  <c:v>1.8611087084352</c:v>
                </c:pt>
                <c:pt idx="26">
                  <c:v>1.7466310104346916</c:v>
                </c:pt>
                <c:pt idx="27">
                  <c:v>1.7760420586585424</c:v>
                </c:pt>
                <c:pt idx="28">
                  <c:v>1.8153000173012999</c:v>
                </c:pt>
                <c:pt idx="29">
                  <c:v>1.7192421053580678</c:v>
                </c:pt>
                <c:pt idx="30">
                  <c:v>1.618958890348483</c:v>
                </c:pt>
                <c:pt idx="31">
                  <c:v>1.5532420984621935</c:v>
                </c:pt>
                <c:pt idx="32">
                  <c:v>1.6759957729752732</c:v>
                </c:pt>
                <c:pt idx="33">
                  <c:v>1.6180720684906222</c:v>
                </c:pt>
                <c:pt idx="34">
                  <c:v>1.6665922065539203</c:v>
                </c:pt>
                <c:pt idx="35">
                  <c:v>1.478743977593727</c:v>
                </c:pt>
                <c:pt idx="36">
                  <c:v>1.5661202135450973</c:v>
                </c:pt>
                <c:pt idx="37">
                  <c:v>1.7218547154418113</c:v>
                </c:pt>
                <c:pt idx="38">
                  <c:v>1.7122632358936078</c:v>
                </c:pt>
                <c:pt idx="39">
                  <c:v>1.8746813638461746</c:v>
                </c:pt>
                <c:pt idx="40">
                  <c:v>1.8320727793156482</c:v>
                </c:pt>
                <c:pt idx="41">
                  <c:v>1.7987596773215744</c:v>
                </c:pt>
                <c:pt idx="42">
                  <c:v>1.9445983387066974</c:v>
                </c:pt>
                <c:pt idx="43">
                  <c:v>1.9301123505896662</c:v>
                </c:pt>
                <c:pt idx="44">
                  <c:v>1.877260967370263</c:v>
                </c:pt>
                <c:pt idx="45">
                  <c:v>1.9109434567489902</c:v>
                </c:pt>
                <c:pt idx="46">
                  <c:v>1.8050429166918938</c:v>
                </c:pt>
                <c:pt idx="47">
                  <c:v>1.964518106740167</c:v>
                </c:pt>
                <c:pt idx="48">
                  <c:v>1.9034502290076336</c:v>
                </c:pt>
                <c:pt idx="49">
                  <c:v>1.9875632183578904</c:v>
                </c:pt>
                <c:pt idx="50">
                  <c:v>1.76869906572693</c:v>
                </c:pt>
                <c:pt idx="51">
                  <c:v>1.685111731712499</c:v>
                </c:pt>
                <c:pt idx="52">
                  <c:v>1.448962358376112</c:v>
                </c:pt>
                <c:pt idx="53">
                  <c:v>1.4967934346759784</c:v>
                </c:pt>
                <c:pt idx="54">
                  <c:v>1.9321615010504434</c:v>
                </c:pt>
              </c:numCache>
            </c:numRef>
          </c:xVal>
          <c:yVal>
            <c:numRef>
              <c:f>Sheet1!$B$187:$B$241</c:f>
              <c:numCache>
                <c:formatCode>General</c:formatCode>
                <c:ptCount val="55"/>
                <c:pt idx="0">
                  <c:v>0.12125557153948402</c:v>
                </c:pt>
                <c:pt idx="1">
                  <c:v>0.14405344257163533</c:v>
                </c:pt>
                <c:pt idx="2">
                  <c:v>0.15389503760450093</c:v>
                </c:pt>
                <c:pt idx="3">
                  <c:v>0.1480517277674005</c:v>
                </c:pt>
                <c:pt idx="4">
                  <c:v>0.15460612657909484</c:v>
                </c:pt>
                <c:pt idx="5">
                  <c:v>0.16088102536443113</c:v>
                </c:pt>
                <c:pt idx="6">
                  <c:v>0.15073291192229768</c:v>
                </c:pt>
                <c:pt idx="7">
                  <c:v>0.15497479089285282</c:v>
                </c:pt>
                <c:pt idx="8">
                  <c:v>0.14042331937867913</c:v>
                </c:pt>
                <c:pt idx="9">
                  <c:v>0.13501115769824718</c:v>
                </c:pt>
                <c:pt idx="10">
                  <c:v>0.13927045408209776</c:v>
                </c:pt>
                <c:pt idx="11">
                  <c:v>0.11339493725026703</c:v>
                </c:pt>
                <c:pt idx="12">
                  <c:v>0.13228225141360536</c:v>
                </c:pt>
                <c:pt idx="13">
                  <c:v>0.15525396080205037</c:v>
                </c:pt>
                <c:pt idx="14">
                  <c:v>0.16138642537375378</c:v>
                </c:pt>
                <c:pt idx="15">
                  <c:v>0.15396115318061085</c:v>
                </c:pt>
                <c:pt idx="16">
                  <c:v>0.14922125824111312</c:v>
                </c:pt>
                <c:pt idx="17">
                  <c:v>0.15004593321252643</c:v>
                </c:pt>
                <c:pt idx="18">
                  <c:v>0.16696314052341954</c:v>
                </c:pt>
                <c:pt idx="19">
                  <c:v>0.1367024770254235</c:v>
                </c:pt>
                <c:pt idx="20">
                  <c:v>0.13609368537685437</c:v>
                </c:pt>
                <c:pt idx="21">
                  <c:v>0.1307662194467195</c:v>
                </c:pt>
                <c:pt idx="22">
                  <c:v>0.1355979395639841</c:v>
                </c:pt>
                <c:pt idx="23">
                  <c:v>0.1406950598501445</c:v>
                </c:pt>
                <c:pt idx="24">
                  <c:v>0.1275402090154736</c:v>
                </c:pt>
                <c:pt idx="25">
                  <c:v>0.13189706396227674</c:v>
                </c:pt>
                <c:pt idx="26">
                  <c:v>0.14313059297850936</c:v>
                </c:pt>
                <c:pt idx="27">
                  <c:v>0.14024452984664085</c:v>
                </c:pt>
                <c:pt idx="28">
                  <c:v>0.13639220380205602</c:v>
                </c:pt>
                <c:pt idx="29">
                  <c:v>0.14581822616187165</c:v>
                </c:pt>
                <c:pt idx="30">
                  <c:v>0.15565887132968645</c:v>
                </c:pt>
                <c:pt idx="31">
                  <c:v>0.1621075639694098</c:v>
                </c:pt>
                <c:pt idx="32">
                  <c:v>0.1500619254863078</c:v>
                </c:pt>
                <c:pt idx="33">
                  <c:v>0.15574589386111842</c:v>
                </c:pt>
                <c:pt idx="34">
                  <c:v>0.1509846837011862</c:v>
                </c:pt>
                <c:pt idx="35">
                  <c:v>0.1694179555744804</c:v>
                </c:pt>
                <c:pt idx="36">
                  <c:v>0.16084385337787135</c:v>
                </c:pt>
                <c:pt idx="37">
                  <c:v>0.14556185455677784</c:v>
                </c:pt>
                <c:pt idx="38">
                  <c:v>0.14650305241186456</c:v>
                </c:pt>
                <c:pt idx="39">
                  <c:v>0.13056519914450385</c:v>
                </c:pt>
                <c:pt idx="40">
                  <c:v>0.13474631720526484</c:v>
                </c:pt>
                <c:pt idx="41">
                  <c:v>0.1380152831646387</c:v>
                </c:pt>
                <c:pt idx="42">
                  <c:v>0.12370434869466862</c:v>
                </c:pt>
                <c:pt idx="43">
                  <c:v>0.1251258375146198</c:v>
                </c:pt>
                <c:pt idx="44">
                  <c:v>0.13031206642481818</c:v>
                </c:pt>
                <c:pt idx="45">
                  <c:v>0.1270068530218268</c:v>
                </c:pt>
                <c:pt idx="46">
                  <c:v>0.13739871807803028</c:v>
                </c:pt>
                <c:pt idx="47">
                  <c:v>0.12174965100150215</c:v>
                </c:pt>
                <c:pt idx="48">
                  <c:v>0.12774215249699092</c:v>
                </c:pt>
                <c:pt idx="49">
                  <c:v>0.1194882679150003</c:v>
                </c:pt>
                <c:pt idx="50">
                  <c:v>0.14096508699972837</c:v>
                </c:pt>
                <c:pt idx="51">
                  <c:v>0.14916738979268343</c:v>
                </c:pt>
                <c:pt idx="52">
                  <c:v>0.17234038229579673</c:v>
                </c:pt>
                <c:pt idx="53">
                  <c:v>0.16764678875856648</c:v>
                </c:pt>
                <c:pt idx="54">
                  <c:v>0.124924757377948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8659961946181"/>
          <c:min val="0.079402722880983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9.1527</c:v>
                </c:pt>
                <c:pt idx="1">
                  <c:v>909.8036</c:v>
                </c:pt>
                <c:pt idx="2">
                  <c:v>993.6637</c:v>
                </c:pt>
                <c:pt idx="3">
                  <c:v>996.6836</c:v>
                </c:pt>
                <c:pt idx="4">
                  <c:v>990.8255</c:v>
                </c:pt>
                <c:pt idx="5">
                  <c:v>987.0</c:v>
                </c:pt>
                <c:pt idx="6">
                  <c:v>922.4098</c:v>
                </c:pt>
                <c:pt idx="7">
                  <c:v>944.5421</c:v>
                </c:pt>
                <c:pt idx="8">
                  <c:v>991.1239</c:v>
                </c:pt>
                <c:pt idx="9">
                  <c:v>953.414</c:v>
                </c:pt>
                <c:pt idx="10">
                  <c:v>942.0425</c:v>
                </c:pt>
                <c:pt idx="11">
                  <c:v>974.0612</c:v>
                </c:pt>
                <c:pt idx="12">
                  <c:v>969.5611</c:v>
                </c:pt>
                <c:pt idx="13">
                  <c:v>957.6164</c:v>
                </c:pt>
                <c:pt idx="14">
                  <c:v>963.9165</c:v>
                </c:pt>
                <c:pt idx="15">
                  <c:v>973.9578</c:v>
                </c:pt>
                <c:pt idx="16">
                  <c:v>969.3718</c:v>
                </c:pt>
                <c:pt idx="17">
                  <c:v>1003.056</c:v>
                </c:pt>
                <c:pt idx="18">
                  <c:v>1056.4207</c:v>
                </c:pt>
                <c:pt idx="19">
                  <c:v>1105.9</c:v>
                </c:pt>
                <c:pt idx="20">
                  <c:v>1081.2915</c:v>
                </c:pt>
                <c:pt idx="21">
                  <c:v>1095.1925</c:v>
                </c:pt>
                <c:pt idx="22">
                  <c:v>1088.7799</c:v>
                </c:pt>
                <c:pt idx="23">
                  <c:v>1067.163</c:v>
                </c:pt>
                <c:pt idx="24">
                  <c:v>1059.831</c:v>
                </c:pt>
                <c:pt idx="25">
                  <c:v>1054.9208</c:v>
                </c:pt>
                <c:pt idx="26">
                  <c:v>1048.0915</c:v>
                </c:pt>
                <c:pt idx="27">
                  <c:v>1047.0282</c:v>
                </c:pt>
                <c:pt idx="28">
                  <c:v>1018.3695</c:v>
                </c:pt>
                <c:pt idx="29">
                  <c:v>933.5482</c:v>
                </c:pt>
                <c:pt idx="30">
                  <c:v>974.9565</c:v>
                </c:pt>
                <c:pt idx="31">
                  <c:v>974.8904</c:v>
                </c:pt>
                <c:pt idx="32">
                  <c:v>973.882</c:v>
                </c:pt>
                <c:pt idx="33">
                  <c:v>938.8992</c:v>
                </c:pt>
                <c:pt idx="34">
                  <c:v>989.916</c:v>
                </c:pt>
                <c:pt idx="35">
                  <c:v>1015.3333</c:v>
                </c:pt>
                <c:pt idx="36">
                  <c:v>1117.2989</c:v>
                </c:pt>
                <c:pt idx="37">
                  <c:v>1122.5733</c:v>
                </c:pt>
                <c:pt idx="38">
                  <c:v>1221.1504</c:v>
                </c:pt>
                <c:pt idx="39">
                  <c:v>1209.9554</c:v>
                </c:pt>
                <c:pt idx="40">
                  <c:v>1216.1513</c:v>
                </c:pt>
                <c:pt idx="41">
                  <c:v>1222.5469</c:v>
                </c:pt>
                <c:pt idx="42">
                  <c:v>1267.2827</c:v>
                </c:pt>
                <c:pt idx="43">
                  <c:v>1293.3144</c:v>
                </c:pt>
                <c:pt idx="44">
                  <c:v>1078.0273</c:v>
                </c:pt>
                <c:pt idx="45">
                  <c:v>1006.2577</c:v>
                </c:pt>
                <c:pt idx="46">
                  <c:v>984.5345</c:v>
                </c:pt>
                <c:pt idx="47">
                  <c:v>965.4476</c:v>
                </c:pt>
                <c:pt idx="48">
                  <c:v>980.017</c:v>
                </c:pt>
                <c:pt idx="49">
                  <c:v>971.5811</c:v>
                </c:pt>
                <c:pt idx="50">
                  <c:v>950.742</c:v>
                </c:pt>
                <c:pt idx="51">
                  <c:v>988.5523</c:v>
                </c:pt>
                <c:pt idx="52">
                  <c:v>1000.4226</c:v>
                </c:pt>
                <c:pt idx="53">
                  <c:v>1079.7003</c:v>
                </c:pt>
                <c:pt idx="54">
                  <c:v>1069.0854</c:v>
                </c:pt>
                <c:pt idx="55">
                  <c:v>1093.8548</c:v>
                </c:pt>
                <c:pt idx="56">
                  <c:v>1099.5396</c:v>
                </c:pt>
                <c:pt idx="57">
                  <c:v>1079.4534</c:v>
                </c:pt>
                <c:pt idx="58">
                  <c:v>1021.176</c:v>
                </c:pt>
                <c:pt idx="59">
                  <c:v>1038.8578</c:v>
                </c:pt>
                <c:pt idx="60">
                  <c:v>1083.1313</c:v>
                </c:pt>
                <c:pt idx="61">
                  <c:v>1047.9537</c:v>
                </c:pt>
                <c:pt idx="62">
                  <c:v>1031.7459</c:v>
                </c:pt>
                <c:pt idx="63">
                  <c:v>1043.0493</c:v>
                </c:pt>
                <c:pt idx="64">
                  <c:v>1078.8788</c:v>
                </c:pt>
                <c:pt idx="65">
                  <c:v>1064.4992</c:v>
                </c:pt>
                <c:pt idx="66">
                  <c:v>979.0697</c:v>
                </c:pt>
                <c:pt idx="67">
                  <c:v>940.0769</c:v>
                </c:pt>
                <c:pt idx="68">
                  <c:v>959.6321</c:v>
                </c:pt>
                <c:pt idx="69">
                  <c:v>913.1821</c:v>
                </c:pt>
                <c:pt idx="70">
                  <c:v>825.0057</c:v>
                </c:pt>
                <c:pt idx="71">
                  <c:v>887.8136</c:v>
                </c:pt>
                <c:pt idx="72">
                  <c:v>1040.0508</c:v>
                </c:pt>
                <c:pt idx="73">
                  <c:v>1041.0468</c:v>
                </c:pt>
                <c:pt idx="74">
                  <c:v>1048.7118</c:v>
                </c:pt>
                <c:pt idx="75">
                  <c:v>994.9003</c:v>
                </c:pt>
                <c:pt idx="76">
                  <c:v>999.1917</c:v>
                </c:pt>
                <c:pt idx="77">
                  <c:v>993.9937</c:v>
                </c:pt>
                <c:pt idx="78">
                  <c:v>1047.9964</c:v>
                </c:pt>
                <c:pt idx="79">
                  <c:v>682.0811</c:v>
                </c:pt>
                <c:pt idx="80">
                  <c:v>743.9943</c:v>
                </c:pt>
                <c:pt idx="81">
                  <c:v>840.0689</c:v>
                </c:pt>
                <c:pt idx="82">
                  <c:v>933.6332</c:v>
                </c:pt>
                <c:pt idx="83">
                  <c:v>949.851</c:v>
                </c:pt>
                <c:pt idx="84">
                  <c:v>807.5837</c:v>
                </c:pt>
                <c:pt idx="85">
                  <c:v>1086.6327</c:v>
                </c:pt>
                <c:pt idx="86">
                  <c:v>1153.8567</c:v>
                </c:pt>
                <c:pt idx="87">
                  <c:v>968.8333</c:v>
                </c:pt>
                <c:pt idx="88">
                  <c:v>1042.093</c:v>
                </c:pt>
                <c:pt idx="89">
                  <c:v>1010.9004</c:v>
                </c:pt>
                <c:pt idx="90">
                  <c:v>1064.4321</c:v>
                </c:pt>
                <c:pt idx="91">
                  <c:v>1099.7197</c:v>
                </c:pt>
                <c:pt idx="92">
                  <c:v>1175.5382</c:v>
                </c:pt>
                <c:pt idx="93">
                  <c:v>1203.6688</c:v>
                </c:pt>
                <c:pt idx="94">
                  <c:v>1077.6031</c:v>
                </c:pt>
                <c:pt idx="95">
                  <c:v>1227.5455</c:v>
                </c:pt>
                <c:pt idx="96">
                  <c:v>1224.5081</c:v>
                </c:pt>
                <c:pt idx="97">
                  <c:v>1201.3014</c:v>
                </c:pt>
                <c:pt idx="98">
                  <c:v>1177.0273</c:v>
                </c:pt>
                <c:pt idx="99">
                  <c:v>1130.97</c:v>
                </c:pt>
                <c:pt idx="100">
                  <c:v>1131.2701</c:v>
                </c:pt>
                <c:pt idx="101">
                  <c:v>1146.6773</c:v>
                </c:pt>
                <c:pt idx="102">
                  <c:v>1194.3179</c:v>
                </c:pt>
                <c:pt idx="103">
                  <c:v>1093.5639</c:v>
                </c:pt>
                <c:pt idx="104">
                  <c:v>1250.7062</c:v>
                </c:pt>
              </c:numCache>
            </c:numRef>
          </c:xVal>
          <c:yVal>
            <c:numRef>
              <c:f>Sheet1!$B$2:$B$106</c:f>
              <c:numCache>
                <c:formatCode>General</c:formatCode>
                <c:ptCount val="105"/>
                <c:pt idx="0">
                  <c:v>0.165585142089953</c:v>
                </c:pt>
                <c:pt idx="1">
                  <c:v>0.18378240976105745</c:v>
                </c:pt>
                <c:pt idx="2">
                  <c:v>0.15177178515712056</c:v>
                </c:pt>
                <c:pt idx="3">
                  <c:v>0.16476611589481033</c:v>
                </c:pt>
                <c:pt idx="4">
                  <c:v>0.15755171436667612</c:v>
                </c:pt>
                <c:pt idx="5">
                  <c:v>0.1517927244176917</c:v>
                </c:pt>
                <c:pt idx="6">
                  <c:v>0.17754491017964072</c:v>
                </c:pt>
                <c:pt idx="7">
                  <c:v>0.17983193277310924</c:v>
                </c:pt>
                <c:pt idx="8">
                  <c:v>0.16666666666666666</c:v>
                </c:pt>
                <c:pt idx="9">
                  <c:v>0.15669431279620852</c:v>
                </c:pt>
                <c:pt idx="10">
                  <c:v>0.1725717776420281</c:v>
                </c:pt>
                <c:pt idx="11">
                  <c:v>0.1734792404248471</c:v>
                </c:pt>
                <c:pt idx="12">
                  <c:v>0.17970924837612126</c:v>
                </c:pt>
                <c:pt idx="13">
                  <c:v>0.1874125874125874</c:v>
                </c:pt>
                <c:pt idx="14">
                  <c:v>0.1838492597577389</c:v>
                </c:pt>
                <c:pt idx="15">
                  <c:v>0.1889737628694786</c:v>
                </c:pt>
                <c:pt idx="16">
                  <c:v>0.18425196850393702</c:v>
                </c:pt>
                <c:pt idx="17">
                  <c:v>0.15678524374176547</c:v>
                </c:pt>
                <c:pt idx="18">
                  <c:v>0.13845504432249894</c:v>
                </c:pt>
                <c:pt idx="19">
                  <c:v>0.13806706114398423</c:v>
                </c:pt>
                <c:pt idx="20">
                  <c:v>0.14759036144578314</c:v>
                </c:pt>
                <c:pt idx="21">
                  <c:v>0.15232632249840664</c:v>
                </c:pt>
                <c:pt idx="22">
                  <c:v>0.14616252821670428</c:v>
                </c:pt>
                <c:pt idx="23">
                  <c:v>0.15901060070671377</c:v>
                </c:pt>
                <c:pt idx="24">
                  <c:v>0.14925373134328357</c:v>
                </c:pt>
                <c:pt idx="25">
                  <c:v>0.1536231884057971</c:v>
                </c:pt>
                <c:pt idx="26">
                  <c:v>0.1679467485919099</c:v>
                </c:pt>
                <c:pt idx="27">
                  <c:v>0.1451319381255687</c:v>
                </c:pt>
                <c:pt idx="28">
                  <c:v>0.16695427092320966</c:v>
                </c:pt>
                <c:pt idx="29">
                  <c:v>0.1881375141669815</c:v>
                </c:pt>
                <c:pt idx="30">
                  <c:v>0.1671858774662513</c:v>
                </c:pt>
                <c:pt idx="31">
                  <c:v>0.167687235044748</c:v>
                </c:pt>
                <c:pt idx="32">
                  <c:v>0.14990689013035383</c:v>
                </c:pt>
                <c:pt idx="33">
                  <c:v>0.18194396402628848</c:v>
                </c:pt>
                <c:pt idx="34">
                  <c:v>0.16721097322011758</c:v>
                </c:pt>
                <c:pt idx="35">
                  <c:v>0.1568836712913554</c:v>
                </c:pt>
                <c:pt idx="36">
                  <c:v>0.11427320490367776</c:v>
                </c:pt>
                <c:pt idx="37">
                  <c:v>0.1039426523297491</c:v>
                </c:pt>
                <c:pt idx="38">
                  <c:v>0.0992534036012297</c:v>
                </c:pt>
                <c:pt idx="39">
                  <c:v>0.10934959349593495</c:v>
                </c:pt>
                <c:pt idx="40">
                  <c:v>0.11274673803947809</c:v>
                </c:pt>
                <c:pt idx="41">
                  <c:v>0.10082709728239464</c:v>
                </c:pt>
                <c:pt idx="42">
                  <c:v>0.1037037037037037</c:v>
                </c:pt>
                <c:pt idx="43">
                  <c:v>0.10901033973412112</c:v>
                </c:pt>
                <c:pt idx="44">
                  <c:v>0.14086021505376345</c:v>
                </c:pt>
                <c:pt idx="45">
                  <c:v>0.1703724684888826</c:v>
                </c:pt>
                <c:pt idx="46">
                  <c:v>0.17872202400259488</c:v>
                </c:pt>
                <c:pt idx="47">
                  <c:v>0.1849337748344371</c:v>
                </c:pt>
                <c:pt idx="48">
                  <c:v>0.20384303738858664</c:v>
                </c:pt>
                <c:pt idx="49">
                  <c:v>0.22388330162181752</c:v>
                </c:pt>
                <c:pt idx="50">
                  <c:v>0.18204592901878913</c:v>
                </c:pt>
                <c:pt idx="51">
                  <c:v>0.14759493670886076</c:v>
                </c:pt>
                <c:pt idx="52">
                  <c:v>0.16467359341305626</c:v>
                </c:pt>
                <c:pt idx="53">
                  <c:v>0.14665996986438976</c:v>
                </c:pt>
                <c:pt idx="54">
                  <c:v>0.1436265709156194</c:v>
                </c:pt>
                <c:pt idx="55">
                  <c:v>0.12792091072498502</c:v>
                </c:pt>
                <c:pt idx="56">
                  <c:v>0.1335978835978836</c:v>
                </c:pt>
                <c:pt idx="57">
                  <c:v>0.13912209162868794</c:v>
                </c:pt>
                <c:pt idx="58">
                  <c:v>0.16784414472275744</c:v>
                </c:pt>
                <c:pt idx="59">
                  <c:v>0.18846153846153846</c:v>
                </c:pt>
                <c:pt idx="60">
                  <c:v>0.21013434579439252</c:v>
                </c:pt>
                <c:pt idx="61">
                  <c:v>0.2224633749321758</c:v>
                </c:pt>
                <c:pt idx="62">
                  <c:v>0.1987090825265099</c:v>
                </c:pt>
                <c:pt idx="63">
                  <c:v>0.2038812251578209</c:v>
                </c:pt>
                <c:pt idx="64">
                  <c:v>0.17659936755047434</c:v>
                </c:pt>
                <c:pt idx="65">
                  <c:v>0.15833551426328185</c:v>
                </c:pt>
                <c:pt idx="66">
                  <c:v>0.17925531914893617</c:v>
                </c:pt>
                <c:pt idx="67">
                  <c:v>0.1744736842105263</c:v>
                </c:pt>
                <c:pt idx="68">
                  <c:v>0.15088555858310626</c:v>
                </c:pt>
                <c:pt idx="69">
                  <c:v>0.13536530703720304</c:v>
                </c:pt>
                <c:pt idx="70">
                  <c:v>0.13524904214559386</c:v>
                </c:pt>
                <c:pt idx="71">
                  <c:v>0.15278377211911956</c:v>
                </c:pt>
                <c:pt idx="72">
                  <c:v>0.14597938144329897</c:v>
                </c:pt>
                <c:pt idx="73">
                  <c:v>0.1442429354702657</c:v>
                </c:pt>
                <c:pt idx="74">
                  <c:v>0.14688856729377714</c:v>
                </c:pt>
                <c:pt idx="75">
                  <c:v>0.15439034540158136</c:v>
                </c:pt>
                <c:pt idx="76">
                  <c:v>0.16020793950850662</c:v>
                </c:pt>
                <c:pt idx="77">
                  <c:v>0.1553588987217306</c:v>
                </c:pt>
                <c:pt idx="78">
                  <c:v>0.1469017094017094</c:v>
                </c:pt>
                <c:pt idx="79">
                  <c:v>0.179213002566296</c:v>
                </c:pt>
                <c:pt idx="80">
                  <c:v>0.141869918699187</c:v>
                </c:pt>
                <c:pt idx="81">
                  <c:v>0.13940256045519203</c:v>
                </c:pt>
                <c:pt idx="82">
                  <c:v>0.11291913214990137</c:v>
                </c:pt>
                <c:pt idx="83">
                  <c:v>0.11804767309875142</c:v>
                </c:pt>
                <c:pt idx="84">
                  <c:v>0.13231118682566723</c:v>
                </c:pt>
                <c:pt idx="85">
                  <c:v>0.11887433284813198</c:v>
                </c:pt>
                <c:pt idx="86">
                  <c:v>0.12280030604437643</c:v>
                </c:pt>
                <c:pt idx="87">
                  <c:v>0.15378548895899052</c:v>
                </c:pt>
                <c:pt idx="88">
                  <c:v>0.11871893981225842</c:v>
                </c:pt>
                <c:pt idx="89">
                  <c:v>0.1321996708721887</c:v>
                </c:pt>
                <c:pt idx="90">
                  <c:v>0.1285034373347435</c:v>
                </c:pt>
                <c:pt idx="91">
                  <c:v>0.12526205450733752</c:v>
                </c:pt>
                <c:pt idx="92">
                  <c:v>0.12397034596375618</c:v>
                </c:pt>
                <c:pt idx="93">
                  <c:v>0.11506352087114338</c:v>
                </c:pt>
                <c:pt idx="94">
                  <c:v>0.1314708299096138</c:v>
                </c:pt>
                <c:pt idx="95">
                  <c:v>0.11967361740707162</c:v>
                </c:pt>
                <c:pt idx="96">
                  <c:v>0.11817226890756302</c:v>
                </c:pt>
                <c:pt idx="97">
                  <c:v>0.1420222886653982</c:v>
                </c:pt>
                <c:pt idx="98">
                  <c:v>0.14795660948536832</c:v>
                </c:pt>
                <c:pt idx="99">
                  <c:v>0.15552523874488403</c:v>
                </c:pt>
                <c:pt idx="100">
                  <c:v>0.17427129467504376</c:v>
                </c:pt>
                <c:pt idx="101">
                  <c:v>0.15730961645358532</c:v>
                </c:pt>
                <c:pt idx="102">
                  <c:v>0.12636664124078312</c:v>
                </c:pt>
                <c:pt idx="103">
                  <c:v>0.14634146341463414</c:v>
                </c:pt>
                <c:pt idx="104">
                  <c:v>0.138496882179192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1431</c:v>
                </c:pt>
                <c:pt idx="1">
                  <c:v>1104.1433</c:v>
                </c:pt>
                <c:pt idx="2">
                  <c:v>1086.7031</c:v>
                </c:pt>
                <c:pt idx="3">
                  <c:v>1091.4805</c:v>
                </c:pt>
                <c:pt idx="4">
                  <c:v>1087.0955</c:v>
                </c:pt>
                <c:pt idx="5">
                  <c:v>1086.3391</c:v>
                </c:pt>
                <c:pt idx="6">
                  <c:v>1041.7632</c:v>
                </c:pt>
                <c:pt idx="7">
                  <c:v>1100.2645</c:v>
                </c:pt>
                <c:pt idx="8">
                  <c:v>1230.0414</c:v>
                </c:pt>
                <c:pt idx="9">
                  <c:v>1190.3154</c:v>
                </c:pt>
                <c:pt idx="10">
                  <c:v>1236.6543</c:v>
                </c:pt>
                <c:pt idx="11">
                  <c:v>1045.5655</c:v>
                </c:pt>
                <c:pt idx="12">
                  <c:v>1047.743</c:v>
                </c:pt>
                <c:pt idx="13">
                  <c:v>1119.8022</c:v>
                </c:pt>
                <c:pt idx="14">
                  <c:v>1076.1806</c:v>
                </c:pt>
                <c:pt idx="15">
                  <c:v>1111.367</c:v>
                </c:pt>
                <c:pt idx="16">
                  <c:v>1148.1365</c:v>
                </c:pt>
                <c:pt idx="17">
                  <c:v>1151.0281</c:v>
                </c:pt>
                <c:pt idx="18">
                  <c:v>1024.1752</c:v>
                </c:pt>
                <c:pt idx="19">
                  <c:v>1203.3514</c:v>
                </c:pt>
                <c:pt idx="20">
                  <c:v>1315.6009</c:v>
                </c:pt>
                <c:pt idx="21">
                  <c:v>1291.3734</c:v>
                </c:pt>
                <c:pt idx="22">
                  <c:v>1250.2452</c:v>
                </c:pt>
                <c:pt idx="23">
                  <c:v>1249.1731</c:v>
                </c:pt>
                <c:pt idx="24">
                  <c:v>1304.892</c:v>
                </c:pt>
                <c:pt idx="25">
                  <c:v>1194.1724</c:v>
                </c:pt>
                <c:pt idx="26">
                  <c:v>1215.815</c:v>
                </c:pt>
                <c:pt idx="27">
                  <c:v>1238.8943</c:v>
                </c:pt>
                <c:pt idx="28">
                  <c:v>1223.3993</c:v>
                </c:pt>
                <c:pt idx="29">
                  <c:v>1220.3416</c:v>
                </c:pt>
                <c:pt idx="30">
                  <c:v>1151.3333</c:v>
                </c:pt>
                <c:pt idx="31">
                  <c:v>1118.8489</c:v>
                </c:pt>
                <c:pt idx="32">
                  <c:v>1132.708</c:v>
                </c:pt>
                <c:pt idx="33">
                  <c:v>1139.6567</c:v>
                </c:pt>
                <c:pt idx="34">
                  <c:v>1134.039</c:v>
                </c:pt>
                <c:pt idx="35">
                  <c:v>1108.4307</c:v>
                </c:pt>
                <c:pt idx="36">
                  <c:v>1156.0</c:v>
                </c:pt>
                <c:pt idx="37">
                  <c:v>1260.1974</c:v>
                </c:pt>
                <c:pt idx="38">
                  <c:v>1253.3671</c:v>
                </c:pt>
                <c:pt idx="39">
                  <c:v>1291.9331</c:v>
                </c:pt>
                <c:pt idx="40">
                  <c:v>1303.1552</c:v>
                </c:pt>
                <c:pt idx="41">
                  <c:v>1350.024</c:v>
                </c:pt>
                <c:pt idx="42">
                  <c:v>1424.0</c:v>
                </c:pt>
                <c:pt idx="43">
                  <c:v>1355.2805</c:v>
                </c:pt>
                <c:pt idx="44">
                  <c:v>1317.62</c:v>
                </c:pt>
                <c:pt idx="45">
                  <c:v>1231.9841</c:v>
                </c:pt>
                <c:pt idx="46">
                  <c:v>1219.3601</c:v>
                </c:pt>
                <c:pt idx="47">
                  <c:v>1230.128</c:v>
                </c:pt>
                <c:pt idx="48">
                  <c:v>1246.7599</c:v>
                </c:pt>
                <c:pt idx="49">
                  <c:v>1249.3725</c:v>
                </c:pt>
                <c:pt idx="50">
                  <c:v>1079.0833</c:v>
                </c:pt>
                <c:pt idx="51">
                  <c:v>1041.4036</c:v>
                </c:pt>
              </c:numCache>
            </c:numRef>
          </c:xVal>
          <c:yVal>
            <c:numRef>
              <c:f>Sheet1!$B$109:$B$160</c:f>
              <c:numCache>
                <c:formatCode>General</c:formatCode>
                <c:ptCount val="52"/>
                <c:pt idx="0">
                  <c:v>0.14145006839945282</c:v>
                </c:pt>
                <c:pt idx="1">
                  <c:v>0.18673087212413056</c:v>
                </c:pt>
                <c:pt idx="2">
                  <c:v>0.19152854511970535</c:v>
                </c:pt>
                <c:pt idx="3">
                  <c:v>0.20127638684339716</c:v>
                </c:pt>
                <c:pt idx="4">
                  <c:v>0.18751512218727318</c:v>
                </c:pt>
                <c:pt idx="5">
                  <c:v>0.1891891891891892</c:v>
                </c:pt>
                <c:pt idx="6">
                  <c:v>0.16120066703724292</c:v>
                </c:pt>
                <c:pt idx="7">
                  <c:v>0.1544943820224719</c:v>
                </c:pt>
                <c:pt idx="8">
                  <c:v>0.13767820773930753</c:v>
                </c:pt>
                <c:pt idx="9">
                  <c:v>0.13408023129743404</c:v>
                </c:pt>
                <c:pt idx="10">
                  <c:v>0.13476702508960572</c:v>
                </c:pt>
                <c:pt idx="11">
                  <c:v>0.16027363791839727</c:v>
                </c:pt>
                <c:pt idx="12">
                  <c:v>0.16722632639355273</c:v>
                </c:pt>
                <c:pt idx="13">
                  <c:v>0.16319942611190819</c:v>
                </c:pt>
                <c:pt idx="14">
                  <c:v>0.16754916792738275</c:v>
                </c:pt>
                <c:pt idx="15">
                  <c:v>0.16370967741935483</c:v>
                </c:pt>
                <c:pt idx="16">
                  <c:v>0.1374296435272045</c:v>
                </c:pt>
                <c:pt idx="17">
                  <c:v>0.13079394217530976</c:v>
                </c:pt>
                <c:pt idx="18">
                  <c:v>0.12955082742316784</c:v>
                </c:pt>
                <c:pt idx="19">
                  <c:v>0.13850267379679143</c:v>
                </c:pt>
                <c:pt idx="20">
                  <c:v>0.12227324913892078</c:v>
                </c:pt>
                <c:pt idx="21">
                  <c:v>0.122007722007722</c:v>
                </c:pt>
                <c:pt idx="22">
                  <c:v>0.12166405023547881</c:v>
                </c:pt>
                <c:pt idx="23">
                  <c:v>0.12283464566929134</c:v>
                </c:pt>
                <c:pt idx="24">
                  <c:v>0.11188811188811189</c:v>
                </c:pt>
                <c:pt idx="25">
                  <c:v>0.11975223675154852</c:v>
                </c:pt>
                <c:pt idx="26">
                  <c:v>0.1238390092879257</c:v>
                </c:pt>
                <c:pt idx="27">
                  <c:v>0.12458862247296662</c:v>
                </c:pt>
                <c:pt idx="28">
                  <c:v>0.12525837122778008</c:v>
                </c:pt>
                <c:pt idx="29">
                  <c:v>0.13242506811989102</c:v>
                </c:pt>
                <c:pt idx="30">
                  <c:v>0.12944983818770225</c:v>
                </c:pt>
                <c:pt idx="31">
                  <c:v>0.13782845810609817</c:v>
                </c:pt>
                <c:pt idx="32">
                  <c:v>0.160182119205298</c:v>
                </c:pt>
                <c:pt idx="33">
                  <c:v>0.16433076384022424</c:v>
                </c:pt>
                <c:pt idx="34">
                  <c:v>0.17829970228250083</c:v>
                </c:pt>
                <c:pt idx="35">
                  <c:v>0.16361003861003862</c:v>
                </c:pt>
                <c:pt idx="36">
                  <c:v>0.15963659961064244</c:v>
                </c:pt>
                <c:pt idx="37">
                  <c:v>0.13294460641399417</c:v>
                </c:pt>
                <c:pt idx="38">
                  <c:v>0.13843457943925233</c:v>
                </c:pt>
                <c:pt idx="39">
                  <c:v>0.15029693924166285</c:v>
                </c:pt>
                <c:pt idx="40">
                  <c:v>0.12824074074074074</c:v>
                </c:pt>
                <c:pt idx="41">
                  <c:v>0.1282389108476065</c:v>
                </c:pt>
                <c:pt idx="42">
                  <c:v>0.12722513089005236</c:v>
                </c:pt>
                <c:pt idx="43">
                  <c:v>0.12227225493591964</c:v>
                </c:pt>
                <c:pt idx="44">
                  <c:v>0.11200951248513674</c:v>
                </c:pt>
                <c:pt idx="45">
                  <c:v>0.11953151911815363</c:v>
                </c:pt>
                <c:pt idx="46">
                  <c:v>0.10984522785898539</c:v>
                </c:pt>
                <c:pt idx="47">
                  <c:v>0.10579771476936098</c:v>
                </c:pt>
                <c:pt idx="48">
                  <c:v>0.09973045822102426</c:v>
                </c:pt>
                <c:pt idx="49">
                  <c:v>0.11733128834355828</c:v>
                </c:pt>
                <c:pt idx="50">
                  <c:v>0.1569811320754717</c:v>
                </c:pt>
                <c:pt idx="51">
                  <c:v>0.146521016385656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2.8337921411928</c:v>
                </c:pt>
              </c:numCache>
            </c:numRef>
          </c:xVal>
          <c:yVal>
            <c:numRef>
              <c:f>Sheet1!$B$163:$B$164</c:f>
              <c:numCache>
                <c:formatCode>General</c:formatCode>
                <c:ptCount val="2"/>
                <c:pt idx="0">
                  <c:v>0.16764678875856648</c:v>
                </c:pt>
                <c:pt idx="1">
                  <c:v>0.1676467887585664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2.8337921411928</c:v>
                </c:pt>
                <c:pt idx="1">
                  <c:v>1042.8337921411928</c:v>
                </c:pt>
              </c:numCache>
            </c:numRef>
          </c:xVal>
          <c:yVal>
            <c:numRef>
              <c:f>Sheet1!$B$167:$B$168</c:f>
              <c:numCache>
                <c:formatCode>General</c:formatCode>
                <c:ptCount val="2"/>
                <c:pt idx="0">
                  <c:v>0.167646788758566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6.3089622771886</c:v>
                </c:pt>
              </c:numCache>
            </c:numRef>
          </c:xVal>
          <c:yVal>
            <c:numRef>
              <c:f>Sheet1!$B$171:$B$172</c:f>
              <c:numCache>
                <c:formatCode>General</c:formatCode>
                <c:ptCount val="2"/>
                <c:pt idx="0">
                  <c:v>0.17234038229579673</c:v>
                </c:pt>
                <c:pt idx="1">
                  <c:v>0.172340382295796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6.3089622771886</c:v>
                </c:pt>
                <c:pt idx="1">
                  <c:v>1016.3089622771886</c:v>
                </c:pt>
              </c:numCache>
            </c:numRef>
          </c:xVal>
          <c:yVal>
            <c:numRef>
              <c:f>Sheet1!$B$175:$B$176</c:f>
              <c:numCache>
                <c:formatCode>General</c:formatCode>
                <c:ptCount val="2"/>
                <c:pt idx="0">
                  <c:v>0.172340382295796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4.2681227509652</c:v>
                </c:pt>
              </c:numCache>
            </c:numRef>
          </c:xVal>
          <c:yVal>
            <c:numRef>
              <c:f>Sheet1!$B$179:$B$180</c:f>
              <c:numCache>
                <c:formatCode>General</c:formatCode>
                <c:ptCount val="2"/>
                <c:pt idx="0">
                  <c:v>0.12492475737794842</c:v>
                </c:pt>
                <c:pt idx="1">
                  <c:v>0.1249247573779484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4.2681227509652</c:v>
                </c:pt>
                <c:pt idx="1">
                  <c:v>1284.2681227509652</c:v>
                </c:pt>
              </c:numCache>
            </c:numRef>
          </c:xVal>
          <c:yVal>
            <c:numRef>
              <c:f>Sheet1!$B$183:$B$184</c:f>
              <c:numCache>
                <c:formatCode>General</c:formatCode>
                <c:ptCount val="2"/>
                <c:pt idx="0">
                  <c:v>0.124924757377948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1431</c:v>
                </c:pt>
                <c:pt idx="1">
                  <c:v>1104.1433</c:v>
                </c:pt>
                <c:pt idx="2">
                  <c:v>1086.7031</c:v>
                </c:pt>
                <c:pt idx="3">
                  <c:v>1091.4805</c:v>
                </c:pt>
                <c:pt idx="4">
                  <c:v>1087.0955</c:v>
                </c:pt>
                <c:pt idx="5">
                  <c:v>1086.3391</c:v>
                </c:pt>
                <c:pt idx="6">
                  <c:v>1041.7632</c:v>
                </c:pt>
                <c:pt idx="7">
                  <c:v>1100.2645</c:v>
                </c:pt>
                <c:pt idx="8">
                  <c:v>1230.0414</c:v>
                </c:pt>
                <c:pt idx="9">
                  <c:v>1190.3154</c:v>
                </c:pt>
                <c:pt idx="10">
                  <c:v>1236.6543</c:v>
                </c:pt>
                <c:pt idx="11">
                  <c:v>1045.5655</c:v>
                </c:pt>
                <c:pt idx="12">
                  <c:v>1047.743</c:v>
                </c:pt>
                <c:pt idx="13">
                  <c:v>1119.8022</c:v>
                </c:pt>
                <c:pt idx="14">
                  <c:v>1076.1806</c:v>
                </c:pt>
                <c:pt idx="15">
                  <c:v>1111.367</c:v>
                </c:pt>
                <c:pt idx="16">
                  <c:v>1148.1365</c:v>
                </c:pt>
                <c:pt idx="17">
                  <c:v>1151.0281</c:v>
                </c:pt>
                <c:pt idx="18">
                  <c:v>1024.1752</c:v>
                </c:pt>
                <c:pt idx="19">
                  <c:v>1203.3514</c:v>
                </c:pt>
                <c:pt idx="20">
                  <c:v>1315.6009</c:v>
                </c:pt>
                <c:pt idx="21">
                  <c:v>1291.3734</c:v>
                </c:pt>
                <c:pt idx="22">
                  <c:v>1250.2452</c:v>
                </c:pt>
                <c:pt idx="23">
                  <c:v>1249.1731</c:v>
                </c:pt>
                <c:pt idx="24">
                  <c:v>1304.892</c:v>
                </c:pt>
                <c:pt idx="25">
                  <c:v>1194.1724</c:v>
                </c:pt>
                <c:pt idx="26">
                  <c:v>1215.815</c:v>
                </c:pt>
                <c:pt idx="27">
                  <c:v>1238.8943</c:v>
                </c:pt>
                <c:pt idx="28">
                  <c:v>1223.3993</c:v>
                </c:pt>
                <c:pt idx="29">
                  <c:v>1220.3416</c:v>
                </c:pt>
                <c:pt idx="30">
                  <c:v>1151.3333</c:v>
                </c:pt>
                <c:pt idx="31">
                  <c:v>1118.8489</c:v>
                </c:pt>
                <c:pt idx="32">
                  <c:v>1132.708</c:v>
                </c:pt>
                <c:pt idx="33">
                  <c:v>1139.6567</c:v>
                </c:pt>
                <c:pt idx="34">
                  <c:v>1134.039</c:v>
                </c:pt>
                <c:pt idx="35">
                  <c:v>1108.4307</c:v>
                </c:pt>
                <c:pt idx="36">
                  <c:v>1156.0</c:v>
                </c:pt>
                <c:pt idx="37">
                  <c:v>1260.1974</c:v>
                </c:pt>
                <c:pt idx="38">
                  <c:v>1253.3671</c:v>
                </c:pt>
                <c:pt idx="39">
                  <c:v>1291.9331</c:v>
                </c:pt>
                <c:pt idx="40">
                  <c:v>1303.1552</c:v>
                </c:pt>
                <c:pt idx="41">
                  <c:v>1350.024</c:v>
                </c:pt>
                <c:pt idx="42">
                  <c:v>1424.0</c:v>
                </c:pt>
                <c:pt idx="43">
                  <c:v>1355.2805</c:v>
                </c:pt>
                <c:pt idx="44">
                  <c:v>1317.62</c:v>
                </c:pt>
                <c:pt idx="45">
                  <c:v>1231.9841</c:v>
                </c:pt>
                <c:pt idx="46">
                  <c:v>1219.3601</c:v>
                </c:pt>
                <c:pt idx="47">
                  <c:v>1230.128</c:v>
                </c:pt>
                <c:pt idx="48">
                  <c:v>1246.7599</c:v>
                </c:pt>
                <c:pt idx="49">
                  <c:v>1249.3725</c:v>
                </c:pt>
                <c:pt idx="50">
                  <c:v>1079.0833</c:v>
                </c:pt>
                <c:pt idx="51">
                  <c:v>1041.4036</c:v>
                </c:pt>
                <c:pt idx="52">
                  <c:v>1016.3089622771886</c:v>
                </c:pt>
                <c:pt idx="53">
                  <c:v>1042.8337921411928</c:v>
                </c:pt>
                <c:pt idx="54">
                  <c:v>1284.2681227509652</c:v>
                </c:pt>
              </c:numCache>
            </c:numRef>
          </c:xVal>
          <c:yVal>
            <c:numRef>
              <c:f>Sheet1!$B$187:$B$241</c:f>
              <c:numCache>
                <c:formatCode>General</c:formatCode>
                <c:ptCount val="55"/>
                <c:pt idx="0">
                  <c:v>0.1345022309485186</c:v>
                </c:pt>
                <c:pt idx="1">
                  <c:v>0.1567980138057297</c:v>
                </c:pt>
                <c:pt idx="2">
                  <c:v>0.15988407356285894</c:v>
                </c:pt>
                <c:pt idx="3">
                  <c:v>0.1590387081494056</c:v>
                </c:pt>
                <c:pt idx="4">
                  <c:v>0.15981463801460277</c:v>
                </c:pt>
                <c:pt idx="5">
                  <c:v>0.15994848370446255</c:v>
                </c:pt>
                <c:pt idx="6">
                  <c:v>0.16783623104267065</c:v>
                </c:pt>
                <c:pt idx="7">
                  <c:v>0.15748437110587263</c:v>
                </c:pt>
                <c:pt idx="8">
                  <c:v>0.13452022685896114</c:v>
                </c:pt>
                <c:pt idx="9">
                  <c:v>0.14154977984067674</c:v>
                </c:pt>
                <c:pt idx="10">
                  <c:v>0.13335006799794352</c:v>
                </c:pt>
                <c:pt idx="11">
                  <c:v>0.1671634104893208</c:v>
                </c:pt>
                <c:pt idx="12">
                  <c:v>0.16677809982079927</c:v>
                </c:pt>
                <c:pt idx="13">
                  <c:v>0.15402715675529957</c:v>
                </c:pt>
                <c:pt idx="14">
                  <c:v>0.16174603981292446</c:v>
                </c:pt>
                <c:pt idx="15">
                  <c:v>0.15551977331149372</c:v>
                </c:pt>
                <c:pt idx="16">
                  <c:v>0.14901337577936885</c:v>
                </c:pt>
                <c:pt idx="17">
                  <c:v>0.14850170444568492</c:v>
                </c:pt>
                <c:pt idx="18">
                  <c:v>0.170948444148506</c:v>
                </c:pt>
                <c:pt idx="19">
                  <c:v>0.13924304740676333</c:v>
                </c:pt>
                <c:pt idx="20">
                  <c:v>0.11938039303881579</c:v>
                </c:pt>
                <c:pt idx="21">
                  <c:v>0.1236674719006321</c:v>
                </c:pt>
                <c:pt idx="22">
                  <c:v>0.13094514548827227</c:v>
                </c:pt>
                <c:pt idx="23">
                  <c:v>0.13113485458940752</c:v>
                </c:pt>
                <c:pt idx="24">
                  <c:v>0.12127534294381234</c:v>
                </c:pt>
                <c:pt idx="25">
                  <c:v>0.14086728007099247</c:v>
                </c:pt>
                <c:pt idx="26">
                  <c:v>0.13703760169003093</c:v>
                </c:pt>
                <c:pt idx="27">
                  <c:v>0.13295369789576753</c:v>
                </c:pt>
                <c:pt idx="28">
                  <c:v>0.13569555268738215</c:v>
                </c:pt>
                <c:pt idx="29">
                  <c:v>0.13623661557194622</c:v>
                </c:pt>
                <c:pt idx="30">
                  <c:v>0.14844769901926344</c:v>
                </c:pt>
                <c:pt idx="31">
                  <c:v>0.1541958440849444</c:v>
                </c:pt>
                <c:pt idx="32">
                  <c:v>0.15174346333357513</c:v>
                </c:pt>
                <c:pt idx="33">
                  <c:v>0.1505138843474188</c:v>
                </c:pt>
                <c:pt idx="34">
                  <c:v>0.1515079416344697</c:v>
                </c:pt>
                <c:pt idx="35">
                  <c:v>0.15603935435212735</c:v>
                </c:pt>
                <c:pt idx="36">
                  <c:v>0.14762192207469887</c:v>
                </c:pt>
                <c:pt idx="37">
                  <c:v>0.12918409435841705</c:v>
                </c:pt>
                <c:pt idx="38">
                  <c:v>0.1303927223534584</c:v>
                </c:pt>
                <c:pt idx="39">
                  <c:v>0.12356843246036964</c:v>
                </c:pt>
                <c:pt idx="40">
                  <c:v>0.12158267133374953</c:v>
                </c:pt>
                <c:pt idx="41">
                  <c:v>0.1132891931887203</c:v>
                </c:pt>
                <c:pt idx="42">
                  <c:v>0.10019907056435862</c:v>
                </c:pt>
                <c:pt idx="43">
                  <c:v>0.11235905058064524</c:v>
                </c:pt>
                <c:pt idx="44">
                  <c:v>0.11902311139894817</c:v>
                </c:pt>
                <c:pt idx="45">
                  <c:v>0.13417646427079274</c:v>
                </c:pt>
                <c:pt idx="46">
                  <c:v>0.1364102929180559</c:v>
                </c:pt>
                <c:pt idx="47">
                  <c:v>0.13450490290768954</c:v>
                </c:pt>
                <c:pt idx="48">
                  <c:v>0.13156187259412672</c:v>
                </c:pt>
                <c:pt idx="49">
                  <c:v>0.1310995705722763</c:v>
                </c:pt>
                <c:pt idx="50">
                  <c:v>0.16123240432382346</c:v>
                </c:pt>
                <c:pt idx="51">
                  <c:v>0.16789986260014497</c:v>
                </c:pt>
                <c:pt idx="52">
                  <c:v>0.17234038229579673</c:v>
                </c:pt>
                <c:pt idx="53">
                  <c:v>0.16764678875856645</c:v>
                </c:pt>
                <c:pt idx="54">
                  <c:v>0.124924757377948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9.0"/>
          <c:min val="54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8659961946181"/>
          <c:min val="0.079402722880983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1.7880619323382048</c:v>
                </c:pt>
                <c:pt idx="8">
                  <c:v>1.3228990513157488</c:v>
                </c:pt>
                <c:pt idx="9">
                  <c:v>1.6288095881502247</c:v>
                </c:pt>
                <c:pt idx="10">
                  <c:v>1.814072054613075</c:v>
                </c:pt>
                <c:pt idx="11">
                  <c:v>1.4233074245752182</c:v>
                </c:pt>
                <c:pt idx="12">
                  <c:v>1.9906740568269699</c:v>
                </c:pt>
                <c:pt idx="13">
                  <c:v>1.4670207510580373</c:v>
                </c:pt>
                <c:pt idx="14">
                  <c:v>1.2301620322929159</c:v>
                </c:pt>
                <c:pt idx="15">
                  <c:v>1.2384842766571529</c:v>
                </c:pt>
                <c:pt idx="16">
                  <c:v>1.2939541662581997</c:v>
                </c:pt>
                <c:pt idx="17">
                  <c:v>1.438100501571281</c:v>
                </c:pt>
                <c:pt idx="18">
                  <c:v>1.6546485132751458</c:v>
                </c:pt>
                <c:pt idx="19">
                  <c:v>0.9030309476883509</c:v>
                </c:pt>
                <c:pt idx="20">
                  <c:v>1.3724861130270396</c:v>
                </c:pt>
                <c:pt idx="21">
                  <c:v>0.38563397536147903</c:v>
                </c:pt>
                <c:pt idx="22">
                  <c:v>1.28133661337177</c:v>
                </c:pt>
                <c:pt idx="23">
                  <c:v>1.7313809585128845</c:v>
                </c:pt>
                <c:pt idx="24">
                  <c:v>2.344082624489315</c:v>
                </c:pt>
                <c:pt idx="25">
                  <c:v>2.247607294695992</c:v>
                </c:pt>
                <c:pt idx="26">
                  <c:v>2.1934963791085154</c:v>
                </c:pt>
                <c:pt idx="27">
                  <c:v>2.4295188053937546</c:v>
                </c:pt>
                <c:pt idx="28">
                  <c:v>2.6428990973897797</c:v>
                </c:pt>
                <c:pt idx="29">
                  <c:v>2.198656577381902</c:v>
                </c:pt>
                <c:pt idx="30">
                  <c:v>2.5804402533041575</c:v>
                </c:pt>
                <c:pt idx="31">
                  <c:v>2.370561418450462</c:v>
                </c:pt>
                <c:pt idx="32">
                  <c:v>2.906627484859948</c:v>
                </c:pt>
                <c:pt idx="33">
                  <c:v>2.355773669062065</c:v>
                </c:pt>
                <c:pt idx="34">
                  <c:v>2.9916373670616108</c:v>
                </c:pt>
                <c:pt idx="35">
                  <c:v>3.1294064407272377</c:v>
                </c:pt>
                <c:pt idx="36">
                  <c:v>2.3826836624771084</c:v>
                </c:pt>
                <c:pt idx="37">
                  <c:v>2.4979027227176944</c:v>
                </c:pt>
                <c:pt idx="38">
                  <c:v>2.388131106814845</c:v>
                </c:pt>
                <c:pt idx="39">
                  <c:v>2.8287394529266976</c:v>
                </c:pt>
                <c:pt idx="40">
                  <c:v>3.018782912940855</c:v>
                </c:pt>
                <c:pt idx="41">
                  <c:v>2.7194507491082796</c:v>
                </c:pt>
                <c:pt idx="42">
                  <c:v>3.815499824330636</c:v>
                </c:pt>
                <c:pt idx="43">
                  <c:v>3.047528217691837</c:v>
                </c:pt>
                <c:pt idx="44">
                  <c:v>2.804628038040111</c:v>
                </c:pt>
                <c:pt idx="45">
                  <c:v>3.0965362544447186</c:v>
                </c:pt>
                <c:pt idx="46">
                  <c:v>2.7896929162476787</c:v>
                </c:pt>
                <c:pt idx="47">
                  <c:v>2.5947077278083235</c:v>
                </c:pt>
                <c:pt idx="48">
                  <c:v>2.781771870700031</c:v>
                </c:pt>
                <c:pt idx="49">
                  <c:v>2.540054441372196</c:v>
                </c:pt>
                <c:pt idx="50">
                  <c:v>2.21700127598544</c:v>
                </c:pt>
                <c:pt idx="51">
                  <c:v>2.7970395853015106</c:v>
                </c:pt>
                <c:pt idx="52">
                  <c:v>2.557758784815529</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3.150698974171399</c:v>
                </c:pt>
                <c:pt idx="1">
                  <c:v>2.1398278667589525</c:v>
                </c:pt>
                <c:pt idx="2">
                  <c:v>2.5058262521666093</c:v>
                </c:pt>
                <c:pt idx="3">
                  <c:v>2.2017050567032532</c:v>
                </c:pt>
                <c:pt idx="4">
                  <c:v>2.5716555318562913</c:v>
                </c:pt>
                <c:pt idx="5">
                  <c:v>2.6195595068927613</c:v>
                </c:pt>
                <c:pt idx="6">
                  <c:v>2.7157103420505018</c:v>
                </c:pt>
                <c:pt idx="7">
                  <c:v>2.6322615831802856</c:v>
                </c:pt>
                <c:pt idx="8">
                  <c:v>2.38155408157345</c:v>
                </c:pt>
                <c:pt idx="9">
                  <c:v>2.3562408089447735</c:v>
                </c:pt>
                <c:pt idx="10">
                  <c:v>2.4449974583851417</c:v>
                </c:pt>
                <c:pt idx="11">
                  <c:v>2.5689016549812957</c:v>
                </c:pt>
                <c:pt idx="12">
                  <c:v>2.2827239915441537</c:v>
                </c:pt>
                <c:pt idx="13">
                  <c:v>1.9792033277680452</c:v>
                </c:pt>
                <c:pt idx="14">
                  <c:v>2.034681481219249</c:v>
                </c:pt>
                <c:pt idx="15">
                  <c:v>2.3575463046847953</c:v>
                </c:pt>
                <c:pt idx="16">
                  <c:v>2.087795569829107</c:v>
                </c:pt>
                <c:pt idx="17">
                  <c:v>2.1738000752460676</c:v>
                </c:pt>
                <c:pt idx="18">
                  <c:v>2.9167082296042226</c:v>
                </c:pt>
                <c:pt idx="19">
                  <c:v>2.030966798164314</c:v>
                </c:pt>
                <c:pt idx="20">
                  <c:v>2.3845421635006887</c:v>
                </c:pt>
                <c:pt idx="21">
                  <c:v>2.136479152505132</c:v>
                </c:pt>
                <c:pt idx="22">
                  <c:v>1.7681239402269517</c:v>
                </c:pt>
                <c:pt idx="23">
                  <c:v>1.9641506628396568</c:v>
                </c:pt>
                <c:pt idx="24">
                  <c:v>2.175981955863355</c:v>
                </c:pt>
                <c:pt idx="25">
                  <c:v>1.8467369122127955</c:v>
                </c:pt>
                <c:pt idx="26">
                  <c:v>1.9515663714773144</c:v>
                </c:pt>
                <c:pt idx="27">
                  <c:v>2.423349353285128</c:v>
                </c:pt>
                <c:pt idx="28">
                  <c:v>2.4184368200886044</c:v>
                </c:pt>
                <c:pt idx="29">
                  <c:v>1.9349344098506083</c:v>
                </c:pt>
                <c:pt idx="30">
                  <c:v>2.5063168784599945</c:v>
                </c:pt>
                <c:pt idx="31">
                  <c:v>2.6318049858730195</c:v>
                </c:pt>
                <c:pt idx="32">
                  <c:v>2.6322216252206556</c:v>
                </c:pt>
                <c:pt idx="33">
                  <c:v>2.817831044531044</c:v>
                </c:pt>
                <c:pt idx="34">
                  <c:v>2.6032043490342778</c:v>
                </c:pt>
                <c:pt idx="35">
                  <c:v>2.1987312914426718</c:v>
                </c:pt>
                <c:pt idx="36">
                  <c:v>2.1596482441653273</c:v>
                </c:pt>
                <c:pt idx="37">
                  <c:v>2.258938894967693</c:v>
                </c:pt>
                <c:pt idx="38">
                  <c:v>1.902875239175146</c:v>
                </c:pt>
                <c:pt idx="39">
                  <c:v>2.28892796224096</c:v>
                </c:pt>
                <c:pt idx="40">
                  <c:v>2.6189375928974203</c:v>
                </c:pt>
                <c:pt idx="41">
                  <c:v>2.4775695452319746</c:v>
                </c:pt>
                <c:pt idx="42">
                  <c:v>2.370672818516354</c:v>
                </c:pt>
                <c:pt idx="43">
                  <c:v>2.5845784694352973</c:v>
                </c:pt>
                <c:pt idx="44">
                  <c:v>2.761224837658793</c:v>
                </c:pt>
                <c:pt idx="45">
                  <c:v>2.977196752316225</c:v>
                </c:pt>
                <c:pt idx="46">
                  <c:v>2.7888868139251377</c:v>
                </c:pt>
                <c:pt idx="47">
                  <c:v>2.678510611427865</c:v>
                </c:pt>
                <c:pt idx="48">
                  <c:v>2.7647044019585736</c:v>
                </c:pt>
                <c:pt idx="49">
                  <c:v>2.9920583253495274</c:v>
                </c:pt>
                <c:pt idx="50">
                  <c:v>3.3007168646366907</c:v>
                </c:pt>
                <c:pt idx="51">
                  <c:v>3.317787454296919</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2.077243521609768</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2.077243521609768</c:v>
                </c:pt>
                <c:pt idx="1">
                  <c:v>2.077243521609768</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077243521609768</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77243521609768</c:v>
                </c:pt>
                <c:pt idx="1">
                  <c:v>2.077243521609768</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889883094505015</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889883094505015</c:v>
                </c:pt>
                <c:pt idx="1">
                  <c:v>2.889883094505015</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3.150698974171399</c:v>
                </c:pt>
                <c:pt idx="1">
                  <c:v>2.1398278667589525</c:v>
                </c:pt>
                <c:pt idx="2">
                  <c:v>2.5058262521666093</c:v>
                </c:pt>
                <c:pt idx="3">
                  <c:v>2.2017050567032532</c:v>
                </c:pt>
                <c:pt idx="4">
                  <c:v>2.5716555318562913</c:v>
                </c:pt>
                <c:pt idx="5">
                  <c:v>2.6195595068927613</c:v>
                </c:pt>
                <c:pt idx="6">
                  <c:v>2.7157103420505018</c:v>
                </c:pt>
                <c:pt idx="7">
                  <c:v>2.6322615831802856</c:v>
                </c:pt>
                <c:pt idx="8">
                  <c:v>2.38155408157345</c:v>
                </c:pt>
                <c:pt idx="9">
                  <c:v>2.3562408089447735</c:v>
                </c:pt>
                <c:pt idx="10">
                  <c:v>2.4449974583851417</c:v>
                </c:pt>
                <c:pt idx="11">
                  <c:v>2.5689016549812957</c:v>
                </c:pt>
                <c:pt idx="12">
                  <c:v>2.2827239915441537</c:v>
                </c:pt>
                <c:pt idx="13">
                  <c:v>1.9792033277680452</c:v>
                </c:pt>
                <c:pt idx="14">
                  <c:v>2.034681481219249</c:v>
                </c:pt>
                <c:pt idx="15">
                  <c:v>2.3575463046847953</c:v>
                </c:pt>
                <c:pt idx="16">
                  <c:v>2.087795569829107</c:v>
                </c:pt>
                <c:pt idx="17">
                  <c:v>2.1738000752460676</c:v>
                </c:pt>
                <c:pt idx="18">
                  <c:v>2.9167082296042226</c:v>
                </c:pt>
                <c:pt idx="19">
                  <c:v>2.030966798164314</c:v>
                </c:pt>
                <c:pt idx="20">
                  <c:v>2.3845421635006887</c:v>
                </c:pt>
                <c:pt idx="21">
                  <c:v>2.136479152505132</c:v>
                </c:pt>
                <c:pt idx="22">
                  <c:v>1.7681239402269517</c:v>
                </c:pt>
                <c:pt idx="23">
                  <c:v>1.9641506628396568</c:v>
                </c:pt>
                <c:pt idx="24">
                  <c:v>2.175981955863355</c:v>
                </c:pt>
                <c:pt idx="25">
                  <c:v>1.8467369122127955</c:v>
                </c:pt>
                <c:pt idx="26">
                  <c:v>1.9515663714773144</c:v>
                </c:pt>
                <c:pt idx="27">
                  <c:v>2.423349353285128</c:v>
                </c:pt>
                <c:pt idx="28">
                  <c:v>2.4184368200886044</c:v>
                </c:pt>
                <c:pt idx="29">
                  <c:v>1.9349344098506083</c:v>
                </c:pt>
                <c:pt idx="30">
                  <c:v>2.5063168784599945</c:v>
                </c:pt>
                <c:pt idx="31">
                  <c:v>2.6318049858730195</c:v>
                </c:pt>
                <c:pt idx="32">
                  <c:v>2.6322216252206556</c:v>
                </c:pt>
                <c:pt idx="33">
                  <c:v>2.817831044531044</c:v>
                </c:pt>
                <c:pt idx="34">
                  <c:v>2.6032043490342778</c:v>
                </c:pt>
                <c:pt idx="35">
                  <c:v>2.1987312914426718</c:v>
                </c:pt>
                <c:pt idx="36">
                  <c:v>2.1596482441653273</c:v>
                </c:pt>
                <c:pt idx="37">
                  <c:v>2.258938894967693</c:v>
                </c:pt>
                <c:pt idx="38">
                  <c:v>1.902875239175146</c:v>
                </c:pt>
                <c:pt idx="39">
                  <c:v>2.28892796224096</c:v>
                </c:pt>
                <c:pt idx="40">
                  <c:v>2.6189375928974203</c:v>
                </c:pt>
                <c:pt idx="41">
                  <c:v>2.4775695452319746</c:v>
                </c:pt>
                <c:pt idx="42">
                  <c:v>2.370672818516354</c:v>
                </c:pt>
                <c:pt idx="43">
                  <c:v>2.5845784694352973</c:v>
                </c:pt>
                <c:pt idx="44">
                  <c:v>2.761224837658793</c:v>
                </c:pt>
                <c:pt idx="45">
                  <c:v>2.977196752316225</c:v>
                </c:pt>
                <c:pt idx="46">
                  <c:v>2.7888868139251377</c:v>
                </c:pt>
                <c:pt idx="47">
                  <c:v>2.678510611427865</c:v>
                </c:pt>
                <c:pt idx="48">
                  <c:v>2.7647044019585736</c:v>
                </c:pt>
                <c:pt idx="49">
                  <c:v>2.9920583253495274</c:v>
                </c:pt>
                <c:pt idx="50">
                  <c:v>3.3007168646366907</c:v>
                </c:pt>
                <c:pt idx="51">
                  <c:v>3.317787454296919</c:v>
                </c:pt>
                <c:pt idx="52">
                  <c:v>2.077243521609768</c:v>
                </c:pt>
                <c:pt idx="53">
                  <c:v>2.077243521609768</c:v>
                </c:pt>
                <c:pt idx="54">
                  <c:v>2.889883094505015</c:v>
                </c:pt>
              </c:numCache>
            </c:numRef>
          </c:xVal>
          <c:yVal>
            <c:numRef>
              <c:f>Sheet1!$B$135:$B$189</c:f>
              <c:numCache>
                <c:formatCode>General</c:formatCode>
                <c:ptCount val="55"/>
                <c:pt idx="0">
                  <c:v>0.0023915127400877135</c:v>
                </c:pt>
                <c:pt idx="1">
                  <c:v>0.006283784052605414</c:v>
                </c:pt>
                <c:pt idx="2">
                  <c:v>0.004874539090014172</c:v>
                </c:pt>
                <c:pt idx="3">
                  <c:v>0.006045531312415912</c:v>
                </c:pt>
                <c:pt idx="4">
                  <c:v>0.0046210691718603925</c:v>
                </c:pt>
                <c:pt idx="5">
                  <c:v>0.004436619080822287</c:v>
                </c:pt>
                <c:pt idx="6">
                  <c:v>0.004066398649537969</c:v>
                </c:pt>
                <c:pt idx="7">
                  <c:v>0.00438771084041378</c:v>
                </c:pt>
                <c:pt idx="8">
                  <c:v>0.005353038278483612</c:v>
                </c:pt>
                <c:pt idx="9">
                  <c:v>0.005450504833968353</c:v>
                </c:pt>
                <c:pt idx="10">
                  <c:v>0.005108755071927739</c:v>
                </c:pt>
                <c:pt idx="11">
                  <c:v>0.004631672735341584</c:v>
                </c:pt>
                <c:pt idx="12">
                  <c:v>0.00573357494771262</c:v>
                </c:pt>
                <c:pt idx="13">
                  <c:v>0.006902254875063695</c:v>
                </c:pt>
                <c:pt idx="14">
                  <c:v>0.006688641068549517</c:v>
                </c:pt>
                <c:pt idx="15">
                  <c:v>0.005445478136123059</c:v>
                </c:pt>
                <c:pt idx="16">
                  <c:v>0.006484129888171776</c:v>
                </c:pt>
                <c:pt idx="17">
                  <c:v>0.006152977017417972</c:v>
                </c:pt>
                <c:pt idx="18">
                  <c:v>0.003292473758555004</c:v>
                </c:pt>
                <c:pt idx="19">
                  <c:v>0.006702944132692708</c:v>
                </c:pt>
                <c:pt idx="20">
                  <c:v>0.005341532928810878</c:v>
                </c:pt>
                <c:pt idx="21">
                  <c:v>0.006296677985697762</c:v>
                </c:pt>
                <c:pt idx="22">
                  <c:v>0.007714997705248069</c:v>
                </c:pt>
                <c:pt idx="23">
                  <c:v>0.006960213852670325</c:v>
                </c:pt>
                <c:pt idx="24">
                  <c:v>0.006144575875796915</c:v>
                </c:pt>
                <c:pt idx="25">
                  <c:v>0.007412305291340336</c:v>
                </c:pt>
                <c:pt idx="26">
                  <c:v>0.007008668572464809</c:v>
                </c:pt>
                <c:pt idx="27">
                  <c:v>0.005192109218498251</c:v>
                </c:pt>
                <c:pt idx="28">
                  <c:v>0.005211024500468831</c:v>
                </c:pt>
                <c:pt idx="29">
                  <c:v>0.007072708494702007</c:v>
                </c:pt>
                <c:pt idx="30">
                  <c:v>0.004872649976127241</c:v>
                </c:pt>
                <c:pt idx="31">
                  <c:v>0.004389468928648187</c:v>
                </c:pt>
                <c:pt idx="32">
                  <c:v>0.004387864695063333</c:v>
                </c:pt>
                <c:pt idx="33">
                  <c:v>0.0036731917631559717</c:v>
                </c:pt>
                <c:pt idx="34">
                  <c:v>0.004499593194215657</c:v>
                </c:pt>
                <c:pt idx="35">
                  <c:v>0.006056981537008394</c:v>
                </c:pt>
                <c:pt idx="36">
                  <c:v>0.00620746741261401</c:v>
                </c:pt>
                <c:pt idx="37">
                  <c:v>0.005825157394170107</c:v>
                </c:pt>
                <c:pt idx="38">
                  <c:v>0.007196149544117912</c:v>
                </c:pt>
                <c:pt idx="39">
                  <c:v>0.005709687097926618</c:v>
                </c:pt>
                <c:pt idx="40">
                  <c:v>0.004439013706591258</c:v>
                </c:pt>
                <c:pt idx="41">
                  <c:v>0.004983339083387635</c:v>
                </c:pt>
                <c:pt idx="42">
                  <c:v>0.0053949356358524506</c:v>
                </c:pt>
                <c:pt idx="43">
                  <c:v>0.00457131052425103</c:v>
                </c:pt>
                <c:pt idx="44">
                  <c:v>0.003891149041293321</c:v>
                </c:pt>
                <c:pt idx="45">
                  <c:v>0.0030595679608107617</c:v>
                </c:pt>
                <c:pt idx="46">
                  <c:v>0.0037846390066513785</c:v>
                </c:pt>
                <c:pt idx="47">
                  <c:v>0.004209632978102866</c:v>
                </c:pt>
                <c:pt idx="48">
                  <c:v>0.003877751281475293</c:v>
                </c:pt>
                <c:pt idx="49">
                  <c:v>0.003002344765932358</c:v>
                </c:pt>
                <c:pt idx="50">
                  <c:v>0.0018138818956201837</c:v>
                </c:pt>
                <c:pt idx="51">
                  <c:v>0.0017481530742748542</c:v>
                </c:pt>
                <c:pt idx="52">
                  <c:v>0.006524759632430238</c:v>
                </c:pt>
                <c:pt idx="53">
                  <c:v>0.006524759632430238</c:v>
                </c:pt>
                <c:pt idx="54">
                  <c:v>0.003395761609039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63.4348818736203</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63.4348818736203</c:v>
                </c:pt>
                <c:pt idx="1">
                  <c:v>3663.4348818736203</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63.4348818736203</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63.4348818736203</c:v>
                </c:pt>
                <c:pt idx="1">
                  <c:v>3663.4348818736203</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8.169214130703</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8.169214130703</c:v>
                </c:pt>
                <c:pt idx="1">
                  <c:v>5068.169214130703</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63.4348818736203</c:v>
                </c:pt>
                <c:pt idx="53">
                  <c:v>3663.4348818736203</c:v>
                </c:pt>
                <c:pt idx="54">
                  <c:v>5068.169214130703</c:v>
                </c:pt>
              </c:numCache>
            </c:numRef>
          </c:xVal>
          <c:yVal>
            <c:numRef>
              <c:f>Sheet1!$B$135:$B$189</c:f>
              <c:numCache>
                <c:formatCode>General</c:formatCode>
                <c:ptCount val="55"/>
                <c:pt idx="0">
                  <c:v>0.002301642794404285</c:v>
                </c:pt>
                <c:pt idx="1">
                  <c:v>0.005831733428268463</c:v>
                </c:pt>
                <c:pt idx="2">
                  <c:v>0.004488292971576874</c:v>
                </c:pt>
                <c:pt idx="3">
                  <c:v>0.005487450708123561</c:v>
                </c:pt>
                <c:pt idx="4">
                  <c:v>0.00392226600693266</c:v>
                </c:pt>
                <c:pt idx="5">
                  <c:v>0.004150414216303248</c:v>
                </c:pt>
                <c:pt idx="6">
                  <c:v>0.005118712192808326</c:v>
                </c:pt>
                <c:pt idx="7">
                  <c:v>0.005026643670646966</c:v>
                </c:pt>
                <c:pt idx="8">
                  <c:v>0.005495942922409385</c:v>
                </c:pt>
                <c:pt idx="9">
                  <c:v>0.00589201422803504</c:v>
                </c:pt>
                <c:pt idx="10">
                  <c:v>0.005435580151892456</c:v>
                </c:pt>
                <c:pt idx="11">
                  <c:v>0.005990675604188053</c:v>
                </c:pt>
                <c:pt idx="12">
                  <c:v>0.0063948646870578395</c:v>
                </c:pt>
                <c:pt idx="13">
                  <c:v>0.006938387116784671</c:v>
                </c:pt>
                <c:pt idx="14">
                  <c:v>0.006747536935304018</c:v>
                </c:pt>
                <c:pt idx="15">
                  <c:v>0.005297559228027465</c:v>
                </c:pt>
                <c:pt idx="16">
                  <c:v>0.006388460722186564</c:v>
                </c:pt>
                <c:pt idx="17">
                  <c:v>0.005999006772679026</c:v>
                </c:pt>
                <c:pt idx="18">
                  <c:v>0.003749470328710319</c:v>
                </c:pt>
                <c:pt idx="19">
                  <c:v>0.0061185969742711815</c:v>
                </c:pt>
                <c:pt idx="20">
                  <c:v>0.0038379192185531326</c:v>
                </c:pt>
                <c:pt idx="21">
                  <c:v>0.004977391946241654</c:v>
                </c:pt>
                <c:pt idx="22">
                  <c:v>0.006534390709727533</c:v>
                </c:pt>
                <c:pt idx="23">
                  <c:v>0.006216945836938477</c:v>
                </c:pt>
                <c:pt idx="24">
                  <c:v>0.005399237929681222</c:v>
                </c:pt>
                <c:pt idx="25">
                  <c:v>0.007498202792370257</c:v>
                </c:pt>
                <c:pt idx="26">
                  <c:v>0.006561367773711016</c:v>
                </c:pt>
                <c:pt idx="27">
                  <c:v>0.005081402136601762</c:v>
                </c:pt>
                <c:pt idx="28">
                  <c:v>0.005160662951767174</c:v>
                </c:pt>
                <c:pt idx="29">
                  <c:v>0.00648823271290821</c:v>
                </c:pt>
                <c:pt idx="30">
                  <c:v>0.004100512740053432</c:v>
                </c:pt>
                <c:pt idx="31">
                  <c:v>0.004003224373968821</c:v>
                </c:pt>
                <c:pt idx="32">
                  <c:v>0.004055282928333886</c:v>
                </c:pt>
                <c:pt idx="33">
                  <c:v>0.0035246633184030044</c:v>
                </c:pt>
                <c:pt idx="34">
                  <c:v>0.004529062059800344</c:v>
                </c:pt>
                <c:pt idx="35">
                  <c:v>0.005427930142517183</c:v>
                </c:pt>
                <c:pt idx="36">
                  <c:v>0.004531255222865479</c:v>
                </c:pt>
                <c:pt idx="37">
                  <c:v>0.004110932380705555</c:v>
                </c:pt>
                <c:pt idx="38">
                  <c:v>0.0059064927573092285</c:v>
                </c:pt>
                <c:pt idx="39">
                  <c:v>0.005016534316014518</c:v>
                </c:pt>
                <c:pt idx="40">
                  <c:v>0.003581018209270233</c:v>
                </c:pt>
                <c:pt idx="41">
                  <c:v>0.0040398762139599205</c:v>
                </c:pt>
                <c:pt idx="42">
                  <c:v>0.00420108906876291</c:v>
                </c:pt>
                <c:pt idx="43">
                  <c:v>0.00438335147766453</c:v>
                </c:pt>
                <c:pt idx="44">
                  <c:v>0.005108374522906554</c:v>
                </c:pt>
                <c:pt idx="45">
                  <c:v>0.004734845619120999</c:v>
                </c:pt>
                <c:pt idx="46">
                  <c:v>0.00505801374315884</c:v>
                </c:pt>
                <c:pt idx="47">
                  <c:v>0.005685116935693294</c:v>
                </c:pt>
                <c:pt idx="48">
                  <c:v>0.00612044666207261</c:v>
                </c:pt>
                <c:pt idx="49">
                  <c:v>0.005546896208124319</c:v>
                </c:pt>
                <c:pt idx="50">
                  <c:v>0.004443913829138838</c:v>
                </c:pt>
                <c:pt idx="51">
                  <c:v>0.004362516205799159</c:v>
                </c:pt>
                <c:pt idx="52">
                  <c:v>0.006524759632430238</c:v>
                </c:pt>
                <c:pt idx="53">
                  <c:v>0.006524759632430238</c:v>
                </c:pt>
                <c:pt idx="54">
                  <c:v>0.00339576160903905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6.653126585871916</c:v>
                </c:pt>
                <c:pt idx="8">
                  <c:v>5.124256413458225</c:v>
                </c:pt>
                <c:pt idx="9">
                  <c:v>5.678545265408062</c:v>
                </c:pt>
                <c:pt idx="10">
                  <c:v>5.929489074795424</c:v>
                </c:pt>
                <c:pt idx="11">
                  <c:v>4.8626365464699735</c:v>
                </c:pt>
                <c:pt idx="12">
                  <c:v>6.043476325709834</c:v>
                </c:pt>
                <c:pt idx="13">
                  <c:v>4.340802835042376</c:v>
                </c:pt>
                <c:pt idx="14">
                  <c:v>3.733974980155687</c:v>
                </c:pt>
                <c:pt idx="15">
                  <c:v>3.7498711311892943</c:v>
                </c:pt>
                <c:pt idx="16">
                  <c:v>3.8316105126806512</c:v>
                </c:pt>
                <c:pt idx="17">
                  <c:v>4.46726486444049</c:v>
                </c:pt>
                <c:pt idx="18">
                  <c:v>5.125329686832106</c:v>
                </c:pt>
                <c:pt idx="19">
                  <c:v>3.150926335915865</c:v>
                </c:pt>
                <c:pt idx="20">
                  <c:v>4.5142286570144785</c:v>
                </c:pt>
                <c:pt idx="21">
                  <c:v>1.3459620836716202</c:v>
                </c:pt>
                <c:pt idx="22">
                  <c:v>4.4827512269452425</c:v>
                </c:pt>
                <c:pt idx="23">
                  <c:v>6.241427605870024</c:v>
                </c:pt>
                <c:pt idx="24">
                  <c:v>8.661663428501972</c:v>
                </c:pt>
                <c:pt idx="25">
                  <c:v>8.701724540541308</c:v>
                </c:pt>
                <c:pt idx="26">
                  <c:v>8.136104790908671</c:v>
                </c:pt>
                <c:pt idx="27">
                  <c:v>9.347809427818468</c:v>
                </c:pt>
                <c:pt idx="28">
                  <c:v>9.559899910576403</c:v>
                </c:pt>
                <c:pt idx="29">
                  <c:v>7.812252891711621</c:v>
                </c:pt>
                <c:pt idx="30">
                  <c:v>9.304963904916656</c:v>
                </c:pt>
                <c:pt idx="31">
                  <c:v>8.927002754773946</c:v>
                </c:pt>
                <c:pt idx="32">
                  <c:v>10.447554270792164</c:v>
                </c:pt>
                <c:pt idx="33">
                  <c:v>8.520697208701119</c:v>
                </c:pt>
                <c:pt idx="34">
                  <c:v>10.499094073494083</c:v>
                </c:pt>
                <c:pt idx="35">
                  <c:v>10.980882412016758</c:v>
                </c:pt>
                <c:pt idx="36">
                  <c:v>9.501863169063876</c:v>
                </c:pt>
                <c:pt idx="37">
                  <c:v>9.906871230510525</c:v>
                </c:pt>
                <c:pt idx="38">
                  <c:v>9.188045729200324</c:v>
                </c:pt>
                <c:pt idx="39">
                  <c:v>10.983508279859544</c:v>
                </c:pt>
                <c:pt idx="40">
                  <c:v>11.10251972229714</c:v>
                </c:pt>
                <c:pt idx="41">
                  <c:v>9.061492333947411</c:v>
                </c:pt>
                <c:pt idx="42">
                  <c:v>12.485207947583362</c:v>
                </c:pt>
                <c:pt idx="43">
                  <c:v>9.661113349980997</c:v>
                </c:pt>
                <c:pt idx="44">
                  <c:v>8.119657669127665</c:v>
                </c:pt>
                <c:pt idx="45">
                  <c:v>8.556784171924528</c:v>
                </c:pt>
                <c:pt idx="46">
                  <c:v>8.009008059232839</c:v>
                </c:pt>
                <c:pt idx="47">
                  <c:v>8.11175144678649</c:v>
                </c:pt>
                <c:pt idx="48">
                  <c:v>7.642834780223564</c:v>
                </c:pt>
                <c:pt idx="49">
                  <c:v>6.877048452914848</c:v>
                </c:pt>
                <c:pt idx="50">
                  <c:v>5.8838447987577664</c:v>
                </c:pt>
                <c:pt idx="51">
                  <c:v>7.2008383098074376</c:v>
                </c:pt>
                <c:pt idx="52">
                  <c:v>7.258698924275558</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8.900966057499778</c:v>
                </c:pt>
                <c:pt idx="1">
                  <c:v>6.253459448420351</c:v>
                </c:pt>
                <c:pt idx="2">
                  <c:v>6.895508590525394</c:v>
                </c:pt>
                <c:pt idx="3">
                  <c:v>6.417872448763101</c:v>
                </c:pt>
                <c:pt idx="4">
                  <c:v>7.2434502677279236</c:v>
                </c:pt>
                <c:pt idx="5">
                  <c:v>6.816451929663946</c:v>
                </c:pt>
                <c:pt idx="6">
                  <c:v>6.8811002603645095</c:v>
                </c:pt>
                <c:pt idx="7">
                  <c:v>6.4075803330434455</c:v>
                </c:pt>
                <c:pt idx="8">
                  <c:v>5.950378754386539</c:v>
                </c:pt>
                <c:pt idx="9">
                  <c:v>6.066840211339667</c:v>
                </c:pt>
                <c:pt idx="10">
                  <c:v>5.996887762160906</c:v>
                </c:pt>
                <c:pt idx="11">
                  <c:v>7.651592997605059</c:v>
                </c:pt>
                <c:pt idx="12">
                  <c:v>6.597011115700062</c:v>
                </c:pt>
                <c:pt idx="13">
                  <c:v>5.040773739640133</c:v>
                </c:pt>
                <c:pt idx="14">
                  <c:v>5.167388222212329</c:v>
                </c:pt>
                <c:pt idx="15">
                  <c:v>6.204802390064483</c:v>
                </c:pt>
                <c:pt idx="16">
                  <c:v>5.464824627492523</c:v>
                </c:pt>
                <c:pt idx="17">
                  <c:v>5.678510553062089</c:v>
                </c:pt>
                <c:pt idx="18">
                  <c:v>7.208262042964068</c:v>
                </c:pt>
                <c:pt idx="19">
                  <c:v>5.791392704110199</c:v>
                </c:pt>
                <c:pt idx="20">
                  <c:v>6.730551900184197</c:v>
                </c:pt>
                <c:pt idx="21">
                  <c:v>6.319738266837837</c:v>
                </c:pt>
                <c:pt idx="22">
                  <c:v>5.336554565962712</c:v>
                </c:pt>
                <c:pt idx="23">
                  <c:v>5.3910797333123455</c:v>
                </c:pt>
                <c:pt idx="24">
                  <c:v>6.087510660046728</c:v>
                </c:pt>
                <c:pt idx="25">
                  <c:v>5.028346172973652</c:v>
                </c:pt>
                <c:pt idx="26">
                  <c:v>5.239253747531754</c:v>
                </c:pt>
                <c:pt idx="27">
                  <c:v>6.180718881023845</c:v>
                </c:pt>
                <c:pt idx="28">
                  <c:v>6.344551826592899</c:v>
                </c:pt>
                <c:pt idx="29">
                  <c:v>5.184224114017523</c:v>
                </c:pt>
                <c:pt idx="30">
                  <c:v>6.681760107408129</c:v>
                </c:pt>
                <c:pt idx="31">
                  <c:v>6.657290194109293</c:v>
                </c:pt>
                <c:pt idx="32">
                  <c:v>7.060947251265015</c:v>
                </c:pt>
                <c:pt idx="33">
                  <c:v>7.113568923657945</c:v>
                </c:pt>
                <c:pt idx="34">
                  <c:v>6.700505750721064</c:v>
                </c:pt>
                <c:pt idx="35">
                  <c:v>5.544264102443009</c:v>
                </c:pt>
                <c:pt idx="36">
                  <c:v>6.175607596387518</c:v>
                </c:pt>
                <c:pt idx="37">
                  <c:v>6.486139806092144</c:v>
                </c:pt>
                <c:pt idx="38">
                  <c:v>5.383920969887201</c:v>
                </c:pt>
                <c:pt idx="39">
                  <c:v>6.298411763741349</c:v>
                </c:pt>
                <c:pt idx="40">
                  <c:v>7.008284818944441</c:v>
                </c:pt>
                <c:pt idx="41">
                  <c:v>6.367496057788458</c:v>
                </c:pt>
                <c:pt idx="42">
                  <c:v>6.427314013985541</c:v>
                </c:pt>
                <c:pt idx="43">
                  <c:v>6.586373521206192</c:v>
                </c:pt>
                <c:pt idx="44">
                  <c:v>6.125379496307297</c:v>
                </c:pt>
                <c:pt idx="45">
                  <c:v>6.928810543332288</c:v>
                </c:pt>
                <c:pt idx="46">
                  <c:v>6.397818926392133</c:v>
                </c:pt>
                <c:pt idx="47">
                  <c:v>6.452506328523639</c:v>
                </c:pt>
                <c:pt idx="48">
                  <c:v>5.870148702290076</c:v>
                </c:pt>
                <c:pt idx="49">
                  <c:v>6.526359336876791</c:v>
                </c:pt>
                <c:pt idx="50">
                  <c:v>7.535831994754958</c:v>
                </c:pt>
                <c:pt idx="51">
                  <c:v>7.498597983471593</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5.423475333878947</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5.423475333878947</c:v>
                </c:pt>
                <c:pt idx="1">
                  <c:v>5.423475333878947</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5.423475333878947</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5.423475333878947</c:v>
                </c:pt>
                <c:pt idx="1">
                  <c:v>5.423475333878947</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7.513547641355454</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7.513547641355454</c:v>
                </c:pt>
                <c:pt idx="1">
                  <c:v>7.513547641355454</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8.900966057499778</c:v>
                </c:pt>
                <c:pt idx="1">
                  <c:v>6.253459448420351</c:v>
                </c:pt>
                <c:pt idx="2">
                  <c:v>6.895508590525394</c:v>
                </c:pt>
                <c:pt idx="3">
                  <c:v>6.417872448763101</c:v>
                </c:pt>
                <c:pt idx="4">
                  <c:v>7.2434502677279236</c:v>
                </c:pt>
                <c:pt idx="5">
                  <c:v>6.816451929663946</c:v>
                </c:pt>
                <c:pt idx="6">
                  <c:v>6.8811002603645095</c:v>
                </c:pt>
                <c:pt idx="7">
                  <c:v>6.4075803330434455</c:v>
                </c:pt>
                <c:pt idx="8">
                  <c:v>5.950378754386539</c:v>
                </c:pt>
                <c:pt idx="9">
                  <c:v>6.066840211339667</c:v>
                </c:pt>
                <c:pt idx="10">
                  <c:v>5.996887762160906</c:v>
                </c:pt>
                <c:pt idx="11">
                  <c:v>7.651592997605059</c:v>
                </c:pt>
                <c:pt idx="12">
                  <c:v>6.597011115700062</c:v>
                </c:pt>
                <c:pt idx="13">
                  <c:v>5.040773739640133</c:v>
                </c:pt>
                <c:pt idx="14">
                  <c:v>5.167388222212329</c:v>
                </c:pt>
                <c:pt idx="15">
                  <c:v>6.204802390064483</c:v>
                </c:pt>
                <c:pt idx="16">
                  <c:v>5.464824627492523</c:v>
                </c:pt>
                <c:pt idx="17">
                  <c:v>5.678510553062089</c:v>
                </c:pt>
                <c:pt idx="18">
                  <c:v>7.208262042964068</c:v>
                </c:pt>
                <c:pt idx="19">
                  <c:v>5.791392704110199</c:v>
                </c:pt>
                <c:pt idx="20">
                  <c:v>6.730551900184197</c:v>
                </c:pt>
                <c:pt idx="21">
                  <c:v>6.319738266837837</c:v>
                </c:pt>
                <c:pt idx="22">
                  <c:v>5.336554565962712</c:v>
                </c:pt>
                <c:pt idx="23">
                  <c:v>5.3910797333123455</c:v>
                </c:pt>
                <c:pt idx="24">
                  <c:v>6.087510660046728</c:v>
                </c:pt>
                <c:pt idx="25">
                  <c:v>5.028346172973652</c:v>
                </c:pt>
                <c:pt idx="26">
                  <c:v>5.239253747531754</c:v>
                </c:pt>
                <c:pt idx="27">
                  <c:v>6.180718881023845</c:v>
                </c:pt>
                <c:pt idx="28">
                  <c:v>6.344551826592899</c:v>
                </c:pt>
                <c:pt idx="29">
                  <c:v>5.184224114017523</c:v>
                </c:pt>
                <c:pt idx="30">
                  <c:v>6.681760107408129</c:v>
                </c:pt>
                <c:pt idx="31">
                  <c:v>6.657290194109293</c:v>
                </c:pt>
                <c:pt idx="32">
                  <c:v>7.060947251265015</c:v>
                </c:pt>
                <c:pt idx="33">
                  <c:v>7.113568923657945</c:v>
                </c:pt>
                <c:pt idx="34">
                  <c:v>6.700505750721064</c:v>
                </c:pt>
                <c:pt idx="35">
                  <c:v>5.544264102443009</c:v>
                </c:pt>
                <c:pt idx="36">
                  <c:v>6.175607596387518</c:v>
                </c:pt>
                <c:pt idx="37">
                  <c:v>6.486139806092144</c:v>
                </c:pt>
                <c:pt idx="38">
                  <c:v>5.383920969887201</c:v>
                </c:pt>
                <c:pt idx="39">
                  <c:v>6.298411763741349</c:v>
                </c:pt>
                <c:pt idx="40">
                  <c:v>7.008284818944441</c:v>
                </c:pt>
                <c:pt idx="41">
                  <c:v>6.367496057788458</c:v>
                </c:pt>
                <c:pt idx="42">
                  <c:v>6.427314013985541</c:v>
                </c:pt>
                <c:pt idx="43">
                  <c:v>6.586373521206192</c:v>
                </c:pt>
                <c:pt idx="44">
                  <c:v>6.125379496307297</c:v>
                </c:pt>
                <c:pt idx="45">
                  <c:v>6.928810543332288</c:v>
                </c:pt>
                <c:pt idx="46">
                  <c:v>6.397818926392133</c:v>
                </c:pt>
                <c:pt idx="47">
                  <c:v>6.452506328523639</c:v>
                </c:pt>
                <c:pt idx="48">
                  <c:v>5.870148702290076</c:v>
                </c:pt>
                <c:pt idx="49">
                  <c:v>6.526359336876791</c:v>
                </c:pt>
                <c:pt idx="50">
                  <c:v>7.535831994754958</c:v>
                </c:pt>
                <c:pt idx="51">
                  <c:v>7.498597983471593</c:v>
                </c:pt>
                <c:pt idx="52">
                  <c:v>5.423475333878947</c:v>
                </c:pt>
                <c:pt idx="53">
                  <c:v>5.423475333878947</c:v>
                </c:pt>
                <c:pt idx="54">
                  <c:v>7.513547641355454</c:v>
                </c:pt>
              </c:numCache>
            </c:numRef>
          </c:xVal>
          <c:yVal>
            <c:numRef>
              <c:f>Sheet1!$B$135:$B$189</c:f>
              <c:numCache>
                <c:formatCode>General</c:formatCode>
                <c:ptCount val="55"/>
                <c:pt idx="0">
                  <c:v>0.0013186901765326765</c:v>
                </c:pt>
                <c:pt idx="1">
                  <c:v>0.00528220996342778</c:v>
                </c:pt>
                <c:pt idx="2">
                  <c:v>0.004321013315168149</c:v>
                </c:pt>
                <c:pt idx="3">
                  <c:v>0.005036071133085872</c:v>
                </c:pt>
                <c:pt idx="4">
                  <c:v>0.003800118025408243</c:v>
                </c:pt>
                <c:pt idx="5">
                  <c:v>0.004439367180097371</c:v>
                </c:pt>
                <c:pt idx="6">
                  <c:v>0.004342583686888068</c:v>
                </c:pt>
                <c:pt idx="7">
                  <c:v>0.0050514792171163225</c:v>
                </c:pt>
                <c:pt idx="8">
                  <c:v>0.005735944931910677</c:v>
                </c:pt>
                <c:pt idx="9">
                  <c:v>0.005561593227759554</c:v>
                </c:pt>
                <c:pt idx="10">
                  <c:v>0.005666317391812992</c:v>
                </c:pt>
                <c:pt idx="11">
                  <c:v>0.003189097157623555</c:v>
                </c:pt>
                <c:pt idx="12">
                  <c:v>0.004767886854124038</c:v>
                </c:pt>
                <c:pt idx="13">
                  <c:v>0.0070976931752738835</c:v>
                </c:pt>
                <c:pt idx="14">
                  <c:v>0.006908141615605868</c:v>
                </c:pt>
                <c:pt idx="15">
                  <c:v>0.005355053299457317</c:v>
                </c:pt>
                <c:pt idx="16">
                  <c:v>0.0064628565788743</c:v>
                </c:pt>
                <c:pt idx="17">
                  <c:v>0.006142952412716066</c:v>
                </c:pt>
                <c:pt idx="18">
                  <c:v>0.003852797487902862</c:v>
                </c:pt>
                <c:pt idx="19">
                  <c:v>0.005973959203130827</c:v>
                </c:pt>
                <c:pt idx="20">
                  <c:v>0.004567966091001031</c:v>
                </c:pt>
                <c:pt idx="21">
                  <c:v>0.0051829855054608635</c:v>
                </c:pt>
                <c:pt idx="22">
                  <c:v>0.006654886666805389</c:v>
                </c:pt>
                <c:pt idx="23">
                  <c:v>0.0065732583230147055</c:v>
                </c:pt>
                <c:pt idx="24">
                  <c:v>0.0055306479858578065</c:v>
                </c:pt>
                <c:pt idx="25">
                  <c:v>0.007116298192619877</c:v>
                </c:pt>
                <c:pt idx="26">
                  <c:v>0.0068005534303215275</c:v>
                </c:pt>
                <c:pt idx="27">
                  <c:v>0.005391108153595576</c:v>
                </c:pt>
                <c:pt idx="28">
                  <c:v>0.005145837709593155</c:v>
                </c:pt>
                <c:pt idx="29">
                  <c:v>0.006882936998525379</c:v>
                </c:pt>
                <c:pt idx="30">
                  <c:v>0.0046410111347576066</c:v>
                </c:pt>
                <c:pt idx="31">
                  <c:v>0.004677644465609712</c:v>
                </c:pt>
                <c:pt idx="32">
                  <c:v>0.00407333899280379</c:v>
                </c:pt>
                <c:pt idx="33">
                  <c:v>0.003994560326479171</c:v>
                </c:pt>
                <c:pt idx="34">
                  <c:v>0.004612947473675858</c:v>
                </c:pt>
                <c:pt idx="35">
                  <c:v>0.006343929611988923</c:v>
                </c:pt>
                <c:pt idx="36">
                  <c:v>0.005398760137436922</c:v>
                </c:pt>
                <c:pt idx="37">
                  <c:v>0.004933869680351147</c:v>
                </c:pt>
                <c:pt idx="38">
                  <c:v>0.00658397553912588</c:v>
                </c:pt>
                <c:pt idx="39">
                  <c:v>0.005214912910936766</c:v>
                </c:pt>
                <c:pt idx="40">
                  <c:v>0.004152178679856051</c:v>
                </c:pt>
                <c:pt idx="41">
                  <c:v>0.005111488441482993</c:v>
                </c:pt>
                <c:pt idx="42">
                  <c:v>0.005021936388171519</c:v>
                </c:pt>
                <c:pt idx="43">
                  <c:v>0.004783812146290194</c:v>
                </c:pt>
                <c:pt idx="44">
                  <c:v>0.0054739554430287465</c:v>
                </c:pt>
                <c:pt idx="45">
                  <c:v>0.00427115774599234</c:v>
                </c:pt>
                <c:pt idx="46">
                  <c:v>0.005066092789100515</c:v>
                </c:pt>
                <c:pt idx="47">
                  <c:v>0.004984221567439058</c:v>
                </c:pt>
                <c:pt idx="48">
                  <c:v>0.005856055453220583</c:v>
                </c:pt>
                <c:pt idx="49">
                  <c:v>0.0048736579681167395</c:v>
                </c:pt>
                <c:pt idx="50">
                  <c:v>0.00336240022843505</c:v>
                </c:pt>
                <c:pt idx="51">
                  <c:v>0.0034181423897429713</c:v>
                </c:pt>
                <c:pt idx="52">
                  <c:v>0.006524759632430238</c:v>
                </c:pt>
                <c:pt idx="53">
                  <c:v>0.006524759632430238</c:v>
                </c:pt>
                <c:pt idx="54">
                  <c:v>0.003395761609039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2.3078</c:v>
                </c:pt>
                <c:pt idx="1">
                  <c:v>883.2083</c:v>
                </c:pt>
                <c:pt idx="2">
                  <c:v>928.4619</c:v>
                </c:pt>
                <c:pt idx="3">
                  <c:v>938.1401</c:v>
                </c:pt>
                <c:pt idx="4">
                  <c:v>946.6195</c:v>
                </c:pt>
                <c:pt idx="5">
                  <c:v>956.5538</c:v>
                </c:pt>
                <c:pt idx="6">
                  <c:v>886.589</c:v>
                </c:pt>
                <c:pt idx="7">
                  <c:v>904.5662</c:v>
                </c:pt>
                <c:pt idx="8">
                  <c:v>927.0313</c:v>
                </c:pt>
                <c:pt idx="9">
                  <c:v>895.0496</c:v>
                </c:pt>
                <c:pt idx="10">
                  <c:v>879.7322</c:v>
                </c:pt>
                <c:pt idx="11">
                  <c:v>926.0156</c:v>
                </c:pt>
                <c:pt idx="12">
                  <c:v>946.3782</c:v>
                </c:pt>
                <c:pt idx="13">
                  <c:v>914.3376</c:v>
                </c:pt>
                <c:pt idx="14">
                  <c:v>915.5933</c:v>
                </c:pt>
                <c:pt idx="15">
                  <c:v>932.8327</c:v>
                </c:pt>
                <c:pt idx="16">
                  <c:v>925.4625</c:v>
                </c:pt>
                <c:pt idx="17">
                  <c:v>939.9214</c:v>
                </c:pt>
                <c:pt idx="18">
                  <c:v>992.8248</c:v>
                </c:pt>
                <c:pt idx="19">
                  <c:v>1027.2873</c:v>
                </c:pt>
                <c:pt idx="20">
                  <c:v>1029.4758</c:v>
                </c:pt>
                <c:pt idx="21">
                  <c:v>1033.7266</c:v>
                </c:pt>
                <c:pt idx="22">
                  <c:v>996.377</c:v>
                </c:pt>
                <c:pt idx="23">
                  <c:v>988.7821</c:v>
                </c:pt>
                <c:pt idx="24">
                  <c:v>981.5868</c:v>
                </c:pt>
                <c:pt idx="25">
                  <c:v>975.6811</c:v>
                </c:pt>
                <c:pt idx="26">
                  <c:v>957.9314</c:v>
                </c:pt>
                <c:pt idx="27">
                  <c:v>991.1589</c:v>
                </c:pt>
                <c:pt idx="28">
                  <c:v>966.7019</c:v>
                </c:pt>
                <c:pt idx="29">
                  <c:v>838.746</c:v>
                </c:pt>
                <c:pt idx="30">
                  <c:v>868.2976</c:v>
                </c:pt>
                <c:pt idx="31">
                  <c:v>905.4253</c:v>
                </c:pt>
                <c:pt idx="32">
                  <c:v>889.1375</c:v>
                </c:pt>
                <c:pt idx="33">
                  <c:v>876.2985</c:v>
                </c:pt>
                <c:pt idx="34">
                  <c:v>942.8202</c:v>
                </c:pt>
                <c:pt idx="35">
                  <c:v>996.1845</c:v>
                </c:pt>
                <c:pt idx="36">
                  <c:v>1052.6033</c:v>
                </c:pt>
                <c:pt idx="37">
                  <c:v>1052.1213</c:v>
                </c:pt>
                <c:pt idx="38">
                  <c:v>1122.1398</c:v>
                </c:pt>
                <c:pt idx="39">
                  <c:v>1113.1628</c:v>
                </c:pt>
                <c:pt idx="40">
                  <c:v>1144.8625</c:v>
                </c:pt>
                <c:pt idx="41">
                  <c:v>1176.9375</c:v>
                </c:pt>
                <c:pt idx="42">
                  <c:v>1198.2257</c:v>
                </c:pt>
                <c:pt idx="43">
                  <c:v>1216.8503</c:v>
                </c:pt>
                <c:pt idx="44">
                  <c:v>1008.1555</c:v>
                </c:pt>
                <c:pt idx="45">
                  <c:v>953.9563</c:v>
                </c:pt>
                <c:pt idx="46">
                  <c:v>962.163</c:v>
                </c:pt>
                <c:pt idx="47">
                  <c:v>928.8588</c:v>
                </c:pt>
                <c:pt idx="48">
                  <c:v>939.2746</c:v>
                </c:pt>
                <c:pt idx="49">
                  <c:v>930.5045</c:v>
                </c:pt>
                <c:pt idx="50">
                  <c:v>918.9474</c:v>
                </c:pt>
                <c:pt idx="51">
                  <c:v>926.5604</c:v>
                </c:pt>
                <c:pt idx="52">
                  <c:v>963.1289</c:v>
                </c:pt>
                <c:pt idx="53">
                  <c:v>996.1748</c:v>
                </c:pt>
                <c:pt idx="54">
                  <c:v>1014.8082</c:v>
                </c:pt>
                <c:pt idx="55">
                  <c:v>1034.8586</c:v>
                </c:pt>
                <c:pt idx="56">
                  <c:v>1045.3579</c:v>
                </c:pt>
                <c:pt idx="57">
                  <c:v>1015.3174</c:v>
                </c:pt>
                <c:pt idx="58">
                  <c:v>970.311</c:v>
                </c:pt>
                <c:pt idx="59">
                  <c:v>997.1556</c:v>
                </c:pt>
                <c:pt idx="60">
                  <c:v>1029.7311</c:v>
                </c:pt>
                <c:pt idx="61">
                  <c:v>1024.1669</c:v>
                </c:pt>
                <c:pt idx="62">
                  <c:v>968.363</c:v>
                </c:pt>
                <c:pt idx="63">
                  <c:v>999.3042</c:v>
                </c:pt>
                <c:pt idx="64">
                  <c:v>995.2724</c:v>
                </c:pt>
                <c:pt idx="65">
                  <c:v>976.2223</c:v>
                </c:pt>
                <c:pt idx="66">
                  <c:v>937.5214</c:v>
                </c:pt>
                <c:pt idx="67">
                  <c:v>856.2983</c:v>
                </c:pt>
                <c:pt idx="68">
                  <c:v>806.8714</c:v>
                </c:pt>
                <c:pt idx="69">
                  <c:v>858.0069</c:v>
                </c:pt>
                <c:pt idx="70">
                  <c:v>820.2424</c:v>
                </c:pt>
                <c:pt idx="71">
                  <c:v>877.3774</c:v>
                </c:pt>
                <c:pt idx="72">
                  <c:v>872.0649</c:v>
                </c:pt>
                <c:pt idx="73">
                  <c:v>886.2128</c:v>
                </c:pt>
                <c:pt idx="74">
                  <c:v>926.805</c:v>
                </c:pt>
                <c:pt idx="75">
                  <c:v>890.1898</c:v>
                </c:pt>
                <c:pt idx="76">
                  <c:v>944.6575</c:v>
                </c:pt>
                <c:pt idx="77">
                  <c:v>860.7052</c:v>
                </c:pt>
                <c:pt idx="78">
                  <c:v>899.2214</c:v>
                </c:pt>
                <c:pt idx="79">
                  <c:v>594.6554</c:v>
                </c:pt>
                <c:pt idx="80">
                  <c:v>533.7954</c:v>
                </c:pt>
                <c:pt idx="81">
                  <c:v>796.5697</c:v>
                </c:pt>
                <c:pt idx="82">
                  <c:v>825.5976</c:v>
                </c:pt>
                <c:pt idx="83">
                  <c:v>865.5076</c:v>
                </c:pt>
                <c:pt idx="84">
                  <c:v>748.9563</c:v>
                </c:pt>
                <c:pt idx="85">
                  <c:v>999.0184</c:v>
                </c:pt>
                <c:pt idx="86">
                  <c:v>1009.6247</c:v>
                </c:pt>
                <c:pt idx="87">
                  <c:v>1109.1115</c:v>
                </c:pt>
                <c:pt idx="88">
                  <c:v>1122.5225</c:v>
                </c:pt>
                <c:pt idx="89">
                  <c:v>1066.7365</c:v>
                </c:pt>
                <c:pt idx="90">
                  <c:v>1071.2975</c:v>
                </c:pt>
                <c:pt idx="91">
                  <c:v>1153.5869</c:v>
                </c:pt>
                <c:pt idx="92">
                  <c:v>1139.0998</c:v>
                </c:pt>
                <c:pt idx="93">
                  <c:v>1165.4602</c:v>
                </c:pt>
                <c:pt idx="94">
                  <c:v>1160.4792</c:v>
                </c:pt>
                <c:pt idx="95">
                  <c:v>1135.9826</c:v>
                </c:pt>
                <c:pt idx="96">
                  <c:v>1086.3975</c:v>
                </c:pt>
                <c:pt idx="97">
                  <c:v>1110.9114</c:v>
                </c:pt>
                <c:pt idx="98">
                  <c:v>1091.8646</c:v>
                </c:pt>
                <c:pt idx="99">
                  <c:v>1063.6588</c:v>
                </c:pt>
                <c:pt idx="100">
                  <c:v>1072.2627</c:v>
                </c:pt>
                <c:pt idx="101">
                  <c:v>1068.2622</c:v>
                </c:pt>
                <c:pt idx="102">
                  <c:v>1096.4513</c:v>
                </c:pt>
                <c:pt idx="103">
                  <c:v>1006.4008</c:v>
                </c:pt>
                <c:pt idx="104">
                  <c:v>1093.4742</c:v>
                </c:pt>
              </c:numCache>
            </c:numRef>
          </c:xVal>
          <c:yVal>
            <c:numRef>
              <c:f>Sheet1!$B$2:$B$106</c:f>
              <c:numCache>
                <c:formatCode>General</c:formatCode>
                <c:ptCount val="105"/>
                <c:pt idx="0">
                  <c:v>0.18620242214532873</c:v>
                </c:pt>
                <c:pt idx="1">
                  <c:v>0.1890214797136038</c:v>
                </c:pt>
                <c:pt idx="2">
                  <c:v>0.16231755860238833</c:v>
                </c:pt>
                <c:pt idx="3">
                  <c:v>0.16826137689614937</c:v>
                </c:pt>
                <c:pt idx="4">
                  <c:v>0.162472647702407</c:v>
                </c:pt>
                <c:pt idx="5">
                  <c:v>0.14882893566557961</c:v>
                </c:pt>
                <c:pt idx="6">
                  <c:v>0.18030256251929608</c:v>
                </c:pt>
                <c:pt idx="7">
                  <c:v>0.1793103448275862</c:v>
                </c:pt>
                <c:pt idx="8">
                  <c:v>0.1728950923007654</c:v>
                </c:pt>
                <c:pt idx="9">
                  <c:v>0.17502100252030245</c:v>
                </c:pt>
                <c:pt idx="10">
                  <c:v>0.187602403058438</c:v>
                </c:pt>
                <c:pt idx="11">
                  <c:v>0.1816124469589816</c:v>
                </c:pt>
                <c:pt idx="12">
                  <c:v>0.20361769738450256</c:v>
                </c:pt>
                <c:pt idx="13">
                  <c:v>0.21497695852534562</c:v>
                </c:pt>
                <c:pt idx="14">
                  <c:v>0.1998332986038758</c:v>
                </c:pt>
                <c:pt idx="15">
                  <c:v>0.199435318275154</c:v>
                </c:pt>
                <c:pt idx="16">
                  <c:v>0.19881950916433674</c:v>
                </c:pt>
                <c:pt idx="17">
                  <c:v>0.16977985323549033</c:v>
                </c:pt>
                <c:pt idx="18">
                  <c:v>0.14209115281501342</c:v>
                </c:pt>
                <c:pt idx="19">
                  <c:v>0.13291445142580957</c:v>
                </c:pt>
                <c:pt idx="20">
                  <c:v>0.1506002182611859</c:v>
                </c:pt>
                <c:pt idx="21">
                  <c:v>0.15075921908893708</c:v>
                </c:pt>
                <c:pt idx="22">
                  <c:v>0.1484819734345351</c:v>
                </c:pt>
                <c:pt idx="23">
                  <c:v>0.16783872480075013</c:v>
                </c:pt>
                <c:pt idx="24">
                  <c:v>0.1594628619387327</c:v>
                </c:pt>
                <c:pt idx="25">
                  <c:v>0.16109725685785536</c:v>
                </c:pt>
                <c:pt idx="26">
                  <c:v>0.18596171376481313</c:v>
                </c:pt>
                <c:pt idx="27">
                  <c:v>0.1718185467683661</c:v>
                </c:pt>
                <c:pt idx="28">
                  <c:v>0.17509247842170161</c:v>
                </c:pt>
                <c:pt idx="29">
                  <c:v>0.21141975308641975</c:v>
                </c:pt>
                <c:pt idx="30">
                  <c:v>0.18292682926829268</c:v>
                </c:pt>
                <c:pt idx="31">
                  <c:v>0.1837837837837838</c:v>
                </c:pt>
                <c:pt idx="32">
                  <c:v>0.19543973941368079</c:v>
                </c:pt>
                <c:pt idx="33">
                  <c:v>0.21220846530377196</c:v>
                </c:pt>
                <c:pt idx="34">
                  <c:v>0.20370779077466342</c:v>
                </c:pt>
                <c:pt idx="35">
                  <c:v>0.1883278940295642</c:v>
                </c:pt>
                <c:pt idx="36">
                  <c:v>0.1565116950620849</c:v>
                </c:pt>
                <c:pt idx="37">
                  <c:v>0.13574826198316867</c:v>
                </c:pt>
                <c:pt idx="38">
                  <c:v>0.13865076407007082</c:v>
                </c:pt>
                <c:pt idx="39">
                  <c:v>0.14408041697691734</c:v>
                </c:pt>
                <c:pt idx="40">
                  <c:v>0.14119278779472955</c:v>
                </c:pt>
                <c:pt idx="41">
                  <c:v>0.11777076761303891</c:v>
                </c:pt>
                <c:pt idx="42">
                  <c:v>0.12353823088455772</c:v>
                </c:pt>
                <c:pt idx="43">
                  <c:v>0.13986577181208054</c:v>
                </c:pt>
                <c:pt idx="44">
                  <c:v>0.17872268338133152</c:v>
                </c:pt>
                <c:pt idx="45">
                  <c:v>0.21164274322169058</c:v>
                </c:pt>
                <c:pt idx="46">
                  <c:v>0.21471774193548387</c:v>
                </c:pt>
                <c:pt idx="47">
                  <c:v>0.21328448550493787</c:v>
                </c:pt>
                <c:pt idx="48">
                  <c:v>0.23169267707082833</c:v>
                </c:pt>
                <c:pt idx="49">
                  <c:v>0.26036719359183386</c:v>
                </c:pt>
                <c:pt idx="50">
                  <c:v>0.21752937440457287</c:v>
                </c:pt>
                <c:pt idx="51">
                  <c:v>0.18434343434343434</c:v>
                </c:pt>
                <c:pt idx="52">
                  <c:v>0.2164369576314446</c:v>
                </c:pt>
                <c:pt idx="53">
                  <c:v>0.20008853474988933</c:v>
                </c:pt>
                <c:pt idx="54">
                  <c:v>0.18109833971902936</c:v>
                </c:pt>
                <c:pt idx="55">
                  <c:v>0.15755968169761272</c:v>
                </c:pt>
                <c:pt idx="56">
                  <c:v>0.16745005875440658</c:v>
                </c:pt>
                <c:pt idx="57">
                  <c:v>0.168932527693857</c:v>
                </c:pt>
                <c:pt idx="58">
                  <c:v>0.1865934065934066</c:v>
                </c:pt>
                <c:pt idx="59">
                  <c:v>0.19930424699231772</c:v>
                </c:pt>
                <c:pt idx="60">
                  <c:v>0.20135335864003961</c:v>
                </c:pt>
                <c:pt idx="61">
                  <c:v>0.19685990338164253</c:v>
                </c:pt>
                <c:pt idx="62">
                  <c:v>0.202009405728944</c:v>
                </c:pt>
                <c:pt idx="63">
                  <c:v>0.2198868229587712</c:v>
                </c:pt>
                <c:pt idx="64">
                  <c:v>0.21553610503282275</c:v>
                </c:pt>
                <c:pt idx="65">
                  <c:v>0.19680030840400925</c:v>
                </c:pt>
                <c:pt idx="66">
                  <c:v>0.2131578947368421</c:v>
                </c:pt>
                <c:pt idx="67">
                  <c:v>0.22634927149599837</c:v>
                </c:pt>
                <c:pt idx="68">
                  <c:v>0.22584789311408016</c:v>
                </c:pt>
                <c:pt idx="69">
                  <c:v>0.19027275714755176</c:v>
                </c:pt>
                <c:pt idx="70">
                  <c:v>0.1749502982107356</c:v>
                </c:pt>
                <c:pt idx="71">
                  <c:v>0.1975403535741737</c:v>
                </c:pt>
                <c:pt idx="72">
                  <c:v>0.1857429718875502</c:v>
                </c:pt>
                <c:pt idx="73">
                  <c:v>0.20366218236173392</c:v>
                </c:pt>
                <c:pt idx="74">
                  <c:v>0.1863230921704658</c:v>
                </c:pt>
                <c:pt idx="75">
                  <c:v>0.20173707066719304</c:v>
                </c:pt>
                <c:pt idx="76">
                  <c:v>0.17472474868358065</c:v>
                </c:pt>
                <c:pt idx="77">
                  <c:v>0.20797598627787306</c:v>
                </c:pt>
                <c:pt idx="78">
                  <c:v>0.15401540154015403</c:v>
                </c:pt>
                <c:pt idx="79">
                  <c:v>0.23789553945863515</c:v>
                </c:pt>
                <c:pt idx="80">
                  <c:v>0.25036337209302323</c:v>
                </c:pt>
                <c:pt idx="81">
                  <c:v>0.1673891297099033</c:v>
                </c:pt>
                <c:pt idx="82">
                  <c:v>0.15413533834586465</c:v>
                </c:pt>
                <c:pt idx="83">
                  <c:v>0.1385099685204617</c:v>
                </c:pt>
                <c:pt idx="84">
                  <c:v>0.1657172449508027</c:v>
                </c:pt>
                <c:pt idx="85">
                  <c:v>0.14534106107891218</c:v>
                </c:pt>
                <c:pt idx="86">
                  <c:v>0.15660736975857686</c:v>
                </c:pt>
                <c:pt idx="87">
                  <c:v>0.16613603473227206</c:v>
                </c:pt>
                <c:pt idx="88">
                  <c:v>0.1462012320328542</c:v>
                </c:pt>
                <c:pt idx="89">
                  <c:v>0.14569842738205366</c:v>
                </c:pt>
                <c:pt idx="90">
                  <c:v>0.14119749776586238</c:v>
                </c:pt>
                <c:pt idx="91">
                  <c:v>0.13169257340241797</c:v>
                </c:pt>
                <c:pt idx="92">
                  <c:v>0.14592720970537262</c:v>
                </c:pt>
                <c:pt idx="93">
                  <c:v>0.13576494427558258</c:v>
                </c:pt>
                <c:pt idx="94">
                  <c:v>0.14393939393939395</c:v>
                </c:pt>
                <c:pt idx="95">
                  <c:v>0.1481375358166189</c:v>
                </c:pt>
                <c:pt idx="96">
                  <c:v>0.14672897196261683</c:v>
                </c:pt>
                <c:pt idx="97">
                  <c:v>0.1480234001063641</c:v>
                </c:pt>
                <c:pt idx="98">
                  <c:v>0.17808619430241052</c:v>
                </c:pt>
                <c:pt idx="99">
                  <c:v>0.18037934932797386</c:v>
                </c:pt>
                <c:pt idx="100">
                  <c:v>0.20448351648351648</c:v>
                </c:pt>
                <c:pt idx="101">
                  <c:v>0.18994501178318932</c:v>
                </c:pt>
                <c:pt idx="102">
                  <c:v>0.1512398723299779</c:v>
                </c:pt>
                <c:pt idx="103">
                  <c:v>0.15945279210585334</c:v>
                </c:pt>
                <c:pt idx="104">
                  <c:v>0.162652232746955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7.3812</c:v>
                </c:pt>
                <c:pt idx="1">
                  <c:v>1124.7058</c:v>
                </c:pt>
                <c:pt idx="2">
                  <c:v>1114.6934</c:v>
                </c:pt>
                <c:pt idx="3">
                  <c:v>1064.7039</c:v>
                </c:pt>
                <c:pt idx="4">
                  <c:v>1103.809</c:v>
                </c:pt>
                <c:pt idx="5">
                  <c:v>1113.864</c:v>
                </c:pt>
                <c:pt idx="6">
                  <c:v>1034.6803</c:v>
                </c:pt>
                <c:pt idx="7">
                  <c:v>1064.9193</c:v>
                </c:pt>
                <c:pt idx="8">
                  <c:v>1159.2797</c:v>
                </c:pt>
                <c:pt idx="9">
                  <c:v>1113.5275</c:v>
                </c:pt>
                <c:pt idx="10">
                  <c:v>1134.5587</c:v>
                </c:pt>
                <c:pt idx="11">
                  <c:v>997.7833</c:v>
                </c:pt>
                <c:pt idx="12">
                  <c:v>1039.9439</c:v>
                </c:pt>
                <c:pt idx="13">
                  <c:v>1072.1467</c:v>
                </c:pt>
                <c:pt idx="14">
                  <c:v>1071.3796</c:v>
                </c:pt>
                <c:pt idx="15">
                  <c:v>1152.3928</c:v>
                </c:pt>
                <c:pt idx="16">
                  <c:v>1185.8492</c:v>
                </c:pt>
                <c:pt idx="17">
                  <c:v>1157.15</c:v>
                </c:pt>
                <c:pt idx="18">
                  <c:v>1090.7964</c:v>
                </c:pt>
                <c:pt idx="19">
                  <c:v>1207.3779</c:v>
                </c:pt>
                <c:pt idx="20">
                  <c:v>1249.1464</c:v>
                </c:pt>
                <c:pt idx="21">
                  <c:v>1149.8266</c:v>
                </c:pt>
                <c:pt idx="22">
                  <c:v>1094.2804</c:v>
                </c:pt>
                <c:pt idx="23">
                  <c:v>1093.4677</c:v>
                </c:pt>
                <c:pt idx="24">
                  <c:v>1132.1026</c:v>
                </c:pt>
                <c:pt idx="25">
                  <c:v>1026.1195</c:v>
                </c:pt>
                <c:pt idx="26">
                  <c:v>1117.8154</c:v>
                </c:pt>
                <c:pt idx="27">
                  <c:v>1168.5</c:v>
                </c:pt>
                <c:pt idx="28">
                  <c:v>1114.2489</c:v>
                </c:pt>
                <c:pt idx="29">
                  <c:v>1103.8476</c:v>
                </c:pt>
                <c:pt idx="30">
                  <c:v>1132.755</c:v>
                </c:pt>
                <c:pt idx="31">
                  <c:v>1018.5139</c:v>
                </c:pt>
                <c:pt idx="32">
                  <c:v>1066.539</c:v>
                </c:pt>
                <c:pt idx="33">
                  <c:v>1094.6682</c:v>
                </c:pt>
                <c:pt idx="34">
                  <c:v>1159.9837</c:v>
                </c:pt>
                <c:pt idx="35">
                  <c:v>1184.5833</c:v>
                </c:pt>
                <c:pt idx="36">
                  <c:v>1164.7203</c:v>
                </c:pt>
                <c:pt idx="37">
                  <c:v>1136.0895</c:v>
                </c:pt>
                <c:pt idx="38">
                  <c:v>1150.9257</c:v>
                </c:pt>
                <c:pt idx="39">
                  <c:v>1176.0911</c:v>
                </c:pt>
                <c:pt idx="40">
                  <c:v>1221.3352</c:v>
                </c:pt>
                <c:pt idx="41">
                  <c:v>1296.6974</c:v>
                </c:pt>
                <c:pt idx="42">
                  <c:v>1243.6175</c:v>
                </c:pt>
                <c:pt idx="43">
                  <c:v>1266.3162</c:v>
                </c:pt>
                <c:pt idx="44">
                  <c:v>1199.182</c:v>
                </c:pt>
                <c:pt idx="45">
                  <c:v>1142.3373</c:v>
                </c:pt>
                <c:pt idx="46">
                  <c:v>1091.0724</c:v>
                </c:pt>
                <c:pt idx="47">
                  <c:v>1078.52</c:v>
                </c:pt>
                <c:pt idx="48">
                  <c:v>1095.598</c:v>
                </c:pt>
                <c:pt idx="49">
                  <c:v>1115.0325</c:v>
                </c:pt>
                <c:pt idx="50">
                  <c:v>1004.2982</c:v>
                </c:pt>
                <c:pt idx="51">
                  <c:v>977.3582</c:v>
                </c:pt>
              </c:numCache>
            </c:numRef>
          </c:xVal>
          <c:yVal>
            <c:numRef>
              <c:f>Sheet1!$B$109:$B$160</c:f>
              <c:numCache>
                <c:formatCode>General</c:formatCode>
                <c:ptCount val="52"/>
                <c:pt idx="0">
                  <c:v>0.16836372247217618</c:v>
                </c:pt>
                <c:pt idx="1">
                  <c:v>0.1693934054870375</c:v>
                </c:pt>
                <c:pt idx="2">
                  <c:v>0.17645759717314488</c:v>
                </c:pt>
                <c:pt idx="3">
                  <c:v>0.1920944805977344</c:v>
                </c:pt>
                <c:pt idx="4">
                  <c:v>0.16725352112676056</c:v>
                </c:pt>
                <c:pt idx="5">
                  <c:v>0.1750255885363357</c:v>
                </c:pt>
                <c:pt idx="6">
                  <c:v>0.17391304347826086</c:v>
                </c:pt>
                <c:pt idx="7">
                  <c:v>0.17457578372159907</c:v>
                </c:pt>
                <c:pt idx="8">
                  <c:v>0.15165165165165165</c:v>
                </c:pt>
                <c:pt idx="9">
                  <c:v>0.15550239234449761</c:v>
                </c:pt>
                <c:pt idx="10">
                  <c:v>0.17184</c:v>
                </c:pt>
                <c:pt idx="11">
                  <c:v>0.18748730448913264</c:v>
                </c:pt>
                <c:pt idx="12">
                  <c:v>0.18795406608858684</c:v>
                </c:pt>
                <c:pt idx="13">
                  <c:v>0.19054878048780488</c:v>
                </c:pt>
                <c:pt idx="14">
                  <c:v>0.19881723458180794</c:v>
                </c:pt>
                <c:pt idx="15">
                  <c:v>0.18496192893401014</c:v>
                </c:pt>
                <c:pt idx="16">
                  <c:v>0.17261055634807418</c:v>
                </c:pt>
                <c:pt idx="17">
                  <c:v>0.14637904468412943</c:v>
                </c:pt>
                <c:pt idx="18">
                  <c:v>0.15252665739452945</c:v>
                </c:pt>
                <c:pt idx="19">
                  <c:v>0.1668811668811669</c:v>
                </c:pt>
                <c:pt idx="20">
                  <c:v>0.13712047012732614</c:v>
                </c:pt>
                <c:pt idx="21">
                  <c:v>0.12997746055597295</c:v>
                </c:pt>
                <c:pt idx="22">
                  <c:v>0.13636363636363635</c:v>
                </c:pt>
                <c:pt idx="23">
                  <c:v>0.13382157123834887</c:v>
                </c:pt>
                <c:pt idx="24">
                  <c:v>0.13094571908226077</c:v>
                </c:pt>
                <c:pt idx="25">
                  <c:v>0.14618520675596972</c:v>
                </c:pt>
                <c:pt idx="26">
                  <c:v>0.13408973697782361</c:v>
                </c:pt>
                <c:pt idx="27">
                  <c:v>0.13374125874125875</c:v>
                </c:pt>
                <c:pt idx="28">
                  <c:v>0.15889830508474576</c:v>
                </c:pt>
                <c:pt idx="29">
                  <c:v>0.1512217611802674</c:v>
                </c:pt>
                <c:pt idx="30">
                  <c:v>0.16268166901078293</c:v>
                </c:pt>
                <c:pt idx="31">
                  <c:v>0.17341040462427745</c:v>
                </c:pt>
                <c:pt idx="32">
                  <c:v>0.18431855500821018</c:v>
                </c:pt>
                <c:pt idx="33">
                  <c:v>0.1981981981981982</c:v>
                </c:pt>
                <c:pt idx="34">
                  <c:v>0.22345890410958905</c:v>
                </c:pt>
                <c:pt idx="35">
                  <c:v>0.2172096908939014</c:v>
                </c:pt>
                <c:pt idx="36">
                  <c:v>0.16542553191489362</c:v>
                </c:pt>
                <c:pt idx="37">
                  <c:v>0.152327221438646</c:v>
                </c:pt>
                <c:pt idx="38">
                  <c:v>0.16174261392088132</c:v>
                </c:pt>
                <c:pt idx="39">
                  <c:v>0.1857451403887689</c:v>
                </c:pt>
                <c:pt idx="40">
                  <c:v>0.1427402862985685</c:v>
                </c:pt>
                <c:pt idx="41">
                  <c:v>0.14615384615384616</c:v>
                </c:pt>
                <c:pt idx="42">
                  <c:v>0.1421232876712329</c:v>
                </c:pt>
                <c:pt idx="43">
                  <c:v>0.14624624624624624</c:v>
                </c:pt>
                <c:pt idx="44">
                  <c:v>0.13151927437641722</c:v>
                </c:pt>
                <c:pt idx="45">
                  <c:v>0.15673400673400673</c:v>
                </c:pt>
                <c:pt idx="46">
                  <c:v>0.1543099598034837</c:v>
                </c:pt>
                <c:pt idx="47">
                  <c:v>0.15733165512901195</c:v>
                </c:pt>
                <c:pt idx="48">
                  <c:v>0.14431673052362706</c:v>
                </c:pt>
                <c:pt idx="49">
                  <c:v>0.16005543045210463</c:v>
                </c:pt>
                <c:pt idx="50">
                  <c:v>0.19688776073281095</c:v>
                </c:pt>
                <c:pt idx="51">
                  <c:v>0.1819209039548022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87.5764019677173</c:v>
                </c:pt>
              </c:numCache>
            </c:numRef>
          </c:xVal>
          <c:yVal>
            <c:numRef>
              <c:f>Sheet1!$B$163:$B$164</c:f>
              <c:numCache>
                <c:formatCode>General</c:formatCode>
                <c:ptCount val="2"/>
                <c:pt idx="0">
                  <c:v>0.20373970523345042</c:v>
                </c:pt>
                <c:pt idx="1">
                  <c:v>0.2037397052334504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87.5764019677173</c:v>
                </c:pt>
                <c:pt idx="1">
                  <c:v>787.5764019677173</c:v>
                </c:pt>
              </c:numCache>
            </c:numRef>
          </c:xVal>
          <c:yVal>
            <c:numRef>
              <c:f>Sheet1!$B$167:$B$168</c:f>
              <c:numCache>
                <c:formatCode>General</c:formatCode>
                <c:ptCount val="2"/>
                <c:pt idx="0">
                  <c:v>0.203739705233450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6.552577382931</c:v>
                </c:pt>
              </c:numCache>
            </c:numRef>
          </c:xVal>
          <c:yVal>
            <c:numRef>
              <c:f>Sheet1!$B$171:$B$172</c:f>
              <c:numCache>
                <c:formatCode>General</c:formatCode>
                <c:ptCount val="2"/>
                <c:pt idx="0">
                  <c:v>0.1720809771383001</c:v>
                </c:pt>
                <c:pt idx="1">
                  <c:v>0.172080977138300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6.552577382931</c:v>
                </c:pt>
                <c:pt idx="1">
                  <c:v>1056.552577382931</c:v>
                </c:pt>
              </c:numCache>
            </c:numRef>
          </c:xVal>
          <c:yVal>
            <c:numRef>
              <c:f>Sheet1!$B$175:$B$176</c:f>
              <c:numCache>
                <c:formatCode>General</c:formatCode>
                <c:ptCount val="2"/>
                <c:pt idx="0">
                  <c:v>0.172080977138300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1.3593046480337</c:v>
                </c:pt>
              </c:numCache>
            </c:numRef>
          </c:xVal>
          <c:yVal>
            <c:numRef>
              <c:f>Sheet1!$B$179:$B$180</c:f>
              <c:numCache>
                <c:formatCode>General</c:formatCode>
                <c:ptCount val="2"/>
                <c:pt idx="0">
                  <c:v>0.1573911175742252</c:v>
                </c:pt>
                <c:pt idx="1">
                  <c:v>0.15739111757422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1.3593046480337</c:v>
                </c:pt>
                <c:pt idx="1">
                  <c:v>1181.3593046480337</c:v>
                </c:pt>
              </c:numCache>
            </c:numRef>
          </c:xVal>
          <c:yVal>
            <c:numRef>
              <c:f>Sheet1!$B$183:$B$184</c:f>
              <c:numCache>
                <c:formatCode>General</c:formatCode>
                <c:ptCount val="2"/>
                <c:pt idx="0">
                  <c:v>0.15739111757422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7.3812</c:v>
                </c:pt>
                <c:pt idx="1">
                  <c:v>1124.7058</c:v>
                </c:pt>
                <c:pt idx="2">
                  <c:v>1114.6934</c:v>
                </c:pt>
                <c:pt idx="3">
                  <c:v>1064.7039</c:v>
                </c:pt>
                <c:pt idx="4">
                  <c:v>1103.809</c:v>
                </c:pt>
                <c:pt idx="5">
                  <c:v>1113.864</c:v>
                </c:pt>
                <c:pt idx="6">
                  <c:v>1034.6803</c:v>
                </c:pt>
                <c:pt idx="7">
                  <c:v>1064.9193</c:v>
                </c:pt>
                <c:pt idx="8">
                  <c:v>1159.2797</c:v>
                </c:pt>
                <c:pt idx="9">
                  <c:v>1113.5275</c:v>
                </c:pt>
                <c:pt idx="10">
                  <c:v>1134.5587</c:v>
                </c:pt>
                <c:pt idx="11">
                  <c:v>997.7833</c:v>
                </c:pt>
                <c:pt idx="12">
                  <c:v>1039.9439</c:v>
                </c:pt>
                <c:pt idx="13">
                  <c:v>1072.1467</c:v>
                </c:pt>
                <c:pt idx="14">
                  <c:v>1071.3796</c:v>
                </c:pt>
                <c:pt idx="15">
                  <c:v>1152.3928</c:v>
                </c:pt>
                <c:pt idx="16">
                  <c:v>1185.8492</c:v>
                </c:pt>
                <c:pt idx="17">
                  <c:v>1157.15</c:v>
                </c:pt>
                <c:pt idx="18">
                  <c:v>1090.7964</c:v>
                </c:pt>
                <c:pt idx="19">
                  <c:v>1207.3779</c:v>
                </c:pt>
                <c:pt idx="20">
                  <c:v>1249.1464</c:v>
                </c:pt>
                <c:pt idx="21">
                  <c:v>1149.8266</c:v>
                </c:pt>
                <c:pt idx="22">
                  <c:v>1094.2804</c:v>
                </c:pt>
                <c:pt idx="23">
                  <c:v>1093.4677</c:v>
                </c:pt>
                <c:pt idx="24">
                  <c:v>1132.1026</c:v>
                </c:pt>
                <c:pt idx="25">
                  <c:v>1026.1195</c:v>
                </c:pt>
                <c:pt idx="26">
                  <c:v>1117.8154</c:v>
                </c:pt>
                <c:pt idx="27">
                  <c:v>1168.5</c:v>
                </c:pt>
                <c:pt idx="28">
                  <c:v>1114.2489</c:v>
                </c:pt>
                <c:pt idx="29">
                  <c:v>1103.8476</c:v>
                </c:pt>
                <c:pt idx="30">
                  <c:v>1132.755</c:v>
                </c:pt>
                <c:pt idx="31">
                  <c:v>1018.5139</c:v>
                </c:pt>
                <c:pt idx="32">
                  <c:v>1066.539</c:v>
                </c:pt>
                <c:pt idx="33">
                  <c:v>1094.6682</c:v>
                </c:pt>
                <c:pt idx="34">
                  <c:v>1159.9837</c:v>
                </c:pt>
                <c:pt idx="35">
                  <c:v>1184.5833</c:v>
                </c:pt>
                <c:pt idx="36">
                  <c:v>1164.7203</c:v>
                </c:pt>
                <c:pt idx="37">
                  <c:v>1136.0895</c:v>
                </c:pt>
                <c:pt idx="38">
                  <c:v>1150.9257</c:v>
                </c:pt>
                <c:pt idx="39">
                  <c:v>1176.0911</c:v>
                </c:pt>
                <c:pt idx="40">
                  <c:v>1221.3352</c:v>
                </c:pt>
                <c:pt idx="41">
                  <c:v>1296.6974</c:v>
                </c:pt>
                <c:pt idx="42">
                  <c:v>1243.6175</c:v>
                </c:pt>
                <c:pt idx="43">
                  <c:v>1266.3162</c:v>
                </c:pt>
                <c:pt idx="44">
                  <c:v>1199.182</c:v>
                </c:pt>
                <c:pt idx="45">
                  <c:v>1142.3373</c:v>
                </c:pt>
                <c:pt idx="46">
                  <c:v>1091.0724</c:v>
                </c:pt>
                <c:pt idx="47">
                  <c:v>1078.52</c:v>
                </c:pt>
                <c:pt idx="48">
                  <c:v>1095.598</c:v>
                </c:pt>
                <c:pt idx="49">
                  <c:v>1115.0325</c:v>
                </c:pt>
                <c:pt idx="50">
                  <c:v>1004.2982</c:v>
                </c:pt>
                <c:pt idx="51">
                  <c:v>977.3582</c:v>
                </c:pt>
                <c:pt idx="52">
                  <c:v>1056.552577382931</c:v>
                </c:pt>
                <c:pt idx="53">
                  <c:v>787.5764019677173</c:v>
                </c:pt>
                <c:pt idx="54">
                  <c:v>1181.3593046480337</c:v>
                </c:pt>
              </c:numCache>
            </c:numRef>
          </c:xVal>
          <c:yVal>
            <c:numRef>
              <c:f>Sheet1!$B$187:$B$241</c:f>
              <c:numCache>
                <c:formatCode>General</c:formatCode>
                <c:ptCount val="55"/>
                <c:pt idx="0">
                  <c:v>0.16374438709895428</c:v>
                </c:pt>
                <c:pt idx="1">
                  <c:v>0.16405928398904138</c:v>
                </c:pt>
                <c:pt idx="2">
                  <c:v>0.16523775211429656</c:v>
                </c:pt>
                <c:pt idx="3">
                  <c:v>0.17112155942797214</c:v>
                </c:pt>
                <c:pt idx="4">
                  <c:v>0.1665188553924844</c:v>
                </c:pt>
                <c:pt idx="5">
                  <c:v>0.165335373210446</c:v>
                </c:pt>
                <c:pt idx="6">
                  <c:v>0.17465536307199478</c:v>
                </c:pt>
                <c:pt idx="7">
                  <c:v>0.17109620666198397</c:v>
                </c:pt>
                <c:pt idx="8">
                  <c:v>0.15998990610604016</c:v>
                </c:pt>
                <c:pt idx="9">
                  <c:v>0.16537497955099859</c:v>
                </c:pt>
                <c:pt idx="10">
                  <c:v>0.1628995891515072</c:v>
                </c:pt>
                <c:pt idx="11">
                  <c:v>0.1789981718308879</c:v>
                </c:pt>
                <c:pt idx="12">
                  <c:v>0.1740358328071139</c:v>
                </c:pt>
                <c:pt idx="13">
                  <c:v>0.1702455354414505</c:v>
                </c:pt>
                <c:pt idx="14">
                  <c:v>0.17033582377380668</c:v>
                </c:pt>
                <c:pt idx="15">
                  <c:v>0.16080050018256728</c:v>
                </c:pt>
                <c:pt idx="16">
                  <c:v>0.15686265301447688</c:v>
                </c:pt>
                <c:pt idx="17">
                  <c:v>0.16024057363493993</c:v>
                </c:pt>
                <c:pt idx="18">
                  <c:v>0.1680504496482768</c:v>
                </c:pt>
                <c:pt idx="19">
                  <c:v>0.15432870643541674</c:v>
                </c:pt>
                <c:pt idx="20">
                  <c:v>0.14941251792020338</c:v>
                </c:pt>
                <c:pt idx="21">
                  <c:v>0.16110254413836508</c:v>
                </c:pt>
                <c:pt idx="22">
                  <c:v>0.16764037984000016</c:v>
                </c:pt>
                <c:pt idx="23">
                  <c:v>0.1677360353317299</c:v>
                </c:pt>
                <c:pt idx="24">
                  <c:v>0.16318867424223862</c:v>
                </c:pt>
                <c:pt idx="25">
                  <c:v>0.17566297662385894</c:v>
                </c:pt>
                <c:pt idx="26">
                  <c:v>0.16487029001859058</c:v>
                </c:pt>
                <c:pt idx="27">
                  <c:v>0.15890466883472754</c:v>
                </c:pt>
                <c:pt idx="28">
                  <c:v>0.16529007014810224</c:v>
                </c:pt>
                <c:pt idx="29">
                  <c:v>0.16651431213915505</c:v>
                </c:pt>
                <c:pt idx="30">
                  <c:v>0.16311188619892067</c:v>
                </c:pt>
                <c:pt idx="31">
                  <c:v>0.17655816231095106</c:v>
                </c:pt>
                <c:pt idx="32">
                  <c:v>0.17090556657344616</c:v>
                </c:pt>
                <c:pt idx="33">
                  <c:v>0.16759473544515235</c:v>
                </c:pt>
                <c:pt idx="34">
                  <c:v>0.15990704469816797</c:v>
                </c:pt>
                <c:pt idx="35">
                  <c:v>0.15701165053752436</c:v>
                </c:pt>
                <c:pt idx="36">
                  <c:v>0.1593495427883278</c:v>
                </c:pt>
                <c:pt idx="37">
                  <c:v>0.16271941266973053</c:v>
                </c:pt>
                <c:pt idx="38">
                  <c:v>0.1609731791193419</c:v>
                </c:pt>
                <c:pt idx="39">
                  <c:v>0.15801118981015552</c:v>
                </c:pt>
                <c:pt idx="40">
                  <c:v>0.15268592017391855</c:v>
                </c:pt>
                <c:pt idx="41">
                  <c:v>0.14381572416206245</c:v>
                </c:pt>
                <c:pt idx="42">
                  <c:v>0.15006327422415883</c:v>
                </c:pt>
                <c:pt idx="43">
                  <c:v>0.14739161763485653</c:v>
                </c:pt>
                <c:pt idx="44">
                  <c:v>0.15529337094220624</c:v>
                </c:pt>
                <c:pt idx="45">
                  <c:v>0.16198404121503743</c:v>
                </c:pt>
                <c:pt idx="46">
                  <c:v>0.16801796420996326</c:v>
                </c:pt>
                <c:pt idx="47">
                  <c:v>0.16949539252839377</c:v>
                </c:pt>
                <c:pt idx="48">
                  <c:v>0.16748529718231206</c:v>
                </c:pt>
                <c:pt idx="49">
                  <c:v>0.16519783975149904</c:v>
                </c:pt>
                <c:pt idx="50">
                  <c:v>0.17823136247556598</c:v>
                </c:pt>
                <c:pt idx="51">
                  <c:v>0.1814022237370393</c:v>
                </c:pt>
                <c:pt idx="52">
                  <c:v>0.1720809771383001</c:v>
                </c:pt>
                <c:pt idx="53">
                  <c:v>0.20373970523345042</c:v>
                </c:pt>
                <c:pt idx="54">
                  <c:v>0.15739111757422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6.0"/>
          <c:min val="42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244063231020064"/>
          <c:min val="0.094216614090431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63.4348818736203</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63.4348818736203</c:v>
                </c:pt>
                <c:pt idx="1">
                  <c:v>3663.4348818736203</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63.4348818736203</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63.4348818736203</c:v>
                </c:pt>
                <c:pt idx="1">
                  <c:v>3663.4348818736203</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8.169214130703</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8.169214130703</c:v>
                </c:pt>
                <c:pt idx="1">
                  <c:v>5068.169214130703</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63.4348818736203</c:v>
                </c:pt>
                <c:pt idx="53">
                  <c:v>3663.4348818736203</c:v>
                </c:pt>
                <c:pt idx="54">
                  <c:v>5068.169214130703</c:v>
                </c:pt>
              </c:numCache>
            </c:numRef>
          </c:xVal>
          <c:yVal>
            <c:numRef>
              <c:f>Sheet1!$B$135:$B$189</c:f>
              <c:numCache>
                <c:formatCode>General</c:formatCode>
                <c:ptCount val="55"/>
                <c:pt idx="0">
                  <c:v>0.002301642794404285</c:v>
                </c:pt>
                <c:pt idx="1">
                  <c:v>0.005831733428268463</c:v>
                </c:pt>
                <c:pt idx="2">
                  <c:v>0.004488292971576874</c:v>
                </c:pt>
                <c:pt idx="3">
                  <c:v>0.005487450708123561</c:v>
                </c:pt>
                <c:pt idx="4">
                  <c:v>0.00392226600693266</c:v>
                </c:pt>
                <c:pt idx="5">
                  <c:v>0.004150414216303248</c:v>
                </c:pt>
                <c:pt idx="6">
                  <c:v>0.005118712192808326</c:v>
                </c:pt>
                <c:pt idx="7">
                  <c:v>0.005026643670646966</c:v>
                </c:pt>
                <c:pt idx="8">
                  <c:v>0.005495942922409385</c:v>
                </c:pt>
                <c:pt idx="9">
                  <c:v>0.00589201422803504</c:v>
                </c:pt>
                <c:pt idx="10">
                  <c:v>0.005435580151892456</c:v>
                </c:pt>
                <c:pt idx="11">
                  <c:v>0.005990675604188053</c:v>
                </c:pt>
                <c:pt idx="12">
                  <c:v>0.0063948646870578395</c:v>
                </c:pt>
                <c:pt idx="13">
                  <c:v>0.006938387116784671</c:v>
                </c:pt>
                <c:pt idx="14">
                  <c:v>0.006747536935304018</c:v>
                </c:pt>
                <c:pt idx="15">
                  <c:v>0.005297559228027465</c:v>
                </c:pt>
                <c:pt idx="16">
                  <c:v>0.006388460722186564</c:v>
                </c:pt>
                <c:pt idx="17">
                  <c:v>0.005999006772679026</c:v>
                </c:pt>
                <c:pt idx="18">
                  <c:v>0.003749470328710319</c:v>
                </c:pt>
                <c:pt idx="19">
                  <c:v>0.0061185969742711815</c:v>
                </c:pt>
                <c:pt idx="20">
                  <c:v>0.0038379192185531326</c:v>
                </c:pt>
                <c:pt idx="21">
                  <c:v>0.004977391946241654</c:v>
                </c:pt>
                <c:pt idx="22">
                  <c:v>0.006534390709727533</c:v>
                </c:pt>
                <c:pt idx="23">
                  <c:v>0.006216945836938477</c:v>
                </c:pt>
                <c:pt idx="24">
                  <c:v>0.005399237929681222</c:v>
                </c:pt>
                <c:pt idx="25">
                  <c:v>0.007498202792370257</c:v>
                </c:pt>
                <c:pt idx="26">
                  <c:v>0.006561367773711016</c:v>
                </c:pt>
                <c:pt idx="27">
                  <c:v>0.005081402136601762</c:v>
                </c:pt>
                <c:pt idx="28">
                  <c:v>0.005160662951767174</c:v>
                </c:pt>
                <c:pt idx="29">
                  <c:v>0.00648823271290821</c:v>
                </c:pt>
                <c:pt idx="30">
                  <c:v>0.004100512740053432</c:v>
                </c:pt>
                <c:pt idx="31">
                  <c:v>0.004003224373968821</c:v>
                </c:pt>
                <c:pt idx="32">
                  <c:v>0.004055282928333886</c:v>
                </c:pt>
                <c:pt idx="33">
                  <c:v>0.0035246633184030044</c:v>
                </c:pt>
                <c:pt idx="34">
                  <c:v>0.004529062059800344</c:v>
                </c:pt>
                <c:pt idx="35">
                  <c:v>0.005427930142517183</c:v>
                </c:pt>
                <c:pt idx="36">
                  <c:v>0.004531255222865479</c:v>
                </c:pt>
                <c:pt idx="37">
                  <c:v>0.004110932380705555</c:v>
                </c:pt>
                <c:pt idx="38">
                  <c:v>0.0059064927573092285</c:v>
                </c:pt>
                <c:pt idx="39">
                  <c:v>0.005016534316014518</c:v>
                </c:pt>
                <c:pt idx="40">
                  <c:v>0.003581018209270233</c:v>
                </c:pt>
                <c:pt idx="41">
                  <c:v>0.0040398762139599205</c:v>
                </c:pt>
                <c:pt idx="42">
                  <c:v>0.00420108906876291</c:v>
                </c:pt>
                <c:pt idx="43">
                  <c:v>0.00438335147766453</c:v>
                </c:pt>
                <c:pt idx="44">
                  <c:v>0.005108374522906554</c:v>
                </c:pt>
                <c:pt idx="45">
                  <c:v>0.004734845619120999</c:v>
                </c:pt>
                <c:pt idx="46">
                  <c:v>0.00505801374315884</c:v>
                </c:pt>
                <c:pt idx="47">
                  <c:v>0.005685116935693294</c:v>
                </c:pt>
                <c:pt idx="48">
                  <c:v>0.00612044666207261</c:v>
                </c:pt>
                <c:pt idx="49">
                  <c:v>0.005546896208124319</c:v>
                </c:pt>
                <c:pt idx="50">
                  <c:v>0.004443913829138838</c:v>
                </c:pt>
                <c:pt idx="51">
                  <c:v>0.004362516205799159</c:v>
                </c:pt>
                <c:pt idx="52">
                  <c:v>0.006524759632430238</c:v>
                </c:pt>
                <c:pt idx="53">
                  <c:v>0.006524759632430238</c:v>
                </c:pt>
                <c:pt idx="54">
                  <c:v>0.00339576160903905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5.543953136333936</c:v>
                </c:pt>
                <c:pt idx="8">
                  <c:v>4.805875953074229</c:v>
                </c:pt>
                <c:pt idx="9">
                  <c:v>5.45176603425518</c:v>
                </c:pt>
                <c:pt idx="10">
                  <c:v>5.338528533104007</c:v>
                </c:pt>
                <c:pt idx="11">
                  <c:v>4.066101335548596</c:v>
                </c:pt>
                <c:pt idx="12">
                  <c:v>5.3754977495145635</c:v>
                </c:pt>
                <c:pt idx="13">
                  <c:v>4.024322898940597</c:v>
                </c:pt>
                <c:pt idx="14">
                  <c:v>3.163896628312564</c:v>
                </c:pt>
                <c:pt idx="15">
                  <c:v>2.9251475345538203</c:v>
                </c:pt>
                <c:pt idx="16">
                  <c:v>3.120649174387828</c:v>
                </c:pt>
                <c:pt idx="17">
                  <c:v>3.6519798577850513</c:v>
                </c:pt>
                <c:pt idx="18">
                  <c:v>4.110152075626798</c:v>
                </c:pt>
                <c:pt idx="19">
                  <c:v>2.4496723700871246</c:v>
                </c:pt>
                <c:pt idx="20">
                  <c:v>3.5668132523561793</c:v>
                </c:pt>
                <c:pt idx="21">
                  <c:v>1.043387673429684</c:v>
                </c:pt>
                <c:pt idx="22">
                  <c:v>3.5250851488493598</c:v>
                </c:pt>
                <c:pt idx="23">
                  <c:v>4.80692209358869</c:v>
                </c:pt>
                <c:pt idx="24">
                  <c:v>6.51082209419427</c:v>
                </c:pt>
                <c:pt idx="25">
                  <c:v>6.008748413970609</c:v>
                </c:pt>
                <c:pt idx="26">
                  <c:v>5.744420672367309</c:v>
                </c:pt>
                <c:pt idx="27">
                  <c:v>6.405324331287966</c:v>
                </c:pt>
                <c:pt idx="28">
                  <c:v>6.601948629196361</c:v>
                </c:pt>
                <c:pt idx="29">
                  <c:v>5.365742422491383</c:v>
                </c:pt>
                <c:pt idx="30">
                  <c:v>6.51326112127241</c:v>
                </c:pt>
                <c:pt idx="31">
                  <c:v>6.212433532540343</c:v>
                </c:pt>
                <c:pt idx="32">
                  <c:v>7.467734108435522</c:v>
                </c:pt>
                <c:pt idx="33">
                  <c:v>5.977513275956785</c:v>
                </c:pt>
                <c:pt idx="34">
                  <c:v>7.333012523287227</c:v>
                </c:pt>
                <c:pt idx="35">
                  <c:v>7.712122892922026</c:v>
                </c:pt>
                <c:pt idx="36">
                  <c:v>6.701239970695661</c:v>
                </c:pt>
                <c:pt idx="37">
                  <c:v>7.051369457238115</c:v>
                </c:pt>
                <c:pt idx="38">
                  <c:v>6.610548245280792</c:v>
                </c:pt>
                <c:pt idx="39">
                  <c:v>7.716736816068895</c:v>
                </c:pt>
                <c:pt idx="40">
                  <c:v>8.420497802197803</c:v>
                </c:pt>
                <c:pt idx="41">
                  <c:v>7.146654581116823</c:v>
                </c:pt>
                <c:pt idx="42">
                  <c:v>10.073645238277981</c:v>
                </c:pt>
                <c:pt idx="43">
                  <c:v>7.516249873813665</c:v>
                </c:pt>
                <c:pt idx="44">
                  <c:v>6.493251754147354</c:v>
                </c:pt>
                <c:pt idx="45">
                  <c:v>6.822390965800765</c:v>
                </c:pt>
                <c:pt idx="46">
                  <c:v>6.374388052733053</c:v>
                </c:pt>
                <c:pt idx="47">
                  <c:v>5.995995081447856</c:v>
                </c:pt>
                <c:pt idx="48">
                  <c:v>6.55764647959494</c:v>
                </c:pt>
                <c:pt idx="49">
                  <c:v>6.5182491154381275</c:v>
                </c:pt>
                <c:pt idx="50">
                  <c:v>5.73897136</c:v>
                </c:pt>
                <c:pt idx="51">
                  <c:v>7.01039915175146</c:v>
                </c:pt>
                <c:pt idx="52">
                  <c:v>6.893354211681961</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8.889653657184029</c:v>
                </c:pt>
                <c:pt idx="1">
                  <c:v>6.354129263770314</c:v>
                </c:pt>
                <c:pt idx="2">
                  <c:v>7.342149058046073</c:v>
                </c:pt>
                <c:pt idx="3">
                  <c:v>6.628683591960287</c:v>
                </c:pt>
                <c:pt idx="4">
                  <c:v>7.732826197697436</c:v>
                </c:pt>
                <c:pt idx="5">
                  <c:v>7.57433680560338</c:v>
                </c:pt>
                <c:pt idx="6">
                  <c:v>6.957880252959232</c:v>
                </c:pt>
                <c:pt idx="7">
                  <c:v>6.9766154662039614</c:v>
                </c:pt>
                <c:pt idx="8">
                  <c:v>6.611482465753512</c:v>
                </c:pt>
                <c:pt idx="9">
                  <c:v>6.3145683610611805</c:v>
                </c:pt>
                <c:pt idx="10">
                  <c:v>6.650468914063066</c:v>
                </c:pt>
                <c:pt idx="11">
                  <c:v>6.315758397749684</c:v>
                </c:pt>
                <c:pt idx="12">
                  <c:v>5.982511952566199</c:v>
                </c:pt>
                <c:pt idx="13">
                  <c:v>5.598142366320301</c:v>
                </c:pt>
                <c:pt idx="14">
                  <c:v>5.750918779445162</c:v>
                </c:pt>
                <c:pt idx="15">
                  <c:v>6.798828717994385</c:v>
                </c:pt>
                <c:pt idx="16">
                  <c:v>5.9905508644953755</c:v>
                </c:pt>
                <c:pt idx="17">
                  <c:v>6.282752034842786</c:v>
                </c:pt>
                <c:pt idx="18">
                  <c:v>7.887682771316606</c:v>
                </c:pt>
                <c:pt idx="19">
                  <c:v>6.1669063977573355</c:v>
                </c:pt>
                <c:pt idx="20">
                  <c:v>7.738361748201264</c:v>
                </c:pt>
                <c:pt idx="21">
                  <c:v>6.974474203185036</c:v>
                </c:pt>
                <c:pt idx="22">
                  <c:v>5.913859231150529</c:v>
                </c:pt>
                <c:pt idx="23">
                  <c:v>6.097688119482849</c:v>
                </c:pt>
                <c:pt idx="24">
                  <c:v>6.684257295801341</c:v>
                </c:pt>
                <c:pt idx="25">
                  <c:v>5.185415243312587</c:v>
                </c:pt>
                <c:pt idx="26">
                  <c:v>5.852074574075839</c:v>
                </c:pt>
                <c:pt idx="27">
                  <c:v>6.904026334929651</c:v>
                </c:pt>
                <c:pt idx="28">
                  <c:v>6.851663395868684</c:v>
                </c:pt>
                <c:pt idx="29">
                  <c:v>5.914970536325672</c:v>
                </c:pt>
                <c:pt idx="30">
                  <c:v>7.642818253743459</c:v>
                </c:pt>
                <c:pt idx="31">
                  <c:v>7.658415153760652</c:v>
                </c:pt>
                <c:pt idx="32">
                  <c:v>7.683382078164007</c:v>
                </c:pt>
                <c:pt idx="33">
                  <c:v>7.9842657234004815</c:v>
                </c:pt>
                <c:pt idx="34">
                  <c:v>7.321155986719943</c:v>
                </c:pt>
                <c:pt idx="35">
                  <c:v>6.689996989711898</c:v>
                </c:pt>
                <c:pt idx="36">
                  <c:v>7.349970089955868</c:v>
                </c:pt>
                <c:pt idx="37">
                  <c:v>7.625246084493722</c:v>
                </c:pt>
                <c:pt idx="38">
                  <c:v>6.475575037964517</c:v>
                </c:pt>
                <c:pt idx="39">
                  <c:v>7.007229304278141</c:v>
                </c:pt>
                <c:pt idx="40">
                  <c:v>7.9749371003832605</c:v>
                </c:pt>
                <c:pt idx="41">
                  <c:v>7.637071775051081</c:v>
                </c:pt>
                <c:pt idx="42">
                  <c:v>7.557562966243407</c:v>
                </c:pt>
                <c:pt idx="43">
                  <c:v>7.437226690200946</c:v>
                </c:pt>
                <c:pt idx="44">
                  <c:v>6.953764897403322</c:v>
                </c:pt>
                <c:pt idx="45">
                  <c:v>7.23249015267403</c:v>
                </c:pt>
                <c:pt idx="46">
                  <c:v>6.961661958890288</c:v>
                </c:pt>
                <c:pt idx="47">
                  <c:v>6.5590307714260625</c:v>
                </c:pt>
                <c:pt idx="48">
                  <c:v>6.226358178380719</c:v>
                </c:pt>
                <c:pt idx="49">
                  <c:v>6.561226169111564</c:v>
                </c:pt>
                <c:pt idx="50">
                  <c:v>7.368803763119881</c:v>
                </c:pt>
                <c:pt idx="51">
                  <c:v>7.435465383072604</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5.913878732193114</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5.913878732193114</c:v>
                </c:pt>
                <c:pt idx="1">
                  <c:v>5.913878732193114</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5.913878732193114</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5.913878732193114</c:v>
                </c:pt>
                <c:pt idx="1">
                  <c:v>5.913878732193114</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8.110497017307729</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8.110497017307729</c:v>
                </c:pt>
                <c:pt idx="1">
                  <c:v>8.110497017307729</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8.889653657184029</c:v>
                </c:pt>
                <c:pt idx="1">
                  <c:v>6.354129263770314</c:v>
                </c:pt>
                <c:pt idx="2">
                  <c:v>7.342149058046073</c:v>
                </c:pt>
                <c:pt idx="3">
                  <c:v>6.628683591960287</c:v>
                </c:pt>
                <c:pt idx="4">
                  <c:v>7.732826197697436</c:v>
                </c:pt>
                <c:pt idx="5">
                  <c:v>7.57433680560338</c:v>
                </c:pt>
                <c:pt idx="6">
                  <c:v>6.957880252959232</c:v>
                </c:pt>
                <c:pt idx="7">
                  <c:v>6.9766154662039614</c:v>
                </c:pt>
                <c:pt idx="8">
                  <c:v>6.611482465753512</c:v>
                </c:pt>
                <c:pt idx="9">
                  <c:v>6.3145683610611805</c:v>
                </c:pt>
                <c:pt idx="10">
                  <c:v>6.650468914063066</c:v>
                </c:pt>
                <c:pt idx="11">
                  <c:v>6.315758397749684</c:v>
                </c:pt>
                <c:pt idx="12">
                  <c:v>5.982511952566199</c:v>
                </c:pt>
                <c:pt idx="13">
                  <c:v>5.598142366320301</c:v>
                </c:pt>
                <c:pt idx="14">
                  <c:v>5.750918779445162</c:v>
                </c:pt>
                <c:pt idx="15">
                  <c:v>6.798828717994385</c:v>
                </c:pt>
                <c:pt idx="16">
                  <c:v>5.9905508644953755</c:v>
                </c:pt>
                <c:pt idx="17">
                  <c:v>6.282752034842786</c:v>
                </c:pt>
                <c:pt idx="18">
                  <c:v>7.887682771316606</c:v>
                </c:pt>
                <c:pt idx="19">
                  <c:v>6.1669063977573355</c:v>
                </c:pt>
                <c:pt idx="20">
                  <c:v>7.738361748201264</c:v>
                </c:pt>
                <c:pt idx="21">
                  <c:v>6.974474203185036</c:v>
                </c:pt>
                <c:pt idx="22">
                  <c:v>5.913859231150529</c:v>
                </c:pt>
                <c:pt idx="23">
                  <c:v>6.097688119482849</c:v>
                </c:pt>
                <c:pt idx="24">
                  <c:v>6.684257295801341</c:v>
                </c:pt>
                <c:pt idx="25">
                  <c:v>5.185415243312587</c:v>
                </c:pt>
                <c:pt idx="26">
                  <c:v>5.852074574075839</c:v>
                </c:pt>
                <c:pt idx="27">
                  <c:v>6.904026334929651</c:v>
                </c:pt>
                <c:pt idx="28">
                  <c:v>6.851663395868684</c:v>
                </c:pt>
                <c:pt idx="29">
                  <c:v>5.914970536325672</c:v>
                </c:pt>
                <c:pt idx="30">
                  <c:v>7.642818253743459</c:v>
                </c:pt>
                <c:pt idx="31">
                  <c:v>7.658415153760652</c:v>
                </c:pt>
                <c:pt idx="32">
                  <c:v>7.683382078164007</c:v>
                </c:pt>
                <c:pt idx="33">
                  <c:v>7.9842657234004815</c:v>
                </c:pt>
                <c:pt idx="34">
                  <c:v>7.321155986719943</c:v>
                </c:pt>
                <c:pt idx="35">
                  <c:v>6.689996989711898</c:v>
                </c:pt>
                <c:pt idx="36">
                  <c:v>7.349970089955868</c:v>
                </c:pt>
                <c:pt idx="37">
                  <c:v>7.625246084493722</c:v>
                </c:pt>
                <c:pt idx="38">
                  <c:v>6.475575037964517</c:v>
                </c:pt>
                <c:pt idx="39">
                  <c:v>7.007229304278141</c:v>
                </c:pt>
                <c:pt idx="40">
                  <c:v>7.9749371003832605</c:v>
                </c:pt>
                <c:pt idx="41">
                  <c:v>7.637071775051081</c:v>
                </c:pt>
                <c:pt idx="42">
                  <c:v>7.557562966243407</c:v>
                </c:pt>
                <c:pt idx="43">
                  <c:v>7.437226690200946</c:v>
                </c:pt>
                <c:pt idx="44">
                  <c:v>6.953764897403322</c:v>
                </c:pt>
                <c:pt idx="45">
                  <c:v>7.23249015267403</c:v>
                </c:pt>
                <c:pt idx="46">
                  <c:v>6.961661958890288</c:v>
                </c:pt>
                <c:pt idx="47">
                  <c:v>6.5590307714260625</c:v>
                </c:pt>
                <c:pt idx="48">
                  <c:v>6.226358178380719</c:v>
                </c:pt>
                <c:pt idx="49">
                  <c:v>6.561226169111564</c:v>
                </c:pt>
                <c:pt idx="50">
                  <c:v>7.368803763119881</c:v>
                </c:pt>
                <c:pt idx="51">
                  <c:v>7.435465383072604</c:v>
                </c:pt>
                <c:pt idx="52">
                  <c:v>5.913878732193114</c:v>
                </c:pt>
                <c:pt idx="53">
                  <c:v>5.913878732193114</c:v>
                </c:pt>
                <c:pt idx="54">
                  <c:v>8.110497017307729</c:v>
                </c:pt>
              </c:numCache>
            </c:numRef>
          </c:xVal>
          <c:yVal>
            <c:numRef>
              <c:f>Sheet1!$B$135:$B$189</c:f>
              <c:numCache>
                <c:formatCode>General</c:formatCode>
                <c:ptCount val="55"/>
                <c:pt idx="0">
                  <c:v>0.0022858830276733036</c:v>
                </c:pt>
                <c:pt idx="1">
                  <c:v>0.005897639730699062</c:v>
                </c:pt>
                <c:pt idx="2">
                  <c:v>0.004490243641760965</c:v>
                </c:pt>
                <c:pt idx="3">
                  <c:v>0.005506547679776298</c:v>
                </c:pt>
                <c:pt idx="4">
                  <c:v>0.003933739124778192</c:v>
                </c:pt>
                <c:pt idx="5">
                  <c:v>0.004159501150866805</c:v>
                </c:pt>
                <c:pt idx="6">
                  <c:v>0.005037619733326589</c:v>
                </c:pt>
                <c:pt idx="7">
                  <c:v>0.005010932144678244</c:v>
                </c:pt>
                <c:pt idx="8">
                  <c:v>0.005531050020608944</c:v>
                </c:pt>
                <c:pt idx="9">
                  <c:v>0.0059539927107408325</c:v>
                </c:pt>
                <c:pt idx="10">
                  <c:v>0.005475515328702621</c:v>
                </c:pt>
                <c:pt idx="11">
                  <c:v>0.005952297549377877</c:v>
                </c:pt>
                <c:pt idx="12">
                  <c:v>0.006426994257197942</c:v>
                </c:pt>
                <c:pt idx="13">
                  <c:v>0.006974513907637503</c:v>
                </c:pt>
                <c:pt idx="14">
                  <c:v>0.006756889799740422</c:v>
                </c:pt>
                <c:pt idx="15">
                  <c:v>0.0052641825102527455</c:v>
                </c:pt>
                <c:pt idx="16">
                  <c:v>0.006415543137216347</c:v>
                </c:pt>
                <c:pt idx="17">
                  <c:v>0.00599931384028052</c:v>
                </c:pt>
                <c:pt idx="18">
                  <c:v>0.0037131519084889347</c:v>
                </c:pt>
                <c:pt idx="19">
                  <c:v>0.006164331482132643</c:v>
                </c:pt>
                <c:pt idx="20">
                  <c:v>0.003925853946592143</c:v>
                </c:pt>
                <c:pt idx="21">
                  <c:v>0.005013982291260008</c:v>
                </c:pt>
                <c:pt idx="22">
                  <c:v>0.006524787410913243</c:v>
                </c:pt>
                <c:pt idx="23">
                  <c:v>0.006262930249779752</c:v>
                </c:pt>
                <c:pt idx="24">
                  <c:v>0.005427385082137212</c:v>
                </c:pt>
                <c:pt idx="25">
                  <c:v>0.007562427775441661</c:v>
                </c:pt>
                <c:pt idx="26">
                  <c:v>0.006612797271876646</c:v>
                </c:pt>
                <c:pt idx="27">
                  <c:v>0.005114332562409516</c:v>
                </c:pt>
                <c:pt idx="28">
                  <c:v>0.005188921549458839</c:v>
                </c:pt>
                <c:pt idx="29">
                  <c:v>0.006523204399554387</c:v>
                </c:pt>
                <c:pt idx="30">
                  <c:v>0.004061951969326558</c:v>
                </c:pt>
                <c:pt idx="31">
                  <c:v>0.00403973478682583</c:v>
                </c:pt>
                <c:pt idx="32">
                  <c:v>0.004004170365989655</c:v>
                </c:pt>
                <c:pt idx="33">
                  <c:v>0.003575573218458151</c:v>
                </c:pt>
                <c:pt idx="34">
                  <c:v>0.004520147462160486</c:v>
                </c:pt>
                <c:pt idx="35">
                  <c:v>0.0054192091095421075</c:v>
                </c:pt>
                <c:pt idx="36">
                  <c:v>0.004479102883463331</c:v>
                </c:pt>
                <c:pt idx="37">
                  <c:v>0.004086982846662741</c:v>
                </c:pt>
                <c:pt idx="38">
                  <c:v>0.005724644909533288</c:v>
                </c:pt>
                <c:pt idx="39">
                  <c:v>0.004967323913119921</c:v>
                </c:pt>
                <c:pt idx="40">
                  <c:v>0.0035888614821403975</c:v>
                </c:pt>
                <c:pt idx="41">
                  <c:v>0.004070137606581677</c:v>
                </c:pt>
                <c:pt idx="42">
                  <c:v>0.004183394838066673</c:v>
                </c:pt>
                <c:pt idx="43">
                  <c:v>0.004354809221908729</c:v>
                </c:pt>
                <c:pt idx="44">
                  <c:v>0.0050434818985863675</c:v>
                </c:pt>
                <c:pt idx="45">
                  <c:v>0.0046464485229101085</c:v>
                </c:pt>
                <c:pt idx="46">
                  <c:v>0.00503223283908852</c:v>
                </c:pt>
                <c:pt idx="47">
                  <c:v>0.005605765436112074</c:v>
                </c:pt>
                <c:pt idx="48">
                  <c:v>0.006079644713694881</c:v>
                </c:pt>
                <c:pt idx="49">
                  <c:v>0.005602638176785751</c:v>
                </c:pt>
                <c:pt idx="50">
                  <c:v>0.004452275042457574</c:v>
                </c:pt>
                <c:pt idx="51">
                  <c:v>0.0043573181359792875</c:v>
                </c:pt>
                <c:pt idx="52">
                  <c:v>0.006524759632430238</c:v>
                </c:pt>
                <c:pt idx="53">
                  <c:v>0.006524759632430238</c:v>
                </c:pt>
                <c:pt idx="54">
                  <c:v>0.0033957616090390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3035.0</c:v>
                </c:pt>
                <c:pt idx="8">
                  <c:v>2306.25</c:v>
                </c:pt>
                <c:pt idx="9">
                  <c:v>2742.5</c:v>
                </c:pt>
                <c:pt idx="10">
                  <c:v>2757.5</c:v>
                </c:pt>
                <c:pt idx="11">
                  <c:v>2245.6667</c:v>
                </c:pt>
                <c:pt idx="12">
                  <c:v>2865.0</c:v>
                </c:pt>
                <c:pt idx="13">
                  <c:v>2074.0</c:v>
                </c:pt>
                <c:pt idx="14">
                  <c:v>1772.5</c:v>
                </c:pt>
                <c:pt idx="15">
                  <c:v>1775.0</c:v>
                </c:pt>
                <c:pt idx="16">
                  <c:v>1887.5</c:v>
                </c:pt>
                <c:pt idx="17">
                  <c:v>2185.0</c:v>
                </c:pt>
                <c:pt idx="18">
                  <c:v>2500.0</c:v>
                </c:pt>
                <c:pt idx="19">
                  <c:v>1557.0</c:v>
                </c:pt>
                <c:pt idx="20">
                  <c:v>2260.5</c:v>
                </c:pt>
                <c:pt idx="21">
                  <c:v>671.25</c:v>
                </c:pt>
                <c:pt idx="22">
                  <c:v>2237.0</c:v>
                </c:pt>
                <c:pt idx="23">
                  <c:v>3057.5</c:v>
                </c:pt>
                <c:pt idx="24">
                  <c:v>4140.25</c:v>
                </c:pt>
                <c:pt idx="25">
                  <c:v>3920.2</c:v>
                </c:pt>
                <c:pt idx="26">
                  <c:v>3866.6</c:v>
                </c:pt>
                <c:pt idx="27">
                  <c:v>4318.2</c:v>
                </c:pt>
                <c:pt idx="28">
                  <c:v>4470.8</c:v>
                </c:pt>
                <c:pt idx="29">
                  <c:v>3630.75</c:v>
                </c:pt>
                <c:pt idx="30">
                  <c:v>4423.1667</c:v>
                </c:pt>
                <c:pt idx="31">
                  <c:v>4186.8</c:v>
                </c:pt>
                <c:pt idx="32">
                  <c:v>5049.0</c:v>
                </c:pt>
                <c:pt idx="33">
                  <c:v>4080.4</c:v>
                </c:pt>
                <c:pt idx="34">
                  <c:v>4953.2857</c:v>
                </c:pt>
                <c:pt idx="35">
                  <c:v>5221.0</c:v>
                </c:pt>
                <c:pt idx="36">
                  <c:v>4562.5714</c:v>
                </c:pt>
                <c:pt idx="37">
                  <c:v>4808.5714</c:v>
                </c:pt>
                <c:pt idx="38">
                  <c:v>4524.2222</c:v>
                </c:pt>
                <c:pt idx="39">
                  <c:v>5281.8571</c:v>
                </c:pt>
                <c:pt idx="40">
                  <c:v>5363.8571</c:v>
                </c:pt>
                <c:pt idx="41">
                  <c:v>4809.5556</c:v>
                </c:pt>
                <c:pt idx="42">
                  <c:v>6890.6</c:v>
                </c:pt>
                <c:pt idx="43">
                  <c:v>5137.4545</c:v>
                </c:pt>
                <c:pt idx="44">
                  <c:v>4420.8889</c:v>
                </c:pt>
                <c:pt idx="45">
                  <c:v>4641.963</c:v>
                </c:pt>
                <c:pt idx="46">
                  <c:v>4079.5172</c:v>
                </c:pt>
                <c:pt idx="47">
                  <c:v>3732.2647</c:v>
                </c:pt>
                <c:pt idx="48">
                  <c:v>4118.3056</c:v>
                </c:pt>
                <c:pt idx="49">
                  <c:v>4068.3704</c:v>
                </c:pt>
                <c:pt idx="50">
                  <c:v>3586.8571</c:v>
                </c:pt>
                <c:pt idx="51">
                  <c:v>4392.7778</c:v>
                </c:pt>
                <c:pt idx="52">
                  <c:v>4334.0</c:v>
                </c:pt>
              </c:numCache>
            </c:numRef>
          </c:xVal>
          <c:yVal>
            <c:numRef>
              <c:f>Sheet1!$B$2:$B$54</c:f>
              <c:numCache>
                <c:formatCode>General</c:formatCode>
                <c:ptCount val="53"/>
                <c:pt idx="0">
                  <c:v>0.0</c:v>
                </c:pt>
                <c:pt idx="1">
                  <c:v>0.0</c:v>
                </c:pt>
                <c:pt idx="2">
                  <c:v>0.0</c:v>
                </c:pt>
                <c:pt idx="3">
                  <c:v>0.0</c:v>
                </c:pt>
                <c:pt idx="4">
                  <c:v>0.0</c:v>
                </c:pt>
                <c:pt idx="5">
                  <c:v>0.0</c:v>
                </c:pt>
                <c:pt idx="6">
                  <c:v>0.0</c:v>
                </c:pt>
                <c:pt idx="7">
                  <c:v>0.0001282051282051282</c:v>
                </c:pt>
                <c:pt idx="8">
                  <c:v>0.0005841121495327102</c:v>
                </c:pt>
                <c:pt idx="9">
                  <c:v>0.0005425935973955507</c:v>
                </c:pt>
                <c:pt idx="10">
                  <c:v>0.0004610419548178884</c:v>
                </c:pt>
                <c:pt idx="11">
                  <c:v>0.0007014262333411269</c:v>
                </c:pt>
                <c:pt idx="12">
                  <c:v>0.00048649963512527365</c:v>
                </c:pt>
                <c:pt idx="13">
                  <c:v>0.0005234231876472127</c:v>
                </c:pt>
                <c:pt idx="14">
                  <c:v>0.0005319148936170213</c:v>
                </c:pt>
                <c:pt idx="15">
                  <c:v>0.0005263157894736842</c:v>
                </c:pt>
                <c:pt idx="16">
                  <c:v>0.0006811989100817438</c:v>
                </c:pt>
                <c:pt idx="17">
                  <c:v>0.00044822949350067237</c:v>
                </c:pt>
                <c:pt idx="18">
                  <c:v>0.0003831417624521073</c:v>
                </c:pt>
                <c:pt idx="19">
                  <c:v>0.0008631851532153647</c:v>
                </c:pt>
                <c:pt idx="20">
                  <c:v>0.0008247422680412372</c:v>
                </c:pt>
                <c:pt idx="21">
                  <c:v>0.001687051876845213</c:v>
                </c:pt>
                <c:pt idx="22">
                  <c:v>0.000723589001447178</c:v>
                </c:pt>
                <c:pt idx="23">
                  <c:v>0.0016645859342488557</c:v>
                </c:pt>
                <c:pt idx="24">
                  <c:v>0.001890359168241966</c:v>
                </c:pt>
                <c:pt idx="25">
                  <c:v>0.0024582104228121925</c:v>
                </c:pt>
                <c:pt idx="26">
                  <c:v>0.002670940170940171</c:v>
                </c:pt>
                <c:pt idx="27">
                  <c:v>0.00213857998289136</c:v>
                </c:pt>
                <c:pt idx="28">
                  <c:v>0.0020325203252032522</c:v>
                </c:pt>
                <c:pt idx="29">
                  <c:v>0.002844950213371266</c:v>
                </c:pt>
                <c:pt idx="30">
                  <c:v>0.0029585798816568047</c:v>
                </c:pt>
                <c:pt idx="31">
                  <c:v>0.0028376844494892167</c:v>
                </c:pt>
                <c:pt idx="32">
                  <c:v>0.002271436683702442</c:v>
                </c:pt>
                <c:pt idx="33">
                  <c:v>0.0024260067928190197</c:v>
                </c:pt>
                <c:pt idx="34">
                  <c:v>0.0026778882938026014</c:v>
                </c:pt>
                <c:pt idx="35">
                  <c:v>0.002365930599369085</c:v>
                </c:pt>
                <c:pt idx="36">
                  <c:v>0.003865267807840972</c:v>
                </c:pt>
                <c:pt idx="37">
                  <c:v>0.0038398244651673065</c:v>
                </c:pt>
                <c:pt idx="38">
                  <c:v>0.004759386567953464</c:v>
                </c:pt>
                <c:pt idx="39">
                  <c:v>0.003668763102725367</c:v>
                </c:pt>
                <c:pt idx="40">
                  <c:v>0.002883031301482702</c:v>
                </c:pt>
                <c:pt idx="41">
                  <c:v>0.003266787658802178</c:v>
                </c:pt>
                <c:pt idx="42">
                  <c:v>0.002054231717337716</c:v>
                </c:pt>
                <c:pt idx="43">
                  <c:v>0.003324267150196434</c:v>
                </c:pt>
                <c:pt idx="44">
                  <c:v>0.0031512605042016808</c:v>
                </c:pt>
                <c:pt idx="45">
                  <c:v>0.0036694754009241643</c:v>
                </c:pt>
                <c:pt idx="46">
                  <c:v>0.0036579212916246218</c:v>
                </c:pt>
                <c:pt idx="47">
                  <c:v>0.003865393360618463</c:v>
                </c:pt>
                <c:pt idx="48">
                  <c:v>0.003707899886703059</c:v>
                </c:pt>
                <c:pt idx="49">
                  <c:v>0.005002779321845469</c:v>
                </c:pt>
                <c:pt idx="50">
                  <c:v>0.005339435545385202</c:v>
                </c:pt>
                <c:pt idx="51">
                  <c:v>0.004103031684522453</c:v>
                </c:pt>
                <c:pt idx="52">
                  <c:v>0.002953724975385625</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numCache>
            </c:numRef>
          </c:xVal>
          <c:yVal>
            <c:numRef>
              <c:f>Sheet1!$B$57:$B$108</c:f>
              <c:numCache>
                <c:formatCode>General</c:formatCode>
                <c:ptCount val="52"/>
                <c:pt idx="0">
                  <c:v>0.003009575923392613</c:v>
                </c:pt>
                <c:pt idx="1">
                  <c:v>0.004280363830925628</c:v>
                </c:pt>
                <c:pt idx="2">
                  <c:v>0.003683241252302026</c:v>
                </c:pt>
                <c:pt idx="3">
                  <c:v>0.0039273441335297005</c:v>
                </c:pt>
                <c:pt idx="4">
                  <c:v>0.0036293249455601256</c:v>
                </c:pt>
                <c:pt idx="5">
                  <c:v>0.0037602820211515863</c:v>
                </c:pt>
                <c:pt idx="6">
                  <c:v>0.0038910505836575876</c:v>
                </c:pt>
                <c:pt idx="7">
                  <c:v>0.0040858018386108275</c:v>
                </c:pt>
                <c:pt idx="8">
                  <c:v>0.006517311608961304</c:v>
                </c:pt>
                <c:pt idx="9">
                  <c:v>0.006505240332490061</c:v>
                </c:pt>
                <c:pt idx="10">
                  <c:v>0.0060931899641577065</c:v>
                </c:pt>
                <c:pt idx="11">
                  <c:v>0.0070852675299291476</c:v>
                </c:pt>
                <c:pt idx="12">
                  <c:v>0.006715916722632639</c:v>
                </c:pt>
                <c:pt idx="13">
                  <c:v>0.009684361549497847</c:v>
                </c:pt>
                <c:pt idx="14">
                  <c:v>0.0071860816944024205</c:v>
                </c:pt>
                <c:pt idx="15">
                  <c:v>0.0064516129032258064</c:v>
                </c:pt>
                <c:pt idx="16">
                  <c:v>0.0075046904315197</c:v>
                </c:pt>
                <c:pt idx="17">
                  <c:v>0.006883891693437357</c:v>
                </c:pt>
                <c:pt idx="18">
                  <c:v>0.0037825059101654845</c:v>
                </c:pt>
                <c:pt idx="19">
                  <c:v>0.004812834224598931</c:v>
                </c:pt>
                <c:pt idx="20">
                  <c:v>0.005166475315729047</c:v>
                </c:pt>
                <c:pt idx="21">
                  <c:v>0.0069498069498069494</c:v>
                </c:pt>
                <c:pt idx="22">
                  <c:v>0.00706436420722135</c:v>
                </c:pt>
                <c:pt idx="23">
                  <c:v>0.006299212598425197</c:v>
                </c:pt>
                <c:pt idx="24">
                  <c:v>0.006993006993006993</c:v>
                </c:pt>
                <c:pt idx="25">
                  <c:v>0.008258774948382657</c:v>
                </c:pt>
                <c:pt idx="26">
                  <c:v>0.006811145510835914</c:v>
                </c:pt>
                <c:pt idx="27">
                  <c:v>0.005641748942172073</c:v>
                </c:pt>
                <c:pt idx="28">
                  <c:v>0.004960727573377429</c:v>
                </c:pt>
                <c:pt idx="29">
                  <c:v>0.006539509536784741</c:v>
                </c:pt>
                <c:pt idx="30">
                  <c:v>0.0048543689320388345</c:v>
                </c:pt>
                <c:pt idx="31">
                  <c:v>0.005453644025780862</c:v>
                </c:pt>
                <c:pt idx="32">
                  <c:v>0.004966887417218543</c:v>
                </c:pt>
                <c:pt idx="33">
                  <c:v>0.00350385423966363</c:v>
                </c:pt>
                <c:pt idx="34">
                  <c:v>0.004300363876943433</c:v>
                </c:pt>
                <c:pt idx="35">
                  <c:v>0.006274131274131274</c:v>
                </c:pt>
                <c:pt idx="36">
                  <c:v>0.006489292667099286</c:v>
                </c:pt>
                <c:pt idx="37">
                  <c:v>0.0058309037900874635</c:v>
                </c:pt>
                <c:pt idx="38">
                  <c:v>0.007009345794392523</c:v>
                </c:pt>
                <c:pt idx="39">
                  <c:v>0.005938784833257195</c:v>
                </c:pt>
                <c:pt idx="40">
                  <c:v>0.004166666666666667</c:v>
                </c:pt>
                <c:pt idx="41">
                  <c:v>0.004391743522178305</c:v>
                </c:pt>
                <c:pt idx="42">
                  <c:v>0.004188481675392671</c:v>
                </c:pt>
                <c:pt idx="43">
                  <c:v>0.0034638032559750607</c:v>
                </c:pt>
                <c:pt idx="44">
                  <c:v>0.0030915576694411414</c:v>
                </c:pt>
                <c:pt idx="45">
                  <c:v>0.002755769893213917</c:v>
                </c:pt>
                <c:pt idx="46">
                  <c:v>0.0025795356835769563</c:v>
                </c:pt>
                <c:pt idx="47">
                  <c:v>0.0027507405840033854</c:v>
                </c:pt>
                <c:pt idx="48">
                  <c:v>0.0030125257650229905</c:v>
                </c:pt>
                <c:pt idx="49">
                  <c:v>0.00245398773006135</c:v>
                </c:pt>
                <c:pt idx="50">
                  <c:v>0.0022641509433962265</c:v>
                </c:pt>
                <c:pt idx="51">
                  <c:v>0.003087152695321776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63.4348818736203</c:v>
                </c:pt>
              </c:numCache>
            </c:numRef>
          </c:xVal>
          <c:yVal>
            <c:numRef>
              <c:f>Sheet1!$B$111:$B$112</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63.4348818736203</c:v>
                </c:pt>
                <c:pt idx="1">
                  <c:v>3663.4348818736203</c:v>
                </c:pt>
              </c:numCache>
            </c:numRef>
          </c:xVal>
          <c:yVal>
            <c:numRef>
              <c:f>Sheet1!$B$115:$B$116</c:f>
              <c:numCache>
                <c:formatCode>General</c:formatCode>
                <c:ptCount val="2"/>
                <c:pt idx="0">
                  <c:v>0.0065247596324302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63.4348818736203</c:v>
                </c:pt>
              </c:numCache>
            </c:numRef>
          </c:xVal>
          <c:yVal>
            <c:numRef>
              <c:f>Sheet1!$B$119:$B$120</c:f>
              <c:numCache>
                <c:formatCode>General</c:formatCode>
                <c:ptCount val="2"/>
                <c:pt idx="0">
                  <c:v>0.006524759632430238</c:v>
                </c:pt>
                <c:pt idx="1">
                  <c:v>0.006524759632430238</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63.4348818736203</c:v>
                </c:pt>
                <c:pt idx="1">
                  <c:v>3663.4348818736203</c:v>
                </c:pt>
              </c:numCache>
            </c:numRef>
          </c:xVal>
          <c:yVal>
            <c:numRef>
              <c:f>Sheet1!$B$123:$B$124</c:f>
              <c:numCache>
                <c:formatCode>General</c:formatCode>
                <c:ptCount val="2"/>
                <c:pt idx="0">
                  <c:v>0.006524759632430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068.169214130703</c:v>
                </c:pt>
              </c:numCache>
            </c:numRef>
          </c:xVal>
          <c:yVal>
            <c:numRef>
              <c:f>Sheet1!$B$127:$B$128</c:f>
              <c:numCache>
                <c:formatCode>General</c:formatCode>
                <c:ptCount val="2"/>
                <c:pt idx="0">
                  <c:v>0.00339576160903905</c:v>
                </c:pt>
                <c:pt idx="1">
                  <c:v>0.0033957616090390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068.169214130703</c:v>
                </c:pt>
                <c:pt idx="1">
                  <c:v>5068.169214130703</c:v>
                </c:pt>
              </c:numCache>
            </c:numRef>
          </c:xVal>
          <c:yVal>
            <c:numRef>
              <c:f>Sheet1!$B$131:$B$132</c:f>
              <c:numCache>
                <c:formatCode>General</c:formatCode>
                <c:ptCount val="2"/>
                <c:pt idx="0">
                  <c:v>0.003395761609039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5559.3636</c:v>
                </c:pt>
                <c:pt idx="1">
                  <c:v>3974.5625</c:v>
                </c:pt>
                <c:pt idx="2">
                  <c:v>4577.6875</c:v>
                </c:pt>
                <c:pt idx="3">
                  <c:v>4129.125</c:v>
                </c:pt>
                <c:pt idx="4">
                  <c:v>4831.8</c:v>
                </c:pt>
                <c:pt idx="5">
                  <c:v>4729.375</c:v>
                </c:pt>
                <c:pt idx="6">
                  <c:v>4294.6667</c:v>
                </c:pt>
                <c:pt idx="7">
                  <c:v>4336.0</c:v>
                </c:pt>
                <c:pt idx="8">
                  <c:v>4125.3125</c:v>
                </c:pt>
                <c:pt idx="9">
                  <c:v>3947.5</c:v>
                </c:pt>
                <c:pt idx="10">
                  <c:v>4152.4118</c:v>
                </c:pt>
                <c:pt idx="11">
                  <c:v>3903.2069</c:v>
                </c:pt>
                <c:pt idx="12">
                  <c:v>3721.75</c:v>
                </c:pt>
                <c:pt idx="13">
                  <c:v>3477.7407</c:v>
                </c:pt>
                <c:pt idx="14">
                  <c:v>3563.4211</c:v>
                </c:pt>
                <c:pt idx="15">
                  <c:v>4214.375</c:v>
                </c:pt>
                <c:pt idx="16">
                  <c:v>3724.625</c:v>
                </c:pt>
                <c:pt idx="17">
                  <c:v>3899.4667</c:v>
                </c:pt>
                <c:pt idx="18">
                  <c:v>4909.375</c:v>
                </c:pt>
                <c:pt idx="19">
                  <c:v>3845.7778</c:v>
                </c:pt>
                <c:pt idx="20">
                  <c:v>4869.6667</c:v>
                </c:pt>
                <c:pt idx="21">
                  <c:v>4358.1111</c:v>
                </c:pt>
                <c:pt idx="22">
                  <c:v>3659.1111</c:v>
                </c:pt>
                <c:pt idx="23">
                  <c:v>3801.625</c:v>
                </c:pt>
                <c:pt idx="24">
                  <c:v>4168.7273</c:v>
                </c:pt>
                <c:pt idx="25">
                  <c:v>3226.4167</c:v>
                </c:pt>
                <c:pt idx="26">
                  <c:v>3647.0</c:v>
                </c:pt>
                <c:pt idx="27">
                  <c:v>4311.4167</c:v>
                </c:pt>
                <c:pt idx="28">
                  <c:v>4275.8333</c:v>
                </c:pt>
                <c:pt idx="29">
                  <c:v>3679.8333</c:v>
                </c:pt>
                <c:pt idx="30">
                  <c:v>4751.7778</c:v>
                </c:pt>
                <c:pt idx="31">
                  <c:v>4795.4545</c:v>
                </c:pt>
                <c:pt idx="32">
                  <c:v>4772.0833</c:v>
                </c:pt>
                <c:pt idx="33">
                  <c:v>5010.3</c:v>
                </c:pt>
                <c:pt idx="34">
                  <c:v>4559.3846</c:v>
                </c:pt>
                <c:pt idx="35">
                  <c:v>4155.8462</c:v>
                </c:pt>
                <c:pt idx="36">
                  <c:v>4558.4</c:v>
                </c:pt>
                <c:pt idx="37">
                  <c:v>4747.1</c:v>
                </c:pt>
                <c:pt idx="38">
                  <c:v>3941.0</c:v>
                </c:pt>
                <c:pt idx="39">
                  <c:v>4340.5385</c:v>
                </c:pt>
                <c:pt idx="40">
                  <c:v>4985.0</c:v>
                </c:pt>
                <c:pt idx="41">
                  <c:v>4779.0</c:v>
                </c:pt>
                <c:pt idx="42">
                  <c:v>4706.625</c:v>
                </c:pt>
                <c:pt idx="43">
                  <c:v>4624.8</c:v>
                </c:pt>
                <c:pt idx="44">
                  <c:v>4299.3077</c:v>
                </c:pt>
                <c:pt idx="45">
                  <c:v>4467.0</c:v>
                </c:pt>
                <c:pt idx="46">
                  <c:v>4321.9167</c:v>
                </c:pt>
                <c:pt idx="47">
                  <c:v>4040.3846</c:v>
                </c:pt>
                <c:pt idx="48">
                  <c:v>3844.9474</c:v>
                </c:pt>
                <c:pt idx="49">
                  <c:v>4102.4375</c:v>
                </c:pt>
                <c:pt idx="50">
                  <c:v>4597.6111</c:v>
                </c:pt>
                <c:pt idx="51">
                  <c:v>4634.1538</c:v>
                </c:pt>
                <c:pt idx="52">
                  <c:v>3663.4348818736203</c:v>
                </c:pt>
                <c:pt idx="53">
                  <c:v>3663.4348818736203</c:v>
                </c:pt>
                <c:pt idx="54">
                  <c:v>5068.169214130703</c:v>
                </c:pt>
              </c:numCache>
            </c:numRef>
          </c:xVal>
          <c:yVal>
            <c:numRef>
              <c:f>Sheet1!$B$135:$B$189</c:f>
              <c:numCache>
                <c:formatCode>General</c:formatCode>
                <c:ptCount val="55"/>
                <c:pt idx="0">
                  <c:v>0.002301642794404285</c:v>
                </c:pt>
                <c:pt idx="1">
                  <c:v>0.005831733428268463</c:v>
                </c:pt>
                <c:pt idx="2">
                  <c:v>0.004488292971576874</c:v>
                </c:pt>
                <c:pt idx="3">
                  <c:v>0.005487450708123561</c:v>
                </c:pt>
                <c:pt idx="4">
                  <c:v>0.00392226600693266</c:v>
                </c:pt>
                <c:pt idx="5">
                  <c:v>0.004150414216303248</c:v>
                </c:pt>
                <c:pt idx="6">
                  <c:v>0.005118712192808326</c:v>
                </c:pt>
                <c:pt idx="7">
                  <c:v>0.005026643670646966</c:v>
                </c:pt>
                <c:pt idx="8">
                  <c:v>0.005495942922409385</c:v>
                </c:pt>
                <c:pt idx="9">
                  <c:v>0.00589201422803504</c:v>
                </c:pt>
                <c:pt idx="10">
                  <c:v>0.005435580151892456</c:v>
                </c:pt>
                <c:pt idx="11">
                  <c:v>0.005990675604188053</c:v>
                </c:pt>
                <c:pt idx="12">
                  <c:v>0.0063948646870578395</c:v>
                </c:pt>
                <c:pt idx="13">
                  <c:v>0.006938387116784671</c:v>
                </c:pt>
                <c:pt idx="14">
                  <c:v>0.006747536935304018</c:v>
                </c:pt>
                <c:pt idx="15">
                  <c:v>0.005297559228027465</c:v>
                </c:pt>
                <c:pt idx="16">
                  <c:v>0.006388460722186564</c:v>
                </c:pt>
                <c:pt idx="17">
                  <c:v>0.005999006772679026</c:v>
                </c:pt>
                <c:pt idx="18">
                  <c:v>0.003749470328710319</c:v>
                </c:pt>
                <c:pt idx="19">
                  <c:v>0.0061185969742711815</c:v>
                </c:pt>
                <c:pt idx="20">
                  <c:v>0.0038379192185531326</c:v>
                </c:pt>
                <c:pt idx="21">
                  <c:v>0.004977391946241654</c:v>
                </c:pt>
                <c:pt idx="22">
                  <c:v>0.006534390709727533</c:v>
                </c:pt>
                <c:pt idx="23">
                  <c:v>0.006216945836938477</c:v>
                </c:pt>
                <c:pt idx="24">
                  <c:v>0.005399237929681222</c:v>
                </c:pt>
                <c:pt idx="25">
                  <c:v>0.007498202792370257</c:v>
                </c:pt>
                <c:pt idx="26">
                  <c:v>0.006561367773711016</c:v>
                </c:pt>
                <c:pt idx="27">
                  <c:v>0.005081402136601762</c:v>
                </c:pt>
                <c:pt idx="28">
                  <c:v>0.005160662951767174</c:v>
                </c:pt>
                <c:pt idx="29">
                  <c:v>0.00648823271290821</c:v>
                </c:pt>
                <c:pt idx="30">
                  <c:v>0.004100512740053432</c:v>
                </c:pt>
                <c:pt idx="31">
                  <c:v>0.004003224373968821</c:v>
                </c:pt>
                <c:pt idx="32">
                  <c:v>0.004055282928333886</c:v>
                </c:pt>
                <c:pt idx="33">
                  <c:v>0.0035246633184030044</c:v>
                </c:pt>
                <c:pt idx="34">
                  <c:v>0.004529062059800344</c:v>
                </c:pt>
                <c:pt idx="35">
                  <c:v>0.005427930142517183</c:v>
                </c:pt>
                <c:pt idx="36">
                  <c:v>0.004531255222865479</c:v>
                </c:pt>
                <c:pt idx="37">
                  <c:v>0.004110932380705555</c:v>
                </c:pt>
                <c:pt idx="38">
                  <c:v>0.0059064927573092285</c:v>
                </c:pt>
                <c:pt idx="39">
                  <c:v>0.005016534316014518</c:v>
                </c:pt>
                <c:pt idx="40">
                  <c:v>0.003581018209270233</c:v>
                </c:pt>
                <c:pt idx="41">
                  <c:v>0.0040398762139599205</c:v>
                </c:pt>
                <c:pt idx="42">
                  <c:v>0.00420108906876291</c:v>
                </c:pt>
                <c:pt idx="43">
                  <c:v>0.00438335147766453</c:v>
                </c:pt>
                <c:pt idx="44">
                  <c:v>0.005108374522906554</c:v>
                </c:pt>
                <c:pt idx="45">
                  <c:v>0.004734845619120999</c:v>
                </c:pt>
                <c:pt idx="46">
                  <c:v>0.00505801374315884</c:v>
                </c:pt>
                <c:pt idx="47">
                  <c:v>0.005685116935693294</c:v>
                </c:pt>
                <c:pt idx="48">
                  <c:v>0.00612044666207261</c:v>
                </c:pt>
                <c:pt idx="49">
                  <c:v>0.005546896208124319</c:v>
                </c:pt>
                <c:pt idx="50">
                  <c:v>0.004443913829138838</c:v>
                </c:pt>
                <c:pt idx="51">
                  <c:v>0.004362516205799159</c:v>
                </c:pt>
                <c:pt idx="52">
                  <c:v>0.006524759632430238</c:v>
                </c:pt>
                <c:pt idx="53">
                  <c:v>0.006524759632430238</c:v>
                </c:pt>
                <c:pt idx="54">
                  <c:v>0.00339576160903905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26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16212338593974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112690044680553</c:v>
                </c:pt>
                <c:pt idx="1">
                  <c:v>0.641929068372651</c:v>
                </c:pt>
                <c:pt idx="2">
                  <c:v>0.7573947967922487</c:v>
                </c:pt>
                <c:pt idx="3">
                  <c:v>0.7344918113849144</c:v>
                </c:pt>
                <c:pt idx="4">
                  <c:v>0.7264504652025511</c:v>
                </c:pt>
                <c:pt idx="5">
                  <c:v>0.5766366382912294</c:v>
                </c:pt>
                <c:pt idx="6">
                  <c:v>0.4700263669488201</c:v>
                </c:pt>
                <c:pt idx="7">
                  <c:v>0.50873404657017</c:v>
                </c:pt>
                <c:pt idx="8">
                  <c:v>0.522046696816306</c:v>
                </c:pt>
                <c:pt idx="9">
                  <c:v>0.5226600201409869</c:v>
                </c:pt>
                <c:pt idx="10">
                  <c:v>0.4582764274663887</c:v>
                </c:pt>
                <c:pt idx="11">
                  <c:v>0.6034768814781433</c:v>
                </c:pt>
                <c:pt idx="12">
                  <c:v>0.6975888554820605</c:v>
                </c:pt>
                <c:pt idx="13">
                  <c:v>0.7007509430577943</c:v>
                </c:pt>
                <c:pt idx="14">
                  <c:v>0.6004850877192982</c:v>
                </c:pt>
                <c:pt idx="15">
                  <c:v>0.6499252531014899</c:v>
                </c:pt>
                <c:pt idx="16">
                  <c:v>0.7463587609616591</c:v>
                </c:pt>
                <c:pt idx="17">
                  <c:v>0.9185087421452981</c:v>
                </c:pt>
                <c:pt idx="18">
                  <c:v>0.7992040668585073</c:v>
                </c:pt>
                <c:pt idx="19">
                  <c:v>0.7651370205669815</c:v>
                </c:pt>
                <c:pt idx="20">
                  <c:v>0.8374728948755735</c:v>
                </c:pt>
                <c:pt idx="21">
                  <c:v>0.7975685985009411</c:v>
                </c:pt>
                <c:pt idx="22">
                  <c:v>0.8684170166433349</c:v>
                </c:pt>
                <c:pt idx="23">
                  <c:v>0.7221165055018339</c:v>
                </c:pt>
                <c:pt idx="24">
                  <c:v>0.8489124636998799</c:v>
                </c:pt>
                <c:pt idx="25">
                  <c:v>0.7874939329591992</c:v>
                </c:pt>
                <c:pt idx="26">
                  <c:v>0.716276259613711</c:v>
                </c:pt>
                <c:pt idx="27">
                  <c:v>0.8488981559094719</c:v>
                </c:pt>
                <c:pt idx="28">
                  <c:v>0.7752342115311188</c:v>
                </c:pt>
                <c:pt idx="29">
                  <c:v>0.8283887428101889</c:v>
                </c:pt>
                <c:pt idx="30">
                  <c:v>0.5482279585636105</c:v>
                </c:pt>
                <c:pt idx="31">
                  <c:v>0.6908932467037346</c:v>
                </c:pt>
                <c:pt idx="32">
                  <c:v>0.7776096200241254</c:v>
                </c:pt>
                <c:pt idx="33">
                  <c:v>0.7916772582732862</c:v>
                </c:pt>
                <c:pt idx="34">
                  <c:v>0.6803529645815531</c:v>
                </c:pt>
                <c:pt idx="35">
                  <c:v>0.5536553745928339</c:v>
                </c:pt>
                <c:pt idx="36">
                  <c:v>0.766716282555743</c:v>
                </c:pt>
                <c:pt idx="37">
                  <c:v>0.7900701921172509</c:v>
                </c:pt>
                <c:pt idx="38">
                  <c:v>1.0407369561165933</c:v>
                </c:pt>
                <c:pt idx="39">
                  <c:v>0.9523481756661709</c:v>
                </c:pt>
                <c:pt idx="40">
                  <c:v>0.9658343581022315</c:v>
                </c:pt>
                <c:pt idx="41">
                  <c:v>1.0838039003133406</c:v>
                </c:pt>
                <c:pt idx="42">
                  <c:v>1.023087052700065</c:v>
                </c:pt>
                <c:pt idx="43">
                  <c:v>1.1422026822818285</c:v>
                </c:pt>
                <c:pt idx="44">
                  <c:v>0.770178608959333</c:v>
                </c:pt>
                <c:pt idx="45">
                  <c:v>0.7763328689859215</c:v>
                </c:pt>
                <c:pt idx="46">
                  <c:v>0.6383716042033049</c:v>
                </c:pt>
                <c:pt idx="47">
                  <c:v>0.6955898467032774</c:v>
                </c:pt>
                <c:pt idx="48">
                  <c:v>0.7248785255716655</c:v>
                </c:pt>
                <c:pt idx="49">
                  <c:v>0.8279609148502094</c:v>
                </c:pt>
                <c:pt idx="50">
                  <c:v>0.7041624098557692</c:v>
                </c:pt>
                <c:pt idx="51">
                  <c:v>0.6114066056245913</c:v>
                </c:pt>
                <c:pt idx="52">
                  <c:v>0.7244307395993836</c:v>
                </c:pt>
                <c:pt idx="53">
                  <c:v>0.7558499825115691</c:v>
                </c:pt>
                <c:pt idx="54">
                  <c:v>0.7538769478170567</c:v>
                </c:pt>
                <c:pt idx="55">
                  <c:v>0.7580606663010694</c:v>
                </c:pt>
                <c:pt idx="56">
                  <c:v>0.8007930460508076</c:v>
                </c:pt>
                <c:pt idx="57">
                  <c:v>0.9390460398750544</c:v>
                </c:pt>
                <c:pt idx="58">
                  <c:v>0.6993568563464545</c:v>
                </c:pt>
                <c:pt idx="59">
                  <c:v>0.8088155879745305</c:v>
                </c:pt>
                <c:pt idx="60">
                  <c:v>0.8512154039385481</c:v>
                </c:pt>
                <c:pt idx="61">
                  <c:v>0.8038422758331836</c:v>
                </c:pt>
                <c:pt idx="62">
                  <c:v>0.587326786257221</c:v>
                </c:pt>
                <c:pt idx="63">
                  <c:v>0.7205068697942622</c:v>
                </c:pt>
                <c:pt idx="64">
                  <c:v>0.7455837118696601</c:v>
                </c:pt>
                <c:pt idx="65">
                  <c:v>0.5207955339873307</c:v>
                </c:pt>
                <c:pt idx="66">
                  <c:v>0.51330365</c:v>
                </c:pt>
                <c:pt idx="67">
                  <c:v>0.7864142032866918</c:v>
                </c:pt>
                <c:pt idx="68">
                  <c:v>0.6152099050551706</c:v>
                </c:pt>
                <c:pt idx="69">
                  <c:v>0.35140181347150257</c:v>
                </c:pt>
                <c:pt idx="70">
                  <c:v>0.6624964907432992</c:v>
                </c:pt>
                <c:pt idx="71">
                  <c:v>0.6739071409177301</c:v>
                </c:pt>
                <c:pt idx="72">
                  <c:v>1.0130109190887666</c:v>
                </c:pt>
                <c:pt idx="73">
                  <c:v>0.6697133754607688</c:v>
                </c:pt>
                <c:pt idx="74">
                  <c:v>0.8118015594347961</c:v>
                </c:pt>
                <c:pt idx="75">
                  <c:v>0.8091511620074099</c:v>
                </c:pt>
                <c:pt idx="76">
                  <c:v>0.5888346</c:v>
                </c:pt>
                <c:pt idx="77">
                  <c:v>0.6442657977059437</c:v>
                </c:pt>
                <c:pt idx="78">
                  <c:v>0.7722070878274268</c:v>
                </c:pt>
                <c:pt idx="79">
                  <c:v>0.9155968228752979</c:v>
                </c:pt>
                <c:pt idx="80">
                  <c:v>0.6254933987997817</c:v>
                </c:pt>
                <c:pt idx="81">
                  <c:v>0.8778317928286854</c:v>
                </c:pt>
                <c:pt idx="82">
                  <c:v>0.7959063904494381</c:v>
                </c:pt>
                <c:pt idx="83">
                  <c:v>0.8155196721311476</c:v>
                </c:pt>
                <c:pt idx="84">
                  <c:v>0.9872240522875817</c:v>
                </c:pt>
                <c:pt idx="85">
                  <c:v>0.36290271132376395</c:v>
                </c:pt>
                <c:pt idx="86">
                  <c:v>0.6262247727272727</c:v>
                </c:pt>
                <c:pt idx="87">
                  <c:v>0.8975950766747377</c:v>
                </c:pt>
                <c:pt idx="88">
                  <c:v>0.8707808420239475</c:v>
                </c:pt>
                <c:pt idx="89">
                  <c:v>0.9150082897384305</c:v>
                </c:pt>
                <c:pt idx="90">
                  <c:v>0.9945316793893129</c:v>
                </c:pt>
                <c:pt idx="91">
                  <c:v>0.8544976398872123</c:v>
                </c:pt>
                <c:pt idx="92">
                  <c:v>0.6588009271182075</c:v>
                </c:pt>
                <c:pt idx="93">
                  <c:v>0.7398440273037543</c:v>
                </c:pt>
                <c:pt idx="94">
                  <c:v>1.036354643206256</c:v>
                </c:pt>
                <c:pt idx="95">
                  <c:v>0.989325573381104</c:v>
                </c:pt>
                <c:pt idx="96">
                  <c:v>1.0577299142057073</c:v>
                </c:pt>
                <c:pt idx="97">
                  <c:v>1.0509710065814681</c:v>
                </c:pt>
                <c:pt idx="98">
                  <c:v>1.0611683886455425</c:v>
                </c:pt>
                <c:pt idx="99">
                  <c:v>1.0384075525489318</c:v>
                </c:pt>
                <c:pt idx="100">
                  <c:v>1.0427905029048656</c:v>
                </c:pt>
                <c:pt idx="101">
                  <c:v>1.1131857022094973</c:v>
                </c:pt>
                <c:pt idx="102">
                  <c:v>1.1001493962378834</c:v>
                </c:pt>
                <c:pt idx="103">
                  <c:v>1.064882934479935</c:v>
                </c:pt>
                <c:pt idx="104">
                  <c:v>1.1653628301203516</c:v>
                </c:pt>
              </c:numCache>
            </c:numRef>
          </c:xVal>
          <c:yVal>
            <c:numRef>
              <c:f>Sheet1!$B$2:$B$106</c:f>
              <c:numCache>
                <c:formatCode>General</c:formatCode>
                <c:ptCount val="105"/>
                <c:pt idx="0">
                  <c:v>0.4030261348005502</c:v>
                </c:pt>
                <c:pt idx="1">
                  <c:v>0.33731739707835323</c:v>
                </c:pt>
                <c:pt idx="2">
                  <c:v>0.32125</c:v>
                </c:pt>
                <c:pt idx="3">
                  <c:v>0.32849604221635886</c:v>
                </c:pt>
                <c:pt idx="4">
                  <c:v>0.3411949685534591</c:v>
                </c:pt>
                <c:pt idx="5">
                  <c:v>0.3829787234042553</c:v>
                </c:pt>
                <c:pt idx="6">
                  <c:v>0.4088669950738916</c:v>
                </c:pt>
                <c:pt idx="7">
                  <c:v>0.39956803455723544</c:v>
                </c:pt>
                <c:pt idx="8">
                  <c:v>0.3567708333333333</c:v>
                </c:pt>
                <c:pt idx="9">
                  <c:v>0.37155963302752293</c:v>
                </c:pt>
                <c:pt idx="10">
                  <c:v>0.37438423645320196</c:v>
                </c:pt>
                <c:pt idx="11">
                  <c:v>0.3275488069414317</c:v>
                </c:pt>
                <c:pt idx="12">
                  <c:v>0.298876404494382</c:v>
                </c:pt>
                <c:pt idx="13">
                  <c:v>0.26</c:v>
                </c:pt>
                <c:pt idx="14">
                  <c:v>0.2540045766590389</c:v>
                </c:pt>
                <c:pt idx="15">
                  <c:v>0.32891832229580575</c:v>
                </c:pt>
                <c:pt idx="16">
                  <c:v>0.38186813186813184</c:v>
                </c:pt>
                <c:pt idx="17">
                  <c:v>0.35802469135802467</c:v>
                </c:pt>
                <c:pt idx="18">
                  <c:v>0.45481049562682213</c:v>
                </c:pt>
                <c:pt idx="19">
                  <c:v>0.4192546583850932</c:v>
                </c:pt>
                <c:pt idx="20">
                  <c:v>0.4112676056338028</c:v>
                </c:pt>
                <c:pt idx="21">
                  <c:v>0.4259927797833935</c:v>
                </c:pt>
                <c:pt idx="22">
                  <c:v>0.35646687697160884</c:v>
                </c:pt>
                <c:pt idx="23">
                  <c:v>0.36298932384341637</c:v>
                </c:pt>
                <c:pt idx="24">
                  <c:v>0.2809917355371901</c:v>
                </c:pt>
                <c:pt idx="25">
                  <c:v>0.29874213836477986</c:v>
                </c:pt>
                <c:pt idx="26">
                  <c:v>0.33933933933933935</c:v>
                </c:pt>
                <c:pt idx="27">
                  <c:v>0.3467048710601719</c:v>
                </c:pt>
                <c:pt idx="28">
                  <c:v>0.34300791556728233</c:v>
                </c:pt>
                <c:pt idx="29">
                  <c:v>0.35076252723311546</c:v>
                </c:pt>
                <c:pt idx="30">
                  <c:v>0.4</c:v>
                </c:pt>
                <c:pt idx="31">
                  <c:v>0.37464788732394366</c:v>
                </c:pt>
                <c:pt idx="32">
                  <c:v>0.3422982885085575</c:v>
                </c:pt>
                <c:pt idx="33">
                  <c:v>0.3014827018121911</c:v>
                </c:pt>
                <c:pt idx="34">
                  <c:v>0.33506044905008636</c:v>
                </c:pt>
                <c:pt idx="35">
                  <c:v>0.33547008547008544</c:v>
                </c:pt>
                <c:pt idx="36">
                  <c:v>0.369281045751634</c:v>
                </c:pt>
                <c:pt idx="37">
                  <c:v>0.3803680981595092</c:v>
                </c:pt>
                <c:pt idx="38">
                  <c:v>0.3561643835616438</c:v>
                </c:pt>
                <c:pt idx="39">
                  <c:v>0.3879598662207358</c:v>
                </c:pt>
                <c:pt idx="40">
                  <c:v>0.3307291666666667</c:v>
                </c:pt>
                <c:pt idx="41">
                  <c:v>0.32515337423312884</c:v>
                </c:pt>
                <c:pt idx="42">
                  <c:v>0.2655935613682093</c:v>
                </c:pt>
                <c:pt idx="43">
                  <c:v>0.2658450704225352</c:v>
                </c:pt>
                <c:pt idx="44">
                  <c:v>0.3020730503455084</c:v>
                </c:pt>
                <c:pt idx="45">
                  <c:v>0.3460820895522388</c:v>
                </c:pt>
                <c:pt idx="46">
                  <c:v>0.33564356435643566</c:v>
                </c:pt>
                <c:pt idx="47">
                  <c:v>0.3110273327049953</c:v>
                </c:pt>
                <c:pt idx="48">
                  <c:v>0.298110566829951</c:v>
                </c:pt>
                <c:pt idx="49">
                  <c:v>0.3019970774476376</c:v>
                </c:pt>
                <c:pt idx="50">
                  <c:v>0.3</c:v>
                </c:pt>
                <c:pt idx="51">
                  <c:v>0.2774390243902439</c:v>
                </c:pt>
                <c:pt idx="52">
                  <c:v>0.30405405405405406</c:v>
                </c:pt>
                <c:pt idx="53">
                  <c:v>0.31137724550898205</c:v>
                </c:pt>
                <c:pt idx="54">
                  <c:v>0.3023255813953488</c:v>
                </c:pt>
                <c:pt idx="55">
                  <c:v>0.2931654676258993</c:v>
                </c:pt>
                <c:pt idx="56">
                  <c:v>0.31066176470588236</c:v>
                </c:pt>
                <c:pt idx="57">
                  <c:v>0.3181208053691275</c:v>
                </c:pt>
                <c:pt idx="58">
                  <c:v>0.3482905982905983</c:v>
                </c:pt>
                <c:pt idx="59">
                  <c:v>0.36522262334536704</c:v>
                </c:pt>
                <c:pt idx="60">
                  <c:v>0.3333333333333333</c:v>
                </c:pt>
                <c:pt idx="61">
                  <c:v>0.3293492695883134</c:v>
                </c:pt>
                <c:pt idx="62">
                  <c:v>0.3468085106382979</c:v>
                </c:pt>
                <c:pt idx="63">
                  <c:v>0.34</c:v>
                </c:pt>
                <c:pt idx="64">
                  <c:v>0.33547557840616965</c:v>
                </c:pt>
                <c:pt idx="65">
                  <c:v>0.3578125</c:v>
                </c:pt>
                <c:pt idx="66">
                  <c:v>0.3794162826420891</c:v>
                </c:pt>
                <c:pt idx="67">
                  <c:v>0.3685950413223141</c:v>
                </c:pt>
                <c:pt idx="68">
                  <c:v>0.37279596977329976</c:v>
                </c:pt>
                <c:pt idx="69">
                  <c:v>0.37293729372937295</c:v>
                </c:pt>
                <c:pt idx="70">
                  <c:v>0.35082872928176795</c:v>
                </c:pt>
                <c:pt idx="71">
                  <c:v>0.3691860465116279</c:v>
                </c:pt>
                <c:pt idx="72">
                  <c:v>0.38917525773195877</c:v>
                </c:pt>
                <c:pt idx="73">
                  <c:v>0.35805626598465473</c:v>
                </c:pt>
                <c:pt idx="74">
                  <c:v>0.3771551724137931</c:v>
                </c:pt>
                <c:pt idx="75">
                  <c:v>0.3613861386138614</c:v>
                </c:pt>
                <c:pt idx="76">
                  <c:v>0.38</c:v>
                </c:pt>
                <c:pt idx="77">
                  <c:v>0.36538461538461536</c:v>
                </c:pt>
                <c:pt idx="78">
                  <c:v>0.3786407766990291</c:v>
                </c:pt>
                <c:pt idx="79">
                  <c:v>0.39570552147239263</c:v>
                </c:pt>
                <c:pt idx="80">
                  <c:v>0.39766081871345027</c:v>
                </c:pt>
                <c:pt idx="81">
                  <c:v>0.4222222222222222</c:v>
                </c:pt>
                <c:pt idx="82">
                  <c:v>0.3945578231292517</c:v>
                </c:pt>
                <c:pt idx="83">
                  <c:v>0.4317343173431734</c:v>
                </c:pt>
                <c:pt idx="84">
                  <c:v>0.4</c:v>
                </c:pt>
                <c:pt idx="85">
                  <c:v>0.4140127388535032</c:v>
                </c:pt>
                <c:pt idx="86">
                  <c:v>0.43373493975903615</c:v>
                </c:pt>
                <c:pt idx="87">
                  <c:v>0.3910891089108911</c:v>
                </c:pt>
                <c:pt idx="88">
                  <c:v>0.3924050632911392</c:v>
                </c:pt>
                <c:pt idx="89">
                  <c:v>0.41641337386018235</c:v>
                </c:pt>
                <c:pt idx="90">
                  <c:v>0.3365695792880259</c:v>
                </c:pt>
                <c:pt idx="91">
                  <c:v>0.3333333333333333</c:v>
                </c:pt>
                <c:pt idx="92">
                  <c:v>0.3359375</c:v>
                </c:pt>
                <c:pt idx="93">
                  <c:v>0.3436754176610978</c:v>
                </c:pt>
                <c:pt idx="94">
                  <c:v>0.33078880407124683</c:v>
                </c:pt>
                <c:pt idx="95">
                  <c:v>0.31203007518796994</c:v>
                </c:pt>
                <c:pt idx="96">
                  <c:v>0.3261363636363636</c:v>
                </c:pt>
                <c:pt idx="97">
                  <c:v>0.3672075149444919</c:v>
                </c:pt>
                <c:pt idx="98">
                  <c:v>0.37490882567469</c:v>
                </c:pt>
                <c:pt idx="99">
                  <c:v>0.37557152188112347</c:v>
                </c:pt>
                <c:pt idx="100">
                  <c:v>0.34190077704722055</c:v>
                </c:pt>
                <c:pt idx="101">
                  <c:v>0.32563025210084034</c:v>
                </c:pt>
                <c:pt idx="102">
                  <c:v>0.3084507042253521</c:v>
                </c:pt>
                <c:pt idx="103">
                  <c:v>0.32869785082174463</c:v>
                </c:pt>
                <c:pt idx="104">
                  <c:v>0.33333333333333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475148184677525</c:v>
                </c:pt>
                <c:pt idx="1">
                  <c:v>1.301483116315135</c:v>
                </c:pt>
                <c:pt idx="2">
                  <c:v>1.199689064351579</c:v>
                </c:pt>
                <c:pt idx="3">
                  <c:v>1.0823922664133396</c:v>
                </c:pt>
                <c:pt idx="4">
                  <c:v>1.1975897030583895</c:v>
                </c:pt>
                <c:pt idx="5">
                  <c:v>1.5106370276364853</c:v>
                </c:pt>
                <c:pt idx="6">
                  <c:v>1.3433489550536137</c:v>
                </c:pt>
                <c:pt idx="7">
                  <c:v>1.2393894665602174</c:v>
                </c:pt>
                <c:pt idx="8">
                  <c:v>1.2241010812756756</c:v>
                </c:pt>
                <c:pt idx="9">
                  <c:v>1.2539865644296668</c:v>
                </c:pt>
                <c:pt idx="10">
                  <c:v>1.5343422849340007</c:v>
                </c:pt>
                <c:pt idx="11">
                  <c:v>1.5562496604201645</c:v>
                </c:pt>
                <c:pt idx="12">
                  <c:v>1.3544457508119985</c:v>
                </c:pt>
                <c:pt idx="13">
                  <c:v>1.3050214794575319</c:v>
                </c:pt>
                <c:pt idx="14">
                  <c:v>1.5342876488405155</c:v>
                </c:pt>
                <c:pt idx="15">
                  <c:v>1.4319888599531656</c:v>
                </c:pt>
                <c:pt idx="16">
                  <c:v>1.4740813524040295</c:v>
                </c:pt>
                <c:pt idx="17">
                  <c:v>1.2775851831375258</c:v>
                </c:pt>
                <c:pt idx="18">
                  <c:v>2.3949135319145953</c:v>
                </c:pt>
                <c:pt idx="19">
                  <c:v>2.809604058853374</c:v>
                </c:pt>
                <c:pt idx="20">
                  <c:v>2.5363988489526905</c:v>
                </c:pt>
                <c:pt idx="21">
                  <c:v>2.3301722961821985</c:v>
                </c:pt>
                <c:pt idx="22">
                  <c:v>2.7737441291330382</c:v>
                </c:pt>
                <c:pt idx="23">
                  <c:v>2.7066018293310017</c:v>
                </c:pt>
                <c:pt idx="24">
                  <c:v>2.5293751984126986</c:v>
                </c:pt>
                <c:pt idx="25">
                  <c:v>2.856151616766467</c:v>
                </c:pt>
                <c:pt idx="26">
                  <c:v>2.6004200487913063</c:v>
                </c:pt>
                <c:pt idx="27">
                  <c:v>2.0715741803671595</c:v>
                </c:pt>
                <c:pt idx="28">
                  <c:v>2.1859350011268877</c:v>
                </c:pt>
                <c:pt idx="29">
                  <c:v>2.6465513799519975</c:v>
                </c:pt>
                <c:pt idx="30">
                  <c:v>2.3884054062981517</c:v>
                </c:pt>
                <c:pt idx="31">
                  <c:v>2.4321134107805498</c:v>
                </c:pt>
                <c:pt idx="32">
                  <c:v>2.6926013780639333</c:v>
                </c:pt>
                <c:pt idx="33">
                  <c:v>2.5948673601271977</c:v>
                </c:pt>
                <c:pt idx="34">
                  <c:v>2.387117844433147</c:v>
                </c:pt>
                <c:pt idx="35">
                  <c:v>1.6485287836147118</c:v>
                </c:pt>
                <c:pt idx="36">
                  <c:v>2.380446225905242</c:v>
                </c:pt>
                <c:pt idx="37">
                  <c:v>2.7240092665188236</c:v>
                </c:pt>
                <c:pt idx="38">
                  <c:v>2.882356470588484</c:v>
                </c:pt>
                <c:pt idx="39">
                  <c:v>2.097036660974741</c:v>
                </c:pt>
                <c:pt idx="40">
                  <c:v>1.4585669642857142</c:v>
                </c:pt>
                <c:pt idx="41">
                  <c:v>2.521107768043443</c:v>
                </c:pt>
                <c:pt idx="42">
                  <c:v>1.43807259452412</c:v>
                </c:pt>
                <c:pt idx="43">
                  <c:v>1.7663939546599499</c:v>
                </c:pt>
                <c:pt idx="44">
                  <c:v>1.5237458352298587</c:v>
                </c:pt>
                <c:pt idx="45">
                  <c:v>1.772308124543693</c:v>
                </c:pt>
                <c:pt idx="46">
                  <c:v>1.3298687679083094</c:v>
                </c:pt>
                <c:pt idx="47">
                  <c:v>1.654573277905062</c:v>
                </c:pt>
                <c:pt idx="48">
                  <c:v>1.2022829525947445</c:v>
                </c:pt>
                <c:pt idx="49">
                  <c:v>1.8962227089792287</c:v>
                </c:pt>
                <c:pt idx="50">
                  <c:v>1.5533373526630212</c:v>
                </c:pt>
                <c:pt idx="51">
                  <c:v>0.7658547919790054</c:v>
                </c:pt>
              </c:numCache>
            </c:numRef>
          </c:xVal>
          <c:yVal>
            <c:numRef>
              <c:f>Sheet1!$B$109:$B$160</c:f>
              <c:numCache>
                <c:formatCode>General</c:formatCode>
                <c:ptCount val="52"/>
                <c:pt idx="0">
                  <c:v>0.30577223088923555</c:v>
                </c:pt>
                <c:pt idx="1">
                  <c:v>0.3094098883572568</c:v>
                </c:pt>
                <c:pt idx="2">
                  <c:v>0.34342105263157896</c:v>
                </c:pt>
                <c:pt idx="3">
                  <c:v>0.3753315649867374</c:v>
                </c:pt>
                <c:pt idx="4">
                  <c:v>0.3058064516129032</c:v>
                </c:pt>
                <c:pt idx="5">
                  <c:v>0.3257287705956908</c:v>
                </c:pt>
                <c:pt idx="6">
                  <c:v>0.35523613963039014</c:v>
                </c:pt>
                <c:pt idx="7">
                  <c:v>0.38581560283687943</c:v>
                </c:pt>
                <c:pt idx="8">
                  <c:v>0.36363636363636365</c:v>
                </c:pt>
                <c:pt idx="9">
                  <c:v>0.3699421965317919</c:v>
                </c:pt>
                <c:pt idx="10">
                  <c:v>0.36801541425818884</c:v>
                </c:pt>
                <c:pt idx="11">
                  <c:v>0.34880636604774534</c:v>
                </c:pt>
                <c:pt idx="12">
                  <c:v>0.3196428571428571</c:v>
                </c:pt>
                <c:pt idx="13">
                  <c:v>0.3578336557059961</c:v>
                </c:pt>
                <c:pt idx="14">
                  <c:v>0.35496957403651114</c:v>
                </c:pt>
                <c:pt idx="15">
                  <c:v>0.3422222222222222</c:v>
                </c:pt>
                <c:pt idx="16">
                  <c:v>0.38482384823848237</c:v>
                </c:pt>
                <c:pt idx="17">
                  <c:v>0.39851485148514854</c:v>
                </c:pt>
                <c:pt idx="18">
                  <c:v>0.3565217391304348</c:v>
                </c:pt>
                <c:pt idx="19">
                  <c:v>0.33035714285714285</c:v>
                </c:pt>
                <c:pt idx="20">
                  <c:v>0.3355048859934853</c:v>
                </c:pt>
                <c:pt idx="21">
                  <c:v>0.34801762114537443</c:v>
                </c:pt>
                <c:pt idx="22">
                  <c:v>0.36771300448430494</c:v>
                </c:pt>
                <c:pt idx="23">
                  <c:v>0.37446808510638296</c:v>
                </c:pt>
                <c:pt idx="24">
                  <c:v>0.38064516129032255</c:v>
                </c:pt>
                <c:pt idx="25">
                  <c:v>0.35144927536231885</c:v>
                </c:pt>
                <c:pt idx="26">
                  <c:v>0.3722627737226277</c:v>
                </c:pt>
                <c:pt idx="27">
                  <c:v>0.41304347826086957</c:v>
                </c:pt>
                <c:pt idx="28">
                  <c:v>0.37995337995337997</c:v>
                </c:pt>
                <c:pt idx="29">
                  <c:v>0.3303303303303303</c:v>
                </c:pt>
                <c:pt idx="30">
                  <c:v>0.3076923076923077</c:v>
                </c:pt>
                <c:pt idx="31">
                  <c:v>0.301994301994302</c:v>
                </c:pt>
                <c:pt idx="32">
                  <c:v>0.30413625304136255</c:v>
                </c:pt>
                <c:pt idx="33">
                  <c:v>0.3126177024482109</c:v>
                </c:pt>
                <c:pt idx="34">
                  <c:v>0.30689655172413793</c:v>
                </c:pt>
                <c:pt idx="35">
                  <c:v>0.3208092485549133</c:v>
                </c:pt>
                <c:pt idx="36">
                  <c:v>0.26022304832713755</c:v>
                </c:pt>
                <c:pt idx="37">
                  <c:v>0.26578073089701</c:v>
                </c:pt>
                <c:pt idx="38">
                  <c:v>0.32840236686390534</c:v>
                </c:pt>
                <c:pt idx="39">
                  <c:v>0.3286384976525822</c:v>
                </c:pt>
                <c:pt idx="40">
                  <c:v>0.3477088948787062</c:v>
                </c:pt>
                <c:pt idx="41">
                  <c:v>0.30024213075060535</c:v>
                </c:pt>
                <c:pt idx="42">
                  <c:v>0.36</c:v>
                </c:pt>
                <c:pt idx="43">
                  <c:v>0.3104166666666667</c:v>
                </c:pt>
                <c:pt idx="44">
                  <c:v>0.3556231003039514</c:v>
                </c:pt>
                <c:pt idx="45">
                  <c:v>0.3809034907597536</c:v>
                </c:pt>
                <c:pt idx="46">
                  <c:v>0.4026315789473684</c:v>
                </c:pt>
                <c:pt idx="47">
                  <c:v>0.410062893081761</c:v>
                </c:pt>
                <c:pt idx="48">
                  <c:v>0.40162271805273836</c:v>
                </c:pt>
                <c:pt idx="49">
                  <c:v>0.3744454303460515</c:v>
                </c:pt>
                <c:pt idx="50">
                  <c:v>0.34691011235955055</c:v>
                </c:pt>
                <c:pt idx="51">
                  <c:v>0.3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88943812705355</c:v>
                </c:pt>
              </c:numCache>
            </c:numRef>
          </c:xVal>
          <c:yVal>
            <c:numRef>
              <c:f>Sheet1!$B$163:$B$164</c:f>
              <c:numCache>
                <c:formatCode>General</c:formatCode>
                <c:ptCount val="2"/>
                <c:pt idx="0">
                  <c:v>0.39594887096537285</c:v>
                </c:pt>
                <c:pt idx="1">
                  <c:v>0.395948870965372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88943812705355</c:v>
                </c:pt>
                <c:pt idx="1">
                  <c:v>-1.088943812705355</c:v>
                </c:pt>
              </c:numCache>
            </c:numRef>
          </c:xVal>
          <c:yVal>
            <c:numRef>
              <c:f>Sheet1!$B$167:$B$168</c:f>
              <c:numCache>
                <c:formatCode>General</c:formatCode>
                <c:ptCount val="2"/>
                <c:pt idx="0">
                  <c:v>0.395948870965372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974065540567964</c:v>
                </c:pt>
              </c:numCache>
            </c:numRef>
          </c:xVal>
          <c:yVal>
            <c:numRef>
              <c:f>Sheet1!$B$171:$B$172</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974065540567964</c:v>
                </c:pt>
                <c:pt idx="1">
                  <c:v>0.8974065540567964</c:v>
                </c:pt>
              </c:numCache>
            </c:numRef>
          </c:xVal>
          <c:yVal>
            <c:numRef>
              <c:f>Sheet1!$B$175:$B$176</c:f>
              <c:numCache>
                <c:formatCode>General</c:formatCode>
                <c:ptCount val="2"/>
                <c:pt idx="0">
                  <c:v>0.362744565189585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125024463051708</c:v>
                </c:pt>
              </c:numCache>
            </c:numRef>
          </c:xVal>
          <c:yVal>
            <c:numRef>
              <c:f>Sheet1!$B$179:$B$180</c:f>
              <c:numCache>
                <c:formatCode>General</c:formatCode>
                <c:ptCount val="2"/>
                <c:pt idx="0">
                  <c:v>0.3574773472153643</c:v>
                </c:pt>
                <c:pt idx="1">
                  <c:v>0.35747734721536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125024463051708</c:v>
                </c:pt>
                <c:pt idx="1">
                  <c:v>1.2125024463051708</c:v>
                </c:pt>
              </c:numCache>
            </c:numRef>
          </c:xVal>
          <c:yVal>
            <c:numRef>
              <c:f>Sheet1!$B$183:$B$184</c:f>
              <c:numCache>
                <c:formatCode>General</c:formatCode>
                <c:ptCount val="2"/>
                <c:pt idx="0">
                  <c:v>0.35747734721536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475148184677525</c:v>
                </c:pt>
                <c:pt idx="1">
                  <c:v>1.301483116315135</c:v>
                </c:pt>
                <c:pt idx="2">
                  <c:v>1.199689064351579</c:v>
                </c:pt>
                <c:pt idx="3">
                  <c:v>1.0823922664133396</c:v>
                </c:pt>
                <c:pt idx="4">
                  <c:v>1.1975897030583895</c:v>
                </c:pt>
                <c:pt idx="5">
                  <c:v>1.5106370276364853</c:v>
                </c:pt>
                <c:pt idx="6">
                  <c:v>1.3433489550536137</c:v>
                </c:pt>
                <c:pt idx="7">
                  <c:v>1.2393894665602174</c:v>
                </c:pt>
                <c:pt idx="8">
                  <c:v>1.2241010812756756</c:v>
                </c:pt>
                <c:pt idx="9">
                  <c:v>1.2539865644296668</c:v>
                </c:pt>
                <c:pt idx="10">
                  <c:v>1.5343422849340007</c:v>
                </c:pt>
                <c:pt idx="11">
                  <c:v>1.5562496604201645</c:v>
                </c:pt>
                <c:pt idx="12">
                  <c:v>1.3544457508119985</c:v>
                </c:pt>
                <c:pt idx="13">
                  <c:v>1.3050214794575319</c:v>
                </c:pt>
                <c:pt idx="14">
                  <c:v>1.5342876488405155</c:v>
                </c:pt>
                <c:pt idx="15">
                  <c:v>1.4319888599531656</c:v>
                </c:pt>
                <c:pt idx="16">
                  <c:v>1.4740813524040295</c:v>
                </c:pt>
                <c:pt idx="17">
                  <c:v>1.2775851831375258</c:v>
                </c:pt>
                <c:pt idx="18">
                  <c:v>2.3949135319145953</c:v>
                </c:pt>
                <c:pt idx="19">
                  <c:v>2.809604058853374</c:v>
                </c:pt>
                <c:pt idx="20">
                  <c:v>2.5363988489526905</c:v>
                </c:pt>
                <c:pt idx="21">
                  <c:v>2.3301722961821985</c:v>
                </c:pt>
                <c:pt idx="22">
                  <c:v>2.7737441291330382</c:v>
                </c:pt>
                <c:pt idx="23">
                  <c:v>2.7066018293310017</c:v>
                </c:pt>
                <c:pt idx="24">
                  <c:v>2.5293751984126986</c:v>
                </c:pt>
                <c:pt idx="25">
                  <c:v>2.856151616766467</c:v>
                </c:pt>
                <c:pt idx="26">
                  <c:v>2.6004200487913063</c:v>
                </c:pt>
                <c:pt idx="27">
                  <c:v>2.0715741803671595</c:v>
                </c:pt>
                <c:pt idx="28">
                  <c:v>2.1859350011268877</c:v>
                </c:pt>
                <c:pt idx="29">
                  <c:v>2.6465513799519975</c:v>
                </c:pt>
                <c:pt idx="30">
                  <c:v>2.3884054062981517</c:v>
                </c:pt>
                <c:pt idx="31">
                  <c:v>2.4321134107805498</c:v>
                </c:pt>
                <c:pt idx="32">
                  <c:v>2.6926013780639333</c:v>
                </c:pt>
                <c:pt idx="33">
                  <c:v>2.5948673601271977</c:v>
                </c:pt>
                <c:pt idx="34">
                  <c:v>2.387117844433147</c:v>
                </c:pt>
                <c:pt idx="35">
                  <c:v>1.6485287836147118</c:v>
                </c:pt>
                <c:pt idx="36">
                  <c:v>2.380446225905242</c:v>
                </c:pt>
                <c:pt idx="37">
                  <c:v>2.7240092665188236</c:v>
                </c:pt>
                <c:pt idx="38">
                  <c:v>2.882356470588484</c:v>
                </c:pt>
                <c:pt idx="39">
                  <c:v>2.097036660974741</c:v>
                </c:pt>
                <c:pt idx="40">
                  <c:v>1.4585669642857142</c:v>
                </c:pt>
                <c:pt idx="41">
                  <c:v>2.521107768043443</c:v>
                </c:pt>
                <c:pt idx="42">
                  <c:v>1.43807259452412</c:v>
                </c:pt>
                <c:pt idx="43">
                  <c:v>1.7663939546599499</c:v>
                </c:pt>
                <c:pt idx="44">
                  <c:v>1.5237458352298587</c:v>
                </c:pt>
                <c:pt idx="45">
                  <c:v>1.772308124543693</c:v>
                </c:pt>
                <c:pt idx="46">
                  <c:v>1.3298687679083094</c:v>
                </c:pt>
                <c:pt idx="47">
                  <c:v>1.654573277905062</c:v>
                </c:pt>
                <c:pt idx="48">
                  <c:v>1.2022829525947445</c:v>
                </c:pt>
                <c:pt idx="49">
                  <c:v>1.8962227089792287</c:v>
                </c:pt>
                <c:pt idx="50">
                  <c:v>1.5533373526630212</c:v>
                </c:pt>
                <c:pt idx="51">
                  <c:v>0.7658547919790054</c:v>
                </c:pt>
                <c:pt idx="52">
                  <c:v>0.8974065540567964</c:v>
                </c:pt>
                <c:pt idx="53">
                  <c:v>-1.088943812705355</c:v>
                </c:pt>
                <c:pt idx="54">
                  <c:v>1.2125024463051708</c:v>
                </c:pt>
              </c:numCache>
            </c:numRef>
          </c:xVal>
          <c:yVal>
            <c:numRef>
              <c:f>Sheet1!$B$187:$B$241</c:f>
              <c:numCache>
                <c:formatCode>General</c:formatCode>
                <c:ptCount val="55"/>
                <c:pt idx="0">
                  <c:v>0.3568920720641748</c:v>
                </c:pt>
                <c:pt idx="1">
                  <c:v>0.35598992514492594</c:v>
                </c:pt>
                <c:pt idx="2">
                  <c:v>0.3576915387595794</c:v>
                </c:pt>
                <c:pt idx="3">
                  <c:v>0.35965229996789067</c:v>
                </c:pt>
                <c:pt idx="4">
                  <c:v>0.3577266321829146</c:v>
                </c:pt>
                <c:pt idx="5">
                  <c:v>0.3524936585537321</c:v>
                </c:pt>
                <c:pt idx="6">
                  <c:v>0.3552900858143157</c:v>
                </c:pt>
                <c:pt idx="7">
                  <c:v>0.3570278973816959</c:v>
                </c:pt>
                <c:pt idx="8">
                  <c:v>0.3572834616710078</c:v>
                </c:pt>
                <c:pt idx="9">
                  <c:v>0.3567838888174433</c:v>
                </c:pt>
                <c:pt idx="10">
                  <c:v>0.3520973958273917</c:v>
                </c:pt>
                <c:pt idx="11">
                  <c:v>0.35173118692157146</c:v>
                </c:pt>
                <c:pt idx="12">
                  <c:v>0.3551045891337409</c:v>
                </c:pt>
                <c:pt idx="13">
                  <c:v>0.3559307770239842</c:v>
                </c:pt>
                <c:pt idx="14">
                  <c:v>0.35209830913734186</c:v>
                </c:pt>
                <c:pt idx="15">
                  <c:v>0.35380836005461547</c:v>
                </c:pt>
                <c:pt idx="16">
                  <c:v>0.3531047319265719</c:v>
                </c:pt>
                <c:pt idx="17">
                  <c:v>0.35638940868716334</c:v>
                </c:pt>
                <c:pt idx="18">
                  <c:v>0.33771188191970547</c:v>
                </c:pt>
                <c:pt idx="19">
                  <c:v>0.33077981631375564</c:v>
                </c:pt>
                <c:pt idx="20">
                  <c:v>0.3353467796656781</c:v>
                </c:pt>
                <c:pt idx="21">
                  <c:v>0.3387941118341918</c:v>
                </c:pt>
                <c:pt idx="22">
                  <c:v>0.3313792594389245</c:v>
                </c:pt>
                <c:pt idx="23">
                  <c:v>0.33250162611220707</c:v>
                </c:pt>
                <c:pt idx="24">
                  <c:v>0.3354641886807716</c:v>
                </c:pt>
                <c:pt idx="25">
                  <c:v>0.33000171625048136</c:v>
                </c:pt>
                <c:pt idx="26">
                  <c:v>0.33427658604266725</c:v>
                </c:pt>
                <c:pt idx="27">
                  <c:v>0.34311689952273117</c:v>
                </c:pt>
                <c:pt idx="28">
                  <c:v>0.3412052168081324</c:v>
                </c:pt>
                <c:pt idx="29">
                  <c:v>0.3335054437249096</c:v>
                </c:pt>
                <c:pt idx="30">
                  <c:v>0.3378206732974058</c:v>
                </c:pt>
                <c:pt idx="31">
                  <c:v>0.33709003988551245</c:v>
                </c:pt>
                <c:pt idx="32">
                  <c:v>0.3327356609897642</c:v>
                </c:pt>
                <c:pt idx="33">
                  <c:v>0.3343694061087371</c:v>
                </c:pt>
                <c:pt idx="34">
                  <c:v>0.33784219648817126</c:v>
                </c:pt>
                <c:pt idx="35">
                  <c:v>0.35018862712218024</c:v>
                </c:pt>
                <c:pt idx="36">
                  <c:v>0.33795372085231506</c:v>
                </c:pt>
                <c:pt idx="37">
                  <c:v>0.3322106392466324</c:v>
                </c:pt>
                <c:pt idx="38">
                  <c:v>0.3295636696733639</c:v>
                </c:pt>
                <c:pt idx="39">
                  <c:v>0.3426912626330608</c:v>
                </c:pt>
                <c:pt idx="40">
                  <c:v>0.3533640741330752</c:v>
                </c:pt>
                <c:pt idx="41">
                  <c:v>0.33560238901569456</c:v>
                </c:pt>
                <c:pt idx="42">
                  <c:v>0.3537066628986993</c:v>
                </c:pt>
                <c:pt idx="43">
                  <c:v>0.3482183648536556</c:v>
                </c:pt>
                <c:pt idx="44">
                  <c:v>0.35227452860416747</c:v>
                </c:pt>
                <c:pt idx="45">
                  <c:v>0.34811950218143234</c:v>
                </c:pt>
                <c:pt idx="46">
                  <c:v>0.3555154238329136</c:v>
                </c:pt>
                <c:pt idx="47">
                  <c:v>0.35008758591613964</c:v>
                </c:pt>
                <c:pt idx="48">
                  <c:v>0.3576481787059778</c:v>
                </c:pt>
                <c:pt idx="49">
                  <c:v>0.34604811647802086</c:v>
                </c:pt>
                <c:pt idx="50">
                  <c:v>0.3517798697515996</c:v>
                </c:pt>
                <c:pt idx="51">
                  <c:v>0.36494361577324164</c:v>
                </c:pt>
                <c:pt idx="52">
                  <c:v>0.3627445651895851</c:v>
                </c:pt>
                <c:pt idx="53">
                  <c:v>0.39594887096537285</c:v>
                </c:pt>
                <c:pt idx="54">
                  <c:v>0.35747734721536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57725947521865"/>
          <c:min val="0.203203661327231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1.4061</c:v>
                </c:pt>
                <c:pt idx="1">
                  <c:v>802.7323</c:v>
                </c:pt>
                <c:pt idx="2">
                  <c:v>874.9533</c:v>
                </c:pt>
                <c:pt idx="3">
                  <c:v>882.9116</c:v>
                </c:pt>
                <c:pt idx="4">
                  <c:v>896.682</c:v>
                </c:pt>
                <c:pt idx="5">
                  <c:v>860.2778</c:v>
                </c:pt>
                <c:pt idx="6">
                  <c:v>784.0562</c:v>
                </c:pt>
                <c:pt idx="7">
                  <c:v>808.3784</c:v>
                </c:pt>
                <c:pt idx="8">
                  <c:v>833.7956</c:v>
                </c:pt>
                <c:pt idx="9">
                  <c:v>778.5021</c:v>
                </c:pt>
                <c:pt idx="10">
                  <c:v>756.2325</c:v>
                </c:pt>
                <c:pt idx="11">
                  <c:v>836.947</c:v>
                </c:pt>
                <c:pt idx="12">
                  <c:v>870.0677</c:v>
                </c:pt>
                <c:pt idx="13">
                  <c:v>882.1453</c:v>
                </c:pt>
                <c:pt idx="14">
                  <c:v>889.9189</c:v>
                </c:pt>
                <c:pt idx="15">
                  <c:v>920.7584</c:v>
                </c:pt>
                <c:pt idx="16">
                  <c:v>1013.0576</c:v>
                </c:pt>
                <c:pt idx="17">
                  <c:v>1041.4741</c:v>
                </c:pt>
                <c:pt idx="18">
                  <c:v>1036.3013</c:v>
                </c:pt>
                <c:pt idx="19">
                  <c:v>1101.1852</c:v>
                </c:pt>
                <c:pt idx="20">
                  <c:v>1101.3699</c:v>
                </c:pt>
                <c:pt idx="21">
                  <c:v>1116.2542</c:v>
                </c:pt>
                <c:pt idx="22">
                  <c:v>1116.6106</c:v>
                </c:pt>
                <c:pt idx="23">
                  <c:v>1082.8137</c:v>
                </c:pt>
                <c:pt idx="24">
                  <c:v>1051.5196</c:v>
                </c:pt>
                <c:pt idx="25">
                  <c:v>1038.3895</c:v>
                </c:pt>
                <c:pt idx="26">
                  <c:v>1015.1681</c:v>
                </c:pt>
                <c:pt idx="27">
                  <c:v>1012.7355</c:v>
                </c:pt>
                <c:pt idx="28">
                  <c:v>1015.1692</c:v>
                </c:pt>
                <c:pt idx="29">
                  <c:v>1008.1491</c:v>
                </c:pt>
                <c:pt idx="30">
                  <c:v>1000.3333</c:v>
                </c:pt>
                <c:pt idx="31">
                  <c:v>1026.0752</c:v>
                </c:pt>
                <c:pt idx="32">
                  <c:v>1031.4214</c:v>
                </c:pt>
                <c:pt idx="33">
                  <c:v>975.1202</c:v>
                </c:pt>
                <c:pt idx="34">
                  <c:v>944.2165</c:v>
                </c:pt>
                <c:pt idx="35">
                  <c:v>934.8471</c:v>
                </c:pt>
                <c:pt idx="36">
                  <c:v>1022.9912</c:v>
                </c:pt>
                <c:pt idx="37">
                  <c:v>997.2661</c:v>
                </c:pt>
                <c:pt idx="38">
                  <c:v>1165.4519</c:v>
                </c:pt>
                <c:pt idx="39">
                  <c:v>1184.0862</c:v>
                </c:pt>
                <c:pt idx="40">
                  <c:v>1166.5669</c:v>
                </c:pt>
                <c:pt idx="41">
                  <c:v>1175.566</c:v>
                </c:pt>
                <c:pt idx="42">
                  <c:v>1179.3636</c:v>
                </c:pt>
                <c:pt idx="43">
                  <c:v>1209.3642</c:v>
                </c:pt>
                <c:pt idx="44">
                  <c:v>1068.9379</c:v>
                </c:pt>
                <c:pt idx="45">
                  <c:v>1013.3261</c:v>
                </c:pt>
                <c:pt idx="46">
                  <c:v>1027.5959</c:v>
                </c:pt>
                <c:pt idx="47">
                  <c:v>997.9727</c:v>
                </c:pt>
                <c:pt idx="48">
                  <c:v>1004.8991</c:v>
                </c:pt>
                <c:pt idx="49">
                  <c:v>963.85</c:v>
                </c:pt>
                <c:pt idx="50">
                  <c:v>937.381</c:v>
                </c:pt>
                <c:pt idx="51">
                  <c:v>934.8407</c:v>
                </c:pt>
                <c:pt idx="52">
                  <c:v>940.3111</c:v>
                </c:pt>
                <c:pt idx="53">
                  <c:v>1088.9279</c:v>
                </c:pt>
                <c:pt idx="54">
                  <c:v>1109.4556</c:v>
                </c:pt>
                <c:pt idx="55">
                  <c:v>1105.8589</c:v>
                </c:pt>
                <c:pt idx="56">
                  <c:v>1170.645</c:v>
                </c:pt>
                <c:pt idx="57">
                  <c:v>1104.6793</c:v>
                </c:pt>
                <c:pt idx="58">
                  <c:v>1028.684</c:v>
                </c:pt>
                <c:pt idx="59">
                  <c:v>1003.4975</c:v>
                </c:pt>
                <c:pt idx="60">
                  <c:v>1037.2447</c:v>
                </c:pt>
                <c:pt idx="61">
                  <c:v>1071.8871</c:v>
                </c:pt>
                <c:pt idx="62">
                  <c:v>965.8589</c:v>
                </c:pt>
                <c:pt idx="63">
                  <c:v>1012.096</c:v>
                </c:pt>
                <c:pt idx="64">
                  <c:v>1069.4866</c:v>
                </c:pt>
                <c:pt idx="65">
                  <c:v>1047.4934</c:v>
                </c:pt>
                <c:pt idx="66">
                  <c:v>1026.6073</c:v>
                </c:pt>
                <c:pt idx="67">
                  <c:v>1113.3004</c:v>
                </c:pt>
                <c:pt idx="68">
                  <c:v>1198.7365</c:v>
                </c:pt>
                <c:pt idx="69">
                  <c:v>1220.7699</c:v>
                </c:pt>
                <c:pt idx="70">
                  <c:v>1198.7874</c:v>
                </c:pt>
                <c:pt idx="71">
                  <c:v>1241.0</c:v>
                </c:pt>
                <c:pt idx="72">
                  <c:v>1289.5629</c:v>
                </c:pt>
                <c:pt idx="73">
                  <c:v>1271.7857</c:v>
                </c:pt>
                <c:pt idx="74">
                  <c:v>1235.2914</c:v>
                </c:pt>
                <c:pt idx="75">
                  <c:v>1201.1849</c:v>
                </c:pt>
                <c:pt idx="76">
                  <c:v>1177.6692</c:v>
                </c:pt>
                <c:pt idx="77">
                  <c:v>1235.7018</c:v>
                </c:pt>
                <c:pt idx="78">
                  <c:v>1252.906</c:v>
                </c:pt>
                <c:pt idx="79">
                  <c:v>1152.7364</c:v>
                </c:pt>
                <c:pt idx="80">
                  <c:v>1146.5294</c:v>
                </c:pt>
                <c:pt idx="81">
                  <c:v>1101.6789</c:v>
                </c:pt>
                <c:pt idx="82">
                  <c:v>1133.3707</c:v>
                </c:pt>
                <c:pt idx="83">
                  <c:v>1094.4274</c:v>
                </c:pt>
                <c:pt idx="84">
                  <c:v>1132.8396</c:v>
                </c:pt>
                <c:pt idx="85">
                  <c:v>1137.7</c:v>
                </c:pt>
                <c:pt idx="86">
                  <c:v>1102.1556</c:v>
                </c:pt>
                <c:pt idx="87">
                  <c:v>1112.1203</c:v>
                </c:pt>
                <c:pt idx="88">
                  <c:v>1127.2258</c:v>
                </c:pt>
                <c:pt idx="89">
                  <c:v>1136.8978</c:v>
                </c:pt>
                <c:pt idx="90">
                  <c:v>1302.8365</c:v>
                </c:pt>
                <c:pt idx="91">
                  <c:v>1337.8585</c:v>
                </c:pt>
                <c:pt idx="92">
                  <c:v>1279.062</c:v>
                </c:pt>
                <c:pt idx="93">
                  <c:v>1300.6458</c:v>
                </c:pt>
                <c:pt idx="94">
                  <c:v>1325.2385</c:v>
                </c:pt>
                <c:pt idx="95">
                  <c:v>1247.9518</c:v>
                </c:pt>
                <c:pt idx="96">
                  <c:v>1157.7735</c:v>
                </c:pt>
                <c:pt idx="97">
                  <c:v>1104.5349</c:v>
                </c:pt>
                <c:pt idx="98">
                  <c:v>1103.9183</c:v>
                </c:pt>
                <c:pt idx="99">
                  <c:v>1070.12</c:v>
                </c:pt>
                <c:pt idx="100">
                  <c:v>1067.8059</c:v>
                </c:pt>
                <c:pt idx="101">
                  <c:v>1115.5097</c:v>
                </c:pt>
                <c:pt idx="102">
                  <c:v>1134.4932</c:v>
                </c:pt>
                <c:pt idx="103">
                  <c:v>1126.3385</c:v>
                </c:pt>
                <c:pt idx="104">
                  <c:v>1200.9628</c:v>
                </c:pt>
              </c:numCache>
            </c:numRef>
          </c:xVal>
          <c:yVal>
            <c:numRef>
              <c:f>Sheet1!$B$2:$B$106</c:f>
              <c:numCache>
                <c:formatCode>General</c:formatCode>
                <c:ptCount val="105"/>
                <c:pt idx="0">
                  <c:v>0.4030261348005502</c:v>
                </c:pt>
                <c:pt idx="1">
                  <c:v>0.33731739707835323</c:v>
                </c:pt>
                <c:pt idx="2">
                  <c:v>0.32125</c:v>
                </c:pt>
                <c:pt idx="3">
                  <c:v>0.32849604221635886</c:v>
                </c:pt>
                <c:pt idx="4">
                  <c:v>0.3411949685534591</c:v>
                </c:pt>
                <c:pt idx="5">
                  <c:v>0.3829787234042553</c:v>
                </c:pt>
                <c:pt idx="6">
                  <c:v>0.4088669950738916</c:v>
                </c:pt>
                <c:pt idx="7">
                  <c:v>0.39956803455723544</c:v>
                </c:pt>
                <c:pt idx="8">
                  <c:v>0.3567708333333333</c:v>
                </c:pt>
                <c:pt idx="9">
                  <c:v>0.37155963302752293</c:v>
                </c:pt>
                <c:pt idx="10">
                  <c:v>0.37438423645320196</c:v>
                </c:pt>
                <c:pt idx="11">
                  <c:v>0.3275488069414317</c:v>
                </c:pt>
                <c:pt idx="12">
                  <c:v>0.298876404494382</c:v>
                </c:pt>
                <c:pt idx="13">
                  <c:v>0.26</c:v>
                </c:pt>
                <c:pt idx="14">
                  <c:v>0.2540045766590389</c:v>
                </c:pt>
                <c:pt idx="15">
                  <c:v>0.32891832229580575</c:v>
                </c:pt>
                <c:pt idx="16">
                  <c:v>0.38186813186813184</c:v>
                </c:pt>
                <c:pt idx="17">
                  <c:v>0.35802469135802467</c:v>
                </c:pt>
                <c:pt idx="18">
                  <c:v>0.45481049562682213</c:v>
                </c:pt>
                <c:pt idx="19">
                  <c:v>0.4192546583850932</c:v>
                </c:pt>
                <c:pt idx="20">
                  <c:v>0.4112676056338028</c:v>
                </c:pt>
                <c:pt idx="21">
                  <c:v>0.4259927797833935</c:v>
                </c:pt>
                <c:pt idx="22">
                  <c:v>0.35646687697160884</c:v>
                </c:pt>
                <c:pt idx="23">
                  <c:v>0.36298932384341637</c:v>
                </c:pt>
                <c:pt idx="24">
                  <c:v>0.2809917355371901</c:v>
                </c:pt>
                <c:pt idx="25">
                  <c:v>0.29874213836477986</c:v>
                </c:pt>
                <c:pt idx="26">
                  <c:v>0.33933933933933935</c:v>
                </c:pt>
                <c:pt idx="27">
                  <c:v>0.3467048710601719</c:v>
                </c:pt>
                <c:pt idx="28">
                  <c:v>0.34300791556728233</c:v>
                </c:pt>
                <c:pt idx="29">
                  <c:v>0.35076252723311546</c:v>
                </c:pt>
                <c:pt idx="30">
                  <c:v>0.4</c:v>
                </c:pt>
                <c:pt idx="31">
                  <c:v>0.37464788732394366</c:v>
                </c:pt>
                <c:pt idx="32">
                  <c:v>0.3422982885085575</c:v>
                </c:pt>
                <c:pt idx="33">
                  <c:v>0.3014827018121911</c:v>
                </c:pt>
                <c:pt idx="34">
                  <c:v>0.33506044905008636</c:v>
                </c:pt>
                <c:pt idx="35">
                  <c:v>0.33547008547008544</c:v>
                </c:pt>
                <c:pt idx="36">
                  <c:v>0.369281045751634</c:v>
                </c:pt>
                <c:pt idx="37">
                  <c:v>0.3803680981595092</c:v>
                </c:pt>
                <c:pt idx="38">
                  <c:v>0.3561643835616438</c:v>
                </c:pt>
                <c:pt idx="39">
                  <c:v>0.3879598662207358</c:v>
                </c:pt>
                <c:pt idx="40">
                  <c:v>0.3307291666666667</c:v>
                </c:pt>
                <c:pt idx="41">
                  <c:v>0.32515337423312884</c:v>
                </c:pt>
                <c:pt idx="42">
                  <c:v>0.2655935613682093</c:v>
                </c:pt>
                <c:pt idx="43">
                  <c:v>0.2658450704225352</c:v>
                </c:pt>
                <c:pt idx="44">
                  <c:v>0.3020730503455084</c:v>
                </c:pt>
                <c:pt idx="45">
                  <c:v>0.3460820895522388</c:v>
                </c:pt>
                <c:pt idx="46">
                  <c:v>0.33564356435643566</c:v>
                </c:pt>
                <c:pt idx="47">
                  <c:v>0.3110273327049953</c:v>
                </c:pt>
                <c:pt idx="48">
                  <c:v>0.298110566829951</c:v>
                </c:pt>
                <c:pt idx="49">
                  <c:v>0.3019970774476376</c:v>
                </c:pt>
                <c:pt idx="50">
                  <c:v>0.3</c:v>
                </c:pt>
                <c:pt idx="51">
                  <c:v>0.2774390243902439</c:v>
                </c:pt>
                <c:pt idx="52">
                  <c:v>0.30405405405405406</c:v>
                </c:pt>
                <c:pt idx="53">
                  <c:v>0.31137724550898205</c:v>
                </c:pt>
                <c:pt idx="54">
                  <c:v>0.3023255813953488</c:v>
                </c:pt>
                <c:pt idx="55">
                  <c:v>0.2931654676258993</c:v>
                </c:pt>
                <c:pt idx="56">
                  <c:v>0.31066176470588236</c:v>
                </c:pt>
                <c:pt idx="57">
                  <c:v>0.3181208053691275</c:v>
                </c:pt>
                <c:pt idx="58">
                  <c:v>0.3482905982905983</c:v>
                </c:pt>
                <c:pt idx="59">
                  <c:v>0.36522262334536704</c:v>
                </c:pt>
                <c:pt idx="60">
                  <c:v>0.3333333333333333</c:v>
                </c:pt>
                <c:pt idx="61">
                  <c:v>0.3293492695883134</c:v>
                </c:pt>
                <c:pt idx="62">
                  <c:v>0.3468085106382979</c:v>
                </c:pt>
                <c:pt idx="63">
                  <c:v>0.34</c:v>
                </c:pt>
                <c:pt idx="64">
                  <c:v>0.33547557840616965</c:v>
                </c:pt>
                <c:pt idx="65">
                  <c:v>0.3578125</c:v>
                </c:pt>
                <c:pt idx="66">
                  <c:v>0.3794162826420891</c:v>
                </c:pt>
                <c:pt idx="67">
                  <c:v>0.3685950413223141</c:v>
                </c:pt>
                <c:pt idx="68">
                  <c:v>0.37279596977329976</c:v>
                </c:pt>
                <c:pt idx="69">
                  <c:v>0.37293729372937295</c:v>
                </c:pt>
                <c:pt idx="70">
                  <c:v>0.35082872928176795</c:v>
                </c:pt>
                <c:pt idx="71">
                  <c:v>0.3691860465116279</c:v>
                </c:pt>
                <c:pt idx="72">
                  <c:v>0.38917525773195877</c:v>
                </c:pt>
                <c:pt idx="73">
                  <c:v>0.35805626598465473</c:v>
                </c:pt>
                <c:pt idx="74">
                  <c:v>0.3771551724137931</c:v>
                </c:pt>
                <c:pt idx="75">
                  <c:v>0.3613861386138614</c:v>
                </c:pt>
                <c:pt idx="76">
                  <c:v>0.38</c:v>
                </c:pt>
                <c:pt idx="77">
                  <c:v>0.36538461538461536</c:v>
                </c:pt>
                <c:pt idx="78">
                  <c:v>0.3786407766990291</c:v>
                </c:pt>
                <c:pt idx="79">
                  <c:v>0.39570552147239263</c:v>
                </c:pt>
                <c:pt idx="80">
                  <c:v>0.39766081871345027</c:v>
                </c:pt>
                <c:pt idx="81">
                  <c:v>0.4222222222222222</c:v>
                </c:pt>
                <c:pt idx="82">
                  <c:v>0.3945578231292517</c:v>
                </c:pt>
                <c:pt idx="83">
                  <c:v>0.4317343173431734</c:v>
                </c:pt>
                <c:pt idx="84">
                  <c:v>0.4</c:v>
                </c:pt>
                <c:pt idx="85">
                  <c:v>0.4140127388535032</c:v>
                </c:pt>
                <c:pt idx="86">
                  <c:v>0.43373493975903615</c:v>
                </c:pt>
                <c:pt idx="87">
                  <c:v>0.3910891089108911</c:v>
                </c:pt>
                <c:pt idx="88">
                  <c:v>0.3924050632911392</c:v>
                </c:pt>
                <c:pt idx="89">
                  <c:v>0.41641337386018235</c:v>
                </c:pt>
                <c:pt idx="90">
                  <c:v>0.3365695792880259</c:v>
                </c:pt>
                <c:pt idx="91">
                  <c:v>0.3333333333333333</c:v>
                </c:pt>
                <c:pt idx="92">
                  <c:v>0.3359375</c:v>
                </c:pt>
                <c:pt idx="93">
                  <c:v>0.3436754176610978</c:v>
                </c:pt>
                <c:pt idx="94">
                  <c:v>0.33078880407124683</c:v>
                </c:pt>
                <c:pt idx="95">
                  <c:v>0.31203007518796994</c:v>
                </c:pt>
                <c:pt idx="96">
                  <c:v>0.3261363636363636</c:v>
                </c:pt>
                <c:pt idx="97">
                  <c:v>0.3672075149444919</c:v>
                </c:pt>
                <c:pt idx="98">
                  <c:v>0.37490882567469</c:v>
                </c:pt>
                <c:pt idx="99">
                  <c:v>0.37557152188112347</c:v>
                </c:pt>
                <c:pt idx="100">
                  <c:v>0.34190077704722055</c:v>
                </c:pt>
                <c:pt idx="101">
                  <c:v>0.32563025210084034</c:v>
                </c:pt>
                <c:pt idx="102">
                  <c:v>0.3084507042253521</c:v>
                </c:pt>
                <c:pt idx="103">
                  <c:v>0.32869785082174463</c:v>
                </c:pt>
                <c:pt idx="104">
                  <c:v>0.33333333333333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5.7143</c:v>
                </c:pt>
                <c:pt idx="1">
                  <c:v>1308.1907</c:v>
                </c:pt>
                <c:pt idx="2">
                  <c:v>1261.1303</c:v>
                </c:pt>
                <c:pt idx="3">
                  <c:v>1163.2014</c:v>
                </c:pt>
                <c:pt idx="4">
                  <c:v>1294.3207</c:v>
                </c:pt>
                <c:pt idx="5">
                  <c:v>1239.8638</c:v>
                </c:pt>
                <c:pt idx="6">
                  <c:v>1105.2601</c:v>
                </c:pt>
                <c:pt idx="7">
                  <c:v>1118.1949</c:v>
                </c:pt>
                <c:pt idx="8">
                  <c:v>1180.2375</c:v>
                </c:pt>
                <c:pt idx="9">
                  <c:v>1155.0</c:v>
                </c:pt>
                <c:pt idx="10">
                  <c:v>1179.8325</c:v>
                </c:pt>
                <c:pt idx="11">
                  <c:v>1056.924</c:v>
                </c:pt>
                <c:pt idx="12">
                  <c:v>1084.7263</c:v>
                </c:pt>
                <c:pt idx="13">
                  <c:v>1138.4595</c:v>
                </c:pt>
                <c:pt idx="14">
                  <c:v>1126.4229</c:v>
                </c:pt>
                <c:pt idx="15">
                  <c:v>1193.6104</c:v>
                </c:pt>
                <c:pt idx="16">
                  <c:v>1187.1268</c:v>
                </c:pt>
                <c:pt idx="17">
                  <c:v>1155.4161</c:v>
                </c:pt>
                <c:pt idx="18">
                  <c:v>1228.1301</c:v>
                </c:pt>
                <c:pt idx="19">
                  <c:v>1384.4324</c:v>
                </c:pt>
                <c:pt idx="20">
                  <c:v>1380.5728</c:v>
                </c:pt>
                <c:pt idx="21">
                  <c:v>1323.6835</c:v>
                </c:pt>
                <c:pt idx="22">
                  <c:v>1331.7439</c:v>
                </c:pt>
                <c:pt idx="23">
                  <c:v>1271.1477</c:v>
                </c:pt>
                <c:pt idx="24">
                  <c:v>1274.8051</c:v>
                </c:pt>
                <c:pt idx="25">
                  <c:v>1192.4433</c:v>
                </c:pt>
                <c:pt idx="26">
                  <c:v>1172.5294</c:v>
                </c:pt>
                <c:pt idx="27">
                  <c:v>1179.8224</c:v>
                </c:pt>
                <c:pt idx="28">
                  <c:v>1212.3742</c:v>
                </c:pt>
                <c:pt idx="29">
                  <c:v>1213.0545</c:v>
                </c:pt>
                <c:pt idx="30">
                  <c:v>1149.6759</c:v>
                </c:pt>
                <c:pt idx="31">
                  <c:v>1176.2075</c:v>
                </c:pt>
                <c:pt idx="32">
                  <c:v>1191.88</c:v>
                </c:pt>
                <c:pt idx="33">
                  <c:v>1160.0422</c:v>
                </c:pt>
                <c:pt idx="34">
                  <c:v>1173.8652</c:v>
                </c:pt>
                <c:pt idx="35">
                  <c:v>1197.1982</c:v>
                </c:pt>
                <c:pt idx="36">
                  <c:v>1321.3857</c:v>
                </c:pt>
                <c:pt idx="37">
                  <c:v>1320.95</c:v>
                </c:pt>
                <c:pt idx="38">
                  <c:v>1364.3153</c:v>
                </c:pt>
                <c:pt idx="39">
                  <c:v>1316.0071</c:v>
                </c:pt>
                <c:pt idx="40">
                  <c:v>1306.876</c:v>
                </c:pt>
                <c:pt idx="41">
                  <c:v>1367.9919</c:v>
                </c:pt>
                <c:pt idx="42">
                  <c:v>1378.7521</c:v>
                </c:pt>
                <c:pt idx="43">
                  <c:v>1402.5168</c:v>
                </c:pt>
                <c:pt idx="44">
                  <c:v>1255.3761</c:v>
                </c:pt>
                <c:pt idx="45">
                  <c:v>1189.7251</c:v>
                </c:pt>
                <c:pt idx="46">
                  <c:v>1160.3105</c:v>
                </c:pt>
                <c:pt idx="47">
                  <c:v>1151.2822</c:v>
                </c:pt>
                <c:pt idx="48">
                  <c:v>1138.1111</c:v>
                </c:pt>
                <c:pt idx="49">
                  <c:v>1160.3768</c:v>
                </c:pt>
                <c:pt idx="50">
                  <c:v>1105.5526</c:v>
                </c:pt>
                <c:pt idx="51">
                  <c:v>1088.0244</c:v>
                </c:pt>
              </c:numCache>
            </c:numRef>
          </c:xVal>
          <c:yVal>
            <c:numRef>
              <c:f>Sheet1!$B$109:$B$160</c:f>
              <c:numCache>
                <c:formatCode>General</c:formatCode>
                <c:ptCount val="52"/>
                <c:pt idx="0">
                  <c:v>0.30577223088923555</c:v>
                </c:pt>
                <c:pt idx="1">
                  <c:v>0.3094098883572568</c:v>
                </c:pt>
                <c:pt idx="2">
                  <c:v>0.34342105263157896</c:v>
                </c:pt>
                <c:pt idx="3">
                  <c:v>0.3753315649867374</c:v>
                </c:pt>
                <c:pt idx="4">
                  <c:v>0.3058064516129032</c:v>
                </c:pt>
                <c:pt idx="5">
                  <c:v>0.3257287705956908</c:v>
                </c:pt>
                <c:pt idx="6">
                  <c:v>0.35523613963039014</c:v>
                </c:pt>
                <c:pt idx="7">
                  <c:v>0.38581560283687943</c:v>
                </c:pt>
                <c:pt idx="8">
                  <c:v>0.36363636363636365</c:v>
                </c:pt>
                <c:pt idx="9">
                  <c:v>0.3699421965317919</c:v>
                </c:pt>
                <c:pt idx="10">
                  <c:v>0.36801541425818884</c:v>
                </c:pt>
                <c:pt idx="11">
                  <c:v>0.34880636604774534</c:v>
                </c:pt>
                <c:pt idx="12">
                  <c:v>0.3196428571428571</c:v>
                </c:pt>
                <c:pt idx="13">
                  <c:v>0.3578336557059961</c:v>
                </c:pt>
                <c:pt idx="14">
                  <c:v>0.35496957403651114</c:v>
                </c:pt>
                <c:pt idx="15">
                  <c:v>0.3422222222222222</c:v>
                </c:pt>
                <c:pt idx="16">
                  <c:v>0.38482384823848237</c:v>
                </c:pt>
                <c:pt idx="17">
                  <c:v>0.39851485148514854</c:v>
                </c:pt>
                <c:pt idx="18">
                  <c:v>0.3565217391304348</c:v>
                </c:pt>
                <c:pt idx="19">
                  <c:v>0.33035714285714285</c:v>
                </c:pt>
                <c:pt idx="20">
                  <c:v>0.3355048859934853</c:v>
                </c:pt>
                <c:pt idx="21">
                  <c:v>0.34801762114537443</c:v>
                </c:pt>
                <c:pt idx="22">
                  <c:v>0.36771300448430494</c:v>
                </c:pt>
                <c:pt idx="23">
                  <c:v>0.37446808510638296</c:v>
                </c:pt>
                <c:pt idx="24">
                  <c:v>0.38064516129032255</c:v>
                </c:pt>
                <c:pt idx="25">
                  <c:v>0.35144927536231885</c:v>
                </c:pt>
                <c:pt idx="26">
                  <c:v>0.3722627737226277</c:v>
                </c:pt>
                <c:pt idx="27">
                  <c:v>0.41304347826086957</c:v>
                </c:pt>
                <c:pt idx="28">
                  <c:v>0.37995337995337997</c:v>
                </c:pt>
                <c:pt idx="29">
                  <c:v>0.3303303303303303</c:v>
                </c:pt>
                <c:pt idx="30">
                  <c:v>0.3076923076923077</c:v>
                </c:pt>
                <c:pt idx="31">
                  <c:v>0.301994301994302</c:v>
                </c:pt>
                <c:pt idx="32">
                  <c:v>0.30413625304136255</c:v>
                </c:pt>
                <c:pt idx="33">
                  <c:v>0.3126177024482109</c:v>
                </c:pt>
                <c:pt idx="34">
                  <c:v>0.30689655172413793</c:v>
                </c:pt>
                <c:pt idx="35">
                  <c:v>0.3208092485549133</c:v>
                </c:pt>
                <c:pt idx="36">
                  <c:v>0.26022304832713755</c:v>
                </c:pt>
                <c:pt idx="37">
                  <c:v>0.26578073089701</c:v>
                </c:pt>
                <c:pt idx="38">
                  <c:v>0.32840236686390534</c:v>
                </c:pt>
                <c:pt idx="39">
                  <c:v>0.3286384976525822</c:v>
                </c:pt>
                <c:pt idx="40">
                  <c:v>0.3477088948787062</c:v>
                </c:pt>
                <c:pt idx="41">
                  <c:v>0.30024213075060535</c:v>
                </c:pt>
                <c:pt idx="42">
                  <c:v>0.36</c:v>
                </c:pt>
                <c:pt idx="43">
                  <c:v>0.3104166666666667</c:v>
                </c:pt>
                <c:pt idx="44">
                  <c:v>0.3556231003039514</c:v>
                </c:pt>
                <c:pt idx="45">
                  <c:v>0.3809034907597536</c:v>
                </c:pt>
                <c:pt idx="46">
                  <c:v>0.4026315789473684</c:v>
                </c:pt>
                <c:pt idx="47">
                  <c:v>0.410062893081761</c:v>
                </c:pt>
                <c:pt idx="48">
                  <c:v>0.40162271805273836</c:v>
                </c:pt>
                <c:pt idx="49">
                  <c:v>0.3744454303460515</c:v>
                </c:pt>
                <c:pt idx="50">
                  <c:v>0.34691011235955055</c:v>
                </c:pt>
                <c:pt idx="51">
                  <c:v>0.3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8.3811180526775</c:v>
                </c:pt>
              </c:numCache>
            </c:numRef>
          </c:xVal>
          <c:yVal>
            <c:numRef>
              <c:f>Sheet1!$B$163:$B$164</c:f>
              <c:numCache>
                <c:formatCode>General</c:formatCode>
                <c:ptCount val="2"/>
                <c:pt idx="0">
                  <c:v>0.39594887096537285</c:v>
                </c:pt>
                <c:pt idx="1">
                  <c:v>0.395948870965372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8.3811180526775</c:v>
                </c:pt>
                <c:pt idx="1">
                  <c:v>878.3811180526775</c:v>
                </c:pt>
              </c:numCache>
            </c:numRef>
          </c:xVal>
          <c:yVal>
            <c:numRef>
              <c:f>Sheet1!$B$167:$B$168</c:f>
              <c:numCache>
                <c:formatCode>General</c:formatCode>
                <c:ptCount val="2"/>
                <c:pt idx="0">
                  <c:v>0.395948870965372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7.7239628416683</c:v>
                </c:pt>
              </c:numCache>
            </c:numRef>
          </c:xVal>
          <c:yVal>
            <c:numRef>
              <c:f>Sheet1!$B$171:$B$172</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7.7239628416683</c:v>
                </c:pt>
                <c:pt idx="1">
                  <c:v>1107.7239628416683</c:v>
                </c:pt>
              </c:numCache>
            </c:numRef>
          </c:xVal>
          <c:yVal>
            <c:numRef>
              <c:f>Sheet1!$B$175:$B$176</c:f>
              <c:numCache>
                <c:formatCode>General</c:formatCode>
                <c:ptCount val="2"/>
                <c:pt idx="0">
                  <c:v>0.362744565189585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4.1047491917436</c:v>
                </c:pt>
              </c:numCache>
            </c:numRef>
          </c:xVal>
          <c:yVal>
            <c:numRef>
              <c:f>Sheet1!$B$179:$B$180</c:f>
              <c:numCache>
                <c:formatCode>General</c:formatCode>
                <c:ptCount val="2"/>
                <c:pt idx="0">
                  <c:v>0.3574773472153643</c:v>
                </c:pt>
                <c:pt idx="1">
                  <c:v>0.35747734721536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4.1047491917436</c:v>
                </c:pt>
                <c:pt idx="1">
                  <c:v>1144.1047491917436</c:v>
                </c:pt>
              </c:numCache>
            </c:numRef>
          </c:xVal>
          <c:yVal>
            <c:numRef>
              <c:f>Sheet1!$B$183:$B$184</c:f>
              <c:numCache>
                <c:formatCode>General</c:formatCode>
                <c:ptCount val="2"/>
                <c:pt idx="0">
                  <c:v>0.35747734721536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5.7143</c:v>
                </c:pt>
                <c:pt idx="1">
                  <c:v>1308.1907</c:v>
                </c:pt>
                <c:pt idx="2">
                  <c:v>1261.1303</c:v>
                </c:pt>
                <c:pt idx="3">
                  <c:v>1163.2014</c:v>
                </c:pt>
                <c:pt idx="4">
                  <c:v>1294.3207</c:v>
                </c:pt>
                <c:pt idx="5">
                  <c:v>1239.8638</c:v>
                </c:pt>
                <c:pt idx="6">
                  <c:v>1105.2601</c:v>
                </c:pt>
                <c:pt idx="7">
                  <c:v>1118.1949</c:v>
                </c:pt>
                <c:pt idx="8">
                  <c:v>1180.2375</c:v>
                </c:pt>
                <c:pt idx="9">
                  <c:v>1155.0</c:v>
                </c:pt>
                <c:pt idx="10">
                  <c:v>1179.8325</c:v>
                </c:pt>
                <c:pt idx="11">
                  <c:v>1056.924</c:v>
                </c:pt>
                <c:pt idx="12">
                  <c:v>1084.7263</c:v>
                </c:pt>
                <c:pt idx="13">
                  <c:v>1138.4595</c:v>
                </c:pt>
                <c:pt idx="14">
                  <c:v>1126.4229</c:v>
                </c:pt>
                <c:pt idx="15">
                  <c:v>1193.6104</c:v>
                </c:pt>
                <c:pt idx="16">
                  <c:v>1187.1268</c:v>
                </c:pt>
                <c:pt idx="17">
                  <c:v>1155.4161</c:v>
                </c:pt>
                <c:pt idx="18">
                  <c:v>1228.1301</c:v>
                </c:pt>
                <c:pt idx="19">
                  <c:v>1384.4324</c:v>
                </c:pt>
                <c:pt idx="20">
                  <c:v>1380.5728</c:v>
                </c:pt>
                <c:pt idx="21">
                  <c:v>1323.6835</c:v>
                </c:pt>
                <c:pt idx="22">
                  <c:v>1331.7439</c:v>
                </c:pt>
                <c:pt idx="23">
                  <c:v>1271.1477</c:v>
                </c:pt>
                <c:pt idx="24">
                  <c:v>1274.8051</c:v>
                </c:pt>
                <c:pt idx="25">
                  <c:v>1192.4433</c:v>
                </c:pt>
                <c:pt idx="26">
                  <c:v>1172.5294</c:v>
                </c:pt>
                <c:pt idx="27">
                  <c:v>1179.8224</c:v>
                </c:pt>
                <c:pt idx="28">
                  <c:v>1212.3742</c:v>
                </c:pt>
                <c:pt idx="29">
                  <c:v>1213.0545</c:v>
                </c:pt>
                <c:pt idx="30">
                  <c:v>1149.6759</c:v>
                </c:pt>
                <c:pt idx="31">
                  <c:v>1176.2075</c:v>
                </c:pt>
                <c:pt idx="32">
                  <c:v>1191.88</c:v>
                </c:pt>
                <c:pt idx="33">
                  <c:v>1160.0422</c:v>
                </c:pt>
                <c:pt idx="34">
                  <c:v>1173.8652</c:v>
                </c:pt>
                <c:pt idx="35">
                  <c:v>1197.1982</c:v>
                </c:pt>
                <c:pt idx="36">
                  <c:v>1321.3857</c:v>
                </c:pt>
                <c:pt idx="37">
                  <c:v>1320.95</c:v>
                </c:pt>
                <c:pt idx="38">
                  <c:v>1364.3153</c:v>
                </c:pt>
                <c:pt idx="39">
                  <c:v>1316.0071</c:v>
                </c:pt>
                <c:pt idx="40">
                  <c:v>1306.876</c:v>
                </c:pt>
                <c:pt idx="41">
                  <c:v>1367.9919</c:v>
                </c:pt>
                <c:pt idx="42">
                  <c:v>1378.7521</c:v>
                </c:pt>
                <c:pt idx="43">
                  <c:v>1402.5168</c:v>
                </c:pt>
                <c:pt idx="44">
                  <c:v>1255.3761</c:v>
                </c:pt>
                <c:pt idx="45">
                  <c:v>1189.7251</c:v>
                </c:pt>
                <c:pt idx="46">
                  <c:v>1160.3105</c:v>
                </c:pt>
                <c:pt idx="47">
                  <c:v>1151.2822</c:v>
                </c:pt>
                <c:pt idx="48">
                  <c:v>1138.1111</c:v>
                </c:pt>
                <c:pt idx="49">
                  <c:v>1160.3768</c:v>
                </c:pt>
                <c:pt idx="50">
                  <c:v>1105.5526</c:v>
                </c:pt>
                <c:pt idx="51">
                  <c:v>1088.0244</c:v>
                </c:pt>
                <c:pt idx="52">
                  <c:v>1107.7239628416683</c:v>
                </c:pt>
                <c:pt idx="53">
                  <c:v>878.3811180526775</c:v>
                </c:pt>
                <c:pt idx="54">
                  <c:v>1144.1047491917436</c:v>
                </c:pt>
              </c:numCache>
            </c:numRef>
          </c:xVal>
          <c:yVal>
            <c:numRef>
              <c:f>Sheet1!$B$187:$B$241</c:f>
              <c:numCache>
                <c:formatCode>General</c:formatCode>
                <c:ptCount val="55"/>
                <c:pt idx="0">
                  <c:v>0.33552728425090234</c:v>
                </c:pt>
                <c:pt idx="1">
                  <c:v>0.33372094840919686</c:v>
                </c:pt>
                <c:pt idx="2">
                  <c:v>0.3405343631157624</c:v>
                </c:pt>
                <c:pt idx="3">
                  <c:v>0.35471253005564785</c:v>
                </c:pt>
                <c:pt idx="4">
                  <c:v>0.3357290499548715</c:v>
                </c:pt>
                <c:pt idx="5">
                  <c:v>0.34361333150228646</c:v>
                </c:pt>
                <c:pt idx="6">
                  <c:v>0.3631012837750706</c:v>
                </c:pt>
                <c:pt idx="7">
                  <c:v>0.3612285806840114</c:v>
                </c:pt>
                <c:pt idx="8">
                  <c:v>0.35224603987956515</c:v>
                </c:pt>
                <c:pt idx="9">
                  <c:v>0.35589993048943985</c:v>
                </c:pt>
                <c:pt idx="10">
                  <c:v>0.352304675865578</c:v>
                </c:pt>
                <c:pt idx="11">
                  <c:v>0.370099394598566</c:v>
                </c:pt>
                <c:pt idx="12">
                  <c:v>0.3660741716999857</c:v>
                </c:pt>
                <c:pt idx="13">
                  <c:v>0.3582946675922683</c:v>
                </c:pt>
                <c:pt idx="14">
                  <c:v>0.36003732909657016</c:v>
                </c:pt>
                <c:pt idx="15">
                  <c:v>0.35030990857746336</c:v>
                </c:pt>
                <c:pt idx="16">
                  <c:v>0.35124860556243354</c:v>
                </c:pt>
                <c:pt idx="17">
                  <c:v>0.3558396874430696</c:v>
                </c:pt>
                <c:pt idx="18">
                  <c:v>0.34531213908025915</c:v>
                </c:pt>
                <c:pt idx="19">
                  <c:v>0.32268265889118275</c:v>
                </c:pt>
                <c:pt idx="20">
                  <c:v>0.32324145259887455</c:v>
                </c:pt>
                <c:pt idx="21">
                  <c:v>0.3314778975348763</c:v>
                </c:pt>
                <c:pt idx="22">
                  <c:v>0.3303109111110295</c:v>
                </c:pt>
                <c:pt idx="23">
                  <c:v>0.33908404181629304</c:v>
                </c:pt>
                <c:pt idx="24">
                  <c:v>0.33855452266754393</c:v>
                </c:pt>
                <c:pt idx="25">
                  <c:v>0.35047888156332907</c:v>
                </c:pt>
                <c:pt idx="26">
                  <c:v>0.3533620202345914</c:v>
                </c:pt>
                <c:pt idx="27">
                  <c:v>0.35230613814572304</c:v>
                </c:pt>
                <c:pt idx="28">
                  <c:v>0.34759328162845626</c:v>
                </c:pt>
                <c:pt idx="29">
                  <c:v>0.347494787649976</c:v>
                </c:pt>
                <c:pt idx="30">
                  <c:v>0.3566707548181584</c:v>
                </c:pt>
                <c:pt idx="31">
                  <c:v>0.3528295041354461</c:v>
                </c:pt>
                <c:pt idx="32">
                  <c:v>0.3505604362569612</c:v>
                </c:pt>
                <c:pt idx="33">
                  <c:v>0.3551699197025905</c:v>
                </c:pt>
                <c:pt idx="34">
                  <c:v>0.3531686228268977</c:v>
                </c:pt>
                <c:pt idx="35">
                  <c:v>0.3497904661314958</c:v>
                </c:pt>
                <c:pt idx="36">
                  <c:v>0.3318105735068771</c:v>
                </c:pt>
                <c:pt idx="37">
                  <c:v>0.33187365424540993</c:v>
                </c:pt>
                <c:pt idx="38">
                  <c:v>0.32559521690160015</c:v>
                </c:pt>
                <c:pt idx="39">
                  <c:v>0.33258928835717017</c:v>
                </c:pt>
                <c:pt idx="40">
                  <c:v>0.3339112909544095</c:v>
                </c:pt>
                <c:pt idx="41">
                  <c:v>0.3250629179727734</c:v>
                </c:pt>
                <c:pt idx="42">
                  <c:v>0.32350505393155005</c:v>
                </c:pt>
                <c:pt idx="43">
                  <c:v>0.3200643956184648</c:v>
                </c:pt>
                <c:pt idx="44">
                  <c:v>0.34136745741382446</c:v>
                </c:pt>
                <c:pt idx="45">
                  <c:v>0.3508724231366133</c:v>
                </c:pt>
                <c:pt idx="46">
                  <c:v>0.3551310751716097</c:v>
                </c:pt>
                <c:pt idx="47">
                  <c:v>0.35643819436301655</c:v>
                </c:pt>
                <c:pt idx="48">
                  <c:v>0.35834510901826055</c:v>
                </c:pt>
                <c:pt idx="49">
                  <c:v>0.3551214762435291</c:v>
                </c:pt>
                <c:pt idx="50">
                  <c:v>0.3630589355629502</c:v>
                </c:pt>
                <c:pt idx="51">
                  <c:v>0.3655966720815438</c:v>
                </c:pt>
                <c:pt idx="52">
                  <c:v>0.3627445651895851</c:v>
                </c:pt>
                <c:pt idx="53">
                  <c:v>0.39594887096537285</c:v>
                </c:pt>
                <c:pt idx="54">
                  <c:v>0.35747734721536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3.0"/>
          <c:min val="55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57725947521865"/>
          <c:min val="0.203203661327231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c:f>
              <c:numCache>
                <c:formatCode>General</c:formatCode>
                <c:ptCount val="2"/>
                <c:pt idx="0">
                  <c:v>0.0</c:v>
                </c:pt>
                <c:pt idx="1">
                  <c:v>0.0</c:v>
                </c:pt>
              </c:numCache>
            </c:numRef>
          </c:xVal>
          <c:yVal>
            <c:numRef>
              <c:f>Sheet1!$B$2:$B$3</c:f>
              <c:numCache>
                <c:formatCode>General</c:formatCode>
                <c:ptCount val="2"/>
                <c:pt idx="0">
                  <c:v>0.3286384976525822</c:v>
                </c:pt>
                <c:pt idx="1">
                  <c:v>0.36</c:v>
                </c:pt>
              </c:numCache>
            </c:numRef>
          </c:yVal>
          <c:smooth val="0"/>
          <c:extLst>
            <c:ext xmlns:c16="http://schemas.microsoft.com/office/drawing/2014/chart" uri="{C3380CC4-5D6E-409C-BE32-E72D297353CC}">
              <c16:uniqueId val="{00000000-096C-4121-9522-6AB7243CCAAE}"/>
            </c:ext>
          </c:extLst>
        </c:ser>
        <c:ser>
          <c:idx val="1"/>
          <c:order val="1"/>
          <c:tx>
            <c:strRef>
              <c:f>Sheet1!$B$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A$17</c:f>
              <c:numCache>
                <c:formatCode>General</c:formatCode>
                <c:ptCount val="12"/>
                <c:pt idx="0">
                  <c:v>1.0785101185770751</c:v>
                </c:pt>
                <c:pt idx="1">
                  <c:v>0.6447340897878638</c:v>
                </c:pt>
                <c:pt idx="2">
                  <c:v>1.0186090096798213</c:v>
                </c:pt>
                <c:pt idx="3">
                  <c:v>0.5415122779922781</c:v>
                </c:pt>
                <c:pt idx="4">
                  <c:v>0.400311256377551</c:v>
                </c:pt>
                <c:pt idx="5">
                  <c:v>0.8407951236749117</c:v>
                </c:pt>
                <c:pt idx="6">
                  <c:v>0.50757239720035</c:v>
                </c:pt>
                <c:pt idx="7">
                  <c:v>0.9166259554140128</c:v>
                </c:pt>
                <c:pt idx="8">
                  <c:v>0.5260103600984385</c:v>
                </c:pt>
                <c:pt idx="9">
                  <c:v>0.7189447335811648</c:v>
                </c:pt>
                <c:pt idx="10">
                  <c:v>0.6174546774643954</c:v>
                </c:pt>
                <c:pt idx="11">
                  <c:v>0.6245834672789897</c:v>
                </c:pt>
              </c:numCache>
            </c:numRef>
          </c:xVal>
          <c:yVal>
            <c:numRef>
              <c:f>Sheet1!$B$6:$B$17</c:f>
              <c:numCache>
                <c:formatCode>General</c:formatCode>
                <c:ptCount val="12"/>
                <c:pt idx="0">
                  <c:v>0.32840236686390534</c:v>
                </c:pt>
                <c:pt idx="1">
                  <c:v>0.3477088948787062</c:v>
                </c:pt>
                <c:pt idx="2">
                  <c:v>0.30024213075060535</c:v>
                </c:pt>
                <c:pt idx="3">
                  <c:v>0.3104166666666667</c:v>
                </c:pt>
                <c:pt idx="4">
                  <c:v>0.3556231003039514</c:v>
                </c:pt>
                <c:pt idx="5">
                  <c:v>0.3809034907597536</c:v>
                </c:pt>
                <c:pt idx="6">
                  <c:v>0.4026315789473684</c:v>
                </c:pt>
                <c:pt idx="7">
                  <c:v>0.410062893081761</c:v>
                </c:pt>
                <c:pt idx="8">
                  <c:v>0.40162271805273836</c:v>
                </c:pt>
                <c:pt idx="9">
                  <c:v>0.3744454303460515</c:v>
                </c:pt>
                <c:pt idx="10">
                  <c:v>0.34691011235955055</c:v>
                </c:pt>
                <c:pt idx="11">
                  <c:v>0.328</c:v>
                </c:pt>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5550883670094967</c:v>
                </c:pt>
              </c:numCache>
            </c:numRef>
          </c:xVal>
          <c:yVal>
            <c:numRef>
              <c:f>Sheet1!$B$20:$B$21</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5550883670094967</c:v>
                </c:pt>
                <c:pt idx="1">
                  <c:v>0.5550883670094967</c:v>
                </c:pt>
              </c:numCache>
            </c:numRef>
          </c:xVal>
          <c:yVal>
            <c:numRef>
              <c:f>Sheet1!$B$24:$B$25</c:f>
              <c:numCache>
                <c:formatCode>General</c:formatCode>
                <c:ptCount val="2"/>
                <c:pt idx="0">
                  <c:v>0.362744565189585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29</c:f>
              <c:numCache>
                <c:formatCode>General</c:formatCode>
                <c:ptCount val="2"/>
                <c:pt idx="0">
                  <c:v>0</c:v>
                </c:pt>
                <c:pt idx="1">
                  <c:v>0.5550883670094967</c:v>
                </c:pt>
              </c:numCache>
            </c:numRef>
          </c:xVal>
          <c:yVal>
            <c:numRef>
              <c:f>Sheet1!$B$28:$B$29</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D-096C-4121-9522-6AB7243CCAAE}"/>
            </c:ext>
          </c:extLst>
        </c:ser>
        <c:ser>
          <c:idx val="5"/>
          <c:order val="5"/>
          <c:tx>
            <c:strRef>
              <c:f>Sheet1!$B$3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2:$A$33</c:f>
              <c:numCache>
                <c:formatCode>General</c:formatCode>
                <c:ptCount val="2"/>
                <c:pt idx="0">
                  <c:v>0.5550883670094967</c:v>
                </c:pt>
                <c:pt idx="1">
                  <c:v>0.5550883670094967</c:v>
                </c:pt>
              </c:numCache>
            </c:numRef>
          </c:xVal>
          <c:yVal>
            <c:numRef>
              <c:f>Sheet1!$B$32:$B$33</c:f>
              <c:numCache>
                <c:formatCode>General</c:formatCode>
                <c:ptCount val="2"/>
                <c:pt idx="0">
                  <c:v>0.362744565189585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6:$A$37</c:f>
              <c:numCache>
                <c:formatCode>General</c:formatCode>
                <c:ptCount val="2"/>
                <c:pt idx="0">
                  <c:v>0</c:v>
                </c:pt>
                <c:pt idx="1">
                  <c:v>0.6967872160258636</c:v>
                </c:pt>
              </c:numCache>
            </c:numRef>
          </c:xVal>
          <c:yVal>
            <c:numRef>
              <c:f>Sheet1!$B$36:$B$37</c:f>
              <c:numCache>
                <c:formatCode>General</c:formatCode>
                <c:ptCount val="2"/>
                <c:pt idx="0">
                  <c:v>0.3574773472153643</c:v>
                </c:pt>
                <c:pt idx="1">
                  <c:v>0.3574773472153643</c:v>
                </c:pt>
              </c:numCache>
            </c:numRef>
          </c:yVal>
          <c:smooth val="0"/>
          <c:extLst>
            <c:ext xmlns:c16="http://schemas.microsoft.com/office/drawing/2014/chart" uri="{C3380CC4-5D6E-409C-BE32-E72D297353CC}">
              <c16:uniqueId val="{00000015-096C-4121-9522-6AB7243CCAAE}"/>
            </c:ext>
          </c:extLst>
        </c:ser>
        <c:ser>
          <c:idx val="7"/>
          <c:order val="7"/>
          <c:tx>
            <c:strRef>
              <c:f>Sheet1!$B$3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0:$A$41</c:f>
              <c:numCache>
                <c:formatCode>General</c:formatCode>
                <c:ptCount val="2"/>
                <c:pt idx="0">
                  <c:v>0.6967872160258636</c:v>
                </c:pt>
                <c:pt idx="1">
                  <c:v>0.6967872160258636</c:v>
                </c:pt>
              </c:numCache>
            </c:numRef>
          </c:xVal>
          <c:yVal>
            <c:numRef>
              <c:f>Sheet1!$B$40:$B$41</c:f>
              <c:numCache>
                <c:formatCode>General</c:formatCode>
                <c:ptCount val="2"/>
                <c:pt idx="0">
                  <c:v>0.35747734721536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4:$A$58</c:f>
              <c:numCache>
                <c:formatCode>General</c:formatCode>
                <c:ptCount val="15"/>
                <c:pt idx="0">
                  <c:v>1.0785101185770751</c:v>
                </c:pt>
                <c:pt idx="1">
                  <c:v>0.6447340897878638</c:v>
                </c:pt>
                <c:pt idx="2">
                  <c:v>1.0186090096798213</c:v>
                </c:pt>
                <c:pt idx="3">
                  <c:v>0.5415122779922781</c:v>
                </c:pt>
                <c:pt idx="4">
                  <c:v>0.400311256377551</c:v>
                </c:pt>
                <c:pt idx="5">
                  <c:v>0.8407951236749117</c:v>
                </c:pt>
                <c:pt idx="6">
                  <c:v>0.50757239720035</c:v>
                </c:pt>
                <c:pt idx="7">
                  <c:v>0.9166259554140128</c:v>
                </c:pt>
                <c:pt idx="8">
                  <c:v>0.5260103600984385</c:v>
                </c:pt>
                <c:pt idx="9">
                  <c:v>0.7189447335811648</c:v>
                </c:pt>
                <c:pt idx="10">
                  <c:v>0.6174546774643954</c:v>
                </c:pt>
                <c:pt idx="11">
                  <c:v>0.6245834672789897</c:v>
                </c:pt>
                <c:pt idx="12">
                  <c:v>0.5550883670094967</c:v>
                </c:pt>
                <c:pt idx="13">
                  <c:v>0.5550883670094967</c:v>
                </c:pt>
                <c:pt idx="14">
                  <c:v>0.6967872160258636</c:v>
                </c:pt>
              </c:numCache>
            </c:numRef>
          </c:xVal>
          <c:yVal>
            <c:numRef>
              <c:f>Sheet1!$B$44:$B$58</c:f>
              <c:numCache>
                <c:formatCode>General</c:formatCode>
                <c:ptCount val="15"/>
                <c:pt idx="0">
                  <c:v>0.34328797484257073</c:v>
                </c:pt>
                <c:pt idx="1">
                  <c:v>0.35941226174740476</c:v>
                </c:pt>
                <c:pt idx="2">
                  <c:v>0.34551461394126187</c:v>
                </c:pt>
                <c:pt idx="3">
                  <c:v>0.3632492144551755</c:v>
                </c:pt>
                <c:pt idx="4">
                  <c:v>0.3684979272301221</c:v>
                </c:pt>
                <c:pt idx="5">
                  <c:v>0.3521242971033526</c:v>
                </c:pt>
                <c:pt idx="6">
                  <c:v>0.36451082491560705</c:v>
                </c:pt>
                <c:pt idx="7">
                  <c:v>0.34930551965590717</c:v>
                </c:pt>
                <c:pt idx="8">
                  <c:v>0.3638254504735492</c:v>
                </c:pt>
                <c:pt idx="9">
                  <c:v>0.3566537097931724</c:v>
                </c:pt>
                <c:pt idx="10">
                  <c:v>0.36042628982112435</c:v>
                </c:pt>
                <c:pt idx="11">
                  <c:v>0.3601612990318094</c:v>
                </c:pt>
                <c:pt idx="12">
                  <c:v>0.3627445651895851</c:v>
                </c:pt>
                <c:pt idx="13">
                  <c:v>0.3627445651895851</c:v>
                </c:pt>
                <c:pt idx="14">
                  <c:v>0.35747734721536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20754716981132"/>
          <c:min val="0.240193704600484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7</c:f>
              <c:numCache>
                <c:formatCode>General</c:formatCode>
                <c:ptCount val="14"/>
                <c:pt idx="0">
                  <c:v>1364.3153</c:v>
                </c:pt>
                <c:pt idx="1">
                  <c:v>1316.0071</c:v>
                </c:pt>
                <c:pt idx="2">
                  <c:v>1306.876</c:v>
                </c:pt>
                <c:pt idx="3">
                  <c:v>1367.9919</c:v>
                </c:pt>
                <c:pt idx="4">
                  <c:v>1378.7521</c:v>
                </c:pt>
                <c:pt idx="5">
                  <c:v>1402.5168</c:v>
                </c:pt>
                <c:pt idx="6">
                  <c:v>1255.3761</c:v>
                </c:pt>
                <c:pt idx="7">
                  <c:v>1189.7251</c:v>
                </c:pt>
                <c:pt idx="8">
                  <c:v>1160.3105</c:v>
                </c:pt>
                <c:pt idx="9">
                  <c:v>1151.2822</c:v>
                </c:pt>
                <c:pt idx="10">
                  <c:v>1138.1111</c:v>
                </c:pt>
                <c:pt idx="11">
                  <c:v>1160.3768</c:v>
                </c:pt>
                <c:pt idx="12">
                  <c:v>1105.5526</c:v>
                </c:pt>
                <c:pt idx="13">
                  <c:v>1088.0244</c:v>
                </c:pt>
              </c:numCache>
            </c:numRef>
          </c:xVal>
          <c:yVal>
            <c:numRef>
              <c:f>Sheet1!$B$4:$B$17</c:f>
              <c:numCache>
                <c:formatCode>General</c:formatCode>
                <c:ptCount val="14"/>
                <c:pt idx="0">
                  <c:v>0.32840236686390534</c:v>
                </c:pt>
                <c:pt idx="1">
                  <c:v>0.3286384976525822</c:v>
                </c:pt>
                <c:pt idx="2">
                  <c:v>0.3477088948787062</c:v>
                </c:pt>
                <c:pt idx="3">
                  <c:v>0.30024213075060535</c:v>
                </c:pt>
                <c:pt idx="4">
                  <c:v>0.36</c:v>
                </c:pt>
                <c:pt idx="5">
                  <c:v>0.3104166666666667</c:v>
                </c:pt>
                <c:pt idx="6">
                  <c:v>0.3556231003039514</c:v>
                </c:pt>
                <c:pt idx="7">
                  <c:v>0.3809034907597536</c:v>
                </c:pt>
                <c:pt idx="8">
                  <c:v>0.4026315789473684</c:v>
                </c:pt>
                <c:pt idx="9">
                  <c:v>0.410062893081761</c:v>
                </c:pt>
                <c:pt idx="10">
                  <c:v>0.40162271805273836</c:v>
                </c:pt>
                <c:pt idx="11">
                  <c:v>0.3744454303460515</c:v>
                </c:pt>
                <c:pt idx="12">
                  <c:v>0.34691011235955055</c:v>
                </c:pt>
                <c:pt idx="13">
                  <c:v>0.328</c:v>
                </c:pt>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1202.5882326171632</c:v>
                </c:pt>
              </c:numCache>
            </c:numRef>
          </c:xVal>
          <c:yVal>
            <c:numRef>
              <c:f>Sheet1!$B$20:$B$21</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1202.5882326171632</c:v>
                </c:pt>
                <c:pt idx="1">
                  <c:v>1202.5882326171632</c:v>
                </c:pt>
              </c:numCache>
            </c:numRef>
          </c:xVal>
          <c:yVal>
            <c:numRef>
              <c:f>Sheet1!$B$24:$B$25</c:f>
              <c:numCache>
                <c:formatCode>General</c:formatCode>
                <c:ptCount val="2"/>
                <c:pt idx="0">
                  <c:v>0.362744565189585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29</c:f>
              <c:numCache>
                <c:formatCode>General</c:formatCode>
                <c:ptCount val="2"/>
                <c:pt idx="0">
                  <c:v>0</c:v>
                </c:pt>
                <c:pt idx="1">
                  <c:v>1202.5882326171632</c:v>
                </c:pt>
              </c:numCache>
            </c:numRef>
          </c:xVal>
          <c:yVal>
            <c:numRef>
              <c:f>Sheet1!$B$28:$B$29</c:f>
              <c:numCache>
                <c:formatCode>General</c:formatCode>
                <c:ptCount val="2"/>
                <c:pt idx="0">
                  <c:v>0.3627445651895851</c:v>
                </c:pt>
                <c:pt idx="1">
                  <c:v>0.3627445651895851</c:v>
                </c:pt>
              </c:numCache>
            </c:numRef>
          </c:yVal>
          <c:smooth val="0"/>
          <c:extLst>
            <c:ext xmlns:c16="http://schemas.microsoft.com/office/drawing/2014/chart" uri="{C3380CC4-5D6E-409C-BE32-E72D297353CC}">
              <c16:uniqueId val="{0000000A-F32D-48B7-BC20-E66FC6253BAD}"/>
            </c:ext>
          </c:extLst>
        </c:ser>
        <c:ser>
          <c:idx val="5"/>
          <c:order val="5"/>
          <c:tx>
            <c:strRef>
              <c:f>Sheet1!$B$3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2:$A$33</c:f>
              <c:numCache>
                <c:formatCode>General</c:formatCode>
                <c:ptCount val="2"/>
                <c:pt idx="0">
                  <c:v>1202.5882326171632</c:v>
                </c:pt>
                <c:pt idx="1">
                  <c:v>1202.5882326171632</c:v>
                </c:pt>
              </c:numCache>
            </c:numRef>
          </c:xVal>
          <c:yVal>
            <c:numRef>
              <c:f>Sheet1!$B$32:$B$33</c:f>
              <c:numCache>
                <c:formatCode>General</c:formatCode>
                <c:ptCount val="2"/>
                <c:pt idx="0">
                  <c:v>0.362744565189585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6:$A$37</c:f>
              <c:numCache>
                <c:formatCode>General</c:formatCode>
                <c:ptCount val="2"/>
                <c:pt idx="0">
                  <c:v>0</c:v>
                </c:pt>
                <c:pt idx="1">
                  <c:v>1230.712365764288</c:v>
                </c:pt>
              </c:numCache>
            </c:numRef>
          </c:xVal>
          <c:yVal>
            <c:numRef>
              <c:f>Sheet1!$B$36:$B$37</c:f>
              <c:numCache>
                <c:formatCode>General</c:formatCode>
                <c:ptCount val="2"/>
                <c:pt idx="0">
                  <c:v>0.3574773472153643</c:v>
                </c:pt>
                <c:pt idx="1">
                  <c:v>0.3574773472153643</c:v>
                </c:pt>
              </c:numCache>
            </c:numRef>
          </c:yVal>
          <c:smooth val="0"/>
          <c:extLst>
            <c:ext xmlns:c16="http://schemas.microsoft.com/office/drawing/2014/chart" uri="{C3380CC4-5D6E-409C-BE32-E72D297353CC}">
              <c16:uniqueId val="{00000011-F32D-48B7-BC20-E66FC6253BAD}"/>
            </c:ext>
          </c:extLst>
        </c:ser>
        <c:ser>
          <c:idx val="7"/>
          <c:order val="7"/>
          <c:tx>
            <c:strRef>
              <c:f>Sheet1!$B$3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0:$A$41</c:f>
              <c:numCache>
                <c:formatCode>General</c:formatCode>
                <c:ptCount val="2"/>
                <c:pt idx="0">
                  <c:v>1230.712365764288</c:v>
                </c:pt>
                <c:pt idx="1">
                  <c:v>1230.712365764288</c:v>
                </c:pt>
              </c:numCache>
            </c:numRef>
          </c:xVal>
          <c:yVal>
            <c:numRef>
              <c:f>Sheet1!$B$40:$B$41</c:f>
              <c:numCache>
                <c:formatCode>General</c:formatCode>
                <c:ptCount val="2"/>
                <c:pt idx="0">
                  <c:v>0.35747734721536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4:$A$60</c:f>
              <c:numCache>
                <c:formatCode>General</c:formatCode>
                <c:ptCount val="17"/>
                <c:pt idx="0">
                  <c:v>1364.3153</c:v>
                </c:pt>
                <c:pt idx="1">
                  <c:v>1316.0071</c:v>
                </c:pt>
                <c:pt idx="2">
                  <c:v>1306.876</c:v>
                </c:pt>
                <c:pt idx="3">
                  <c:v>1367.9919</c:v>
                </c:pt>
                <c:pt idx="4">
                  <c:v>1378.7521</c:v>
                </c:pt>
                <c:pt idx="5">
                  <c:v>1402.5168</c:v>
                </c:pt>
                <c:pt idx="6">
                  <c:v>1255.3761</c:v>
                </c:pt>
                <c:pt idx="7">
                  <c:v>1189.7251</c:v>
                </c:pt>
                <c:pt idx="8">
                  <c:v>1160.3105</c:v>
                </c:pt>
                <c:pt idx="9">
                  <c:v>1151.2822</c:v>
                </c:pt>
                <c:pt idx="10">
                  <c:v>1138.1111</c:v>
                </c:pt>
                <c:pt idx="11">
                  <c:v>1160.3768</c:v>
                </c:pt>
                <c:pt idx="12">
                  <c:v>1105.5526</c:v>
                </c:pt>
                <c:pt idx="13">
                  <c:v>1088.0244</c:v>
                </c:pt>
                <c:pt idx="14">
                  <c:v>1202.5882326171632</c:v>
                </c:pt>
                <c:pt idx="15">
                  <c:v>1202.5882326171632</c:v>
                </c:pt>
                <c:pt idx="16">
                  <c:v>1230.712365764288</c:v>
                </c:pt>
              </c:numCache>
            </c:numRef>
          </c:xVal>
          <c:yVal>
            <c:numRef>
              <c:f>Sheet1!$B$44:$B$60</c:f>
              <c:numCache>
                <c:formatCode>General</c:formatCode>
                <c:ptCount val="17"/>
                <c:pt idx="0">
                  <c:v>0.33245557061753434</c:v>
                </c:pt>
                <c:pt idx="1">
                  <c:v>0.34150295415860765</c:v>
                </c:pt>
                <c:pt idx="2">
                  <c:v>0.3432130688772661</c:v>
                </c:pt>
                <c:pt idx="3">
                  <c:v>0.33176699993332104</c:v>
                </c:pt>
                <c:pt idx="4">
                  <c:v>0.3297517798179233</c:v>
                </c:pt>
                <c:pt idx="5">
                  <c:v>0.3253010166837443</c:v>
                </c:pt>
                <c:pt idx="6">
                  <c:v>0.352858208783678</c:v>
                </c:pt>
                <c:pt idx="7">
                  <c:v>0.3651536322698564</c:v>
                </c:pt>
                <c:pt idx="8">
                  <c:v>0.37066253485590306</c:v>
                </c:pt>
                <c:pt idx="9">
                  <c:v>0.3723533967142185</c:v>
                </c:pt>
                <c:pt idx="10">
                  <c:v>0.374820141352972</c:v>
                </c:pt>
                <c:pt idx="11">
                  <c:v>0.37065011788468966</c:v>
                </c:pt>
                <c:pt idx="12">
                  <c:v>0.38091784809886686</c:v>
                </c:pt>
                <c:pt idx="13">
                  <c:v>0.3842006106150575</c:v>
                </c:pt>
                <c:pt idx="14">
                  <c:v>0.3627445651895851</c:v>
                </c:pt>
                <c:pt idx="15">
                  <c:v>0.3627445651895851</c:v>
                </c:pt>
                <c:pt idx="16">
                  <c:v>0.35747734721536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3.0"/>
          <c:min val="8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920754716981132"/>
          <c:min val="0.240193704600484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8592632478137853</c:v>
                </c:pt>
                <c:pt idx="5">
                  <c:v>1.1082670714855933</c:v>
                </c:pt>
                <c:pt idx="6">
                  <c:v>1.4562578585542159</c:v>
                </c:pt>
                <c:pt idx="7">
                  <c:v>1.6342499700166442</c:v>
                </c:pt>
                <c:pt idx="8">
                  <c:v>1.2905593047482216</c:v>
                </c:pt>
                <c:pt idx="9">
                  <c:v>1.5207515991017575</c:v>
                </c:pt>
                <c:pt idx="10">
                  <c:v>1.1204835201807193</c:v>
                </c:pt>
                <c:pt idx="11">
                  <c:v>1.5672719399975037</c:v>
                </c:pt>
                <c:pt idx="12">
                  <c:v>1.0580601105710334</c:v>
                </c:pt>
                <c:pt idx="13">
                  <c:v>1.1386719004167836</c:v>
                </c:pt>
                <c:pt idx="14">
                  <c:v>0.6114407870398321</c:v>
                </c:pt>
                <c:pt idx="15">
                  <c:v>0.6788712553990544</c:v>
                </c:pt>
                <c:pt idx="16">
                  <c:v>0.9382689261425148</c:v>
                </c:pt>
                <c:pt idx="17">
                  <c:v>0.5749271444782489</c:v>
                </c:pt>
                <c:pt idx="18">
                  <c:v>0.4605400269920721</c:v>
                </c:pt>
                <c:pt idx="19">
                  <c:v>0.5074198720405227</c:v>
                </c:pt>
                <c:pt idx="20">
                  <c:v>1.6974283872165912</c:v>
                </c:pt>
                <c:pt idx="21">
                  <c:v>0.0</c:v>
                </c:pt>
                <c:pt idx="22">
                  <c:v>1.388893217848506</c:v>
                </c:pt>
                <c:pt idx="23">
                  <c:v>1.9846306755112917</c:v>
                </c:pt>
                <c:pt idx="24">
                  <c:v>2.167431130064322</c:v>
                </c:pt>
                <c:pt idx="25">
                  <c:v>1.5689528938280737</c:v>
                </c:pt>
                <c:pt idx="26">
                  <c:v>2.05921008870929</c:v>
                </c:pt>
                <c:pt idx="27">
                  <c:v>2.139797214325542</c:v>
                </c:pt>
                <c:pt idx="28">
                  <c:v>1.6690738807439758</c:v>
                </c:pt>
                <c:pt idx="29">
                  <c:v>1.6073379229377256</c:v>
                </c:pt>
                <c:pt idx="30">
                  <c:v>2.1403778588650453</c:v>
                </c:pt>
                <c:pt idx="31">
                  <c:v>2.8480865002823514</c:v>
                </c:pt>
                <c:pt idx="32">
                  <c:v>2.367862613258252</c:v>
                </c:pt>
                <c:pt idx="33">
                  <c:v>3.0711067970535866</c:v>
                </c:pt>
                <c:pt idx="34">
                  <c:v>1.8817323602739708</c:v>
                </c:pt>
                <c:pt idx="35">
                  <c:v>1.8779654517459519</c:v>
                </c:pt>
                <c:pt idx="36">
                  <c:v>2.0472070986555813</c:v>
                </c:pt>
                <c:pt idx="37">
                  <c:v>2.124352214475519</c:v>
                </c:pt>
                <c:pt idx="38">
                  <c:v>2.8823684463609736</c:v>
                </c:pt>
                <c:pt idx="39">
                  <c:v>2.641272443773881</c:v>
                </c:pt>
                <c:pt idx="40">
                  <c:v>2.659521988774158</c:v>
                </c:pt>
                <c:pt idx="41">
                  <c:v>2.2574191822566636</c:v>
                </c:pt>
                <c:pt idx="42">
                  <c:v>2.4268144122546524</c:v>
                </c:pt>
                <c:pt idx="43">
                  <c:v>2.159721321238159</c:v>
                </c:pt>
                <c:pt idx="44">
                  <c:v>2.490788075387612</c:v>
                </c:pt>
                <c:pt idx="45">
                  <c:v>2.9673384457187764</c:v>
                </c:pt>
                <c:pt idx="46">
                  <c:v>2.1127982851757054</c:v>
                </c:pt>
                <c:pt idx="47">
                  <c:v>3.1628369781140817</c:v>
                </c:pt>
                <c:pt idx="48">
                  <c:v>2.975501404474318</c:v>
                </c:pt>
                <c:pt idx="49">
                  <c:v>2.9203584796828332</c:v>
                </c:pt>
              </c:numCache>
            </c:numRef>
          </c:xVal>
          <c:yVal>
            <c:numRef>
              <c:f>Sheet1!$B$2:$B$51</c:f>
              <c:numCache>
                <c:formatCode>General</c:formatCode>
                <c:ptCount val="50"/>
                <c:pt idx="0">
                  <c:v>0.0</c:v>
                </c:pt>
                <c:pt idx="1">
                  <c:v>0.0</c:v>
                </c:pt>
                <c:pt idx="2">
                  <c:v>0.0</c:v>
                </c:pt>
                <c:pt idx="3">
                  <c:v>0.0</c:v>
                </c:pt>
                <c:pt idx="4">
                  <c:v>0.00014494854326714017</c:v>
                </c:pt>
                <c:pt idx="5">
                  <c:v>0.00016504373659019642</c:v>
                </c:pt>
                <c:pt idx="6">
                  <c:v>0.00024154589371980676</c:v>
                </c:pt>
                <c:pt idx="7">
                  <c:v>0.00021376656690893543</c:v>
                </c:pt>
                <c:pt idx="8">
                  <c:v>0.0002021018593371059</c:v>
                </c:pt>
                <c:pt idx="9">
                  <c:v>0.00018234865061998541</c:v>
                </c:pt>
                <c:pt idx="10">
                  <c:v>0.00038550501156515033</c:v>
                </c:pt>
                <c:pt idx="11">
                  <c:v>0.0004048582995951417</c:v>
                </c:pt>
                <c:pt idx="12">
                  <c:v>0.0004104247896572953</c:v>
                </c:pt>
                <c:pt idx="13">
                  <c:v>0.0005138746145940391</c:v>
                </c:pt>
                <c:pt idx="14">
                  <c:v>0.0006572461386789353</c:v>
                </c:pt>
                <c:pt idx="15">
                  <c:v>0.0006626905235255136</c:v>
                </c:pt>
                <c:pt idx="16">
                  <c:v>0.0003843197540353574</c:v>
                </c:pt>
                <c:pt idx="17">
                  <c:v>0.0006693440428380187</c:v>
                </c:pt>
                <c:pt idx="18">
                  <c:v>0.0007473841554559044</c:v>
                </c:pt>
                <c:pt idx="19">
                  <c:v>0.0006607201850016518</c:v>
                </c:pt>
                <c:pt idx="20">
                  <c:v>0.0007895775759968417</c:v>
                </c:pt>
                <c:pt idx="21">
                  <c:v>0.0</c:v>
                </c:pt>
                <c:pt idx="22">
                  <c:v>0.002144082332761578</c:v>
                </c:pt>
                <c:pt idx="23">
                  <c:v>0.0011001100110011</c:v>
                </c:pt>
                <c:pt idx="24">
                  <c:v>0.001143728555089592</c:v>
                </c:pt>
                <c:pt idx="25">
                  <c:v>0.0014534883720930232</c:v>
                </c:pt>
                <c:pt idx="26">
                  <c:v>0.0010003334444814939</c:v>
                </c:pt>
                <c:pt idx="27">
                  <c:v>0.0014097744360902255</c:v>
                </c:pt>
                <c:pt idx="28">
                  <c:v>0.0015739769150052466</c:v>
                </c:pt>
                <c:pt idx="29">
                  <c:v>0.0020714655618850335</c:v>
                </c:pt>
                <c:pt idx="30">
                  <c:v>0.0017833259028087382</c:v>
                </c:pt>
                <c:pt idx="31">
                  <c:v>0.0012706480304955528</c:v>
                </c:pt>
                <c:pt idx="32">
                  <c:v>0.001447178002894356</c:v>
                </c:pt>
                <c:pt idx="33">
                  <c:v>0.0012320328542094457</c:v>
                </c:pt>
                <c:pt idx="34">
                  <c:v>0.0018501387604070306</c:v>
                </c:pt>
                <c:pt idx="35">
                  <c:v>0.002234137622877569</c:v>
                </c:pt>
                <c:pt idx="36">
                  <c:v>0.002158894645941278</c:v>
                </c:pt>
                <c:pt idx="37">
                  <c:v>0.0020797227036395147</c:v>
                </c:pt>
                <c:pt idx="38">
                  <c:v>0.0016886187098953055</c:v>
                </c:pt>
                <c:pt idx="39">
                  <c:v>0.001594896331738437</c:v>
                </c:pt>
                <c:pt idx="40">
                  <c:v>0.0020057306590257878</c:v>
                </c:pt>
                <c:pt idx="41">
                  <c:v>0.002429906542056075</c:v>
                </c:pt>
                <c:pt idx="42">
                  <c:v>0.0028363765289842226</c:v>
                </c:pt>
                <c:pt idx="43">
                  <c:v>0.0029218407596785976</c:v>
                </c:pt>
                <c:pt idx="44">
                  <c:v>0.0026378595653812334</c:v>
                </c:pt>
                <c:pt idx="45">
                  <c:v>0.0018461538461538461</c:v>
                </c:pt>
                <c:pt idx="46">
                  <c:v>0.003142183817753339</c:v>
                </c:pt>
                <c:pt idx="47">
                  <c:v>0.001964154186103609</c:v>
                </c:pt>
                <c:pt idx="48">
                  <c:v>0.002242655303879794</c:v>
                </c:pt>
                <c:pt idx="49">
                  <c:v>0.0018944519621109607</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2.413835969924202</c:v>
                </c:pt>
                <c:pt idx="1">
                  <c:v>2.0983039480499994</c:v>
                </c:pt>
                <c:pt idx="2">
                  <c:v>2.3382227386436774</c:v>
                </c:pt>
                <c:pt idx="3">
                  <c:v>2.0642018676560467</c:v>
                </c:pt>
                <c:pt idx="4">
                  <c:v>2.802711784166096</c:v>
                </c:pt>
                <c:pt idx="5">
                  <c:v>2.510233805850333</c:v>
                </c:pt>
                <c:pt idx="6">
                  <c:v>2.8632286996926046</c:v>
                </c:pt>
                <c:pt idx="7">
                  <c:v>2.521614705547099</c:v>
                </c:pt>
                <c:pt idx="8">
                  <c:v>2.0371344375588727</c:v>
                </c:pt>
                <c:pt idx="9">
                  <c:v>2.6228545156622887</c:v>
                </c:pt>
                <c:pt idx="10">
                  <c:v>2.580351533579564</c:v>
                </c:pt>
                <c:pt idx="11">
                  <c:v>2.7633961580613886</c:v>
                </c:pt>
                <c:pt idx="12">
                  <c:v>2.698134397241735</c:v>
                </c:pt>
                <c:pt idx="13">
                  <c:v>1.9457323276690053</c:v>
                </c:pt>
                <c:pt idx="14">
                  <c:v>2.3062709990110144</c:v>
                </c:pt>
                <c:pt idx="15">
                  <c:v>2.1281758361043592</c:v>
                </c:pt>
                <c:pt idx="16">
                  <c:v>2.1072782341837555</c:v>
                </c:pt>
                <c:pt idx="17">
                  <c:v>1.8957509640104961</c:v>
                </c:pt>
                <c:pt idx="18">
                  <c:v>2.701875272223563</c:v>
                </c:pt>
                <c:pt idx="19">
                  <c:v>2.6053150322284058</c:v>
                </c:pt>
                <c:pt idx="20">
                  <c:v>2.031987542757042</c:v>
                </c:pt>
                <c:pt idx="21">
                  <c:v>2.3213137309252048</c:v>
                </c:pt>
                <c:pt idx="22">
                  <c:v>2.117564944764318</c:v>
                </c:pt>
                <c:pt idx="23">
                  <c:v>2.1474337529431633</c:v>
                </c:pt>
                <c:pt idx="24">
                  <c:v>2.5722686570759628</c:v>
                </c:pt>
                <c:pt idx="25">
                  <c:v>2.536139157830898</c:v>
                </c:pt>
                <c:pt idx="26">
                  <c:v>2.497509514365508</c:v>
                </c:pt>
                <c:pt idx="27">
                  <c:v>2.2455536236615488</c:v>
                </c:pt>
                <c:pt idx="28">
                  <c:v>2.0205619123512175</c:v>
                </c:pt>
                <c:pt idx="29">
                  <c:v>2.1338035882326563</c:v>
                </c:pt>
                <c:pt idx="30">
                  <c:v>1.878106069162343</c:v>
                </c:pt>
                <c:pt idx="31">
                  <c:v>2.223135849135548</c:v>
                </c:pt>
                <c:pt idx="32">
                  <c:v>2.965397996785891</c:v>
                </c:pt>
                <c:pt idx="33">
                  <c:v>2.8574566543663122</c:v>
                </c:pt>
                <c:pt idx="34">
                  <c:v>2.9002364846115616</c:v>
                </c:pt>
                <c:pt idx="35">
                  <c:v>2.4551669172987682</c:v>
                </c:pt>
                <c:pt idx="36">
                  <c:v>2.0391321095513275</c:v>
                </c:pt>
                <c:pt idx="37">
                  <c:v>2.315983266401575</c:v>
                </c:pt>
                <c:pt idx="38">
                  <c:v>1.9266346572321609</c:v>
                </c:pt>
                <c:pt idx="39">
                  <c:v>2.267806102667004</c:v>
                </c:pt>
                <c:pt idx="40">
                  <c:v>2.0290815020146593</c:v>
                </c:pt>
                <c:pt idx="41">
                  <c:v>2.7095344389744307</c:v>
                </c:pt>
                <c:pt idx="42">
                  <c:v>2.850549907649201</c:v>
                </c:pt>
                <c:pt idx="43">
                  <c:v>2.5812522598439327</c:v>
                </c:pt>
                <c:pt idx="44">
                  <c:v>2.855940375799673</c:v>
                </c:pt>
                <c:pt idx="45">
                  <c:v>3.275735777361695</c:v>
                </c:pt>
                <c:pt idx="46">
                  <c:v>3.1189908191179105</c:v>
                </c:pt>
                <c:pt idx="47">
                  <c:v>3.195440439610689</c:v>
                </c:pt>
                <c:pt idx="48">
                  <c:v>2.359885151378389</c:v>
                </c:pt>
                <c:pt idx="49">
                  <c:v>3.111486933718547</c:v>
                </c:pt>
                <c:pt idx="50">
                  <c:v>3.4827589351080164</c:v>
                </c:pt>
                <c:pt idx="51">
                  <c:v>2.822144037558973</c:v>
                </c:pt>
              </c:numCache>
            </c:numRef>
          </c:xVal>
          <c:yVal>
            <c:numRef>
              <c:f>Sheet1!$B$54:$B$105</c:f>
              <c:numCache>
                <c:formatCode>General</c:formatCode>
                <c:ptCount val="52"/>
                <c:pt idx="0">
                  <c:v>0.001894387875917594</c:v>
                </c:pt>
                <c:pt idx="1">
                  <c:v>0.0020135917442738486</c:v>
                </c:pt>
                <c:pt idx="2">
                  <c:v>0.001987632508833922</c:v>
                </c:pt>
                <c:pt idx="3">
                  <c:v>0.002410219329959026</c:v>
                </c:pt>
                <c:pt idx="4">
                  <c:v>0.0017605633802816902</c:v>
                </c:pt>
                <c:pt idx="5">
                  <c:v>0.0020470829068577278</c:v>
                </c:pt>
                <c:pt idx="6">
                  <c:v>0.002163097555699762</c:v>
                </c:pt>
                <c:pt idx="7">
                  <c:v>0.0028760425654299686</c:v>
                </c:pt>
                <c:pt idx="8">
                  <c:v>0.004129129129129129</c:v>
                </c:pt>
                <c:pt idx="9">
                  <c:v>0.0037593984962406013</c:v>
                </c:pt>
                <c:pt idx="10">
                  <c:v>0.00352</c:v>
                </c:pt>
                <c:pt idx="11">
                  <c:v>0.0030469226081657527</c:v>
                </c:pt>
                <c:pt idx="12">
                  <c:v>0.0037497070541363956</c:v>
                </c:pt>
                <c:pt idx="13">
                  <c:v>0.00508130081300813</c:v>
                </c:pt>
                <c:pt idx="14">
                  <c:v>0.003942551393973529</c:v>
                </c:pt>
                <c:pt idx="15">
                  <c:v>0.004124365482233503</c:v>
                </c:pt>
                <c:pt idx="16">
                  <c:v>0.0046362339514978606</c:v>
                </c:pt>
                <c:pt idx="17">
                  <c:v>0.0061633281972265025</c:v>
                </c:pt>
                <c:pt idx="18">
                  <c:v>0.003245248029670839</c:v>
                </c:pt>
                <c:pt idx="19">
                  <c:v>0.002574002574002574</c:v>
                </c:pt>
                <c:pt idx="20">
                  <c:v>0.002938295788442703</c:v>
                </c:pt>
                <c:pt idx="21">
                  <c:v>0.003005259203606311</c:v>
                </c:pt>
                <c:pt idx="22">
                  <c:v>0.004329004329004329</c:v>
                </c:pt>
                <c:pt idx="23">
                  <c:v>0.003328894806924101</c:v>
                </c:pt>
                <c:pt idx="24">
                  <c:v>0.003357582540570789</c:v>
                </c:pt>
                <c:pt idx="25">
                  <c:v>0.0029120559114735</c:v>
                </c:pt>
                <c:pt idx="26">
                  <c:v>0.0036101083032490976</c:v>
                </c:pt>
                <c:pt idx="27">
                  <c:v>0.003933566433566434</c:v>
                </c:pt>
                <c:pt idx="28">
                  <c:v>0.002824858757062147</c:v>
                </c:pt>
                <c:pt idx="29">
                  <c:v>0.003227293683725219</c:v>
                </c:pt>
                <c:pt idx="30">
                  <c:v>0.003750586029067042</c:v>
                </c:pt>
                <c:pt idx="31">
                  <c:v>0.002890173410404624</c:v>
                </c:pt>
                <c:pt idx="32">
                  <c:v>0.0024630541871921183</c:v>
                </c:pt>
                <c:pt idx="33">
                  <c:v>0.002102102102102102</c:v>
                </c:pt>
                <c:pt idx="34">
                  <c:v>0.0021404109589041095</c:v>
                </c:pt>
                <c:pt idx="35">
                  <c:v>0.00278473962684489</c:v>
                </c:pt>
                <c:pt idx="36">
                  <c:v>0.00425531914893617</c:v>
                </c:pt>
                <c:pt idx="37">
                  <c:v>0.0037611659614480487</c:v>
                </c:pt>
                <c:pt idx="38">
                  <c:v>0.0035052578868302454</c:v>
                </c:pt>
                <c:pt idx="39">
                  <c:v>0.0025197984161267097</c:v>
                </c:pt>
                <c:pt idx="40">
                  <c:v>0.0032719836400817996</c:v>
                </c:pt>
                <c:pt idx="41">
                  <c:v>0.002692307692307692</c:v>
                </c:pt>
                <c:pt idx="42">
                  <c:v>0.0017123287671232876</c:v>
                </c:pt>
                <c:pt idx="43">
                  <c:v>0.0018018018018018018</c:v>
                </c:pt>
                <c:pt idx="44">
                  <c:v>0.002015621063240111</c:v>
                </c:pt>
                <c:pt idx="45">
                  <c:v>0.0011784511784511784</c:v>
                </c:pt>
                <c:pt idx="46">
                  <c:v>0.0015631978561857973</c:v>
                </c:pt>
                <c:pt idx="47">
                  <c:v>0.0012586532410320957</c:v>
                </c:pt>
                <c:pt idx="48">
                  <c:v>0.0020069330414158</c:v>
                </c:pt>
                <c:pt idx="49">
                  <c:v>0.0015589814654425776</c:v>
                </c:pt>
                <c:pt idx="50">
                  <c:v>0.0011036309458117206</c:v>
                </c:pt>
                <c:pt idx="51">
                  <c:v>0.0018832391713747645</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1.9841713126877396</c:v>
                </c:pt>
              </c:numCache>
            </c:numRef>
          </c:xVal>
          <c:yVal>
            <c:numRef>
              <c:f>Sheet1!$B$108:$B$109</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1.9841713126877396</c:v>
                </c:pt>
                <c:pt idx="1">
                  <c:v>1.9841713126877396</c:v>
                </c:pt>
              </c:numCache>
            </c:numRef>
          </c:xVal>
          <c:yVal>
            <c:numRef>
              <c:f>Sheet1!$B$112:$B$113</c:f>
              <c:numCache>
                <c:formatCode>General</c:formatCode>
                <c:ptCount val="2"/>
                <c:pt idx="0">
                  <c:v>0.00382973950709266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1.9841713126877396</c:v>
                </c:pt>
              </c:numCache>
            </c:numRef>
          </c:xVal>
          <c:yVal>
            <c:numRef>
              <c:f>Sheet1!$B$116:$B$117</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9841713126877396</c:v>
                </c:pt>
                <c:pt idx="1">
                  <c:v>1.9841713126877396</c:v>
                </c:pt>
              </c:numCache>
            </c:numRef>
          </c:xVal>
          <c:yVal>
            <c:numRef>
              <c:f>Sheet1!$B$120:$B$121</c:f>
              <c:numCache>
                <c:formatCode>General</c:formatCode>
                <c:ptCount val="2"/>
                <c:pt idx="0">
                  <c:v>0.00382973950709266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3.0146126291486435</c:v>
                </c:pt>
              </c:numCache>
            </c:numRef>
          </c:xVal>
          <c:yVal>
            <c:numRef>
              <c:f>Sheet1!$B$124:$B$125</c:f>
              <c:numCache>
                <c:formatCode>General</c:formatCode>
                <c:ptCount val="2"/>
                <c:pt idx="0">
                  <c:v>0.0018897637138765642</c:v>
                </c:pt>
                <c:pt idx="1">
                  <c:v>0.0018897637138765642</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3.0146126291486435</c:v>
                </c:pt>
                <c:pt idx="1">
                  <c:v>3.0146126291486435</c:v>
                </c:pt>
              </c:numCache>
            </c:numRef>
          </c:xVal>
          <c:yVal>
            <c:numRef>
              <c:f>Sheet1!$B$128:$B$129</c:f>
              <c:numCache>
                <c:formatCode>General</c:formatCode>
                <c:ptCount val="2"/>
                <c:pt idx="0">
                  <c:v>0.00188976371387656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2.413835969924202</c:v>
                </c:pt>
                <c:pt idx="1">
                  <c:v>2.0983039480499994</c:v>
                </c:pt>
                <c:pt idx="2">
                  <c:v>2.3382227386436774</c:v>
                </c:pt>
                <c:pt idx="3">
                  <c:v>2.0642018676560467</c:v>
                </c:pt>
                <c:pt idx="4">
                  <c:v>2.802711784166096</c:v>
                </c:pt>
                <c:pt idx="5">
                  <c:v>2.510233805850333</c:v>
                </c:pt>
                <c:pt idx="6">
                  <c:v>2.8632286996926046</c:v>
                </c:pt>
                <c:pt idx="7">
                  <c:v>2.521614705547099</c:v>
                </c:pt>
                <c:pt idx="8">
                  <c:v>2.0371344375588727</c:v>
                </c:pt>
                <c:pt idx="9">
                  <c:v>2.6228545156622887</c:v>
                </c:pt>
                <c:pt idx="10">
                  <c:v>2.580351533579564</c:v>
                </c:pt>
                <c:pt idx="11">
                  <c:v>2.7633961580613886</c:v>
                </c:pt>
                <c:pt idx="12">
                  <c:v>2.698134397241735</c:v>
                </c:pt>
                <c:pt idx="13">
                  <c:v>1.9457323276690053</c:v>
                </c:pt>
                <c:pt idx="14">
                  <c:v>2.3062709990110144</c:v>
                </c:pt>
                <c:pt idx="15">
                  <c:v>2.1281758361043592</c:v>
                </c:pt>
                <c:pt idx="16">
                  <c:v>2.1072782341837555</c:v>
                </c:pt>
                <c:pt idx="17">
                  <c:v>1.8957509640104961</c:v>
                </c:pt>
                <c:pt idx="18">
                  <c:v>2.701875272223563</c:v>
                </c:pt>
                <c:pt idx="19">
                  <c:v>2.6053150322284058</c:v>
                </c:pt>
                <c:pt idx="20">
                  <c:v>2.031987542757042</c:v>
                </c:pt>
                <c:pt idx="21">
                  <c:v>2.3213137309252048</c:v>
                </c:pt>
                <c:pt idx="22">
                  <c:v>2.117564944764318</c:v>
                </c:pt>
                <c:pt idx="23">
                  <c:v>2.1474337529431633</c:v>
                </c:pt>
                <c:pt idx="24">
                  <c:v>2.5722686570759628</c:v>
                </c:pt>
                <c:pt idx="25">
                  <c:v>2.536139157830898</c:v>
                </c:pt>
                <c:pt idx="26">
                  <c:v>2.497509514365508</c:v>
                </c:pt>
                <c:pt idx="27">
                  <c:v>2.2455536236615488</c:v>
                </c:pt>
                <c:pt idx="28">
                  <c:v>2.0205619123512175</c:v>
                </c:pt>
                <c:pt idx="29">
                  <c:v>2.1338035882326563</c:v>
                </c:pt>
                <c:pt idx="30">
                  <c:v>1.878106069162343</c:v>
                </c:pt>
                <c:pt idx="31">
                  <c:v>2.223135849135548</c:v>
                </c:pt>
                <c:pt idx="32">
                  <c:v>2.965397996785891</c:v>
                </c:pt>
                <c:pt idx="33">
                  <c:v>2.8574566543663122</c:v>
                </c:pt>
                <c:pt idx="34">
                  <c:v>2.9002364846115616</c:v>
                </c:pt>
                <c:pt idx="35">
                  <c:v>2.4551669172987682</c:v>
                </c:pt>
                <c:pt idx="36">
                  <c:v>2.0391321095513275</c:v>
                </c:pt>
                <c:pt idx="37">
                  <c:v>2.315983266401575</c:v>
                </c:pt>
                <c:pt idx="38">
                  <c:v>1.9266346572321609</c:v>
                </c:pt>
                <c:pt idx="39">
                  <c:v>2.267806102667004</c:v>
                </c:pt>
                <c:pt idx="40">
                  <c:v>2.0290815020146593</c:v>
                </c:pt>
                <c:pt idx="41">
                  <c:v>2.7095344389744307</c:v>
                </c:pt>
                <c:pt idx="42">
                  <c:v>2.850549907649201</c:v>
                </c:pt>
                <c:pt idx="43">
                  <c:v>2.5812522598439327</c:v>
                </c:pt>
                <c:pt idx="44">
                  <c:v>2.855940375799673</c:v>
                </c:pt>
                <c:pt idx="45">
                  <c:v>3.275735777361695</c:v>
                </c:pt>
                <c:pt idx="46">
                  <c:v>3.1189908191179105</c:v>
                </c:pt>
                <c:pt idx="47">
                  <c:v>3.195440439610689</c:v>
                </c:pt>
                <c:pt idx="48">
                  <c:v>2.359885151378389</c:v>
                </c:pt>
                <c:pt idx="49">
                  <c:v>3.111486933718547</c:v>
                </c:pt>
                <c:pt idx="50">
                  <c:v>3.4827589351080164</c:v>
                </c:pt>
                <c:pt idx="51">
                  <c:v>2.822144037558973</c:v>
                </c:pt>
                <c:pt idx="52">
                  <c:v>1.9841713126877396</c:v>
                </c:pt>
                <c:pt idx="53">
                  <c:v>1.9841713126877396</c:v>
                </c:pt>
                <c:pt idx="54">
                  <c:v>3.0146126291486435</c:v>
                </c:pt>
              </c:numCache>
            </c:numRef>
          </c:xVal>
          <c:yVal>
            <c:numRef>
              <c:f>Sheet1!$B$132:$B$186</c:f>
              <c:numCache>
                <c:formatCode>General</c:formatCode>
                <c:ptCount val="55"/>
                <c:pt idx="0">
                  <c:v>0.0030208248984451257</c:v>
                </c:pt>
                <c:pt idx="1">
                  <c:v>0.003614865990006609</c:v>
                </c:pt>
                <c:pt idx="2">
                  <c:v>0.00316317928193867</c:v>
                </c:pt>
                <c:pt idx="3">
                  <c:v>0.003679068782932069</c:v>
                </c:pt>
                <c:pt idx="4">
                  <c:v>0.0022887020165836616</c:v>
                </c:pt>
                <c:pt idx="5">
                  <c:v>0.0028393400674045725</c:v>
                </c:pt>
                <c:pt idx="6">
                  <c:v>0.002174768938274311</c:v>
                </c:pt>
                <c:pt idx="7">
                  <c:v>0.002817913645963537</c:v>
                </c:pt>
                <c:pt idx="8">
                  <c:v>0.003730027686010058</c:v>
                </c:pt>
                <c:pt idx="9">
                  <c:v>0.002627312999623174</c:v>
                </c:pt>
                <c:pt idx="10">
                  <c:v>0.0027073318760626186</c:v>
                </c:pt>
                <c:pt idx="11">
                  <c:v>0.002362720169504999</c:v>
                </c:pt>
                <c:pt idx="12">
                  <c:v>0.002485586201942074</c:v>
                </c:pt>
                <c:pt idx="13">
                  <c:v>0.0039021072385305522</c:v>
                </c:pt>
                <c:pt idx="14">
                  <c:v>0.0032233337035911342</c:v>
                </c:pt>
                <c:pt idx="15">
                  <c:v>0.003558627232109989</c:v>
                </c:pt>
                <c:pt idx="16">
                  <c:v>0.003597970415670871</c:v>
                </c:pt>
                <c:pt idx="17">
                  <c:v>0.003996205402162481</c:v>
                </c:pt>
                <c:pt idx="18">
                  <c:v>0.0024785433875728685</c:v>
                </c:pt>
                <c:pt idx="19">
                  <c:v>0.002660333971068799</c:v>
                </c:pt>
                <c:pt idx="20">
                  <c:v>0.0037397175646729937</c:v>
                </c:pt>
                <c:pt idx="21">
                  <c:v>0.003195013278826338</c:v>
                </c:pt>
                <c:pt idx="22">
                  <c:v>0.003578603985773968</c:v>
                </c:pt>
                <c:pt idx="23">
                  <c:v>0.003522371026251161</c:v>
                </c:pt>
                <c:pt idx="24">
                  <c:v>0.002722549224693783</c:v>
                </c:pt>
                <c:pt idx="25">
                  <c:v>0.002790568968115149</c:v>
                </c:pt>
                <c:pt idx="26">
                  <c:v>0.0028632956455360544</c:v>
                </c:pt>
                <c:pt idx="27">
                  <c:v>0.0033376441805915476</c:v>
                </c:pt>
                <c:pt idx="28">
                  <c:v>0.003761228199054058</c:v>
                </c:pt>
                <c:pt idx="29">
                  <c:v>0.00354803206019218</c:v>
                </c:pt>
                <c:pt idx="30">
                  <c:v>0.004029424827987552</c:v>
                </c:pt>
                <c:pt idx="31">
                  <c:v>0.0033798493398990046</c:v>
                </c:pt>
                <c:pt idx="32">
                  <c:v>0.0019824183793394</c:v>
                </c:pt>
                <c:pt idx="33">
                  <c:v>0.0021856357659446263</c:v>
                </c:pt>
                <c:pt idx="34">
                  <c:v>0.002105095677161388</c:v>
                </c:pt>
                <c:pt idx="35">
                  <c:v>0.0029430125707206</c:v>
                </c:pt>
                <c:pt idx="36">
                  <c:v>0.00372626673888358</c:v>
                </c:pt>
                <c:pt idx="37">
                  <c:v>0.0032050487577781677</c:v>
                </c:pt>
                <c:pt idx="38">
                  <c:v>0.003938061754098254</c:v>
                </c:pt>
                <c:pt idx="39">
                  <c:v>0.0032957502173740216</c:v>
                </c:pt>
                <c:pt idx="40">
                  <c:v>0.0037451886658451446</c:v>
                </c:pt>
                <c:pt idx="41">
                  <c:v>0.0024641237424601102</c:v>
                </c:pt>
                <c:pt idx="42">
                  <c:v>0.002198638856200255</c:v>
                </c:pt>
                <c:pt idx="43">
                  <c:v>0.0027056361102569633</c:v>
                </c:pt>
                <c:pt idx="44">
                  <c:v>0.002188490410520753</c:v>
                </c:pt>
                <c:pt idx="45">
                  <c:v>0.0013981563040324522</c:v>
                </c:pt>
                <c:pt idx="46">
                  <c:v>0.001693254549652098</c:v>
                </c:pt>
                <c:pt idx="47">
                  <c:v>0.0015493255254686285</c:v>
                </c:pt>
                <c:pt idx="48">
                  <c:v>0.003122396215832264</c:v>
                </c:pt>
                <c:pt idx="49">
                  <c:v>0.0017073818520004069</c:v>
                </c:pt>
                <c:pt idx="50">
                  <c:v>0.0010084010523288382</c:v>
                </c:pt>
                <c:pt idx="51">
                  <c:v>0.002252117593397586</c:v>
                </c:pt>
                <c:pt idx="52">
                  <c:v>0.0038297395070926695</c:v>
                </c:pt>
                <c:pt idx="53">
                  <c:v>0.0038297395070926695</c:v>
                </c:pt>
                <c:pt idx="54">
                  <c:v>0.00188976371387656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9599383667180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902115255166754</c:v>
                </c:pt>
                <c:pt idx="1">
                  <c:v>0.7298589364254298</c:v>
                </c:pt>
                <c:pt idx="2">
                  <c:v>0.8706012382291319</c:v>
                </c:pt>
                <c:pt idx="3">
                  <c:v>0.8623846303971627</c:v>
                </c:pt>
                <c:pt idx="4">
                  <c:v>0.8468742599750003</c:v>
                </c:pt>
                <c:pt idx="5">
                  <c:v>0.7148960623006176</c:v>
                </c:pt>
                <c:pt idx="6">
                  <c:v>0.5719129858916472</c:v>
                </c:pt>
                <c:pt idx="7">
                  <c:v>0.6317163624921334</c:v>
                </c:pt>
                <c:pt idx="8">
                  <c:v>0.6273522356808465</c:v>
                </c:pt>
                <c:pt idx="9">
                  <c:v>0.597901309164149</c:v>
                </c:pt>
                <c:pt idx="10">
                  <c:v>0.5504779002024462</c:v>
                </c:pt>
                <c:pt idx="11">
                  <c:v>0.7038706444344299</c:v>
                </c:pt>
                <c:pt idx="12">
                  <c:v>0.8136217278011626</c:v>
                </c:pt>
                <c:pt idx="13">
                  <c:v>0.7699568124134185</c:v>
                </c:pt>
                <c:pt idx="14">
                  <c:v>0.6553199730094467</c:v>
                </c:pt>
                <c:pt idx="15">
                  <c:v>0.6981597489345593</c:v>
                </c:pt>
                <c:pt idx="16">
                  <c:v>0.7347616830737153</c:v>
                </c:pt>
                <c:pt idx="17">
                  <c:v>0.8718287289163268</c:v>
                </c:pt>
                <c:pt idx="18">
                  <c:v>0.8095434239191922</c:v>
                </c:pt>
                <c:pt idx="19">
                  <c:v>0.7453526264591439</c:v>
                </c:pt>
                <c:pt idx="20">
                  <c:v>0.8661348079261135</c:v>
                </c:pt>
                <c:pt idx="21">
                  <c:v>0.8132128164379466</c:v>
                </c:pt>
                <c:pt idx="22">
                  <c:v>0.8561817545496967</c:v>
                </c:pt>
                <c:pt idx="23">
                  <c:v>0.7258124708236079</c:v>
                </c:pt>
                <c:pt idx="24">
                  <c:v>0.8080967220641355</c:v>
                </c:pt>
                <c:pt idx="25">
                  <c:v>0.774392234187775</c:v>
                </c:pt>
                <c:pt idx="26">
                  <c:v>0.7187111250752054</c:v>
                </c:pt>
                <c:pt idx="27">
                  <c:v>0.8748674769488684</c:v>
                </c:pt>
                <c:pt idx="28">
                  <c:v>0.8085322642229859</c:v>
                </c:pt>
                <c:pt idx="29">
                  <c:v>0.7989183237469186</c:v>
                </c:pt>
                <c:pt idx="30">
                  <c:v>0.5470760221579097</c:v>
                </c:pt>
                <c:pt idx="31">
                  <c:v>0.6993506820118118</c:v>
                </c:pt>
                <c:pt idx="32">
                  <c:v>0.7394329010856453</c:v>
                </c:pt>
                <c:pt idx="33">
                  <c:v>0.7157035523578803</c:v>
                </c:pt>
                <c:pt idx="34">
                  <c:v>0.6888464198113707</c:v>
                </c:pt>
                <c:pt idx="35">
                  <c:v>0.6100642582173527</c:v>
                </c:pt>
                <c:pt idx="36">
                  <c:v>0.832569533445756</c:v>
                </c:pt>
                <c:pt idx="37">
                  <c:v>0.8451551594375124</c:v>
                </c:pt>
                <c:pt idx="38">
                  <c:v>1.0580628384599744</c:v>
                </c:pt>
                <c:pt idx="39">
                  <c:v>0.9460743149081585</c:v>
                </c:pt>
                <c:pt idx="40">
                  <c:v>1.0108912380541255</c:v>
                </c:pt>
                <c:pt idx="41">
                  <c:v>1.1718160979773786</c:v>
                </c:pt>
                <c:pt idx="42">
                  <c:v>1.1139006723053568</c:v>
                </c:pt>
                <c:pt idx="43">
                  <c:v>1.2229805440120893</c:v>
                </c:pt>
                <c:pt idx="44">
                  <c:v>0.8249663468594592</c:v>
                </c:pt>
                <c:pt idx="45">
                  <c:v>0.8467668863372382</c:v>
                </c:pt>
                <c:pt idx="46">
                  <c:v>0.6748393177596795</c:v>
                </c:pt>
                <c:pt idx="47">
                  <c:v>0.740086789404692</c:v>
                </c:pt>
                <c:pt idx="48">
                  <c:v>0.778510639832648</c:v>
                </c:pt>
                <c:pt idx="49">
                  <c:v>0.8969357242564157</c:v>
                </c:pt>
                <c:pt idx="50">
                  <c:v>0.7842916165865385</c:v>
                </c:pt>
                <c:pt idx="51">
                  <c:v>0.7037601700457815</c:v>
                </c:pt>
                <c:pt idx="52">
                  <c:v>0.8495012326656394</c:v>
                </c:pt>
                <c:pt idx="53">
                  <c:v>0.8306870006782276</c:v>
                </c:pt>
                <c:pt idx="54">
                  <c:v>0.8018706953143669</c:v>
                </c:pt>
                <c:pt idx="55">
                  <c:v>0.8205085686865918</c:v>
                </c:pt>
                <c:pt idx="56">
                  <c:v>0.8466174292959279</c:v>
                </c:pt>
                <c:pt idx="57">
                  <c:v>1.0551796580812092</c:v>
                </c:pt>
                <c:pt idx="58">
                  <c:v>0.7734731796859066</c:v>
                </c:pt>
                <c:pt idx="59">
                  <c:v>0.9050693963085354</c:v>
                </c:pt>
                <c:pt idx="60">
                  <c:v>0.9243203474962568</c:v>
                </c:pt>
                <c:pt idx="61">
                  <c:v>0.9085079393410123</c:v>
                </c:pt>
                <c:pt idx="62">
                  <c:v>0.6793724536333232</c:v>
                </c:pt>
                <c:pt idx="63">
                  <c:v>0.8116137253506086</c:v>
                </c:pt>
                <c:pt idx="64">
                  <c:v>0.811222740539334</c:v>
                </c:pt>
                <c:pt idx="65">
                  <c:v>0.5721207917156247</c:v>
                </c:pt>
                <c:pt idx="66">
                  <c:v>0.55649625</c:v>
                </c:pt>
                <c:pt idx="67">
                  <c:v>0.8114767409588712</c:v>
                </c:pt>
                <c:pt idx="68">
                  <c:v>0.5995121375416987</c:v>
                </c:pt>
                <c:pt idx="69">
                  <c:v>0.34119870466321245</c:v>
                </c:pt>
                <c:pt idx="70">
                  <c:v>0.685880077369439</c:v>
                </c:pt>
                <c:pt idx="71">
                  <c:v>0.709777681238121</c:v>
                </c:pt>
                <c:pt idx="72">
                  <c:v>1.0012023566378634</c:v>
                </c:pt>
                <c:pt idx="73">
                  <c:v>0.6956070036861506</c:v>
                </c:pt>
                <c:pt idx="74">
                  <c:v>0.8642604191837805</c:v>
                </c:pt>
                <c:pt idx="75">
                  <c:v>0.8608297743347929</c:v>
                </c:pt>
                <c:pt idx="76">
                  <c:v>0.66674205</c:v>
                </c:pt>
                <c:pt idx="77">
                  <c:v>0.6960602189781022</c:v>
                </c:pt>
                <c:pt idx="78">
                  <c:v>0.8061684437596301</c:v>
                </c:pt>
                <c:pt idx="79">
                  <c:v>1.0495732327243845</c:v>
                </c:pt>
                <c:pt idx="80">
                  <c:v>0.7173932351336607</c:v>
                </c:pt>
                <c:pt idx="81">
                  <c:v>1.0151394422310758</c:v>
                </c:pt>
                <c:pt idx="82">
                  <c:v>0.9155726825842696</c:v>
                </c:pt>
                <c:pt idx="83">
                  <c:v>0.9578312965722802</c:v>
                </c:pt>
                <c:pt idx="84">
                  <c:v>1.0652566448801744</c:v>
                </c:pt>
                <c:pt idx="85">
                  <c:v>0.39318376395534294</c:v>
                </c:pt>
                <c:pt idx="86">
                  <c:v>0.7022652272727272</c:v>
                </c:pt>
                <c:pt idx="87">
                  <c:v>0.9911424535916061</c:v>
                </c:pt>
                <c:pt idx="88">
                  <c:v>0.9571731170336037</c:v>
                </c:pt>
                <c:pt idx="89">
                  <c:v>0.9830905432595574</c:v>
                </c:pt>
                <c:pt idx="90">
                  <c:v>1.0050912977099236</c:v>
                </c:pt>
                <c:pt idx="91">
                  <c:v>0.8631641076609728</c:v>
                </c:pt>
                <c:pt idx="92">
                  <c:v>0.6542106618593871</c:v>
                </c:pt>
                <c:pt idx="93">
                  <c:v>0.7487039249146759</c:v>
                </c:pt>
                <c:pt idx="94">
                  <c:v>1.0657833822091887</c:v>
                </c:pt>
                <c:pt idx="95">
                  <c:v>1.0444001573786046</c:v>
                </c:pt>
                <c:pt idx="96">
                  <c:v>1.1526633925439935</c:v>
                </c:pt>
                <c:pt idx="97">
                  <c:v>1.1633256296278252</c:v>
                </c:pt>
                <c:pt idx="98">
                  <c:v>1.133010960354449</c:v>
                </c:pt>
                <c:pt idx="99">
                  <c:v>1.1274166589441743</c:v>
                </c:pt>
                <c:pt idx="100">
                  <c:v>1.1411916672143616</c:v>
                </c:pt>
                <c:pt idx="101">
                  <c:v>1.1606354413890123</c:v>
                </c:pt>
                <c:pt idx="102">
                  <c:v>1.1739588567842243</c:v>
                </c:pt>
                <c:pt idx="103">
                  <c:v>1.1202436090535497</c:v>
                </c:pt>
                <c:pt idx="104">
                  <c:v>1.2641750741643965</c:v>
                </c:pt>
              </c:numCache>
            </c:numRef>
          </c:xVal>
          <c:yVal>
            <c:numRef>
              <c:f>Sheet1!$B$2:$B$106</c:f>
              <c:numCache>
                <c:formatCode>General</c:formatCode>
                <c:ptCount val="105"/>
                <c:pt idx="0">
                  <c:v>0.45667125171939477</c:v>
                </c:pt>
                <c:pt idx="1">
                  <c:v>0.4435590969455511</c:v>
                </c:pt>
                <c:pt idx="2">
                  <c:v>0.395</c:v>
                </c:pt>
                <c:pt idx="3">
                  <c:v>0.35224274406332456</c:v>
                </c:pt>
                <c:pt idx="4">
                  <c:v>0.3191823899371069</c:v>
                </c:pt>
                <c:pt idx="5">
                  <c:v>0.28805237315875615</c:v>
                </c:pt>
                <c:pt idx="6">
                  <c:v>0.34318555008210183</c:v>
                </c:pt>
                <c:pt idx="7">
                  <c:v>0.31965442764578833</c:v>
                </c:pt>
                <c:pt idx="8">
                  <c:v>0.375</c:v>
                </c:pt>
                <c:pt idx="9">
                  <c:v>0.4235474006116208</c:v>
                </c:pt>
                <c:pt idx="10">
                  <c:v>0.4663382594417077</c:v>
                </c:pt>
                <c:pt idx="11">
                  <c:v>0.4924078091106291</c:v>
                </c:pt>
                <c:pt idx="12">
                  <c:v>0.5235955056179775</c:v>
                </c:pt>
                <c:pt idx="13">
                  <c:v>0.5688888888888889</c:v>
                </c:pt>
                <c:pt idx="14">
                  <c:v>0.6086956521739131</c:v>
                </c:pt>
                <c:pt idx="15">
                  <c:v>0.4988962472406181</c:v>
                </c:pt>
                <c:pt idx="16">
                  <c:v>0.4340659340659341</c:v>
                </c:pt>
                <c:pt idx="17">
                  <c:v>0.44753086419753085</c:v>
                </c:pt>
                <c:pt idx="18">
                  <c:v>0.39941690962099125</c:v>
                </c:pt>
                <c:pt idx="19">
                  <c:v>0.32298136645962733</c:v>
                </c:pt>
                <c:pt idx="20">
                  <c:v>0.35492957746478876</c:v>
                </c:pt>
                <c:pt idx="21">
                  <c:v>0.3140794223826715</c:v>
                </c:pt>
                <c:pt idx="22">
                  <c:v>0.33753943217665616</c:v>
                </c:pt>
                <c:pt idx="23">
                  <c:v>0.3701067615658363</c:v>
                </c:pt>
                <c:pt idx="24">
                  <c:v>0.44077134986225897</c:v>
                </c:pt>
                <c:pt idx="25">
                  <c:v>0.41509433962264153</c:v>
                </c:pt>
                <c:pt idx="26">
                  <c:v>0.5045045045045045</c:v>
                </c:pt>
                <c:pt idx="27">
                  <c:v>0.47564469914040114</c:v>
                </c:pt>
                <c:pt idx="28">
                  <c:v>0.43007915567282323</c:v>
                </c:pt>
                <c:pt idx="29">
                  <c:v>0.43790849673202614</c:v>
                </c:pt>
                <c:pt idx="30">
                  <c:v>0.38412698412698415</c:v>
                </c:pt>
                <c:pt idx="31">
                  <c:v>0.36338028169014086</c:v>
                </c:pt>
                <c:pt idx="32">
                  <c:v>0.36185819070904646</c:v>
                </c:pt>
                <c:pt idx="33">
                  <c:v>0.42833607907743</c:v>
                </c:pt>
                <c:pt idx="34">
                  <c:v>0.4317789291882556</c:v>
                </c:pt>
                <c:pt idx="35">
                  <c:v>0.45726495726495725</c:v>
                </c:pt>
                <c:pt idx="36">
                  <c:v>0.38562091503267976</c:v>
                </c:pt>
                <c:pt idx="37">
                  <c:v>0.4233128834355828</c:v>
                </c:pt>
                <c:pt idx="38">
                  <c:v>0.4691780821917808</c:v>
                </c:pt>
                <c:pt idx="39">
                  <c:v>0.4682274247491639</c:v>
                </c:pt>
                <c:pt idx="40">
                  <c:v>0.4375</c:v>
                </c:pt>
                <c:pt idx="41">
                  <c:v>0.4110429447852761</c:v>
                </c:pt>
                <c:pt idx="42">
                  <c:v>0.4104627766599598</c:v>
                </c:pt>
                <c:pt idx="43">
                  <c:v>0.40669014084507044</c:v>
                </c:pt>
                <c:pt idx="44">
                  <c:v>0.4550839091806515</c:v>
                </c:pt>
                <c:pt idx="45">
                  <c:v>0.47761194029850745</c:v>
                </c:pt>
                <c:pt idx="46">
                  <c:v>0.4643564356435644</c:v>
                </c:pt>
                <c:pt idx="47">
                  <c:v>0.4740810556079171</c:v>
                </c:pt>
                <c:pt idx="48">
                  <c:v>0.5052484254723583</c:v>
                </c:pt>
                <c:pt idx="49">
                  <c:v>0.5328787140769605</c:v>
                </c:pt>
                <c:pt idx="50">
                  <c:v>0.4857142857142857</c:v>
                </c:pt>
                <c:pt idx="51">
                  <c:v>0.4634146341463415</c:v>
                </c:pt>
                <c:pt idx="52">
                  <c:v>0.45382882882882886</c:v>
                </c:pt>
                <c:pt idx="53">
                  <c:v>0.4311377245508982</c:v>
                </c:pt>
                <c:pt idx="54">
                  <c:v>0.3935599284436494</c:v>
                </c:pt>
                <c:pt idx="55">
                  <c:v>0.38489208633093525</c:v>
                </c:pt>
                <c:pt idx="56">
                  <c:v>0.3713235294117647</c:v>
                </c:pt>
                <c:pt idx="57">
                  <c:v>0.3704697986577181</c:v>
                </c:pt>
                <c:pt idx="58">
                  <c:v>0.43696581196581197</c:v>
                </c:pt>
                <c:pt idx="59">
                  <c:v>0.4416365824308063</c:v>
                </c:pt>
                <c:pt idx="60">
                  <c:v>0.4662813102119461</c:v>
                </c:pt>
                <c:pt idx="61">
                  <c:v>0.43293492695883135</c:v>
                </c:pt>
                <c:pt idx="62">
                  <c:v>0.4478723404255319</c:v>
                </c:pt>
                <c:pt idx="63">
                  <c:v>0.4705263157894737</c:v>
                </c:pt>
                <c:pt idx="64">
                  <c:v>0.4691516709511568</c:v>
                </c:pt>
                <c:pt idx="65">
                  <c:v>0.4328125</c:v>
                </c:pt>
                <c:pt idx="66">
                  <c:v>0.40860215053763443</c:v>
                </c:pt>
                <c:pt idx="67">
                  <c:v>0.45950413223140496</c:v>
                </c:pt>
                <c:pt idx="68">
                  <c:v>0.43828715365239296</c:v>
                </c:pt>
                <c:pt idx="69">
                  <c:v>0.36633663366336633</c:v>
                </c:pt>
                <c:pt idx="70">
                  <c:v>0.35911602209944754</c:v>
                </c:pt>
                <c:pt idx="71">
                  <c:v>0.36627906976744184</c:v>
                </c:pt>
                <c:pt idx="72">
                  <c:v>0.3788659793814433</c:v>
                </c:pt>
                <c:pt idx="73">
                  <c:v>0.3631713554987212</c:v>
                </c:pt>
                <c:pt idx="74">
                  <c:v>0.3706896551724138</c:v>
                </c:pt>
                <c:pt idx="75">
                  <c:v>0.4034653465346535</c:v>
                </c:pt>
                <c:pt idx="76">
                  <c:v>0.36</c:v>
                </c:pt>
                <c:pt idx="77">
                  <c:v>0.3685897435897436</c:v>
                </c:pt>
                <c:pt idx="78">
                  <c:v>0.39158576051779936</c:v>
                </c:pt>
                <c:pt idx="79">
                  <c:v>0.38650306748466257</c:v>
                </c:pt>
                <c:pt idx="80">
                  <c:v>0.3216374269005848</c:v>
                </c:pt>
                <c:pt idx="81">
                  <c:v>0.3111111111111111</c:v>
                </c:pt>
                <c:pt idx="82">
                  <c:v>0.3333333333333333</c:v>
                </c:pt>
                <c:pt idx="83">
                  <c:v>0.3062730627306273</c:v>
                </c:pt>
                <c:pt idx="84">
                  <c:v>0.33584905660377357</c:v>
                </c:pt>
                <c:pt idx="85">
                  <c:v>0.32802547770700635</c:v>
                </c:pt>
                <c:pt idx="86">
                  <c:v>0.363855421686747</c:v>
                </c:pt>
                <c:pt idx="87">
                  <c:v>0.3886138613861386</c:v>
                </c:pt>
                <c:pt idx="88">
                  <c:v>0.31329113924050633</c:v>
                </c:pt>
                <c:pt idx="89">
                  <c:v>0.303951367781155</c:v>
                </c:pt>
                <c:pt idx="90">
                  <c:v>0.36245954692556637</c:v>
                </c:pt>
                <c:pt idx="91">
                  <c:v>0.34591194968553457</c:v>
                </c:pt>
                <c:pt idx="92">
                  <c:v>0.3645833333333333</c:v>
                </c:pt>
                <c:pt idx="93">
                  <c:v>0.37708830548926014</c:v>
                </c:pt>
                <c:pt idx="94">
                  <c:v>0.35368956743002544</c:v>
                </c:pt>
                <c:pt idx="95">
                  <c:v>0.39473684210526316</c:v>
                </c:pt>
                <c:pt idx="96">
                  <c:v>0.4090909090909091</c:v>
                </c:pt>
                <c:pt idx="97">
                  <c:v>0.43125533731853116</c:v>
                </c:pt>
                <c:pt idx="98">
                  <c:v>0.4208606856309263</c:v>
                </c:pt>
                <c:pt idx="99">
                  <c:v>0.44937949052906595</c:v>
                </c:pt>
                <c:pt idx="100">
                  <c:v>0.47280334728033474</c:v>
                </c:pt>
                <c:pt idx="101">
                  <c:v>0.4485294117647059</c:v>
                </c:pt>
                <c:pt idx="102">
                  <c:v>0.4154929577464789</c:v>
                </c:pt>
                <c:pt idx="103">
                  <c:v>0.40581542351453853</c:v>
                </c:pt>
                <c:pt idx="104">
                  <c:v>0.38652482269503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2608928398812134</c:v>
                </c:pt>
                <c:pt idx="1">
                  <c:v>1.3294865920021395</c:v>
                </c:pt>
                <c:pt idx="2">
                  <c:v>1.2546999217952037</c:v>
                </c:pt>
                <c:pt idx="3">
                  <c:v>1.2680953631848797</c:v>
                </c:pt>
                <c:pt idx="4">
                  <c:v>1.2588117154099376</c:v>
                </c:pt>
                <c:pt idx="5">
                  <c:v>1.6338319226819775</c:v>
                </c:pt>
                <c:pt idx="6">
                  <c:v>1.4654480193425898</c:v>
                </c:pt>
                <c:pt idx="7">
                  <c:v>1.3557907472758968</c:v>
                </c:pt>
                <c:pt idx="8">
                  <c:v>1.2998256421840746</c:v>
                </c:pt>
                <c:pt idx="9">
                  <c:v>1.309819691931872</c:v>
                </c:pt>
                <c:pt idx="10">
                  <c:v>1.6237677352233564</c:v>
                </c:pt>
                <c:pt idx="11">
                  <c:v>1.5936194182093713</c:v>
                </c:pt>
                <c:pt idx="12">
                  <c:v>1.406577849211776</c:v>
                </c:pt>
                <c:pt idx="13">
                  <c:v>1.3571860237028304</c:v>
                </c:pt>
                <c:pt idx="14">
                  <c:v>1.5959463974598687</c:v>
                </c:pt>
                <c:pt idx="15">
                  <c:v>1.4529123191598943</c:v>
                </c:pt>
                <c:pt idx="16">
                  <c:v>1.5800911250037717</c:v>
                </c:pt>
                <c:pt idx="17">
                  <c:v>1.3802993227366966</c:v>
                </c:pt>
                <c:pt idx="18">
                  <c:v>2.3080710371548636</c:v>
                </c:pt>
                <c:pt idx="19">
                  <c:v>2.8105323186199898</c:v>
                </c:pt>
                <c:pt idx="20">
                  <c:v>2.6717018403124873</c:v>
                </c:pt>
                <c:pt idx="21">
                  <c:v>2.5066310485201893</c:v>
                </c:pt>
                <c:pt idx="22">
                  <c:v>2.966796771674043</c:v>
                </c:pt>
                <c:pt idx="23">
                  <c:v>2.7561645754865727</c:v>
                </c:pt>
                <c:pt idx="24">
                  <c:v>2.456834126984127</c:v>
                </c:pt>
                <c:pt idx="25">
                  <c:v>2.873287904191617</c:v>
                </c:pt>
                <c:pt idx="26">
                  <c:v>2.8556325127522735</c:v>
                </c:pt>
                <c:pt idx="27">
                  <c:v>2.2504639795592642</c:v>
                </c:pt>
                <c:pt idx="28">
                  <c:v>2.206017579445571</c:v>
                </c:pt>
                <c:pt idx="29">
                  <c:v>2.550840629567305</c:v>
                </c:pt>
                <c:pt idx="30">
                  <c:v>2.1063489039633985</c:v>
                </c:pt>
                <c:pt idx="31">
                  <c:v>2.355303822004014</c:v>
                </c:pt>
                <c:pt idx="32">
                  <c:v>2.551636055574382</c:v>
                </c:pt>
                <c:pt idx="33">
                  <c:v>2.5285297524273433</c:v>
                </c:pt>
                <c:pt idx="34">
                  <c:v>2.396203965429588</c:v>
                </c:pt>
                <c:pt idx="35">
                  <c:v>1.5846476464090467</c:v>
                </c:pt>
                <c:pt idx="36">
                  <c:v>2.175680057647271</c:v>
                </c:pt>
                <c:pt idx="37">
                  <c:v>2.6986548122754566</c:v>
                </c:pt>
                <c:pt idx="38">
                  <c:v>2.8334995657394058</c:v>
                </c:pt>
                <c:pt idx="39">
                  <c:v>2.072460830562264</c:v>
                </c:pt>
                <c:pt idx="40">
                  <c:v>1.4829821428571428</c:v>
                </c:pt>
                <c:pt idx="41">
                  <c:v>2.5513053997361665</c:v>
                </c:pt>
                <c:pt idx="42">
                  <c:v>1.4928592438070405</c:v>
                </c:pt>
                <c:pt idx="43">
                  <c:v>1.785370025188917</c:v>
                </c:pt>
                <c:pt idx="44">
                  <c:v>1.537792747686239</c:v>
                </c:pt>
                <c:pt idx="45">
                  <c:v>1.8354624565963493</c:v>
                </c:pt>
                <c:pt idx="46">
                  <c:v>1.3768707163323783</c:v>
                </c:pt>
                <c:pt idx="47">
                  <c:v>1.6911279411777385</c:v>
                </c:pt>
                <c:pt idx="48">
                  <c:v>1.2181295655618647</c:v>
                </c:pt>
                <c:pt idx="49">
                  <c:v>1.941472971586159</c:v>
                </c:pt>
                <c:pt idx="50">
                  <c:v>1.4871138145185663</c:v>
                </c:pt>
                <c:pt idx="51">
                  <c:v>0.7249813063120294</c:v>
                </c:pt>
              </c:numCache>
            </c:numRef>
          </c:xVal>
          <c:yVal>
            <c:numRef>
              <c:f>Sheet1!$B$109:$B$160</c:f>
              <c:numCache>
                <c:formatCode>General</c:formatCode>
                <c:ptCount val="52"/>
                <c:pt idx="0">
                  <c:v>0.40717628705148207</c:v>
                </c:pt>
                <c:pt idx="1">
                  <c:v>0.41467304625199364</c:v>
                </c:pt>
                <c:pt idx="2">
                  <c:v>0.4118421052631579</c:v>
                </c:pt>
                <c:pt idx="3">
                  <c:v>0.38992042440318303</c:v>
                </c:pt>
                <c:pt idx="4">
                  <c:v>0.36774193548387096</c:v>
                </c:pt>
                <c:pt idx="5">
                  <c:v>0.38022813688212925</c:v>
                </c:pt>
                <c:pt idx="6">
                  <c:v>0.4127310061601643</c:v>
                </c:pt>
                <c:pt idx="7">
                  <c:v>0.39148936170212767</c:v>
                </c:pt>
                <c:pt idx="8">
                  <c:v>0.3931818181818182</c:v>
                </c:pt>
                <c:pt idx="9">
                  <c:v>0.4026974951830443</c:v>
                </c:pt>
                <c:pt idx="10">
                  <c:v>0.4007707129094412</c:v>
                </c:pt>
                <c:pt idx="11">
                  <c:v>0.44562334217506633</c:v>
                </c:pt>
                <c:pt idx="12">
                  <c:v>0.42678571428571427</c:v>
                </c:pt>
                <c:pt idx="13">
                  <c:v>0.40038684719535783</c:v>
                </c:pt>
                <c:pt idx="14">
                  <c:v>0.3935091277890467</c:v>
                </c:pt>
                <c:pt idx="15">
                  <c:v>0.3933333333333333</c:v>
                </c:pt>
                <c:pt idx="16">
                  <c:v>0.35772357723577236</c:v>
                </c:pt>
                <c:pt idx="17">
                  <c:v>0.3613861386138614</c:v>
                </c:pt>
                <c:pt idx="18">
                  <c:v>0.34492753623188405</c:v>
                </c:pt>
                <c:pt idx="19">
                  <c:v>0.35119047619047616</c:v>
                </c:pt>
                <c:pt idx="20">
                  <c:v>0.3127035830618892</c:v>
                </c:pt>
                <c:pt idx="21">
                  <c:v>0.28634361233480177</c:v>
                </c:pt>
                <c:pt idx="22">
                  <c:v>0.26905829596412556</c:v>
                </c:pt>
                <c:pt idx="23">
                  <c:v>0.31063829787234043</c:v>
                </c:pt>
                <c:pt idx="24">
                  <c:v>0.2903225806451613</c:v>
                </c:pt>
                <c:pt idx="25">
                  <c:v>0.31521739130434784</c:v>
                </c:pt>
                <c:pt idx="26">
                  <c:v>0.31386861313868614</c:v>
                </c:pt>
                <c:pt idx="27">
                  <c:v>0.30434782608695654</c:v>
                </c:pt>
                <c:pt idx="28">
                  <c:v>0.372960372960373</c:v>
                </c:pt>
                <c:pt idx="29">
                  <c:v>0.40540540540540543</c:v>
                </c:pt>
                <c:pt idx="30">
                  <c:v>0.42450142450142453</c:v>
                </c:pt>
                <c:pt idx="31">
                  <c:v>0.4188034188034188</c:v>
                </c:pt>
                <c:pt idx="32">
                  <c:v>0.46472019464720193</c:v>
                </c:pt>
                <c:pt idx="33">
                  <c:v>0.4783427495291902</c:v>
                </c:pt>
                <c:pt idx="34">
                  <c:v>0.4862068965517241</c:v>
                </c:pt>
                <c:pt idx="35">
                  <c:v>0.4624277456647399</c:v>
                </c:pt>
                <c:pt idx="36">
                  <c:v>0.4646840148698885</c:v>
                </c:pt>
                <c:pt idx="37">
                  <c:v>0.3754152823920266</c:v>
                </c:pt>
                <c:pt idx="38">
                  <c:v>0.3431952662721893</c:v>
                </c:pt>
                <c:pt idx="39">
                  <c:v>0.3615023474178404</c:v>
                </c:pt>
                <c:pt idx="40">
                  <c:v>0.33692722371967654</c:v>
                </c:pt>
                <c:pt idx="41">
                  <c:v>0.34624697336561744</c:v>
                </c:pt>
                <c:pt idx="42">
                  <c:v>0.32</c:v>
                </c:pt>
                <c:pt idx="43">
                  <c:v>0.36041666666666666</c:v>
                </c:pt>
                <c:pt idx="44">
                  <c:v>0.38753799392097266</c:v>
                </c:pt>
                <c:pt idx="45">
                  <c:v>0.41170431211498976</c:v>
                </c:pt>
                <c:pt idx="46">
                  <c:v>0.41973684210526313</c:v>
                </c:pt>
                <c:pt idx="47">
                  <c:v>0.3786163522012579</c:v>
                </c:pt>
                <c:pt idx="48">
                  <c:v>0.4077079107505071</c:v>
                </c:pt>
                <c:pt idx="49">
                  <c:v>0.43478260869565216</c:v>
                </c:pt>
                <c:pt idx="50">
                  <c:v>0.4669943820224719</c:v>
                </c:pt>
                <c:pt idx="51">
                  <c:v>0.43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8559791899537741</c:v>
                </c:pt>
              </c:numCache>
            </c:numRef>
          </c:xVal>
          <c:yVal>
            <c:numRef>
              <c:f>Sheet1!$B$163:$B$164</c:f>
              <c:numCache>
                <c:formatCode>General</c:formatCode>
                <c:ptCount val="2"/>
                <c:pt idx="0">
                  <c:v>0.45041337209822296</c:v>
                </c:pt>
                <c:pt idx="1">
                  <c:v>0.4504133720982229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8559791899537741</c:v>
                </c:pt>
                <c:pt idx="1">
                  <c:v>0.08559791899537741</c:v>
                </c:pt>
              </c:numCache>
            </c:numRef>
          </c:xVal>
          <c:yVal>
            <c:numRef>
              <c:f>Sheet1!$B$167:$B$168</c:f>
              <c:numCache>
                <c:formatCode>General</c:formatCode>
                <c:ptCount val="2"/>
                <c:pt idx="0">
                  <c:v>0.4504133720982229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028701910060054</c:v>
                </c:pt>
              </c:numCache>
            </c:numRef>
          </c:xVal>
          <c:yVal>
            <c:numRef>
              <c:f>Sheet1!$B$171:$B$172</c:f>
              <c:numCache>
                <c:formatCode>General</c:formatCode>
                <c:ptCount val="2"/>
                <c:pt idx="0">
                  <c:v>0.4353712253671578</c:v>
                </c:pt>
                <c:pt idx="1">
                  <c:v>0.435371225367157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028701910060054</c:v>
                </c:pt>
                <c:pt idx="1">
                  <c:v>0.5028701910060054</c:v>
                </c:pt>
              </c:numCache>
            </c:numRef>
          </c:xVal>
          <c:yVal>
            <c:numRef>
              <c:f>Sheet1!$B$175:$B$176</c:f>
              <c:numCache>
                <c:formatCode>General</c:formatCode>
                <c:ptCount val="2"/>
                <c:pt idx="0">
                  <c:v>0.43537122536715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739101051066368</c:v>
                </c:pt>
              </c:numCache>
            </c:numRef>
          </c:xVal>
          <c:yVal>
            <c:numRef>
              <c:f>Sheet1!$B$179:$B$180</c:f>
              <c:numCache>
                <c:formatCode>General</c:formatCode>
                <c:ptCount val="2"/>
                <c:pt idx="0">
                  <c:v>0.3895518163831474</c:v>
                </c:pt>
                <c:pt idx="1">
                  <c:v>0.38955181638314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739101051066368</c:v>
                </c:pt>
                <c:pt idx="1">
                  <c:v>1.7739101051066368</c:v>
                </c:pt>
              </c:numCache>
            </c:numRef>
          </c:xVal>
          <c:yVal>
            <c:numRef>
              <c:f>Sheet1!$B$183:$B$184</c:f>
              <c:numCache>
                <c:formatCode>General</c:formatCode>
                <c:ptCount val="2"/>
                <c:pt idx="0">
                  <c:v>0.38955181638314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2608928398812134</c:v>
                </c:pt>
                <c:pt idx="1">
                  <c:v>1.3294865920021395</c:v>
                </c:pt>
                <c:pt idx="2">
                  <c:v>1.2546999217952037</c:v>
                </c:pt>
                <c:pt idx="3">
                  <c:v>1.2680953631848797</c:v>
                </c:pt>
                <c:pt idx="4">
                  <c:v>1.2588117154099376</c:v>
                </c:pt>
                <c:pt idx="5">
                  <c:v>1.6338319226819775</c:v>
                </c:pt>
                <c:pt idx="6">
                  <c:v>1.4654480193425898</c:v>
                </c:pt>
                <c:pt idx="7">
                  <c:v>1.3557907472758968</c:v>
                </c:pt>
                <c:pt idx="8">
                  <c:v>1.2998256421840746</c:v>
                </c:pt>
                <c:pt idx="9">
                  <c:v>1.309819691931872</c:v>
                </c:pt>
                <c:pt idx="10">
                  <c:v>1.6237677352233564</c:v>
                </c:pt>
                <c:pt idx="11">
                  <c:v>1.5936194182093713</c:v>
                </c:pt>
                <c:pt idx="12">
                  <c:v>1.406577849211776</c:v>
                </c:pt>
                <c:pt idx="13">
                  <c:v>1.3571860237028304</c:v>
                </c:pt>
                <c:pt idx="14">
                  <c:v>1.5959463974598687</c:v>
                </c:pt>
                <c:pt idx="15">
                  <c:v>1.4529123191598943</c:v>
                </c:pt>
                <c:pt idx="16">
                  <c:v>1.5800911250037717</c:v>
                </c:pt>
                <c:pt idx="17">
                  <c:v>1.3802993227366966</c:v>
                </c:pt>
                <c:pt idx="18">
                  <c:v>2.3080710371548636</c:v>
                </c:pt>
                <c:pt idx="19">
                  <c:v>2.8105323186199898</c:v>
                </c:pt>
                <c:pt idx="20">
                  <c:v>2.6717018403124873</c:v>
                </c:pt>
                <c:pt idx="21">
                  <c:v>2.5066310485201893</c:v>
                </c:pt>
                <c:pt idx="22">
                  <c:v>2.966796771674043</c:v>
                </c:pt>
                <c:pt idx="23">
                  <c:v>2.7561645754865727</c:v>
                </c:pt>
                <c:pt idx="24">
                  <c:v>2.456834126984127</c:v>
                </c:pt>
                <c:pt idx="25">
                  <c:v>2.873287904191617</c:v>
                </c:pt>
                <c:pt idx="26">
                  <c:v>2.8556325127522735</c:v>
                </c:pt>
                <c:pt idx="27">
                  <c:v>2.2504639795592642</c:v>
                </c:pt>
                <c:pt idx="28">
                  <c:v>2.206017579445571</c:v>
                </c:pt>
                <c:pt idx="29">
                  <c:v>2.550840629567305</c:v>
                </c:pt>
                <c:pt idx="30">
                  <c:v>2.1063489039633985</c:v>
                </c:pt>
                <c:pt idx="31">
                  <c:v>2.355303822004014</c:v>
                </c:pt>
                <c:pt idx="32">
                  <c:v>2.551636055574382</c:v>
                </c:pt>
                <c:pt idx="33">
                  <c:v>2.5285297524273433</c:v>
                </c:pt>
                <c:pt idx="34">
                  <c:v>2.396203965429588</c:v>
                </c:pt>
                <c:pt idx="35">
                  <c:v>1.5846476464090467</c:v>
                </c:pt>
                <c:pt idx="36">
                  <c:v>2.175680057647271</c:v>
                </c:pt>
                <c:pt idx="37">
                  <c:v>2.6986548122754566</c:v>
                </c:pt>
                <c:pt idx="38">
                  <c:v>2.8334995657394058</c:v>
                </c:pt>
                <c:pt idx="39">
                  <c:v>2.072460830562264</c:v>
                </c:pt>
                <c:pt idx="40">
                  <c:v>1.4829821428571428</c:v>
                </c:pt>
                <c:pt idx="41">
                  <c:v>2.5513053997361665</c:v>
                </c:pt>
                <c:pt idx="42">
                  <c:v>1.4928592438070405</c:v>
                </c:pt>
                <c:pt idx="43">
                  <c:v>1.785370025188917</c:v>
                </c:pt>
                <c:pt idx="44">
                  <c:v>1.537792747686239</c:v>
                </c:pt>
                <c:pt idx="45">
                  <c:v>1.8354624565963493</c:v>
                </c:pt>
                <c:pt idx="46">
                  <c:v>1.3768707163323783</c:v>
                </c:pt>
                <c:pt idx="47">
                  <c:v>1.6911279411777385</c:v>
                </c:pt>
                <c:pt idx="48">
                  <c:v>1.2181295655618647</c:v>
                </c:pt>
                <c:pt idx="49">
                  <c:v>1.941472971586159</c:v>
                </c:pt>
                <c:pt idx="50">
                  <c:v>1.4871138145185663</c:v>
                </c:pt>
                <c:pt idx="51">
                  <c:v>0.7249813063120294</c:v>
                </c:pt>
                <c:pt idx="52">
                  <c:v>0.5028701910060054</c:v>
                </c:pt>
                <c:pt idx="53">
                  <c:v>0.08559791899537741</c:v>
                </c:pt>
                <c:pt idx="54">
                  <c:v>1.7739101051066368</c:v>
                </c:pt>
              </c:numCache>
            </c:numRef>
          </c:xVal>
          <c:yVal>
            <c:numRef>
              <c:f>Sheet1!$B$187:$B$241</c:f>
              <c:numCache>
                <c:formatCode>General</c:formatCode>
                <c:ptCount val="55"/>
                <c:pt idx="0">
                  <c:v>0.4080454511073211</c:v>
                </c:pt>
                <c:pt idx="1">
                  <c:v>0.4055727316062971</c:v>
                </c:pt>
                <c:pt idx="2">
                  <c:v>0.4082686981064432</c:v>
                </c:pt>
                <c:pt idx="3">
                  <c:v>0.4077858090950551</c:v>
                </c:pt>
                <c:pt idx="4">
                  <c:v>0.40812047305764554</c:v>
                </c:pt>
                <c:pt idx="5">
                  <c:v>0.3946014607405347</c:v>
                </c:pt>
                <c:pt idx="6">
                  <c:v>0.4006714911525148</c:v>
                </c:pt>
                <c:pt idx="7">
                  <c:v>0.40462449950508883</c:v>
                </c:pt>
                <c:pt idx="8">
                  <c:v>0.4066419719782879</c:v>
                </c:pt>
                <c:pt idx="9">
                  <c:v>0.40628169890761495</c:v>
                </c:pt>
                <c:pt idx="10">
                  <c:v>0.3949642621885007</c:v>
                </c:pt>
                <c:pt idx="11">
                  <c:v>0.3960510715421006</c:v>
                </c:pt>
                <c:pt idx="12">
                  <c:v>0.40279368760933554</c:v>
                </c:pt>
                <c:pt idx="13">
                  <c:v>0.4045742015242448</c:v>
                </c:pt>
                <c:pt idx="14">
                  <c:v>0.39596718683258597</c:v>
                </c:pt>
                <c:pt idx="15">
                  <c:v>0.40112338756206095</c:v>
                </c:pt>
                <c:pt idx="16">
                  <c:v>0.3965387496963162</c:v>
                </c:pt>
                <c:pt idx="17">
                  <c:v>0.40374099582420836</c:v>
                </c:pt>
                <c:pt idx="18">
                  <c:v>0.37029597875186737</c:v>
                </c:pt>
                <c:pt idx="19">
                  <c:v>0.35218287412102584</c:v>
                </c:pt>
                <c:pt idx="20">
                  <c:v>0.3571875402959022</c:v>
                </c:pt>
                <c:pt idx="21">
                  <c:v>0.363138137154851</c:v>
                </c:pt>
                <c:pt idx="22">
                  <c:v>0.346549734827196</c:v>
                </c:pt>
                <c:pt idx="23">
                  <c:v>0.3541427636811663</c:v>
                </c:pt>
                <c:pt idx="24">
                  <c:v>0.36493325427799816</c:v>
                </c:pt>
                <c:pt idx="25">
                  <c:v>0.34992061326718626</c:v>
                </c:pt>
                <c:pt idx="26">
                  <c:v>0.35055706818269106</c:v>
                </c:pt>
                <c:pt idx="27">
                  <c:v>0.37237264157185906</c:v>
                </c:pt>
                <c:pt idx="28">
                  <c:v>0.37397487904849824</c:v>
                </c:pt>
                <c:pt idx="29">
                  <c:v>0.36154443671119274</c:v>
                </c:pt>
                <c:pt idx="30">
                  <c:v>0.37756781091015706</c:v>
                </c:pt>
                <c:pt idx="31">
                  <c:v>0.3685932955690278</c:v>
                </c:pt>
                <c:pt idx="32">
                  <c:v>0.3615157625923626</c:v>
                </c:pt>
                <c:pt idx="33">
                  <c:v>0.36234871609937486</c:v>
                </c:pt>
                <c:pt idx="34">
                  <c:v>0.36711889623795163</c:v>
                </c:pt>
                <c:pt idx="35">
                  <c:v>0.39637449276347203</c:v>
                </c:pt>
                <c:pt idx="36">
                  <c:v>0.37506850899938865</c:v>
                </c:pt>
                <c:pt idx="37">
                  <c:v>0.35621591915953554</c:v>
                </c:pt>
                <c:pt idx="38">
                  <c:v>0.3513549334109609</c:v>
                </c:pt>
                <c:pt idx="39">
                  <c:v>0.3787894338329474</c:v>
                </c:pt>
                <c:pt idx="40">
                  <c:v>0.40003940779496117</c:v>
                </c:pt>
                <c:pt idx="41">
                  <c:v>0.3615276823243207</c:v>
                </c:pt>
                <c:pt idx="42">
                  <c:v>0.39968335058308363</c:v>
                </c:pt>
                <c:pt idx="43">
                  <c:v>0.38913870050901245</c:v>
                </c:pt>
                <c:pt idx="44">
                  <c:v>0.3980635536211744</c:v>
                </c:pt>
                <c:pt idx="45">
                  <c:v>0.3873329306223251</c:v>
                </c:pt>
                <c:pt idx="46">
                  <c:v>0.40386459282328124</c:v>
                </c:pt>
                <c:pt idx="47">
                  <c:v>0.3925360104934665</c:v>
                </c:pt>
                <c:pt idx="48">
                  <c:v>0.40958701399122166</c:v>
                </c:pt>
                <c:pt idx="49">
                  <c:v>0.3835113833294058</c:v>
                </c:pt>
                <c:pt idx="50">
                  <c:v>0.399890466167289</c:v>
                </c:pt>
                <c:pt idx="51">
                  <c:v>0.4273643957474109</c:v>
                </c:pt>
                <c:pt idx="52">
                  <c:v>0.4353712253671578</c:v>
                </c:pt>
                <c:pt idx="53">
                  <c:v>0.45041337209822296</c:v>
                </c:pt>
                <c:pt idx="54">
                  <c:v>0.3895518163831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04347826086957"/>
          <c:min val="0.215246636771300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8.1627</c:v>
                </c:pt>
                <c:pt idx="1">
                  <c:v>912.6886</c:v>
                </c:pt>
                <c:pt idx="2">
                  <c:v>1005.731</c:v>
                </c:pt>
                <c:pt idx="3">
                  <c:v>1036.6479</c:v>
                </c:pt>
                <c:pt idx="4">
                  <c:v>1045.3251</c:v>
                </c:pt>
                <c:pt idx="5">
                  <c:v>1066.5455</c:v>
                </c:pt>
                <c:pt idx="6">
                  <c:v>954.0144</c:v>
                </c:pt>
                <c:pt idx="7">
                  <c:v>1003.7973</c:v>
                </c:pt>
                <c:pt idx="8">
                  <c:v>1001.9861</c:v>
                </c:pt>
                <c:pt idx="9">
                  <c:v>890.574</c:v>
                </c:pt>
                <c:pt idx="10">
                  <c:v>908.3803</c:v>
                </c:pt>
                <c:pt idx="11">
                  <c:v>976.1806</c:v>
                </c:pt>
                <c:pt idx="12">
                  <c:v>1014.7897</c:v>
                </c:pt>
                <c:pt idx="13">
                  <c:v>969.2656</c:v>
                </c:pt>
                <c:pt idx="14">
                  <c:v>971.1842</c:v>
                </c:pt>
                <c:pt idx="15">
                  <c:v>989.0929</c:v>
                </c:pt>
                <c:pt idx="16">
                  <c:v>997.3165</c:v>
                </c:pt>
                <c:pt idx="17">
                  <c:v>988.5448</c:v>
                </c:pt>
                <c:pt idx="18">
                  <c:v>1049.708</c:v>
                </c:pt>
                <c:pt idx="19">
                  <c:v>1072.7115</c:v>
                </c:pt>
                <c:pt idx="20">
                  <c:v>1139.0635</c:v>
                </c:pt>
                <c:pt idx="21">
                  <c:v>1138.1494</c:v>
                </c:pt>
                <c:pt idx="22">
                  <c:v>1100.8785</c:v>
                </c:pt>
                <c:pt idx="23">
                  <c:v>1088.3558</c:v>
                </c:pt>
                <c:pt idx="24">
                  <c:v>1000.9625</c:v>
                </c:pt>
                <c:pt idx="25">
                  <c:v>1021.1136</c:v>
                </c:pt>
                <c:pt idx="26">
                  <c:v>1018.619</c:v>
                </c:pt>
                <c:pt idx="27">
                  <c:v>1043.7169</c:v>
                </c:pt>
                <c:pt idx="28">
                  <c:v>1058.773</c:v>
                </c:pt>
                <c:pt idx="29">
                  <c:v>972.2836</c:v>
                </c:pt>
                <c:pt idx="30">
                  <c:v>998.2314</c:v>
                </c:pt>
                <c:pt idx="31">
                  <c:v>1038.6357</c:v>
                </c:pt>
                <c:pt idx="32">
                  <c:v>980.7838</c:v>
                </c:pt>
                <c:pt idx="33">
                  <c:v>881.5423</c:v>
                </c:pt>
                <c:pt idx="34">
                  <c:v>956.004</c:v>
                </c:pt>
                <c:pt idx="35">
                  <c:v>1030.0935</c:v>
                </c:pt>
                <c:pt idx="36">
                  <c:v>1110.8559</c:v>
                </c:pt>
                <c:pt idx="37">
                  <c:v>1066.7971</c:v>
                </c:pt>
                <c:pt idx="38">
                  <c:v>1184.854</c:v>
                </c:pt>
                <c:pt idx="39">
                  <c:v>1176.2857</c:v>
                </c:pt>
                <c:pt idx="40">
                  <c:v>1220.9881</c:v>
                </c:pt>
                <c:pt idx="41">
                  <c:v>1271.0299</c:v>
                </c:pt>
                <c:pt idx="42">
                  <c:v>1284.049</c:v>
                </c:pt>
                <c:pt idx="43">
                  <c:v>1294.8918</c:v>
                </c:pt>
                <c:pt idx="44">
                  <c:v>1144.9783</c:v>
                </c:pt>
                <c:pt idx="45">
                  <c:v>1105.2617</c:v>
                </c:pt>
                <c:pt idx="46">
                  <c:v>1086.2985</c:v>
                </c:pt>
                <c:pt idx="47">
                  <c:v>1061.8131</c:v>
                </c:pt>
                <c:pt idx="48">
                  <c:v>1079.2493</c:v>
                </c:pt>
                <c:pt idx="49">
                  <c:v>1044.1453</c:v>
                </c:pt>
                <c:pt idx="50">
                  <c:v>1044.049</c:v>
                </c:pt>
                <c:pt idx="51">
                  <c:v>1076.0493</c:v>
                </c:pt>
                <c:pt idx="52">
                  <c:v>1102.6526</c:v>
                </c:pt>
                <c:pt idx="53">
                  <c:v>1196.7431</c:v>
                </c:pt>
                <c:pt idx="54">
                  <c:v>1180.0864</c:v>
                </c:pt>
                <c:pt idx="55">
                  <c:v>1196.9579</c:v>
                </c:pt>
                <c:pt idx="56">
                  <c:v>1237.6337</c:v>
                </c:pt>
                <c:pt idx="57">
                  <c:v>1241.2971</c:v>
                </c:pt>
                <c:pt idx="58">
                  <c:v>1137.7017</c:v>
                </c:pt>
                <c:pt idx="59">
                  <c:v>1122.9196</c:v>
                </c:pt>
                <c:pt idx="60">
                  <c:v>1126.3264</c:v>
                </c:pt>
                <c:pt idx="61">
                  <c:v>1211.454</c:v>
                </c:pt>
                <c:pt idx="62">
                  <c:v>1117.228</c:v>
                </c:pt>
                <c:pt idx="63">
                  <c:v>1140.0738</c:v>
                </c:pt>
                <c:pt idx="64">
                  <c:v>1163.6411</c:v>
                </c:pt>
                <c:pt idx="65">
                  <c:v>1150.7256</c:v>
                </c:pt>
                <c:pt idx="66">
                  <c:v>1112.9925</c:v>
                </c:pt>
                <c:pt idx="67">
                  <c:v>1148.7806</c:v>
                </c:pt>
                <c:pt idx="68">
                  <c:v>1168.1494</c:v>
                </c:pt>
                <c:pt idx="69">
                  <c:v>1185.3243</c:v>
                </c:pt>
                <c:pt idx="70">
                  <c:v>1241.1</c:v>
                </c:pt>
                <c:pt idx="71">
                  <c:v>1307.0556</c:v>
                </c:pt>
                <c:pt idx="72">
                  <c:v>1274.5306</c:v>
                </c:pt>
                <c:pt idx="73">
                  <c:v>1320.9577</c:v>
                </c:pt>
                <c:pt idx="74">
                  <c:v>1315.1163</c:v>
                </c:pt>
                <c:pt idx="75">
                  <c:v>1277.9018</c:v>
                </c:pt>
                <c:pt idx="76">
                  <c:v>1333.4841</c:v>
                </c:pt>
                <c:pt idx="77">
                  <c:v>1335.0435</c:v>
                </c:pt>
                <c:pt idx="78">
                  <c:v>1308.0083</c:v>
                </c:pt>
                <c:pt idx="79">
                  <c:v>1321.4127</c:v>
                </c:pt>
                <c:pt idx="80">
                  <c:v>1314.9818</c:v>
                </c:pt>
                <c:pt idx="81">
                  <c:v>1274.0</c:v>
                </c:pt>
                <c:pt idx="82">
                  <c:v>1303.7755</c:v>
                </c:pt>
                <c:pt idx="83">
                  <c:v>1285.4096</c:v>
                </c:pt>
                <c:pt idx="84">
                  <c:v>1222.382</c:v>
                </c:pt>
                <c:pt idx="85">
                  <c:v>1232.6311</c:v>
                </c:pt>
                <c:pt idx="86">
                  <c:v>1235.9868</c:v>
                </c:pt>
                <c:pt idx="87">
                  <c:v>1228.0255</c:v>
                </c:pt>
                <c:pt idx="88">
                  <c:v>1239.0606</c:v>
                </c:pt>
                <c:pt idx="89">
                  <c:v>1221.49</c:v>
                </c:pt>
                <c:pt idx="90">
                  <c:v>1316.6696</c:v>
                </c:pt>
                <c:pt idx="91">
                  <c:v>1351.4273</c:v>
                </c:pt>
                <c:pt idx="92">
                  <c:v>1270.15</c:v>
                </c:pt>
                <c:pt idx="93">
                  <c:v>1316.2215</c:v>
                </c:pt>
                <c:pt idx="94">
                  <c:v>1362.8705</c:v>
                </c:pt>
                <c:pt idx="95">
                  <c:v>1317.4238</c:v>
                </c:pt>
                <c:pt idx="96">
                  <c:v>1261.6861</c:v>
                </c:pt>
                <c:pt idx="97">
                  <c:v>1222.6158</c:v>
                </c:pt>
                <c:pt idx="98">
                  <c:v>1178.6551</c:v>
                </c:pt>
                <c:pt idx="99">
                  <c:v>1161.8474</c:v>
                </c:pt>
                <c:pt idx="100">
                  <c:v>1168.5676</c:v>
                </c:pt>
                <c:pt idx="101">
                  <c:v>1163.0585</c:v>
                </c:pt>
                <c:pt idx="102">
                  <c:v>1210.6068</c:v>
                </c:pt>
                <c:pt idx="103">
                  <c:v>1184.8941</c:v>
                </c:pt>
                <c:pt idx="104">
                  <c:v>1302.7936</c:v>
                </c:pt>
              </c:numCache>
            </c:numRef>
          </c:xVal>
          <c:yVal>
            <c:numRef>
              <c:f>Sheet1!$B$2:$B$106</c:f>
              <c:numCache>
                <c:formatCode>General</c:formatCode>
                <c:ptCount val="105"/>
                <c:pt idx="0">
                  <c:v>0.45667125171939477</c:v>
                </c:pt>
                <c:pt idx="1">
                  <c:v>0.4435590969455511</c:v>
                </c:pt>
                <c:pt idx="2">
                  <c:v>0.395</c:v>
                </c:pt>
                <c:pt idx="3">
                  <c:v>0.35224274406332456</c:v>
                </c:pt>
                <c:pt idx="4">
                  <c:v>0.3191823899371069</c:v>
                </c:pt>
                <c:pt idx="5">
                  <c:v>0.28805237315875615</c:v>
                </c:pt>
                <c:pt idx="6">
                  <c:v>0.34318555008210183</c:v>
                </c:pt>
                <c:pt idx="7">
                  <c:v>0.31965442764578833</c:v>
                </c:pt>
                <c:pt idx="8">
                  <c:v>0.375</c:v>
                </c:pt>
                <c:pt idx="9">
                  <c:v>0.4235474006116208</c:v>
                </c:pt>
                <c:pt idx="10">
                  <c:v>0.4663382594417077</c:v>
                </c:pt>
                <c:pt idx="11">
                  <c:v>0.4924078091106291</c:v>
                </c:pt>
                <c:pt idx="12">
                  <c:v>0.5235955056179775</c:v>
                </c:pt>
                <c:pt idx="13">
                  <c:v>0.5688888888888889</c:v>
                </c:pt>
                <c:pt idx="14">
                  <c:v>0.6086956521739131</c:v>
                </c:pt>
                <c:pt idx="15">
                  <c:v>0.4988962472406181</c:v>
                </c:pt>
                <c:pt idx="16">
                  <c:v>0.4340659340659341</c:v>
                </c:pt>
                <c:pt idx="17">
                  <c:v>0.44753086419753085</c:v>
                </c:pt>
                <c:pt idx="18">
                  <c:v>0.39941690962099125</c:v>
                </c:pt>
                <c:pt idx="19">
                  <c:v>0.32298136645962733</c:v>
                </c:pt>
                <c:pt idx="20">
                  <c:v>0.35492957746478876</c:v>
                </c:pt>
                <c:pt idx="21">
                  <c:v>0.3140794223826715</c:v>
                </c:pt>
                <c:pt idx="22">
                  <c:v>0.33753943217665616</c:v>
                </c:pt>
                <c:pt idx="23">
                  <c:v>0.3701067615658363</c:v>
                </c:pt>
                <c:pt idx="24">
                  <c:v>0.44077134986225897</c:v>
                </c:pt>
                <c:pt idx="25">
                  <c:v>0.41509433962264153</c:v>
                </c:pt>
                <c:pt idx="26">
                  <c:v>0.5045045045045045</c:v>
                </c:pt>
                <c:pt idx="27">
                  <c:v>0.47564469914040114</c:v>
                </c:pt>
                <c:pt idx="28">
                  <c:v>0.43007915567282323</c:v>
                </c:pt>
                <c:pt idx="29">
                  <c:v>0.43790849673202614</c:v>
                </c:pt>
                <c:pt idx="30">
                  <c:v>0.38412698412698415</c:v>
                </c:pt>
                <c:pt idx="31">
                  <c:v>0.36338028169014086</c:v>
                </c:pt>
                <c:pt idx="32">
                  <c:v>0.36185819070904646</c:v>
                </c:pt>
                <c:pt idx="33">
                  <c:v>0.42833607907743</c:v>
                </c:pt>
                <c:pt idx="34">
                  <c:v>0.4317789291882556</c:v>
                </c:pt>
                <c:pt idx="35">
                  <c:v>0.45726495726495725</c:v>
                </c:pt>
                <c:pt idx="36">
                  <c:v>0.38562091503267976</c:v>
                </c:pt>
                <c:pt idx="37">
                  <c:v>0.4233128834355828</c:v>
                </c:pt>
                <c:pt idx="38">
                  <c:v>0.4691780821917808</c:v>
                </c:pt>
                <c:pt idx="39">
                  <c:v>0.4682274247491639</c:v>
                </c:pt>
                <c:pt idx="40">
                  <c:v>0.4375</c:v>
                </c:pt>
                <c:pt idx="41">
                  <c:v>0.4110429447852761</c:v>
                </c:pt>
                <c:pt idx="42">
                  <c:v>0.4104627766599598</c:v>
                </c:pt>
                <c:pt idx="43">
                  <c:v>0.40669014084507044</c:v>
                </c:pt>
                <c:pt idx="44">
                  <c:v>0.4550839091806515</c:v>
                </c:pt>
                <c:pt idx="45">
                  <c:v>0.47761194029850745</c:v>
                </c:pt>
                <c:pt idx="46">
                  <c:v>0.4643564356435644</c:v>
                </c:pt>
                <c:pt idx="47">
                  <c:v>0.4740810556079171</c:v>
                </c:pt>
                <c:pt idx="48">
                  <c:v>0.5052484254723583</c:v>
                </c:pt>
                <c:pt idx="49">
                  <c:v>0.5328787140769605</c:v>
                </c:pt>
                <c:pt idx="50">
                  <c:v>0.4857142857142857</c:v>
                </c:pt>
                <c:pt idx="51">
                  <c:v>0.4634146341463415</c:v>
                </c:pt>
                <c:pt idx="52">
                  <c:v>0.45382882882882886</c:v>
                </c:pt>
                <c:pt idx="53">
                  <c:v>0.4311377245508982</c:v>
                </c:pt>
                <c:pt idx="54">
                  <c:v>0.3935599284436494</c:v>
                </c:pt>
                <c:pt idx="55">
                  <c:v>0.38489208633093525</c:v>
                </c:pt>
                <c:pt idx="56">
                  <c:v>0.3713235294117647</c:v>
                </c:pt>
                <c:pt idx="57">
                  <c:v>0.3704697986577181</c:v>
                </c:pt>
                <c:pt idx="58">
                  <c:v>0.43696581196581197</c:v>
                </c:pt>
                <c:pt idx="59">
                  <c:v>0.4416365824308063</c:v>
                </c:pt>
                <c:pt idx="60">
                  <c:v>0.4662813102119461</c:v>
                </c:pt>
                <c:pt idx="61">
                  <c:v>0.43293492695883135</c:v>
                </c:pt>
                <c:pt idx="62">
                  <c:v>0.4478723404255319</c:v>
                </c:pt>
                <c:pt idx="63">
                  <c:v>0.4705263157894737</c:v>
                </c:pt>
                <c:pt idx="64">
                  <c:v>0.4691516709511568</c:v>
                </c:pt>
                <c:pt idx="65">
                  <c:v>0.4328125</c:v>
                </c:pt>
                <c:pt idx="66">
                  <c:v>0.40860215053763443</c:v>
                </c:pt>
                <c:pt idx="67">
                  <c:v>0.45950413223140496</c:v>
                </c:pt>
                <c:pt idx="68">
                  <c:v>0.43828715365239296</c:v>
                </c:pt>
                <c:pt idx="69">
                  <c:v>0.36633663366336633</c:v>
                </c:pt>
                <c:pt idx="70">
                  <c:v>0.35911602209944754</c:v>
                </c:pt>
                <c:pt idx="71">
                  <c:v>0.36627906976744184</c:v>
                </c:pt>
                <c:pt idx="72">
                  <c:v>0.3788659793814433</c:v>
                </c:pt>
                <c:pt idx="73">
                  <c:v>0.3631713554987212</c:v>
                </c:pt>
                <c:pt idx="74">
                  <c:v>0.3706896551724138</c:v>
                </c:pt>
                <c:pt idx="75">
                  <c:v>0.4034653465346535</c:v>
                </c:pt>
                <c:pt idx="76">
                  <c:v>0.36</c:v>
                </c:pt>
                <c:pt idx="77">
                  <c:v>0.3685897435897436</c:v>
                </c:pt>
                <c:pt idx="78">
                  <c:v>0.39158576051779936</c:v>
                </c:pt>
                <c:pt idx="79">
                  <c:v>0.38650306748466257</c:v>
                </c:pt>
                <c:pt idx="80">
                  <c:v>0.3216374269005848</c:v>
                </c:pt>
                <c:pt idx="81">
                  <c:v>0.3111111111111111</c:v>
                </c:pt>
                <c:pt idx="82">
                  <c:v>0.3333333333333333</c:v>
                </c:pt>
                <c:pt idx="83">
                  <c:v>0.3062730627306273</c:v>
                </c:pt>
                <c:pt idx="84">
                  <c:v>0.33584905660377357</c:v>
                </c:pt>
                <c:pt idx="85">
                  <c:v>0.32802547770700635</c:v>
                </c:pt>
                <c:pt idx="86">
                  <c:v>0.363855421686747</c:v>
                </c:pt>
                <c:pt idx="87">
                  <c:v>0.3886138613861386</c:v>
                </c:pt>
                <c:pt idx="88">
                  <c:v>0.31329113924050633</c:v>
                </c:pt>
                <c:pt idx="89">
                  <c:v>0.303951367781155</c:v>
                </c:pt>
                <c:pt idx="90">
                  <c:v>0.36245954692556637</c:v>
                </c:pt>
                <c:pt idx="91">
                  <c:v>0.34591194968553457</c:v>
                </c:pt>
                <c:pt idx="92">
                  <c:v>0.3645833333333333</c:v>
                </c:pt>
                <c:pt idx="93">
                  <c:v>0.37708830548926014</c:v>
                </c:pt>
                <c:pt idx="94">
                  <c:v>0.35368956743002544</c:v>
                </c:pt>
                <c:pt idx="95">
                  <c:v>0.39473684210526316</c:v>
                </c:pt>
                <c:pt idx="96">
                  <c:v>0.4090909090909091</c:v>
                </c:pt>
                <c:pt idx="97">
                  <c:v>0.43125533731853116</c:v>
                </c:pt>
                <c:pt idx="98">
                  <c:v>0.4208606856309263</c:v>
                </c:pt>
                <c:pt idx="99">
                  <c:v>0.44937949052906595</c:v>
                </c:pt>
                <c:pt idx="100">
                  <c:v>0.47280334728033474</c:v>
                </c:pt>
                <c:pt idx="101">
                  <c:v>0.4485294117647059</c:v>
                </c:pt>
                <c:pt idx="102">
                  <c:v>0.4154929577464789</c:v>
                </c:pt>
                <c:pt idx="103">
                  <c:v>0.40581542351453853</c:v>
                </c:pt>
                <c:pt idx="104">
                  <c:v>0.38652482269503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09.6092</c:v>
                </c:pt>
                <c:pt idx="1">
                  <c:v>1336.3385</c:v>
                </c:pt>
                <c:pt idx="2">
                  <c:v>1318.9585</c:v>
                </c:pt>
                <c:pt idx="3">
                  <c:v>1362.7687</c:v>
                </c:pt>
                <c:pt idx="4">
                  <c:v>1360.4877</c:v>
                </c:pt>
                <c:pt idx="5">
                  <c:v>1340.9767</c:v>
                </c:pt>
                <c:pt idx="6">
                  <c:v>1205.7189</c:v>
                </c:pt>
                <c:pt idx="7">
                  <c:v>1223.2138</c:v>
                </c:pt>
                <c:pt idx="8">
                  <c:v>1253.2486</c:v>
                </c:pt>
                <c:pt idx="9">
                  <c:v>1206.4258</c:v>
                </c:pt>
                <c:pt idx="10">
                  <c:v>1248.5962</c:v>
                </c:pt>
                <c:pt idx="11">
                  <c:v>1082.3036</c:v>
                </c:pt>
                <c:pt idx="12">
                  <c:v>1126.477</c:v>
                </c:pt>
                <c:pt idx="13">
                  <c:v>1183.9662</c:v>
                </c:pt>
                <c:pt idx="14">
                  <c:v>1171.6907</c:v>
                </c:pt>
                <c:pt idx="15">
                  <c:v>1211.0508</c:v>
                </c:pt>
                <c:pt idx="16">
                  <c:v>1272.5</c:v>
                </c:pt>
                <c:pt idx="17">
                  <c:v>1248.3082</c:v>
                </c:pt>
                <c:pt idx="18">
                  <c:v>1183.5966</c:v>
                </c:pt>
                <c:pt idx="19">
                  <c:v>1384.8898</c:v>
                </c:pt>
                <c:pt idx="20">
                  <c:v>1454.2188</c:v>
                </c:pt>
                <c:pt idx="21">
                  <c:v>1423.9231</c:v>
                </c:pt>
                <c:pt idx="22">
                  <c:v>1424.4333</c:v>
                </c:pt>
                <c:pt idx="23">
                  <c:v>1294.4247</c:v>
                </c:pt>
                <c:pt idx="24">
                  <c:v>1238.2444</c:v>
                </c:pt>
                <c:pt idx="25">
                  <c:v>1199.5977</c:v>
                </c:pt>
                <c:pt idx="26">
                  <c:v>1287.6047</c:v>
                </c:pt>
                <c:pt idx="27">
                  <c:v>1281.7054</c:v>
                </c:pt>
                <c:pt idx="28">
                  <c:v>1223.5125</c:v>
                </c:pt>
                <c:pt idx="29">
                  <c:v>1169.1852</c:v>
                </c:pt>
                <c:pt idx="30">
                  <c:v>1013.906</c:v>
                </c:pt>
                <c:pt idx="31">
                  <c:v>1139.0612</c:v>
                </c:pt>
                <c:pt idx="32">
                  <c:v>1129.4817</c:v>
                </c:pt>
                <c:pt idx="33">
                  <c:v>1130.3858</c:v>
                </c:pt>
                <c:pt idx="34">
                  <c:v>1178.3333</c:v>
                </c:pt>
                <c:pt idx="35">
                  <c:v>1150.8063</c:v>
                </c:pt>
                <c:pt idx="36">
                  <c:v>1207.72</c:v>
                </c:pt>
                <c:pt idx="37">
                  <c:v>1308.6549</c:v>
                </c:pt>
                <c:pt idx="38">
                  <c:v>1341.1897</c:v>
                </c:pt>
                <c:pt idx="39">
                  <c:v>1300.5844</c:v>
                </c:pt>
                <c:pt idx="40">
                  <c:v>1328.752</c:v>
                </c:pt>
                <c:pt idx="41">
                  <c:v>1384.3776</c:v>
                </c:pt>
                <c:pt idx="42">
                  <c:v>1431.2788</c:v>
                </c:pt>
                <c:pt idx="43">
                  <c:v>1417.5838</c:v>
                </c:pt>
                <c:pt idx="44">
                  <c:v>1266.949</c:v>
                </c:pt>
                <c:pt idx="45">
                  <c:v>1232.1197</c:v>
                </c:pt>
                <c:pt idx="46">
                  <c:v>1201.3197</c:v>
                </c:pt>
                <c:pt idx="47">
                  <c:v>1176.7176</c:v>
                </c:pt>
                <c:pt idx="48">
                  <c:v>1153.1119</c:v>
                </c:pt>
                <c:pt idx="49">
                  <c:v>1188.0673</c:v>
                </c:pt>
                <c:pt idx="50">
                  <c:v>1058.4195</c:v>
                </c:pt>
                <c:pt idx="51">
                  <c:v>1029.9568</c:v>
                </c:pt>
              </c:numCache>
            </c:numRef>
          </c:xVal>
          <c:yVal>
            <c:numRef>
              <c:f>Sheet1!$B$109:$B$160</c:f>
              <c:numCache>
                <c:formatCode>General</c:formatCode>
                <c:ptCount val="52"/>
                <c:pt idx="0">
                  <c:v>0.40717628705148207</c:v>
                </c:pt>
                <c:pt idx="1">
                  <c:v>0.41467304625199364</c:v>
                </c:pt>
                <c:pt idx="2">
                  <c:v>0.4118421052631579</c:v>
                </c:pt>
                <c:pt idx="3">
                  <c:v>0.38992042440318303</c:v>
                </c:pt>
                <c:pt idx="4">
                  <c:v>0.36774193548387096</c:v>
                </c:pt>
                <c:pt idx="5">
                  <c:v>0.38022813688212925</c:v>
                </c:pt>
                <c:pt idx="6">
                  <c:v>0.4127310061601643</c:v>
                </c:pt>
                <c:pt idx="7">
                  <c:v>0.39148936170212767</c:v>
                </c:pt>
                <c:pt idx="8">
                  <c:v>0.3931818181818182</c:v>
                </c:pt>
                <c:pt idx="9">
                  <c:v>0.4026974951830443</c:v>
                </c:pt>
                <c:pt idx="10">
                  <c:v>0.4007707129094412</c:v>
                </c:pt>
                <c:pt idx="11">
                  <c:v>0.44562334217506633</c:v>
                </c:pt>
                <c:pt idx="12">
                  <c:v>0.42678571428571427</c:v>
                </c:pt>
                <c:pt idx="13">
                  <c:v>0.40038684719535783</c:v>
                </c:pt>
                <c:pt idx="14">
                  <c:v>0.3935091277890467</c:v>
                </c:pt>
                <c:pt idx="15">
                  <c:v>0.3933333333333333</c:v>
                </c:pt>
                <c:pt idx="16">
                  <c:v>0.35772357723577236</c:v>
                </c:pt>
                <c:pt idx="17">
                  <c:v>0.3613861386138614</c:v>
                </c:pt>
                <c:pt idx="18">
                  <c:v>0.34492753623188405</c:v>
                </c:pt>
                <c:pt idx="19">
                  <c:v>0.35119047619047616</c:v>
                </c:pt>
                <c:pt idx="20">
                  <c:v>0.3127035830618892</c:v>
                </c:pt>
                <c:pt idx="21">
                  <c:v>0.28634361233480177</c:v>
                </c:pt>
                <c:pt idx="22">
                  <c:v>0.26905829596412556</c:v>
                </c:pt>
                <c:pt idx="23">
                  <c:v>0.31063829787234043</c:v>
                </c:pt>
                <c:pt idx="24">
                  <c:v>0.2903225806451613</c:v>
                </c:pt>
                <c:pt idx="25">
                  <c:v>0.31521739130434784</c:v>
                </c:pt>
                <c:pt idx="26">
                  <c:v>0.31386861313868614</c:v>
                </c:pt>
                <c:pt idx="27">
                  <c:v>0.30434782608695654</c:v>
                </c:pt>
                <c:pt idx="28">
                  <c:v>0.372960372960373</c:v>
                </c:pt>
                <c:pt idx="29">
                  <c:v>0.40540540540540543</c:v>
                </c:pt>
                <c:pt idx="30">
                  <c:v>0.42450142450142453</c:v>
                </c:pt>
                <c:pt idx="31">
                  <c:v>0.4188034188034188</c:v>
                </c:pt>
                <c:pt idx="32">
                  <c:v>0.46472019464720193</c:v>
                </c:pt>
                <c:pt idx="33">
                  <c:v>0.4783427495291902</c:v>
                </c:pt>
                <c:pt idx="34">
                  <c:v>0.4862068965517241</c:v>
                </c:pt>
                <c:pt idx="35">
                  <c:v>0.4624277456647399</c:v>
                </c:pt>
                <c:pt idx="36">
                  <c:v>0.4646840148698885</c:v>
                </c:pt>
                <c:pt idx="37">
                  <c:v>0.3754152823920266</c:v>
                </c:pt>
                <c:pt idx="38">
                  <c:v>0.3431952662721893</c:v>
                </c:pt>
                <c:pt idx="39">
                  <c:v>0.3615023474178404</c:v>
                </c:pt>
                <c:pt idx="40">
                  <c:v>0.33692722371967654</c:v>
                </c:pt>
                <c:pt idx="41">
                  <c:v>0.34624697336561744</c:v>
                </c:pt>
                <c:pt idx="42">
                  <c:v>0.32</c:v>
                </c:pt>
                <c:pt idx="43">
                  <c:v>0.36041666666666666</c:v>
                </c:pt>
                <c:pt idx="44">
                  <c:v>0.38753799392097266</c:v>
                </c:pt>
                <c:pt idx="45">
                  <c:v>0.41170431211498976</c:v>
                </c:pt>
                <c:pt idx="46">
                  <c:v>0.41973684210526313</c:v>
                </c:pt>
                <c:pt idx="47">
                  <c:v>0.3786163522012579</c:v>
                </c:pt>
                <c:pt idx="48">
                  <c:v>0.4077079107505071</c:v>
                </c:pt>
                <c:pt idx="49">
                  <c:v>0.43478260869565216</c:v>
                </c:pt>
                <c:pt idx="50">
                  <c:v>0.4669943820224719</c:v>
                </c:pt>
                <c:pt idx="51">
                  <c:v>0.43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1.1467789273931</c:v>
                </c:pt>
              </c:numCache>
            </c:numRef>
          </c:xVal>
          <c:yVal>
            <c:numRef>
              <c:f>Sheet1!$B$163:$B$164</c:f>
              <c:numCache>
                <c:formatCode>General</c:formatCode>
                <c:ptCount val="2"/>
                <c:pt idx="0">
                  <c:v>0.45041337209822296</c:v>
                </c:pt>
                <c:pt idx="1">
                  <c:v>0.4504133720982229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1.1467789273931</c:v>
                </c:pt>
                <c:pt idx="1">
                  <c:v>1051.1467789273931</c:v>
                </c:pt>
              </c:numCache>
            </c:numRef>
          </c:xVal>
          <c:yVal>
            <c:numRef>
              <c:f>Sheet1!$B$167:$B$168</c:f>
              <c:numCache>
                <c:formatCode>General</c:formatCode>
                <c:ptCount val="2"/>
                <c:pt idx="0">
                  <c:v>0.4504133720982229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8524901677522</c:v>
                </c:pt>
              </c:numCache>
            </c:numRef>
          </c:xVal>
          <c:yVal>
            <c:numRef>
              <c:f>Sheet1!$B$171:$B$172</c:f>
              <c:numCache>
                <c:formatCode>General</c:formatCode>
                <c:ptCount val="2"/>
                <c:pt idx="0">
                  <c:v>0.4353712253671578</c:v>
                </c:pt>
                <c:pt idx="1">
                  <c:v>0.435371225367157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8524901677522</c:v>
                </c:pt>
                <c:pt idx="1">
                  <c:v>1095.8524901677522</c:v>
                </c:pt>
              </c:numCache>
            </c:numRef>
          </c:xVal>
          <c:yVal>
            <c:numRef>
              <c:f>Sheet1!$B$175:$B$176</c:f>
              <c:numCache>
                <c:formatCode>General</c:formatCode>
                <c:ptCount val="2"/>
                <c:pt idx="0">
                  <c:v>0.43537122536715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2.0291479191837</c:v>
                </c:pt>
              </c:numCache>
            </c:numRef>
          </c:xVal>
          <c:yVal>
            <c:numRef>
              <c:f>Sheet1!$B$179:$B$180</c:f>
              <c:numCache>
                <c:formatCode>General</c:formatCode>
                <c:ptCount val="2"/>
                <c:pt idx="0">
                  <c:v>0.3895518163831474</c:v>
                </c:pt>
                <c:pt idx="1">
                  <c:v>0.38955181638314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2.0291479191837</c:v>
                </c:pt>
                <c:pt idx="1">
                  <c:v>1232.0291479191837</c:v>
                </c:pt>
              </c:numCache>
            </c:numRef>
          </c:xVal>
          <c:yVal>
            <c:numRef>
              <c:f>Sheet1!$B$183:$B$184</c:f>
              <c:numCache>
                <c:formatCode>General</c:formatCode>
                <c:ptCount val="2"/>
                <c:pt idx="0">
                  <c:v>0.38955181638314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09.6092</c:v>
                </c:pt>
                <c:pt idx="1">
                  <c:v>1336.3385</c:v>
                </c:pt>
                <c:pt idx="2">
                  <c:v>1318.9585</c:v>
                </c:pt>
                <c:pt idx="3">
                  <c:v>1362.7687</c:v>
                </c:pt>
                <c:pt idx="4">
                  <c:v>1360.4877</c:v>
                </c:pt>
                <c:pt idx="5">
                  <c:v>1340.9767</c:v>
                </c:pt>
                <c:pt idx="6">
                  <c:v>1205.7189</c:v>
                </c:pt>
                <c:pt idx="7">
                  <c:v>1223.2138</c:v>
                </c:pt>
                <c:pt idx="8">
                  <c:v>1253.2486</c:v>
                </c:pt>
                <c:pt idx="9">
                  <c:v>1206.4258</c:v>
                </c:pt>
                <c:pt idx="10">
                  <c:v>1248.5962</c:v>
                </c:pt>
                <c:pt idx="11">
                  <c:v>1082.3036</c:v>
                </c:pt>
                <c:pt idx="12">
                  <c:v>1126.477</c:v>
                </c:pt>
                <c:pt idx="13">
                  <c:v>1183.9662</c:v>
                </c:pt>
                <c:pt idx="14">
                  <c:v>1171.6907</c:v>
                </c:pt>
                <c:pt idx="15">
                  <c:v>1211.0508</c:v>
                </c:pt>
                <c:pt idx="16">
                  <c:v>1272.5</c:v>
                </c:pt>
                <c:pt idx="17">
                  <c:v>1248.3082</c:v>
                </c:pt>
                <c:pt idx="18">
                  <c:v>1183.5966</c:v>
                </c:pt>
                <c:pt idx="19">
                  <c:v>1384.8898</c:v>
                </c:pt>
                <c:pt idx="20">
                  <c:v>1454.2188</c:v>
                </c:pt>
                <c:pt idx="21">
                  <c:v>1423.9231</c:v>
                </c:pt>
                <c:pt idx="22">
                  <c:v>1424.4333</c:v>
                </c:pt>
                <c:pt idx="23">
                  <c:v>1294.4247</c:v>
                </c:pt>
                <c:pt idx="24">
                  <c:v>1238.2444</c:v>
                </c:pt>
                <c:pt idx="25">
                  <c:v>1199.5977</c:v>
                </c:pt>
                <c:pt idx="26">
                  <c:v>1287.6047</c:v>
                </c:pt>
                <c:pt idx="27">
                  <c:v>1281.7054</c:v>
                </c:pt>
                <c:pt idx="28">
                  <c:v>1223.5125</c:v>
                </c:pt>
                <c:pt idx="29">
                  <c:v>1169.1852</c:v>
                </c:pt>
                <c:pt idx="30">
                  <c:v>1013.906</c:v>
                </c:pt>
                <c:pt idx="31">
                  <c:v>1139.0612</c:v>
                </c:pt>
                <c:pt idx="32">
                  <c:v>1129.4817</c:v>
                </c:pt>
                <c:pt idx="33">
                  <c:v>1130.3858</c:v>
                </c:pt>
                <c:pt idx="34">
                  <c:v>1178.3333</c:v>
                </c:pt>
                <c:pt idx="35">
                  <c:v>1150.8063</c:v>
                </c:pt>
                <c:pt idx="36">
                  <c:v>1207.72</c:v>
                </c:pt>
                <c:pt idx="37">
                  <c:v>1308.6549</c:v>
                </c:pt>
                <c:pt idx="38">
                  <c:v>1341.1897</c:v>
                </c:pt>
                <c:pt idx="39">
                  <c:v>1300.5844</c:v>
                </c:pt>
                <c:pt idx="40">
                  <c:v>1328.752</c:v>
                </c:pt>
                <c:pt idx="41">
                  <c:v>1384.3776</c:v>
                </c:pt>
                <c:pt idx="42">
                  <c:v>1431.2788</c:v>
                </c:pt>
                <c:pt idx="43">
                  <c:v>1417.5838</c:v>
                </c:pt>
                <c:pt idx="44">
                  <c:v>1266.949</c:v>
                </c:pt>
                <c:pt idx="45">
                  <c:v>1232.1197</c:v>
                </c:pt>
                <c:pt idx="46">
                  <c:v>1201.3197</c:v>
                </c:pt>
                <c:pt idx="47">
                  <c:v>1176.7176</c:v>
                </c:pt>
                <c:pt idx="48">
                  <c:v>1153.1119</c:v>
                </c:pt>
                <c:pt idx="49">
                  <c:v>1188.0673</c:v>
                </c:pt>
                <c:pt idx="50">
                  <c:v>1058.4195</c:v>
                </c:pt>
                <c:pt idx="51">
                  <c:v>1029.9568</c:v>
                </c:pt>
                <c:pt idx="52">
                  <c:v>1095.8524901677522</c:v>
                </c:pt>
                <c:pt idx="53">
                  <c:v>1051.1467789273931</c:v>
                </c:pt>
                <c:pt idx="54">
                  <c:v>1232.0291479191837</c:v>
                </c:pt>
              </c:numCache>
            </c:numRef>
          </c:xVal>
          <c:yVal>
            <c:numRef>
              <c:f>Sheet1!$B$187:$B$241</c:f>
              <c:numCache>
                <c:formatCode>General</c:formatCode>
                <c:ptCount val="55"/>
                <c:pt idx="0">
                  <c:v>0.3634484283724046</c:v>
                </c:pt>
                <c:pt idx="1">
                  <c:v>0.3544548111932267</c:v>
                </c:pt>
                <c:pt idx="2">
                  <c:v>0.36030266604068295</c:v>
                </c:pt>
                <c:pt idx="3">
                  <c:v>0.34556183229856396</c:v>
                </c:pt>
                <c:pt idx="4">
                  <c:v>0.34632932118849774</c:v>
                </c:pt>
                <c:pt idx="5">
                  <c:v>0.3528941943719683</c:v>
                </c:pt>
                <c:pt idx="6">
                  <c:v>0.3984044349580596</c:v>
                </c:pt>
                <c:pt idx="7">
                  <c:v>0.3925179196663012</c:v>
                </c:pt>
                <c:pt idx="8">
                  <c:v>0.3824120997139204</c:v>
                </c:pt>
                <c:pt idx="9">
                  <c:v>0.3981665840609557</c:v>
                </c:pt>
                <c:pt idx="10">
                  <c:v>0.38397749441428314</c:v>
                </c:pt>
                <c:pt idx="11">
                  <c:v>0.43993002531221775</c:v>
                </c:pt>
                <c:pt idx="12">
                  <c:v>0.42506698553554195</c:v>
                </c:pt>
                <c:pt idx="13">
                  <c:v>0.40572357374633705</c:v>
                </c:pt>
                <c:pt idx="14">
                  <c:v>0.40985391564391754</c:v>
                </c:pt>
                <c:pt idx="15">
                  <c:v>0.39661040864844216</c:v>
                </c:pt>
                <c:pt idx="16">
                  <c:v>0.37593457423576615</c:v>
                </c:pt>
                <c:pt idx="17">
                  <c:v>0.38407439787780834</c:v>
                </c:pt>
                <c:pt idx="18">
                  <c:v>0.40584793319119433</c:v>
                </c:pt>
                <c:pt idx="19">
                  <c:v>0.3381187378298606</c:v>
                </c:pt>
                <c:pt idx="20">
                  <c:v>0.3147915842786929</c:v>
                </c:pt>
                <c:pt idx="21">
                  <c:v>0.32498518934785753</c:v>
                </c:pt>
                <c:pt idx="22">
                  <c:v>0.32481352217045983</c:v>
                </c:pt>
                <c:pt idx="23">
                  <c:v>0.3685575625456612</c:v>
                </c:pt>
                <c:pt idx="24">
                  <c:v>0.3874605682813658</c:v>
                </c:pt>
                <c:pt idx="25">
                  <c:v>0.40046403732240077</c:v>
                </c:pt>
                <c:pt idx="26">
                  <c:v>0.37085229039719464</c:v>
                </c:pt>
                <c:pt idx="27">
                  <c:v>0.3728372299887711</c:v>
                </c:pt>
                <c:pt idx="28">
                  <c:v>0.39241741596992974</c:v>
                </c:pt>
                <c:pt idx="29">
                  <c:v>0.4106969421295506</c:v>
                </c:pt>
                <c:pt idx="30">
                  <c:v>0.46294379037058214</c:v>
                </c:pt>
                <c:pt idx="31">
                  <c:v>0.42083277523799545</c:v>
                </c:pt>
                <c:pt idx="32">
                  <c:v>0.42405599304646535</c:v>
                </c:pt>
                <c:pt idx="33">
                  <c:v>0.42375179019447545</c:v>
                </c:pt>
                <c:pt idx="34">
                  <c:v>0.4076188776341527</c:v>
                </c:pt>
                <c:pt idx="35">
                  <c:v>0.41688089721907384</c:v>
                </c:pt>
                <c:pt idx="36">
                  <c:v>0.39773112412173944</c:v>
                </c:pt>
                <c:pt idx="37">
                  <c:v>0.3637695220364396</c:v>
                </c:pt>
                <c:pt idx="38">
                  <c:v>0.35282252618540283</c:v>
                </c:pt>
                <c:pt idx="39">
                  <c:v>0.3664850060724808</c:v>
                </c:pt>
                <c:pt idx="40">
                  <c:v>0.35700744357528813</c:v>
                </c:pt>
                <c:pt idx="41">
                  <c:v>0.33829107794797725</c:v>
                </c:pt>
                <c:pt idx="42">
                  <c:v>0.32251021432476</c:v>
                </c:pt>
                <c:pt idx="43">
                  <c:v>0.3271181758975974</c:v>
                </c:pt>
                <c:pt idx="44">
                  <c:v>0.3778023212011418</c:v>
                </c:pt>
                <c:pt idx="45">
                  <c:v>0.3895213482919651</c:v>
                </c:pt>
                <c:pt idx="46">
                  <c:v>0.39988463536340657</c:v>
                </c:pt>
                <c:pt idx="47">
                  <c:v>0.4081625127939361</c:v>
                </c:pt>
                <c:pt idx="48">
                  <c:v>0.4161051311582973</c:v>
                </c:pt>
                <c:pt idx="49">
                  <c:v>0.4043436751551459</c:v>
                </c:pt>
                <c:pt idx="50">
                  <c:v>0.4479663170246533</c:v>
                </c:pt>
                <c:pt idx="51">
                  <c:v>0.45754317192492333</c:v>
                </c:pt>
                <c:pt idx="52">
                  <c:v>0.4353712253671578</c:v>
                </c:pt>
                <c:pt idx="53">
                  <c:v>0.45041337209822296</c:v>
                </c:pt>
                <c:pt idx="54">
                  <c:v>0.389551816383147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5.0"/>
          <c:min val="63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04347826086957"/>
          <c:min val="0.215246636771300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882048856423465</c:v>
                </c:pt>
                <c:pt idx="1">
                  <c:v>0.6077918862207122</c:v>
                </c:pt>
                <c:pt idx="2">
                  <c:v>0.6015981276324934</c:v>
                </c:pt>
                <c:pt idx="3">
                  <c:v>0.62274657752286</c:v>
                </c:pt>
                <c:pt idx="4">
                  <c:v>0.643028838859617</c:v>
                </c:pt>
                <c:pt idx="5">
                  <c:v>0.641686369926825</c:v>
                </c:pt>
                <c:pt idx="6">
                  <c:v>0.5683420798079686</c:v>
                </c:pt>
                <c:pt idx="7">
                  <c:v>0.6026225644881994</c:v>
                </c:pt>
                <c:pt idx="8">
                  <c:v>0.5931571101766975</c:v>
                </c:pt>
                <c:pt idx="9">
                  <c:v>0.6320628083105824</c:v>
                </c:pt>
                <c:pt idx="10">
                  <c:v>0.6392974677625203</c:v>
                </c:pt>
                <c:pt idx="11">
                  <c:v>0.6677406624052926</c:v>
                </c:pt>
                <c:pt idx="12">
                  <c:v>0.6805238425772048</c:v>
                </c:pt>
                <c:pt idx="13">
                  <c:v>0.6641381955686568</c:v>
                </c:pt>
                <c:pt idx="14">
                  <c:v>0.6738074477467468</c:v>
                </c:pt>
                <c:pt idx="15">
                  <c:v>0.6725140509121621</c:v>
                </c:pt>
                <c:pt idx="16">
                  <c:v>0.6795376690460576</c:v>
                </c:pt>
                <c:pt idx="17">
                  <c:v>0.6876510367565031</c:v>
                </c:pt>
                <c:pt idx="18">
                  <c:v>0.6911357394867726</c:v>
                </c:pt>
                <c:pt idx="19">
                  <c:v>0.6986064347862068</c:v>
                </c:pt>
                <c:pt idx="20">
                  <c:v>0.7018682569779036</c:v>
                </c:pt>
                <c:pt idx="21">
                  <c:v>0.6662475000100065</c:v>
                </c:pt>
                <c:pt idx="22">
                  <c:v>0.5387026087356824</c:v>
                </c:pt>
                <c:pt idx="23">
                  <c:v>0.5410198477654113</c:v>
                </c:pt>
                <c:pt idx="24">
                  <c:v>0.5730774591845859</c:v>
                </c:pt>
                <c:pt idx="25">
                  <c:v>0.4780795482978909</c:v>
                </c:pt>
                <c:pt idx="26">
                  <c:v>0.46045436967246384</c:v>
                </c:pt>
                <c:pt idx="27">
                  <c:v>0.4828314796765246</c:v>
                </c:pt>
                <c:pt idx="28">
                  <c:v>0.4466876492238429</c:v>
                </c:pt>
                <c:pt idx="29">
                  <c:v>0.4483531558087453</c:v>
                </c:pt>
                <c:pt idx="30">
                  <c:v>0.4427135904965447</c:v>
                </c:pt>
                <c:pt idx="31">
                  <c:v>0.4020494689484152</c:v>
                </c:pt>
                <c:pt idx="32">
                  <c:v>0.4426641582356908</c:v>
                </c:pt>
                <c:pt idx="33">
                  <c:v>0.4222389765783167</c:v>
                </c:pt>
                <c:pt idx="34">
                  <c:v>0.4489580248202634</c:v>
                </c:pt>
                <c:pt idx="35">
                  <c:v>0.4712815928769236</c:v>
                </c:pt>
                <c:pt idx="36">
                  <c:v>0.5106981685541282</c:v>
                </c:pt>
                <c:pt idx="37">
                  <c:v>0.519521371782016</c:v>
                </c:pt>
                <c:pt idx="38">
                  <c:v>0.5269324138243399</c:v>
                </c:pt>
                <c:pt idx="39">
                  <c:v>0.5480498263418419</c:v>
                </c:pt>
                <c:pt idx="40">
                  <c:v>0.5424426854042961</c:v>
                </c:pt>
                <c:pt idx="41">
                  <c:v>0.532233221367172</c:v>
                </c:pt>
                <c:pt idx="42">
                  <c:v>0.5758386899101618</c:v>
                </c:pt>
                <c:pt idx="43">
                  <c:v>0.5885687952277657</c:v>
                </c:pt>
                <c:pt idx="44">
                  <c:v>0.5857432142989449</c:v>
                </c:pt>
                <c:pt idx="45">
                  <c:v>0.6084435084885648</c:v>
                </c:pt>
                <c:pt idx="46">
                  <c:v>0.6005024414005486</c:v>
                </c:pt>
                <c:pt idx="47">
                  <c:v>0.6280992700509985</c:v>
                </c:pt>
                <c:pt idx="48">
                  <c:v>0.6427891000109297</c:v>
                </c:pt>
                <c:pt idx="49">
                  <c:v>0.6359451526086801</c:v>
                </c:pt>
                <c:pt idx="50">
                  <c:v>0.5885950645377341</c:v>
                </c:pt>
                <c:pt idx="51">
                  <c:v>0.6258505520696244</c:v>
                </c:pt>
                <c:pt idx="52">
                  <c:v>0.6511066990648839</c:v>
                </c:pt>
                <c:pt idx="53">
                  <c:v>0.6303957099158504</c:v>
                </c:pt>
                <c:pt idx="54">
                  <c:v>0.5820088415402208</c:v>
                </c:pt>
                <c:pt idx="55">
                  <c:v>0.6090680558953222</c:v>
                </c:pt>
                <c:pt idx="56">
                  <c:v>0.5956230168243161</c:v>
                </c:pt>
                <c:pt idx="57">
                  <c:v>0.605745452368644</c:v>
                </c:pt>
                <c:pt idx="58">
                  <c:v>0.6356018123372927</c:v>
                </c:pt>
                <c:pt idx="59">
                  <c:v>0.6420157307003438</c:v>
                </c:pt>
                <c:pt idx="60">
                  <c:v>0.6323101516980487</c:v>
                </c:pt>
                <c:pt idx="61">
                  <c:v>0.6808975453047756</c:v>
                </c:pt>
                <c:pt idx="62">
                  <c:v>0.6338565873785806</c:v>
                </c:pt>
                <c:pt idx="63">
                  <c:v>0.6484195289444451</c:v>
                </c:pt>
                <c:pt idx="64">
                  <c:v>0.7043479113173235</c:v>
                </c:pt>
                <c:pt idx="65">
                  <c:v>0.7023235166790089</c:v>
                </c:pt>
                <c:pt idx="66">
                  <c:v>0.7370797688233495</c:v>
                </c:pt>
                <c:pt idx="67">
                  <c:v>0.7400111167674402</c:v>
                </c:pt>
                <c:pt idx="68">
                  <c:v>0.7068103558393763</c:v>
                </c:pt>
                <c:pt idx="69">
                  <c:v>0.6881331551951754</c:v>
                </c:pt>
                <c:pt idx="70">
                  <c:v>0.7012086180556</c:v>
                </c:pt>
                <c:pt idx="71">
                  <c:v>0.7086807187508586</c:v>
                </c:pt>
                <c:pt idx="72">
                  <c:v>0.6662766183047071</c:v>
                </c:pt>
                <c:pt idx="73">
                  <c:v>0.6512418355476525</c:v>
                </c:pt>
                <c:pt idx="74">
                  <c:v>0.6531366268917209</c:v>
                </c:pt>
                <c:pt idx="75">
                  <c:v>0.6185383429102264</c:v>
                </c:pt>
                <c:pt idx="76">
                  <c:v>0.5610564380829546</c:v>
                </c:pt>
                <c:pt idx="77">
                  <c:v>0.49754286207737164</c:v>
                </c:pt>
                <c:pt idx="78">
                  <c:v>0.6238134306157759</c:v>
                </c:pt>
                <c:pt idx="79">
                  <c:v>0.6011953698015443</c:v>
                </c:pt>
                <c:pt idx="80">
                  <c:v>0.6188465459948198</c:v>
                </c:pt>
                <c:pt idx="81">
                  <c:v>0.5758081086070053</c:v>
                </c:pt>
                <c:pt idx="82">
                  <c:v>0.5576611511995344</c:v>
                </c:pt>
                <c:pt idx="83">
                  <c:v>0.5022393720624664</c:v>
                </c:pt>
                <c:pt idx="84">
                  <c:v>0.5439279026113087</c:v>
                </c:pt>
                <c:pt idx="85">
                  <c:v>0.5852622867968059</c:v>
                </c:pt>
                <c:pt idx="86">
                  <c:v>0.5727565122747925</c:v>
                </c:pt>
                <c:pt idx="87">
                  <c:v>0.5656786574307225</c:v>
                </c:pt>
                <c:pt idx="88">
                  <c:v>0.5611905644508843</c:v>
                </c:pt>
                <c:pt idx="89">
                  <c:v>0.5422949861957675</c:v>
                </c:pt>
                <c:pt idx="90">
                  <c:v>0.5779983927639599</c:v>
                </c:pt>
                <c:pt idx="91">
                  <c:v>0.5876474215716264</c:v>
                </c:pt>
                <c:pt idx="92">
                  <c:v>0.6130249960674453</c:v>
                </c:pt>
                <c:pt idx="93">
                  <c:v>0.6369550343833289</c:v>
                </c:pt>
                <c:pt idx="94">
                  <c:v>0.4971311882627308</c:v>
                </c:pt>
                <c:pt idx="95">
                  <c:v>0.5599483747854977</c:v>
                </c:pt>
                <c:pt idx="96">
                  <c:v>0.6381184730449055</c:v>
                </c:pt>
                <c:pt idx="97">
                  <c:v>0.7129284147544825</c:v>
                </c:pt>
                <c:pt idx="98">
                  <c:v>0.7484723812256241</c:v>
                </c:pt>
                <c:pt idx="99">
                  <c:v>0.7494282040542307</c:v>
                </c:pt>
                <c:pt idx="100">
                  <c:v>0.7273478999188855</c:v>
                </c:pt>
                <c:pt idx="101">
                  <c:v>0.676231831242002</c:v>
                </c:pt>
                <c:pt idx="102">
                  <c:v>0.6695665602487765</c:v>
                </c:pt>
                <c:pt idx="103">
                  <c:v>0.7251897200145581</c:v>
                </c:pt>
                <c:pt idx="104">
                  <c:v>0.732222777436353</c:v>
                </c:pt>
              </c:numCache>
            </c:numRef>
          </c:xVal>
          <c:yVal>
            <c:numRef>
              <c:f>Sheet1!$B$2:$B$106</c:f>
              <c:numCache>
                <c:formatCode>General</c:formatCode>
                <c:ptCount val="105"/>
                <c:pt idx="0">
                  <c:v>0.23637515842839038</c:v>
                </c:pt>
                <c:pt idx="1">
                  <c:v>0.2533910533910534</c:v>
                </c:pt>
                <c:pt idx="2">
                  <c:v>0.2683311432325887</c:v>
                </c:pt>
                <c:pt idx="3">
                  <c:v>0.2680081656459609</c:v>
                </c:pt>
                <c:pt idx="4">
                  <c:v>0.2599164926931106</c:v>
                </c:pt>
                <c:pt idx="5">
                  <c:v>0.2649969078540507</c:v>
                </c:pt>
                <c:pt idx="6">
                  <c:v>0.3085631349782293</c:v>
                </c:pt>
                <c:pt idx="7">
                  <c:v>0.2972791400738999</c:v>
                </c:pt>
                <c:pt idx="8">
                  <c:v>0.283179802115319</c:v>
                </c:pt>
                <c:pt idx="9">
                  <c:v>0.24709549447435533</c:v>
                </c:pt>
                <c:pt idx="10">
                  <c:v>0.23792486583184258</c:v>
                </c:pt>
                <c:pt idx="11">
                  <c:v>0.23143164693218515</c:v>
                </c:pt>
                <c:pt idx="12">
                  <c:v>0.20707831325301204</c:v>
                </c:pt>
                <c:pt idx="13">
                  <c:v>0.2094226579520697</c:v>
                </c:pt>
                <c:pt idx="14">
                  <c:v>0.18050221565731167</c:v>
                </c:pt>
                <c:pt idx="15">
                  <c:v>0.17851500789889416</c:v>
                </c:pt>
                <c:pt idx="16">
                  <c:v>0.17603344170924293</c:v>
                </c:pt>
                <c:pt idx="17">
                  <c:v>0.15950920245398773</c:v>
                </c:pt>
                <c:pt idx="18">
                  <c:v>0.14759647935003387</c:v>
                </c:pt>
                <c:pt idx="19">
                  <c:v>0.14909638554216867</c:v>
                </c:pt>
                <c:pt idx="20">
                  <c:v>0.15231400117164617</c:v>
                </c:pt>
                <c:pt idx="21">
                  <c:v>0.15973741794310722</c:v>
                </c:pt>
                <c:pt idx="22">
                  <c:v>0.22527015793848712</c:v>
                </c:pt>
                <c:pt idx="23">
                  <c:v>0.2410032715376227</c:v>
                </c:pt>
                <c:pt idx="24">
                  <c:v>0.22386759581881532</c:v>
                </c:pt>
                <c:pt idx="25">
                  <c:v>0.25957446808510637</c:v>
                </c:pt>
                <c:pt idx="26">
                  <c:v>0.26618705035971224</c:v>
                </c:pt>
                <c:pt idx="27">
                  <c:v>0.27057710501419113</c:v>
                </c:pt>
                <c:pt idx="28">
                  <c:v>0.264859228362878</c:v>
                </c:pt>
                <c:pt idx="29">
                  <c:v>0.25755879059350506</c:v>
                </c:pt>
                <c:pt idx="30">
                  <c:v>0.27342549923195086</c:v>
                </c:pt>
                <c:pt idx="31">
                  <c:v>0.2948051948051948</c:v>
                </c:pt>
                <c:pt idx="32">
                  <c:v>0.26570048309178745</c:v>
                </c:pt>
                <c:pt idx="33">
                  <c:v>0.24952198852772467</c:v>
                </c:pt>
                <c:pt idx="34">
                  <c:v>0.2470076169749728</c:v>
                </c:pt>
                <c:pt idx="35">
                  <c:v>0.24975704567541301</c:v>
                </c:pt>
                <c:pt idx="36">
                  <c:v>0.2136409227683049</c:v>
                </c:pt>
                <c:pt idx="37">
                  <c:v>0.20536635706914344</c:v>
                </c:pt>
                <c:pt idx="38">
                  <c:v>0.2117163412127441</c:v>
                </c:pt>
                <c:pt idx="39">
                  <c:v>0.1844059405940594</c:v>
                </c:pt>
                <c:pt idx="40">
                  <c:v>0.18864097363083165</c:v>
                </c:pt>
                <c:pt idx="41">
                  <c:v>0.18839103869653767</c:v>
                </c:pt>
                <c:pt idx="42">
                  <c:v>0.17183098591549295</c:v>
                </c:pt>
                <c:pt idx="43">
                  <c:v>0.17882054533925174</c:v>
                </c:pt>
                <c:pt idx="44">
                  <c:v>0.1948529411764706</c:v>
                </c:pt>
                <c:pt idx="45">
                  <c:v>0.20581509310682783</c:v>
                </c:pt>
                <c:pt idx="46">
                  <c:v>0.2020997375328084</c:v>
                </c:pt>
                <c:pt idx="47">
                  <c:v>0.19476268412438624</c:v>
                </c:pt>
                <c:pt idx="48">
                  <c:v>0.21044738815296177</c:v>
                </c:pt>
                <c:pt idx="49">
                  <c:v>0.22877640494220805</c:v>
                </c:pt>
                <c:pt idx="50">
                  <c:v>0.21186724773717733</c:v>
                </c:pt>
                <c:pt idx="51">
                  <c:v>0.2027702962677953</c:v>
                </c:pt>
                <c:pt idx="52">
                  <c:v>0.20094562647754138</c:v>
                </c:pt>
                <c:pt idx="53">
                  <c:v>0.19343696027633853</c:v>
                </c:pt>
                <c:pt idx="54">
                  <c:v>0.21186110027311744</c:v>
                </c:pt>
                <c:pt idx="55">
                  <c:v>0.20719652036378014</c:v>
                </c:pt>
                <c:pt idx="56">
                  <c:v>0.21487603305785125</c:v>
                </c:pt>
                <c:pt idx="57">
                  <c:v>0.21605117766792672</c:v>
                </c:pt>
                <c:pt idx="58">
                  <c:v>0.20533612346324875</c:v>
                </c:pt>
                <c:pt idx="59">
                  <c:v>0.22294749057151145</c:v>
                </c:pt>
                <c:pt idx="60">
                  <c:v>0.25542372881355935</c:v>
                </c:pt>
                <c:pt idx="61">
                  <c:v>0.24143877802414387</c:v>
                </c:pt>
                <c:pt idx="62">
                  <c:v>0.2566976489885183</c:v>
                </c:pt>
                <c:pt idx="63">
                  <c:v>0.2844506517690875</c:v>
                </c:pt>
                <c:pt idx="64">
                  <c:v>0.25636055245941364</c:v>
                </c:pt>
                <c:pt idx="65">
                  <c:v>0.2403022670025189</c:v>
                </c:pt>
                <c:pt idx="66">
                  <c:v>0.2129897449382067</c:v>
                </c:pt>
                <c:pt idx="67">
                  <c:v>0.20805171907140757</c:v>
                </c:pt>
                <c:pt idx="68">
                  <c:v>0.21642287234042554</c:v>
                </c:pt>
                <c:pt idx="69">
                  <c:v>0.21620348563353745</c:v>
                </c:pt>
                <c:pt idx="70">
                  <c:v>0.19786096256684493</c:v>
                </c:pt>
                <c:pt idx="71">
                  <c:v>0.19691863264323545</c:v>
                </c:pt>
                <c:pt idx="72">
                  <c:v>0.21321160042964554</c:v>
                </c:pt>
                <c:pt idx="73">
                  <c:v>0.2126537785588752</c:v>
                </c:pt>
                <c:pt idx="74">
                  <c:v>0.20622568093385213</c:v>
                </c:pt>
                <c:pt idx="75">
                  <c:v>0.21949286846275753</c:v>
                </c:pt>
                <c:pt idx="76">
                  <c:v>0.23701605288007555</c:v>
                </c:pt>
                <c:pt idx="77">
                  <c:v>0.27413793103448275</c:v>
                </c:pt>
                <c:pt idx="78">
                  <c:v>0.2051009564293305</c:v>
                </c:pt>
                <c:pt idx="79">
                  <c:v>0.18304033092037228</c:v>
                </c:pt>
                <c:pt idx="80">
                  <c:v>0.18421052631578946</c:v>
                </c:pt>
                <c:pt idx="81">
                  <c:v>0.2101522842639594</c:v>
                </c:pt>
                <c:pt idx="82">
                  <c:v>0.2054263565891473</c:v>
                </c:pt>
                <c:pt idx="83">
                  <c:v>0.21830985915492956</c:v>
                </c:pt>
                <c:pt idx="84">
                  <c:v>0.20165745856353592</c:v>
                </c:pt>
                <c:pt idx="85">
                  <c:v>0.1888111888111888</c:v>
                </c:pt>
                <c:pt idx="86">
                  <c:v>0.18892185954500496</c:v>
                </c:pt>
                <c:pt idx="87">
                  <c:v>0.2215628090999011</c:v>
                </c:pt>
                <c:pt idx="88">
                  <c:v>0.1882494004796163</c:v>
                </c:pt>
                <c:pt idx="89">
                  <c:v>0.19391634980988592</c:v>
                </c:pt>
                <c:pt idx="90">
                  <c:v>0.20055710306406685</c:v>
                </c:pt>
                <c:pt idx="91">
                  <c:v>0.18018018018018017</c:v>
                </c:pt>
                <c:pt idx="92">
                  <c:v>0.19006849315068494</c:v>
                </c:pt>
                <c:pt idx="93">
                  <c:v>0.1843238587424634</c:v>
                </c:pt>
                <c:pt idx="94">
                  <c:v>0.218335343787696</c:v>
                </c:pt>
                <c:pt idx="95">
                  <c:v>0.20380434782608695</c:v>
                </c:pt>
                <c:pt idx="96">
                  <c:v>0.18663194444444445</c:v>
                </c:pt>
                <c:pt idx="97">
                  <c:v>0.17884780739466896</c:v>
                </c:pt>
                <c:pt idx="98">
                  <c:v>0.17283046503112412</c:v>
                </c:pt>
                <c:pt idx="99">
                  <c:v>0.18014484007242004</c:v>
                </c:pt>
                <c:pt idx="100">
                  <c:v>0.18724749692604953</c:v>
                </c:pt>
                <c:pt idx="101">
                  <c:v>0.19278252611585944</c:v>
                </c:pt>
                <c:pt idx="102">
                  <c:v>0.19756001574183393</c:v>
                </c:pt>
                <c:pt idx="103">
                  <c:v>0.17431495543083525</c:v>
                </c:pt>
                <c:pt idx="104">
                  <c:v>0.1802108126487589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2541941209929</c:v>
                </c:pt>
                <c:pt idx="1">
                  <c:v>0.6575025364915118</c:v>
                </c:pt>
                <c:pt idx="2">
                  <c:v>0.6729990638618045</c:v>
                </c:pt>
                <c:pt idx="3">
                  <c:v>0.6849823144708141</c:v>
                </c:pt>
                <c:pt idx="4">
                  <c:v>0.6504292672559499</c:v>
                </c:pt>
                <c:pt idx="5">
                  <c:v>0.6591836471382828</c:v>
                </c:pt>
                <c:pt idx="6">
                  <c:v>0.7106206002351085</c:v>
                </c:pt>
                <c:pt idx="7">
                  <c:v>0.7329319512784107</c:v>
                </c:pt>
                <c:pt idx="8">
                  <c:v>0.7436468460626031</c:v>
                </c:pt>
                <c:pt idx="9">
                  <c:v>0.7063960009767795</c:v>
                </c:pt>
                <c:pt idx="10">
                  <c:v>0.7240611216503113</c:v>
                </c:pt>
                <c:pt idx="11">
                  <c:v>0.695796224460003</c:v>
                </c:pt>
                <c:pt idx="12">
                  <c:v>0.6897158100519768</c:v>
                </c:pt>
                <c:pt idx="13">
                  <c:v>0.6753974188670268</c:v>
                </c:pt>
                <c:pt idx="14">
                  <c:v>0.6564207576468449</c:v>
                </c:pt>
                <c:pt idx="15">
                  <c:v>0.6647501091265727</c:v>
                </c:pt>
                <c:pt idx="16">
                  <c:v>0.7096668436524118</c:v>
                </c:pt>
                <c:pt idx="17">
                  <c:v>0.6740706775182461</c:v>
                </c:pt>
                <c:pt idx="18">
                  <c:v>0.6704694644153845</c:v>
                </c:pt>
                <c:pt idx="19">
                  <c:v>0.64811647910462</c:v>
                </c:pt>
                <c:pt idx="20">
                  <c:v>0.6124565255615739</c:v>
                </c:pt>
                <c:pt idx="21">
                  <c:v>0.5857280825964085</c:v>
                </c:pt>
                <c:pt idx="22">
                  <c:v>0.5665111685218248</c:v>
                </c:pt>
                <c:pt idx="23">
                  <c:v>0.5578278060320601</c:v>
                </c:pt>
                <c:pt idx="24">
                  <c:v>0.5852856390399626</c:v>
                </c:pt>
                <c:pt idx="25">
                  <c:v>0.6051330833770172</c:v>
                </c:pt>
                <c:pt idx="26">
                  <c:v>0.5915218411938751</c:v>
                </c:pt>
                <c:pt idx="27">
                  <c:v>0.5892328268927318</c:v>
                </c:pt>
                <c:pt idx="28">
                  <c:v>0.600524906876982</c:v>
                </c:pt>
                <c:pt idx="29">
                  <c:v>0.5696550764030732</c:v>
                </c:pt>
                <c:pt idx="30">
                  <c:v>0.5343815908378451</c:v>
                </c:pt>
                <c:pt idx="31">
                  <c:v>0.5675760627801575</c:v>
                </c:pt>
                <c:pt idx="32">
                  <c:v>0.571757315571407</c:v>
                </c:pt>
                <c:pt idx="33">
                  <c:v>0.5444799460733575</c:v>
                </c:pt>
                <c:pt idx="34">
                  <c:v>0.5847623530979894</c:v>
                </c:pt>
                <c:pt idx="35">
                  <c:v>0.5661722853598559</c:v>
                </c:pt>
                <c:pt idx="36">
                  <c:v>0.5501629634761354</c:v>
                </c:pt>
                <c:pt idx="37">
                  <c:v>0.5398180030446716</c:v>
                </c:pt>
                <c:pt idx="38">
                  <c:v>0.5371277236271498</c:v>
                </c:pt>
                <c:pt idx="39">
                  <c:v>0.5555357877569808</c:v>
                </c:pt>
                <c:pt idx="40">
                  <c:v>0.6224745243317245</c:v>
                </c:pt>
                <c:pt idx="41">
                  <c:v>0.6225719128996828</c:v>
                </c:pt>
                <c:pt idx="42">
                  <c:v>0.5772625949970006</c:v>
                </c:pt>
                <c:pt idx="43">
                  <c:v>0.642199531566225</c:v>
                </c:pt>
                <c:pt idx="44">
                  <c:v>0.6744621815241179</c:v>
                </c:pt>
                <c:pt idx="45">
                  <c:v>0.7043271536143071</c:v>
                </c:pt>
                <c:pt idx="46">
                  <c:v>0.6819730955713003</c:v>
                </c:pt>
                <c:pt idx="47">
                  <c:v>0.7038561600475397</c:v>
                </c:pt>
                <c:pt idx="48">
                  <c:v>0.7798886483889746</c:v>
                </c:pt>
                <c:pt idx="49">
                  <c:v>0.8147124151765699</c:v>
                </c:pt>
                <c:pt idx="50">
                  <c:v>0.7667455577394825</c:v>
                </c:pt>
                <c:pt idx="51">
                  <c:v>0.7082329161830865</c:v>
                </c:pt>
              </c:numCache>
            </c:numRef>
          </c:xVal>
          <c:yVal>
            <c:numRef>
              <c:f>Sheet1!$B$109:$B$160</c:f>
              <c:numCache>
                <c:formatCode>General</c:formatCode>
                <c:ptCount val="52"/>
                <c:pt idx="0">
                  <c:v>0.19588235294117648</c:v>
                </c:pt>
                <c:pt idx="1">
                  <c:v>0.20913385826771655</c:v>
                </c:pt>
                <c:pt idx="2">
                  <c:v>0.2232620320855615</c:v>
                </c:pt>
                <c:pt idx="3">
                  <c:v>0.22563087580405738</c:v>
                </c:pt>
                <c:pt idx="4">
                  <c:v>0.23196166854565953</c:v>
                </c:pt>
                <c:pt idx="5">
                  <c:v>0.22822910578609001</c:v>
                </c:pt>
                <c:pt idx="6">
                  <c:v>0.2193698949824971</c:v>
                </c:pt>
                <c:pt idx="7">
                  <c:v>0.21268057784911718</c:v>
                </c:pt>
                <c:pt idx="8">
                  <c:v>0.19769602378298032</c:v>
                </c:pt>
                <c:pt idx="9">
                  <c:v>0.20432777580702377</c:v>
                </c:pt>
                <c:pt idx="10">
                  <c:v>0.21005917159763313</c:v>
                </c:pt>
                <c:pt idx="11">
                  <c:v>0.2222222222222222</c:v>
                </c:pt>
                <c:pt idx="12">
                  <c:v>0.22340425531914893</c:v>
                </c:pt>
                <c:pt idx="13">
                  <c:v>0.22299077733860342</c:v>
                </c:pt>
                <c:pt idx="14">
                  <c:v>0.2252119424990785</c:v>
                </c:pt>
                <c:pt idx="15">
                  <c:v>0.22132471728594508</c:v>
                </c:pt>
                <c:pt idx="16">
                  <c:v>0.20768136557610242</c:v>
                </c:pt>
                <c:pt idx="17">
                  <c:v>0.2169548243167875</c:v>
                </c:pt>
                <c:pt idx="18">
                  <c:v>0.23070739549839228</c:v>
                </c:pt>
                <c:pt idx="19">
                  <c:v>0.22804428044280442</c:v>
                </c:pt>
                <c:pt idx="20">
                  <c:v>0.21246246246246248</c:v>
                </c:pt>
                <c:pt idx="21">
                  <c:v>0.23219584569732937</c:v>
                </c:pt>
                <c:pt idx="22">
                  <c:v>0.22774480712166173</c:v>
                </c:pt>
                <c:pt idx="23">
                  <c:v>0.23029229406554472</c:v>
                </c:pt>
                <c:pt idx="24">
                  <c:v>0.2070275403608737</c:v>
                </c:pt>
                <c:pt idx="25">
                  <c:v>0.2124735729386892</c:v>
                </c:pt>
                <c:pt idx="26">
                  <c:v>0.1977077363896848</c:v>
                </c:pt>
                <c:pt idx="27">
                  <c:v>0.198</c:v>
                </c:pt>
                <c:pt idx="28">
                  <c:v>0.1865234375</c:v>
                </c:pt>
                <c:pt idx="29">
                  <c:v>0.19347037484885127</c:v>
                </c:pt>
                <c:pt idx="30">
                  <c:v>0.19515669515669515</c:v>
                </c:pt>
                <c:pt idx="31">
                  <c:v>0.1837748344370861</c:v>
                </c:pt>
                <c:pt idx="32">
                  <c:v>0.18758256274768825</c:v>
                </c:pt>
                <c:pt idx="33">
                  <c:v>0.18830409356725147</c:v>
                </c:pt>
                <c:pt idx="34">
                  <c:v>0.2029126213592233</c:v>
                </c:pt>
                <c:pt idx="35">
                  <c:v>0.17559863169897377</c:v>
                </c:pt>
                <c:pt idx="36">
                  <c:v>0.17005545286506468</c:v>
                </c:pt>
                <c:pt idx="37">
                  <c:v>0.18181818181818182</c:v>
                </c:pt>
                <c:pt idx="38">
                  <c:v>0.19202898550724637</c:v>
                </c:pt>
                <c:pt idx="39">
                  <c:v>0.17464114832535885</c:v>
                </c:pt>
                <c:pt idx="40">
                  <c:v>0.1589958158995816</c:v>
                </c:pt>
                <c:pt idx="41">
                  <c:v>0.1702127659574468</c:v>
                </c:pt>
                <c:pt idx="42">
                  <c:v>0.17833698030634573</c:v>
                </c:pt>
                <c:pt idx="43">
                  <c:v>0.16126809097174363</c:v>
                </c:pt>
                <c:pt idx="44">
                  <c:v>0.1762692527096406</c:v>
                </c:pt>
                <c:pt idx="45">
                  <c:v>0.18008726695755653</c:v>
                </c:pt>
                <c:pt idx="46">
                  <c:v>0.19225110348209906</c:v>
                </c:pt>
                <c:pt idx="47">
                  <c:v>0.19831223628691982</c:v>
                </c:pt>
                <c:pt idx="48">
                  <c:v>0.20359820089955022</c:v>
                </c:pt>
                <c:pt idx="49">
                  <c:v>0.19820081253627395</c:v>
                </c:pt>
                <c:pt idx="50">
                  <c:v>0.20818535430407575</c:v>
                </c:pt>
                <c:pt idx="51">
                  <c:v>0.21090434214822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812332831817248</c:v>
                </c:pt>
              </c:numCache>
            </c:numRef>
          </c:xVal>
          <c:yVal>
            <c:numRef>
              <c:f>Sheet1!$B$163:$B$164</c:f>
              <c:numCache>
                <c:formatCode>General</c:formatCode>
                <c:ptCount val="2"/>
                <c:pt idx="0">
                  <c:v>0.27111566649028923</c:v>
                </c:pt>
                <c:pt idx="1">
                  <c:v>0.271115666490289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812332831817248</c:v>
                </c:pt>
                <c:pt idx="1">
                  <c:v>1.4812332831817248</c:v>
                </c:pt>
              </c:numCache>
            </c:numRef>
          </c:xVal>
          <c:yVal>
            <c:numRef>
              <c:f>Sheet1!$B$167:$B$168</c:f>
              <c:numCache>
                <c:formatCode>General</c:formatCode>
                <c:ptCount val="2"/>
                <c:pt idx="0">
                  <c:v>0.271115666490289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24576622023363</c:v>
                </c:pt>
              </c:numCache>
            </c:numRef>
          </c:xVal>
          <c:yVal>
            <c:numRef>
              <c:f>Sheet1!$B$171:$B$172</c:f>
              <c:numCache>
                <c:formatCode>General</c:formatCode>
                <c:ptCount val="2"/>
                <c:pt idx="0">
                  <c:v>0.2198143873895026</c:v>
                </c:pt>
                <c:pt idx="1">
                  <c:v>0.219814387389502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24576622023363</c:v>
                </c:pt>
                <c:pt idx="1">
                  <c:v>0.8524576622023363</c:v>
                </c:pt>
              </c:numCache>
            </c:numRef>
          </c:xVal>
          <c:yVal>
            <c:numRef>
              <c:f>Sheet1!$B$175:$B$176</c:f>
              <c:numCache>
                <c:formatCode>General</c:formatCode>
                <c:ptCount val="2"/>
                <c:pt idx="0">
                  <c:v>0.21981438738950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316592776958978</c:v>
                </c:pt>
              </c:numCache>
            </c:numRef>
          </c:xVal>
          <c:yVal>
            <c:numRef>
              <c:f>Sheet1!$B$179:$B$180</c:f>
              <c:numCache>
                <c:formatCode>General</c:formatCode>
                <c:ptCount val="2"/>
                <c:pt idx="0">
                  <c:v>0.18548179775267795</c:v>
                </c:pt>
                <c:pt idx="1">
                  <c:v>0.1854817977526779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316592776958978</c:v>
                </c:pt>
                <c:pt idx="1">
                  <c:v>0.4316592776958978</c:v>
                </c:pt>
              </c:numCache>
            </c:numRef>
          </c:xVal>
          <c:yVal>
            <c:numRef>
              <c:f>Sheet1!$B$183:$B$184</c:f>
              <c:numCache>
                <c:formatCode>General</c:formatCode>
                <c:ptCount val="2"/>
                <c:pt idx="0">
                  <c:v>0.1854817977526779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2541941209929</c:v>
                </c:pt>
                <c:pt idx="1">
                  <c:v>0.6575025364915118</c:v>
                </c:pt>
                <c:pt idx="2">
                  <c:v>0.6729990638618045</c:v>
                </c:pt>
                <c:pt idx="3">
                  <c:v>0.6849823144708141</c:v>
                </c:pt>
                <c:pt idx="4">
                  <c:v>0.6504292672559499</c:v>
                </c:pt>
                <c:pt idx="5">
                  <c:v>0.6591836471382828</c:v>
                </c:pt>
                <c:pt idx="6">
                  <c:v>0.7106206002351085</c:v>
                </c:pt>
                <c:pt idx="7">
                  <c:v>0.7329319512784107</c:v>
                </c:pt>
                <c:pt idx="8">
                  <c:v>0.7436468460626031</c:v>
                </c:pt>
                <c:pt idx="9">
                  <c:v>0.7063960009767795</c:v>
                </c:pt>
                <c:pt idx="10">
                  <c:v>0.7240611216503113</c:v>
                </c:pt>
                <c:pt idx="11">
                  <c:v>0.695796224460003</c:v>
                </c:pt>
                <c:pt idx="12">
                  <c:v>0.6897158100519768</c:v>
                </c:pt>
                <c:pt idx="13">
                  <c:v>0.6753974188670268</c:v>
                </c:pt>
                <c:pt idx="14">
                  <c:v>0.6564207576468449</c:v>
                </c:pt>
                <c:pt idx="15">
                  <c:v>0.6647501091265727</c:v>
                </c:pt>
                <c:pt idx="16">
                  <c:v>0.7096668436524118</c:v>
                </c:pt>
                <c:pt idx="17">
                  <c:v>0.6740706775182461</c:v>
                </c:pt>
                <c:pt idx="18">
                  <c:v>0.6704694644153845</c:v>
                </c:pt>
                <c:pt idx="19">
                  <c:v>0.64811647910462</c:v>
                </c:pt>
                <c:pt idx="20">
                  <c:v>0.6124565255615739</c:v>
                </c:pt>
                <c:pt idx="21">
                  <c:v>0.5857280825964085</c:v>
                </c:pt>
                <c:pt idx="22">
                  <c:v>0.5665111685218248</c:v>
                </c:pt>
                <c:pt idx="23">
                  <c:v>0.5578278060320601</c:v>
                </c:pt>
                <c:pt idx="24">
                  <c:v>0.5852856390399626</c:v>
                </c:pt>
                <c:pt idx="25">
                  <c:v>0.6051330833770172</c:v>
                </c:pt>
                <c:pt idx="26">
                  <c:v>0.5915218411938751</c:v>
                </c:pt>
                <c:pt idx="27">
                  <c:v>0.5892328268927318</c:v>
                </c:pt>
                <c:pt idx="28">
                  <c:v>0.600524906876982</c:v>
                </c:pt>
                <c:pt idx="29">
                  <c:v>0.5696550764030732</c:v>
                </c:pt>
                <c:pt idx="30">
                  <c:v>0.5343815908378451</c:v>
                </c:pt>
                <c:pt idx="31">
                  <c:v>0.5675760627801575</c:v>
                </c:pt>
                <c:pt idx="32">
                  <c:v>0.571757315571407</c:v>
                </c:pt>
                <c:pt idx="33">
                  <c:v>0.5444799460733575</c:v>
                </c:pt>
                <c:pt idx="34">
                  <c:v>0.5847623530979894</c:v>
                </c:pt>
                <c:pt idx="35">
                  <c:v>0.5661722853598559</c:v>
                </c:pt>
                <c:pt idx="36">
                  <c:v>0.5501629634761354</c:v>
                </c:pt>
                <c:pt idx="37">
                  <c:v>0.5398180030446716</c:v>
                </c:pt>
                <c:pt idx="38">
                  <c:v>0.5371277236271498</c:v>
                </c:pt>
                <c:pt idx="39">
                  <c:v>0.5555357877569808</c:v>
                </c:pt>
                <c:pt idx="40">
                  <c:v>0.6224745243317245</c:v>
                </c:pt>
                <c:pt idx="41">
                  <c:v>0.6225719128996828</c:v>
                </c:pt>
                <c:pt idx="42">
                  <c:v>0.5772625949970006</c:v>
                </c:pt>
                <c:pt idx="43">
                  <c:v>0.642199531566225</c:v>
                </c:pt>
                <c:pt idx="44">
                  <c:v>0.6744621815241179</c:v>
                </c:pt>
                <c:pt idx="45">
                  <c:v>0.7043271536143071</c:v>
                </c:pt>
                <c:pt idx="46">
                  <c:v>0.6819730955713003</c:v>
                </c:pt>
                <c:pt idx="47">
                  <c:v>0.7038561600475397</c:v>
                </c:pt>
                <c:pt idx="48">
                  <c:v>0.7798886483889746</c:v>
                </c:pt>
                <c:pt idx="49">
                  <c:v>0.8147124151765699</c:v>
                </c:pt>
                <c:pt idx="50">
                  <c:v>0.7667455577394825</c:v>
                </c:pt>
                <c:pt idx="51">
                  <c:v>0.7082329161830865</c:v>
                </c:pt>
                <c:pt idx="52">
                  <c:v>0.8524576622023363</c:v>
                </c:pt>
                <c:pt idx="53">
                  <c:v>1.4812332831817248</c:v>
                </c:pt>
                <c:pt idx="54">
                  <c:v>0.4316592776958978</c:v>
                </c:pt>
              </c:numCache>
            </c:numRef>
          </c:xVal>
          <c:yVal>
            <c:numRef>
              <c:f>Sheet1!$B$187:$B$241</c:f>
              <c:numCache>
                <c:formatCode>General</c:formatCode>
                <c:ptCount val="55"/>
                <c:pt idx="0">
                  <c:v>0.20839878027350314</c:v>
                </c:pt>
                <c:pt idx="1">
                  <c:v>0.20390816109427573</c:v>
                </c:pt>
                <c:pt idx="2">
                  <c:v>0.20517250985270577</c:v>
                </c:pt>
                <c:pt idx="3">
                  <c:v>0.20615021328699273</c:v>
                </c:pt>
                <c:pt idx="4">
                  <c:v>0.2033310589498838</c:v>
                </c:pt>
                <c:pt idx="5">
                  <c:v>0.20404532151146076</c:v>
                </c:pt>
                <c:pt idx="6">
                  <c:v>0.20824201966398156</c:v>
                </c:pt>
                <c:pt idx="7">
                  <c:v>0.21006238420865844</c:v>
                </c:pt>
                <c:pt idx="8">
                  <c:v>0.21093660354782942</c:v>
                </c:pt>
                <c:pt idx="9">
                  <c:v>0.20789733812988687</c:v>
                </c:pt>
                <c:pt idx="10">
                  <c:v>0.20933862060933536</c:v>
                </c:pt>
                <c:pt idx="11">
                  <c:v>0.20703251119425264</c:v>
                </c:pt>
                <c:pt idx="12">
                  <c:v>0.2065364152481205</c:v>
                </c:pt>
                <c:pt idx="13">
                  <c:v>0.20536818963958114</c:v>
                </c:pt>
                <c:pt idx="14">
                  <c:v>0.20381989965953826</c:v>
                </c:pt>
                <c:pt idx="15">
                  <c:v>0.20449948450782562</c:v>
                </c:pt>
                <c:pt idx="16">
                  <c:v>0.20816420345894657</c:v>
                </c:pt>
                <c:pt idx="17">
                  <c:v>0.20525994191820426</c:v>
                </c:pt>
                <c:pt idx="18">
                  <c:v>0.20496612194120906</c:v>
                </c:pt>
                <c:pt idx="19">
                  <c:v>0.20314236049133422</c:v>
                </c:pt>
                <c:pt idx="20">
                  <c:v>0.2002328945890408</c:v>
                </c:pt>
                <c:pt idx="21">
                  <c:v>0.1980521431942116</c:v>
                </c:pt>
                <c:pt idx="22">
                  <c:v>0.19648425118392582</c:v>
                </c:pt>
                <c:pt idx="23">
                  <c:v>0.19577578287224598</c:v>
                </c:pt>
                <c:pt idx="24">
                  <c:v>0.19801604459302818</c:v>
                </c:pt>
                <c:pt idx="25">
                  <c:v>0.1996353810421523</c:v>
                </c:pt>
                <c:pt idx="26">
                  <c:v>0.1985248511315649</c:v>
                </c:pt>
                <c:pt idx="27">
                  <c:v>0.19833809236164673</c:v>
                </c:pt>
                <c:pt idx="28">
                  <c:v>0.199259403760454</c:v>
                </c:pt>
                <c:pt idx="29">
                  <c:v>0.19674076000885748</c:v>
                </c:pt>
                <c:pt idx="30">
                  <c:v>0.19386282570691887</c:v>
                </c:pt>
                <c:pt idx="31">
                  <c:v>0.19657113501933035</c:v>
                </c:pt>
                <c:pt idx="32">
                  <c:v>0.1969122799512867</c:v>
                </c:pt>
                <c:pt idx="33">
                  <c:v>0.19468674209793443</c:v>
                </c:pt>
                <c:pt idx="34">
                  <c:v>0.19797335012895712</c:v>
                </c:pt>
                <c:pt idx="35">
                  <c:v>0.19645660198905462</c:v>
                </c:pt>
                <c:pt idx="36">
                  <c:v>0.1951504147534684</c:v>
                </c:pt>
                <c:pt idx="37">
                  <c:v>0.19430637804995488</c:v>
                </c:pt>
                <c:pt idx="38">
                  <c:v>0.19408688039347383</c:v>
                </c:pt>
                <c:pt idx="39">
                  <c:v>0.1955887790105969</c:v>
                </c:pt>
                <c:pt idx="40">
                  <c:v>0.20105025476299018</c:v>
                </c:pt>
                <c:pt idx="41">
                  <c:v>0.20105820061511828</c:v>
                </c:pt>
                <c:pt idx="42">
                  <c:v>0.19736145111333064</c:v>
                </c:pt>
                <c:pt idx="43">
                  <c:v>0.20265960167091573</c:v>
                </c:pt>
                <c:pt idx="44">
                  <c:v>0.20529188440389257</c:v>
                </c:pt>
                <c:pt idx="45">
                  <c:v>0.20772854259708012</c:v>
                </c:pt>
                <c:pt idx="46">
                  <c:v>0.20590469362387528</c:v>
                </c:pt>
                <c:pt idx="47">
                  <c:v>0.20769011462433878</c:v>
                </c:pt>
                <c:pt idx="48">
                  <c:v>0.21389354200763283</c:v>
                </c:pt>
                <c:pt idx="49">
                  <c:v>0.2167347841291522</c:v>
                </c:pt>
                <c:pt idx="50">
                  <c:v>0.21282120819067235</c:v>
                </c:pt>
                <c:pt idx="51">
                  <c:v>0.20804721051128813</c:v>
                </c:pt>
                <c:pt idx="52">
                  <c:v>0.2198143873895026</c:v>
                </c:pt>
                <c:pt idx="53">
                  <c:v>0.27111566649028923</c:v>
                </c:pt>
                <c:pt idx="54">
                  <c:v>0.1854817977526779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027576197387513"/>
          <c:min val="0.11807718348002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7185</c:v>
                </c:pt>
                <c:pt idx="1">
                  <c:v>861.5763</c:v>
                </c:pt>
                <c:pt idx="2">
                  <c:v>862.1214</c:v>
                </c:pt>
                <c:pt idx="3">
                  <c:v>894.0044</c:v>
                </c:pt>
                <c:pt idx="4">
                  <c:v>900.6305</c:v>
                </c:pt>
                <c:pt idx="5">
                  <c:v>886.7865</c:v>
                </c:pt>
                <c:pt idx="6">
                  <c:v>835.7996</c:v>
                </c:pt>
                <c:pt idx="7">
                  <c:v>864.5198</c:v>
                </c:pt>
                <c:pt idx="8">
                  <c:v>857.5458</c:v>
                </c:pt>
                <c:pt idx="9">
                  <c:v>889.4805</c:v>
                </c:pt>
                <c:pt idx="10">
                  <c:v>887.9721</c:v>
                </c:pt>
                <c:pt idx="11">
                  <c:v>956.9744</c:v>
                </c:pt>
                <c:pt idx="12">
                  <c:v>924.4291</c:v>
                </c:pt>
                <c:pt idx="13">
                  <c:v>923.5527</c:v>
                </c:pt>
                <c:pt idx="14">
                  <c:v>957.2209</c:v>
                </c:pt>
                <c:pt idx="15">
                  <c:v>987.0597</c:v>
                </c:pt>
                <c:pt idx="16">
                  <c:v>1024.2797</c:v>
                </c:pt>
                <c:pt idx="17">
                  <c:v>1031.3109</c:v>
                </c:pt>
                <c:pt idx="18">
                  <c:v>1060.7156</c:v>
                </c:pt>
                <c:pt idx="19">
                  <c:v>1046.7828</c:v>
                </c:pt>
                <c:pt idx="20">
                  <c:v>1055.2385</c:v>
                </c:pt>
                <c:pt idx="21">
                  <c:v>1098.5799</c:v>
                </c:pt>
                <c:pt idx="22">
                  <c:v>1034.4613</c:v>
                </c:pt>
                <c:pt idx="23">
                  <c:v>1042.9502</c:v>
                </c:pt>
                <c:pt idx="24">
                  <c:v>1031.9572</c:v>
                </c:pt>
                <c:pt idx="25">
                  <c:v>961.8361</c:v>
                </c:pt>
                <c:pt idx="26">
                  <c:v>920.6216</c:v>
                </c:pt>
                <c:pt idx="27">
                  <c:v>963.2587</c:v>
                </c:pt>
                <c:pt idx="28">
                  <c:v>901.8386</c:v>
                </c:pt>
                <c:pt idx="29">
                  <c:v>914.5609</c:v>
                </c:pt>
                <c:pt idx="30">
                  <c:v>931.809</c:v>
                </c:pt>
                <c:pt idx="31">
                  <c:v>841.5683</c:v>
                </c:pt>
                <c:pt idx="32">
                  <c:v>929.7409</c:v>
                </c:pt>
                <c:pt idx="33">
                  <c:v>863.1877</c:v>
                </c:pt>
                <c:pt idx="34">
                  <c:v>894.3612</c:v>
                </c:pt>
                <c:pt idx="35">
                  <c:v>935.7198</c:v>
                </c:pt>
                <c:pt idx="36">
                  <c:v>1006.8873</c:v>
                </c:pt>
                <c:pt idx="37">
                  <c:v>1036.3417</c:v>
                </c:pt>
                <c:pt idx="38">
                  <c:v>1070.3204</c:v>
                </c:pt>
                <c:pt idx="39">
                  <c:v>1058.1141</c:v>
                </c:pt>
                <c:pt idx="40">
                  <c:v>1035.0753</c:v>
                </c:pt>
                <c:pt idx="41">
                  <c:v>1060.1297</c:v>
                </c:pt>
                <c:pt idx="42">
                  <c:v>1160.7268</c:v>
                </c:pt>
                <c:pt idx="43">
                  <c:v>1118.9362</c:v>
                </c:pt>
                <c:pt idx="44">
                  <c:v>1010.3415</c:v>
                </c:pt>
                <c:pt idx="45">
                  <c:v>984.8524</c:v>
                </c:pt>
                <c:pt idx="46">
                  <c:v>1002.8664</c:v>
                </c:pt>
                <c:pt idx="47">
                  <c:v>1000.5546</c:v>
                </c:pt>
                <c:pt idx="48">
                  <c:v>1034.4952</c:v>
                </c:pt>
                <c:pt idx="49">
                  <c:v>1016.3084</c:v>
                </c:pt>
                <c:pt idx="50">
                  <c:v>1010.3734</c:v>
                </c:pt>
                <c:pt idx="51">
                  <c:v>1056.6698</c:v>
                </c:pt>
                <c:pt idx="52">
                  <c:v>1071.4912</c:v>
                </c:pt>
                <c:pt idx="53">
                  <c:v>1135.4071</c:v>
                </c:pt>
                <c:pt idx="54">
                  <c:v>1113.7735</c:v>
                </c:pt>
                <c:pt idx="55">
                  <c:v>1115.6489</c:v>
                </c:pt>
                <c:pt idx="56">
                  <c:v>1106.6329</c:v>
                </c:pt>
                <c:pt idx="57">
                  <c:v>1058.4455</c:v>
                </c:pt>
                <c:pt idx="58">
                  <c:v>1111.521</c:v>
                </c:pt>
                <c:pt idx="59">
                  <c:v>1056.8341</c:v>
                </c:pt>
                <c:pt idx="60">
                  <c:v>1064.3955</c:v>
                </c:pt>
                <c:pt idx="61">
                  <c:v>1159.9663</c:v>
                </c:pt>
                <c:pt idx="62">
                  <c:v>1125.1246</c:v>
                </c:pt>
                <c:pt idx="63">
                  <c:v>1121.0581</c:v>
                </c:pt>
                <c:pt idx="64">
                  <c:v>1149.7807</c:v>
                </c:pt>
                <c:pt idx="65">
                  <c:v>1098.1468</c:v>
                </c:pt>
                <c:pt idx="66">
                  <c:v>1144.6296</c:v>
                </c:pt>
                <c:pt idx="67">
                  <c:v>1167.7203</c:v>
                </c:pt>
                <c:pt idx="68">
                  <c:v>1138.7604</c:v>
                </c:pt>
                <c:pt idx="69">
                  <c:v>1162.5839</c:v>
                </c:pt>
                <c:pt idx="70">
                  <c:v>1140.8423</c:v>
                </c:pt>
                <c:pt idx="71">
                  <c:v>1214.8533</c:v>
                </c:pt>
                <c:pt idx="72">
                  <c:v>1221.2418</c:v>
                </c:pt>
                <c:pt idx="73">
                  <c:v>1248.4601</c:v>
                </c:pt>
                <c:pt idx="74">
                  <c:v>1248.8679</c:v>
                </c:pt>
                <c:pt idx="75">
                  <c:v>1216.4874</c:v>
                </c:pt>
                <c:pt idx="76">
                  <c:v>1102.741</c:v>
                </c:pt>
                <c:pt idx="77">
                  <c:v>957.0126</c:v>
                </c:pt>
                <c:pt idx="78">
                  <c:v>1231.5389</c:v>
                </c:pt>
                <c:pt idx="79">
                  <c:v>1222.096</c:v>
                </c:pt>
                <c:pt idx="80">
                  <c:v>1241.2298</c:v>
                </c:pt>
                <c:pt idx="81">
                  <c:v>1132.0145</c:v>
                </c:pt>
                <c:pt idx="82">
                  <c:v>1118.6352</c:v>
                </c:pt>
                <c:pt idx="83">
                  <c:v>1050.2774</c:v>
                </c:pt>
                <c:pt idx="84">
                  <c:v>1124.8082</c:v>
                </c:pt>
                <c:pt idx="85">
                  <c:v>1177.2531</c:v>
                </c:pt>
                <c:pt idx="86">
                  <c:v>1151.4607</c:v>
                </c:pt>
                <c:pt idx="87">
                  <c:v>1135.8393</c:v>
                </c:pt>
                <c:pt idx="88">
                  <c:v>1213.6879</c:v>
                </c:pt>
                <c:pt idx="89">
                  <c:v>1224.1895</c:v>
                </c:pt>
                <c:pt idx="90">
                  <c:v>1266.375</c:v>
                </c:pt>
                <c:pt idx="91">
                  <c:v>1206.4143</c:v>
                </c:pt>
                <c:pt idx="92">
                  <c:v>1145.7523</c:v>
                </c:pt>
                <c:pt idx="93">
                  <c:v>1238.0981</c:v>
                </c:pt>
                <c:pt idx="94">
                  <c:v>1066.1989</c:v>
                </c:pt>
                <c:pt idx="95">
                  <c:v>1083.6</c:v>
                </c:pt>
                <c:pt idx="96">
                  <c:v>1133.7814</c:v>
                </c:pt>
                <c:pt idx="97">
                  <c:v>1182.5817</c:v>
                </c:pt>
                <c:pt idx="98">
                  <c:v>1204.2119</c:v>
                </c:pt>
                <c:pt idx="99">
                  <c:v>1147.4472</c:v>
                </c:pt>
                <c:pt idx="100">
                  <c:v>1094.2336</c:v>
                </c:pt>
                <c:pt idx="101">
                  <c:v>1099.2496</c:v>
                </c:pt>
                <c:pt idx="102">
                  <c:v>1102.5857</c:v>
                </c:pt>
                <c:pt idx="103">
                  <c:v>1123.7917</c:v>
                </c:pt>
                <c:pt idx="104">
                  <c:v>1147.366</c:v>
                </c:pt>
              </c:numCache>
            </c:numRef>
          </c:xVal>
          <c:yVal>
            <c:numRef>
              <c:f>Sheet1!$B$2:$B$106</c:f>
              <c:numCache>
                <c:formatCode>General</c:formatCode>
                <c:ptCount val="105"/>
                <c:pt idx="0">
                  <c:v>0.23637515842839038</c:v>
                </c:pt>
                <c:pt idx="1">
                  <c:v>0.2533910533910534</c:v>
                </c:pt>
                <c:pt idx="2">
                  <c:v>0.2683311432325887</c:v>
                </c:pt>
                <c:pt idx="3">
                  <c:v>0.2680081656459609</c:v>
                </c:pt>
                <c:pt idx="4">
                  <c:v>0.2599164926931106</c:v>
                </c:pt>
                <c:pt idx="5">
                  <c:v>0.2649969078540507</c:v>
                </c:pt>
                <c:pt idx="6">
                  <c:v>0.3085631349782293</c:v>
                </c:pt>
                <c:pt idx="7">
                  <c:v>0.2972791400738999</c:v>
                </c:pt>
                <c:pt idx="8">
                  <c:v>0.283179802115319</c:v>
                </c:pt>
                <c:pt idx="9">
                  <c:v>0.24709549447435533</c:v>
                </c:pt>
                <c:pt idx="10">
                  <c:v>0.23792486583184258</c:v>
                </c:pt>
                <c:pt idx="11">
                  <c:v>0.23143164693218515</c:v>
                </c:pt>
                <c:pt idx="12">
                  <c:v>0.20707831325301204</c:v>
                </c:pt>
                <c:pt idx="13">
                  <c:v>0.2094226579520697</c:v>
                </c:pt>
                <c:pt idx="14">
                  <c:v>0.18050221565731167</c:v>
                </c:pt>
                <c:pt idx="15">
                  <c:v>0.17851500789889416</c:v>
                </c:pt>
                <c:pt idx="16">
                  <c:v>0.17603344170924293</c:v>
                </c:pt>
                <c:pt idx="17">
                  <c:v>0.15950920245398773</c:v>
                </c:pt>
                <c:pt idx="18">
                  <c:v>0.14759647935003387</c:v>
                </c:pt>
                <c:pt idx="19">
                  <c:v>0.14909638554216867</c:v>
                </c:pt>
                <c:pt idx="20">
                  <c:v>0.15231400117164617</c:v>
                </c:pt>
                <c:pt idx="21">
                  <c:v>0.15973741794310722</c:v>
                </c:pt>
                <c:pt idx="22">
                  <c:v>0.22527015793848712</c:v>
                </c:pt>
                <c:pt idx="23">
                  <c:v>0.2410032715376227</c:v>
                </c:pt>
                <c:pt idx="24">
                  <c:v>0.22386759581881532</c:v>
                </c:pt>
                <c:pt idx="25">
                  <c:v>0.25957446808510637</c:v>
                </c:pt>
                <c:pt idx="26">
                  <c:v>0.26618705035971224</c:v>
                </c:pt>
                <c:pt idx="27">
                  <c:v>0.27057710501419113</c:v>
                </c:pt>
                <c:pt idx="28">
                  <c:v>0.264859228362878</c:v>
                </c:pt>
                <c:pt idx="29">
                  <c:v>0.25755879059350506</c:v>
                </c:pt>
                <c:pt idx="30">
                  <c:v>0.27342549923195086</c:v>
                </c:pt>
                <c:pt idx="31">
                  <c:v>0.2948051948051948</c:v>
                </c:pt>
                <c:pt idx="32">
                  <c:v>0.26570048309178745</c:v>
                </c:pt>
                <c:pt idx="33">
                  <c:v>0.24952198852772467</c:v>
                </c:pt>
                <c:pt idx="34">
                  <c:v>0.2470076169749728</c:v>
                </c:pt>
                <c:pt idx="35">
                  <c:v>0.24975704567541301</c:v>
                </c:pt>
                <c:pt idx="36">
                  <c:v>0.2136409227683049</c:v>
                </c:pt>
                <c:pt idx="37">
                  <c:v>0.20536635706914344</c:v>
                </c:pt>
                <c:pt idx="38">
                  <c:v>0.2117163412127441</c:v>
                </c:pt>
                <c:pt idx="39">
                  <c:v>0.1844059405940594</c:v>
                </c:pt>
                <c:pt idx="40">
                  <c:v>0.18864097363083165</c:v>
                </c:pt>
                <c:pt idx="41">
                  <c:v>0.18839103869653767</c:v>
                </c:pt>
                <c:pt idx="42">
                  <c:v>0.17183098591549295</c:v>
                </c:pt>
                <c:pt idx="43">
                  <c:v>0.17882054533925174</c:v>
                </c:pt>
                <c:pt idx="44">
                  <c:v>0.1948529411764706</c:v>
                </c:pt>
                <c:pt idx="45">
                  <c:v>0.20581509310682783</c:v>
                </c:pt>
                <c:pt idx="46">
                  <c:v>0.2020997375328084</c:v>
                </c:pt>
                <c:pt idx="47">
                  <c:v>0.19476268412438624</c:v>
                </c:pt>
                <c:pt idx="48">
                  <c:v>0.21044738815296177</c:v>
                </c:pt>
                <c:pt idx="49">
                  <c:v>0.22877640494220805</c:v>
                </c:pt>
                <c:pt idx="50">
                  <c:v>0.21186724773717733</c:v>
                </c:pt>
                <c:pt idx="51">
                  <c:v>0.2027702962677953</c:v>
                </c:pt>
                <c:pt idx="52">
                  <c:v>0.20094562647754138</c:v>
                </c:pt>
                <c:pt idx="53">
                  <c:v>0.19343696027633853</c:v>
                </c:pt>
                <c:pt idx="54">
                  <c:v>0.21186110027311744</c:v>
                </c:pt>
                <c:pt idx="55">
                  <c:v>0.20719652036378014</c:v>
                </c:pt>
                <c:pt idx="56">
                  <c:v>0.21487603305785125</c:v>
                </c:pt>
                <c:pt idx="57">
                  <c:v>0.21605117766792672</c:v>
                </c:pt>
                <c:pt idx="58">
                  <c:v>0.20533612346324875</c:v>
                </c:pt>
                <c:pt idx="59">
                  <c:v>0.22294749057151145</c:v>
                </c:pt>
                <c:pt idx="60">
                  <c:v>0.25542372881355935</c:v>
                </c:pt>
                <c:pt idx="61">
                  <c:v>0.24143877802414387</c:v>
                </c:pt>
                <c:pt idx="62">
                  <c:v>0.2566976489885183</c:v>
                </c:pt>
                <c:pt idx="63">
                  <c:v>0.2844506517690875</c:v>
                </c:pt>
                <c:pt idx="64">
                  <c:v>0.25636055245941364</c:v>
                </c:pt>
                <c:pt idx="65">
                  <c:v>0.2403022670025189</c:v>
                </c:pt>
                <c:pt idx="66">
                  <c:v>0.2129897449382067</c:v>
                </c:pt>
                <c:pt idx="67">
                  <c:v>0.20805171907140757</c:v>
                </c:pt>
                <c:pt idx="68">
                  <c:v>0.21642287234042554</c:v>
                </c:pt>
                <c:pt idx="69">
                  <c:v>0.21620348563353745</c:v>
                </c:pt>
                <c:pt idx="70">
                  <c:v>0.19786096256684493</c:v>
                </c:pt>
                <c:pt idx="71">
                  <c:v>0.19691863264323545</c:v>
                </c:pt>
                <c:pt idx="72">
                  <c:v>0.21321160042964554</c:v>
                </c:pt>
                <c:pt idx="73">
                  <c:v>0.2126537785588752</c:v>
                </c:pt>
                <c:pt idx="74">
                  <c:v>0.20622568093385213</c:v>
                </c:pt>
                <c:pt idx="75">
                  <c:v>0.21949286846275753</c:v>
                </c:pt>
                <c:pt idx="76">
                  <c:v>0.23701605288007555</c:v>
                </c:pt>
                <c:pt idx="77">
                  <c:v>0.27413793103448275</c:v>
                </c:pt>
                <c:pt idx="78">
                  <c:v>0.2051009564293305</c:v>
                </c:pt>
                <c:pt idx="79">
                  <c:v>0.18304033092037228</c:v>
                </c:pt>
                <c:pt idx="80">
                  <c:v>0.18421052631578946</c:v>
                </c:pt>
                <c:pt idx="81">
                  <c:v>0.2101522842639594</c:v>
                </c:pt>
                <c:pt idx="82">
                  <c:v>0.2054263565891473</c:v>
                </c:pt>
                <c:pt idx="83">
                  <c:v>0.21830985915492956</c:v>
                </c:pt>
                <c:pt idx="84">
                  <c:v>0.20165745856353592</c:v>
                </c:pt>
                <c:pt idx="85">
                  <c:v>0.1888111888111888</c:v>
                </c:pt>
                <c:pt idx="86">
                  <c:v>0.18892185954500496</c:v>
                </c:pt>
                <c:pt idx="87">
                  <c:v>0.2215628090999011</c:v>
                </c:pt>
                <c:pt idx="88">
                  <c:v>0.1882494004796163</c:v>
                </c:pt>
                <c:pt idx="89">
                  <c:v>0.19391634980988592</c:v>
                </c:pt>
                <c:pt idx="90">
                  <c:v>0.20055710306406685</c:v>
                </c:pt>
                <c:pt idx="91">
                  <c:v>0.18018018018018017</c:v>
                </c:pt>
                <c:pt idx="92">
                  <c:v>0.19006849315068494</c:v>
                </c:pt>
                <c:pt idx="93">
                  <c:v>0.1843238587424634</c:v>
                </c:pt>
                <c:pt idx="94">
                  <c:v>0.218335343787696</c:v>
                </c:pt>
                <c:pt idx="95">
                  <c:v>0.20380434782608695</c:v>
                </c:pt>
                <c:pt idx="96">
                  <c:v>0.18663194444444445</c:v>
                </c:pt>
                <c:pt idx="97">
                  <c:v>0.17884780739466896</c:v>
                </c:pt>
                <c:pt idx="98">
                  <c:v>0.17283046503112412</c:v>
                </c:pt>
                <c:pt idx="99">
                  <c:v>0.18014484007242004</c:v>
                </c:pt>
                <c:pt idx="100">
                  <c:v>0.18724749692604953</c:v>
                </c:pt>
                <c:pt idx="101">
                  <c:v>0.19278252611585944</c:v>
                </c:pt>
                <c:pt idx="102">
                  <c:v>0.19756001574183393</c:v>
                </c:pt>
                <c:pt idx="103">
                  <c:v>0.17431495543083525</c:v>
                </c:pt>
                <c:pt idx="104">
                  <c:v>0.1802108126487589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1.7192</c:v>
                </c:pt>
                <c:pt idx="1">
                  <c:v>1200.1762</c:v>
                </c:pt>
                <c:pt idx="2">
                  <c:v>1178.3653</c:v>
                </c:pt>
                <c:pt idx="3">
                  <c:v>1172.2588</c:v>
                </c:pt>
                <c:pt idx="4">
                  <c:v>1169.6877</c:v>
                </c:pt>
                <c:pt idx="5">
                  <c:v>1175.0845</c:v>
                </c:pt>
                <c:pt idx="6">
                  <c:v>1120.6904</c:v>
                </c:pt>
                <c:pt idx="7">
                  <c:v>1196.4453</c:v>
                </c:pt>
                <c:pt idx="8">
                  <c:v>1240.3929</c:v>
                </c:pt>
                <c:pt idx="9">
                  <c:v>1223.6354</c:v>
                </c:pt>
                <c:pt idx="10">
                  <c:v>1250.8292</c:v>
                </c:pt>
                <c:pt idx="11">
                  <c:v>1077.8747</c:v>
                </c:pt>
                <c:pt idx="12">
                  <c:v>1078.9192</c:v>
                </c:pt>
                <c:pt idx="13">
                  <c:v>1199.1049</c:v>
                </c:pt>
                <c:pt idx="14">
                  <c:v>1208.9542</c:v>
                </c:pt>
                <c:pt idx="15">
                  <c:v>1221.6606</c:v>
                </c:pt>
                <c:pt idx="16">
                  <c:v>1285.79</c:v>
                </c:pt>
                <c:pt idx="17">
                  <c:v>1240.8715</c:v>
                </c:pt>
                <c:pt idx="18">
                  <c:v>1268.453</c:v>
                </c:pt>
                <c:pt idx="19">
                  <c:v>1251.4531</c:v>
                </c:pt>
                <c:pt idx="20">
                  <c:v>1250.4629</c:v>
                </c:pt>
                <c:pt idx="21">
                  <c:v>1181.0607</c:v>
                </c:pt>
                <c:pt idx="22">
                  <c:v>1156.4495</c:v>
                </c:pt>
                <c:pt idx="23">
                  <c:v>1149.2692</c:v>
                </c:pt>
                <c:pt idx="24">
                  <c:v>1210.8624</c:v>
                </c:pt>
                <c:pt idx="25">
                  <c:v>1199.6318</c:v>
                </c:pt>
                <c:pt idx="26">
                  <c:v>1234.343</c:v>
                </c:pt>
                <c:pt idx="27">
                  <c:v>1225.1818</c:v>
                </c:pt>
                <c:pt idx="28">
                  <c:v>1249.199</c:v>
                </c:pt>
                <c:pt idx="29">
                  <c:v>1266.85</c:v>
                </c:pt>
                <c:pt idx="30">
                  <c:v>1235.3723</c:v>
                </c:pt>
                <c:pt idx="31">
                  <c:v>1269.4144</c:v>
                </c:pt>
                <c:pt idx="32">
                  <c:v>1280.4859</c:v>
                </c:pt>
                <c:pt idx="33">
                  <c:v>1250.6957</c:v>
                </c:pt>
                <c:pt idx="34">
                  <c:v>1270.5072</c:v>
                </c:pt>
                <c:pt idx="35">
                  <c:v>1298.974</c:v>
                </c:pt>
                <c:pt idx="36">
                  <c:v>1327.7935</c:v>
                </c:pt>
                <c:pt idx="37">
                  <c:v>1222.8684</c:v>
                </c:pt>
                <c:pt idx="38">
                  <c:v>1233.2358</c:v>
                </c:pt>
                <c:pt idx="39">
                  <c:v>1115.6918</c:v>
                </c:pt>
                <c:pt idx="40">
                  <c:v>1258.8316</c:v>
                </c:pt>
                <c:pt idx="41">
                  <c:v>1260.0924</c:v>
                </c:pt>
                <c:pt idx="42">
                  <c:v>1237.8344</c:v>
                </c:pt>
                <c:pt idx="43">
                  <c:v>1283.0726</c:v>
                </c:pt>
                <c:pt idx="44">
                  <c:v>1157.9709</c:v>
                </c:pt>
                <c:pt idx="45">
                  <c:v>1154.4956</c:v>
                </c:pt>
                <c:pt idx="46">
                  <c:v>1205.023</c:v>
                </c:pt>
                <c:pt idx="47">
                  <c:v>1151.5255</c:v>
                </c:pt>
                <c:pt idx="48">
                  <c:v>1207.5037</c:v>
                </c:pt>
                <c:pt idx="49">
                  <c:v>1208.8126</c:v>
                </c:pt>
                <c:pt idx="50">
                  <c:v>1097.3769</c:v>
                </c:pt>
                <c:pt idx="51">
                  <c:v>1066.8111</c:v>
                </c:pt>
              </c:numCache>
            </c:numRef>
          </c:xVal>
          <c:yVal>
            <c:numRef>
              <c:f>Sheet1!$B$109:$B$160</c:f>
              <c:numCache>
                <c:formatCode>General</c:formatCode>
                <c:ptCount val="52"/>
                <c:pt idx="0">
                  <c:v>0.19588235294117648</c:v>
                </c:pt>
                <c:pt idx="1">
                  <c:v>0.20913385826771655</c:v>
                </c:pt>
                <c:pt idx="2">
                  <c:v>0.2232620320855615</c:v>
                </c:pt>
                <c:pt idx="3">
                  <c:v>0.22563087580405738</c:v>
                </c:pt>
                <c:pt idx="4">
                  <c:v>0.23196166854565953</c:v>
                </c:pt>
                <c:pt idx="5">
                  <c:v>0.22822910578609001</c:v>
                </c:pt>
                <c:pt idx="6">
                  <c:v>0.2193698949824971</c:v>
                </c:pt>
                <c:pt idx="7">
                  <c:v>0.21268057784911718</c:v>
                </c:pt>
                <c:pt idx="8">
                  <c:v>0.19769602378298032</c:v>
                </c:pt>
                <c:pt idx="9">
                  <c:v>0.20432777580702377</c:v>
                </c:pt>
                <c:pt idx="10">
                  <c:v>0.21005917159763313</c:v>
                </c:pt>
                <c:pt idx="11">
                  <c:v>0.2222222222222222</c:v>
                </c:pt>
                <c:pt idx="12">
                  <c:v>0.22340425531914893</c:v>
                </c:pt>
                <c:pt idx="13">
                  <c:v>0.22299077733860342</c:v>
                </c:pt>
                <c:pt idx="14">
                  <c:v>0.2252119424990785</c:v>
                </c:pt>
                <c:pt idx="15">
                  <c:v>0.22132471728594508</c:v>
                </c:pt>
                <c:pt idx="16">
                  <c:v>0.20768136557610242</c:v>
                </c:pt>
                <c:pt idx="17">
                  <c:v>0.2169548243167875</c:v>
                </c:pt>
                <c:pt idx="18">
                  <c:v>0.23070739549839228</c:v>
                </c:pt>
                <c:pt idx="19">
                  <c:v>0.22804428044280442</c:v>
                </c:pt>
                <c:pt idx="20">
                  <c:v>0.21246246246246248</c:v>
                </c:pt>
                <c:pt idx="21">
                  <c:v>0.23219584569732937</c:v>
                </c:pt>
                <c:pt idx="22">
                  <c:v>0.22774480712166173</c:v>
                </c:pt>
                <c:pt idx="23">
                  <c:v>0.23029229406554472</c:v>
                </c:pt>
                <c:pt idx="24">
                  <c:v>0.2070275403608737</c:v>
                </c:pt>
                <c:pt idx="25">
                  <c:v>0.2124735729386892</c:v>
                </c:pt>
                <c:pt idx="26">
                  <c:v>0.1977077363896848</c:v>
                </c:pt>
                <c:pt idx="27">
                  <c:v>0.198</c:v>
                </c:pt>
                <c:pt idx="28">
                  <c:v>0.1865234375</c:v>
                </c:pt>
                <c:pt idx="29">
                  <c:v>0.19347037484885127</c:v>
                </c:pt>
                <c:pt idx="30">
                  <c:v>0.19515669515669515</c:v>
                </c:pt>
                <c:pt idx="31">
                  <c:v>0.1837748344370861</c:v>
                </c:pt>
                <c:pt idx="32">
                  <c:v>0.18758256274768825</c:v>
                </c:pt>
                <c:pt idx="33">
                  <c:v>0.18830409356725147</c:v>
                </c:pt>
                <c:pt idx="34">
                  <c:v>0.2029126213592233</c:v>
                </c:pt>
                <c:pt idx="35">
                  <c:v>0.17559863169897377</c:v>
                </c:pt>
                <c:pt idx="36">
                  <c:v>0.17005545286506468</c:v>
                </c:pt>
                <c:pt idx="37">
                  <c:v>0.18181818181818182</c:v>
                </c:pt>
                <c:pt idx="38">
                  <c:v>0.19202898550724637</c:v>
                </c:pt>
                <c:pt idx="39">
                  <c:v>0.17464114832535885</c:v>
                </c:pt>
                <c:pt idx="40">
                  <c:v>0.1589958158995816</c:v>
                </c:pt>
                <c:pt idx="41">
                  <c:v>0.1702127659574468</c:v>
                </c:pt>
                <c:pt idx="42">
                  <c:v>0.17833698030634573</c:v>
                </c:pt>
                <c:pt idx="43">
                  <c:v>0.16126809097174363</c:v>
                </c:pt>
                <c:pt idx="44">
                  <c:v>0.1762692527096406</c:v>
                </c:pt>
                <c:pt idx="45">
                  <c:v>0.18008726695755653</c:v>
                </c:pt>
                <c:pt idx="46">
                  <c:v>0.19225110348209906</c:v>
                </c:pt>
                <c:pt idx="47">
                  <c:v>0.19831223628691982</c:v>
                </c:pt>
                <c:pt idx="48">
                  <c:v>0.20359820089955022</c:v>
                </c:pt>
                <c:pt idx="49">
                  <c:v>0.19820081253627395</c:v>
                </c:pt>
                <c:pt idx="50">
                  <c:v>0.20818535430407575</c:v>
                </c:pt>
                <c:pt idx="51">
                  <c:v>0.21090434214822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6.3608407137929</c:v>
                </c:pt>
              </c:numCache>
            </c:numRef>
          </c:xVal>
          <c:yVal>
            <c:numRef>
              <c:f>Sheet1!$B$163:$B$164</c:f>
              <c:numCache>
                <c:formatCode>General</c:formatCode>
                <c:ptCount val="2"/>
                <c:pt idx="0">
                  <c:v>0.27111566649028923</c:v>
                </c:pt>
                <c:pt idx="1">
                  <c:v>0.271115666490289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6.3608407137929</c:v>
                </c:pt>
                <c:pt idx="1">
                  <c:v>726.3608407137929</c:v>
                </c:pt>
              </c:numCache>
            </c:numRef>
          </c:xVal>
          <c:yVal>
            <c:numRef>
              <c:f>Sheet1!$B$167:$B$168</c:f>
              <c:numCache>
                <c:formatCode>General</c:formatCode>
                <c:ptCount val="2"/>
                <c:pt idx="0">
                  <c:v>0.271115666490289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8.5780176084243</c:v>
                </c:pt>
              </c:numCache>
            </c:numRef>
          </c:xVal>
          <c:yVal>
            <c:numRef>
              <c:f>Sheet1!$B$171:$B$172</c:f>
              <c:numCache>
                <c:formatCode>General</c:formatCode>
                <c:ptCount val="2"/>
                <c:pt idx="0">
                  <c:v>0.2198143873895026</c:v>
                </c:pt>
                <c:pt idx="1">
                  <c:v>0.219814387389502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8.5780176084243</c:v>
                </c:pt>
                <c:pt idx="1">
                  <c:v>1088.5780176084243</c:v>
                </c:pt>
              </c:numCache>
            </c:numRef>
          </c:xVal>
          <c:yVal>
            <c:numRef>
              <c:f>Sheet1!$B$175:$B$176</c:f>
              <c:numCache>
                <c:formatCode>General</c:formatCode>
                <c:ptCount val="2"/>
                <c:pt idx="0">
                  <c:v>0.21981438738950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0.9862754863805</c:v>
                </c:pt>
              </c:numCache>
            </c:numRef>
          </c:xVal>
          <c:yVal>
            <c:numRef>
              <c:f>Sheet1!$B$179:$B$180</c:f>
              <c:numCache>
                <c:formatCode>General</c:formatCode>
                <c:ptCount val="2"/>
                <c:pt idx="0">
                  <c:v>0.18548179775267795</c:v>
                </c:pt>
                <c:pt idx="1">
                  <c:v>0.1854817977526779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0.9862754863805</c:v>
                </c:pt>
                <c:pt idx="1">
                  <c:v>1330.9862754863805</c:v>
                </c:pt>
              </c:numCache>
            </c:numRef>
          </c:xVal>
          <c:yVal>
            <c:numRef>
              <c:f>Sheet1!$B$183:$B$184</c:f>
              <c:numCache>
                <c:formatCode>General</c:formatCode>
                <c:ptCount val="2"/>
                <c:pt idx="0">
                  <c:v>0.1854817977526779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1.7192</c:v>
                </c:pt>
                <c:pt idx="1">
                  <c:v>1200.1762</c:v>
                </c:pt>
                <c:pt idx="2">
                  <c:v>1178.3653</c:v>
                </c:pt>
                <c:pt idx="3">
                  <c:v>1172.2588</c:v>
                </c:pt>
                <c:pt idx="4">
                  <c:v>1169.6877</c:v>
                </c:pt>
                <c:pt idx="5">
                  <c:v>1175.0845</c:v>
                </c:pt>
                <c:pt idx="6">
                  <c:v>1120.6904</c:v>
                </c:pt>
                <c:pt idx="7">
                  <c:v>1196.4453</c:v>
                </c:pt>
                <c:pt idx="8">
                  <c:v>1240.3929</c:v>
                </c:pt>
                <c:pt idx="9">
                  <c:v>1223.6354</c:v>
                </c:pt>
                <c:pt idx="10">
                  <c:v>1250.8292</c:v>
                </c:pt>
                <c:pt idx="11">
                  <c:v>1077.8747</c:v>
                </c:pt>
                <c:pt idx="12">
                  <c:v>1078.9192</c:v>
                </c:pt>
                <c:pt idx="13">
                  <c:v>1199.1049</c:v>
                </c:pt>
                <c:pt idx="14">
                  <c:v>1208.9542</c:v>
                </c:pt>
                <c:pt idx="15">
                  <c:v>1221.6606</c:v>
                </c:pt>
                <c:pt idx="16">
                  <c:v>1285.79</c:v>
                </c:pt>
                <c:pt idx="17">
                  <c:v>1240.8715</c:v>
                </c:pt>
                <c:pt idx="18">
                  <c:v>1268.453</c:v>
                </c:pt>
                <c:pt idx="19">
                  <c:v>1251.4531</c:v>
                </c:pt>
                <c:pt idx="20">
                  <c:v>1250.4629</c:v>
                </c:pt>
                <c:pt idx="21">
                  <c:v>1181.0607</c:v>
                </c:pt>
                <c:pt idx="22">
                  <c:v>1156.4495</c:v>
                </c:pt>
                <c:pt idx="23">
                  <c:v>1149.2692</c:v>
                </c:pt>
                <c:pt idx="24">
                  <c:v>1210.8624</c:v>
                </c:pt>
                <c:pt idx="25">
                  <c:v>1199.6318</c:v>
                </c:pt>
                <c:pt idx="26">
                  <c:v>1234.343</c:v>
                </c:pt>
                <c:pt idx="27">
                  <c:v>1225.1818</c:v>
                </c:pt>
                <c:pt idx="28">
                  <c:v>1249.199</c:v>
                </c:pt>
                <c:pt idx="29">
                  <c:v>1266.85</c:v>
                </c:pt>
                <c:pt idx="30">
                  <c:v>1235.3723</c:v>
                </c:pt>
                <c:pt idx="31">
                  <c:v>1269.4144</c:v>
                </c:pt>
                <c:pt idx="32">
                  <c:v>1280.4859</c:v>
                </c:pt>
                <c:pt idx="33">
                  <c:v>1250.6957</c:v>
                </c:pt>
                <c:pt idx="34">
                  <c:v>1270.5072</c:v>
                </c:pt>
                <c:pt idx="35">
                  <c:v>1298.974</c:v>
                </c:pt>
                <c:pt idx="36">
                  <c:v>1327.7935</c:v>
                </c:pt>
                <c:pt idx="37">
                  <c:v>1222.8684</c:v>
                </c:pt>
                <c:pt idx="38">
                  <c:v>1233.2358</c:v>
                </c:pt>
                <c:pt idx="39">
                  <c:v>1115.6918</c:v>
                </c:pt>
                <c:pt idx="40">
                  <c:v>1258.8316</c:v>
                </c:pt>
                <c:pt idx="41">
                  <c:v>1260.0924</c:v>
                </c:pt>
                <c:pt idx="42">
                  <c:v>1237.8344</c:v>
                </c:pt>
                <c:pt idx="43">
                  <c:v>1283.0726</c:v>
                </c:pt>
                <c:pt idx="44">
                  <c:v>1157.9709</c:v>
                </c:pt>
                <c:pt idx="45">
                  <c:v>1154.4956</c:v>
                </c:pt>
                <c:pt idx="46">
                  <c:v>1205.023</c:v>
                </c:pt>
                <c:pt idx="47">
                  <c:v>1151.5255</c:v>
                </c:pt>
                <c:pt idx="48">
                  <c:v>1207.5037</c:v>
                </c:pt>
                <c:pt idx="49">
                  <c:v>1208.8126</c:v>
                </c:pt>
                <c:pt idx="50">
                  <c:v>1097.3769</c:v>
                </c:pt>
                <c:pt idx="51">
                  <c:v>1066.8111</c:v>
                </c:pt>
                <c:pt idx="52">
                  <c:v>1088.5780176084243</c:v>
                </c:pt>
                <c:pt idx="53">
                  <c:v>726.3608407137929</c:v>
                </c:pt>
                <c:pt idx="54">
                  <c:v>1330.9862754863805</c:v>
                </c:pt>
              </c:numCache>
            </c:numRef>
          </c:xVal>
          <c:yVal>
            <c:numRef>
              <c:f>Sheet1!$B$187:$B$241</c:f>
              <c:numCache>
                <c:formatCode>General</c:formatCode>
                <c:ptCount val="55"/>
                <c:pt idx="0">
                  <c:v>0.20520637064656774</c:v>
                </c:pt>
                <c:pt idx="1">
                  <c:v>0.20400859498867405</c:v>
                </c:pt>
                <c:pt idx="2">
                  <c:v>0.2070977004748693</c:v>
                </c:pt>
                <c:pt idx="3">
                  <c:v>0.2079625718305424</c:v>
                </c:pt>
                <c:pt idx="4">
                  <c:v>0.20832671999112068</c:v>
                </c:pt>
                <c:pt idx="5">
                  <c:v>0.20756236434839626</c:v>
                </c:pt>
                <c:pt idx="6">
                  <c:v>0.21526626986016564</c:v>
                </c:pt>
                <c:pt idx="7">
                  <c:v>0.20453700709722739</c:v>
                </c:pt>
                <c:pt idx="8">
                  <c:v>0.19831265265678188</c:v>
                </c:pt>
                <c:pt idx="9">
                  <c:v>0.20068603867867538</c:v>
                </c:pt>
                <c:pt idx="10">
                  <c:v>0.19683454622442106</c:v>
                </c:pt>
                <c:pt idx="11">
                  <c:v>0.22133031186509383</c:v>
                </c:pt>
                <c:pt idx="12">
                  <c:v>0.22118237800265209</c:v>
                </c:pt>
                <c:pt idx="13">
                  <c:v>0.2041603245691756</c:v>
                </c:pt>
                <c:pt idx="14">
                  <c:v>0.2027653556928256</c:v>
                </c:pt>
                <c:pt idx="15">
                  <c:v>0.20096573211242358</c:v>
                </c:pt>
                <c:pt idx="16">
                  <c:v>0.19188300368918532</c:v>
                </c:pt>
                <c:pt idx="17">
                  <c:v>0.19824486793053525</c:v>
                </c:pt>
                <c:pt idx="18">
                  <c:v>0.19433846503255794</c:v>
                </c:pt>
                <c:pt idx="19">
                  <c:v>0.1967461824745145</c:v>
                </c:pt>
                <c:pt idx="20">
                  <c:v>0.19688642575894708</c:v>
                </c:pt>
                <c:pt idx="21">
                  <c:v>0.20671594754731973</c:v>
                </c:pt>
                <c:pt idx="22">
                  <c:v>0.21020166308138058</c:v>
                </c:pt>
                <c:pt idx="23">
                  <c:v>0.21121861809573247</c:v>
                </c:pt>
                <c:pt idx="24">
                  <c:v>0.20249509490171852</c:v>
                </c:pt>
                <c:pt idx="25">
                  <c:v>0.2040856990525451</c:v>
                </c:pt>
                <c:pt idx="26">
                  <c:v>0.1991695076825228</c:v>
                </c:pt>
                <c:pt idx="27">
                  <c:v>0.2004670200813753</c:v>
                </c:pt>
                <c:pt idx="28">
                  <c:v>0.19706543352222147</c:v>
                </c:pt>
                <c:pt idx="29">
                  <c:v>0.19456549995979025</c:v>
                </c:pt>
                <c:pt idx="30">
                  <c:v>0.19902372661539855</c:v>
                </c:pt>
                <c:pt idx="31">
                  <c:v>0.19420230072872693</c:v>
                </c:pt>
                <c:pt idx="32">
                  <c:v>0.1926342301130985</c:v>
                </c:pt>
                <c:pt idx="33">
                  <c:v>0.19685345399908452</c:v>
                </c:pt>
                <c:pt idx="34">
                  <c:v>0.1940475260759013</c:v>
                </c:pt>
                <c:pt idx="35">
                  <c:v>0.1900157370138075</c:v>
                </c:pt>
                <c:pt idx="36">
                  <c:v>0.18593399460247176</c:v>
                </c:pt>
                <c:pt idx="37">
                  <c:v>0.2007946698634459</c:v>
                </c:pt>
                <c:pt idx="38">
                  <c:v>0.19932632182564922</c:v>
                </c:pt>
                <c:pt idx="39">
                  <c:v>0.21597422793082274</c:v>
                </c:pt>
                <c:pt idx="40">
                  <c:v>0.19570115614227276</c:v>
                </c:pt>
                <c:pt idx="41">
                  <c:v>0.1955225874359381</c:v>
                </c:pt>
                <c:pt idx="42">
                  <c:v>0.198675016263347</c:v>
                </c:pt>
                <c:pt idx="43">
                  <c:v>0.19226787250469438</c:v>
                </c:pt>
                <c:pt idx="44">
                  <c:v>0.20998618526585267</c:v>
                </c:pt>
                <c:pt idx="45">
                  <c:v>0.2104783964215672</c:v>
                </c:pt>
                <c:pt idx="46">
                  <c:v>0.20332213654493766</c:v>
                </c:pt>
                <c:pt idx="47">
                  <c:v>0.21089905545922952</c:v>
                </c:pt>
                <c:pt idx="48">
                  <c:v>0.20297079185124758</c:v>
                </c:pt>
                <c:pt idx="49">
                  <c:v>0.20278541068078323</c:v>
                </c:pt>
                <c:pt idx="50">
                  <c:v>0.21856819049399606</c:v>
                </c:pt>
                <c:pt idx="51">
                  <c:v>0.22289726359368228</c:v>
                </c:pt>
                <c:pt idx="52">
                  <c:v>0.2198143873895026</c:v>
                </c:pt>
                <c:pt idx="53">
                  <c:v>0.27111566649028923</c:v>
                </c:pt>
                <c:pt idx="54">
                  <c:v>0.1854817977526779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7.0"/>
          <c:min val="5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027576197387513"/>
          <c:min val="0.11807718348002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93588617138216</c:v>
                </c:pt>
                <c:pt idx="1">
                  <c:v>1.7871452680418272</c:v>
                </c:pt>
                <c:pt idx="2">
                  <c:v>1.7940675502419048</c:v>
                </c:pt>
                <c:pt idx="3">
                  <c:v>1.854340410836015</c:v>
                </c:pt>
                <c:pt idx="4">
                  <c:v>1.8576978610177182</c:v>
                </c:pt>
                <c:pt idx="5">
                  <c:v>1.8269367255925222</c:v>
                </c:pt>
                <c:pt idx="6">
                  <c:v>1.7177100969259183</c:v>
                </c:pt>
                <c:pt idx="7">
                  <c:v>1.795788707084593</c:v>
                </c:pt>
                <c:pt idx="8">
                  <c:v>1.7804183541674408</c:v>
                </c:pt>
                <c:pt idx="9">
                  <c:v>2.183511536656304</c:v>
                </c:pt>
                <c:pt idx="10">
                  <c:v>2.216561630462105</c:v>
                </c:pt>
                <c:pt idx="11">
                  <c:v>2.0297604351990657</c:v>
                </c:pt>
                <c:pt idx="12">
                  <c:v>1.921439820649091</c:v>
                </c:pt>
                <c:pt idx="13">
                  <c:v>1.937371815082696</c:v>
                </c:pt>
                <c:pt idx="14">
                  <c:v>1.9975815433505588</c:v>
                </c:pt>
                <c:pt idx="15">
                  <c:v>2.04659421290508</c:v>
                </c:pt>
                <c:pt idx="16">
                  <c:v>2.111635210725497</c:v>
                </c:pt>
                <c:pt idx="17">
                  <c:v>2.1245314976542438</c:v>
                </c:pt>
                <c:pt idx="18">
                  <c:v>2.186632649674525</c:v>
                </c:pt>
                <c:pt idx="19">
                  <c:v>2.1599343342761705</c:v>
                </c:pt>
                <c:pt idx="20">
                  <c:v>2.169703839651741</c:v>
                </c:pt>
                <c:pt idx="21">
                  <c:v>2.278620482240083</c:v>
                </c:pt>
                <c:pt idx="22">
                  <c:v>2.1372407840051966</c:v>
                </c:pt>
                <c:pt idx="23">
                  <c:v>2.103239506491516</c:v>
                </c:pt>
                <c:pt idx="24">
                  <c:v>2.074195356705044</c:v>
                </c:pt>
                <c:pt idx="25">
                  <c:v>1.858261398763524</c:v>
                </c:pt>
                <c:pt idx="26">
                  <c:v>1.7532517047430383</c:v>
                </c:pt>
                <c:pt idx="27">
                  <c:v>1.858855075260517</c:v>
                </c:pt>
                <c:pt idx="28">
                  <c:v>1.761403515625</c:v>
                </c:pt>
                <c:pt idx="29">
                  <c:v>1.842943879093199</c:v>
                </c:pt>
                <c:pt idx="30">
                  <c:v>1.8493278736546952</c:v>
                </c:pt>
                <c:pt idx="31">
                  <c:v>1.622057693152793</c:v>
                </c:pt>
                <c:pt idx="32">
                  <c:v>1.7969223091900115</c:v>
                </c:pt>
                <c:pt idx="33">
                  <c:v>1.6391493772112073</c:v>
                </c:pt>
                <c:pt idx="34">
                  <c:v>1.6906638941398866</c:v>
                </c:pt>
                <c:pt idx="35">
                  <c:v>1.9282882368251366</c:v>
                </c:pt>
                <c:pt idx="36">
                  <c:v>1.921429543291676</c:v>
                </c:pt>
                <c:pt idx="37">
                  <c:v>2.0104768341783217</c:v>
                </c:pt>
                <c:pt idx="38">
                  <c:v>2.068198027684302</c:v>
                </c:pt>
                <c:pt idx="39">
                  <c:v>2.00035560143148</c:v>
                </c:pt>
                <c:pt idx="40">
                  <c:v>1.990413443216674</c:v>
                </c:pt>
                <c:pt idx="41">
                  <c:v>1.983224905359365</c:v>
                </c:pt>
                <c:pt idx="42">
                  <c:v>2.1995847282949277</c:v>
                </c:pt>
                <c:pt idx="43">
                  <c:v>2.163435507191175</c:v>
                </c:pt>
                <c:pt idx="44">
                  <c:v>1.874937716507626</c:v>
                </c:pt>
                <c:pt idx="45">
                  <c:v>1.8129075166310873</c:v>
                </c:pt>
                <c:pt idx="46">
                  <c:v>2.076491318157536</c:v>
                </c:pt>
                <c:pt idx="47">
                  <c:v>2.0285818786664036</c:v>
                </c:pt>
                <c:pt idx="48">
                  <c:v>2.0380688198650083</c:v>
                </c:pt>
                <c:pt idx="49">
                  <c:v>2.010323916030356</c:v>
                </c:pt>
                <c:pt idx="50">
                  <c:v>1.873794121279807</c:v>
                </c:pt>
                <c:pt idx="51">
                  <c:v>1.995716839216966</c:v>
                </c:pt>
                <c:pt idx="52">
                  <c:v>1.9845821795095717</c:v>
                </c:pt>
                <c:pt idx="53">
                  <c:v>2.0606299455535386</c:v>
                </c:pt>
                <c:pt idx="54">
                  <c:v>2.0926926312280836</c:v>
                </c:pt>
                <c:pt idx="55">
                  <c:v>2.0432808201189503</c:v>
                </c:pt>
                <c:pt idx="56">
                  <c:v>1.9696286454444574</c:v>
                </c:pt>
                <c:pt idx="57">
                  <c:v>1.8659077487197118</c:v>
                </c:pt>
                <c:pt idx="58">
                  <c:v>1.9912868737171758</c:v>
                </c:pt>
                <c:pt idx="59">
                  <c:v>2.02704409234875</c:v>
                </c:pt>
                <c:pt idx="60">
                  <c:v>1.9358083316131534</c:v>
                </c:pt>
                <c:pt idx="61">
                  <c:v>2.053304083520924</c:v>
                </c:pt>
                <c:pt idx="62">
                  <c:v>2.217922972673287</c:v>
                </c:pt>
                <c:pt idx="63">
                  <c:v>2.1217465478928705</c:v>
                </c:pt>
                <c:pt idx="64">
                  <c:v>2.077130245912286</c:v>
                </c:pt>
                <c:pt idx="65">
                  <c:v>2.006247401179033</c:v>
                </c:pt>
                <c:pt idx="66">
                  <c:v>1.99710265341185</c:v>
                </c:pt>
                <c:pt idx="67">
                  <c:v>1.9593776412000103</c:v>
                </c:pt>
                <c:pt idx="68">
                  <c:v>1.9638032334554858</c:v>
                </c:pt>
                <c:pt idx="69">
                  <c:v>2.009569701367515</c:v>
                </c:pt>
                <c:pt idx="70">
                  <c:v>1.97294444295526</c:v>
                </c:pt>
                <c:pt idx="71">
                  <c:v>1.8498694580583193</c:v>
                </c:pt>
                <c:pt idx="72">
                  <c:v>1.8657471876871012</c:v>
                </c:pt>
                <c:pt idx="73">
                  <c:v>1.9240138940280613</c:v>
                </c:pt>
                <c:pt idx="74">
                  <c:v>1.904120516591157</c:v>
                </c:pt>
                <c:pt idx="75">
                  <c:v>1.8895092397415205</c:v>
                </c:pt>
                <c:pt idx="76">
                  <c:v>1.6794464535862852</c:v>
                </c:pt>
                <c:pt idx="77">
                  <c:v>1.4748538419051471</c:v>
                </c:pt>
                <c:pt idx="78">
                  <c:v>1.8653400324920912</c:v>
                </c:pt>
                <c:pt idx="79">
                  <c:v>1.7914042802697154</c:v>
                </c:pt>
                <c:pt idx="80">
                  <c:v>1.8903176089853417</c:v>
                </c:pt>
                <c:pt idx="81">
                  <c:v>1.7048411144578313</c:v>
                </c:pt>
                <c:pt idx="82">
                  <c:v>1.7025283714091988</c:v>
                </c:pt>
                <c:pt idx="83">
                  <c:v>1.5332516788321167</c:v>
                </c:pt>
                <c:pt idx="84">
                  <c:v>1.6916444083498767</c:v>
                </c:pt>
                <c:pt idx="85">
                  <c:v>1.7091363240418118</c:v>
                </c:pt>
                <c:pt idx="86">
                  <c:v>1.800232982957317</c:v>
                </c:pt>
                <c:pt idx="87">
                  <c:v>1.7313744591928488</c:v>
                </c:pt>
                <c:pt idx="88">
                  <c:v>1.807288850582911</c:v>
                </c:pt>
                <c:pt idx="89">
                  <c:v>1.8729356337704726</c:v>
                </c:pt>
                <c:pt idx="90">
                  <c:v>1.8958802266298282</c:v>
                </c:pt>
                <c:pt idx="91">
                  <c:v>2.0076395570864145</c:v>
                </c:pt>
                <c:pt idx="92">
                  <c:v>1.926599684076961</c:v>
                </c:pt>
                <c:pt idx="93">
                  <c:v>1.9236189572387596</c:v>
                </c:pt>
                <c:pt idx="94">
                  <c:v>1.617142793006571</c:v>
                </c:pt>
                <c:pt idx="95">
                  <c:v>1.6785444807316692</c:v>
                </c:pt>
                <c:pt idx="96">
                  <c:v>1.7269603217578788</c:v>
                </c:pt>
                <c:pt idx="97">
                  <c:v>1.7823872814013464</c:v>
                </c:pt>
                <c:pt idx="98">
                  <c:v>2.0149196616869207</c:v>
                </c:pt>
                <c:pt idx="99">
                  <c:v>1.9281288207273557</c:v>
                </c:pt>
                <c:pt idx="100">
                  <c:v>1.7864603783516124</c:v>
                </c:pt>
                <c:pt idx="101">
                  <c:v>1.8090245383961794</c:v>
                </c:pt>
                <c:pt idx="102">
                  <c:v>1.7960288449948036</c:v>
                </c:pt>
                <c:pt idx="103">
                  <c:v>1.8177892976096333</c:v>
                </c:pt>
                <c:pt idx="104">
                  <c:v>1.8582772964227994</c:v>
                </c:pt>
              </c:numCache>
            </c:numRef>
          </c:xVal>
          <c:yVal>
            <c:numRef>
              <c:f>Sheet1!$B$2:$B$106</c:f>
              <c:numCache>
                <c:formatCode>General</c:formatCode>
                <c:ptCount val="105"/>
                <c:pt idx="0">
                  <c:v>0.23637515842839038</c:v>
                </c:pt>
                <c:pt idx="1">
                  <c:v>0.2533910533910534</c:v>
                </c:pt>
                <c:pt idx="2">
                  <c:v>0.2683311432325887</c:v>
                </c:pt>
                <c:pt idx="3">
                  <c:v>0.2680081656459609</c:v>
                </c:pt>
                <c:pt idx="4">
                  <c:v>0.2599164926931106</c:v>
                </c:pt>
                <c:pt idx="5">
                  <c:v>0.2649969078540507</c:v>
                </c:pt>
                <c:pt idx="6">
                  <c:v>0.3085631349782293</c:v>
                </c:pt>
                <c:pt idx="7">
                  <c:v>0.2972791400738999</c:v>
                </c:pt>
                <c:pt idx="8">
                  <c:v>0.283179802115319</c:v>
                </c:pt>
                <c:pt idx="9">
                  <c:v>0.24709549447435533</c:v>
                </c:pt>
                <c:pt idx="10">
                  <c:v>0.23792486583184258</c:v>
                </c:pt>
                <c:pt idx="11">
                  <c:v>0.23143164693218515</c:v>
                </c:pt>
                <c:pt idx="12">
                  <c:v>0.20707831325301204</c:v>
                </c:pt>
                <c:pt idx="13">
                  <c:v>0.2094226579520697</c:v>
                </c:pt>
                <c:pt idx="14">
                  <c:v>0.18050221565731167</c:v>
                </c:pt>
                <c:pt idx="15">
                  <c:v>0.17851500789889416</c:v>
                </c:pt>
                <c:pt idx="16">
                  <c:v>0.17603344170924293</c:v>
                </c:pt>
                <c:pt idx="17">
                  <c:v>0.15950920245398773</c:v>
                </c:pt>
                <c:pt idx="18">
                  <c:v>0.14759647935003387</c:v>
                </c:pt>
                <c:pt idx="19">
                  <c:v>0.14909638554216867</c:v>
                </c:pt>
                <c:pt idx="20">
                  <c:v>0.15231400117164617</c:v>
                </c:pt>
                <c:pt idx="21">
                  <c:v>0.15973741794310722</c:v>
                </c:pt>
                <c:pt idx="22">
                  <c:v>0.22527015793848712</c:v>
                </c:pt>
                <c:pt idx="23">
                  <c:v>0.2410032715376227</c:v>
                </c:pt>
                <c:pt idx="24">
                  <c:v>0.22386759581881532</c:v>
                </c:pt>
                <c:pt idx="25">
                  <c:v>0.25957446808510637</c:v>
                </c:pt>
                <c:pt idx="26">
                  <c:v>0.26618705035971224</c:v>
                </c:pt>
                <c:pt idx="27">
                  <c:v>0.27057710501419113</c:v>
                </c:pt>
                <c:pt idx="28">
                  <c:v>0.264859228362878</c:v>
                </c:pt>
                <c:pt idx="29">
                  <c:v>0.25755879059350506</c:v>
                </c:pt>
                <c:pt idx="30">
                  <c:v>0.27342549923195086</c:v>
                </c:pt>
                <c:pt idx="31">
                  <c:v>0.2948051948051948</c:v>
                </c:pt>
                <c:pt idx="32">
                  <c:v>0.26570048309178745</c:v>
                </c:pt>
                <c:pt idx="33">
                  <c:v>0.24952198852772467</c:v>
                </c:pt>
                <c:pt idx="34">
                  <c:v>0.2470076169749728</c:v>
                </c:pt>
                <c:pt idx="35">
                  <c:v>0.24975704567541301</c:v>
                </c:pt>
                <c:pt idx="36">
                  <c:v>0.2136409227683049</c:v>
                </c:pt>
                <c:pt idx="37">
                  <c:v>0.20536635706914344</c:v>
                </c:pt>
                <c:pt idx="38">
                  <c:v>0.2117163412127441</c:v>
                </c:pt>
                <c:pt idx="39">
                  <c:v>0.1844059405940594</c:v>
                </c:pt>
                <c:pt idx="40">
                  <c:v>0.18864097363083165</c:v>
                </c:pt>
                <c:pt idx="41">
                  <c:v>0.18839103869653767</c:v>
                </c:pt>
                <c:pt idx="42">
                  <c:v>0.17183098591549295</c:v>
                </c:pt>
                <c:pt idx="43">
                  <c:v>0.17882054533925174</c:v>
                </c:pt>
                <c:pt idx="44">
                  <c:v>0.1948529411764706</c:v>
                </c:pt>
                <c:pt idx="45">
                  <c:v>0.20581509310682783</c:v>
                </c:pt>
                <c:pt idx="46">
                  <c:v>0.2020997375328084</c:v>
                </c:pt>
                <c:pt idx="47">
                  <c:v>0.19476268412438624</c:v>
                </c:pt>
                <c:pt idx="48">
                  <c:v>0.21044738815296177</c:v>
                </c:pt>
                <c:pt idx="49">
                  <c:v>0.22877640494220805</c:v>
                </c:pt>
                <c:pt idx="50">
                  <c:v>0.21186724773717733</c:v>
                </c:pt>
                <c:pt idx="51">
                  <c:v>0.2027702962677953</c:v>
                </c:pt>
                <c:pt idx="52">
                  <c:v>0.20094562647754138</c:v>
                </c:pt>
                <c:pt idx="53">
                  <c:v>0.19343696027633853</c:v>
                </c:pt>
                <c:pt idx="54">
                  <c:v>0.21186110027311744</c:v>
                </c:pt>
                <c:pt idx="55">
                  <c:v>0.20719652036378014</c:v>
                </c:pt>
                <c:pt idx="56">
                  <c:v>0.21487603305785125</c:v>
                </c:pt>
                <c:pt idx="57">
                  <c:v>0.21605117766792672</c:v>
                </c:pt>
                <c:pt idx="58">
                  <c:v>0.20533612346324875</c:v>
                </c:pt>
                <c:pt idx="59">
                  <c:v>0.22294749057151145</c:v>
                </c:pt>
                <c:pt idx="60">
                  <c:v>0.25542372881355935</c:v>
                </c:pt>
                <c:pt idx="61">
                  <c:v>0.24143877802414387</c:v>
                </c:pt>
                <c:pt idx="62">
                  <c:v>0.2566976489885183</c:v>
                </c:pt>
                <c:pt idx="63">
                  <c:v>0.2844506517690875</c:v>
                </c:pt>
                <c:pt idx="64">
                  <c:v>0.25636055245941364</c:v>
                </c:pt>
                <c:pt idx="65">
                  <c:v>0.2403022670025189</c:v>
                </c:pt>
                <c:pt idx="66">
                  <c:v>0.2129897449382067</c:v>
                </c:pt>
                <c:pt idx="67">
                  <c:v>0.20805171907140757</c:v>
                </c:pt>
                <c:pt idx="68">
                  <c:v>0.21642287234042554</c:v>
                </c:pt>
                <c:pt idx="69">
                  <c:v>0.21620348563353745</c:v>
                </c:pt>
                <c:pt idx="70">
                  <c:v>0.19786096256684493</c:v>
                </c:pt>
                <c:pt idx="71">
                  <c:v>0.19691863264323545</c:v>
                </c:pt>
                <c:pt idx="72">
                  <c:v>0.21321160042964554</c:v>
                </c:pt>
                <c:pt idx="73">
                  <c:v>0.2126537785588752</c:v>
                </c:pt>
                <c:pt idx="74">
                  <c:v>0.20622568093385213</c:v>
                </c:pt>
                <c:pt idx="75">
                  <c:v>0.21949286846275753</c:v>
                </c:pt>
                <c:pt idx="76">
                  <c:v>0.23701605288007555</c:v>
                </c:pt>
                <c:pt idx="77">
                  <c:v>0.27413793103448275</c:v>
                </c:pt>
                <c:pt idx="78">
                  <c:v>0.2051009564293305</c:v>
                </c:pt>
                <c:pt idx="79">
                  <c:v>0.18304033092037228</c:v>
                </c:pt>
                <c:pt idx="80">
                  <c:v>0.18421052631578946</c:v>
                </c:pt>
                <c:pt idx="81">
                  <c:v>0.2101522842639594</c:v>
                </c:pt>
                <c:pt idx="82">
                  <c:v>0.2054263565891473</c:v>
                </c:pt>
                <c:pt idx="83">
                  <c:v>0.21830985915492956</c:v>
                </c:pt>
                <c:pt idx="84">
                  <c:v>0.20165745856353592</c:v>
                </c:pt>
                <c:pt idx="85">
                  <c:v>0.1888111888111888</c:v>
                </c:pt>
                <c:pt idx="86">
                  <c:v>0.18892185954500496</c:v>
                </c:pt>
                <c:pt idx="87">
                  <c:v>0.2215628090999011</c:v>
                </c:pt>
                <c:pt idx="88">
                  <c:v>0.1882494004796163</c:v>
                </c:pt>
                <c:pt idx="89">
                  <c:v>0.19391634980988592</c:v>
                </c:pt>
                <c:pt idx="90">
                  <c:v>0.20055710306406685</c:v>
                </c:pt>
                <c:pt idx="91">
                  <c:v>0.18018018018018017</c:v>
                </c:pt>
                <c:pt idx="92">
                  <c:v>0.19006849315068494</c:v>
                </c:pt>
                <c:pt idx="93">
                  <c:v>0.1843238587424634</c:v>
                </c:pt>
                <c:pt idx="94">
                  <c:v>0.218335343787696</c:v>
                </c:pt>
                <c:pt idx="95">
                  <c:v>0.20380434782608695</c:v>
                </c:pt>
                <c:pt idx="96">
                  <c:v>0.18663194444444445</c:v>
                </c:pt>
                <c:pt idx="97">
                  <c:v>0.17884780739466896</c:v>
                </c:pt>
                <c:pt idx="98">
                  <c:v>0.17283046503112412</c:v>
                </c:pt>
                <c:pt idx="99">
                  <c:v>0.18014484007242004</c:v>
                </c:pt>
                <c:pt idx="100">
                  <c:v>0.18724749692604953</c:v>
                </c:pt>
                <c:pt idx="101">
                  <c:v>0.19278252611585944</c:v>
                </c:pt>
                <c:pt idx="102">
                  <c:v>0.19756001574183393</c:v>
                </c:pt>
                <c:pt idx="103">
                  <c:v>0.17431495543083525</c:v>
                </c:pt>
                <c:pt idx="104">
                  <c:v>0.1802108126487589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049414827773172</c:v>
                </c:pt>
                <c:pt idx="1">
                  <c:v>1.9259123633123911</c:v>
                </c:pt>
                <c:pt idx="2">
                  <c:v>1.8914228094908434</c:v>
                </c:pt>
                <c:pt idx="3">
                  <c:v>1.8927016937232042</c:v>
                </c:pt>
                <c:pt idx="4">
                  <c:v>1.889242880013645</c:v>
                </c:pt>
                <c:pt idx="5">
                  <c:v>1.9028861062867644</c:v>
                </c:pt>
                <c:pt idx="6">
                  <c:v>1.8204572283102287</c:v>
                </c:pt>
                <c:pt idx="7">
                  <c:v>1.9328146185299244</c:v>
                </c:pt>
                <c:pt idx="8">
                  <c:v>1.9928785193489789</c:v>
                </c:pt>
                <c:pt idx="9">
                  <c:v>1.9823717234745972</c:v>
                </c:pt>
                <c:pt idx="10">
                  <c:v>2.027607103397119</c:v>
                </c:pt>
                <c:pt idx="11">
                  <c:v>1.7660224959747868</c:v>
                </c:pt>
                <c:pt idx="12">
                  <c:v>1.753479959506044</c:v>
                </c:pt>
                <c:pt idx="13">
                  <c:v>1.9242022119489406</c:v>
                </c:pt>
                <c:pt idx="14">
                  <c:v>1.9510064201678121</c:v>
                </c:pt>
                <c:pt idx="15">
                  <c:v>1.9887035650333713</c:v>
                </c:pt>
                <c:pt idx="16">
                  <c:v>2.0910408335085635</c:v>
                </c:pt>
                <c:pt idx="17">
                  <c:v>2.0523699636886414</c:v>
                </c:pt>
                <c:pt idx="18">
                  <c:v>2.0643972591079747</c:v>
                </c:pt>
                <c:pt idx="19">
                  <c:v>2.0042904473843226</c:v>
                </c:pt>
                <c:pt idx="20">
                  <c:v>2.046228797257956</c:v>
                </c:pt>
                <c:pt idx="21">
                  <c:v>1.9024162182553628</c:v>
                </c:pt>
                <c:pt idx="22">
                  <c:v>1.8391275936369924</c:v>
                </c:pt>
                <c:pt idx="23">
                  <c:v>1.8612273903315286</c:v>
                </c:pt>
                <c:pt idx="24">
                  <c:v>1.9701787452944637</c:v>
                </c:pt>
                <c:pt idx="25">
                  <c:v>1.9415108651972364</c:v>
                </c:pt>
                <c:pt idx="26">
                  <c:v>2.0025474280418907</c:v>
                </c:pt>
                <c:pt idx="27">
                  <c:v>1.943331041336052</c:v>
                </c:pt>
                <c:pt idx="28">
                  <c:v>2.0350092904797266</c:v>
                </c:pt>
                <c:pt idx="29">
                  <c:v>2.0156722354813046</c:v>
                </c:pt>
                <c:pt idx="30">
                  <c:v>1.968093516010833</c:v>
                </c:pt>
                <c:pt idx="31">
                  <c:v>1.986428779887441</c:v>
                </c:pt>
                <c:pt idx="32">
                  <c:v>2.089471655649974</c:v>
                </c:pt>
                <c:pt idx="33">
                  <c:v>1.9863571875423354</c:v>
                </c:pt>
                <c:pt idx="34">
                  <c:v>2.055140872193285</c:v>
                </c:pt>
                <c:pt idx="35">
                  <c:v>2.100151928581117</c:v>
                </c:pt>
                <c:pt idx="36">
                  <c:v>2.1485331715210356</c:v>
                </c:pt>
                <c:pt idx="37">
                  <c:v>2.0084488753693157</c:v>
                </c:pt>
                <c:pt idx="38">
                  <c:v>2.031689950576606</c:v>
                </c:pt>
                <c:pt idx="39">
                  <c:v>1.8192274365711594</c:v>
                </c:pt>
                <c:pt idx="40">
                  <c:v>2.0500447194271225</c:v>
                </c:pt>
                <c:pt idx="41">
                  <c:v>2.0844563069616564</c:v>
                </c:pt>
                <c:pt idx="42">
                  <c:v>1.9639258831352193</c:v>
                </c:pt>
                <c:pt idx="43">
                  <c:v>2.0603019303599543</c:v>
                </c:pt>
                <c:pt idx="44">
                  <c:v>1.8742503417193848</c:v>
                </c:pt>
                <c:pt idx="45">
                  <c:v>1.88658824290721</c:v>
                </c:pt>
                <c:pt idx="46">
                  <c:v>1.9617650338743955</c:v>
                </c:pt>
                <c:pt idx="47">
                  <c:v>1.8696145253573537</c:v>
                </c:pt>
                <c:pt idx="48">
                  <c:v>1.947078802189816</c:v>
                </c:pt>
                <c:pt idx="49">
                  <c:v>1.9697780405279888</c:v>
                </c:pt>
                <c:pt idx="50">
                  <c:v>1.7711153952612708</c:v>
                </c:pt>
                <c:pt idx="51">
                  <c:v>1.7278391707494838</c:v>
                </c:pt>
              </c:numCache>
            </c:numRef>
          </c:xVal>
          <c:yVal>
            <c:numRef>
              <c:f>Sheet1!$B$109:$B$160</c:f>
              <c:numCache>
                <c:formatCode>General</c:formatCode>
                <c:ptCount val="52"/>
                <c:pt idx="0">
                  <c:v>0.19588235294117648</c:v>
                </c:pt>
                <c:pt idx="1">
                  <c:v>0.20913385826771655</c:v>
                </c:pt>
                <c:pt idx="2">
                  <c:v>0.2232620320855615</c:v>
                </c:pt>
                <c:pt idx="3">
                  <c:v>0.22563087580405738</c:v>
                </c:pt>
                <c:pt idx="4">
                  <c:v>0.23196166854565953</c:v>
                </c:pt>
                <c:pt idx="5">
                  <c:v>0.22822910578609001</c:v>
                </c:pt>
                <c:pt idx="6">
                  <c:v>0.2193698949824971</c:v>
                </c:pt>
                <c:pt idx="7">
                  <c:v>0.21268057784911718</c:v>
                </c:pt>
                <c:pt idx="8">
                  <c:v>0.19769602378298032</c:v>
                </c:pt>
                <c:pt idx="9">
                  <c:v>0.20432777580702377</c:v>
                </c:pt>
                <c:pt idx="10">
                  <c:v>0.21005917159763313</c:v>
                </c:pt>
                <c:pt idx="11">
                  <c:v>0.2222222222222222</c:v>
                </c:pt>
                <c:pt idx="12">
                  <c:v>0.22340425531914893</c:v>
                </c:pt>
                <c:pt idx="13">
                  <c:v>0.22299077733860342</c:v>
                </c:pt>
                <c:pt idx="14">
                  <c:v>0.2252119424990785</c:v>
                </c:pt>
                <c:pt idx="15">
                  <c:v>0.22132471728594508</c:v>
                </c:pt>
                <c:pt idx="16">
                  <c:v>0.20768136557610242</c:v>
                </c:pt>
                <c:pt idx="17">
                  <c:v>0.2169548243167875</c:v>
                </c:pt>
                <c:pt idx="18">
                  <c:v>0.23070739549839228</c:v>
                </c:pt>
                <c:pt idx="19">
                  <c:v>0.22804428044280442</c:v>
                </c:pt>
                <c:pt idx="20">
                  <c:v>0.21246246246246248</c:v>
                </c:pt>
                <c:pt idx="21">
                  <c:v>0.23219584569732937</c:v>
                </c:pt>
                <c:pt idx="22">
                  <c:v>0.22774480712166173</c:v>
                </c:pt>
                <c:pt idx="23">
                  <c:v>0.23029229406554472</c:v>
                </c:pt>
                <c:pt idx="24">
                  <c:v>0.2070275403608737</c:v>
                </c:pt>
                <c:pt idx="25">
                  <c:v>0.2124735729386892</c:v>
                </c:pt>
                <c:pt idx="26">
                  <c:v>0.1977077363896848</c:v>
                </c:pt>
                <c:pt idx="27">
                  <c:v>0.198</c:v>
                </c:pt>
                <c:pt idx="28">
                  <c:v>0.1865234375</c:v>
                </c:pt>
                <c:pt idx="29">
                  <c:v>0.19347037484885127</c:v>
                </c:pt>
                <c:pt idx="30">
                  <c:v>0.19515669515669515</c:v>
                </c:pt>
                <c:pt idx="31">
                  <c:v>0.1837748344370861</c:v>
                </c:pt>
                <c:pt idx="32">
                  <c:v>0.18758256274768825</c:v>
                </c:pt>
                <c:pt idx="33">
                  <c:v>0.18830409356725147</c:v>
                </c:pt>
                <c:pt idx="34">
                  <c:v>0.2029126213592233</c:v>
                </c:pt>
                <c:pt idx="35">
                  <c:v>0.17559863169897377</c:v>
                </c:pt>
                <c:pt idx="36">
                  <c:v>0.17005545286506468</c:v>
                </c:pt>
                <c:pt idx="37">
                  <c:v>0.18181818181818182</c:v>
                </c:pt>
                <c:pt idx="38">
                  <c:v>0.19202898550724637</c:v>
                </c:pt>
                <c:pt idx="39">
                  <c:v>0.17464114832535885</c:v>
                </c:pt>
                <c:pt idx="40">
                  <c:v>0.1589958158995816</c:v>
                </c:pt>
                <c:pt idx="41">
                  <c:v>0.1702127659574468</c:v>
                </c:pt>
                <c:pt idx="42">
                  <c:v>0.17833698030634573</c:v>
                </c:pt>
                <c:pt idx="43">
                  <c:v>0.16126809097174363</c:v>
                </c:pt>
                <c:pt idx="44">
                  <c:v>0.1762692527096406</c:v>
                </c:pt>
                <c:pt idx="45">
                  <c:v>0.18008726695755653</c:v>
                </c:pt>
                <c:pt idx="46">
                  <c:v>0.19225110348209906</c:v>
                </c:pt>
                <c:pt idx="47">
                  <c:v>0.19831223628691982</c:v>
                </c:pt>
                <c:pt idx="48">
                  <c:v>0.20359820089955022</c:v>
                </c:pt>
                <c:pt idx="49">
                  <c:v>0.19820081253627395</c:v>
                </c:pt>
                <c:pt idx="50">
                  <c:v>0.20818535430407575</c:v>
                </c:pt>
                <c:pt idx="51">
                  <c:v>0.21090434214822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773209898280552</c:v>
                </c:pt>
              </c:numCache>
            </c:numRef>
          </c:xVal>
          <c:yVal>
            <c:numRef>
              <c:f>Sheet1!$B$163:$B$164</c:f>
              <c:numCache>
                <c:formatCode>General</c:formatCode>
                <c:ptCount val="2"/>
                <c:pt idx="0">
                  <c:v>0.27111566649028923</c:v>
                </c:pt>
                <c:pt idx="1">
                  <c:v>0.271115666490289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773209898280552</c:v>
                </c:pt>
                <c:pt idx="1">
                  <c:v>1.1773209898280552</c:v>
                </c:pt>
              </c:numCache>
            </c:numRef>
          </c:xVal>
          <c:yVal>
            <c:numRef>
              <c:f>Sheet1!$B$167:$B$168</c:f>
              <c:numCache>
                <c:formatCode>General</c:formatCode>
                <c:ptCount val="2"/>
                <c:pt idx="0">
                  <c:v>0.271115666490289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11506398974373</c:v>
                </c:pt>
              </c:numCache>
            </c:numRef>
          </c:xVal>
          <c:yVal>
            <c:numRef>
              <c:f>Sheet1!$B$171:$B$172</c:f>
              <c:numCache>
                <c:formatCode>General</c:formatCode>
                <c:ptCount val="2"/>
                <c:pt idx="0">
                  <c:v>0.2198143873895026</c:v>
                </c:pt>
                <c:pt idx="1">
                  <c:v>0.219814387389502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11506398974373</c:v>
                </c:pt>
                <c:pt idx="1">
                  <c:v>1.7611506398974373</c:v>
                </c:pt>
              </c:numCache>
            </c:numRef>
          </c:xVal>
          <c:yVal>
            <c:numRef>
              <c:f>Sheet1!$B$175:$B$176</c:f>
              <c:numCache>
                <c:formatCode>General</c:formatCode>
                <c:ptCount val="2"/>
                <c:pt idx="0">
                  <c:v>0.21981438738950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518696267332973</c:v>
                </c:pt>
              </c:numCache>
            </c:numRef>
          </c:xVal>
          <c:yVal>
            <c:numRef>
              <c:f>Sheet1!$B$179:$B$180</c:f>
              <c:numCache>
                <c:formatCode>General</c:formatCode>
                <c:ptCount val="2"/>
                <c:pt idx="0">
                  <c:v>0.18548179775267795</c:v>
                </c:pt>
                <c:pt idx="1">
                  <c:v>0.1854817977526779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518696267332973</c:v>
                </c:pt>
                <c:pt idx="1">
                  <c:v>2.1518696267332973</c:v>
                </c:pt>
              </c:numCache>
            </c:numRef>
          </c:xVal>
          <c:yVal>
            <c:numRef>
              <c:f>Sheet1!$B$183:$B$184</c:f>
              <c:numCache>
                <c:formatCode>General</c:formatCode>
                <c:ptCount val="2"/>
                <c:pt idx="0">
                  <c:v>0.1854817977526779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049414827773172</c:v>
                </c:pt>
                <c:pt idx="1">
                  <c:v>1.9259123633123911</c:v>
                </c:pt>
                <c:pt idx="2">
                  <c:v>1.8914228094908434</c:v>
                </c:pt>
                <c:pt idx="3">
                  <c:v>1.8927016937232042</c:v>
                </c:pt>
                <c:pt idx="4">
                  <c:v>1.889242880013645</c:v>
                </c:pt>
                <c:pt idx="5">
                  <c:v>1.9028861062867644</c:v>
                </c:pt>
                <c:pt idx="6">
                  <c:v>1.8204572283102287</c:v>
                </c:pt>
                <c:pt idx="7">
                  <c:v>1.9328146185299244</c:v>
                </c:pt>
                <c:pt idx="8">
                  <c:v>1.9928785193489789</c:v>
                </c:pt>
                <c:pt idx="9">
                  <c:v>1.9823717234745972</c:v>
                </c:pt>
                <c:pt idx="10">
                  <c:v>2.027607103397119</c:v>
                </c:pt>
                <c:pt idx="11">
                  <c:v>1.7660224959747868</c:v>
                </c:pt>
                <c:pt idx="12">
                  <c:v>1.753479959506044</c:v>
                </c:pt>
                <c:pt idx="13">
                  <c:v>1.9242022119489406</c:v>
                </c:pt>
                <c:pt idx="14">
                  <c:v>1.9510064201678121</c:v>
                </c:pt>
                <c:pt idx="15">
                  <c:v>1.9887035650333713</c:v>
                </c:pt>
                <c:pt idx="16">
                  <c:v>2.0910408335085635</c:v>
                </c:pt>
                <c:pt idx="17">
                  <c:v>2.0523699636886414</c:v>
                </c:pt>
                <c:pt idx="18">
                  <c:v>2.0643972591079747</c:v>
                </c:pt>
                <c:pt idx="19">
                  <c:v>2.0042904473843226</c:v>
                </c:pt>
                <c:pt idx="20">
                  <c:v>2.046228797257956</c:v>
                </c:pt>
                <c:pt idx="21">
                  <c:v>1.9024162182553628</c:v>
                </c:pt>
                <c:pt idx="22">
                  <c:v>1.8391275936369924</c:v>
                </c:pt>
                <c:pt idx="23">
                  <c:v>1.8612273903315286</c:v>
                </c:pt>
                <c:pt idx="24">
                  <c:v>1.9701787452944637</c:v>
                </c:pt>
                <c:pt idx="25">
                  <c:v>1.9415108651972364</c:v>
                </c:pt>
                <c:pt idx="26">
                  <c:v>2.0025474280418907</c:v>
                </c:pt>
                <c:pt idx="27">
                  <c:v>1.943331041336052</c:v>
                </c:pt>
                <c:pt idx="28">
                  <c:v>2.0350092904797266</c:v>
                </c:pt>
                <c:pt idx="29">
                  <c:v>2.0156722354813046</c:v>
                </c:pt>
                <c:pt idx="30">
                  <c:v>1.968093516010833</c:v>
                </c:pt>
                <c:pt idx="31">
                  <c:v>1.986428779887441</c:v>
                </c:pt>
                <c:pt idx="32">
                  <c:v>2.089471655649974</c:v>
                </c:pt>
                <c:pt idx="33">
                  <c:v>1.9863571875423354</c:v>
                </c:pt>
                <c:pt idx="34">
                  <c:v>2.055140872193285</c:v>
                </c:pt>
                <c:pt idx="35">
                  <c:v>2.100151928581117</c:v>
                </c:pt>
                <c:pt idx="36">
                  <c:v>2.1485331715210356</c:v>
                </c:pt>
                <c:pt idx="37">
                  <c:v>2.0084488753693157</c:v>
                </c:pt>
                <c:pt idx="38">
                  <c:v>2.031689950576606</c:v>
                </c:pt>
                <c:pt idx="39">
                  <c:v>1.8192274365711594</c:v>
                </c:pt>
                <c:pt idx="40">
                  <c:v>2.0500447194271225</c:v>
                </c:pt>
                <c:pt idx="41">
                  <c:v>2.0844563069616564</c:v>
                </c:pt>
                <c:pt idx="42">
                  <c:v>1.9639258831352193</c:v>
                </c:pt>
                <c:pt idx="43">
                  <c:v>2.0603019303599543</c:v>
                </c:pt>
                <c:pt idx="44">
                  <c:v>1.8742503417193848</c:v>
                </c:pt>
                <c:pt idx="45">
                  <c:v>1.88658824290721</c:v>
                </c:pt>
                <c:pt idx="46">
                  <c:v>1.9617650338743955</c:v>
                </c:pt>
                <c:pt idx="47">
                  <c:v>1.8696145253573537</c:v>
                </c:pt>
                <c:pt idx="48">
                  <c:v>1.947078802189816</c:v>
                </c:pt>
                <c:pt idx="49">
                  <c:v>1.9697780405279888</c:v>
                </c:pt>
                <c:pt idx="50">
                  <c:v>1.7711153952612708</c:v>
                </c:pt>
                <c:pt idx="51">
                  <c:v>1.7278391707494838</c:v>
                </c:pt>
                <c:pt idx="52">
                  <c:v>1.7611506398974373</c:v>
                </c:pt>
                <c:pt idx="53">
                  <c:v>1.1773209898280552</c:v>
                </c:pt>
                <c:pt idx="54">
                  <c:v>2.1518696267332973</c:v>
                </c:pt>
              </c:numCache>
            </c:numRef>
          </c:xVal>
          <c:yVal>
            <c:numRef>
              <c:f>Sheet1!$B$187:$B$241</c:f>
              <c:numCache>
                <c:formatCode>General</c:formatCode>
                <c:ptCount val="55"/>
                <c:pt idx="0">
                  <c:v>0.20717944471086092</c:v>
                </c:pt>
                <c:pt idx="1">
                  <c:v>0.20533672741277365</c:v>
                </c:pt>
                <c:pt idx="2">
                  <c:v>0.20836733441680394</c:v>
                </c:pt>
                <c:pt idx="3">
                  <c:v>0.20825495849185024</c:v>
                </c:pt>
                <c:pt idx="4">
                  <c:v>0.20855888544631485</c:v>
                </c:pt>
                <c:pt idx="5">
                  <c:v>0.207360051233648</c:v>
                </c:pt>
                <c:pt idx="6">
                  <c:v>0.21460310042537098</c:v>
                </c:pt>
                <c:pt idx="7">
                  <c:v>0.20473022426361454</c:v>
                </c:pt>
                <c:pt idx="8">
                  <c:v>0.19945239204074938</c:v>
                </c:pt>
                <c:pt idx="9">
                  <c:v>0.20037562721310245</c:v>
                </c:pt>
                <c:pt idx="10">
                  <c:v>0.1964007813820289</c:v>
                </c:pt>
                <c:pt idx="11">
                  <c:v>0.21938629599617704</c:v>
                </c:pt>
                <c:pt idx="12">
                  <c:v>0.220488412279477</c:v>
                </c:pt>
                <c:pt idx="13">
                  <c:v>0.20548699890445027</c:v>
                </c:pt>
                <c:pt idx="14">
                  <c:v>0.20313170542672349</c:v>
                </c:pt>
                <c:pt idx="15">
                  <c:v>0.19981924647603297</c:v>
                </c:pt>
                <c:pt idx="16">
                  <c:v>0.1908268412910033</c:v>
                </c:pt>
                <c:pt idx="17">
                  <c:v>0.19422486173320977</c:v>
                </c:pt>
                <c:pt idx="18">
                  <c:v>0.19316801982896337</c:v>
                </c:pt>
                <c:pt idx="19">
                  <c:v>0.19844962264534494</c:v>
                </c:pt>
                <c:pt idx="20">
                  <c:v>0.1947644877919883</c:v>
                </c:pt>
                <c:pt idx="21">
                  <c:v>0.20740134042997813</c:v>
                </c:pt>
                <c:pt idx="22">
                  <c:v>0.2129625300596348</c:v>
                </c:pt>
                <c:pt idx="23">
                  <c:v>0.21102061457424912</c:v>
                </c:pt>
                <c:pt idx="24">
                  <c:v>0.20144702770914527</c:v>
                </c:pt>
                <c:pt idx="25">
                  <c:v>0.20396608257030377</c:v>
                </c:pt>
                <c:pt idx="26">
                  <c:v>0.19860278225577846</c:v>
                </c:pt>
                <c:pt idx="27">
                  <c:v>0.20380614317000287</c:v>
                </c:pt>
                <c:pt idx="28">
                  <c:v>0.19575034907624253</c:v>
                </c:pt>
                <c:pt idx="29">
                  <c:v>0.19744950165498432</c:v>
                </c:pt>
                <c:pt idx="30">
                  <c:v>0.20163025740543758</c:v>
                </c:pt>
                <c:pt idx="31">
                  <c:v>0.2000191325004098</c:v>
                </c:pt>
                <c:pt idx="32">
                  <c:v>0.1909647254003025</c:v>
                </c:pt>
                <c:pt idx="33">
                  <c:v>0.20002542334034457</c:v>
                </c:pt>
                <c:pt idx="34">
                  <c:v>0.19398138120675387</c:v>
                </c:pt>
                <c:pt idx="35">
                  <c:v>0.19002624674912738</c:v>
                </c:pt>
                <c:pt idx="36">
                  <c:v>0.1857749730308283</c:v>
                </c:pt>
                <c:pt idx="37">
                  <c:v>0.1980842203834809</c:v>
                </c:pt>
                <c:pt idx="38">
                  <c:v>0.196042020427261</c:v>
                </c:pt>
                <c:pt idx="39">
                  <c:v>0.21471116257883363</c:v>
                </c:pt>
                <c:pt idx="40">
                  <c:v>0.19442918161457157</c:v>
                </c:pt>
                <c:pt idx="41">
                  <c:v>0.1914054255305829</c:v>
                </c:pt>
                <c:pt idx="42">
                  <c:v>0.20199646850368527</c:v>
                </c:pt>
                <c:pt idx="43">
                  <c:v>0.19352787754274461</c:v>
                </c:pt>
                <c:pt idx="44">
                  <c:v>0.2098762840939712</c:v>
                </c:pt>
                <c:pt idx="45">
                  <c:v>0.2087921491716024</c:v>
                </c:pt>
                <c:pt idx="46">
                  <c:v>0.20218634294910112</c:v>
                </c:pt>
                <c:pt idx="47">
                  <c:v>0.21028363460969146</c:v>
                </c:pt>
                <c:pt idx="48">
                  <c:v>0.2034768263469551</c:v>
                </c:pt>
                <c:pt idx="49">
                  <c:v>0.20148223775210813</c:v>
                </c:pt>
                <c:pt idx="50">
                  <c:v>0.21893878147255347</c:v>
                </c:pt>
                <c:pt idx="51">
                  <c:v>0.2227414757547703</c:v>
                </c:pt>
                <c:pt idx="52">
                  <c:v>0.2198143873895026</c:v>
                </c:pt>
                <c:pt idx="53">
                  <c:v>0.27111566649028923</c:v>
                </c:pt>
                <c:pt idx="54">
                  <c:v>0.185481797752677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027576197387513"/>
          <c:min val="0.11807718348002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4494854326714017</c:v>
                </c:pt>
                <c:pt idx="5">
                  <c:v>0.00016504373659019642</c:v>
                </c:pt>
                <c:pt idx="6">
                  <c:v>0.00024154589371980676</c:v>
                </c:pt>
                <c:pt idx="7">
                  <c:v>0.00021376656690893543</c:v>
                </c:pt>
                <c:pt idx="8">
                  <c:v>0.0002021018593371059</c:v>
                </c:pt>
                <c:pt idx="9">
                  <c:v>0.00018234865061998541</c:v>
                </c:pt>
                <c:pt idx="10">
                  <c:v>0.00038550501156515033</c:v>
                </c:pt>
                <c:pt idx="11">
                  <c:v>0.0004048582995951417</c:v>
                </c:pt>
                <c:pt idx="12">
                  <c:v>0.0004104247896572953</c:v>
                </c:pt>
                <c:pt idx="13">
                  <c:v>0.0005138746145940391</c:v>
                </c:pt>
                <c:pt idx="14">
                  <c:v>0.0006572461386789353</c:v>
                </c:pt>
                <c:pt idx="15">
                  <c:v>0.0006626905235255136</c:v>
                </c:pt>
                <c:pt idx="16">
                  <c:v>0.0003843197540353574</c:v>
                </c:pt>
                <c:pt idx="17">
                  <c:v>0.0006693440428380187</c:v>
                </c:pt>
                <c:pt idx="18">
                  <c:v>0.0007473841554559044</c:v>
                </c:pt>
                <c:pt idx="19">
                  <c:v>0.0006607201850016518</c:v>
                </c:pt>
                <c:pt idx="20">
                  <c:v>0.0007895775759968417</c:v>
                </c:pt>
                <c:pt idx="21">
                  <c:v>0.0</c:v>
                </c:pt>
                <c:pt idx="22">
                  <c:v>0.002144082332761578</c:v>
                </c:pt>
                <c:pt idx="23">
                  <c:v>0.0011001100110011</c:v>
                </c:pt>
                <c:pt idx="24">
                  <c:v>0.001143728555089592</c:v>
                </c:pt>
                <c:pt idx="25">
                  <c:v>0.0014534883720930232</c:v>
                </c:pt>
                <c:pt idx="26">
                  <c:v>0.0010003334444814939</c:v>
                </c:pt>
                <c:pt idx="27">
                  <c:v>0.0014097744360902255</c:v>
                </c:pt>
                <c:pt idx="28">
                  <c:v>0.0015739769150052466</c:v>
                </c:pt>
                <c:pt idx="29">
                  <c:v>0.0020714655618850335</c:v>
                </c:pt>
                <c:pt idx="30">
                  <c:v>0.0017833259028087382</c:v>
                </c:pt>
                <c:pt idx="31">
                  <c:v>0.0012706480304955528</c:v>
                </c:pt>
                <c:pt idx="32">
                  <c:v>0.001447178002894356</c:v>
                </c:pt>
                <c:pt idx="33">
                  <c:v>0.0012320328542094457</c:v>
                </c:pt>
                <c:pt idx="34">
                  <c:v>0.0018501387604070306</c:v>
                </c:pt>
                <c:pt idx="35">
                  <c:v>0.002234137622877569</c:v>
                </c:pt>
                <c:pt idx="36">
                  <c:v>0.002158894645941278</c:v>
                </c:pt>
                <c:pt idx="37">
                  <c:v>0.0020797227036395147</c:v>
                </c:pt>
                <c:pt idx="38">
                  <c:v>0.0016886187098953055</c:v>
                </c:pt>
                <c:pt idx="39">
                  <c:v>0.001594896331738437</c:v>
                </c:pt>
                <c:pt idx="40">
                  <c:v>0.0020057306590257878</c:v>
                </c:pt>
                <c:pt idx="41">
                  <c:v>0.002429906542056075</c:v>
                </c:pt>
                <c:pt idx="42">
                  <c:v>0.0028363765289842226</c:v>
                </c:pt>
                <c:pt idx="43">
                  <c:v>0.0029218407596785976</c:v>
                </c:pt>
                <c:pt idx="44">
                  <c:v>0.0026378595653812334</c:v>
                </c:pt>
                <c:pt idx="45">
                  <c:v>0.0018461538461538461</c:v>
                </c:pt>
                <c:pt idx="46">
                  <c:v>0.003142183817753339</c:v>
                </c:pt>
                <c:pt idx="47">
                  <c:v>0.001964154186103609</c:v>
                </c:pt>
                <c:pt idx="48">
                  <c:v>0.002242655303879794</c:v>
                </c:pt>
                <c:pt idx="49">
                  <c:v>0.0018944519621109607</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1894387875917594</c:v>
                </c:pt>
                <c:pt idx="1">
                  <c:v>0.0020135917442738486</c:v>
                </c:pt>
                <c:pt idx="2">
                  <c:v>0.001987632508833922</c:v>
                </c:pt>
                <c:pt idx="3">
                  <c:v>0.002410219329959026</c:v>
                </c:pt>
                <c:pt idx="4">
                  <c:v>0.0017605633802816902</c:v>
                </c:pt>
                <c:pt idx="5">
                  <c:v>0.0020470829068577278</c:v>
                </c:pt>
                <c:pt idx="6">
                  <c:v>0.002163097555699762</c:v>
                </c:pt>
                <c:pt idx="7">
                  <c:v>0.0028760425654299686</c:v>
                </c:pt>
                <c:pt idx="8">
                  <c:v>0.004129129129129129</c:v>
                </c:pt>
                <c:pt idx="9">
                  <c:v>0.0037593984962406013</c:v>
                </c:pt>
                <c:pt idx="10">
                  <c:v>0.00352</c:v>
                </c:pt>
                <c:pt idx="11">
                  <c:v>0.0030469226081657527</c:v>
                </c:pt>
                <c:pt idx="12">
                  <c:v>0.0037497070541363956</c:v>
                </c:pt>
                <c:pt idx="13">
                  <c:v>0.00508130081300813</c:v>
                </c:pt>
                <c:pt idx="14">
                  <c:v>0.003942551393973529</c:v>
                </c:pt>
                <c:pt idx="15">
                  <c:v>0.004124365482233503</c:v>
                </c:pt>
                <c:pt idx="16">
                  <c:v>0.0046362339514978606</c:v>
                </c:pt>
                <c:pt idx="17">
                  <c:v>0.0061633281972265025</c:v>
                </c:pt>
                <c:pt idx="18">
                  <c:v>0.003245248029670839</c:v>
                </c:pt>
                <c:pt idx="19">
                  <c:v>0.002574002574002574</c:v>
                </c:pt>
                <c:pt idx="20">
                  <c:v>0.002938295788442703</c:v>
                </c:pt>
                <c:pt idx="21">
                  <c:v>0.003005259203606311</c:v>
                </c:pt>
                <c:pt idx="22">
                  <c:v>0.004329004329004329</c:v>
                </c:pt>
                <c:pt idx="23">
                  <c:v>0.003328894806924101</c:v>
                </c:pt>
                <c:pt idx="24">
                  <c:v>0.003357582540570789</c:v>
                </c:pt>
                <c:pt idx="25">
                  <c:v>0.0029120559114735</c:v>
                </c:pt>
                <c:pt idx="26">
                  <c:v>0.0036101083032490976</c:v>
                </c:pt>
                <c:pt idx="27">
                  <c:v>0.003933566433566434</c:v>
                </c:pt>
                <c:pt idx="28">
                  <c:v>0.002824858757062147</c:v>
                </c:pt>
                <c:pt idx="29">
                  <c:v>0.003227293683725219</c:v>
                </c:pt>
                <c:pt idx="30">
                  <c:v>0.003750586029067042</c:v>
                </c:pt>
                <c:pt idx="31">
                  <c:v>0.002890173410404624</c:v>
                </c:pt>
                <c:pt idx="32">
                  <c:v>0.0024630541871921183</c:v>
                </c:pt>
                <c:pt idx="33">
                  <c:v>0.002102102102102102</c:v>
                </c:pt>
                <c:pt idx="34">
                  <c:v>0.0021404109589041095</c:v>
                </c:pt>
                <c:pt idx="35">
                  <c:v>0.00278473962684489</c:v>
                </c:pt>
                <c:pt idx="36">
                  <c:v>0.00425531914893617</c:v>
                </c:pt>
                <c:pt idx="37">
                  <c:v>0.0037611659614480487</c:v>
                </c:pt>
                <c:pt idx="38">
                  <c:v>0.0035052578868302454</c:v>
                </c:pt>
                <c:pt idx="39">
                  <c:v>0.0025197984161267097</c:v>
                </c:pt>
                <c:pt idx="40">
                  <c:v>0.0032719836400817996</c:v>
                </c:pt>
                <c:pt idx="41">
                  <c:v>0.002692307692307692</c:v>
                </c:pt>
                <c:pt idx="42">
                  <c:v>0.0017123287671232876</c:v>
                </c:pt>
                <c:pt idx="43">
                  <c:v>0.0018018018018018018</c:v>
                </c:pt>
                <c:pt idx="44">
                  <c:v>0.002015621063240111</c:v>
                </c:pt>
                <c:pt idx="45">
                  <c:v>0.0011784511784511784</c:v>
                </c:pt>
                <c:pt idx="46">
                  <c:v>0.0015631978561857973</c:v>
                </c:pt>
                <c:pt idx="47">
                  <c:v>0.0012586532410320957</c:v>
                </c:pt>
                <c:pt idx="48">
                  <c:v>0.0020069330414158</c:v>
                </c:pt>
                <c:pt idx="49">
                  <c:v>0.0015589814654425776</c:v>
                </c:pt>
                <c:pt idx="50">
                  <c:v>0.0011036309458117206</c:v>
                </c:pt>
                <c:pt idx="51">
                  <c:v>0.0018832391713747645</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55.729082602815</c:v>
                </c:pt>
              </c:numCache>
            </c:numRef>
          </c:xVal>
          <c:yVal>
            <c:numRef>
              <c:f>Sheet1!$B$108:$B$109</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55.729082602815</c:v>
                </c:pt>
                <c:pt idx="1">
                  <c:v>3355.729082602815</c:v>
                </c:pt>
              </c:numCache>
            </c:numRef>
          </c:xVal>
          <c:yVal>
            <c:numRef>
              <c:f>Sheet1!$B$112:$B$113</c:f>
              <c:numCache>
                <c:formatCode>General</c:formatCode>
                <c:ptCount val="2"/>
                <c:pt idx="0">
                  <c:v>0.00382973950709266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55.729082602815</c:v>
                </c:pt>
              </c:numCache>
            </c:numRef>
          </c:xVal>
          <c:yVal>
            <c:numRef>
              <c:f>Sheet1!$B$116:$B$117</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55.729082602815</c:v>
                </c:pt>
                <c:pt idx="1">
                  <c:v>3355.729082602815</c:v>
                </c:pt>
              </c:numCache>
            </c:numRef>
          </c:xVal>
          <c:yVal>
            <c:numRef>
              <c:f>Sheet1!$B$120:$B$121</c:f>
              <c:numCache>
                <c:formatCode>General</c:formatCode>
                <c:ptCount val="2"/>
                <c:pt idx="0">
                  <c:v>0.00382973950709266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66.073341044709</c:v>
                </c:pt>
              </c:numCache>
            </c:numRef>
          </c:xVal>
          <c:yVal>
            <c:numRef>
              <c:f>Sheet1!$B$124:$B$125</c:f>
              <c:numCache>
                <c:formatCode>General</c:formatCode>
                <c:ptCount val="2"/>
                <c:pt idx="0">
                  <c:v>0.0018897637138765642</c:v>
                </c:pt>
                <c:pt idx="1">
                  <c:v>0.0018897637138765642</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66.073341044709</c:v>
                </c:pt>
                <c:pt idx="1">
                  <c:v>4966.073341044709</c:v>
                </c:pt>
              </c:numCache>
            </c:numRef>
          </c:xVal>
          <c:yVal>
            <c:numRef>
              <c:f>Sheet1!$B$128:$B$129</c:f>
              <c:numCache>
                <c:formatCode>General</c:formatCode>
                <c:ptCount val="2"/>
                <c:pt idx="0">
                  <c:v>0.00188976371387656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55.729082602815</c:v>
                </c:pt>
                <c:pt idx="53">
                  <c:v>3355.729082602815</c:v>
                </c:pt>
                <c:pt idx="54">
                  <c:v>4966.073341044709</c:v>
                </c:pt>
              </c:numCache>
            </c:numRef>
          </c:xVal>
          <c:yVal>
            <c:numRef>
              <c:f>Sheet1!$B$132:$B$186</c:f>
              <c:numCache>
                <c:formatCode>General</c:formatCode>
                <c:ptCount val="55"/>
                <c:pt idx="0">
                  <c:v>0.003084007289307825</c:v>
                </c:pt>
                <c:pt idx="1">
                  <c:v>0.003485773510192523</c:v>
                </c:pt>
                <c:pt idx="2">
                  <c:v>0.003079155013492295</c:v>
                </c:pt>
                <c:pt idx="3">
                  <c:v>0.0034878817287428924</c:v>
                </c:pt>
                <c:pt idx="4">
                  <c:v>0.0019528404576537152</c:v>
                </c:pt>
                <c:pt idx="5">
                  <c:v>0.0026864575055238664</c:v>
                </c:pt>
                <c:pt idx="6">
                  <c:v>0.002388716811395971</c:v>
                </c:pt>
                <c:pt idx="7">
                  <c:v>0.0029820297462856667</c:v>
                </c:pt>
                <c:pt idx="8">
                  <c:v>0.0037984195504107933</c:v>
                </c:pt>
                <c:pt idx="9">
                  <c:v>0.002662938580784838</c:v>
                </c:pt>
                <c:pt idx="10">
                  <c:v>0.0028154968646763546</c:v>
                </c:pt>
                <c:pt idx="11">
                  <c:v>0.0030994475205618367</c:v>
                </c:pt>
                <c:pt idx="12">
                  <c:v>0.0031043365396149596</c:v>
                </c:pt>
                <c:pt idx="13">
                  <c:v>0.003984638254025666</c:v>
                </c:pt>
                <c:pt idx="14">
                  <c:v>0.0032786087517574928</c:v>
                </c:pt>
                <c:pt idx="15">
                  <c:v>0.003586991130779496</c:v>
                </c:pt>
                <c:pt idx="16">
                  <c:v>0.0036652963912217913</c:v>
                </c:pt>
                <c:pt idx="17">
                  <c:v>0.004089627537834066</c:v>
                </c:pt>
                <c:pt idx="18">
                  <c:v>0.002525415388776768</c:v>
                </c:pt>
                <c:pt idx="19">
                  <c:v>0.0022418242142715327</c:v>
                </c:pt>
                <c:pt idx="20">
                  <c:v>0.0032019671769255185</c:v>
                </c:pt>
                <c:pt idx="21">
                  <c:v>0.002675615238693394</c:v>
                </c:pt>
                <c:pt idx="22">
                  <c:v>0.0029981726768999245</c:v>
                </c:pt>
                <c:pt idx="23">
                  <c:v>0.00324417166432018</c:v>
                </c:pt>
                <c:pt idx="24">
                  <c:v>0.0023667109852279515</c:v>
                </c:pt>
                <c:pt idx="25">
                  <c:v>0.0028738480172438505</c:v>
                </c:pt>
                <c:pt idx="26">
                  <c:v>0.002713692195575328</c:v>
                </c:pt>
                <c:pt idx="27">
                  <c:v>0.0032917170523555335</c:v>
                </c:pt>
                <c:pt idx="28">
                  <c:v>0.003742825586298287</c:v>
                </c:pt>
                <c:pt idx="29">
                  <c:v>0.0031831795764920455</c:v>
                </c:pt>
                <c:pt idx="30">
                  <c:v>0.0037937240055857784</c:v>
                </c:pt>
                <c:pt idx="31">
                  <c:v>0.003122858745450348</c:v>
                </c:pt>
                <c:pt idx="32">
                  <c:v>0.0015485214852785983</c:v>
                </c:pt>
                <c:pt idx="33">
                  <c:v>0.0020521418882828496</c:v>
                </c:pt>
                <c:pt idx="34">
                  <c:v>0.0022000613685457648</c:v>
                </c:pt>
                <c:pt idx="35">
                  <c:v>0.0027302482165558264</c:v>
                </c:pt>
                <c:pt idx="36">
                  <c:v>0.0030172972308925624</c:v>
                </c:pt>
                <c:pt idx="37">
                  <c:v>0.0025086142120962695</c:v>
                </c:pt>
                <c:pt idx="38">
                  <c:v>0.0034139650565046774</c:v>
                </c:pt>
                <c:pt idx="39">
                  <c:v>0.0031119304633030215</c:v>
                </c:pt>
                <c:pt idx="40">
                  <c:v>0.0035630246613596326</c:v>
                </c:pt>
                <c:pt idx="41">
                  <c:v>0.002064188851427818</c:v>
                </c:pt>
                <c:pt idx="42">
                  <c:v>0.0015600664514693156</c:v>
                </c:pt>
                <c:pt idx="43">
                  <c:v>0.002682140717220129</c:v>
                </c:pt>
                <c:pt idx="44">
                  <c:v>0.0026641706237056743</c:v>
                </c:pt>
                <c:pt idx="45">
                  <c:v>0.002083980325300161</c:v>
                </c:pt>
                <c:pt idx="46">
                  <c:v>0.002179667546516173</c:v>
                </c:pt>
                <c:pt idx="47">
                  <c:v>0.002157896997538375</c:v>
                </c:pt>
                <c:pt idx="48">
                  <c:v>0.003938492964047022</c:v>
                </c:pt>
                <c:pt idx="49">
                  <c:v>0.0027501390778741155</c:v>
                </c:pt>
                <c:pt idx="50">
                  <c:v>0.0021665708110027524</c:v>
                </c:pt>
                <c:pt idx="51">
                  <c:v>0.00320995828898847</c:v>
                </c:pt>
                <c:pt idx="52">
                  <c:v>0.0038297395070926695</c:v>
                </c:pt>
                <c:pt idx="53">
                  <c:v>0.0038297395070926695</c:v>
                </c:pt>
                <c:pt idx="54">
                  <c:v>0.00188976371387656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9599383667180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0.7185</c:v>
                </c:pt>
                <c:pt idx="1">
                  <c:v>861.5763</c:v>
                </c:pt>
                <c:pt idx="2">
                  <c:v>862.1214</c:v>
                </c:pt>
                <c:pt idx="3">
                  <c:v>894.0044</c:v>
                </c:pt>
                <c:pt idx="4">
                  <c:v>900.6305</c:v>
                </c:pt>
                <c:pt idx="5">
                  <c:v>886.7865</c:v>
                </c:pt>
                <c:pt idx="6">
                  <c:v>835.7996</c:v>
                </c:pt>
                <c:pt idx="7">
                  <c:v>864.5198</c:v>
                </c:pt>
                <c:pt idx="8">
                  <c:v>857.5458</c:v>
                </c:pt>
                <c:pt idx="9">
                  <c:v>889.4805</c:v>
                </c:pt>
                <c:pt idx="10">
                  <c:v>887.9721</c:v>
                </c:pt>
                <c:pt idx="11">
                  <c:v>956.9744</c:v>
                </c:pt>
                <c:pt idx="12">
                  <c:v>924.4291</c:v>
                </c:pt>
                <c:pt idx="13">
                  <c:v>923.5527</c:v>
                </c:pt>
                <c:pt idx="14">
                  <c:v>957.2209</c:v>
                </c:pt>
                <c:pt idx="15">
                  <c:v>987.0597</c:v>
                </c:pt>
                <c:pt idx="16">
                  <c:v>1024.2797</c:v>
                </c:pt>
                <c:pt idx="17">
                  <c:v>1031.3109</c:v>
                </c:pt>
                <c:pt idx="18">
                  <c:v>1060.7156</c:v>
                </c:pt>
                <c:pt idx="19">
                  <c:v>1046.7828</c:v>
                </c:pt>
                <c:pt idx="20">
                  <c:v>1055.2385</c:v>
                </c:pt>
                <c:pt idx="21">
                  <c:v>1098.5799</c:v>
                </c:pt>
                <c:pt idx="22">
                  <c:v>1034.4613</c:v>
                </c:pt>
                <c:pt idx="23">
                  <c:v>1042.9502</c:v>
                </c:pt>
                <c:pt idx="24">
                  <c:v>1031.9572</c:v>
                </c:pt>
                <c:pt idx="25">
                  <c:v>961.8361</c:v>
                </c:pt>
                <c:pt idx="26">
                  <c:v>920.6216</c:v>
                </c:pt>
                <c:pt idx="27">
                  <c:v>963.2587</c:v>
                </c:pt>
                <c:pt idx="28">
                  <c:v>901.8386</c:v>
                </c:pt>
                <c:pt idx="29">
                  <c:v>914.5609</c:v>
                </c:pt>
                <c:pt idx="30">
                  <c:v>931.809</c:v>
                </c:pt>
                <c:pt idx="31">
                  <c:v>841.5683</c:v>
                </c:pt>
                <c:pt idx="32">
                  <c:v>929.7409</c:v>
                </c:pt>
                <c:pt idx="33">
                  <c:v>863.1877</c:v>
                </c:pt>
                <c:pt idx="34">
                  <c:v>894.3612</c:v>
                </c:pt>
                <c:pt idx="35">
                  <c:v>935.7198</c:v>
                </c:pt>
                <c:pt idx="36">
                  <c:v>1006.8873</c:v>
                </c:pt>
                <c:pt idx="37">
                  <c:v>1036.3417</c:v>
                </c:pt>
                <c:pt idx="38">
                  <c:v>1070.3204</c:v>
                </c:pt>
                <c:pt idx="39">
                  <c:v>1058.1141</c:v>
                </c:pt>
                <c:pt idx="40">
                  <c:v>1035.0753</c:v>
                </c:pt>
                <c:pt idx="41">
                  <c:v>1060.1297</c:v>
                </c:pt>
                <c:pt idx="42">
                  <c:v>1160.7268</c:v>
                </c:pt>
                <c:pt idx="43">
                  <c:v>1118.9362</c:v>
                </c:pt>
                <c:pt idx="44">
                  <c:v>1010.3415</c:v>
                </c:pt>
                <c:pt idx="45">
                  <c:v>984.8524</c:v>
                </c:pt>
                <c:pt idx="46">
                  <c:v>1002.8664</c:v>
                </c:pt>
                <c:pt idx="47">
                  <c:v>1000.5546</c:v>
                </c:pt>
                <c:pt idx="48">
                  <c:v>1034.4952</c:v>
                </c:pt>
                <c:pt idx="49">
                  <c:v>1016.3084</c:v>
                </c:pt>
                <c:pt idx="50">
                  <c:v>1010.3734</c:v>
                </c:pt>
                <c:pt idx="51">
                  <c:v>1056.6698</c:v>
                </c:pt>
                <c:pt idx="52">
                  <c:v>1071.4912</c:v>
                </c:pt>
                <c:pt idx="53">
                  <c:v>1135.4071</c:v>
                </c:pt>
                <c:pt idx="54">
                  <c:v>1113.7735</c:v>
                </c:pt>
                <c:pt idx="55">
                  <c:v>1115.6489</c:v>
                </c:pt>
                <c:pt idx="56">
                  <c:v>1106.6329</c:v>
                </c:pt>
                <c:pt idx="57">
                  <c:v>1058.4455</c:v>
                </c:pt>
                <c:pt idx="58">
                  <c:v>1111.521</c:v>
                </c:pt>
                <c:pt idx="59">
                  <c:v>1056.8341</c:v>
                </c:pt>
                <c:pt idx="60">
                  <c:v>1064.3955</c:v>
                </c:pt>
                <c:pt idx="61">
                  <c:v>1159.9663</c:v>
                </c:pt>
                <c:pt idx="62">
                  <c:v>1125.1246</c:v>
                </c:pt>
                <c:pt idx="63">
                  <c:v>1121.0581</c:v>
                </c:pt>
                <c:pt idx="64">
                  <c:v>1149.7807</c:v>
                </c:pt>
                <c:pt idx="65">
                  <c:v>1098.1468</c:v>
                </c:pt>
                <c:pt idx="66">
                  <c:v>1144.6296</c:v>
                </c:pt>
                <c:pt idx="67">
                  <c:v>1167.7203</c:v>
                </c:pt>
                <c:pt idx="68">
                  <c:v>1138.7604</c:v>
                </c:pt>
                <c:pt idx="69">
                  <c:v>1162.5839</c:v>
                </c:pt>
                <c:pt idx="70">
                  <c:v>1140.8423</c:v>
                </c:pt>
                <c:pt idx="71">
                  <c:v>1214.8533</c:v>
                </c:pt>
                <c:pt idx="72">
                  <c:v>1221.2418</c:v>
                </c:pt>
                <c:pt idx="73">
                  <c:v>1248.4601</c:v>
                </c:pt>
                <c:pt idx="74">
                  <c:v>1248.8679</c:v>
                </c:pt>
                <c:pt idx="75">
                  <c:v>1216.4874</c:v>
                </c:pt>
                <c:pt idx="76">
                  <c:v>1102.741</c:v>
                </c:pt>
                <c:pt idx="77">
                  <c:v>957.0126</c:v>
                </c:pt>
                <c:pt idx="78">
                  <c:v>1231.5389</c:v>
                </c:pt>
                <c:pt idx="79">
                  <c:v>1222.096</c:v>
                </c:pt>
                <c:pt idx="80">
                  <c:v>1241.2298</c:v>
                </c:pt>
                <c:pt idx="81">
                  <c:v>1132.0145</c:v>
                </c:pt>
                <c:pt idx="82">
                  <c:v>1118.6352</c:v>
                </c:pt>
                <c:pt idx="83">
                  <c:v>1050.2774</c:v>
                </c:pt>
                <c:pt idx="84">
                  <c:v>1124.8082</c:v>
                </c:pt>
                <c:pt idx="85">
                  <c:v>1177.2531</c:v>
                </c:pt>
                <c:pt idx="86">
                  <c:v>1151.4607</c:v>
                </c:pt>
                <c:pt idx="87">
                  <c:v>1135.8393</c:v>
                </c:pt>
                <c:pt idx="88">
                  <c:v>1213.6879</c:v>
                </c:pt>
                <c:pt idx="89">
                  <c:v>1224.1895</c:v>
                </c:pt>
                <c:pt idx="90">
                  <c:v>1266.375</c:v>
                </c:pt>
                <c:pt idx="91">
                  <c:v>1206.4143</c:v>
                </c:pt>
                <c:pt idx="92">
                  <c:v>1145.7523</c:v>
                </c:pt>
                <c:pt idx="93">
                  <c:v>1238.0981</c:v>
                </c:pt>
                <c:pt idx="94">
                  <c:v>1066.1989</c:v>
                </c:pt>
                <c:pt idx="95">
                  <c:v>1083.6</c:v>
                </c:pt>
                <c:pt idx="96">
                  <c:v>1133.7814</c:v>
                </c:pt>
                <c:pt idx="97">
                  <c:v>1182.5817</c:v>
                </c:pt>
                <c:pt idx="98">
                  <c:v>1204.2119</c:v>
                </c:pt>
                <c:pt idx="99">
                  <c:v>1147.4472</c:v>
                </c:pt>
                <c:pt idx="100">
                  <c:v>1094.2336</c:v>
                </c:pt>
                <c:pt idx="101">
                  <c:v>1099.2496</c:v>
                </c:pt>
                <c:pt idx="102">
                  <c:v>1102.5857</c:v>
                </c:pt>
                <c:pt idx="103">
                  <c:v>1123.7917</c:v>
                </c:pt>
                <c:pt idx="104">
                  <c:v>1147.366</c:v>
                </c:pt>
              </c:numCache>
            </c:numRef>
          </c:xVal>
          <c:yVal>
            <c:numRef>
              <c:f>Sheet1!$B$2:$B$106</c:f>
              <c:numCache>
                <c:formatCode>General</c:formatCode>
                <c:ptCount val="105"/>
                <c:pt idx="0">
                  <c:v>0.23637515842839038</c:v>
                </c:pt>
                <c:pt idx="1">
                  <c:v>0.2533910533910534</c:v>
                </c:pt>
                <c:pt idx="2">
                  <c:v>0.2683311432325887</c:v>
                </c:pt>
                <c:pt idx="3">
                  <c:v>0.2680081656459609</c:v>
                </c:pt>
                <c:pt idx="4">
                  <c:v>0.2599164926931106</c:v>
                </c:pt>
                <c:pt idx="5">
                  <c:v>0.2649969078540507</c:v>
                </c:pt>
                <c:pt idx="6">
                  <c:v>0.3085631349782293</c:v>
                </c:pt>
                <c:pt idx="7">
                  <c:v>0.2972791400738999</c:v>
                </c:pt>
                <c:pt idx="8">
                  <c:v>0.283179802115319</c:v>
                </c:pt>
                <c:pt idx="9">
                  <c:v>0.24709549447435533</c:v>
                </c:pt>
                <c:pt idx="10">
                  <c:v>0.23792486583184258</c:v>
                </c:pt>
                <c:pt idx="11">
                  <c:v>0.23143164693218515</c:v>
                </c:pt>
                <c:pt idx="12">
                  <c:v>0.20707831325301204</c:v>
                </c:pt>
                <c:pt idx="13">
                  <c:v>0.2094226579520697</c:v>
                </c:pt>
                <c:pt idx="14">
                  <c:v>0.18050221565731167</c:v>
                </c:pt>
                <c:pt idx="15">
                  <c:v>0.17851500789889416</c:v>
                </c:pt>
                <c:pt idx="16">
                  <c:v>0.17603344170924293</c:v>
                </c:pt>
                <c:pt idx="17">
                  <c:v>0.15950920245398773</c:v>
                </c:pt>
                <c:pt idx="18">
                  <c:v>0.14759647935003387</c:v>
                </c:pt>
                <c:pt idx="19">
                  <c:v>0.14909638554216867</c:v>
                </c:pt>
                <c:pt idx="20">
                  <c:v>0.15231400117164617</c:v>
                </c:pt>
                <c:pt idx="21">
                  <c:v>0.15973741794310722</c:v>
                </c:pt>
                <c:pt idx="22">
                  <c:v>0.22527015793848712</c:v>
                </c:pt>
                <c:pt idx="23">
                  <c:v>0.2410032715376227</c:v>
                </c:pt>
                <c:pt idx="24">
                  <c:v>0.22386759581881532</c:v>
                </c:pt>
                <c:pt idx="25">
                  <c:v>0.25957446808510637</c:v>
                </c:pt>
                <c:pt idx="26">
                  <c:v>0.26618705035971224</c:v>
                </c:pt>
                <c:pt idx="27">
                  <c:v>0.27057710501419113</c:v>
                </c:pt>
                <c:pt idx="28">
                  <c:v>0.264859228362878</c:v>
                </c:pt>
                <c:pt idx="29">
                  <c:v>0.25755879059350506</c:v>
                </c:pt>
                <c:pt idx="30">
                  <c:v>0.27342549923195086</c:v>
                </c:pt>
                <c:pt idx="31">
                  <c:v>0.2948051948051948</c:v>
                </c:pt>
                <c:pt idx="32">
                  <c:v>0.26570048309178745</c:v>
                </c:pt>
                <c:pt idx="33">
                  <c:v>0.24952198852772467</c:v>
                </c:pt>
                <c:pt idx="34">
                  <c:v>0.2470076169749728</c:v>
                </c:pt>
                <c:pt idx="35">
                  <c:v>0.24975704567541301</c:v>
                </c:pt>
                <c:pt idx="36">
                  <c:v>0.2136409227683049</c:v>
                </c:pt>
                <c:pt idx="37">
                  <c:v>0.20536635706914344</c:v>
                </c:pt>
                <c:pt idx="38">
                  <c:v>0.2117163412127441</c:v>
                </c:pt>
                <c:pt idx="39">
                  <c:v>0.1844059405940594</c:v>
                </c:pt>
                <c:pt idx="40">
                  <c:v>0.18864097363083165</c:v>
                </c:pt>
                <c:pt idx="41">
                  <c:v>0.18839103869653767</c:v>
                </c:pt>
                <c:pt idx="42">
                  <c:v>0.17183098591549295</c:v>
                </c:pt>
                <c:pt idx="43">
                  <c:v>0.17882054533925174</c:v>
                </c:pt>
                <c:pt idx="44">
                  <c:v>0.1948529411764706</c:v>
                </c:pt>
                <c:pt idx="45">
                  <c:v>0.20581509310682783</c:v>
                </c:pt>
                <c:pt idx="46">
                  <c:v>0.2020997375328084</c:v>
                </c:pt>
                <c:pt idx="47">
                  <c:v>0.19476268412438624</c:v>
                </c:pt>
                <c:pt idx="48">
                  <c:v>0.21044738815296177</c:v>
                </c:pt>
                <c:pt idx="49">
                  <c:v>0.22877640494220805</c:v>
                </c:pt>
                <c:pt idx="50">
                  <c:v>0.21186724773717733</c:v>
                </c:pt>
                <c:pt idx="51">
                  <c:v>0.2027702962677953</c:v>
                </c:pt>
                <c:pt idx="52">
                  <c:v>0.20094562647754138</c:v>
                </c:pt>
                <c:pt idx="53">
                  <c:v>0.19343696027633853</c:v>
                </c:pt>
                <c:pt idx="54">
                  <c:v>0.21186110027311744</c:v>
                </c:pt>
                <c:pt idx="55">
                  <c:v>0.20719652036378014</c:v>
                </c:pt>
                <c:pt idx="56">
                  <c:v>0.21487603305785125</c:v>
                </c:pt>
                <c:pt idx="57">
                  <c:v>0.21605117766792672</c:v>
                </c:pt>
                <c:pt idx="58">
                  <c:v>0.20533612346324875</c:v>
                </c:pt>
                <c:pt idx="59">
                  <c:v>0.22294749057151145</c:v>
                </c:pt>
                <c:pt idx="60">
                  <c:v>0.25542372881355935</c:v>
                </c:pt>
                <c:pt idx="61">
                  <c:v>0.24143877802414387</c:v>
                </c:pt>
                <c:pt idx="62">
                  <c:v>0.2566976489885183</c:v>
                </c:pt>
                <c:pt idx="63">
                  <c:v>0.2844506517690875</c:v>
                </c:pt>
                <c:pt idx="64">
                  <c:v>0.25636055245941364</c:v>
                </c:pt>
                <c:pt idx="65">
                  <c:v>0.2403022670025189</c:v>
                </c:pt>
                <c:pt idx="66">
                  <c:v>0.2129897449382067</c:v>
                </c:pt>
                <c:pt idx="67">
                  <c:v>0.20805171907140757</c:v>
                </c:pt>
                <c:pt idx="68">
                  <c:v>0.21642287234042554</c:v>
                </c:pt>
                <c:pt idx="69">
                  <c:v>0.21620348563353745</c:v>
                </c:pt>
                <c:pt idx="70">
                  <c:v>0.19786096256684493</c:v>
                </c:pt>
                <c:pt idx="71">
                  <c:v>0.19691863264323545</c:v>
                </c:pt>
                <c:pt idx="72">
                  <c:v>0.21321160042964554</c:v>
                </c:pt>
                <c:pt idx="73">
                  <c:v>0.2126537785588752</c:v>
                </c:pt>
                <c:pt idx="74">
                  <c:v>0.20622568093385213</c:v>
                </c:pt>
                <c:pt idx="75">
                  <c:v>0.21949286846275753</c:v>
                </c:pt>
                <c:pt idx="76">
                  <c:v>0.23701605288007555</c:v>
                </c:pt>
                <c:pt idx="77">
                  <c:v>0.27413793103448275</c:v>
                </c:pt>
                <c:pt idx="78">
                  <c:v>0.2051009564293305</c:v>
                </c:pt>
                <c:pt idx="79">
                  <c:v>0.18304033092037228</c:v>
                </c:pt>
                <c:pt idx="80">
                  <c:v>0.18421052631578946</c:v>
                </c:pt>
                <c:pt idx="81">
                  <c:v>0.2101522842639594</c:v>
                </c:pt>
                <c:pt idx="82">
                  <c:v>0.2054263565891473</c:v>
                </c:pt>
                <c:pt idx="83">
                  <c:v>0.21830985915492956</c:v>
                </c:pt>
                <c:pt idx="84">
                  <c:v>0.20165745856353592</c:v>
                </c:pt>
                <c:pt idx="85">
                  <c:v>0.1888111888111888</c:v>
                </c:pt>
                <c:pt idx="86">
                  <c:v>0.18892185954500496</c:v>
                </c:pt>
                <c:pt idx="87">
                  <c:v>0.2215628090999011</c:v>
                </c:pt>
                <c:pt idx="88">
                  <c:v>0.1882494004796163</c:v>
                </c:pt>
                <c:pt idx="89">
                  <c:v>0.19391634980988592</c:v>
                </c:pt>
                <c:pt idx="90">
                  <c:v>0.20055710306406685</c:v>
                </c:pt>
                <c:pt idx="91">
                  <c:v>0.18018018018018017</c:v>
                </c:pt>
                <c:pt idx="92">
                  <c:v>0.19006849315068494</c:v>
                </c:pt>
                <c:pt idx="93">
                  <c:v>0.1843238587424634</c:v>
                </c:pt>
                <c:pt idx="94">
                  <c:v>0.218335343787696</c:v>
                </c:pt>
                <c:pt idx="95">
                  <c:v>0.20380434782608695</c:v>
                </c:pt>
                <c:pt idx="96">
                  <c:v>0.18663194444444445</c:v>
                </c:pt>
                <c:pt idx="97">
                  <c:v>0.17884780739466896</c:v>
                </c:pt>
                <c:pt idx="98">
                  <c:v>0.17283046503112412</c:v>
                </c:pt>
                <c:pt idx="99">
                  <c:v>0.18014484007242004</c:v>
                </c:pt>
                <c:pt idx="100">
                  <c:v>0.18724749692604953</c:v>
                </c:pt>
                <c:pt idx="101">
                  <c:v>0.19278252611585944</c:v>
                </c:pt>
                <c:pt idx="102">
                  <c:v>0.19756001574183393</c:v>
                </c:pt>
                <c:pt idx="103">
                  <c:v>0.17431495543083525</c:v>
                </c:pt>
                <c:pt idx="104">
                  <c:v>0.1802108126487589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1.7192</c:v>
                </c:pt>
                <c:pt idx="1">
                  <c:v>1200.1762</c:v>
                </c:pt>
                <c:pt idx="2">
                  <c:v>1178.3653</c:v>
                </c:pt>
                <c:pt idx="3">
                  <c:v>1172.2588</c:v>
                </c:pt>
                <c:pt idx="4">
                  <c:v>1169.6877</c:v>
                </c:pt>
                <c:pt idx="5">
                  <c:v>1175.0845</c:v>
                </c:pt>
                <c:pt idx="6">
                  <c:v>1120.6904</c:v>
                </c:pt>
                <c:pt idx="7">
                  <c:v>1196.4453</c:v>
                </c:pt>
                <c:pt idx="8">
                  <c:v>1240.3929</c:v>
                </c:pt>
                <c:pt idx="9">
                  <c:v>1223.6354</c:v>
                </c:pt>
                <c:pt idx="10">
                  <c:v>1250.8292</c:v>
                </c:pt>
                <c:pt idx="11">
                  <c:v>1077.8747</c:v>
                </c:pt>
                <c:pt idx="12">
                  <c:v>1078.9192</c:v>
                </c:pt>
                <c:pt idx="13">
                  <c:v>1199.1049</c:v>
                </c:pt>
                <c:pt idx="14">
                  <c:v>1208.9542</c:v>
                </c:pt>
                <c:pt idx="15">
                  <c:v>1221.6606</c:v>
                </c:pt>
                <c:pt idx="16">
                  <c:v>1285.79</c:v>
                </c:pt>
                <c:pt idx="17">
                  <c:v>1240.8715</c:v>
                </c:pt>
                <c:pt idx="18">
                  <c:v>1268.453</c:v>
                </c:pt>
                <c:pt idx="19">
                  <c:v>1251.4531</c:v>
                </c:pt>
                <c:pt idx="20">
                  <c:v>1250.4629</c:v>
                </c:pt>
                <c:pt idx="21">
                  <c:v>1181.0607</c:v>
                </c:pt>
                <c:pt idx="22">
                  <c:v>1156.4495</c:v>
                </c:pt>
                <c:pt idx="23">
                  <c:v>1149.2692</c:v>
                </c:pt>
                <c:pt idx="24">
                  <c:v>1210.8624</c:v>
                </c:pt>
                <c:pt idx="25">
                  <c:v>1199.6318</c:v>
                </c:pt>
                <c:pt idx="26">
                  <c:v>1234.343</c:v>
                </c:pt>
                <c:pt idx="27">
                  <c:v>1225.1818</c:v>
                </c:pt>
                <c:pt idx="28">
                  <c:v>1249.199</c:v>
                </c:pt>
                <c:pt idx="29">
                  <c:v>1266.85</c:v>
                </c:pt>
                <c:pt idx="30">
                  <c:v>1235.3723</c:v>
                </c:pt>
                <c:pt idx="31">
                  <c:v>1269.4144</c:v>
                </c:pt>
                <c:pt idx="32">
                  <c:v>1280.4859</c:v>
                </c:pt>
                <c:pt idx="33">
                  <c:v>1250.6957</c:v>
                </c:pt>
                <c:pt idx="34">
                  <c:v>1270.5072</c:v>
                </c:pt>
                <c:pt idx="35">
                  <c:v>1298.974</c:v>
                </c:pt>
                <c:pt idx="36">
                  <c:v>1327.7935</c:v>
                </c:pt>
                <c:pt idx="37">
                  <c:v>1222.8684</c:v>
                </c:pt>
                <c:pt idx="38">
                  <c:v>1233.2358</c:v>
                </c:pt>
                <c:pt idx="39">
                  <c:v>1115.6918</c:v>
                </c:pt>
                <c:pt idx="40">
                  <c:v>1258.8316</c:v>
                </c:pt>
                <c:pt idx="41">
                  <c:v>1260.0924</c:v>
                </c:pt>
                <c:pt idx="42">
                  <c:v>1237.8344</c:v>
                </c:pt>
                <c:pt idx="43">
                  <c:v>1283.0726</c:v>
                </c:pt>
                <c:pt idx="44">
                  <c:v>1157.9709</c:v>
                </c:pt>
                <c:pt idx="45">
                  <c:v>1154.4956</c:v>
                </c:pt>
                <c:pt idx="46">
                  <c:v>1205.023</c:v>
                </c:pt>
                <c:pt idx="47">
                  <c:v>1151.5255</c:v>
                </c:pt>
                <c:pt idx="48">
                  <c:v>1207.5037</c:v>
                </c:pt>
                <c:pt idx="49">
                  <c:v>1208.8126</c:v>
                </c:pt>
                <c:pt idx="50">
                  <c:v>1097.3769</c:v>
                </c:pt>
                <c:pt idx="51">
                  <c:v>1066.8111</c:v>
                </c:pt>
              </c:numCache>
            </c:numRef>
          </c:xVal>
          <c:yVal>
            <c:numRef>
              <c:f>Sheet1!$B$109:$B$160</c:f>
              <c:numCache>
                <c:formatCode>General</c:formatCode>
                <c:ptCount val="52"/>
                <c:pt idx="0">
                  <c:v>0.19588235294117648</c:v>
                </c:pt>
                <c:pt idx="1">
                  <c:v>0.20913385826771655</c:v>
                </c:pt>
                <c:pt idx="2">
                  <c:v>0.2232620320855615</c:v>
                </c:pt>
                <c:pt idx="3">
                  <c:v>0.22563087580405738</c:v>
                </c:pt>
                <c:pt idx="4">
                  <c:v>0.23196166854565953</c:v>
                </c:pt>
                <c:pt idx="5">
                  <c:v>0.22822910578609001</c:v>
                </c:pt>
                <c:pt idx="6">
                  <c:v>0.2193698949824971</c:v>
                </c:pt>
                <c:pt idx="7">
                  <c:v>0.21268057784911718</c:v>
                </c:pt>
                <c:pt idx="8">
                  <c:v>0.19769602378298032</c:v>
                </c:pt>
                <c:pt idx="9">
                  <c:v>0.20432777580702377</c:v>
                </c:pt>
                <c:pt idx="10">
                  <c:v>0.21005917159763313</c:v>
                </c:pt>
                <c:pt idx="11">
                  <c:v>0.2222222222222222</c:v>
                </c:pt>
                <c:pt idx="12">
                  <c:v>0.22340425531914893</c:v>
                </c:pt>
                <c:pt idx="13">
                  <c:v>0.22299077733860342</c:v>
                </c:pt>
                <c:pt idx="14">
                  <c:v>0.2252119424990785</c:v>
                </c:pt>
                <c:pt idx="15">
                  <c:v>0.22132471728594508</c:v>
                </c:pt>
                <c:pt idx="16">
                  <c:v>0.20768136557610242</c:v>
                </c:pt>
                <c:pt idx="17">
                  <c:v>0.2169548243167875</c:v>
                </c:pt>
                <c:pt idx="18">
                  <c:v>0.23070739549839228</c:v>
                </c:pt>
                <c:pt idx="19">
                  <c:v>0.22804428044280442</c:v>
                </c:pt>
                <c:pt idx="20">
                  <c:v>0.21246246246246248</c:v>
                </c:pt>
                <c:pt idx="21">
                  <c:v>0.23219584569732937</c:v>
                </c:pt>
                <c:pt idx="22">
                  <c:v>0.22774480712166173</c:v>
                </c:pt>
                <c:pt idx="23">
                  <c:v>0.23029229406554472</c:v>
                </c:pt>
                <c:pt idx="24">
                  <c:v>0.2070275403608737</c:v>
                </c:pt>
                <c:pt idx="25">
                  <c:v>0.2124735729386892</c:v>
                </c:pt>
                <c:pt idx="26">
                  <c:v>0.1977077363896848</c:v>
                </c:pt>
                <c:pt idx="27">
                  <c:v>0.198</c:v>
                </c:pt>
                <c:pt idx="28">
                  <c:v>0.1865234375</c:v>
                </c:pt>
                <c:pt idx="29">
                  <c:v>0.19347037484885127</c:v>
                </c:pt>
                <c:pt idx="30">
                  <c:v>0.19515669515669515</c:v>
                </c:pt>
                <c:pt idx="31">
                  <c:v>0.1837748344370861</c:v>
                </c:pt>
                <c:pt idx="32">
                  <c:v>0.18758256274768825</c:v>
                </c:pt>
                <c:pt idx="33">
                  <c:v>0.18830409356725147</c:v>
                </c:pt>
                <c:pt idx="34">
                  <c:v>0.2029126213592233</c:v>
                </c:pt>
                <c:pt idx="35">
                  <c:v>0.17559863169897377</c:v>
                </c:pt>
                <c:pt idx="36">
                  <c:v>0.17005545286506468</c:v>
                </c:pt>
                <c:pt idx="37">
                  <c:v>0.18181818181818182</c:v>
                </c:pt>
                <c:pt idx="38">
                  <c:v>0.19202898550724637</c:v>
                </c:pt>
                <c:pt idx="39">
                  <c:v>0.17464114832535885</c:v>
                </c:pt>
                <c:pt idx="40">
                  <c:v>0.1589958158995816</c:v>
                </c:pt>
                <c:pt idx="41">
                  <c:v>0.1702127659574468</c:v>
                </c:pt>
                <c:pt idx="42">
                  <c:v>0.17833698030634573</c:v>
                </c:pt>
                <c:pt idx="43">
                  <c:v>0.16126809097174363</c:v>
                </c:pt>
                <c:pt idx="44">
                  <c:v>0.1762692527096406</c:v>
                </c:pt>
                <c:pt idx="45">
                  <c:v>0.18008726695755653</c:v>
                </c:pt>
                <c:pt idx="46">
                  <c:v>0.19225110348209906</c:v>
                </c:pt>
                <c:pt idx="47">
                  <c:v>0.19831223628691982</c:v>
                </c:pt>
                <c:pt idx="48">
                  <c:v>0.20359820089955022</c:v>
                </c:pt>
                <c:pt idx="49">
                  <c:v>0.19820081253627395</c:v>
                </c:pt>
                <c:pt idx="50">
                  <c:v>0.20818535430407575</c:v>
                </c:pt>
                <c:pt idx="51">
                  <c:v>0.21090434214822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6.3608407137929</c:v>
                </c:pt>
              </c:numCache>
            </c:numRef>
          </c:xVal>
          <c:yVal>
            <c:numRef>
              <c:f>Sheet1!$B$163:$B$164</c:f>
              <c:numCache>
                <c:formatCode>General</c:formatCode>
                <c:ptCount val="2"/>
                <c:pt idx="0">
                  <c:v>0.27111566649028923</c:v>
                </c:pt>
                <c:pt idx="1">
                  <c:v>0.271115666490289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6.3608407137929</c:v>
                </c:pt>
                <c:pt idx="1">
                  <c:v>726.3608407137929</c:v>
                </c:pt>
              </c:numCache>
            </c:numRef>
          </c:xVal>
          <c:yVal>
            <c:numRef>
              <c:f>Sheet1!$B$167:$B$168</c:f>
              <c:numCache>
                <c:formatCode>General</c:formatCode>
                <c:ptCount val="2"/>
                <c:pt idx="0">
                  <c:v>0.271115666490289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8.5780176084243</c:v>
                </c:pt>
              </c:numCache>
            </c:numRef>
          </c:xVal>
          <c:yVal>
            <c:numRef>
              <c:f>Sheet1!$B$171:$B$172</c:f>
              <c:numCache>
                <c:formatCode>General</c:formatCode>
                <c:ptCount val="2"/>
                <c:pt idx="0">
                  <c:v>0.2198143873895026</c:v>
                </c:pt>
                <c:pt idx="1">
                  <c:v>0.219814387389502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8.5780176084243</c:v>
                </c:pt>
                <c:pt idx="1">
                  <c:v>1088.5780176084243</c:v>
                </c:pt>
              </c:numCache>
            </c:numRef>
          </c:xVal>
          <c:yVal>
            <c:numRef>
              <c:f>Sheet1!$B$175:$B$176</c:f>
              <c:numCache>
                <c:formatCode>General</c:formatCode>
                <c:ptCount val="2"/>
                <c:pt idx="0">
                  <c:v>0.21981438738950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30.9862754863805</c:v>
                </c:pt>
              </c:numCache>
            </c:numRef>
          </c:xVal>
          <c:yVal>
            <c:numRef>
              <c:f>Sheet1!$B$179:$B$180</c:f>
              <c:numCache>
                <c:formatCode>General</c:formatCode>
                <c:ptCount val="2"/>
                <c:pt idx="0">
                  <c:v>0.18548179775267795</c:v>
                </c:pt>
                <c:pt idx="1">
                  <c:v>0.1854817977526779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30.9862754863805</c:v>
                </c:pt>
                <c:pt idx="1">
                  <c:v>1330.9862754863805</c:v>
                </c:pt>
              </c:numCache>
            </c:numRef>
          </c:xVal>
          <c:yVal>
            <c:numRef>
              <c:f>Sheet1!$B$183:$B$184</c:f>
              <c:numCache>
                <c:formatCode>General</c:formatCode>
                <c:ptCount val="2"/>
                <c:pt idx="0">
                  <c:v>0.1854817977526779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1.7192</c:v>
                </c:pt>
                <c:pt idx="1">
                  <c:v>1200.1762</c:v>
                </c:pt>
                <c:pt idx="2">
                  <c:v>1178.3653</c:v>
                </c:pt>
                <c:pt idx="3">
                  <c:v>1172.2588</c:v>
                </c:pt>
                <c:pt idx="4">
                  <c:v>1169.6877</c:v>
                </c:pt>
                <c:pt idx="5">
                  <c:v>1175.0845</c:v>
                </c:pt>
                <c:pt idx="6">
                  <c:v>1120.6904</c:v>
                </c:pt>
                <c:pt idx="7">
                  <c:v>1196.4453</c:v>
                </c:pt>
                <c:pt idx="8">
                  <c:v>1240.3929</c:v>
                </c:pt>
                <c:pt idx="9">
                  <c:v>1223.6354</c:v>
                </c:pt>
                <c:pt idx="10">
                  <c:v>1250.8292</c:v>
                </c:pt>
                <c:pt idx="11">
                  <c:v>1077.8747</c:v>
                </c:pt>
                <c:pt idx="12">
                  <c:v>1078.9192</c:v>
                </c:pt>
                <c:pt idx="13">
                  <c:v>1199.1049</c:v>
                </c:pt>
                <c:pt idx="14">
                  <c:v>1208.9542</c:v>
                </c:pt>
                <c:pt idx="15">
                  <c:v>1221.6606</c:v>
                </c:pt>
                <c:pt idx="16">
                  <c:v>1285.79</c:v>
                </c:pt>
                <c:pt idx="17">
                  <c:v>1240.8715</c:v>
                </c:pt>
                <c:pt idx="18">
                  <c:v>1268.453</c:v>
                </c:pt>
                <c:pt idx="19">
                  <c:v>1251.4531</c:v>
                </c:pt>
                <c:pt idx="20">
                  <c:v>1250.4629</c:v>
                </c:pt>
                <c:pt idx="21">
                  <c:v>1181.0607</c:v>
                </c:pt>
                <c:pt idx="22">
                  <c:v>1156.4495</c:v>
                </c:pt>
                <c:pt idx="23">
                  <c:v>1149.2692</c:v>
                </c:pt>
                <c:pt idx="24">
                  <c:v>1210.8624</c:v>
                </c:pt>
                <c:pt idx="25">
                  <c:v>1199.6318</c:v>
                </c:pt>
                <c:pt idx="26">
                  <c:v>1234.343</c:v>
                </c:pt>
                <c:pt idx="27">
                  <c:v>1225.1818</c:v>
                </c:pt>
                <c:pt idx="28">
                  <c:v>1249.199</c:v>
                </c:pt>
                <c:pt idx="29">
                  <c:v>1266.85</c:v>
                </c:pt>
                <c:pt idx="30">
                  <c:v>1235.3723</c:v>
                </c:pt>
                <c:pt idx="31">
                  <c:v>1269.4144</c:v>
                </c:pt>
                <c:pt idx="32">
                  <c:v>1280.4859</c:v>
                </c:pt>
                <c:pt idx="33">
                  <c:v>1250.6957</c:v>
                </c:pt>
                <c:pt idx="34">
                  <c:v>1270.5072</c:v>
                </c:pt>
                <c:pt idx="35">
                  <c:v>1298.974</c:v>
                </c:pt>
                <c:pt idx="36">
                  <c:v>1327.7935</c:v>
                </c:pt>
                <c:pt idx="37">
                  <c:v>1222.8684</c:v>
                </c:pt>
                <c:pt idx="38">
                  <c:v>1233.2358</c:v>
                </c:pt>
                <c:pt idx="39">
                  <c:v>1115.6918</c:v>
                </c:pt>
                <c:pt idx="40">
                  <c:v>1258.8316</c:v>
                </c:pt>
                <c:pt idx="41">
                  <c:v>1260.0924</c:v>
                </c:pt>
                <c:pt idx="42">
                  <c:v>1237.8344</c:v>
                </c:pt>
                <c:pt idx="43">
                  <c:v>1283.0726</c:v>
                </c:pt>
                <c:pt idx="44">
                  <c:v>1157.9709</c:v>
                </c:pt>
                <c:pt idx="45">
                  <c:v>1154.4956</c:v>
                </c:pt>
                <c:pt idx="46">
                  <c:v>1205.023</c:v>
                </c:pt>
                <c:pt idx="47">
                  <c:v>1151.5255</c:v>
                </c:pt>
                <c:pt idx="48">
                  <c:v>1207.5037</c:v>
                </c:pt>
                <c:pt idx="49">
                  <c:v>1208.8126</c:v>
                </c:pt>
                <c:pt idx="50">
                  <c:v>1097.3769</c:v>
                </c:pt>
                <c:pt idx="51">
                  <c:v>1066.8111</c:v>
                </c:pt>
                <c:pt idx="52">
                  <c:v>1088.5780176084243</c:v>
                </c:pt>
                <c:pt idx="53">
                  <c:v>726.3608407137929</c:v>
                </c:pt>
                <c:pt idx="54">
                  <c:v>1330.9862754863805</c:v>
                </c:pt>
              </c:numCache>
            </c:numRef>
          </c:xVal>
          <c:yVal>
            <c:numRef>
              <c:f>Sheet1!$B$187:$B$241</c:f>
              <c:numCache>
                <c:formatCode>General</c:formatCode>
                <c:ptCount val="55"/>
                <c:pt idx="0">
                  <c:v>0.20520637064656774</c:v>
                </c:pt>
                <c:pt idx="1">
                  <c:v>0.20400859498867405</c:v>
                </c:pt>
                <c:pt idx="2">
                  <c:v>0.2070977004748693</c:v>
                </c:pt>
                <c:pt idx="3">
                  <c:v>0.2079625718305424</c:v>
                </c:pt>
                <c:pt idx="4">
                  <c:v>0.20832671999112068</c:v>
                </c:pt>
                <c:pt idx="5">
                  <c:v>0.20756236434839626</c:v>
                </c:pt>
                <c:pt idx="6">
                  <c:v>0.21526626986016564</c:v>
                </c:pt>
                <c:pt idx="7">
                  <c:v>0.20453700709722739</c:v>
                </c:pt>
                <c:pt idx="8">
                  <c:v>0.19831265265678188</c:v>
                </c:pt>
                <c:pt idx="9">
                  <c:v>0.20068603867867538</c:v>
                </c:pt>
                <c:pt idx="10">
                  <c:v>0.19683454622442106</c:v>
                </c:pt>
                <c:pt idx="11">
                  <c:v>0.22133031186509383</c:v>
                </c:pt>
                <c:pt idx="12">
                  <c:v>0.22118237800265209</c:v>
                </c:pt>
                <c:pt idx="13">
                  <c:v>0.2041603245691756</c:v>
                </c:pt>
                <c:pt idx="14">
                  <c:v>0.2027653556928256</c:v>
                </c:pt>
                <c:pt idx="15">
                  <c:v>0.20096573211242358</c:v>
                </c:pt>
                <c:pt idx="16">
                  <c:v>0.19188300368918532</c:v>
                </c:pt>
                <c:pt idx="17">
                  <c:v>0.19824486793053525</c:v>
                </c:pt>
                <c:pt idx="18">
                  <c:v>0.19433846503255794</c:v>
                </c:pt>
                <c:pt idx="19">
                  <c:v>0.1967461824745145</c:v>
                </c:pt>
                <c:pt idx="20">
                  <c:v>0.19688642575894708</c:v>
                </c:pt>
                <c:pt idx="21">
                  <c:v>0.20671594754731973</c:v>
                </c:pt>
                <c:pt idx="22">
                  <c:v>0.21020166308138058</c:v>
                </c:pt>
                <c:pt idx="23">
                  <c:v>0.21121861809573247</c:v>
                </c:pt>
                <c:pt idx="24">
                  <c:v>0.20249509490171852</c:v>
                </c:pt>
                <c:pt idx="25">
                  <c:v>0.2040856990525451</c:v>
                </c:pt>
                <c:pt idx="26">
                  <c:v>0.1991695076825228</c:v>
                </c:pt>
                <c:pt idx="27">
                  <c:v>0.2004670200813753</c:v>
                </c:pt>
                <c:pt idx="28">
                  <c:v>0.19706543352222147</c:v>
                </c:pt>
                <c:pt idx="29">
                  <c:v>0.19456549995979025</c:v>
                </c:pt>
                <c:pt idx="30">
                  <c:v>0.19902372661539855</c:v>
                </c:pt>
                <c:pt idx="31">
                  <c:v>0.19420230072872693</c:v>
                </c:pt>
                <c:pt idx="32">
                  <c:v>0.1926342301130985</c:v>
                </c:pt>
                <c:pt idx="33">
                  <c:v>0.19685345399908452</c:v>
                </c:pt>
                <c:pt idx="34">
                  <c:v>0.1940475260759013</c:v>
                </c:pt>
                <c:pt idx="35">
                  <c:v>0.1900157370138075</c:v>
                </c:pt>
                <c:pt idx="36">
                  <c:v>0.18593399460247176</c:v>
                </c:pt>
                <c:pt idx="37">
                  <c:v>0.2007946698634459</c:v>
                </c:pt>
                <c:pt idx="38">
                  <c:v>0.19932632182564922</c:v>
                </c:pt>
                <c:pt idx="39">
                  <c:v>0.21597422793082274</c:v>
                </c:pt>
                <c:pt idx="40">
                  <c:v>0.19570115614227276</c:v>
                </c:pt>
                <c:pt idx="41">
                  <c:v>0.1955225874359381</c:v>
                </c:pt>
                <c:pt idx="42">
                  <c:v>0.198675016263347</c:v>
                </c:pt>
                <c:pt idx="43">
                  <c:v>0.19226787250469438</c:v>
                </c:pt>
                <c:pt idx="44">
                  <c:v>0.20998618526585267</c:v>
                </c:pt>
                <c:pt idx="45">
                  <c:v>0.2104783964215672</c:v>
                </c:pt>
                <c:pt idx="46">
                  <c:v>0.20332213654493766</c:v>
                </c:pt>
                <c:pt idx="47">
                  <c:v>0.21089905545922952</c:v>
                </c:pt>
                <c:pt idx="48">
                  <c:v>0.20297079185124758</c:v>
                </c:pt>
                <c:pt idx="49">
                  <c:v>0.20278541068078323</c:v>
                </c:pt>
                <c:pt idx="50">
                  <c:v>0.21856819049399606</c:v>
                </c:pt>
                <c:pt idx="51">
                  <c:v>0.22289726359368228</c:v>
                </c:pt>
                <c:pt idx="52">
                  <c:v>0.2198143873895026</c:v>
                </c:pt>
                <c:pt idx="53">
                  <c:v>0.27111566649028923</c:v>
                </c:pt>
                <c:pt idx="54">
                  <c:v>0.1854817977526779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97.0"/>
          <c:min val="5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027576197387513"/>
          <c:min val="0.11807718348002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5353179757442</c:v>
                </c:pt>
                <c:pt idx="1">
                  <c:v>0.6454801113045981</c:v>
                </c:pt>
                <c:pt idx="2">
                  <c:v>0.6839308692217729</c:v>
                </c:pt>
                <c:pt idx="3">
                  <c:v>0.7137344200927428</c:v>
                </c:pt>
                <c:pt idx="4">
                  <c:v>0.7305671892045068</c:v>
                </c:pt>
                <c:pt idx="5">
                  <c:v>0.7142253136391182</c:v>
                </c:pt>
                <c:pt idx="6">
                  <c:v>0.6840812121644847</c:v>
                </c:pt>
                <c:pt idx="7">
                  <c:v>0.7130752787649315</c:v>
                </c:pt>
                <c:pt idx="8">
                  <c:v>0.6666570752116939</c:v>
                </c:pt>
                <c:pt idx="9">
                  <c:v>0.7139648794186743</c:v>
                </c:pt>
                <c:pt idx="10">
                  <c:v>0.7444082572469849</c:v>
                </c:pt>
                <c:pt idx="11">
                  <c:v>0.7434200316951549</c:v>
                </c:pt>
                <c:pt idx="12">
                  <c:v>0.7486329770854576</c:v>
                </c:pt>
                <c:pt idx="13">
                  <c:v>0.6943767280270892</c:v>
                </c:pt>
                <c:pt idx="14">
                  <c:v>0.7016313851135871</c:v>
                </c:pt>
                <c:pt idx="15">
                  <c:v>0.689519246944283</c:v>
                </c:pt>
                <c:pt idx="16">
                  <c:v>0.6698993610175952</c:v>
                </c:pt>
                <c:pt idx="17">
                  <c:v>0.6767862252011007</c:v>
                </c:pt>
                <c:pt idx="18">
                  <c:v>0.6856621187602249</c:v>
                </c:pt>
                <c:pt idx="19">
                  <c:v>0.6889399067130189</c:v>
                </c:pt>
                <c:pt idx="20">
                  <c:v>0.6674415846691811</c:v>
                </c:pt>
                <c:pt idx="21">
                  <c:v>0.6378833707136595</c:v>
                </c:pt>
                <c:pt idx="22">
                  <c:v>0.5563236079770963</c:v>
                </c:pt>
                <c:pt idx="23">
                  <c:v>0.5420133383581934</c:v>
                </c:pt>
                <c:pt idx="24">
                  <c:v>0.5858897146655605</c:v>
                </c:pt>
                <c:pt idx="25">
                  <c:v>0.5123257185114818</c:v>
                </c:pt>
                <c:pt idx="26">
                  <c:v>0.5150043283495793</c:v>
                </c:pt>
                <c:pt idx="27">
                  <c:v>0.5206574067785268</c:v>
                </c:pt>
                <c:pt idx="28">
                  <c:v>0.5093260505923188</c:v>
                </c:pt>
                <c:pt idx="29">
                  <c:v>0.37051883825583654</c:v>
                </c:pt>
                <c:pt idx="30">
                  <c:v>0.4268712676096087</c:v>
                </c:pt>
                <c:pt idx="31">
                  <c:v>0.43998748516562636</c:v>
                </c:pt>
                <c:pt idx="32">
                  <c:v>0.4390449177943545</c:v>
                </c:pt>
                <c:pt idx="33">
                  <c:v>0.329788552699521</c:v>
                </c:pt>
                <c:pt idx="34">
                  <c:v>0.47481288420858175</c:v>
                </c:pt>
                <c:pt idx="35">
                  <c:v>0.46723440870093225</c:v>
                </c:pt>
                <c:pt idx="36">
                  <c:v>0.5193693434607949</c:v>
                </c:pt>
                <c:pt idx="37">
                  <c:v>0.5056884624425425</c:v>
                </c:pt>
                <c:pt idx="38">
                  <c:v>0.545338364113549</c:v>
                </c:pt>
                <c:pt idx="39">
                  <c:v>0.5887455445971223</c:v>
                </c:pt>
                <c:pt idx="40">
                  <c:v>0.5771582211165698</c:v>
                </c:pt>
                <c:pt idx="41">
                  <c:v>0.5619691183852132</c:v>
                </c:pt>
                <c:pt idx="42">
                  <c:v>0.6145291259400137</c:v>
                </c:pt>
                <c:pt idx="43">
                  <c:v>0.6119536143472113</c:v>
                </c:pt>
                <c:pt idx="44">
                  <c:v>0.6333777246187738</c:v>
                </c:pt>
                <c:pt idx="45">
                  <c:v>0.6307674648067705</c:v>
                </c:pt>
                <c:pt idx="46">
                  <c:v>0.598225736963454</c:v>
                </c:pt>
                <c:pt idx="47">
                  <c:v>0.6406336394247791</c:v>
                </c:pt>
                <c:pt idx="48">
                  <c:v>0.6645795962694074</c:v>
                </c:pt>
                <c:pt idx="49">
                  <c:v>0.6495235926004954</c:v>
                </c:pt>
                <c:pt idx="50">
                  <c:v>0.6040700928919973</c:v>
                </c:pt>
                <c:pt idx="51">
                  <c:v>0.6268880591622472</c:v>
                </c:pt>
                <c:pt idx="52">
                  <c:v>0.6461651748817684</c:v>
                </c:pt>
                <c:pt idx="53">
                  <c:v>0.6153168321042526</c:v>
                </c:pt>
                <c:pt idx="54">
                  <c:v>0.5894600174502296</c:v>
                </c:pt>
                <c:pt idx="55">
                  <c:v>0.6280119390886577</c:v>
                </c:pt>
                <c:pt idx="56">
                  <c:v>0.6197791017996366</c:v>
                </c:pt>
                <c:pt idx="57">
                  <c:v>0.6414062098944816</c:v>
                </c:pt>
                <c:pt idx="58">
                  <c:v>0.6578506005423014</c:v>
                </c:pt>
                <c:pt idx="59">
                  <c:v>0.6688432614245863</c:v>
                </c:pt>
                <c:pt idx="60">
                  <c:v>0.6726945294604073</c:v>
                </c:pt>
                <c:pt idx="61">
                  <c:v>0.6855168649720983</c:v>
                </c:pt>
                <c:pt idx="62">
                  <c:v>0.640372531190741</c:v>
                </c:pt>
                <c:pt idx="63">
                  <c:v>0.667502087733267</c:v>
                </c:pt>
                <c:pt idx="64">
                  <c:v>0.7088463674291513</c:v>
                </c:pt>
                <c:pt idx="65">
                  <c:v>0.72946846525284</c:v>
                </c:pt>
                <c:pt idx="66">
                  <c:v>0.6984286427226041</c:v>
                </c:pt>
                <c:pt idx="67">
                  <c:v>0.7009543930528253</c:v>
                </c:pt>
                <c:pt idx="68">
                  <c:v>0.6684426504745936</c:v>
                </c:pt>
                <c:pt idx="69">
                  <c:v>0.6464669028583551</c:v>
                </c:pt>
                <c:pt idx="70">
                  <c:v>0.660105290486781</c:v>
                </c:pt>
                <c:pt idx="71">
                  <c:v>0.6426769012130871</c:v>
                </c:pt>
                <c:pt idx="72">
                  <c:v>0.6625232393661947</c:v>
                </c:pt>
                <c:pt idx="73">
                  <c:v>0.6337902395942339</c:v>
                </c:pt>
                <c:pt idx="74">
                  <c:v>0.6037323620075474</c:v>
                </c:pt>
                <c:pt idx="75">
                  <c:v>0.5632843734698454</c:v>
                </c:pt>
                <c:pt idx="76">
                  <c:v>0.5749885078524375</c:v>
                </c:pt>
                <c:pt idx="77">
                  <c:v>0.4947453250952689</c:v>
                </c:pt>
                <c:pt idx="78">
                  <c:v>0.545799907942938</c:v>
                </c:pt>
                <c:pt idx="79">
                  <c:v>0.28931169423027653</c:v>
                </c:pt>
                <c:pt idx="80">
                  <c:v>0.3536095606803559</c:v>
                </c:pt>
                <c:pt idx="81">
                  <c:v>0.49984961529440686</c:v>
                </c:pt>
                <c:pt idx="82">
                  <c:v>0.4439313684596957</c:v>
                </c:pt>
                <c:pt idx="83">
                  <c:v>0.4998250516727589</c:v>
                </c:pt>
                <c:pt idx="84">
                  <c:v>0.5096937226593354</c:v>
                </c:pt>
                <c:pt idx="85">
                  <c:v>0.4656844560413376</c:v>
                </c:pt>
                <c:pt idx="86">
                  <c:v>0.4921447108396141</c:v>
                </c:pt>
                <c:pt idx="87">
                  <c:v>0.5586890474695446</c:v>
                </c:pt>
                <c:pt idx="88">
                  <c:v>0.4516330706511147</c:v>
                </c:pt>
                <c:pt idx="89">
                  <c:v>0.48214712559928935</c:v>
                </c:pt>
                <c:pt idx="90">
                  <c:v>0.5439760985826209</c:v>
                </c:pt>
                <c:pt idx="91">
                  <c:v>0.6510832185395108</c:v>
                </c:pt>
                <c:pt idx="92">
                  <c:v>0.545827907121081</c:v>
                </c:pt>
                <c:pt idx="93">
                  <c:v>0.6107340644085433</c:v>
                </c:pt>
                <c:pt idx="94">
                  <c:v>0.5822232846846461</c:v>
                </c:pt>
                <c:pt idx="95">
                  <c:v>0.5603312852189751</c:v>
                </c:pt>
                <c:pt idx="96">
                  <c:v>0.611730169726652</c:v>
                </c:pt>
                <c:pt idx="97">
                  <c:v>0.6838240152440995</c:v>
                </c:pt>
                <c:pt idx="98">
                  <c:v>0.7158523106168223</c:v>
                </c:pt>
                <c:pt idx="99">
                  <c:v>0.7392978850652757</c:v>
                </c:pt>
                <c:pt idx="100">
                  <c:v>0.7405339494928164</c:v>
                </c:pt>
                <c:pt idx="101">
                  <c:v>0.7086615040287252</c:v>
                </c:pt>
                <c:pt idx="102">
                  <c:v>0.7203051941695335</c:v>
                </c:pt>
                <c:pt idx="103">
                  <c:v>0.5296569165206124</c:v>
                </c:pt>
                <c:pt idx="104">
                  <c:v>0.6164411667665415</c:v>
                </c:pt>
              </c:numCache>
            </c:numRef>
          </c:xVal>
          <c:yVal>
            <c:numRef>
              <c:f>Sheet1!$B$2:$B$106</c:f>
              <c:numCache>
                <c:formatCode>General</c:formatCode>
                <c:ptCount val="105"/>
                <c:pt idx="0">
                  <c:v>0.2126108998732573</c:v>
                </c:pt>
                <c:pt idx="1">
                  <c:v>0.2202020202020202</c:v>
                </c:pt>
                <c:pt idx="2">
                  <c:v>0.19369250985545336</c:v>
                </c:pt>
                <c:pt idx="3">
                  <c:v>0.18197725284339458</c:v>
                </c:pt>
                <c:pt idx="4">
                  <c:v>0.17745302713987474</c:v>
                </c:pt>
                <c:pt idx="5">
                  <c:v>0.18027210884353742</c:v>
                </c:pt>
                <c:pt idx="6">
                  <c:v>0.18664731494920175</c:v>
                </c:pt>
                <c:pt idx="7">
                  <c:v>0.17332885455156197</c:v>
                </c:pt>
                <c:pt idx="8">
                  <c:v>0.20504947117024905</c:v>
                </c:pt>
                <c:pt idx="9">
                  <c:v>0.20260697081326154</c:v>
                </c:pt>
                <c:pt idx="10">
                  <c:v>0.2059800664451827</c:v>
                </c:pt>
                <c:pt idx="11">
                  <c:v>0.2217438105489774</c:v>
                </c:pt>
                <c:pt idx="12">
                  <c:v>0.21686746987951808</c:v>
                </c:pt>
                <c:pt idx="13">
                  <c:v>0.23910675381263616</c:v>
                </c:pt>
                <c:pt idx="14">
                  <c:v>0.21802067946824225</c:v>
                </c:pt>
                <c:pt idx="15">
                  <c:v>0.21406003159557663</c:v>
                </c:pt>
                <c:pt idx="16">
                  <c:v>0.20390153274500697</c:v>
                </c:pt>
                <c:pt idx="17">
                  <c:v>0.18865030674846625</c:v>
                </c:pt>
                <c:pt idx="18">
                  <c:v>0.17197020988490183</c:v>
                </c:pt>
                <c:pt idx="19">
                  <c:v>0.1664156626506024</c:v>
                </c:pt>
                <c:pt idx="20">
                  <c:v>0.18101933216168717</c:v>
                </c:pt>
                <c:pt idx="21">
                  <c:v>0.17286652078774617</c:v>
                </c:pt>
                <c:pt idx="22">
                  <c:v>0.17539484621778886</c:v>
                </c:pt>
                <c:pt idx="23">
                  <c:v>0.17011995637949837</c:v>
                </c:pt>
                <c:pt idx="24">
                  <c:v>0.1524390243902439</c:v>
                </c:pt>
                <c:pt idx="25">
                  <c:v>0.16063829787234044</c:v>
                </c:pt>
                <c:pt idx="26">
                  <c:v>0.1644398766700925</c:v>
                </c:pt>
                <c:pt idx="27">
                  <c:v>0.1532639545884579</c:v>
                </c:pt>
                <c:pt idx="28">
                  <c:v>0.14494264859228362</c:v>
                </c:pt>
                <c:pt idx="29">
                  <c:v>0.21612541993281076</c:v>
                </c:pt>
                <c:pt idx="30">
                  <c:v>0.15207373271889402</c:v>
                </c:pt>
                <c:pt idx="31">
                  <c:v>0.12987012987012986</c:v>
                </c:pt>
                <c:pt idx="32">
                  <c:v>0.1473429951690821</c:v>
                </c:pt>
                <c:pt idx="33">
                  <c:v>0.21606118546845124</c:v>
                </c:pt>
                <c:pt idx="34">
                  <c:v>0.15451577801958652</c:v>
                </c:pt>
                <c:pt idx="35">
                  <c:v>0.1661807580174927</c:v>
                </c:pt>
                <c:pt idx="36">
                  <c:v>0.12036108324974924</c:v>
                </c:pt>
                <c:pt idx="37">
                  <c:v>0.11867905056759546</c:v>
                </c:pt>
                <c:pt idx="38">
                  <c:v>0.10174717368961973</c:v>
                </c:pt>
                <c:pt idx="39">
                  <c:v>0.09034653465346534</c:v>
                </c:pt>
                <c:pt idx="40">
                  <c:v>0.11460446247464504</c:v>
                </c:pt>
                <c:pt idx="41">
                  <c:v>0.10488798370672098</c:v>
                </c:pt>
                <c:pt idx="42">
                  <c:v>0.09577464788732394</c:v>
                </c:pt>
                <c:pt idx="43">
                  <c:v>0.1160431198478123</c:v>
                </c:pt>
                <c:pt idx="44">
                  <c:v>0.12867647058823528</c:v>
                </c:pt>
                <c:pt idx="45">
                  <c:v>0.14929761515844495</c:v>
                </c:pt>
                <c:pt idx="46">
                  <c:v>0.15185601799775028</c:v>
                </c:pt>
                <c:pt idx="47">
                  <c:v>0.15810147299509</c:v>
                </c:pt>
                <c:pt idx="48">
                  <c:v>0.1802049487628093</c:v>
                </c:pt>
                <c:pt idx="49">
                  <c:v>0.21881227580709445</c:v>
                </c:pt>
                <c:pt idx="50">
                  <c:v>0.18270197787462286</c:v>
                </c:pt>
                <c:pt idx="51">
                  <c:v>0.16429395921508272</c:v>
                </c:pt>
                <c:pt idx="52">
                  <c:v>0.1867612293144208</c:v>
                </c:pt>
                <c:pt idx="53">
                  <c:v>0.17374784110535405</c:v>
                </c:pt>
                <c:pt idx="54">
                  <c:v>0.16777214202106905</c:v>
                </c:pt>
                <c:pt idx="55">
                  <c:v>0.15183867141162516</c:v>
                </c:pt>
                <c:pt idx="56">
                  <c:v>0.16754320060105185</c:v>
                </c:pt>
                <c:pt idx="57">
                  <c:v>0.15440535039255598</c:v>
                </c:pt>
                <c:pt idx="58">
                  <c:v>0.17499346063301072</c:v>
                </c:pt>
                <c:pt idx="59">
                  <c:v>0.19089062953292718</c:v>
                </c:pt>
                <c:pt idx="60">
                  <c:v>0.2</c:v>
                </c:pt>
                <c:pt idx="61">
                  <c:v>0.20842572062084258</c:v>
                </c:pt>
                <c:pt idx="62">
                  <c:v>0.22717331875341717</c:v>
                </c:pt>
                <c:pt idx="63">
                  <c:v>0.23230912476722532</c:v>
                </c:pt>
                <c:pt idx="64">
                  <c:v>0.21686455052095954</c:v>
                </c:pt>
                <c:pt idx="65">
                  <c:v>0.1894206549118388</c:v>
                </c:pt>
                <c:pt idx="66">
                  <c:v>0.1801209571391007</c:v>
                </c:pt>
                <c:pt idx="67">
                  <c:v>0.17367029091977668</c:v>
                </c:pt>
                <c:pt idx="68">
                  <c:v>0.16389627659574468</c:v>
                </c:pt>
                <c:pt idx="69">
                  <c:v>0.1389543099387659</c:v>
                </c:pt>
                <c:pt idx="70">
                  <c:v>0.12789661319073084</c:v>
                </c:pt>
                <c:pt idx="71">
                  <c:v>0.13288396726047183</c:v>
                </c:pt>
                <c:pt idx="72">
                  <c:v>0.12459720730397422</c:v>
                </c:pt>
                <c:pt idx="73">
                  <c:v>0.1265377855887522</c:v>
                </c:pt>
                <c:pt idx="74">
                  <c:v>0.1356309060589216</c:v>
                </c:pt>
                <c:pt idx="75">
                  <c:v>0.13549920760697307</c:v>
                </c:pt>
                <c:pt idx="76">
                  <c:v>0.12936732766761094</c:v>
                </c:pt>
                <c:pt idx="77">
                  <c:v>0.1310344827586207</c:v>
                </c:pt>
                <c:pt idx="78">
                  <c:v>0.1339001062699256</c:v>
                </c:pt>
                <c:pt idx="79">
                  <c:v>0.18510858324715615</c:v>
                </c:pt>
                <c:pt idx="80">
                  <c:v>0.14302059496567507</c:v>
                </c:pt>
                <c:pt idx="81">
                  <c:v>0.1218274111675127</c:v>
                </c:pt>
                <c:pt idx="82">
                  <c:v>0.10335917312661498</c:v>
                </c:pt>
                <c:pt idx="83">
                  <c:v>0.09859154929577464</c:v>
                </c:pt>
                <c:pt idx="84">
                  <c:v>0.09806629834254144</c:v>
                </c:pt>
                <c:pt idx="85">
                  <c:v>0.1386946386946387</c:v>
                </c:pt>
                <c:pt idx="86">
                  <c:v>0.12363996043521266</c:v>
                </c:pt>
                <c:pt idx="87">
                  <c:v>0.12660731948565776</c:v>
                </c:pt>
                <c:pt idx="88">
                  <c:v>0.12829736211031176</c:v>
                </c:pt>
                <c:pt idx="89">
                  <c:v>0.09885931558935361</c:v>
                </c:pt>
                <c:pt idx="90">
                  <c:v>0.09192200557103064</c:v>
                </c:pt>
                <c:pt idx="91">
                  <c:v>0.07979407979407979</c:v>
                </c:pt>
                <c:pt idx="92">
                  <c:v>0.10702054794520548</c:v>
                </c:pt>
                <c:pt idx="93">
                  <c:v>0.09905254091300603</c:v>
                </c:pt>
                <c:pt idx="94">
                  <c:v>0.09529553679131483</c:v>
                </c:pt>
                <c:pt idx="95">
                  <c:v>0.11752717391304347</c:v>
                </c:pt>
                <c:pt idx="96">
                  <c:v>0.125</c:v>
                </c:pt>
                <c:pt idx="97">
                  <c:v>0.12854686156491832</c:v>
                </c:pt>
                <c:pt idx="98">
                  <c:v>0.13950933723910655</c:v>
                </c:pt>
                <c:pt idx="99">
                  <c:v>0.14785757392878696</c:v>
                </c:pt>
                <c:pt idx="100">
                  <c:v>0.17091164588090638</c:v>
                </c:pt>
                <c:pt idx="101">
                  <c:v>0.14783159227603673</c:v>
                </c:pt>
                <c:pt idx="102">
                  <c:v>0.1341991341991342</c:v>
                </c:pt>
                <c:pt idx="103">
                  <c:v>0.17266424562561902</c:v>
                </c:pt>
                <c:pt idx="104">
                  <c:v>0.177150629037742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2554436950561</c:v>
                </c:pt>
                <c:pt idx="1">
                  <c:v>0.6397428227699145</c:v>
                </c:pt>
                <c:pt idx="2">
                  <c:v>0.6682968984189824</c:v>
                </c:pt>
                <c:pt idx="3">
                  <c:v>0.6856104658551809</c:v>
                </c:pt>
                <c:pt idx="4">
                  <c:v>0.653830029929403</c:v>
                </c:pt>
                <c:pt idx="5">
                  <c:v>0.6605400092896139</c:v>
                </c:pt>
                <c:pt idx="6">
                  <c:v>0.704631920168856</c:v>
                </c:pt>
                <c:pt idx="7">
                  <c:v>0.7589483964136947</c:v>
                </c:pt>
                <c:pt idx="8">
                  <c:v>0.7729967838468716</c:v>
                </c:pt>
                <c:pt idx="9">
                  <c:v>0.7328500429794548</c:v>
                </c:pt>
                <c:pt idx="10">
                  <c:v>0.7292923237651595</c:v>
                </c:pt>
                <c:pt idx="11">
                  <c:v>0.7103884704911634</c:v>
                </c:pt>
                <c:pt idx="12">
                  <c:v>0.7014621855604886</c:v>
                </c:pt>
                <c:pt idx="13">
                  <c:v>0.6818050222191381</c:v>
                </c:pt>
                <c:pt idx="14">
                  <c:v>0.6806133580332087</c:v>
                </c:pt>
                <c:pt idx="15">
                  <c:v>0.687788521571366</c:v>
                </c:pt>
                <c:pt idx="16">
                  <c:v>0.7350740856441748</c:v>
                </c:pt>
                <c:pt idx="17">
                  <c:v>0.7246447942393963</c:v>
                </c:pt>
                <c:pt idx="18">
                  <c:v>0.7180838631128126</c:v>
                </c:pt>
                <c:pt idx="19">
                  <c:v>0.659440531517897</c:v>
                </c:pt>
                <c:pt idx="20">
                  <c:v>0.5956181488423713</c:v>
                </c:pt>
                <c:pt idx="21">
                  <c:v>0.5359590787055093</c:v>
                </c:pt>
                <c:pt idx="22">
                  <c:v>0.5102734783697913</c:v>
                </c:pt>
                <c:pt idx="23">
                  <c:v>0.5226727429283129</c:v>
                </c:pt>
                <c:pt idx="24">
                  <c:v>0.5375407698255655</c:v>
                </c:pt>
                <c:pt idx="25">
                  <c:v>0.5900062166242338</c:v>
                </c:pt>
                <c:pt idx="26">
                  <c:v>0.6439417991154845</c:v>
                </c:pt>
                <c:pt idx="27">
                  <c:v>0.6268115499429371</c:v>
                </c:pt>
                <c:pt idx="28">
                  <c:v>0.6428172390013646</c:v>
                </c:pt>
                <c:pt idx="29">
                  <c:v>0.5947949034880149</c:v>
                </c:pt>
                <c:pt idx="30">
                  <c:v>0.5641881558503443</c:v>
                </c:pt>
                <c:pt idx="31">
                  <c:v>0.5766808739409711</c:v>
                </c:pt>
                <c:pt idx="32">
                  <c:v>0.5928310353913415</c:v>
                </c:pt>
                <c:pt idx="33">
                  <c:v>0.5565143568715024</c:v>
                </c:pt>
                <c:pt idx="34">
                  <c:v>0.6007005694047994</c:v>
                </c:pt>
                <c:pt idx="35">
                  <c:v>0.547595186297293</c:v>
                </c:pt>
                <c:pt idx="36">
                  <c:v>0.527336599494774</c:v>
                </c:pt>
                <c:pt idx="37">
                  <c:v>0.5326840900236106</c:v>
                </c:pt>
                <c:pt idx="38">
                  <c:v>0.4974037692971862</c:v>
                </c:pt>
                <c:pt idx="39">
                  <c:v>0.5677986942995594</c:v>
                </c:pt>
                <c:pt idx="40">
                  <c:v>0.5937702584707666</c:v>
                </c:pt>
                <c:pt idx="41">
                  <c:v>0.6260896803426463</c:v>
                </c:pt>
                <c:pt idx="42">
                  <c:v>0.5608405881274029</c:v>
                </c:pt>
                <c:pt idx="43">
                  <c:v>0.5945467681748325</c:v>
                </c:pt>
                <c:pt idx="44">
                  <c:v>0.7058150352231873</c:v>
                </c:pt>
                <c:pt idx="45">
                  <c:v>0.7365489777974736</c:v>
                </c:pt>
                <c:pt idx="46">
                  <c:v>0.7252334737020347</c:v>
                </c:pt>
                <c:pt idx="47">
                  <c:v>0.7756566392459181</c:v>
                </c:pt>
                <c:pt idx="48">
                  <c:v>0.8221491185153911</c:v>
                </c:pt>
                <c:pt idx="49">
                  <c:v>0.8274527454201211</c:v>
                </c:pt>
                <c:pt idx="50">
                  <c:v>0.7456016183185475</c:v>
                </c:pt>
                <c:pt idx="51">
                  <c:v>0.6874114303142044</c:v>
                </c:pt>
              </c:numCache>
            </c:numRef>
          </c:xVal>
          <c:yVal>
            <c:numRef>
              <c:f>Sheet1!$B$109:$B$160</c:f>
              <c:numCache>
                <c:formatCode>General</c:formatCode>
                <c:ptCount val="52"/>
                <c:pt idx="0">
                  <c:v>0.15441176470588236</c:v>
                </c:pt>
                <c:pt idx="1">
                  <c:v>0.16818897637795274</c:v>
                </c:pt>
                <c:pt idx="2">
                  <c:v>0.1799465240641711</c:v>
                </c:pt>
                <c:pt idx="3">
                  <c:v>0.18975754576942108</c:v>
                </c:pt>
                <c:pt idx="4">
                  <c:v>0.1834836527621195</c:v>
                </c:pt>
                <c:pt idx="5">
                  <c:v>0.1838106370543542</c:v>
                </c:pt>
                <c:pt idx="6">
                  <c:v>0.18599766627771294</c:v>
                </c:pt>
                <c:pt idx="7">
                  <c:v>0.1601123595505618</c:v>
                </c:pt>
                <c:pt idx="8">
                  <c:v>0.1750278706800446</c:v>
                </c:pt>
                <c:pt idx="9">
                  <c:v>0.19368570415040795</c:v>
                </c:pt>
                <c:pt idx="10">
                  <c:v>0.21005917159763313</c:v>
                </c:pt>
                <c:pt idx="11">
                  <c:v>0.21565537168374047</c:v>
                </c:pt>
                <c:pt idx="12">
                  <c:v>0.21050934880722114</c:v>
                </c:pt>
                <c:pt idx="13">
                  <c:v>0.19104084321475626</c:v>
                </c:pt>
                <c:pt idx="14">
                  <c:v>0.19130114264651676</c:v>
                </c:pt>
                <c:pt idx="15">
                  <c:v>0.1845718901453958</c:v>
                </c:pt>
                <c:pt idx="16">
                  <c:v>0.15836889521100048</c:v>
                </c:pt>
                <c:pt idx="17">
                  <c:v>0.13720022308979365</c:v>
                </c:pt>
                <c:pt idx="18">
                  <c:v>0.1414790996784566</c:v>
                </c:pt>
                <c:pt idx="19">
                  <c:v>0.15276752767527677</c:v>
                </c:pt>
                <c:pt idx="20">
                  <c:v>0.1524024024024024</c:v>
                </c:pt>
                <c:pt idx="21">
                  <c:v>0.1795252225519288</c:v>
                </c:pt>
                <c:pt idx="22">
                  <c:v>0.17729970326409494</c:v>
                </c:pt>
                <c:pt idx="23">
                  <c:v>0.1612046058458813</c:v>
                </c:pt>
                <c:pt idx="24">
                  <c:v>0.15479582146248813</c:v>
                </c:pt>
                <c:pt idx="25">
                  <c:v>0.13953488372093023</c:v>
                </c:pt>
                <c:pt idx="26">
                  <c:v>0.10219675262655205</c:v>
                </c:pt>
                <c:pt idx="27">
                  <c:v>0.113</c:v>
                </c:pt>
                <c:pt idx="28">
                  <c:v>0.123046875</c:v>
                </c:pt>
                <c:pt idx="29">
                  <c:v>0.11003627569528417</c:v>
                </c:pt>
                <c:pt idx="30">
                  <c:v>0.11253561253561253</c:v>
                </c:pt>
                <c:pt idx="31">
                  <c:v>0.11920529801324503</c:v>
                </c:pt>
                <c:pt idx="32">
                  <c:v>0.11624834874504623</c:v>
                </c:pt>
                <c:pt idx="33">
                  <c:v>0.13099415204678364</c:v>
                </c:pt>
                <c:pt idx="34">
                  <c:v>0.12135922330097088</c:v>
                </c:pt>
                <c:pt idx="35">
                  <c:v>0.11972633979475485</c:v>
                </c:pt>
                <c:pt idx="36">
                  <c:v>0.11829944547134935</c:v>
                </c:pt>
                <c:pt idx="37">
                  <c:v>0.10366826156299841</c:v>
                </c:pt>
                <c:pt idx="38">
                  <c:v>0.11956521739130435</c:v>
                </c:pt>
                <c:pt idx="39">
                  <c:v>0.11602870813397129</c:v>
                </c:pt>
                <c:pt idx="40">
                  <c:v>0.10794979079497909</c:v>
                </c:pt>
                <c:pt idx="41">
                  <c:v>0.10453283996299723</c:v>
                </c:pt>
                <c:pt idx="42">
                  <c:v>0.11816192560175055</c:v>
                </c:pt>
                <c:pt idx="43">
                  <c:v>0.11784975878704342</c:v>
                </c:pt>
                <c:pt idx="44">
                  <c:v>0.11979463776383342</c:v>
                </c:pt>
                <c:pt idx="45">
                  <c:v>0.12336374454581515</c:v>
                </c:pt>
                <c:pt idx="46">
                  <c:v>0.1049534085335949</c:v>
                </c:pt>
                <c:pt idx="47">
                  <c:v>0.11687763713080168</c:v>
                </c:pt>
                <c:pt idx="48">
                  <c:v>0.11664167916041979</c:v>
                </c:pt>
                <c:pt idx="49">
                  <c:v>0.13784097504352874</c:v>
                </c:pt>
                <c:pt idx="50">
                  <c:v>0.1993911719939117</c:v>
                </c:pt>
                <c:pt idx="51">
                  <c:v>0.180868429644139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499724038535618</c:v>
                </c:pt>
              </c:numCache>
            </c:numRef>
          </c:xVal>
          <c:yVal>
            <c:numRef>
              <c:f>Sheet1!$B$163:$B$164</c:f>
              <c:numCache>
                <c:formatCode>General</c:formatCode>
                <c:ptCount val="2"/>
                <c:pt idx="0">
                  <c:v>0.20024687288783122</c:v>
                </c:pt>
                <c:pt idx="1">
                  <c:v>0.200246872887831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499724038535618</c:v>
                </c:pt>
                <c:pt idx="1">
                  <c:v>1.0499724038535618</c:v>
                </c:pt>
              </c:numCache>
            </c:numRef>
          </c:xVal>
          <c:yVal>
            <c:numRef>
              <c:f>Sheet1!$B$167:$B$168</c:f>
              <c:numCache>
                <c:formatCode>General</c:formatCode>
                <c:ptCount val="2"/>
                <c:pt idx="0">
                  <c:v>0.200246872887831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81504626933538</c:v>
                </c:pt>
              </c:numCache>
            </c:numRef>
          </c:xVal>
          <c:yVal>
            <c:numRef>
              <c:f>Sheet1!$B$171:$B$172</c:f>
              <c:numCache>
                <c:formatCode>General</c:formatCode>
                <c:ptCount val="2"/>
                <c:pt idx="0">
                  <c:v>0.17835129560419463</c:v>
                </c:pt>
                <c:pt idx="1">
                  <c:v>0.1783512956041946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81504626933538</c:v>
                </c:pt>
                <c:pt idx="1">
                  <c:v>0.881504626933538</c:v>
                </c:pt>
              </c:numCache>
            </c:numRef>
          </c:xVal>
          <c:yVal>
            <c:numRef>
              <c:f>Sheet1!$B$175:$B$176</c:f>
              <c:numCache>
                <c:formatCode>General</c:formatCode>
                <c:ptCount val="2"/>
                <c:pt idx="0">
                  <c:v>0.178351295604194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942451378983167</c:v>
                </c:pt>
              </c:numCache>
            </c:numRef>
          </c:xVal>
          <c:yVal>
            <c:numRef>
              <c:f>Sheet1!$B$179:$B$180</c:f>
              <c:numCache>
                <c:formatCode>General</c:formatCode>
                <c:ptCount val="2"/>
                <c:pt idx="0">
                  <c:v>0.128019592853599</c:v>
                </c:pt>
                <c:pt idx="1">
                  <c:v>0.12801959285359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942451378983167</c:v>
                </c:pt>
                <c:pt idx="1">
                  <c:v>0.4942451378983167</c:v>
                </c:pt>
              </c:numCache>
            </c:numRef>
          </c:xVal>
          <c:yVal>
            <c:numRef>
              <c:f>Sheet1!$B$183:$B$184</c:f>
              <c:numCache>
                <c:formatCode>General</c:formatCode>
                <c:ptCount val="2"/>
                <c:pt idx="0">
                  <c:v>0.1280195928535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2554436950561</c:v>
                </c:pt>
                <c:pt idx="1">
                  <c:v>0.6397428227699145</c:v>
                </c:pt>
                <c:pt idx="2">
                  <c:v>0.6682968984189824</c:v>
                </c:pt>
                <c:pt idx="3">
                  <c:v>0.6856104658551809</c:v>
                </c:pt>
                <c:pt idx="4">
                  <c:v>0.653830029929403</c:v>
                </c:pt>
                <c:pt idx="5">
                  <c:v>0.6605400092896139</c:v>
                </c:pt>
                <c:pt idx="6">
                  <c:v>0.704631920168856</c:v>
                </c:pt>
                <c:pt idx="7">
                  <c:v>0.7589483964136947</c:v>
                </c:pt>
                <c:pt idx="8">
                  <c:v>0.7729967838468716</c:v>
                </c:pt>
                <c:pt idx="9">
                  <c:v>0.7328500429794548</c:v>
                </c:pt>
                <c:pt idx="10">
                  <c:v>0.7292923237651595</c:v>
                </c:pt>
                <c:pt idx="11">
                  <c:v>0.7103884704911634</c:v>
                </c:pt>
                <c:pt idx="12">
                  <c:v>0.7014621855604886</c:v>
                </c:pt>
                <c:pt idx="13">
                  <c:v>0.6818050222191381</c:v>
                </c:pt>
                <c:pt idx="14">
                  <c:v>0.6806133580332087</c:v>
                </c:pt>
                <c:pt idx="15">
                  <c:v>0.687788521571366</c:v>
                </c:pt>
                <c:pt idx="16">
                  <c:v>0.7350740856441748</c:v>
                </c:pt>
                <c:pt idx="17">
                  <c:v>0.7246447942393963</c:v>
                </c:pt>
                <c:pt idx="18">
                  <c:v>0.7180838631128126</c:v>
                </c:pt>
                <c:pt idx="19">
                  <c:v>0.659440531517897</c:v>
                </c:pt>
                <c:pt idx="20">
                  <c:v>0.5956181488423713</c:v>
                </c:pt>
                <c:pt idx="21">
                  <c:v>0.5359590787055093</c:v>
                </c:pt>
                <c:pt idx="22">
                  <c:v>0.5102734783697913</c:v>
                </c:pt>
                <c:pt idx="23">
                  <c:v>0.5226727429283129</c:v>
                </c:pt>
                <c:pt idx="24">
                  <c:v>0.5375407698255655</c:v>
                </c:pt>
                <c:pt idx="25">
                  <c:v>0.5900062166242338</c:v>
                </c:pt>
                <c:pt idx="26">
                  <c:v>0.6439417991154845</c:v>
                </c:pt>
                <c:pt idx="27">
                  <c:v>0.6268115499429371</c:v>
                </c:pt>
                <c:pt idx="28">
                  <c:v>0.6428172390013646</c:v>
                </c:pt>
                <c:pt idx="29">
                  <c:v>0.5947949034880149</c:v>
                </c:pt>
                <c:pt idx="30">
                  <c:v>0.5641881558503443</c:v>
                </c:pt>
                <c:pt idx="31">
                  <c:v>0.5766808739409711</c:v>
                </c:pt>
                <c:pt idx="32">
                  <c:v>0.5928310353913415</c:v>
                </c:pt>
                <c:pt idx="33">
                  <c:v>0.5565143568715024</c:v>
                </c:pt>
                <c:pt idx="34">
                  <c:v>0.6007005694047994</c:v>
                </c:pt>
                <c:pt idx="35">
                  <c:v>0.547595186297293</c:v>
                </c:pt>
                <c:pt idx="36">
                  <c:v>0.527336599494774</c:v>
                </c:pt>
                <c:pt idx="37">
                  <c:v>0.5326840900236106</c:v>
                </c:pt>
                <c:pt idx="38">
                  <c:v>0.4974037692971862</c:v>
                </c:pt>
                <c:pt idx="39">
                  <c:v>0.5677986942995594</c:v>
                </c:pt>
                <c:pt idx="40">
                  <c:v>0.5937702584707666</c:v>
                </c:pt>
                <c:pt idx="41">
                  <c:v>0.6260896803426463</c:v>
                </c:pt>
                <c:pt idx="42">
                  <c:v>0.5608405881274029</c:v>
                </c:pt>
                <c:pt idx="43">
                  <c:v>0.5945467681748325</c:v>
                </c:pt>
                <c:pt idx="44">
                  <c:v>0.7058150352231873</c:v>
                </c:pt>
                <c:pt idx="45">
                  <c:v>0.7365489777974736</c:v>
                </c:pt>
                <c:pt idx="46">
                  <c:v>0.7252334737020347</c:v>
                </c:pt>
                <c:pt idx="47">
                  <c:v>0.7756566392459181</c:v>
                </c:pt>
                <c:pt idx="48">
                  <c:v>0.8221491185153911</c:v>
                </c:pt>
                <c:pt idx="49">
                  <c:v>0.8274527454201211</c:v>
                </c:pt>
                <c:pt idx="50">
                  <c:v>0.7456016183185475</c:v>
                </c:pt>
                <c:pt idx="51">
                  <c:v>0.6874114303142044</c:v>
                </c:pt>
                <c:pt idx="52">
                  <c:v>0.881504626933538</c:v>
                </c:pt>
                <c:pt idx="53">
                  <c:v>1.0499724038535618</c:v>
                </c:pt>
                <c:pt idx="54">
                  <c:v>0.4942451378983167</c:v>
                </c:pt>
              </c:numCache>
            </c:numRef>
          </c:xVal>
          <c:yVal>
            <c:numRef>
              <c:f>Sheet1!$B$187:$B$241</c:f>
              <c:numCache>
                <c:formatCode>General</c:formatCode>
                <c:ptCount val="55"/>
                <c:pt idx="0">
                  <c:v>0.15509333027499222</c:v>
                </c:pt>
                <c:pt idx="1">
                  <c:v>0.14692977177291028</c:v>
                </c:pt>
                <c:pt idx="2">
                  <c:v>0.1506409145301022</c:v>
                </c:pt>
                <c:pt idx="3">
                  <c:v>0.15289114042365515</c:v>
                </c:pt>
                <c:pt idx="4">
                  <c:v>0.14876067106243795</c:v>
                </c:pt>
                <c:pt idx="5">
                  <c:v>0.14963275992322259</c:v>
                </c:pt>
                <c:pt idx="6">
                  <c:v>0.15536333855309298</c:v>
                </c:pt>
                <c:pt idx="7">
                  <c:v>0.16242279303831636</c:v>
                </c:pt>
                <c:pt idx="8">
                  <c:v>0.16424864696941927</c:v>
                </c:pt>
                <c:pt idx="9">
                  <c:v>0.15903081787818624</c:v>
                </c:pt>
                <c:pt idx="10">
                  <c:v>0.1585684249064605</c:v>
                </c:pt>
                <c:pt idx="11">
                  <c:v>0.15611151125872003</c:v>
                </c:pt>
                <c:pt idx="12">
                  <c:v>0.15495137152678695</c:v>
                </c:pt>
                <c:pt idx="13">
                  <c:v>0.15239655097305027</c:v>
                </c:pt>
                <c:pt idx="14">
                  <c:v>0.15224167164979818</c:v>
                </c:pt>
                <c:pt idx="15">
                  <c:v>0.15317422000203906</c:v>
                </c:pt>
                <c:pt idx="16">
                  <c:v>0.15931987433122297</c:v>
                </c:pt>
                <c:pt idx="17">
                  <c:v>0.15796439045091215</c:v>
                </c:pt>
                <c:pt idx="18">
                  <c:v>0.15711167323008166</c:v>
                </c:pt>
                <c:pt idx="19">
                  <c:v>0.14948986196990244</c:v>
                </c:pt>
                <c:pt idx="20">
                  <c:v>0.14119493496459629</c:v>
                </c:pt>
                <c:pt idx="21">
                  <c:v>0.13344110924947641</c:v>
                </c:pt>
                <c:pt idx="22">
                  <c:v>0.13010277916933116</c:v>
                </c:pt>
                <c:pt idx="23">
                  <c:v>0.13171429835931994</c:v>
                </c:pt>
                <c:pt idx="24">
                  <c:v>0.133646679957366</c:v>
                </c:pt>
                <c:pt idx="25">
                  <c:v>0.1404655581197229</c:v>
                </c:pt>
                <c:pt idx="26">
                  <c:v>0.14747550825004224</c:v>
                </c:pt>
                <c:pt idx="27">
                  <c:v>0.1452491080356943</c:v>
                </c:pt>
                <c:pt idx="28">
                  <c:v>0.14732935037143205</c:v>
                </c:pt>
                <c:pt idx="29">
                  <c:v>0.14108793864393926</c:v>
                </c:pt>
                <c:pt idx="30">
                  <c:v>0.1371100122977068</c:v>
                </c:pt>
                <c:pt idx="31">
                  <c:v>0.13873367754358856</c:v>
                </c:pt>
                <c:pt idx="32">
                  <c:v>0.1408326968020172</c:v>
                </c:pt>
                <c:pt idx="33">
                  <c:v>0.1361126568290697</c:v>
                </c:pt>
                <c:pt idx="34">
                  <c:v>0.1418554917443383</c:v>
                </c:pt>
                <c:pt idx="35">
                  <c:v>0.1349534417424585</c:v>
                </c:pt>
                <c:pt idx="36">
                  <c:v>0.13232045482293386</c:v>
                </c:pt>
                <c:pt idx="37">
                  <c:v>0.13301546246349438</c:v>
                </c:pt>
                <c:pt idx="38">
                  <c:v>0.1284301168076089</c:v>
                </c:pt>
                <c:pt idx="39">
                  <c:v>0.13757927012905968</c:v>
                </c:pt>
                <c:pt idx="40">
                  <c:v>0.14095476662390305</c:v>
                </c:pt>
                <c:pt idx="41">
                  <c:v>0.1451552874136689</c:v>
                </c:pt>
                <c:pt idx="42">
                  <c:v>0.13667493249117108</c:v>
                </c:pt>
                <c:pt idx="43">
                  <c:v>0.14105568876193864</c:v>
                </c:pt>
                <c:pt idx="44">
                  <c:v>0.15551710675482955</c:v>
                </c:pt>
                <c:pt idx="45">
                  <c:v>0.15951156449131165</c:v>
                </c:pt>
                <c:pt idx="46">
                  <c:v>0.15804090049280345</c:v>
                </c:pt>
                <c:pt idx="47">
                  <c:v>0.16459434553871166</c:v>
                </c:pt>
                <c:pt idx="48">
                  <c:v>0.1706369234818864</c:v>
                </c:pt>
                <c:pt idx="49">
                  <c:v>0.17132623021400537</c:v>
                </c:pt>
                <c:pt idx="50">
                  <c:v>0.16068812652456177</c:v>
                </c:pt>
                <c:pt idx="51">
                  <c:v>0.15312520985353995</c:v>
                </c:pt>
                <c:pt idx="52">
                  <c:v>0.17835129560419463</c:v>
                </c:pt>
                <c:pt idx="53">
                  <c:v>0.20024687288783122</c:v>
                </c:pt>
                <c:pt idx="54">
                  <c:v>0.1280195928535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9281045751634"/>
          <c:min val="0.063835263835263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4799</c:v>
                </c:pt>
                <c:pt idx="1">
                  <c:v>915.0013</c:v>
                </c:pt>
                <c:pt idx="2">
                  <c:v>980.1085</c:v>
                </c:pt>
                <c:pt idx="3">
                  <c:v>1024.625</c:v>
                </c:pt>
                <c:pt idx="4">
                  <c:v>1023.2373</c:v>
                </c:pt>
                <c:pt idx="5">
                  <c:v>987.0326</c:v>
                </c:pt>
                <c:pt idx="6">
                  <c:v>1006.0047</c:v>
                </c:pt>
                <c:pt idx="7">
                  <c:v>1022.9748</c:v>
                </c:pt>
                <c:pt idx="8">
                  <c:v>963.807</c:v>
                </c:pt>
                <c:pt idx="9">
                  <c:v>1004.7385</c:v>
                </c:pt>
                <c:pt idx="10">
                  <c:v>1033.969</c:v>
                </c:pt>
                <c:pt idx="11">
                  <c:v>1065.4345</c:v>
                </c:pt>
                <c:pt idx="12">
                  <c:v>1016.9491</c:v>
                </c:pt>
                <c:pt idx="13">
                  <c:v>965.6025</c:v>
                </c:pt>
                <c:pt idx="14">
                  <c:v>996.748</c:v>
                </c:pt>
                <c:pt idx="15">
                  <c:v>1012.0185</c:v>
                </c:pt>
                <c:pt idx="16">
                  <c:v>1009.7517</c:v>
                </c:pt>
                <c:pt idx="17">
                  <c:v>1015.0163</c:v>
                </c:pt>
                <c:pt idx="18">
                  <c:v>1052.315</c:v>
                </c:pt>
                <c:pt idx="19">
                  <c:v>1032.2986</c:v>
                </c:pt>
                <c:pt idx="20">
                  <c:v>1003.479</c:v>
                </c:pt>
                <c:pt idx="21">
                  <c:v>1051.8101</c:v>
                </c:pt>
                <c:pt idx="22">
                  <c:v>1068.2986</c:v>
                </c:pt>
                <c:pt idx="23">
                  <c:v>1044.8654</c:v>
                </c:pt>
                <c:pt idx="24">
                  <c:v>1055.0286</c:v>
                </c:pt>
                <c:pt idx="25">
                  <c:v>1030.7351</c:v>
                </c:pt>
                <c:pt idx="26">
                  <c:v>1029.6875</c:v>
                </c:pt>
                <c:pt idx="27">
                  <c:v>1038.7222</c:v>
                </c:pt>
                <c:pt idx="28">
                  <c:v>1028.3022</c:v>
                </c:pt>
                <c:pt idx="29">
                  <c:v>755.7927</c:v>
                </c:pt>
                <c:pt idx="30">
                  <c:v>898.4646</c:v>
                </c:pt>
                <c:pt idx="31">
                  <c:v>920.98</c:v>
                </c:pt>
                <c:pt idx="32">
                  <c:v>922.1393</c:v>
                </c:pt>
                <c:pt idx="33">
                  <c:v>674.1903</c:v>
                </c:pt>
                <c:pt idx="34">
                  <c:v>945.8662</c:v>
                </c:pt>
                <c:pt idx="35">
                  <c:v>927.6842</c:v>
                </c:pt>
                <c:pt idx="36">
                  <c:v>1023.9833</c:v>
                </c:pt>
                <c:pt idx="37">
                  <c:v>1008.7478</c:v>
                </c:pt>
                <c:pt idx="38">
                  <c:v>1107.7071</c:v>
                </c:pt>
                <c:pt idx="39">
                  <c:v>1136.6849</c:v>
                </c:pt>
                <c:pt idx="40">
                  <c:v>1101.3186</c:v>
                </c:pt>
                <c:pt idx="41">
                  <c:v>1119.3592</c:v>
                </c:pt>
                <c:pt idx="42">
                  <c:v>1238.7157</c:v>
                </c:pt>
                <c:pt idx="43">
                  <c:v>1163.3934</c:v>
                </c:pt>
                <c:pt idx="44">
                  <c:v>1092.5057</c:v>
                </c:pt>
                <c:pt idx="45">
                  <c:v>1020.9869</c:v>
                </c:pt>
                <c:pt idx="46">
                  <c:v>999.0642</c:v>
                </c:pt>
                <c:pt idx="47">
                  <c:v>1020.5217</c:v>
                </c:pt>
                <c:pt idx="48">
                  <c:v>1069.5645</c:v>
                </c:pt>
                <c:pt idx="49">
                  <c:v>1038.0082</c:v>
                </c:pt>
                <c:pt idx="50">
                  <c:v>1036.9376</c:v>
                </c:pt>
                <c:pt idx="51">
                  <c:v>1058.4215</c:v>
                </c:pt>
                <c:pt idx="52">
                  <c:v>1063.3592</c:v>
                </c:pt>
                <c:pt idx="53">
                  <c:v>1108.2485</c:v>
                </c:pt>
                <c:pt idx="54">
                  <c:v>1128.0326</c:v>
                </c:pt>
                <c:pt idx="55">
                  <c:v>1150.349</c:v>
                </c:pt>
                <c:pt idx="56">
                  <c:v>1151.5135</c:v>
                </c:pt>
                <c:pt idx="57">
                  <c:v>1120.7571</c:v>
                </c:pt>
                <c:pt idx="58">
                  <c:v>1150.429</c:v>
                </c:pt>
                <c:pt idx="59">
                  <c:v>1100.9954</c:v>
                </c:pt>
                <c:pt idx="60">
                  <c:v>1132.3763</c:v>
                </c:pt>
                <c:pt idx="61">
                  <c:v>1167.8357</c:v>
                </c:pt>
                <c:pt idx="62">
                  <c:v>1136.6907</c:v>
                </c:pt>
                <c:pt idx="63">
                  <c:v>1154.0501</c:v>
                </c:pt>
                <c:pt idx="64">
                  <c:v>1157.124</c:v>
                </c:pt>
                <c:pt idx="65">
                  <c:v>1140.5904</c:v>
                </c:pt>
                <c:pt idx="66">
                  <c:v>1084.6073</c:v>
                </c:pt>
                <c:pt idx="67">
                  <c:v>1106.0897</c:v>
                </c:pt>
                <c:pt idx="68">
                  <c:v>1076.9452</c:v>
                </c:pt>
                <c:pt idx="69">
                  <c:v>1092.1898</c:v>
                </c:pt>
                <c:pt idx="70">
                  <c:v>1073.9686</c:v>
                </c:pt>
                <c:pt idx="71">
                  <c:v>1101.7065</c:v>
                </c:pt>
                <c:pt idx="72">
                  <c:v>1214.3621</c:v>
                </c:pt>
                <c:pt idx="73">
                  <c:v>1215.0046</c:v>
                </c:pt>
                <c:pt idx="74">
                  <c:v>1154.4016</c:v>
                </c:pt>
                <c:pt idx="75">
                  <c:v>1107.8187</c:v>
                </c:pt>
                <c:pt idx="76">
                  <c:v>1130.1241</c:v>
                </c:pt>
                <c:pt idx="77">
                  <c:v>951.6316</c:v>
                </c:pt>
                <c:pt idx="78">
                  <c:v>1077.5238</c:v>
                </c:pt>
                <c:pt idx="79">
                  <c:v>588.1061</c:v>
                </c:pt>
                <c:pt idx="80">
                  <c:v>709.24</c:v>
                </c:pt>
                <c:pt idx="81">
                  <c:v>982.6833</c:v>
                </c:pt>
                <c:pt idx="82">
                  <c:v>890.5</c:v>
                </c:pt>
                <c:pt idx="83">
                  <c:v>1045.2286</c:v>
                </c:pt>
                <c:pt idx="84">
                  <c:v>1054.0141</c:v>
                </c:pt>
                <c:pt idx="85">
                  <c:v>936.7227</c:v>
                </c:pt>
                <c:pt idx="86">
                  <c:v>989.4</c:v>
                </c:pt>
                <c:pt idx="87">
                  <c:v>1121.8047</c:v>
                </c:pt>
                <c:pt idx="88">
                  <c:v>976.7477</c:v>
                </c:pt>
                <c:pt idx="89">
                  <c:v>1088.4103</c:v>
                </c:pt>
                <c:pt idx="90">
                  <c:v>1191.8333</c:v>
                </c:pt>
                <c:pt idx="91">
                  <c:v>1336.6452</c:v>
                </c:pt>
                <c:pt idx="92">
                  <c:v>1020.16</c:v>
                </c:pt>
                <c:pt idx="93">
                  <c:v>1187.1304</c:v>
                </c:pt>
                <c:pt idx="94">
                  <c:v>1248.6962</c:v>
                </c:pt>
                <c:pt idx="95">
                  <c:v>1084.341</c:v>
                </c:pt>
                <c:pt idx="96">
                  <c:v>1086.8958</c:v>
                </c:pt>
                <c:pt idx="97">
                  <c:v>1134.3043</c:v>
                </c:pt>
                <c:pt idx="98">
                  <c:v>1151.7297</c:v>
                </c:pt>
                <c:pt idx="99">
                  <c:v>1131.9367</c:v>
                </c:pt>
                <c:pt idx="100">
                  <c:v>1114.0709</c:v>
                </c:pt>
                <c:pt idx="101">
                  <c:v>1151.9657</c:v>
                </c:pt>
                <c:pt idx="102">
                  <c:v>1186.1378</c:v>
                </c:pt>
                <c:pt idx="103">
                  <c:v>820.7839</c:v>
                </c:pt>
                <c:pt idx="104">
                  <c:v>965.9405</c:v>
                </c:pt>
              </c:numCache>
            </c:numRef>
          </c:xVal>
          <c:yVal>
            <c:numRef>
              <c:f>Sheet1!$B$2:$B$106</c:f>
              <c:numCache>
                <c:formatCode>General</c:formatCode>
                <c:ptCount val="105"/>
                <c:pt idx="0">
                  <c:v>0.2126108998732573</c:v>
                </c:pt>
                <c:pt idx="1">
                  <c:v>0.2202020202020202</c:v>
                </c:pt>
                <c:pt idx="2">
                  <c:v>0.19369250985545336</c:v>
                </c:pt>
                <c:pt idx="3">
                  <c:v>0.18197725284339458</c:v>
                </c:pt>
                <c:pt idx="4">
                  <c:v>0.17745302713987474</c:v>
                </c:pt>
                <c:pt idx="5">
                  <c:v>0.18027210884353742</c:v>
                </c:pt>
                <c:pt idx="6">
                  <c:v>0.18664731494920175</c:v>
                </c:pt>
                <c:pt idx="7">
                  <c:v>0.17332885455156197</c:v>
                </c:pt>
                <c:pt idx="8">
                  <c:v>0.20504947117024905</c:v>
                </c:pt>
                <c:pt idx="9">
                  <c:v>0.20260697081326154</c:v>
                </c:pt>
                <c:pt idx="10">
                  <c:v>0.2059800664451827</c:v>
                </c:pt>
                <c:pt idx="11">
                  <c:v>0.2217438105489774</c:v>
                </c:pt>
                <c:pt idx="12">
                  <c:v>0.21686746987951808</c:v>
                </c:pt>
                <c:pt idx="13">
                  <c:v>0.23910675381263616</c:v>
                </c:pt>
                <c:pt idx="14">
                  <c:v>0.21802067946824225</c:v>
                </c:pt>
                <c:pt idx="15">
                  <c:v>0.21406003159557663</c:v>
                </c:pt>
                <c:pt idx="16">
                  <c:v>0.20390153274500697</c:v>
                </c:pt>
                <c:pt idx="17">
                  <c:v>0.18865030674846625</c:v>
                </c:pt>
                <c:pt idx="18">
                  <c:v>0.17197020988490183</c:v>
                </c:pt>
                <c:pt idx="19">
                  <c:v>0.1664156626506024</c:v>
                </c:pt>
                <c:pt idx="20">
                  <c:v>0.18101933216168717</c:v>
                </c:pt>
                <c:pt idx="21">
                  <c:v>0.17286652078774617</c:v>
                </c:pt>
                <c:pt idx="22">
                  <c:v>0.17539484621778886</c:v>
                </c:pt>
                <c:pt idx="23">
                  <c:v>0.17011995637949837</c:v>
                </c:pt>
                <c:pt idx="24">
                  <c:v>0.1524390243902439</c:v>
                </c:pt>
                <c:pt idx="25">
                  <c:v>0.16063829787234044</c:v>
                </c:pt>
                <c:pt idx="26">
                  <c:v>0.1644398766700925</c:v>
                </c:pt>
                <c:pt idx="27">
                  <c:v>0.1532639545884579</c:v>
                </c:pt>
                <c:pt idx="28">
                  <c:v>0.14494264859228362</c:v>
                </c:pt>
                <c:pt idx="29">
                  <c:v>0.21612541993281076</c:v>
                </c:pt>
                <c:pt idx="30">
                  <c:v>0.15207373271889402</c:v>
                </c:pt>
                <c:pt idx="31">
                  <c:v>0.12987012987012986</c:v>
                </c:pt>
                <c:pt idx="32">
                  <c:v>0.1473429951690821</c:v>
                </c:pt>
                <c:pt idx="33">
                  <c:v>0.21606118546845124</c:v>
                </c:pt>
                <c:pt idx="34">
                  <c:v>0.15451577801958652</c:v>
                </c:pt>
                <c:pt idx="35">
                  <c:v>0.1661807580174927</c:v>
                </c:pt>
                <c:pt idx="36">
                  <c:v>0.12036108324974924</c:v>
                </c:pt>
                <c:pt idx="37">
                  <c:v>0.11867905056759546</c:v>
                </c:pt>
                <c:pt idx="38">
                  <c:v>0.10174717368961973</c:v>
                </c:pt>
                <c:pt idx="39">
                  <c:v>0.09034653465346534</c:v>
                </c:pt>
                <c:pt idx="40">
                  <c:v>0.11460446247464504</c:v>
                </c:pt>
                <c:pt idx="41">
                  <c:v>0.10488798370672098</c:v>
                </c:pt>
                <c:pt idx="42">
                  <c:v>0.09577464788732394</c:v>
                </c:pt>
                <c:pt idx="43">
                  <c:v>0.1160431198478123</c:v>
                </c:pt>
                <c:pt idx="44">
                  <c:v>0.12867647058823528</c:v>
                </c:pt>
                <c:pt idx="45">
                  <c:v>0.14929761515844495</c:v>
                </c:pt>
                <c:pt idx="46">
                  <c:v>0.15185601799775028</c:v>
                </c:pt>
                <c:pt idx="47">
                  <c:v>0.15810147299509</c:v>
                </c:pt>
                <c:pt idx="48">
                  <c:v>0.1802049487628093</c:v>
                </c:pt>
                <c:pt idx="49">
                  <c:v>0.21881227580709445</c:v>
                </c:pt>
                <c:pt idx="50">
                  <c:v>0.18270197787462286</c:v>
                </c:pt>
                <c:pt idx="51">
                  <c:v>0.16429395921508272</c:v>
                </c:pt>
                <c:pt idx="52">
                  <c:v>0.1867612293144208</c:v>
                </c:pt>
                <c:pt idx="53">
                  <c:v>0.17374784110535405</c:v>
                </c:pt>
                <c:pt idx="54">
                  <c:v>0.16777214202106905</c:v>
                </c:pt>
                <c:pt idx="55">
                  <c:v>0.15183867141162516</c:v>
                </c:pt>
                <c:pt idx="56">
                  <c:v>0.16754320060105185</c:v>
                </c:pt>
                <c:pt idx="57">
                  <c:v>0.15440535039255598</c:v>
                </c:pt>
                <c:pt idx="58">
                  <c:v>0.17499346063301072</c:v>
                </c:pt>
                <c:pt idx="59">
                  <c:v>0.19089062953292718</c:v>
                </c:pt>
                <c:pt idx="60">
                  <c:v>0.2</c:v>
                </c:pt>
                <c:pt idx="61">
                  <c:v>0.20842572062084258</c:v>
                </c:pt>
                <c:pt idx="62">
                  <c:v>0.22717331875341717</c:v>
                </c:pt>
                <c:pt idx="63">
                  <c:v>0.23230912476722532</c:v>
                </c:pt>
                <c:pt idx="64">
                  <c:v>0.21686455052095954</c:v>
                </c:pt>
                <c:pt idx="65">
                  <c:v>0.1894206549118388</c:v>
                </c:pt>
                <c:pt idx="66">
                  <c:v>0.1801209571391007</c:v>
                </c:pt>
                <c:pt idx="67">
                  <c:v>0.17367029091977668</c:v>
                </c:pt>
                <c:pt idx="68">
                  <c:v>0.16389627659574468</c:v>
                </c:pt>
                <c:pt idx="69">
                  <c:v>0.1389543099387659</c:v>
                </c:pt>
                <c:pt idx="70">
                  <c:v>0.12789661319073084</c:v>
                </c:pt>
                <c:pt idx="71">
                  <c:v>0.13288396726047183</c:v>
                </c:pt>
                <c:pt idx="72">
                  <c:v>0.12459720730397422</c:v>
                </c:pt>
                <c:pt idx="73">
                  <c:v>0.1265377855887522</c:v>
                </c:pt>
                <c:pt idx="74">
                  <c:v>0.1356309060589216</c:v>
                </c:pt>
                <c:pt idx="75">
                  <c:v>0.13549920760697307</c:v>
                </c:pt>
                <c:pt idx="76">
                  <c:v>0.12936732766761094</c:v>
                </c:pt>
                <c:pt idx="77">
                  <c:v>0.1310344827586207</c:v>
                </c:pt>
                <c:pt idx="78">
                  <c:v>0.1339001062699256</c:v>
                </c:pt>
                <c:pt idx="79">
                  <c:v>0.18510858324715615</c:v>
                </c:pt>
                <c:pt idx="80">
                  <c:v>0.14302059496567507</c:v>
                </c:pt>
                <c:pt idx="81">
                  <c:v>0.1218274111675127</c:v>
                </c:pt>
                <c:pt idx="82">
                  <c:v>0.10335917312661498</c:v>
                </c:pt>
                <c:pt idx="83">
                  <c:v>0.09859154929577464</c:v>
                </c:pt>
                <c:pt idx="84">
                  <c:v>0.09806629834254144</c:v>
                </c:pt>
                <c:pt idx="85">
                  <c:v>0.1386946386946387</c:v>
                </c:pt>
                <c:pt idx="86">
                  <c:v>0.12363996043521266</c:v>
                </c:pt>
                <c:pt idx="87">
                  <c:v>0.12660731948565776</c:v>
                </c:pt>
                <c:pt idx="88">
                  <c:v>0.12829736211031176</c:v>
                </c:pt>
                <c:pt idx="89">
                  <c:v>0.09885931558935361</c:v>
                </c:pt>
                <c:pt idx="90">
                  <c:v>0.09192200557103064</c:v>
                </c:pt>
                <c:pt idx="91">
                  <c:v>0.07979407979407979</c:v>
                </c:pt>
                <c:pt idx="92">
                  <c:v>0.10702054794520548</c:v>
                </c:pt>
                <c:pt idx="93">
                  <c:v>0.09905254091300603</c:v>
                </c:pt>
                <c:pt idx="94">
                  <c:v>0.09529553679131483</c:v>
                </c:pt>
                <c:pt idx="95">
                  <c:v>0.11752717391304347</c:v>
                </c:pt>
                <c:pt idx="96">
                  <c:v>0.125</c:v>
                </c:pt>
                <c:pt idx="97">
                  <c:v>0.12854686156491832</c:v>
                </c:pt>
                <c:pt idx="98">
                  <c:v>0.13950933723910655</c:v>
                </c:pt>
                <c:pt idx="99">
                  <c:v>0.14785757392878696</c:v>
                </c:pt>
                <c:pt idx="100">
                  <c:v>0.17091164588090638</c:v>
                </c:pt>
                <c:pt idx="101">
                  <c:v>0.14783159227603673</c:v>
                </c:pt>
                <c:pt idx="102">
                  <c:v>0.1341991341991342</c:v>
                </c:pt>
                <c:pt idx="103">
                  <c:v>0.17266424562561902</c:v>
                </c:pt>
                <c:pt idx="104">
                  <c:v>0.177150629037742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5.0152</c:v>
                </c:pt>
                <c:pt idx="1">
                  <c:v>1167.7584</c:v>
                </c:pt>
                <c:pt idx="2">
                  <c:v>1170.1322</c:v>
                </c:pt>
                <c:pt idx="3">
                  <c:v>1173.3338</c:v>
                </c:pt>
                <c:pt idx="4">
                  <c:v>1175.8034</c:v>
                </c:pt>
                <c:pt idx="5">
                  <c:v>1177.5024</c:v>
                </c:pt>
                <c:pt idx="6">
                  <c:v>1111.2459</c:v>
                </c:pt>
                <c:pt idx="7">
                  <c:v>1238.9148</c:v>
                </c:pt>
                <c:pt idx="8">
                  <c:v>1289.3482</c:v>
                </c:pt>
                <c:pt idx="9">
                  <c:v>1269.4597</c:v>
                </c:pt>
                <c:pt idx="10">
                  <c:v>1259.8662</c:v>
                </c:pt>
                <c:pt idx="11">
                  <c:v>1100.4799</c:v>
                </c:pt>
                <c:pt idx="12">
                  <c:v>1097.294</c:v>
                </c:pt>
                <c:pt idx="13">
                  <c:v>1210.481</c:v>
                </c:pt>
                <c:pt idx="14">
                  <c:v>1253.5106</c:v>
                </c:pt>
                <c:pt idx="15">
                  <c:v>1264.0</c:v>
                </c:pt>
                <c:pt idx="16">
                  <c:v>1331.8234</c:v>
                </c:pt>
                <c:pt idx="17">
                  <c:v>1333.9715</c:v>
                </c:pt>
                <c:pt idx="18">
                  <c:v>1358.5341</c:v>
                </c:pt>
                <c:pt idx="19">
                  <c:v>1273.3188</c:v>
                </c:pt>
                <c:pt idx="20">
                  <c:v>1216.0837</c:v>
                </c:pt>
                <c:pt idx="21">
                  <c:v>1080.7066</c:v>
                </c:pt>
                <c:pt idx="22">
                  <c:v>1041.6485</c:v>
                </c:pt>
                <c:pt idx="23">
                  <c:v>1076.8407</c:v>
                </c:pt>
                <c:pt idx="24">
                  <c:v>1112.0859</c:v>
                </c:pt>
                <c:pt idx="25">
                  <c:v>1169.6439</c:v>
                </c:pt>
                <c:pt idx="26">
                  <c:v>1343.729</c:v>
                </c:pt>
                <c:pt idx="27">
                  <c:v>1303.3186</c:v>
                </c:pt>
                <c:pt idx="28">
                  <c:v>1337.1746</c:v>
                </c:pt>
                <c:pt idx="29">
                  <c:v>1322.7582</c:v>
                </c:pt>
                <c:pt idx="30">
                  <c:v>1304.2785</c:v>
                </c:pt>
                <c:pt idx="31">
                  <c:v>1289.7778</c:v>
                </c:pt>
                <c:pt idx="32">
                  <c:v>1327.6818</c:v>
                </c:pt>
                <c:pt idx="33">
                  <c:v>1278.3393</c:v>
                </c:pt>
                <c:pt idx="34">
                  <c:v>1305.136</c:v>
                </c:pt>
                <c:pt idx="35">
                  <c:v>1256.3524</c:v>
                </c:pt>
                <c:pt idx="36">
                  <c:v>1272.7031</c:v>
                </c:pt>
                <c:pt idx="37">
                  <c:v>1206.7077</c:v>
                </c:pt>
                <c:pt idx="38">
                  <c:v>1142.0303</c:v>
                </c:pt>
                <c:pt idx="39">
                  <c:v>1140.3196</c:v>
                </c:pt>
                <c:pt idx="40">
                  <c:v>1200.7829</c:v>
                </c:pt>
                <c:pt idx="41">
                  <c:v>1267.2124</c:v>
                </c:pt>
                <c:pt idx="42">
                  <c:v>1202.6204</c:v>
                </c:pt>
                <c:pt idx="43">
                  <c:v>1187.8655</c:v>
                </c:pt>
                <c:pt idx="44">
                  <c:v>1211.8</c:v>
                </c:pt>
                <c:pt idx="45">
                  <c:v>1207.3119</c:v>
                </c:pt>
                <c:pt idx="46">
                  <c:v>1281.4626</c:v>
                </c:pt>
                <c:pt idx="47">
                  <c:v>1268.9928</c:v>
                </c:pt>
                <c:pt idx="48">
                  <c:v>1272.9357</c:v>
                </c:pt>
                <c:pt idx="49">
                  <c:v>1227.7158</c:v>
                </c:pt>
                <c:pt idx="50">
                  <c:v>1067.1154</c:v>
                </c:pt>
                <c:pt idx="51">
                  <c:v>1035.4477</c:v>
                </c:pt>
              </c:numCache>
            </c:numRef>
          </c:xVal>
          <c:yVal>
            <c:numRef>
              <c:f>Sheet1!$B$109:$B$160</c:f>
              <c:numCache>
                <c:formatCode>General</c:formatCode>
                <c:ptCount val="52"/>
                <c:pt idx="0">
                  <c:v>0.15441176470588236</c:v>
                </c:pt>
                <c:pt idx="1">
                  <c:v>0.16818897637795274</c:v>
                </c:pt>
                <c:pt idx="2">
                  <c:v>0.1799465240641711</c:v>
                </c:pt>
                <c:pt idx="3">
                  <c:v>0.18975754576942108</c:v>
                </c:pt>
                <c:pt idx="4">
                  <c:v>0.1834836527621195</c:v>
                </c:pt>
                <c:pt idx="5">
                  <c:v>0.1838106370543542</c:v>
                </c:pt>
                <c:pt idx="6">
                  <c:v>0.18599766627771294</c:v>
                </c:pt>
                <c:pt idx="7">
                  <c:v>0.1601123595505618</c:v>
                </c:pt>
                <c:pt idx="8">
                  <c:v>0.1750278706800446</c:v>
                </c:pt>
                <c:pt idx="9">
                  <c:v>0.19368570415040795</c:v>
                </c:pt>
                <c:pt idx="10">
                  <c:v>0.21005917159763313</c:v>
                </c:pt>
                <c:pt idx="11">
                  <c:v>0.21565537168374047</c:v>
                </c:pt>
                <c:pt idx="12">
                  <c:v>0.21050934880722114</c:v>
                </c:pt>
                <c:pt idx="13">
                  <c:v>0.19104084321475626</c:v>
                </c:pt>
                <c:pt idx="14">
                  <c:v>0.19130114264651676</c:v>
                </c:pt>
                <c:pt idx="15">
                  <c:v>0.1845718901453958</c:v>
                </c:pt>
                <c:pt idx="16">
                  <c:v>0.15836889521100048</c:v>
                </c:pt>
                <c:pt idx="17">
                  <c:v>0.13720022308979365</c:v>
                </c:pt>
                <c:pt idx="18">
                  <c:v>0.1414790996784566</c:v>
                </c:pt>
                <c:pt idx="19">
                  <c:v>0.15276752767527677</c:v>
                </c:pt>
                <c:pt idx="20">
                  <c:v>0.1524024024024024</c:v>
                </c:pt>
                <c:pt idx="21">
                  <c:v>0.1795252225519288</c:v>
                </c:pt>
                <c:pt idx="22">
                  <c:v>0.17729970326409494</c:v>
                </c:pt>
                <c:pt idx="23">
                  <c:v>0.1612046058458813</c:v>
                </c:pt>
                <c:pt idx="24">
                  <c:v>0.15479582146248813</c:v>
                </c:pt>
                <c:pt idx="25">
                  <c:v>0.13953488372093023</c:v>
                </c:pt>
                <c:pt idx="26">
                  <c:v>0.10219675262655205</c:v>
                </c:pt>
                <c:pt idx="27">
                  <c:v>0.113</c:v>
                </c:pt>
                <c:pt idx="28">
                  <c:v>0.123046875</c:v>
                </c:pt>
                <c:pt idx="29">
                  <c:v>0.11003627569528417</c:v>
                </c:pt>
                <c:pt idx="30">
                  <c:v>0.11253561253561253</c:v>
                </c:pt>
                <c:pt idx="31">
                  <c:v>0.11920529801324503</c:v>
                </c:pt>
                <c:pt idx="32">
                  <c:v>0.11624834874504623</c:v>
                </c:pt>
                <c:pt idx="33">
                  <c:v>0.13099415204678364</c:v>
                </c:pt>
                <c:pt idx="34">
                  <c:v>0.12135922330097088</c:v>
                </c:pt>
                <c:pt idx="35">
                  <c:v>0.11972633979475485</c:v>
                </c:pt>
                <c:pt idx="36">
                  <c:v>0.11829944547134935</c:v>
                </c:pt>
                <c:pt idx="37">
                  <c:v>0.10366826156299841</c:v>
                </c:pt>
                <c:pt idx="38">
                  <c:v>0.11956521739130435</c:v>
                </c:pt>
                <c:pt idx="39">
                  <c:v>0.11602870813397129</c:v>
                </c:pt>
                <c:pt idx="40">
                  <c:v>0.10794979079497909</c:v>
                </c:pt>
                <c:pt idx="41">
                  <c:v>0.10453283996299723</c:v>
                </c:pt>
                <c:pt idx="42">
                  <c:v>0.11816192560175055</c:v>
                </c:pt>
                <c:pt idx="43">
                  <c:v>0.11784975878704342</c:v>
                </c:pt>
                <c:pt idx="44">
                  <c:v>0.11979463776383342</c:v>
                </c:pt>
                <c:pt idx="45">
                  <c:v>0.12336374454581515</c:v>
                </c:pt>
                <c:pt idx="46">
                  <c:v>0.1049534085335949</c:v>
                </c:pt>
                <c:pt idx="47">
                  <c:v>0.11687763713080168</c:v>
                </c:pt>
                <c:pt idx="48">
                  <c:v>0.11664167916041979</c:v>
                </c:pt>
                <c:pt idx="49">
                  <c:v>0.13784097504352874</c:v>
                </c:pt>
                <c:pt idx="50">
                  <c:v>0.1993911719939117</c:v>
                </c:pt>
                <c:pt idx="51">
                  <c:v>0.180868429644139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1.2178658872431</c:v>
                </c:pt>
              </c:numCache>
            </c:numRef>
          </c:xVal>
          <c:yVal>
            <c:numRef>
              <c:f>Sheet1!$B$163:$B$164</c:f>
              <c:numCache>
                <c:formatCode>General</c:formatCode>
                <c:ptCount val="2"/>
                <c:pt idx="0">
                  <c:v>0.20024687288783122</c:v>
                </c:pt>
                <c:pt idx="1">
                  <c:v>0.200246872887831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1.2178658872431</c:v>
                </c:pt>
                <c:pt idx="1">
                  <c:v>961.2178658872431</c:v>
                </c:pt>
              </c:numCache>
            </c:numRef>
          </c:xVal>
          <c:yVal>
            <c:numRef>
              <c:f>Sheet1!$B$167:$B$168</c:f>
              <c:numCache>
                <c:formatCode>General</c:formatCode>
                <c:ptCount val="2"/>
                <c:pt idx="0">
                  <c:v>0.200246872887831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9.6783261397377</c:v>
                </c:pt>
              </c:numCache>
            </c:numRef>
          </c:xVal>
          <c:yVal>
            <c:numRef>
              <c:f>Sheet1!$B$171:$B$172</c:f>
              <c:numCache>
                <c:formatCode>General</c:formatCode>
                <c:ptCount val="2"/>
                <c:pt idx="0">
                  <c:v>0.17835129560419463</c:v>
                </c:pt>
                <c:pt idx="1">
                  <c:v>0.1783512956041946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9.6783261397377</c:v>
                </c:pt>
                <c:pt idx="1">
                  <c:v>1069.6783261397377</c:v>
                </c:pt>
              </c:numCache>
            </c:numRef>
          </c:xVal>
          <c:yVal>
            <c:numRef>
              <c:f>Sheet1!$B$175:$B$176</c:f>
              <c:numCache>
                <c:formatCode>General</c:formatCode>
                <c:ptCount val="2"/>
                <c:pt idx="0">
                  <c:v>0.178351295604194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9980666017113</c:v>
                </c:pt>
              </c:numCache>
            </c:numRef>
          </c:xVal>
          <c:yVal>
            <c:numRef>
              <c:f>Sheet1!$B$179:$B$180</c:f>
              <c:numCache>
                <c:formatCode>General</c:formatCode>
                <c:ptCount val="2"/>
                <c:pt idx="0">
                  <c:v>0.128019592853599</c:v>
                </c:pt>
                <c:pt idx="1">
                  <c:v>0.12801959285359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9980666017113</c:v>
                </c:pt>
                <c:pt idx="1">
                  <c:v>1318.9980666017113</c:v>
                </c:pt>
              </c:numCache>
            </c:numRef>
          </c:xVal>
          <c:yVal>
            <c:numRef>
              <c:f>Sheet1!$B$183:$B$184</c:f>
              <c:numCache>
                <c:formatCode>General</c:formatCode>
                <c:ptCount val="2"/>
                <c:pt idx="0">
                  <c:v>0.1280195928535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5.0152</c:v>
                </c:pt>
                <c:pt idx="1">
                  <c:v>1167.7584</c:v>
                </c:pt>
                <c:pt idx="2">
                  <c:v>1170.1322</c:v>
                </c:pt>
                <c:pt idx="3">
                  <c:v>1173.3338</c:v>
                </c:pt>
                <c:pt idx="4">
                  <c:v>1175.8034</c:v>
                </c:pt>
                <c:pt idx="5">
                  <c:v>1177.5024</c:v>
                </c:pt>
                <c:pt idx="6">
                  <c:v>1111.2459</c:v>
                </c:pt>
                <c:pt idx="7">
                  <c:v>1238.9148</c:v>
                </c:pt>
                <c:pt idx="8">
                  <c:v>1289.3482</c:v>
                </c:pt>
                <c:pt idx="9">
                  <c:v>1269.4597</c:v>
                </c:pt>
                <c:pt idx="10">
                  <c:v>1259.8662</c:v>
                </c:pt>
                <c:pt idx="11">
                  <c:v>1100.4799</c:v>
                </c:pt>
                <c:pt idx="12">
                  <c:v>1097.294</c:v>
                </c:pt>
                <c:pt idx="13">
                  <c:v>1210.481</c:v>
                </c:pt>
                <c:pt idx="14">
                  <c:v>1253.5106</c:v>
                </c:pt>
                <c:pt idx="15">
                  <c:v>1264.0</c:v>
                </c:pt>
                <c:pt idx="16">
                  <c:v>1331.8234</c:v>
                </c:pt>
                <c:pt idx="17">
                  <c:v>1333.9715</c:v>
                </c:pt>
                <c:pt idx="18">
                  <c:v>1358.5341</c:v>
                </c:pt>
                <c:pt idx="19">
                  <c:v>1273.3188</c:v>
                </c:pt>
                <c:pt idx="20">
                  <c:v>1216.0837</c:v>
                </c:pt>
                <c:pt idx="21">
                  <c:v>1080.7066</c:v>
                </c:pt>
                <c:pt idx="22">
                  <c:v>1041.6485</c:v>
                </c:pt>
                <c:pt idx="23">
                  <c:v>1076.8407</c:v>
                </c:pt>
                <c:pt idx="24">
                  <c:v>1112.0859</c:v>
                </c:pt>
                <c:pt idx="25">
                  <c:v>1169.6439</c:v>
                </c:pt>
                <c:pt idx="26">
                  <c:v>1343.729</c:v>
                </c:pt>
                <c:pt idx="27">
                  <c:v>1303.3186</c:v>
                </c:pt>
                <c:pt idx="28">
                  <c:v>1337.1746</c:v>
                </c:pt>
                <c:pt idx="29">
                  <c:v>1322.7582</c:v>
                </c:pt>
                <c:pt idx="30">
                  <c:v>1304.2785</c:v>
                </c:pt>
                <c:pt idx="31">
                  <c:v>1289.7778</c:v>
                </c:pt>
                <c:pt idx="32">
                  <c:v>1327.6818</c:v>
                </c:pt>
                <c:pt idx="33">
                  <c:v>1278.3393</c:v>
                </c:pt>
                <c:pt idx="34">
                  <c:v>1305.136</c:v>
                </c:pt>
                <c:pt idx="35">
                  <c:v>1256.3524</c:v>
                </c:pt>
                <c:pt idx="36">
                  <c:v>1272.7031</c:v>
                </c:pt>
                <c:pt idx="37">
                  <c:v>1206.7077</c:v>
                </c:pt>
                <c:pt idx="38">
                  <c:v>1142.0303</c:v>
                </c:pt>
                <c:pt idx="39">
                  <c:v>1140.3196</c:v>
                </c:pt>
                <c:pt idx="40">
                  <c:v>1200.7829</c:v>
                </c:pt>
                <c:pt idx="41">
                  <c:v>1267.2124</c:v>
                </c:pt>
                <c:pt idx="42">
                  <c:v>1202.6204</c:v>
                </c:pt>
                <c:pt idx="43">
                  <c:v>1187.8655</c:v>
                </c:pt>
                <c:pt idx="44">
                  <c:v>1211.8</c:v>
                </c:pt>
                <c:pt idx="45">
                  <c:v>1207.3119</c:v>
                </c:pt>
                <c:pt idx="46">
                  <c:v>1281.4626</c:v>
                </c:pt>
                <c:pt idx="47">
                  <c:v>1268.9928</c:v>
                </c:pt>
                <c:pt idx="48">
                  <c:v>1272.9357</c:v>
                </c:pt>
                <c:pt idx="49">
                  <c:v>1227.7158</c:v>
                </c:pt>
                <c:pt idx="50">
                  <c:v>1067.1154</c:v>
                </c:pt>
                <c:pt idx="51">
                  <c:v>1035.4477</c:v>
                </c:pt>
                <c:pt idx="52">
                  <c:v>1069.6783261397377</c:v>
                </c:pt>
                <c:pt idx="53">
                  <c:v>961.2178658872431</c:v>
                </c:pt>
                <c:pt idx="54">
                  <c:v>1318.9980666017113</c:v>
                </c:pt>
              </c:numCache>
            </c:numRef>
          </c:xVal>
          <c:yVal>
            <c:numRef>
              <c:f>Sheet1!$B$187:$B$241</c:f>
              <c:numCache>
                <c:formatCode>General</c:formatCode>
                <c:ptCount val="55"/>
                <c:pt idx="0">
                  <c:v>0.15708629583326658</c:v>
                </c:pt>
                <c:pt idx="1">
                  <c:v>0.1585512704872741</c:v>
                </c:pt>
                <c:pt idx="2">
                  <c:v>0.15807205694498508</c:v>
                </c:pt>
                <c:pt idx="3">
                  <c:v>0.15742573034754948</c:v>
                </c:pt>
                <c:pt idx="4">
                  <c:v>0.15692717707261605</c:v>
                </c:pt>
                <c:pt idx="5">
                  <c:v>0.15658418953855713</c:v>
                </c:pt>
                <c:pt idx="6">
                  <c:v>0.16995979492429863</c:v>
                </c:pt>
                <c:pt idx="7">
                  <c:v>0.1441864922833247</c:v>
                </c:pt>
                <c:pt idx="8">
                  <c:v>0.13400519298950064</c:v>
                </c:pt>
                <c:pt idx="9">
                  <c:v>0.13802020627445105</c:v>
                </c:pt>
                <c:pt idx="10">
                  <c:v>0.1399569048665607</c:v>
                </c:pt>
                <c:pt idx="11">
                  <c:v>0.17213319327137236</c:v>
                </c:pt>
                <c:pt idx="12">
                  <c:v>0.17277635041366685</c:v>
                </c:pt>
                <c:pt idx="13">
                  <c:v>0.14992659760758864</c:v>
                </c:pt>
                <c:pt idx="14">
                  <c:v>0.1412399487579467</c:v>
                </c:pt>
                <c:pt idx="15">
                  <c:v>0.13912238934667087</c:v>
                </c:pt>
                <c:pt idx="16">
                  <c:v>0.1254304642628029</c:v>
                </c:pt>
                <c:pt idx="17">
                  <c:v>0.12499681416161867</c:v>
                </c:pt>
                <c:pt idx="18">
                  <c:v>0.12003821168717749</c:v>
                </c:pt>
                <c:pt idx="19">
                  <c:v>0.1372411461257243</c:v>
                </c:pt>
                <c:pt idx="20">
                  <c:v>0.1487955462496888</c:v>
                </c:pt>
                <c:pt idx="21">
                  <c:v>0.17612495042687987</c:v>
                </c:pt>
                <c:pt idx="22">
                  <c:v>0.18400984825149827</c:v>
                </c:pt>
                <c:pt idx="23">
                  <c:v>0.17690538333324737</c:v>
                </c:pt>
                <c:pt idx="24">
                  <c:v>0.1697902189804437</c:v>
                </c:pt>
                <c:pt idx="25">
                  <c:v>0.15817063305615692</c:v>
                </c:pt>
                <c:pt idx="26">
                  <c:v>0.12302700788523263</c:v>
                </c:pt>
                <c:pt idx="27">
                  <c:v>0.13118490279184508</c:v>
                </c:pt>
                <c:pt idx="28">
                  <c:v>0.12435018474999765</c:v>
                </c:pt>
                <c:pt idx="29">
                  <c:v>0.1272605116987952</c:v>
                </c:pt>
                <c:pt idx="30">
                  <c:v>0.13099112190076617</c:v>
                </c:pt>
                <c:pt idx="31">
                  <c:v>0.13391846700678622</c:v>
                </c:pt>
                <c:pt idx="32">
                  <c:v>0.12626655441645707</c:v>
                </c:pt>
                <c:pt idx="33">
                  <c:v>0.13622762704700575</c:v>
                </c:pt>
                <c:pt idx="34">
                  <c:v>0.1308180131247476</c:v>
                </c:pt>
                <c:pt idx="35">
                  <c:v>0.14066625718979564</c:v>
                </c:pt>
                <c:pt idx="36">
                  <c:v>0.13736544125504746</c:v>
                </c:pt>
                <c:pt idx="37">
                  <c:v>0.1506883367849074</c:v>
                </c:pt>
                <c:pt idx="38">
                  <c:v>0.163745159583814</c:v>
                </c:pt>
                <c:pt idx="39">
                  <c:v>0.16409050906851946</c:v>
                </c:pt>
                <c:pt idx="40">
                  <c:v>0.1518844124422307</c:v>
                </c:pt>
                <c:pt idx="41">
                  <c:v>0.13847388248710008</c:v>
                </c:pt>
                <c:pt idx="42">
                  <c:v>0.15151346506504806</c:v>
                </c:pt>
                <c:pt idx="43">
                  <c:v>0.15449212708169663</c:v>
                </c:pt>
                <c:pt idx="44">
                  <c:v>0.1496603230005117</c:v>
                </c:pt>
                <c:pt idx="45">
                  <c:v>0.15056636323100606</c:v>
                </c:pt>
                <c:pt idx="46">
                  <c:v>0.13559710735005093</c:v>
                </c:pt>
                <c:pt idx="47">
                  <c:v>0.13811446223657708</c:v>
                </c:pt>
                <c:pt idx="48">
                  <c:v>0.13731848486868953</c:v>
                </c:pt>
                <c:pt idx="49">
                  <c:v>0.14644730299193318</c:v>
                </c:pt>
                <c:pt idx="50">
                  <c:v>0.17886868919845234</c:v>
                </c:pt>
                <c:pt idx="51">
                  <c:v>0.18526164171894532</c:v>
                </c:pt>
                <c:pt idx="52">
                  <c:v>0.17835129560419463</c:v>
                </c:pt>
                <c:pt idx="53">
                  <c:v>0.20024687288783122</c:v>
                </c:pt>
                <c:pt idx="54">
                  <c:v>0.128019592853598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0.0"/>
          <c:min val="4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9281045751634"/>
          <c:min val="0.063835263835263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2807113210820624</c:v>
                </c:pt>
                <c:pt idx="1">
                  <c:v>2.4177862674691415</c:v>
                </c:pt>
                <c:pt idx="2">
                  <c:v>2.5637257274093415</c:v>
                </c:pt>
                <c:pt idx="3">
                  <c:v>2.594749344111182</c:v>
                </c:pt>
                <c:pt idx="4">
                  <c:v>2.7125146761258367</c:v>
                </c:pt>
                <c:pt idx="5">
                  <c:v>2.1873448881310877</c:v>
                </c:pt>
                <c:pt idx="6">
                  <c:v>2.028643464955247</c:v>
                </c:pt>
                <c:pt idx="7">
                  <c:v>2.0390486437700246</c:v>
                </c:pt>
                <c:pt idx="8">
                  <c:v>1.941397925269413</c:v>
                </c:pt>
                <c:pt idx="9">
                  <c:v>2.072973419627234</c:v>
                </c:pt>
                <c:pt idx="10">
                  <c:v>2.1092764434492968</c:v>
                </c:pt>
                <c:pt idx="11">
                  <c:v>2.1371213622574206</c:v>
                </c:pt>
                <c:pt idx="12">
                  <c:v>2.029100999417178</c:v>
                </c:pt>
                <c:pt idx="13">
                  <c:v>1.9352101108454056</c:v>
                </c:pt>
                <c:pt idx="14">
                  <c:v>1.9667109699579488</c:v>
                </c:pt>
                <c:pt idx="15">
                  <c:v>1.9411763351912916</c:v>
                </c:pt>
                <c:pt idx="16">
                  <c:v>1.8759406625965467</c:v>
                </c:pt>
                <c:pt idx="17">
                  <c:v>2.238477374650037</c:v>
                </c:pt>
                <c:pt idx="18">
                  <c:v>2.3240387830452494</c:v>
                </c:pt>
                <c:pt idx="19">
                  <c:v>2.259113169402423</c:v>
                </c:pt>
                <c:pt idx="20">
                  <c:v>2.1950731334488025</c:v>
                </c:pt>
                <c:pt idx="21">
                  <c:v>2.3080036135994044</c:v>
                </c:pt>
                <c:pt idx="22">
                  <c:v>2.3726787340366466</c:v>
                </c:pt>
                <c:pt idx="23">
                  <c:v>2.4223129090208118</c:v>
                </c:pt>
                <c:pt idx="24">
                  <c:v>2.491970639476658</c:v>
                </c:pt>
                <c:pt idx="25">
                  <c:v>2.4816855818423944</c:v>
                </c:pt>
                <c:pt idx="26">
                  <c:v>2.060411386927625</c:v>
                </c:pt>
                <c:pt idx="27">
                  <c:v>2.0205525111641554</c:v>
                </c:pt>
                <c:pt idx="28">
                  <c:v>1.9917479095214181</c:v>
                </c:pt>
                <c:pt idx="29">
                  <c:v>1.4586731967272752</c:v>
                </c:pt>
                <c:pt idx="30">
                  <c:v>1.764838090104771</c:v>
                </c:pt>
                <c:pt idx="31">
                  <c:v>1.7433772468238518</c:v>
                </c:pt>
                <c:pt idx="32">
                  <c:v>1.8089327771084127</c:v>
                </c:pt>
                <c:pt idx="33">
                  <c:v>1.2753842382032827</c:v>
                </c:pt>
                <c:pt idx="34">
                  <c:v>1.8124899757617032</c:v>
                </c:pt>
                <c:pt idx="35">
                  <c:v>1.8000122628772823</c:v>
                </c:pt>
                <c:pt idx="36">
                  <c:v>2.006709456263015</c:v>
                </c:pt>
                <c:pt idx="37">
                  <c:v>1.9601357553636425</c:v>
                </c:pt>
                <c:pt idx="38">
                  <c:v>2.1879385058314695</c:v>
                </c:pt>
                <c:pt idx="39">
                  <c:v>2.2200308937408044</c:v>
                </c:pt>
                <c:pt idx="40">
                  <c:v>2.158614840662497</c:v>
                </c:pt>
                <c:pt idx="41">
                  <c:v>2.189142637991517</c:v>
                </c:pt>
                <c:pt idx="42">
                  <c:v>2.4515882278548906</c:v>
                </c:pt>
                <c:pt idx="43">
                  <c:v>2.319296862711559</c:v>
                </c:pt>
                <c:pt idx="44">
                  <c:v>2.192161793337508</c:v>
                </c:pt>
                <c:pt idx="45">
                  <c:v>2.0468830442934336</c:v>
                </c:pt>
                <c:pt idx="46">
                  <c:v>2.0644070129123566</c:v>
                </c:pt>
                <c:pt idx="47">
                  <c:v>2.105515549432967</c:v>
                </c:pt>
                <c:pt idx="48">
                  <c:v>2.179809032119215</c:v>
                </c:pt>
                <c:pt idx="49">
                  <c:v>2.1324609349801773</c:v>
                </c:pt>
                <c:pt idx="50">
                  <c:v>2.1044661407146563</c:v>
                </c:pt>
                <c:pt idx="51">
                  <c:v>2.1614934014933276</c:v>
                </c:pt>
                <c:pt idx="52">
                  <c:v>2.200501205417654</c:v>
                </c:pt>
                <c:pt idx="53">
                  <c:v>2.276718948243786</c:v>
                </c:pt>
                <c:pt idx="54">
                  <c:v>2.4085639053820453</c:v>
                </c:pt>
                <c:pt idx="55">
                  <c:v>2.4782935037996867</c:v>
                </c:pt>
                <c:pt idx="56">
                  <c:v>2.4669329880453166</c:v>
                </c:pt>
                <c:pt idx="57">
                  <c:v>2.4245093793252046</c:v>
                </c:pt>
                <c:pt idx="58">
                  <c:v>2.4557804164133534</c:v>
                </c:pt>
                <c:pt idx="59">
                  <c:v>2.455701064320009</c:v>
                </c:pt>
                <c:pt idx="60">
                  <c:v>2.5141608790244567</c:v>
                </c:pt>
                <c:pt idx="61">
                  <c:v>2.4675631435345506</c:v>
                </c:pt>
                <c:pt idx="62">
                  <c:v>2.4353502105962064</c:v>
                </c:pt>
                <c:pt idx="63">
                  <c:v>2.454330695432272</c:v>
                </c:pt>
                <c:pt idx="64">
                  <c:v>2.408930031308571</c:v>
                </c:pt>
                <c:pt idx="65">
                  <c:v>2.4212362419193267</c:v>
                </c:pt>
                <c:pt idx="66">
                  <c:v>2.2785015602357723</c:v>
                </c:pt>
                <c:pt idx="67">
                  <c:v>2.312167705106717</c:v>
                </c:pt>
                <c:pt idx="68">
                  <c:v>2.2009466391449184</c:v>
                </c:pt>
                <c:pt idx="69">
                  <c:v>2.2226256531898296</c:v>
                </c:pt>
                <c:pt idx="70">
                  <c:v>2.2017731967893353</c:v>
                </c:pt>
                <c:pt idx="71">
                  <c:v>2.254768970943594</c:v>
                </c:pt>
                <c:pt idx="72">
                  <c:v>2.546629584480006</c:v>
                </c:pt>
                <c:pt idx="73">
                  <c:v>2.5080289650446073</c:v>
                </c:pt>
                <c:pt idx="74">
                  <c:v>2.3572007748694648</c:v>
                </c:pt>
                <c:pt idx="75">
                  <c:v>2.2582653194765676</c:v>
                </c:pt>
                <c:pt idx="76">
                  <c:v>2.4601849725327654</c:v>
                </c:pt>
                <c:pt idx="77">
                  <c:v>2.071446871524712</c:v>
                </c:pt>
                <c:pt idx="78">
                  <c:v>2.2745021799909444</c:v>
                </c:pt>
                <c:pt idx="79">
                  <c:v>1.2646404101856576</c:v>
                </c:pt>
                <c:pt idx="80">
                  <c:v>1.6051299704000128</c:v>
                </c:pt>
                <c:pt idx="81">
                  <c:v>2.1358640865749305</c:v>
                </c:pt>
                <c:pt idx="82">
                  <c:v>1.973875683292367</c:v>
                </c:pt>
                <c:pt idx="83">
                  <c:v>2.266940808914828</c:v>
                </c:pt>
                <c:pt idx="84">
                  <c:v>2.3508021168533753</c:v>
                </c:pt>
                <c:pt idx="85">
                  <c:v>2.002028482102936</c:v>
                </c:pt>
                <c:pt idx="86">
                  <c:v>2.129736559724215</c:v>
                </c:pt>
                <c:pt idx="87">
                  <c:v>2.486723417574486</c:v>
                </c:pt>
                <c:pt idx="88">
                  <c:v>2.1112884542349186</c:v>
                </c:pt>
                <c:pt idx="89">
                  <c:v>2.3096886745687093</c:v>
                </c:pt>
                <c:pt idx="90">
                  <c:v>2.5986543105756477</c:v>
                </c:pt>
                <c:pt idx="91">
                  <c:v>2.911085315044745</c:v>
                </c:pt>
                <c:pt idx="92">
                  <c:v>2.2256013089719118</c:v>
                </c:pt>
                <c:pt idx="93">
                  <c:v>2.331963643435369</c:v>
                </c:pt>
                <c:pt idx="94">
                  <c:v>2.3147991881957677</c:v>
                </c:pt>
                <c:pt idx="95">
                  <c:v>2.0364568905532665</c:v>
                </c:pt>
                <c:pt idx="96">
                  <c:v>2.0665197972372904</c:v>
                </c:pt>
                <c:pt idx="97">
                  <c:v>2.1998889102009254</c:v>
                </c:pt>
                <c:pt idx="98">
                  <c:v>2.3212218538701856</c:v>
                </c:pt>
                <c:pt idx="99">
                  <c:v>2.7297506648110397</c:v>
                </c:pt>
                <c:pt idx="100">
                  <c:v>2.2004991299298213</c:v>
                </c:pt>
                <c:pt idx="101">
                  <c:v>2.0284693228901616</c:v>
                </c:pt>
                <c:pt idx="102">
                  <c:v>1.9633670978896256</c:v>
                </c:pt>
                <c:pt idx="103">
                  <c:v>1.3854751819020443</c:v>
                </c:pt>
                <c:pt idx="104">
                  <c:v>1.5822287080487003</c:v>
                </c:pt>
              </c:numCache>
            </c:numRef>
          </c:xVal>
          <c:yVal>
            <c:numRef>
              <c:f>Sheet1!$B$2:$B$106</c:f>
              <c:numCache>
                <c:formatCode>General</c:formatCode>
                <c:ptCount val="105"/>
                <c:pt idx="0">
                  <c:v>0.2126108998732573</c:v>
                </c:pt>
                <c:pt idx="1">
                  <c:v>0.2202020202020202</c:v>
                </c:pt>
                <c:pt idx="2">
                  <c:v>0.19369250985545336</c:v>
                </c:pt>
                <c:pt idx="3">
                  <c:v>0.18197725284339458</c:v>
                </c:pt>
                <c:pt idx="4">
                  <c:v>0.17745302713987474</c:v>
                </c:pt>
                <c:pt idx="5">
                  <c:v>0.18027210884353742</c:v>
                </c:pt>
                <c:pt idx="6">
                  <c:v>0.18664731494920175</c:v>
                </c:pt>
                <c:pt idx="7">
                  <c:v>0.17332885455156197</c:v>
                </c:pt>
                <c:pt idx="8">
                  <c:v>0.20504947117024905</c:v>
                </c:pt>
                <c:pt idx="9">
                  <c:v>0.20260697081326154</c:v>
                </c:pt>
                <c:pt idx="10">
                  <c:v>0.2059800664451827</c:v>
                </c:pt>
                <c:pt idx="11">
                  <c:v>0.2217438105489774</c:v>
                </c:pt>
                <c:pt idx="12">
                  <c:v>0.21686746987951808</c:v>
                </c:pt>
                <c:pt idx="13">
                  <c:v>0.23910675381263616</c:v>
                </c:pt>
                <c:pt idx="14">
                  <c:v>0.21802067946824225</c:v>
                </c:pt>
                <c:pt idx="15">
                  <c:v>0.21406003159557663</c:v>
                </c:pt>
                <c:pt idx="16">
                  <c:v>0.20390153274500697</c:v>
                </c:pt>
                <c:pt idx="17">
                  <c:v>0.18865030674846625</c:v>
                </c:pt>
                <c:pt idx="18">
                  <c:v>0.17197020988490183</c:v>
                </c:pt>
                <c:pt idx="19">
                  <c:v>0.1664156626506024</c:v>
                </c:pt>
                <c:pt idx="20">
                  <c:v>0.18101933216168717</c:v>
                </c:pt>
                <c:pt idx="21">
                  <c:v>0.17286652078774617</c:v>
                </c:pt>
                <c:pt idx="22">
                  <c:v>0.17539484621778886</c:v>
                </c:pt>
                <c:pt idx="23">
                  <c:v>0.17011995637949837</c:v>
                </c:pt>
                <c:pt idx="24">
                  <c:v>0.1524390243902439</c:v>
                </c:pt>
                <c:pt idx="25">
                  <c:v>0.16063829787234044</c:v>
                </c:pt>
                <c:pt idx="26">
                  <c:v>0.1644398766700925</c:v>
                </c:pt>
                <c:pt idx="27">
                  <c:v>0.1532639545884579</c:v>
                </c:pt>
                <c:pt idx="28">
                  <c:v>0.14494264859228362</c:v>
                </c:pt>
                <c:pt idx="29">
                  <c:v>0.21612541993281076</c:v>
                </c:pt>
                <c:pt idx="30">
                  <c:v>0.15207373271889402</c:v>
                </c:pt>
                <c:pt idx="31">
                  <c:v>0.12987012987012986</c:v>
                </c:pt>
                <c:pt idx="32">
                  <c:v>0.1473429951690821</c:v>
                </c:pt>
                <c:pt idx="33">
                  <c:v>0.21606118546845124</c:v>
                </c:pt>
                <c:pt idx="34">
                  <c:v>0.15451577801958652</c:v>
                </c:pt>
                <c:pt idx="35">
                  <c:v>0.1661807580174927</c:v>
                </c:pt>
                <c:pt idx="36">
                  <c:v>0.12036108324974924</c:v>
                </c:pt>
                <c:pt idx="37">
                  <c:v>0.11867905056759546</c:v>
                </c:pt>
                <c:pt idx="38">
                  <c:v>0.10174717368961973</c:v>
                </c:pt>
                <c:pt idx="39">
                  <c:v>0.09034653465346534</c:v>
                </c:pt>
                <c:pt idx="40">
                  <c:v>0.11460446247464504</c:v>
                </c:pt>
                <c:pt idx="41">
                  <c:v>0.10488798370672098</c:v>
                </c:pt>
                <c:pt idx="42">
                  <c:v>0.09577464788732394</c:v>
                </c:pt>
                <c:pt idx="43">
                  <c:v>0.1160431198478123</c:v>
                </c:pt>
                <c:pt idx="44">
                  <c:v>0.12867647058823528</c:v>
                </c:pt>
                <c:pt idx="45">
                  <c:v>0.14929761515844495</c:v>
                </c:pt>
                <c:pt idx="46">
                  <c:v>0.15185601799775028</c:v>
                </c:pt>
                <c:pt idx="47">
                  <c:v>0.15810147299509</c:v>
                </c:pt>
                <c:pt idx="48">
                  <c:v>0.1802049487628093</c:v>
                </c:pt>
                <c:pt idx="49">
                  <c:v>0.21881227580709445</c:v>
                </c:pt>
                <c:pt idx="50">
                  <c:v>0.18270197787462286</c:v>
                </c:pt>
                <c:pt idx="51">
                  <c:v>0.16429395921508272</c:v>
                </c:pt>
                <c:pt idx="52">
                  <c:v>0.1867612293144208</c:v>
                </c:pt>
                <c:pt idx="53">
                  <c:v>0.17374784110535405</c:v>
                </c:pt>
                <c:pt idx="54">
                  <c:v>0.16777214202106905</c:v>
                </c:pt>
                <c:pt idx="55">
                  <c:v>0.15183867141162516</c:v>
                </c:pt>
                <c:pt idx="56">
                  <c:v>0.16754320060105185</c:v>
                </c:pt>
                <c:pt idx="57">
                  <c:v>0.15440535039255598</c:v>
                </c:pt>
                <c:pt idx="58">
                  <c:v>0.17499346063301072</c:v>
                </c:pt>
                <c:pt idx="59">
                  <c:v>0.19089062953292718</c:v>
                </c:pt>
                <c:pt idx="60">
                  <c:v>0.2</c:v>
                </c:pt>
                <c:pt idx="61">
                  <c:v>0.20842572062084258</c:v>
                </c:pt>
                <c:pt idx="62">
                  <c:v>0.22717331875341717</c:v>
                </c:pt>
                <c:pt idx="63">
                  <c:v>0.23230912476722532</c:v>
                </c:pt>
                <c:pt idx="64">
                  <c:v>0.21686455052095954</c:v>
                </c:pt>
                <c:pt idx="65">
                  <c:v>0.1894206549118388</c:v>
                </c:pt>
                <c:pt idx="66">
                  <c:v>0.1801209571391007</c:v>
                </c:pt>
                <c:pt idx="67">
                  <c:v>0.17367029091977668</c:v>
                </c:pt>
                <c:pt idx="68">
                  <c:v>0.16389627659574468</c:v>
                </c:pt>
                <c:pt idx="69">
                  <c:v>0.1389543099387659</c:v>
                </c:pt>
                <c:pt idx="70">
                  <c:v>0.12789661319073084</c:v>
                </c:pt>
                <c:pt idx="71">
                  <c:v>0.13288396726047183</c:v>
                </c:pt>
                <c:pt idx="72">
                  <c:v>0.12459720730397422</c:v>
                </c:pt>
                <c:pt idx="73">
                  <c:v>0.1265377855887522</c:v>
                </c:pt>
                <c:pt idx="74">
                  <c:v>0.1356309060589216</c:v>
                </c:pt>
                <c:pt idx="75">
                  <c:v>0.13549920760697307</c:v>
                </c:pt>
                <c:pt idx="76">
                  <c:v>0.12936732766761094</c:v>
                </c:pt>
                <c:pt idx="77">
                  <c:v>0.1310344827586207</c:v>
                </c:pt>
                <c:pt idx="78">
                  <c:v>0.1339001062699256</c:v>
                </c:pt>
                <c:pt idx="79">
                  <c:v>0.18510858324715615</c:v>
                </c:pt>
                <c:pt idx="80">
                  <c:v>0.14302059496567507</c:v>
                </c:pt>
                <c:pt idx="81">
                  <c:v>0.1218274111675127</c:v>
                </c:pt>
                <c:pt idx="82">
                  <c:v>0.10335917312661498</c:v>
                </c:pt>
                <c:pt idx="83">
                  <c:v>0.09859154929577464</c:v>
                </c:pt>
                <c:pt idx="84">
                  <c:v>0.09806629834254144</c:v>
                </c:pt>
                <c:pt idx="85">
                  <c:v>0.1386946386946387</c:v>
                </c:pt>
                <c:pt idx="86">
                  <c:v>0.12363996043521266</c:v>
                </c:pt>
                <c:pt idx="87">
                  <c:v>0.12660731948565776</c:v>
                </c:pt>
                <c:pt idx="88">
                  <c:v>0.12829736211031176</c:v>
                </c:pt>
                <c:pt idx="89">
                  <c:v>0.09885931558935361</c:v>
                </c:pt>
                <c:pt idx="90">
                  <c:v>0.09192200557103064</c:v>
                </c:pt>
                <c:pt idx="91">
                  <c:v>0.07979407979407979</c:v>
                </c:pt>
                <c:pt idx="92">
                  <c:v>0.10702054794520548</c:v>
                </c:pt>
                <c:pt idx="93">
                  <c:v>0.09905254091300603</c:v>
                </c:pt>
                <c:pt idx="94">
                  <c:v>0.09529553679131483</c:v>
                </c:pt>
                <c:pt idx="95">
                  <c:v>0.11752717391304347</c:v>
                </c:pt>
                <c:pt idx="96">
                  <c:v>0.125</c:v>
                </c:pt>
                <c:pt idx="97">
                  <c:v>0.12854686156491832</c:v>
                </c:pt>
                <c:pt idx="98">
                  <c:v>0.13950933723910655</c:v>
                </c:pt>
                <c:pt idx="99">
                  <c:v>0.14785757392878696</c:v>
                </c:pt>
                <c:pt idx="100">
                  <c:v>0.17091164588090638</c:v>
                </c:pt>
                <c:pt idx="101">
                  <c:v>0.14783159227603673</c:v>
                </c:pt>
                <c:pt idx="102">
                  <c:v>0.1341991341991342</c:v>
                </c:pt>
                <c:pt idx="103">
                  <c:v>0.17266424562561902</c:v>
                </c:pt>
                <c:pt idx="104">
                  <c:v>0.177150629037742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843840308938762</c:v>
                </c:pt>
                <c:pt idx="1">
                  <c:v>1.8470278131680153</c:v>
                </c:pt>
                <c:pt idx="2">
                  <c:v>1.807917350739293</c:v>
                </c:pt>
                <c:pt idx="3">
                  <c:v>1.8238781094453898</c:v>
                </c:pt>
                <c:pt idx="4">
                  <c:v>1.8126330507814818</c:v>
                </c:pt>
                <c:pt idx="5">
                  <c:v>1.751420209250782</c:v>
                </c:pt>
                <c:pt idx="6">
                  <c:v>1.7920150257285121</c:v>
                </c:pt>
                <c:pt idx="7">
                  <c:v>1.7162950634629541</c:v>
                </c:pt>
                <c:pt idx="8">
                  <c:v>1.8561667766773509</c:v>
                </c:pt>
                <c:pt idx="9">
                  <c:v>1.9419651414222308</c:v>
                </c:pt>
                <c:pt idx="10">
                  <c:v>1.8479186266218308</c:v>
                </c:pt>
                <c:pt idx="11">
                  <c:v>1.9216908464203075</c:v>
                </c:pt>
                <c:pt idx="12">
                  <c:v>1.854085244793647</c:v>
                </c:pt>
                <c:pt idx="13">
                  <c:v>1.9201829064395426</c:v>
                </c:pt>
                <c:pt idx="14">
                  <c:v>1.9311291379118039</c:v>
                </c:pt>
                <c:pt idx="15">
                  <c:v>1.9912774485938491</c:v>
                </c:pt>
                <c:pt idx="16">
                  <c:v>1.9906528548058147</c:v>
                </c:pt>
                <c:pt idx="17">
                  <c:v>1.9834565189237543</c:v>
                </c:pt>
                <c:pt idx="18">
                  <c:v>1.9342220137842427</c:v>
                </c:pt>
                <c:pt idx="19">
                  <c:v>1.8723679450870367</c:v>
                </c:pt>
                <c:pt idx="20">
                  <c:v>1.8228698660927418</c:v>
                </c:pt>
                <c:pt idx="21">
                  <c:v>1.6011663685703346</c:v>
                </c:pt>
                <c:pt idx="22">
                  <c:v>1.5245002686338283</c:v>
                </c:pt>
                <c:pt idx="23">
                  <c:v>1.5434756933266407</c:v>
                </c:pt>
                <c:pt idx="24">
                  <c:v>1.591963353314843</c:v>
                </c:pt>
                <c:pt idx="25">
                  <c:v>1.629616981933331</c:v>
                </c:pt>
                <c:pt idx="26">
                  <c:v>1.9414873173925884</c:v>
                </c:pt>
                <c:pt idx="27">
                  <c:v>1.8181818942749224</c:v>
                </c:pt>
                <c:pt idx="28">
                  <c:v>1.9247427414142781</c:v>
                </c:pt>
                <c:pt idx="29">
                  <c:v>1.813212386545561</c:v>
                </c:pt>
                <c:pt idx="30">
                  <c:v>1.786103494099448</c:v>
                </c:pt>
                <c:pt idx="31">
                  <c:v>1.7460622896580107</c:v>
                </c:pt>
                <c:pt idx="32">
                  <c:v>1.73973738083448</c:v>
                </c:pt>
                <c:pt idx="33">
                  <c:v>1.6714632862732537</c:v>
                </c:pt>
                <c:pt idx="34">
                  <c:v>1.7080673889970044</c:v>
                </c:pt>
                <c:pt idx="35">
                  <c:v>1.6083025556516939</c:v>
                </c:pt>
                <c:pt idx="36">
                  <c:v>1.5849726724576705</c:v>
                </c:pt>
                <c:pt idx="37">
                  <c:v>1.5307498368348045</c:v>
                </c:pt>
                <c:pt idx="38">
                  <c:v>1.50749344284151</c:v>
                </c:pt>
                <c:pt idx="39">
                  <c:v>1.6644676064964357</c:v>
                </c:pt>
                <c:pt idx="40">
                  <c:v>1.6700561537953358</c:v>
                </c:pt>
                <c:pt idx="41">
                  <c:v>1.7397164229572775</c:v>
                </c:pt>
                <c:pt idx="42">
                  <c:v>1.5885464914073193</c:v>
                </c:pt>
                <c:pt idx="43">
                  <c:v>1.6266771015850259</c:v>
                </c:pt>
                <c:pt idx="44">
                  <c:v>1.7487109065416624</c:v>
                </c:pt>
                <c:pt idx="45">
                  <c:v>1.90606054338846</c:v>
                </c:pt>
                <c:pt idx="46">
                  <c:v>1.952227157818597</c:v>
                </c:pt>
                <c:pt idx="47">
                  <c:v>1.8999366983614039</c:v>
                </c:pt>
                <c:pt idx="48">
                  <c:v>1.9889210097541739</c:v>
                </c:pt>
                <c:pt idx="49">
                  <c:v>1.9466747680613716</c:v>
                </c:pt>
                <c:pt idx="50">
                  <c:v>1.7622460377697493</c:v>
                </c:pt>
                <c:pt idx="51">
                  <c:v>1.7837221917790285</c:v>
                </c:pt>
              </c:numCache>
            </c:numRef>
          </c:xVal>
          <c:yVal>
            <c:numRef>
              <c:f>Sheet1!$B$109:$B$160</c:f>
              <c:numCache>
                <c:formatCode>General</c:formatCode>
                <c:ptCount val="52"/>
                <c:pt idx="0">
                  <c:v>0.15441176470588236</c:v>
                </c:pt>
                <c:pt idx="1">
                  <c:v>0.16818897637795274</c:v>
                </c:pt>
                <c:pt idx="2">
                  <c:v>0.1799465240641711</c:v>
                </c:pt>
                <c:pt idx="3">
                  <c:v>0.18975754576942108</c:v>
                </c:pt>
                <c:pt idx="4">
                  <c:v>0.1834836527621195</c:v>
                </c:pt>
                <c:pt idx="5">
                  <c:v>0.1838106370543542</c:v>
                </c:pt>
                <c:pt idx="6">
                  <c:v>0.18599766627771294</c:v>
                </c:pt>
                <c:pt idx="7">
                  <c:v>0.1601123595505618</c:v>
                </c:pt>
                <c:pt idx="8">
                  <c:v>0.1750278706800446</c:v>
                </c:pt>
                <c:pt idx="9">
                  <c:v>0.19368570415040795</c:v>
                </c:pt>
                <c:pt idx="10">
                  <c:v>0.21005917159763313</c:v>
                </c:pt>
                <c:pt idx="11">
                  <c:v>0.21565537168374047</c:v>
                </c:pt>
                <c:pt idx="12">
                  <c:v>0.21050934880722114</c:v>
                </c:pt>
                <c:pt idx="13">
                  <c:v>0.19104084321475626</c:v>
                </c:pt>
                <c:pt idx="14">
                  <c:v>0.19130114264651676</c:v>
                </c:pt>
                <c:pt idx="15">
                  <c:v>0.1845718901453958</c:v>
                </c:pt>
                <c:pt idx="16">
                  <c:v>0.15836889521100048</c:v>
                </c:pt>
                <c:pt idx="17">
                  <c:v>0.13720022308979365</c:v>
                </c:pt>
                <c:pt idx="18">
                  <c:v>0.1414790996784566</c:v>
                </c:pt>
                <c:pt idx="19">
                  <c:v>0.15276752767527677</c:v>
                </c:pt>
                <c:pt idx="20">
                  <c:v>0.1524024024024024</c:v>
                </c:pt>
                <c:pt idx="21">
                  <c:v>0.1795252225519288</c:v>
                </c:pt>
                <c:pt idx="22">
                  <c:v>0.17729970326409494</c:v>
                </c:pt>
                <c:pt idx="23">
                  <c:v>0.1612046058458813</c:v>
                </c:pt>
                <c:pt idx="24">
                  <c:v>0.15479582146248813</c:v>
                </c:pt>
                <c:pt idx="25">
                  <c:v>0.13953488372093023</c:v>
                </c:pt>
                <c:pt idx="26">
                  <c:v>0.10219675262655205</c:v>
                </c:pt>
                <c:pt idx="27">
                  <c:v>0.113</c:v>
                </c:pt>
                <c:pt idx="28">
                  <c:v>0.123046875</c:v>
                </c:pt>
                <c:pt idx="29">
                  <c:v>0.11003627569528417</c:v>
                </c:pt>
                <c:pt idx="30">
                  <c:v>0.11253561253561253</c:v>
                </c:pt>
                <c:pt idx="31">
                  <c:v>0.11920529801324503</c:v>
                </c:pt>
                <c:pt idx="32">
                  <c:v>0.11624834874504623</c:v>
                </c:pt>
                <c:pt idx="33">
                  <c:v>0.13099415204678364</c:v>
                </c:pt>
                <c:pt idx="34">
                  <c:v>0.12135922330097088</c:v>
                </c:pt>
                <c:pt idx="35">
                  <c:v>0.11972633979475485</c:v>
                </c:pt>
                <c:pt idx="36">
                  <c:v>0.11829944547134935</c:v>
                </c:pt>
                <c:pt idx="37">
                  <c:v>0.10366826156299841</c:v>
                </c:pt>
                <c:pt idx="38">
                  <c:v>0.11956521739130435</c:v>
                </c:pt>
                <c:pt idx="39">
                  <c:v>0.11602870813397129</c:v>
                </c:pt>
                <c:pt idx="40">
                  <c:v>0.10794979079497909</c:v>
                </c:pt>
                <c:pt idx="41">
                  <c:v>0.10453283996299723</c:v>
                </c:pt>
                <c:pt idx="42">
                  <c:v>0.11816192560175055</c:v>
                </c:pt>
                <c:pt idx="43">
                  <c:v>0.11784975878704342</c:v>
                </c:pt>
                <c:pt idx="44">
                  <c:v>0.11979463776383342</c:v>
                </c:pt>
                <c:pt idx="45">
                  <c:v>0.12336374454581515</c:v>
                </c:pt>
                <c:pt idx="46">
                  <c:v>0.1049534085335949</c:v>
                </c:pt>
                <c:pt idx="47">
                  <c:v>0.11687763713080168</c:v>
                </c:pt>
                <c:pt idx="48">
                  <c:v>0.11664167916041979</c:v>
                </c:pt>
                <c:pt idx="49">
                  <c:v>0.13784097504352874</c:v>
                </c:pt>
                <c:pt idx="50">
                  <c:v>0.1993911719939117</c:v>
                </c:pt>
                <c:pt idx="51">
                  <c:v>0.180868429644139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720135039883992</c:v>
                </c:pt>
              </c:numCache>
            </c:numRef>
          </c:xVal>
          <c:yVal>
            <c:numRef>
              <c:f>Sheet1!$B$163:$B$164</c:f>
              <c:numCache>
                <c:formatCode>General</c:formatCode>
                <c:ptCount val="2"/>
                <c:pt idx="0">
                  <c:v>0.20024687288783122</c:v>
                </c:pt>
                <c:pt idx="1">
                  <c:v>0.200246872887831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720135039883992</c:v>
                </c:pt>
                <c:pt idx="1">
                  <c:v>2.720135039883992</c:v>
                </c:pt>
              </c:numCache>
            </c:numRef>
          </c:xVal>
          <c:yVal>
            <c:numRef>
              <c:f>Sheet1!$B$167:$B$168</c:f>
              <c:numCache>
                <c:formatCode>General</c:formatCode>
                <c:ptCount val="2"/>
                <c:pt idx="0">
                  <c:v>0.200246872887831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3270170802205907</c:v>
                </c:pt>
              </c:numCache>
            </c:numRef>
          </c:xVal>
          <c:yVal>
            <c:numRef>
              <c:f>Sheet1!$B$171:$B$172</c:f>
              <c:numCache>
                <c:formatCode>General</c:formatCode>
                <c:ptCount val="2"/>
                <c:pt idx="0">
                  <c:v>0.17835129560419463</c:v>
                </c:pt>
                <c:pt idx="1">
                  <c:v>0.1783512956041946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3270170802205907</c:v>
                </c:pt>
                <c:pt idx="1">
                  <c:v>2.3270170802205907</c:v>
                </c:pt>
              </c:numCache>
            </c:numRef>
          </c:xVal>
          <c:yVal>
            <c:numRef>
              <c:f>Sheet1!$B$175:$B$176</c:f>
              <c:numCache>
                <c:formatCode>General</c:formatCode>
                <c:ptCount val="2"/>
                <c:pt idx="0">
                  <c:v>0.178351295604194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233507353973367</c:v>
                </c:pt>
              </c:numCache>
            </c:numRef>
          </c:xVal>
          <c:yVal>
            <c:numRef>
              <c:f>Sheet1!$B$179:$B$180</c:f>
              <c:numCache>
                <c:formatCode>General</c:formatCode>
                <c:ptCount val="2"/>
                <c:pt idx="0">
                  <c:v>0.128019592853599</c:v>
                </c:pt>
                <c:pt idx="1">
                  <c:v>0.12801959285359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233507353973367</c:v>
                </c:pt>
                <c:pt idx="1">
                  <c:v>1.4233507353973367</c:v>
                </c:pt>
              </c:numCache>
            </c:numRef>
          </c:xVal>
          <c:yVal>
            <c:numRef>
              <c:f>Sheet1!$B$183:$B$184</c:f>
              <c:numCache>
                <c:formatCode>General</c:formatCode>
                <c:ptCount val="2"/>
                <c:pt idx="0">
                  <c:v>0.1280195928535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843840308938762</c:v>
                </c:pt>
                <c:pt idx="1">
                  <c:v>1.8470278131680153</c:v>
                </c:pt>
                <c:pt idx="2">
                  <c:v>1.807917350739293</c:v>
                </c:pt>
                <c:pt idx="3">
                  <c:v>1.8238781094453898</c:v>
                </c:pt>
                <c:pt idx="4">
                  <c:v>1.8126330507814818</c:v>
                </c:pt>
                <c:pt idx="5">
                  <c:v>1.751420209250782</c:v>
                </c:pt>
                <c:pt idx="6">
                  <c:v>1.7920150257285121</c:v>
                </c:pt>
                <c:pt idx="7">
                  <c:v>1.7162950634629541</c:v>
                </c:pt>
                <c:pt idx="8">
                  <c:v>1.8561667766773509</c:v>
                </c:pt>
                <c:pt idx="9">
                  <c:v>1.9419651414222308</c:v>
                </c:pt>
                <c:pt idx="10">
                  <c:v>1.8479186266218308</c:v>
                </c:pt>
                <c:pt idx="11">
                  <c:v>1.9216908464203075</c:v>
                </c:pt>
                <c:pt idx="12">
                  <c:v>1.854085244793647</c:v>
                </c:pt>
                <c:pt idx="13">
                  <c:v>1.9201829064395426</c:v>
                </c:pt>
                <c:pt idx="14">
                  <c:v>1.9311291379118039</c:v>
                </c:pt>
                <c:pt idx="15">
                  <c:v>1.9912774485938491</c:v>
                </c:pt>
                <c:pt idx="16">
                  <c:v>1.9906528548058147</c:v>
                </c:pt>
                <c:pt idx="17">
                  <c:v>1.9834565189237543</c:v>
                </c:pt>
                <c:pt idx="18">
                  <c:v>1.9342220137842427</c:v>
                </c:pt>
                <c:pt idx="19">
                  <c:v>1.8723679450870367</c:v>
                </c:pt>
                <c:pt idx="20">
                  <c:v>1.8228698660927418</c:v>
                </c:pt>
                <c:pt idx="21">
                  <c:v>1.6011663685703346</c:v>
                </c:pt>
                <c:pt idx="22">
                  <c:v>1.5245002686338283</c:v>
                </c:pt>
                <c:pt idx="23">
                  <c:v>1.5434756933266407</c:v>
                </c:pt>
                <c:pt idx="24">
                  <c:v>1.591963353314843</c:v>
                </c:pt>
                <c:pt idx="25">
                  <c:v>1.629616981933331</c:v>
                </c:pt>
                <c:pt idx="26">
                  <c:v>1.9414873173925884</c:v>
                </c:pt>
                <c:pt idx="27">
                  <c:v>1.8181818942749224</c:v>
                </c:pt>
                <c:pt idx="28">
                  <c:v>1.9247427414142781</c:v>
                </c:pt>
                <c:pt idx="29">
                  <c:v>1.813212386545561</c:v>
                </c:pt>
                <c:pt idx="30">
                  <c:v>1.786103494099448</c:v>
                </c:pt>
                <c:pt idx="31">
                  <c:v>1.7460622896580107</c:v>
                </c:pt>
                <c:pt idx="32">
                  <c:v>1.73973738083448</c:v>
                </c:pt>
                <c:pt idx="33">
                  <c:v>1.6714632862732537</c:v>
                </c:pt>
                <c:pt idx="34">
                  <c:v>1.7080673889970044</c:v>
                </c:pt>
                <c:pt idx="35">
                  <c:v>1.6083025556516939</c:v>
                </c:pt>
                <c:pt idx="36">
                  <c:v>1.5849726724576705</c:v>
                </c:pt>
                <c:pt idx="37">
                  <c:v>1.5307498368348045</c:v>
                </c:pt>
                <c:pt idx="38">
                  <c:v>1.50749344284151</c:v>
                </c:pt>
                <c:pt idx="39">
                  <c:v>1.6644676064964357</c:v>
                </c:pt>
                <c:pt idx="40">
                  <c:v>1.6700561537953358</c:v>
                </c:pt>
                <c:pt idx="41">
                  <c:v>1.7397164229572775</c:v>
                </c:pt>
                <c:pt idx="42">
                  <c:v>1.5885464914073193</c:v>
                </c:pt>
                <c:pt idx="43">
                  <c:v>1.6266771015850259</c:v>
                </c:pt>
                <c:pt idx="44">
                  <c:v>1.7487109065416624</c:v>
                </c:pt>
                <c:pt idx="45">
                  <c:v>1.90606054338846</c:v>
                </c:pt>
                <c:pt idx="46">
                  <c:v>1.952227157818597</c:v>
                </c:pt>
                <c:pt idx="47">
                  <c:v>1.8999366983614039</c:v>
                </c:pt>
                <c:pt idx="48">
                  <c:v>1.9889210097541739</c:v>
                </c:pt>
                <c:pt idx="49">
                  <c:v>1.9466747680613716</c:v>
                </c:pt>
                <c:pt idx="50">
                  <c:v>1.7622460377697493</c:v>
                </c:pt>
                <c:pt idx="51">
                  <c:v>1.7837221917790285</c:v>
                </c:pt>
                <c:pt idx="52">
                  <c:v>2.3270170802205907</c:v>
                </c:pt>
                <c:pt idx="53">
                  <c:v>2.720135039883992</c:v>
                </c:pt>
                <c:pt idx="54">
                  <c:v>1.4233507353973367</c:v>
                </c:pt>
              </c:numCache>
            </c:numRef>
          </c:xVal>
          <c:yVal>
            <c:numRef>
              <c:f>Sheet1!$B$187:$B$241</c:f>
              <c:numCache>
                <c:formatCode>General</c:formatCode>
                <c:ptCount val="55"/>
                <c:pt idx="0">
                  <c:v>0.15369786550366418</c:v>
                </c:pt>
                <c:pt idx="1">
                  <c:v>0.15161722804578442</c:v>
                </c:pt>
                <c:pt idx="2">
                  <c:v>0.14943888403565553</c:v>
                </c:pt>
                <c:pt idx="3">
                  <c:v>0.15032785391648734</c:v>
                </c:pt>
                <c:pt idx="4">
                  <c:v>0.14970153541593997</c:v>
                </c:pt>
                <c:pt idx="5">
                  <c:v>0.14629215034578436</c:v>
                </c:pt>
                <c:pt idx="6">
                  <c:v>0.14855316874917718</c:v>
                </c:pt>
                <c:pt idx="7">
                  <c:v>0.14433577739132838</c:v>
                </c:pt>
                <c:pt idx="8">
                  <c:v>0.15212624290224716</c:v>
                </c:pt>
                <c:pt idx="9">
                  <c:v>0.15690497325506458</c:v>
                </c:pt>
                <c:pt idx="10">
                  <c:v>0.1516668438782435</c:v>
                </c:pt>
                <c:pt idx="11">
                  <c:v>0.15577575139639918</c:v>
                </c:pt>
                <c:pt idx="12">
                  <c:v>0.15201030736405138</c:v>
                </c:pt>
                <c:pt idx="13">
                  <c:v>0.15569176333231738</c:v>
                </c:pt>
                <c:pt idx="14">
                  <c:v>0.15630143798918292</c:v>
                </c:pt>
                <c:pt idx="15">
                  <c:v>0.1596515316510104</c:v>
                </c:pt>
                <c:pt idx="16">
                  <c:v>0.15961674351370805</c:v>
                </c:pt>
                <c:pt idx="17">
                  <c:v>0.15921592761458309</c:v>
                </c:pt>
                <c:pt idx="18">
                  <c:v>0.15647370257549606</c:v>
                </c:pt>
                <c:pt idx="19">
                  <c:v>0.15302860293510656</c:v>
                </c:pt>
                <c:pt idx="20">
                  <c:v>0.15027169756517864</c:v>
                </c:pt>
                <c:pt idx="21">
                  <c:v>0.13792342920264744</c:v>
                </c:pt>
                <c:pt idx="22">
                  <c:v>0.13365334060727496</c:v>
                </c:pt>
                <c:pt idx="23">
                  <c:v>0.13471021900124874</c:v>
                </c:pt>
                <c:pt idx="24">
                  <c:v>0.1374108468420205</c:v>
                </c:pt>
                <c:pt idx="25">
                  <c:v>0.13950804925966476</c:v>
                </c:pt>
                <c:pt idx="26">
                  <c:v>0.15687835978520945</c:v>
                </c:pt>
                <c:pt idx="27">
                  <c:v>0.1500105905698929</c:v>
                </c:pt>
                <c:pt idx="28">
                  <c:v>0.15594573346172952</c:v>
                </c:pt>
                <c:pt idx="29">
                  <c:v>0.14973380280714854</c:v>
                </c:pt>
                <c:pt idx="30">
                  <c:v>0.1482239128745291</c:v>
                </c:pt>
                <c:pt idx="31">
                  <c:v>0.14599372912223232</c:v>
                </c:pt>
                <c:pt idx="32">
                  <c:v>0.14564144928725314</c:v>
                </c:pt>
                <c:pt idx="33">
                  <c:v>0.14183877205720336</c:v>
                </c:pt>
                <c:pt idx="34">
                  <c:v>0.14387751880073119</c:v>
                </c:pt>
                <c:pt idx="35">
                  <c:v>0.13832089498081787</c:v>
                </c:pt>
                <c:pt idx="36">
                  <c:v>0.13702148535595532</c:v>
                </c:pt>
                <c:pt idx="37">
                  <c:v>0.13400142417906344</c:v>
                </c:pt>
                <c:pt idx="38">
                  <c:v>0.13270610769834382</c:v>
                </c:pt>
                <c:pt idx="39">
                  <c:v>0.14144913214521349</c:v>
                </c:pt>
                <c:pt idx="40">
                  <c:v>0.14176039869073356</c:v>
                </c:pt>
                <c:pt idx="41">
                  <c:v>0.14564028199176662</c:v>
                </c:pt>
                <c:pt idx="42">
                  <c:v>0.13722053713440055</c:v>
                </c:pt>
                <c:pt idx="43">
                  <c:v>0.13934430609863982</c:v>
                </c:pt>
                <c:pt idx="44">
                  <c:v>0.1461412497181379</c:v>
                </c:pt>
                <c:pt idx="45">
                  <c:v>0.15490518697778677</c:v>
                </c:pt>
                <c:pt idx="46">
                  <c:v>0.15747653903467174</c:v>
                </c:pt>
                <c:pt idx="47">
                  <c:v>0.1545641058372107</c:v>
                </c:pt>
                <c:pt idx="48">
                  <c:v>0.1595202845597494</c:v>
                </c:pt>
                <c:pt idx="49">
                  <c:v>0.15716728636368643</c:v>
                </c:pt>
                <c:pt idx="50">
                  <c:v>0.1468951188929334</c:v>
                </c:pt>
                <c:pt idx="51">
                  <c:v>0.1480912809565239</c:v>
                </c:pt>
                <c:pt idx="52">
                  <c:v>0.17835129560419463</c:v>
                </c:pt>
                <c:pt idx="53">
                  <c:v>0.20024687288783122</c:v>
                </c:pt>
                <c:pt idx="54">
                  <c:v>0.1280195928535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9281045751634"/>
          <c:min val="0.063835263835263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4799</c:v>
                </c:pt>
                <c:pt idx="1">
                  <c:v>915.0013</c:v>
                </c:pt>
                <c:pt idx="2">
                  <c:v>980.1085</c:v>
                </c:pt>
                <c:pt idx="3">
                  <c:v>1024.625</c:v>
                </c:pt>
                <c:pt idx="4">
                  <c:v>1023.2373</c:v>
                </c:pt>
                <c:pt idx="5">
                  <c:v>987.0326</c:v>
                </c:pt>
                <c:pt idx="6">
                  <c:v>1006.0047</c:v>
                </c:pt>
                <c:pt idx="7">
                  <c:v>1022.9748</c:v>
                </c:pt>
                <c:pt idx="8">
                  <c:v>963.807</c:v>
                </c:pt>
                <c:pt idx="9">
                  <c:v>1004.7385</c:v>
                </c:pt>
                <c:pt idx="10">
                  <c:v>1033.969</c:v>
                </c:pt>
                <c:pt idx="11">
                  <c:v>1065.4345</c:v>
                </c:pt>
                <c:pt idx="12">
                  <c:v>1016.9491</c:v>
                </c:pt>
                <c:pt idx="13">
                  <c:v>965.6025</c:v>
                </c:pt>
                <c:pt idx="14">
                  <c:v>996.748</c:v>
                </c:pt>
                <c:pt idx="15">
                  <c:v>1012.0185</c:v>
                </c:pt>
                <c:pt idx="16">
                  <c:v>1009.7517</c:v>
                </c:pt>
                <c:pt idx="17">
                  <c:v>1015.0163</c:v>
                </c:pt>
                <c:pt idx="18">
                  <c:v>1052.315</c:v>
                </c:pt>
                <c:pt idx="19">
                  <c:v>1032.2986</c:v>
                </c:pt>
                <c:pt idx="20">
                  <c:v>1003.479</c:v>
                </c:pt>
                <c:pt idx="21">
                  <c:v>1051.8101</c:v>
                </c:pt>
                <c:pt idx="22">
                  <c:v>1068.2986</c:v>
                </c:pt>
                <c:pt idx="23">
                  <c:v>1044.8654</c:v>
                </c:pt>
                <c:pt idx="24">
                  <c:v>1055.0286</c:v>
                </c:pt>
                <c:pt idx="25">
                  <c:v>1030.7351</c:v>
                </c:pt>
                <c:pt idx="26">
                  <c:v>1029.6875</c:v>
                </c:pt>
                <c:pt idx="27">
                  <c:v>1038.7222</c:v>
                </c:pt>
                <c:pt idx="28">
                  <c:v>1028.3022</c:v>
                </c:pt>
                <c:pt idx="29">
                  <c:v>755.7927</c:v>
                </c:pt>
                <c:pt idx="30">
                  <c:v>898.4646</c:v>
                </c:pt>
                <c:pt idx="31">
                  <c:v>920.98</c:v>
                </c:pt>
                <c:pt idx="32">
                  <c:v>922.1393</c:v>
                </c:pt>
                <c:pt idx="33">
                  <c:v>674.1903</c:v>
                </c:pt>
                <c:pt idx="34">
                  <c:v>945.8662</c:v>
                </c:pt>
                <c:pt idx="35">
                  <c:v>927.6842</c:v>
                </c:pt>
                <c:pt idx="36">
                  <c:v>1023.9833</c:v>
                </c:pt>
                <c:pt idx="37">
                  <c:v>1008.7478</c:v>
                </c:pt>
                <c:pt idx="38">
                  <c:v>1107.7071</c:v>
                </c:pt>
                <c:pt idx="39">
                  <c:v>1136.6849</c:v>
                </c:pt>
                <c:pt idx="40">
                  <c:v>1101.3186</c:v>
                </c:pt>
                <c:pt idx="41">
                  <c:v>1119.3592</c:v>
                </c:pt>
                <c:pt idx="42">
                  <c:v>1238.7157</c:v>
                </c:pt>
                <c:pt idx="43">
                  <c:v>1163.3934</c:v>
                </c:pt>
                <c:pt idx="44">
                  <c:v>1092.5057</c:v>
                </c:pt>
                <c:pt idx="45">
                  <c:v>1020.9869</c:v>
                </c:pt>
                <c:pt idx="46">
                  <c:v>999.0642</c:v>
                </c:pt>
                <c:pt idx="47">
                  <c:v>1020.5217</c:v>
                </c:pt>
                <c:pt idx="48">
                  <c:v>1069.5645</c:v>
                </c:pt>
                <c:pt idx="49">
                  <c:v>1038.0082</c:v>
                </c:pt>
                <c:pt idx="50">
                  <c:v>1036.9376</c:v>
                </c:pt>
                <c:pt idx="51">
                  <c:v>1058.4215</c:v>
                </c:pt>
                <c:pt idx="52">
                  <c:v>1063.3592</c:v>
                </c:pt>
                <c:pt idx="53">
                  <c:v>1108.2485</c:v>
                </c:pt>
                <c:pt idx="54">
                  <c:v>1128.0326</c:v>
                </c:pt>
                <c:pt idx="55">
                  <c:v>1150.349</c:v>
                </c:pt>
                <c:pt idx="56">
                  <c:v>1151.5135</c:v>
                </c:pt>
                <c:pt idx="57">
                  <c:v>1120.7571</c:v>
                </c:pt>
                <c:pt idx="58">
                  <c:v>1150.429</c:v>
                </c:pt>
                <c:pt idx="59">
                  <c:v>1100.9954</c:v>
                </c:pt>
                <c:pt idx="60">
                  <c:v>1132.3763</c:v>
                </c:pt>
                <c:pt idx="61">
                  <c:v>1167.8357</c:v>
                </c:pt>
                <c:pt idx="62">
                  <c:v>1136.6907</c:v>
                </c:pt>
                <c:pt idx="63">
                  <c:v>1154.0501</c:v>
                </c:pt>
                <c:pt idx="64">
                  <c:v>1157.124</c:v>
                </c:pt>
                <c:pt idx="65">
                  <c:v>1140.5904</c:v>
                </c:pt>
                <c:pt idx="66">
                  <c:v>1084.6073</c:v>
                </c:pt>
                <c:pt idx="67">
                  <c:v>1106.0897</c:v>
                </c:pt>
                <c:pt idx="68">
                  <c:v>1076.9452</c:v>
                </c:pt>
                <c:pt idx="69">
                  <c:v>1092.1898</c:v>
                </c:pt>
                <c:pt idx="70">
                  <c:v>1073.9686</c:v>
                </c:pt>
                <c:pt idx="71">
                  <c:v>1101.7065</c:v>
                </c:pt>
                <c:pt idx="72">
                  <c:v>1214.3621</c:v>
                </c:pt>
                <c:pt idx="73">
                  <c:v>1215.0046</c:v>
                </c:pt>
                <c:pt idx="74">
                  <c:v>1154.4016</c:v>
                </c:pt>
                <c:pt idx="75">
                  <c:v>1107.8187</c:v>
                </c:pt>
                <c:pt idx="76">
                  <c:v>1130.1241</c:v>
                </c:pt>
                <c:pt idx="77">
                  <c:v>951.6316</c:v>
                </c:pt>
                <c:pt idx="78">
                  <c:v>1077.5238</c:v>
                </c:pt>
                <c:pt idx="79">
                  <c:v>588.1061</c:v>
                </c:pt>
                <c:pt idx="80">
                  <c:v>709.24</c:v>
                </c:pt>
                <c:pt idx="81">
                  <c:v>982.6833</c:v>
                </c:pt>
                <c:pt idx="82">
                  <c:v>890.5</c:v>
                </c:pt>
                <c:pt idx="83">
                  <c:v>1045.2286</c:v>
                </c:pt>
                <c:pt idx="84">
                  <c:v>1054.0141</c:v>
                </c:pt>
                <c:pt idx="85">
                  <c:v>936.7227</c:v>
                </c:pt>
                <c:pt idx="86">
                  <c:v>989.4</c:v>
                </c:pt>
                <c:pt idx="87">
                  <c:v>1121.8047</c:v>
                </c:pt>
                <c:pt idx="88">
                  <c:v>976.7477</c:v>
                </c:pt>
                <c:pt idx="89">
                  <c:v>1088.4103</c:v>
                </c:pt>
                <c:pt idx="90">
                  <c:v>1191.8333</c:v>
                </c:pt>
                <c:pt idx="91">
                  <c:v>1336.6452</c:v>
                </c:pt>
                <c:pt idx="92">
                  <c:v>1020.16</c:v>
                </c:pt>
                <c:pt idx="93">
                  <c:v>1187.1304</c:v>
                </c:pt>
                <c:pt idx="94">
                  <c:v>1248.6962</c:v>
                </c:pt>
                <c:pt idx="95">
                  <c:v>1084.341</c:v>
                </c:pt>
                <c:pt idx="96">
                  <c:v>1086.8958</c:v>
                </c:pt>
                <c:pt idx="97">
                  <c:v>1134.3043</c:v>
                </c:pt>
                <c:pt idx="98">
                  <c:v>1151.7297</c:v>
                </c:pt>
                <c:pt idx="99">
                  <c:v>1131.9367</c:v>
                </c:pt>
                <c:pt idx="100">
                  <c:v>1114.0709</c:v>
                </c:pt>
                <c:pt idx="101">
                  <c:v>1151.9657</c:v>
                </c:pt>
                <c:pt idx="102">
                  <c:v>1186.1378</c:v>
                </c:pt>
                <c:pt idx="103">
                  <c:v>820.7839</c:v>
                </c:pt>
                <c:pt idx="104">
                  <c:v>965.9405</c:v>
                </c:pt>
              </c:numCache>
            </c:numRef>
          </c:xVal>
          <c:yVal>
            <c:numRef>
              <c:f>Sheet1!$B$2:$B$106</c:f>
              <c:numCache>
                <c:formatCode>General</c:formatCode>
                <c:ptCount val="105"/>
                <c:pt idx="0">
                  <c:v>0.2126108998732573</c:v>
                </c:pt>
                <c:pt idx="1">
                  <c:v>0.2202020202020202</c:v>
                </c:pt>
                <c:pt idx="2">
                  <c:v>0.19369250985545336</c:v>
                </c:pt>
                <c:pt idx="3">
                  <c:v>0.18197725284339458</c:v>
                </c:pt>
                <c:pt idx="4">
                  <c:v>0.17745302713987474</c:v>
                </c:pt>
                <c:pt idx="5">
                  <c:v>0.18027210884353742</c:v>
                </c:pt>
                <c:pt idx="6">
                  <c:v>0.18664731494920175</c:v>
                </c:pt>
                <c:pt idx="7">
                  <c:v>0.17332885455156197</c:v>
                </c:pt>
                <c:pt idx="8">
                  <c:v>0.20504947117024905</c:v>
                </c:pt>
                <c:pt idx="9">
                  <c:v>0.20260697081326154</c:v>
                </c:pt>
                <c:pt idx="10">
                  <c:v>0.2059800664451827</c:v>
                </c:pt>
                <c:pt idx="11">
                  <c:v>0.2217438105489774</c:v>
                </c:pt>
                <c:pt idx="12">
                  <c:v>0.21686746987951808</c:v>
                </c:pt>
                <c:pt idx="13">
                  <c:v>0.23910675381263616</c:v>
                </c:pt>
                <c:pt idx="14">
                  <c:v>0.21802067946824225</c:v>
                </c:pt>
                <c:pt idx="15">
                  <c:v>0.21406003159557663</c:v>
                </c:pt>
                <c:pt idx="16">
                  <c:v>0.20390153274500697</c:v>
                </c:pt>
                <c:pt idx="17">
                  <c:v>0.18865030674846625</c:v>
                </c:pt>
                <c:pt idx="18">
                  <c:v>0.17197020988490183</c:v>
                </c:pt>
                <c:pt idx="19">
                  <c:v>0.1664156626506024</c:v>
                </c:pt>
                <c:pt idx="20">
                  <c:v>0.18101933216168717</c:v>
                </c:pt>
                <c:pt idx="21">
                  <c:v>0.17286652078774617</c:v>
                </c:pt>
                <c:pt idx="22">
                  <c:v>0.17539484621778886</c:v>
                </c:pt>
                <c:pt idx="23">
                  <c:v>0.17011995637949837</c:v>
                </c:pt>
                <c:pt idx="24">
                  <c:v>0.1524390243902439</c:v>
                </c:pt>
                <c:pt idx="25">
                  <c:v>0.16063829787234044</c:v>
                </c:pt>
                <c:pt idx="26">
                  <c:v>0.1644398766700925</c:v>
                </c:pt>
                <c:pt idx="27">
                  <c:v>0.1532639545884579</c:v>
                </c:pt>
                <c:pt idx="28">
                  <c:v>0.14494264859228362</c:v>
                </c:pt>
                <c:pt idx="29">
                  <c:v>0.21612541993281076</c:v>
                </c:pt>
                <c:pt idx="30">
                  <c:v>0.15207373271889402</c:v>
                </c:pt>
                <c:pt idx="31">
                  <c:v>0.12987012987012986</c:v>
                </c:pt>
                <c:pt idx="32">
                  <c:v>0.1473429951690821</c:v>
                </c:pt>
                <c:pt idx="33">
                  <c:v>0.21606118546845124</c:v>
                </c:pt>
                <c:pt idx="34">
                  <c:v>0.15451577801958652</c:v>
                </c:pt>
                <c:pt idx="35">
                  <c:v>0.1661807580174927</c:v>
                </c:pt>
                <c:pt idx="36">
                  <c:v>0.12036108324974924</c:v>
                </c:pt>
                <c:pt idx="37">
                  <c:v>0.11867905056759546</c:v>
                </c:pt>
                <c:pt idx="38">
                  <c:v>0.10174717368961973</c:v>
                </c:pt>
                <c:pt idx="39">
                  <c:v>0.09034653465346534</c:v>
                </c:pt>
                <c:pt idx="40">
                  <c:v>0.11460446247464504</c:v>
                </c:pt>
                <c:pt idx="41">
                  <c:v>0.10488798370672098</c:v>
                </c:pt>
                <c:pt idx="42">
                  <c:v>0.09577464788732394</c:v>
                </c:pt>
                <c:pt idx="43">
                  <c:v>0.1160431198478123</c:v>
                </c:pt>
                <c:pt idx="44">
                  <c:v>0.12867647058823528</c:v>
                </c:pt>
                <c:pt idx="45">
                  <c:v>0.14929761515844495</c:v>
                </c:pt>
                <c:pt idx="46">
                  <c:v>0.15185601799775028</c:v>
                </c:pt>
                <c:pt idx="47">
                  <c:v>0.15810147299509</c:v>
                </c:pt>
                <c:pt idx="48">
                  <c:v>0.1802049487628093</c:v>
                </c:pt>
                <c:pt idx="49">
                  <c:v>0.21881227580709445</c:v>
                </c:pt>
                <c:pt idx="50">
                  <c:v>0.18270197787462286</c:v>
                </c:pt>
                <c:pt idx="51">
                  <c:v>0.16429395921508272</c:v>
                </c:pt>
                <c:pt idx="52">
                  <c:v>0.1867612293144208</c:v>
                </c:pt>
                <c:pt idx="53">
                  <c:v>0.17374784110535405</c:v>
                </c:pt>
                <c:pt idx="54">
                  <c:v>0.16777214202106905</c:v>
                </c:pt>
                <c:pt idx="55">
                  <c:v>0.15183867141162516</c:v>
                </c:pt>
                <c:pt idx="56">
                  <c:v>0.16754320060105185</c:v>
                </c:pt>
                <c:pt idx="57">
                  <c:v>0.15440535039255598</c:v>
                </c:pt>
                <c:pt idx="58">
                  <c:v>0.17499346063301072</c:v>
                </c:pt>
                <c:pt idx="59">
                  <c:v>0.19089062953292718</c:v>
                </c:pt>
                <c:pt idx="60">
                  <c:v>0.2</c:v>
                </c:pt>
                <c:pt idx="61">
                  <c:v>0.20842572062084258</c:v>
                </c:pt>
                <c:pt idx="62">
                  <c:v>0.22717331875341717</c:v>
                </c:pt>
                <c:pt idx="63">
                  <c:v>0.23230912476722532</c:v>
                </c:pt>
                <c:pt idx="64">
                  <c:v>0.21686455052095954</c:v>
                </c:pt>
                <c:pt idx="65">
                  <c:v>0.1894206549118388</c:v>
                </c:pt>
                <c:pt idx="66">
                  <c:v>0.1801209571391007</c:v>
                </c:pt>
                <c:pt idx="67">
                  <c:v>0.17367029091977668</c:v>
                </c:pt>
                <c:pt idx="68">
                  <c:v>0.16389627659574468</c:v>
                </c:pt>
                <c:pt idx="69">
                  <c:v>0.1389543099387659</c:v>
                </c:pt>
                <c:pt idx="70">
                  <c:v>0.12789661319073084</c:v>
                </c:pt>
                <c:pt idx="71">
                  <c:v>0.13288396726047183</c:v>
                </c:pt>
                <c:pt idx="72">
                  <c:v>0.12459720730397422</c:v>
                </c:pt>
                <c:pt idx="73">
                  <c:v>0.1265377855887522</c:v>
                </c:pt>
                <c:pt idx="74">
                  <c:v>0.1356309060589216</c:v>
                </c:pt>
                <c:pt idx="75">
                  <c:v>0.13549920760697307</c:v>
                </c:pt>
                <c:pt idx="76">
                  <c:v>0.12936732766761094</c:v>
                </c:pt>
                <c:pt idx="77">
                  <c:v>0.1310344827586207</c:v>
                </c:pt>
                <c:pt idx="78">
                  <c:v>0.1339001062699256</c:v>
                </c:pt>
                <c:pt idx="79">
                  <c:v>0.18510858324715615</c:v>
                </c:pt>
                <c:pt idx="80">
                  <c:v>0.14302059496567507</c:v>
                </c:pt>
                <c:pt idx="81">
                  <c:v>0.1218274111675127</c:v>
                </c:pt>
                <c:pt idx="82">
                  <c:v>0.10335917312661498</c:v>
                </c:pt>
                <c:pt idx="83">
                  <c:v>0.09859154929577464</c:v>
                </c:pt>
                <c:pt idx="84">
                  <c:v>0.09806629834254144</c:v>
                </c:pt>
                <c:pt idx="85">
                  <c:v>0.1386946386946387</c:v>
                </c:pt>
                <c:pt idx="86">
                  <c:v>0.12363996043521266</c:v>
                </c:pt>
                <c:pt idx="87">
                  <c:v>0.12660731948565776</c:v>
                </c:pt>
                <c:pt idx="88">
                  <c:v>0.12829736211031176</c:v>
                </c:pt>
                <c:pt idx="89">
                  <c:v>0.09885931558935361</c:v>
                </c:pt>
                <c:pt idx="90">
                  <c:v>0.09192200557103064</c:v>
                </c:pt>
                <c:pt idx="91">
                  <c:v>0.07979407979407979</c:v>
                </c:pt>
                <c:pt idx="92">
                  <c:v>0.10702054794520548</c:v>
                </c:pt>
                <c:pt idx="93">
                  <c:v>0.09905254091300603</c:v>
                </c:pt>
                <c:pt idx="94">
                  <c:v>0.09529553679131483</c:v>
                </c:pt>
                <c:pt idx="95">
                  <c:v>0.11752717391304347</c:v>
                </c:pt>
                <c:pt idx="96">
                  <c:v>0.125</c:v>
                </c:pt>
                <c:pt idx="97">
                  <c:v>0.12854686156491832</c:v>
                </c:pt>
                <c:pt idx="98">
                  <c:v>0.13950933723910655</c:v>
                </c:pt>
                <c:pt idx="99">
                  <c:v>0.14785757392878696</c:v>
                </c:pt>
                <c:pt idx="100">
                  <c:v>0.17091164588090638</c:v>
                </c:pt>
                <c:pt idx="101">
                  <c:v>0.14783159227603673</c:v>
                </c:pt>
                <c:pt idx="102">
                  <c:v>0.1341991341991342</c:v>
                </c:pt>
                <c:pt idx="103">
                  <c:v>0.17266424562561902</c:v>
                </c:pt>
                <c:pt idx="104">
                  <c:v>0.177150629037742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5.0152</c:v>
                </c:pt>
                <c:pt idx="1">
                  <c:v>1167.7584</c:v>
                </c:pt>
                <c:pt idx="2">
                  <c:v>1170.1322</c:v>
                </c:pt>
                <c:pt idx="3">
                  <c:v>1173.3338</c:v>
                </c:pt>
                <c:pt idx="4">
                  <c:v>1175.8034</c:v>
                </c:pt>
                <c:pt idx="5">
                  <c:v>1177.5024</c:v>
                </c:pt>
                <c:pt idx="6">
                  <c:v>1111.2459</c:v>
                </c:pt>
                <c:pt idx="7">
                  <c:v>1238.9148</c:v>
                </c:pt>
                <c:pt idx="8">
                  <c:v>1289.3482</c:v>
                </c:pt>
                <c:pt idx="9">
                  <c:v>1269.4597</c:v>
                </c:pt>
                <c:pt idx="10">
                  <c:v>1259.8662</c:v>
                </c:pt>
                <c:pt idx="11">
                  <c:v>1100.4799</c:v>
                </c:pt>
                <c:pt idx="12">
                  <c:v>1097.294</c:v>
                </c:pt>
                <c:pt idx="13">
                  <c:v>1210.481</c:v>
                </c:pt>
                <c:pt idx="14">
                  <c:v>1253.5106</c:v>
                </c:pt>
                <c:pt idx="15">
                  <c:v>1264.0</c:v>
                </c:pt>
                <c:pt idx="16">
                  <c:v>1331.8234</c:v>
                </c:pt>
                <c:pt idx="17">
                  <c:v>1333.9715</c:v>
                </c:pt>
                <c:pt idx="18">
                  <c:v>1358.5341</c:v>
                </c:pt>
                <c:pt idx="19">
                  <c:v>1273.3188</c:v>
                </c:pt>
                <c:pt idx="20">
                  <c:v>1216.0837</c:v>
                </c:pt>
                <c:pt idx="21">
                  <c:v>1080.7066</c:v>
                </c:pt>
                <c:pt idx="22">
                  <c:v>1041.6485</c:v>
                </c:pt>
                <c:pt idx="23">
                  <c:v>1076.8407</c:v>
                </c:pt>
                <c:pt idx="24">
                  <c:v>1112.0859</c:v>
                </c:pt>
                <c:pt idx="25">
                  <c:v>1169.6439</c:v>
                </c:pt>
                <c:pt idx="26">
                  <c:v>1343.729</c:v>
                </c:pt>
                <c:pt idx="27">
                  <c:v>1303.3186</c:v>
                </c:pt>
                <c:pt idx="28">
                  <c:v>1337.1746</c:v>
                </c:pt>
                <c:pt idx="29">
                  <c:v>1322.7582</c:v>
                </c:pt>
                <c:pt idx="30">
                  <c:v>1304.2785</c:v>
                </c:pt>
                <c:pt idx="31">
                  <c:v>1289.7778</c:v>
                </c:pt>
                <c:pt idx="32">
                  <c:v>1327.6818</c:v>
                </c:pt>
                <c:pt idx="33">
                  <c:v>1278.3393</c:v>
                </c:pt>
                <c:pt idx="34">
                  <c:v>1305.136</c:v>
                </c:pt>
                <c:pt idx="35">
                  <c:v>1256.3524</c:v>
                </c:pt>
                <c:pt idx="36">
                  <c:v>1272.7031</c:v>
                </c:pt>
                <c:pt idx="37">
                  <c:v>1206.7077</c:v>
                </c:pt>
                <c:pt idx="38">
                  <c:v>1142.0303</c:v>
                </c:pt>
                <c:pt idx="39">
                  <c:v>1140.3196</c:v>
                </c:pt>
                <c:pt idx="40">
                  <c:v>1200.7829</c:v>
                </c:pt>
                <c:pt idx="41">
                  <c:v>1267.2124</c:v>
                </c:pt>
                <c:pt idx="42">
                  <c:v>1202.6204</c:v>
                </c:pt>
                <c:pt idx="43">
                  <c:v>1187.8655</c:v>
                </c:pt>
                <c:pt idx="44">
                  <c:v>1211.8</c:v>
                </c:pt>
                <c:pt idx="45">
                  <c:v>1207.3119</c:v>
                </c:pt>
                <c:pt idx="46">
                  <c:v>1281.4626</c:v>
                </c:pt>
                <c:pt idx="47">
                  <c:v>1268.9928</c:v>
                </c:pt>
                <c:pt idx="48">
                  <c:v>1272.9357</c:v>
                </c:pt>
                <c:pt idx="49">
                  <c:v>1227.7158</c:v>
                </c:pt>
                <c:pt idx="50">
                  <c:v>1067.1154</c:v>
                </c:pt>
                <c:pt idx="51">
                  <c:v>1035.4477</c:v>
                </c:pt>
              </c:numCache>
            </c:numRef>
          </c:xVal>
          <c:yVal>
            <c:numRef>
              <c:f>Sheet1!$B$109:$B$160</c:f>
              <c:numCache>
                <c:formatCode>General</c:formatCode>
                <c:ptCount val="52"/>
                <c:pt idx="0">
                  <c:v>0.15441176470588236</c:v>
                </c:pt>
                <c:pt idx="1">
                  <c:v>0.16818897637795274</c:v>
                </c:pt>
                <c:pt idx="2">
                  <c:v>0.1799465240641711</c:v>
                </c:pt>
                <c:pt idx="3">
                  <c:v>0.18975754576942108</c:v>
                </c:pt>
                <c:pt idx="4">
                  <c:v>0.1834836527621195</c:v>
                </c:pt>
                <c:pt idx="5">
                  <c:v>0.1838106370543542</c:v>
                </c:pt>
                <c:pt idx="6">
                  <c:v>0.18599766627771294</c:v>
                </c:pt>
                <c:pt idx="7">
                  <c:v>0.1601123595505618</c:v>
                </c:pt>
                <c:pt idx="8">
                  <c:v>0.1750278706800446</c:v>
                </c:pt>
                <c:pt idx="9">
                  <c:v>0.19368570415040795</c:v>
                </c:pt>
                <c:pt idx="10">
                  <c:v>0.21005917159763313</c:v>
                </c:pt>
                <c:pt idx="11">
                  <c:v>0.21565537168374047</c:v>
                </c:pt>
                <c:pt idx="12">
                  <c:v>0.21050934880722114</c:v>
                </c:pt>
                <c:pt idx="13">
                  <c:v>0.19104084321475626</c:v>
                </c:pt>
                <c:pt idx="14">
                  <c:v>0.19130114264651676</c:v>
                </c:pt>
                <c:pt idx="15">
                  <c:v>0.1845718901453958</c:v>
                </c:pt>
                <c:pt idx="16">
                  <c:v>0.15836889521100048</c:v>
                </c:pt>
                <c:pt idx="17">
                  <c:v>0.13720022308979365</c:v>
                </c:pt>
                <c:pt idx="18">
                  <c:v>0.1414790996784566</c:v>
                </c:pt>
                <c:pt idx="19">
                  <c:v>0.15276752767527677</c:v>
                </c:pt>
                <c:pt idx="20">
                  <c:v>0.1524024024024024</c:v>
                </c:pt>
                <c:pt idx="21">
                  <c:v>0.1795252225519288</c:v>
                </c:pt>
                <c:pt idx="22">
                  <c:v>0.17729970326409494</c:v>
                </c:pt>
                <c:pt idx="23">
                  <c:v>0.1612046058458813</c:v>
                </c:pt>
                <c:pt idx="24">
                  <c:v>0.15479582146248813</c:v>
                </c:pt>
                <c:pt idx="25">
                  <c:v>0.13953488372093023</c:v>
                </c:pt>
                <c:pt idx="26">
                  <c:v>0.10219675262655205</c:v>
                </c:pt>
                <c:pt idx="27">
                  <c:v>0.113</c:v>
                </c:pt>
                <c:pt idx="28">
                  <c:v>0.123046875</c:v>
                </c:pt>
                <c:pt idx="29">
                  <c:v>0.11003627569528417</c:v>
                </c:pt>
                <c:pt idx="30">
                  <c:v>0.11253561253561253</c:v>
                </c:pt>
                <c:pt idx="31">
                  <c:v>0.11920529801324503</c:v>
                </c:pt>
                <c:pt idx="32">
                  <c:v>0.11624834874504623</c:v>
                </c:pt>
                <c:pt idx="33">
                  <c:v>0.13099415204678364</c:v>
                </c:pt>
                <c:pt idx="34">
                  <c:v>0.12135922330097088</c:v>
                </c:pt>
                <c:pt idx="35">
                  <c:v>0.11972633979475485</c:v>
                </c:pt>
                <c:pt idx="36">
                  <c:v>0.11829944547134935</c:v>
                </c:pt>
                <c:pt idx="37">
                  <c:v>0.10366826156299841</c:v>
                </c:pt>
                <c:pt idx="38">
                  <c:v>0.11956521739130435</c:v>
                </c:pt>
                <c:pt idx="39">
                  <c:v>0.11602870813397129</c:v>
                </c:pt>
                <c:pt idx="40">
                  <c:v>0.10794979079497909</c:v>
                </c:pt>
                <c:pt idx="41">
                  <c:v>0.10453283996299723</c:v>
                </c:pt>
                <c:pt idx="42">
                  <c:v>0.11816192560175055</c:v>
                </c:pt>
                <c:pt idx="43">
                  <c:v>0.11784975878704342</c:v>
                </c:pt>
                <c:pt idx="44">
                  <c:v>0.11979463776383342</c:v>
                </c:pt>
                <c:pt idx="45">
                  <c:v>0.12336374454581515</c:v>
                </c:pt>
                <c:pt idx="46">
                  <c:v>0.1049534085335949</c:v>
                </c:pt>
                <c:pt idx="47">
                  <c:v>0.11687763713080168</c:v>
                </c:pt>
                <c:pt idx="48">
                  <c:v>0.11664167916041979</c:v>
                </c:pt>
                <c:pt idx="49">
                  <c:v>0.13784097504352874</c:v>
                </c:pt>
                <c:pt idx="50">
                  <c:v>0.1993911719939117</c:v>
                </c:pt>
                <c:pt idx="51">
                  <c:v>0.180868429644139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1.2178658872431</c:v>
                </c:pt>
              </c:numCache>
            </c:numRef>
          </c:xVal>
          <c:yVal>
            <c:numRef>
              <c:f>Sheet1!$B$163:$B$164</c:f>
              <c:numCache>
                <c:formatCode>General</c:formatCode>
                <c:ptCount val="2"/>
                <c:pt idx="0">
                  <c:v>0.20024687288783122</c:v>
                </c:pt>
                <c:pt idx="1">
                  <c:v>0.200246872887831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1.2178658872431</c:v>
                </c:pt>
                <c:pt idx="1">
                  <c:v>961.2178658872431</c:v>
                </c:pt>
              </c:numCache>
            </c:numRef>
          </c:xVal>
          <c:yVal>
            <c:numRef>
              <c:f>Sheet1!$B$167:$B$168</c:f>
              <c:numCache>
                <c:formatCode>General</c:formatCode>
                <c:ptCount val="2"/>
                <c:pt idx="0">
                  <c:v>0.200246872887831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9.6783261397377</c:v>
                </c:pt>
              </c:numCache>
            </c:numRef>
          </c:xVal>
          <c:yVal>
            <c:numRef>
              <c:f>Sheet1!$B$171:$B$172</c:f>
              <c:numCache>
                <c:formatCode>General</c:formatCode>
                <c:ptCount val="2"/>
                <c:pt idx="0">
                  <c:v>0.17835129560419463</c:v>
                </c:pt>
                <c:pt idx="1">
                  <c:v>0.1783512956041946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9.6783261397377</c:v>
                </c:pt>
                <c:pt idx="1">
                  <c:v>1069.6783261397377</c:v>
                </c:pt>
              </c:numCache>
            </c:numRef>
          </c:xVal>
          <c:yVal>
            <c:numRef>
              <c:f>Sheet1!$B$175:$B$176</c:f>
              <c:numCache>
                <c:formatCode>General</c:formatCode>
                <c:ptCount val="2"/>
                <c:pt idx="0">
                  <c:v>0.178351295604194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8.9980666017113</c:v>
                </c:pt>
              </c:numCache>
            </c:numRef>
          </c:xVal>
          <c:yVal>
            <c:numRef>
              <c:f>Sheet1!$B$179:$B$180</c:f>
              <c:numCache>
                <c:formatCode>General</c:formatCode>
                <c:ptCount val="2"/>
                <c:pt idx="0">
                  <c:v>0.128019592853599</c:v>
                </c:pt>
                <c:pt idx="1">
                  <c:v>0.12801959285359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8.9980666017113</c:v>
                </c:pt>
                <c:pt idx="1">
                  <c:v>1318.9980666017113</c:v>
                </c:pt>
              </c:numCache>
            </c:numRef>
          </c:xVal>
          <c:yVal>
            <c:numRef>
              <c:f>Sheet1!$B$183:$B$184</c:f>
              <c:numCache>
                <c:formatCode>General</c:formatCode>
                <c:ptCount val="2"/>
                <c:pt idx="0">
                  <c:v>0.1280195928535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5.0152</c:v>
                </c:pt>
                <c:pt idx="1">
                  <c:v>1167.7584</c:v>
                </c:pt>
                <c:pt idx="2">
                  <c:v>1170.1322</c:v>
                </c:pt>
                <c:pt idx="3">
                  <c:v>1173.3338</c:v>
                </c:pt>
                <c:pt idx="4">
                  <c:v>1175.8034</c:v>
                </c:pt>
                <c:pt idx="5">
                  <c:v>1177.5024</c:v>
                </c:pt>
                <c:pt idx="6">
                  <c:v>1111.2459</c:v>
                </c:pt>
                <c:pt idx="7">
                  <c:v>1238.9148</c:v>
                </c:pt>
                <c:pt idx="8">
                  <c:v>1289.3482</c:v>
                </c:pt>
                <c:pt idx="9">
                  <c:v>1269.4597</c:v>
                </c:pt>
                <c:pt idx="10">
                  <c:v>1259.8662</c:v>
                </c:pt>
                <c:pt idx="11">
                  <c:v>1100.4799</c:v>
                </c:pt>
                <c:pt idx="12">
                  <c:v>1097.294</c:v>
                </c:pt>
                <c:pt idx="13">
                  <c:v>1210.481</c:v>
                </c:pt>
                <c:pt idx="14">
                  <c:v>1253.5106</c:v>
                </c:pt>
                <c:pt idx="15">
                  <c:v>1264.0</c:v>
                </c:pt>
                <c:pt idx="16">
                  <c:v>1331.8234</c:v>
                </c:pt>
                <c:pt idx="17">
                  <c:v>1333.9715</c:v>
                </c:pt>
                <c:pt idx="18">
                  <c:v>1358.5341</c:v>
                </c:pt>
                <c:pt idx="19">
                  <c:v>1273.3188</c:v>
                </c:pt>
                <c:pt idx="20">
                  <c:v>1216.0837</c:v>
                </c:pt>
                <c:pt idx="21">
                  <c:v>1080.7066</c:v>
                </c:pt>
                <c:pt idx="22">
                  <c:v>1041.6485</c:v>
                </c:pt>
                <c:pt idx="23">
                  <c:v>1076.8407</c:v>
                </c:pt>
                <c:pt idx="24">
                  <c:v>1112.0859</c:v>
                </c:pt>
                <c:pt idx="25">
                  <c:v>1169.6439</c:v>
                </c:pt>
                <c:pt idx="26">
                  <c:v>1343.729</c:v>
                </c:pt>
                <c:pt idx="27">
                  <c:v>1303.3186</c:v>
                </c:pt>
                <c:pt idx="28">
                  <c:v>1337.1746</c:v>
                </c:pt>
                <c:pt idx="29">
                  <c:v>1322.7582</c:v>
                </c:pt>
                <c:pt idx="30">
                  <c:v>1304.2785</c:v>
                </c:pt>
                <c:pt idx="31">
                  <c:v>1289.7778</c:v>
                </c:pt>
                <c:pt idx="32">
                  <c:v>1327.6818</c:v>
                </c:pt>
                <c:pt idx="33">
                  <c:v>1278.3393</c:v>
                </c:pt>
                <c:pt idx="34">
                  <c:v>1305.136</c:v>
                </c:pt>
                <c:pt idx="35">
                  <c:v>1256.3524</c:v>
                </c:pt>
                <c:pt idx="36">
                  <c:v>1272.7031</c:v>
                </c:pt>
                <c:pt idx="37">
                  <c:v>1206.7077</c:v>
                </c:pt>
                <c:pt idx="38">
                  <c:v>1142.0303</c:v>
                </c:pt>
                <c:pt idx="39">
                  <c:v>1140.3196</c:v>
                </c:pt>
                <c:pt idx="40">
                  <c:v>1200.7829</c:v>
                </c:pt>
                <c:pt idx="41">
                  <c:v>1267.2124</c:v>
                </c:pt>
                <c:pt idx="42">
                  <c:v>1202.6204</c:v>
                </c:pt>
                <c:pt idx="43">
                  <c:v>1187.8655</c:v>
                </c:pt>
                <c:pt idx="44">
                  <c:v>1211.8</c:v>
                </c:pt>
                <c:pt idx="45">
                  <c:v>1207.3119</c:v>
                </c:pt>
                <c:pt idx="46">
                  <c:v>1281.4626</c:v>
                </c:pt>
                <c:pt idx="47">
                  <c:v>1268.9928</c:v>
                </c:pt>
                <c:pt idx="48">
                  <c:v>1272.9357</c:v>
                </c:pt>
                <c:pt idx="49">
                  <c:v>1227.7158</c:v>
                </c:pt>
                <c:pt idx="50">
                  <c:v>1067.1154</c:v>
                </c:pt>
                <c:pt idx="51">
                  <c:v>1035.4477</c:v>
                </c:pt>
                <c:pt idx="52">
                  <c:v>1069.6783261397377</c:v>
                </c:pt>
                <c:pt idx="53">
                  <c:v>961.2178658872431</c:v>
                </c:pt>
                <c:pt idx="54">
                  <c:v>1318.9980666017113</c:v>
                </c:pt>
              </c:numCache>
            </c:numRef>
          </c:xVal>
          <c:yVal>
            <c:numRef>
              <c:f>Sheet1!$B$187:$B$241</c:f>
              <c:numCache>
                <c:formatCode>General</c:formatCode>
                <c:ptCount val="55"/>
                <c:pt idx="0">
                  <c:v>0.15708629583326658</c:v>
                </c:pt>
                <c:pt idx="1">
                  <c:v>0.1585512704872741</c:v>
                </c:pt>
                <c:pt idx="2">
                  <c:v>0.15807205694498508</c:v>
                </c:pt>
                <c:pt idx="3">
                  <c:v>0.15742573034754948</c:v>
                </c:pt>
                <c:pt idx="4">
                  <c:v>0.15692717707261605</c:v>
                </c:pt>
                <c:pt idx="5">
                  <c:v>0.15658418953855713</c:v>
                </c:pt>
                <c:pt idx="6">
                  <c:v>0.16995979492429863</c:v>
                </c:pt>
                <c:pt idx="7">
                  <c:v>0.1441864922833247</c:v>
                </c:pt>
                <c:pt idx="8">
                  <c:v>0.13400519298950064</c:v>
                </c:pt>
                <c:pt idx="9">
                  <c:v>0.13802020627445105</c:v>
                </c:pt>
                <c:pt idx="10">
                  <c:v>0.1399569048665607</c:v>
                </c:pt>
                <c:pt idx="11">
                  <c:v>0.17213319327137236</c:v>
                </c:pt>
                <c:pt idx="12">
                  <c:v>0.17277635041366685</c:v>
                </c:pt>
                <c:pt idx="13">
                  <c:v>0.14992659760758864</c:v>
                </c:pt>
                <c:pt idx="14">
                  <c:v>0.1412399487579467</c:v>
                </c:pt>
                <c:pt idx="15">
                  <c:v>0.13912238934667087</c:v>
                </c:pt>
                <c:pt idx="16">
                  <c:v>0.1254304642628029</c:v>
                </c:pt>
                <c:pt idx="17">
                  <c:v>0.12499681416161867</c:v>
                </c:pt>
                <c:pt idx="18">
                  <c:v>0.12003821168717749</c:v>
                </c:pt>
                <c:pt idx="19">
                  <c:v>0.1372411461257243</c:v>
                </c:pt>
                <c:pt idx="20">
                  <c:v>0.1487955462496888</c:v>
                </c:pt>
                <c:pt idx="21">
                  <c:v>0.17612495042687987</c:v>
                </c:pt>
                <c:pt idx="22">
                  <c:v>0.18400984825149827</c:v>
                </c:pt>
                <c:pt idx="23">
                  <c:v>0.17690538333324737</c:v>
                </c:pt>
                <c:pt idx="24">
                  <c:v>0.1697902189804437</c:v>
                </c:pt>
                <c:pt idx="25">
                  <c:v>0.15817063305615692</c:v>
                </c:pt>
                <c:pt idx="26">
                  <c:v>0.12302700788523263</c:v>
                </c:pt>
                <c:pt idx="27">
                  <c:v>0.13118490279184508</c:v>
                </c:pt>
                <c:pt idx="28">
                  <c:v>0.12435018474999765</c:v>
                </c:pt>
                <c:pt idx="29">
                  <c:v>0.1272605116987952</c:v>
                </c:pt>
                <c:pt idx="30">
                  <c:v>0.13099112190076617</c:v>
                </c:pt>
                <c:pt idx="31">
                  <c:v>0.13391846700678622</c:v>
                </c:pt>
                <c:pt idx="32">
                  <c:v>0.12626655441645707</c:v>
                </c:pt>
                <c:pt idx="33">
                  <c:v>0.13622762704700575</c:v>
                </c:pt>
                <c:pt idx="34">
                  <c:v>0.1308180131247476</c:v>
                </c:pt>
                <c:pt idx="35">
                  <c:v>0.14066625718979564</c:v>
                </c:pt>
                <c:pt idx="36">
                  <c:v>0.13736544125504746</c:v>
                </c:pt>
                <c:pt idx="37">
                  <c:v>0.1506883367849074</c:v>
                </c:pt>
                <c:pt idx="38">
                  <c:v>0.163745159583814</c:v>
                </c:pt>
                <c:pt idx="39">
                  <c:v>0.16409050906851946</c:v>
                </c:pt>
                <c:pt idx="40">
                  <c:v>0.1518844124422307</c:v>
                </c:pt>
                <c:pt idx="41">
                  <c:v>0.13847388248710008</c:v>
                </c:pt>
                <c:pt idx="42">
                  <c:v>0.15151346506504806</c:v>
                </c:pt>
                <c:pt idx="43">
                  <c:v>0.15449212708169663</c:v>
                </c:pt>
                <c:pt idx="44">
                  <c:v>0.1496603230005117</c:v>
                </c:pt>
                <c:pt idx="45">
                  <c:v>0.15056636323100606</c:v>
                </c:pt>
                <c:pt idx="46">
                  <c:v>0.13559710735005093</c:v>
                </c:pt>
                <c:pt idx="47">
                  <c:v>0.13811446223657708</c:v>
                </c:pt>
                <c:pt idx="48">
                  <c:v>0.13731848486868953</c:v>
                </c:pt>
                <c:pt idx="49">
                  <c:v>0.14644730299193318</c:v>
                </c:pt>
                <c:pt idx="50">
                  <c:v>0.17886868919845234</c:v>
                </c:pt>
                <c:pt idx="51">
                  <c:v>0.18526164171894532</c:v>
                </c:pt>
                <c:pt idx="52">
                  <c:v>0.17835129560419463</c:v>
                </c:pt>
                <c:pt idx="53">
                  <c:v>0.20024687288783122</c:v>
                </c:pt>
                <c:pt idx="54">
                  <c:v>0.128019592853598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0.0"/>
          <c:min val="47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69281045751634"/>
          <c:min val="0.063835263835263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1.1417844999592668</c:v>
                </c:pt>
                <c:pt idx="3">
                  <c:v>1.0672963951968715</c:v>
                </c:pt>
                <c:pt idx="4">
                  <c:v>1.4241565586177134</c:v>
                </c:pt>
                <c:pt idx="5">
                  <c:v>0.8670303386792193</c:v>
                </c:pt>
                <c:pt idx="6">
                  <c:v>1.1619599473778532</c:v>
                </c:pt>
                <c:pt idx="7">
                  <c:v>1.919667154015078</c:v>
                </c:pt>
                <c:pt idx="8">
                  <c:v>1.2110814545333575</c:v>
                </c:pt>
                <c:pt idx="9">
                  <c:v>1.266349676170981</c:v>
                </c:pt>
                <c:pt idx="10">
                  <c:v>1.3729221665241351</c:v>
                </c:pt>
                <c:pt idx="11">
                  <c:v>1.3004350258885864</c:v>
                </c:pt>
                <c:pt idx="12">
                  <c:v>1.1738818411735572</c:v>
                </c:pt>
                <c:pt idx="13">
                  <c:v>1.1194316084301068</c:v>
                </c:pt>
                <c:pt idx="14">
                  <c:v>1.0522079301962426</c:v>
                </c:pt>
                <c:pt idx="15">
                  <c:v>1.4715046172734998</c:v>
                </c:pt>
                <c:pt idx="16">
                  <c:v>1.0727488194900734</c:v>
                </c:pt>
                <c:pt idx="17">
                  <c:v>0.7912220315515729</c:v>
                </c:pt>
                <c:pt idx="18">
                  <c:v>1.2348140612192415</c:v>
                </c:pt>
                <c:pt idx="19">
                  <c:v>0.9234378980430058</c:v>
                </c:pt>
                <c:pt idx="20">
                  <c:v>1.055683859183012</c:v>
                </c:pt>
                <c:pt idx="21">
                  <c:v>0.3215016880404443</c:v>
                </c:pt>
                <c:pt idx="22">
                  <c:v>0.5899247751774717</c:v>
                </c:pt>
                <c:pt idx="23">
                  <c:v>2.101475914381</c:v>
                </c:pt>
                <c:pt idx="24">
                  <c:v>2.4551348339903</c:v>
                </c:pt>
                <c:pt idx="25">
                  <c:v>3.0418860587778065</c:v>
                </c:pt>
                <c:pt idx="26">
                  <c:v>1.7824848750915747</c:v>
                </c:pt>
                <c:pt idx="27">
                  <c:v>2.7110699020177718</c:v>
                </c:pt>
                <c:pt idx="28">
                  <c:v>2.424571786121159</c:v>
                </c:pt>
                <c:pt idx="29">
                  <c:v>1.630418077620075</c:v>
                </c:pt>
                <c:pt idx="30">
                  <c:v>1.2338350779761336</c:v>
                </c:pt>
                <c:pt idx="31">
                  <c:v>2.5777202623828006</c:v>
                </c:pt>
                <c:pt idx="32">
                  <c:v>0.0</c:v>
                </c:pt>
                <c:pt idx="33">
                  <c:v>2.2759173443295904</c:v>
                </c:pt>
                <c:pt idx="34">
                  <c:v>2.3810124263306274</c:v>
                </c:pt>
                <c:pt idx="35">
                  <c:v>2.4006147247066023</c:v>
                </c:pt>
                <c:pt idx="36">
                  <c:v>1.8934648367396356</c:v>
                </c:pt>
                <c:pt idx="37">
                  <c:v>1.5667038742750807</c:v>
                </c:pt>
                <c:pt idx="38">
                  <c:v>2.3762726519344457</c:v>
                </c:pt>
                <c:pt idx="39">
                  <c:v>1.7944856100179447</c:v>
                </c:pt>
                <c:pt idx="40">
                  <c:v>2.354583753786756</c:v>
                </c:pt>
                <c:pt idx="41">
                  <c:v>3.7293386075342108</c:v>
                </c:pt>
                <c:pt idx="42">
                  <c:v>1.9548158479543534</c:v>
                </c:pt>
                <c:pt idx="43">
                  <c:v>1.9775216073102098</c:v>
                </c:pt>
                <c:pt idx="44">
                  <c:v>1.1492005462311696</c:v>
                </c:pt>
                <c:pt idx="45">
                  <c:v>0.9946567521502726</c:v>
                </c:pt>
                <c:pt idx="46">
                  <c:v>1.0125596302898718</c:v>
                </c:pt>
                <c:pt idx="47">
                  <c:v>1.5230910597493863</c:v>
                </c:pt>
                <c:pt idx="48">
                  <c:v>2.226346082402623</c:v>
                </c:pt>
                <c:pt idx="49">
                  <c:v>2.1897954134209474</c:v>
                </c:pt>
                <c:pt idx="50">
                  <c:v>2.076340869060814</c:v>
                </c:pt>
                <c:pt idx="51">
                  <c:v>2.7021550644918984</c:v>
                </c:pt>
                <c:pt idx="52">
                  <c:v>2.5090289943029926</c:v>
                </c:pt>
              </c:numCache>
            </c:numRef>
          </c:xVal>
          <c:yVal>
            <c:numRef>
              <c:f>Sheet1!$B$2:$B$54</c:f>
              <c:numCache>
                <c:formatCode>General</c:formatCode>
                <c:ptCount val="53"/>
                <c:pt idx="0">
                  <c:v>0.0</c:v>
                </c:pt>
                <c:pt idx="1">
                  <c:v>0.0</c:v>
                </c:pt>
                <c:pt idx="2">
                  <c:v>0.0003901677721420211</c:v>
                </c:pt>
                <c:pt idx="3">
                  <c:v>0.00039541320680110717</c:v>
                </c:pt>
                <c:pt idx="4">
                  <c:v>0.0003756574004507889</c:v>
                </c:pt>
                <c:pt idx="5">
                  <c:v>0.0002907822041291073</c:v>
                </c:pt>
                <c:pt idx="6">
                  <c:v>0.0002615746795710175</c:v>
                </c:pt>
                <c:pt idx="7">
                  <c:v>0.0001450536698578474</c:v>
                </c:pt>
                <c:pt idx="8">
                  <c:v>0.0005084745762711864</c:v>
                </c:pt>
                <c:pt idx="9">
                  <c:v>0.0007390983000739098</c:v>
                </c:pt>
                <c:pt idx="10">
                  <c:v>0.0005467468562055768</c:v>
                </c:pt>
                <c:pt idx="11">
                  <c:v>0.0006983240223463687</c:v>
                </c:pt>
                <c:pt idx="12">
                  <c:v>0.000969227041434456</c:v>
                </c:pt>
                <c:pt idx="13">
                  <c:v>0.0007556675062972292</c:v>
                </c:pt>
                <c:pt idx="14">
                  <c:v>0.0007888509071785432</c:v>
                </c:pt>
                <c:pt idx="15">
                  <c:v>0.0005877167205406994</c:v>
                </c:pt>
                <c:pt idx="16">
                  <c:v>0.0009973404255319148</c:v>
                </c:pt>
                <c:pt idx="17">
                  <c:v>0.0018841262364578427</c:v>
                </c:pt>
                <c:pt idx="18">
                  <c:v>0.000445632798573975</c:v>
                </c:pt>
                <c:pt idx="19">
                  <c:v>0.0014443909484833895</c:v>
                </c:pt>
                <c:pt idx="20">
                  <c:v>0.0010741138560687433</c:v>
                </c:pt>
                <c:pt idx="21">
                  <c:v>0.0017574692442882249</c:v>
                </c:pt>
                <c:pt idx="22">
                  <c:v>0.0011117287381878821</c:v>
                </c:pt>
                <c:pt idx="23">
                  <c:v>0.000792393026941363</c:v>
                </c:pt>
                <c:pt idx="24">
                  <c:v>0.0018885741265344666</c:v>
                </c:pt>
                <c:pt idx="25">
                  <c:v>0.0017241379310344827</c:v>
                </c:pt>
                <c:pt idx="26">
                  <c:v>0.0021253985122210413</c:v>
                </c:pt>
                <c:pt idx="27">
                  <c:v>0.002068252326783868</c:v>
                </c:pt>
                <c:pt idx="28">
                  <c:v>0.0011441647597254005</c:v>
                </c:pt>
                <c:pt idx="29">
                  <c:v>0.003045685279187817</c:v>
                </c:pt>
                <c:pt idx="30">
                  <c:v>0.00516795865633075</c:v>
                </c:pt>
                <c:pt idx="31">
                  <c:v>0.0028169014084507044</c:v>
                </c:pt>
                <c:pt idx="32">
                  <c:v>0.0</c:v>
                </c:pt>
                <c:pt idx="33">
                  <c:v>0.002331002331002331</c:v>
                </c:pt>
                <c:pt idx="34">
                  <c:v>0.003956478733926805</c:v>
                </c:pt>
                <c:pt idx="35">
                  <c:v>0.003956478733926805</c:v>
                </c:pt>
                <c:pt idx="36">
                  <c:v>0.004796163069544364</c:v>
                </c:pt>
                <c:pt idx="37">
                  <c:v>0.008871989860583017</c:v>
                </c:pt>
                <c:pt idx="38">
                  <c:v>0.004178272980501393</c:v>
                </c:pt>
                <c:pt idx="39">
                  <c:v>0.005148005148005148</c:v>
                </c:pt>
                <c:pt idx="40">
                  <c:v>0.003424657534246575</c:v>
                </c:pt>
                <c:pt idx="41">
                  <c:v>0.0017226528854435831</c:v>
                </c:pt>
                <c:pt idx="42">
                  <c:v>0.0048250904704463205</c:v>
                </c:pt>
                <c:pt idx="43">
                  <c:v>0.004755434782608696</c:v>
                </c:pt>
                <c:pt idx="44">
                  <c:v>0.008680555555555556</c:v>
                </c:pt>
                <c:pt idx="45">
                  <c:v>0.013327601031814273</c:v>
                </c:pt>
                <c:pt idx="46">
                  <c:v>0.010984987184181618</c:v>
                </c:pt>
                <c:pt idx="47">
                  <c:v>0.007543753771876886</c:v>
                </c:pt>
                <c:pt idx="48">
                  <c:v>0.003513086246267346</c:v>
                </c:pt>
                <c:pt idx="49">
                  <c:v>0.005064893953782843</c:v>
                </c:pt>
                <c:pt idx="50">
                  <c:v>0.005509641873278237</c:v>
                </c:pt>
                <c:pt idx="51">
                  <c:v>0.003301419610432486</c:v>
                </c:pt>
                <c:pt idx="52">
                  <c:v>0.00306018361101666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2.6577141063751717</c:v>
                </c:pt>
                <c:pt idx="1">
                  <c:v>1.6653864232511357</c:v>
                </c:pt>
                <c:pt idx="2">
                  <c:v>2.827817394168438</c:v>
                </c:pt>
                <c:pt idx="3">
                  <c:v>1.9001892576296584</c:v>
                </c:pt>
                <c:pt idx="4">
                  <c:v>2.392730229608895</c:v>
                </c:pt>
                <c:pt idx="5">
                  <c:v>2.603549911479405</c:v>
                </c:pt>
                <c:pt idx="6">
                  <c:v>2.981211479319064</c:v>
                </c:pt>
                <c:pt idx="7">
                  <c:v>2.5562753298834644</c:v>
                </c:pt>
                <c:pt idx="8">
                  <c:v>2.5844200777404374</c:v>
                </c:pt>
                <c:pt idx="9">
                  <c:v>2.3692099689243244</c:v>
                </c:pt>
                <c:pt idx="10">
                  <c:v>2.416234717677168</c:v>
                </c:pt>
                <c:pt idx="11">
                  <c:v>2.6507783333820707</c:v>
                </c:pt>
                <c:pt idx="12">
                  <c:v>2.377473997396783</c:v>
                </c:pt>
                <c:pt idx="13">
                  <c:v>2.0703241240991357</c:v>
                </c:pt>
                <c:pt idx="14">
                  <c:v>1.9125475970587977</c:v>
                </c:pt>
                <c:pt idx="15">
                  <c:v>2.026806394387297</c:v>
                </c:pt>
                <c:pt idx="16">
                  <c:v>2.1847384014544478</c:v>
                </c:pt>
                <c:pt idx="17">
                  <c:v>1.9272021170944535</c:v>
                </c:pt>
                <c:pt idx="18">
                  <c:v>1.970716762378826</c:v>
                </c:pt>
                <c:pt idx="19">
                  <c:v>2.9915464110480268</c:v>
                </c:pt>
                <c:pt idx="20">
                  <c:v>1.9508090494422097</c:v>
                </c:pt>
                <c:pt idx="21">
                  <c:v>2.0684302540332324</c:v>
                </c:pt>
                <c:pt idx="22">
                  <c:v>2.0349244770650685</c:v>
                </c:pt>
                <c:pt idx="23">
                  <c:v>2.4174156828902014</c:v>
                </c:pt>
                <c:pt idx="24">
                  <c:v>1.8048760752462214</c:v>
                </c:pt>
                <c:pt idx="25">
                  <c:v>1.8796830490150855</c:v>
                </c:pt>
                <c:pt idx="26">
                  <c:v>2.1052134199041053</c:v>
                </c:pt>
                <c:pt idx="27">
                  <c:v>2.2736683751081506</c:v>
                </c:pt>
                <c:pt idx="28">
                  <c:v>1.940794984661172</c:v>
                </c:pt>
                <c:pt idx="29">
                  <c:v>2.18052640742598</c:v>
                </c:pt>
                <c:pt idx="30">
                  <c:v>1.2553101414135857</c:v>
                </c:pt>
                <c:pt idx="31">
                  <c:v>1.8359719314599092</c:v>
                </c:pt>
                <c:pt idx="32">
                  <c:v>2.2557983327006945</c:v>
                </c:pt>
                <c:pt idx="33">
                  <c:v>2.091816691208327</c:v>
                </c:pt>
                <c:pt idx="34">
                  <c:v>2.3872099459389</c:v>
                </c:pt>
                <c:pt idx="35">
                  <c:v>2.028425076363961</c:v>
                </c:pt>
                <c:pt idx="36">
                  <c:v>1.9702874911812105</c:v>
                </c:pt>
                <c:pt idx="37">
                  <c:v>1.7215368979046186</c:v>
                </c:pt>
                <c:pt idx="38">
                  <c:v>1.818219512484068</c:v>
                </c:pt>
                <c:pt idx="39">
                  <c:v>2.0032697034287468</c:v>
                </c:pt>
                <c:pt idx="40">
                  <c:v>2.610687957516933</c:v>
                </c:pt>
                <c:pt idx="41">
                  <c:v>2.6084838471727676</c:v>
                </c:pt>
                <c:pt idx="42">
                  <c:v>2.021528806109281</c:v>
                </c:pt>
                <c:pt idx="43">
                  <c:v>2.2078635210513657</c:v>
                </c:pt>
                <c:pt idx="44">
                  <c:v>2.3660646367679425</c:v>
                </c:pt>
                <c:pt idx="45">
                  <c:v>2.2586140545801023</c:v>
                </c:pt>
                <c:pt idx="46">
                  <c:v>2.4144499474126717</c:v>
                </c:pt>
                <c:pt idx="47">
                  <c:v>2.576300321774028</c:v>
                </c:pt>
                <c:pt idx="48">
                  <c:v>2.8784423097628133</c:v>
                </c:pt>
                <c:pt idx="49">
                  <c:v>2.6917535221386757</c:v>
                </c:pt>
                <c:pt idx="50">
                  <c:v>2.627250825330861</c:v>
                </c:pt>
                <c:pt idx="51">
                  <c:v>2.578559261575949</c:v>
                </c:pt>
              </c:numCache>
            </c:numRef>
          </c:xVal>
          <c:yVal>
            <c:numRef>
              <c:f>Sheet1!$B$57:$B$108</c:f>
              <c:numCache>
                <c:formatCode>General</c:formatCode>
                <c:ptCount val="52"/>
                <c:pt idx="0">
                  <c:v>0.0026470588235294116</c:v>
                </c:pt>
                <c:pt idx="1">
                  <c:v>0.004094488188976378</c:v>
                </c:pt>
                <c:pt idx="2">
                  <c:v>0.0029411764705882353</c:v>
                </c:pt>
                <c:pt idx="3">
                  <c:v>0.0034636318654131617</c:v>
                </c:pt>
                <c:pt idx="4">
                  <c:v>0.0036640360766629085</c:v>
                </c:pt>
                <c:pt idx="5">
                  <c:v>0.0032144944476914087</c:v>
                </c:pt>
                <c:pt idx="6">
                  <c:v>0.0025670945157526253</c:v>
                </c:pt>
                <c:pt idx="7">
                  <c:v>0.0036115569823434992</c:v>
                </c:pt>
                <c:pt idx="8">
                  <c:v>0.0033444816053511705</c:v>
                </c:pt>
                <c:pt idx="9">
                  <c:v>0.004256828662646328</c:v>
                </c:pt>
                <c:pt idx="10">
                  <c:v>0.0040680473372781065</c:v>
                </c:pt>
                <c:pt idx="11">
                  <c:v>0.003414762280010507</c:v>
                </c:pt>
                <c:pt idx="12">
                  <c:v>0.004513217279174726</c:v>
                </c:pt>
                <c:pt idx="13">
                  <c:v>0.005928853754940711</c:v>
                </c:pt>
                <c:pt idx="14">
                  <c:v>0.008109104312569112</c:v>
                </c:pt>
                <c:pt idx="15">
                  <c:v>0.006462035541195477</c:v>
                </c:pt>
                <c:pt idx="16">
                  <c:v>0.006638217164532954</c:v>
                </c:pt>
                <c:pt idx="17">
                  <c:v>0.007808142777467931</c:v>
                </c:pt>
                <c:pt idx="18">
                  <c:v>0.006430868167202572</c:v>
                </c:pt>
                <c:pt idx="19">
                  <c:v>0.0036900369003690036</c:v>
                </c:pt>
                <c:pt idx="20">
                  <c:v>0.006006006006006006</c:v>
                </c:pt>
                <c:pt idx="21">
                  <c:v>0.0066765578635014835</c:v>
                </c:pt>
                <c:pt idx="22">
                  <c:v>0.004451038575667656</c:v>
                </c:pt>
                <c:pt idx="23">
                  <c:v>0.00354295837023915</c:v>
                </c:pt>
                <c:pt idx="24">
                  <c:v>0.005698005698005698</c:v>
                </c:pt>
                <c:pt idx="25">
                  <c:v>0.006342494714587738</c:v>
                </c:pt>
                <c:pt idx="26">
                  <c:v>0.004775549188156638</c:v>
                </c:pt>
                <c:pt idx="27">
                  <c:v>0.005</c:v>
                </c:pt>
                <c:pt idx="28">
                  <c:v>0.0048828125</c:v>
                </c:pt>
                <c:pt idx="29">
                  <c:v>0.0048367593712212815</c:v>
                </c:pt>
                <c:pt idx="30">
                  <c:v>0.008547008547008548</c:v>
                </c:pt>
                <c:pt idx="31">
                  <c:v>0.006622516556291391</c:v>
                </c:pt>
                <c:pt idx="32">
                  <c:v>0.005284015852047556</c:v>
                </c:pt>
                <c:pt idx="33">
                  <c:v>0.005847953216374269</c:v>
                </c:pt>
                <c:pt idx="34">
                  <c:v>0.005825242718446602</c:v>
                </c:pt>
                <c:pt idx="35">
                  <c:v>0.0068415051311288486</c:v>
                </c:pt>
                <c:pt idx="36">
                  <c:v>0.009242144177449169</c:v>
                </c:pt>
                <c:pt idx="37">
                  <c:v>0.011164274322169059</c:v>
                </c:pt>
                <c:pt idx="38">
                  <c:v>0.009057971014492754</c:v>
                </c:pt>
                <c:pt idx="39">
                  <c:v>0.005980861244019139</c:v>
                </c:pt>
                <c:pt idx="40">
                  <c:v>0.0041841004184100415</c:v>
                </c:pt>
                <c:pt idx="41">
                  <c:v>0.004625346901017576</c:v>
                </c:pt>
                <c:pt idx="42">
                  <c:v>0.005470459518599562</c:v>
                </c:pt>
                <c:pt idx="43">
                  <c:v>0.004135079255685734</c:v>
                </c:pt>
                <c:pt idx="44">
                  <c:v>0.004563605248146035</c:v>
                </c:pt>
                <c:pt idx="45">
                  <c:v>0.003966679888932963</c:v>
                </c:pt>
                <c:pt idx="46">
                  <c:v>0.00392349190779794</c:v>
                </c:pt>
                <c:pt idx="47">
                  <c:v>0.0037974683544303796</c:v>
                </c:pt>
                <c:pt idx="48">
                  <c:v>0.0029985007496251873</c:v>
                </c:pt>
                <c:pt idx="49">
                  <c:v>0.003482298316889147</c:v>
                </c:pt>
                <c:pt idx="50">
                  <c:v>0.003213258921021478</c:v>
                </c:pt>
                <c:pt idx="51">
                  <c:v>0.003917727717923604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9412358524253652</c:v>
                </c:pt>
              </c:numCache>
            </c:numRef>
          </c:xVal>
          <c:yVal>
            <c:numRef>
              <c:f>Sheet1!$B$111:$B$112</c:f>
              <c:numCache>
                <c:formatCode>General</c:formatCode>
                <c:ptCount val="2"/>
                <c:pt idx="0">
                  <c:v>0.006290173117005752</c:v>
                </c:pt>
                <c:pt idx="1">
                  <c:v>0.00629017311700575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9412358524253652</c:v>
                </c:pt>
                <c:pt idx="1">
                  <c:v>1.9412358524253652</c:v>
                </c:pt>
              </c:numCache>
            </c:numRef>
          </c:xVal>
          <c:yVal>
            <c:numRef>
              <c:f>Sheet1!$B$115:$B$116</c:f>
              <c:numCache>
                <c:formatCode>General</c:formatCode>
                <c:ptCount val="2"/>
                <c:pt idx="0">
                  <c:v>0.006290173117005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2.0378891220349</c:v>
                </c:pt>
              </c:numCache>
            </c:numRef>
          </c:xVal>
          <c:yVal>
            <c:numRef>
              <c:f>Sheet1!$B$119:$B$120</c:f>
              <c:numCache>
                <c:formatCode>General</c:formatCode>
                <c:ptCount val="2"/>
                <c:pt idx="0">
                  <c:v>0.00591946056786763</c:v>
                </c:pt>
                <c:pt idx="1">
                  <c:v>0.00591946056786763</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2.0378891220349</c:v>
                </c:pt>
                <c:pt idx="1">
                  <c:v>2.0378891220349</c:v>
                </c:pt>
              </c:numCache>
            </c:numRef>
          </c:xVal>
          <c:yVal>
            <c:numRef>
              <c:f>Sheet1!$B$123:$B$124</c:f>
              <c:numCache>
                <c:formatCode>General</c:formatCode>
                <c:ptCount val="2"/>
                <c:pt idx="0">
                  <c:v>0.005919460567867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2.4930333560666846</c:v>
                </c:pt>
              </c:numCache>
            </c:numRef>
          </c:xVal>
          <c:yVal>
            <c:numRef>
              <c:f>Sheet1!$B$127:$B$128</c:f>
              <c:numCache>
                <c:formatCode>General</c:formatCode>
                <c:ptCount val="2"/>
                <c:pt idx="0">
                  <c:v>0.004173759880192215</c:v>
                </c:pt>
                <c:pt idx="1">
                  <c:v>0.00417375988019221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2.4930333560666846</c:v>
                </c:pt>
                <c:pt idx="1">
                  <c:v>2.4930333560666846</c:v>
                </c:pt>
              </c:numCache>
            </c:numRef>
          </c:xVal>
          <c:yVal>
            <c:numRef>
              <c:f>Sheet1!$B$131:$B$132</c:f>
              <c:numCache>
                <c:formatCode>General</c:formatCode>
                <c:ptCount val="2"/>
                <c:pt idx="0">
                  <c:v>0.004173759880192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2.6577141063751717</c:v>
                </c:pt>
                <c:pt idx="1">
                  <c:v>1.6653864232511357</c:v>
                </c:pt>
                <c:pt idx="2">
                  <c:v>2.827817394168438</c:v>
                </c:pt>
                <c:pt idx="3">
                  <c:v>1.9001892576296584</c:v>
                </c:pt>
                <c:pt idx="4">
                  <c:v>2.392730229608895</c:v>
                </c:pt>
                <c:pt idx="5">
                  <c:v>2.603549911479405</c:v>
                </c:pt>
                <c:pt idx="6">
                  <c:v>2.981211479319064</c:v>
                </c:pt>
                <c:pt idx="7">
                  <c:v>2.5562753298834644</c:v>
                </c:pt>
                <c:pt idx="8">
                  <c:v>2.5844200777404374</c:v>
                </c:pt>
                <c:pt idx="9">
                  <c:v>2.3692099689243244</c:v>
                </c:pt>
                <c:pt idx="10">
                  <c:v>2.416234717677168</c:v>
                </c:pt>
                <c:pt idx="11">
                  <c:v>2.6507783333820707</c:v>
                </c:pt>
                <c:pt idx="12">
                  <c:v>2.377473997396783</c:v>
                </c:pt>
                <c:pt idx="13">
                  <c:v>2.0703241240991357</c:v>
                </c:pt>
                <c:pt idx="14">
                  <c:v>1.9125475970587977</c:v>
                </c:pt>
                <c:pt idx="15">
                  <c:v>2.026806394387297</c:v>
                </c:pt>
                <c:pt idx="16">
                  <c:v>2.1847384014544478</c:v>
                </c:pt>
                <c:pt idx="17">
                  <c:v>1.9272021170944535</c:v>
                </c:pt>
                <c:pt idx="18">
                  <c:v>1.970716762378826</c:v>
                </c:pt>
                <c:pt idx="19">
                  <c:v>2.9915464110480268</c:v>
                </c:pt>
                <c:pt idx="20">
                  <c:v>1.9508090494422097</c:v>
                </c:pt>
                <c:pt idx="21">
                  <c:v>2.0684302540332324</c:v>
                </c:pt>
                <c:pt idx="22">
                  <c:v>2.0349244770650685</c:v>
                </c:pt>
                <c:pt idx="23">
                  <c:v>2.4174156828902014</c:v>
                </c:pt>
                <c:pt idx="24">
                  <c:v>1.8048760752462214</c:v>
                </c:pt>
                <c:pt idx="25">
                  <c:v>1.8796830490150855</c:v>
                </c:pt>
                <c:pt idx="26">
                  <c:v>2.1052134199041053</c:v>
                </c:pt>
                <c:pt idx="27">
                  <c:v>2.2736683751081506</c:v>
                </c:pt>
                <c:pt idx="28">
                  <c:v>1.940794984661172</c:v>
                </c:pt>
                <c:pt idx="29">
                  <c:v>2.18052640742598</c:v>
                </c:pt>
                <c:pt idx="30">
                  <c:v>1.2553101414135857</c:v>
                </c:pt>
                <c:pt idx="31">
                  <c:v>1.8359719314599092</c:v>
                </c:pt>
                <c:pt idx="32">
                  <c:v>2.2557983327006945</c:v>
                </c:pt>
                <c:pt idx="33">
                  <c:v>2.091816691208327</c:v>
                </c:pt>
                <c:pt idx="34">
                  <c:v>2.3872099459389</c:v>
                </c:pt>
                <c:pt idx="35">
                  <c:v>2.028425076363961</c:v>
                </c:pt>
                <c:pt idx="36">
                  <c:v>1.9702874911812105</c:v>
                </c:pt>
                <c:pt idx="37">
                  <c:v>1.7215368979046186</c:v>
                </c:pt>
                <c:pt idx="38">
                  <c:v>1.818219512484068</c:v>
                </c:pt>
                <c:pt idx="39">
                  <c:v>2.0032697034287468</c:v>
                </c:pt>
                <c:pt idx="40">
                  <c:v>2.610687957516933</c:v>
                </c:pt>
                <c:pt idx="41">
                  <c:v>2.6084838471727676</c:v>
                </c:pt>
                <c:pt idx="42">
                  <c:v>2.021528806109281</c:v>
                </c:pt>
                <c:pt idx="43">
                  <c:v>2.2078635210513657</c:v>
                </c:pt>
                <c:pt idx="44">
                  <c:v>2.3660646367679425</c:v>
                </c:pt>
                <c:pt idx="45">
                  <c:v>2.2586140545801023</c:v>
                </c:pt>
                <c:pt idx="46">
                  <c:v>2.4144499474126717</c:v>
                </c:pt>
                <c:pt idx="47">
                  <c:v>2.576300321774028</c:v>
                </c:pt>
                <c:pt idx="48">
                  <c:v>2.8784423097628133</c:v>
                </c:pt>
                <c:pt idx="49">
                  <c:v>2.6917535221386757</c:v>
                </c:pt>
                <c:pt idx="50">
                  <c:v>2.627250825330861</c:v>
                </c:pt>
                <c:pt idx="51">
                  <c:v>2.578559261575949</c:v>
                </c:pt>
                <c:pt idx="52">
                  <c:v>2.0378891220349</c:v>
                </c:pt>
                <c:pt idx="53">
                  <c:v>1.9412358524253652</c:v>
                </c:pt>
                <c:pt idx="54">
                  <c:v>2.4930333560666846</c:v>
                </c:pt>
              </c:numCache>
            </c:numRef>
          </c:xVal>
          <c:yVal>
            <c:numRef>
              <c:f>Sheet1!$B$135:$B$189</c:f>
              <c:numCache>
                <c:formatCode>General</c:formatCode>
                <c:ptCount val="55"/>
                <c:pt idx="0">
                  <c:v>0.0035421286794323423</c:v>
                </c:pt>
                <c:pt idx="1">
                  <c:v>0.007348190558946352</c:v>
                </c:pt>
                <c:pt idx="2">
                  <c:v>0.002889699395980591</c:v>
                </c:pt>
                <c:pt idx="3">
                  <c:v>0.006447606878446296</c:v>
                </c:pt>
                <c:pt idx="4">
                  <c:v>0.004558471415000168</c:v>
                </c:pt>
                <c:pt idx="5">
                  <c:v>0.0037498748513201795</c:v>
                </c:pt>
                <c:pt idx="6">
                  <c:v>0.002301358074899309</c:v>
                </c:pt>
                <c:pt idx="7">
                  <c:v>0.003931195987414891</c:v>
                </c:pt>
                <c:pt idx="8">
                  <c:v>0.0038232471175519422</c:v>
                </c:pt>
                <c:pt idx="9">
                  <c:v>0.004648683115338861</c:v>
                </c:pt>
                <c:pt idx="10">
                  <c:v>0.00446832021035725</c:v>
                </c:pt>
                <c:pt idx="11">
                  <c:v>0.0035687307602197075</c:v>
                </c:pt>
                <c:pt idx="12">
                  <c:v>0.004616986525316075</c:v>
                </c:pt>
                <c:pt idx="13">
                  <c:v>0.00579505647533037</c:v>
                </c:pt>
                <c:pt idx="14">
                  <c:v>0.0064002066039248184</c:v>
                </c:pt>
                <c:pt idx="15">
                  <c:v>0.005961968247475821</c:v>
                </c:pt>
                <c:pt idx="16">
                  <c:v>0.005356221776954063</c:v>
                </c:pt>
                <c:pt idx="17">
                  <c:v>0.006343999354022557</c:v>
                </c:pt>
                <c:pt idx="18">
                  <c:v>0.006177099412164619</c:v>
                </c:pt>
                <c:pt idx="19">
                  <c:v>0.0022617185582860574</c:v>
                </c:pt>
                <c:pt idx="20">
                  <c:v>0.00625345522547603</c:v>
                </c:pt>
                <c:pt idx="21">
                  <c:v>0.005802320393071629</c:v>
                </c:pt>
                <c:pt idx="22">
                  <c:v>0.005930831430938227</c:v>
                </c:pt>
                <c:pt idx="23">
                  <c:v>0.0044637906313131515</c:v>
                </c:pt>
                <c:pt idx="24">
                  <c:v>0.006813179537814928</c:v>
                </c:pt>
                <c:pt idx="25">
                  <c:v>0.00652625821532685</c:v>
                </c:pt>
                <c:pt idx="26">
                  <c:v>0.005661238966230622</c:v>
                </c:pt>
                <c:pt idx="27">
                  <c:v>0.005015131844237516</c:v>
                </c:pt>
                <c:pt idx="28">
                  <c:v>0.006291864060450885</c:v>
                </c:pt>
                <c:pt idx="29">
                  <c:v>0.005372376833576107</c:v>
                </c:pt>
                <c:pt idx="30">
                  <c:v>0.00892103361324987</c:v>
                </c:pt>
                <c:pt idx="31">
                  <c:v>0.006693911724411628</c:v>
                </c:pt>
                <c:pt idx="32">
                  <c:v>0.005083672194717505</c:v>
                </c:pt>
                <c:pt idx="33">
                  <c:v>0.005712621971326952</c:v>
                </c:pt>
                <c:pt idx="34">
                  <c:v>0.004579644402106932</c:v>
                </c:pt>
                <c:pt idx="35">
                  <c:v>0.005955759810614481</c:v>
                </c:pt>
                <c:pt idx="36">
                  <c:v>0.006178745877106598</c:v>
                </c:pt>
                <c:pt idx="37">
                  <c:v>0.007132826032963934</c:v>
                </c:pt>
                <c:pt idx="38">
                  <c:v>0.006762000931517487</c:v>
                </c:pt>
                <c:pt idx="39">
                  <c:v>0.006052242965949077</c:v>
                </c:pt>
                <c:pt idx="40">
                  <c:v>0.003722496954502748</c:v>
                </c:pt>
                <c:pt idx="41">
                  <c:v>0.003730950795408163</c:v>
                </c:pt>
                <c:pt idx="42">
                  <c:v>0.005982210379084495</c:v>
                </c:pt>
                <c:pt idx="43">
                  <c:v>0.005267525635897167</c:v>
                </c:pt>
                <c:pt idx="44">
                  <c:v>0.0046607470021198145</c:v>
                </c:pt>
                <c:pt idx="45">
                  <c:v>0.0050728725245170435</c:v>
                </c:pt>
                <c:pt idx="46">
                  <c:v>0.004475165677013995</c:v>
                </c:pt>
                <c:pt idx="47">
                  <c:v>0.0038543903519696453</c:v>
                </c:pt>
                <c:pt idx="48">
                  <c:v>0.0026955280908016726</c:v>
                </c:pt>
                <c:pt idx="49">
                  <c:v>0.0034115708758542616</c:v>
                </c:pt>
                <c:pt idx="50">
                  <c:v>0.003658970257753181</c:v>
                </c:pt>
                <c:pt idx="51">
                  <c:v>0.0038457262132839815</c:v>
                </c:pt>
                <c:pt idx="52">
                  <c:v>0.005919460567867629</c:v>
                </c:pt>
                <c:pt idx="53">
                  <c:v>0.006290173117005752</c:v>
                </c:pt>
                <c:pt idx="54">
                  <c:v>0.004173759880192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993121238177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3901677721420211</c:v>
                </c:pt>
                <c:pt idx="3">
                  <c:v>0.00039541320680110717</c:v>
                </c:pt>
                <c:pt idx="4">
                  <c:v>0.0003756574004507889</c:v>
                </c:pt>
                <c:pt idx="5">
                  <c:v>0.0002907822041291073</c:v>
                </c:pt>
                <c:pt idx="6">
                  <c:v>0.0002615746795710175</c:v>
                </c:pt>
                <c:pt idx="7">
                  <c:v>0.0001450536698578474</c:v>
                </c:pt>
                <c:pt idx="8">
                  <c:v>0.0005084745762711864</c:v>
                </c:pt>
                <c:pt idx="9">
                  <c:v>0.0007390983000739098</c:v>
                </c:pt>
                <c:pt idx="10">
                  <c:v>0.0005467468562055768</c:v>
                </c:pt>
                <c:pt idx="11">
                  <c:v>0.0006983240223463687</c:v>
                </c:pt>
                <c:pt idx="12">
                  <c:v>0.000969227041434456</c:v>
                </c:pt>
                <c:pt idx="13">
                  <c:v>0.0007556675062972292</c:v>
                </c:pt>
                <c:pt idx="14">
                  <c:v>0.0007888509071785432</c:v>
                </c:pt>
                <c:pt idx="15">
                  <c:v>0.0005877167205406994</c:v>
                </c:pt>
                <c:pt idx="16">
                  <c:v>0.0009973404255319148</c:v>
                </c:pt>
                <c:pt idx="17">
                  <c:v>0.0018841262364578427</c:v>
                </c:pt>
                <c:pt idx="18">
                  <c:v>0.000445632798573975</c:v>
                </c:pt>
                <c:pt idx="19">
                  <c:v>0.0014443909484833895</c:v>
                </c:pt>
                <c:pt idx="20">
                  <c:v>0.0010741138560687433</c:v>
                </c:pt>
                <c:pt idx="21">
                  <c:v>0.0017574692442882249</c:v>
                </c:pt>
                <c:pt idx="22">
                  <c:v>0.0011117287381878821</c:v>
                </c:pt>
                <c:pt idx="23">
                  <c:v>0.000792393026941363</c:v>
                </c:pt>
                <c:pt idx="24">
                  <c:v>0.0018885741265344666</c:v>
                </c:pt>
                <c:pt idx="25">
                  <c:v>0.0017241379310344827</c:v>
                </c:pt>
                <c:pt idx="26">
                  <c:v>0.0021253985122210413</c:v>
                </c:pt>
                <c:pt idx="27">
                  <c:v>0.002068252326783868</c:v>
                </c:pt>
                <c:pt idx="28">
                  <c:v>0.0011441647597254005</c:v>
                </c:pt>
                <c:pt idx="29">
                  <c:v>0.003045685279187817</c:v>
                </c:pt>
                <c:pt idx="30">
                  <c:v>0.00516795865633075</c:v>
                </c:pt>
                <c:pt idx="31">
                  <c:v>0.0028169014084507044</c:v>
                </c:pt>
                <c:pt idx="32">
                  <c:v>0.0</c:v>
                </c:pt>
                <c:pt idx="33">
                  <c:v>0.002331002331002331</c:v>
                </c:pt>
                <c:pt idx="34">
                  <c:v>0.003956478733926805</c:v>
                </c:pt>
                <c:pt idx="35">
                  <c:v>0.003956478733926805</c:v>
                </c:pt>
                <c:pt idx="36">
                  <c:v>0.004796163069544364</c:v>
                </c:pt>
                <c:pt idx="37">
                  <c:v>0.008871989860583017</c:v>
                </c:pt>
                <c:pt idx="38">
                  <c:v>0.004178272980501393</c:v>
                </c:pt>
                <c:pt idx="39">
                  <c:v>0.005148005148005148</c:v>
                </c:pt>
                <c:pt idx="40">
                  <c:v>0.003424657534246575</c:v>
                </c:pt>
                <c:pt idx="41">
                  <c:v>0.0017226528854435831</c:v>
                </c:pt>
                <c:pt idx="42">
                  <c:v>0.0048250904704463205</c:v>
                </c:pt>
                <c:pt idx="43">
                  <c:v>0.004755434782608696</c:v>
                </c:pt>
                <c:pt idx="44">
                  <c:v>0.008680555555555556</c:v>
                </c:pt>
                <c:pt idx="45">
                  <c:v>0.013327601031814273</c:v>
                </c:pt>
                <c:pt idx="46">
                  <c:v>0.010984987184181618</c:v>
                </c:pt>
                <c:pt idx="47">
                  <c:v>0.007543753771876886</c:v>
                </c:pt>
                <c:pt idx="48">
                  <c:v>0.003513086246267346</c:v>
                </c:pt>
                <c:pt idx="49">
                  <c:v>0.005064893953782843</c:v>
                </c:pt>
                <c:pt idx="50">
                  <c:v>0.005509641873278237</c:v>
                </c:pt>
                <c:pt idx="51">
                  <c:v>0.003301419610432486</c:v>
                </c:pt>
                <c:pt idx="52">
                  <c:v>0.00306018361101666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26470588235294116</c:v>
                </c:pt>
                <c:pt idx="1">
                  <c:v>0.004094488188976378</c:v>
                </c:pt>
                <c:pt idx="2">
                  <c:v>0.0029411764705882353</c:v>
                </c:pt>
                <c:pt idx="3">
                  <c:v>0.0034636318654131617</c:v>
                </c:pt>
                <c:pt idx="4">
                  <c:v>0.0036640360766629085</c:v>
                </c:pt>
                <c:pt idx="5">
                  <c:v>0.0032144944476914087</c:v>
                </c:pt>
                <c:pt idx="6">
                  <c:v>0.0025670945157526253</c:v>
                </c:pt>
                <c:pt idx="7">
                  <c:v>0.0036115569823434992</c:v>
                </c:pt>
                <c:pt idx="8">
                  <c:v>0.0033444816053511705</c:v>
                </c:pt>
                <c:pt idx="9">
                  <c:v>0.004256828662646328</c:v>
                </c:pt>
                <c:pt idx="10">
                  <c:v>0.0040680473372781065</c:v>
                </c:pt>
                <c:pt idx="11">
                  <c:v>0.003414762280010507</c:v>
                </c:pt>
                <c:pt idx="12">
                  <c:v>0.004513217279174726</c:v>
                </c:pt>
                <c:pt idx="13">
                  <c:v>0.005928853754940711</c:v>
                </c:pt>
                <c:pt idx="14">
                  <c:v>0.008109104312569112</c:v>
                </c:pt>
                <c:pt idx="15">
                  <c:v>0.006462035541195477</c:v>
                </c:pt>
                <c:pt idx="16">
                  <c:v>0.006638217164532954</c:v>
                </c:pt>
                <c:pt idx="17">
                  <c:v>0.007808142777467931</c:v>
                </c:pt>
                <c:pt idx="18">
                  <c:v>0.006430868167202572</c:v>
                </c:pt>
                <c:pt idx="19">
                  <c:v>0.0036900369003690036</c:v>
                </c:pt>
                <c:pt idx="20">
                  <c:v>0.006006006006006006</c:v>
                </c:pt>
                <c:pt idx="21">
                  <c:v>0.0066765578635014835</c:v>
                </c:pt>
                <c:pt idx="22">
                  <c:v>0.004451038575667656</c:v>
                </c:pt>
                <c:pt idx="23">
                  <c:v>0.00354295837023915</c:v>
                </c:pt>
                <c:pt idx="24">
                  <c:v>0.005698005698005698</c:v>
                </c:pt>
                <c:pt idx="25">
                  <c:v>0.006342494714587738</c:v>
                </c:pt>
                <c:pt idx="26">
                  <c:v>0.004775549188156638</c:v>
                </c:pt>
                <c:pt idx="27">
                  <c:v>0.005</c:v>
                </c:pt>
                <c:pt idx="28">
                  <c:v>0.0048828125</c:v>
                </c:pt>
                <c:pt idx="29">
                  <c:v>0.0048367593712212815</c:v>
                </c:pt>
                <c:pt idx="30">
                  <c:v>0.008547008547008548</c:v>
                </c:pt>
                <c:pt idx="31">
                  <c:v>0.006622516556291391</c:v>
                </c:pt>
                <c:pt idx="32">
                  <c:v>0.005284015852047556</c:v>
                </c:pt>
                <c:pt idx="33">
                  <c:v>0.005847953216374269</c:v>
                </c:pt>
                <c:pt idx="34">
                  <c:v>0.005825242718446602</c:v>
                </c:pt>
                <c:pt idx="35">
                  <c:v>0.0068415051311288486</c:v>
                </c:pt>
                <c:pt idx="36">
                  <c:v>0.009242144177449169</c:v>
                </c:pt>
                <c:pt idx="37">
                  <c:v>0.011164274322169059</c:v>
                </c:pt>
                <c:pt idx="38">
                  <c:v>0.009057971014492754</c:v>
                </c:pt>
                <c:pt idx="39">
                  <c:v>0.005980861244019139</c:v>
                </c:pt>
                <c:pt idx="40">
                  <c:v>0.0041841004184100415</c:v>
                </c:pt>
                <c:pt idx="41">
                  <c:v>0.004625346901017576</c:v>
                </c:pt>
                <c:pt idx="42">
                  <c:v>0.005470459518599562</c:v>
                </c:pt>
                <c:pt idx="43">
                  <c:v>0.004135079255685734</c:v>
                </c:pt>
                <c:pt idx="44">
                  <c:v>0.004563605248146035</c:v>
                </c:pt>
                <c:pt idx="45">
                  <c:v>0.003966679888932963</c:v>
                </c:pt>
                <c:pt idx="46">
                  <c:v>0.00392349190779794</c:v>
                </c:pt>
                <c:pt idx="47">
                  <c:v>0.0037974683544303796</c:v>
                </c:pt>
                <c:pt idx="48">
                  <c:v>0.0029985007496251873</c:v>
                </c:pt>
                <c:pt idx="49">
                  <c:v>0.003482298316889147</c:v>
                </c:pt>
                <c:pt idx="50">
                  <c:v>0.003213258921021478</c:v>
                </c:pt>
                <c:pt idx="51">
                  <c:v>0.003917727717923604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35.5168722505505</c:v>
                </c:pt>
              </c:numCache>
            </c:numRef>
          </c:xVal>
          <c:yVal>
            <c:numRef>
              <c:f>Sheet1!$B$111:$B$112</c:f>
              <c:numCache>
                <c:formatCode>General</c:formatCode>
                <c:ptCount val="2"/>
                <c:pt idx="0">
                  <c:v>0.006290173117005752</c:v>
                </c:pt>
                <c:pt idx="1">
                  <c:v>0.00629017311700575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35.5168722505505</c:v>
                </c:pt>
                <c:pt idx="1">
                  <c:v>2835.5168722505505</c:v>
                </c:pt>
              </c:numCache>
            </c:numRef>
          </c:xVal>
          <c:yVal>
            <c:numRef>
              <c:f>Sheet1!$B$115:$B$116</c:f>
              <c:numCache>
                <c:formatCode>General</c:formatCode>
                <c:ptCount val="2"/>
                <c:pt idx="0">
                  <c:v>0.006290173117005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273.0385465560107</c:v>
                </c:pt>
              </c:numCache>
            </c:numRef>
          </c:xVal>
          <c:yVal>
            <c:numRef>
              <c:f>Sheet1!$B$119:$B$120</c:f>
              <c:numCache>
                <c:formatCode>General</c:formatCode>
                <c:ptCount val="2"/>
                <c:pt idx="0">
                  <c:v>0.00591946056786763</c:v>
                </c:pt>
                <c:pt idx="1">
                  <c:v>0.00591946056786763</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273.0385465560107</c:v>
                </c:pt>
                <c:pt idx="1">
                  <c:v>3273.0385465560107</c:v>
                </c:pt>
              </c:numCache>
            </c:numRef>
          </c:xVal>
          <c:yVal>
            <c:numRef>
              <c:f>Sheet1!$B$123:$B$124</c:f>
              <c:numCache>
                <c:formatCode>General</c:formatCode>
                <c:ptCount val="2"/>
                <c:pt idx="0">
                  <c:v>0.005919460567867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333.346160861691</c:v>
                </c:pt>
              </c:numCache>
            </c:numRef>
          </c:xVal>
          <c:yVal>
            <c:numRef>
              <c:f>Sheet1!$B$127:$B$128</c:f>
              <c:numCache>
                <c:formatCode>General</c:formatCode>
                <c:ptCount val="2"/>
                <c:pt idx="0">
                  <c:v>0.004173759880192215</c:v>
                </c:pt>
                <c:pt idx="1">
                  <c:v>0.00417375988019221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333.346160861691</c:v>
                </c:pt>
                <c:pt idx="1">
                  <c:v>5333.346160861691</c:v>
                </c:pt>
              </c:numCache>
            </c:numRef>
          </c:xVal>
          <c:yVal>
            <c:numRef>
              <c:f>Sheet1!$B$131:$B$132</c:f>
              <c:numCache>
                <c:formatCode>General</c:formatCode>
                <c:ptCount val="2"/>
                <c:pt idx="0">
                  <c:v>0.004173759880192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273.0385465560107</c:v>
                </c:pt>
                <c:pt idx="53">
                  <c:v>2835.5168722505505</c:v>
                </c:pt>
                <c:pt idx="54">
                  <c:v>5333.346160861691</c:v>
                </c:pt>
              </c:numCache>
            </c:numRef>
          </c:xVal>
          <c:yVal>
            <c:numRef>
              <c:f>Sheet1!$B$135:$B$189</c:f>
              <c:numCache>
                <c:formatCode>General</c:formatCode>
                <c:ptCount val="55"/>
                <c:pt idx="0">
                  <c:v>0.004926456464499448</c:v>
                </c:pt>
                <c:pt idx="1">
                  <c:v>0.006116979517239533</c:v>
                </c:pt>
                <c:pt idx="2">
                  <c:v>0.004497491103014275</c:v>
                </c:pt>
                <c:pt idx="3">
                  <c:v>0.005937347046548649</c:v>
                </c:pt>
                <c:pt idx="4">
                  <c:v>0.005046838362964826</c:v>
                </c:pt>
                <c:pt idx="5">
                  <c:v>0.004760231430532947</c:v>
                </c:pt>
                <c:pt idx="6">
                  <c:v>0.0047090852075762635</c:v>
                </c:pt>
                <c:pt idx="7">
                  <c:v>0.0051570164697606995</c:v>
                </c:pt>
                <c:pt idx="8">
                  <c:v>0.005040183067854389</c:v>
                </c:pt>
                <c:pt idx="9">
                  <c:v>0.005215386103143688</c:v>
                </c:pt>
                <c:pt idx="10">
                  <c:v>0.005155998013967003</c:v>
                </c:pt>
                <c:pt idx="11">
                  <c:v>0.005213365629195561</c:v>
                </c:pt>
                <c:pt idx="12">
                  <c:v>0.0055415364881930525</c:v>
                </c:pt>
                <c:pt idx="13">
                  <c:v>0.005578313333607895</c:v>
                </c:pt>
                <c:pt idx="14">
                  <c:v>0.005708168650286733</c:v>
                </c:pt>
                <c:pt idx="15">
                  <c:v>0.005536672048461614</c:v>
                </c:pt>
                <c:pt idx="16">
                  <c:v>0.005338789476950431</c:v>
                </c:pt>
                <c:pt idx="17">
                  <c:v>0.005686727529196351</c:v>
                </c:pt>
                <c:pt idx="18">
                  <c:v>0.005533653538673725</c:v>
                </c:pt>
                <c:pt idx="19">
                  <c:v>0.0037983599222972744</c:v>
                </c:pt>
                <c:pt idx="20">
                  <c:v>0.005317909523307773</c:v>
                </c:pt>
                <c:pt idx="21">
                  <c:v>0.005158805206887215</c:v>
                </c:pt>
                <c:pt idx="22">
                  <c:v>0.005173021053489107</c:v>
                </c:pt>
                <c:pt idx="23">
                  <c:v>0.004472726782698889</c:v>
                </c:pt>
                <c:pt idx="24">
                  <c:v>0.005528887470587584</c:v>
                </c:pt>
                <c:pt idx="25">
                  <c:v>0.005535383473111321</c:v>
                </c:pt>
                <c:pt idx="26">
                  <c:v>0.0049705161161402115</c:v>
                </c:pt>
                <c:pt idx="27">
                  <c:v>0.004687009203851757</c:v>
                </c:pt>
                <c:pt idx="28">
                  <c:v>0.005271985809482208</c:v>
                </c:pt>
                <c:pt idx="29">
                  <c:v>0.004583935038042163</c:v>
                </c:pt>
                <c:pt idx="30">
                  <c:v>0.006233841896839807</c:v>
                </c:pt>
                <c:pt idx="31">
                  <c:v>0.005213479675909231</c:v>
                </c:pt>
                <c:pt idx="32">
                  <c:v>0.004412144761692839</c:v>
                </c:pt>
                <c:pt idx="33">
                  <c:v>0.004621428106986467</c:v>
                </c:pt>
                <c:pt idx="34">
                  <c:v>0.004298041533046469</c:v>
                </c:pt>
                <c:pt idx="35">
                  <c:v>0.004749511802018849</c:v>
                </c:pt>
                <c:pt idx="36">
                  <c:v>0.004663623696442429</c:v>
                </c:pt>
                <c:pt idx="37">
                  <c:v>0.00538835658504629</c:v>
                </c:pt>
                <c:pt idx="38">
                  <c:v>0.005155566653031419</c:v>
                </c:pt>
                <c:pt idx="39">
                  <c:v>0.0052838480233854904</c:v>
                </c:pt>
                <c:pt idx="40">
                  <c:v>0.004219299055665187</c:v>
                </c:pt>
                <c:pt idx="41">
                  <c:v>0.004219299055665187</c:v>
                </c:pt>
                <c:pt idx="42">
                  <c:v>0.005019829033938144</c:v>
                </c:pt>
                <c:pt idx="43">
                  <c:v>0.004955123453189015</c:v>
                </c:pt>
                <c:pt idx="44">
                  <c:v>0.005250760919605263</c:v>
                </c:pt>
                <c:pt idx="45">
                  <c:v>0.005555831642167898</c:v>
                </c:pt>
                <c:pt idx="46">
                  <c:v>0.005077911517014574</c:v>
                </c:pt>
                <c:pt idx="47">
                  <c:v>0.005121429828050851</c:v>
                </c:pt>
                <c:pt idx="48">
                  <c:v>0.004916543042880276</c:v>
                </c:pt>
                <c:pt idx="49">
                  <c:v>0.005308730457459314</c:v>
                </c:pt>
                <c:pt idx="50">
                  <c:v>0.005506723855940393</c:v>
                </c:pt>
                <c:pt idx="51">
                  <c:v>0.005401721741451118</c:v>
                </c:pt>
                <c:pt idx="52">
                  <c:v>0.00591946056786763</c:v>
                </c:pt>
                <c:pt idx="53">
                  <c:v>0.006290173117005752</c:v>
                </c:pt>
                <c:pt idx="54">
                  <c:v>0.004173759880192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993121238177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4.665390107750227</c:v>
                </c:pt>
                <c:pt idx="3">
                  <c:v>4.211820760420001</c:v>
                </c:pt>
                <c:pt idx="4">
                  <c:v>5.6686306208028885</c:v>
                </c:pt>
                <c:pt idx="5">
                  <c:v>3.2773664424500946</c:v>
                </c:pt>
                <c:pt idx="6">
                  <c:v>4.33763909476546</c:v>
                </c:pt>
                <c:pt idx="7">
                  <c:v>7.048181457662064</c:v>
                </c:pt>
                <c:pt idx="8">
                  <c:v>4.526354059608885</c:v>
                </c:pt>
                <c:pt idx="9">
                  <c:v>4.558309134923487</c:v>
                </c:pt>
                <c:pt idx="10">
                  <c:v>5.221251887802859</c:v>
                </c:pt>
                <c:pt idx="11">
                  <c:v>4.78155448515843</c:v>
                </c:pt>
                <c:pt idx="12">
                  <c:v>3.989297752440576</c:v>
                </c:pt>
                <c:pt idx="13">
                  <c:v>3.7155936271235084</c:v>
                </c:pt>
                <c:pt idx="14">
                  <c:v>3.432644745637663</c:v>
                </c:pt>
                <c:pt idx="15">
                  <c:v>4.853904173646854</c:v>
                </c:pt>
                <c:pt idx="16">
                  <c:v>3.5321847090801333</c:v>
                </c:pt>
                <c:pt idx="17">
                  <c:v>2.7203100064672863</c:v>
                </c:pt>
                <c:pt idx="18">
                  <c:v>4.118707336834405</c:v>
                </c:pt>
                <c:pt idx="19">
                  <c:v>3.239791433565754</c:v>
                </c:pt>
                <c:pt idx="20">
                  <c:v>4.057873879602148</c:v>
                </c:pt>
                <c:pt idx="21">
                  <c:v>1.2722435524289601</c:v>
                </c:pt>
                <c:pt idx="22">
                  <c:v>2.3032907040779884</c:v>
                </c:pt>
                <c:pt idx="23">
                  <c:v>8.425034317796452</c:v>
                </c:pt>
                <c:pt idx="24">
                  <c:v>10.504707036118297</c:v>
                </c:pt>
                <c:pt idx="25">
                  <c:v>12.736058413036186</c:v>
                </c:pt>
                <c:pt idx="26">
                  <c:v>7.428117292061794</c:v>
                </c:pt>
                <c:pt idx="27">
                  <c:v>11.85063936683051</c:v>
                </c:pt>
                <c:pt idx="28">
                  <c:v>11.005790770480038</c:v>
                </c:pt>
                <c:pt idx="29">
                  <c:v>6.966798235985802</c:v>
                </c:pt>
                <c:pt idx="30">
                  <c:v>5.486066609936675</c:v>
                </c:pt>
                <c:pt idx="31">
                  <c:v>11.691169214519562</c:v>
                </c:pt>
                <c:pt idx="32">
                  <c:v>0.0</c:v>
                </c:pt>
                <c:pt idx="33">
                  <c:v>9.784417940407808</c:v>
                </c:pt>
                <c:pt idx="34">
                  <c:v>10.303736079704755</c:v>
                </c:pt>
                <c:pt idx="35">
                  <c:v>10.685129553801493</c:v>
                </c:pt>
                <c:pt idx="36">
                  <c:v>8.851544999893003</c:v>
                </c:pt>
                <c:pt idx="37">
                  <c:v>7.505174256339912</c:v>
                </c:pt>
                <c:pt idx="38">
                  <c:v>11.35180605571143</c:v>
                </c:pt>
                <c:pt idx="39">
                  <c:v>8.023399403689806</c:v>
                </c:pt>
                <c:pt idx="40">
                  <c:v>9.600763566948459</c:v>
                </c:pt>
                <c:pt idx="41">
                  <c:v>14.239719959376822</c:v>
                </c:pt>
                <c:pt idx="42">
                  <c:v>7.771942924556634</c:v>
                </c:pt>
                <c:pt idx="43">
                  <c:v>7.187065240969116</c:v>
                </c:pt>
                <c:pt idx="44">
                  <c:v>3.882178446166561</c:v>
                </c:pt>
                <c:pt idx="45">
                  <c:v>3.1998501218632596</c:v>
                </c:pt>
                <c:pt idx="46">
                  <c:v>3.283324656939835</c:v>
                </c:pt>
                <c:pt idx="47">
                  <c:v>5.623793760145197</c:v>
                </c:pt>
                <c:pt idx="48">
                  <c:v>6.615594896905078</c:v>
                </c:pt>
                <c:pt idx="49">
                  <c:v>6.268059989540394</c:v>
                </c:pt>
                <c:pt idx="50">
                  <c:v>5.659572330333725</c:v>
                </c:pt>
                <c:pt idx="51">
                  <c:v>7.068290175643821</c:v>
                </c:pt>
                <c:pt idx="52">
                  <c:v>6.439962024171916</c:v>
                </c:pt>
              </c:numCache>
            </c:numRef>
          </c:xVal>
          <c:yVal>
            <c:numRef>
              <c:f>Sheet1!$B$2:$B$54</c:f>
              <c:numCache>
                <c:formatCode>General</c:formatCode>
                <c:ptCount val="53"/>
                <c:pt idx="0">
                  <c:v>0.0</c:v>
                </c:pt>
                <c:pt idx="1">
                  <c:v>0.0</c:v>
                </c:pt>
                <c:pt idx="2">
                  <c:v>0.0003901677721420211</c:v>
                </c:pt>
                <c:pt idx="3">
                  <c:v>0.00039541320680110717</c:v>
                </c:pt>
                <c:pt idx="4">
                  <c:v>0.0003756574004507889</c:v>
                </c:pt>
                <c:pt idx="5">
                  <c:v>0.0002907822041291073</c:v>
                </c:pt>
                <c:pt idx="6">
                  <c:v>0.0002615746795710175</c:v>
                </c:pt>
                <c:pt idx="7">
                  <c:v>0.0001450536698578474</c:v>
                </c:pt>
                <c:pt idx="8">
                  <c:v>0.0005084745762711864</c:v>
                </c:pt>
                <c:pt idx="9">
                  <c:v>0.0007390983000739098</c:v>
                </c:pt>
                <c:pt idx="10">
                  <c:v>0.0005467468562055768</c:v>
                </c:pt>
                <c:pt idx="11">
                  <c:v>0.0006983240223463687</c:v>
                </c:pt>
                <c:pt idx="12">
                  <c:v>0.000969227041434456</c:v>
                </c:pt>
                <c:pt idx="13">
                  <c:v>0.0007556675062972292</c:v>
                </c:pt>
                <c:pt idx="14">
                  <c:v>0.0007888509071785432</c:v>
                </c:pt>
                <c:pt idx="15">
                  <c:v>0.0005877167205406994</c:v>
                </c:pt>
                <c:pt idx="16">
                  <c:v>0.0009973404255319148</c:v>
                </c:pt>
                <c:pt idx="17">
                  <c:v>0.0018841262364578427</c:v>
                </c:pt>
                <c:pt idx="18">
                  <c:v>0.000445632798573975</c:v>
                </c:pt>
                <c:pt idx="19">
                  <c:v>0.0014443909484833895</c:v>
                </c:pt>
                <c:pt idx="20">
                  <c:v>0.0010741138560687433</c:v>
                </c:pt>
                <c:pt idx="21">
                  <c:v>0.0017574692442882249</c:v>
                </c:pt>
                <c:pt idx="22">
                  <c:v>0.0011117287381878821</c:v>
                </c:pt>
                <c:pt idx="23">
                  <c:v>0.000792393026941363</c:v>
                </c:pt>
                <c:pt idx="24">
                  <c:v>0.0018885741265344666</c:v>
                </c:pt>
                <c:pt idx="25">
                  <c:v>0.0017241379310344827</c:v>
                </c:pt>
                <c:pt idx="26">
                  <c:v>0.0021253985122210413</c:v>
                </c:pt>
                <c:pt idx="27">
                  <c:v>0.002068252326783868</c:v>
                </c:pt>
                <c:pt idx="28">
                  <c:v>0.0011441647597254005</c:v>
                </c:pt>
                <c:pt idx="29">
                  <c:v>0.003045685279187817</c:v>
                </c:pt>
                <c:pt idx="30">
                  <c:v>0.00516795865633075</c:v>
                </c:pt>
                <c:pt idx="31">
                  <c:v>0.0028169014084507044</c:v>
                </c:pt>
                <c:pt idx="32">
                  <c:v>0.0</c:v>
                </c:pt>
                <c:pt idx="33">
                  <c:v>0.002331002331002331</c:v>
                </c:pt>
                <c:pt idx="34">
                  <c:v>0.003956478733926805</c:v>
                </c:pt>
                <c:pt idx="35">
                  <c:v>0.003956478733926805</c:v>
                </c:pt>
                <c:pt idx="36">
                  <c:v>0.004796163069544364</c:v>
                </c:pt>
                <c:pt idx="37">
                  <c:v>0.008871989860583017</c:v>
                </c:pt>
                <c:pt idx="38">
                  <c:v>0.004178272980501393</c:v>
                </c:pt>
                <c:pt idx="39">
                  <c:v>0.005148005148005148</c:v>
                </c:pt>
                <c:pt idx="40">
                  <c:v>0.003424657534246575</c:v>
                </c:pt>
                <c:pt idx="41">
                  <c:v>0.0017226528854435831</c:v>
                </c:pt>
                <c:pt idx="42">
                  <c:v>0.0048250904704463205</c:v>
                </c:pt>
                <c:pt idx="43">
                  <c:v>0.004755434782608696</c:v>
                </c:pt>
                <c:pt idx="44">
                  <c:v>0.008680555555555556</c:v>
                </c:pt>
                <c:pt idx="45">
                  <c:v>0.013327601031814273</c:v>
                </c:pt>
                <c:pt idx="46">
                  <c:v>0.010984987184181618</c:v>
                </c:pt>
                <c:pt idx="47">
                  <c:v>0.007543753771876886</c:v>
                </c:pt>
                <c:pt idx="48">
                  <c:v>0.003513086246267346</c:v>
                </c:pt>
                <c:pt idx="49">
                  <c:v>0.005064893953782843</c:v>
                </c:pt>
                <c:pt idx="50">
                  <c:v>0.005509641873278237</c:v>
                </c:pt>
                <c:pt idx="51">
                  <c:v>0.003301419610432486</c:v>
                </c:pt>
                <c:pt idx="52">
                  <c:v>0.003060183611016661</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7.128492480202196</c:v>
                </c:pt>
                <c:pt idx="1">
                  <c:v>4.808205631911476</c:v>
                </c:pt>
                <c:pt idx="2">
                  <c:v>7.649983328868129</c:v>
                </c:pt>
                <c:pt idx="3">
                  <c:v>5.054930989816702</c:v>
                </c:pt>
                <c:pt idx="4">
                  <c:v>6.63343942195703</c:v>
                </c:pt>
                <c:pt idx="5">
                  <c:v>6.903306183772467</c:v>
                </c:pt>
                <c:pt idx="6">
                  <c:v>7.581796414408612</c:v>
                </c:pt>
                <c:pt idx="7">
                  <c:v>5.780791882903777</c:v>
                </c:pt>
                <c:pt idx="8">
                  <c:v>6.205866292750308</c:v>
                </c:pt>
                <c:pt idx="9">
                  <c:v>6.278123630389239</c:v>
                </c:pt>
                <c:pt idx="10">
                  <c:v>6.122380553841894</c:v>
                </c:pt>
                <c:pt idx="11">
                  <c:v>7.170691348112143</c:v>
                </c:pt>
                <c:pt idx="12">
                  <c:v>6.284072825581886</c:v>
                </c:pt>
                <c:pt idx="13">
                  <c:v>5.830700661232223</c:v>
                </c:pt>
                <c:pt idx="14">
                  <c:v>5.426541146645024</c:v>
                </c:pt>
                <c:pt idx="15">
                  <c:v>5.8679866546601875</c:v>
                </c:pt>
                <c:pt idx="16">
                  <c:v>5.916486270969458</c:v>
                </c:pt>
                <c:pt idx="17">
                  <c:v>5.275028031418979</c:v>
                </c:pt>
                <c:pt idx="18">
                  <c:v>5.308298849946295</c:v>
                </c:pt>
                <c:pt idx="19">
                  <c:v>8.493981395704484</c:v>
                </c:pt>
                <c:pt idx="20">
                  <c:v>5.9703872987092845</c:v>
                </c:pt>
                <c:pt idx="21">
                  <c:v>6.179391468637065</c:v>
                </c:pt>
                <c:pt idx="22">
                  <c:v>6.079569178955206</c:v>
                </c:pt>
                <c:pt idx="23">
                  <c:v>7.13873527496995</c:v>
                </c:pt>
                <c:pt idx="24">
                  <c:v>5.34526259282455</c:v>
                </c:pt>
                <c:pt idx="25">
                  <c:v>5.1917476986146545</c:v>
                </c:pt>
                <c:pt idx="26">
                  <c:v>6.34722759224936</c:v>
                </c:pt>
                <c:pt idx="27">
                  <c:v>6.595192244915498</c:v>
                </c:pt>
                <c:pt idx="28">
                  <c:v>5.811186808093515</c:v>
                </c:pt>
                <c:pt idx="29">
                  <c:v>6.647261884640791</c:v>
                </c:pt>
                <c:pt idx="30">
                  <c:v>3.974053348174181</c:v>
                </c:pt>
                <c:pt idx="31">
                  <c:v>5.558917417332045</c:v>
                </c:pt>
                <c:pt idx="32">
                  <c:v>6.619924478874225</c:v>
                </c:pt>
                <c:pt idx="33">
                  <c:v>6.282667747555742</c:v>
                </c:pt>
                <c:pt idx="34">
                  <c:v>6.787933401474412</c:v>
                </c:pt>
                <c:pt idx="35">
                  <c:v>5.957541840941249</c:v>
                </c:pt>
                <c:pt idx="36">
                  <c:v>5.921932658190834</c:v>
                </c:pt>
                <c:pt idx="37">
                  <c:v>4.9471016216305355</c:v>
                </c:pt>
                <c:pt idx="38">
                  <c:v>5.510521153848693</c:v>
                </c:pt>
                <c:pt idx="39">
                  <c:v>5.872464241127188</c:v>
                </c:pt>
                <c:pt idx="40">
                  <c:v>7.342899761129057</c:v>
                </c:pt>
                <c:pt idx="41">
                  <c:v>7.248198349894022</c:v>
                </c:pt>
                <c:pt idx="42">
                  <c:v>5.725856081397295</c:v>
                </c:pt>
                <c:pt idx="43">
                  <c:v>6.040703987248037</c:v>
                </c:pt>
                <c:pt idx="44">
                  <c:v>5.86210668435292</c:v>
                </c:pt>
                <c:pt idx="45">
                  <c:v>5.844900016087605</c:v>
                </c:pt>
                <c:pt idx="46">
                  <c:v>6.499361832365291</c:v>
                </c:pt>
                <c:pt idx="47">
                  <c:v>6.310533913688186</c:v>
                </c:pt>
                <c:pt idx="48">
                  <c:v>6.963450128841092</c:v>
                </c:pt>
                <c:pt idx="49">
                  <c:v>6.332650042422914</c:v>
                </c:pt>
                <c:pt idx="50">
                  <c:v>6.2095658638827835</c:v>
                </c:pt>
                <c:pt idx="51">
                  <c:v>6.690946898552502</c:v>
                </c:pt>
              </c:numCache>
            </c:numRef>
          </c:xVal>
          <c:yVal>
            <c:numRef>
              <c:f>Sheet1!$B$57:$B$108</c:f>
              <c:numCache>
                <c:formatCode>General</c:formatCode>
                <c:ptCount val="52"/>
                <c:pt idx="0">
                  <c:v>0.0026470588235294116</c:v>
                </c:pt>
                <c:pt idx="1">
                  <c:v>0.004094488188976378</c:v>
                </c:pt>
                <c:pt idx="2">
                  <c:v>0.0029411764705882353</c:v>
                </c:pt>
                <c:pt idx="3">
                  <c:v>0.0034636318654131617</c:v>
                </c:pt>
                <c:pt idx="4">
                  <c:v>0.0036640360766629085</c:v>
                </c:pt>
                <c:pt idx="5">
                  <c:v>0.0032144944476914087</c:v>
                </c:pt>
                <c:pt idx="6">
                  <c:v>0.0025670945157526253</c:v>
                </c:pt>
                <c:pt idx="7">
                  <c:v>0.0036115569823434992</c:v>
                </c:pt>
                <c:pt idx="8">
                  <c:v>0.0033444816053511705</c:v>
                </c:pt>
                <c:pt idx="9">
                  <c:v>0.004256828662646328</c:v>
                </c:pt>
                <c:pt idx="10">
                  <c:v>0.0040680473372781065</c:v>
                </c:pt>
                <c:pt idx="11">
                  <c:v>0.003414762280010507</c:v>
                </c:pt>
                <c:pt idx="12">
                  <c:v>0.004513217279174726</c:v>
                </c:pt>
                <c:pt idx="13">
                  <c:v>0.005928853754940711</c:v>
                </c:pt>
                <c:pt idx="14">
                  <c:v>0.008109104312569112</c:v>
                </c:pt>
                <c:pt idx="15">
                  <c:v>0.006462035541195477</c:v>
                </c:pt>
                <c:pt idx="16">
                  <c:v>0.006638217164532954</c:v>
                </c:pt>
                <c:pt idx="17">
                  <c:v>0.007808142777467931</c:v>
                </c:pt>
                <c:pt idx="18">
                  <c:v>0.006430868167202572</c:v>
                </c:pt>
                <c:pt idx="19">
                  <c:v>0.0036900369003690036</c:v>
                </c:pt>
                <c:pt idx="20">
                  <c:v>0.006006006006006006</c:v>
                </c:pt>
                <c:pt idx="21">
                  <c:v>0.0066765578635014835</c:v>
                </c:pt>
                <c:pt idx="22">
                  <c:v>0.004451038575667656</c:v>
                </c:pt>
                <c:pt idx="23">
                  <c:v>0.00354295837023915</c:v>
                </c:pt>
                <c:pt idx="24">
                  <c:v>0.005698005698005698</c:v>
                </c:pt>
                <c:pt idx="25">
                  <c:v>0.006342494714587738</c:v>
                </c:pt>
                <c:pt idx="26">
                  <c:v>0.004775549188156638</c:v>
                </c:pt>
                <c:pt idx="27">
                  <c:v>0.005</c:v>
                </c:pt>
                <c:pt idx="28">
                  <c:v>0.0048828125</c:v>
                </c:pt>
                <c:pt idx="29">
                  <c:v>0.0048367593712212815</c:v>
                </c:pt>
                <c:pt idx="30">
                  <c:v>0.008547008547008548</c:v>
                </c:pt>
                <c:pt idx="31">
                  <c:v>0.006622516556291391</c:v>
                </c:pt>
                <c:pt idx="32">
                  <c:v>0.005284015852047556</c:v>
                </c:pt>
                <c:pt idx="33">
                  <c:v>0.005847953216374269</c:v>
                </c:pt>
                <c:pt idx="34">
                  <c:v>0.005825242718446602</c:v>
                </c:pt>
                <c:pt idx="35">
                  <c:v>0.0068415051311288486</c:v>
                </c:pt>
                <c:pt idx="36">
                  <c:v>0.009242144177449169</c:v>
                </c:pt>
                <c:pt idx="37">
                  <c:v>0.011164274322169059</c:v>
                </c:pt>
                <c:pt idx="38">
                  <c:v>0.009057971014492754</c:v>
                </c:pt>
                <c:pt idx="39">
                  <c:v>0.005980861244019139</c:v>
                </c:pt>
                <c:pt idx="40">
                  <c:v>0.0041841004184100415</c:v>
                </c:pt>
                <c:pt idx="41">
                  <c:v>0.004625346901017576</c:v>
                </c:pt>
                <c:pt idx="42">
                  <c:v>0.005470459518599562</c:v>
                </c:pt>
                <c:pt idx="43">
                  <c:v>0.004135079255685734</c:v>
                </c:pt>
                <c:pt idx="44">
                  <c:v>0.004563605248146035</c:v>
                </c:pt>
                <c:pt idx="45">
                  <c:v>0.003966679888932963</c:v>
                </c:pt>
                <c:pt idx="46">
                  <c:v>0.00392349190779794</c:v>
                </c:pt>
                <c:pt idx="47">
                  <c:v>0.0037974683544303796</c:v>
                </c:pt>
                <c:pt idx="48">
                  <c:v>0.0029985007496251873</c:v>
                </c:pt>
                <c:pt idx="49">
                  <c:v>0.003482298316889147</c:v>
                </c:pt>
                <c:pt idx="50">
                  <c:v>0.003213258921021478</c:v>
                </c:pt>
                <c:pt idx="51">
                  <c:v>0.003917727717923604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5.350723221002943</c:v>
                </c:pt>
              </c:numCache>
            </c:numRef>
          </c:xVal>
          <c:yVal>
            <c:numRef>
              <c:f>Sheet1!$B$111:$B$112</c:f>
              <c:numCache>
                <c:formatCode>General</c:formatCode>
                <c:ptCount val="2"/>
                <c:pt idx="0">
                  <c:v>0.006290173117005752</c:v>
                </c:pt>
                <c:pt idx="1">
                  <c:v>0.00629017311700575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5.350723221002943</c:v>
                </c:pt>
                <c:pt idx="1">
                  <c:v>5.350723221002943</c:v>
                </c:pt>
              </c:numCache>
            </c:numRef>
          </c:xVal>
          <c:yVal>
            <c:numRef>
              <c:f>Sheet1!$B$115:$B$116</c:f>
              <c:numCache>
                <c:formatCode>General</c:formatCode>
                <c:ptCount val="2"/>
                <c:pt idx="0">
                  <c:v>0.006290173117005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5.612469032857536</c:v>
                </c:pt>
              </c:numCache>
            </c:numRef>
          </c:xVal>
          <c:yVal>
            <c:numRef>
              <c:f>Sheet1!$B$119:$B$120</c:f>
              <c:numCache>
                <c:formatCode>General</c:formatCode>
                <c:ptCount val="2"/>
                <c:pt idx="0">
                  <c:v>0.00591946056786763</c:v>
                </c:pt>
                <c:pt idx="1">
                  <c:v>0.00591946056786763</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5.612469032857536</c:v>
                </c:pt>
                <c:pt idx="1">
                  <c:v>5.612469032857536</c:v>
                </c:pt>
              </c:numCache>
            </c:numRef>
          </c:xVal>
          <c:yVal>
            <c:numRef>
              <c:f>Sheet1!$B$123:$B$124</c:f>
              <c:numCache>
                <c:formatCode>General</c:formatCode>
                <c:ptCount val="2"/>
                <c:pt idx="0">
                  <c:v>0.005919460567867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6.845040859230966</c:v>
                </c:pt>
              </c:numCache>
            </c:numRef>
          </c:xVal>
          <c:yVal>
            <c:numRef>
              <c:f>Sheet1!$B$127:$B$128</c:f>
              <c:numCache>
                <c:formatCode>General</c:formatCode>
                <c:ptCount val="2"/>
                <c:pt idx="0">
                  <c:v>0.004173759880192215</c:v>
                </c:pt>
                <c:pt idx="1">
                  <c:v>0.004173759880192215</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6.845040859230966</c:v>
                </c:pt>
                <c:pt idx="1">
                  <c:v>6.845040859230966</c:v>
                </c:pt>
              </c:numCache>
            </c:numRef>
          </c:xVal>
          <c:yVal>
            <c:numRef>
              <c:f>Sheet1!$B$131:$B$132</c:f>
              <c:numCache>
                <c:formatCode>General</c:formatCode>
                <c:ptCount val="2"/>
                <c:pt idx="0">
                  <c:v>0.0041737598801922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7.128492480202196</c:v>
                </c:pt>
                <c:pt idx="1">
                  <c:v>4.808205631911476</c:v>
                </c:pt>
                <c:pt idx="2">
                  <c:v>7.649983328868129</c:v>
                </c:pt>
                <c:pt idx="3">
                  <c:v>5.054930989816702</c:v>
                </c:pt>
                <c:pt idx="4">
                  <c:v>6.63343942195703</c:v>
                </c:pt>
                <c:pt idx="5">
                  <c:v>6.903306183772467</c:v>
                </c:pt>
                <c:pt idx="6">
                  <c:v>7.581796414408612</c:v>
                </c:pt>
                <c:pt idx="7">
                  <c:v>5.780791882903777</c:v>
                </c:pt>
                <c:pt idx="8">
                  <c:v>6.205866292750308</c:v>
                </c:pt>
                <c:pt idx="9">
                  <c:v>6.278123630389239</c:v>
                </c:pt>
                <c:pt idx="10">
                  <c:v>6.122380553841894</c:v>
                </c:pt>
                <c:pt idx="11">
                  <c:v>7.170691348112143</c:v>
                </c:pt>
                <c:pt idx="12">
                  <c:v>6.284072825581886</c:v>
                </c:pt>
                <c:pt idx="13">
                  <c:v>5.830700661232223</c:v>
                </c:pt>
                <c:pt idx="14">
                  <c:v>5.426541146645024</c:v>
                </c:pt>
                <c:pt idx="15">
                  <c:v>5.8679866546601875</c:v>
                </c:pt>
                <c:pt idx="16">
                  <c:v>5.916486270969458</c:v>
                </c:pt>
                <c:pt idx="17">
                  <c:v>5.275028031418979</c:v>
                </c:pt>
                <c:pt idx="18">
                  <c:v>5.308298849946295</c:v>
                </c:pt>
                <c:pt idx="19">
                  <c:v>8.493981395704484</c:v>
                </c:pt>
                <c:pt idx="20">
                  <c:v>5.9703872987092845</c:v>
                </c:pt>
                <c:pt idx="21">
                  <c:v>6.179391468637065</c:v>
                </c:pt>
                <c:pt idx="22">
                  <c:v>6.079569178955206</c:v>
                </c:pt>
                <c:pt idx="23">
                  <c:v>7.13873527496995</c:v>
                </c:pt>
                <c:pt idx="24">
                  <c:v>5.34526259282455</c:v>
                </c:pt>
                <c:pt idx="25">
                  <c:v>5.1917476986146545</c:v>
                </c:pt>
                <c:pt idx="26">
                  <c:v>6.34722759224936</c:v>
                </c:pt>
                <c:pt idx="27">
                  <c:v>6.595192244915498</c:v>
                </c:pt>
                <c:pt idx="28">
                  <c:v>5.811186808093515</c:v>
                </c:pt>
                <c:pt idx="29">
                  <c:v>6.647261884640791</c:v>
                </c:pt>
                <c:pt idx="30">
                  <c:v>3.974053348174181</c:v>
                </c:pt>
                <c:pt idx="31">
                  <c:v>5.558917417332045</c:v>
                </c:pt>
                <c:pt idx="32">
                  <c:v>6.619924478874225</c:v>
                </c:pt>
                <c:pt idx="33">
                  <c:v>6.282667747555742</c:v>
                </c:pt>
                <c:pt idx="34">
                  <c:v>6.787933401474412</c:v>
                </c:pt>
                <c:pt idx="35">
                  <c:v>5.957541840941249</c:v>
                </c:pt>
                <c:pt idx="36">
                  <c:v>5.921932658190834</c:v>
                </c:pt>
                <c:pt idx="37">
                  <c:v>4.9471016216305355</c:v>
                </c:pt>
                <c:pt idx="38">
                  <c:v>5.510521153848693</c:v>
                </c:pt>
                <c:pt idx="39">
                  <c:v>5.872464241127188</c:v>
                </c:pt>
                <c:pt idx="40">
                  <c:v>7.342899761129057</c:v>
                </c:pt>
                <c:pt idx="41">
                  <c:v>7.248198349894022</c:v>
                </c:pt>
                <c:pt idx="42">
                  <c:v>5.725856081397295</c:v>
                </c:pt>
                <c:pt idx="43">
                  <c:v>6.040703987248037</c:v>
                </c:pt>
                <c:pt idx="44">
                  <c:v>5.86210668435292</c:v>
                </c:pt>
                <c:pt idx="45">
                  <c:v>5.844900016087605</c:v>
                </c:pt>
                <c:pt idx="46">
                  <c:v>6.499361832365291</c:v>
                </c:pt>
                <c:pt idx="47">
                  <c:v>6.310533913688186</c:v>
                </c:pt>
                <c:pt idx="48">
                  <c:v>6.963450128841092</c:v>
                </c:pt>
                <c:pt idx="49">
                  <c:v>6.332650042422914</c:v>
                </c:pt>
                <c:pt idx="50">
                  <c:v>6.2095658638827835</c:v>
                </c:pt>
                <c:pt idx="51">
                  <c:v>6.690946898552502</c:v>
                </c:pt>
                <c:pt idx="52">
                  <c:v>5.612469032857536</c:v>
                </c:pt>
                <c:pt idx="53">
                  <c:v>5.350723221002943</c:v>
                </c:pt>
                <c:pt idx="54">
                  <c:v>6.845040859230966</c:v>
                </c:pt>
              </c:numCache>
            </c:numRef>
          </c:xVal>
          <c:yVal>
            <c:numRef>
              <c:f>Sheet1!$B$135:$B$189</c:f>
              <c:numCache>
                <c:formatCode>General</c:formatCode>
                <c:ptCount val="55"/>
                <c:pt idx="0">
                  <c:v>0.0037723052314127693</c:v>
                </c:pt>
                <c:pt idx="1">
                  <c:v>0.00705854483221811</c:v>
                </c:pt>
                <c:pt idx="2">
                  <c:v>0.003033713845780413</c:v>
                </c:pt>
                <c:pt idx="3">
                  <c:v>0.006709105864243821</c:v>
                </c:pt>
                <c:pt idx="4">
                  <c:v>0.004473452576924603</c:v>
                </c:pt>
                <c:pt idx="5">
                  <c:v>0.004091238265675843</c:v>
                </c:pt>
                <c:pt idx="6">
                  <c:v>0.00313028748223345</c:v>
                </c:pt>
                <c:pt idx="7">
                  <c:v>0.005681063657610667</c:v>
                </c:pt>
                <c:pt idx="8">
                  <c:v>0.00507902759471798</c:v>
                </c:pt>
                <c:pt idx="9">
                  <c:v>0.004976688987501055</c:v>
                </c:pt>
                <c:pt idx="10">
                  <c:v>0.005197269070553363</c:v>
                </c:pt>
                <c:pt idx="11">
                  <c:v>0.0037125386594749153</c:v>
                </c:pt>
                <c:pt idx="12">
                  <c:v>0.004968263097896329</c:v>
                </c:pt>
                <c:pt idx="13">
                  <c:v>0.005610377481937354</c:v>
                </c:pt>
                <c:pt idx="14">
                  <c:v>0.0061827916223946575</c:v>
                </c:pt>
                <c:pt idx="15">
                  <c:v>0.005557569050838153</c:v>
                </c:pt>
                <c:pt idx="16">
                  <c:v>0.005488878681862092</c:v>
                </c:pt>
                <c:pt idx="17">
                  <c:v>0.00639738077962063</c:v>
                </c:pt>
                <c:pt idx="18">
                  <c:v>0.006350259070735274</c:v>
                </c:pt>
                <c:pt idx="19">
                  <c:v>0.0018383530772254422</c:v>
                </c:pt>
                <c:pt idx="20">
                  <c:v>0.0054125382535166865</c:v>
                </c:pt>
                <c:pt idx="21">
                  <c:v>0.005116524085933877</c:v>
                </c:pt>
                <c:pt idx="22">
                  <c:v>0.005257903140699127</c:v>
                </c:pt>
                <c:pt idx="23">
                  <c:v>0.0037577982846473228</c:v>
                </c:pt>
                <c:pt idx="24">
                  <c:v>0.0062979070454975365</c:v>
                </c:pt>
                <c:pt idx="25">
                  <c:v>0.006515331337255963</c:v>
                </c:pt>
                <c:pt idx="26">
                  <c:v>0.004878816529962211</c:v>
                </c:pt>
                <c:pt idx="27">
                  <c:v>0.004527622339557825</c:v>
                </c:pt>
                <c:pt idx="28">
                  <c:v>0.005638015097948481</c:v>
                </c:pt>
                <c:pt idx="29">
                  <c:v>0.00445387571974184</c:v>
                </c:pt>
                <c:pt idx="30">
                  <c:v>0.008239960944600545</c:v>
                </c:pt>
                <c:pt idx="31">
                  <c:v>0.005995306121083009</c:v>
                </c:pt>
                <c:pt idx="32">
                  <c:v>0.0044925938917986935</c:v>
                </c:pt>
                <c:pt idx="33">
                  <c:v>0.004970253120403735</c:v>
                </c:pt>
                <c:pt idx="34">
                  <c:v>0.0042546415993292945</c:v>
                </c:pt>
                <c:pt idx="35">
                  <c:v>0.005430731371336964</c:v>
                </c:pt>
                <c:pt idx="36">
                  <c:v>0.005481164922944141</c:v>
                </c:pt>
                <c:pt idx="37">
                  <c:v>0.006861825404124953</c:v>
                </c:pt>
                <c:pt idx="38">
                  <c:v>0.00606385011067945</c:v>
                </c:pt>
                <c:pt idx="39">
                  <c:v>0.005551227411667666</c:v>
                </c:pt>
                <c:pt idx="40">
                  <c:v>0.003468638597349012</c:v>
                </c:pt>
                <c:pt idx="41">
                  <c:v>0.003602764913705968</c:v>
                </c:pt>
                <c:pt idx="42">
                  <c:v>0.005758869643773789</c:v>
                </c:pt>
                <c:pt idx="43">
                  <c:v>0.005312948202121201</c:v>
                </c:pt>
                <c:pt idx="44">
                  <c:v>0.005565896896720457</c:v>
                </c:pt>
                <c:pt idx="45">
                  <c:v>0.0055902668295557244</c:v>
                </c:pt>
                <c:pt idx="46">
                  <c:v>0.004663347668913546</c:v>
                </c:pt>
                <c:pt idx="47">
                  <c:v>0.004930786061089702</c:v>
                </c:pt>
                <c:pt idx="48">
                  <c:v>0.004006055946869537</c:v>
                </c:pt>
                <c:pt idx="49">
                  <c:v>0.004899462822707295</c:v>
                </c:pt>
                <c:pt idx="50">
                  <c:v>0.00507378786447924</c:v>
                </c:pt>
                <c:pt idx="51">
                  <c:v>0.004392004308116957</c:v>
                </c:pt>
                <c:pt idx="52">
                  <c:v>0.005919460567867631</c:v>
                </c:pt>
                <c:pt idx="53">
                  <c:v>0.006290173117005751</c:v>
                </c:pt>
                <c:pt idx="54">
                  <c:v>0.0041737598801922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993121238177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3.029809017785156</c:v>
                </c:pt>
                <c:pt idx="5">
                  <c:v>4.039441406752061</c:v>
                </c:pt>
                <c:pt idx="6">
                  <c:v>4.741967667899876</c:v>
                </c:pt>
                <c:pt idx="7">
                  <c:v>5.07585926968771</c:v>
                </c:pt>
                <c:pt idx="8">
                  <c:v>4.041322137600156</c:v>
                </c:pt>
                <c:pt idx="9">
                  <c:v>4.423271098303595</c:v>
                </c:pt>
                <c:pt idx="10">
                  <c:v>3.1785779187259786</c:v>
                </c:pt>
                <c:pt idx="11">
                  <c:v>4.5604461769482905</c:v>
                </c:pt>
                <c:pt idx="12">
                  <c:v>2.9958446996601946</c:v>
                </c:pt>
                <c:pt idx="13">
                  <c:v>3.2822363026844217</c:v>
                </c:pt>
                <c:pt idx="14">
                  <c:v>1.7258576125022078</c:v>
                </c:pt>
                <c:pt idx="15">
                  <c:v>2.0104992973174403</c:v>
                </c:pt>
                <c:pt idx="16">
                  <c:v>3.158981276655212</c:v>
                </c:pt>
                <c:pt idx="17">
                  <c:v>1.944473074360688</c:v>
                </c:pt>
                <c:pt idx="18">
                  <c:v>1.5662855337496897</c:v>
                </c:pt>
                <c:pt idx="19">
                  <c:v>1.756687367960036</c:v>
                </c:pt>
                <c:pt idx="20">
                  <c:v>6.076084898468014</c:v>
                </c:pt>
                <c:pt idx="21">
                  <c:v>0.0</c:v>
                </c:pt>
                <c:pt idx="22">
                  <c:v>5.358140254260565</c:v>
                </c:pt>
                <c:pt idx="23">
                  <c:v>7.892700565862521</c:v>
                </c:pt>
                <c:pt idx="24">
                  <c:v>8.83053546962869</c:v>
                </c:pt>
                <c:pt idx="25">
                  <c:v>6.018566898251155</c:v>
                </c:pt>
                <c:pt idx="26">
                  <c:v>7.800059172862691</c:v>
                </c:pt>
                <c:pt idx="27">
                  <c:v>8.280238266848391</c:v>
                </c:pt>
                <c:pt idx="28">
                  <c:v>6.504072384905584</c:v>
                </c:pt>
                <c:pt idx="29">
                  <c:v>6.261289338070207</c:v>
                </c:pt>
                <c:pt idx="30">
                  <c:v>7.942681964356695</c:v>
                </c:pt>
                <c:pt idx="31">
                  <c:v>10.43002638836672</c:v>
                </c:pt>
                <c:pt idx="32">
                  <c:v>8.386149785096814</c:v>
                </c:pt>
                <c:pt idx="33">
                  <c:v>11.87960461895779</c:v>
                </c:pt>
                <c:pt idx="34">
                  <c:v>7.518690595876959</c:v>
                </c:pt>
                <c:pt idx="35">
                  <c:v>7.4801532941478115</c:v>
                </c:pt>
                <c:pt idx="36">
                  <c:v>7.926528417435893</c:v>
                </c:pt>
                <c:pt idx="37">
                  <c:v>7.433039942434596</c:v>
                </c:pt>
                <c:pt idx="38">
                  <c:v>8.86344129053074</c:v>
                </c:pt>
                <c:pt idx="39">
                  <c:v>8.170451458177693</c:v>
                </c:pt>
                <c:pt idx="40">
                  <c:v>7.6706534887791245</c:v>
                </c:pt>
                <c:pt idx="41">
                  <c:v>6.08324328304158</c:v>
                </c:pt>
                <c:pt idx="42">
                  <c:v>6.098263996775845</c:v>
                </c:pt>
                <c:pt idx="43">
                  <c:v>5.518445522971485</c:v>
                </c:pt>
                <c:pt idx="44">
                  <c:v>6.906819095339096</c:v>
                </c:pt>
                <c:pt idx="45">
                  <c:v>7.364067643014782</c:v>
                </c:pt>
                <c:pt idx="46">
                  <c:v>5.219093165145292</c:v>
                </c:pt>
                <c:pt idx="47">
                  <c:v>7.636488893595674</c:v>
                </c:pt>
                <c:pt idx="48">
                  <c:v>7.146267731673844</c:v>
                </c:pt>
                <c:pt idx="49">
                  <c:v>7.374953214356166</c:v>
                </c:pt>
              </c:numCache>
            </c:numRef>
          </c:xVal>
          <c:yVal>
            <c:numRef>
              <c:f>Sheet1!$B$2:$B$51</c:f>
              <c:numCache>
                <c:formatCode>General</c:formatCode>
                <c:ptCount val="50"/>
                <c:pt idx="0">
                  <c:v>0.0</c:v>
                </c:pt>
                <c:pt idx="1">
                  <c:v>0.0</c:v>
                </c:pt>
                <c:pt idx="2">
                  <c:v>0.0</c:v>
                </c:pt>
                <c:pt idx="3">
                  <c:v>0.0</c:v>
                </c:pt>
                <c:pt idx="4">
                  <c:v>0.00014494854326714017</c:v>
                </c:pt>
                <c:pt idx="5">
                  <c:v>0.00016504373659019642</c:v>
                </c:pt>
                <c:pt idx="6">
                  <c:v>0.00024154589371980676</c:v>
                </c:pt>
                <c:pt idx="7">
                  <c:v>0.00021376656690893543</c:v>
                </c:pt>
                <c:pt idx="8">
                  <c:v>0.0002021018593371059</c:v>
                </c:pt>
                <c:pt idx="9">
                  <c:v>0.00018234865061998541</c:v>
                </c:pt>
                <c:pt idx="10">
                  <c:v>0.00038550501156515033</c:v>
                </c:pt>
                <c:pt idx="11">
                  <c:v>0.0004048582995951417</c:v>
                </c:pt>
                <c:pt idx="12">
                  <c:v>0.0004104247896572953</c:v>
                </c:pt>
                <c:pt idx="13">
                  <c:v>0.0005138746145940391</c:v>
                </c:pt>
                <c:pt idx="14">
                  <c:v>0.0006572461386789353</c:v>
                </c:pt>
                <c:pt idx="15">
                  <c:v>0.0006626905235255136</c:v>
                </c:pt>
                <c:pt idx="16">
                  <c:v>0.0003843197540353574</c:v>
                </c:pt>
                <c:pt idx="17">
                  <c:v>0.0006693440428380187</c:v>
                </c:pt>
                <c:pt idx="18">
                  <c:v>0.0007473841554559044</c:v>
                </c:pt>
                <c:pt idx="19">
                  <c:v>0.0006607201850016518</c:v>
                </c:pt>
                <c:pt idx="20">
                  <c:v>0.0007895775759968417</c:v>
                </c:pt>
                <c:pt idx="21">
                  <c:v>0.0</c:v>
                </c:pt>
                <c:pt idx="22">
                  <c:v>0.002144082332761578</c:v>
                </c:pt>
                <c:pt idx="23">
                  <c:v>0.0011001100110011</c:v>
                </c:pt>
                <c:pt idx="24">
                  <c:v>0.001143728555089592</c:v>
                </c:pt>
                <c:pt idx="25">
                  <c:v>0.0014534883720930232</c:v>
                </c:pt>
                <c:pt idx="26">
                  <c:v>0.0010003334444814939</c:v>
                </c:pt>
                <c:pt idx="27">
                  <c:v>0.0014097744360902255</c:v>
                </c:pt>
                <c:pt idx="28">
                  <c:v>0.0015739769150052466</c:v>
                </c:pt>
                <c:pt idx="29">
                  <c:v>0.0020714655618850335</c:v>
                </c:pt>
                <c:pt idx="30">
                  <c:v>0.0017833259028087382</c:v>
                </c:pt>
                <c:pt idx="31">
                  <c:v>0.0012706480304955528</c:v>
                </c:pt>
                <c:pt idx="32">
                  <c:v>0.001447178002894356</c:v>
                </c:pt>
                <c:pt idx="33">
                  <c:v>0.0012320328542094457</c:v>
                </c:pt>
                <c:pt idx="34">
                  <c:v>0.0018501387604070306</c:v>
                </c:pt>
                <c:pt idx="35">
                  <c:v>0.002234137622877569</c:v>
                </c:pt>
                <c:pt idx="36">
                  <c:v>0.002158894645941278</c:v>
                </c:pt>
                <c:pt idx="37">
                  <c:v>0.0020797227036395147</c:v>
                </c:pt>
                <c:pt idx="38">
                  <c:v>0.0016886187098953055</c:v>
                </c:pt>
                <c:pt idx="39">
                  <c:v>0.001594896331738437</c:v>
                </c:pt>
                <c:pt idx="40">
                  <c:v>0.0020057306590257878</c:v>
                </c:pt>
                <c:pt idx="41">
                  <c:v>0.002429906542056075</c:v>
                </c:pt>
                <c:pt idx="42">
                  <c:v>0.0028363765289842226</c:v>
                </c:pt>
                <c:pt idx="43">
                  <c:v>0.0029218407596785976</c:v>
                </c:pt>
                <c:pt idx="44">
                  <c:v>0.0026378595653812334</c:v>
                </c:pt>
                <c:pt idx="45">
                  <c:v>0.0018461538461538461</c:v>
                </c:pt>
                <c:pt idx="46">
                  <c:v>0.003142183817753339</c:v>
                </c:pt>
                <c:pt idx="47">
                  <c:v>0.001964154186103609</c:v>
                </c:pt>
                <c:pt idx="48">
                  <c:v>0.002242655303879794</c:v>
                </c:pt>
                <c:pt idx="49">
                  <c:v>0.0018944519621109607</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5.935004108475703</c:v>
                </c:pt>
                <c:pt idx="1">
                  <c:v>5.483419629896846</c:v>
                </c:pt>
                <c:pt idx="2">
                  <c:v>5.782001291613406</c:v>
                </c:pt>
                <c:pt idx="3">
                  <c:v>5.235198427613654</c:v>
                </c:pt>
                <c:pt idx="4">
                  <c:v>7.09519726560554</c:v>
                </c:pt>
                <c:pt idx="5">
                  <c:v>5.999152405019401</c:v>
                </c:pt>
                <c:pt idx="6">
                  <c:v>6.803453157151113</c:v>
                </c:pt>
                <c:pt idx="7">
                  <c:v>5.844308508195407</c:v>
                </c:pt>
                <c:pt idx="8">
                  <c:v>4.785622079148289</c:v>
                </c:pt>
                <c:pt idx="9">
                  <c:v>6.547514713188035</c:v>
                </c:pt>
                <c:pt idx="10">
                  <c:v>6.07328213085049</c:v>
                </c:pt>
                <c:pt idx="11">
                  <c:v>6.597111042804016</c:v>
                </c:pt>
                <c:pt idx="12">
                  <c:v>6.534656816491367</c:v>
                </c:pt>
                <c:pt idx="13">
                  <c:v>4.751966113739435</c:v>
                </c:pt>
                <c:pt idx="14">
                  <c:v>5.567840018502938</c:v>
                </c:pt>
                <c:pt idx="15">
                  <c:v>5.46296139025727</c:v>
                </c:pt>
                <c:pt idx="16">
                  <c:v>4.981477318373533</c:v>
                </c:pt>
                <c:pt idx="17">
                  <c:v>4.85172195183229</c:v>
                </c:pt>
                <c:pt idx="18">
                  <c:v>6.645474371877656</c:v>
                </c:pt>
                <c:pt idx="19">
                  <c:v>6.851246424552318</c:v>
                </c:pt>
                <c:pt idx="20">
                  <c:v>5.470799393374163</c:v>
                </c:pt>
                <c:pt idx="21">
                  <c:v>6.186167392706295</c:v>
                </c:pt>
                <c:pt idx="22">
                  <c:v>5.7269009921296865</c:v>
                </c:pt>
                <c:pt idx="23">
                  <c:v>5.4621431170214905</c:v>
                </c:pt>
                <c:pt idx="24">
                  <c:v>6.346929246819187</c:v>
                </c:pt>
                <c:pt idx="25">
                  <c:v>6.225160197503155</c:v>
                </c:pt>
                <c:pt idx="26">
                  <c:v>6.208574912829849</c:v>
                </c:pt>
                <c:pt idx="27">
                  <c:v>5.428984696088461</c:v>
                </c:pt>
                <c:pt idx="28">
                  <c:v>4.9170962827806415</c:v>
                </c:pt>
                <c:pt idx="29">
                  <c:v>5.5445994824090885</c:v>
                </c:pt>
                <c:pt idx="30">
                  <c:v>4.866543336581889</c:v>
                </c:pt>
                <c:pt idx="31">
                  <c:v>5.448272983834971</c:v>
                </c:pt>
                <c:pt idx="32">
                  <c:v>7.174139014478842</c:v>
                </c:pt>
                <c:pt idx="33">
                  <c:v>6.65633308299506</c:v>
                </c:pt>
                <c:pt idx="34">
                  <c:v>6.591319700213593</c:v>
                </c:pt>
                <c:pt idx="35">
                  <c:v>5.760696271729306</c:v>
                </c:pt>
                <c:pt idx="36">
                  <c:v>5.402040058034609</c:v>
                </c:pt>
                <c:pt idx="37">
                  <c:v>6.314064201760755</c:v>
                </c:pt>
                <c:pt idx="38">
                  <c:v>5.193718151110897</c:v>
                </c:pt>
                <c:pt idx="39">
                  <c:v>5.829727814240478</c:v>
                </c:pt>
                <c:pt idx="40">
                  <c:v>4.933228594956091</c:v>
                </c:pt>
                <c:pt idx="41">
                  <c:v>6.6771973442920975</c:v>
                </c:pt>
                <c:pt idx="42">
                  <c:v>7.252811290563698</c:v>
                </c:pt>
                <c:pt idx="43">
                  <c:v>6.093823620933522</c:v>
                </c:pt>
                <c:pt idx="44">
                  <c:v>6.146089050159309</c:v>
                </c:pt>
                <c:pt idx="45">
                  <c:v>7.120600175523198</c:v>
                </c:pt>
                <c:pt idx="46">
                  <c:v>7.054186164062054</c:v>
                </c:pt>
                <c:pt idx="47">
                  <c:v>7.161670155530611</c:v>
                </c:pt>
                <c:pt idx="48">
                  <c:v>4.813498827821895</c:v>
                </c:pt>
                <c:pt idx="49">
                  <c:v>6.446635714324701</c:v>
                </c:pt>
                <c:pt idx="50">
                  <c:v>7.364742842766169</c:v>
                </c:pt>
                <c:pt idx="51">
                  <c:v>6.161537942286408</c:v>
                </c:pt>
              </c:numCache>
            </c:numRef>
          </c:xVal>
          <c:yVal>
            <c:numRef>
              <c:f>Sheet1!$B$54:$B$105</c:f>
              <c:numCache>
                <c:formatCode>General</c:formatCode>
                <c:ptCount val="52"/>
                <c:pt idx="0">
                  <c:v>0.001894387875917594</c:v>
                </c:pt>
                <c:pt idx="1">
                  <c:v>0.0020135917442738486</c:v>
                </c:pt>
                <c:pt idx="2">
                  <c:v>0.001987632508833922</c:v>
                </c:pt>
                <c:pt idx="3">
                  <c:v>0.002410219329959026</c:v>
                </c:pt>
                <c:pt idx="4">
                  <c:v>0.0017605633802816902</c:v>
                </c:pt>
                <c:pt idx="5">
                  <c:v>0.0020470829068577278</c:v>
                </c:pt>
                <c:pt idx="6">
                  <c:v>0.002163097555699762</c:v>
                </c:pt>
                <c:pt idx="7">
                  <c:v>0.0028760425654299686</c:v>
                </c:pt>
                <c:pt idx="8">
                  <c:v>0.004129129129129129</c:v>
                </c:pt>
                <c:pt idx="9">
                  <c:v>0.0037593984962406013</c:v>
                </c:pt>
                <c:pt idx="10">
                  <c:v>0.00352</c:v>
                </c:pt>
                <c:pt idx="11">
                  <c:v>0.0030469226081657527</c:v>
                </c:pt>
                <c:pt idx="12">
                  <c:v>0.0037497070541363956</c:v>
                </c:pt>
                <c:pt idx="13">
                  <c:v>0.00508130081300813</c:v>
                </c:pt>
                <c:pt idx="14">
                  <c:v>0.003942551393973529</c:v>
                </c:pt>
                <c:pt idx="15">
                  <c:v>0.004124365482233503</c:v>
                </c:pt>
                <c:pt idx="16">
                  <c:v>0.0046362339514978606</c:v>
                </c:pt>
                <c:pt idx="17">
                  <c:v>0.0061633281972265025</c:v>
                </c:pt>
                <c:pt idx="18">
                  <c:v>0.003245248029670839</c:v>
                </c:pt>
                <c:pt idx="19">
                  <c:v>0.002574002574002574</c:v>
                </c:pt>
                <c:pt idx="20">
                  <c:v>0.002938295788442703</c:v>
                </c:pt>
                <c:pt idx="21">
                  <c:v>0.003005259203606311</c:v>
                </c:pt>
                <c:pt idx="22">
                  <c:v>0.004329004329004329</c:v>
                </c:pt>
                <c:pt idx="23">
                  <c:v>0.003328894806924101</c:v>
                </c:pt>
                <c:pt idx="24">
                  <c:v>0.003357582540570789</c:v>
                </c:pt>
                <c:pt idx="25">
                  <c:v>0.0029120559114735</c:v>
                </c:pt>
                <c:pt idx="26">
                  <c:v>0.0036101083032490976</c:v>
                </c:pt>
                <c:pt idx="27">
                  <c:v>0.003933566433566434</c:v>
                </c:pt>
                <c:pt idx="28">
                  <c:v>0.002824858757062147</c:v>
                </c:pt>
                <c:pt idx="29">
                  <c:v>0.003227293683725219</c:v>
                </c:pt>
                <c:pt idx="30">
                  <c:v>0.003750586029067042</c:v>
                </c:pt>
                <c:pt idx="31">
                  <c:v>0.002890173410404624</c:v>
                </c:pt>
                <c:pt idx="32">
                  <c:v>0.0024630541871921183</c:v>
                </c:pt>
                <c:pt idx="33">
                  <c:v>0.002102102102102102</c:v>
                </c:pt>
                <c:pt idx="34">
                  <c:v>0.0021404109589041095</c:v>
                </c:pt>
                <c:pt idx="35">
                  <c:v>0.00278473962684489</c:v>
                </c:pt>
                <c:pt idx="36">
                  <c:v>0.00425531914893617</c:v>
                </c:pt>
                <c:pt idx="37">
                  <c:v>0.0037611659614480487</c:v>
                </c:pt>
                <c:pt idx="38">
                  <c:v>0.0035052578868302454</c:v>
                </c:pt>
                <c:pt idx="39">
                  <c:v>0.0025197984161267097</c:v>
                </c:pt>
                <c:pt idx="40">
                  <c:v>0.0032719836400817996</c:v>
                </c:pt>
                <c:pt idx="41">
                  <c:v>0.002692307692307692</c:v>
                </c:pt>
                <c:pt idx="42">
                  <c:v>0.0017123287671232876</c:v>
                </c:pt>
                <c:pt idx="43">
                  <c:v>0.0018018018018018018</c:v>
                </c:pt>
                <c:pt idx="44">
                  <c:v>0.002015621063240111</c:v>
                </c:pt>
                <c:pt idx="45">
                  <c:v>0.0011784511784511784</c:v>
                </c:pt>
                <c:pt idx="46">
                  <c:v>0.0015631978561857973</c:v>
                </c:pt>
                <c:pt idx="47">
                  <c:v>0.0012586532410320957</c:v>
                </c:pt>
                <c:pt idx="48">
                  <c:v>0.0020069330414158</c:v>
                </c:pt>
                <c:pt idx="49">
                  <c:v>0.0015589814654425776</c:v>
                </c:pt>
                <c:pt idx="50">
                  <c:v>0.0011036309458117206</c:v>
                </c:pt>
                <c:pt idx="51">
                  <c:v>0.0018832391713747645</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4.912116548884521</c:v>
                </c:pt>
              </c:numCache>
            </c:numRef>
          </c:xVal>
          <c:yVal>
            <c:numRef>
              <c:f>Sheet1!$B$108:$B$109</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4.912116548884521</c:v>
                </c:pt>
                <c:pt idx="1">
                  <c:v>4.912116548884521</c:v>
                </c:pt>
              </c:numCache>
            </c:numRef>
          </c:xVal>
          <c:yVal>
            <c:numRef>
              <c:f>Sheet1!$B$112:$B$113</c:f>
              <c:numCache>
                <c:formatCode>General</c:formatCode>
                <c:ptCount val="2"/>
                <c:pt idx="0">
                  <c:v>0.00382973950709266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4.912116548884521</c:v>
                </c:pt>
              </c:numCache>
            </c:numRef>
          </c:xVal>
          <c:yVal>
            <c:numRef>
              <c:f>Sheet1!$B$116:$B$117</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4.912116548884521</c:v>
                </c:pt>
                <c:pt idx="1">
                  <c:v>4.912116548884521</c:v>
                </c:pt>
              </c:numCache>
            </c:numRef>
          </c:xVal>
          <c:yVal>
            <c:numRef>
              <c:f>Sheet1!$B$120:$B$121</c:f>
              <c:numCache>
                <c:formatCode>General</c:formatCode>
                <c:ptCount val="2"/>
                <c:pt idx="0">
                  <c:v>0.003829739507092669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7.174938296478012</c:v>
                </c:pt>
              </c:numCache>
            </c:numRef>
          </c:xVal>
          <c:yVal>
            <c:numRef>
              <c:f>Sheet1!$B$124:$B$125</c:f>
              <c:numCache>
                <c:formatCode>General</c:formatCode>
                <c:ptCount val="2"/>
                <c:pt idx="0">
                  <c:v>0.0018897637138765642</c:v>
                </c:pt>
                <c:pt idx="1">
                  <c:v>0.0018897637138765642</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174938296478012</c:v>
                </c:pt>
                <c:pt idx="1">
                  <c:v>7.174938296478012</c:v>
                </c:pt>
              </c:numCache>
            </c:numRef>
          </c:xVal>
          <c:yVal>
            <c:numRef>
              <c:f>Sheet1!$B$128:$B$129</c:f>
              <c:numCache>
                <c:formatCode>General</c:formatCode>
                <c:ptCount val="2"/>
                <c:pt idx="0">
                  <c:v>0.001889763713876564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5.935004108475703</c:v>
                </c:pt>
                <c:pt idx="1">
                  <c:v>5.483419629896846</c:v>
                </c:pt>
                <c:pt idx="2">
                  <c:v>5.782001291613406</c:v>
                </c:pt>
                <c:pt idx="3">
                  <c:v>5.235198427613654</c:v>
                </c:pt>
                <c:pt idx="4">
                  <c:v>7.09519726560554</c:v>
                </c:pt>
                <c:pt idx="5">
                  <c:v>5.999152405019401</c:v>
                </c:pt>
                <c:pt idx="6">
                  <c:v>6.803453157151113</c:v>
                </c:pt>
                <c:pt idx="7">
                  <c:v>5.844308508195407</c:v>
                </c:pt>
                <c:pt idx="8">
                  <c:v>4.785622079148289</c:v>
                </c:pt>
                <c:pt idx="9">
                  <c:v>6.547514713188035</c:v>
                </c:pt>
                <c:pt idx="10">
                  <c:v>6.07328213085049</c:v>
                </c:pt>
                <c:pt idx="11">
                  <c:v>6.597111042804016</c:v>
                </c:pt>
                <c:pt idx="12">
                  <c:v>6.534656816491367</c:v>
                </c:pt>
                <c:pt idx="13">
                  <c:v>4.751966113739435</c:v>
                </c:pt>
                <c:pt idx="14">
                  <c:v>5.567840018502938</c:v>
                </c:pt>
                <c:pt idx="15">
                  <c:v>5.46296139025727</c:v>
                </c:pt>
                <c:pt idx="16">
                  <c:v>4.981477318373533</c:v>
                </c:pt>
                <c:pt idx="17">
                  <c:v>4.85172195183229</c:v>
                </c:pt>
                <c:pt idx="18">
                  <c:v>6.645474371877656</c:v>
                </c:pt>
                <c:pt idx="19">
                  <c:v>6.851246424552318</c:v>
                </c:pt>
                <c:pt idx="20">
                  <c:v>5.470799393374163</c:v>
                </c:pt>
                <c:pt idx="21">
                  <c:v>6.186167392706295</c:v>
                </c:pt>
                <c:pt idx="22">
                  <c:v>5.7269009921296865</c:v>
                </c:pt>
                <c:pt idx="23">
                  <c:v>5.4621431170214905</c:v>
                </c:pt>
                <c:pt idx="24">
                  <c:v>6.346929246819187</c:v>
                </c:pt>
                <c:pt idx="25">
                  <c:v>6.225160197503155</c:v>
                </c:pt>
                <c:pt idx="26">
                  <c:v>6.208574912829849</c:v>
                </c:pt>
                <c:pt idx="27">
                  <c:v>5.428984696088461</c:v>
                </c:pt>
                <c:pt idx="28">
                  <c:v>4.9170962827806415</c:v>
                </c:pt>
                <c:pt idx="29">
                  <c:v>5.5445994824090885</c:v>
                </c:pt>
                <c:pt idx="30">
                  <c:v>4.866543336581889</c:v>
                </c:pt>
                <c:pt idx="31">
                  <c:v>5.448272983834971</c:v>
                </c:pt>
                <c:pt idx="32">
                  <c:v>7.174139014478842</c:v>
                </c:pt>
                <c:pt idx="33">
                  <c:v>6.65633308299506</c:v>
                </c:pt>
                <c:pt idx="34">
                  <c:v>6.591319700213593</c:v>
                </c:pt>
                <c:pt idx="35">
                  <c:v>5.760696271729306</c:v>
                </c:pt>
                <c:pt idx="36">
                  <c:v>5.402040058034609</c:v>
                </c:pt>
                <c:pt idx="37">
                  <c:v>6.314064201760755</c:v>
                </c:pt>
                <c:pt idx="38">
                  <c:v>5.193718151110897</c:v>
                </c:pt>
                <c:pt idx="39">
                  <c:v>5.829727814240478</c:v>
                </c:pt>
                <c:pt idx="40">
                  <c:v>4.933228594956091</c:v>
                </c:pt>
                <c:pt idx="41">
                  <c:v>6.6771973442920975</c:v>
                </c:pt>
                <c:pt idx="42">
                  <c:v>7.252811290563698</c:v>
                </c:pt>
                <c:pt idx="43">
                  <c:v>6.093823620933522</c:v>
                </c:pt>
                <c:pt idx="44">
                  <c:v>6.146089050159309</c:v>
                </c:pt>
                <c:pt idx="45">
                  <c:v>7.120600175523198</c:v>
                </c:pt>
                <c:pt idx="46">
                  <c:v>7.054186164062054</c:v>
                </c:pt>
                <c:pt idx="47">
                  <c:v>7.161670155530611</c:v>
                </c:pt>
                <c:pt idx="48">
                  <c:v>4.813498827821895</c:v>
                </c:pt>
                <c:pt idx="49">
                  <c:v>6.446635714324701</c:v>
                </c:pt>
                <c:pt idx="50">
                  <c:v>7.364742842766169</c:v>
                </c:pt>
                <c:pt idx="51">
                  <c:v>6.161537942286408</c:v>
                </c:pt>
                <c:pt idx="52">
                  <c:v>4.912116548884521</c:v>
                </c:pt>
                <c:pt idx="53">
                  <c:v>4.912116548884521</c:v>
                </c:pt>
                <c:pt idx="54">
                  <c:v>7.174938296478012</c:v>
                </c:pt>
              </c:numCache>
            </c:numRef>
          </c:xVal>
          <c:yVal>
            <c:numRef>
              <c:f>Sheet1!$B$132:$B$186</c:f>
              <c:numCache>
                <c:formatCode>General</c:formatCode>
                <c:ptCount val="55"/>
                <c:pt idx="0">
                  <c:v>0.0029527914633949394</c:v>
                </c:pt>
                <c:pt idx="1">
                  <c:v>0.0033399465532586428</c:v>
                </c:pt>
                <c:pt idx="2">
                  <c:v>0.003083964747955425</c:v>
                </c:pt>
                <c:pt idx="3">
                  <c:v>0.0035527530300854234</c:v>
                </c:pt>
                <c:pt idx="4">
                  <c:v>0.001958127768527892</c:v>
                </c:pt>
                <c:pt idx="5">
                  <c:v>0.00289779546443781</c:v>
                </c:pt>
                <c:pt idx="6">
                  <c:v>0.002208247562018881</c:v>
                </c:pt>
                <c:pt idx="7">
                  <c:v>0.0030305471546163525</c:v>
                </c:pt>
                <c:pt idx="8">
                  <c:v>0.003938186497901811</c:v>
                </c:pt>
                <c:pt idx="9">
                  <c:v>0.0024276702303619837</c:v>
                </c:pt>
                <c:pt idx="10">
                  <c:v>0.002834242127184002</c:v>
                </c:pt>
                <c:pt idx="11">
                  <c:v>0.002385150010203372</c:v>
                </c:pt>
                <c:pt idx="12">
                  <c:v>0.002438693638798701</c:v>
                </c:pt>
                <c:pt idx="13">
                  <c:v>0.003967040630252242</c:v>
                </c:pt>
                <c:pt idx="14">
                  <c:v>0.003267570763816152</c:v>
                </c:pt>
                <c:pt idx="15">
                  <c:v>0.0033574859328915282</c:v>
                </c:pt>
                <c:pt idx="16">
                  <c:v>0.0037702747198416946</c:v>
                </c:pt>
                <c:pt idx="17">
                  <c:v>0.0038815173620858753</c:v>
                </c:pt>
                <c:pt idx="18">
                  <c:v>0.0023436868733999593</c:v>
                </c:pt>
                <c:pt idx="19">
                  <c:v>0.00216727315387752</c:v>
                </c:pt>
                <c:pt idx="20">
                  <c:v>0.0033507662094620994</c:v>
                </c:pt>
                <c:pt idx="21">
                  <c:v>0.002737462663382214</c:v>
                </c:pt>
                <c:pt idx="22">
                  <c:v>0.0031312036642823747</c:v>
                </c:pt>
                <c:pt idx="23">
                  <c:v>0.0033581874597666955</c:v>
                </c:pt>
                <c:pt idx="24">
                  <c:v>0.002599637354878252</c:v>
                </c:pt>
                <c:pt idx="25">
                  <c:v>0.002704033120159927</c:v>
                </c:pt>
                <c:pt idx="26">
                  <c:v>0.0027182521150162517</c:v>
                </c:pt>
                <c:pt idx="27">
                  <c:v>0.0033866150343291887</c:v>
                </c:pt>
                <c:pt idx="28">
                  <c:v>0.003825470252024122</c:v>
                </c:pt>
                <c:pt idx="29">
                  <c:v>0.003287495478386083</c:v>
                </c:pt>
                <c:pt idx="30">
                  <c:v>0.003868810604398602</c:v>
                </c:pt>
                <c:pt idx="31">
                  <c:v>0.0033700786848086797</c:v>
                </c:pt>
                <c:pt idx="32">
                  <c:v>0.001890448959071857</c:v>
                </c:pt>
                <c:pt idx="33">
                  <c:v>0.0023343774186292982</c:v>
                </c:pt>
                <c:pt idx="34">
                  <c:v>0.0023901150784627657</c:v>
                </c:pt>
                <c:pt idx="35">
                  <c:v>0.003102230094261689</c:v>
                </c:pt>
                <c:pt idx="36">
                  <c:v>0.0034097153716125105</c:v>
                </c:pt>
                <c:pt idx="37">
                  <c:v>0.002627813410691804</c:v>
                </c:pt>
                <c:pt idx="38">
                  <c:v>0.003588315147338734</c:v>
                </c:pt>
                <c:pt idx="39">
                  <c:v>0.0030430475618406236</c:v>
                </c:pt>
                <c:pt idx="40">
                  <c:v>0.0038116396022426</c:v>
                </c:pt>
                <c:pt idx="41">
                  <c:v>0.002316489946095222</c:v>
                </c:pt>
                <c:pt idx="42">
                  <c:v>0.0018230011756288408</c:v>
                </c:pt>
                <c:pt idx="43">
                  <c:v>0.002816631374786006</c:v>
                </c:pt>
                <c:pt idx="44">
                  <c:v>0.0027718228662820072</c:v>
                </c:pt>
                <c:pt idx="45">
                  <c:v>0.001936349194775931</c:v>
                </c:pt>
                <c:pt idx="46">
                  <c:v>0.0019932876499158545</c:v>
                </c:pt>
                <c:pt idx="47">
                  <c:v>0.0019011388353532398</c:v>
                </c:pt>
                <c:pt idx="48">
                  <c:v>0.003914287038000527</c:v>
                </c:pt>
                <c:pt idx="49">
                  <c:v>0.0025141564133973346</c:v>
                </c:pt>
                <c:pt idx="50">
                  <c:v>0.0017270393518568922</c:v>
                </c:pt>
                <c:pt idx="51">
                  <c:v>0.002758578130239297</c:v>
                </c:pt>
                <c:pt idx="52">
                  <c:v>0.0038297395070926695</c:v>
                </c:pt>
                <c:pt idx="53">
                  <c:v>0.0038297395070926695</c:v>
                </c:pt>
                <c:pt idx="54">
                  <c:v>0.00188976371387656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9599383667180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2185.0</c:v>
                </c:pt>
                <c:pt idx="3">
                  <c:v>1955.0</c:v>
                </c:pt>
                <c:pt idx="4">
                  <c:v>2646.0</c:v>
                </c:pt>
                <c:pt idx="5">
                  <c:v>1515.0</c:v>
                </c:pt>
                <c:pt idx="6">
                  <c:v>2032.0</c:v>
                </c:pt>
                <c:pt idx="7">
                  <c:v>3160.0</c:v>
                </c:pt>
                <c:pt idx="8">
                  <c:v>2038.6667</c:v>
                </c:pt>
                <c:pt idx="9">
                  <c:v>2157.3333</c:v>
                </c:pt>
                <c:pt idx="10">
                  <c:v>2437.0</c:v>
                </c:pt>
                <c:pt idx="11">
                  <c:v>2248.3333</c:v>
                </c:pt>
                <c:pt idx="12">
                  <c:v>1916.25</c:v>
                </c:pt>
                <c:pt idx="13">
                  <c:v>1750.3333</c:v>
                </c:pt>
                <c:pt idx="14">
                  <c:v>1634.0</c:v>
                </c:pt>
                <c:pt idx="15">
                  <c:v>2322.0</c:v>
                </c:pt>
                <c:pt idx="16">
                  <c:v>1728.3333</c:v>
                </c:pt>
                <c:pt idx="17">
                  <c:v>1336.75</c:v>
                </c:pt>
                <c:pt idx="18">
                  <c:v>2009.0</c:v>
                </c:pt>
                <c:pt idx="19">
                  <c:v>1583.0</c:v>
                </c:pt>
                <c:pt idx="20">
                  <c:v>1935.0</c:v>
                </c:pt>
                <c:pt idx="21">
                  <c:v>616.3333</c:v>
                </c:pt>
                <c:pt idx="22">
                  <c:v>1128.0</c:v>
                </c:pt>
                <c:pt idx="23">
                  <c:v>4133.0</c:v>
                </c:pt>
                <c:pt idx="24">
                  <c:v>4825.5</c:v>
                </c:pt>
                <c:pt idx="25">
                  <c:v>5851.0</c:v>
                </c:pt>
                <c:pt idx="26">
                  <c:v>3519.0</c:v>
                </c:pt>
                <c:pt idx="27">
                  <c:v>5511.0</c:v>
                </c:pt>
                <c:pt idx="28">
                  <c:v>4863.0</c:v>
                </c:pt>
                <c:pt idx="29">
                  <c:v>3205.3333</c:v>
                </c:pt>
                <c:pt idx="30">
                  <c:v>2475.0</c:v>
                </c:pt>
                <c:pt idx="31">
                  <c:v>5390.5</c:v>
                </c:pt>
                <c:pt idx="32">
                  <c:v>0.0</c:v>
                </c:pt>
                <c:pt idx="33">
                  <c:v>4578.0</c:v>
                </c:pt>
                <c:pt idx="34">
                  <c:v>4786.75</c:v>
                </c:pt>
                <c:pt idx="35">
                  <c:v>4820.25</c:v>
                </c:pt>
                <c:pt idx="36">
                  <c:v>4095.0</c:v>
                </c:pt>
                <c:pt idx="37">
                  <c:v>3536.7143</c:v>
                </c:pt>
                <c:pt idx="38">
                  <c:v>5206.3333</c:v>
                </c:pt>
                <c:pt idx="39">
                  <c:v>3684.0</c:v>
                </c:pt>
                <c:pt idx="40">
                  <c:v>4400.75</c:v>
                </c:pt>
                <c:pt idx="41">
                  <c:v>7249.0</c:v>
                </c:pt>
                <c:pt idx="42">
                  <c:v>4192.5</c:v>
                </c:pt>
                <c:pt idx="43">
                  <c:v>3826.8571</c:v>
                </c:pt>
                <c:pt idx="44">
                  <c:v>2041.85</c:v>
                </c:pt>
                <c:pt idx="45">
                  <c:v>1649.9032</c:v>
                </c:pt>
                <c:pt idx="46">
                  <c:v>1629.1</c:v>
                </c:pt>
                <c:pt idx="47">
                  <c:v>2332.0</c:v>
                </c:pt>
                <c:pt idx="48">
                  <c:v>3349.35</c:v>
                </c:pt>
                <c:pt idx="49">
                  <c:v>3559.625</c:v>
                </c:pt>
                <c:pt idx="50">
                  <c:v>3419.1429</c:v>
                </c:pt>
                <c:pt idx="51">
                  <c:v>4187.4</c:v>
                </c:pt>
                <c:pt idx="52">
                  <c:v>3931.5556</c:v>
                </c:pt>
              </c:numCache>
            </c:numRef>
          </c:xVal>
          <c:yVal>
            <c:numRef>
              <c:f>Sheet1!$B$2:$B$54</c:f>
              <c:numCache>
                <c:formatCode>General</c:formatCode>
                <c:ptCount val="53"/>
                <c:pt idx="0">
                  <c:v>0.0</c:v>
                </c:pt>
                <c:pt idx="1">
                  <c:v>0.0</c:v>
                </c:pt>
                <c:pt idx="2">
                  <c:v>0.0003901677721420211</c:v>
                </c:pt>
                <c:pt idx="3">
                  <c:v>0.00039541320680110717</c:v>
                </c:pt>
                <c:pt idx="4">
                  <c:v>0.0003756574004507889</c:v>
                </c:pt>
                <c:pt idx="5">
                  <c:v>0.0002907822041291073</c:v>
                </c:pt>
                <c:pt idx="6">
                  <c:v>0.0002615746795710175</c:v>
                </c:pt>
                <c:pt idx="7">
                  <c:v>0.0001450536698578474</c:v>
                </c:pt>
                <c:pt idx="8">
                  <c:v>0.0005084745762711864</c:v>
                </c:pt>
                <c:pt idx="9">
                  <c:v>0.0007390983000739098</c:v>
                </c:pt>
                <c:pt idx="10">
                  <c:v>0.0005467468562055768</c:v>
                </c:pt>
                <c:pt idx="11">
                  <c:v>0.0006983240223463687</c:v>
                </c:pt>
                <c:pt idx="12">
                  <c:v>0.000969227041434456</c:v>
                </c:pt>
                <c:pt idx="13">
                  <c:v>0.0007556675062972292</c:v>
                </c:pt>
                <c:pt idx="14">
                  <c:v>0.0007888509071785432</c:v>
                </c:pt>
                <c:pt idx="15">
                  <c:v>0.0005877167205406994</c:v>
                </c:pt>
                <c:pt idx="16">
                  <c:v>0.0009973404255319148</c:v>
                </c:pt>
                <c:pt idx="17">
                  <c:v>0.0018841262364578427</c:v>
                </c:pt>
                <c:pt idx="18">
                  <c:v>0.000445632798573975</c:v>
                </c:pt>
                <c:pt idx="19">
                  <c:v>0.0014443909484833895</c:v>
                </c:pt>
                <c:pt idx="20">
                  <c:v>0.0010741138560687433</c:v>
                </c:pt>
                <c:pt idx="21">
                  <c:v>0.0017574692442882249</c:v>
                </c:pt>
                <c:pt idx="22">
                  <c:v>0.0011117287381878821</c:v>
                </c:pt>
                <c:pt idx="23">
                  <c:v>0.000792393026941363</c:v>
                </c:pt>
                <c:pt idx="24">
                  <c:v>0.0018885741265344666</c:v>
                </c:pt>
                <c:pt idx="25">
                  <c:v>0.0017241379310344827</c:v>
                </c:pt>
                <c:pt idx="26">
                  <c:v>0.0021253985122210413</c:v>
                </c:pt>
                <c:pt idx="27">
                  <c:v>0.002068252326783868</c:v>
                </c:pt>
                <c:pt idx="28">
                  <c:v>0.0011441647597254005</c:v>
                </c:pt>
                <c:pt idx="29">
                  <c:v>0.003045685279187817</c:v>
                </c:pt>
                <c:pt idx="30">
                  <c:v>0.00516795865633075</c:v>
                </c:pt>
                <c:pt idx="31">
                  <c:v>0.0028169014084507044</c:v>
                </c:pt>
                <c:pt idx="32">
                  <c:v>0.0</c:v>
                </c:pt>
                <c:pt idx="33">
                  <c:v>0.002331002331002331</c:v>
                </c:pt>
                <c:pt idx="34">
                  <c:v>0.003956478733926805</c:v>
                </c:pt>
                <c:pt idx="35">
                  <c:v>0.003956478733926805</c:v>
                </c:pt>
                <c:pt idx="36">
                  <c:v>0.004796163069544364</c:v>
                </c:pt>
                <c:pt idx="37">
                  <c:v>0.008871989860583017</c:v>
                </c:pt>
                <c:pt idx="38">
                  <c:v>0.004178272980501393</c:v>
                </c:pt>
                <c:pt idx="39">
                  <c:v>0.005148005148005148</c:v>
                </c:pt>
                <c:pt idx="40">
                  <c:v>0.003424657534246575</c:v>
                </c:pt>
                <c:pt idx="41">
                  <c:v>0.0017226528854435831</c:v>
                </c:pt>
                <c:pt idx="42">
                  <c:v>0.0048250904704463205</c:v>
                </c:pt>
                <c:pt idx="43">
                  <c:v>0.004755434782608696</c:v>
                </c:pt>
                <c:pt idx="44">
                  <c:v>0.008680555555555556</c:v>
                </c:pt>
                <c:pt idx="45">
                  <c:v>0.013327601031814273</c:v>
                </c:pt>
                <c:pt idx="46">
                  <c:v>0.010984987184181618</c:v>
                </c:pt>
                <c:pt idx="47">
                  <c:v>0.007543753771876886</c:v>
                </c:pt>
                <c:pt idx="48">
                  <c:v>0.003513086246267346</c:v>
                </c:pt>
                <c:pt idx="49">
                  <c:v>0.005064893953782843</c:v>
                </c:pt>
                <c:pt idx="50">
                  <c:v>0.005509641873278237</c:v>
                </c:pt>
                <c:pt idx="51">
                  <c:v>0.003301419610432486</c:v>
                </c:pt>
                <c:pt idx="52">
                  <c:v>0.003060183611016661</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numCache>
            </c:numRef>
          </c:xVal>
          <c:yVal>
            <c:numRef>
              <c:f>Sheet1!$B$57:$B$108</c:f>
              <c:numCache>
                <c:formatCode>General</c:formatCode>
                <c:ptCount val="52"/>
                <c:pt idx="0">
                  <c:v>0.0026470588235294116</c:v>
                </c:pt>
                <c:pt idx="1">
                  <c:v>0.004094488188976378</c:v>
                </c:pt>
                <c:pt idx="2">
                  <c:v>0.0029411764705882353</c:v>
                </c:pt>
                <c:pt idx="3">
                  <c:v>0.0034636318654131617</c:v>
                </c:pt>
                <c:pt idx="4">
                  <c:v>0.0036640360766629085</c:v>
                </c:pt>
                <c:pt idx="5">
                  <c:v>0.0032144944476914087</c:v>
                </c:pt>
                <c:pt idx="6">
                  <c:v>0.0025670945157526253</c:v>
                </c:pt>
                <c:pt idx="7">
                  <c:v>0.0036115569823434992</c:v>
                </c:pt>
                <c:pt idx="8">
                  <c:v>0.0033444816053511705</c:v>
                </c:pt>
                <c:pt idx="9">
                  <c:v>0.004256828662646328</c:v>
                </c:pt>
                <c:pt idx="10">
                  <c:v>0.0040680473372781065</c:v>
                </c:pt>
                <c:pt idx="11">
                  <c:v>0.003414762280010507</c:v>
                </c:pt>
                <c:pt idx="12">
                  <c:v>0.004513217279174726</c:v>
                </c:pt>
                <c:pt idx="13">
                  <c:v>0.005928853754940711</c:v>
                </c:pt>
                <c:pt idx="14">
                  <c:v>0.008109104312569112</c:v>
                </c:pt>
                <c:pt idx="15">
                  <c:v>0.006462035541195477</c:v>
                </c:pt>
                <c:pt idx="16">
                  <c:v>0.006638217164532954</c:v>
                </c:pt>
                <c:pt idx="17">
                  <c:v>0.007808142777467931</c:v>
                </c:pt>
                <c:pt idx="18">
                  <c:v>0.006430868167202572</c:v>
                </c:pt>
                <c:pt idx="19">
                  <c:v>0.0036900369003690036</c:v>
                </c:pt>
                <c:pt idx="20">
                  <c:v>0.006006006006006006</c:v>
                </c:pt>
                <c:pt idx="21">
                  <c:v>0.0066765578635014835</c:v>
                </c:pt>
                <c:pt idx="22">
                  <c:v>0.004451038575667656</c:v>
                </c:pt>
                <c:pt idx="23">
                  <c:v>0.00354295837023915</c:v>
                </c:pt>
                <c:pt idx="24">
                  <c:v>0.005698005698005698</c:v>
                </c:pt>
                <c:pt idx="25">
                  <c:v>0.006342494714587738</c:v>
                </c:pt>
                <c:pt idx="26">
                  <c:v>0.004775549188156638</c:v>
                </c:pt>
                <c:pt idx="27">
                  <c:v>0.005</c:v>
                </c:pt>
                <c:pt idx="28">
                  <c:v>0.0048828125</c:v>
                </c:pt>
                <c:pt idx="29">
                  <c:v>0.0048367593712212815</c:v>
                </c:pt>
                <c:pt idx="30">
                  <c:v>0.008547008547008548</c:v>
                </c:pt>
                <c:pt idx="31">
                  <c:v>0.006622516556291391</c:v>
                </c:pt>
                <c:pt idx="32">
                  <c:v>0.005284015852047556</c:v>
                </c:pt>
                <c:pt idx="33">
                  <c:v>0.005847953216374269</c:v>
                </c:pt>
                <c:pt idx="34">
                  <c:v>0.005825242718446602</c:v>
                </c:pt>
                <c:pt idx="35">
                  <c:v>0.0068415051311288486</c:v>
                </c:pt>
                <c:pt idx="36">
                  <c:v>0.009242144177449169</c:v>
                </c:pt>
                <c:pt idx="37">
                  <c:v>0.011164274322169059</c:v>
                </c:pt>
                <c:pt idx="38">
                  <c:v>0.009057971014492754</c:v>
                </c:pt>
                <c:pt idx="39">
                  <c:v>0.005980861244019139</c:v>
                </c:pt>
                <c:pt idx="40">
                  <c:v>0.0041841004184100415</c:v>
                </c:pt>
                <c:pt idx="41">
                  <c:v>0.004625346901017576</c:v>
                </c:pt>
                <c:pt idx="42">
                  <c:v>0.005470459518599562</c:v>
                </c:pt>
                <c:pt idx="43">
                  <c:v>0.004135079255685734</c:v>
                </c:pt>
                <c:pt idx="44">
                  <c:v>0.004563605248146035</c:v>
                </c:pt>
                <c:pt idx="45">
                  <c:v>0.003966679888932963</c:v>
                </c:pt>
                <c:pt idx="46">
                  <c:v>0.00392349190779794</c:v>
                </c:pt>
                <c:pt idx="47">
                  <c:v>0.0037974683544303796</c:v>
                </c:pt>
                <c:pt idx="48">
                  <c:v>0.0029985007496251873</c:v>
                </c:pt>
                <c:pt idx="49">
                  <c:v>0.003482298316889147</c:v>
                </c:pt>
                <c:pt idx="50">
                  <c:v>0.003213258921021478</c:v>
                </c:pt>
                <c:pt idx="51">
                  <c:v>0.003917727717923604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35.5168722505505</c:v>
                </c:pt>
              </c:numCache>
            </c:numRef>
          </c:xVal>
          <c:yVal>
            <c:numRef>
              <c:f>Sheet1!$B$111:$B$112</c:f>
              <c:numCache>
                <c:formatCode>General</c:formatCode>
                <c:ptCount val="2"/>
                <c:pt idx="0">
                  <c:v>0.006290173117005752</c:v>
                </c:pt>
                <c:pt idx="1">
                  <c:v>0.00629017311700575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35.5168722505505</c:v>
                </c:pt>
                <c:pt idx="1">
                  <c:v>2835.5168722505505</c:v>
                </c:pt>
              </c:numCache>
            </c:numRef>
          </c:xVal>
          <c:yVal>
            <c:numRef>
              <c:f>Sheet1!$B$115:$B$116</c:f>
              <c:numCache>
                <c:formatCode>General</c:formatCode>
                <c:ptCount val="2"/>
                <c:pt idx="0">
                  <c:v>0.006290173117005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273.0385465560107</c:v>
                </c:pt>
              </c:numCache>
            </c:numRef>
          </c:xVal>
          <c:yVal>
            <c:numRef>
              <c:f>Sheet1!$B$119:$B$120</c:f>
              <c:numCache>
                <c:formatCode>General</c:formatCode>
                <c:ptCount val="2"/>
                <c:pt idx="0">
                  <c:v>0.00591946056786763</c:v>
                </c:pt>
                <c:pt idx="1">
                  <c:v>0.00591946056786763</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273.0385465560107</c:v>
                </c:pt>
                <c:pt idx="1">
                  <c:v>3273.0385465560107</c:v>
                </c:pt>
              </c:numCache>
            </c:numRef>
          </c:xVal>
          <c:yVal>
            <c:numRef>
              <c:f>Sheet1!$B$123:$B$124</c:f>
              <c:numCache>
                <c:formatCode>General</c:formatCode>
                <c:ptCount val="2"/>
                <c:pt idx="0">
                  <c:v>0.005919460567867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5333.346160861691</c:v>
                </c:pt>
              </c:numCache>
            </c:numRef>
          </c:xVal>
          <c:yVal>
            <c:numRef>
              <c:f>Sheet1!$B$127:$B$128</c:f>
              <c:numCache>
                <c:formatCode>General</c:formatCode>
                <c:ptCount val="2"/>
                <c:pt idx="0">
                  <c:v>0.004173759880192215</c:v>
                </c:pt>
                <c:pt idx="1">
                  <c:v>0.004173759880192215</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5333.346160861691</c:v>
                </c:pt>
                <c:pt idx="1">
                  <c:v>5333.346160861691</c:v>
                </c:pt>
              </c:numCache>
            </c:numRef>
          </c:xVal>
          <c:yVal>
            <c:numRef>
              <c:f>Sheet1!$B$131:$B$132</c:f>
              <c:numCache>
                <c:formatCode>General</c:formatCode>
                <c:ptCount val="2"/>
                <c:pt idx="0">
                  <c:v>0.0041737598801922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4445.0</c:v>
                </c:pt>
                <c:pt idx="1">
                  <c:v>3039.9231</c:v>
                </c:pt>
                <c:pt idx="2">
                  <c:v>4951.2727</c:v>
                </c:pt>
                <c:pt idx="3">
                  <c:v>3251.9286</c:v>
                </c:pt>
                <c:pt idx="4">
                  <c:v>4302.9231</c:v>
                </c:pt>
                <c:pt idx="5">
                  <c:v>4641.1818</c:v>
                </c:pt>
                <c:pt idx="6">
                  <c:v>4701.5455</c:v>
                </c:pt>
                <c:pt idx="7">
                  <c:v>4172.8889</c:v>
                </c:pt>
                <c:pt idx="8">
                  <c:v>4310.7778</c:v>
                </c:pt>
                <c:pt idx="9">
                  <c:v>4104.0</c:v>
                </c:pt>
                <c:pt idx="10">
                  <c:v>4174.0909</c:v>
                </c:pt>
                <c:pt idx="11">
                  <c:v>4106.3846</c:v>
                </c:pt>
                <c:pt idx="12">
                  <c:v>3719.0714</c:v>
                </c:pt>
                <c:pt idx="13">
                  <c:v>3675.6667</c:v>
                </c:pt>
                <c:pt idx="14">
                  <c:v>3522.4091</c:v>
                </c:pt>
                <c:pt idx="15">
                  <c:v>3724.8125</c:v>
                </c:pt>
                <c:pt idx="16">
                  <c:v>3958.3571</c:v>
                </c:pt>
                <c:pt idx="17">
                  <c:v>3547.7143</c:v>
                </c:pt>
                <c:pt idx="18">
                  <c:v>3728.375</c:v>
                </c:pt>
                <c:pt idx="19">
                  <c:v>5776.4</c:v>
                </c:pt>
                <c:pt idx="20">
                  <c:v>3983.0</c:v>
                </c:pt>
                <c:pt idx="21">
                  <c:v>4170.7778</c:v>
                </c:pt>
                <c:pt idx="22">
                  <c:v>4154.0</c:v>
                </c:pt>
                <c:pt idx="23">
                  <c:v>4980.5</c:v>
                </c:pt>
                <c:pt idx="24">
                  <c:v>3734.0</c:v>
                </c:pt>
                <c:pt idx="25">
                  <c:v>3726.3333</c:v>
                </c:pt>
                <c:pt idx="26">
                  <c:v>4393.0</c:v>
                </c:pt>
                <c:pt idx="27">
                  <c:v>4727.6</c:v>
                </c:pt>
                <c:pt idx="28">
                  <c:v>4037.2</c:v>
                </c:pt>
                <c:pt idx="29">
                  <c:v>4849.25</c:v>
                </c:pt>
                <c:pt idx="30">
                  <c:v>2902.0</c:v>
                </c:pt>
                <c:pt idx="31">
                  <c:v>4106.25</c:v>
                </c:pt>
                <c:pt idx="32">
                  <c:v>5052.0</c:v>
                </c:pt>
                <c:pt idx="33">
                  <c:v>4805.0</c:v>
                </c:pt>
                <c:pt idx="34">
                  <c:v>5186.6667</c:v>
                </c:pt>
                <c:pt idx="35">
                  <c:v>4653.8333</c:v>
                </c:pt>
                <c:pt idx="36">
                  <c:v>4755.2</c:v>
                </c:pt>
                <c:pt idx="37">
                  <c:v>3899.8571</c:v>
                </c:pt>
                <c:pt idx="38">
                  <c:v>4174.6</c:v>
                </c:pt>
                <c:pt idx="39">
                  <c:v>4023.2</c:v>
                </c:pt>
                <c:pt idx="40">
                  <c:v>5279.6</c:v>
                </c:pt>
                <c:pt idx="41">
                  <c:v>5279.6</c:v>
                </c:pt>
                <c:pt idx="42">
                  <c:v>4334.8</c:v>
                </c:pt>
                <c:pt idx="43">
                  <c:v>4411.1667</c:v>
                </c:pt>
                <c:pt idx="44">
                  <c:v>4062.25</c:v>
                </c:pt>
                <c:pt idx="45">
                  <c:v>3702.2</c:v>
                </c:pt>
                <c:pt idx="46">
                  <c:v>4266.25</c:v>
                </c:pt>
                <c:pt idx="47">
                  <c:v>4214.8889</c:v>
                </c:pt>
                <c:pt idx="48">
                  <c:v>4456.7</c:v>
                </c:pt>
                <c:pt idx="49">
                  <c:v>3993.8333</c:v>
                </c:pt>
                <c:pt idx="50">
                  <c:v>3760.1579</c:v>
                </c:pt>
                <c:pt idx="51">
                  <c:v>3884.0833</c:v>
                </c:pt>
                <c:pt idx="52">
                  <c:v>3273.0385465560107</c:v>
                </c:pt>
                <c:pt idx="53">
                  <c:v>2835.5168722505505</c:v>
                </c:pt>
                <c:pt idx="54">
                  <c:v>5333.346160861691</c:v>
                </c:pt>
              </c:numCache>
            </c:numRef>
          </c:xVal>
          <c:yVal>
            <c:numRef>
              <c:f>Sheet1!$B$135:$B$189</c:f>
              <c:numCache>
                <c:formatCode>General</c:formatCode>
                <c:ptCount val="55"/>
                <c:pt idx="0">
                  <c:v>0.004926456464499448</c:v>
                </c:pt>
                <c:pt idx="1">
                  <c:v>0.006116979517239533</c:v>
                </c:pt>
                <c:pt idx="2">
                  <c:v>0.004497491103014275</c:v>
                </c:pt>
                <c:pt idx="3">
                  <c:v>0.005937347046548649</c:v>
                </c:pt>
                <c:pt idx="4">
                  <c:v>0.005046838362964826</c:v>
                </c:pt>
                <c:pt idx="5">
                  <c:v>0.004760231430532947</c:v>
                </c:pt>
                <c:pt idx="6">
                  <c:v>0.0047090852075762635</c:v>
                </c:pt>
                <c:pt idx="7">
                  <c:v>0.0051570164697606995</c:v>
                </c:pt>
                <c:pt idx="8">
                  <c:v>0.005040183067854389</c:v>
                </c:pt>
                <c:pt idx="9">
                  <c:v>0.005215386103143688</c:v>
                </c:pt>
                <c:pt idx="10">
                  <c:v>0.005155998013967003</c:v>
                </c:pt>
                <c:pt idx="11">
                  <c:v>0.005213365629195561</c:v>
                </c:pt>
                <c:pt idx="12">
                  <c:v>0.0055415364881930525</c:v>
                </c:pt>
                <c:pt idx="13">
                  <c:v>0.005578313333607895</c:v>
                </c:pt>
                <c:pt idx="14">
                  <c:v>0.005708168650286733</c:v>
                </c:pt>
                <c:pt idx="15">
                  <c:v>0.005536672048461614</c:v>
                </c:pt>
                <c:pt idx="16">
                  <c:v>0.005338789476950431</c:v>
                </c:pt>
                <c:pt idx="17">
                  <c:v>0.005686727529196351</c:v>
                </c:pt>
                <c:pt idx="18">
                  <c:v>0.005533653538673725</c:v>
                </c:pt>
                <c:pt idx="19">
                  <c:v>0.0037983599222972744</c:v>
                </c:pt>
                <c:pt idx="20">
                  <c:v>0.005317909523307773</c:v>
                </c:pt>
                <c:pt idx="21">
                  <c:v>0.005158805206887215</c:v>
                </c:pt>
                <c:pt idx="22">
                  <c:v>0.005173021053489107</c:v>
                </c:pt>
                <c:pt idx="23">
                  <c:v>0.004472726782698889</c:v>
                </c:pt>
                <c:pt idx="24">
                  <c:v>0.005528887470587584</c:v>
                </c:pt>
                <c:pt idx="25">
                  <c:v>0.005535383473111321</c:v>
                </c:pt>
                <c:pt idx="26">
                  <c:v>0.0049705161161402115</c:v>
                </c:pt>
                <c:pt idx="27">
                  <c:v>0.004687009203851757</c:v>
                </c:pt>
                <c:pt idx="28">
                  <c:v>0.005271985809482208</c:v>
                </c:pt>
                <c:pt idx="29">
                  <c:v>0.004583935038042163</c:v>
                </c:pt>
                <c:pt idx="30">
                  <c:v>0.006233841896839807</c:v>
                </c:pt>
                <c:pt idx="31">
                  <c:v>0.005213479675909231</c:v>
                </c:pt>
                <c:pt idx="32">
                  <c:v>0.004412144761692839</c:v>
                </c:pt>
                <c:pt idx="33">
                  <c:v>0.004621428106986467</c:v>
                </c:pt>
                <c:pt idx="34">
                  <c:v>0.004298041533046469</c:v>
                </c:pt>
                <c:pt idx="35">
                  <c:v>0.004749511802018849</c:v>
                </c:pt>
                <c:pt idx="36">
                  <c:v>0.004663623696442429</c:v>
                </c:pt>
                <c:pt idx="37">
                  <c:v>0.00538835658504629</c:v>
                </c:pt>
                <c:pt idx="38">
                  <c:v>0.005155566653031419</c:v>
                </c:pt>
                <c:pt idx="39">
                  <c:v>0.0052838480233854904</c:v>
                </c:pt>
                <c:pt idx="40">
                  <c:v>0.004219299055665187</c:v>
                </c:pt>
                <c:pt idx="41">
                  <c:v>0.004219299055665187</c:v>
                </c:pt>
                <c:pt idx="42">
                  <c:v>0.005019829033938144</c:v>
                </c:pt>
                <c:pt idx="43">
                  <c:v>0.004955123453189015</c:v>
                </c:pt>
                <c:pt idx="44">
                  <c:v>0.005250760919605263</c:v>
                </c:pt>
                <c:pt idx="45">
                  <c:v>0.005555831642167898</c:v>
                </c:pt>
                <c:pt idx="46">
                  <c:v>0.005077911517014574</c:v>
                </c:pt>
                <c:pt idx="47">
                  <c:v>0.005121429828050851</c:v>
                </c:pt>
                <c:pt idx="48">
                  <c:v>0.004916543042880276</c:v>
                </c:pt>
                <c:pt idx="49">
                  <c:v>0.005308730457459314</c:v>
                </c:pt>
                <c:pt idx="50">
                  <c:v>0.005506723855940393</c:v>
                </c:pt>
                <c:pt idx="51">
                  <c:v>0.005401721741451118</c:v>
                </c:pt>
                <c:pt idx="52">
                  <c:v>0.00591946056786763</c:v>
                </c:pt>
                <c:pt idx="53">
                  <c:v>0.006290173117005752</c:v>
                </c:pt>
                <c:pt idx="54">
                  <c:v>0.0041737598801922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69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993121238177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123944860575186</c:v>
                </c:pt>
                <c:pt idx="1">
                  <c:v>1.8066130979024506</c:v>
                </c:pt>
                <c:pt idx="2">
                  <c:v>2.1112819498401127</c:v>
                </c:pt>
                <c:pt idx="3">
                  <c:v>2.199720411439744</c:v>
                </c:pt>
                <c:pt idx="4">
                  <c:v>2.1112210167361907</c:v>
                </c:pt>
                <c:pt idx="5">
                  <c:v>1.7243453777011042</c:v>
                </c:pt>
                <c:pt idx="6">
                  <c:v>1.5816263776628985</c:v>
                </c:pt>
                <c:pt idx="7">
                  <c:v>1.568849901919547</c:v>
                </c:pt>
                <c:pt idx="8">
                  <c:v>1.505796093141133</c:v>
                </c:pt>
                <c:pt idx="9">
                  <c:v>1.6905734801522274</c:v>
                </c:pt>
                <c:pt idx="10">
                  <c:v>1.7539063257397256</c:v>
                </c:pt>
                <c:pt idx="11">
                  <c:v>1.900892690242602</c:v>
                </c:pt>
                <c:pt idx="12">
                  <c:v>1.6794817079372586</c:v>
                </c:pt>
                <c:pt idx="13">
                  <c:v>1.7357305031110632</c:v>
                </c:pt>
                <c:pt idx="14">
                  <c:v>1.7203613389600703</c:v>
                </c:pt>
                <c:pt idx="15">
                  <c:v>1.6985923558026408</c:v>
                </c:pt>
                <c:pt idx="16">
                  <c:v>1.695964705882353</c:v>
                </c:pt>
                <c:pt idx="17">
                  <c:v>2.032798313442716</c:v>
                </c:pt>
                <c:pt idx="18">
                  <c:v>2.064013299462465</c:v>
                </c:pt>
                <c:pt idx="19">
                  <c:v>2.2926079759808893</c:v>
                </c:pt>
                <c:pt idx="20">
                  <c:v>2.414742293111493</c:v>
                </c:pt>
                <c:pt idx="21">
                  <c:v>2.555871069399548</c:v>
                </c:pt>
                <c:pt idx="22">
                  <c:v>2.6254281711978846</c:v>
                </c:pt>
                <c:pt idx="23">
                  <c:v>2.7781842539975687</c:v>
                </c:pt>
                <c:pt idx="24">
                  <c:v>2.725546989572822</c:v>
                </c:pt>
                <c:pt idx="25">
                  <c:v>2.4531768399272234</c:v>
                </c:pt>
                <c:pt idx="26">
                  <c:v>1.582673562107298</c:v>
                </c:pt>
                <c:pt idx="27">
                  <c:v>1.5213797806936844</c:v>
                </c:pt>
                <c:pt idx="28">
                  <c:v>1.4675580416114353</c:v>
                </c:pt>
                <c:pt idx="29">
                  <c:v>1.701365239091522</c:v>
                </c:pt>
                <c:pt idx="30">
                  <c:v>1.7262104437422217</c:v>
                </c:pt>
                <c:pt idx="31">
                  <c:v>1.6968840457492427</c:v>
                </c:pt>
                <c:pt idx="32">
                  <c:v>1.6594023597572705</c:v>
                </c:pt>
                <c:pt idx="33">
                  <c:v>1.778181404847842</c:v>
                </c:pt>
                <c:pt idx="34">
                  <c:v>1.618368383296836</c:v>
                </c:pt>
                <c:pt idx="35">
                  <c:v>1.705603310502283</c:v>
                </c:pt>
                <c:pt idx="36">
                  <c:v>1.748624104183609</c:v>
                </c:pt>
                <c:pt idx="37">
                  <c:v>1.7395542338324423</c:v>
                </c:pt>
                <c:pt idx="38">
                  <c:v>1.8857311151701446</c:v>
                </c:pt>
                <c:pt idx="39">
                  <c:v>1.9126307786189292</c:v>
                </c:pt>
                <c:pt idx="40">
                  <c:v>1.796251164596273</c:v>
                </c:pt>
                <c:pt idx="41">
                  <c:v>1.8029478771796816</c:v>
                </c:pt>
                <c:pt idx="42">
                  <c:v>1.9687241207765198</c:v>
                </c:pt>
                <c:pt idx="43">
                  <c:v>1.8899705205181214</c:v>
                </c:pt>
                <c:pt idx="44">
                  <c:v>1.6130608762363365</c:v>
                </c:pt>
                <c:pt idx="45">
                  <c:v>1.4520406303160127</c:v>
                </c:pt>
                <c:pt idx="46">
                  <c:v>1.6764357463965769</c:v>
                </c:pt>
                <c:pt idx="47">
                  <c:v>1.665244431742115</c:v>
                </c:pt>
                <c:pt idx="48">
                  <c:v>1.6957683315451197</c:v>
                </c:pt>
                <c:pt idx="49">
                  <c:v>1.6748971804229775</c:v>
                </c:pt>
                <c:pt idx="50">
                  <c:v>1.5934697586146782</c:v>
                </c:pt>
                <c:pt idx="51">
                  <c:v>1.6519497525127615</c:v>
                </c:pt>
                <c:pt idx="52">
                  <c:v>1.729417902877304</c:v>
                </c:pt>
                <c:pt idx="53">
                  <c:v>1.9163862145591517</c:v>
                </c:pt>
                <c:pt idx="54">
                  <c:v>2.058922935380015</c:v>
                </c:pt>
                <c:pt idx="55">
                  <c:v>1.90855454431701</c:v>
                </c:pt>
                <c:pt idx="56">
                  <c:v>1.9431686168574869</c:v>
                </c:pt>
                <c:pt idx="57">
                  <c:v>1.8972155316916894</c:v>
                </c:pt>
                <c:pt idx="58">
                  <c:v>2.0400211671036024</c:v>
                </c:pt>
                <c:pt idx="59">
                  <c:v>2.0280723276539723</c:v>
                </c:pt>
                <c:pt idx="60">
                  <c:v>1.971080364864838</c:v>
                </c:pt>
                <c:pt idx="61">
                  <c:v>2.0809480541475307</c:v>
                </c:pt>
                <c:pt idx="62">
                  <c:v>2.076343465983985</c:v>
                </c:pt>
                <c:pt idx="63">
                  <c:v>2.125524978861084</c:v>
                </c:pt>
                <c:pt idx="64">
                  <c:v>2.0372219731118677</c:v>
                </c:pt>
                <c:pt idx="65">
                  <c:v>1.9441881787218227</c:v>
                </c:pt>
                <c:pt idx="66">
                  <c:v>2.0386889030734032</c:v>
                </c:pt>
                <c:pt idx="67">
                  <c:v>2.166983023314267</c:v>
                </c:pt>
                <c:pt idx="68">
                  <c:v>2.182303593477119</c:v>
                </c:pt>
                <c:pt idx="69">
                  <c:v>2.2243464182787647</c:v>
                </c:pt>
                <c:pt idx="70">
                  <c:v>2.058472413226631</c:v>
                </c:pt>
                <c:pt idx="71">
                  <c:v>2.147902905736177</c:v>
                </c:pt>
                <c:pt idx="72">
                  <c:v>2.389305121458179</c:v>
                </c:pt>
                <c:pt idx="73">
                  <c:v>2.4963493396442473</c:v>
                </c:pt>
                <c:pt idx="74">
                  <c:v>2.326340107516072</c:v>
                </c:pt>
                <c:pt idx="75">
                  <c:v>2.225781678061738</c:v>
                </c:pt>
                <c:pt idx="76">
                  <c:v>2.1608375257933377</c:v>
                </c:pt>
                <c:pt idx="77">
                  <c:v>2.0685672243499296</c:v>
                </c:pt>
                <c:pt idx="78">
                  <c:v>2.509029235225318</c:v>
                </c:pt>
                <c:pt idx="79">
                  <c:v>2.609874120933748</c:v>
                </c:pt>
                <c:pt idx="80">
                  <c:v>2.473269448362122</c:v>
                </c:pt>
                <c:pt idx="81">
                  <c:v>2.166366129158283</c:v>
                </c:pt>
                <c:pt idx="82">
                  <c:v>2.191133682808879</c:v>
                </c:pt>
                <c:pt idx="83">
                  <c:v>2.1919178416592</c:v>
                </c:pt>
                <c:pt idx="84">
                  <c:v>2.3000229952886784</c:v>
                </c:pt>
                <c:pt idx="85">
                  <c:v>2.4890413787073253</c:v>
                </c:pt>
                <c:pt idx="86">
                  <c:v>2.5701666440680686</c:v>
                </c:pt>
                <c:pt idx="87">
                  <c:v>2.498310567134715</c:v>
                </c:pt>
                <c:pt idx="88">
                  <c:v>2.5587348498612923</c:v>
                </c:pt>
                <c:pt idx="89">
                  <c:v>2.345153187436501</c:v>
                </c:pt>
                <c:pt idx="90">
                  <c:v>2.5155876696909756</c:v>
                </c:pt>
                <c:pt idx="91">
                  <c:v>2.612826376082314</c:v>
                </c:pt>
                <c:pt idx="92">
                  <c:v>2.3345505945401728</c:v>
                </c:pt>
                <c:pt idx="93">
                  <c:v>2.040425337077307</c:v>
                </c:pt>
                <c:pt idx="94">
                  <c:v>2.088303732209587</c:v>
                </c:pt>
                <c:pt idx="95">
                  <c:v>1.7069120783683898</c:v>
                </c:pt>
                <c:pt idx="96">
                  <c:v>1.6347846333019342</c:v>
                </c:pt>
                <c:pt idx="97">
                  <c:v>1.646203550150105</c:v>
                </c:pt>
                <c:pt idx="98">
                  <c:v>1.608900720813382</c:v>
                </c:pt>
                <c:pt idx="99">
                  <c:v>1.5499689154619547</c:v>
                </c:pt>
                <c:pt idx="100">
                  <c:v>1.491666472398609</c:v>
                </c:pt>
                <c:pt idx="101">
                  <c:v>1.5310491697179345</c:v>
                </c:pt>
                <c:pt idx="102">
                  <c:v>1.6038575842114802</c:v>
                </c:pt>
                <c:pt idx="103">
                  <c:v>1.606726555384471</c:v>
                </c:pt>
                <c:pt idx="104">
                  <c:v>1.6429408645117256</c:v>
                </c:pt>
              </c:numCache>
            </c:numRef>
          </c:xVal>
          <c:yVal>
            <c:numRef>
              <c:f>Sheet1!$B$2:$B$106</c:f>
              <c:numCache>
                <c:formatCode>General</c:formatCode>
                <c:ptCount val="105"/>
                <c:pt idx="0">
                  <c:v>0.32</c:v>
                </c:pt>
                <c:pt idx="1">
                  <c:v>0.3048327137546468</c:v>
                </c:pt>
                <c:pt idx="2">
                  <c:v>0.2972027972027972</c:v>
                </c:pt>
                <c:pt idx="3">
                  <c:v>0.31985294117647056</c:v>
                </c:pt>
                <c:pt idx="4">
                  <c:v>0.3629976580796253</c:v>
                </c:pt>
                <c:pt idx="5">
                  <c:v>0.3886363636363636</c:v>
                </c:pt>
                <c:pt idx="6">
                  <c:v>0.4448669201520912</c:v>
                </c:pt>
                <c:pt idx="7">
                  <c:v>0.41686746987951806</c:v>
                </c:pt>
                <c:pt idx="8">
                  <c:v>0.34545454545454546</c:v>
                </c:pt>
                <c:pt idx="9">
                  <c:v>0.3443478260869565</c:v>
                </c:pt>
                <c:pt idx="10">
                  <c:v>0.3167808219178082</c:v>
                </c:pt>
                <c:pt idx="11">
                  <c:v>0.34104046242774566</c:v>
                </c:pt>
                <c:pt idx="12">
                  <c:v>0.3621621621621622</c:v>
                </c:pt>
                <c:pt idx="13">
                  <c:v>0.279383429672447</c:v>
                </c:pt>
                <c:pt idx="14">
                  <c:v>0.3030973451327434</c:v>
                </c:pt>
                <c:pt idx="15">
                  <c:v>0.3383084577114428</c:v>
                </c:pt>
                <c:pt idx="16">
                  <c:v>0.38323353293413176</c:v>
                </c:pt>
                <c:pt idx="17">
                  <c:v>0.29435483870967744</c:v>
                </c:pt>
                <c:pt idx="18">
                  <c:v>0.3434343434343434</c:v>
                </c:pt>
                <c:pt idx="19">
                  <c:v>0.391304347826087</c:v>
                </c:pt>
                <c:pt idx="20">
                  <c:v>0.35135135135135137</c:v>
                </c:pt>
                <c:pt idx="21">
                  <c:v>0.31</c:v>
                </c:pt>
                <c:pt idx="22">
                  <c:v>0.32460732984293195</c:v>
                </c:pt>
                <c:pt idx="23">
                  <c:v>0.291970802919708</c:v>
                </c:pt>
                <c:pt idx="24">
                  <c:v>0.33146067415730335</c:v>
                </c:pt>
                <c:pt idx="25">
                  <c:v>0.33116883116883117</c:v>
                </c:pt>
                <c:pt idx="26">
                  <c:v>0.36942675159235666</c:v>
                </c:pt>
                <c:pt idx="27">
                  <c:v>0.39751552795031053</c:v>
                </c:pt>
                <c:pt idx="28">
                  <c:v>0.3829787234042553</c:v>
                </c:pt>
                <c:pt idx="29">
                  <c:v>0.34108527131782945</c:v>
                </c:pt>
                <c:pt idx="30">
                  <c:v>0.34523809523809523</c:v>
                </c:pt>
                <c:pt idx="31">
                  <c:v>0.38461538461538464</c:v>
                </c:pt>
                <c:pt idx="32">
                  <c:v>0.336283185840708</c:v>
                </c:pt>
                <c:pt idx="33">
                  <c:v>0.2876712328767123</c:v>
                </c:pt>
                <c:pt idx="34">
                  <c:v>0.319672131147541</c:v>
                </c:pt>
                <c:pt idx="35">
                  <c:v>0.3049645390070922</c:v>
                </c:pt>
                <c:pt idx="36">
                  <c:v>0.3050847457627119</c:v>
                </c:pt>
                <c:pt idx="37">
                  <c:v>0.2631578947368421</c:v>
                </c:pt>
                <c:pt idx="38">
                  <c:v>0.2920353982300885</c:v>
                </c:pt>
                <c:pt idx="39">
                  <c:v>0.35294117647058826</c:v>
                </c:pt>
                <c:pt idx="40">
                  <c:v>0.328125</c:v>
                </c:pt>
                <c:pt idx="41">
                  <c:v>0.30357142857142855</c:v>
                </c:pt>
                <c:pt idx="42">
                  <c:v>0.2421875</c:v>
                </c:pt>
                <c:pt idx="43">
                  <c:v>0.24299065420560748</c:v>
                </c:pt>
                <c:pt idx="44">
                  <c:v>0.31756756756756754</c:v>
                </c:pt>
                <c:pt idx="45">
                  <c:v>0.31906614785992216</c:v>
                </c:pt>
                <c:pt idx="46">
                  <c:v>0.29024390243902437</c:v>
                </c:pt>
                <c:pt idx="47">
                  <c:v>0.2594142259414226</c:v>
                </c:pt>
                <c:pt idx="48">
                  <c:v>0.24198250728862974</c:v>
                </c:pt>
                <c:pt idx="49">
                  <c:v>0.2231800766283525</c:v>
                </c:pt>
                <c:pt idx="50">
                  <c:v>0.22695035460992907</c:v>
                </c:pt>
                <c:pt idx="51">
                  <c:v>0.22246696035242292</c:v>
                </c:pt>
                <c:pt idx="52">
                  <c:v>0.21269296740994853</c:v>
                </c:pt>
                <c:pt idx="53">
                  <c:v>0.20486815415821502</c:v>
                </c:pt>
                <c:pt idx="54">
                  <c:v>0.23706896551724138</c:v>
                </c:pt>
                <c:pt idx="55">
                  <c:v>0.2696629213483146</c:v>
                </c:pt>
                <c:pt idx="56">
                  <c:v>0.23123732251521298</c:v>
                </c:pt>
                <c:pt idx="57">
                  <c:v>0.2553191489361702</c:v>
                </c:pt>
                <c:pt idx="58">
                  <c:v>0.2305593451568895</c:v>
                </c:pt>
                <c:pt idx="59">
                  <c:v>0.27226277372262775</c:v>
                </c:pt>
                <c:pt idx="60">
                  <c:v>0.3095599393019727</c:v>
                </c:pt>
                <c:pt idx="61">
                  <c:v>0.2791519434628975</c:v>
                </c:pt>
                <c:pt idx="62">
                  <c:v>0.2608187134502924</c:v>
                </c:pt>
                <c:pt idx="63">
                  <c:v>0.2850146914789422</c:v>
                </c:pt>
                <c:pt idx="64">
                  <c:v>0.27424400417101147</c:v>
                </c:pt>
                <c:pt idx="65">
                  <c:v>0.25925925925925924</c:v>
                </c:pt>
                <c:pt idx="66">
                  <c:v>0.2758132956152758</c:v>
                </c:pt>
                <c:pt idx="67">
                  <c:v>0.2802653399668325</c:v>
                </c:pt>
                <c:pt idx="68">
                  <c:v>0.25769230769230766</c:v>
                </c:pt>
                <c:pt idx="69">
                  <c:v>0.27298050139275765</c:v>
                </c:pt>
                <c:pt idx="70">
                  <c:v>0.28211586901763225</c:v>
                </c:pt>
                <c:pt idx="71">
                  <c:v>0.3151862464183381</c:v>
                </c:pt>
                <c:pt idx="72">
                  <c:v>0.2746268656716418</c:v>
                </c:pt>
                <c:pt idx="73">
                  <c:v>0.2746478873239437</c:v>
                </c:pt>
                <c:pt idx="74">
                  <c:v>0.2838283828382838</c:v>
                </c:pt>
                <c:pt idx="75">
                  <c:v>0.34579439252336447</c:v>
                </c:pt>
                <c:pt idx="76">
                  <c:v>0.35602094240837695</c:v>
                </c:pt>
                <c:pt idx="77">
                  <c:v>0.37755102040816324</c:v>
                </c:pt>
                <c:pt idx="78">
                  <c:v>0.3184713375796178</c:v>
                </c:pt>
                <c:pt idx="79">
                  <c:v>0.30985915492957744</c:v>
                </c:pt>
                <c:pt idx="80">
                  <c:v>0.3049645390070922</c:v>
                </c:pt>
                <c:pt idx="81">
                  <c:v>0.3064516129032258</c:v>
                </c:pt>
                <c:pt idx="82">
                  <c:v>0.2777777777777778</c:v>
                </c:pt>
                <c:pt idx="83">
                  <c:v>0.3416666666666667</c:v>
                </c:pt>
                <c:pt idx="84">
                  <c:v>0.33043478260869563</c:v>
                </c:pt>
                <c:pt idx="85">
                  <c:v>0.2857142857142857</c:v>
                </c:pt>
                <c:pt idx="86">
                  <c:v>0.31386861313868614</c:v>
                </c:pt>
                <c:pt idx="87">
                  <c:v>0.3167701863354037</c:v>
                </c:pt>
                <c:pt idx="88">
                  <c:v>0.2767857142857143</c:v>
                </c:pt>
                <c:pt idx="89">
                  <c:v>0.32727272727272727</c:v>
                </c:pt>
                <c:pt idx="90">
                  <c:v>0.29</c:v>
                </c:pt>
                <c:pt idx="91">
                  <c:v>0.23893805309734514</c:v>
                </c:pt>
                <c:pt idx="92">
                  <c:v>0.26900584795321636</c:v>
                </c:pt>
                <c:pt idx="93">
                  <c:v>0.2847682119205298</c:v>
                </c:pt>
                <c:pt idx="94">
                  <c:v>0.2549019607843137</c:v>
                </c:pt>
                <c:pt idx="95">
                  <c:v>0.31004366812227074</c:v>
                </c:pt>
                <c:pt idx="96">
                  <c:v>0.30294906166219837</c:v>
                </c:pt>
                <c:pt idx="97">
                  <c:v>0.2872628726287263</c:v>
                </c:pt>
                <c:pt idx="98">
                  <c:v>0.3212669683257919</c:v>
                </c:pt>
                <c:pt idx="99">
                  <c:v>0.3181818181818182</c:v>
                </c:pt>
                <c:pt idx="100">
                  <c:v>0.29073482428115016</c:v>
                </c:pt>
                <c:pt idx="101">
                  <c:v>0.2896281800391389</c:v>
                </c:pt>
                <c:pt idx="102">
                  <c:v>0.3448275862068966</c:v>
                </c:pt>
                <c:pt idx="103">
                  <c:v>0.2818181818181818</c:v>
                </c:pt>
                <c:pt idx="104">
                  <c:v>0.3067915690866510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622595484403293</c:v>
                </c:pt>
                <c:pt idx="1">
                  <c:v>1.6361151024395975</c:v>
                </c:pt>
                <c:pt idx="2">
                  <c:v>1.529481590034805</c:v>
                </c:pt>
                <c:pt idx="3">
                  <c:v>1.5149204512876862</c:v>
                </c:pt>
                <c:pt idx="4">
                  <c:v>1.6594450756443224</c:v>
                </c:pt>
                <c:pt idx="5">
                  <c:v>1.617354636217794</c:v>
                </c:pt>
                <c:pt idx="6">
                  <c:v>1.6238277248863136</c:v>
                </c:pt>
                <c:pt idx="7">
                  <c:v>1.7805136284125307</c:v>
                </c:pt>
                <c:pt idx="8">
                  <c:v>1.8936592825715566</c:v>
                </c:pt>
                <c:pt idx="9">
                  <c:v>1.8892131315743996</c:v>
                </c:pt>
                <c:pt idx="10">
                  <c:v>1.8176707291570204</c:v>
                </c:pt>
                <c:pt idx="11">
                  <c:v>1.6899250929364453</c:v>
                </c:pt>
                <c:pt idx="12">
                  <c:v>1.6845607808340726</c:v>
                </c:pt>
                <c:pt idx="13">
                  <c:v>1.8861196880695092</c:v>
                </c:pt>
                <c:pt idx="14">
                  <c:v>1.8057165021014039</c:v>
                </c:pt>
                <c:pt idx="15">
                  <c:v>1.8402804049423331</c:v>
                </c:pt>
                <c:pt idx="16">
                  <c:v>1.9720968265954473</c:v>
                </c:pt>
                <c:pt idx="17">
                  <c:v>1.9437513800599768</c:v>
                </c:pt>
                <c:pt idx="18">
                  <c:v>2.056588305304831</c:v>
                </c:pt>
                <c:pt idx="19">
                  <c:v>1.9872663369260861</c:v>
                </c:pt>
                <c:pt idx="20">
                  <c:v>1.8034408334010685</c:v>
                </c:pt>
                <c:pt idx="21">
                  <c:v>1.6379138666145119</c:v>
                </c:pt>
                <c:pt idx="22">
                  <c:v>1.4602867377856332</c:v>
                </c:pt>
                <c:pt idx="23">
                  <c:v>1.8224704529873685</c:v>
                </c:pt>
                <c:pt idx="24">
                  <c:v>1.886280048789109</c:v>
                </c:pt>
                <c:pt idx="25">
                  <c:v>1.667139598246756</c:v>
                </c:pt>
                <c:pt idx="26">
                  <c:v>1.759968238187559</c:v>
                </c:pt>
                <c:pt idx="27">
                  <c:v>1.772483212081219</c:v>
                </c:pt>
                <c:pt idx="28">
                  <c:v>1.8013510981912144</c:v>
                </c:pt>
                <c:pt idx="29">
                  <c:v>1.7208645984125268</c:v>
                </c:pt>
                <c:pt idx="30">
                  <c:v>1.8621777098339323</c:v>
                </c:pt>
                <c:pt idx="31">
                  <c:v>1.6986867174330131</c:v>
                </c:pt>
                <c:pt idx="32">
                  <c:v>1.9149771126495276</c:v>
                </c:pt>
                <c:pt idx="33">
                  <c:v>2.027654710413073</c:v>
                </c:pt>
                <c:pt idx="34">
                  <c:v>1.903653062322963</c:v>
                </c:pt>
                <c:pt idx="35">
                  <c:v>1.816041267414348</c:v>
                </c:pt>
                <c:pt idx="36">
                  <c:v>1.7788130917142224</c:v>
                </c:pt>
                <c:pt idx="37">
                  <c:v>1.9657232629427792</c:v>
                </c:pt>
                <c:pt idx="38">
                  <c:v>1.9257095666394113</c:v>
                </c:pt>
                <c:pt idx="39">
                  <c:v>1.8248723004039182</c:v>
                </c:pt>
                <c:pt idx="40">
                  <c:v>1.7574322631998305</c:v>
                </c:pt>
                <c:pt idx="41">
                  <c:v>1.9396192000572228</c:v>
                </c:pt>
                <c:pt idx="42">
                  <c:v>1.9846499774901198</c:v>
                </c:pt>
                <c:pt idx="43">
                  <c:v>1.822147788913445</c:v>
                </c:pt>
                <c:pt idx="44">
                  <c:v>1.9120614909712292</c:v>
                </c:pt>
                <c:pt idx="45">
                  <c:v>1.839106335236868</c:v>
                </c:pt>
                <c:pt idx="46">
                  <c:v>1.8960071949705843</c:v>
                </c:pt>
                <c:pt idx="47">
                  <c:v>1.888368865175865</c:v>
                </c:pt>
                <c:pt idx="48">
                  <c:v>1.9188805779712346</c:v>
                </c:pt>
                <c:pt idx="49">
                  <c:v>1.897893724279737</c:v>
                </c:pt>
                <c:pt idx="50">
                  <c:v>1.6317797328697332</c:v>
                </c:pt>
                <c:pt idx="51">
                  <c:v>1.7050822836545565</c:v>
                </c:pt>
              </c:numCache>
            </c:numRef>
          </c:xVal>
          <c:yVal>
            <c:numRef>
              <c:f>Sheet1!$B$109:$B$160</c:f>
              <c:numCache>
                <c:formatCode>General</c:formatCode>
                <c:ptCount val="52"/>
                <c:pt idx="0">
                  <c:v>0.2950530035335689</c:v>
                </c:pt>
                <c:pt idx="1">
                  <c:v>0.2808219178082192</c:v>
                </c:pt>
                <c:pt idx="2">
                  <c:v>0.31790123456790126</c:v>
                </c:pt>
                <c:pt idx="3">
                  <c:v>0.32947232947232946</c:v>
                </c:pt>
                <c:pt idx="4">
                  <c:v>0.3074792243767313</c:v>
                </c:pt>
                <c:pt idx="5">
                  <c:v>0.32272727272727275</c:v>
                </c:pt>
                <c:pt idx="6">
                  <c:v>0.30694275274056027</c:v>
                </c:pt>
                <c:pt idx="7">
                  <c:v>0.29017857142857145</c:v>
                </c:pt>
                <c:pt idx="8">
                  <c:v>0.2674897119341564</c:v>
                </c:pt>
                <c:pt idx="9">
                  <c:v>0.28305400372439476</c:v>
                </c:pt>
                <c:pt idx="10">
                  <c:v>0.30648330058939094</c:v>
                </c:pt>
                <c:pt idx="11">
                  <c:v>0.2690863579474343</c:v>
                </c:pt>
                <c:pt idx="12">
                  <c:v>0.256</c:v>
                </c:pt>
                <c:pt idx="13">
                  <c:v>0.26993865030674846</c:v>
                </c:pt>
                <c:pt idx="14">
                  <c:v>0.26902654867256637</c:v>
                </c:pt>
                <c:pt idx="15">
                  <c:v>0.2925311203319502</c:v>
                </c:pt>
                <c:pt idx="16">
                  <c:v>0.31007751937984496</c:v>
                </c:pt>
                <c:pt idx="17">
                  <c:v>0.3117283950617284</c:v>
                </c:pt>
                <c:pt idx="18">
                  <c:v>0.3448275862068966</c:v>
                </c:pt>
                <c:pt idx="19">
                  <c:v>0.2975206611570248</c:v>
                </c:pt>
                <c:pt idx="20">
                  <c:v>0.2857142857142857</c:v>
                </c:pt>
                <c:pt idx="21">
                  <c:v>0.32063492063492066</c:v>
                </c:pt>
                <c:pt idx="22">
                  <c:v>0.31339031339031337</c:v>
                </c:pt>
                <c:pt idx="23">
                  <c:v>0.2607003891050584</c:v>
                </c:pt>
                <c:pt idx="24">
                  <c:v>0.24347826086956523</c:v>
                </c:pt>
                <c:pt idx="25">
                  <c:v>0.2669683257918552</c:v>
                </c:pt>
                <c:pt idx="26">
                  <c:v>0.26635514018691586</c:v>
                </c:pt>
                <c:pt idx="27">
                  <c:v>0.30851063829787234</c:v>
                </c:pt>
                <c:pt idx="28">
                  <c:v>0.327683615819209</c:v>
                </c:pt>
                <c:pt idx="29">
                  <c:v>0.3103448275862069</c:v>
                </c:pt>
                <c:pt idx="30">
                  <c:v>0.3181818181818182</c:v>
                </c:pt>
                <c:pt idx="31">
                  <c:v>0.32989690721649484</c:v>
                </c:pt>
                <c:pt idx="32">
                  <c:v>0.29411764705882354</c:v>
                </c:pt>
                <c:pt idx="33">
                  <c:v>0.2692307692307692</c:v>
                </c:pt>
                <c:pt idx="34">
                  <c:v>0.2553191489361702</c:v>
                </c:pt>
                <c:pt idx="35">
                  <c:v>0.2536231884057971</c:v>
                </c:pt>
                <c:pt idx="36">
                  <c:v>0.18823529411764706</c:v>
                </c:pt>
                <c:pt idx="37">
                  <c:v>0.2018348623853211</c:v>
                </c:pt>
                <c:pt idx="38">
                  <c:v>0.19811320754716982</c:v>
                </c:pt>
                <c:pt idx="39">
                  <c:v>0.16184971098265896</c:v>
                </c:pt>
                <c:pt idx="40">
                  <c:v>0.20080321285140562</c:v>
                </c:pt>
                <c:pt idx="41">
                  <c:v>0.1935483870967742</c:v>
                </c:pt>
                <c:pt idx="42">
                  <c:v>0.24342105263157895</c:v>
                </c:pt>
                <c:pt idx="43">
                  <c:v>0.2089041095890411</c:v>
                </c:pt>
                <c:pt idx="44">
                  <c:v>0.21754385964912282</c:v>
                </c:pt>
                <c:pt idx="45">
                  <c:v>0.2383177570093458</c:v>
                </c:pt>
                <c:pt idx="46">
                  <c:v>0.2508038585209003</c:v>
                </c:pt>
                <c:pt idx="47">
                  <c:v>0.25</c:v>
                </c:pt>
                <c:pt idx="48">
                  <c:v>0.3020257826887661</c:v>
                </c:pt>
                <c:pt idx="49">
                  <c:v>0.25375626043405675</c:v>
                </c:pt>
                <c:pt idx="50">
                  <c:v>0.25</c:v>
                </c:pt>
                <c:pt idx="51">
                  <c:v>0.257088846880907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914302053287672</c:v>
                </c:pt>
              </c:numCache>
            </c:numRef>
          </c:xVal>
          <c:yVal>
            <c:numRef>
              <c:f>Sheet1!$B$163:$B$164</c:f>
              <c:numCache>
                <c:formatCode>General</c:formatCode>
                <c:ptCount val="2"/>
                <c:pt idx="0">
                  <c:v>0.35563460103733985</c:v>
                </c:pt>
                <c:pt idx="1">
                  <c:v>0.355634601037339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914302053287672</c:v>
                </c:pt>
                <c:pt idx="1">
                  <c:v>0.8914302053287672</c:v>
                </c:pt>
              </c:numCache>
            </c:numRef>
          </c:xVal>
          <c:yVal>
            <c:numRef>
              <c:f>Sheet1!$B$167:$B$168</c:f>
              <c:numCache>
                <c:formatCode>General</c:formatCode>
                <c:ptCount val="2"/>
                <c:pt idx="0">
                  <c:v>0.355634601037339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790115814842948</c:v>
                </c:pt>
              </c:numCache>
            </c:numRef>
          </c:xVal>
          <c:yVal>
            <c:numRef>
              <c:f>Sheet1!$B$171:$B$172</c:f>
              <c:numCache>
                <c:formatCode>General</c:formatCode>
                <c:ptCount val="2"/>
                <c:pt idx="0">
                  <c:v>0.3020073353988123</c:v>
                </c:pt>
                <c:pt idx="1">
                  <c:v>0.30200733539881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790115814842948</c:v>
                </c:pt>
                <c:pt idx="1">
                  <c:v>1.4790115814842948</c:v>
                </c:pt>
              </c:numCache>
            </c:numRef>
          </c:xVal>
          <c:yVal>
            <c:numRef>
              <c:f>Sheet1!$B$175:$B$176</c:f>
              <c:numCache>
                <c:formatCode>General</c:formatCode>
                <c:ptCount val="2"/>
                <c:pt idx="0">
                  <c:v>0.30200733539881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2358986421961164</c:v>
                </c:pt>
              </c:numCache>
            </c:numRef>
          </c:xVal>
          <c:yVal>
            <c:numRef>
              <c:f>Sheet1!$B$179:$B$180</c:f>
              <c:numCache>
                <c:formatCode>General</c:formatCode>
                <c:ptCount val="2"/>
                <c:pt idx="0">
                  <c:v>0.2329279106411198</c:v>
                </c:pt>
                <c:pt idx="1">
                  <c:v>0.23292791064111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2358986421961164</c:v>
                </c:pt>
                <c:pt idx="1">
                  <c:v>2.2358986421961164</c:v>
                </c:pt>
              </c:numCache>
            </c:numRef>
          </c:xVal>
          <c:yVal>
            <c:numRef>
              <c:f>Sheet1!$B$183:$B$184</c:f>
              <c:numCache>
                <c:formatCode>General</c:formatCode>
                <c:ptCount val="2"/>
                <c:pt idx="0">
                  <c:v>0.23292791064111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622595484403293</c:v>
                </c:pt>
                <c:pt idx="1">
                  <c:v>1.6361151024395975</c:v>
                </c:pt>
                <c:pt idx="2">
                  <c:v>1.529481590034805</c:v>
                </c:pt>
                <c:pt idx="3">
                  <c:v>1.5149204512876862</c:v>
                </c:pt>
                <c:pt idx="4">
                  <c:v>1.6594450756443224</c:v>
                </c:pt>
                <c:pt idx="5">
                  <c:v>1.617354636217794</c:v>
                </c:pt>
                <c:pt idx="6">
                  <c:v>1.6238277248863136</c:v>
                </c:pt>
                <c:pt idx="7">
                  <c:v>1.7805136284125307</c:v>
                </c:pt>
                <c:pt idx="8">
                  <c:v>1.8936592825715566</c:v>
                </c:pt>
                <c:pt idx="9">
                  <c:v>1.8892131315743996</c:v>
                </c:pt>
                <c:pt idx="10">
                  <c:v>1.8176707291570204</c:v>
                </c:pt>
                <c:pt idx="11">
                  <c:v>1.6899250929364453</c:v>
                </c:pt>
                <c:pt idx="12">
                  <c:v>1.6845607808340726</c:v>
                </c:pt>
                <c:pt idx="13">
                  <c:v>1.8861196880695092</c:v>
                </c:pt>
                <c:pt idx="14">
                  <c:v>1.8057165021014039</c:v>
                </c:pt>
                <c:pt idx="15">
                  <c:v>1.8402804049423331</c:v>
                </c:pt>
                <c:pt idx="16">
                  <c:v>1.9720968265954473</c:v>
                </c:pt>
                <c:pt idx="17">
                  <c:v>1.9437513800599768</c:v>
                </c:pt>
                <c:pt idx="18">
                  <c:v>2.056588305304831</c:v>
                </c:pt>
                <c:pt idx="19">
                  <c:v>1.9872663369260861</c:v>
                </c:pt>
                <c:pt idx="20">
                  <c:v>1.8034408334010685</c:v>
                </c:pt>
                <c:pt idx="21">
                  <c:v>1.6379138666145119</c:v>
                </c:pt>
                <c:pt idx="22">
                  <c:v>1.4602867377856332</c:v>
                </c:pt>
                <c:pt idx="23">
                  <c:v>1.8224704529873685</c:v>
                </c:pt>
                <c:pt idx="24">
                  <c:v>1.886280048789109</c:v>
                </c:pt>
                <c:pt idx="25">
                  <c:v>1.667139598246756</c:v>
                </c:pt>
                <c:pt idx="26">
                  <c:v>1.759968238187559</c:v>
                </c:pt>
                <c:pt idx="27">
                  <c:v>1.772483212081219</c:v>
                </c:pt>
                <c:pt idx="28">
                  <c:v>1.8013510981912144</c:v>
                </c:pt>
                <c:pt idx="29">
                  <c:v>1.7208645984125268</c:v>
                </c:pt>
                <c:pt idx="30">
                  <c:v>1.8621777098339323</c:v>
                </c:pt>
                <c:pt idx="31">
                  <c:v>1.6986867174330131</c:v>
                </c:pt>
                <c:pt idx="32">
                  <c:v>1.9149771126495276</c:v>
                </c:pt>
                <c:pt idx="33">
                  <c:v>2.027654710413073</c:v>
                </c:pt>
                <c:pt idx="34">
                  <c:v>1.903653062322963</c:v>
                </c:pt>
                <c:pt idx="35">
                  <c:v>1.816041267414348</c:v>
                </c:pt>
                <c:pt idx="36">
                  <c:v>1.7788130917142224</c:v>
                </c:pt>
                <c:pt idx="37">
                  <c:v>1.9657232629427792</c:v>
                </c:pt>
                <c:pt idx="38">
                  <c:v>1.9257095666394113</c:v>
                </c:pt>
                <c:pt idx="39">
                  <c:v>1.8248723004039182</c:v>
                </c:pt>
                <c:pt idx="40">
                  <c:v>1.7574322631998305</c:v>
                </c:pt>
                <c:pt idx="41">
                  <c:v>1.9396192000572228</c:v>
                </c:pt>
                <c:pt idx="42">
                  <c:v>1.9846499774901198</c:v>
                </c:pt>
                <c:pt idx="43">
                  <c:v>1.822147788913445</c:v>
                </c:pt>
                <c:pt idx="44">
                  <c:v>1.9120614909712292</c:v>
                </c:pt>
                <c:pt idx="45">
                  <c:v>1.839106335236868</c:v>
                </c:pt>
                <c:pt idx="46">
                  <c:v>1.8960071949705843</c:v>
                </c:pt>
                <c:pt idx="47">
                  <c:v>1.888368865175865</c:v>
                </c:pt>
                <c:pt idx="48">
                  <c:v>1.9188805779712346</c:v>
                </c:pt>
                <c:pt idx="49">
                  <c:v>1.897893724279737</c:v>
                </c:pt>
                <c:pt idx="50">
                  <c:v>1.6317797328697332</c:v>
                </c:pt>
                <c:pt idx="51">
                  <c:v>1.7050822836545565</c:v>
                </c:pt>
                <c:pt idx="52">
                  <c:v>1.4790115814842948</c:v>
                </c:pt>
                <c:pt idx="53">
                  <c:v>0.8914302053287672</c:v>
                </c:pt>
                <c:pt idx="54">
                  <c:v>2.2358986421961164</c:v>
                </c:pt>
              </c:numCache>
            </c:numRef>
          </c:xVal>
          <c:yVal>
            <c:numRef>
              <c:f>Sheet1!$B$187:$B$241</c:f>
              <c:numCache>
                <c:formatCode>General</c:formatCode>
                <c:ptCount val="55"/>
                <c:pt idx="0">
                  <c:v>0.2852826946929261</c:v>
                </c:pt>
                <c:pt idx="1">
                  <c:v>0.2876688410337561</c:v>
                </c:pt>
                <c:pt idx="2">
                  <c:v>0.297401048227109</c:v>
                </c:pt>
                <c:pt idx="3">
                  <c:v>0.2987300114776129</c:v>
                </c:pt>
                <c:pt idx="4">
                  <c:v>0.28553956546247194</c:v>
                </c:pt>
                <c:pt idx="5">
                  <c:v>0.2893810677080627</c:v>
                </c:pt>
                <c:pt idx="6">
                  <c:v>0.2887902830787069</c:v>
                </c:pt>
                <c:pt idx="7">
                  <c:v>0.2744899037419918</c:v>
                </c:pt>
                <c:pt idx="8">
                  <c:v>0.2641633476296602</c:v>
                </c:pt>
                <c:pt idx="9">
                  <c:v>0.2645691380959163</c:v>
                </c:pt>
                <c:pt idx="10">
                  <c:v>0.27109865651591414</c:v>
                </c:pt>
                <c:pt idx="11">
                  <c:v>0.28275772102300667</c:v>
                </c:pt>
                <c:pt idx="12">
                  <c:v>0.28324731004293807</c:v>
                </c:pt>
                <c:pt idx="13">
                  <c:v>0.26485146991123</c:v>
                </c:pt>
                <c:pt idx="14">
                  <c:v>0.27218969264440634</c:v>
                </c:pt>
                <c:pt idx="15">
                  <c:v>0.2690351209129426</c:v>
                </c:pt>
                <c:pt idx="16">
                  <c:v>0.25700452473277946</c:v>
                </c:pt>
                <c:pt idx="17">
                  <c:v>0.259591551573123</c:v>
                </c:pt>
                <c:pt idx="18">
                  <c:v>0.24929317247279772</c:v>
                </c:pt>
                <c:pt idx="19">
                  <c:v>0.25562003673993294</c:v>
                </c:pt>
                <c:pt idx="20">
                  <c:v>0.2723973879439011</c:v>
                </c:pt>
                <c:pt idx="21">
                  <c:v>0.2875046717660704</c:v>
                </c:pt>
                <c:pt idx="22">
                  <c:v>0.30371631088343054</c:v>
                </c:pt>
                <c:pt idx="23">
                  <c:v>0.2706605962313528</c:v>
                </c:pt>
                <c:pt idx="24">
                  <c:v>0.2648368341394766</c:v>
                </c:pt>
                <c:pt idx="25">
                  <c:v>0.2848373032324091</c:v>
                </c:pt>
                <c:pt idx="26">
                  <c:v>0.2763650365218131</c:v>
                </c:pt>
                <c:pt idx="27">
                  <c:v>0.2752228222572192</c:v>
                </c:pt>
                <c:pt idx="28">
                  <c:v>0.272588113500838</c:v>
                </c:pt>
                <c:pt idx="29">
                  <c:v>0.279933940103083</c:v>
                </c:pt>
                <c:pt idx="30">
                  <c:v>0.2670366018416391</c:v>
                </c:pt>
                <c:pt idx="31">
                  <c:v>0.28195806673958346</c:v>
                </c:pt>
                <c:pt idx="32">
                  <c:v>0.26221771595578336</c:v>
                </c:pt>
                <c:pt idx="33">
                  <c:v>0.25193387832581504</c:v>
                </c:pt>
                <c:pt idx="34">
                  <c:v>0.26325123723404453</c:v>
                </c:pt>
                <c:pt idx="35">
                  <c:v>0.27124737392131226</c:v>
                </c:pt>
                <c:pt idx="36">
                  <c:v>0.27464510800296565</c:v>
                </c:pt>
                <c:pt idx="37">
                  <c:v>0.25758622593185765</c:v>
                </c:pt>
                <c:pt idx="38">
                  <c:v>0.2612381883798167</c:v>
                </c:pt>
                <c:pt idx="39">
                  <c:v>0.270441384876709</c:v>
                </c:pt>
                <c:pt idx="40">
                  <c:v>0.2765964894061938</c:v>
                </c:pt>
                <c:pt idx="41">
                  <c:v>0.25996868659418815</c:v>
                </c:pt>
                <c:pt idx="42">
                  <c:v>0.2558588261368952</c:v>
                </c:pt>
                <c:pt idx="43">
                  <c:v>0.27069004507487726</c:v>
                </c:pt>
                <c:pt idx="44">
                  <c:v>0.2624838183623412</c:v>
                </c:pt>
                <c:pt idx="45">
                  <c:v>0.2691422756842274</c:v>
                </c:pt>
                <c:pt idx="46">
                  <c:v>0.26394905880596997</c:v>
                </c:pt>
                <c:pt idx="47">
                  <c:v>0.264646192441512</c:v>
                </c:pt>
                <c:pt idx="48">
                  <c:v>0.26186145522286564</c:v>
                </c:pt>
                <c:pt idx="49">
                  <c:v>0.2637768794066522</c:v>
                </c:pt>
                <c:pt idx="50">
                  <c:v>0.2880645207217093</c:v>
                </c:pt>
                <c:pt idx="51">
                  <c:v>0.2813743574142207</c:v>
                </c:pt>
                <c:pt idx="52">
                  <c:v>0.3020073353988123</c:v>
                </c:pt>
                <c:pt idx="53">
                  <c:v>0.35563460103733985</c:v>
                </c:pt>
                <c:pt idx="54">
                  <c:v>0.23292791064111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38403041825095"/>
          <c:min val="0.12947976878612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17.5486</c:v>
                </c:pt>
                <c:pt idx="1">
                  <c:v>766.0549</c:v>
                </c:pt>
                <c:pt idx="2">
                  <c:v>831.4412</c:v>
                </c:pt>
                <c:pt idx="3">
                  <c:v>835.2356</c:v>
                </c:pt>
                <c:pt idx="4">
                  <c:v>816.6129</c:v>
                </c:pt>
                <c:pt idx="5">
                  <c:v>811.8187</c:v>
                </c:pt>
                <c:pt idx="6">
                  <c:v>795.7137</c:v>
                </c:pt>
                <c:pt idx="7">
                  <c:v>816.0925</c:v>
                </c:pt>
                <c:pt idx="8">
                  <c:v>792.3618</c:v>
                </c:pt>
                <c:pt idx="9">
                  <c:v>818.5253</c:v>
                </c:pt>
                <c:pt idx="10">
                  <c:v>832.2054</c:v>
                </c:pt>
                <c:pt idx="11">
                  <c:v>882.678</c:v>
                </c:pt>
                <c:pt idx="12">
                  <c:v>833.8756</c:v>
                </c:pt>
                <c:pt idx="13">
                  <c:v>879.0897</c:v>
                </c:pt>
                <c:pt idx="14">
                  <c:v>879.9416</c:v>
                </c:pt>
                <c:pt idx="15">
                  <c:v>916.6029</c:v>
                </c:pt>
                <c:pt idx="16">
                  <c:v>893.7734</c:v>
                </c:pt>
                <c:pt idx="17">
                  <c:v>953.8219</c:v>
                </c:pt>
                <c:pt idx="18">
                  <c:v>953.1471</c:v>
                </c:pt>
                <c:pt idx="19">
                  <c:v>945.0247</c:v>
                </c:pt>
                <c:pt idx="20">
                  <c:v>940.3516</c:v>
                </c:pt>
                <c:pt idx="21">
                  <c:v>1014.1129</c:v>
                </c:pt>
                <c:pt idx="22">
                  <c:v>1019.0161</c:v>
                </c:pt>
                <c:pt idx="23">
                  <c:v>1051.8</c:v>
                </c:pt>
                <c:pt idx="24">
                  <c:v>1012.8814</c:v>
                </c:pt>
                <c:pt idx="25">
                  <c:v>921.451</c:v>
                </c:pt>
                <c:pt idx="26">
                  <c:v>818.6379</c:v>
                </c:pt>
                <c:pt idx="27">
                  <c:v>800.3906</c:v>
                </c:pt>
                <c:pt idx="28">
                  <c:v>767.463</c:v>
                </c:pt>
                <c:pt idx="29">
                  <c:v>898.5</c:v>
                </c:pt>
                <c:pt idx="30">
                  <c:v>909.4828</c:v>
                </c:pt>
                <c:pt idx="31">
                  <c:v>891.4</c:v>
                </c:pt>
                <c:pt idx="32">
                  <c:v>904.1579</c:v>
                </c:pt>
                <c:pt idx="33">
                  <c:v>908.9048</c:v>
                </c:pt>
                <c:pt idx="34">
                  <c:v>857.2821</c:v>
                </c:pt>
                <c:pt idx="35">
                  <c:v>896.4651</c:v>
                </c:pt>
                <c:pt idx="36">
                  <c:v>939.6389</c:v>
                </c:pt>
                <c:pt idx="37">
                  <c:v>937.6667</c:v>
                </c:pt>
                <c:pt idx="38">
                  <c:v>1027.3333</c:v>
                </c:pt>
                <c:pt idx="39">
                  <c:v>1004.2222</c:v>
                </c:pt>
                <c:pt idx="40">
                  <c:v>925.4286</c:v>
                </c:pt>
                <c:pt idx="41">
                  <c:v>951.2353</c:v>
                </c:pt>
                <c:pt idx="42">
                  <c:v>1050.2903</c:v>
                </c:pt>
                <c:pt idx="43">
                  <c:v>977.8269</c:v>
                </c:pt>
                <c:pt idx="44">
                  <c:v>851.1277</c:v>
                </c:pt>
                <c:pt idx="45">
                  <c:v>767.878</c:v>
                </c:pt>
                <c:pt idx="46">
                  <c:v>854.1933</c:v>
                </c:pt>
                <c:pt idx="47">
                  <c:v>860.0</c:v>
                </c:pt>
                <c:pt idx="48">
                  <c:v>887.9277</c:v>
                </c:pt>
                <c:pt idx="49">
                  <c:v>880.1717</c:v>
                </c:pt>
                <c:pt idx="50">
                  <c:v>853.7266</c:v>
                </c:pt>
                <c:pt idx="51">
                  <c:v>895.9703</c:v>
                </c:pt>
                <c:pt idx="52">
                  <c:v>928.7742</c:v>
                </c:pt>
                <c:pt idx="53">
                  <c:v>1023.8416</c:v>
                </c:pt>
                <c:pt idx="54">
                  <c:v>1079.1091</c:v>
                </c:pt>
                <c:pt idx="55">
                  <c:v>986.85</c:v>
                </c:pt>
                <c:pt idx="56">
                  <c:v>999.5877</c:v>
                </c:pt>
                <c:pt idx="57">
                  <c:v>974.0536</c:v>
                </c:pt>
                <c:pt idx="58">
                  <c:v>1050.5089</c:v>
                </c:pt>
                <c:pt idx="59">
                  <c:v>1011.0912</c:v>
                </c:pt>
                <c:pt idx="60">
                  <c:v>995.9534</c:v>
                </c:pt>
                <c:pt idx="61">
                  <c:v>1083.7257</c:v>
                </c:pt>
                <c:pt idx="62">
                  <c:v>1067.9955</c:v>
                </c:pt>
                <c:pt idx="63">
                  <c:v>1094.9931</c:v>
                </c:pt>
                <c:pt idx="64">
                  <c:v>1084.038</c:v>
                </c:pt>
                <c:pt idx="65">
                  <c:v>1008.5134</c:v>
                </c:pt>
                <c:pt idx="66">
                  <c:v>1044.0923</c:v>
                </c:pt>
                <c:pt idx="67">
                  <c:v>1106.1302</c:v>
                </c:pt>
                <c:pt idx="68">
                  <c:v>1125.8657</c:v>
                </c:pt>
                <c:pt idx="69">
                  <c:v>1150.2449</c:v>
                </c:pt>
                <c:pt idx="70">
                  <c:v>1096.4196</c:v>
                </c:pt>
                <c:pt idx="71">
                  <c:v>1133.3545</c:v>
                </c:pt>
                <c:pt idx="72">
                  <c:v>1256.0761</c:v>
                </c:pt>
                <c:pt idx="73">
                  <c:v>1307.9872</c:v>
                </c:pt>
                <c:pt idx="74">
                  <c:v>1224.186</c:v>
                </c:pt>
                <c:pt idx="75">
                  <c:v>1145.9595</c:v>
                </c:pt>
                <c:pt idx="76">
                  <c:v>1079.4412</c:v>
                </c:pt>
                <c:pt idx="77">
                  <c:v>1026.2162</c:v>
                </c:pt>
                <c:pt idx="78">
                  <c:v>1180.08</c:v>
                </c:pt>
                <c:pt idx="79">
                  <c:v>1207.2727</c:v>
                </c:pt>
                <c:pt idx="80">
                  <c:v>1177.7442</c:v>
                </c:pt>
                <c:pt idx="81">
                  <c:v>1064.6667</c:v>
                </c:pt>
                <c:pt idx="82">
                  <c:v>1106.95</c:v>
                </c:pt>
                <c:pt idx="83">
                  <c:v>1103.5366</c:v>
                </c:pt>
                <c:pt idx="84">
                  <c:v>1102.2368</c:v>
                </c:pt>
                <c:pt idx="85">
                  <c:v>1158.5833</c:v>
                </c:pt>
                <c:pt idx="86">
                  <c:v>1154.3721</c:v>
                </c:pt>
                <c:pt idx="87">
                  <c:v>1130.902</c:v>
                </c:pt>
                <c:pt idx="88">
                  <c:v>1174.5161</c:v>
                </c:pt>
                <c:pt idx="89">
                  <c:v>1106.8056</c:v>
                </c:pt>
                <c:pt idx="90">
                  <c:v>1161.4828</c:v>
                </c:pt>
                <c:pt idx="91">
                  <c:v>1196.2222</c:v>
                </c:pt>
                <c:pt idx="92">
                  <c:v>1187.6739</c:v>
                </c:pt>
                <c:pt idx="93">
                  <c:v>1218.814</c:v>
                </c:pt>
                <c:pt idx="94">
                  <c:v>1244.6923</c:v>
                </c:pt>
                <c:pt idx="95">
                  <c:v>1043.2394</c:v>
                </c:pt>
                <c:pt idx="96">
                  <c:v>1027.9292</c:v>
                </c:pt>
                <c:pt idx="97">
                  <c:v>1071.9717</c:v>
                </c:pt>
                <c:pt idx="98">
                  <c:v>1078.7113</c:v>
                </c:pt>
                <c:pt idx="99">
                  <c:v>1042.1371</c:v>
                </c:pt>
                <c:pt idx="100">
                  <c:v>1042.9817</c:v>
                </c:pt>
                <c:pt idx="101">
                  <c:v>1066.8986</c:v>
                </c:pt>
                <c:pt idx="102">
                  <c:v>1063.9154</c:v>
                </c:pt>
                <c:pt idx="103">
                  <c:v>1101.5081</c:v>
                </c:pt>
                <c:pt idx="104">
                  <c:v>1136.6412</c:v>
                </c:pt>
              </c:numCache>
            </c:numRef>
          </c:xVal>
          <c:yVal>
            <c:numRef>
              <c:f>Sheet1!$B$2:$B$106</c:f>
              <c:numCache>
                <c:formatCode>General</c:formatCode>
                <c:ptCount val="105"/>
                <c:pt idx="0">
                  <c:v>0.32</c:v>
                </c:pt>
                <c:pt idx="1">
                  <c:v>0.3048327137546468</c:v>
                </c:pt>
                <c:pt idx="2">
                  <c:v>0.2972027972027972</c:v>
                </c:pt>
                <c:pt idx="3">
                  <c:v>0.31985294117647056</c:v>
                </c:pt>
                <c:pt idx="4">
                  <c:v>0.3629976580796253</c:v>
                </c:pt>
                <c:pt idx="5">
                  <c:v>0.3886363636363636</c:v>
                </c:pt>
                <c:pt idx="6">
                  <c:v>0.4448669201520912</c:v>
                </c:pt>
                <c:pt idx="7">
                  <c:v>0.41686746987951806</c:v>
                </c:pt>
                <c:pt idx="8">
                  <c:v>0.34545454545454546</c:v>
                </c:pt>
                <c:pt idx="9">
                  <c:v>0.3443478260869565</c:v>
                </c:pt>
                <c:pt idx="10">
                  <c:v>0.3167808219178082</c:v>
                </c:pt>
                <c:pt idx="11">
                  <c:v>0.34104046242774566</c:v>
                </c:pt>
                <c:pt idx="12">
                  <c:v>0.3621621621621622</c:v>
                </c:pt>
                <c:pt idx="13">
                  <c:v>0.279383429672447</c:v>
                </c:pt>
                <c:pt idx="14">
                  <c:v>0.3030973451327434</c:v>
                </c:pt>
                <c:pt idx="15">
                  <c:v>0.3383084577114428</c:v>
                </c:pt>
                <c:pt idx="16">
                  <c:v>0.38323353293413176</c:v>
                </c:pt>
                <c:pt idx="17">
                  <c:v>0.29435483870967744</c:v>
                </c:pt>
                <c:pt idx="18">
                  <c:v>0.3434343434343434</c:v>
                </c:pt>
                <c:pt idx="19">
                  <c:v>0.391304347826087</c:v>
                </c:pt>
                <c:pt idx="20">
                  <c:v>0.35135135135135137</c:v>
                </c:pt>
                <c:pt idx="21">
                  <c:v>0.31</c:v>
                </c:pt>
                <c:pt idx="22">
                  <c:v>0.32460732984293195</c:v>
                </c:pt>
                <c:pt idx="23">
                  <c:v>0.291970802919708</c:v>
                </c:pt>
                <c:pt idx="24">
                  <c:v>0.33146067415730335</c:v>
                </c:pt>
                <c:pt idx="25">
                  <c:v>0.33116883116883117</c:v>
                </c:pt>
                <c:pt idx="26">
                  <c:v>0.36942675159235666</c:v>
                </c:pt>
                <c:pt idx="27">
                  <c:v>0.39751552795031053</c:v>
                </c:pt>
                <c:pt idx="28">
                  <c:v>0.3829787234042553</c:v>
                </c:pt>
                <c:pt idx="29">
                  <c:v>0.34108527131782945</c:v>
                </c:pt>
                <c:pt idx="30">
                  <c:v>0.34523809523809523</c:v>
                </c:pt>
                <c:pt idx="31">
                  <c:v>0.38461538461538464</c:v>
                </c:pt>
                <c:pt idx="32">
                  <c:v>0.336283185840708</c:v>
                </c:pt>
                <c:pt idx="33">
                  <c:v>0.2876712328767123</c:v>
                </c:pt>
                <c:pt idx="34">
                  <c:v>0.319672131147541</c:v>
                </c:pt>
                <c:pt idx="35">
                  <c:v>0.3049645390070922</c:v>
                </c:pt>
                <c:pt idx="36">
                  <c:v>0.3050847457627119</c:v>
                </c:pt>
                <c:pt idx="37">
                  <c:v>0.2631578947368421</c:v>
                </c:pt>
                <c:pt idx="38">
                  <c:v>0.2920353982300885</c:v>
                </c:pt>
                <c:pt idx="39">
                  <c:v>0.35294117647058826</c:v>
                </c:pt>
                <c:pt idx="40">
                  <c:v>0.328125</c:v>
                </c:pt>
                <c:pt idx="41">
                  <c:v>0.30357142857142855</c:v>
                </c:pt>
                <c:pt idx="42">
                  <c:v>0.2421875</c:v>
                </c:pt>
                <c:pt idx="43">
                  <c:v>0.24299065420560748</c:v>
                </c:pt>
                <c:pt idx="44">
                  <c:v>0.31756756756756754</c:v>
                </c:pt>
                <c:pt idx="45">
                  <c:v>0.31906614785992216</c:v>
                </c:pt>
                <c:pt idx="46">
                  <c:v>0.29024390243902437</c:v>
                </c:pt>
                <c:pt idx="47">
                  <c:v>0.2594142259414226</c:v>
                </c:pt>
                <c:pt idx="48">
                  <c:v>0.24198250728862974</c:v>
                </c:pt>
                <c:pt idx="49">
                  <c:v>0.2231800766283525</c:v>
                </c:pt>
                <c:pt idx="50">
                  <c:v>0.22695035460992907</c:v>
                </c:pt>
                <c:pt idx="51">
                  <c:v>0.22246696035242292</c:v>
                </c:pt>
                <c:pt idx="52">
                  <c:v>0.21269296740994853</c:v>
                </c:pt>
                <c:pt idx="53">
                  <c:v>0.20486815415821502</c:v>
                </c:pt>
                <c:pt idx="54">
                  <c:v>0.23706896551724138</c:v>
                </c:pt>
                <c:pt idx="55">
                  <c:v>0.2696629213483146</c:v>
                </c:pt>
                <c:pt idx="56">
                  <c:v>0.23123732251521298</c:v>
                </c:pt>
                <c:pt idx="57">
                  <c:v>0.2553191489361702</c:v>
                </c:pt>
                <c:pt idx="58">
                  <c:v>0.2305593451568895</c:v>
                </c:pt>
                <c:pt idx="59">
                  <c:v>0.27226277372262775</c:v>
                </c:pt>
                <c:pt idx="60">
                  <c:v>0.3095599393019727</c:v>
                </c:pt>
                <c:pt idx="61">
                  <c:v>0.2791519434628975</c:v>
                </c:pt>
                <c:pt idx="62">
                  <c:v>0.2608187134502924</c:v>
                </c:pt>
                <c:pt idx="63">
                  <c:v>0.2850146914789422</c:v>
                </c:pt>
                <c:pt idx="64">
                  <c:v>0.27424400417101147</c:v>
                </c:pt>
                <c:pt idx="65">
                  <c:v>0.25925925925925924</c:v>
                </c:pt>
                <c:pt idx="66">
                  <c:v>0.2758132956152758</c:v>
                </c:pt>
                <c:pt idx="67">
                  <c:v>0.2802653399668325</c:v>
                </c:pt>
                <c:pt idx="68">
                  <c:v>0.25769230769230766</c:v>
                </c:pt>
                <c:pt idx="69">
                  <c:v>0.27298050139275765</c:v>
                </c:pt>
                <c:pt idx="70">
                  <c:v>0.28211586901763225</c:v>
                </c:pt>
                <c:pt idx="71">
                  <c:v>0.3151862464183381</c:v>
                </c:pt>
                <c:pt idx="72">
                  <c:v>0.2746268656716418</c:v>
                </c:pt>
                <c:pt idx="73">
                  <c:v>0.2746478873239437</c:v>
                </c:pt>
                <c:pt idx="74">
                  <c:v>0.2838283828382838</c:v>
                </c:pt>
                <c:pt idx="75">
                  <c:v>0.34579439252336447</c:v>
                </c:pt>
                <c:pt idx="76">
                  <c:v>0.35602094240837695</c:v>
                </c:pt>
                <c:pt idx="77">
                  <c:v>0.37755102040816324</c:v>
                </c:pt>
                <c:pt idx="78">
                  <c:v>0.3184713375796178</c:v>
                </c:pt>
                <c:pt idx="79">
                  <c:v>0.30985915492957744</c:v>
                </c:pt>
                <c:pt idx="80">
                  <c:v>0.3049645390070922</c:v>
                </c:pt>
                <c:pt idx="81">
                  <c:v>0.3064516129032258</c:v>
                </c:pt>
                <c:pt idx="82">
                  <c:v>0.2777777777777778</c:v>
                </c:pt>
                <c:pt idx="83">
                  <c:v>0.3416666666666667</c:v>
                </c:pt>
                <c:pt idx="84">
                  <c:v>0.33043478260869563</c:v>
                </c:pt>
                <c:pt idx="85">
                  <c:v>0.2857142857142857</c:v>
                </c:pt>
                <c:pt idx="86">
                  <c:v>0.31386861313868614</c:v>
                </c:pt>
                <c:pt idx="87">
                  <c:v>0.3167701863354037</c:v>
                </c:pt>
                <c:pt idx="88">
                  <c:v>0.2767857142857143</c:v>
                </c:pt>
                <c:pt idx="89">
                  <c:v>0.32727272727272727</c:v>
                </c:pt>
                <c:pt idx="90">
                  <c:v>0.29</c:v>
                </c:pt>
                <c:pt idx="91">
                  <c:v>0.23893805309734514</c:v>
                </c:pt>
                <c:pt idx="92">
                  <c:v>0.26900584795321636</c:v>
                </c:pt>
                <c:pt idx="93">
                  <c:v>0.2847682119205298</c:v>
                </c:pt>
                <c:pt idx="94">
                  <c:v>0.2549019607843137</c:v>
                </c:pt>
                <c:pt idx="95">
                  <c:v>0.31004366812227074</c:v>
                </c:pt>
                <c:pt idx="96">
                  <c:v>0.30294906166219837</c:v>
                </c:pt>
                <c:pt idx="97">
                  <c:v>0.2872628726287263</c:v>
                </c:pt>
                <c:pt idx="98">
                  <c:v>0.3212669683257919</c:v>
                </c:pt>
                <c:pt idx="99">
                  <c:v>0.3181818181818182</c:v>
                </c:pt>
                <c:pt idx="100">
                  <c:v>0.29073482428115016</c:v>
                </c:pt>
                <c:pt idx="101">
                  <c:v>0.2896281800391389</c:v>
                </c:pt>
                <c:pt idx="102">
                  <c:v>0.3448275862068966</c:v>
                </c:pt>
                <c:pt idx="103">
                  <c:v>0.2818181818181818</c:v>
                </c:pt>
                <c:pt idx="104">
                  <c:v>0.3067915690866510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4.976</c:v>
                </c:pt>
                <c:pt idx="1">
                  <c:v>1131.0305</c:v>
                </c:pt>
                <c:pt idx="2">
                  <c:v>1085.4272</c:v>
                </c:pt>
                <c:pt idx="3">
                  <c:v>1074.2969</c:v>
                </c:pt>
                <c:pt idx="4">
                  <c:v>1110.036</c:v>
                </c:pt>
                <c:pt idx="5">
                  <c:v>1096.6761</c:v>
                </c:pt>
                <c:pt idx="6">
                  <c:v>1050.1151</c:v>
                </c:pt>
                <c:pt idx="7">
                  <c:v>1131.7769</c:v>
                </c:pt>
                <c:pt idx="8">
                  <c:v>1196.6692</c:v>
                </c:pt>
                <c:pt idx="9">
                  <c:v>1188.3553</c:v>
                </c:pt>
                <c:pt idx="10">
                  <c:v>1185.5641</c:v>
                </c:pt>
                <c:pt idx="11">
                  <c:v>1054.107</c:v>
                </c:pt>
                <c:pt idx="12">
                  <c:v>1044.175</c:v>
                </c:pt>
                <c:pt idx="13">
                  <c:v>1179.4261</c:v>
                </c:pt>
                <c:pt idx="14">
                  <c:v>1161.5461</c:v>
                </c:pt>
                <c:pt idx="15">
                  <c:v>1174.766</c:v>
                </c:pt>
                <c:pt idx="16">
                  <c:v>1203.6833</c:v>
                </c:pt>
                <c:pt idx="17">
                  <c:v>1166.3762</c:v>
                </c:pt>
                <c:pt idx="18">
                  <c:v>1245.5143</c:v>
                </c:pt>
                <c:pt idx="19">
                  <c:v>1254.2083</c:v>
                </c:pt>
                <c:pt idx="20">
                  <c:v>1142.6538</c:v>
                </c:pt>
                <c:pt idx="21">
                  <c:v>1046.8317</c:v>
                </c:pt>
                <c:pt idx="22">
                  <c:v>925.3545</c:v>
                </c:pt>
                <c:pt idx="23">
                  <c:v>1109.0746</c:v>
                </c:pt>
                <c:pt idx="24">
                  <c:v>1192.1786</c:v>
                </c:pt>
                <c:pt idx="25">
                  <c:v>1055.0678</c:v>
                </c:pt>
                <c:pt idx="26">
                  <c:v>1081.6316</c:v>
                </c:pt>
                <c:pt idx="27">
                  <c:v>1101.5517</c:v>
                </c:pt>
                <c:pt idx="28">
                  <c:v>1115.3966</c:v>
                </c:pt>
                <c:pt idx="29">
                  <c:v>1066.4444</c:v>
                </c:pt>
                <c:pt idx="30">
                  <c:v>1110.1905</c:v>
                </c:pt>
                <c:pt idx="31">
                  <c:v>1067.9375</c:v>
                </c:pt>
                <c:pt idx="32">
                  <c:v>1169.2</c:v>
                </c:pt>
                <c:pt idx="33">
                  <c:v>1249.8857</c:v>
                </c:pt>
                <c:pt idx="34">
                  <c:v>1209.5625</c:v>
                </c:pt>
                <c:pt idx="35">
                  <c:v>1150.2286</c:v>
                </c:pt>
                <c:pt idx="36">
                  <c:v>1117.6875</c:v>
                </c:pt>
                <c:pt idx="37">
                  <c:v>1154.2727</c:v>
                </c:pt>
                <c:pt idx="38">
                  <c:v>1177.5714</c:v>
                </c:pt>
                <c:pt idx="39">
                  <c:v>1100.25</c:v>
                </c:pt>
                <c:pt idx="40">
                  <c:v>1084.08</c:v>
                </c:pt>
                <c:pt idx="41">
                  <c:v>1236.5278</c:v>
                </c:pt>
                <c:pt idx="42">
                  <c:v>1214.5135</c:v>
                </c:pt>
                <c:pt idx="43">
                  <c:v>1152.8033</c:v>
                </c:pt>
                <c:pt idx="44">
                  <c:v>1179.371</c:v>
                </c:pt>
                <c:pt idx="45">
                  <c:v>1184.3431</c:v>
                </c:pt>
                <c:pt idx="46">
                  <c:v>1202.4872</c:v>
                </c:pt>
                <c:pt idx="47">
                  <c:v>1168.96</c:v>
                </c:pt>
                <c:pt idx="48">
                  <c:v>1207.6402</c:v>
                </c:pt>
                <c:pt idx="49">
                  <c:v>1190.5066</c:v>
                </c:pt>
                <c:pt idx="50">
                  <c:v>1068.1418</c:v>
                </c:pt>
                <c:pt idx="51">
                  <c:v>1038.7941</c:v>
                </c:pt>
              </c:numCache>
            </c:numRef>
          </c:xVal>
          <c:yVal>
            <c:numRef>
              <c:f>Sheet1!$B$109:$B$160</c:f>
              <c:numCache>
                <c:formatCode>General</c:formatCode>
                <c:ptCount val="52"/>
                <c:pt idx="0">
                  <c:v>0.2950530035335689</c:v>
                </c:pt>
                <c:pt idx="1">
                  <c:v>0.2808219178082192</c:v>
                </c:pt>
                <c:pt idx="2">
                  <c:v>0.31790123456790126</c:v>
                </c:pt>
                <c:pt idx="3">
                  <c:v>0.32947232947232946</c:v>
                </c:pt>
                <c:pt idx="4">
                  <c:v>0.3074792243767313</c:v>
                </c:pt>
                <c:pt idx="5">
                  <c:v>0.32272727272727275</c:v>
                </c:pt>
                <c:pt idx="6">
                  <c:v>0.30694275274056027</c:v>
                </c:pt>
                <c:pt idx="7">
                  <c:v>0.29017857142857145</c:v>
                </c:pt>
                <c:pt idx="8">
                  <c:v>0.2674897119341564</c:v>
                </c:pt>
                <c:pt idx="9">
                  <c:v>0.28305400372439476</c:v>
                </c:pt>
                <c:pt idx="10">
                  <c:v>0.30648330058939094</c:v>
                </c:pt>
                <c:pt idx="11">
                  <c:v>0.2690863579474343</c:v>
                </c:pt>
                <c:pt idx="12">
                  <c:v>0.256</c:v>
                </c:pt>
                <c:pt idx="13">
                  <c:v>0.26993865030674846</c:v>
                </c:pt>
                <c:pt idx="14">
                  <c:v>0.26902654867256637</c:v>
                </c:pt>
                <c:pt idx="15">
                  <c:v>0.2925311203319502</c:v>
                </c:pt>
                <c:pt idx="16">
                  <c:v>0.31007751937984496</c:v>
                </c:pt>
                <c:pt idx="17">
                  <c:v>0.3117283950617284</c:v>
                </c:pt>
                <c:pt idx="18">
                  <c:v>0.3448275862068966</c:v>
                </c:pt>
                <c:pt idx="19">
                  <c:v>0.2975206611570248</c:v>
                </c:pt>
                <c:pt idx="20">
                  <c:v>0.2857142857142857</c:v>
                </c:pt>
                <c:pt idx="21">
                  <c:v>0.32063492063492066</c:v>
                </c:pt>
                <c:pt idx="22">
                  <c:v>0.31339031339031337</c:v>
                </c:pt>
                <c:pt idx="23">
                  <c:v>0.2607003891050584</c:v>
                </c:pt>
                <c:pt idx="24">
                  <c:v>0.24347826086956523</c:v>
                </c:pt>
                <c:pt idx="25">
                  <c:v>0.2669683257918552</c:v>
                </c:pt>
                <c:pt idx="26">
                  <c:v>0.26635514018691586</c:v>
                </c:pt>
                <c:pt idx="27">
                  <c:v>0.30851063829787234</c:v>
                </c:pt>
                <c:pt idx="28">
                  <c:v>0.327683615819209</c:v>
                </c:pt>
                <c:pt idx="29">
                  <c:v>0.3103448275862069</c:v>
                </c:pt>
                <c:pt idx="30">
                  <c:v>0.3181818181818182</c:v>
                </c:pt>
                <c:pt idx="31">
                  <c:v>0.32989690721649484</c:v>
                </c:pt>
                <c:pt idx="32">
                  <c:v>0.29411764705882354</c:v>
                </c:pt>
                <c:pt idx="33">
                  <c:v>0.2692307692307692</c:v>
                </c:pt>
                <c:pt idx="34">
                  <c:v>0.2553191489361702</c:v>
                </c:pt>
                <c:pt idx="35">
                  <c:v>0.2536231884057971</c:v>
                </c:pt>
                <c:pt idx="36">
                  <c:v>0.18823529411764706</c:v>
                </c:pt>
                <c:pt idx="37">
                  <c:v>0.2018348623853211</c:v>
                </c:pt>
                <c:pt idx="38">
                  <c:v>0.19811320754716982</c:v>
                </c:pt>
                <c:pt idx="39">
                  <c:v>0.16184971098265896</c:v>
                </c:pt>
                <c:pt idx="40">
                  <c:v>0.20080321285140562</c:v>
                </c:pt>
                <c:pt idx="41">
                  <c:v>0.1935483870967742</c:v>
                </c:pt>
                <c:pt idx="42">
                  <c:v>0.24342105263157895</c:v>
                </c:pt>
                <c:pt idx="43">
                  <c:v>0.2089041095890411</c:v>
                </c:pt>
                <c:pt idx="44">
                  <c:v>0.21754385964912282</c:v>
                </c:pt>
                <c:pt idx="45">
                  <c:v>0.2383177570093458</c:v>
                </c:pt>
                <c:pt idx="46">
                  <c:v>0.2508038585209003</c:v>
                </c:pt>
                <c:pt idx="47">
                  <c:v>0.25</c:v>
                </c:pt>
                <c:pt idx="48">
                  <c:v>0.3020257826887661</c:v>
                </c:pt>
                <c:pt idx="49">
                  <c:v>0.25375626043405675</c:v>
                </c:pt>
                <c:pt idx="50">
                  <c:v>0.25</c:v>
                </c:pt>
                <c:pt idx="51">
                  <c:v>0.257088846880907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98.03817373635786</c:v>
                </c:pt>
              </c:numCache>
            </c:numRef>
          </c:xVal>
          <c:yVal>
            <c:numRef>
              <c:f>Sheet1!$B$163:$B$164</c:f>
              <c:numCache>
                <c:formatCode>General</c:formatCode>
                <c:ptCount val="2"/>
                <c:pt idx="0">
                  <c:v>0.35563460103733985</c:v>
                </c:pt>
                <c:pt idx="1">
                  <c:v>0.355634601037339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98.03817373635786</c:v>
                </c:pt>
                <c:pt idx="1">
                  <c:v>398.03817373635786</c:v>
                </c:pt>
              </c:numCache>
            </c:numRef>
          </c:xVal>
          <c:yVal>
            <c:numRef>
              <c:f>Sheet1!$B$167:$B$168</c:f>
              <c:numCache>
                <c:formatCode>General</c:formatCode>
                <c:ptCount val="2"/>
                <c:pt idx="0">
                  <c:v>0.355634601037339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75.0224941856329</c:v>
                </c:pt>
              </c:numCache>
            </c:numRef>
          </c:xVal>
          <c:yVal>
            <c:numRef>
              <c:f>Sheet1!$B$171:$B$172</c:f>
              <c:numCache>
                <c:formatCode>General</c:formatCode>
                <c:ptCount val="2"/>
                <c:pt idx="0">
                  <c:v>0.3020073353988123</c:v>
                </c:pt>
                <c:pt idx="1">
                  <c:v>0.30200733539881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75.0224941856329</c:v>
                </c:pt>
                <c:pt idx="1">
                  <c:v>875.0224941856329</c:v>
                </c:pt>
              </c:numCache>
            </c:numRef>
          </c:xVal>
          <c:yVal>
            <c:numRef>
              <c:f>Sheet1!$B$175:$B$176</c:f>
              <c:numCache>
                <c:formatCode>General</c:formatCode>
                <c:ptCount val="2"/>
                <c:pt idx="0">
                  <c:v>0.30200733539881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89.4450660387574</c:v>
                </c:pt>
              </c:numCache>
            </c:numRef>
          </c:xVal>
          <c:yVal>
            <c:numRef>
              <c:f>Sheet1!$B$179:$B$180</c:f>
              <c:numCache>
                <c:formatCode>General</c:formatCode>
                <c:ptCount val="2"/>
                <c:pt idx="0">
                  <c:v>0.2329279106411198</c:v>
                </c:pt>
                <c:pt idx="1">
                  <c:v>0.23292791064111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89.4450660387574</c:v>
                </c:pt>
                <c:pt idx="1">
                  <c:v>1489.4450660387574</c:v>
                </c:pt>
              </c:numCache>
            </c:numRef>
          </c:xVal>
          <c:yVal>
            <c:numRef>
              <c:f>Sheet1!$B$183:$B$184</c:f>
              <c:numCache>
                <c:formatCode>General</c:formatCode>
                <c:ptCount val="2"/>
                <c:pt idx="0">
                  <c:v>0.23292791064111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4.976</c:v>
                </c:pt>
                <c:pt idx="1">
                  <c:v>1131.0305</c:v>
                </c:pt>
                <c:pt idx="2">
                  <c:v>1085.4272</c:v>
                </c:pt>
                <c:pt idx="3">
                  <c:v>1074.2969</c:v>
                </c:pt>
                <c:pt idx="4">
                  <c:v>1110.036</c:v>
                </c:pt>
                <c:pt idx="5">
                  <c:v>1096.6761</c:v>
                </c:pt>
                <c:pt idx="6">
                  <c:v>1050.1151</c:v>
                </c:pt>
                <c:pt idx="7">
                  <c:v>1131.7769</c:v>
                </c:pt>
                <c:pt idx="8">
                  <c:v>1196.6692</c:v>
                </c:pt>
                <c:pt idx="9">
                  <c:v>1188.3553</c:v>
                </c:pt>
                <c:pt idx="10">
                  <c:v>1185.5641</c:v>
                </c:pt>
                <c:pt idx="11">
                  <c:v>1054.107</c:v>
                </c:pt>
                <c:pt idx="12">
                  <c:v>1044.175</c:v>
                </c:pt>
                <c:pt idx="13">
                  <c:v>1179.4261</c:v>
                </c:pt>
                <c:pt idx="14">
                  <c:v>1161.5461</c:v>
                </c:pt>
                <c:pt idx="15">
                  <c:v>1174.766</c:v>
                </c:pt>
                <c:pt idx="16">
                  <c:v>1203.6833</c:v>
                </c:pt>
                <c:pt idx="17">
                  <c:v>1166.3762</c:v>
                </c:pt>
                <c:pt idx="18">
                  <c:v>1245.5143</c:v>
                </c:pt>
                <c:pt idx="19">
                  <c:v>1254.2083</c:v>
                </c:pt>
                <c:pt idx="20">
                  <c:v>1142.6538</c:v>
                </c:pt>
                <c:pt idx="21">
                  <c:v>1046.8317</c:v>
                </c:pt>
                <c:pt idx="22">
                  <c:v>925.3545</c:v>
                </c:pt>
                <c:pt idx="23">
                  <c:v>1109.0746</c:v>
                </c:pt>
                <c:pt idx="24">
                  <c:v>1192.1786</c:v>
                </c:pt>
                <c:pt idx="25">
                  <c:v>1055.0678</c:v>
                </c:pt>
                <c:pt idx="26">
                  <c:v>1081.6316</c:v>
                </c:pt>
                <c:pt idx="27">
                  <c:v>1101.5517</c:v>
                </c:pt>
                <c:pt idx="28">
                  <c:v>1115.3966</c:v>
                </c:pt>
                <c:pt idx="29">
                  <c:v>1066.4444</c:v>
                </c:pt>
                <c:pt idx="30">
                  <c:v>1110.1905</c:v>
                </c:pt>
                <c:pt idx="31">
                  <c:v>1067.9375</c:v>
                </c:pt>
                <c:pt idx="32">
                  <c:v>1169.2</c:v>
                </c:pt>
                <c:pt idx="33">
                  <c:v>1249.8857</c:v>
                </c:pt>
                <c:pt idx="34">
                  <c:v>1209.5625</c:v>
                </c:pt>
                <c:pt idx="35">
                  <c:v>1150.2286</c:v>
                </c:pt>
                <c:pt idx="36">
                  <c:v>1117.6875</c:v>
                </c:pt>
                <c:pt idx="37">
                  <c:v>1154.2727</c:v>
                </c:pt>
                <c:pt idx="38">
                  <c:v>1177.5714</c:v>
                </c:pt>
                <c:pt idx="39">
                  <c:v>1100.25</c:v>
                </c:pt>
                <c:pt idx="40">
                  <c:v>1084.08</c:v>
                </c:pt>
                <c:pt idx="41">
                  <c:v>1236.5278</c:v>
                </c:pt>
                <c:pt idx="42">
                  <c:v>1214.5135</c:v>
                </c:pt>
                <c:pt idx="43">
                  <c:v>1152.8033</c:v>
                </c:pt>
                <c:pt idx="44">
                  <c:v>1179.371</c:v>
                </c:pt>
                <c:pt idx="45">
                  <c:v>1184.3431</c:v>
                </c:pt>
                <c:pt idx="46">
                  <c:v>1202.4872</c:v>
                </c:pt>
                <c:pt idx="47">
                  <c:v>1168.96</c:v>
                </c:pt>
                <c:pt idx="48">
                  <c:v>1207.6402</c:v>
                </c:pt>
                <c:pt idx="49">
                  <c:v>1190.5066</c:v>
                </c:pt>
                <c:pt idx="50">
                  <c:v>1068.1418</c:v>
                </c:pt>
                <c:pt idx="51">
                  <c:v>1038.7941</c:v>
                </c:pt>
                <c:pt idx="52">
                  <c:v>875.0224941856329</c:v>
                </c:pt>
                <c:pt idx="53">
                  <c:v>398.03817373635786</c:v>
                </c:pt>
                <c:pt idx="54">
                  <c:v>1489.4450660387574</c:v>
                </c:pt>
              </c:numCache>
            </c:numRef>
          </c:xVal>
          <c:yVal>
            <c:numRef>
              <c:f>Sheet1!$B$187:$B$241</c:f>
              <c:numCache>
                <c:formatCode>General</c:formatCode>
                <c:ptCount val="55"/>
                <c:pt idx="0">
                  <c:v>0.27053221058002763</c:v>
                </c:pt>
                <c:pt idx="1">
                  <c:v>0.27322439905309487</c:v>
                </c:pt>
                <c:pt idx="2">
                  <c:v>0.2783515702791636</c:v>
                </c:pt>
                <c:pt idx="3">
                  <c:v>0.2796029480061595</c:v>
                </c:pt>
                <c:pt idx="4">
                  <c:v>0.27558480710044453</c:v>
                </c:pt>
                <c:pt idx="5">
                  <c:v>0.2770868583744347</c:v>
                </c:pt>
                <c:pt idx="6">
                  <c:v>0.2823217036478466</c:v>
                </c:pt>
                <c:pt idx="7">
                  <c:v>0.2731404814286436</c:v>
                </c:pt>
                <c:pt idx="8">
                  <c:v>0.2658446512287805</c:v>
                </c:pt>
                <c:pt idx="9">
                  <c:v>0.26677938158505765</c:v>
                </c:pt>
                <c:pt idx="10">
                  <c:v>0.2670931957240827</c:v>
                </c:pt>
                <c:pt idx="11">
                  <c:v>0.2818728950130034</c:v>
                </c:pt>
                <c:pt idx="12">
                  <c:v>0.28298954807577115</c:v>
                </c:pt>
                <c:pt idx="13">
                  <c:v>0.2677832900151891</c:v>
                </c:pt>
                <c:pt idx="14">
                  <c:v>0.2697935353597608</c:v>
                </c:pt>
                <c:pt idx="15">
                  <c:v>0.2683072242618467</c:v>
                </c:pt>
                <c:pt idx="16">
                  <c:v>0.26505605716438674</c:v>
                </c:pt>
                <c:pt idx="17">
                  <c:v>0.2692504880421537</c:v>
                </c:pt>
                <c:pt idx="18">
                  <c:v>0.26035300498268754</c:v>
                </c:pt>
                <c:pt idx="19">
                  <c:v>0.25937554004836394</c:v>
                </c:pt>
                <c:pt idx="20">
                  <c:v>0.2719175934203454</c:v>
                </c:pt>
                <c:pt idx="21">
                  <c:v>0.28269085574876196</c:v>
                </c:pt>
                <c:pt idx="22">
                  <c:v>0.2963485165861004</c:v>
                </c:pt>
                <c:pt idx="23">
                  <c:v>0.2756928971381555</c:v>
                </c:pt>
                <c:pt idx="24">
                  <c:v>0.2663495286194032</c:v>
                </c:pt>
                <c:pt idx="25">
                  <c:v>0.28176487243318993</c:v>
                </c:pt>
                <c:pt idx="26">
                  <c:v>0.27877830893855154</c:v>
                </c:pt>
                <c:pt idx="27">
                  <c:v>0.2765386954996028</c:v>
                </c:pt>
                <c:pt idx="28">
                  <c:v>0.27498211575849196</c:v>
                </c:pt>
                <c:pt idx="29">
                  <c:v>0.28048580323928307</c:v>
                </c:pt>
                <c:pt idx="30">
                  <c:v>0.2755674366918463</c:v>
                </c:pt>
                <c:pt idx="31">
                  <c:v>0.28031793426143187</c:v>
                </c:pt>
                <c:pt idx="32">
                  <c:v>0.26893300869069936</c:v>
                </c:pt>
                <c:pt idx="33">
                  <c:v>0.25986152922769534</c:v>
                </c:pt>
                <c:pt idx="34">
                  <c:v>0.26439505971305527</c:v>
                </c:pt>
                <c:pt idx="35">
                  <c:v>0.271065959950767</c:v>
                </c:pt>
                <c:pt idx="36">
                  <c:v>0.27472455026297304</c:v>
                </c:pt>
                <c:pt idx="37">
                  <c:v>0.27061128247884403</c:v>
                </c:pt>
                <c:pt idx="38">
                  <c:v>0.2679918136192482</c:v>
                </c:pt>
                <c:pt idx="39">
                  <c:v>0.27668504540816147</c:v>
                </c:pt>
                <c:pt idx="40">
                  <c:v>0.278503035744947</c:v>
                </c:pt>
                <c:pt idx="41">
                  <c:v>0.2613633556420273</c:v>
                </c:pt>
                <c:pt idx="42">
                  <c:v>0.26383841962910815</c:v>
                </c:pt>
                <c:pt idx="43">
                  <c:v>0.2707764868697452</c:v>
                </c:pt>
                <c:pt idx="44">
                  <c:v>0.2677894848987733</c:v>
                </c:pt>
                <c:pt idx="45">
                  <c:v>0.2672304725454318</c:v>
                </c:pt>
                <c:pt idx="46">
                  <c:v>0.2651905344829909</c:v>
                </c:pt>
                <c:pt idx="47">
                  <c:v>0.26895999184968694</c:v>
                </c:pt>
                <c:pt idx="48">
                  <c:v>0.26461118357356256</c:v>
                </c:pt>
                <c:pt idx="49">
                  <c:v>0.2665375112936831</c:v>
                </c:pt>
                <c:pt idx="50">
                  <c:v>0.28029496484734373</c:v>
                </c:pt>
                <c:pt idx="51">
                  <c:v>0.28359452174325467</c:v>
                </c:pt>
                <c:pt idx="52">
                  <c:v>0.3020073353988123</c:v>
                </c:pt>
                <c:pt idx="53">
                  <c:v>0.35563460103733985</c:v>
                </c:pt>
                <c:pt idx="54">
                  <c:v>0.23292791064111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7.0"/>
          <c:min val="31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338403041825095"/>
          <c:min val="0.12947976878612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numCache>
            </c:numRef>
          </c:xVal>
          <c:yVal>
            <c:numRef>
              <c:f>Sheet1!$B$2:$B$15</c:f>
              <c:numCache>
                <c:formatCode>General</c:formatCode>
                <c:ptCount val="14"/>
                <c:pt idx="0">
                  <c:v>0.2536231884057971</c:v>
                </c:pt>
                <c:pt idx="1">
                  <c:v>0.18823529411764706</c:v>
                </c:pt>
                <c:pt idx="2">
                  <c:v>0.2018348623853211</c:v>
                </c:pt>
                <c:pt idx="3">
                  <c:v>0.16184971098265896</c:v>
                </c:pt>
                <c:pt idx="4">
                  <c:v>0.20080321285140562</c:v>
                </c:pt>
                <c:pt idx="5">
                  <c:v>0.1935483870967742</c:v>
                </c:pt>
                <c:pt idx="6">
                  <c:v>0.24342105263157895</c:v>
                </c:pt>
                <c:pt idx="7">
                  <c:v>0.2089041095890411</c:v>
                </c:pt>
                <c:pt idx="8">
                  <c:v>0.21754385964912282</c:v>
                </c:pt>
                <c:pt idx="9">
                  <c:v>0.2383177570093458</c:v>
                </c:pt>
                <c:pt idx="10">
                  <c:v>0.2508038585209003</c:v>
                </c:pt>
                <c:pt idx="11">
                  <c:v>0.25</c:v>
                </c:pt>
                <c:pt idx="12">
                  <c:v>0.3020257826887661</c:v>
                </c:pt>
                <c:pt idx="13">
                  <c:v>0.25375626043405675</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9</c:f>
              <c:numCache>
                <c:formatCode>General</c:formatCode>
                <c:ptCount val="2"/>
                <c:pt idx="0">
                  <c:v>0.09600411648391156</c:v>
                </c:pt>
                <c:pt idx="1">
                  <c:v>0.10101070595099183</c:v>
                </c:pt>
              </c:numCache>
            </c:numRef>
          </c:xVal>
          <c:yVal>
            <c:numRef>
              <c:f>Sheet1!$B$18:$B$19</c:f>
              <c:numCache>
                <c:formatCode>General</c:formatCode>
                <c:ptCount val="2"/>
                <c:pt idx="0">
                  <c:v>0.25</c:v>
                </c:pt>
                <c:pt idx="1">
                  <c:v>0.2570888468809074</c:v>
                </c:pt>
              </c:numCache>
            </c:numRef>
          </c:yVal>
          <c:smooth val="0"/>
          <c:extLst>
            <c:ext xmlns:c16="http://schemas.microsoft.com/office/drawing/2014/chart" uri="{C3380CC4-5D6E-409C-BE32-E72D297353CC}">
              <c16:uniqueId val="{00000002-096C-4121-9522-6AB7243CCAAE}"/>
            </c:ext>
          </c:extLst>
        </c:ser>
        <c:ser>
          <c:idx val="2"/>
          <c:order val="2"/>
          <c:tx>
            <c:strRef>
              <c:f>Sheet1!$B$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2:$A$23</c:f>
              <c:numCache>
                <c:formatCode>General</c:formatCode>
                <c:ptCount val="2"/>
                <c:pt idx="0">
                  <c:v>0</c:v>
                </c:pt>
                <c:pt idx="1">
                  <c:v>0.10710496056217828</c:v>
                </c:pt>
              </c:numCache>
            </c:numRef>
          </c:xVal>
          <c:yVal>
            <c:numRef>
              <c:f>Sheet1!$B$22:$B$23</c:f>
              <c:numCache>
                <c:formatCode>General</c:formatCode>
                <c:ptCount val="2"/>
                <c:pt idx="0">
                  <c:v>0.26571772250093256</c:v>
                </c:pt>
                <c:pt idx="1">
                  <c:v>0.26571772250093256</c:v>
                </c:pt>
              </c:numCache>
            </c:numRef>
          </c:yVal>
          <c:smooth val="0"/>
          <c:extLst>
            <c:ext xmlns:c16="http://schemas.microsoft.com/office/drawing/2014/chart" uri="{C3380CC4-5D6E-409C-BE32-E72D297353CC}">
              <c16:uniqueId val="{00000005-096C-4121-9522-6AB7243CCAAE}"/>
            </c:ext>
          </c:extLst>
        </c:ser>
        <c:ser>
          <c:idx val="3"/>
          <c:order val="3"/>
          <c:tx>
            <c:strRef>
              <c:f>Sheet1!$B$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10710496056217828</c:v>
                </c:pt>
                <c:pt idx="1">
                  <c:v>0.10710496056217828</c:v>
                </c:pt>
              </c:numCache>
            </c:numRef>
          </c:xVal>
          <c:yVal>
            <c:numRef>
              <c:f>Sheet1!$B$26:$B$27</c:f>
              <c:numCache>
                <c:formatCode>General</c:formatCode>
                <c:ptCount val="2"/>
                <c:pt idx="0">
                  <c:v>0.26571772250093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0:$A$31</c:f>
              <c:numCache>
                <c:formatCode>General</c:formatCode>
                <c:ptCount val="2"/>
                <c:pt idx="0">
                  <c:v>0</c:v>
                </c:pt>
                <c:pt idx="1">
                  <c:v>0.10710496056217828</c:v>
                </c:pt>
              </c:numCache>
            </c:numRef>
          </c:xVal>
          <c:yVal>
            <c:numRef>
              <c:f>Sheet1!$B$30:$B$31</c:f>
              <c:numCache>
                <c:formatCode>General</c:formatCode>
                <c:ptCount val="2"/>
                <c:pt idx="0">
                  <c:v>0.26571772250093256</c:v>
                </c:pt>
                <c:pt idx="1">
                  <c:v>0.26571772250093256</c:v>
                </c:pt>
              </c:numCache>
            </c:numRef>
          </c:yVal>
          <c:smooth val="0"/>
          <c:extLst>
            <c:ext xmlns:c16="http://schemas.microsoft.com/office/drawing/2014/chart" uri="{C3380CC4-5D6E-409C-BE32-E72D297353CC}">
              <c16:uniqueId val="{0000000D-096C-4121-9522-6AB7243CCAAE}"/>
            </c:ext>
          </c:extLst>
        </c:ser>
        <c:ser>
          <c:idx val="5"/>
          <c:order val="5"/>
          <c:tx>
            <c:strRef>
              <c:f>Sheet1!$B$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4:$A$35</c:f>
              <c:numCache>
                <c:formatCode>General</c:formatCode>
                <c:ptCount val="2"/>
                <c:pt idx="0">
                  <c:v>0.10710496056217828</c:v>
                </c:pt>
                <c:pt idx="1">
                  <c:v>0.10710496056217828</c:v>
                </c:pt>
              </c:numCache>
            </c:numRef>
          </c:xVal>
          <c:yVal>
            <c:numRef>
              <c:f>Sheet1!$B$34:$B$35</c:f>
              <c:numCache>
                <c:formatCode>General</c:formatCode>
                <c:ptCount val="2"/>
                <c:pt idx="0">
                  <c:v>0.265717722500932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8:$A$39</c:f>
              <c:numCache>
                <c:formatCode>General</c:formatCode>
                <c:ptCount val="2"/>
                <c:pt idx="0">
                  <c:v>0</c:v>
                </c:pt>
                <c:pt idx="1">
                  <c:v>0.08394673335783089</c:v>
                </c:pt>
              </c:numCache>
            </c:numRef>
          </c:xVal>
          <c:yVal>
            <c:numRef>
              <c:f>Sheet1!$B$38:$B$39</c:f>
              <c:numCache>
                <c:formatCode>General</c:formatCode>
                <c:ptCount val="2"/>
                <c:pt idx="0">
                  <c:v>0.2329279106411198</c:v>
                </c:pt>
                <c:pt idx="1">
                  <c:v>0.2329279106411198</c:v>
                </c:pt>
              </c:numCache>
            </c:numRef>
          </c:yVal>
          <c:smooth val="0"/>
          <c:extLst>
            <c:ext xmlns:c16="http://schemas.microsoft.com/office/drawing/2014/chart" uri="{C3380CC4-5D6E-409C-BE32-E72D297353CC}">
              <c16:uniqueId val="{00000015-096C-4121-9522-6AB7243CCAAE}"/>
            </c:ext>
          </c:extLst>
        </c:ser>
        <c:ser>
          <c:idx val="7"/>
          <c:order val="7"/>
          <c:tx>
            <c:strRef>
              <c:f>Sheet1!$B$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0.08394673335783089</c:v>
                </c:pt>
                <c:pt idx="1">
                  <c:v>0.08394673335783089</c:v>
                </c:pt>
              </c:numCache>
            </c:numRef>
          </c:xVal>
          <c:yVal>
            <c:numRef>
              <c:f>Sheet1!$B$42:$B$43</c:f>
              <c:numCache>
                <c:formatCode>General</c:formatCode>
                <c:ptCount val="2"/>
                <c:pt idx="0">
                  <c:v>0.23292791064111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6:$A$50</c:f>
              <c:numCache>
                <c:formatCode>General</c:formatCode>
                <c:ptCount val="5"/>
                <c:pt idx="0">
                  <c:v>0.09600411648391156</c:v>
                </c:pt>
                <c:pt idx="1">
                  <c:v>0.10101070595099183</c:v>
                </c:pt>
                <c:pt idx="2">
                  <c:v>0.10710496056217828</c:v>
                </c:pt>
                <c:pt idx="3">
                  <c:v>0.10710496056217828</c:v>
                </c:pt>
                <c:pt idx="4">
                  <c:v>0.08394673335783089</c:v>
                </c:pt>
              </c:numCache>
            </c:numRef>
          </c:xVal>
          <c:yVal>
            <c:numRef>
              <c:f>Sheet1!$B$46:$B$50</c:f>
              <c:numCache>
                <c:formatCode>General</c:formatCode>
                <c:ptCount val="5"/>
                <c:pt idx="0">
                  <c:v>0.2499999999999999</c:v>
                </c:pt>
                <c:pt idx="1">
                  <c:v>0.2570888468809073</c:v>
                </c:pt>
                <c:pt idx="2">
                  <c:v>0.26571772250093256</c:v>
                </c:pt>
                <c:pt idx="3">
                  <c:v>0.26571772250093256</c:v>
                </c:pt>
                <c:pt idx="4">
                  <c:v>0.23292791064111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elioc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4309392265193"/>
          <c:min val="0.12947976878612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9</c:f>
              <c:numCache>
                <c:formatCode>General</c:formatCode>
                <c:ptCount val="16"/>
                <c:pt idx="0">
                  <c:v>1150.2286</c:v>
                </c:pt>
                <c:pt idx="1">
                  <c:v>1117.6875</c:v>
                </c:pt>
                <c:pt idx="2">
                  <c:v>1154.2727</c:v>
                </c:pt>
                <c:pt idx="3">
                  <c:v>1100.25</c:v>
                </c:pt>
                <c:pt idx="4">
                  <c:v>1084.08</c:v>
                </c:pt>
                <c:pt idx="5">
                  <c:v>1236.5278</c:v>
                </c:pt>
                <c:pt idx="6">
                  <c:v>1214.5135</c:v>
                </c:pt>
                <c:pt idx="7">
                  <c:v>1152.8033</c:v>
                </c:pt>
                <c:pt idx="8">
                  <c:v>1179.371</c:v>
                </c:pt>
                <c:pt idx="9">
                  <c:v>1184.3431</c:v>
                </c:pt>
                <c:pt idx="10">
                  <c:v>1202.4872</c:v>
                </c:pt>
                <c:pt idx="11">
                  <c:v>1168.96</c:v>
                </c:pt>
                <c:pt idx="12">
                  <c:v>1207.6402</c:v>
                </c:pt>
                <c:pt idx="13">
                  <c:v>1190.5066</c:v>
                </c:pt>
                <c:pt idx="14">
                  <c:v>1068.1418</c:v>
                </c:pt>
                <c:pt idx="15">
                  <c:v>1038.7941</c:v>
                </c:pt>
              </c:numCache>
            </c:numRef>
          </c:xVal>
          <c:yVal>
            <c:numRef>
              <c:f>Sheet1!$B$4:$B$19</c:f>
              <c:numCache>
                <c:formatCode>General</c:formatCode>
                <c:ptCount val="16"/>
                <c:pt idx="0">
                  <c:v>0.2536231884057971</c:v>
                </c:pt>
                <c:pt idx="1">
                  <c:v>0.18823529411764706</c:v>
                </c:pt>
                <c:pt idx="2">
                  <c:v>0.2018348623853211</c:v>
                </c:pt>
                <c:pt idx="3">
                  <c:v>0.16184971098265896</c:v>
                </c:pt>
                <c:pt idx="4">
                  <c:v>0.20080321285140562</c:v>
                </c:pt>
                <c:pt idx="5">
                  <c:v>0.1935483870967742</c:v>
                </c:pt>
                <c:pt idx="6">
                  <c:v>0.24342105263157895</c:v>
                </c:pt>
                <c:pt idx="7">
                  <c:v>0.2089041095890411</c:v>
                </c:pt>
                <c:pt idx="8">
                  <c:v>0.21754385964912282</c:v>
                </c:pt>
                <c:pt idx="9">
                  <c:v>0.2383177570093458</c:v>
                </c:pt>
                <c:pt idx="10">
                  <c:v>0.2508038585209003</c:v>
                </c:pt>
                <c:pt idx="11">
                  <c:v>0.25</c:v>
                </c:pt>
                <c:pt idx="12">
                  <c:v>0.3020257826887661</c:v>
                </c:pt>
                <c:pt idx="13">
                  <c:v>0.25375626043405675</c:v>
                </c:pt>
                <c:pt idx="14">
                  <c:v>0.25</c:v>
                </c:pt>
                <c:pt idx="15">
                  <c:v>0.2570888468809074</c:v>
                </c:pt>
              </c:numCache>
            </c:numRef>
          </c:yVal>
          <c:smooth val="0"/>
          <c:extLst>
            <c:ext xmlns:c16="http://schemas.microsoft.com/office/drawing/2014/chart" uri="{C3380CC4-5D6E-409C-BE32-E72D297353CC}">
              <c16:uniqueId val="{00000002-F32D-48B7-BC20-E66FC6253BAD}"/>
            </c:ext>
          </c:extLst>
        </c:ser>
        <c:ser>
          <c:idx val="2"/>
          <c:order val="2"/>
          <c:tx>
            <c:strRef>
              <c:f>Sheet1!$B$21</c:f>
              <c:strCache>
                <c:ptCount val="1"/>
                <c:pt idx="0">
                  <c:v>Custom Linep3yQ</c:v>
                </c:pt>
              </c:strCache>
            </c:strRef>
          </c:tx>
          <c:spPr>
            <a:ln w="19050" cap="rnd">
              <a:solidFill>
                <a:srgbClr val="C00000"/>
              </a:solidFill>
              <a:prstDash val="sysDot"/>
              <a:round/>
            </a:ln>
            <a:effectLst/>
          </c:spPr>
          <c:marker>
            <c:symbol val="none"/>
          </c:marker>
          <c:xVal>
            <c:numRef>
              <c:f>Sheet1!$A$22:$A$23</c:f>
              <c:numCache>
                <c:formatCode>General</c:formatCode>
                <c:ptCount val="2"/>
                <c:pt idx="0">
                  <c:v>0</c:v>
                </c:pt>
                <c:pt idx="1">
                  <c:v>1442.4192878038489</c:v>
                </c:pt>
              </c:numCache>
            </c:numRef>
          </c:xVal>
          <c:yVal>
            <c:numRef>
              <c:f>Sheet1!$B$22:$B$23</c:f>
              <c:numCache>
                <c:formatCode>General</c:formatCode>
                <c:ptCount val="2"/>
                <c:pt idx="0">
                  <c:v>0.26571772250093256</c:v>
                </c:pt>
                <c:pt idx="1">
                  <c:v>0.26571772250093256</c:v>
                </c:pt>
              </c:numCache>
            </c:numRef>
          </c:yVal>
          <c:smooth val="0"/>
          <c:extLst>
            <c:ext xmlns:c16="http://schemas.microsoft.com/office/drawing/2014/chart" uri="{C3380CC4-5D6E-409C-BE32-E72D297353CC}">
              <c16:uniqueId val="{00000003-F32D-48B7-BC20-E66FC6253BAD}"/>
            </c:ext>
          </c:extLst>
        </c:ser>
        <c:ser>
          <c:idx val="3"/>
          <c:order val="3"/>
          <c:tx>
            <c:strRef>
              <c:f>Sheet1!$B$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1442.4192878038489</c:v>
                </c:pt>
                <c:pt idx="1">
                  <c:v>1442.4192878038489</c:v>
                </c:pt>
              </c:numCache>
            </c:numRef>
          </c:xVal>
          <c:yVal>
            <c:numRef>
              <c:f>Sheet1!$B$26:$B$27</c:f>
              <c:numCache>
                <c:formatCode>General</c:formatCode>
                <c:ptCount val="2"/>
                <c:pt idx="0">
                  <c:v>0.26571772250093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0:$A$31</c:f>
              <c:numCache>
                <c:formatCode>General</c:formatCode>
                <c:ptCount val="2"/>
                <c:pt idx="0">
                  <c:v>0</c:v>
                </c:pt>
                <c:pt idx="1">
                  <c:v>1442.4192878038489</c:v>
                </c:pt>
              </c:numCache>
            </c:numRef>
          </c:xVal>
          <c:yVal>
            <c:numRef>
              <c:f>Sheet1!$B$30:$B$31</c:f>
              <c:numCache>
                <c:formatCode>General</c:formatCode>
                <c:ptCount val="2"/>
                <c:pt idx="0">
                  <c:v>0.26571772250093256</c:v>
                </c:pt>
                <c:pt idx="1">
                  <c:v>0.26571772250093256</c:v>
                </c:pt>
              </c:numCache>
            </c:numRef>
          </c:yVal>
          <c:smooth val="0"/>
          <c:extLst>
            <c:ext xmlns:c16="http://schemas.microsoft.com/office/drawing/2014/chart" uri="{C3380CC4-5D6E-409C-BE32-E72D297353CC}">
              <c16:uniqueId val="{0000000A-F32D-48B7-BC20-E66FC6253BAD}"/>
            </c:ext>
          </c:extLst>
        </c:ser>
        <c:ser>
          <c:idx val="5"/>
          <c:order val="5"/>
          <c:tx>
            <c:strRef>
              <c:f>Sheet1!$B$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4:$A$35</c:f>
              <c:numCache>
                <c:formatCode>General</c:formatCode>
                <c:ptCount val="2"/>
                <c:pt idx="0">
                  <c:v>1442.4192878038489</c:v>
                </c:pt>
                <c:pt idx="1">
                  <c:v>1442.4192878038489</c:v>
                </c:pt>
              </c:numCache>
            </c:numRef>
          </c:xVal>
          <c:yVal>
            <c:numRef>
              <c:f>Sheet1!$B$34:$B$35</c:f>
              <c:numCache>
                <c:formatCode>General</c:formatCode>
                <c:ptCount val="2"/>
                <c:pt idx="0">
                  <c:v>0.265717722500932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8:$A$39</c:f>
              <c:numCache>
                <c:formatCode>General</c:formatCode>
                <c:ptCount val="2"/>
                <c:pt idx="0">
                  <c:v>0</c:v>
                </c:pt>
                <c:pt idx="1">
                  <c:v>1180.6504394519236</c:v>
                </c:pt>
              </c:numCache>
            </c:numRef>
          </c:xVal>
          <c:yVal>
            <c:numRef>
              <c:f>Sheet1!$B$38:$B$39</c:f>
              <c:numCache>
                <c:formatCode>General</c:formatCode>
                <c:ptCount val="2"/>
                <c:pt idx="0">
                  <c:v>0.2329279106411198</c:v>
                </c:pt>
                <c:pt idx="1">
                  <c:v>0.2329279106411198</c:v>
                </c:pt>
              </c:numCache>
            </c:numRef>
          </c:yVal>
          <c:smooth val="0"/>
          <c:extLst>
            <c:ext xmlns:c16="http://schemas.microsoft.com/office/drawing/2014/chart" uri="{C3380CC4-5D6E-409C-BE32-E72D297353CC}">
              <c16:uniqueId val="{00000011-F32D-48B7-BC20-E66FC6253BAD}"/>
            </c:ext>
          </c:extLst>
        </c:ser>
        <c:ser>
          <c:idx val="7"/>
          <c:order val="7"/>
          <c:tx>
            <c:strRef>
              <c:f>Sheet1!$B$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1180.6504394519236</c:v>
                </c:pt>
                <c:pt idx="1">
                  <c:v>1180.6504394519236</c:v>
                </c:pt>
              </c:numCache>
            </c:numRef>
          </c:xVal>
          <c:yVal>
            <c:numRef>
              <c:f>Sheet1!$B$42:$B$43</c:f>
              <c:numCache>
                <c:formatCode>General</c:formatCode>
                <c:ptCount val="2"/>
                <c:pt idx="0">
                  <c:v>0.23292791064111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6:$A$64</c:f>
              <c:numCache>
                <c:formatCode>General</c:formatCode>
                <c:ptCount val="19"/>
                <c:pt idx="0">
                  <c:v>1150.2286</c:v>
                </c:pt>
                <c:pt idx="1">
                  <c:v>1117.6875</c:v>
                </c:pt>
                <c:pt idx="2">
                  <c:v>1154.2727</c:v>
                </c:pt>
                <c:pt idx="3">
                  <c:v>1100.25</c:v>
                </c:pt>
                <c:pt idx="4">
                  <c:v>1084.08</c:v>
                </c:pt>
                <c:pt idx="5">
                  <c:v>1236.5278</c:v>
                </c:pt>
                <c:pt idx="6">
                  <c:v>1214.5135</c:v>
                </c:pt>
                <c:pt idx="7">
                  <c:v>1152.8033</c:v>
                </c:pt>
                <c:pt idx="8">
                  <c:v>1179.371</c:v>
                </c:pt>
                <c:pt idx="9">
                  <c:v>1184.3431</c:v>
                </c:pt>
                <c:pt idx="10">
                  <c:v>1202.4872</c:v>
                </c:pt>
                <c:pt idx="11">
                  <c:v>1168.96</c:v>
                </c:pt>
                <c:pt idx="12">
                  <c:v>1207.6402</c:v>
                </c:pt>
                <c:pt idx="13">
                  <c:v>1190.5066</c:v>
                </c:pt>
                <c:pt idx="14">
                  <c:v>1068.1418</c:v>
                </c:pt>
                <c:pt idx="15">
                  <c:v>1038.7941</c:v>
                </c:pt>
                <c:pt idx="16">
                  <c:v>1442.4192878038489</c:v>
                </c:pt>
                <c:pt idx="17">
                  <c:v>1442.4192878038489</c:v>
                </c:pt>
                <c:pt idx="18">
                  <c:v>1180.6504394519236</c:v>
                </c:pt>
              </c:numCache>
            </c:numRef>
          </c:xVal>
          <c:yVal>
            <c:numRef>
              <c:f>Sheet1!$B$46:$B$64</c:f>
              <c:numCache>
                <c:formatCode>General</c:formatCode>
                <c:ptCount val="19"/>
                <c:pt idx="0">
                  <c:v>0.22911719596541125</c:v>
                </c:pt>
                <c:pt idx="1">
                  <c:v>0.22504101748417027</c:v>
                </c:pt>
                <c:pt idx="2">
                  <c:v>0.22962376991023756</c:v>
                </c:pt>
                <c:pt idx="3">
                  <c:v>0.2228567532070979</c:v>
                </c:pt>
                <c:pt idx="4">
                  <c:v>0.22083125910758478</c:v>
                </c:pt>
                <c:pt idx="5">
                  <c:v>0.23992724670089077</c:v>
                </c:pt>
                <c:pt idx="6">
                  <c:v>0.2371696811625536</c:v>
                </c:pt>
                <c:pt idx="7">
                  <c:v>0.2294397092404896</c:v>
                </c:pt>
                <c:pt idx="8">
                  <c:v>0.232767644898352</c:v>
                </c:pt>
                <c:pt idx="9">
                  <c:v>0.23339046241302047</c:v>
                </c:pt>
                <c:pt idx="10">
                  <c:v>0.23566323714963</c:v>
                </c:pt>
                <c:pt idx="11">
                  <c:v>0.23146353734918493</c:v>
                </c:pt>
                <c:pt idx="12">
                  <c:v>0.23630871464466965</c:v>
                </c:pt>
                <c:pt idx="13">
                  <c:v>0.23416251763147125</c:v>
                </c:pt>
                <c:pt idx="14">
                  <c:v>0.2188348008480387</c:v>
                </c:pt>
                <c:pt idx="15">
                  <c:v>0.21515863553051975</c:v>
                </c:pt>
                <c:pt idx="16">
                  <c:v>0.26571772250093256</c:v>
                </c:pt>
                <c:pt idx="17">
                  <c:v>0.26571772250093256</c:v>
                </c:pt>
                <c:pt idx="18">
                  <c:v>0.23292791064111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1.0"/>
          <c:min val="8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24309392265193"/>
          <c:min val="0.12947976878612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4494854326714017</c:v>
                </c:pt>
                <c:pt idx="5">
                  <c:v>0.00016504373659019642</c:v>
                </c:pt>
                <c:pt idx="6">
                  <c:v>0.00024154589371980676</c:v>
                </c:pt>
                <c:pt idx="7">
                  <c:v>0.00021376656690893543</c:v>
                </c:pt>
                <c:pt idx="8">
                  <c:v>0.0002021018593371059</c:v>
                </c:pt>
                <c:pt idx="9">
                  <c:v>0.00018234865061998541</c:v>
                </c:pt>
                <c:pt idx="10">
                  <c:v>0.00038550501156515033</c:v>
                </c:pt>
                <c:pt idx="11">
                  <c:v>0.0004048582995951417</c:v>
                </c:pt>
                <c:pt idx="12">
                  <c:v>0.0004104247896572953</c:v>
                </c:pt>
                <c:pt idx="13">
                  <c:v>0.0005138746145940391</c:v>
                </c:pt>
                <c:pt idx="14">
                  <c:v>0.0006572461386789353</c:v>
                </c:pt>
                <c:pt idx="15">
                  <c:v>0.0006626905235255136</c:v>
                </c:pt>
                <c:pt idx="16">
                  <c:v>0.0003843197540353574</c:v>
                </c:pt>
                <c:pt idx="17">
                  <c:v>0.0006693440428380187</c:v>
                </c:pt>
                <c:pt idx="18">
                  <c:v>0.0007473841554559044</c:v>
                </c:pt>
                <c:pt idx="19">
                  <c:v>0.0006607201850016518</c:v>
                </c:pt>
                <c:pt idx="20">
                  <c:v>0.0007895775759968417</c:v>
                </c:pt>
                <c:pt idx="21">
                  <c:v>0.0</c:v>
                </c:pt>
                <c:pt idx="22">
                  <c:v>0.002144082332761578</c:v>
                </c:pt>
                <c:pt idx="23">
                  <c:v>0.0011001100110011</c:v>
                </c:pt>
                <c:pt idx="24">
                  <c:v>0.001143728555089592</c:v>
                </c:pt>
                <c:pt idx="25">
                  <c:v>0.0014534883720930232</c:v>
                </c:pt>
                <c:pt idx="26">
                  <c:v>0.0010003334444814939</c:v>
                </c:pt>
                <c:pt idx="27">
                  <c:v>0.0014097744360902255</c:v>
                </c:pt>
                <c:pt idx="28">
                  <c:v>0.0015739769150052466</c:v>
                </c:pt>
                <c:pt idx="29">
                  <c:v>0.0020714655618850335</c:v>
                </c:pt>
                <c:pt idx="30">
                  <c:v>0.0017833259028087382</c:v>
                </c:pt>
                <c:pt idx="31">
                  <c:v>0.0012706480304955528</c:v>
                </c:pt>
                <c:pt idx="32">
                  <c:v>0.001447178002894356</c:v>
                </c:pt>
                <c:pt idx="33">
                  <c:v>0.0012320328542094457</c:v>
                </c:pt>
                <c:pt idx="34">
                  <c:v>0.0018501387604070306</c:v>
                </c:pt>
                <c:pt idx="35">
                  <c:v>0.002234137622877569</c:v>
                </c:pt>
                <c:pt idx="36">
                  <c:v>0.002158894645941278</c:v>
                </c:pt>
                <c:pt idx="37">
                  <c:v>0.0020797227036395147</c:v>
                </c:pt>
                <c:pt idx="38">
                  <c:v>0.0016886187098953055</c:v>
                </c:pt>
                <c:pt idx="39">
                  <c:v>0.001594896331738437</c:v>
                </c:pt>
                <c:pt idx="40">
                  <c:v>0.0020057306590257878</c:v>
                </c:pt>
                <c:pt idx="41">
                  <c:v>0.002429906542056075</c:v>
                </c:pt>
                <c:pt idx="42">
                  <c:v>0.0028363765289842226</c:v>
                </c:pt>
                <c:pt idx="43">
                  <c:v>0.0029218407596785976</c:v>
                </c:pt>
                <c:pt idx="44">
                  <c:v>0.0026378595653812334</c:v>
                </c:pt>
                <c:pt idx="45">
                  <c:v>0.0018461538461538461</c:v>
                </c:pt>
                <c:pt idx="46">
                  <c:v>0.003142183817753339</c:v>
                </c:pt>
                <c:pt idx="47">
                  <c:v>0.001964154186103609</c:v>
                </c:pt>
                <c:pt idx="48">
                  <c:v>0.002242655303879794</c:v>
                </c:pt>
                <c:pt idx="49">
                  <c:v>0.0018944519621109607</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1894387875917594</c:v>
                </c:pt>
                <c:pt idx="1">
                  <c:v>0.0020135917442738486</c:v>
                </c:pt>
                <c:pt idx="2">
                  <c:v>0.001987632508833922</c:v>
                </c:pt>
                <c:pt idx="3">
                  <c:v>0.002410219329959026</c:v>
                </c:pt>
                <c:pt idx="4">
                  <c:v>0.0017605633802816902</c:v>
                </c:pt>
                <c:pt idx="5">
                  <c:v>0.0020470829068577278</c:v>
                </c:pt>
                <c:pt idx="6">
                  <c:v>0.002163097555699762</c:v>
                </c:pt>
                <c:pt idx="7">
                  <c:v>0.0028760425654299686</c:v>
                </c:pt>
                <c:pt idx="8">
                  <c:v>0.004129129129129129</c:v>
                </c:pt>
                <c:pt idx="9">
                  <c:v>0.0037593984962406013</c:v>
                </c:pt>
                <c:pt idx="10">
                  <c:v>0.00352</c:v>
                </c:pt>
                <c:pt idx="11">
                  <c:v>0.0030469226081657527</c:v>
                </c:pt>
                <c:pt idx="12">
                  <c:v>0.0037497070541363956</c:v>
                </c:pt>
                <c:pt idx="13">
                  <c:v>0.00508130081300813</c:v>
                </c:pt>
                <c:pt idx="14">
                  <c:v>0.003942551393973529</c:v>
                </c:pt>
                <c:pt idx="15">
                  <c:v>0.004124365482233503</c:v>
                </c:pt>
                <c:pt idx="16">
                  <c:v>0.0046362339514978606</c:v>
                </c:pt>
                <c:pt idx="17">
                  <c:v>0.0061633281972265025</c:v>
                </c:pt>
                <c:pt idx="18">
                  <c:v>0.003245248029670839</c:v>
                </c:pt>
                <c:pt idx="19">
                  <c:v>0.002574002574002574</c:v>
                </c:pt>
                <c:pt idx="20">
                  <c:v>0.002938295788442703</c:v>
                </c:pt>
                <c:pt idx="21">
                  <c:v>0.003005259203606311</c:v>
                </c:pt>
                <c:pt idx="22">
                  <c:v>0.004329004329004329</c:v>
                </c:pt>
                <c:pt idx="23">
                  <c:v>0.003328894806924101</c:v>
                </c:pt>
                <c:pt idx="24">
                  <c:v>0.003357582540570789</c:v>
                </c:pt>
                <c:pt idx="25">
                  <c:v>0.0029120559114735</c:v>
                </c:pt>
                <c:pt idx="26">
                  <c:v>0.0036101083032490976</c:v>
                </c:pt>
                <c:pt idx="27">
                  <c:v>0.003933566433566434</c:v>
                </c:pt>
                <c:pt idx="28">
                  <c:v>0.002824858757062147</c:v>
                </c:pt>
                <c:pt idx="29">
                  <c:v>0.003227293683725219</c:v>
                </c:pt>
                <c:pt idx="30">
                  <c:v>0.003750586029067042</c:v>
                </c:pt>
                <c:pt idx="31">
                  <c:v>0.002890173410404624</c:v>
                </c:pt>
                <c:pt idx="32">
                  <c:v>0.0024630541871921183</c:v>
                </c:pt>
                <c:pt idx="33">
                  <c:v>0.002102102102102102</c:v>
                </c:pt>
                <c:pt idx="34">
                  <c:v>0.0021404109589041095</c:v>
                </c:pt>
                <c:pt idx="35">
                  <c:v>0.00278473962684489</c:v>
                </c:pt>
                <c:pt idx="36">
                  <c:v>0.00425531914893617</c:v>
                </c:pt>
                <c:pt idx="37">
                  <c:v>0.0037611659614480487</c:v>
                </c:pt>
                <c:pt idx="38">
                  <c:v>0.0035052578868302454</c:v>
                </c:pt>
                <c:pt idx="39">
                  <c:v>0.0025197984161267097</c:v>
                </c:pt>
                <c:pt idx="40">
                  <c:v>0.0032719836400817996</c:v>
                </c:pt>
                <c:pt idx="41">
                  <c:v>0.002692307692307692</c:v>
                </c:pt>
                <c:pt idx="42">
                  <c:v>0.0017123287671232876</c:v>
                </c:pt>
                <c:pt idx="43">
                  <c:v>0.0018018018018018018</c:v>
                </c:pt>
                <c:pt idx="44">
                  <c:v>0.002015621063240111</c:v>
                </c:pt>
                <c:pt idx="45">
                  <c:v>0.0011784511784511784</c:v>
                </c:pt>
                <c:pt idx="46">
                  <c:v>0.0015631978561857973</c:v>
                </c:pt>
                <c:pt idx="47">
                  <c:v>0.0012586532410320957</c:v>
                </c:pt>
                <c:pt idx="48">
                  <c:v>0.0020069330414158</c:v>
                </c:pt>
                <c:pt idx="49">
                  <c:v>0.0015589814654425776</c:v>
                </c:pt>
                <c:pt idx="50">
                  <c:v>0.0011036309458117206</c:v>
                </c:pt>
                <c:pt idx="51">
                  <c:v>0.0018832391713747645</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55.729082602815</c:v>
                </c:pt>
              </c:numCache>
            </c:numRef>
          </c:xVal>
          <c:yVal>
            <c:numRef>
              <c:f>Sheet1!$B$108:$B$109</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55.729082602815</c:v>
                </c:pt>
                <c:pt idx="1">
                  <c:v>3355.729082602815</c:v>
                </c:pt>
              </c:numCache>
            </c:numRef>
          </c:xVal>
          <c:yVal>
            <c:numRef>
              <c:f>Sheet1!$B$112:$B$113</c:f>
              <c:numCache>
                <c:formatCode>General</c:formatCode>
                <c:ptCount val="2"/>
                <c:pt idx="0">
                  <c:v>0.00382973950709266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55.729082602815</c:v>
                </c:pt>
              </c:numCache>
            </c:numRef>
          </c:xVal>
          <c:yVal>
            <c:numRef>
              <c:f>Sheet1!$B$116:$B$117</c:f>
              <c:numCache>
                <c:formatCode>General</c:formatCode>
                <c:ptCount val="2"/>
                <c:pt idx="0">
                  <c:v>0.0038297395070926695</c:v>
                </c:pt>
                <c:pt idx="1">
                  <c:v>0.0038297395070926695</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55.729082602815</c:v>
                </c:pt>
                <c:pt idx="1">
                  <c:v>3355.729082602815</c:v>
                </c:pt>
              </c:numCache>
            </c:numRef>
          </c:xVal>
          <c:yVal>
            <c:numRef>
              <c:f>Sheet1!$B$120:$B$121</c:f>
              <c:numCache>
                <c:formatCode>General</c:formatCode>
                <c:ptCount val="2"/>
                <c:pt idx="0">
                  <c:v>0.003829739507092669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66.073341044709</c:v>
                </c:pt>
              </c:numCache>
            </c:numRef>
          </c:xVal>
          <c:yVal>
            <c:numRef>
              <c:f>Sheet1!$B$124:$B$125</c:f>
              <c:numCache>
                <c:formatCode>General</c:formatCode>
                <c:ptCount val="2"/>
                <c:pt idx="0">
                  <c:v>0.0018897637138765642</c:v>
                </c:pt>
                <c:pt idx="1">
                  <c:v>0.0018897637138765642</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66.073341044709</c:v>
                </c:pt>
                <c:pt idx="1">
                  <c:v>4966.073341044709</c:v>
                </c:pt>
              </c:numCache>
            </c:numRef>
          </c:xVal>
          <c:yVal>
            <c:numRef>
              <c:f>Sheet1!$B$128:$B$129</c:f>
              <c:numCache>
                <c:formatCode>General</c:formatCode>
                <c:ptCount val="2"/>
                <c:pt idx="0">
                  <c:v>0.001889763713876564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55.729082602815</c:v>
                </c:pt>
                <c:pt idx="53">
                  <c:v>3355.729082602815</c:v>
                </c:pt>
                <c:pt idx="54">
                  <c:v>4966.073341044709</c:v>
                </c:pt>
              </c:numCache>
            </c:numRef>
          </c:xVal>
          <c:yVal>
            <c:numRef>
              <c:f>Sheet1!$B$132:$B$186</c:f>
              <c:numCache>
                <c:formatCode>General</c:formatCode>
                <c:ptCount val="55"/>
                <c:pt idx="0">
                  <c:v>0.003084007289307825</c:v>
                </c:pt>
                <c:pt idx="1">
                  <c:v>0.003485773510192523</c:v>
                </c:pt>
                <c:pt idx="2">
                  <c:v>0.003079155013492295</c:v>
                </c:pt>
                <c:pt idx="3">
                  <c:v>0.0034878817287428924</c:v>
                </c:pt>
                <c:pt idx="4">
                  <c:v>0.0019528404576537152</c:v>
                </c:pt>
                <c:pt idx="5">
                  <c:v>0.0026864575055238664</c:v>
                </c:pt>
                <c:pt idx="6">
                  <c:v>0.002388716811395971</c:v>
                </c:pt>
                <c:pt idx="7">
                  <c:v>0.0029820297462856667</c:v>
                </c:pt>
                <c:pt idx="8">
                  <c:v>0.0037984195504107933</c:v>
                </c:pt>
                <c:pt idx="9">
                  <c:v>0.002662938580784838</c:v>
                </c:pt>
                <c:pt idx="10">
                  <c:v>0.0028154968646763546</c:v>
                </c:pt>
                <c:pt idx="11">
                  <c:v>0.0030994475205618367</c:v>
                </c:pt>
                <c:pt idx="12">
                  <c:v>0.0031043365396149596</c:v>
                </c:pt>
                <c:pt idx="13">
                  <c:v>0.003984638254025666</c:v>
                </c:pt>
                <c:pt idx="14">
                  <c:v>0.0032786087517574928</c:v>
                </c:pt>
                <c:pt idx="15">
                  <c:v>0.003586991130779496</c:v>
                </c:pt>
                <c:pt idx="16">
                  <c:v>0.0036652963912217913</c:v>
                </c:pt>
                <c:pt idx="17">
                  <c:v>0.004089627537834066</c:v>
                </c:pt>
                <c:pt idx="18">
                  <c:v>0.002525415388776768</c:v>
                </c:pt>
                <c:pt idx="19">
                  <c:v>0.0022418242142715327</c:v>
                </c:pt>
                <c:pt idx="20">
                  <c:v>0.0032019671769255185</c:v>
                </c:pt>
                <c:pt idx="21">
                  <c:v>0.002675615238693394</c:v>
                </c:pt>
                <c:pt idx="22">
                  <c:v>0.0029981726768999245</c:v>
                </c:pt>
                <c:pt idx="23">
                  <c:v>0.00324417166432018</c:v>
                </c:pt>
                <c:pt idx="24">
                  <c:v>0.0023667109852279515</c:v>
                </c:pt>
                <c:pt idx="25">
                  <c:v>0.0028738480172438505</c:v>
                </c:pt>
                <c:pt idx="26">
                  <c:v>0.002713692195575328</c:v>
                </c:pt>
                <c:pt idx="27">
                  <c:v>0.0032917170523555335</c:v>
                </c:pt>
                <c:pt idx="28">
                  <c:v>0.003742825586298287</c:v>
                </c:pt>
                <c:pt idx="29">
                  <c:v>0.0031831795764920455</c:v>
                </c:pt>
                <c:pt idx="30">
                  <c:v>0.0037937240055857784</c:v>
                </c:pt>
                <c:pt idx="31">
                  <c:v>0.003122858745450348</c:v>
                </c:pt>
                <c:pt idx="32">
                  <c:v>0.0015485214852785983</c:v>
                </c:pt>
                <c:pt idx="33">
                  <c:v>0.0020521418882828496</c:v>
                </c:pt>
                <c:pt idx="34">
                  <c:v>0.0022000613685457648</c:v>
                </c:pt>
                <c:pt idx="35">
                  <c:v>0.0027302482165558264</c:v>
                </c:pt>
                <c:pt idx="36">
                  <c:v>0.0030172972308925624</c:v>
                </c:pt>
                <c:pt idx="37">
                  <c:v>0.0025086142120962695</c:v>
                </c:pt>
                <c:pt idx="38">
                  <c:v>0.0034139650565046774</c:v>
                </c:pt>
                <c:pt idx="39">
                  <c:v>0.0031119304633030215</c:v>
                </c:pt>
                <c:pt idx="40">
                  <c:v>0.0035630246613596326</c:v>
                </c:pt>
                <c:pt idx="41">
                  <c:v>0.002064188851427818</c:v>
                </c:pt>
                <c:pt idx="42">
                  <c:v>0.0015600664514693156</c:v>
                </c:pt>
                <c:pt idx="43">
                  <c:v>0.002682140717220129</c:v>
                </c:pt>
                <c:pt idx="44">
                  <c:v>0.0026641706237056743</c:v>
                </c:pt>
                <c:pt idx="45">
                  <c:v>0.002083980325300161</c:v>
                </c:pt>
                <c:pt idx="46">
                  <c:v>0.002179667546516173</c:v>
                </c:pt>
                <c:pt idx="47">
                  <c:v>0.002157896997538375</c:v>
                </c:pt>
                <c:pt idx="48">
                  <c:v>0.003938492964047022</c:v>
                </c:pt>
                <c:pt idx="49">
                  <c:v>0.0027501390778741155</c:v>
                </c:pt>
                <c:pt idx="50">
                  <c:v>0.0021665708110027524</c:v>
                </c:pt>
                <c:pt idx="51">
                  <c:v>0.00320995828898847</c:v>
                </c:pt>
                <c:pt idx="52">
                  <c:v>0.0038297395070926695</c:v>
                </c:pt>
                <c:pt idx="53">
                  <c:v>0.0038297395070926695</c:v>
                </c:pt>
                <c:pt idx="54">
                  <c:v>0.00188976371387656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39599383667180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149892636924192</c:v>
                </c:pt>
                <c:pt idx="1">
                  <c:v>0.8735144154912742</c:v>
                </c:pt>
                <c:pt idx="2">
                  <c:v>0.9884314479071609</c:v>
                </c:pt>
                <c:pt idx="3">
                  <c:v>0.9203406109613657</c:v>
                </c:pt>
                <c:pt idx="4">
                  <c:v>1.0336093521675596</c:v>
                </c:pt>
                <c:pt idx="5">
                  <c:v>1.0901852230171571</c:v>
                </c:pt>
                <c:pt idx="6">
                  <c:v>0.9937432183059606</c:v>
                </c:pt>
                <c:pt idx="7">
                  <c:v>1.0461396112694221</c:v>
                </c:pt>
                <c:pt idx="8">
                  <c:v>0.9752830078694258</c:v>
                </c:pt>
                <c:pt idx="9">
                  <c:v>0.7839345086268463</c:v>
                </c:pt>
                <c:pt idx="10">
                  <c:v>0.912250145715951</c:v>
                </c:pt>
                <c:pt idx="11">
                  <c:v>0.9585275307473983</c:v>
                </c:pt>
                <c:pt idx="12">
                  <c:v>0.9504821256967135</c:v>
                </c:pt>
                <c:pt idx="13">
                  <c:v>0.8496787145019141</c:v>
                </c:pt>
                <c:pt idx="14">
                  <c:v>0.9266015226022557</c:v>
                </c:pt>
                <c:pt idx="15">
                  <c:v>0.8510828671328671</c:v>
                </c:pt>
                <c:pt idx="16">
                  <c:v>0.9214707163862254</c:v>
                </c:pt>
                <c:pt idx="17">
                  <c:v>0.9708131659056317</c:v>
                </c:pt>
                <c:pt idx="18">
                  <c:v>0.8247211256746337</c:v>
                </c:pt>
                <c:pt idx="19">
                  <c:v>1.0426994763382467</c:v>
                </c:pt>
                <c:pt idx="20">
                  <c:v>1.101020976863753</c:v>
                </c:pt>
                <c:pt idx="21">
                  <c:v>1.0314451674186655</c:v>
                </c:pt>
                <c:pt idx="22">
                  <c:v>0.9856289449954915</c:v>
                </c:pt>
                <c:pt idx="23">
                  <c:v>0.8303956287142112</c:v>
                </c:pt>
                <c:pt idx="24">
                  <c:v>1.1474862727195412</c:v>
                </c:pt>
                <c:pt idx="25">
                  <c:v>0.7450269023827825</c:v>
                </c:pt>
                <c:pt idx="26">
                  <c:v>1.1594786626139817</c:v>
                </c:pt>
                <c:pt idx="27">
                  <c:v>0.8085198198198199</c:v>
                </c:pt>
                <c:pt idx="28">
                  <c:v>1.0763793446920054</c:v>
                </c:pt>
                <c:pt idx="29">
                  <c:v>0.8153978503869304</c:v>
                </c:pt>
                <c:pt idx="30">
                  <c:v>1.0503468085106382</c:v>
                </c:pt>
                <c:pt idx="31">
                  <c:v>0.6764398242055443</c:v>
                </c:pt>
                <c:pt idx="32">
                  <c:v>0.43547982695810566</c:v>
                </c:pt>
                <c:pt idx="33">
                  <c:v>0.7983435483870969</c:v>
                </c:pt>
                <c:pt idx="34">
                  <c:v>0.0</c:v>
                </c:pt>
                <c:pt idx="35">
                  <c:v>0.9818459130434783</c:v>
                </c:pt>
                <c:pt idx="36">
                  <c:v>1.3861504662004662</c:v>
                </c:pt>
                <c:pt idx="37">
                  <c:v>1.0681296226415093</c:v>
                </c:pt>
                <c:pt idx="38">
                  <c:v>0.9683743150684933</c:v>
                </c:pt>
                <c:pt idx="39">
                  <c:v>0.7541418558077437</c:v>
                </c:pt>
                <c:pt idx="40">
                  <c:v>0.7953846153846155</c:v>
                </c:pt>
                <c:pt idx="41">
                  <c:v>0.7821057197943445</c:v>
                </c:pt>
                <c:pt idx="42">
                  <c:v>0.6181182317682318</c:v>
                </c:pt>
                <c:pt idx="43">
                  <c:v>1.0589419270833333</c:v>
                </c:pt>
                <c:pt idx="44">
                  <c:v>0.7446088174982911</c:v>
                </c:pt>
                <c:pt idx="45">
                  <c:v>0.667838180414361</c:v>
                </c:pt>
                <c:pt idx="46">
                  <c:v>0.7858979898752565</c:v>
                </c:pt>
                <c:pt idx="47">
                  <c:v>0.7182699982767533</c:v>
                </c:pt>
                <c:pt idx="48">
                  <c:v>0.8941614151236164</c:v>
                </c:pt>
                <c:pt idx="49">
                  <c:v>0.6972762459096739</c:v>
                </c:pt>
                <c:pt idx="50">
                  <c:v>0.796904366880576</c:v>
                </c:pt>
                <c:pt idx="51">
                  <c:v>0.8337784776902888</c:v>
                </c:pt>
                <c:pt idx="52">
                  <c:v>0.7898047660403188</c:v>
                </c:pt>
                <c:pt idx="53">
                  <c:v>0.9104170449197867</c:v>
                </c:pt>
                <c:pt idx="54">
                  <c:v>0.9278967665615142</c:v>
                </c:pt>
                <c:pt idx="55">
                  <c:v>0.6934453529411765</c:v>
                </c:pt>
                <c:pt idx="56">
                  <c:v>0.9783144388216459</c:v>
                </c:pt>
                <c:pt idx="57">
                  <c:v>0.7442248459958932</c:v>
                </c:pt>
                <c:pt idx="58">
                  <c:v>0.8197079710144927</c:v>
                </c:pt>
                <c:pt idx="59">
                  <c:v>0.8453172086912916</c:v>
                </c:pt>
                <c:pt idx="60">
                  <c:v>0.864822120829622</c:v>
                </c:pt>
                <c:pt idx="61">
                  <c:v>0.9526339505439827</c:v>
                </c:pt>
                <c:pt idx="62">
                  <c:v>0.9467114435048195</c:v>
                </c:pt>
                <c:pt idx="63">
                  <c:v>0.7214108011077354</c:v>
                </c:pt>
                <c:pt idx="64">
                  <c:v>0.739741749068961</c:v>
                </c:pt>
                <c:pt idx="65">
                  <c:v>0.742655261371351</c:v>
                </c:pt>
                <c:pt idx="66">
                  <c:v>0.5226398834864441</c:v>
                </c:pt>
                <c:pt idx="67">
                  <c:v>0.4717233412322274</c:v>
                </c:pt>
                <c:pt idx="68">
                  <c:v>0.9007600803212852</c:v>
                </c:pt>
                <c:pt idx="69">
                  <c:v>0.0</c:v>
                </c:pt>
                <c:pt idx="70">
                  <c:v>0.4134895277989337</c:v>
                </c:pt>
                <c:pt idx="71">
                  <c:v>0.5465889305816135</c:v>
                </c:pt>
                <c:pt idx="72">
                  <c:v>0.43216023682200155</c:v>
                </c:pt>
                <c:pt idx="73">
                  <c:v>0.477542967032967</c:v>
                </c:pt>
                <c:pt idx="74">
                  <c:v>0.0</c:v>
                </c:pt>
                <c:pt idx="75">
                  <c:v>0.0</c:v>
                </c:pt>
                <c:pt idx="76">
                  <c:v>0.0</c:v>
                </c:pt>
                <c:pt idx="77">
                  <c:v>0.0</c:v>
                </c:pt>
                <c:pt idx="78">
                  <c:v>0.9482148818897638</c:v>
                </c:pt>
                <c:pt idx="79">
                  <c:v>0.0</c:v>
                </c:pt>
                <c:pt idx="80">
                  <c:v>0.8682311127933383</c:v>
                </c:pt>
                <c:pt idx="81">
                  <c:v>0.0</c:v>
                </c:pt>
                <c:pt idx="82">
                  <c:v>0.0</c:v>
                </c:pt>
                <c:pt idx="83">
                  <c:v>0.0</c:v>
                </c:pt>
                <c:pt idx="84">
                  <c:v>0.0</c:v>
                </c:pt>
                <c:pt idx="85">
                  <c:v>0.0</c:v>
                </c:pt>
                <c:pt idx="86">
                  <c:v>0.0</c:v>
                </c:pt>
                <c:pt idx="87">
                  <c:v>0.6810712410501194</c:v>
                </c:pt>
                <c:pt idx="88">
                  <c:v>0.0</c:v>
                </c:pt>
                <c:pt idx="89">
                  <c:v>0.0</c:v>
                </c:pt>
                <c:pt idx="90">
                  <c:v>0.0</c:v>
                </c:pt>
                <c:pt idx="91">
                  <c:v>0.7377338680926916</c:v>
                </c:pt>
                <c:pt idx="92">
                  <c:v>0.5658605759162303</c:v>
                </c:pt>
                <c:pt idx="93">
                  <c:v>0.0</c:v>
                </c:pt>
                <c:pt idx="94">
                  <c:v>0.0</c:v>
                </c:pt>
                <c:pt idx="95">
                  <c:v>0.3420190125040077</c:v>
                </c:pt>
                <c:pt idx="96">
                  <c:v>0.7663031840437362</c:v>
                </c:pt>
                <c:pt idx="97">
                  <c:v>0.8592363620267167</c:v>
                </c:pt>
                <c:pt idx="98">
                  <c:v>0.9663255307072313</c:v>
                </c:pt>
                <c:pt idx="99">
                  <c:v>0.8399764492388345</c:v>
                </c:pt>
                <c:pt idx="100">
                  <c:v>0.9724092938376067</c:v>
                </c:pt>
                <c:pt idx="101">
                  <c:v>0.9866702467601633</c:v>
                </c:pt>
                <c:pt idx="102">
                  <c:v>0.8921031440850486</c:v>
                </c:pt>
                <c:pt idx="103">
                  <c:v>0.9135225557742781</c:v>
                </c:pt>
                <c:pt idx="104">
                  <c:v>1.0665427902989622</c:v>
                </c:pt>
              </c:numCache>
            </c:numRef>
          </c:xVal>
          <c:yVal>
            <c:numRef>
              <c:f>Sheet1!$B$2:$B$106</c:f>
              <c:numCache>
                <c:formatCode>General</c:formatCode>
                <c:ptCount val="105"/>
                <c:pt idx="0">
                  <c:v>0.5244444444444445</c:v>
                </c:pt>
                <c:pt idx="1">
                  <c:v>0.5408921933085502</c:v>
                </c:pt>
                <c:pt idx="2">
                  <c:v>0.4825174825174825</c:v>
                </c:pt>
                <c:pt idx="3">
                  <c:v>0.42830882352941174</c:v>
                </c:pt>
                <c:pt idx="4">
                  <c:v>0.34894613583138173</c:v>
                </c:pt>
                <c:pt idx="5">
                  <c:v>0.3431818181818182</c:v>
                </c:pt>
                <c:pt idx="6">
                  <c:v>0.30228136882129275</c:v>
                </c:pt>
                <c:pt idx="7">
                  <c:v>0.30120481927710846</c:v>
                </c:pt>
                <c:pt idx="8">
                  <c:v>0.4022727272727273</c:v>
                </c:pt>
                <c:pt idx="9">
                  <c:v>0.4817391304347826</c:v>
                </c:pt>
                <c:pt idx="10">
                  <c:v>0.535958904109589</c:v>
                </c:pt>
                <c:pt idx="11">
                  <c:v>0.5183044315992292</c:v>
                </c:pt>
                <c:pt idx="12">
                  <c:v>0.5027027027027027</c:v>
                </c:pt>
                <c:pt idx="13">
                  <c:v>0.5857418111753372</c:v>
                </c:pt>
                <c:pt idx="14">
                  <c:v>0.588495575221239</c:v>
                </c:pt>
                <c:pt idx="15">
                  <c:v>0.5646766169154229</c:v>
                </c:pt>
                <c:pt idx="16">
                  <c:v>0.47005988023952094</c:v>
                </c:pt>
                <c:pt idx="17">
                  <c:v>0.5362903225806451</c:v>
                </c:pt>
                <c:pt idx="18">
                  <c:v>0.494949494949495</c:v>
                </c:pt>
                <c:pt idx="19">
                  <c:v>0.3961352657004831</c:v>
                </c:pt>
                <c:pt idx="20">
                  <c:v>0.40540540540540543</c:v>
                </c:pt>
                <c:pt idx="21">
                  <c:v>0.445</c:v>
                </c:pt>
                <c:pt idx="22">
                  <c:v>0.418848167539267</c:v>
                </c:pt>
                <c:pt idx="23">
                  <c:v>0.48905109489051096</c:v>
                </c:pt>
                <c:pt idx="24">
                  <c:v>0.47191011235955055</c:v>
                </c:pt>
                <c:pt idx="25">
                  <c:v>0.487012987012987</c:v>
                </c:pt>
                <c:pt idx="26">
                  <c:v>0.46496815286624205</c:v>
                </c:pt>
                <c:pt idx="27">
                  <c:v>0.45962732919254656</c:v>
                </c:pt>
                <c:pt idx="28">
                  <c:v>0.4397163120567376</c:v>
                </c:pt>
                <c:pt idx="29">
                  <c:v>0.5038759689922481</c:v>
                </c:pt>
                <c:pt idx="30">
                  <c:v>0.4642857142857143</c:v>
                </c:pt>
                <c:pt idx="31">
                  <c:v>0.4230769230769231</c:v>
                </c:pt>
                <c:pt idx="32">
                  <c:v>0.45132743362831856</c:v>
                </c:pt>
                <c:pt idx="33">
                  <c:v>0.5068493150684932</c:v>
                </c:pt>
                <c:pt idx="34">
                  <c:v>0.47540983606557374</c:v>
                </c:pt>
                <c:pt idx="35">
                  <c:v>0.40425531914893614</c:v>
                </c:pt>
                <c:pt idx="36">
                  <c:v>0.3474576271186441</c:v>
                </c:pt>
                <c:pt idx="37">
                  <c:v>0.40350877192982454</c:v>
                </c:pt>
                <c:pt idx="38">
                  <c:v>0.4336283185840708</c:v>
                </c:pt>
                <c:pt idx="39">
                  <c:v>0.43137254901960786</c:v>
                </c:pt>
                <c:pt idx="40">
                  <c:v>0.4296875</c:v>
                </c:pt>
                <c:pt idx="41">
                  <c:v>0.4107142857142857</c:v>
                </c:pt>
                <c:pt idx="42">
                  <c:v>0.4296875</c:v>
                </c:pt>
                <c:pt idx="43">
                  <c:v>0.4252336448598131</c:v>
                </c:pt>
                <c:pt idx="44">
                  <c:v>0.4346846846846847</c:v>
                </c:pt>
                <c:pt idx="45">
                  <c:v>0.42412451361867703</c:v>
                </c:pt>
                <c:pt idx="46">
                  <c:v>0.45365853658536587</c:v>
                </c:pt>
                <c:pt idx="47">
                  <c:v>0.48535564853556484</c:v>
                </c:pt>
                <c:pt idx="48">
                  <c:v>0.5349854227405247</c:v>
                </c:pt>
                <c:pt idx="49">
                  <c:v>0.5890804597701149</c:v>
                </c:pt>
                <c:pt idx="50">
                  <c:v>0.5673758865248227</c:v>
                </c:pt>
                <c:pt idx="51">
                  <c:v>0.5374449339207048</c:v>
                </c:pt>
                <c:pt idx="52">
                  <c:v>0.5454545454545454</c:v>
                </c:pt>
                <c:pt idx="53">
                  <c:v>0.5436105476673428</c:v>
                </c:pt>
                <c:pt idx="54">
                  <c:v>0.5452586206896551</c:v>
                </c:pt>
                <c:pt idx="55">
                  <c:v>0.48764044943820223</c:v>
                </c:pt>
                <c:pt idx="56">
                  <c:v>0.537525354969574</c:v>
                </c:pt>
                <c:pt idx="57">
                  <c:v>0.5349544072948328</c:v>
                </c:pt>
                <c:pt idx="58">
                  <c:v>0.5402455661664393</c:v>
                </c:pt>
                <c:pt idx="59">
                  <c:v>0.5583941605839416</c:v>
                </c:pt>
                <c:pt idx="60">
                  <c:v>0.5591805766312595</c:v>
                </c:pt>
                <c:pt idx="61">
                  <c:v>0.5547703180212014</c:v>
                </c:pt>
                <c:pt idx="62">
                  <c:v>0.5742690058479533</c:v>
                </c:pt>
                <c:pt idx="63">
                  <c:v>0.6013712047012733</c:v>
                </c:pt>
                <c:pt idx="64">
                  <c:v>0.62148070907195</c:v>
                </c:pt>
                <c:pt idx="65">
                  <c:v>0.5717592592592593</c:v>
                </c:pt>
                <c:pt idx="66">
                  <c:v>0.5586987270155587</c:v>
                </c:pt>
                <c:pt idx="67">
                  <c:v>0.5754560530679934</c:v>
                </c:pt>
                <c:pt idx="68">
                  <c:v>0.573076923076923</c:v>
                </c:pt>
                <c:pt idx="69">
                  <c:v>0.5348189415041783</c:v>
                </c:pt>
                <c:pt idx="70">
                  <c:v>0.5138539042821159</c:v>
                </c:pt>
                <c:pt idx="71">
                  <c:v>0.498567335243553</c:v>
                </c:pt>
                <c:pt idx="72">
                  <c:v>0.5283582089552239</c:v>
                </c:pt>
                <c:pt idx="73">
                  <c:v>0.45774647887323944</c:v>
                </c:pt>
                <c:pt idx="74">
                  <c:v>0.41254125412541254</c:v>
                </c:pt>
                <c:pt idx="75">
                  <c:v>0.45794392523364486</c:v>
                </c:pt>
                <c:pt idx="76">
                  <c:v>0.42408376963350786</c:v>
                </c:pt>
                <c:pt idx="77">
                  <c:v>0.41836734693877553</c:v>
                </c:pt>
                <c:pt idx="78">
                  <c:v>0.46496815286624205</c:v>
                </c:pt>
                <c:pt idx="79">
                  <c:v>0.4225352112676056</c:v>
                </c:pt>
                <c:pt idx="80">
                  <c:v>0.425531914893617</c:v>
                </c:pt>
                <c:pt idx="81">
                  <c:v>0.40860215053763443</c:v>
                </c:pt>
                <c:pt idx="82">
                  <c:v>0.4375</c:v>
                </c:pt>
                <c:pt idx="83">
                  <c:v>0.36666666666666664</c:v>
                </c:pt>
                <c:pt idx="84">
                  <c:v>0.3652173913043478</c:v>
                </c:pt>
                <c:pt idx="85">
                  <c:v>0.4126984126984127</c:v>
                </c:pt>
                <c:pt idx="86">
                  <c:v>0.3795620437956204</c:v>
                </c:pt>
                <c:pt idx="87">
                  <c:v>0.37888198757763975</c:v>
                </c:pt>
                <c:pt idx="88">
                  <c:v>0.32142857142857145</c:v>
                </c:pt>
                <c:pt idx="89">
                  <c:v>0.2727272727272727</c:v>
                </c:pt>
                <c:pt idx="90">
                  <c:v>0.29</c:v>
                </c:pt>
                <c:pt idx="91">
                  <c:v>0.2920353982300885</c:v>
                </c:pt>
                <c:pt idx="92">
                  <c:v>0.3684210526315789</c:v>
                </c:pt>
                <c:pt idx="93">
                  <c:v>0.3973509933774834</c:v>
                </c:pt>
                <c:pt idx="94">
                  <c:v>0.4215686274509804</c:v>
                </c:pt>
                <c:pt idx="95">
                  <c:v>0.4497816593886463</c:v>
                </c:pt>
                <c:pt idx="96">
                  <c:v>0.4906166219839142</c:v>
                </c:pt>
                <c:pt idx="97">
                  <c:v>0.4959349593495935</c:v>
                </c:pt>
                <c:pt idx="98">
                  <c:v>0.5</c:v>
                </c:pt>
                <c:pt idx="99">
                  <c:v>0.5309090909090909</c:v>
                </c:pt>
                <c:pt idx="100">
                  <c:v>0.5346112886048988</c:v>
                </c:pt>
                <c:pt idx="101">
                  <c:v>0.5205479452054794</c:v>
                </c:pt>
                <c:pt idx="102">
                  <c:v>0.44562334217506633</c:v>
                </c:pt>
                <c:pt idx="103">
                  <c:v>0.4772727272727273</c:v>
                </c:pt>
                <c:pt idx="104">
                  <c:v>0.475409836065573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548152126123974</c:v>
                </c:pt>
                <c:pt idx="1">
                  <c:v>1.1121742443302567</c:v>
                </c:pt>
                <c:pt idx="2">
                  <c:v>1.2160908711050977</c:v>
                </c:pt>
                <c:pt idx="3">
                  <c:v>1.2461053883727071</c:v>
                </c:pt>
                <c:pt idx="4">
                  <c:v>1.187861214558309</c:v>
                </c:pt>
                <c:pt idx="5">
                  <c:v>1.3960710251193391</c:v>
                </c:pt>
                <c:pt idx="6">
                  <c:v>1.3352093793578121</c:v>
                </c:pt>
                <c:pt idx="7">
                  <c:v>1.2528692781346982</c:v>
                </c:pt>
                <c:pt idx="8">
                  <c:v>1.4119723499627392</c:v>
                </c:pt>
                <c:pt idx="9">
                  <c:v>1.5567904134544215</c:v>
                </c:pt>
                <c:pt idx="10">
                  <c:v>1.5345436416871843</c:v>
                </c:pt>
                <c:pt idx="11">
                  <c:v>1.2118209655980636</c:v>
                </c:pt>
                <c:pt idx="12">
                  <c:v>1.3737056177662252</c:v>
                </c:pt>
                <c:pt idx="13">
                  <c:v>1.4800770801925789</c:v>
                </c:pt>
                <c:pt idx="14">
                  <c:v>1.5432591363640051</c:v>
                </c:pt>
                <c:pt idx="15">
                  <c:v>1.6152902141157812</c:v>
                </c:pt>
                <c:pt idx="16">
                  <c:v>1.7313586475942784</c:v>
                </c:pt>
                <c:pt idx="17">
                  <c:v>1.7249910087287526</c:v>
                </c:pt>
                <c:pt idx="18">
                  <c:v>2.5367112422109885</c:v>
                </c:pt>
                <c:pt idx="19">
                  <c:v>2.455238350250134</c:v>
                </c:pt>
                <c:pt idx="20">
                  <c:v>2.199198083801843</c:v>
                </c:pt>
                <c:pt idx="21">
                  <c:v>1.9784323425192385</c:v>
                </c:pt>
                <c:pt idx="22">
                  <c:v>1.5946977160770264</c:v>
                </c:pt>
                <c:pt idx="23">
                  <c:v>1.840455191462649</c:v>
                </c:pt>
                <c:pt idx="24">
                  <c:v>1.976840688422071</c:v>
                </c:pt>
                <c:pt idx="25">
                  <c:v>1.9839243317355157</c:v>
                </c:pt>
                <c:pt idx="26">
                  <c:v>2.196093160965016</c:v>
                </c:pt>
                <c:pt idx="27">
                  <c:v>2.070188872348344</c:v>
                </c:pt>
                <c:pt idx="28">
                  <c:v>1.89547404521147</c:v>
                </c:pt>
                <c:pt idx="29">
                  <c:v>1.874231046253208</c:v>
                </c:pt>
                <c:pt idx="30">
                  <c:v>1.8966341037094583</c:v>
                </c:pt>
                <c:pt idx="31">
                  <c:v>1.7082536</c:v>
                </c:pt>
                <c:pt idx="32">
                  <c:v>1.8951288321167885</c:v>
                </c:pt>
                <c:pt idx="33">
                  <c:v>2.3784024913212174</c:v>
                </c:pt>
                <c:pt idx="34">
                  <c:v>2.648453251662432</c:v>
                </c:pt>
                <c:pt idx="35">
                  <c:v>2.971962006688963</c:v>
                </c:pt>
                <c:pt idx="36">
                  <c:v>2.6072675810473815</c:v>
                </c:pt>
                <c:pt idx="37">
                  <c:v>2.024235305383372</c:v>
                </c:pt>
                <c:pt idx="38">
                  <c:v>2.035787995198079</c:v>
                </c:pt>
                <c:pt idx="39">
                  <c:v>1.920500774696774</c:v>
                </c:pt>
                <c:pt idx="40">
                  <c:v>2.0260523427515227</c:v>
                </c:pt>
                <c:pt idx="41">
                  <c:v>2.4208286676763677</c:v>
                </c:pt>
                <c:pt idx="42">
                  <c:v>2.8343112259014838</c:v>
                </c:pt>
                <c:pt idx="43">
                  <c:v>1.7731373407478825</c:v>
                </c:pt>
                <c:pt idx="44">
                  <c:v>1.8200107326126085</c:v>
                </c:pt>
                <c:pt idx="45">
                  <c:v>2.4512878382659413</c:v>
                </c:pt>
                <c:pt idx="46">
                  <c:v>2.220396786389414</c:v>
                </c:pt>
                <c:pt idx="47">
                  <c:v>2.1631662136108907</c:v>
                </c:pt>
                <c:pt idx="48">
                  <c:v>2.1048267796298004</c:v>
                </c:pt>
                <c:pt idx="49">
                  <c:v>2.139799013420012</c:v>
                </c:pt>
                <c:pt idx="50">
                  <c:v>1.6597669887054265</c:v>
                </c:pt>
                <c:pt idx="51">
                  <c:v>1.5476370120455776</c:v>
                </c:pt>
              </c:numCache>
            </c:numRef>
          </c:xVal>
          <c:yVal>
            <c:numRef>
              <c:f>Sheet1!$B$109:$B$160</c:f>
              <c:numCache>
                <c:formatCode>General</c:formatCode>
                <c:ptCount val="52"/>
                <c:pt idx="0">
                  <c:v>0.4929328621908127</c:v>
                </c:pt>
                <c:pt idx="1">
                  <c:v>0.4657534246575342</c:v>
                </c:pt>
                <c:pt idx="2">
                  <c:v>0.48919753086419754</c:v>
                </c:pt>
                <c:pt idx="3">
                  <c:v>0.4774774774774775</c:v>
                </c:pt>
                <c:pt idx="4">
                  <c:v>0.45706371191135736</c:v>
                </c:pt>
                <c:pt idx="5">
                  <c:v>0.4575757575757576</c:v>
                </c:pt>
                <c:pt idx="6">
                  <c:v>0.4933008526187576</c:v>
                </c:pt>
                <c:pt idx="7">
                  <c:v>0.4955357142857143</c:v>
                </c:pt>
                <c:pt idx="8">
                  <c:v>0.5061728395061729</c:v>
                </c:pt>
                <c:pt idx="9">
                  <c:v>0.5083798882681564</c:v>
                </c:pt>
                <c:pt idx="10">
                  <c:v>0.5127701375245579</c:v>
                </c:pt>
                <c:pt idx="11">
                  <c:v>0.5782227784730913</c:v>
                </c:pt>
                <c:pt idx="12">
                  <c:v>0.5568</c:v>
                </c:pt>
                <c:pt idx="13">
                  <c:v>0.48006134969325154</c:v>
                </c:pt>
                <c:pt idx="14">
                  <c:v>0.479646017699115</c:v>
                </c:pt>
                <c:pt idx="15">
                  <c:v>0.491701244813278</c:v>
                </c:pt>
                <c:pt idx="16">
                  <c:v>0.45478036175710596</c:v>
                </c:pt>
                <c:pt idx="17">
                  <c:v>0.4351851851851852</c:v>
                </c:pt>
                <c:pt idx="18">
                  <c:v>0.4088669950738916</c:v>
                </c:pt>
                <c:pt idx="19">
                  <c:v>0.4256198347107438</c:v>
                </c:pt>
                <c:pt idx="20">
                  <c:v>0.42857142857142855</c:v>
                </c:pt>
                <c:pt idx="21">
                  <c:v>0.45396825396825397</c:v>
                </c:pt>
                <c:pt idx="22">
                  <c:v>0.4985754985754986</c:v>
                </c:pt>
                <c:pt idx="23">
                  <c:v>0.5019455252918288</c:v>
                </c:pt>
                <c:pt idx="24">
                  <c:v>0.5130434782608696</c:v>
                </c:pt>
                <c:pt idx="25">
                  <c:v>0.4841628959276018</c:v>
                </c:pt>
                <c:pt idx="26">
                  <c:v>0.411214953271028</c:v>
                </c:pt>
                <c:pt idx="27">
                  <c:v>0.4095744680851064</c:v>
                </c:pt>
                <c:pt idx="28">
                  <c:v>0.4350282485875706</c:v>
                </c:pt>
                <c:pt idx="29">
                  <c:v>0.38620689655172413</c:v>
                </c:pt>
                <c:pt idx="30">
                  <c:v>0.3939393939393939</c:v>
                </c:pt>
                <c:pt idx="31">
                  <c:v>0.422680412371134</c:v>
                </c:pt>
                <c:pt idx="32">
                  <c:v>0.4117647058823529</c:v>
                </c:pt>
                <c:pt idx="33">
                  <c:v>0.4153846153846154</c:v>
                </c:pt>
                <c:pt idx="34">
                  <c:v>0.43617021276595747</c:v>
                </c:pt>
                <c:pt idx="35">
                  <c:v>0.34782608695652173</c:v>
                </c:pt>
                <c:pt idx="36">
                  <c:v>0.4117647058823529</c:v>
                </c:pt>
                <c:pt idx="37">
                  <c:v>0.3944954128440367</c:v>
                </c:pt>
                <c:pt idx="38">
                  <c:v>0.5</c:v>
                </c:pt>
                <c:pt idx="39">
                  <c:v>0.47398843930635837</c:v>
                </c:pt>
                <c:pt idx="40">
                  <c:v>0.4457831325301205</c:v>
                </c:pt>
                <c:pt idx="41">
                  <c:v>0.41397849462365593</c:v>
                </c:pt>
                <c:pt idx="42">
                  <c:v>0.35526315789473684</c:v>
                </c:pt>
                <c:pt idx="43">
                  <c:v>0.4794520547945205</c:v>
                </c:pt>
                <c:pt idx="44">
                  <c:v>0.47368421052631576</c:v>
                </c:pt>
                <c:pt idx="45">
                  <c:v>0.4742990654205608</c:v>
                </c:pt>
                <c:pt idx="46">
                  <c:v>0.44694533762057875</c:v>
                </c:pt>
                <c:pt idx="47">
                  <c:v>0.465</c:v>
                </c:pt>
                <c:pt idx="48">
                  <c:v>0.4696132596685083</c:v>
                </c:pt>
                <c:pt idx="49">
                  <c:v>0.5275459098497496</c:v>
                </c:pt>
                <c:pt idx="50">
                  <c:v>0.5569029850746269</c:v>
                </c:pt>
                <c:pt idx="51">
                  <c:v>0.542533081285444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54517421708145</c:v>
                </c:pt>
              </c:numCache>
            </c:numRef>
          </c:xVal>
          <c:yVal>
            <c:numRef>
              <c:f>Sheet1!$B$163:$B$164</c:f>
              <c:numCache>
                <c:formatCode>General</c:formatCode>
                <c:ptCount val="2"/>
                <c:pt idx="0">
                  <c:v>0.5510943899169556</c:v>
                </c:pt>
                <c:pt idx="1">
                  <c:v>0.551094389916955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54517421708145</c:v>
                </c:pt>
                <c:pt idx="1">
                  <c:v>0.5854517421708145</c:v>
                </c:pt>
              </c:numCache>
            </c:numRef>
          </c:xVal>
          <c:yVal>
            <c:numRef>
              <c:f>Sheet1!$B$167:$B$168</c:f>
              <c:numCache>
                <c:formatCode>General</c:formatCode>
                <c:ptCount val="2"/>
                <c:pt idx="0">
                  <c:v>0.55109438991695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742142369649069</c:v>
                </c:pt>
              </c:numCache>
            </c:numRef>
          </c:xVal>
          <c:yVal>
            <c:numRef>
              <c:f>Sheet1!$B$171:$B$172</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742142369649069</c:v>
                </c:pt>
                <c:pt idx="1">
                  <c:v>0.9742142369649069</c:v>
                </c:pt>
              </c:numCache>
            </c:numRef>
          </c:xVal>
          <c:yVal>
            <c:numRef>
              <c:f>Sheet1!$B$175:$B$176</c:f>
              <c:numCache>
                <c:formatCode>General</c:formatCode>
                <c:ptCount val="2"/>
                <c:pt idx="0">
                  <c:v>0.52414880896958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388212091905466</c:v>
                </c:pt>
              </c:numCache>
            </c:numRef>
          </c:xVal>
          <c:yVal>
            <c:numRef>
              <c:f>Sheet1!$B$179:$B$180</c:f>
              <c:numCache>
                <c:formatCode>General</c:formatCode>
                <c:ptCount val="2"/>
                <c:pt idx="0">
                  <c:v>0.4711530098919366</c:v>
                </c:pt>
                <c:pt idx="1">
                  <c:v>0.47115300989193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388212091905466</c:v>
                </c:pt>
                <c:pt idx="1">
                  <c:v>1.7388212091905466</c:v>
                </c:pt>
              </c:numCache>
            </c:numRef>
          </c:xVal>
          <c:yVal>
            <c:numRef>
              <c:f>Sheet1!$B$183:$B$184</c:f>
              <c:numCache>
                <c:formatCode>General</c:formatCode>
                <c:ptCount val="2"/>
                <c:pt idx="0">
                  <c:v>0.47115300989193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548152126123974</c:v>
                </c:pt>
                <c:pt idx="1">
                  <c:v>1.1121742443302567</c:v>
                </c:pt>
                <c:pt idx="2">
                  <c:v>1.2160908711050977</c:v>
                </c:pt>
                <c:pt idx="3">
                  <c:v>1.2461053883727071</c:v>
                </c:pt>
                <c:pt idx="4">
                  <c:v>1.187861214558309</c:v>
                </c:pt>
                <c:pt idx="5">
                  <c:v>1.3960710251193391</c:v>
                </c:pt>
                <c:pt idx="6">
                  <c:v>1.3352093793578121</c:v>
                </c:pt>
                <c:pt idx="7">
                  <c:v>1.2528692781346982</c:v>
                </c:pt>
                <c:pt idx="8">
                  <c:v>1.4119723499627392</c:v>
                </c:pt>
                <c:pt idx="9">
                  <c:v>1.5567904134544215</c:v>
                </c:pt>
                <c:pt idx="10">
                  <c:v>1.5345436416871843</c:v>
                </c:pt>
                <c:pt idx="11">
                  <c:v>1.2118209655980636</c:v>
                </c:pt>
                <c:pt idx="12">
                  <c:v>1.3737056177662252</c:v>
                </c:pt>
                <c:pt idx="13">
                  <c:v>1.4800770801925789</c:v>
                </c:pt>
                <c:pt idx="14">
                  <c:v>1.5432591363640051</c:v>
                </c:pt>
                <c:pt idx="15">
                  <c:v>1.6152902141157812</c:v>
                </c:pt>
                <c:pt idx="16">
                  <c:v>1.7313586475942784</c:v>
                </c:pt>
                <c:pt idx="17">
                  <c:v>1.7249910087287526</c:v>
                </c:pt>
                <c:pt idx="18">
                  <c:v>2.5367112422109885</c:v>
                </c:pt>
                <c:pt idx="19">
                  <c:v>2.455238350250134</c:v>
                </c:pt>
                <c:pt idx="20">
                  <c:v>2.199198083801843</c:v>
                </c:pt>
                <c:pt idx="21">
                  <c:v>1.9784323425192385</c:v>
                </c:pt>
                <c:pt idx="22">
                  <c:v>1.5946977160770264</c:v>
                </c:pt>
                <c:pt idx="23">
                  <c:v>1.840455191462649</c:v>
                </c:pt>
                <c:pt idx="24">
                  <c:v>1.976840688422071</c:v>
                </c:pt>
                <c:pt idx="25">
                  <c:v>1.9839243317355157</c:v>
                </c:pt>
                <c:pt idx="26">
                  <c:v>2.196093160965016</c:v>
                </c:pt>
                <c:pt idx="27">
                  <c:v>2.070188872348344</c:v>
                </c:pt>
                <c:pt idx="28">
                  <c:v>1.89547404521147</c:v>
                </c:pt>
                <c:pt idx="29">
                  <c:v>1.874231046253208</c:v>
                </c:pt>
                <c:pt idx="30">
                  <c:v>1.8966341037094583</c:v>
                </c:pt>
                <c:pt idx="31">
                  <c:v>1.7082536</c:v>
                </c:pt>
                <c:pt idx="32">
                  <c:v>1.8951288321167885</c:v>
                </c:pt>
                <c:pt idx="33">
                  <c:v>2.3784024913212174</c:v>
                </c:pt>
                <c:pt idx="34">
                  <c:v>2.648453251662432</c:v>
                </c:pt>
                <c:pt idx="35">
                  <c:v>2.971962006688963</c:v>
                </c:pt>
                <c:pt idx="36">
                  <c:v>2.6072675810473815</c:v>
                </c:pt>
                <c:pt idx="37">
                  <c:v>2.024235305383372</c:v>
                </c:pt>
                <c:pt idx="38">
                  <c:v>2.035787995198079</c:v>
                </c:pt>
                <c:pt idx="39">
                  <c:v>1.920500774696774</c:v>
                </c:pt>
                <c:pt idx="40">
                  <c:v>2.0260523427515227</c:v>
                </c:pt>
                <c:pt idx="41">
                  <c:v>2.4208286676763677</c:v>
                </c:pt>
                <c:pt idx="42">
                  <c:v>2.8343112259014838</c:v>
                </c:pt>
                <c:pt idx="43">
                  <c:v>1.7731373407478825</c:v>
                </c:pt>
                <c:pt idx="44">
                  <c:v>1.8200107326126085</c:v>
                </c:pt>
                <c:pt idx="45">
                  <c:v>2.4512878382659413</c:v>
                </c:pt>
                <c:pt idx="46">
                  <c:v>2.220396786389414</c:v>
                </c:pt>
                <c:pt idx="47">
                  <c:v>2.1631662136108907</c:v>
                </c:pt>
                <c:pt idx="48">
                  <c:v>2.1048267796298004</c:v>
                </c:pt>
                <c:pt idx="49">
                  <c:v>2.139799013420012</c:v>
                </c:pt>
                <c:pt idx="50">
                  <c:v>1.6597669887054265</c:v>
                </c:pt>
                <c:pt idx="51">
                  <c:v>1.5476370120455776</c:v>
                </c:pt>
                <c:pt idx="52">
                  <c:v>0.9742142369649069</c:v>
                </c:pt>
                <c:pt idx="53">
                  <c:v>0.5854517421708145</c:v>
                </c:pt>
                <c:pt idx="54">
                  <c:v>1.7388212091905466</c:v>
                </c:pt>
              </c:numCache>
            </c:numRef>
          </c:xVal>
          <c:yVal>
            <c:numRef>
              <c:f>Sheet1!$B$187:$B$241</c:f>
              <c:numCache>
                <c:formatCode>General</c:formatCode>
                <c:ptCount val="55"/>
                <c:pt idx="0">
                  <c:v>0.5116311451680329</c:v>
                </c:pt>
                <c:pt idx="1">
                  <c:v>0.514586640304284</c:v>
                </c:pt>
                <c:pt idx="2">
                  <c:v>0.5073840579666474</c:v>
                </c:pt>
                <c:pt idx="3">
                  <c:v>0.505303716844598</c:v>
                </c:pt>
                <c:pt idx="4">
                  <c:v>0.5093406883149554</c:v>
                </c:pt>
                <c:pt idx="5">
                  <c:v>0.494909424034997</c:v>
                </c:pt>
                <c:pt idx="6">
                  <c:v>0.49912781553216595</c:v>
                </c:pt>
                <c:pt idx="7">
                  <c:v>0.504834903773529</c:v>
                </c:pt>
                <c:pt idx="8">
                  <c:v>0.4938072847044907</c:v>
                </c:pt>
                <c:pt idx="9">
                  <c:v>0.48376977618782224</c:v>
                </c:pt>
                <c:pt idx="10">
                  <c:v>0.48531172582931054</c:v>
                </c:pt>
                <c:pt idx="11">
                  <c:v>0.5076800100865616</c:v>
                </c:pt>
                <c:pt idx="12">
                  <c:v>0.4964595964470078</c:v>
                </c:pt>
                <c:pt idx="13">
                  <c:v>0.48908686659348144</c:v>
                </c:pt>
                <c:pt idx="14">
                  <c:v>0.4847076447503601</c:v>
                </c:pt>
                <c:pt idx="15">
                  <c:v>0.479715086923209</c:v>
                </c:pt>
                <c:pt idx="16">
                  <c:v>0.4716702487209381</c:v>
                </c:pt>
                <c:pt idx="17">
                  <c:v>0.472111597181225</c:v>
                </c:pt>
                <c:pt idx="18">
                  <c:v>0.415850323136513</c:v>
                </c:pt>
                <c:pt idx="19">
                  <c:v>0.4214973040946699</c:v>
                </c:pt>
                <c:pt idx="20">
                  <c:v>0.4392437529362012</c:v>
                </c:pt>
                <c:pt idx="21">
                  <c:v>0.45454528338678646</c:v>
                </c:pt>
                <c:pt idx="22">
                  <c:v>0.48114237692736894</c:v>
                </c:pt>
                <c:pt idx="23">
                  <c:v>0.464108640301276</c:v>
                </c:pt>
                <c:pt idx="24">
                  <c:v>0.454655602784593</c:v>
                </c:pt>
                <c:pt idx="25">
                  <c:v>0.4541646272227507</c:v>
                </c:pt>
                <c:pt idx="26">
                  <c:v>0.43945895875146224</c:v>
                </c:pt>
                <c:pt idx="27">
                  <c:v>0.44818553152011076</c:v>
                </c:pt>
                <c:pt idx="28">
                  <c:v>0.46029521951821983</c:v>
                </c:pt>
                <c:pt idx="29">
                  <c:v>0.46176759649814947</c:v>
                </c:pt>
                <c:pt idx="30">
                  <c:v>0.46021481451367385</c:v>
                </c:pt>
                <c:pt idx="31">
                  <c:v>0.473271686458841</c:v>
                </c:pt>
                <c:pt idx="32">
                  <c:v>0.46031914663956364</c:v>
                </c:pt>
                <c:pt idx="33">
                  <c:v>0.4268228868969066</c:v>
                </c:pt>
                <c:pt idx="34">
                  <c:v>0.4081053544185538</c:v>
                </c:pt>
                <c:pt idx="35">
                  <c:v>0.3856825861153295</c:v>
                </c:pt>
                <c:pt idx="36">
                  <c:v>0.41095998117985566</c:v>
                </c:pt>
                <c:pt idx="37">
                  <c:v>0.45137062672619804</c:v>
                </c:pt>
                <c:pt idx="38">
                  <c:v>0.45056989635037575</c:v>
                </c:pt>
                <c:pt idx="39">
                  <c:v>0.4585605877720391</c:v>
                </c:pt>
                <c:pt idx="40">
                  <c:v>0.4512446857515836</c:v>
                </c:pt>
                <c:pt idx="41">
                  <c:v>0.4238822792390853</c:v>
                </c:pt>
                <c:pt idx="42">
                  <c:v>0.39522332192664456</c:v>
                </c:pt>
                <c:pt idx="43">
                  <c:v>0.46877451887734256</c:v>
                </c:pt>
                <c:pt idx="44">
                  <c:v>0.4655256695369815</c:v>
                </c:pt>
                <c:pt idx="45">
                  <c:v>0.4217711186778128</c:v>
                </c:pt>
                <c:pt idx="46">
                  <c:v>0.4377744461892754</c:v>
                </c:pt>
                <c:pt idx="47">
                  <c:v>0.4417411637922299</c:v>
                </c:pt>
                <c:pt idx="48">
                  <c:v>0.44578473785560246</c:v>
                </c:pt>
                <c:pt idx="49">
                  <c:v>0.4433607716316905</c:v>
                </c:pt>
                <c:pt idx="50">
                  <c:v>0.47663234991531395</c:v>
                </c:pt>
                <c:pt idx="51">
                  <c:v>0.4844042090919954</c:v>
                </c:pt>
                <c:pt idx="52">
                  <c:v>0.5241488089695823</c:v>
                </c:pt>
                <c:pt idx="53">
                  <c:v>0.5510943899169556</c:v>
                </c:pt>
                <c:pt idx="54">
                  <c:v>0.47115300989193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457768508863399"/>
          <c:min val="0.2181818181818181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7.7627</c:v>
                </c:pt>
                <c:pt idx="1">
                  <c:v>913.4777</c:v>
                </c:pt>
                <c:pt idx="2">
                  <c:v>976.7899</c:v>
                </c:pt>
                <c:pt idx="3">
                  <c:v>1024.3391</c:v>
                </c:pt>
                <c:pt idx="4">
                  <c:v>1061.0</c:v>
                </c:pt>
                <c:pt idx="5">
                  <c:v>1097.6954</c:v>
                </c:pt>
                <c:pt idx="6">
                  <c:v>1077.0189</c:v>
                </c:pt>
                <c:pt idx="7">
                  <c:v>1097.168</c:v>
                </c:pt>
                <c:pt idx="8">
                  <c:v>1003.8588</c:v>
                </c:pt>
                <c:pt idx="9">
                  <c:v>966.0686</c:v>
                </c:pt>
                <c:pt idx="10">
                  <c:v>939.0703</c:v>
                </c:pt>
                <c:pt idx="11">
                  <c:v>1013.1636</c:v>
                </c:pt>
                <c:pt idx="12">
                  <c:v>989.0717</c:v>
                </c:pt>
                <c:pt idx="13">
                  <c:v>954.4441</c:v>
                </c:pt>
                <c:pt idx="14">
                  <c:v>951.9286</c:v>
                </c:pt>
                <c:pt idx="15">
                  <c:v>973.6388</c:v>
                </c:pt>
                <c:pt idx="16">
                  <c:v>991.6561</c:v>
                </c:pt>
                <c:pt idx="17">
                  <c:v>1020.5188</c:v>
                </c:pt>
                <c:pt idx="18">
                  <c:v>1069.6633</c:v>
                </c:pt>
                <c:pt idx="19">
                  <c:v>1075.2317</c:v>
                </c:pt>
                <c:pt idx="20">
                  <c:v>1070.7429</c:v>
                </c:pt>
                <c:pt idx="21">
                  <c:v>1085.8539</c:v>
                </c:pt>
                <c:pt idx="22">
                  <c:v>1093.0625</c:v>
                </c:pt>
                <c:pt idx="23">
                  <c:v>1031.0746</c:v>
                </c:pt>
                <c:pt idx="24">
                  <c:v>1056.4524</c:v>
                </c:pt>
                <c:pt idx="25">
                  <c:v>969.28</c:v>
                </c:pt>
                <c:pt idx="26">
                  <c:v>953.6712</c:v>
                </c:pt>
                <c:pt idx="27">
                  <c:v>987.2027</c:v>
                </c:pt>
                <c:pt idx="28">
                  <c:v>1026.5968</c:v>
                </c:pt>
                <c:pt idx="29">
                  <c:v>948.3077</c:v>
                </c:pt>
                <c:pt idx="30">
                  <c:v>1036.6923</c:v>
                </c:pt>
                <c:pt idx="31">
                  <c:v>1000.4545</c:v>
                </c:pt>
                <c:pt idx="32">
                  <c:v>956.3137</c:v>
                </c:pt>
                <c:pt idx="33">
                  <c:v>742.4595</c:v>
                </c:pt>
                <c:pt idx="34">
                  <c:v>935.7586</c:v>
                </c:pt>
                <c:pt idx="35">
                  <c:v>1129.1228</c:v>
                </c:pt>
                <c:pt idx="36">
                  <c:v>1189.3171</c:v>
                </c:pt>
                <c:pt idx="37">
                  <c:v>1132.2174</c:v>
                </c:pt>
                <c:pt idx="38">
                  <c:v>1131.0612</c:v>
                </c:pt>
                <c:pt idx="39">
                  <c:v>1129.7045</c:v>
                </c:pt>
                <c:pt idx="40">
                  <c:v>1137.4</c:v>
                </c:pt>
                <c:pt idx="41">
                  <c:v>1216.9565</c:v>
                </c:pt>
                <c:pt idx="42">
                  <c:v>1237.4727</c:v>
                </c:pt>
                <c:pt idx="43">
                  <c:v>1219.9011</c:v>
                </c:pt>
                <c:pt idx="44">
                  <c:v>1089.3627</c:v>
                </c:pt>
                <c:pt idx="45">
                  <c:v>1037.9541</c:v>
                </c:pt>
                <c:pt idx="46">
                  <c:v>1071.4409</c:v>
                </c:pt>
                <c:pt idx="47">
                  <c:v>1042.0302</c:v>
                </c:pt>
                <c:pt idx="48">
                  <c:v>1080.4823</c:v>
                </c:pt>
                <c:pt idx="49">
                  <c:v>984.6537</c:v>
                </c:pt>
                <c:pt idx="50">
                  <c:v>1018.2844</c:v>
                </c:pt>
                <c:pt idx="51">
                  <c:v>1032.4262</c:v>
                </c:pt>
                <c:pt idx="52">
                  <c:v>1087.0346</c:v>
                </c:pt>
                <c:pt idx="53">
                  <c:v>1137.7612</c:v>
                </c:pt>
                <c:pt idx="54">
                  <c:v>1176.5731</c:v>
                </c:pt>
                <c:pt idx="55">
                  <c:v>1178.8571</c:v>
                </c:pt>
                <c:pt idx="56">
                  <c:v>1158.6038</c:v>
                </c:pt>
                <c:pt idx="57">
                  <c:v>1087.3125</c:v>
                </c:pt>
                <c:pt idx="58">
                  <c:v>1131.197</c:v>
                </c:pt>
                <c:pt idx="59">
                  <c:v>1090.2641</c:v>
                </c:pt>
                <c:pt idx="60">
                  <c:v>1104.3161</c:v>
                </c:pt>
                <c:pt idx="61">
                  <c:v>1191.3121</c:v>
                </c:pt>
                <c:pt idx="62">
                  <c:v>1155.3035</c:v>
                </c:pt>
                <c:pt idx="63">
                  <c:v>1185.0375</c:v>
                </c:pt>
                <c:pt idx="64">
                  <c:v>1152.0738</c:v>
                </c:pt>
                <c:pt idx="65">
                  <c:v>1093.9312</c:v>
                </c:pt>
                <c:pt idx="66">
                  <c:v>1166.2709</c:v>
                </c:pt>
                <c:pt idx="67">
                  <c:v>1194.4035</c:v>
                </c:pt>
                <c:pt idx="68">
                  <c:v>1121.4463</c:v>
                </c:pt>
                <c:pt idx="69">
                  <c:v>1111.0052</c:v>
                </c:pt>
                <c:pt idx="70">
                  <c:v>1085.8235</c:v>
                </c:pt>
                <c:pt idx="71">
                  <c:v>1165.3276</c:v>
                </c:pt>
                <c:pt idx="72">
                  <c:v>1131.3955</c:v>
                </c:pt>
                <c:pt idx="73">
                  <c:v>1303.6923</c:v>
                </c:pt>
                <c:pt idx="74">
                  <c:v>1285.864</c:v>
                </c:pt>
                <c:pt idx="75">
                  <c:v>1218.7551</c:v>
                </c:pt>
                <c:pt idx="76">
                  <c:v>1233.5926</c:v>
                </c:pt>
                <c:pt idx="77">
                  <c:v>1287.5488</c:v>
                </c:pt>
                <c:pt idx="78">
                  <c:v>1204.2329</c:v>
                </c:pt>
                <c:pt idx="79">
                  <c:v>1238.7</c:v>
                </c:pt>
                <c:pt idx="80">
                  <c:v>1146.9333</c:v>
                </c:pt>
                <c:pt idx="81">
                  <c:v>1026.2632</c:v>
                </c:pt>
                <c:pt idx="82">
                  <c:v>987.2063</c:v>
                </c:pt>
                <c:pt idx="83">
                  <c:v>1047.2955</c:v>
                </c:pt>
                <c:pt idx="84">
                  <c:v>1089.9048</c:v>
                </c:pt>
                <c:pt idx="85">
                  <c:v>1062.9038</c:v>
                </c:pt>
                <c:pt idx="86">
                  <c:v>1118.2115</c:v>
                </c:pt>
                <c:pt idx="87">
                  <c:v>1141.4754</c:v>
                </c:pt>
                <c:pt idx="88">
                  <c:v>1147.3333</c:v>
                </c:pt>
                <c:pt idx="89">
                  <c:v>1220.8</c:v>
                </c:pt>
                <c:pt idx="90">
                  <c:v>1229.5517</c:v>
                </c:pt>
                <c:pt idx="91">
                  <c:v>1241.6061</c:v>
                </c:pt>
                <c:pt idx="92">
                  <c:v>1080.7937</c:v>
                </c:pt>
                <c:pt idx="93">
                  <c:v>1159.6</c:v>
                </c:pt>
                <c:pt idx="94">
                  <c:v>1210.9535</c:v>
                </c:pt>
                <c:pt idx="95">
                  <c:v>1066.7573</c:v>
                </c:pt>
                <c:pt idx="96">
                  <c:v>1033.8525</c:v>
                </c:pt>
                <c:pt idx="97">
                  <c:v>1073.4317</c:v>
                </c:pt>
                <c:pt idx="98">
                  <c:v>1064.0452</c:v>
                </c:pt>
                <c:pt idx="99">
                  <c:v>1041.4658</c:v>
                </c:pt>
                <c:pt idx="100">
                  <c:v>1088.0837</c:v>
                </c:pt>
                <c:pt idx="101">
                  <c:v>1111.5827</c:v>
                </c:pt>
                <c:pt idx="102">
                  <c:v>1183.1964</c:v>
                </c:pt>
                <c:pt idx="103">
                  <c:v>1113.7667</c:v>
                </c:pt>
                <c:pt idx="104">
                  <c:v>1205.4778</c:v>
                </c:pt>
              </c:numCache>
            </c:numRef>
          </c:xVal>
          <c:yVal>
            <c:numRef>
              <c:f>Sheet1!$B$2:$B$106</c:f>
              <c:numCache>
                <c:formatCode>General</c:formatCode>
                <c:ptCount val="105"/>
                <c:pt idx="0">
                  <c:v>0.5244444444444445</c:v>
                </c:pt>
                <c:pt idx="1">
                  <c:v>0.5408921933085502</c:v>
                </c:pt>
                <c:pt idx="2">
                  <c:v>0.4825174825174825</c:v>
                </c:pt>
                <c:pt idx="3">
                  <c:v>0.42830882352941174</c:v>
                </c:pt>
                <c:pt idx="4">
                  <c:v>0.34894613583138173</c:v>
                </c:pt>
                <c:pt idx="5">
                  <c:v>0.3431818181818182</c:v>
                </c:pt>
                <c:pt idx="6">
                  <c:v>0.30228136882129275</c:v>
                </c:pt>
                <c:pt idx="7">
                  <c:v>0.30120481927710846</c:v>
                </c:pt>
                <c:pt idx="8">
                  <c:v>0.4022727272727273</c:v>
                </c:pt>
                <c:pt idx="9">
                  <c:v>0.4817391304347826</c:v>
                </c:pt>
                <c:pt idx="10">
                  <c:v>0.535958904109589</c:v>
                </c:pt>
                <c:pt idx="11">
                  <c:v>0.5183044315992292</c:v>
                </c:pt>
                <c:pt idx="12">
                  <c:v>0.5027027027027027</c:v>
                </c:pt>
                <c:pt idx="13">
                  <c:v>0.5857418111753372</c:v>
                </c:pt>
                <c:pt idx="14">
                  <c:v>0.588495575221239</c:v>
                </c:pt>
                <c:pt idx="15">
                  <c:v>0.5646766169154229</c:v>
                </c:pt>
                <c:pt idx="16">
                  <c:v>0.47005988023952094</c:v>
                </c:pt>
                <c:pt idx="17">
                  <c:v>0.5362903225806451</c:v>
                </c:pt>
                <c:pt idx="18">
                  <c:v>0.494949494949495</c:v>
                </c:pt>
                <c:pt idx="19">
                  <c:v>0.3961352657004831</c:v>
                </c:pt>
                <c:pt idx="20">
                  <c:v>0.40540540540540543</c:v>
                </c:pt>
                <c:pt idx="21">
                  <c:v>0.445</c:v>
                </c:pt>
                <c:pt idx="22">
                  <c:v>0.418848167539267</c:v>
                </c:pt>
                <c:pt idx="23">
                  <c:v>0.48905109489051096</c:v>
                </c:pt>
                <c:pt idx="24">
                  <c:v>0.47191011235955055</c:v>
                </c:pt>
                <c:pt idx="25">
                  <c:v>0.487012987012987</c:v>
                </c:pt>
                <c:pt idx="26">
                  <c:v>0.46496815286624205</c:v>
                </c:pt>
                <c:pt idx="27">
                  <c:v>0.45962732919254656</c:v>
                </c:pt>
                <c:pt idx="28">
                  <c:v>0.4397163120567376</c:v>
                </c:pt>
                <c:pt idx="29">
                  <c:v>0.5038759689922481</c:v>
                </c:pt>
                <c:pt idx="30">
                  <c:v>0.4642857142857143</c:v>
                </c:pt>
                <c:pt idx="31">
                  <c:v>0.4230769230769231</c:v>
                </c:pt>
                <c:pt idx="32">
                  <c:v>0.45132743362831856</c:v>
                </c:pt>
                <c:pt idx="33">
                  <c:v>0.5068493150684932</c:v>
                </c:pt>
                <c:pt idx="34">
                  <c:v>0.47540983606557374</c:v>
                </c:pt>
                <c:pt idx="35">
                  <c:v>0.40425531914893614</c:v>
                </c:pt>
                <c:pt idx="36">
                  <c:v>0.3474576271186441</c:v>
                </c:pt>
                <c:pt idx="37">
                  <c:v>0.40350877192982454</c:v>
                </c:pt>
                <c:pt idx="38">
                  <c:v>0.4336283185840708</c:v>
                </c:pt>
                <c:pt idx="39">
                  <c:v>0.43137254901960786</c:v>
                </c:pt>
                <c:pt idx="40">
                  <c:v>0.4296875</c:v>
                </c:pt>
                <c:pt idx="41">
                  <c:v>0.4107142857142857</c:v>
                </c:pt>
                <c:pt idx="42">
                  <c:v>0.4296875</c:v>
                </c:pt>
                <c:pt idx="43">
                  <c:v>0.4252336448598131</c:v>
                </c:pt>
                <c:pt idx="44">
                  <c:v>0.4346846846846847</c:v>
                </c:pt>
                <c:pt idx="45">
                  <c:v>0.42412451361867703</c:v>
                </c:pt>
                <c:pt idx="46">
                  <c:v>0.45365853658536587</c:v>
                </c:pt>
                <c:pt idx="47">
                  <c:v>0.48535564853556484</c:v>
                </c:pt>
                <c:pt idx="48">
                  <c:v>0.5349854227405247</c:v>
                </c:pt>
                <c:pt idx="49">
                  <c:v>0.5890804597701149</c:v>
                </c:pt>
                <c:pt idx="50">
                  <c:v>0.5673758865248227</c:v>
                </c:pt>
                <c:pt idx="51">
                  <c:v>0.5374449339207048</c:v>
                </c:pt>
                <c:pt idx="52">
                  <c:v>0.5454545454545454</c:v>
                </c:pt>
                <c:pt idx="53">
                  <c:v>0.5436105476673428</c:v>
                </c:pt>
                <c:pt idx="54">
                  <c:v>0.5452586206896551</c:v>
                </c:pt>
                <c:pt idx="55">
                  <c:v>0.48764044943820223</c:v>
                </c:pt>
                <c:pt idx="56">
                  <c:v>0.537525354969574</c:v>
                </c:pt>
                <c:pt idx="57">
                  <c:v>0.5349544072948328</c:v>
                </c:pt>
                <c:pt idx="58">
                  <c:v>0.5402455661664393</c:v>
                </c:pt>
                <c:pt idx="59">
                  <c:v>0.5583941605839416</c:v>
                </c:pt>
                <c:pt idx="60">
                  <c:v>0.5591805766312595</c:v>
                </c:pt>
                <c:pt idx="61">
                  <c:v>0.5547703180212014</c:v>
                </c:pt>
                <c:pt idx="62">
                  <c:v>0.5742690058479533</c:v>
                </c:pt>
                <c:pt idx="63">
                  <c:v>0.6013712047012733</c:v>
                </c:pt>
                <c:pt idx="64">
                  <c:v>0.62148070907195</c:v>
                </c:pt>
                <c:pt idx="65">
                  <c:v>0.5717592592592593</c:v>
                </c:pt>
                <c:pt idx="66">
                  <c:v>0.5586987270155587</c:v>
                </c:pt>
                <c:pt idx="67">
                  <c:v>0.5754560530679934</c:v>
                </c:pt>
                <c:pt idx="68">
                  <c:v>0.573076923076923</c:v>
                </c:pt>
                <c:pt idx="69">
                  <c:v>0.5348189415041783</c:v>
                </c:pt>
                <c:pt idx="70">
                  <c:v>0.5138539042821159</c:v>
                </c:pt>
                <c:pt idx="71">
                  <c:v>0.498567335243553</c:v>
                </c:pt>
                <c:pt idx="72">
                  <c:v>0.5283582089552239</c:v>
                </c:pt>
                <c:pt idx="73">
                  <c:v>0.45774647887323944</c:v>
                </c:pt>
                <c:pt idx="74">
                  <c:v>0.41254125412541254</c:v>
                </c:pt>
                <c:pt idx="75">
                  <c:v>0.45794392523364486</c:v>
                </c:pt>
                <c:pt idx="76">
                  <c:v>0.42408376963350786</c:v>
                </c:pt>
                <c:pt idx="77">
                  <c:v>0.41836734693877553</c:v>
                </c:pt>
                <c:pt idx="78">
                  <c:v>0.46496815286624205</c:v>
                </c:pt>
                <c:pt idx="79">
                  <c:v>0.4225352112676056</c:v>
                </c:pt>
                <c:pt idx="80">
                  <c:v>0.425531914893617</c:v>
                </c:pt>
                <c:pt idx="81">
                  <c:v>0.40860215053763443</c:v>
                </c:pt>
                <c:pt idx="82">
                  <c:v>0.4375</c:v>
                </c:pt>
                <c:pt idx="83">
                  <c:v>0.36666666666666664</c:v>
                </c:pt>
                <c:pt idx="84">
                  <c:v>0.3652173913043478</c:v>
                </c:pt>
                <c:pt idx="85">
                  <c:v>0.4126984126984127</c:v>
                </c:pt>
                <c:pt idx="86">
                  <c:v>0.3795620437956204</c:v>
                </c:pt>
                <c:pt idx="87">
                  <c:v>0.37888198757763975</c:v>
                </c:pt>
                <c:pt idx="88">
                  <c:v>0.32142857142857145</c:v>
                </c:pt>
                <c:pt idx="89">
                  <c:v>0.2727272727272727</c:v>
                </c:pt>
                <c:pt idx="90">
                  <c:v>0.29</c:v>
                </c:pt>
                <c:pt idx="91">
                  <c:v>0.2920353982300885</c:v>
                </c:pt>
                <c:pt idx="92">
                  <c:v>0.3684210526315789</c:v>
                </c:pt>
                <c:pt idx="93">
                  <c:v>0.3973509933774834</c:v>
                </c:pt>
                <c:pt idx="94">
                  <c:v>0.4215686274509804</c:v>
                </c:pt>
                <c:pt idx="95">
                  <c:v>0.4497816593886463</c:v>
                </c:pt>
                <c:pt idx="96">
                  <c:v>0.4906166219839142</c:v>
                </c:pt>
                <c:pt idx="97">
                  <c:v>0.4959349593495935</c:v>
                </c:pt>
                <c:pt idx="98">
                  <c:v>0.5</c:v>
                </c:pt>
                <c:pt idx="99">
                  <c:v>0.5309090909090909</c:v>
                </c:pt>
                <c:pt idx="100">
                  <c:v>0.5346112886048988</c:v>
                </c:pt>
                <c:pt idx="101">
                  <c:v>0.5205479452054794</c:v>
                </c:pt>
                <c:pt idx="102">
                  <c:v>0.44562334217506633</c:v>
                </c:pt>
                <c:pt idx="103">
                  <c:v>0.4772727272727273</c:v>
                </c:pt>
                <c:pt idx="104">
                  <c:v>0.475409836065573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6.3656</c:v>
                </c:pt>
                <c:pt idx="1">
                  <c:v>1224.0404</c:v>
                </c:pt>
                <c:pt idx="2">
                  <c:v>1222.3659</c:v>
                </c:pt>
                <c:pt idx="3">
                  <c:v>1252.4528</c:v>
                </c:pt>
                <c:pt idx="4">
                  <c:v>1244.1909</c:v>
                </c:pt>
                <c:pt idx="5">
                  <c:v>1231.7483</c:v>
                </c:pt>
                <c:pt idx="6">
                  <c:v>1153.0963</c:v>
                </c:pt>
                <c:pt idx="7">
                  <c:v>1258.2387</c:v>
                </c:pt>
                <c:pt idx="8">
                  <c:v>1298.0732</c:v>
                </c:pt>
                <c:pt idx="9">
                  <c:v>1289.7143</c:v>
                </c:pt>
                <c:pt idx="10">
                  <c:v>1295.2644</c:v>
                </c:pt>
                <c:pt idx="11">
                  <c:v>1050.1775</c:v>
                </c:pt>
                <c:pt idx="12">
                  <c:v>1048.9454</c:v>
                </c:pt>
                <c:pt idx="13">
                  <c:v>1217.393</c:v>
                </c:pt>
                <c:pt idx="14">
                  <c:v>1236.2177</c:v>
                </c:pt>
                <c:pt idx="15">
                  <c:v>1273.0506</c:v>
                </c:pt>
                <c:pt idx="16">
                  <c:v>1331.4148</c:v>
                </c:pt>
                <c:pt idx="17">
                  <c:v>1314.1844</c:v>
                </c:pt>
                <c:pt idx="18">
                  <c:v>1350.506</c:v>
                </c:pt>
                <c:pt idx="19">
                  <c:v>1360.7476</c:v>
                </c:pt>
                <c:pt idx="20">
                  <c:v>1223.0684</c:v>
                </c:pt>
                <c:pt idx="21">
                  <c:v>1054.6364</c:v>
                </c:pt>
                <c:pt idx="22">
                  <c:v>890.24</c:v>
                </c:pt>
                <c:pt idx="23">
                  <c:v>916.2016</c:v>
                </c:pt>
                <c:pt idx="24">
                  <c:v>938.7797</c:v>
                </c:pt>
                <c:pt idx="25">
                  <c:v>899.4486</c:v>
                </c:pt>
                <c:pt idx="26">
                  <c:v>1036.0568</c:v>
                </c:pt>
                <c:pt idx="27">
                  <c:v>1112.5195</c:v>
                </c:pt>
                <c:pt idx="28">
                  <c:v>1068.4156</c:v>
                </c:pt>
                <c:pt idx="29">
                  <c:v>1015.625</c:v>
                </c:pt>
                <c:pt idx="30">
                  <c:v>976.5769</c:v>
                </c:pt>
                <c:pt idx="31">
                  <c:v>1067.6585</c:v>
                </c:pt>
                <c:pt idx="32">
                  <c:v>1038.5306</c:v>
                </c:pt>
                <c:pt idx="33">
                  <c:v>1164.7037</c:v>
                </c:pt>
                <c:pt idx="34">
                  <c:v>1115.622</c:v>
                </c:pt>
                <c:pt idx="35">
                  <c:v>1110.7708</c:v>
                </c:pt>
                <c:pt idx="36">
                  <c:v>1045.5143</c:v>
                </c:pt>
                <c:pt idx="37">
                  <c:v>968.1628</c:v>
                </c:pt>
                <c:pt idx="38">
                  <c:v>847.9057</c:v>
                </c:pt>
                <c:pt idx="39">
                  <c:v>803.9512</c:v>
                </c:pt>
                <c:pt idx="40">
                  <c:v>879.982</c:v>
                </c:pt>
                <c:pt idx="41">
                  <c:v>1030.1558</c:v>
                </c:pt>
                <c:pt idx="42">
                  <c:v>1126.7963</c:v>
                </c:pt>
                <c:pt idx="43">
                  <c:v>871.15</c:v>
                </c:pt>
                <c:pt idx="44">
                  <c:v>1009.3259</c:v>
                </c:pt>
                <c:pt idx="45">
                  <c:v>1090.2463</c:v>
                </c:pt>
                <c:pt idx="46">
                  <c:v>1174.5899</c:v>
                </c:pt>
                <c:pt idx="47">
                  <c:v>1076.1183</c:v>
                </c:pt>
                <c:pt idx="48">
                  <c:v>1142.8157</c:v>
                </c:pt>
                <c:pt idx="49">
                  <c:v>1108.788</c:v>
                </c:pt>
                <c:pt idx="50">
                  <c:v>1008.0067</c:v>
                </c:pt>
                <c:pt idx="51">
                  <c:v>1003.8537</c:v>
                </c:pt>
              </c:numCache>
            </c:numRef>
          </c:xVal>
          <c:yVal>
            <c:numRef>
              <c:f>Sheet1!$B$109:$B$160</c:f>
              <c:numCache>
                <c:formatCode>General</c:formatCode>
                <c:ptCount val="52"/>
                <c:pt idx="0">
                  <c:v>0.4929328621908127</c:v>
                </c:pt>
                <c:pt idx="1">
                  <c:v>0.4657534246575342</c:v>
                </c:pt>
                <c:pt idx="2">
                  <c:v>0.48919753086419754</c:v>
                </c:pt>
                <c:pt idx="3">
                  <c:v>0.4774774774774775</c:v>
                </c:pt>
                <c:pt idx="4">
                  <c:v>0.45706371191135736</c:v>
                </c:pt>
                <c:pt idx="5">
                  <c:v>0.4575757575757576</c:v>
                </c:pt>
                <c:pt idx="6">
                  <c:v>0.4933008526187576</c:v>
                </c:pt>
                <c:pt idx="7">
                  <c:v>0.4955357142857143</c:v>
                </c:pt>
                <c:pt idx="8">
                  <c:v>0.5061728395061729</c:v>
                </c:pt>
                <c:pt idx="9">
                  <c:v>0.5083798882681564</c:v>
                </c:pt>
                <c:pt idx="10">
                  <c:v>0.5127701375245579</c:v>
                </c:pt>
                <c:pt idx="11">
                  <c:v>0.5782227784730913</c:v>
                </c:pt>
                <c:pt idx="12">
                  <c:v>0.5568</c:v>
                </c:pt>
                <c:pt idx="13">
                  <c:v>0.48006134969325154</c:v>
                </c:pt>
                <c:pt idx="14">
                  <c:v>0.479646017699115</c:v>
                </c:pt>
                <c:pt idx="15">
                  <c:v>0.491701244813278</c:v>
                </c:pt>
                <c:pt idx="16">
                  <c:v>0.45478036175710596</c:v>
                </c:pt>
                <c:pt idx="17">
                  <c:v>0.4351851851851852</c:v>
                </c:pt>
                <c:pt idx="18">
                  <c:v>0.4088669950738916</c:v>
                </c:pt>
                <c:pt idx="19">
                  <c:v>0.4256198347107438</c:v>
                </c:pt>
                <c:pt idx="20">
                  <c:v>0.42857142857142855</c:v>
                </c:pt>
                <c:pt idx="21">
                  <c:v>0.45396825396825397</c:v>
                </c:pt>
                <c:pt idx="22">
                  <c:v>0.4985754985754986</c:v>
                </c:pt>
                <c:pt idx="23">
                  <c:v>0.5019455252918288</c:v>
                </c:pt>
                <c:pt idx="24">
                  <c:v>0.5130434782608696</c:v>
                </c:pt>
                <c:pt idx="25">
                  <c:v>0.4841628959276018</c:v>
                </c:pt>
                <c:pt idx="26">
                  <c:v>0.411214953271028</c:v>
                </c:pt>
                <c:pt idx="27">
                  <c:v>0.4095744680851064</c:v>
                </c:pt>
                <c:pt idx="28">
                  <c:v>0.4350282485875706</c:v>
                </c:pt>
                <c:pt idx="29">
                  <c:v>0.38620689655172413</c:v>
                </c:pt>
                <c:pt idx="30">
                  <c:v>0.3939393939393939</c:v>
                </c:pt>
                <c:pt idx="31">
                  <c:v>0.422680412371134</c:v>
                </c:pt>
                <c:pt idx="32">
                  <c:v>0.4117647058823529</c:v>
                </c:pt>
                <c:pt idx="33">
                  <c:v>0.4153846153846154</c:v>
                </c:pt>
                <c:pt idx="34">
                  <c:v>0.43617021276595747</c:v>
                </c:pt>
                <c:pt idx="35">
                  <c:v>0.34782608695652173</c:v>
                </c:pt>
                <c:pt idx="36">
                  <c:v>0.4117647058823529</c:v>
                </c:pt>
                <c:pt idx="37">
                  <c:v>0.3944954128440367</c:v>
                </c:pt>
                <c:pt idx="38">
                  <c:v>0.5</c:v>
                </c:pt>
                <c:pt idx="39">
                  <c:v>0.47398843930635837</c:v>
                </c:pt>
                <c:pt idx="40">
                  <c:v>0.4457831325301205</c:v>
                </c:pt>
                <c:pt idx="41">
                  <c:v>0.41397849462365593</c:v>
                </c:pt>
                <c:pt idx="42">
                  <c:v>0.35526315789473684</c:v>
                </c:pt>
                <c:pt idx="43">
                  <c:v>0.4794520547945205</c:v>
                </c:pt>
                <c:pt idx="44">
                  <c:v>0.47368421052631576</c:v>
                </c:pt>
                <c:pt idx="45">
                  <c:v>0.4742990654205608</c:v>
                </c:pt>
                <c:pt idx="46">
                  <c:v>0.44694533762057875</c:v>
                </c:pt>
                <c:pt idx="47">
                  <c:v>0.465</c:v>
                </c:pt>
                <c:pt idx="48">
                  <c:v>0.4696132596685083</c:v>
                </c:pt>
                <c:pt idx="49">
                  <c:v>0.5275459098497496</c:v>
                </c:pt>
                <c:pt idx="50">
                  <c:v>0.5569029850746269</c:v>
                </c:pt>
                <c:pt idx="51">
                  <c:v>0.542533081285444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315.3361545986913</c:v>
                </c:pt>
              </c:numCache>
            </c:numRef>
          </c:xVal>
          <c:yVal>
            <c:numRef>
              <c:f>Sheet1!$B$163:$B$164</c:f>
              <c:numCache>
                <c:formatCode>General</c:formatCode>
                <c:ptCount val="2"/>
                <c:pt idx="0">
                  <c:v>0.5510943899169556</c:v>
                </c:pt>
                <c:pt idx="1">
                  <c:v>0.551094389916955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315.3361545986913</c:v>
                </c:pt>
                <c:pt idx="1">
                  <c:v>-3315.3361545986913</c:v>
                </c:pt>
              </c:numCache>
            </c:numRef>
          </c:xVal>
          <c:yVal>
            <c:numRef>
              <c:f>Sheet1!$B$167:$B$168</c:f>
              <c:numCache>
                <c:formatCode>General</c:formatCode>
                <c:ptCount val="2"/>
                <c:pt idx="0">
                  <c:v>0.55109438991695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70.0217386659078</c:v>
                </c:pt>
              </c:numCache>
            </c:numRef>
          </c:xVal>
          <c:yVal>
            <c:numRef>
              <c:f>Sheet1!$B$171:$B$172</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70.0217386659078</c:v>
                </c:pt>
                <c:pt idx="1">
                  <c:v>-1970.0217386659078</c:v>
                </c:pt>
              </c:numCache>
            </c:numRef>
          </c:xVal>
          <c:yVal>
            <c:numRef>
              <c:f>Sheet1!$B$175:$B$176</c:f>
              <c:numCache>
                <c:formatCode>General</c:formatCode>
                <c:ptCount val="2"/>
                <c:pt idx="0">
                  <c:v>0.52414880896958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75.9042342155213</c:v>
                </c:pt>
              </c:numCache>
            </c:numRef>
          </c:xVal>
          <c:yVal>
            <c:numRef>
              <c:f>Sheet1!$B$179:$B$180</c:f>
              <c:numCache>
                <c:formatCode>General</c:formatCode>
                <c:ptCount val="2"/>
                <c:pt idx="0">
                  <c:v>0.4711530098919366</c:v>
                </c:pt>
                <c:pt idx="1">
                  <c:v>0.47115300989193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75.9042342155213</c:v>
                </c:pt>
                <c:pt idx="1">
                  <c:v>675.9042342155213</c:v>
                </c:pt>
              </c:numCache>
            </c:numRef>
          </c:xVal>
          <c:yVal>
            <c:numRef>
              <c:f>Sheet1!$B$183:$B$184</c:f>
              <c:numCache>
                <c:formatCode>General</c:formatCode>
                <c:ptCount val="2"/>
                <c:pt idx="0">
                  <c:v>0.47115300989193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6.3656</c:v>
                </c:pt>
                <c:pt idx="1">
                  <c:v>1224.0404</c:v>
                </c:pt>
                <c:pt idx="2">
                  <c:v>1222.3659</c:v>
                </c:pt>
                <c:pt idx="3">
                  <c:v>1252.4528</c:v>
                </c:pt>
                <c:pt idx="4">
                  <c:v>1244.1909</c:v>
                </c:pt>
                <c:pt idx="5">
                  <c:v>1231.7483</c:v>
                </c:pt>
                <c:pt idx="6">
                  <c:v>1153.0963</c:v>
                </c:pt>
                <c:pt idx="7">
                  <c:v>1258.2387</c:v>
                </c:pt>
                <c:pt idx="8">
                  <c:v>1298.0732</c:v>
                </c:pt>
                <c:pt idx="9">
                  <c:v>1289.7143</c:v>
                </c:pt>
                <c:pt idx="10">
                  <c:v>1295.2644</c:v>
                </c:pt>
                <c:pt idx="11">
                  <c:v>1050.1775</c:v>
                </c:pt>
                <c:pt idx="12">
                  <c:v>1048.9454</c:v>
                </c:pt>
                <c:pt idx="13">
                  <c:v>1217.393</c:v>
                </c:pt>
                <c:pt idx="14">
                  <c:v>1236.2177</c:v>
                </c:pt>
                <c:pt idx="15">
                  <c:v>1273.0506</c:v>
                </c:pt>
                <c:pt idx="16">
                  <c:v>1331.4148</c:v>
                </c:pt>
                <c:pt idx="17">
                  <c:v>1314.1844</c:v>
                </c:pt>
                <c:pt idx="18">
                  <c:v>1350.506</c:v>
                </c:pt>
                <c:pt idx="19">
                  <c:v>1360.7476</c:v>
                </c:pt>
                <c:pt idx="20">
                  <c:v>1223.0684</c:v>
                </c:pt>
                <c:pt idx="21">
                  <c:v>1054.6364</c:v>
                </c:pt>
                <c:pt idx="22">
                  <c:v>890.24</c:v>
                </c:pt>
                <c:pt idx="23">
                  <c:v>916.2016</c:v>
                </c:pt>
                <c:pt idx="24">
                  <c:v>938.7797</c:v>
                </c:pt>
                <c:pt idx="25">
                  <c:v>899.4486</c:v>
                </c:pt>
                <c:pt idx="26">
                  <c:v>1036.0568</c:v>
                </c:pt>
                <c:pt idx="27">
                  <c:v>1112.5195</c:v>
                </c:pt>
                <c:pt idx="28">
                  <c:v>1068.4156</c:v>
                </c:pt>
                <c:pt idx="29">
                  <c:v>1015.625</c:v>
                </c:pt>
                <c:pt idx="30">
                  <c:v>976.5769</c:v>
                </c:pt>
                <c:pt idx="31">
                  <c:v>1067.6585</c:v>
                </c:pt>
                <c:pt idx="32">
                  <c:v>1038.5306</c:v>
                </c:pt>
                <c:pt idx="33">
                  <c:v>1164.7037</c:v>
                </c:pt>
                <c:pt idx="34">
                  <c:v>1115.622</c:v>
                </c:pt>
                <c:pt idx="35">
                  <c:v>1110.7708</c:v>
                </c:pt>
                <c:pt idx="36">
                  <c:v>1045.5143</c:v>
                </c:pt>
                <c:pt idx="37">
                  <c:v>968.1628</c:v>
                </c:pt>
                <c:pt idx="38">
                  <c:v>847.9057</c:v>
                </c:pt>
                <c:pt idx="39">
                  <c:v>803.9512</c:v>
                </c:pt>
                <c:pt idx="40">
                  <c:v>879.982</c:v>
                </c:pt>
                <c:pt idx="41">
                  <c:v>1030.1558</c:v>
                </c:pt>
                <c:pt idx="42">
                  <c:v>1126.7963</c:v>
                </c:pt>
                <c:pt idx="43">
                  <c:v>871.15</c:v>
                </c:pt>
                <c:pt idx="44">
                  <c:v>1009.3259</c:v>
                </c:pt>
                <c:pt idx="45">
                  <c:v>1090.2463</c:v>
                </c:pt>
                <c:pt idx="46">
                  <c:v>1174.5899</c:v>
                </c:pt>
                <c:pt idx="47">
                  <c:v>1076.1183</c:v>
                </c:pt>
                <c:pt idx="48">
                  <c:v>1142.8157</c:v>
                </c:pt>
                <c:pt idx="49">
                  <c:v>1108.788</c:v>
                </c:pt>
                <c:pt idx="50">
                  <c:v>1008.0067</c:v>
                </c:pt>
                <c:pt idx="51">
                  <c:v>1003.8537</c:v>
                </c:pt>
                <c:pt idx="52">
                  <c:v>-1970.0217386659078</c:v>
                </c:pt>
                <c:pt idx="53">
                  <c:v>-3315.3361545986913</c:v>
                </c:pt>
                <c:pt idx="54">
                  <c:v>675.9042342155213</c:v>
                </c:pt>
              </c:numCache>
            </c:numRef>
          </c:xVal>
          <c:yVal>
            <c:numRef>
              <c:f>Sheet1!$B$187:$B$241</c:f>
              <c:numCache>
                <c:formatCode>General</c:formatCode>
                <c:ptCount val="55"/>
                <c:pt idx="0">
                  <c:v>0.4601277052386276</c:v>
                </c:pt>
                <c:pt idx="1">
                  <c:v>0.4601742771507969</c:v>
                </c:pt>
                <c:pt idx="2">
                  <c:v>0.4602078160579564</c:v>
                </c:pt>
                <c:pt idx="3">
                  <c:v>0.4596051993091844</c:v>
                </c:pt>
                <c:pt idx="4">
                  <c:v>0.45977067861468546</c:v>
                </c:pt>
                <c:pt idx="5">
                  <c:v>0.4600198940259864</c:v>
                </c:pt>
                <c:pt idx="6">
                  <c:v>0.46159523121673773</c:v>
                </c:pt>
                <c:pt idx="7">
                  <c:v>0.4594893123202716</c:v>
                </c:pt>
                <c:pt idx="8">
                  <c:v>0.4586914588731249</c:v>
                </c:pt>
                <c:pt idx="9">
                  <c:v>0.4588588810117072</c:v>
                </c:pt>
                <c:pt idx="10">
                  <c:v>0.45874771690981037</c:v>
                </c:pt>
                <c:pt idx="11">
                  <c:v>0.4636566131684681</c:v>
                </c:pt>
                <c:pt idx="12">
                  <c:v>0.4636812911544408</c:v>
                </c:pt>
                <c:pt idx="13">
                  <c:v>0.4603074193015597</c:v>
                </c:pt>
                <c:pt idx="14">
                  <c:v>0.45993037548811905</c:v>
                </c:pt>
                <c:pt idx="15">
                  <c:v>0.4591926417087717</c:v>
                </c:pt>
                <c:pt idx="16">
                  <c:v>0.4580236530642561</c:v>
                </c:pt>
                <c:pt idx="17">
                  <c:v>0.4583687643129404</c:v>
                </c:pt>
                <c:pt idx="18">
                  <c:v>0.45764127146714384</c:v>
                </c:pt>
                <c:pt idx="19">
                  <c:v>0.4574361403404999</c:v>
                </c:pt>
                <c:pt idx="20">
                  <c:v>0.46019374554002296</c:v>
                </c:pt>
                <c:pt idx="21">
                  <c:v>0.4635673049372745</c:v>
                </c:pt>
                <c:pt idx="22">
                  <c:v>0.4668600344666651</c:v>
                </c:pt>
                <c:pt idx="23">
                  <c:v>0.4663400442056239</c:v>
                </c:pt>
                <c:pt idx="24">
                  <c:v>0.46588782276654417</c:v>
                </c:pt>
                <c:pt idx="25">
                  <c:v>0.4666755935108756</c:v>
                </c:pt>
                <c:pt idx="26">
                  <c:v>0.4639394395920739</c:v>
                </c:pt>
                <c:pt idx="27">
                  <c:v>0.4624079523442574</c:v>
                </c:pt>
                <c:pt idx="28">
                  <c:v>0.463291318487867</c:v>
                </c:pt>
                <c:pt idx="29">
                  <c:v>0.4643486723441208</c:v>
                </c:pt>
                <c:pt idx="30">
                  <c:v>0.46513077482286486</c:v>
                </c:pt>
                <c:pt idx="31">
                  <c:v>0.4633064826005039</c:v>
                </c:pt>
                <c:pt idx="32">
                  <c:v>0.46388989133974107</c:v>
                </c:pt>
                <c:pt idx="33">
                  <c:v>0.46136274419914214</c:v>
                </c:pt>
                <c:pt idx="34">
                  <c:v>0.4623458117294694</c:v>
                </c:pt>
                <c:pt idx="35">
                  <c:v>0.46244297741857804</c:v>
                </c:pt>
                <c:pt idx="36">
                  <c:v>0.4637500133666565</c:v>
                </c:pt>
                <c:pt idx="37">
                  <c:v>0.46529930257367474</c:v>
                </c:pt>
                <c:pt idx="38">
                  <c:v>0.46770795692552725</c:v>
                </c:pt>
                <c:pt idx="39">
                  <c:v>0.46858833070560757</c:v>
                </c:pt>
                <c:pt idx="40">
                  <c:v>0.4670654940723042</c:v>
                </c:pt>
                <c:pt idx="41">
                  <c:v>0.464057631942715</c:v>
                </c:pt>
                <c:pt idx="42">
                  <c:v>0.4621219993614354</c:v>
                </c:pt>
                <c:pt idx="43">
                  <c:v>0.4672423920287289</c:v>
                </c:pt>
                <c:pt idx="44">
                  <c:v>0.46447483832207764</c:v>
                </c:pt>
                <c:pt idx="45">
                  <c:v>0.462854066878116</c:v>
                </c:pt>
                <c:pt idx="46">
                  <c:v>0.4611647314526741</c:v>
                </c:pt>
                <c:pt idx="47">
                  <c:v>0.463137039514933</c:v>
                </c:pt>
                <c:pt idx="48">
                  <c:v>0.46180114348245555</c:v>
                </c:pt>
                <c:pt idx="49">
                  <c:v>0.4624826913302627</c:v>
                </c:pt>
                <c:pt idx="50">
                  <c:v>0.464501260851982</c:v>
                </c:pt>
                <c:pt idx="51">
                  <c:v>0.4645844421487474</c:v>
                </c:pt>
                <c:pt idx="52">
                  <c:v>0.5241488089695823</c:v>
                </c:pt>
                <c:pt idx="53">
                  <c:v>0.5510943899169556</c:v>
                </c:pt>
                <c:pt idx="54">
                  <c:v>0.47115300989193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457768508863399"/>
          <c:min val="0.2181818181818181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numCache>
            </c:numRef>
          </c:xVal>
          <c:yVal>
            <c:numRef>
              <c:f>Sheet1!$B$2:$B$15</c:f>
              <c:numCache>
                <c:formatCode>General</c:formatCode>
                <c:ptCount val="14"/>
                <c:pt idx="0">
                  <c:v>0.34782608695652173</c:v>
                </c:pt>
                <c:pt idx="1">
                  <c:v>0.4117647058823529</c:v>
                </c:pt>
                <c:pt idx="2">
                  <c:v>0.3944954128440367</c:v>
                </c:pt>
                <c:pt idx="3">
                  <c:v>0.47398843930635837</c:v>
                </c:pt>
                <c:pt idx="4">
                  <c:v>0.4457831325301205</c:v>
                </c:pt>
                <c:pt idx="5">
                  <c:v>0.41397849462365593</c:v>
                </c:pt>
                <c:pt idx="6">
                  <c:v>0.35526315789473684</c:v>
                </c:pt>
                <c:pt idx="7">
                  <c:v>0.4794520547945205</c:v>
                </c:pt>
                <c:pt idx="8">
                  <c:v>0.47368421052631576</c:v>
                </c:pt>
                <c:pt idx="9">
                  <c:v>0.4742990654205608</c:v>
                </c:pt>
                <c:pt idx="10">
                  <c:v>0.44694533762057875</c:v>
                </c:pt>
                <c:pt idx="11">
                  <c:v>0.465</c:v>
                </c:pt>
                <c:pt idx="12">
                  <c:v>0.4696132596685083</c:v>
                </c:pt>
                <c:pt idx="13">
                  <c:v>0.5275459098497496</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9</c:f>
              <c:numCache>
                <c:formatCode>General</c:formatCode>
                <c:ptCount val="2"/>
                <c:pt idx="0">
                  <c:v>0.09059920007190365</c:v>
                </c:pt>
                <c:pt idx="1">
                  <c:v>0.09761315635939323</c:v>
                </c:pt>
              </c:numCache>
            </c:numRef>
          </c:xVal>
          <c:yVal>
            <c:numRef>
              <c:f>Sheet1!$B$18:$B$19</c:f>
              <c:numCache>
                <c:formatCode>General</c:formatCode>
                <c:ptCount val="2"/>
                <c:pt idx="0">
                  <c:v>0.5569029850746269</c:v>
                </c:pt>
                <c:pt idx="1">
                  <c:v>0.5425330812854442</c:v>
                </c:pt>
              </c:numCache>
            </c:numRef>
          </c:yVal>
          <c:smooth val="0"/>
          <c:extLst>
            <c:ext xmlns:c16="http://schemas.microsoft.com/office/drawing/2014/chart" uri="{C3380CC4-5D6E-409C-BE32-E72D297353CC}">
              <c16:uniqueId val="{00000002-096C-4121-9522-6AB7243CCAAE}"/>
            </c:ext>
          </c:extLst>
        </c:ser>
        <c:ser>
          <c:idx val="2"/>
          <c:order val="2"/>
          <c:tx>
            <c:strRef>
              <c:f>Sheet1!$B$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2:$A$23</c:f>
              <c:numCache>
                <c:formatCode>General</c:formatCode>
                <c:ptCount val="2"/>
                <c:pt idx="0">
                  <c:v>0</c:v>
                </c:pt>
                <c:pt idx="1">
                  <c:v>0.10658652767018993</c:v>
                </c:pt>
              </c:numCache>
            </c:numRef>
          </c:xVal>
          <c:yVal>
            <c:numRef>
              <c:f>Sheet1!$B$22:$B$23</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5-096C-4121-9522-6AB7243CCAAE}"/>
            </c:ext>
          </c:extLst>
        </c:ser>
        <c:ser>
          <c:idx val="3"/>
          <c:order val="3"/>
          <c:tx>
            <c:strRef>
              <c:f>Sheet1!$B$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10658652767018993</c:v>
                </c:pt>
                <c:pt idx="1">
                  <c:v>0.10658652767018993</c:v>
                </c:pt>
              </c:numCache>
            </c:numRef>
          </c:xVal>
          <c:yVal>
            <c:numRef>
              <c:f>Sheet1!$B$26:$B$27</c:f>
              <c:numCache>
                <c:formatCode>General</c:formatCode>
                <c:ptCount val="2"/>
                <c:pt idx="0">
                  <c:v>0.52414880896958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0:$A$31</c:f>
              <c:numCache>
                <c:formatCode>General</c:formatCode>
                <c:ptCount val="2"/>
                <c:pt idx="0">
                  <c:v>0</c:v>
                </c:pt>
                <c:pt idx="1">
                  <c:v>0.10658652767018993</c:v>
                </c:pt>
              </c:numCache>
            </c:numRef>
          </c:xVal>
          <c:yVal>
            <c:numRef>
              <c:f>Sheet1!$B$30:$B$31</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D-096C-4121-9522-6AB7243CCAAE}"/>
            </c:ext>
          </c:extLst>
        </c:ser>
        <c:ser>
          <c:idx val="5"/>
          <c:order val="5"/>
          <c:tx>
            <c:strRef>
              <c:f>Sheet1!$B$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4:$A$35</c:f>
              <c:numCache>
                <c:formatCode>General</c:formatCode>
                <c:ptCount val="2"/>
                <c:pt idx="0">
                  <c:v>0.10658652767018993</c:v>
                </c:pt>
                <c:pt idx="1">
                  <c:v>0.10658652767018993</c:v>
                </c:pt>
              </c:numCache>
            </c:numRef>
          </c:xVal>
          <c:yVal>
            <c:numRef>
              <c:f>Sheet1!$B$34:$B$35</c:f>
              <c:numCache>
                <c:formatCode>General</c:formatCode>
                <c:ptCount val="2"/>
                <c:pt idx="0">
                  <c:v>0.52414880896958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8:$A$39</c:f>
              <c:numCache>
                <c:formatCode>General</c:formatCode>
                <c:ptCount val="2"/>
                <c:pt idx="0">
                  <c:v>0</c:v>
                </c:pt>
                <c:pt idx="1">
                  <c:v>0.13245380024239745</c:v>
                </c:pt>
              </c:numCache>
            </c:numRef>
          </c:xVal>
          <c:yVal>
            <c:numRef>
              <c:f>Sheet1!$B$38:$B$39</c:f>
              <c:numCache>
                <c:formatCode>General</c:formatCode>
                <c:ptCount val="2"/>
                <c:pt idx="0">
                  <c:v>0.4711530098919366</c:v>
                </c:pt>
                <c:pt idx="1">
                  <c:v>0.4711530098919366</c:v>
                </c:pt>
              </c:numCache>
            </c:numRef>
          </c:yVal>
          <c:smooth val="0"/>
          <c:extLst>
            <c:ext xmlns:c16="http://schemas.microsoft.com/office/drawing/2014/chart" uri="{C3380CC4-5D6E-409C-BE32-E72D297353CC}">
              <c16:uniqueId val="{00000015-096C-4121-9522-6AB7243CCAAE}"/>
            </c:ext>
          </c:extLst>
        </c:ser>
        <c:ser>
          <c:idx val="7"/>
          <c:order val="7"/>
          <c:tx>
            <c:strRef>
              <c:f>Sheet1!$B$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0.13245380024239745</c:v>
                </c:pt>
                <c:pt idx="1">
                  <c:v>0.13245380024239745</c:v>
                </c:pt>
              </c:numCache>
            </c:numRef>
          </c:xVal>
          <c:yVal>
            <c:numRef>
              <c:f>Sheet1!$B$42:$B$43</c:f>
              <c:numCache>
                <c:formatCode>General</c:formatCode>
                <c:ptCount val="2"/>
                <c:pt idx="0">
                  <c:v>0.47115300989193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6:$A$50</c:f>
              <c:numCache>
                <c:formatCode>General</c:formatCode>
                <c:ptCount val="5"/>
                <c:pt idx="0">
                  <c:v>0.09059920007190365</c:v>
                </c:pt>
                <c:pt idx="1">
                  <c:v>0.09761315635939323</c:v>
                </c:pt>
                <c:pt idx="2">
                  <c:v>0.10658652767018993</c:v>
                </c:pt>
                <c:pt idx="3">
                  <c:v>0.10658652767018993</c:v>
                </c:pt>
                <c:pt idx="4">
                  <c:v>0.13245380024239745</c:v>
                </c:pt>
              </c:numCache>
            </c:numRef>
          </c:xVal>
          <c:yVal>
            <c:numRef>
              <c:f>Sheet1!$B$46:$B$50</c:f>
              <c:numCache>
                <c:formatCode>General</c:formatCode>
                <c:ptCount val="5"/>
                <c:pt idx="0">
                  <c:v>0.556902985074627</c:v>
                </c:pt>
                <c:pt idx="1">
                  <c:v>0.5425330812854443</c:v>
                </c:pt>
                <c:pt idx="2">
                  <c:v>0.5241488089695823</c:v>
                </c:pt>
                <c:pt idx="3">
                  <c:v>0.5241488089695823</c:v>
                </c:pt>
                <c:pt idx="4">
                  <c:v>0.47115300989193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elioc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82835820895522"/>
          <c:min val="0.27826086956521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9</c:f>
              <c:numCache>
                <c:formatCode>General</c:formatCode>
                <c:ptCount val="16"/>
                <c:pt idx="0">
                  <c:v>1110.7708</c:v>
                </c:pt>
                <c:pt idx="1">
                  <c:v>1045.5143</c:v>
                </c:pt>
                <c:pt idx="2">
                  <c:v>968.1628</c:v>
                </c:pt>
                <c:pt idx="3">
                  <c:v>803.9512</c:v>
                </c:pt>
                <c:pt idx="4">
                  <c:v>879.982</c:v>
                </c:pt>
                <c:pt idx="5">
                  <c:v>1030.1558</c:v>
                </c:pt>
                <c:pt idx="6">
                  <c:v>1126.7963</c:v>
                </c:pt>
                <c:pt idx="7">
                  <c:v>871.15</c:v>
                </c:pt>
                <c:pt idx="8">
                  <c:v>1009.3259</c:v>
                </c:pt>
                <c:pt idx="9">
                  <c:v>1090.2463</c:v>
                </c:pt>
                <c:pt idx="10">
                  <c:v>1174.5899</c:v>
                </c:pt>
                <c:pt idx="11">
                  <c:v>1076.1183</c:v>
                </c:pt>
                <c:pt idx="12">
                  <c:v>1142.8157</c:v>
                </c:pt>
                <c:pt idx="13">
                  <c:v>1108.788</c:v>
                </c:pt>
                <c:pt idx="14">
                  <c:v>1008.0067</c:v>
                </c:pt>
                <c:pt idx="15">
                  <c:v>1003.8537</c:v>
                </c:pt>
              </c:numCache>
            </c:numRef>
          </c:xVal>
          <c:yVal>
            <c:numRef>
              <c:f>Sheet1!$B$4:$B$19</c:f>
              <c:numCache>
                <c:formatCode>General</c:formatCode>
                <c:ptCount val="16"/>
                <c:pt idx="0">
                  <c:v>0.34782608695652173</c:v>
                </c:pt>
                <c:pt idx="1">
                  <c:v>0.4117647058823529</c:v>
                </c:pt>
                <c:pt idx="2">
                  <c:v>0.3944954128440367</c:v>
                </c:pt>
                <c:pt idx="3">
                  <c:v>0.47398843930635837</c:v>
                </c:pt>
                <c:pt idx="4">
                  <c:v>0.4457831325301205</c:v>
                </c:pt>
                <c:pt idx="5">
                  <c:v>0.41397849462365593</c:v>
                </c:pt>
                <c:pt idx="6">
                  <c:v>0.35526315789473684</c:v>
                </c:pt>
                <c:pt idx="7">
                  <c:v>0.4794520547945205</c:v>
                </c:pt>
                <c:pt idx="8">
                  <c:v>0.47368421052631576</c:v>
                </c:pt>
                <c:pt idx="9">
                  <c:v>0.4742990654205608</c:v>
                </c:pt>
                <c:pt idx="10">
                  <c:v>0.44694533762057875</c:v>
                </c:pt>
                <c:pt idx="11">
                  <c:v>0.465</c:v>
                </c:pt>
                <c:pt idx="12">
                  <c:v>0.4696132596685083</c:v>
                </c:pt>
                <c:pt idx="13">
                  <c:v>0.5275459098497496</c:v>
                </c:pt>
                <c:pt idx="14">
                  <c:v>0.5569029850746269</c:v>
                </c:pt>
                <c:pt idx="15">
                  <c:v>0.5425330812854442</c:v>
                </c:pt>
              </c:numCache>
            </c:numRef>
          </c:yVal>
          <c:smooth val="0"/>
          <c:extLst>
            <c:ext xmlns:c16="http://schemas.microsoft.com/office/drawing/2014/chart" uri="{C3380CC4-5D6E-409C-BE32-E72D297353CC}">
              <c16:uniqueId val="{00000002-F32D-48B7-BC20-E66FC6253BAD}"/>
            </c:ext>
          </c:extLst>
        </c:ser>
        <c:ser>
          <c:idx val="2"/>
          <c:order val="2"/>
          <c:tx>
            <c:strRef>
              <c:f>Sheet1!$B$21</c:f>
              <c:strCache>
                <c:ptCount val="1"/>
                <c:pt idx="0">
                  <c:v>Custom Linep3yQ</c:v>
                </c:pt>
              </c:strCache>
            </c:strRef>
          </c:tx>
          <c:spPr>
            <a:ln w="19050" cap="rnd">
              <a:solidFill>
                <a:srgbClr val="C00000"/>
              </a:solidFill>
              <a:prstDash val="sysDot"/>
              <a:round/>
            </a:ln>
            <a:effectLst/>
          </c:spPr>
          <c:marker>
            <c:symbol val="none"/>
          </c:marker>
          <c:xVal>
            <c:numRef>
              <c:f>Sheet1!$A$22:$A$23</c:f>
              <c:numCache>
                <c:formatCode>General</c:formatCode>
                <c:ptCount val="2"/>
                <c:pt idx="0">
                  <c:v>0</c:v>
                </c:pt>
                <c:pt idx="1">
                  <c:v>427.9878553457743</c:v>
                </c:pt>
              </c:numCache>
            </c:numRef>
          </c:xVal>
          <c:yVal>
            <c:numRef>
              <c:f>Sheet1!$B$22:$B$23</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3-F32D-48B7-BC20-E66FC6253BAD}"/>
            </c:ext>
          </c:extLst>
        </c:ser>
        <c:ser>
          <c:idx val="3"/>
          <c:order val="3"/>
          <c:tx>
            <c:strRef>
              <c:f>Sheet1!$B$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427.9878553457743</c:v>
                </c:pt>
                <c:pt idx="1">
                  <c:v>427.9878553457743</c:v>
                </c:pt>
              </c:numCache>
            </c:numRef>
          </c:xVal>
          <c:yVal>
            <c:numRef>
              <c:f>Sheet1!$B$26:$B$27</c:f>
              <c:numCache>
                <c:formatCode>General</c:formatCode>
                <c:ptCount val="2"/>
                <c:pt idx="0">
                  <c:v>0.52414880896958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0:$A$31</c:f>
              <c:numCache>
                <c:formatCode>General</c:formatCode>
                <c:ptCount val="2"/>
                <c:pt idx="0">
                  <c:v>0</c:v>
                </c:pt>
                <c:pt idx="1">
                  <c:v>427.9878553457743</c:v>
                </c:pt>
              </c:numCache>
            </c:numRef>
          </c:xVal>
          <c:yVal>
            <c:numRef>
              <c:f>Sheet1!$B$30:$B$31</c:f>
              <c:numCache>
                <c:formatCode>General</c:formatCode>
                <c:ptCount val="2"/>
                <c:pt idx="0">
                  <c:v>0.5241488089695823</c:v>
                </c:pt>
                <c:pt idx="1">
                  <c:v>0.5241488089695823</c:v>
                </c:pt>
              </c:numCache>
            </c:numRef>
          </c:yVal>
          <c:smooth val="0"/>
          <c:extLst>
            <c:ext xmlns:c16="http://schemas.microsoft.com/office/drawing/2014/chart" uri="{C3380CC4-5D6E-409C-BE32-E72D297353CC}">
              <c16:uniqueId val="{0000000A-F32D-48B7-BC20-E66FC6253BAD}"/>
            </c:ext>
          </c:extLst>
        </c:ser>
        <c:ser>
          <c:idx val="5"/>
          <c:order val="5"/>
          <c:tx>
            <c:strRef>
              <c:f>Sheet1!$B$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4:$A$35</c:f>
              <c:numCache>
                <c:formatCode>General</c:formatCode>
                <c:ptCount val="2"/>
                <c:pt idx="0">
                  <c:v>427.9878553457743</c:v>
                </c:pt>
                <c:pt idx="1">
                  <c:v>427.9878553457743</c:v>
                </c:pt>
              </c:numCache>
            </c:numRef>
          </c:xVal>
          <c:yVal>
            <c:numRef>
              <c:f>Sheet1!$B$34:$B$35</c:f>
              <c:numCache>
                <c:formatCode>General</c:formatCode>
                <c:ptCount val="2"/>
                <c:pt idx="0">
                  <c:v>0.52414880896958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8:$A$39</c:f>
              <c:numCache>
                <c:formatCode>General</c:formatCode>
                <c:ptCount val="2"/>
                <c:pt idx="0">
                  <c:v>0</c:v>
                </c:pt>
                <c:pt idx="1">
                  <c:v>887.5610964575538</c:v>
                </c:pt>
              </c:numCache>
            </c:numRef>
          </c:xVal>
          <c:yVal>
            <c:numRef>
              <c:f>Sheet1!$B$38:$B$39</c:f>
              <c:numCache>
                <c:formatCode>General</c:formatCode>
                <c:ptCount val="2"/>
                <c:pt idx="0">
                  <c:v>0.4711530098919366</c:v>
                </c:pt>
                <c:pt idx="1">
                  <c:v>0.4711530098919366</c:v>
                </c:pt>
              </c:numCache>
            </c:numRef>
          </c:yVal>
          <c:smooth val="0"/>
          <c:extLst>
            <c:ext xmlns:c16="http://schemas.microsoft.com/office/drawing/2014/chart" uri="{C3380CC4-5D6E-409C-BE32-E72D297353CC}">
              <c16:uniqueId val="{00000011-F32D-48B7-BC20-E66FC6253BAD}"/>
            </c:ext>
          </c:extLst>
        </c:ser>
        <c:ser>
          <c:idx val="7"/>
          <c:order val="7"/>
          <c:tx>
            <c:strRef>
              <c:f>Sheet1!$B$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887.5610964575538</c:v>
                </c:pt>
                <c:pt idx="1">
                  <c:v>887.5610964575538</c:v>
                </c:pt>
              </c:numCache>
            </c:numRef>
          </c:xVal>
          <c:yVal>
            <c:numRef>
              <c:f>Sheet1!$B$42:$B$43</c:f>
              <c:numCache>
                <c:formatCode>General</c:formatCode>
                <c:ptCount val="2"/>
                <c:pt idx="0">
                  <c:v>0.47115300989193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6:$A$64</c:f>
              <c:numCache>
                <c:formatCode>General</c:formatCode>
                <c:ptCount val="19"/>
                <c:pt idx="0">
                  <c:v>1110.7708</c:v>
                </c:pt>
                <c:pt idx="1">
                  <c:v>1045.5143</c:v>
                </c:pt>
                <c:pt idx="2">
                  <c:v>968.1628</c:v>
                </c:pt>
                <c:pt idx="3">
                  <c:v>803.9512</c:v>
                </c:pt>
                <c:pt idx="4">
                  <c:v>879.982</c:v>
                </c:pt>
                <c:pt idx="5">
                  <c:v>1030.1558</c:v>
                </c:pt>
                <c:pt idx="6">
                  <c:v>1126.7963</c:v>
                </c:pt>
                <c:pt idx="7">
                  <c:v>871.15</c:v>
                </c:pt>
                <c:pt idx="8">
                  <c:v>1009.3259</c:v>
                </c:pt>
                <c:pt idx="9">
                  <c:v>1090.2463</c:v>
                </c:pt>
                <c:pt idx="10">
                  <c:v>1174.5899</c:v>
                </c:pt>
                <c:pt idx="11">
                  <c:v>1076.1183</c:v>
                </c:pt>
                <c:pt idx="12">
                  <c:v>1142.8157</c:v>
                </c:pt>
                <c:pt idx="13">
                  <c:v>1108.788</c:v>
                </c:pt>
                <c:pt idx="14">
                  <c:v>1008.0067</c:v>
                </c:pt>
                <c:pt idx="15">
                  <c:v>1003.8537</c:v>
                </c:pt>
                <c:pt idx="16">
                  <c:v>427.9878553457743</c:v>
                </c:pt>
                <c:pt idx="17">
                  <c:v>427.9878553457743</c:v>
                </c:pt>
                <c:pt idx="18">
                  <c:v>887.5610964575538</c:v>
                </c:pt>
              </c:numCache>
            </c:numRef>
          </c:xVal>
          <c:yVal>
            <c:numRef>
              <c:f>Sheet1!$B$46:$B$64</c:f>
              <c:numCache>
                <c:formatCode>General</c:formatCode>
                <c:ptCount val="19"/>
                <c:pt idx="0">
                  <c:v>0.4454135291238664</c:v>
                </c:pt>
                <c:pt idx="1">
                  <c:v>0.4529385981512627</c:v>
                </c:pt>
                <c:pt idx="2">
                  <c:v>0.46185840501912484</c:v>
                </c:pt>
                <c:pt idx="3">
                  <c:v>0.4807945052558705</c:v>
                </c:pt>
                <c:pt idx="4">
                  <c:v>0.47202699522685937</c:v>
                </c:pt>
                <c:pt idx="5">
                  <c:v>0.454709667280886</c:v>
                </c:pt>
                <c:pt idx="6">
                  <c:v>0.44356554472846454</c:v>
                </c:pt>
                <c:pt idx="7">
                  <c:v>0.4730454594357882</c:v>
                </c:pt>
                <c:pt idx="8">
                  <c:v>0.457111672220375</c:v>
                </c:pt>
                <c:pt idx="9">
                  <c:v>0.44778031678873953</c:v>
                </c:pt>
                <c:pt idx="10">
                  <c:v>0.43805421422395135</c:v>
                </c:pt>
                <c:pt idx="11">
                  <c:v>0.44940949051425433</c:v>
                </c:pt>
                <c:pt idx="12">
                  <c:v>0.4417182637560331</c:v>
                </c:pt>
                <c:pt idx="13">
                  <c:v>0.44564217618381474</c:v>
                </c:pt>
                <c:pt idx="14">
                  <c:v>0.45726379608636447</c:v>
                </c:pt>
                <c:pt idx="15">
                  <c:v>0.45774270028243347</c:v>
                </c:pt>
                <c:pt idx="16">
                  <c:v>0.5241488089695823</c:v>
                </c:pt>
                <c:pt idx="17">
                  <c:v>0.5241488089695823</c:v>
                </c:pt>
                <c:pt idx="18">
                  <c:v>0.47115300989193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10.0"/>
          <c:min val="3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682835820895522"/>
          <c:min val="0.27826086956521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770465424520241</c:v>
                </c:pt>
                <c:pt idx="1">
                  <c:v>0.7330231558482704</c:v>
                </c:pt>
                <c:pt idx="2">
                  <c:v>0.6892845015614448</c:v>
                </c:pt>
                <c:pt idx="3">
                  <c:v>0.6981541990556055</c:v>
                </c:pt>
                <c:pt idx="4">
                  <c:v>0.6826176523425566</c:v>
                </c:pt>
                <c:pt idx="5">
                  <c:v>0.6489657648400295</c:v>
                </c:pt>
                <c:pt idx="6">
                  <c:v>0.6416325086242362</c:v>
                </c:pt>
                <c:pt idx="7">
                  <c:v>0.6365978907425268</c:v>
                </c:pt>
                <c:pt idx="8">
                  <c:v>0.6717654161829464</c:v>
                </c:pt>
                <c:pt idx="9">
                  <c:v>0.6733380253490192</c:v>
                </c:pt>
                <c:pt idx="10">
                  <c:v>0.6951381679147625</c:v>
                </c:pt>
                <c:pt idx="11">
                  <c:v>0.7572079944126728</c:v>
                </c:pt>
                <c:pt idx="12">
                  <c:v>0.8111471704586622</c:v>
                </c:pt>
                <c:pt idx="13">
                  <c:v>0.8051952949394007</c:v>
                </c:pt>
                <c:pt idx="14">
                  <c:v>0.8366602884559884</c:v>
                </c:pt>
                <c:pt idx="15">
                  <c:v>0.8811195885491597</c:v>
                </c:pt>
                <c:pt idx="16">
                  <c:v>0.886637869439532</c:v>
                </c:pt>
                <c:pt idx="17">
                  <c:v>0.8375483383384852</c:v>
                </c:pt>
                <c:pt idx="18">
                  <c:v>0.8614162849593039</c:v>
                </c:pt>
                <c:pt idx="19">
                  <c:v>0.8471990857807049</c:v>
                </c:pt>
                <c:pt idx="20">
                  <c:v>0.9234698802162303</c:v>
                </c:pt>
                <c:pt idx="21">
                  <c:v>0.8914615225853332</c:v>
                </c:pt>
                <c:pt idx="22">
                  <c:v>0.8763693859880285</c:v>
                </c:pt>
                <c:pt idx="23">
                  <c:v>0.7979716291087912</c:v>
                </c:pt>
                <c:pt idx="24">
                  <c:v>0.72767469783658</c:v>
                </c:pt>
                <c:pt idx="25">
                  <c:v>0.749133645188489</c:v>
                </c:pt>
                <c:pt idx="26">
                  <c:v>0.7223079068105426</c:v>
                </c:pt>
                <c:pt idx="27">
                  <c:v>0.7654660306522624</c:v>
                </c:pt>
                <c:pt idx="28">
                  <c:v>0.757110999941617</c:v>
                </c:pt>
                <c:pt idx="29">
                  <c:v>0.7465299401865078</c:v>
                </c:pt>
                <c:pt idx="30">
                  <c:v>0.7760620968160294</c:v>
                </c:pt>
                <c:pt idx="31">
                  <c:v>0.7304800453434864</c:v>
                </c:pt>
                <c:pt idx="32">
                  <c:v>0.738574503449825</c:v>
                </c:pt>
                <c:pt idx="33">
                  <c:v>0.7564437573159672</c:v>
                </c:pt>
                <c:pt idx="34">
                  <c:v>0.7536848578550049</c:v>
                </c:pt>
                <c:pt idx="35">
                  <c:v>0.8080230603975218</c:v>
                </c:pt>
                <c:pt idx="36">
                  <c:v>0.879988575597063</c:v>
                </c:pt>
                <c:pt idx="37">
                  <c:v>0.8308814167034461</c:v>
                </c:pt>
                <c:pt idx="38">
                  <c:v>0.8814919124570719</c:v>
                </c:pt>
                <c:pt idx="39">
                  <c:v>0.920028185166623</c:v>
                </c:pt>
                <c:pt idx="40">
                  <c:v>0.9159840899886026</c:v>
                </c:pt>
                <c:pt idx="41">
                  <c:v>0.9560630263723858</c:v>
                </c:pt>
                <c:pt idx="42">
                  <c:v>0.9260084054719288</c:v>
                </c:pt>
                <c:pt idx="43">
                  <c:v>0.9366887097082032</c:v>
                </c:pt>
                <c:pt idx="44">
                  <c:v>0.9197433281726426</c:v>
                </c:pt>
                <c:pt idx="45">
                  <c:v>0.9167483774233138</c:v>
                </c:pt>
                <c:pt idx="46">
                  <c:v>0.9076687762149188</c:v>
                </c:pt>
                <c:pt idx="47">
                  <c:v>0.8823976330321386</c:v>
                </c:pt>
                <c:pt idx="48">
                  <c:v>0.8898860613226348</c:v>
                </c:pt>
                <c:pt idx="49">
                  <c:v>0.8862674444124523</c:v>
                </c:pt>
                <c:pt idx="50">
                  <c:v>0.8605635764525916</c:v>
                </c:pt>
                <c:pt idx="51">
                  <c:v>0.8657637494690104</c:v>
                </c:pt>
                <c:pt idx="52">
                  <c:v>0.8464343791514185</c:v>
                </c:pt>
                <c:pt idx="53">
                  <c:v>0.7813152037359998</c:v>
                </c:pt>
                <c:pt idx="54">
                  <c:v>0.7342289441718226</c:v>
                </c:pt>
                <c:pt idx="55">
                  <c:v>0.7240990160115341</c:v>
                </c:pt>
                <c:pt idx="56">
                  <c:v>0.7290312487822919</c:v>
                </c:pt>
                <c:pt idx="57">
                  <c:v>0.7235962800996004</c:v>
                </c:pt>
                <c:pt idx="58">
                  <c:v>0.7046561759478124</c:v>
                </c:pt>
                <c:pt idx="59">
                  <c:v>0.6911617979332285</c:v>
                </c:pt>
                <c:pt idx="60">
                  <c:v>0.6746236663693792</c:v>
                </c:pt>
                <c:pt idx="61">
                  <c:v>0.7308763636636376</c:v>
                </c:pt>
                <c:pt idx="62">
                  <c:v>0.7771967518935755</c:v>
                </c:pt>
                <c:pt idx="63">
                  <c:v>0.8033194400850449</c:v>
                </c:pt>
                <c:pt idx="64">
                  <c:v>0.8258345166338351</c:v>
                </c:pt>
                <c:pt idx="65">
                  <c:v>0.8125969564592898</c:v>
                </c:pt>
                <c:pt idx="66">
                  <c:v>0.8095339541653043</c:v>
                </c:pt>
                <c:pt idx="67">
                  <c:v>0.8257855469731024</c:v>
                </c:pt>
                <c:pt idx="68">
                  <c:v>0.8687881800723694</c:v>
                </c:pt>
                <c:pt idx="69">
                  <c:v>0.8564607910943723</c:v>
                </c:pt>
                <c:pt idx="70">
                  <c:v>0.7823333580032811</c:v>
                </c:pt>
                <c:pt idx="71">
                  <c:v>0.8101636505215843</c:v>
                </c:pt>
                <c:pt idx="72">
                  <c:v>0.9525289381726273</c:v>
                </c:pt>
                <c:pt idx="73">
                  <c:v>0.8645132588079433</c:v>
                </c:pt>
                <c:pt idx="74">
                  <c:v>0.8339094566229518</c:v>
                </c:pt>
                <c:pt idx="75">
                  <c:v>0.8248898949116006</c:v>
                </c:pt>
                <c:pt idx="76">
                  <c:v>0.7813232048466562</c:v>
                </c:pt>
                <c:pt idx="77">
                  <c:v>0.8298519058540557</c:v>
                </c:pt>
                <c:pt idx="78">
                  <c:v>0.8126228534662437</c:v>
                </c:pt>
                <c:pt idx="79">
                  <c:v>0.7854400939787797</c:v>
                </c:pt>
                <c:pt idx="80">
                  <c:v>0.8577704269776123</c:v>
                </c:pt>
                <c:pt idx="81">
                  <c:v>0.8825336181809199</c:v>
                </c:pt>
                <c:pt idx="82">
                  <c:v>0.8853482167734296</c:v>
                </c:pt>
                <c:pt idx="83">
                  <c:v>0.8319343285435051</c:v>
                </c:pt>
                <c:pt idx="84">
                  <c:v>0.835364520151392</c:v>
                </c:pt>
                <c:pt idx="85">
                  <c:v>0.8130704303182213</c:v>
                </c:pt>
                <c:pt idx="86">
                  <c:v>0.8434916712325948</c:v>
                </c:pt>
                <c:pt idx="87">
                  <c:v>0.8614035560717394</c:v>
                </c:pt>
                <c:pt idx="88">
                  <c:v>0.926482691600707</c:v>
                </c:pt>
                <c:pt idx="89">
                  <c:v>0.9064072508196649</c:v>
                </c:pt>
                <c:pt idx="90">
                  <c:v>0.8843558899626313</c:v>
                </c:pt>
                <c:pt idx="91">
                  <c:v>0.912862628661772</c:v>
                </c:pt>
                <c:pt idx="92">
                  <c:v>0.8669243075296027</c:v>
                </c:pt>
                <c:pt idx="93">
                  <c:v>0.9017945376324757</c:v>
                </c:pt>
                <c:pt idx="94">
                  <c:v>0.9295938867095607</c:v>
                </c:pt>
                <c:pt idx="95">
                  <c:v>0.9232840002066097</c:v>
                </c:pt>
                <c:pt idx="96">
                  <c:v>0.9611264611565201</c:v>
                </c:pt>
                <c:pt idx="97">
                  <c:v>0.9905892188283937</c:v>
                </c:pt>
                <c:pt idx="98">
                  <c:v>1.0037884979013167</c:v>
                </c:pt>
                <c:pt idx="99">
                  <c:v>0.9638010220670434</c:v>
                </c:pt>
                <c:pt idx="100">
                  <c:v>0.9566898426779256</c:v>
                </c:pt>
                <c:pt idx="101">
                  <c:v>0.8623517551925189</c:v>
                </c:pt>
                <c:pt idx="102">
                  <c:v>0.8452804376663215</c:v>
                </c:pt>
                <c:pt idx="103">
                  <c:v>0.8459613312225684</c:v>
                </c:pt>
                <c:pt idx="104">
                  <c:v>0.8410037397487351</c:v>
                </c:pt>
              </c:numCache>
            </c:numRef>
          </c:xVal>
          <c:yVal>
            <c:numRef>
              <c:f>Sheet1!$B$2:$B$106</c:f>
              <c:numCache>
                <c:formatCode>General</c:formatCode>
                <c:ptCount val="105"/>
                <c:pt idx="0">
                  <c:v>0.25583266291230894</c:v>
                </c:pt>
                <c:pt idx="1">
                  <c:v>0.23725934314835787</c:v>
                </c:pt>
                <c:pt idx="2">
                  <c:v>0.241281542387298</c:v>
                </c:pt>
                <c:pt idx="3">
                  <c:v>0.2321867321867322</c:v>
                </c:pt>
                <c:pt idx="4">
                  <c:v>0.24113475177304963</c:v>
                </c:pt>
                <c:pt idx="5">
                  <c:v>0.2544543429844098</c:v>
                </c:pt>
                <c:pt idx="6">
                  <c:v>0.2748713550600343</c:v>
                </c:pt>
                <c:pt idx="7">
                  <c:v>0.3037593984962406</c:v>
                </c:pt>
                <c:pt idx="8">
                  <c:v>0.2794258373205742</c:v>
                </c:pt>
                <c:pt idx="9">
                  <c:v>0.26471514006924773</c:v>
                </c:pt>
                <c:pt idx="10">
                  <c:v>0.25395348837209303</c:v>
                </c:pt>
                <c:pt idx="11">
                  <c:v>0.2172678216415791</c:v>
                </c:pt>
                <c:pt idx="12">
                  <c:v>0.2039775624681285</c:v>
                </c:pt>
                <c:pt idx="13">
                  <c:v>0.17923036373220874</c:v>
                </c:pt>
                <c:pt idx="14">
                  <c:v>0.1582060128141942</c:v>
                </c:pt>
                <c:pt idx="15">
                  <c:v>0.15190241068835317</c:v>
                </c:pt>
                <c:pt idx="16">
                  <c:v>0.14465769120595817</c:v>
                </c:pt>
                <c:pt idx="17">
                  <c:v>0.15680473372781065</c:v>
                </c:pt>
                <c:pt idx="18">
                  <c:v>0.14542548941270475</c:v>
                </c:pt>
                <c:pt idx="19">
                  <c:v>0.14842300556586271</c:v>
                </c:pt>
                <c:pt idx="20">
                  <c:v>0.14019079220240563</c:v>
                </c:pt>
                <c:pt idx="21">
                  <c:v>0.16883116883116883</c:v>
                </c:pt>
                <c:pt idx="22">
                  <c:v>0.17258883248730963</c:v>
                </c:pt>
                <c:pt idx="23">
                  <c:v>0.20574162679425836</c:v>
                </c:pt>
                <c:pt idx="24">
                  <c:v>0.20646138313982837</c:v>
                </c:pt>
                <c:pt idx="25">
                  <c:v>0.20521541950113378</c:v>
                </c:pt>
                <c:pt idx="26">
                  <c:v>0.2225691347011597</c:v>
                </c:pt>
                <c:pt idx="27">
                  <c:v>0.2135561745589601</c:v>
                </c:pt>
                <c:pt idx="28">
                  <c:v>0.21428571428571427</c:v>
                </c:pt>
                <c:pt idx="29">
                  <c:v>0.19660596026490065</c:v>
                </c:pt>
                <c:pt idx="30">
                  <c:v>0.18614718614718614</c:v>
                </c:pt>
                <c:pt idx="31">
                  <c:v>0.20606644198363025</c:v>
                </c:pt>
                <c:pt idx="32">
                  <c:v>0.2282958199356913</c:v>
                </c:pt>
                <c:pt idx="33">
                  <c:v>0.20984549047790155</c:v>
                </c:pt>
                <c:pt idx="34">
                  <c:v>0.20398009950248755</c:v>
                </c:pt>
                <c:pt idx="35">
                  <c:v>0.2136532419308769</c:v>
                </c:pt>
                <c:pt idx="36">
                  <c:v>0.18743199129488575</c:v>
                </c:pt>
                <c:pt idx="37">
                  <c:v>0.18722541399121326</c:v>
                </c:pt>
                <c:pt idx="38">
                  <c:v>0.16683217477656406</c:v>
                </c:pt>
                <c:pt idx="39">
                  <c:v>0.16012084592145015</c:v>
                </c:pt>
                <c:pt idx="40">
                  <c:v>0.15794701986754967</c:v>
                </c:pt>
                <c:pt idx="41">
                  <c:v>0.17228204237582495</c:v>
                </c:pt>
                <c:pt idx="42">
                  <c:v>0.17439425665569847</c:v>
                </c:pt>
                <c:pt idx="43">
                  <c:v>0.160844629822732</c:v>
                </c:pt>
                <c:pt idx="44">
                  <c:v>0.14702581369248036</c:v>
                </c:pt>
                <c:pt idx="45">
                  <c:v>0.1652336448598131</c:v>
                </c:pt>
                <c:pt idx="46">
                  <c:v>0.16193078324225865</c:v>
                </c:pt>
                <c:pt idx="47">
                  <c:v>0.16883116883116883</c:v>
                </c:pt>
                <c:pt idx="48">
                  <c:v>0.1600371254309202</c:v>
                </c:pt>
                <c:pt idx="49">
                  <c:v>0.17445304289672303</c:v>
                </c:pt>
                <c:pt idx="50">
                  <c:v>0.16855926188786374</c:v>
                </c:pt>
                <c:pt idx="51">
                  <c:v>0.1629293893129771</c:v>
                </c:pt>
                <c:pt idx="52">
                  <c:v>0.1743077621425329</c:v>
                </c:pt>
                <c:pt idx="53">
                  <c:v>0.18415260454878943</c:v>
                </c:pt>
                <c:pt idx="54">
                  <c:v>0.18846373500856653</c:v>
                </c:pt>
                <c:pt idx="55">
                  <c:v>0.19091934574168076</c:v>
                </c:pt>
                <c:pt idx="56">
                  <c:v>0.20341124447252054</c:v>
                </c:pt>
                <c:pt idx="57">
                  <c:v>0.1955708047411104</c:v>
                </c:pt>
                <c:pt idx="58">
                  <c:v>0.19973761889143982</c:v>
                </c:pt>
                <c:pt idx="59">
                  <c:v>0.17981323266441487</c:v>
                </c:pt>
                <c:pt idx="60">
                  <c:v>0.19290413533834586</c:v>
                </c:pt>
                <c:pt idx="61">
                  <c:v>0.20887096774193548</c:v>
                </c:pt>
                <c:pt idx="62">
                  <c:v>0.19552922165364933</c:v>
                </c:pt>
                <c:pt idx="63">
                  <c:v>0.19350248992174532</c:v>
                </c:pt>
                <c:pt idx="64">
                  <c:v>0.19413527397260275</c:v>
                </c:pt>
                <c:pt idx="65">
                  <c:v>0.18636676612347947</c:v>
                </c:pt>
                <c:pt idx="66">
                  <c:v>0.18785278843982842</c:v>
                </c:pt>
                <c:pt idx="67">
                  <c:v>0.18456678700361012</c:v>
                </c:pt>
                <c:pt idx="68">
                  <c:v>0.16095189355168885</c:v>
                </c:pt>
                <c:pt idx="69">
                  <c:v>0.1543859649122807</c:v>
                </c:pt>
                <c:pt idx="70">
                  <c:v>0.1644458888527787</c:v>
                </c:pt>
                <c:pt idx="71">
                  <c:v>0.1648706896551724</c:v>
                </c:pt>
                <c:pt idx="72">
                  <c:v>0.14487516425755584</c:v>
                </c:pt>
                <c:pt idx="73">
                  <c:v>0.15384615384615385</c:v>
                </c:pt>
                <c:pt idx="74">
                  <c:v>0.14744307577454274</c:v>
                </c:pt>
                <c:pt idx="75">
                  <c:v>0.1633605600933489</c:v>
                </c:pt>
                <c:pt idx="76">
                  <c:v>0.17028443113772454</c:v>
                </c:pt>
                <c:pt idx="77">
                  <c:v>0.16624790619765495</c:v>
                </c:pt>
                <c:pt idx="78">
                  <c:v>0.16757000903342367</c:v>
                </c:pt>
                <c:pt idx="79">
                  <c:v>0.13744457879887143</c:v>
                </c:pt>
                <c:pt idx="80">
                  <c:v>0.13621665319320939</c:v>
                </c:pt>
                <c:pt idx="81">
                  <c:v>0.13763129300977905</c:v>
                </c:pt>
                <c:pt idx="82">
                  <c:v>0.13793103448275862</c:v>
                </c:pt>
                <c:pt idx="83">
                  <c:v>0.13986013986013987</c:v>
                </c:pt>
                <c:pt idx="84">
                  <c:v>0.1556276053728578</c:v>
                </c:pt>
                <c:pt idx="85">
                  <c:v>0.15106382978723404</c:v>
                </c:pt>
                <c:pt idx="86">
                  <c:v>0.15606420927467302</c:v>
                </c:pt>
                <c:pt idx="87">
                  <c:v>0.1679631230193028</c:v>
                </c:pt>
                <c:pt idx="88">
                  <c:v>0.1645073817414884</c:v>
                </c:pt>
                <c:pt idx="89">
                  <c:v>0.16048526863084922</c:v>
                </c:pt>
                <c:pt idx="90">
                  <c:v>0.15854632587859424</c:v>
                </c:pt>
                <c:pt idx="91">
                  <c:v>0.14974113898845082</c:v>
                </c:pt>
                <c:pt idx="92">
                  <c:v>0.15399361022364216</c:v>
                </c:pt>
                <c:pt idx="93">
                  <c:v>0.15171755725190839</c:v>
                </c:pt>
                <c:pt idx="94">
                  <c:v>0.16254523522316044</c:v>
                </c:pt>
                <c:pt idx="95">
                  <c:v>0.16302083333333334</c:v>
                </c:pt>
                <c:pt idx="96">
                  <c:v>0.14517331345508758</c:v>
                </c:pt>
                <c:pt idx="97">
                  <c:v>0.1343833780160858</c:v>
                </c:pt>
                <c:pt idx="98">
                  <c:v>0.13880461165048544</c:v>
                </c:pt>
                <c:pt idx="99">
                  <c:v>0.14437604924454392</c:v>
                </c:pt>
                <c:pt idx="100">
                  <c:v>0.14857323365273245</c:v>
                </c:pt>
                <c:pt idx="101">
                  <c:v>0.16945646041000564</c:v>
                </c:pt>
                <c:pt idx="102">
                  <c:v>0.17221584385763491</c:v>
                </c:pt>
                <c:pt idx="103">
                  <c:v>0.16006927263730827</c:v>
                </c:pt>
                <c:pt idx="104">
                  <c:v>0.160437032777458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151869816773533</c:v>
                </c:pt>
                <c:pt idx="1">
                  <c:v>0.8158901774523821</c:v>
                </c:pt>
                <c:pt idx="2">
                  <c:v>0.7839441888930567</c:v>
                </c:pt>
                <c:pt idx="3">
                  <c:v>0.7231549341648802</c:v>
                </c:pt>
                <c:pt idx="4">
                  <c:v>0.7708228573232777</c:v>
                </c:pt>
                <c:pt idx="5">
                  <c:v>0.7505970189350951</c:v>
                </c:pt>
                <c:pt idx="6">
                  <c:v>0.7358494774291313</c:v>
                </c:pt>
                <c:pt idx="7">
                  <c:v>0.7369755831577208</c:v>
                </c:pt>
                <c:pt idx="8">
                  <c:v>0.7844467574968745</c:v>
                </c:pt>
                <c:pt idx="9">
                  <c:v>0.7529386305541822</c:v>
                </c:pt>
                <c:pt idx="10">
                  <c:v>0.7754897866329092</c:v>
                </c:pt>
                <c:pt idx="11">
                  <c:v>0.7405233165066096</c:v>
                </c:pt>
                <c:pt idx="12">
                  <c:v>0.7633881528395812</c:v>
                </c:pt>
                <c:pt idx="13">
                  <c:v>0.7256539456698897</c:v>
                </c:pt>
                <c:pt idx="14">
                  <c:v>0.7169904555392376</c:v>
                </c:pt>
                <c:pt idx="15">
                  <c:v>0.7273389614471284</c:v>
                </c:pt>
                <c:pt idx="16">
                  <c:v>0.761008311247334</c:v>
                </c:pt>
                <c:pt idx="17">
                  <c:v>0.6809726116358744</c:v>
                </c:pt>
                <c:pt idx="18">
                  <c:v>0.7363461132950515</c:v>
                </c:pt>
                <c:pt idx="19">
                  <c:v>0.8132253537340663</c:v>
                </c:pt>
                <c:pt idx="20">
                  <c:v>0.7440056412146677</c:v>
                </c:pt>
                <c:pt idx="21">
                  <c:v>0.7181530534886833</c:v>
                </c:pt>
                <c:pt idx="22">
                  <c:v>0.7499194970205164</c:v>
                </c:pt>
                <c:pt idx="23">
                  <c:v>0.7207455337460602</c:v>
                </c:pt>
                <c:pt idx="24">
                  <c:v>0.7138834164208604</c:v>
                </c:pt>
                <c:pt idx="25">
                  <c:v>0.7220212526090803</c:v>
                </c:pt>
                <c:pt idx="26">
                  <c:v>0.7268773127497181</c:v>
                </c:pt>
                <c:pt idx="27">
                  <c:v>0.7459094597040371</c:v>
                </c:pt>
                <c:pt idx="28">
                  <c:v>0.7377935968216541</c:v>
                </c:pt>
                <c:pt idx="29">
                  <c:v>0.700175781852864</c:v>
                </c:pt>
                <c:pt idx="30">
                  <c:v>0.7088866255060544</c:v>
                </c:pt>
                <c:pt idx="31">
                  <c:v>0.6844651378270343</c:v>
                </c:pt>
                <c:pt idx="32">
                  <c:v>0.6940027633109888</c:v>
                </c:pt>
                <c:pt idx="33">
                  <c:v>0.7371668674189888</c:v>
                </c:pt>
                <c:pt idx="34">
                  <c:v>0.7476764287541838</c:v>
                </c:pt>
                <c:pt idx="35">
                  <c:v>0.7322336355382636</c:v>
                </c:pt>
                <c:pt idx="36">
                  <c:v>0.7043878917966288</c:v>
                </c:pt>
                <c:pt idx="37">
                  <c:v>0.6852484383257352</c:v>
                </c:pt>
                <c:pt idx="38">
                  <c:v>0.695072030914653</c:v>
                </c:pt>
                <c:pt idx="39">
                  <c:v>0.7436353710020687</c:v>
                </c:pt>
                <c:pt idx="40">
                  <c:v>0.7980241952337396</c:v>
                </c:pt>
                <c:pt idx="41">
                  <c:v>0.7877477622975356</c:v>
                </c:pt>
                <c:pt idx="42">
                  <c:v>0.7434821592315546</c:v>
                </c:pt>
                <c:pt idx="43">
                  <c:v>0.8086387513291325</c:v>
                </c:pt>
                <c:pt idx="44">
                  <c:v>0.8499659280878386</c:v>
                </c:pt>
                <c:pt idx="45">
                  <c:v>0.8453539806101784</c:v>
                </c:pt>
                <c:pt idx="46">
                  <c:v>0.78796323781544</c:v>
                </c:pt>
                <c:pt idx="47">
                  <c:v>0.7744055124246202</c:v>
                </c:pt>
                <c:pt idx="48">
                  <c:v>0.8043817327672543</c:v>
                </c:pt>
                <c:pt idx="49">
                  <c:v>0.8116592816875555</c:v>
                </c:pt>
                <c:pt idx="50">
                  <c:v>0.8368513157795039</c:v>
                </c:pt>
                <c:pt idx="51">
                  <c:v>0.8129785507258462</c:v>
                </c:pt>
              </c:numCache>
            </c:numRef>
          </c:xVal>
          <c:yVal>
            <c:numRef>
              <c:f>Sheet1!$B$109:$B$160</c:f>
              <c:numCache>
                <c:formatCode>General</c:formatCode>
                <c:ptCount val="52"/>
                <c:pt idx="0">
                  <c:v>0.1620523241046482</c:v>
                </c:pt>
                <c:pt idx="1">
                  <c:v>0.16671162665227948</c:v>
                </c:pt>
                <c:pt idx="2">
                  <c:v>0.18767295597484276</c:v>
                </c:pt>
                <c:pt idx="3">
                  <c:v>0.21428571428571427</c:v>
                </c:pt>
                <c:pt idx="4">
                  <c:v>0.19088077032002265</c:v>
                </c:pt>
                <c:pt idx="5">
                  <c:v>0.2014388489208633</c:v>
                </c:pt>
                <c:pt idx="6">
                  <c:v>0.20618955512572534</c:v>
                </c:pt>
                <c:pt idx="7">
                  <c:v>0.18569636135508155</c:v>
                </c:pt>
                <c:pt idx="8">
                  <c:v>0.1898557468590042</c:v>
                </c:pt>
                <c:pt idx="9">
                  <c:v>0.1891891891891892</c:v>
                </c:pt>
                <c:pt idx="10">
                  <c:v>0.19624765478424014</c:v>
                </c:pt>
                <c:pt idx="11">
                  <c:v>0.18653795982259327</c:v>
                </c:pt>
                <c:pt idx="12">
                  <c:v>0.1922071129707113</c:v>
                </c:pt>
                <c:pt idx="13">
                  <c:v>0.1972502805836139</c:v>
                </c:pt>
                <c:pt idx="14">
                  <c:v>0.2083203002815139</c:v>
                </c:pt>
                <c:pt idx="15">
                  <c:v>0.1948204826368452</c:v>
                </c:pt>
                <c:pt idx="16">
                  <c:v>0.18878299120234604</c:v>
                </c:pt>
                <c:pt idx="17">
                  <c:v>0.2117822520507084</c:v>
                </c:pt>
                <c:pt idx="18">
                  <c:v>0.19592198581560283</c:v>
                </c:pt>
                <c:pt idx="19">
                  <c:v>0.17553398058252428</c:v>
                </c:pt>
                <c:pt idx="20">
                  <c:v>0.17681551646368968</c:v>
                </c:pt>
                <c:pt idx="21">
                  <c:v>0.18742368742368742</c:v>
                </c:pt>
                <c:pt idx="22">
                  <c:v>0.19700910273081926</c:v>
                </c:pt>
                <c:pt idx="23">
                  <c:v>0.1991404011461318</c:v>
                </c:pt>
                <c:pt idx="24">
                  <c:v>0.19772403982930298</c:v>
                </c:pt>
                <c:pt idx="25">
                  <c:v>0.22125181950509462</c:v>
                </c:pt>
                <c:pt idx="26">
                  <c:v>0.1941860465116279</c:v>
                </c:pt>
                <c:pt idx="27">
                  <c:v>0.19556451612903225</c:v>
                </c:pt>
                <c:pt idx="28">
                  <c:v>0.193</c:v>
                </c:pt>
                <c:pt idx="29">
                  <c:v>0.20571748878923768</c:v>
                </c:pt>
                <c:pt idx="30">
                  <c:v>0.2086864406779661</c:v>
                </c:pt>
                <c:pt idx="31">
                  <c:v>0.1977401129943503</c:v>
                </c:pt>
                <c:pt idx="32">
                  <c:v>0.20208676551345414</c:v>
                </c:pt>
                <c:pt idx="33">
                  <c:v>0.20988158432013065</c:v>
                </c:pt>
                <c:pt idx="34">
                  <c:v>0.22552329507089805</c:v>
                </c:pt>
                <c:pt idx="35">
                  <c:v>0.22998986828774062</c:v>
                </c:pt>
                <c:pt idx="36">
                  <c:v>0.21752738654147105</c:v>
                </c:pt>
                <c:pt idx="37">
                  <c:v>0.2252983293556086</c:v>
                </c:pt>
                <c:pt idx="38">
                  <c:v>0.20056497175141244</c:v>
                </c:pt>
                <c:pt idx="39">
                  <c:v>0.2059079061685491</c:v>
                </c:pt>
                <c:pt idx="40">
                  <c:v>0.19437652811735942</c:v>
                </c:pt>
                <c:pt idx="41">
                  <c:v>0.1937740468695348</c:v>
                </c:pt>
                <c:pt idx="42">
                  <c:v>0.1906196213425129</c:v>
                </c:pt>
                <c:pt idx="43">
                  <c:v>0.18585005279831046</c:v>
                </c:pt>
                <c:pt idx="44">
                  <c:v>0.17871259175607002</c:v>
                </c:pt>
                <c:pt idx="45">
                  <c:v>0.19654054054054054</c:v>
                </c:pt>
                <c:pt idx="46">
                  <c:v>0.2141574762759682</c:v>
                </c:pt>
                <c:pt idx="47">
                  <c:v>0.2080872330758746</c:v>
                </c:pt>
                <c:pt idx="48">
                  <c:v>0.19827269386255053</c:v>
                </c:pt>
                <c:pt idx="49">
                  <c:v>0.22129783693843594</c:v>
                </c:pt>
                <c:pt idx="50">
                  <c:v>0.2084006462035541</c:v>
                </c:pt>
                <c:pt idx="51">
                  <c:v>0.20660419455600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423190050511</c:v>
                </c:pt>
              </c:numCache>
            </c:numRef>
          </c:xVal>
          <c:yVal>
            <c:numRef>
              <c:f>Sheet1!$B$163:$B$164</c:f>
              <c:numCache>
                <c:formatCode>General</c:formatCode>
                <c:ptCount val="2"/>
                <c:pt idx="0">
                  <c:v>0.25780066291877834</c:v>
                </c:pt>
                <c:pt idx="1">
                  <c:v>0.257800662918778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423190050511</c:v>
                </c:pt>
                <c:pt idx="1">
                  <c:v>0.29423190050511</c:v>
                </c:pt>
              </c:numCache>
            </c:numRef>
          </c:xVal>
          <c:yVal>
            <c:numRef>
              <c:f>Sheet1!$B$167:$B$168</c:f>
              <c:numCache>
                <c:formatCode>General</c:formatCode>
                <c:ptCount val="2"/>
                <c:pt idx="0">
                  <c:v>0.257800662918778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758577679409128</c:v>
                </c:pt>
              </c:numCache>
            </c:numRef>
          </c:xVal>
          <c:yVal>
            <c:numRef>
              <c:f>Sheet1!$B$171:$B$172</c:f>
              <c:numCache>
                <c:formatCode>General</c:formatCode>
                <c:ptCount val="2"/>
                <c:pt idx="0">
                  <c:v>0.2086438428901356</c:v>
                </c:pt>
                <c:pt idx="1">
                  <c:v>0.208643842890135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758577679409128</c:v>
                </c:pt>
                <c:pt idx="1">
                  <c:v>0.6758577679409128</c:v>
                </c:pt>
              </c:numCache>
            </c:numRef>
          </c:xVal>
          <c:yVal>
            <c:numRef>
              <c:f>Sheet1!$B$175:$B$176</c:f>
              <c:numCache>
                <c:formatCode>General</c:formatCode>
                <c:ptCount val="2"/>
                <c:pt idx="0">
                  <c:v>0.20864384289013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414101916319906</c:v>
                </c:pt>
              </c:numCache>
            </c:numRef>
          </c:xVal>
          <c:yVal>
            <c:numRef>
              <c:f>Sheet1!$B$179:$B$180</c:f>
              <c:numCache>
                <c:formatCode>General</c:formatCode>
                <c:ptCount val="2"/>
                <c:pt idx="0">
                  <c:v>0.20020010526963555</c:v>
                </c:pt>
                <c:pt idx="1">
                  <c:v>0.200200105269635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414101916319906</c:v>
                </c:pt>
                <c:pt idx="1">
                  <c:v>0.7414101916319906</c:v>
                </c:pt>
              </c:numCache>
            </c:numRef>
          </c:xVal>
          <c:yVal>
            <c:numRef>
              <c:f>Sheet1!$B$183:$B$184</c:f>
              <c:numCache>
                <c:formatCode>General</c:formatCode>
                <c:ptCount val="2"/>
                <c:pt idx="0">
                  <c:v>0.200200105269635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151869816773533</c:v>
                </c:pt>
                <c:pt idx="1">
                  <c:v>0.8158901774523821</c:v>
                </c:pt>
                <c:pt idx="2">
                  <c:v>0.7839441888930567</c:v>
                </c:pt>
                <c:pt idx="3">
                  <c:v>0.7231549341648802</c:v>
                </c:pt>
                <c:pt idx="4">
                  <c:v>0.7708228573232777</c:v>
                </c:pt>
                <c:pt idx="5">
                  <c:v>0.7505970189350951</c:v>
                </c:pt>
                <c:pt idx="6">
                  <c:v>0.7358494774291313</c:v>
                </c:pt>
                <c:pt idx="7">
                  <c:v>0.7369755831577208</c:v>
                </c:pt>
                <c:pt idx="8">
                  <c:v>0.7844467574968745</c:v>
                </c:pt>
                <c:pt idx="9">
                  <c:v>0.7529386305541822</c:v>
                </c:pt>
                <c:pt idx="10">
                  <c:v>0.7754897866329092</c:v>
                </c:pt>
                <c:pt idx="11">
                  <c:v>0.7405233165066096</c:v>
                </c:pt>
                <c:pt idx="12">
                  <c:v>0.7633881528395812</c:v>
                </c:pt>
                <c:pt idx="13">
                  <c:v>0.7256539456698897</c:v>
                </c:pt>
                <c:pt idx="14">
                  <c:v>0.7169904555392376</c:v>
                </c:pt>
                <c:pt idx="15">
                  <c:v>0.7273389614471284</c:v>
                </c:pt>
                <c:pt idx="16">
                  <c:v>0.761008311247334</c:v>
                </c:pt>
                <c:pt idx="17">
                  <c:v>0.6809726116358744</c:v>
                </c:pt>
                <c:pt idx="18">
                  <c:v>0.7363461132950515</c:v>
                </c:pt>
                <c:pt idx="19">
                  <c:v>0.8132253537340663</c:v>
                </c:pt>
                <c:pt idx="20">
                  <c:v>0.7440056412146677</c:v>
                </c:pt>
                <c:pt idx="21">
                  <c:v>0.7181530534886833</c:v>
                </c:pt>
                <c:pt idx="22">
                  <c:v>0.7499194970205164</c:v>
                </c:pt>
                <c:pt idx="23">
                  <c:v>0.7207455337460602</c:v>
                </c:pt>
                <c:pt idx="24">
                  <c:v>0.7138834164208604</c:v>
                </c:pt>
                <c:pt idx="25">
                  <c:v>0.7220212526090803</c:v>
                </c:pt>
                <c:pt idx="26">
                  <c:v>0.7268773127497181</c:v>
                </c:pt>
                <c:pt idx="27">
                  <c:v>0.7459094597040371</c:v>
                </c:pt>
                <c:pt idx="28">
                  <c:v>0.7377935968216541</c:v>
                </c:pt>
                <c:pt idx="29">
                  <c:v>0.700175781852864</c:v>
                </c:pt>
                <c:pt idx="30">
                  <c:v>0.7088866255060544</c:v>
                </c:pt>
                <c:pt idx="31">
                  <c:v>0.6844651378270343</c:v>
                </c:pt>
                <c:pt idx="32">
                  <c:v>0.6940027633109888</c:v>
                </c:pt>
                <c:pt idx="33">
                  <c:v>0.7371668674189888</c:v>
                </c:pt>
                <c:pt idx="34">
                  <c:v>0.7476764287541838</c:v>
                </c:pt>
                <c:pt idx="35">
                  <c:v>0.7322336355382636</c:v>
                </c:pt>
                <c:pt idx="36">
                  <c:v>0.7043878917966288</c:v>
                </c:pt>
                <c:pt idx="37">
                  <c:v>0.6852484383257352</c:v>
                </c:pt>
                <c:pt idx="38">
                  <c:v>0.695072030914653</c:v>
                </c:pt>
                <c:pt idx="39">
                  <c:v>0.7436353710020687</c:v>
                </c:pt>
                <c:pt idx="40">
                  <c:v>0.7980241952337396</c:v>
                </c:pt>
                <c:pt idx="41">
                  <c:v>0.7877477622975356</c:v>
                </c:pt>
                <c:pt idx="42">
                  <c:v>0.7434821592315546</c:v>
                </c:pt>
                <c:pt idx="43">
                  <c:v>0.8086387513291325</c:v>
                </c:pt>
                <c:pt idx="44">
                  <c:v>0.8499659280878386</c:v>
                </c:pt>
                <c:pt idx="45">
                  <c:v>0.8453539806101784</c:v>
                </c:pt>
                <c:pt idx="46">
                  <c:v>0.78796323781544</c:v>
                </c:pt>
                <c:pt idx="47">
                  <c:v>0.7744055124246202</c:v>
                </c:pt>
                <c:pt idx="48">
                  <c:v>0.8043817327672543</c:v>
                </c:pt>
                <c:pt idx="49">
                  <c:v>0.8116592816875555</c:v>
                </c:pt>
                <c:pt idx="50">
                  <c:v>0.8368513157795039</c:v>
                </c:pt>
                <c:pt idx="51">
                  <c:v>0.8129785507258462</c:v>
                </c:pt>
                <c:pt idx="52">
                  <c:v>0.6758577679409128</c:v>
                </c:pt>
                <c:pt idx="53">
                  <c:v>0.29423190050511</c:v>
                </c:pt>
                <c:pt idx="54">
                  <c:v>0.7414101916319906</c:v>
                </c:pt>
              </c:numCache>
            </c:numRef>
          </c:xVal>
          <c:yVal>
            <c:numRef>
              <c:f>Sheet1!$B$187:$B$241</c:f>
              <c:numCache>
                <c:formatCode>General</c:formatCode>
                <c:ptCount val="55"/>
                <c:pt idx="0">
                  <c:v>0.19069699581083838</c:v>
                </c:pt>
                <c:pt idx="1">
                  <c:v>0.19060641791476898</c:v>
                </c:pt>
                <c:pt idx="2">
                  <c:v>0.19472134655102555</c:v>
                </c:pt>
                <c:pt idx="3">
                  <c:v>0.20255154546921333</c:v>
                </c:pt>
                <c:pt idx="4">
                  <c:v>0.19641149124390406</c:v>
                </c:pt>
                <c:pt idx="5">
                  <c:v>0.19901675986538594</c:v>
                </c:pt>
                <c:pt idx="6">
                  <c:v>0.20091637492173575</c:v>
                </c:pt>
                <c:pt idx="7">
                  <c:v>0.2007713224466364</c:v>
                </c:pt>
                <c:pt idx="8">
                  <c:v>0.1946566112264106</c:v>
                </c:pt>
                <c:pt idx="9">
                  <c:v>0.19871513937590013</c:v>
                </c:pt>
                <c:pt idx="10">
                  <c:v>0.19581034906844985</c:v>
                </c:pt>
                <c:pt idx="11">
                  <c:v>0.2003143427064717</c:v>
                </c:pt>
                <c:pt idx="12">
                  <c:v>0.1973691475807945</c:v>
                </c:pt>
                <c:pt idx="13">
                  <c:v>0.20222965046868135</c:v>
                </c:pt>
                <c:pt idx="14">
                  <c:v>0.20334558537119168</c:v>
                </c:pt>
                <c:pt idx="15">
                  <c:v>0.202012605387687</c:v>
                </c:pt>
                <c:pt idx="16">
                  <c:v>0.19767569243225547</c:v>
                </c:pt>
                <c:pt idx="17">
                  <c:v>0.2079850053415248</c:v>
                </c:pt>
                <c:pt idx="18">
                  <c:v>0.20085240378674732</c:v>
                </c:pt>
                <c:pt idx="19">
                  <c:v>0.19094967100924468</c:v>
                </c:pt>
                <c:pt idx="20">
                  <c:v>0.19986578818341094</c:v>
                </c:pt>
                <c:pt idx="21">
                  <c:v>0.20319583237213382</c:v>
                </c:pt>
                <c:pt idx="22">
                  <c:v>0.19910403073893596</c:v>
                </c:pt>
                <c:pt idx="23">
                  <c:v>0.20286189776152694</c:v>
                </c:pt>
                <c:pt idx="24">
                  <c:v>0.20374579975862367</c:v>
                </c:pt>
                <c:pt idx="25">
                  <c:v>0.2026975737785171</c:v>
                </c:pt>
                <c:pt idx="26">
                  <c:v>0.20207206986290072</c:v>
                </c:pt>
                <c:pt idx="27">
                  <c:v>0.19962055935896583</c:v>
                </c:pt>
                <c:pt idx="28">
                  <c:v>0.20066595498103684</c:v>
                </c:pt>
                <c:pt idx="29">
                  <c:v>0.20551146551394817</c:v>
                </c:pt>
                <c:pt idx="30">
                  <c:v>0.20438943105482033</c:v>
                </c:pt>
                <c:pt idx="31">
                  <c:v>0.20753513677633106</c:v>
                </c:pt>
                <c:pt idx="32">
                  <c:v>0.20630660543340731</c:v>
                </c:pt>
                <c:pt idx="33">
                  <c:v>0.20074668332542417</c:v>
                </c:pt>
                <c:pt idx="34">
                  <c:v>0.19939295796449574</c:v>
                </c:pt>
                <c:pt idx="35">
                  <c:v>0.2013821276503851</c:v>
                </c:pt>
                <c:pt idx="36">
                  <c:v>0.20496890813481208</c:v>
                </c:pt>
                <c:pt idx="37">
                  <c:v>0.20743424067643693</c:v>
                </c:pt>
                <c:pt idx="38">
                  <c:v>0.20616887421642</c:v>
                </c:pt>
                <c:pt idx="39">
                  <c:v>0.1999134822936792</c:v>
                </c:pt>
                <c:pt idx="40">
                  <c:v>0.1929077159857245</c:v>
                </c:pt>
                <c:pt idx="41">
                  <c:v>0.19423141232679178</c:v>
                </c:pt>
                <c:pt idx="42">
                  <c:v>0.19993321733805666</c:v>
                </c:pt>
                <c:pt idx="43">
                  <c:v>0.19154046636197375</c:v>
                </c:pt>
                <c:pt idx="44">
                  <c:v>0.18621715690218887</c:v>
                </c:pt>
                <c:pt idx="45">
                  <c:v>0.18681121692664207</c:v>
                </c:pt>
                <c:pt idx="46">
                  <c:v>0.19420365715567256</c:v>
                </c:pt>
                <c:pt idx="47">
                  <c:v>0.19595001327013695</c:v>
                </c:pt>
                <c:pt idx="48">
                  <c:v>0.19208880837220196</c:v>
                </c:pt>
                <c:pt idx="49">
                  <c:v>0.1911513950754341</c:v>
                </c:pt>
                <c:pt idx="50">
                  <c:v>0.18790643609418356</c:v>
                </c:pt>
                <c:pt idx="51">
                  <c:v>0.19098146144090256</c:v>
                </c:pt>
                <c:pt idx="52">
                  <c:v>0.2086438428901356</c:v>
                </c:pt>
                <c:pt idx="53">
                  <c:v>0.25780066291877834</c:v>
                </c:pt>
                <c:pt idx="54">
                  <c:v>0.200200105269635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451127819548873"/>
          <c:min val="0.107506702412868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021</c:v>
                </c:pt>
                <c:pt idx="1">
                  <c:v>881.9761</c:v>
                </c:pt>
                <c:pt idx="2">
                  <c:v>887.074</c:v>
                </c:pt>
                <c:pt idx="3">
                  <c:v>890.3069</c:v>
                </c:pt>
                <c:pt idx="4">
                  <c:v>884.9673</c:v>
                </c:pt>
                <c:pt idx="5">
                  <c:v>885.1882</c:v>
                </c:pt>
                <c:pt idx="6">
                  <c:v>884.4711</c:v>
                </c:pt>
                <c:pt idx="7">
                  <c:v>889.5528</c:v>
                </c:pt>
                <c:pt idx="8">
                  <c:v>888.3356</c:v>
                </c:pt>
                <c:pt idx="9">
                  <c:v>887.8312</c:v>
                </c:pt>
                <c:pt idx="10">
                  <c:v>882.6129</c:v>
                </c:pt>
                <c:pt idx="11">
                  <c:v>924.3712</c:v>
                </c:pt>
                <c:pt idx="12">
                  <c:v>942.8563</c:v>
                </c:pt>
                <c:pt idx="13">
                  <c:v>948.0338</c:v>
                </c:pt>
                <c:pt idx="14">
                  <c:v>963.9159</c:v>
                </c:pt>
                <c:pt idx="15">
                  <c:v>976.3843</c:v>
                </c:pt>
                <c:pt idx="16">
                  <c:v>985.2891</c:v>
                </c:pt>
                <c:pt idx="17">
                  <c:v>1021.566</c:v>
                </c:pt>
                <c:pt idx="18">
                  <c:v>1064.0742</c:v>
                </c:pt>
                <c:pt idx="19">
                  <c:v>1061.2469</c:v>
                </c:pt>
                <c:pt idx="20">
                  <c:v>1096.426</c:v>
                </c:pt>
                <c:pt idx="21">
                  <c:v>1092.3489</c:v>
                </c:pt>
                <c:pt idx="22">
                  <c:v>1063.8503</c:v>
                </c:pt>
                <c:pt idx="23">
                  <c:v>1046.1116</c:v>
                </c:pt>
                <c:pt idx="24">
                  <c:v>1045.3643</c:v>
                </c:pt>
                <c:pt idx="25">
                  <c:v>1057.826</c:v>
                </c:pt>
                <c:pt idx="26">
                  <c:v>1038.1824</c:v>
                </c:pt>
                <c:pt idx="27">
                  <c:v>1049.8522</c:v>
                </c:pt>
                <c:pt idx="28">
                  <c:v>1058.188</c:v>
                </c:pt>
                <c:pt idx="29">
                  <c:v>1031.3768</c:v>
                </c:pt>
                <c:pt idx="30">
                  <c:v>1062.1473</c:v>
                </c:pt>
                <c:pt idx="31">
                  <c:v>1003.7126</c:v>
                </c:pt>
                <c:pt idx="32">
                  <c:v>993.6579</c:v>
                </c:pt>
                <c:pt idx="33">
                  <c:v>977.6764</c:v>
                </c:pt>
                <c:pt idx="34">
                  <c:v>973.6</c:v>
                </c:pt>
                <c:pt idx="35">
                  <c:v>1003.3329</c:v>
                </c:pt>
                <c:pt idx="36">
                  <c:v>1058.6604</c:v>
                </c:pt>
                <c:pt idx="37">
                  <c:v>1063.657</c:v>
                </c:pt>
                <c:pt idx="38">
                  <c:v>1110.9246</c:v>
                </c:pt>
                <c:pt idx="39">
                  <c:v>1138.6934</c:v>
                </c:pt>
                <c:pt idx="40">
                  <c:v>1131.0294</c:v>
                </c:pt>
                <c:pt idx="41">
                  <c:v>1195.8226</c:v>
                </c:pt>
                <c:pt idx="42">
                  <c:v>1189.036</c:v>
                </c:pt>
                <c:pt idx="43">
                  <c:v>1212.2156</c:v>
                </c:pt>
                <c:pt idx="44">
                  <c:v>1161.3473</c:v>
                </c:pt>
                <c:pt idx="45">
                  <c:v>1138.2115</c:v>
                </c:pt>
                <c:pt idx="46">
                  <c:v>1126.4961</c:v>
                </c:pt>
                <c:pt idx="47">
                  <c:v>1104.9692</c:v>
                </c:pt>
                <c:pt idx="48">
                  <c:v>1124.1483</c:v>
                </c:pt>
                <c:pt idx="49">
                  <c:v>1100.4096</c:v>
                </c:pt>
                <c:pt idx="50">
                  <c:v>1083.7263</c:v>
                </c:pt>
                <c:pt idx="51">
                  <c:v>1110.5549</c:v>
                </c:pt>
                <c:pt idx="52">
                  <c:v>1084.9518</c:v>
                </c:pt>
                <c:pt idx="53">
                  <c:v>1114.0518</c:v>
                </c:pt>
                <c:pt idx="54">
                  <c:v>1121.9182</c:v>
                </c:pt>
                <c:pt idx="55">
                  <c:v>1135.4874</c:v>
                </c:pt>
                <c:pt idx="56">
                  <c:v>1146.868</c:v>
                </c:pt>
                <c:pt idx="57">
                  <c:v>1127.8756</c:v>
                </c:pt>
                <c:pt idx="58">
                  <c:v>1143.1888</c:v>
                </c:pt>
                <c:pt idx="59">
                  <c:v>1100.189</c:v>
                </c:pt>
                <c:pt idx="60">
                  <c:v>1083.7247</c:v>
                </c:pt>
                <c:pt idx="61">
                  <c:v>1091.3861</c:v>
                </c:pt>
                <c:pt idx="62">
                  <c:v>1086.1543</c:v>
                </c:pt>
                <c:pt idx="63">
                  <c:v>1091.5613</c:v>
                </c:pt>
                <c:pt idx="64">
                  <c:v>1075.8247</c:v>
                </c:pt>
                <c:pt idx="65">
                  <c:v>1088.4889</c:v>
                </c:pt>
                <c:pt idx="66">
                  <c:v>1113.0084</c:v>
                </c:pt>
                <c:pt idx="67">
                  <c:v>1106.4523</c:v>
                </c:pt>
                <c:pt idx="68">
                  <c:v>1144.62</c:v>
                </c:pt>
                <c:pt idx="69">
                  <c:v>1141.6159</c:v>
                </c:pt>
                <c:pt idx="70">
                  <c:v>1080.3221</c:v>
                </c:pt>
                <c:pt idx="71">
                  <c:v>1142.488</c:v>
                </c:pt>
                <c:pt idx="72">
                  <c:v>1310.4354</c:v>
                </c:pt>
                <c:pt idx="73">
                  <c:v>1232.2019</c:v>
                </c:pt>
                <c:pt idx="74">
                  <c:v>1198.1747</c:v>
                </c:pt>
                <c:pt idx="75">
                  <c:v>1191.3714</c:v>
                </c:pt>
                <c:pt idx="76">
                  <c:v>1140.4549</c:v>
                </c:pt>
                <c:pt idx="77">
                  <c:v>1169.5995</c:v>
                </c:pt>
                <c:pt idx="78">
                  <c:v>1174.2102</c:v>
                </c:pt>
                <c:pt idx="79">
                  <c:v>1131.1554</c:v>
                </c:pt>
                <c:pt idx="80">
                  <c:v>1193.3056</c:v>
                </c:pt>
                <c:pt idx="81">
                  <c:v>1234.3079</c:v>
                </c:pt>
                <c:pt idx="82">
                  <c:v>1236.3933</c:v>
                </c:pt>
                <c:pt idx="83">
                  <c:v>1182.0781</c:v>
                </c:pt>
                <c:pt idx="84">
                  <c:v>1199.7887</c:v>
                </c:pt>
                <c:pt idx="85">
                  <c:v>1207.7014</c:v>
                </c:pt>
                <c:pt idx="86">
                  <c:v>1212.7924</c:v>
                </c:pt>
                <c:pt idx="87">
                  <c:v>1233.2744</c:v>
                </c:pt>
                <c:pt idx="88">
                  <c:v>1291.0641</c:v>
                </c:pt>
                <c:pt idx="89">
                  <c:v>1252.2657</c:v>
                </c:pt>
                <c:pt idx="90">
                  <c:v>1290.869</c:v>
                </c:pt>
                <c:pt idx="91">
                  <c:v>1254.0957</c:v>
                </c:pt>
                <c:pt idx="92">
                  <c:v>1156.7925</c:v>
                </c:pt>
                <c:pt idx="93">
                  <c:v>1216.0629</c:v>
                </c:pt>
                <c:pt idx="94">
                  <c:v>1225.9777</c:v>
                </c:pt>
                <c:pt idx="95">
                  <c:v>1185.1086</c:v>
                </c:pt>
                <c:pt idx="96">
                  <c:v>1189.4557</c:v>
                </c:pt>
                <c:pt idx="97">
                  <c:v>1183.2506</c:v>
                </c:pt>
                <c:pt idx="98">
                  <c:v>1187.7486</c:v>
                </c:pt>
                <c:pt idx="99">
                  <c:v>1147.1686</c:v>
                </c:pt>
                <c:pt idx="100">
                  <c:v>1162.3154</c:v>
                </c:pt>
                <c:pt idx="101">
                  <c:v>1154.1521</c:v>
                </c:pt>
                <c:pt idx="102">
                  <c:v>1154.0733</c:v>
                </c:pt>
                <c:pt idx="103">
                  <c:v>1127.4328</c:v>
                </c:pt>
                <c:pt idx="104">
                  <c:v>1172.0197</c:v>
                </c:pt>
              </c:numCache>
            </c:numRef>
          </c:xVal>
          <c:yVal>
            <c:numRef>
              <c:f>Sheet1!$B$2:$B$106</c:f>
              <c:numCache>
                <c:formatCode>General</c:formatCode>
                <c:ptCount val="105"/>
                <c:pt idx="0">
                  <c:v>0.25583266291230894</c:v>
                </c:pt>
                <c:pt idx="1">
                  <c:v>0.23725934314835787</c:v>
                </c:pt>
                <c:pt idx="2">
                  <c:v>0.241281542387298</c:v>
                </c:pt>
                <c:pt idx="3">
                  <c:v>0.2321867321867322</c:v>
                </c:pt>
                <c:pt idx="4">
                  <c:v>0.24113475177304963</c:v>
                </c:pt>
                <c:pt idx="5">
                  <c:v>0.2544543429844098</c:v>
                </c:pt>
                <c:pt idx="6">
                  <c:v>0.2748713550600343</c:v>
                </c:pt>
                <c:pt idx="7">
                  <c:v>0.3037593984962406</c:v>
                </c:pt>
                <c:pt idx="8">
                  <c:v>0.2794258373205742</c:v>
                </c:pt>
                <c:pt idx="9">
                  <c:v>0.26471514006924773</c:v>
                </c:pt>
                <c:pt idx="10">
                  <c:v>0.25395348837209303</c:v>
                </c:pt>
                <c:pt idx="11">
                  <c:v>0.2172678216415791</c:v>
                </c:pt>
                <c:pt idx="12">
                  <c:v>0.2039775624681285</c:v>
                </c:pt>
                <c:pt idx="13">
                  <c:v>0.17923036373220874</c:v>
                </c:pt>
                <c:pt idx="14">
                  <c:v>0.1582060128141942</c:v>
                </c:pt>
                <c:pt idx="15">
                  <c:v>0.15190241068835317</c:v>
                </c:pt>
                <c:pt idx="16">
                  <c:v>0.14465769120595817</c:v>
                </c:pt>
                <c:pt idx="17">
                  <c:v>0.15680473372781065</c:v>
                </c:pt>
                <c:pt idx="18">
                  <c:v>0.14542548941270475</c:v>
                </c:pt>
                <c:pt idx="19">
                  <c:v>0.14842300556586271</c:v>
                </c:pt>
                <c:pt idx="20">
                  <c:v>0.14019079220240563</c:v>
                </c:pt>
                <c:pt idx="21">
                  <c:v>0.16883116883116883</c:v>
                </c:pt>
                <c:pt idx="22">
                  <c:v>0.17258883248730963</c:v>
                </c:pt>
                <c:pt idx="23">
                  <c:v>0.20574162679425836</c:v>
                </c:pt>
                <c:pt idx="24">
                  <c:v>0.20646138313982837</c:v>
                </c:pt>
                <c:pt idx="25">
                  <c:v>0.20521541950113378</c:v>
                </c:pt>
                <c:pt idx="26">
                  <c:v>0.2225691347011597</c:v>
                </c:pt>
                <c:pt idx="27">
                  <c:v>0.2135561745589601</c:v>
                </c:pt>
                <c:pt idx="28">
                  <c:v>0.21428571428571427</c:v>
                </c:pt>
                <c:pt idx="29">
                  <c:v>0.19660596026490065</c:v>
                </c:pt>
                <c:pt idx="30">
                  <c:v>0.18614718614718614</c:v>
                </c:pt>
                <c:pt idx="31">
                  <c:v>0.20606644198363025</c:v>
                </c:pt>
                <c:pt idx="32">
                  <c:v>0.2282958199356913</c:v>
                </c:pt>
                <c:pt idx="33">
                  <c:v>0.20984549047790155</c:v>
                </c:pt>
                <c:pt idx="34">
                  <c:v>0.20398009950248755</c:v>
                </c:pt>
                <c:pt idx="35">
                  <c:v>0.2136532419308769</c:v>
                </c:pt>
                <c:pt idx="36">
                  <c:v>0.18743199129488575</c:v>
                </c:pt>
                <c:pt idx="37">
                  <c:v>0.18722541399121326</c:v>
                </c:pt>
                <c:pt idx="38">
                  <c:v>0.16683217477656406</c:v>
                </c:pt>
                <c:pt idx="39">
                  <c:v>0.16012084592145015</c:v>
                </c:pt>
                <c:pt idx="40">
                  <c:v>0.15794701986754967</c:v>
                </c:pt>
                <c:pt idx="41">
                  <c:v>0.17228204237582495</c:v>
                </c:pt>
                <c:pt idx="42">
                  <c:v>0.17439425665569847</c:v>
                </c:pt>
                <c:pt idx="43">
                  <c:v>0.160844629822732</c:v>
                </c:pt>
                <c:pt idx="44">
                  <c:v>0.14702581369248036</c:v>
                </c:pt>
                <c:pt idx="45">
                  <c:v>0.1652336448598131</c:v>
                </c:pt>
                <c:pt idx="46">
                  <c:v>0.16193078324225865</c:v>
                </c:pt>
                <c:pt idx="47">
                  <c:v>0.16883116883116883</c:v>
                </c:pt>
                <c:pt idx="48">
                  <c:v>0.1600371254309202</c:v>
                </c:pt>
                <c:pt idx="49">
                  <c:v>0.17445304289672303</c:v>
                </c:pt>
                <c:pt idx="50">
                  <c:v>0.16855926188786374</c:v>
                </c:pt>
                <c:pt idx="51">
                  <c:v>0.1629293893129771</c:v>
                </c:pt>
                <c:pt idx="52">
                  <c:v>0.1743077621425329</c:v>
                </c:pt>
                <c:pt idx="53">
                  <c:v>0.18415260454878943</c:v>
                </c:pt>
                <c:pt idx="54">
                  <c:v>0.18846373500856653</c:v>
                </c:pt>
                <c:pt idx="55">
                  <c:v>0.19091934574168076</c:v>
                </c:pt>
                <c:pt idx="56">
                  <c:v>0.20341124447252054</c:v>
                </c:pt>
                <c:pt idx="57">
                  <c:v>0.1955708047411104</c:v>
                </c:pt>
                <c:pt idx="58">
                  <c:v>0.19973761889143982</c:v>
                </c:pt>
                <c:pt idx="59">
                  <c:v>0.17981323266441487</c:v>
                </c:pt>
                <c:pt idx="60">
                  <c:v>0.19290413533834586</c:v>
                </c:pt>
                <c:pt idx="61">
                  <c:v>0.20887096774193548</c:v>
                </c:pt>
                <c:pt idx="62">
                  <c:v>0.19552922165364933</c:v>
                </c:pt>
                <c:pt idx="63">
                  <c:v>0.19350248992174532</c:v>
                </c:pt>
                <c:pt idx="64">
                  <c:v>0.19413527397260275</c:v>
                </c:pt>
                <c:pt idx="65">
                  <c:v>0.18636676612347947</c:v>
                </c:pt>
                <c:pt idx="66">
                  <c:v>0.18785278843982842</c:v>
                </c:pt>
                <c:pt idx="67">
                  <c:v>0.18456678700361012</c:v>
                </c:pt>
                <c:pt idx="68">
                  <c:v>0.16095189355168885</c:v>
                </c:pt>
                <c:pt idx="69">
                  <c:v>0.1543859649122807</c:v>
                </c:pt>
                <c:pt idx="70">
                  <c:v>0.1644458888527787</c:v>
                </c:pt>
                <c:pt idx="71">
                  <c:v>0.1648706896551724</c:v>
                </c:pt>
                <c:pt idx="72">
                  <c:v>0.14487516425755584</c:v>
                </c:pt>
                <c:pt idx="73">
                  <c:v>0.15384615384615385</c:v>
                </c:pt>
                <c:pt idx="74">
                  <c:v>0.14744307577454274</c:v>
                </c:pt>
                <c:pt idx="75">
                  <c:v>0.1633605600933489</c:v>
                </c:pt>
                <c:pt idx="76">
                  <c:v>0.17028443113772454</c:v>
                </c:pt>
                <c:pt idx="77">
                  <c:v>0.16624790619765495</c:v>
                </c:pt>
                <c:pt idx="78">
                  <c:v>0.16757000903342367</c:v>
                </c:pt>
                <c:pt idx="79">
                  <c:v>0.13744457879887143</c:v>
                </c:pt>
                <c:pt idx="80">
                  <c:v>0.13621665319320939</c:v>
                </c:pt>
                <c:pt idx="81">
                  <c:v>0.13763129300977905</c:v>
                </c:pt>
                <c:pt idx="82">
                  <c:v>0.13793103448275862</c:v>
                </c:pt>
                <c:pt idx="83">
                  <c:v>0.13986013986013987</c:v>
                </c:pt>
                <c:pt idx="84">
                  <c:v>0.1556276053728578</c:v>
                </c:pt>
                <c:pt idx="85">
                  <c:v>0.15106382978723404</c:v>
                </c:pt>
                <c:pt idx="86">
                  <c:v>0.15606420927467302</c:v>
                </c:pt>
                <c:pt idx="87">
                  <c:v>0.1679631230193028</c:v>
                </c:pt>
                <c:pt idx="88">
                  <c:v>0.1645073817414884</c:v>
                </c:pt>
                <c:pt idx="89">
                  <c:v>0.16048526863084922</c:v>
                </c:pt>
                <c:pt idx="90">
                  <c:v>0.15854632587859424</c:v>
                </c:pt>
                <c:pt idx="91">
                  <c:v>0.14974113898845082</c:v>
                </c:pt>
                <c:pt idx="92">
                  <c:v>0.15399361022364216</c:v>
                </c:pt>
                <c:pt idx="93">
                  <c:v>0.15171755725190839</c:v>
                </c:pt>
                <c:pt idx="94">
                  <c:v>0.16254523522316044</c:v>
                </c:pt>
                <c:pt idx="95">
                  <c:v>0.16302083333333334</c:v>
                </c:pt>
                <c:pt idx="96">
                  <c:v>0.14517331345508758</c:v>
                </c:pt>
                <c:pt idx="97">
                  <c:v>0.1343833780160858</c:v>
                </c:pt>
                <c:pt idx="98">
                  <c:v>0.13880461165048544</c:v>
                </c:pt>
                <c:pt idx="99">
                  <c:v>0.14437604924454392</c:v>
                </c:pt>
                <c:pt idx="100">
                  <c:v>0.14857323365273245</c:v>
                </c:pt>
                <c:pt idx="101">
                  <c:v>0.16945646041000564</c:v>
                </c:pt>
                <c:pt idx="102">
                  <c:v>0.17221584385763491</c:v>
                </c:pt>
                <c:pt idx="103">
                  <c:v>0.16006927263730827</c:v>
                </c:pt>
                <c:pt idx="104">
                  <c:v>0.160437032777458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1536</c:v>
                </c:pt>
                <c:pt idx="1">
                  <c:v>1185.6893</c:v>
                </c:pt>
                <c:pt idx="2">
                  <c:v>1175.3901</c:v>
                </c:pt>
                <c:pt idx="3">
                  <c:v>1152.7619</c:v>
                </c:pt>
                <c:pt idx="4">
                  <c:v>1191.3798</c:v>
                </c:pt>
                <c:pt idx="5">
                  <c:v>1181.8385</c:v>
                </c:pt>
                <c:pt idx="6">
                  <c:v>1131.6323</c:v>
                </c:pt>
                <c:pt idx="7">
                  <c:v>1199.6689</c:v>
                </c:pt>
                <c:pt idx="8">
                  <c:v>1229.1912</c:v>
                </c:pt>
                <c:pt idx="9">
                  <c:v>1184.7143</c:v>
                </c:pt>
                <c:pt idx="10">
                  <c:v>1229.0574</c:v>
                </c:pt>
                <c:pt idx="11">
                  <c:v>1115.4168</c:v>
                </c:pt>
                <c:pt idx="12">
                  <c:v>1125.634</c:v>
                </c:pt>
                <c:pt idx="13">
                  <c:v>1168.8521</c:v>
                </c:pt>
                <c:pt idx="14">
                  <c:v>1146.8514</c:v>
                </c:pt>
                <c:pt idx="15">
                  <c:v>1170.3097</c:v>
                </c:pt>
                <c:pt idx="16">
                  <c:v>1214.1068</c:v>
                </c:pt>
                <c:pt idx="17">
                  <c:v>1050.6849</c:v>
                </c:pt>
                <c:pt idx="18">
                  <c:v>1113.9525</c:v>
                </c:pt>
                <c:pt idx="19">
                  <c:v>1334.4336</c:v>
                </c:pt>
                <c:pt idx="20">
                  <c:v>1276.6709</c:v>
                </c:pt>
                <c:pt idx="21">
                  <c:v>1192.7394</c:v>
                </c:pt>
                <c:pt idx="22">
                  <c:v>1245.0066</c:v>
                </c:pt>
                <c:pt idx="23">
                  <c:v>1262.8669</c:v>
                </c:pt>
                <c:pt idx="24">
                  <c:v>1255.7986</c:v>
                </c:pt>
                <c:pt idx="25">
                  <c:v>1245.0263</c:v>
                </c:pt>
                <c:pt idx="26">
                  <c:v>1208.9611</c:v>
                </c:pt>
                <c:pt idx="27">
                  <c:v>1205.0773</c:v>
                </c:pt>
                <c:pt idx="28">
                  <c:v>1231.5959</c:v>
                </c:pt>
                <c:pt idx="29">
                  <c:v>1240.8093</c:v>
                </c:pt>
                <c:pt idx="30">
                  <c:v>1235.1827</c:v>
                </c:pt>
                <c:pt idx="31">
                  <c:v>1186.08</c:v>
                </c:pt>
                <c:pt idx="32">
                  <c:v>1205.7663</c:v>
                </c:pt>
                <c:pt idx="33">
                  <c:v>1239.9805</c:v>
                </c:pt>
                <c:pt idx="34">
                  <c:v>1227.0479</c:v>
                </c:pt>
                <c:pt idx="35">
                  <c:v>1243.63</c:v>
                </c:pt>
                <c:pt idx="36">
                  <c:v>1283.7818</c:v>
                </c:pt>
                <c:pt idx="37">
                  <c:v>1288.2352</c:v>
                </c:pt>
                <c:pt idx="38">
                  <c:v>1336.8556</c:v>
                </c:pt>
                <c:pt idx="39">
                  <c:v>1270.7004</c:v>
                </c:pt>
                <c:pt idx="40">
                  <c:v>1304.0503</c:v>
                </c:pt>
                <c:pt idx="41">
                  <c:v>1295.4946</c:v>
                </c:pt>
                <c:pt idx="42">
                  <c:v>1242.5598</c:v>
                </c:pt>
                <c:pt idx="43">
                  <c:v>1312.0057</c:v>
                </c:pt>
                <c:pt idx="44">
                  <c:v>1248.3096</c:v>
                </c:pt>
                <c:pt idx="45">
                  <c:v>1216.8152</c:v>
                </c:pt>
                <c:pt idx="46">
                  <c:v>1177.0048</c:v>
                </c:pt>
                <c:pt idx="47">
                  <c:v>1141.3341</c:v>
                </c:pt>
                <c:pt idx="48">
                  <c:v>1111.0287</c:v>
                </c:pt>
                <c:pt idx="49">
                  <c:v>1134.5677</c:v>
                </c:pt>
                <c:pt idx="50">
                  <c:v>1137.593</c:v>
                </c:pt>
                <c:pt idx="51">
                  <c:v>1091.7667</c:v>
                </c:pt>
              </c:numCache>
            </c:numRef>
          </c:xVal>
          <c:yVal>
            <c:numRef>
              <c:f>Sheet1!$B$109:$B$160</c:f>
              <c:numCache>
                <c:formatCode>General</c:formatCode>
                <c:ptCount val="52"/>
                <c:pt idx="0">
                  <c:v>0.1620523241046482</c:v>
                </c:pt>
                <c:pt idx="1">
                  <c:v>0.16671162665227948</c:v>
                </c:pt>
                <c:pt idx="2">
                  <c:v>0.18767295597484276</c:v>
                </c:pt>
                <c:pt idx="3">
                  <c:v>0.21428571428571427</c:v>
                </c:pt>
                <c:pt idx="4">
                  <c:v>0.19088077032002265</c:v>
                </c:pt>
                <c:pt idx="5">
                  <c:v>0.2014388489208633</c:v>
                </c:pt>
                <c:pt idx="6">
                  <c:v>0.20618955512572534</c:v>
                </c:pt>
                <c:pt idx="7">
                  <c:v>0.18569636135508155</c:v>
                </c:pt>
                <c:pt idx="8">
                  <c:v>0.1898557468590042</c:v>
                </c:pt>
                <c:pt idx="9">
                  <c:v>0.1891891891891892</c:v>
                </c:pt>
                <c:pt idx="10">
                  <c:v>0.19624765478424014</c:v>
                </c:pt>
                <c:pt idx="11">
                  <c:v>0.18653795982259327</c:v>
                </c:pt>
                <c:pt idx="12">
                  <c:v>0.1922071129707113</c:v>
                </c:pt>
                <c:pt idx="13">
                  <c:v>0.1972502805836139</c:v>
                </c:pt>
                <c:pt idx="14">
                  <c:v>0.2083203002815139</c:v>
                </c:pt>
                <c:pt idx="15">
                  <c:v>0.1948204826368452</c:v>
                </c:pt>
                <c:pt idx="16">
                  <c:v>0.18878299120234604</c:v>
                </c:pt>
                <c:pt idx="17">
                  <c:v>0.2117822520507084</c:v>
                </c:pt>
                <c:pt idx="18">
                  <c:v>0.19592198581560283</c:v>
                </c:pt>
                <c:pt idx="19">
                  <c:v>0.17553398058252428</c:v>
                </c:pt>
                <c:pt idx="20">
                  <c:v>0.17681551646368968</c:v>
                </c:pt>
                <c:pt idx="21">
                  <c:v>0.18742368742368742</c:v>
                </c:pt>
                <c:pt idx="22">
                  <c:v>0.19700910273081926</c:v>
                </c:pt>
                <c:pt idx="23">
                  <c:v>0.1991404011461318</c:v>
                </c:pt>
                <c:pt idx="24">
                  <c:v>0.19772403982930298</c:v>
                </c:pt>
                <c:pt idx="25">
                  <c:v>0.22125181950509462</c:v>
                </c:pt>
                <c:pt idx="26">
                  <c:v>0.1941860465116279</c:v>
                </c:pt>
                <c:pt idx="27">
                  <c:v>0.19556451612903225</c:v>
                </c:pt>
                <c:pt idx="28">
                  <c:v>0.193</c:v>
                </c:pt>
                <c:pt idx="29">
                  <c:v>0.20571748878923768</c:v>
                </c:pt>
                <c:pt idx="30">
                  <c:v>0.2086864406779661</c:v>
                </c:pt>
                <c:pt idx="31">
                  <c:v>0.1977401129943503</c:v>
                </c:pt>
                <c:pt idx="32">
                  <c:v>0.20208676551345414</c:v>
                </c:pt>
                <c:pt idx="33">
                  <c:v>0.20988158432013065</c:v>
                </c:pt>
                <c:pt idx="34">
                  <c:v>0.22552329507089805</c:v>
                </c:pt>
                <c:pt idx="35">
                  <c:v>0.22998986828774062</c:v>
                </c:pt>
                <c:pt idx="36">
                  <c:v>0.21752738654147105</c:v>
                </c:pt>
                <c:pt idx="37">
                  <c:v>0.2252983293556086</c:v>
                </c:pt>
                <c:pt idx="38">
                  <c:v>0.20056497175141244</c:v>
                </c:pt>
                <c:pt idx="39">
                  <c:v>0.2059079061685491</c:v>
                </c:pt>
                <c:pt idx="40">
                  <c:v>0.19437652811735942</c:v>
                </c:pt>
                <c:pt idx="41">
                  <c:v>0.1937740468695348</c:v>
                </c:pt>
                <c:pt idx="42">
                  <c:v>0.1906196213425129</c:v>
                </c:pt>
                <c:pt idx="43">
                  <c:v>0.18585005279831046</c:v>
                </c:pt>
                <c:pt idx="44">
                  <c:v>0.17871259175607002</c:v>
                </c:pt>
                <c:pt idx="45">
                  <c:v>0.19654054054054054</c:v>
                </c:pt>
                <c:pt idx="46">
                  <c:v>0.2141574762759682</c:v>
                </c:pt>
                <c:pt idx="47">
                  <c:v>0.2080872330758746</c:v>
                </c:pt>
                <c:pt idx="48">
                  <c:v>0.19827269386255053</c:v>
                </c:pt>
                <c:pt idx="49">
                  <c:v>0.22129783693843594</c:v>
                </c:pt>
                <c:pt idx="50">
                  <c:v>0.2084006462035541</c:v>
                </c:pt>
                <c:pt idx="51">
                  <c:v>0.20660419455600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371.4090957519475</c:v>
                </c:pt>
              </c:numCache>
            </c:numRef>
          </c:xVal>
          <c:yVal>
            <c:numRef>
              <c:f>Sheet1!$B$163:$B$164</c:f>
              <c:numCache>
                <c:formatCode>General</c:formatCode>
                <c:ptCount val="2"/>
                <c:pt idx="0">
                  <c:v>0.25780066291877834</c:v>
                </c:pt>
                <c:pt idx="1">
                  <c:v>0.257800662918778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371.4090957519475</c:v>
                </c:pt>
                <c:pt idx="1">
                  <c:v>-2371.4090957519475</c:v>
                </c:pt>
              </c:numCache>
            </c:numRef>
          </c:xVal>
          <c:yVal>
            <c:numRef>
              <c:f>Sheet1!$B$167:$B$168</c:f>
              <c:numCache>
                <c:formatCode>General</c:formatCode>
                <c:ptCount val="2"/>
                <c:pt idx="0">
                  <c:v>0.257800662918778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01.5663863195969</c:v>
                </c:pt>
              </c:numCache>
            </c:numRef>
          </c:xVal>
          <c:yVal>
            <c:numRef>
              <c:f>Sheet1!$B$171:$B$172</c:f>
              <c:numCache>
                <c:formatCode>General</c:formatCode>
                <c:ptCount val="2"/>
                <c:pt idx="0">
                  <c:v>0.2086438428901356</c:v>
                </c:pt>
                <c:pt idx="1">
                  <c:v>0.208643842890135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01.5663863195969</c:v>
                </c:pt>
                <c:pt idx="1">
                  <c:v>601.5663863195969</c:v>
                </c:pt>
              </c:numCache>
            </c:numRef>
          </c:xVal>
          <c:yVal>
            <c:numRef>
              <c:f>Sheet1!$B$175:$B$176</c:f>
              <c:numCache>
                <c:formatCode>General</c:formatCode>
                <c:ptCount val="2"/>
                <c:pt idx="0">
                  <c:v>0.20864384289013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2.2386573933707</c:v>
                </c:pt>
              </c:numCache>
            </c:numRef>
          </c:xVal>
          <c:yVal>
            <c:numRef>
              <c:f>Sheet1!$B$179:$B$180</c:f>
              <c:numCache>
                <c:formatCode>General</c:formatCode>
                <c:ptCount val="2"/>
                <c:pt idx="0">
                  <c:v>0.20020010526963555</c:v>
                </c:pt>
                <c:pt idx="1">
                  <c:v>0.200200105269635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2.2386573933707</c:v>
                </c:pt>
                <c:pt idx="1">
                  <c:v>1112.2386573933707</c:v>
                </c:pt>
              </c:numCache>
            </c:numRef>
          </c:xVal>
          <c:yVal>
            <c:numRef>
              <c:f>Sheet1!$B$183:$B$184</c:f>
              <c:numCache>
                <c:formatCode>General</c:formatCode>
                <c:ptCount val="2"/>
                <c:pt idx="0">
                  <c:v>0.200200105269635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1536</c:v>
                </c:pt>
                <c:pt idx="1">
                  <c:v>1185.6893</c:v>
                </c:pt>
                <c:pt idx="2">
                  <c:v>1175.3901</c:v>
                </c:pt>
                <c:pt idx="3">
                  <c:v>1152.7619</c:v>
                </c:pt>
                <c:pt idx="4">
                  <c:v>1191.3798</c:v>
                </c:pt>
                <c:pt idx="5">
                  <c:v>1181.8385</c:v>
                </c:pt>
                <c:pt idx="6">
                  <c:v>1131.6323</c:v>
                </c:pt>
                <c:pt idx="7">
                  <c:v>1199.6689</c:v>
                </c:pt>
                <c:pt idx="8">
                  <c:v>1229.1912</c:v>
                </c:pt>
                <c:pt idx="9">
                  <c:v>1184.7143</c:v>
                </c:pt>
                <c:pt idx="10">
                  <c:v>1229.0574</c:v>
                </c:pt>
                <c:pt idx="11">
                  <c:v>1115.4168</c:v>
                </c:pt>
                <c:pt idx="12">
                  <c:v>1125.634</c:v>
                </c:pt>
                <c:pt idx="13">
                  <c:v>1168.8521</c:v>
                </c:pt>
                <c:pt idx="14">
                  <c:v>1146.8514</c:v>
                </c:pt>
                <c:pt idx="15">
                  <c:v>1170.3097</c:v>
                </c:pt>
                <c:pt idx="16">
                  <c:v>1214.1068</c:v>
                </c:pt>
                <c:pt idx="17">
                  <c:v>1050.6849</c:v>
                </c:pt>
                <c:pt idx="18">
                  <c:v>1113.9525</c:v>
                </c:pt>
                <c:pt idx="19">
                  <c:v>1334.4336</c:v>
                </c:pt>
                <c:pt idx="20">
                  <c:v>1276.6709</c:v>
                </c:pt>
                <c:pt idx="21">
                  <c:v>1192.7394</c:v>
                </c:pt>
                <c:pt idx="22">
                  <c:v>1245.0066</c:v>
                </c:pt>
                <c:pt idx="23">
                  <c:v>1262.8669</c:v>
                </c:pt>
                <c:pt idx="24">
                  <c:v>1255.7986</c:v>
                </c:pt>
                <c:pt idx="25">
                  <c:v>1245.0263</c:v>
                </c:pt>
                <c:pt idx="26">
                  <c:v>1208.9611</c:v>
                </c:pt>
                <c:pt idx="27">
                  <c:v>1205.0773</c:v>
                </c:pt>
                <c:pt idx="28">
                  <c:v>1231.5959</c:v>
                </c:pt>
                <c:pt idx="29">
                  <c:v>1240.8093</c:v>
                </c:pt>
                <c:pt idx="30">
                  <c:v>1235.1827</c:v>
                </c:pt>
                <c:pt idx="31">
                  <c:v>1186.08</c:v>
                </c:pt>
                <c:pt idx="32">
                  <c:v>1205.7663</c:v>
                </c:pt>
                <c:pt idx="33">
                  <c:v>1239.9805</c:v>
                </c:pt>
                <c:pt idx="34">
                  <c:v>1227.0479</c:v>
                </c:pt>
                <c:pt idx="35">
                  <c:v>1243.63</c:v>
                </c:pt>
                <c:pt idx="36">
                  <c:v>1283.7818</c:v>
                </c:pt>
                <c:pt idx="37">
                  <c:v>1288.2352</c:v>
                </c:pt>
                <c:pt idx="38">
                  <c:v>1336.8556</c:v>
                </c:pt>
                <c:pt idx="39">
                  <c:v>1270.7004</c:v>
                </c:pt>
                <c:pt idx="40">
                  <c:v>1304.0503</c:v>
                </c:pt>
                <c:pt idx="41">
                  <c:v>1295.4946</c:v>
                </c:pt>
                <c:pt idx="42">
                  <c:v>1242.5598</c:v>
                </c:pt>
                <c:pt idx="43">
                  <c:v>1312.0057</c:v>
                </c:pt>
                <c:pt idx="44">
                  <c:v>1248.3096</c:v>
                </c:pt>
                <c:pt idx="45">
                  <c:v>1216.8152</c:v>
                </c:pt>
                <c:pt idx="46">
                  <c:v>1177.0048</c:v>
                </c:pt>
                <c:pt idx="47">
                  <c:v>1141.3341</c:v>
                </c:pt>
                <c:pt idx="48">
                  <c:v>1111.0287</c:v>
                </c:pt>
                <c:pt idx="49">
                  <c:v>1134.5677</c:v>
                </c:pt>
                <c:pt idx="50">
                  <c:v>1137.593</c:v>
                </c:pt>
                <c:pt idx="51">
                  <c:v>1091.7667</c:v>
                </c:pt>
                <c:pt idx="52">
                  <c:v>601.5663863195969</c:v>
                </c:pt>
                <c:pt idx="53">
                  <c:v>-2371.4090957519475</c:v>
                </c:pt>
                <c:pt idx="54">
                  <c:v>1112.2386573933707</c:v>
                </c:pt>
              </c:numCache>
            </c:numRef>
          </c:xVal>
          <c:yVal>
            <c:numRef>
              <c:f>Sheet1!$B$187:$B$241</c:f>
              <c:numCache>
                <c:formatCode>General</c:formatCode>
                <c:ptCount val="55"/>
                <c:pt idx="0">
                  <c:v>0.1994574567803946</c:v>
                </c:pt>
                <c:pt idx="1">
                  <c:v>0.19898563174256617</c:v>
                </c:pt>
                <c:pt idx="2">
                  <c:v>0.1991559244085811</c:v>
                </c:pt>
                <c:pt idx="3">
                  <c:v>0.19953007157584837</c:v>
                </c:pt>
                <c:pt idx="4">
                  <c:v>0.19889154186995878</c:v>
                </c:pt>
                <c:pt idx="5">
                  <c:v>0.19904930299842005</c:v>
                </c:pt>
                <c:pt idx="6">
                  <c:v>0.19987944006231617</c:v>
                </c:pt>
                <c:pt idx="7">
                  <c:v>0.19875448530849144</c:v>
                </c:pt>
                <c:pt idx="8">
                  <c:v>0.19826634728088807</c:v>
                </c:pt>
                <c:pt idx="9">
                  <c:v>0.19900175293152886</c:v>
                </c:pt>
                <c:pt idx="10">
                  <c:v>0.19826855960405035</c:v>
                </c:pt>
                <c:pt idx="11">
                  <c:v>0.20014755610295673</c:v>
                </c:pt>
                <c:pt idx="12">
                  <c:v>0.19997861927026994</c:v>
                </c:pt>
                <c:pt idx="13">
                  <c:v>0.19926402731467144</c:v>
                </c:pt>
                <c:pt idx="14">
                  <c:v>0.19962779905006786</c:v>
                </c:pt>
                <c:pt idx="15">
                  <c:v>0.19923992655053605</c:v>
                </c:pt>
                <c:pt idx="16">
                  <c:v>0.1985157610888766</c:v>
                </c:pt>
                <c:pt idx="17">
                  <c:v>0.20121786912020195</c:v>
                </c:pt>
                <c:pt idx="18">
                  <c:v>0.2001717676485958</c:v>
                </c:pt>
                <c:pt idx="19">
                  <c:v>0.19652621126315756</c:v>
                </c:pt>
                <c:pt idx="20">
                  <c:v>0.19748129167515274</c:v>
                </c:pt>
                <c:pt idx="21">
                  <c:v>0.19886906149199604</c:v>
                </c:pt>
                <c:pt idx="22">
                  <c:v>0.1980048467148157</c:v>
                </c:pt>
                <c:pt idx="23">
                  <c:v>0.1977095346417589</c:v>
                </c:pt>
                <c:pt idx="24">
                  <c:v>0.19782640582118965</c:v>
                </c:pt>
                <c:pt idx="25">
                  <c:v>0.19800452098412588</c:v>
                </c:pt>
                <c:pt idx="26">
                  <c:v>0.19860084293712824</c:v>
                </c:pt>
                <c:pt idx="27">
                  <c:v>0.19866505983322394</c:v>
                </c:pt>
                <c:pt idx="28">
                  <c:v>0.19822658664181259</c:v>
                </c:pt>
                <c:pt idx="29">
                  <c:v>0.19807424719320862</c:v>
                </c:pt>
                <c:pt idx="30">
                  <c:v>0.19816728050789323</c:v>
                </c:pt>
                <c:pt idx="31">
                  <c:v>0.19897917169279414</c:v>
                </c:pt>
                <c:pt idx="32">
                  <c:v>0.19865366752635696</c:v>
                </c:pt>
                <c:pt idx="33">
                  <c:v>0.19808795103055454</c:v>
                </c:pt>
                <c:pt idx="34">
                  <c:v>0.19830178578786625</c:v>
                </c:pt>
                <c:pt idx="35">
                  <c:v>0.19802760818017573</c:v>
                </c:pt>
                <c:pt idx="36">
                  <c:v>0.19736371612377346</c:v>
                </c:pt>
                <c:pt idx="37">
                  <c:v>0.197290081146413</c:v>
                </c:pt>
                <c:pt idx="38">
                  <c:v>0.19648616457631896</c:v>
                </c:pt>
                <c:pt idx="39">
                  <c:v>0.19758001122253915</c:v>
                </c:pt>
                <c:pt idx="40">
                  <c:v>0.19702858554070646</c:v>
                </c:pt>
                <c:pt idx="41">
                  <c:v>0.19717005021394554</c:v>
                </c:pt>
                <c:pt idx="42">
                  <c:v>0.1980453034585633</c:v>
                </c:pt>
                <c:pt idx="43">
                  <c:v>0.19689704655950255</c:v>
                </c:pt>
                <c:pt idx="44">
                  <c:v>0.19795023308697593</c:v>
                </c:pt>
                <c:pt idx="45">
                  <c:v>0.19847097890612117</c:v>
                </c:pt>
                <c:pt idx="46">
                  <c:v>0.19912922606620362</c:v>
                </c:pt>
                <c:pt idx="47">
                  <c:v>0.19971902513813336</c:v>
                </c:pt>
                <c:pt idx="48">
                  <c:v>0.20022011137402052</c:v>
                </c:pt>
                <c:pt idx="49">
                  <c:v>0.19983090453607916</c:v>
                </c:pt>
                <c:pt idx="50">
                  <c:v>0.19978088255354703</c:v>
                </c:pt>
                <c:pt idx="51">
                  <c:v>0.20053859992971218</c:v>
                </c:pt>
                <c:pt idx="52">
                  <c:v>0.2086438428901356</c:v>
                </c:pt>
                <c:pt idx="53">
                  <c:v>0.25780066291877834</c:v>
                </c:pt>
                <c:pt idx="54">
                  <c:v>0.200200105269635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451127819548873"/>
          <c:min val="0.107506702412868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80936827494593</c:v>
                </c:pt>
                <c:pt idx="1">
                  <c:v>0.8009203205257377</c:v>
                </c:pt>
                <c:pt idx="2">
                  <c:v>0.8047301485006959</c:v>
                </c:pt>
                <c:pt idx="3">
                  <c:v>0.7804419758642541</c:v>
                </c:pt>
                <c:pt idx="4">
                  <c:v>0.7416715379944712</c:v>
                </c:pt>
                <c:pt idx="5">
                  <c:v>0.7247301834168193</c:v>
                </c:pt>
                <c:pt idx="6">
                  <c:v>0.7374951711040534</c:v>
                </c:pt>
                <c:pt idx="7">
                  <c:v>0.728799223184648</c:v>
                </c:pt>
                <c:pt idx="8">
                  <c:v>0.7784761162968491</c:v>
                </c:pt>
                <c:pt idx="9">
                  <c:v>0.8109054640576363</c:v>
                </c:pt>
                <c:pt idx="10">
                  <c:v>0.7709045855749665</c:v>
                </c:pt>
                <c:pt idx="11">
                  <c:v>0.7961248766458914</c:v>
                </c:pt>
                <c:pt idx="12">
                  <c:v>0.7931923961384235</c:v>
                </c:pt>
                <c:pt idx="13">
                  <c:v>0.8210182532350907</c:v>
                </c:pt>
                <c:pt idx="14">
                  <c:v>0.8282519566367115</c:v>
                </c:pt>
                <c:pt idx="15">
                  <c:v>0.8027053512632291</c:v>
                </c:pt>
                <c:pt idx="16">
                  <c:v>0.8112466726003407</c:v>
                </c:pt>
                <c:pt idx="17">
                  <c:v>0.8471490280598432</c:v>
                </c:pt>
                <c:pt idx="18">
                  <c:v>0.8829039806816821</c:v>
                </c:pt>
                <c:pt idx="19">
                  <c:v>0.9296810420377373</c:v>
                </c:pt>
                <c:pt idx="20">
                  <c:v>0.9430823231822785</c:v>
                </c:pt>
                <c:pt idx="21">
                  <c:v>1.0052097774199114</c:v>
                </c:pt>
                <c:pt idx="22">
                  <c:v>1.0014248779529953</c:v>
                </c:pt>
                <c:pt idx="23">
                  <c:v>0.8882522156599141</c:v>
                </c:pt>
                <c:pt idx="24">
                  <c:v>0.791235993853671</c:v>
                </c:pt>
                <c:pt idx="25">
                  <c:v>0.8348927665083793</c:v>
                </c:pt>
                <c:pt idx="26">
                  <c:v>0.8583930134123908</c:v>
                </c:pt>
                <c:pt idx="27">
                  <c:v>0.8516824678710287</c:v>
                </c:pt>
                <c:pt idx="28">
                  <c:v>0.8299772157611497</c:v>
                </c:pt>
                <c:pt idx="29">
                  <c:v>0.8082512126979639</c:v>
                </c:pt>
                <c:pt idx="30">
                  <c:v>0.8340379269729093</c:v>
                </c:pt>
                <c:pt idx="31">
                  <c:v>0.7872315577616551</c:v>
                </c:pt>
                <c:pt idx="32">
                  <c:v>0.7657718539754469</c:v>
                </c:pt>
                <c:pt idx="33">
                  <c:v>0.7762823001219357</c:v>
                </c:pt>
                <c:pt idx="34">
                  <c:v>0.7723346185745048</c:v>
                </c:pt>
                <c:pt idx="35">
                  <c:v>0.8223064180579223</c:v>
                </c:pt>
                <c:pt idx="36">
                  <c:v>0.8261351589571752</c:v>
                </c:pt>
                <c:pt idx="37">
                  <c:v>0.837978298974729</c:v>
                </c:pt>
                <c:pt idx="38">
                  <c:v>0.8594225093312854</c:v>
                </c:pt>
                <c:pt idx="39">
                  <c:v>0.8865631685563568</c:v>
                </c:pt>
                <c:pt idx="40">
                  <c:v>0.8836473702681561</c:v>
                </c:pt>
                <c:pt idx="41">
                  <c:v>0.9036188351169355</c:v>
                </c:pt>
                <c:pt idx="42">
                  <c:v>0.8991815124803599</c:v>
                </c:pt>
                <c:pt idx="43">
                  <c:v>0.9453913660877618</c:v>
                </c:pt>
                <c:pt idx="44">
                  <c:v>0.9163893662131145</c:v>
                </c:pt>
                <c:pt idx="45">
                  <c:v>0.9064518058333272</c:v>
                </c:pt>
                <c:pt idx="46">
                  <c:v>0.9111939901917495</c:v>
                </c:pt>
                <c:pt idx="47">
                  <c:v>0.8712134078198195</c:v>
                </c:pt>
                <c:pt idx="48">
                  <c:v>0.9070846634881471</c:v>
                </c:pt>
                <c:pt idx="49">
                  <c:v>0.954470986208691</c:v>
                </c:pt>
                <c:pt idx="50">
                  <c:v>0.8833056592135095</c:v>
                </c:pt>
                <c:pt idx="51">
                  <c:v>0.8511745282921257</c:v>
                </c:pt>
                <c:pt idx="52">
                  <c:v>0.8693078239577458</c:v>
                </c:pt>
                <c:pt idx="53">
                  <c:v>0.8222858631717943</c:v>
                </c:pt>
                <c:pt idx="54">
                  <c:v>0.8276927834829462</c:v>
                </c:pt>
                <c:pt idx="55">
                  <c:v>0.8133324394098214</c:v>
                </c:pt>
                <c:pt idx="56">
                  <c:v>0.8351656418021789</c:v>
                </c:pt>
                <c:pt idx="57">
                  <c:v>0.8329659902650394</c:v>
                </c:pt>
                <c:pt idx="58">
                  <c:v>0.8101634842587064</c:v>
                </c:pt>
                <c:pt idx="59">
                  <c:v>0.8190436018148675</c:v>
                </c:pt>
                <c:pt idx="60">
                  <c:v>0.8428374564698802</c:v>
                </c:pt>
                <c:pt idx="61">
                  <c:v>0.8188313041228763</c:v>
                </c:pt>
                <c:pt idx="62">
                  <c:v>0.8005972668573281</c:v>
                </c:pt>
                <c:pt idx="63">
                  <c:v>0.82030886520343</c:v>
                </c:pt>
                <c:pt idx="64">
                  <c:v>0.7419139409242346</c:v>
                </c:pt>
                <c:pt idx="65">
                  <c:v>0.7165620339378037</c:v>
                </c:pt>
                <c:pt idx="66">
                  <c:v>0.7360108407693232</c:v>
                </c:pt>
                <c:pt idx="67">
                  <c:v>0.7160928831601865</c:v>
                </c:pt>
                <c:pt idx="68">
                  <c:v>0.7568434084891404</c:v>
                </c:pt>
                <c:pt idx="69">
                  <c:v>0.6827379563705663</c:v>
                </c:pt>
                <c:pt idx="70">
                  <c:v>0.7132834725174919</c:v>
                </c:pt>
                <c:pt idx="71">
                  <c:v>0.709217912208143</c:v>
                </c:pt>
                <c:pt idx="72">
                  <c:v>0.8071552776606286</c:v>
                </c:pt>
                <c:pt idx="73">
                  <c:v>0.8172159045011536</c:v>
                </c:pt>
                <c:pt idx="74">
                  <c:v>0.7745086384875832</c:v>
                </c:pt>
                <c:pt idx="75">
                  <c:v>0.811319106192807</c:v>
                </c:pt>
                <c:pt idx="76">
                  <c:v>0.7700573261309925</c:v>
                </c:pt>
                <c:pt idx="77">
                  <c:v>0.7603689377194123</c:v>
                </c:pt>
                <c:pt idx="78">
                  <c:v>0.7801263897416995</c:v>
                </c:pt>
                <c:pt idx="79">
                  <c:v>0.7552090750440495</c:v>
                </c:pt>
                <c:pt idx="80">
                  <c:v>0.8245267112441962</c:v>
                </c:pt>
                <c:pt idx="81">
                  <c:v>0.859821441383931</c:v>
                </c:pt>
                <c:pt idx="82">
                  <c:v>0.8907732708933718</c:v>
                </c:pt>
                <c:pt idx="83">
                  <c:v>0.7987844277330982</c:v>
                </c:pt>
                <c:pt idx="84">
                  <c:v>0.8181597859698938</c:v>
                </c:pt>
                <c:pt idx="85">
                  <c:v>0.8152044326765578</c:v>
                </c:pt>
                <c:pt idx="86">
                  <c:v>0.7833768053773781</c:v>
                </c:pt>
                <c:pt idx="87">
                  <c:v>0.8176763374553262</c:v>
                </c:pt>
                <c:pt idx="88">
                  <c:v>0.8627378116268429</c:v>
                </c:pt>
                <c:pt idx="89">
                  <c:v>0.8467276794293022</c:v>
                </c:pt>
                <c:pt idx="90">
                  <c:v>0.8353581986011669</c:v>
                </c:pt>
                <c:pt idx="91">
                  <c:v>0.8139286838706637</c:v>
                </c:pt>
                <c:pt idx="92">
                  <c:v>0.7765445116011521</c:v>
                </c:pt>
                <c:pt idx="93">
                  <c:v>0.7647241560658385</c:v>
                </c:pt>
                <c:pt idx="94">
                  <c:v>0.7937271495813789</c:v>
                </c:pt>
                <c:pt idx="95">
                  <c:v>0.8015776578775587</c:v>
                </c:pt>
                <c:pt idx="96">
                  <c:v>0.8372093923540896</c:v>
                </c:pt>
                <c:pt idx="97">
                  <c:v>0.8495226091003301</c:v>
                </c:pt>
                <c:pt idx="98">
                  <c:v>0.899908262663965</c:v>
                </c:pt>
                <c:pt idx="99">
                  <c:v>0.9053299047917586</c:v>
                </c:pt>
                <c:pt idx="100">
                  <c:v>0.9638842186637291</c:v>
                </c:pt>
                <c:pt idx="101">
                  <c:v>0.9059889516883438</c:v>
                </c:pt>
                <c:pt idx="102">
                  <c:v>0.8331706924760873</c:v>
                </c:pt>
                <c:pt idx="103">
                  <c:v>0.821883779508571</c:v>
                </c:pt>
                <c:pt idx="104">
                  <c:v>0.8443125984594579</c:v>
                </c:pt>
              </c:numCache>
            </c:numRef>
          </c:xVal>
          <c:yVal>
            <c:numRef>
              <c:f>Sheet1!$B$2:$B$106</c:f>
              <c:numCache>
                <c:formatCode>General</c:formatCode>
                <c:ptCount val="105"/>
                <c:pt idx="0">
                  <c:v>0.25583266291230894</c:v>
                </c:pt>
                <c:pt idx="1">
                  <c:v>0.23725934314835787</c:v>
                </c:pt>
                <c:pt idx="2">
                  <c:v>0.241281542387298</c:v>
                </c:pt>
                <c:pt idx="3">
                  <c:v>0.2321867321867322</c:v>
                </c:pt>
                <c:pt idx="4">
                  <c:v>0.24113475177304963</c:v>
                </c:pt>
                <c:pt idx="5">
                  <c:v>0.2544543429844098</c:v>
                </c:pt>
                <c:pt idx="6">
                  <c:v>0.2748713550600343</c:v>
                </c:pt>
                <c:pt idx="7">
                  <c:v>0.3037593984962406</c:v>
                </c:pt>
                <c:pt idx="8">
                  <c:v>0.2794258373205742</c:v>
                </c:pt>
                <c:pt idx="9">
                  <c:v>0.26471514006924773</c:v>
                </c:pt>
                <c:pt idx="10">
                  <c:v>0.25395348837209303</c:v>
                </c:pt>
                <c:pt idx="11">
                  <c:v>0.2172678216415791</c:v>
                </c:pt>
                <c:pt idx="12">
                  <c:v>0.2039775624681285</c:v>
                </c:pt>
                <c:pt idx="13">
                  <c:v>0.17923036373220874</c:v>
                </c:pt>
                <c:pt idx="14">
                  <c:v>0.1582060128141942</c:v>
                </c:pt>
                <c:pt idx="15">
                  <c:v>0.15190241068835317</c:v>
                </c:pt>
                <c:pt idx="16">
                  <c:v>0.14465769120595817</c:v>
                </c:pt>
                <c:pt idx="17">
                  <c:v>0.15680473372781065</c:v>
                </c:pt>
                <c:pt idx="18">
                  <c:v>0.14542548941270475</c:v>
                </c:pt>
                <c:pt idx="19">
                  <c:v>0.14842300556586271</c:v>
                </c:pt>
                <c:pt idx="20">
                  <c:v>0.14019079220240563</c:v>
                </c:pt>
                <c:pt idx="21">
                  <c:v>0.16883116883116883</c:v>
                </c:pt>
                <c:pt idx="22">
                  <c:v>0.17258883248730963</c:v>
                </c:pt>
                <c:pt idx="23">
                  <c:v>0.20574162679425836</c:v>
                </c:pt>
                <c:pt idx="24">
                  <c:v>0.20646138313982837</c:v>
                </c:pt>
                <c:pt idx="25">
                  <c:v>0.20521541950113378</c:v>
                </c:pt>
                <c:pt idx="26">
                  <c:v>0.2225691347011597</c:v>
                </c:pt>
                <c:pt idx="27">
                  <c:v>0.2135561745589601</c:v>
                </c:pt>
                <c:pt idx="28">
                  <c:v>0.21428571428571427</c:v>
                </c:pt>
                <c:pt idx="29">
                  <c:v>0.19660596026490065</c:v>
                </c:pt>
                <c:pt idx="30">
                  <c:v>0.18614718614718614</c:v>
                </c:pt>
                <c:pt idx="31">
                  <c:v>0.20606644198363025</c:v>
                </c:pt>
                <c:pt idx="32">
                  <c:v>0.2282958199356913</c:v>
                </c:pt>
                <c:pt idx="33">
                  <c:v>0.20984549047790155</c:v>
                </c:pt>
                <c:pt idx="34">
                  <c:v>0.20398009950248755</c:v>
                </c:pt>
                <c:pt idx="35">
                  <c:v>0.2136532419308769</c:v>
                </c:pt>
                <c:pt idx="36">
                  <c:v>0.18743199129488575</c:v>
                </c:pt>
                <c:pt idx="37">
                  <c:v>0.18722541399121326</c:v>
                </c:pt>
                <c:pt idx="38">
                  <c:v>0.16683217477656406</c:v>
                </c:pt>
                <c:pt idx="39">
                  <c:v>0.16012084592145015</c:v>
                </c:pt>
                <c:pt idx="40">
                  <c:v>0.15794701986754967</c:v>
                </c:pt>
                <c:pt idx="41">
                  <c:v>0.17228204237582495</c:v>
                </c:pt>
                <c:pt idx="42">
                  <c:v>0.17439425665569847</c:v>
                </c:pt>
                <c:pt idx="43">
                  <c:v>0.160844629822732</c:v>
                </c:pt>
                <c:pt idx="44">
                  <c:v>0.14702581369248036</c:v>
                </c:pt>
                <c:pt idx="45">
                  <c:v>0.1652336448598131</c:v>
                </c:pt>
                <c:pt idx="46">
                  <c:v>0.16193078324225865</c:v>
                </c:pt>
                <c:pt idx="47">
                  <c:v>0.16883116883116883</c:v>
                </c:pt>
                <c:pt idx="48">
                  <c:v>0.1600371254309202</c:v>
                </c:pt>
                <c:pt idx="49">
                  <c:v>0.17445304289672303</c:v>
                </c:pt>
                <c:pt idx="50">
                  <c:v>0.16855926188786374</c:v>
                </c:pt>
                <c:pt idx="51">
                  <c:v>0.1629293893129771</c:v>
                </c:pt>
                <c:pt idx="52">
                  <c:v>0.1743077621425329</c:v>
                </c:pt>
                <c:pt idx="53">
                  <c:v>0.18415260454878943</c:v>
                </c:pt>
                <c:pt idx="54">
                  <c:v>0.18846373500856653</c:v>
                </c:pt>
                <c:pt idx="55">
                  <c:v>0.19091934574168076</c:v>
                </c:pt>
                <c:pt idx="56">
                  <c:v>0.20341124447252054</c:v>
                </c:pt>
                <c:pt idx="57">
                  <c:v>0.1955708047411104</c:v>
                </c:pt>
                <c:pt idx="58">
                  <c:v>0.19973761889143982</c:v>
                </c:pt>
                <c:pt idx="59">
                  <c:v>0.17981323266441487</c:v>
                </c:pt>
                <c:pt idx="60">
                  <c:v>0.19290413533834586</c:v>
                </c:pt>
                <c:pt idx="61">
                  <c:v>0.20887096774193548</c:v>
                </c:pt>
                <c:pt idx="62">
                  <c:v>0.19552922165364933</c:v>
                </c:pt>
                <c:pt idx="63">
                  <c:v>0.19350248992174532</c:v>
                </c:pt>
                <c:pt idx="64">
                  <c:v>0.19413527397260275</c:v>
                </c:pt>
                <c:pt idx="65">
                  <c:v>0.18636676612347947</c:v>
                </c:pt>
                <c:pt idx="66">
                  <c:v>0.18785278843982842</c:v>
                </c:pt>
                <c:pt idx="67">
                  <c:v>0.18456678700361012</c:v>
                </c:pt>
                <c:pt idx="68">
                  <c:v>0.16095189355168885</c:v>
                </c:pt>
                <c:pt idx="69">
                  <c:v>0.1543859649122807</c:v>
                </c:pt>
                <c:pt idx="70">
                  <c:v>0.1644458888527787</c:v>
                </c:pt>
                <c:pt idx="71">
                  <c:v>0.1648706896551724</c:v>
                </c:pt>
                <c:pt idx="72">
                  <c:v>0.14487516425755584</c:v>
                </c:pt>
                <c:pt idx="73">
                  <c:v>0.15384615384615385</c:v>
                </c:pt>
                <c:pt idx="74">
                  <c:v>0.14744307577454274</c:v>
                </c:pt>
                <c:pt idx="75">
                  <c:v>0.1633605600933489</c:v>
                </c:pt>
                <c:pt idx="76">
                  <c:v>0.17028443113772454</c:v>
                </c:pt>
                <c:pt idx="77">
                  <c:v>0.16624790619765495</c:v>
                </c:pt>
                <c:pt idx="78">
                  <c:v>0.16757000903342367</c:v>
                </c:pt>
                <c:pt idx="79">
                  <c:v>0.13744457879887143</c:v>
                </c:pt>
                <c:pt idx="80">
                  <c:v>0.13621665319320939</c:v>
                </c:pt>
                <c:pt idx="81">
                  <c:v>0.13763129300977905</c:v>
                </c:pt>
                <c:pt idx="82">
                  <c:v>0.13793103448275862</c:v>
                </c:pt>
                <c:pt idx="83">
                  <c:v>0.13986013986013987</c:v>
                </c:pt>
                <c:pt idx="84">
                  <c:v>0.1556276053728578</c:v>
                </c:pt>
                <c:pt idx="85">
                  <c:v>0.15106382978723404</c:v>
                </c:pt>
                <c:pt idx="86">
                  <c:v>0.15606420927467302</c:v>
                </c:pt>
                <c:pt idx="87">
                  <c:v>0.1679631230193028</c:v>
                </c:pt>
                <c:pt idx="88">
                  <c:v>0.1645073817414884</c:v>
                </c:pt>
                <c:pt idx="89">
                  <c:v>0.16048526863084922</c:v>
                </c:pt>
                <c:pt idx="90">
                  <c:v>0.15854632587859424</c:v>
                </c:pt>
                <c:pt idx="91">
                  <c:v>0.14974113898845082</c:v>
                </c:pt>
                <c:pt idx="92">
                  <c:v>0.15399361022364216</c:v>
                </c:pt>
                <c:pt idx="93">
                  <c:v>0.15171755725190839</c:v>
                </c:pt>
                <c:pt idx="94">
                  <c:v>0.16254523522316044</c:v>
                </c:pt>
                <c:pt idx="95">
                  <c:v>0.16302083333333334</c:v>
                </c:pt>
                <c:pt idx="96">
                  <c:v>0.14517331345508758</c:v>
                </c:pt>
                <c:pt idx="97">
                  <c:v>0.1343833780160858</c:v>
                </c:pt>
                <c:pt idx="98">
                  <c:v>0.13880461165048544</c:v>
                </c:pt>
                <c:pt idx="99">
                  <c:v>0.14437604924454392</c:v>
                </c:pt>
                <c:pt idx="100">
                  <c:v>0.14857323365273245</c:v>
                </c:pt>
                <c:pt idx="101">
                  <c:v>0.16945646041000564</c:v>
                </c:pt>
                <c:pt idx="102">
                  <c:v>0.17221584385763491</c:v>
                </c:pt>
                <c:pt idx="103">
                  <c:v>0.16006927263730827</c:v>
                </c:pt>
                <c:pt idx="104">
                  <c:v>0.160437032777458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688028119947048</c:v>
                </c:pt>
                <c:pt idx="1">
                  <c:v>0.889820843984338</c:v>
                </c:pt>
                <c:pt idx="2">
                  <c:v>0.9534222460737517</c:v>
                </c:pt>
                <c:pt idx="3">
                  <c:v>0.8652428967500227</c:v>
                </c:pt>
                <c:pt idx="4">
                  <c:v>0.9698952089995165</c:v>
                </c:pt>
                <c:pt idx="5">
                  <c:v>0.9089527856018816</c:v>
                </c:pt>
                <c:pt idx="6">
                  <c:v>0.9363834322785557</c:v>
                </c:pt>
                <c:pt idx="7">
                  <c:v>0.9168732748471685</c:v>
                </c:pt>
                <c:pt idx="8">
                  <c:v>0.9427058228300106</c:v>
                </c:pt>
                <c:pt idx="9">
                  <c:v>0.9700202115809042</c:v>
                </c:pt>
                <c:pt idx="10">
                  <c:v>1.0958803244010922</c:v>
                </c:pt>
                <c:pt idx="11">
                  <c:v>0.9888502036846483</c:v>
                </c:pt>
                <c:pt idx="12">
                  <c:v>1.018919226930156</c:v>
                </c:pt>
                <c:pt idx="13">
                  <c:v>1.0456708223251145</c:v>
                </c:pt>
                <c:pt idx="14">
                  <c:v>1.0065499169071832</c:v>
                </c:pt>
                <c:pt idx="15">
                  <c:v>1.3750199148888174</c:v>
                </c:pt>
                <c:pt idx="16">
                  <c:v>1.006242130618962</c:v>
                </c:pt>
                <c:pt idx="17">
                  <c:v>0.9262285840170689</c:v>
                </c:pt>
                <c:pt idx="18">
                  <c:v>1.193169403004259</c:v>
                </c:pt>
                <c:pt idx="19">
                  <c:v>1.5073341753890064</c:v>
                </c:pt>
                <c:pt idx="20">
                  <c:v>1.536601670236345</c:v>
                </c:pt>
                <c:pt idx="21">
                  <c:v>1.5958980339538937</c:v>
                </c:pt>
                <c:pt idx="22">
                  <c:v>1.3878725331114532</c:v>
                </c:pt>
                <c:pt idx="23">
                  <c:v>1.4876395692576272</c:v>
                </c:pt>
                <c:pt idx="24">
                  <c:v>1.3764748372161593</c:v>
                </c:pt>
                <c:pt idx="25">
                  <c:v>1.2912828940886214</c:v>
                </c:pt>
                <c:pt idx="26">
                  <c:v>1.4693130952945221</c:v>
                </c:pt>
                <c:pt idx="27">
                  <c:v>1.2246082089419525</c:v>
                </c:pt>
                <c:pt idx="28">
                  <c:v>1.1220891956372123</c:v>
                </c:pt>
                <c:pt idx="29">
                  <c:v>1.2856795150761577</c:v>
                </c:pt>
                <c:pt idx="30">
                  <c:v>1.0530216441093347</c:v>
                </c:pt>
                <c:pt idx="31">
                  <c:v>1.2929554379062425</c:v>
                </c:pt>
                <c:pt idx="32">
                  <c:v>1.2184267284499781</c:v>
                </c:pt>
                <c:pt idx="33">
                  <c:v>1.2549533483997575</c:v>
                </c:pt>
                <c:pt idx="34">
                  <c:v>1.4031472267082936</c:v>
                </c:pt>
                <c:pt idx="35">
                  <c:v>1.23216080083368</c:v>
                </c:pt>
                <c:pt idx="36">
                  <c:v>1.3250852368672468</c:v>
                </c:pt>
                <c:pt idx="37">
                  <c:v>1.075336974787952</c:v>
                </c:pt>
                <c:pt idx="38">
                  <c:v>1.2777011053069414</c:v>
                </c:pt>
                <c:pt idx="39">
                  <c:v>1.1513911740416871</c:v>
                </c:pt>
                <c:pt idx="40">
                  <c:v>1.116387273847197</c:v>
                </c:pt>
                <c:pt idx="41">
                  <c:v>1.2249641066527883</c:v>
                </c:pt>
                <c:pt idx="42">
                  <c:v>1.0794415077712574</c:v>
                </c:pt>
                <c:pt idx="43">
                  <c:v>1.059832280654647</c:v>
                </c:pt>
                <c:pt idx="44">
                  <c:v>1.1604941921351954</c:v>
                </c:pt>
                <c:pt idx="45">
                  <c:v>1.1708896302121161</c:v>
                </c:pt>
                <c:pt idx="46">
                  <c:v>0.9569444246832116</c:v>
                </c:pt>
                <c:pt idx="47">
                  <c:v>0.8877788635603295</c:v>
                </c:pt>
                <c:pt idx="48">
                  <c:v>0.8925559144521316</c:v>
                </c:pt>
                <c:pt idx="49">
                  <c:v>0.7953682117761451</c:v>
                </c:pt>
                <c:pt idx="50">
                  <c:v>0.8002686431697925</c:v>
                </c:pt>
                <c:pt idx="51">
                  <c:v>0.7965972919535673</c:v>
                </c:pt>
              </c:numCache>
            </c:numRef>
          </c:xVal>
          <c:yVal>
            <c:numRef>
              <c:f>Sheet1!$B$109:$B$160</c:f>
              <c:numCache>
                <c:formatCode>General</c:formatCode>
                <c:ptCount val="52"/>
                <c:pt idx="0">
                  <c:v>0.1620523241046482</c:v>
                </c:pt>
                <c:pt idx="1">
                  <c:v>0.16671162665227948</c:v>
                </c:pt>
                <c:pt idx="2">
                  <c:v>0.18767295597484276</c:v>
                </c:pt>
                <c:pt idx="3">
                  <c:v>0.21428571428571427</c:v>
                </c:pt>
                <c:pt idx="4">
                  <c:v>0.19088077032002265</c:v>
                </c:pt>
                <c:pt idx="5">
                  <c:v>0.2014388489208633</c:v>
                </c:pt>
                <c:pt idx="6">
                  <c:v>0.20618955512572534</c:v>
                </c:pt>
                <c:pt idx="7">
                  <c:v>0.18569636135508155</c:v>
                </c:pt>
                <c:pt idx="8">
                  <c:v>0.1898557468590042</c:v>
                </c:pt>
                <c:pt idx="9">
                  <c:v>0.1891891891891892</c:v>
                </c:pt>
                <c:pt idx="10">
                  <c:v>0.19624765478424014</c:v>
                </c:pt>
                <c:pt idx="11">
                  <c:v>0.18653795982259327</c:v>
                </c:pt>
                <c:pt idx="12">
                  <c:v>0.1922071129707113</c:v>
                </c:pt>
                <c:pt idx="13">
                  <c:v>0.1972502805836139</c:v>
                </c:pt>
                <c:pt idx="14">
                  <c:v>0.2083203002815139</c:v>
                </c:pt>
                <c:pt idx="15">
                  <c:v>0.1948204826368452</c:v>
                </c:pt>
                <c:pt idx="16">
                  <c:v>0.18878299120234604</c:v>
                </c:pt>
                <c:pt idx="17">
                  <c:v>0.2117822520507084</c:v>
                </c:pt>
                <c:pt idx="18">
                  <c:v>0.19592198581560283</c:v>
                </c:pt>
                <c:pt idx="19">
                  <c:v>0.17553398058252428</c:v>
                </c:pt>
                <c:pt idx="20">
                  <c:v>0.17681551646368968</c:v>
                </c:pt>
                <c:pt idx="21">
                  <c:v>0.18742368742368742</c:v>
                </c:pt>
                <c:pt idx="22">
                  <c:v>0.19700910273081926</c:v>
                </c:pt>
                <c:pt idx="23">
                  <c:v>0.1991404011461318</c:v>
                </c:pt>
                <c:pt idx="24">
                  <c:v>0.19772403982930298</c:v>
                </c:pt>
                <c:pt idx="25">
                  <c:v>0.22125181950509462</c:v>
                </c:pt>
                <c:pt idx="26">
                  <c:v>0.1941860465116279</c:v>
                </c:pt>
                <c:pt idx="27">
                  <c:v>0.19556451612903225</c:v>
                </c:pt>
                <c:pt idx="28">
                  <c:v>0.193</c:v>
                </c:pt>
                <c:pt idx="29">
                  <c:v>0.20571748878923768</c:v>
                </c:pt>
                <c:pt idx="30">
                  <c:v>0.2086864406779661</c:v>
                </c:pt>
                <c:pt idx="31">
                  <c:v>0.1977401129943503</c:v>
                </c:pt>
                <c:pt idx="32">
                  <c:v>0.20208676551345414</c:v>
                </c:pt>
                <c:pt idx="33">
                  <c:v>0.20988158432013065</c:v>
                </c:pt>
                <c:pt idx="34">
                  <c:v>0.22552329507089805</c:v>
                </c:pt>
                <c:pt idx="35">
                  <c:v>0.22998986828774062</c:v>
                </c:pt>
                <c:pt idx="36">
                  <c:v>0.21752738654147105</c:v>
                </c:pt>
                <c:pt idx="37">
                  <c:v>0.2252983293556086</c:v>
                </c:pt>
                <c:pt idx="38">
                  <c:v>0.20056497175141244</c:v>
                </c:pt>
                <c:pt idx="39">
                  <c:v>0.2059079061685491</c:v>
                </c:pt>
                <c:pt idx="40">
                  <c:v>0.19437652811735942</c:v>
                </c:pt>
                <c:pt idx="41">
                  <c:v>0.1937740468695348</c:v>
                </c:pt>
                <c:pt idx="42">
                  <c:v>0.1906196213425129</c:v>
                </c:pt>
                <c:pt idx="43">
                  <c:v>0.18585005279831046</c:v>
                </c:pt>
                <c:pt idx="44">
                  <c:v>0.17871259175607002</c:v>
                </c:pt>
                <c:pt idx="45">
                  <c:v>0.19654054054054054</c:v>
                </c:pt>
                <c:pt idx="46">
                  <c:v>0.2141574762759682</c:v>
                </c:pt>
                <c:pt idx="47">
                  <c:v>0.2080872330758746</c:v>
                </c:pt>
                <c:pt idx="48">
                  <c:v>0.19827269386255053</c:v>
                </c:pt>
                <c:pt idx="49">
                  <c:v>0.22129783693843594</c:v>
                </c:pt>
                <c:pt idx="50">
                  <c:v>0.2084006462035541</c:v>
                </c:pt>
                <c:pt idx="51">
                  <c:v>0.20660419455600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3.463407052359255</c:v>
                </c:pt>
              </c:numCache>
            </c:numRef>
          </c:xVal>
          <c:yVal>
            <c:numRef>
              <c:f>Sheet1!$B$163:$B$164</c:f>
              <c:numCache>
                <c:formatCode>General</c:formatCode>
                <c:ptCount val="2"/>
                <c:pt idx="0">
                  <c:v>0.25780066291877834</c:v>
                </c:pt>
                <c:pt idx="1">
                  <c:v>0.257800662918778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3.463407052359255</c:v>
                </c:pt>
                <c:pt idx="1">
                  <c:v>-23.463407052359255</c:v>
                </c:pt>
              </c:numCache>
            </c:numRef>
          </c:xVal>
          <c:yVal>
            <c:numRef>
              <c:f>Sheet1!$B$167:$B$168</c:f>
              <c:numCache>
                <c:formatCode>General</c:formatCode>
                <c:ptCount val="2"/>
                <c:pt idx="0">
                  <c:v>0.257800662918778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0357006553622714</c:v>
                </c:pt>
              </c:numCache>
            </c:numRef>
          </c:xVal>
          <c:yVal>
            <c:numRef>
              <c:f>Sheet1!$B$171:$B$172</c:f>
              <c:numCache>
                <c:formatCode>General</c:formatCode>
                <c:ptCount val="2"/>
                <c:pt idx="0">
                  <c:v>0.2086438428901356</c:v>
                </c:pt>
                <c:pt idx="1">
                  <c:v>0.208643842890135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0357006553622714</c:v>
                </c:pt>
                <c:pt idx="1">
                  <c:v>-3.0357006553622714</c:v>
                </c:pt>
              </c:numCache>
            </c:numRef>
          </c:xVal>
          <c:yVal>
            <c:numRef>
              <c:f>Sheet1!$B$175:$B$176</c:f>
              <c:numCache>
                <c:formatCode>General</c:formatCode>
                <c:ptCount val="2"/>
                <c:pt idx="0">
                  <c:v>0.208643842890135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731958294865956</c:v>
                </c:pt>
              </c:numCache>
            </c:numRef>
          </c:xVal>
          <c:yVal>
            <c:numRef>
              <c:f>Sheet1!$B$179:$B$180</c:f>
              <c:numCache>
                <c:formatCode>General</c:formatCode>
                <c:ptCount val="2"/>
                <c:pt idx="0">
                  <c:v>0.20020010526963555</c:v>
                </c:pt>
                <c:pt idx="1">
                  <c:v>0.200200105269635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731958294865956</c:v>
                </c:pt>
                <c:pt idx="1">
                  <c:v>0.4731958294865956</c:v>
                </c:pt>
              </c:numCache>
            </c:numRef>
          </c:xVal>
          <c:yVal>
            <c:numRef>
              <c:f>Sheet1!$B$183:$B$184</c:f>
              <c:numCache>
                <c:formatCode>General</c:formatCode>
                <c:ptCount val="2"/>
                <c:pt idx="0">
                  <c:v>0.200200105269635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688028119947048</c:v>
                </c:pt>
                <c:pt idx="1">
                  <c:v>0.889820843984338</c:v>
                </c:pt>
                <c:pt idx="2">
                  <c:v>0.9534222460737517</c:v>
                </c:pt>
                <c:pt idx="3">
                  <c:v>0.8652428967500227</c:v>
                </c:pt>
                <c:pt idx="4">
                  <c:v>0.9698952089995165</c:v>
                </c:pt>
                <c:pt idx="5">
                  <c:v>0.9089527856018816</c:v>
                </c:pt>
                <c:pt idx="6">
                  <c:v>0.9363834322785557</c:v>
                </c:pt>
                <c:pt idx="7">
                  <c:v>0.9168732748471685</c:v>
                </c:pt>
                <c:pt idx="8">
                  <c:v>0.9427058228300106</c:v>
                </c:pt>
                <c:pt idx="9">
                  <c:v>0.9700202115809042</c:v>
                </c:pt>
                <c:pt idx="10">
                  <c:v>1.0958803244010922</c:v>
                </c:pt>
                <c:pt idx="11">
                  <c:v>0.9888502036846483</c:v>
                </c:pt>
                <c:pt idx="12">
                  <c:v>1.018919226930156</c:v>
                </c:pt>
                <c:pt idx="13">
                  <c:v>1.0456708223251145</c:v>
                </c:pt>
                <c:pt idx="14">
                  <c:v>1.0065499169071832</c:v>
                </c:pt>
                <c:pt idx="15">
                  <c:v>1.3750199148888174</c:v>
                </c:pt>
                <c:pt idx="16">
                  <c:v>1.006242130618962</c:v>
                </c:pt>
                <c:pt idx="17">
                  <c:v>0.9262285840170689</c:v>
                </c:pt>
                <c:pt idx="18">
                  <c:v>1.193169403004259</c:v>
                </c:pt>
                <c:pt idx="19">
                  <c:v>1.5073341753890064</c:v>
                </c:pt>
                <c:pt idx="20">
                  <c:v>1.536601670236345</c:v>
                </c:pt>
                <c:pt idx="21">
                  <c:v>1.5958980339538937</c:v>
                </c:pt>
                <c:pt idx="22">
                  <c:v>1.3878725331114532</c:v>
                </c:pt>
                <c:pt idx="23">
                  <c:v>1.4876395692576272</c:v>
                </c:pt>
                <c:pt idx="24">
                  <c:v>1.3764748372161593</c:v>
                </c:pt>
                <c:pt idx="25">
                  <c:v>1.2912828940886214</c:v>
                </c:pt>
                <c:pt idx="26">
                  <c:v>1.4693130952945221</c:v>
                </c:pt>
                <c:pt idx="27">
                  <c:v>1.2246082089419525</c:v>
                </c:pt>
                <c:pt idx="28">
                  <c:v>1.1220891956372123</c:v>
                </c:pt>
                <c:pt idx="29">
                  <c:v>1.2856795150761577</c:v>
                </c:pt>
                <c:pt idx="30">
                  <c:v>1.0530216441093347</c:v>
                </c:pt>
                <c:pt idx="31">
                  <c:v>1.2929554379062425</c:v>
                </c:pt>
                <c:pt idx="32">
                  <c:v>1.2184267284499781</c:v>
                </c:pt>
                <c:pt idx="33">
                  <c:v>1.2549533483997575</c:v>
                </c:pt>
                <c:pt idx="34">
                  <c:v>1.4031472267082936</c:v>
                </c:pt>
                <c:pt idx="35">
                  <c:v>1.23216080083368</c:v>
                </c:pt>
                <c:pt idx="36">
                  <c:v>1.3250852368672468</c:v>
                </c:pt>
                <c:pt idx="37">
                  <c:v>1.075336974787952</c:v>
                </c:pt>
                <c:pt idx="38">
                  <c:v>1.2777011053069414</c:v>
                </c:pt>
                <c:pt idx="39">
                  <c:v>1.1513911740416871</c:v>
                </c:pt>
                <c:pt idx="40">
                  <c:v>1.116387273847197</c:v>
                </c:pt>
                <c:pt idx="41">
                  <c:v>1.2249641066527883</c:v>
                </c:pt>
                <c:pt idx="42">
                  <c:v>1.0794415077712574</c:v>
                </c:pt>
                <c:pt idx="43">
                  <c:v>1.059832280654647</c:v>
                </c:pt>
                <c:pt idx="44">
                  <c:v>1.1604941921351954</c:v>
                </c:pt>
                <c:pt idx="45">
                  <c:v>1.1708896302121161</c:v>
                </c:pt>
                <c:pt idx="46">
                  <c:v>0.9569444246832116</c:v>
                </c:pt>
                <c:pt idx="47">
                  <c:v>0.8877788635603295</c:v>
                </c:pt>
                <c:pt idx="48">
                  <c:v>0.8925559144521316</c:v>
                </c:pt>
                <c:pt idx="49">
                  <c:v>0.7953682117761451</c:v>
                </c:pt>
                <c:pt idx="50">
                  <c:v>0.8002686431697925</c:v>
                </c:pt>
                <c:pt idx="51">
                  <c:v>0.7965972919535673</c:v>
                </c:pt>
                <c:pt idx="52">
                  <c:v>-3.0357006553622714</c:v>
                </c:pt>
                <c:pt idx="53">
                  <c:v>-23.463407052359255</c:v>
                </c:pt>
                <c:pt idx="54">
                  <c:v>0.4731958294865956</c:v>
                </c:pt>
              </c:numCache>
            </c:numRef>
          </c:xVal>
          <c:yVal>
            <c:numRef>
              <c:f>Sheet1!$B$187:$B$241</c:f>
              <c:numCache>
                <c:formatCode>General</c:formatCode>
                <c:ptCount val="55"/>
                <c:pt idx="0">
                  <c:v>0.19924812461829408</c:v>
                </c:pt>
                <c:pt idx="1">
                  <c:v>0.19919754725068406</c:v>
                </c:pt>
                <c:pt idx="2">
                  <c:v>0.1990444981214613</c:v>
                </c:pt>
                <c:pt idx="3">
                  <c:v>0.19925669112642766</c:v>
                </c:pt>
                <c:pt idx="4">
                  <c:v>0.19900485791623496</c:v>
                </c:pt>
                <c:pt idx="5">
                  <c:v>0.19915150853284588</c:v>
                </c:pt>
                <c:pt idx="6">
                  <c:v>0.1990854999787895</c:v>
                </c:pt>
                <c:pt idx="7">
                  <c:v>0.199132448827522</c:v>
                </c:pt>
                <c:pt idx="8">
                  <c:v>0.19907028590588044</c:v>
                </c:pt>
                <c:pt idx="9">
                  <c:v>0.1990045571125482</c:v>
                </c:pt>
                <c:pt idx="10">
                  <c:v>0.19870168987946538</c:v>
                </c:pt>
                <c:pt idx="11">
                  <c:v>0.19895924499992057</c:v>
                </c:pt>
                <c:pt idx="12">
                  <c:v>0.19888688750978484</c:v>
                </c:pt>
                <c:pt idx="13">
                  <c:v>0.19882251301101572</c:v>
                </c:pt>
                <c:pt idx="14">
                  <c:v>0.19891665276756076</c:v>
                </c:pt>
                <c:pt idx="15">
                  <c:v>0.19802997400760952</c:v>
                </c:pt>
                <c:pt idx="16">
                  <c:v>0.1989173934182674</c:v>
                </c:pt>
                <c:pt idx="17">
                  <c:v>0.1991099364005153</c:v>
                </c:pt>
                <c:pt idx="18">
                  <c:v>0.19846757540597992</c:v>
                </c:pt>
                <c:pt idx="19">
                  <c:v>0.19771157564392505</c:v>
                </c:pt>
                <c:pt idx="20">
                  <c:v>0.19764114693553558</c:v>
                </c:pt>
                <c:pt idx="21">
                  <c:v>0.19749845736368796</c:v>
                </c:pt>
                <c:pt idx="22">
                  <c:v>0.19799904572674487</c:v>
                </c:pt>
                <c:pt idx="23">
                  <c:v>0.19775896834628331</c:v>
                </c:pt>
                <c:pt idx="24">
                  <c:v>0.19802647291191083</c:v>
                </c:pt>
                <c:pt idx="25">
                  <c:v>0.19823147708295308</c:v>
                </c:pt>
                <c:pt idx="26">
                  <c:v>0.1978030688030285</c:v>
                </c:pt>
                <c:pt idx="27">
                  <c:v>0.19839192169844366</c:v>
                </c:pt>
                <c:pt idx="28">
                  <c:v>0.19863862138114893</c:v>
                </c:pt>
                <c:pt idx="29">
                  <c:v>0.19824496094101893</c:v>
                </c:pt>
                <c:pt idx="30">
                  <c:v>0.19880482414196274</c:v>
                </c:pt>
                <c:pt idx="31">
                  <c:v>0.19822745230729616</c:v>
                </c:pt>
                <c:pt idx="32">
                  <c:v>0.19840679668823202</c:v>
                </c:pt>
                <c:pt idx="33">
                  <c:v>0.1983188997678323</c:v>
                </c:pt>
                <c:pt idx="34">
                  <c:v>0.1979622890126263</c:v>
                </c:pt>
                <c:pt idx="35">
                  <c:v>0.19837374729387977</c:v>
                </c:pt>
                <c:pt idx="36">
                  <c:v>0.19815013580810686</c:v>
                </c:pt>
                <c:pt idx="37">
                  <c:v>0.19875112498099332</c:v>
                </c:pt>
                <c:pt idx="38">
                  <c:v>0.19826416002512157</c:v>
                </c:pt>
                <c:pt idx="39">
                  <c:v>0.19856810969222413</c:v>
                </c:pt>
                <c:pt idx="40">
                  <c:v>0.1986523423705641</c:v>
                </c:pt>
                <c:pt idx="41">
                  <c:v>0.19839106527338154</c:v>
                </c:pt>
                <c:pt idx="42">
                  <c:v>0.19874124791573494</c:v>
                </c:pt>
                <c:pt idx="43">
                  <c:v>0.19878843516375677</c:v>
                </c:pt>
                <c:pt idx="44">
                  <c:v>0.19854620437336729</c:v>
                </c:pt>
                <c:pt idx="45">
                  <c:v>0.1985211890011696</c:v>
                </c:pt>
                <c:pt idx="46">
                  <c:v>0.19903602242200444</c:v>
                </c:pt>
                <c:pt idx="47">
                  <c:v>0.19920246103112785</c:v>
                </c:pt>
                <c:pt idx="48">
                  <c:v>0.1991909656323595</c:v>
                </c:pt>
                <c:pt idx="49">
                  <c:v>0.1994248361568616</c:v>
                </c:pt>
                <c:pt idx="50">
                  <c:v>0.19941304385774594</c:v>
                </c:pt>
                <c:pt idx="51">
                  <c:v>0.1994218785231504</c:v>
                </c:pt>
                <c:pt idx="52">
                  <c:v>0.2086438428901356</c:v>
                </c:pt>
                <c:pt idx="53">
                  <c:v>0.25780066291877834</c:v>
                </c:pt>
                <c:pt idx="54">
                  <c:v>0.200200105269635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451127819548873"/>
          <c:min val="0.107506702412868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3.021</c:v>
                </c:pt>
                <c:pt idx="1">
                  <c:v>881.9761</c:v>
                </c:pt>
                <c:pt idx="2">
                  <c:v>887.074</c:v>
                </c:pt>
                <c:pt idx="3">
                  <c:v>890.3069</c:v>
                </c:pt>
                <c:pt idx="4">
                  <c:v>884.9673</c:v>
                </c:pt>
                <c:pt idx="5">
                  <c:v>885.1882</c:v>
                </c:pt>
                <c:pt idx="6">
                  <c:v>884.4711</c:v>
                </c:pt>
                <c:pt idx="7">
                  <c:v>889.5528</c:v>
                </c:pt>
                <c:pt idx="8">
                  <c:v>888.3356</c:v>
                </c:pt>
                <c:pt idx="9">
                  <c:v>887.8312</c:v>
                </c:pt>
                <c:pt idx="10">
                  <c:v>882.6129</c:v>
                </c:pt>
                <c:pt idx="11">
                  <c:v>924.3712</c:v>
                </c:pt>
                <c:pt idx="12">
                  <c:v>942.8563</c:v>
                </c:pt>
                <c:pt idx="13">
                  <c:v>948.0338</c:v>
                </c:pt>
                <c:pt idx="14">
                  <c:v>963.9159</c:v>
                </c:pt>
                <c:pt idx="15">
                  <c:v>976.3843</c:v>
                </c:pt>
                <c:pt idx="16">
                  <c:v>985.2891</c:v>
                </c:pt>
                <c:pt idx="17">
                  <c:v>1021.566</c:v>
                </c:pt>
                <c:pt idx="18">
                  <c:v>1064.0742</c:v>
                </c:pt>
                <c:pt idx="19">
                  <c:v>1061.2469</c:v>
                </c:pt>
                <c:pt idx="20">
                  <c:v>1096.426</c:v>
                </c:pt>
                <c:pt idx="21">
                  <c:v>1092.3489</c:v>
                </c:pt>
                <c:pt idx="22">
                  <c:v>1063.8503</c:v>
                </c:pt>
                <c:pt idx="23">
                  <c:v>1046.1116</c:v>
                </c:pt>
                <c:pt idx="24">
                  <c:v>1045.3643</c:v>
                </c:pt>
                <c:pt idx="25">
                  <c:v>1057.826</c:v>
                </c:pt>
                <c:pt idx="26">
                  <c:v>1038.1824</c:v>
                </c:pt>
                <c:pt idx="27">
                  <c:v>1049.8522</c:v>
                </c:pt>
                <c:pt idx="28">
                  <c:v>1058.188</c:v>
                </c:pt>
                <c:pt idx="29">
                  <c:v>1031.3768</c:v>
                </c:pt>
                <c:pt idx="30">
                  <c:v>1062.1473</c:v>
                </c:pt>
                <c:pt idx="31">
                  <c:v>1003.7126</c:v>
                </c:pt>
                <c:pt idx="32">
                  <c:v>993.6579</c:v>
                </c:pt>
                <c:pt idx="33">
                  <c:v>977.6764</c:v>
                </c:pt>
                <c:pt idx="34">
                  <c:v>973.6</c:v>
                </c:pt>
                <c:pt idx="35">
                  <c:v>1003.3329</c:v>
                </c:pt>
                <c:pt idx="36">
                  <c:v>1058.6604</c:v>
                </c:pt>
                <c:pt idx="37">
                  <c:v>1063.657</c:v>
                </c:pt>
                <c:pt idx="38">
                  <c:v>1110.9246</c:v>
                </c:pt>
                <c:pt idx="39">
                  <c:v>1138.6934</c:v>
                </c:pt>
                <c:pt idx="40">
                  <c:v>1131.0294</c:v>
                </c:pt>
                <c:pt idx="41">
                  <c:v>1195.8226</c:v>
                </c:pt>
                <c:pt idx="42">
                  <c:v>1189.036</c:v>
                </c:pt>
                <c:pt idx="43">
                  <c:v>1212.2156</c:v>
                </c:pt>
                <c:pt idx="44">
                  <c:v>1161.3473</c:v>
                </c:pt>
                <c:pt idx="45">
                  <c:v>1138.2115</c:v>
                </c:pt>
                <c:pt idx="46">
                  <c:v>1126.4961</c:v>
                </c:pt>
                <c:pt idx="47">
                  <c:v>1104.9692</c:v>
                </c:pt>
                <c:pt idx="48">
                  <c:v>1124.1483</c:v>
                </c:pt>
                <c:pt idx="49">
                  <c:v>1100.4096</c:v>
                </c:pt>
                <c:pt idx="50">
                  <c:v>1083.7263</c:v>
                </c:pt>
                <c:pt idx="51">
                  <c:v>1110.5549</c:v>
                </c:pt>
                <c:pt idx="52">
                  <c:v>1084.9518</c:v>
                </c:pt>
                <c:pt idx="53">
                  <c:v>1114.0518</c:v>
                </c:pt>
                <c:pt idx="54">
                  <c:v>1121.9182</c:v>
                </c:pt>
                <c:pt idx="55">
                  <c:v>1135.4874</c:v>
                </c:pt>
                <c:pt idx="56">
                  <c:v>1146.868</c:v>
                </c:pt>
                <c:pt idx="57">
                  <c:v>1127.8756</c:v>
                </c:pt>
                <c:pt idx="58">
                  <c:v>1143.1888</c:v>
                </c:pt>
                <c:pt idx="59">
                  <c:v>1100.189</c:v>
                </c:pt>
                <c:pt idx="60">
                  <c:v>1083.7247</c:v>
                </c:pt>
                <c:pt idx="61">
                  <c:v>1091.3861</c:v>
                </c:pt>
                <c:pt idx="62">
                  <c:v>1086.1543</c:v>
                </c:pt>
                <c:pt idx="63">
                  <c:v>1091.5613</c:v>
                </c:pt>
                <c:pt idx="64">
                  <c:v>1075.8247</c:v>
                </c:pt>
                <c:pt idx="65">
                  <c:v>1088.4889</c:v>
                </c:pt>
                <c:pt idx="66">
                  <c:v>1113.0084</c:v>
                </c:pt>
                <c:pt idx="67">
                  <c:v>1106.4523</c:v>
                </c:pt>
                <c:pt idx="68">
                  <c:v>1144.62</c:v>
                </c:pt>
                <c:pt idx="69">
                  <c:v>1141.6159</c:v>
                </c:pt>
                <c:pt idx="70">
                  <c:v>1080.3221</c:v>
                </c:pt>
                <c:pt idx="71">
                  <c:v>1142.488</c:v>
                </c:pt>
                <c:pt idx="72">
                  <c:v>1310.4354</c:v>
                </c:pt>
                <c:pt idx="73">
                  <c:v>1232.2019</c:v>
                </c:pt>
                <c:pt idx="74">
                  <c:v>1198.1747</c:v>
                </c:pt>
                <c:pt idx="75">
                  <c:v>1191.3714</c:v>
                </c:pt>
                <c:pt idx="76">
                  <c:v>1140.4549</c:v>
                </c:pt>
                <c:pt idx="77">
                  <c:v>1169.5995</c:v>
                </c:pt>
                <c:pt idx="78">
                  <c:v>1174.2102</c:v>
                </c:pt>
                <c:pt idx="79">
                  <c:v>1131.1554</c:v>
                </c:pt>
                <c:pt idx="80">
                  <c:v>1193.3056</c:v>
                </c:pt>
                <c:pt idx="81">
                  <c:v>1234.3079</c:v>
                </c:pt>
                <c:pt idx="82">
                  <c:v>1236.3933</c:v>
                </c:pt>
                <c:pt idx="83">
                  <c:v>1182.0781</c:v>
                </c:pt>
                <c:pt idx="84">
                  <c:v>1199.7887</c:v>
                </c:pt>
                <c:pt idx="85">
                  <c:v>1207.7014</c:v>
                </c:pt>
                <c:pt idx="86">
                  <c:v>1212.7924</c:v>
                </c:pt>
                <c:pt idx="87">
                  <c:v>1233.2744</c:v>
                </c:pt>
                <c:pt idx="88">
                  <c:v>1291.0641</c:v>
                </c:pt>
                <c:pt idx="89">
                  <c:v>1252.2657</c:v>
                </c:pt>
                <c:pt idx="90">
                  <c:v>1290.869</c:v>
                </c:pt>
                <c:pt idx="91">
                  <c:v>1254.0957</c:v>
                </c:pt>
                <c:pt idx="92">
                  <c:v>1156.7925</c:v>
                </c:pt>
                <c:pt idx="93">
                  <c:v>1216.0629</c:v>
                </c:pt>
                <c:pt idx="94">
                  <c:v>1225.9777</c:v>
                </c:pt>
                <c:pt idx="95">
                  <c:v>1185.1086</c:v>
                </c:pt>
                <c:pt idx="96">
                  <c:v>1189.4557</c:v>
                </c:pt>
                <c:pt idx="97">
                  <c:v>1183.2506</c:v>
                </c:pt>
                <c:pt idx="98">
                  <c:v>1187.7486</c:v>
                </c:pt>
                <c:pt idx="99">
                  <c:v>1147.1686</c:v>
                </c:pt>
                <c:pt idx="100">
                  <c:v>1162.3154</c:v>
                </c:pt>
                <c:pt idx="101">
                  <c:v>1154.1521</c:v>
                </c:pt>
                <c:pt idx="102">
                  <c:v>1154.0733</c:v>
                </c:pt>
                <c:pt idx="103">
                  <c:v>1127.4328</c:v>
                </c:pt>
                <c:pt idx="104">
                  <c:v>1172.0197</c:v>
                </c:pt>
              </c:numCache>
            </c:numRef>
          </c:xVal>
          <c:yVal>
            <c:numRef>
              <c:f>Sheet1!$B$2:$B$106</c:f>
              <c:numCache>
                <c:formatCode>General</c:formatCode>
                <c:ptCount val="105"/>
                <c:pt idx="0">
                  <c:v>0.25583266291230894</c:v>
                </c:pt>
                <c:pt idx="1">
                  <c:v>0.23725934314835787</c:v>
                </c:pt>
                <c:pt idx="2">
                  <c:v>0.241281542387298</c:v>
                </c:pt>
                <c:pt idx="3">
                  <c:v>0.2321867321867322</c:v>
                </c:pt>
                <c:pt idx="4">
                  <c:v>0.24113475177304963</c:v>
                </c:pt>
                <c:pt idx="5">
                  <c:v>0.2544543429844098</c:v>
                </c:pt>
                <c:pt idx="6">
                  <c:v>0.2748713550600343</c:v>
                </c:pt>
                <c:pt idx="7">
                  <c:v>0.3037593984962406</c:v>
                </c:pt>
                <c:pt idx="8">
                  <c:v>0.2794258373205742</c:v>
                </c:pt>
                <c:pt idx="9">
                  <c:v>0.26471514006924773</c:v>
                </c:pt>
                <c:pt idx="10">
                  <c:v>0.25395348837209303</c:v>
                </c:pt>
                <c:pt idx="11">
                  <c:v>0.2172678216415791</c:v>
                </c:pt>
                <c:pt idx="12">
                  <c:v>0.2039775624681285</c:v>
                </c:pt>
                <c:pt idx="13">
                  <c:v>0.17923036373220874</c:v>
                </c:pt>
                <c:pt idx="14">
                  <c:v>0.1582060128141942</c:v>
                </c:pt>
                <c:pt idx="15">
                  <c:v>0.15190241068835317</c:v>
                </c:pt>
                <c:pt idx="16">
                  <c:v>0.14465769120595817</c:v>
                </c:pt>
                <c:pt idx="17">
                  <c:v>0.15680473372781065</c:v>
                </c:pt>
                <c:pt idx="18">
                  <c:v>0.14542548941270475</c:v>
                </c:pt>
                <c:pt idx="19">
                  <c:v>0.14842300556586271</c:v>
                </c:pt>
                <c:pt idx="20">
                  <c:v>0.14019079220240563</c:v>
                </c:pt>
                <c:pt idx="21">
                  <c:v>0.16883116883116883</c:v>
                </c:pt>
                <c:pt idx="22">
                  <c:v>0.17258883248730963</c:v>
                </c:pt>
                <c:pt idx="23">
                  <c:v>0.20574162679425836</c:v>
                </c:pt>
                <c:pt idx="24">
                  <c:v>0.20646138313982837</c:v>
                </c:pt>
                <c:pt idx="25">
                  <c:v>0.20521541950113378</c:v>
                </c:pt>
                <c:pt idx="26">
                  <c:v>0.2225691347011597</c:v>
                </c:pt>
                <c:pt idx="27">
                  <c:v>0.2135561745589601</c:v>
                </c:pt>
                <c:pt idx="28">
                  <c:v>0.21428571428571427</c:v>
                </c:pt>
                <c:pt idx="29">
                  <c:v>0.19660596026490065</c:v>
                </c:pt>
                <c:pt idx="30">
                  <c:v>0.18614718614718614</c:v>
                </c:pt>
                <c:pt idx="31">
                  <c:v>0.20606644198363025</c:v>
                </c:pt>
                <c:pt idx="32">
                  <c:v>0.2282958199356913</c:v>
                </c:pt>
                <c:pt idx="33">
                  <c:v>0.20984549047790155</c:v>
                </c:pt>
                <c:pt idx="34">
                  <c:v>0.20398009950248755</c:v>
                </c:pt>
                <c:pt idx="35">
                  <c:v>0.2136532419308769</c:v>
                </c:pt>
                <c:pt idx="36">
                  <c:v>0.18743199129488575</c:v>
                </c:pt>
                <c:pt idx="37">
                  <c:v>0.18722541399121326</c:v>
                </c:pt>
                <c:pt idx="38">
                  <c:v>0.16683217477656406</c:v>
                </c:pt>
                <c:pt idx="39">
                  <c:v>0.16012084592145015</c:v>
                </c:pt>
                <c:pt idx="40">
                  <c:v>0.15794701986754967</c:v>
                </c:pt>
                <c:pt idx="41">
                  <c:v>0.17228204237582495</c:v>
                </c:pt>
                <c:pt idx="42">
                  <c:v>0.17439425665569847</c:v>
                </c:pt>
                <c:pt idx="43">
                  <c:v>0.160844629822732</c:v>
                </c:pt>
                <c:pt idx="44">
                  <c:v>0.14702581369248036</c:v>
                </c:pt>
                <c:pt idx="45">
                  <c:v>0.1652336448598131</c:v>
                </c:pt>
                <c:pt idx="46">
                  <c:v>0.16193078324225865</c:v>
                </c:pt>
                <c:pt idx="47">
                  <c:v>0.16883116883116883</c:v>
                </c:pt>
                <c:pt idx="48">
                  <c:v>0.1600371254309202</c:v>
                </c:pt>
                <c:pt idx="49">
                  <c:v>0.17445304289672303</c:v>
                </c:pt>
                <c:pt idx="50">
                  <c:v>0.16855926188786374</c:v>
                </c:pt>
                <c:pt idx="51">
                  <c:v>0.1629293893129771</c:v>
                </c:pt>
                <c:pt idx="52">
                  <c:v>0.1743077621425329</c:v>
                </c:pt>
                <c:pt idx="53">
                  <c:v>0.18415260454878943</c:v>
                </c:pt>
                <c:pt idx="54">
                  <c:v>0.18846373500856653</c:v>
                </c:pt>
                <c:pt idx="55">
                  <c:v>0.19091934574168076</c:v>
                </c:pt>
                <c:pt idx="56">
                  <c:v>0.20341124447252054</c:v>
                </c:pt>
                <c:pt idx="57">
                  <c:v>0.1955708047411104</c:v>
                </c:pt>
                <c:pt idx="58">
                  <c:v>0.19973761889143982</c:v>
                </c:pt>
                <c:pt idx="59">
                  <c:v>0.17981323266441487</c:v>
                </c:pt>
                <c:pt idx="60">
                  <c:v>0.19290413533834586</c:v>
                </c:pt>
                <c:pt idx="61">
                  <c:v>0.20887096774193548</c:v>
                </c:pt>
                <c:pt idx="62">
                  <c:v>0.19552922165364933</c:v>
                </c:pt>
                <c:pt idx="63">
                  <c:v>0.19350248992174532</c:v>
                </c:pt>
                <c:pt idx="64">
                  <c:v>0.19413527397260275</c:v>
                </c:pt>
                <c:pt idx="65">
                  <c:v>0.18636676612347947</c:v>
                </c:pt>
                <c:pt idx="66">
                  <c:v>0.18785278843982842</c:v>
                </c:pt>
                <c:pt idx="67">
                  <c:v>0.18456678700361012</c:v>
                </c:pt>
                <c:pt idx="68">
                  <c:v>0.16095189355168885</c:v>
                </c:pt>
                <c:pt idx="69">
                  <c:v>0.1543859649122807</c:v>
                </c:pt>
                <c:pt idx="70">
                  <c:v>0.1644458888527787</c:v>
                </c:pt>
                <c:pt idx="71">
                  <c:v>0.1648706896551724</c:v>
                </c:pt>
                <c:pt idx="72">
                  <c:v>0.14487516425755584</c:v>
                </c:pt>
                <c:pt idx="73">
                  <c:v>0.15384615384615385</c:v>
                </c:pt>
                <c:pt idx="74">
                  <c:v>0.14744307577454274</c:v>
                </c:pt>
                <c:pt idx="75">
                  <c:v>0.1633605600933489</c:v>
                </c:pt>
                <c:pt idx="76">
                  <c:v>0.17028443113772454</c:v>
                </c:pt>
                <c:pt idx="77">
                  <c:v>0.16624790619765495</c:v>
                </c:pt>
                <c:pt idx="78">
                  <c:v>0.16757000903342367</c:v>
                </c:pt>
                <c:pt idx="79">
                  <c:v>0.13744457879887143</c:v>
                </c:pt>
                <c:pt idx="80">
                  <c:v>0.13621665319320939</c:v>
                </c:pt>
                <c:pt idx="81">
                  <c:v>0.13763129300977905</c:v>
                </c:pt>
                <c:pt idx="82">
                  <c:v>0.13793103448275862</c:v>
                </c:pt>
                <c:pt idx="83">
                  <c:v>0.13986013986013987</c:v>
                </c:pt>
                <c:pt idx="84">
                  <c:v>0.1556276053728578</c:v>
                </c:pt>
                <c:pt idx="85">
                  <c:v>0.15106382978723404</c:v>
                </c:pt>
                <c:pt idx="86">
                  <c:v>0.15606420927467302</c:v>
                </c:pt>
                <c:pt idx="87">
                  <c:v>0.1679631230193028</c:v>
                </c:pt>
                <c:pt idx="88">
                  <c:v>0.1645073817414884</c:v>
                </c:pt>
                <c:pt idx="89">
                  <c:v>0.16048526863084922</c:v>
                </c:pt>
                <c:pt idx="90">
                  <c:v>0.15854632587859424</c:v>
                </c:pt>
                <c:pt idx="91">
                  <c:v>0.14974113898845082</c:v>
                </c:pt>
                <c:pt idx="92">
                  <c:v>0.15399361022364216</c:v>
                </c:pt>
                <c:pt idx="93">
                  <c:v>0.15171755725190839</c:v>
                </c:pt>
                <c:pt idx="94">
                  <c:v>0.16254523522316044</c:v>
                </c:pt>
                <c:pt idx="95">
                  <c:v>0.16302083333333334</c:v>
                </c:pt>
                <c:pt idx="96">
                  <c:v>0.14517331345508758</c:v>
                </c:pt>
                <c:pt idx="97">
                  <c:v>0.1343833780160858</c:v>
                </c:pt>
                <c:pt idx="98">
                  <c:v>0.13880461165048544</c:v>
                </c:pt>
                <c:pt idx="99">
                  <c:v>0.14437604924454392</c:v>
                </c:pt>
                <c:pt idx="100">
                  <c:v>0.14857323365273245</c:v>
                </c:pt>
                <c:pt idx="101">
                  <c:v>0.16945646041000564</c:v>
                </c:pt>
                <c:pt idx="102">
                  <c:v>0.17221584385763491</c:v>
                </c:pt>
                <c:pt idx="103">
                  <c:v>0.16006927263730827</c:v>
                </c:pt>
                <c:pt idx="104">
                  <c:v>0.160437032777458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1536</c:v>
                </c:pt>
                <c:pt idx="1">
                  <c:v>1185.6893</c:v>
                </c:pt>
                <c:pt idx="2">
                  <c:v>1175.3901</c:v>
                </c:pt>
                <c:pt idx="3">
                  <c:v>1152.7619</c:v>
                </c:pt>
                <c:pt idx="4">
                  <c:v>1191.3798</c:v>
                </c:pt>
                <c:pt idx="5">
                  <c:v>1181.8385</c:v>
                </c:pt>
                <c:pt idx="6">
                  <c:v>1131.6323</c:v>
                </c:pt>
                <c:pt idx="7">
                  <c:v>1199.6689</c:v>
                </c:pt>
                <c:pt idx="8">
                  <c:v>1229.1912</c:v>
                </c:pt>
                <c:pt idx="9">
                  <c:v>1184.7143</c:v>
                </c:pt>
                <c:pt idx="10">
                  <c:v>1229.0574</c:v>
                </c:pt>
                <c:pt idx="11">
                  <c:v>1115.4168</c:v>
                </c:pt>
                <c:pt idx="12">
                  <c:v>1125.634</c:v>
                </c:pt>
                <c:pt idx="13">
                  <c:v>1168.8521</c:v>
                </c:pt>
                <c:pt idx="14">
                  <c:v>1146.8514</c:v>
                </c:pt>
                <c:pt idx="15">
                  <c:v>1170.3097</c:v>
                </c:pt>
                <c:pt idx="16">
                  <c:v>1214.1068</c:v>
                </c:pt>
                <c:pt idx="17">
                  <c:v>1050.6849</c:v>
                </c:pt>
                <c:pt idx="18">
                  <c:v>1113.9525</c:v>
                </c:pt>
                <c:pt idx="19">
                  <c:v>1334.4336</c:v>
                </c:pt>
                <c:pt idx="20">
                  <c:v>1276.6709</c:v>
                </c:pt>
                <c:pt idx="21">
                  <c:v>1192.7394</c:v>
                </c:pt>
                <c:pt idx="22">
                  <c:v>1245.0066</c:v>
                </c:pt>
                <c:pt idx="23">
                  <c:v>1262.8669</c:v>
                </c:pt>
                <c:pt idx="24">
                  <c:v>1255.7986</c:v>
                </c:pt>
                <c:pt idx="25">
                  <c:v>1245.0263</c:v>
                </c:pt>
                <c:pt idx="26">
                  <c:v>1208.9611</c:v>
                </c:pt>
                <c:pt idx="27">
                  <c:v>1205.0773</c:v>
                </c:pt>
                <c:pt idx="28">
                  <c:v>1231.5959</c:v>
                </c:pt>
                <c:pt idx="29">
                  <c:v>1240.8093</c:v>
                </c:pt>
                <c:pt idx="30">
                  <c:v>1235.1827</c:v>
                </c:pt>
                <c:pt idx="31">
                  <c:v>1186.08</c:v>
                </c:pt>
                <c:pt idx="32">
                  <c:v>1205.7663</c:v>
                </c:pt>
                <c:pt idx="33">
                  <c:v>1239.9805</c:v>
                </c:pt>
                <c:pt idx="34">
                  <c:v>1227.0479</c:v>
                </c:pt>
                <c:pt idx="35">
                  <c:v>1243.63</c:v>
                </c:pt>
                <c:pt idx="36">
                  <c:v>1283.7818</c:v>
                </c:pt>
                <c:pt idx="37">
                  <c:v>1288.2352</c:v>
                </c:pt>
                <c:pt idx="38">
                  <c:v>1336.8556</c:v>
                </c:pt>
                <c:pt idx="39">
                  <c:v>1270.7004</c:v>
                </c:pt>
                <c:pt idx="40">
                  <c:v>1304.0503</c:v>
                </c:pt>
                <c:pt idx="41">
                  <c:v>1295.4946</c:v>
                </c:pt>
                <c:pt idx="42">
                  <c:v>1242.5598</c:v>
                </c:pt>
                <c:pt idx="43">
                  <c:v>1312.0057</c:v>
                </c:pt>
                <c:pt idx="44">
                  <c:v>1248.3096</c:v>
                </c:pt>
                <c:pt idx="45">
                  <c:v>1216.8152</c:v>
                </c:pt>
                <c:pt idx="46">
                  <c:v>1177.0048</c:v>
                </c:pt>
                <c:pt idx="47">
                  <c:v>1141.3341</c:v>
                </c:pt>
                <c:pt idx="48">
                  <c:v>1111.0287</c:v>
                </c:pt>
                <c:pt idx="49">
                  <c:v>1134.5677</c:v>
                </c:pt>
                <c:pt idx="50">
                  <c:v>1137.593</c:v>
                </c:pt>
                <c:pt idx="51">
                  <c:v>1091.7667</c:v>
                </c:pt>
              </c:numCache>
            </c:numRef>
          </c:xVal>
          <c:yVal>
            <c:numRef>
              <c:f>Sheet1!$B$109:$B$160</c:f>
              <c:numCache>
                <c:formatCode>General</c:formatCode>
                <c:ptCount val="52"/>
                <c:pt idx="0">
                  <c:v>0.1620523241046482</c:v>
                </c:pt>
                <c:pt idx="1">
                  <c:v>0.16671162665227948</c:v>
                </c:pt>
                <c:pt idx="2">
                  <c:v>0.18767295597484276</c:v>
                </c:pt>
                <c:pt idx="3">
                  <c:v>0.21428571428571427</c:v>
                </c:pt>
                <c:pt idx="4">
                  <c:v>0.19088077032002265</c:v>
                </c:pt>
                <c:pt idx="5">
                  <c:v>0.2014388489208633</c:v>
                </c:pt>
                <c:pt idx="6">
                  <c:v>0.20618955512572534</c:v>
                </c:pt>
                <c:pt idx="7">
                  <c:v>0.18569636135508155</c:v>
                </c:pt>
                <c:pt idx="8">
                  <c:v>0.1898557468590042</c:v>
                </c:pt>
                <c:pt idx="9">
                  <c:v>0.1891891891891892</c:v>
                </c:pt>
                <c:pt idx="10">
                  <c:v>0.19624765478424014</c:v>
                </c:pt>
                <c:pt idx="11">
                  <c:v>0.18653795982259327</c:v>
                </c:pt>
                <c:pt idx="12">
                  <c:v>0.1922071129707113</c:v>
                </c:pt>
                <c:pt idx="13">
                  <c:v>0.1972502805836139</c:v>
                </c:pt>
                <c:pt idx="14">
                  <c:v>0.2083203002815139</c:v>
                </c:pt>
                <c:pt idx="15">
                  <c:v>0.1948204826368452</c:v>
                </c:pt>
                <c:pt idx="16">
                  <c:v>0.18878299120234604</c:v>
                </c:pt>
                <c:pt idx="17">
                  <c:v>0.2117822520507084</c:v>
                </c:pt>
                <c:pt idx="18">
                  <c:v>0.19592198581560283</c:v>
                </c:pt>
                <c:pt idx="19">
                  <c:v>0.17553398058252428</c:v>
                </c:pt>
                <c:pt idx="20">
                  <c:v>0.17681551646368968</c:v>
                </c:pt>
                <c:pt idx="21">
                  <c:v>0.18742368742368742</c:v>
                </c:pt>
                <c:pt idx="22">
                  <c:v>0.19700910273081926</c:v>
                </c:pt>
                <c:pt idx="23">
                  <c:v>0.1991404011461318</c:v>
                </c:pt>
                <c:pt idx="24">
                  <c:v>0.19772403982930298</c:v>
                </c:pt>
                <c:pt idx="25">
                  <c:v>0.22125181950509462</c:v>
                </c:pt>
                <c:pt idx="26">
                  <c:v>0.1941860465116279</c:v>
                </c:pt>
                <c:pt idx="27">
                  <c:v>0.19556451612903225</c:v>
                </c:pt>
                <c:pt idx="28">
                  <c:v>0.193</c:v>
                </c:pt>
                <c:pt idx="29">
                  <c:v>0.20571748878923768</c:v>
                </c:pt>
                <c:pt idx="30">
                  <c:v>0.2086864406779661</c:v>
                </c:pt>
                <c:pt idx="31">
                  <c:v>0.1977401129943503</c:v>
                </c:pt>
                <c:pt idx="32">
                  <c:v>0.20208676551345414</c:v>
                </c:pt>
                <c:pt idx="33">
                  <c:v>0.20988158432013065</c:v>
                </c:pt>
                <c:pt idx="34">
                  <c:v>0.22552329507089805</c:v>
                </c:pt>
                <c:pt idx="35">
                  <c:v>0.22998986828774062</c:v>
                </c:pt>
                <c:pt idx="36">
                  <c:v>0.21752738654147105</c:v>
                </c:pt>
                <c:pt idx="37">
                  <c:v>0.2252983293556086</c:v>
                </c:pt>
                <c:pt idx="38">
                  <c:v>0.20056497175141244</c:v>
                </c:pt>
                <c:pt idx="39">
                  <c:v>0.2059079061685491</c:v>
                </c:pt>
                <c:pt idx="40">
                  <c:v>0.19437652811735942</c:v>
                </c:pt>
                <c:pt idx="41">
                  <c:v>0.1937740468695348</c:v>
                </c:pt>
                <c:pt idx="42">
                  <c:v>0.1906196213425129</c:v>
                </c:pt>
                <c:pt idx="43">
                  <c:v>0.18585005279831046</c:v>
                </c:pt>
                <c:pt idx="44">
                  <c:v>0.17871259175607002</c:v>
                </c:pt>
                <c:pt idx="45">
                  <c:v>0.19654054054054054</c:v>
                </c:pt>
                <c:pt idx="46">
                  <c:v>0.2141574762759682</c:v>
                </c:pt>
                <c:pt idx="47">
                  <c:v>0.2080872330758746</c:v>
                </c:pt>
                <c:pt idx="48">
                  <c:v>0.19827269386255053</c:v>
                </c:pt>
                <c:pt idx="49">
                  <c:v>0.22129783693843594</c:v>
                </c:pt>
                <c:pt idx="50">
                  <c:v>0.2084006462035541</c:v>
                </c:pt>
                <c:pt idx="51">
                  <c:v>0.20660419455600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371.4090957519475</c:v>
                </c:pt>
              </c:numCache>
            </c:numRef>
          </c:xVal>
          <c:yVal>
            <c:numRef>
              <c:f>Sheet1!$B$163:$B$164</c:f>
              <c:numCache>
                <c:formatCode>General</c:formatCode>
                <c:ptCount val="2"/>
                <c:pt idx="0">
                  <c:v>0.25780066291877834</c:v>
                </c:pt>
                <c:pt idx="1">
                  <c:v>0.257800662918778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371.4090957519475</c:v>
                </c:pt>
                <c:pt idx="1">
                  <c:v>-2371.4090957519475</c:v>
                </c:pt>
              </c:numCache>
            </c:numRef>
          </c:xVal>
          <c:yVal>
            <c:numRef>
              <c:f>Sheet1!$B$167:$B$168</c:f>
              <c:numCache>
                <c:formatCode>General</c:formatCode>
                <c:ptCount val="2"/>
                <c:pt idx="0">
                  <c:v>0.257800662918778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01.5663863195969</c:v>
                </c:pt>
              </c:numCache>
            </c:numRef>
          </c:xVal>
          <c:yVal>
            <c:numRef>
              <c:f>Sheet1!$B$171:$B$172</c:f>
              <c:numCache>
                <c:formatCode>General</c:formatCode>
                <c:ptCount val="2"/>
                <c:pt idx="0">
                  <c:v>0.2086438428901356</c:v>
                </c:pt>
                <c:pt idx="1">
                  <c:v>0.208643842890135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01.5663863195969</c:v>
                </c:pt>
                <c:pt idx="1">
                  <c:v>601.5663863195969</c:v>
                </c:pt>
              </c:numCache>
            </c:numRef>
          </c:xVal>
          <c:yVal>
            <c:numRef>
              <c:f>Sheet1!$B$175:$B$176</c:f>
              <c:numCache>
                <c:formatCode>General</c:formatCode>
                <c:ptCount val="2"/>
                <c:pt idx="0">
                  <c:v>0.208643842890135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2.2386573933707</c:v>
                </c:pt>
              </c:numCache>
            </c:numRef>
          </c:xVal>
          <c:yVal>
            <c:numRef>
              <c:f>Sheet1!$B$179:$B$180</c:f>
              <c:numCache>
                <c:formatCode>General</c:formatCode>
                <c:ptCount val="2"/>
                <c:pt idx="0">
                  <c:v>0.20020010526963555</c:v>
                </c:pt>
                <c:pt idx="1">
                  <c:v>0.200200105269635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2.2386573933707</c:v>
                </c:pt>
                <c:pt idx="1">
                  <c:v>1112.2386573933707</c:v>
                </c:pt>
              </c:numCache>
            </c:numRef>
          </c:xVal>
          <c:yVal>
            <c:numRef>
              <c:f>Sheet1!$B$183:$B$184</c:f>
              <c:numCache>
                <c:formatCode>General</c:formatCode>
                <c:ptCount val="2"/>
                <c:pt idx="0">
                  <c:v>0.200200105269635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1536</c:v>
                </c:pt>
                <c:pt idx="1">
                  <c:v>1185.6893</c:v>
                </c:pt>
                <c:pt idx="2">
                  <c:v>1175.3901</c:v>
                </c:pt>
                <c:pt idx="3">
                  <c:v>1152.7619</c:v>
                </c:pt>
                <c:pt idx="4">
                  <c:v>1191.3798</c:v>
                </c:pt>
                <c:pt idx="5">
                  <c:v>1181.8385</c:v>
                </c:pt>
                <c:pt idx="6">
                  <c:v>1131.6323</c:v>
                </c:pt>
                <c:pt idx="7">
                  <c:v>1199.6689</c:v>
                </c:pt>
                <c:pt idx="8">
                  <c:v>1229.1912</c:v>
                </c:pt>
                <c:pt idx="9">
                  <c:v>1184.7143</c:v>
                </c:pt>
                <c:pt idx="10">
                  <c:v>1229.0574</c:v>
                </c:pt>
                <c:pt idx="11">
                  <c:v>1115.4168</c:v>
                </c:pt>
                <c:pt idx="12">
                  <c:v>1125.634</c:v>
                </c:pt>
                <c:pt idx="13">
                  <c:v>1168.8521</c:v>
                </c:pt>
                <c:pt idx="14">
                  <c:v>1146.8514</c:v>
                </c:pt>
                <c:pt idx="15">
                  <c:v>1170.3097</c:v>
                </c:pt>
                <c:pt idx="16">
                  <c:v>1214.1068</c:v>
                </c:pt>
                <c:pt idx="17">
                  <c:v>1050.6849</c:v>
                </c:pt>
                <c:pt idx="18">
                  <c:v>1113.9525</c:v>
                </c:pt>
                <c:pt idx="19">
                  <c:v>1334.4336</c:v>
                </c:pt>
                <c:pt idx="20">
                  <c:v>1276.6709</c:v>
                </c:pt>
                <c:pt idx="21">
                  <c:v>1192.7394</c:v>
                </c:pt>
                <c:pt idx="22">
                  <c:v>1245.0066</c:v>
                </c:pt>
                <c:pt idx="23">
                  <c:v>1262.8669</c:v>
                </c:pt>
                <c:pt idx="24">
                  <c:v>1255.7986</c:v>
                </c:pt>
                <c:pt idx="25">
                  <c:v>1245.0263</c:v>
                </c:pt>
                <c:pt idx="26">
                  <c:v>1208.9611</c:v>
                </c:pt>
                <c:pt idx="27">
                  <c:v>1205.0773</c:v>
                </c:pt>
                <c:pt idx="28">
                  <c:v>1231.5959</c:v>
                </c:pt>
                <c:pt idx="29">
                  <c:v>1240.8093</c:v>
                </c:pt>
                <c:pt idx="30">
                  <c:v>1235.1827</c:v>
                </c:pt>
                <c:pt idx="31">
                  <c:v>1186.08</c:v>
                </c:pt>
                <c:pt idx="32">
                  <c:v>1205.7663</c:v>
                </c:pt>
                <c:pt idx="33">
                  <c:v>1239.9805</c:v>
                </c:pt>
                <c:pt idx="34">
                  <c:v>1227.0479</c:v>
                </c:pt>
                <c:pt idx="35">
                  <c:v>1243.63</c:v>
                </c:pt>
                <c:pt idx="36">
                  <c:v>1283.7818</c:v>
                </c:pt>
                <c:pt idx="37">
                  <c:v>1288.2352</c:v>
                </c:pt>
                <c:pt idx="38">
                  <c:v>1336.8556</c:v>
                </c:pt>
                <c:pt idx="39">
                  <c:v>1270.7004</c:v>
                </c:pt>
                <c:pt idx="40">
                  <c:v>1304.0503</c:v>
                </c:pt>
                <c:pt idx="41">
                  <c:v>1295.4946</c:v>
                </c:pt>
                <c:pt idx="42">
                  <c:v>1242.5598</c:v>
                </c:pt>
                <c:pt idx="43">
                  <c:v>1312.0057</c:v>
                </c:pt>
                <c:pt idx="44">
                  <c:v>1248.3096</c:v>
                </c:pt>
                <c:pt idx="45">
                  <c:v>1216.8152</c:v>
                </c:pt>
                <c:pt idx="46">
                  <c:v>1177.0048</c:v>
                </c:pt>
                <c:pt idx="47">
                  <c:v>1141.3341</c:v>
                </c:pt>
                <c:pt idx="48">
                  <c:v>1111.0287</c:v>
                </c:pt>
                <c:pt idx="49">
                  <c:v>1134.5677</c:v>
                </c:pt>
                <c:pt idx="50">
                  <c:v>1137.593</c:v>
                </c:pt>
                <c:pt idx="51">
                  <c:v>1091.7667</c:v>
                </c:pt>
                <c:pt idx="52">
                  <c:v>601.5663863195969</c:v>
                </c:pt>
                <c:pt idx="53">
                  <c:v>-2371.4090957519475</c:v>
                </c:pt>
                <c:pt idx="54">
                  <c:v>1112.2386573933707</c:v>
                </c:pt>
              </c:numCache>
            </c:numRef>
          </c:xVal>
          <c:yVal>
            <c:numRef>
              <c:f>Sheet1!$B$187:$B$241</c:f>
              <c:numCache>
                <c:formatCode>General</c:formatCode>
                <c:ptCount val="55"/>
                <c:pt idx="0">
                  <c:v>0.1994574567803946</c:v>
                </c:pt>
                <c:pt idx="1">
                  <c:v>0.19898563174256617</c:v>
                </c:pt>
                <c:pt idx="2">
                  <c:v>0.1991559244085811</c:v>
                </c:pt>
                <c:pt idx="3">
                  <c:v>0.19953007157584837</c:v>
                </c:pt>
                <c:pt idx="4">
                  <c:v>0.19889154186995878</c:v>
                </c:pt>
                <c:pt idx="5">
                  <c:v>0.19904930299842005</c:v>
                </c:pt>
                <c:pt idx="6">
                  <c:v>0.19987944006231617</c:v>
                </c:pt>
                <c:pt idx="7">
                  <c:v>0.19875448530849144</c:v>
                </c:pt>
                <c:pt idx="8">
                  <c:v>0.19826634728088807</c:v>
                </c:pt>
                <c:pt idx="9">
                  <c:v>0.19900175293152886</c:v>
                </c:pt>
                <c:pt idx="10">
                  <c:v>0.19826855960405035</c:v>
                </c:pt>
                <c:pt idx="11">
                  <c:v>0.20014755610295673</c:v>
                </c:pt>
                <c:pt idx="12">
                  <c:v>0.19997861927026994</c:v>
                </c:pt>
                <c:pt idx="13">
                  <c:v>0.19926402731467144</c:v>
                </c:pt>
                <c:pt idx="14">
                  <c:v>0.19962779905006786</c:v>
                </c:pt>
                <c:pt idx="15">
                  <c:v>0.19923992655053605</c:v>
                </c:pt>
                <c:pt idx="16">
                  <c:v>0.1985157610888766</c:v>
                </c:pt>
                <c:pt idx="17">
                  <c:v>0.20121786912020195</c:v>
                </c:pt>
                <c:pt idx="18">
                  <c:v>0.2001717676485958</c:v>
                </c:pt>
                <c:pt idx="19">
                  <c:v>0.19652621126315756</c:v>
                </c:pt>
                <c:pt idx="20">
                  <c:v>0.19748129167515274</c:v>
                </c:pt>
                <c:pt idx="21">
                  <c:v>0.19886906149199604</c:v>
                </c:pt>
                <c:pt idx="22">
                  <c:v>0.1980048467148157</c:v>
                </c:pt>
                <c:pt idx="23">
                  <c:v>0.1977095346417589</c:v>
                </c:pt>
                <c:pt idx="24">
                  <c:v>0.19782640582118965</c:v>
                </c:pt>
                <c:pt idx="25">
                  <c:v>0.19800452098412588</c:v>
                </c:pt>
                <c:pt idx="26">
                  <c:v>0.19860084293712824</c:v>
                </c:pt>
                <c:pt idx="27">
                  <c:v>0.19866505983322394</c:v>
                </c:pt>
                <c:pt idx="28">
                  <c:v>0.19822658664181259</c:v>
                </c:pt>
                <c:pt idx="29">
                  <c:v>0.19807424719320862</c:v>
                </c:pt>
                <c:pt idx="30">
                  <c:v>0.19816728050789323</c:v>
                </c:pt>
                <c:pt idx="31">
                  <c:v>0.19897917169279414</c:v>
                </c:pt>
                <c:pt idx="32">
                  <c:v>0.19865366752635696</c:v>
                </c:pt>
                <c:pt idx="33">
                  <c:v>0.19808795103055454</c:v>
                </c:pt>
                <c:pt idx="34">
                  <c:v>0.19830178578786625</c:v>
                </c:pt>
                <c:pt idx="35">
                  <c:v>0.19802760818017573</c:v>
                </c:pt>
                <c:pt idx="36">
                  <c:v>0.19736371612377346</c:v>
                </c:pt>
                <c:pt idx="37">
                  <c:v>0.197290081146413</c:v>
                </c:pt>
                <c:pt idx="38">
                  <c:v>0.19648616457631896</c:v>
                </c:pt>
                <c:pt idx="39">
                  <c:v>0.19758001122253915</c:v>
                </c:pt>
                <c:pt idx="40">
                  <c:v>0.19702858554070646</c:v>
                </c:pt>
                <c:pt idx="41">
                  <c:v>0.19717005021394554</c:v>
                </c:pt>
                <c:pt idx="42">
                  <c:v>0.1980453034585633</c:v>
                </c:pt>
                <c:pt idx="43">
                  <c:v>0.19689704655950255</c:v>
                </c:pt>
                <c:pt idx="44">
                  <c:v>0.19795023308697593</c:v>
                </c:pt>
                <c:pt idx="45">
                  <c:v>0.19847097890612117</c:v>
                </c:pt>
                <c:pt idx="46">
                  <c:v>0.19912922606620362</c:v>
                </c:pt>
                <c:pt idx="47">
                  <c:v>0.19971902513813336</c:v>
                </c:pt>
                <c:pt idx="48">
                  <c:v>0.20022011137402052</c:v>
                </c:pt>
                <c:pt idx="49">
                  <c:v>0.19983090453607916</c:v>
                </c:pt>
                <c:pt idx="50">
                  <c:v>0.19978088255354703</c:v>
                </c:pt>
                <c:pt idx="51">
                  <c:v>0.20053859992971218</c:v>
                </c:pt>
                <c:pt idx="52">
                  <c:v>0.2086438428901356</c:v>
                </c:pt>
                <c:pt idx="53">
                  <c:v>0.25780066291877834</c:v>
                </c:pt>
                <c:pt idx="54">
                  <c:v>0.200200105269635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451127819548873"/>
          <c:min val="0.107506702412868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99867293002476</c:v>
                </c:pt>
                <c:pt idx="1">
                  <c:v>0.8317490512424001</c:v>
                </c:pt>
                <c:pt idx="2">
                  <c:v>0.8066721351093615</c:v>
                </c:pt>
                <c:pt idx="3">
                  <c:v>0.7956357125306383</c:v>
                </c:pt>
                <c:pt idx="4">
                  <c:v>0.7577348933315398</c:v>
                </c:pt>
                <c:pt idx="5">
                  <c:v>0.7296049840355826</c:v>
                </c:pt>
                <c:pt idx="6">
                  <c:v>0.7312635710424503</c:v>
                </c:pt>
                <c:pt idx="7">
                  <c:v>0.748696841778928</c:v>
                </c:pt>
                <c:pt idx="8">
                  <c:v>0.8056369472410116</c:v>
                </c:pt>
                <c:pt idx="9">
                  <c:v>0.8178743661313186</c:v>
                </c:pt>
                <c:pt idx="10">
                  <c:v>0.7910694812803327</c:v>
                </c:pt>
                <c:pt idx="11">
                  <c:v>0.7937955962346358</c:v>
                </c:pt>
                <c:pt idx="12">
                  <c:v>0.7949306187380935</c:v>
                </c:pt>
                <c:pt idx="13">
                  <c:v>0.8019636012629721</c:v>
                </c:pt>
                <c:pt idx="14">
                  <c:v>0.8080776218846009</c:v>
                </c:pt>
                <c:pt idx="15">
                  <c:v>0.7412387873067915</c:v>
                </c:pt>
                <c:pt idx="16">
                  <c:v>0.7396057921660681</c:v>
                </c:pt>
                <c:pt idx="17">
                  <c:v>0.7809360246855634</c:v>
                </c:pt>
                <c:pt idx="18">
                  <c:v>0.8304083785064048</c:v>
                </c:pt>
                <c:pt idx="19">
                  <c:v>0.938492385397259</c:v>
                </c:pt>
                <c:pt idx="20">
                  <c:v>0.8890634117507817</c:v>
                </c:pt>
                <c:pt idx="21">
                  <c:v>0.9505439236210962</c:v>
                </c:pt>
                <c:pt idx="22">
                  <c:v>0.9947307661244091</c:v>
                </c:pt>
                <c:pt idx="23">
                  <c:v>0.8813884397391534</c:v>
                </c:pt>
                <c:pt idx="24">
                  <c:v>0.7573494399585098</c:v>
                </c:pt>
                <c:pt idx="25">
                  <c:v>0.7783654909369243</c:v>
                </c:pt>
                <c:pt idx="26">
                  <c:v>0.8343442070470449</c:v>
                </c:pt>
                <c:pt idx="27">
                  <c:v>0.8056674548948336</c:v>
                </c:pt>
                <c:pt idx="28">
                  <c:v>0.8265170295890781</c:v>
                </c:pt>
                <c:pt idx="29">
                  <c:v>0.7375494265667978</c:v>
                </c:pt>
                <c:pt idx="30">
                  <c:v>0.7775572045543777</c:v>
                </c:pt>
                <c:pt idx="31">
                  <c:v>0.752643373051544</c:v>
                </c:pt>
                <c:pt idx="32">
                  <c:v>0.7173063140129009</c:v>
                </c:pt>
                <c:pt idx="33">
                  <c:v>0.7364605261998226</c:v>
                </c:pt>
                <c:pt idx="34">
                  <c:v>0.7934993318623331</c:v>
                </c:pt>
                <c:pt idx="35">
                  <c:v>0.853866278821989</c:v>
                </c:pt>
                <c:pt idx="36">
                  <c:v>0.8808645441162299</c:v>
                </c:pt>
                <c:pt idx="37">
                  <c:v>0.8848106294954917</c:v>
                </c:pt>
                <c:pt idx="38">
                  <c:v>0.89010775460592</c:v>
                </c:pt>
                <c:pt idx="39">
                  <c:v>0.9441925999769852</c:v>
                </c:pt>
                <c:pt idx="40">
                  <c:v>0.9335124593384332</c:v>
                </c:pt>
                <c:pt idx="41">
                  <c:v>0.9218616463143431</c:v>
                </c:pt>
                <c:pt idx="42">
                  <c:v>0.9474127837355468</c:v>
                </c:pt>
                <c:pt idx="43">
                  <c:v>0.9752234532654187</c:v>
                </c:pt>
                <c:pt idx="44">
                  <c:v>0.8904255059761729</c:v>
                </c:pt>
                <c:pt idx="45">
                  <c:v>0.8363494332423945</c:v>
                </c:pt>
                <c:pt idx="46">
                  <c:v>0.8359465777206678</c:v>
                </c:pt>
                <c:pt idx="47">
                  <c:v>0.8294599918978837</c:v>
                </c:pt>
                <c:pt idx="48">
                  <c:v>0.8366529408864583</c:v>
                </c:pt>
                <c:pt idx="49">
                  <c:v>0.8851176164454853</c:v>
                </c:pt>
                <c:pt idx="50">
                  <c:v>0.8443028371379407</c:v>
                </c:pt>
                <c:pt idx="51">
                  <c:v>0.8424362606796812</c:v>
                </c:pt>
                <c:pt idx="52">
                  <c:v>0.8517487083995693</c:v>
                </c:pt>
                <c:pt idx="53">
                  <c:v>0.7610890869139364</c:v>
                </c:pt>
                <c:pt idx="54">
                  <c:v>0.8091900664312464</c:v>
                </c:pt>
                <c:pt idx="55">
                  <c:v>0.7854243336007942</c:v>
                </c:pt>
                <c:pt idx="56">
                  <c:v>0.838768263431803</c:v>
                </c:pt>
                <c:pt idx="57">
                  <c:v>0.8128846430509533</c:v>
                </c:pt>
                <c:pt idx="58">
                  <c:v>0.7829391873935285</c:v>
                </c:pt>
                <c:pt idx="59">
                  <c:v>0.8110043576056649</c:v>
                </c:pt>
                <c:pt idx="60">
                  <c:v>0.8489824002097985</c:v>
                </c:pt>
                <c:pt idx="61">
                  <c:v>0.7932403617098681</c:v>
                </c:pt>
                <c:pt idx="62">
                  <c:v>0.7990691983371171</c:v>
                </c:pt>
                <c:pt idx="63">
                  <c:v>0.8507526014505011</c:v>
                </c:pt>
                <c:pt idx="64">
                  <c:v>0.7600998629925092</c:v>
                </c:pt>
                <c:pt idx="65">
                  <c:v>0.7113094522967907</c:v>
                </c:pt>
                <c:pt idx="66">
                  <c:v>0.6534969773525949</c:v>
                </c:pt>
                <c:pt idx="67">
                  <c:v>0.6383613224569679</c:v>
                </c:pt>
                <c:pt idx="68">
                  <c:v>0.677204256339957</c:v>
                </c:pt>
                <c:pt idx="69">
                  <c:v>0.5692085164273758</c:v>
                </c:pt>
                <c:pt idx="70">
                  <c:v>0.559217064101302</c:v>
                </c:pt>
                <c:pt idx="71">
                  <c:v>0.5806027949997284</c:v>
                </c:pt>
                <c:pt idx="72">
                  <c:v>0.6350330789832213</c:v>
                </c:pt>
                <c:pt idx="73">
                  <c:v>0.5930342698251485</c:v>
                </c:pt>
                <c:pt idx="74">
                  <c:v>0.588980685161796</c:v>
                </c:pt>
                <c:pt idx="75">
                  <c:v>0.5882945648010215</c:v>
                </c:pt>
                <c:pt idx="76">
                  <c:v>0.6136831870357866</c:v>
                </c:pt>
                <c:pt idx="77">
                  <c:v>0.5858626316473801</c:v>
                </c:pt>
                <c:pt idx="78">
                  <c:v>0.6187151771466809</c:v>
                </c:pt>
                <c:pt idx="79">
                  <c:v>0.28525148445628046</c:v>
                </c:pt>
                <c:pt idx="80">
                  <c:v>0.348312706212762</c:v>
                </c:pt>
                <c:pt idx="81">
                  <c:v>0.481603226883713</c:v>
                </c:pt>
                <c:pt idx="82">
                  <c:v>0.5077250720461095</c:v>
                </c:pt>
                <c:pt idx="83">
                  <c:v>0.4249246306812154</c:v>
                </c:pt>
                <c:pt idx="84">
                  <c:v>0.5595495073503806</c:v>
                </c:pt>
                <c:pt idx="85">
                  <c:v>0.4269024305983527</c:v>
                </c:pt>
                <c:pt idx="86">
                  <c:v>0.6296313616741219</c:v>
                </c:pt>
                <c:pt idx="87">
                  <c:v>0.6712258278904427</c:v>
                </c:pt>
                <c:pt idx="88">
                  <c:v>0.6855855029287858</c:v>
                </c:pt>
                <c:pt idx="89">
                  <c:v>0.6313714740632426</c:v>
                </c:pt>
                <c:pt idx="90">
                  <c:v>0.6385485424076288</c:v>
                </c:pt>
                <c:pt idx="91">
                  <c:v>0.6870623317303276</c:v>
                </c:pt>
                <c:pt idx="92">
                  <c:v>0.733639545006947</c:v>
                </c:pt>
                <c:pt idx="93">
                  <c:v>0.7007202435973229</c:v>
                </c:pt>
                <c:pt idx="94">
                  <c:v>0.8258086177676529</c:v>
                </c:pt>
                <c:pt idx="95">
                  <c:v>0.8394721678848966</c:v>
                </c:pt>
                <c:pt idx="96">
                  <c:v>0.7425349744140126</c:v>
                </c:pt>
                <c:pt idx="97">
                  <c:v>0.8500724920805794</c:v>
                </c:pt>
                <c:pt idx="98">
                  <c:v>0.9016286028952267</c:v>
                </c:pt>
                <c:pt idx="99">
                  <c:v>0.9307579654363172</c:v>
                </c:pt>
                <c:pt idx="100">
                  <c:v>0.9735823095464489</c:v>
                </c:pt>
                <c:pt idx="101">
                  <c:v>0.9143913235594143</c:v>
                </c:pt>
                <c:pt idx="102">
                  <c:v>0.9084579719155564</c:v>
                </c:pt>
                <c:pt idx="103">
                  <c:v>0.7115505865538215</c:v>
                </c:pt>
                <c:pt idx="104">
                  <c:v>0.7650303846571673</c:v>
                </c:pt>
              </c:numCache>
            </c:numRef>
          </c:xVal>
          <c:yVal>
            <c:numRef>
              <c:f>Sheet1!$B$2:$B$106</c:f>
              <c:numCache>
                <c:formatCode>General</c:formatCode>
                <c:ptCount val="105"/>
                <c:pt idx="0">
                  <c:v>0.138106731027085</c:v>
                </c:pt>
                <c:pt idx="1">
                  <c:v>0.1392978482446206</c:v>
                </c:pt>
                <c:pt idx="2">
                  <c:v>0.15055287779982987</c:v>
                </c:pt>
                <c:pt idx="3">
                  <c:v>0.1507985257985258</c:v>
                </c:pt>
                <c:pt idx="4">
                  <c:v>0.14972419227738376</c:v>
                </c:pt>
                <c:pt idx="5">
                  <c:v>0.15256124721603564</c:v>
                </c:pt>
                <c:pt idx="6">
                  <c:v>0.17967409948542024</c:v>
                </c:pt>
                <c:pt idx="7">
                  <c:v>0.16842105263157894</c:v>
                </c:pt>
                <c:pt idx="8">
                  <c:v>0.16267942583732056</c:v>
                </c:pt>
                <c:pt idx="9">
                  <c:v>0.15832546427447278</c:v>
                </c:pt>
                <c:pt idx="10">
                  <c:v>0.17767441860465116</c:v>
                </c:pt>
                <c:pt idx="11">
                  <c:v>0.1635898892360125</c:v>
                </c:pt>
                <c:pt idx="12">
                  <c:v>0.14150943396226415</c:v>
                </c:pt>
                <c:pt idx="13">
                  <c:v>0.13494992092778071</c:v>
                </c:pt>
                <c:pt idx="14">
                  <c:v>0.13134549038935436</c:v>
                </c:pt>
                <c:pt idx="15">
                  <c:v>0.12634330525704326</c:v>
                </c:pt>
                <c:pt idx="16">
                  <c:v>0.11515325121741621</c:v>
                </c:pt>
                <c:pt idx="17">
                  <c:v>0.1341222879684418</c:v>
                </c:pt>
                <c:pt idx="18">
                  <c:v>0.10946863763483819</c:v>
                </c:pt>
                <c:pt idx="19">
                  <c:v>0.09879406307977737</c:v>
                </c:pt>
                <c:pt idx="20">
                  <c:v>0.1157196184155952</c:v>
                </c:pt>
                <c:pt idx="21">
                  <c:v>0.10807050092764378</c:v>
                </c:pt>
                <c:pt idx="22">
                  <c:v>0.10429164743885556</c:v>
                </c:pt>
                <c:pt idx="23">
                  <c:v>0.11961722488038277</c:v>
                </c:pt>
                <c:pt idx="24">
                  <c:v>0.12064613831398284</c:v>
                </c:pt>
                <c:pt idx="25">
                  <c:v>0.11904761904761904</c:v>
                </c:pt>
                <c:pt idx="26">
                  <c:v>0.12934879571810884</c:v>
                </c:pt>
                <c:pt idx="27">
                  <c:v>0.11745589600742803</c:v>
                </c:pt>
                <c:pt idx="28">
                  <c:v>0.11263736263736264</c:v>
                </c:pt>
                <c:pt idx="29">
                  <c:v>0.1291390728476821</c:v>
                </c:pt>
                <c:pt idx="30">
                  <c:v>0.12073112073112073</c:v>
                </c:pt>
                <c:pt idx="31">
                  <c:v>0.11073663938372653</c:v>
                </c:pt>
                <c:pt idx="32">
                  <c:v>0.1116214974735875</c:v>
                </c:pt>
                <c:pt idx="33">
                  <c:v>0.12217031979877829</c:v>
                </c:pt>
                <c:pt idx="34">
                  <c:v>0.12669983416252073</c:v>
                </c:pt>
                <c:pt idx="35">
                  <c:v>0.11996572407883462</c:v>
                </c:pt>
                <c:pt idx="36">
                  <c:v>0.0911316648531012</c:v>
                </c:pt>
                <c:pt idx="37">
                  <c:v>0.08955728286583305</c:v>
                </c:pt>
                <c:pt idx="38">
                  <c:v>0.08871234690499835</c:v>
                </c:pt>
                <c:pt idx="39">
                  <c:v>0.07477341389728097</c:v>
                </c:pt>
                <c:pt idx="40">
                  <c:v>0.07052980132450332</c:v>
                </c:pt>
                <c:pt idx="41">
                  <c:v>0.06877387981938173</c:v>
                </c:pt>
                <c:pt idx="42">
                  <c:v>0.07268920131618307</c:v>
                </c:pt>
                <c:pt idx="43">
                  <c:v>0.07586027111574557</c:v>
                </c:pt>
                <c:pt idx="44">
                  <c:v>0.07725402169846614</c:v>
                </c:pt>
                <c:pt idx="45">
                  <c:v>0.08261682242990655</c:v>
                </c:pt>
                <c:pt idx="46">
                  <c:v>0.08160291438979964</c:v>
                </c:pt>
                <c:pt idx="47">
                  <c:v>0.08645640074211502</c:v>
                </c:pt>
                <c:pt idx="48">
                  <c:v>0.10408379740121984</c:v>
                </c:pt>
                <c:pt idx="49">
                  <c:v>0.13270278016623674</c:v>
                </c:pt>
                <c:pt idx="50">
                  <c:v>0.10965223562810504</c:v>
                </c:pt>
                <c:pt idx="51">
                  <c:v>0.09923664122137404</c:v>
                </c:pt>
                <c:pt idx="52">
                  <c:v>0.10463004993191104</c:v>
                </c:pt>
                <c:pt idx="53">
                  <c:v>0.1144534115920763</c:v>
                </c:pt>
                <c:pt idx="54">
                  <c:v>0.1182181610508281</c:v>
                </c:pt>
                <c:pt idx="55">
                  <c:v>0.11223914269599548</c:v>
                </c:pt>
                <c:pt idx="56">
                  <c:v>0.1162349968414403</c:v>
                </c:pt>
                <c:pt idx="57">
                  <c:v>0.11665626949469744</c:v>
                </c:pt>
                <c:pt idx="58">
                  <c:v>0.12463102656608724</c:v>
                </c:pt>
                <c:pt idx="59">
                  <c:v>0.11762368368766143</c:v>
                </c:pt>
                <c:pt idx="60">
                  <c:v>0.125</c:v>
                </c:pt>
                <c:pt idx="61">
                  <c:v>0.1446236559139785</c:v>
                </c:pt>
                <c:pt idx="62">
                  <c:v>0.13924050632911392</c:v>
                </c:pt>
                <c:pt idx="63">
                  <c:v>0.1351671804600427</c:v>
                </c:pt>
                <c:pt idx="64">
                  <c:v>0.12264554794520548</c:v>
                </c:pt>
                <c:pt idx="65">
                  <c:v>0.11429882946981869</c:v>
                </c:pt>
                <c:pt idx="66">
                  <c:v>0.1347934070896365</c:v>
                </c:pt>
                <c:pt idx="67">
                  <c:v>0.1286101083032491</c:v>
                </c:pt>
                <c:pt idx="68">
                  <c:v>0.11284544524053224</c:v>
                </c:pt>
                <c:pt idx="69">
                  <c:v>0.11894736842105263</c:v>
                </c:pt>
                <c:pt idx="70">
                  <c:v>0.11212219694507637</c:v>
                </c:pt>
                <c:pt idx="71">
                  <c:v>0.11602011494252873</c:v>
                </c:pt>
                <c:pt idx="72">
                  <c:v>0.10939553219448095</c:v>
                </c:pt>
                <c:pt idx="73">
                  <c:v>0.12856626941133983</c:v>
                </c:pt>
                <c:pt idx="74">
                  <c:v>0.1022769690182904</c:v>
                </c:pt>
                <c:pt idx="75">
                  <c:v>0.12329832749902761</c:v>
                </c:pt>
                <c:pt idx="76">
                  <c:v>0.11901197604790419</c:v>
                </c:pt>
                <c:pt idx="77">
                  <c:v>0.1059463986599665</c:v>
                </c:pt>
                <c:pt idx="78">
                  <c:v>0.0984643179765131</c:v>
                </c:pt>
                <c:pt idx="79">
                  <c:v>0.21362353889560662</c:v>
                </c:pt>
                <c:pt idx="80">
                  <c:v>0.17057396928051738</c:v>
                </c:pt>
                <c:pt idx="81">
                  <c:v>0.12857660268018833</c:v>
                </c:pt>
                <c:pt idx="82">
                  <c:v>0.14087468460891506</c:v>
                </c:pt>
                <c:pt idx="83">
                  <c:v>0.12106643356643357</c:v>
                </c:pt>
                <c:pt idx="84">
                  <c:v>0.0968040759610931</c:v>
                </c:pt>
                <c:pt idx="85">
                  <c:v>0.13914893617021276</c:v>
                </c:pt>
                <c:pt idx="86">
                  <c:v>0.10077288941736029</c:v>
                </c:pt>
                <c:pt idx="87">
                  <c:v>0.10919043503313167</c:v>
                </c:pt>
                <c:pt idx="88">
                  <c:v>0.09129255799939741</c:v>
                </c:pt>
                <c:pt idx="89">
                  <c:v>0.09150779896013865</c:v>
                </c:pt>
                <c:pt idx="90">
                  <c:v>0.10503194888178914</c:v>
                </c:pt>
                <c:pt idx="91">
                  <c:v>0.0724810832337714</c:v>
                </c:pt>
                <c:pt idx="92">
                  <c:v>0.08146964856230032</c:v>
                </c:pt>
                <c:pt idx="93">
                  <c:v>0.07951653944020357</c:v>
                </c:pt>
                <c:pt idx="94">
                  <c:v>0.06996381182147166</c:v>
                </c:pt>
                <c:pt idx="95">
                  <c:v>0.06197916666666667</c:v>
                </c:pt>
                <c:pt idx="96">
                  <c:v>0.06820723071188968</c:v>
                </c:pt>
                <c:pt idx="97">
                  <c:v>0.07104557640750671</c:v>
                </c:pt>
                <c:pt idx="98">
                  <c:v>0.0870752427184466</c:v>
                </c:pt>
                <c:pt idx="99">
                  <c:v>0.08771684387241187</c:v>
                </c:pt>
                <c:pt idx="100">
                  <c:v>0.09497736127198063</c:v>
                </c:pt>
                <c:pt idx="101">
                  <c:v>0.097987586985142</c:v>
                </c:pt>
                <c:pt idx="102">
                  <c:v>0.08495981630309989</c:v>
                </c:pt>
                <c:pt idx="103">
                  <c:v>0.10935180603661554</c:v>
                </c:pt>
                <c:pt idx="104">
                  <c:v>0.1161587119033927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319138514284617</c:v>
                </c:pt>
                <c:pt idx="1">
                  <c:v>0.8672221023976373</c:v>
                </c:pt>
                <c:pt idx="2">
                  <c:v>0.9398588608463078</c:v>
                </c:pt>
                <c:pt idx="3">
                  <c:v>0.8843169992072346</c:v>
                </c:pt>
                <c:pt idx="4">
                  <c:v>0.9803762628735745</c:v>
                </c:pt>
                <c:pt idx="5">
                  <c:v>0.965324327061907</c:v>
                </c:pt>
                <c:pt idx="6">
                  <c:v>0.9848019112400703</c:v>
                </c:pt>
                <c:pt idx="7">
                  <c:v>0.9765743008363886</c:v>
                </c:pt>
                <c:pt idx="8">
                  <c:v>1.0572137260238903</c:v>
                </c:pt>
                <c:pt idx="9">
                  <c:v>1.0798673085354935</c:v>
                </c:pt>
                <c:pt idx="10">
                  <c:v>1.1746110564434933</c:v>
                </c:pt>
                <c:pt idx="11">
                  <c:v>1.1014835455198022</c:v>
                </c:pt>
                <c:pt idx="12">
                  <c:v>1.1025243830343485</c:v>
                </c:pt>
                <c:pt idx="13">
                  <c:v>1.1008801028304496</c:v>
                </c:pt>
                <c:pt idx="14">
                  <c:v>1.0683717625726432</c:v>
                </c:pt>
                <c:pt idx="15">
                  <c:v>1.485351806204046</c:v>
                </c:pt>
                <c:pt idx="16">
                  <c:v>1.0671259445743622</c:v>
                </c:pt>
                <c:pt idx="17">
                  <c:v>1.0691967136969287</c:v>
                </c:pt>
                <c:pt idx="18">
                  <c:v>1.373156399688092</c:v>
                </c:pt>
                <c:pt idx="19">
                  <c:v>1.6030682695394456</c:v>
                </c:pt>
                <c:pt idx="20">
                  <c:v>1.6448149795297653</c:v>
                </c:pt>
                <c:pt idx="21">
                  <c:v>1.6674446752661505</c:v>
                </c:pt>
                <c:pt idx="22">
                  <c:v>1.4678279475246507</c:v>
                </c:pt>
                <c:pt idx="23">
                  <c:v>1.5174956252543712</c:v>
                </c:pt>
                <c:pt idx="24">
                  <c:v>1.3364724038847806</c:v>
                </c:pt>
                <c:pt idx="25">
                  <c:v>1.1807432197671426</c:v>
                </c:pt>
                <c:pt idx="26">
                  <c:v>1.3246949770723875</c:v>
                </c:pt>
                <c:pt idx="27">
                  <c:v>1.1790697293931731</c:v>
                </c:pt>
                <c:pt idx="28">
                  <c:v>1.1041223157826072</c:v>
                </c:pt>
                <c:pt idx="29">
                  <c:v>1.2877882084758054</c:v>
                </c:pt>
                <c:pt idx="30">
                  <c:v>0.9138910010145875</c:v>
                </c:pt>
                <c:pt idx="31">
                  <c:v>1.006034620525733</c:v>
                </c:pt>
                <c:pt idx="32">
                  <c:v>1.0893140443722633</c:v>
                </c:pt>
                <c:pt idx="33">
                  <c:v>1.250016952257383</c:v>
                </c:pt>
                <c:pt idx="34">
                  <c:v>1.4223016685365035</c:v>
                </c:pt>
                <c:pt idx="35">
                  <c:v>1.1908321957554688</c:v>
                </c:pt>
                <c:pt idx="36">
                  <c:v>1.2266346940679764</c:v>
                </c:pt>
                <c:pt idx="37">
                  <c:v>1.1359452740056035</c:v>
                </c:pt>
                <c:pt idx="38">
                  <c:v>1.2215441381113747</c:v>
                </c:pt>
                <c:pt idx="39">
                  <c:v>1.0854192079206846</c:v>
                </c:pt>
                <c:pt idx="40">
                  <c:v>1.0524483166445295</c:v>
                </c:pt>
                <c:pt idx="41">
                  <c:v>1.1371946607038574</c:v>
                </c:pt>
                <c:pt idx="42">
                  <c:v>0.9411983317719469</c:v>
                </c:pt>
                <c:pt idx="43">
                  <c:v>1.015304250918726</c:v>
                </c:pt>
                <c:pt idx="44">
                  <c:v>1.1521610656495525</c:v>
                </c:pt>
                <c:pt idx="45">
                  <c:v>1.1213300939894697</c:v>
                </c:pt>
                <c:pt idx="46">
                  <c:v>0.9820244780019538</c:v>
                </c:pt>
                <c:pt idx="47">
                  <c:v>0.9216048490117076</c:v>
                </c:pt>
                <c:pt idx="48">
                  <c:v>0.8847943330349387</c:v>
                </c:pt>
                <c:pt idx="49">
                  <c:v>0.8459403064280775</c:v>
                </c:pt>
                <c:pt idx="50">
                  <c:v>0.8180227432176358</c:v>
                </c:pt>
                <c:pt idx="51">
                  <c:v>0.8135938315601363</c:v>
                </c:pt>
              </c:numCache>
            </c:numRef>
          </c:xVal>
          <c:yVal>
            <c:numRef>
              <c:f>Sheet1!$B$109:$B$160</c:f>
              <c:numCache>
                <c:formatCode>General</c:formatCode>
                <c:ptCount val="52"/>
                <c:pt idx="0">
                  <c:v>0.10693421386842773</c:v>
                </c:pt>
                <c:pt idx="1">
                  <c:v>0.10763420555705422</c:v>
                </c:pt>
                <c:pt idx="2">
                  <c:v>0.10867924528301887</c:v>
                </c:pt>
                <c:pt idx="3">
                  <c:v>0.1271137026239067</c:v>
                </c:pt>
                <c:pt idx="4">
                  <c:v>0.11583120928915322</c:v>
                </c:pt>
                <c:pt idx="5">
                  <c:v>0.10509852987175478</c:v>
                </c:pt>
                <c:pt idx="6">
                  <c:v>0.10019342359767891</c:v>
                </c:pt>
                <c:pt idx="7">
                  <c:v>0.09284818067754078</c:v>
                </c:pt>
                <c:pt idx="8">
                  <c:v>0.10283852954862727</c:v>
                </c:pt>
                <c:pt idx="9">
                  <c:v>0.09803023362345396</c:v>
                </c:pt>
                <c:pt idx="10">
                  <c:v>0.1275797373358349</c:v>
                </c:pt>
                <c:pt idx="11">
                  <c:v>0.11687972867205844</c:v>
                </c:pt>
                <c:pt idx="12">
                  <c:v>0.11349372384937238</c:v>
                </c:pt>
                <c:pt idx="13">
                  <c:v>0.11419753086419752</c:v>
                </c:pt>
                <c:pt idx="14">
                  <c:v>0.12167657178604942</c:v>
                </c:pt>
                <c:pt idx="15">
                  <c:v>0.10918187168922895</c:v>
                </c:pt>
                <c:pt idx="16">
                  <c:v>0.11107038123167155</c:v>
                </c:pt>
                <c:pt idx="17">
                  <c:v>0.09284116331096197</c:v>
                </c:pt>
                <c:pt idx="18">
                  <c:v>0.08732269503546099</c:v>
                </c:pt>
                <c:pt idx="19">
                  <c:v>0.0916504854368932</c:v>
                </c:pt>
                <c:pt idx="20">
                  <c:v>0.08570139828597204</c:v>
                </c:pt>
                <c:pt idx="21">
                  <c:v>0.10378510378510379</c:v>
                </c:pt>
                <c:pt idx="22">
                  <c:v>0.09687906371911574</c:v>
                </c:pt>
                <c:pt idx="23">
                  <c:v>0.10816618911174786</c:v>
                </c:pt>
                <c:pt idx="24">
                  <c:v>0.11024182076813656</c:v>
                </c:pt>
                <c:pt idx="25">
                  <c:v>0.1222707423580786</c:v>
                </c:pt>
                <c:pt idx="26">
                  <c:v>0.10988372093023256</c:v>
                </c:pt>
                <c:pt idx="27">
                  <c:v>0.10836693548387097</c:v>
                </c:pt>
                <c:pt idx="28">
                  <c:v>0.1045</c:v>
                </c:pt>
                <c:pt idx="29">
                  <c:v>0.10089686098654709</c:v>
                </c:pt>
                <c:pt idx="30">
                  <c:v>0.13241525423728814</c:v>
                </c:pt>
                <c:pt idx="31">
                  <c:v>0.1367231638418079</c:v>
                </c:pt>
                <c:pt idx="32">
                  <c:v>0.11477210323997804</c:v>
                </c:pt>
                <c:pt idx="33">
                  <c:v>0.12290730910575745</c:v>
                </c:pt>
                <c:pt idx="34">
                  <c:v>0.12727886563133017</c:v>
                </c:pt>
                <c:pt idx="35">
                  <c:v>0.12968591691995948</c:v>
                </c:pt>
                <c:pt idx="36">
                  <c:v>0.10693792383933229</c:v>
                </c:pt>
                <c:pt idx="37">
                  <c:v>0.10023866348448687</c:v>
                </c:pt>
                <c:pt idx="38">
                  <c:v>0.10734463276836158</c:v>
                </c:pt>
                <c:pt idx="39">
                  <c:v>0.11294526498696786</c:v>
                </c:pt>
                <c:pt idx="40">
                  <c:v>0.11776691116544417</c:v>
                </c:pt>
                <c:pt idx="41">
                  <c:v>0.11822315494928297</c:v>
                </c:pt>
                <c:pt idx="42">
                  <c:v>0.12822719449225473</c:v>
                </c:pt>
                <c:pt idx="43">
                  <c:v>0.09609292502639916</c:v>
                </c:pt>
                <c:pt idx="44">
                  <c:v>0.08977978543195934</c:v>
                </c:pt>
                <c:pt idx="45">
                  <c:v>0.09708108108108109</c:v>
                </c:pt>
                <c:pt idx="46">
                  <c:v>0.09027955886124647</c:v>
                </c:pt>
                <c:pt idx="47">
                  <c:v>0.08882326215356656</c:v>
                </c:pt>
                <c:pt idx="48">
                  <c:v>0.0830576993752297</c:v>
                </c:pt>
                <c:pt idx="49">
                  <c:v>0.09234608985024959</c:v>
                </c:pt>
                <c:pt idx="50">
                  <c:v>0.09464189553042542</c:v>
                </c:pt>
                <c:pt idx="51">
                  <c:v>0.087684069611780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365758545294533</c:v>
                </c:pt>
              </c:numCache>
            </c:numRef>
          </c:xVal>
          <c:yVal>
            <c:numRef>
              <c:f>Sheet1!$B$163:$B$164</c:f>
              <c:numCache>
                <c:formatCode>General</c:formatCode>
                <c:ptCount val="2"/>
                <c:pt idx="0">
                  <c:v>0.15464622225753338</c:v>
                </c:pt>
                <c:pt idx="1">
                  <c:v>0.1546462222575333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365758545294533</c:v>
                </c:pt>
                <c:pt idx="1">
                  <c:v>-16.365758545294533</c:v>
                </c:pt>
              </c:numCache>
            </c:numRef>
          </c:xVal>
          <c:yVal>
            <c:numRef>
              <c:f>Sheet1!$B$167:$B$168</c:f>
              <c:numCache>
                <c:formatCode>General</c:formatCode>
                <c:ptCount val="2"/>
                <c:pt idx="0">
                  <c:v>0.154646222257533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409088474287713</c:v>
                </c:pt>
              </c:numCache>
            </c:numRef>
          </c:xVal>
          <c:yVal>
            <c:numRef>
              <c:f>Sheet1!$B$171:$B$172</c:f>
              <c:numCache>
                <c:formatCode>General</c:formatCode>
                <c:ptCount val="2"/>
                <c:pt idx="0">
                  <c:v>0.11502323303183777</c:v>
                </c:pt>
                <c:pt idx="1">
                  <c:v>0.1150232330318377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409088474287713</c:v>
                </c:pt>
                <c:pt idx="1">
                  <c:v>-1.7409088474287713</c:v>
                </c:pt>
              </c:numCache>
            </c:numRef>
          </c:xVal>
          <c:yVal>
            <c:numRef>
              <c:f>Sheet1!$B$175:$B$176</c:f>
              <c:numCache>
                <c:formatCode>General</c:formatCode>
                <c:ptCount val="2"/>
                <c:pt idx="0">
                  <c:v>0.1150232330318377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8907961316988238</c:v>
                </c:pt>
              </c:numCache>
            </c:numRef>
          </c:xVal>
          <c:yVal>
            <c:numRef>
              <c:f>Sheet1!$B$179:$B$180</c:f>
              <c:numCache>
                <c:formatCode>General</c:formatCode>
                <c:ptCount val="2"/>
                <c:pt idx="0">
                  <c:v>0.09976529942429901</c:v>
                </c:pt>
                <c:pt idx="1">
                  <c:v>0.0997652994242990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8907961316988238</c:v>
                </c:pt>
                <c:pt idx="1">
                  <c:v>3.8907961316988238</c:v>
                </c:pt>
              </c:numCache>
            </c:numRef>
          </c:xVal>
          <c:yVal>
            <c:numRef>
              <c:f>Sheet1!$B$183:$B$184</c:f>
              <c:numCache>
                <c:formatCode>General</c:formatCode>
                <c:ptCount val="2"/>
                <c:pt idx="0">
                  <c:v>0.099765299424299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319138514284617</c:v>
                </c:pt>
                <c:pt idx="1">
                  <c:v>0.8672221023976373</c:v>
                </c:pt>
                <c:pt idx="2">
                  <c:v>0.9398588608463078</c:v>
                </c:pt>
                <c:pt idx="3">
                  <c:v>0.8843169992072346</c:v>
                </c:pt>
                <c:pt idx="4">
                  <c:v>0.9803762628735745</c:v>
                </c:pt>
                <c:pt idx="5">
                  <c:v>0.965324327061907</c:v>
                </c:pt>
                <c:pt idx="6">
                  <c:v>0.9848019112400703</c:v>
                </c:pt>
                <c:pt idx="7">
                  <c:v>0.9765743008363886</c:v>
                </c:pt>
                <c:pt idx="8">
                  <c:v>1.0572137260238903</c:v>
                </c:pt>
                <c:pt idx="9">
                  <c:v>1.0798673085354935</c:v>
                </c:pt>
                <c:pt idx="10">
                  <c:v>1.1746110564434933</c:v>
                </c:pt>
                <c:pt idx="11">
                  <c:v>1.1014835455198022</c:v>
                </c:pt>
                <c:pt idx="12">
                  <c:v>1.1025243830343485</c:v>
                </c:pt>
                <c:pt idx="13">
                  <c:v>1.1008801028304496</c:v>
                </c:pt>
                <c:pt idx="14">
                  <c:v>1.0683717625726432</c:v>
                </c:pt>
                <c:pt idx="15">
                  <c:v>1.485351806204046</c:v>
                </c:pt>
                <c:pt idx="16">
                  <c:v>1.0671259445743622</c:v>
                </c:pt>
                <c:pt idx="17">
                  <c:v>1.0691967136969287</c:v>
                </c:pt>
                <c:pt idx="18">
                  <c:v>1.373156399688092</c:v>
                </c:pt>
                <c:pt idx="19">
                  <c:v>1.6030682695394456</c:v>
                </c:pt>
                <c:pt idx="20">
                  <c:v>1.6448149795297653</c:v>
                </c:pt>
                <c:pt idx="21">
                  <c:v>1.6674446752661505</c:v>
                </c:pt>
                <c:pt idx="22">
                  <c:v>1.4678279475246507</c:v>
                </c:pt>
                <c:pt idx="23">
                  <c:v>1.5174956252543712</c:v>
                </c:pt>
                <c:pt idx="24">
                  <c:v>1.3364724038847806</c:v>
                </c:pt>
                <c:pt idx="25">
                  <c:v>1.1807432197671426</c:v>
                </c:pt>
                <c:pt idx="26">
                  <c:v>1.3246949770723875</c:v>
                </c:pt>
                <c:pt idx="27">
                  <c:v>1.1790697293931731</c:v>
                </c:pt>
                <c:pt idx="28">
                  <c:v>1.1041223157826072</c:v>
                </c:pt>
                <c:pt idx="29">
                  <c:v>1.2877882084758054</c:v>
                </c:pt>
                <c:pt idx="30">
                  <c:v>0.9138910010145875</c:v>
                </c:pt>
                <c:pt idx="31">
                  <c:v>1.006034620525733</c:v>
                </c:pt>
                <c:pt idx="32">
                  <c:v>1.0893140443722633</c:v>
                </c:pt>
                <c:pt idx="33">
                  <c:v>1.250016952257383</c:v>
                </c:pt>
                <c:pt idx="34">
                  <c:v>1.4223016685365035</c:v>
                </c:pt>
                <c:pt idx="35">
                  <c:v>1.1908321957554688</c:v>
                </c:pt>
                <c:pt idx="36">
                  <c:v>1.2266346940679764</c:v>
                </c:pt>
                <c:pt idx="37">
                  <c:v>1.1359452740056035</c:v>
                </c:pt>
                <c:pt idx="38">
                  <c:v>1.2215441381113747</c:v>
                </c:pt>
                <c:pt idx="39">
                  <c:v>1.0854192079206846</c:v>
                </c:pt>
                <c:pt idx="40">
                  <c:v>1.0524483166445295</c:v>
                </c:pt>
                <c:pt idx="41">
                  <c:v>1.1371946607038574</c:v>
                </c:pt>
                <c:pt idx="42">
                  <c:v>0.9411983317719469</c:v>
                </c:pt>
                <c:pt idx="43">
                  <c:v>1.015304250918726</c:v>
                </c:pt>
                <c:pt idx="44">
                  <c:v>1.1521610656495525</c:v>
                </c:pt>
                <c:pt idx="45">
                  <c:v>1.1213300939894697</c:v>
                </c:pt>
                <c:pt idx="46">
                  <c:v>0.9820244780019538</c:v>
                </c:pt>
                <c:pt idx="47">
                  <c:v>0.9216048490117076</c:v>
                </c:pt>
                <c:pt idx="48">
                  <c:v>0.8847943330349387</c:v>
                </c:pt>
                <c:pt idx="49">
                  <c:v>0.8459403064280775</c:v>
                </c:pt>
                <c:pt idx="50">
                  <c:v>0.8180227432176358</c:v>
                </c:pt>
                <c:pt idx="51">
                  <c:v>0.8135938315601363</c:v>
                </c:pt>
                <c:pt idx="52">
                  <c:v>-1.7409088474287713</c:v>
                </c:pt>
                <c:pt idx="53">
                  <c:v>-16.365758545294533</c:v>
                </c:pt>
                <c:pt idx="54">
                  <c:v>3.8907961316988238</c:v>
                </c:pt>
              </c:numCache>
            </c:numRef>
          </c:xVal>
          <c:yVal>
            <c:numRef>
              <c:f>Sheet1!$B$187:$B$241</c:f>
              <c:numCache>
                <c:formatCode>General</c:formatCode>
                <c:ptCount val="55"/>
                <c:pt idx="0">
                  <c:v>0.10805270491137975</c:v>
                </c:pt>
                <c:pt idx="1">
                  <c:v>0.10795704454723024</c:v>
                </c:pt>
                <c:pt idx="2">
                  <c:v>0.10776025035400026</c:v>
                </c:pt>
                <c:pt idx="3">
                  <c:v>0.10791072947896667</c:v>
                </c:pt>
                <c:pt idx="4">
                  <c:v>0.10765047687822814</c:v>
                </c:pt>
                <c:pt idx="5">
                  <c:v>0.10769125696847266</c:v>
                </c:pt>
                <c:pt idx="6">
                  <c:v>0.10763848650423011</c:v>
                </c:pt>
                <c:pt idx="7">
                  <c:v>0.10766077750380365</c:v>
                </c:pt>
                <c:pt idx="8">
                  <c:v>0.1074423017490862</c:v>
                </c:pt>
                <c:pt idx="9">
                  <c:v>0.10738092657776313</c:v>
                </c:pt>
                <c:pt idx="10">
                  <c:v>0.10712423809342891</c:v>
                </c:pt>
                <c:pt idx="11">
                  <c:v>0.10732236187844493</c:v>
                </c:pt>
                <c:pt idx="12">
                  <c:v>0.1073195419456267</c:v>
                </c:pt>
                <c:pt idx="13">
                  <c:v>0.10732399678093435</c:v>
                </c:pt>
                <c:pt idx="14">
                  <c:v>0.10741207136921326</c:v>
                </c:pt>
                <c:pt idx="15">
                  <c:v>0.10628235064609716</c:v>
                </c:pt>
                <c:pt idx="16">
                  <c:v>0.10741544665402936</c:v>
                </c:pt>
                <c:pt idx="17">
                  <c:v>0.10740983633567892</c:v>
                </c:pt>
                <c:pt idx="18">
                  <c:v>0.10658632077060401</c:v>
                </c:pt>
                <c:pt idx="19">
                  <c:v>0.10596342236616371</c:v>
                </c:pt>
                <c:pt idx="20">
                  <c:v>0.1058503183360829</c:v>
                </c:pt>
                <c:pt idx="21">
                  <c:v>0.10578900788101037</c:v>
                </c:pt>
                <c:pt idx="22">
                  <c:v>0.10632982789735039</c:v>
                </c:pt>
                <c:pt idx="23">
                  <c:v>0.10619526365223289</c:v>
                </c:pt>
                <c:pt idx="24">
                  <c:v>0.10668570842931493</c:v>
                </c:pt>
                <c:pt idx="25">
                  <c:v>0.10710762427200013</c:v>
                </c:pt>
                <c:pt idx="26">
                  <c:v>0.10671761691831376</c:v>
                </c:pt>
                <c:pt idx="27">
                  <c:v>0.10711215824618975</c:v>
                </c:pt>
                <c:pt idx="28">
                  <c:v>0.10731521267911281</c:v>
                </c:pt>
                <c:pt idx="29">
                  <c:v>0.1068176081335856</c:v>
                </c:pt>
                <c:pt idx="30">
                  <c:v>0.10783060487056509</c:v>
                </c:pt>
                <c:pt idx="31">
                  <c:v>0.10758096089346224</c:v>
                </c:pt>
                <c:pt idx="32">
                  <c:v>0.10735533261132851</c:v>
                </c:pt>
                <c:pt idx="33">
                  <c:v>0.10691994149831084</c:v>
                </c:pt>
                <c:pt idx="34">
                  <c:v>0.10645317188372289</c:v>
                </c:pt>
                <c:pt idx="35">
                  <c:v>0.10708029028941965</c:v>
                </c:pt>
                <c:pt idx="36">
                  <c:v>0.10698329086486512</c:v>
                </c:pt>
                <c:pt idx="37">
                  <c:v>0.10722899499094174</c:v>
                </c:pt>
                <c:pt idx="38">
                  <c:v>0.1069970826677204</c:v>
                </c:pt>
                <c:pt idx="39">
                  <c:v>0.10736588486081791</c:v>
                </c:pt>
                <c:pt idx="40">
                  <c:v>0.10745521263490009</c:v>
                </c:pt>
                <c:pt idx="41">
                  <c:v>0.1072256100374751</c:v>
                </c:pt>
                <c:pt idx="42">
                  <c:v>0.10775662133605128</c:v>
                </c:pt>
                <c:pt idx="43">
                  <c:v>0.10755584675740097</c:v>
                </c:pt>
                <c:pt idx="44">
                  <c:v>0.107185061675327</c:v>
                </c:pt>
                <c:pt idx="45">
                  <c:v>0.10726859178217545</c:v>
                </c:pt>
                <c:pt idx="46">
                  <c:v>0.10764601138206083</c:v>
                </c:pt>
                <c:pt idx="47">
                  <c:v>0.10780970580340249</c:v>
                </c:pt>
                <c:pt idx="48">
                  <c:v>0.10790943624221533</c:v>
                </c:pt>
                <c:pt idx="49">
                  <c:v>0.10801470314816125</c:v>
                </c:pt>
                <c:pt idx="50">
                  <c:v>0.10809033998061748</c:v>
                </c:pt>
                <c:pt idx="51">
                  <c:v>0.10810233919582393</c:v>
                </c:pt>
                <c:pt idx="52">
                  <c:v>0.11502323303183777</c:v>
                </c:pt>
                <c:pt idx="53">
                  <c:v>0.15464622225753338</c:v>
                </c:pt>
                <c:pt idx="54">
                  <c:v>0.099765299424299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634824667472794"/>
          <c:min val="0.049583333333333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49.1301</c:v>
                </c:pt>
                <c:pt idx="1">
                  <c:v>915.9248</c:v>
                </c:pt>
                <c:pt idx="2">
                  <c:v>889.2147</c:v>
                </c:pt>
                <c:pt idx="3">
                  <c:v>907.6395</c:v>
                </c:pt>
                <c:pt idx="4">
                  <c:v>904.1342</c:v>
                </c:pt>
                <c:pt idx="5">
                  <c:v>891.1423</c:v>
                </c:pt>
                <c:pt idx="6">
                  <c:v>876.9976</c:v>
                </c:pt>
                <c:pt idx="7">
                  <c:v>913.8393</c:v>
                </c:pt>
                <c:pt idx="8">
                  <c:v>919.3294</c:v>
                </c:pt>
                <c:pt idx="9">
                  <c:v>895.4612</c:v>
                </c:pt>
                <c:pt idx="10">
                  <c:v>905.6998</c:v>
                </c:pt>
                <c:pt idx="11">
                  <c:v>921.6667</c:v>
                </c:pt>
                <c:pt idx="12">
                  <c:v>944.9225</c:v>
                </c:pt>
                <c:pt idx="13">
                  <c:v>926.0313</c:v>
                </c:pt>
                <c:pt idx="14">
                  <c:v>940.4371</c:v>
                </c:pt>
                <c:pt idx="15">
                  <c:v>901.6184</c:v>
                </c:pt>
                <c:pt idx="16">
                  <c:v>898.2786</c:v>
                </c:pt>
                <c:pt idx="17">
                  <c:v>941.7206</c:v>
                </c:pt>
                <c:pt idx="18">
                  <c:v>1000.8066</c:v>
                </c:pt>
                <c:pt idx="19">
                  <c:v>1071.3052</c:v>
                </c:pt>
                <c:pt idx="20">
                  <c:v>1033.6237</c:v>
                </c:pt>
                <c:pt idx="21">
                  <c:v>1032.9442</c:v>
                </c:pt>
                <c:pt idx="22">
                  <c:v>1056.7389</c:v>
                </c:pt>
                <c:pt idx="23">
                  <c:v>1038.028</c:v>
                </c:pt>
                <c:pt idx="24">
                  <c:v>1000.5941</c:v>
                </c:pt>
                <c:pt idx="25">
                  <c:v>986.2048</c:v>
                </c:pt>
                <c:pt idx="26">
                  <c:v>1009.0966</c:v>
                </c:pt>
                <c:pt idx="27">
                  <c:v>993.1304</c:v>
                </c:pt>
                <c:pt idx="28">
                  <c:v>1053.7764</c:v>
                </c:pt>
                <c:pt idx="29">
                  <c:v>941.1571</c:v>
                </c:pt>
                <c:pt idx="30">
                  <c:v>990.2191</c:v>
                </c:pt>
                <c:pt idx="31">
                  <c:v>959.613</c:v>
                </c:pt>
                <c:pt idx="32">
                  <c:v>930.7695</c:v>
                </c:pt>
                <c:pt idx="33">
                  <c:v>927.5235</c:v>
                </c:pt>
                <c:pt idx="34">
                  <c:v>1000.2801</c:v>
                </c:pt>
                <c:pt idx="35">
                  <c:v>1041.8405</c:v>
                </c:pt>
                <c:pt idx="36">
                  <c:v>1128.794</c:v>
                </c:pt>
                <c:pt idx="37">
                  <c:v>1123.1019</c:v>
                </c:pt>
                <c:pt idx="38">
                  <c:v>1150.5896</c:v>
                </c:pt>
                <c:pt idx="39">
                  <c:v>1212.7121</c:v>
                </c:pt>
                <c:pt idx="40">
                  <c:v>1194.8545</c:v>
                </c:pt>
                <c:pt idx="41">
                  <c:v>1219.9646</c:v>
                </c:pt>
                <c:pt idx="42">
                  <c:v>1252.8148</c:v>
                </c:pt>
                <c:pt idx="43">
                  <c:v>1250.4674</c:v>
                </c:pt>
                <c:pt idx="44">
                  <c:v>1128.4431</c:v>
                </c:pt>
                <c:pt idx="45">
                  <c:v>1050.1855</c:v>
                </c:pt>
                <c:pt idx="46">
                  <c:v>1033.4688</c:v>
                </c:pt>
                <c:pt idx="47">
                  <c:v>1052.0129</c:v>
                </c:pt>
                <c:pt idx="48">
                  <c:v>1036.8624</c:v>
                </c:pt>
                <c:pt idx="49">
                  <c:v>1020.4521</c:v>
                </c:pt>
                <c:pt idx="50">
                  <c:v>1035.8738</c:v>
                </c:pt>
                <c:pt idx="51">
                  <c:v>1099.1538</c:v>
                </c:pt>
                <c:pt idx="52">
                  <c:v>1063.0369</c:v>
                </c:pt>
                <c:pt idx="53">
                  <c:v>1031.141</c:v>
                </c:pt>
                <c:pt idx="54">
                  <c:v>1096.8382</c:v>
                </c:pt>
                <c:pt idx="55">
                  <c:v>1096.5251</c:v>
                </c:pt>
                <c:pt idx="56">
                  <c:v>1151.8152</c:v>
                </c:pt>
                <c:pt idx="57">
                  <c:v>1100.6845</c:v>
                </c:pt>
                <c:pt idx="58">
                  <c:v>1104.7737</c:v>
                </c:pt>
                <c:pt idx="59">
                  <c:v>1089.3902</c:v>
                </c:pt>
                <c:pt idx="60">
                  <c:v>1091.6259</c:v>
                </c:pt>
                <c:pt idx="61">
                  <c:v>1057.277</c:v>
                </c:pt>
                <c:pt idx="62">
                  <c:v>1084.0812</c:v>
                </c:pt>
                <c:pt idx="63">
                  <c:v>1132.0719</c:v>
                </c:pt>
                <c:pt idx="64">
                  <c:v>1102.1955</c:v>
                </c:pt>
                <c:pt idx="65">
                  <c:v>1080.51</c:v>
                </c:pt>
                <c:pt idx="66">
                  <c:v>988.2295</c:v>
                </c:pt>
                <c:pt idx="67">
                  <c:v>986.3474</c:v>
                </c:pt>
                <c:pt idx="68">
                  <c:v>1024.1769</c:v>
                </c:pt>
                <c:pt idx="69">
                  <c:v>951.7817</c:v>
                </c:pt>
                <c:pt idx="70">
                  <c:v>846.9768</c:v>
                </c:pt>
                <c:pt idx="71">
                  <c:v>935.3003</c:v>
                </c:pt>
                <c:pt idx="72">
                  <c:v>1030.991</c:v>
                </c:pt>
                <c:pt idx="73">
                  <c:v>894.1798</c:v>
                </c:pt>
                <c:pt idx="74">
                  <c:v>911.1606</c:v>
                </c:pt>
                <c:pt idx="75">
                  <c:v>863.8738</c:v>
                </c:pt>
                <c:pt idx="76">
                  <c:v>908.8648</c:v>
                </c:pt>
                <c:pt idx="77">
                  <c:v>901.1739</c:v>
                </c:pt>
                <c:pt idx="78">
                  <c:v>931.2615</c:v>
                </c:pt>
                <c:pt idx="79">
                  <c:v>427.2509</c:v>
                </c:pt>
                <c:pt idx="80">
                  <c:v>504.0995</c:v>
                </c:pt>
                <c:pt idx="81">
                  <c:v>691.3606</c:v>
                </c:pt>
                <c:pt idx="82">
                  <c:v>704.7224</c:v>
                </c:pt>
                <c:pt idx="83">
                  <c:v>628.8231</c:v>
                </c:pt>
                <c:pt idx="84">
                  <c:v>820.5502</c:v>
                </c:pt>
                <c:pt idx="85">
                  <c:v>632.4434</c:v>
                </c:pt>
                <c:pt idx="86">
                  <c:v>974.7699</c:v>
                </c:pt>
                <c:pt idx="87">
                  <c:v>1012.3879</c:v>
                </c:pt>
                <c:pt idx="88">
                  <c:v>1025.9604</c:v>
                </c:pt>
                <c:pt idx="89">
                  <c:v>933.7652</c:v>
                </c:pt>
                <c:pt idx="90">
                  <c:v>986.7414</c:v>
                </c:pt>
                <c:pt idx="91">
                  <c:v>1058.6209</c:v>
                </c:pt>
                <c:pt idx="92">
                  <c:v>1092.8784</c:v>
                </c:pt>
                <c:pt idx="93">
                  <c:v>1114.284</c:v>
                </c:pt>
                <c:pt idx="94">
                  <c:v>1275.5302</c:v>
                </c:pt>
                <c:pt idx="95">
                  <c:v>1241.1345</c:v>
                </c:pt>
                <c:pt idx="96">
                  <c:v>1054.9481</c:v>
                </c:pt>
                <c:pt idx="97">
                  <c:v>1184.0165</c:v>
                </c:pt>
                <c:pt idx="98">
                  <c:v>1190.0192</c:v>
                </c:pt>
                <c:pt idx="99">
                  <c:v>1179.3892</c:v>
                </c:pt>
                <c:pt idx="100">
                  <c:v>1174.01</c:v>
                </c:pt>
                <c:pt idx="101">
                  <c:v>1164.856</c:v>
                </c:pt>
                <c:pt idx="102">
                  <c:v>1258.3581</c:v>
                </c:pt>
                <c:pt idx="103">
                  <c:v>976.0814</c:v>
                </c:pt>
                <c:pt idx="104">
                  <c:v>1061.9653</c:v>
                </c:pt>
              </c:numCache>
            </c:numRef>
          </c:xVal>
          <c:yVal>
            <c:numRef>
              <c:f>Sheet1!$B$2:$B$106</c:f>
              <c:numCache>
                <c:formatCode>General</c:formatCode>
                <c:ptCount val="105"/>
                <c:pt idx="0">
                  <c:v>0.138106731027085</c:v>
                </c:pt>
                <c:pt idx="1">
                  <c:v>0.1392978482446206</c:v>
                </c:pt>
                <c:pt idx="2">
                  <c:v>0.15055287779982987</c:v>
                </c:pt>
                <c:pt idx="3">
                  <c:v>0.1507985257985258</c:v>
                </c:pt>
                <c:pt idx="4">
                  <c:v>0.14972419227738376</c:v>
                </c:pt>
                <c:pt idx="5">
                  <c:v>0.15256124721603564</c:v>
                </c:pt>
                <c:pt idx="6">
                  <c:v>0.17967409948542024</c:v>
                </c:pt>
                <c:pt idx="7">
                  <c:v>0.16842105263157894</c:v>
                </c:pt>
                <c:pt idx="8">
                  <c:v>0.16267942583732056</c:v>
                </c:pt>
                <c:pt idx="9">
                  <c:v>0.15832546427447278</c:v>
                </c:pt>
                <c:pt idx="10">
                  <c:v>0.17767441860465116</c:v>
                </c:pt>
                <c:pt idx="11">
                  <c:v>0.1635898892360125</c:v>
                </c:pt>
                <c:pt idx="12">
                  <c:v>0.14150943396226415</c:v>
                </c:pt>
                <c:pt idx="13">
                  <c:v>0.13494992092778071</c:v>
                </c:pt>
                <c:pt idx="14">
                  <c:v>0.13134549038935436</c:v>
                </c:pt>
                <c:pt idx="15">
                  <c:v>0.12634330525704326</c:v>
                </c:pt>
                <c:pt idx="16">
                  <c:v>0.11515325121741621</c:v>
                </c:pt>
                <c:pt idx="17">
                  <c:v>0.1341222879684418</c:v>
                </c:pt>
                <c:pt idx="18">
                  <c:v>0.10946863763483819</c:v>
                </c:pt>
                <c:pt idx="19">
                  <c:v>0.09879406307977737</c:v>
                </c:pt>
                <c:pt idx="20">
                  <c:v>0.1157196184155952</c:v>
                </c:pt>
                <c:pt idx="21">
                  <c:v>0.10807050092764378</c:v>
                </c:pt>
                <c:pt idx="22">
                  <c:v>0.10429164743885556</c:v>
                </c:pt>
                <c:pt idx="23">
                  <c:v>0.11961722488038277</c:v>
                </c:pt>
                <c:pt idx="24">
                  <c:v>0.12064613831398284</c:v>
                </c:pt>
                <c:pt idx="25">
                  <c:v>0.11904761904761904</c:v>
                </c:pt>
                <c:pt idx="26">
                  <c:v>0.12934879571810884</c:v>
                </c:pt>
                <c:pt idx="27">
                  <c:v>0.11745589600742803</c:v>
                </c:pt>
                <c:pt idx="28">
                  <c:v>0.11263736263736264</c:v>
                </c:pt>
                <c:pt idx="29">
                  <c:v>0.1291390728476821</c:v>
                </c:pt>
                <c:pt idx="30">
                  <c:v>0.12073112073112073</c:v>
                </c:pt>
                <c:pt idx="31">
                  <c:v>0.11073663938372653</c:v>
                </c:pt>
                <c:pt idx="32">
                  <c:v>0.1116214974735875</c:v>
                </c:pt>
                <c:pt idx="33">
                  <c:v>0.12217031979877829</c:v>
                </c:pt>
                <c:pt idx="34">
                  <c:v>0.12669983416252073</c:v>
                </c:pt>
                <c:pt idx="35">
                  <c:v>0.11996572407883462</c:v>
                </c:pt>
                <c:pt idx="36">
                  <c:v>0.0911316648531012</c:v>
                </c:pt>
                <c:pt idx="37">
                  <c:v>0.08955728286583305</c:v>
                </c:pt>
                <c:pt idx="38">
                  <c:v>0.08871234690499835</c:v>
                </c:pt>
                <c:pt idx="39">
                  <c:v>0.07477341389728097</c:v>
                </c:pt>
                <c:pt idx="40">
                  <c:v>0.07052980132450332</c:v>
                </c:pt>
                <c:pt idx="41">
                  <c:v>0.06877387981938173</c:v>
                </c:pt>
                <c:pt idx="42">
                  <c:v>0.07268920131618307</c:v>
                </c:pt>
                <c:pt idx="43">
                  <c:v>0.07586027111574557</c:v>
                </c:pt>
                <c:pt idx="44">
                  <c:v>0.07725402169846614</c:v>
                </c:pt>
                <c:pt idx="45">
                  <c:v>0.08261682242990655</c:v>
                </c:pt>
                <c:pt idx="46">
                  <c:v>0.08160291438979964</c:v>
                </c:pt>
                <c:pt idx="47">
                  <c:v>0.08645640074211502</c:v>
                </c:pt>
                <c:pt idx="48">
                  <c:v>0.10408379740121984</c:v>
                </c:pt>
                <c:pt idx="49">
                  <c:v>0.13270278016623674</c:v>
                </c:pt>
                <c:pt idx="50">
                  <c:v>0.10965223562810504</c:v>
                </c:pt>
                <c:pt idx="51">
                  <c:v>0.09923664122137404</c:v>
                </c:pt>
                <c:pt idx="52">
                  <c:v>0.10463004993191104</c:v>
                </c:pt>
                <c:pt idx="53">
                  <c:v>0.1144534115920763</c:v>
                </c:pt>
                <c:pt idx="54">
                  <c:v>0.1182181610508281</c:v>
                </c:pt>
                <c:pt idx="55">
                  <c:v>0.11223914269599548</c:v>
                </c:pt>
                <c:pt idx="56">
                  <c:v>0.1162349968414403</c:v>
                </c:pt>
                <c:pt idx="57">
                  <c:v>0.11665626949469744</c:v>
                </c:pt>
                <c:pt idx="58">
                  <c:v>0.12463102656608724</c:v>
                </c:pt>
                <c:pt idx="59">
                  <c:v>0.11762368368766143</c:v>
                </c:pt>
                <c:pt idx="60">
                  <c:v>0.125</c:v>
                </c:pt>
                <c:pt idx="61">
                  <c:v>0.1446236559139785</c:v>
                </c:pt>
                <c:pt idx="62">
                  <c:v>0.13924050632911392</c:v>
                </c:pt>
                <c:pt idx="63">
                  <c:v>0.1351671804600427</c:v>
                </c:pt>
                <c:pt idx="64">
                  <c:v>0.12264554794520548</c:v>
                </c:pt>
                <c:pt idx="65">
                  <c:v>0.11429882946981869</c:v>
                </c:pt>
                <c:pt idx="66">
                  <c:v>0.1347934070896365</c:v>
                </c:pt>
                <c:pt idx="67">
                  <c:v>0.1286101083032491</c:v>
                </c:pt>
                <c:pt idx="68">
                  <c:v>0.11284544524053224</c:v>
                </c:pt>
                <c:pt idx="69">
                  <c:v>0.11894736842105263</c:v>
                </c:pt>
                <c:pt idx="70">
                  <c:v>0.11212219694507637</c:v>
                </c:pt>
                <c:pt idx="71">
                  <c:v>0.11602011494252873</c:v>
                </c:pt>
                <c:pt idx="72">
                  <c:v>0.10939553219448095</c:v>
                </c:pt>
                <c:pt idx="73">
                  <c:v>0.12856626941133983</c:v>
                </c:pt>
                <c:pt idx="74">
                  <c:v>0.1022769690182904</c:v>
                </c:pt>
                <c:pt idx="75">
                  <c:v>0.12329832749902761</c:v>
                </c:pt>
                <c:pt idx="76">
                  <c:v>0.11901197604790419</c:v>
                </c:pt>
                <c:pt idx="77">
                  <c:v>0.1059463986599665</c:v>
                </c:pt>
                <c:pt idx="78">
                  <c:v>0.0984643179765131</c:v>
                </c:pt>
                <c:pt idx="79">
                  <c:v>0.21362353889560662</c:v>
                </c:pt>
                <c:pt idx="80">
                  <c:v>0.17057396928051738</c:v>
                </c:pt>
                <c:pt idx="81">
                  <c:v>0.12857660268018833</c:v>
                </c:pt>
                <c:pt idx="82">
                  <c:v>0.14087468460891506</c:v>
                </c:pt>
                <c:pt idx="83">
                  <c:v>0.12106643356643357</c:v>
                </c:pt>
                <c:pt idx="84">
                  <c:v>0.0968040759610931</c:v>
                </c:pt>
                <c:pt idx="85">
                  <c:v>0.13914893617021276</c:v>
                </c:pt>
                <c:pt idx="86">
                  <c:v>0.10077288941736029</c:v>
                </c:pt>
                <c:pt idx="87">
                  <c:v>0.10919043503313167</c:v>
                </c:pt>
                <c:pt idx="88">
                  <c:v>0.09129255799939741</c:v>
                </c:pt>
                <c:pt idx="89">
                  <c:v>0.09150779896013865</c:v>
                </c:pt>
                <c:pt idx="90">
                  <c:v>0.10503194888178914</c:v>
                </c:pt>
                <c:pt idx="91">
                  <c:v>0.0724810832337714</c:v>
                </c:pt>
                <c:pt idx="92">
                  <c:v>0.08146964856230032</c:v>
                </c:pt>
                <c:pt idx="93">
                  <c:v>0.07951653944020357</c:v>
                </c:pt>
                <c:pt idx="94">
                  <c:v>0.06996381182147166</c:v>
                </c:pt>
                <c:pt idx="95">
                  <c:v>0.06197916666666667</c:v>
                </c:pt>
                <c:pt idx="96">
                  <c:v>0.06820723071188968</c:v>
                </c:pt>
                <c:pt idx="97">
                  <c:v>0.07104557640750671</c:v>
                </c:pt>
                <c:pt idx="98">
                  <c:v>0.0870752427184466</c:v>
                </c:pt>
                <c:pt idx="99">
                  <c:v>0.08771684387241187</c:v>
                </c:pt>
                <c:pt idx="100">
                  <c:v>0.09497736127198063</c:v>
                </c:pt>
                <c:pt idx="101">
                  <c:v>0.097987586985142</c:v>
                </c:pt>
                <c:pt idx="102">
                  <c:v>0.08495981630309989</c:v>
                </c:pt>
                <c:pt idx="103">
                  <c:v>0.10935180603661554</c:v>
                </c:pt>
                <c:pt idx="104">
                  <c:v>0.1161587119033927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8.0214</c:v>
                </c:pt>
                <c:pt idx="1">
                  <c:v>1155.5764</c:v>
                </c:pt>
                <c:pt idx="2">
                  <c:v>1158.669</c:v>
                </c:pt>
                <c:pt idx="3">
                  <c:v>1178.1743</c:v>
                </c:pt>
                <c:pt idx="4">
                  <c:v>1204.2543</c:v>
                </c:pt>
                <c:pt idx="5">
                  <c:v>1255.1339</c:v>
                </c:pt>
                <c:pt idx="6">
                  <c:v>1190.1467</c:v>
                </c:pt>
                <c:pt idx="7">
                  <c:v>1277.7838</c:v>
                </c:pt>
                <c:pt idx="8">
                  <c:v>1378.4977</c:v>
                </c:pt>
                <c:pt idx="9">
                  <c:v>1318.8738</c:v>
                </c:pt>
                <c:pt idx="10">
                  <c:v>1317.3559</c:v>
                </c:pt>
                <c:pt idx="11">
                  <c:v>1242.4665</c:v>
                </c:pt>
                <c:pt idx="12">
                  <c:v>1217.9954</c:v>
                </c:pt>
                <c:pt idx="13">
                  <c:v>1230.5651</c:v>
                </c:pt>
                <c:pt idx="14">
                  <c:v>1217.2905</c:v>
                </c:pt>
                <c:pt idx="15">
                  <c:v>1264.2156</c:v>
                </c:pt>
                <c:pt idx="16">
                  <c:v>1287.5677</c:v>
                </c:pt>
                <c:pt idx="17">
                  <c:v>1212.8635</c:v>
                </c:pt>
                <c:pt idx="18">
                  <c:v>1281.9898</c:v>
                </c:pt>
                <c:pt idx="19">
                  <c:v>1419.1864</c:v>
                </c:pt>
                <c:pt idx="20">
                  <c:v>1366.5789</c:v>
                </c:pt>
                <c:pt idx="21">
                  <c:v>1246.2118</c:v>
                </c:pt>
                <c:pt idx="22">
                  <c:v>1316.7315</c:v>
                </c:pt>
                <c:pt idx="23">
                  <c:v>1288.2119</c:v>
                </c:pt>
                <c:pt idx="24">
                  <c:v>1219.3032</c:v>
                </c:pt>
                <c:pt idx="25">
                  <c:v>1138.4464</c:v>
                </c:pt>
                <c:pt idx="26">
                  <c:v>1089.9683</c:v>
                </c:pt>
                <c:pt idx="27">
                  <c:v>1160.2651</c:v>
                </c:pt>
                <c:pt idx="28">
                  <c:v>1211.8756</c:v>
                </c:pt>
                <c:pt idx="29">
                  <c:v>1242.8444</c:v>
                </c:pt>
                <c:pt idx="30">
                  <c:v>1071.984</c:v>
                </c:pt>
                <c:pt idx="31">
                  <c:v>922.876</c:v>
                </c:pt>
                <c:pt idx="32">
                  <c:v>1077.9952</c:v>
                </c:pt>
                <c:pt idx="33">
                  <c:v>1235.103</c:v>
                </c:pt>
                <c:pt idx="34">
                  <c:v>1243.7984</c:v>
                </c:pt>
                <c:pt idx="35">
                  <c:v>1201.9167</c:v>
                </c:pt>
                <c:pt idx="36">
                  <c:v>1188.4</c:v>
                </c:pt>
                <c:pt idx="37">
                  <c:v>1360.8429</c:v>
                </c:pt>
                <c:pt idx="38">
                  <c:v>1278.0987</c:v>
                </c:pt>
                <c:pt idx="39">
                  <c:v>1197.8923</c:v>
                </c:pt>
                <c:pt idx="40">
                  <c:v>1229.3633</c:v>
                </c:pt>
                <c:pt idx="41">
                  <c:v>1202.6716</c:v>
                </c:pt>
                <c:pt idx="42">
                  <c:v>1083.4262</c:v>
                </c:pt>
                <c:pt idx="43">
                  <c:v>1256.8828</c:v>
                </c:pt>
                <c:pt idx="44">
                  <c:v>1239.3459</c:v>
                </c:pt>
                <c:pt idx="45">
                  <c:v>1165.3118</c:v>
                </c:pt>
                <c:pt idx="46">
                  <c:v>1207.8523</c:v>
                </c:pt>
                <c:pt idx="47">
                  <c:v>1184.821</c:v>
                </c:pt>
                <c:pt idx="48">
                  <c:v>1101.3673</c:v>
                </c:pt>
                <c:pt idx="49">
                  <c:v>1206.7072</c:v>
                </c:pt>
                <c:pt idx="50">
                  <c:v>1162.8307</c:v>
                </c:pt>
                <c:pt idx="51">
                  <c:v>1115.0611</c:v>
                </c:pt>
              </c:numCache>
            </c:numRef>
          </c:xVal>
          <c:yVal>
            <c:numRef>
              <c:f>Sheet1!$B$109:$B$160</c:f>
              <c:numCache>
                <c:formatCode>General</c:formatCode>
                <c:ptCount val="52"/>
                <c:pt idx="0">
                  <c:v>0.10693421386842773</c:v>
                </c:pt>
                <c:pt idx="1">
                  <c:v>0.10763420555705422</c:v>
                </c:pt>
                <c:pt idx="2">
                  <c:v>0.10867924528301887</c:v>
                </c:pt>
                <c:pt idx="3">
                  <c:v>0.1271137026239067</c:v>
                </c:pt>
                <c:pt idx="4">
                  <c:v>0.11583120928915322</c:v>
                </c:pt>
                <c:pt idx="5">
                  <c:v>0.10509852987175478</c:v>
                </c:pt>
                <c:pt idx="6">
                  <c:v>0.10019342359767891</c:v>
                </c:pt>
                <c:pt idx="7">
                  <c:v>0.09284818067754078</c:v>
                </c:pt>
                <c:pt idx="8">
                  <c:v>0.10283852954862727</c:v>
                </c:pt>
                <c:pt idx="9">
                  <c:v>0.09803023362345396</c:v>
                </c:pt>
                <c:pt idx="10">
                  <c:v>0.1275797373358349</c:v>
                </c:pt>
                <c:pt idx="11">
                  <c:v>0.11687972867205844</c:v>
                </c:pt>
                <c:pt idx="12">
                  <c:v>0.11349372384937238</c:v>
                </c:pt>
                <c:pt idx="13">
                  <c:v>0.11419753086419752</c:v>
                </c:pt>
                <c:pt idx="14">
                  <c:v>0.12167657178604942</c:v>
                </c:pt>
                <c:pt idx="15">
                  <c:v>0.10918187168922895</c:v>
                </c:pt>
                <c:pt idx="16">
                  <c:v>0.11107038123167155</c:v>
                </c:pt>
                <c:pt idx="17">
                  <c:v>0.09284116331096197</c:v>
                </c:pt>
                <c:pt idx="18">
                  <c:v>0.08732269503546099</c:v>
                </c:pt>
                <c:pt idx="19">
                  <c:v>0.0916504854368932</c:v>
                </c:pt>
                <c:pt idx="20">
                  <c:v>0.08570139828597204</c:v>
                </c:pt>
                <c:pt idx="21">
                  <c:v>0.10378510378510379</c:v>
                </c:pt>
                <c:pt idx="22">
                  <c:v>0.09687906371911574</c:v>
                </c:pt>
                <c:pt idx="23">
                  <c:v>0.10816618911174786</c:v>
                </c:pt>
                <c:pt idx="24">
                  <c:v>0.11024182076813656</c:v>
                </c:pt>
                <c:pt idx="25">
                  <c:v>0.1222707423580786</c:v>
                </c:pt>
                <c:pt idx="26">
                  <c:v>0.10988372093023256</c:v>
                </c:pt>
                <c:pt idx="27">
                  <c:v>0.10836693548387097</c:v>
                </c:pt>
                <c:pt idx="28">
                  <c:v>0.1045</c:v>
                </c:pt>
                <c:pt idx="29">
                  <c:v>0.10089686098654709</c:v>
                </c:pt>
                <c:pt idx="30">
                  <c:v>0.13241525423728814</c:v>
                </c:pt>
                <c:pt idx="31">
                  <c:v>0.1367231638418079</c:v>
                </c:pt>
                <c:pt idx="32">
                  <c:v>0.11477210323997804</c:v>
                </c:pt>
                <c:pt idx="33">
                  <c:v>0.12290730910575745</c:v>
                </c:pt>
                <c:pt idx="34">
                  <c:v>0.12727886563133017</c:v>
                </c:pt>
                <c:pt idx="35">
                  <c:v>0.12968591691995948</c:v>
                </c:pt>
                <c:pt idx="36">
                  <c:v>0.10693792383933229</c:v>
                </c:pt>
                <c:pt idx="37">
                  <c:v>0.10023866348448687</c:v>
                </c:pt>
                <c:pt idx="38">
                  <c:v>0.10734463276836158</c:v>
                </c:pt>
                <c:pt idx="39">
                  <c:v>0.11294526498696786</c:v>
                </c:pt>
                <c:pt idx="40">
                  <c:v>0.11776691116544417</c:v>
                </c:pt>
                <c:pt idx="41">
                  <c:v>0.11822315494928297</c:v>
                </c:pt>
                <c:pt idx="42">
                  <c:v>0.12822719449225473</c:v>
                </c:pt>
                <c:pt idx="43">
                  <c:v>0.09609292502639916</c:v>
                </c:pt>
                <c:pt idx="44">
                  <c:v>0.08977978543195934</c:v>
                </c:pt>
                <c:pt idx="45">
                  <c:v>0.09708108108108109</c:v>
                </c:pt>
                <c:pt idx="46">
                  <c:v>0.09027955886124647</c:v>
                </c:pt>
                <c:pt idx="47">
                  <c:v>0.08882326215356656</c:v>
                </c:pt>
                <c:pt idx="48">
                  <c:v>0.0830576993752297</c:v>
                </c:pt>
                <c:pt idx="49">
                  <c:v>0.09234608985024959</c:v>
                </c:pt>
                <c:pt idx="50">
                  <c:v>0.09464189553042542</c:v>
                </c:pt>
                <c:pt idx="51">
                  <c:v>0.087684069611780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4.3712309451779</c:v>
                </c:pt>
              </c:numCache>
            </c:numRef>
          </c:xVal>
          <c:yVal>
            <c:numRef>
              <c:f>Sheet1!$B$163:$B$164</c:f>
              <c:numCache>
                <c:formatCode>General</c:formatCode>
                <c:ptCount val="2"/>
                <c:pt idx="0">
                  <c:v>0.15464622225753338</c:v>
                </c:pt>
                <c:pt idx="1">
                  <c:v>0.1546462222575333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4.3712309451779</c:v>
                </c:pt>
                <c:pt idx="1">
                  <c:v>354.3712309451779</c:v>
                </c:pt>
              </c:numCache>
            </c:numRef>
          </c:xVal>
          <c:yVal>
            <c:numRef>
              <c:f>Sheet1!$B$167:$B$168</c:f>
              <c:numCache>
                <c:formatCode>General</c:formatCode>
                <c:ptCount val="2"/>
                <c:pt idx="0">
                  <c:v>0.154646222257533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3.0860320283955</c:v>
                </c:pt>
              </c:numCache>
            </c:numRef>
          </c:xVal>
          <c:yVal>
            <c:numRef>
              <c:f>Sheet1!$B$171:$B$172</c:f>
              <c:numCache>
                <c:formatCode>General</c:formatCode>
                <c:ptCount val="2"/>
                <c:pt idx="0">
                  <c:v>0.11502323303183777</c:v>
                </c:pt>
                <c:pt idx="1">
                  <c:v>0.1150232330318377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3.0860320283955</c:v>
                </c:pt>
                <c:pt idx="1">
                  <c:v>1073.0860320283955</c:v>
                </c:pt>
              </c:numCache>
            </c:numRef>
          </c:xVal>
          <c:yVal>
            <c:numRef>
              <c:f>Sheet1!$B$175:$B$176</c:f>
              <c:numCache>
                <c:formatCode>General</c:formatCode>
                <c:ptCount val="2"/>
                <c:pt idx="0">
                  <c:v>0.1150232330318377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9.8471480365642</c:v>
                </c:pt>
              </c:numCache>
            </c:numRef>
          </c:xVal>
          <c:yVal>
            <c:numRef>
              <c:f>Sheet1!$B$179:$B$180</c:f>
              <c:numCache>
                <c:formatCode>General</c:formatCode>
                <c:ptCount val="2"/>
                <c:pt idx="0">
                  <c:v>0.09976529942429901</c:v>
                </c:pt>
                <c:pt idx="1">
                  <c:v>0.0997652994242990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9.8471480365642</c:v>
                </c:pt>
                <c:pt idx="1">
                  <c:v>1349.8471480365642</c:v>
                </c:pt>
              </c:numCache>
            </c:numRef>
          </c:xVal>
          <c:yVal>
            <c:numRef>
              <c:f>Sheet1!$B$183:$B$184</c:f>
              <c:numCache>
                <c:formatCode>General</c:formatCode>
                <c:ptCount val="2"/>
                <c:pt idx="0">
                  <c:v>0.099765299424299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8.0214</c:v>
                </c:pt>
                <c:pt idx="1">
                  <c:v>1155.5764</c:v>
                </c:pt>
                <c:pt idx="2">
                  <c:v>1158.669</c:v>
                </c:pt>
                <c:pt idx="3">
                  <c:v>1178.1743</c:v>
                </c:pt>
                <c:pt idx="4">
                  <c:v>1204.2543</c:v>
                </c:pt>
                <c:pt idx="5">
                  <c:v>1255.1339</c:v>
                </c:pt>
                <c:pt idx="6">
                  <c:v>1190.1467</c:v>
                </c:pt>
                <c:pt idx="7">
                  <c:v>1277.7838</c:v>
                </c:pt>
                <c:pt idx="8">
                  <c:v>1378.4977</c:v>
                </c:pt>
                <c:pt idx="9">
                  <c:v>1318.8738</c:v>
                </c:pt>
                <c:pt idx="10">
                  <c:v>1317.3559</c:v>
                </c:pt>
                <c:pt idx="11">
                  <c:v>1242.4665</c:v>
                </c:pt>
                <c:pt idx="12">
                  <c:v>1217.9954</c:v>
                </c:pt>
                <c:pt idx="13">
                  <c:v>1230.5651</c:v>
                </c:pt>
                <c:pt idx="14">
                  <c:v>1217.2905</c:v>
                </c:pt>
                <c:pt idx="15">
                  <c:v>1264.2156</c:v>
                </c:pt>
                <c:pt idx="16">
                  <c:v>1287.5677</c:v>
                </c:pt>
                <c:pt idx="17">
                  <c:v>1212.8635</c:v>
                </c:pt>
                <c:pt idx="18">
                  <c:v>1281.9898</c:v>
                </c:pt>
                <c:pt idx="19">
                  <c:v>1419.1864</c:v>
                </c:pt>
                <c:pt idx="20">
                  <c:v>1366.5789</c:v>
                </c:pt>
                <c:pt idx="21">
                  <c:v>1246.2118</c:v>
                </c:pt>
                <c:pt idx="22">
                  <c:v>1316.7315</c:v>
                </c:pt>
                <c:pt idx="23">
                  <c:v>1288.2119</c:v>
                </c:pt>
                <c:pt idx="24">
                  <c:v>1219.3032</c:v>
                </c:pt>
                <c:pt idx="25">
                  <c:v>1138.4464</c:v>
                </c:pt>
                <c:pt idx="26">
                  <c:v>1089.9683</c:v>
                </c:pt>
                <c:pt idx="27">
                  <c:v>1160.2651</c:v>
                </c:pt>
                <c:pt idx="28">
                  <c:v>1211.8756</c:v>
                </c:pt>
                <c:pt idx="29">
                  <c:v>1242.8444</c:v>
                </c:pt>
                <c:pt idx="30">
                  <c:v>1071.984</c:v>
                </c:pt>
                <c:pt idx="31">
                  <c:v>922.876</c:v>
                </c:pt>
                <c:pt idx="32">
                  <c:v>1077.9952</c:v>
                </c:pt>
                <c:pt idx="33">
                  <c:v>1235.103</c:v>
                </c:pt>
                <c:pt idx="34">
                  <c:v>1243.7984</c:v>
                </c:pt>
                <c:pt idx="35">
                  <c:v>1201.9167</c:v>
                </c:pt>
                <c:pt idx="36">
                  <c:v>1188.4</c:v>
                </c:pt>
                <c:pt idx="37">
                  <c:v>1360.8429</c:v>
                </c:pt>
                <c:pt idx="38">
                  <c:v>1278.0987</c:v>
                </c:pt>
                <c:pt idx="39">
                  <c:v>1197.8923</c:v>
                </c:pt>
                <c:pt idx="40">
                  <c:v>1229.3633</c:v>
                </c:pt>
                <c:pt idx="41">
                  <c:v>1202.6716</c:v>
                </c:pt>
                <c:pt idx="42">
                  <c:v>1083.4262</c:v>
                </c:pt>
                <c:pt idx="43">
                  <c:v>1256.8828</c:v>
                </c:pt>
                <c:pt idx="44">
                  <c:v>1239.3459</c:v>
                </c:pt>
                <c:pt idx="45">
                  <c:v>1165.3118</c:v>
                </c:pt>
                <c:pt idx="46">
                  <c:v>1207.8523</c:v>
                </c:pt>
                <c:pt idx="47">
                  <c:v>1184.821</c:v>
                </c:pt>
                <c:pt idx="48">
                  <c:v>1101.3673</c:v>
                </c:pt>
                <c:pt idx="49">
                  <c:v>1206.7072</c:v>
                </c:pt>
                <c:pt idx="50">
                  <c:v>1162.8307</c:v>
                </c:pt>
                <c:pt idx="51">
                  <c:v>1115.0611</c:v>
                </c:pt>
                <c:pt idx="52">
                  <c:v>1073.0860320283955</c:v>
                </c:pt>
                <c:pt idx="53">
                  <c:v>354.3712309451779</c:v>
                </c:pt>
                <c:pt idx="54">
                  <c:v>1349.8471480365642</c:v>
                </c:pt>
              </c:numCache>
            </c:numRef>
          </c:xVal>
          <c:yVal>
            <c:numRef>
              <c:f>Sheet1!$B$187:$B$241</c:f>
              <c:numCache>
                <c:formatCode>General</c:formatCode>
                <c:ptCount val="55"/>
                <c:pt idx="0">
                  <c:v>0.11309723442063856</c:v>
                </c:pt>
                <c:pt idx="1">
                  <c:v>0.11047551124228178</c:v>
                </c:pt>
                <c:pt idx="2">
                  <c:v>0.11030501516192458</c:v>
                </c:pt>
                <c:pt idx="3">
                  <c:v>0.10922968139868619</c:v>
                </c:pt>
                <c:pt idx="4">
                  <c:v>0.10779188220845287</c:v>
                </c:pt>
                <c:pt idx="5">
                  <c:v>0.10498687271154357</c:v>
                </c:pt>
                <c:pt idx="6">
                  <c:v>0.10856963895140286</c:v>
                </c:pt>
                <c:pt idx="7">
                  <c:v>0.10373817609042144</c:v>
                </c:pt>
                <c:pt idx="8">
                  <c:v>0.09818578483791998</c:v>
                </c:pt>
                <c:pt idx="9">
                  <c:v>0.1014728705410853</c:v>
                </c:pt>
                <c:pt idx="10">
                  <c:v>0.1015565528796917</c:v>
                </c:pt>
                <c:pt idx="11">
                  <c:v>0.10568523074307584</c:v>
                </c:pt>
                <c:pt idx="12">
                  <c:v>0.10703433073403129</c:v>
                </c:pt>
                <c:pt idx="13">
                  <c:v>0.1063413589364287</c:v>
                </c:pt>
                <c:pt idx="14">
                  <c:v>0.107073192108617</c:v>
                </c:pt>
                <c:pt idx="15">
                  <c:v>0.10448619552956728</c:v>
                </c:pt>
                <c:pt idx="16">
                  <c:v>0.10319878638576946</c:v>
                </c:pt>
                <c:pt idx="17">
                  <c:v>0.10731725411073215</c:v>
                </c:pt>
                <c:pt idx="18">
                  <c:v>0.10350629789279409</c:v>
                </c:pt>
                <c:pt idx="19">
                  <c:v>0.09594260309284153</c:v>
                </c:pt>
                <c:pt idx="20">
                  <c:v>0.09884287229913749</c:v>
                </c:pt>
                <c:pt idx="21">
                  <c:v>0.10547875109172687</c:v>
                </c:pt>
                <c:pt idx="22">
                  <c:v>0.10159097626214499</c:v>
                </c:pt>
                <c:pt idx="23">
                  <c:v>0.1031632714226426</c:v>
                </c:pt>
                <c:pt idx="24">
                  <c:v>0.10696223127923883</c:v>
                </c:pt>
                <c:pt idx="25">
                  <c:v>0.11141989391592812</c:v>
                </c:pt>
                <c:pt idx="26">
                  <c:v>0.11409250790841466</c:v>
                </c:pt>
                <c:pt idx="27">
                  <c:v>0.11021702163096096</c:v>
                </c:pt>
                <c:pt idx="28">
                  <c:v>0.10737171737070267</c:v>
                </c:pt>
                <c:pt idx="29">
                  <c:v>0.10566439698870508</c:v>
                </c:pt>
                <c:pt idx="30">
                  <c:v>0.11508398842900182</c:v>
                </c:pt>
                <c:pt idx="31">
                  <c:v>0.12330436272567773</c:v>
                </c:pt>
                <c:pt idx="32">
                  <c:v>0.11475258894693392</c:v>
                </c:pt>
                <c:pt idx="33">
                  <c:v>0.10609118297993485</c:v>
                </c:pt>
                <c:pt idx="34">
                  <c:v>0.10561180264716051</c:v>
                </c:pt>
                <c:pt idx="35">
                  <c:v>0.10792075488433821</c:v>
                </c:pt>
                <c:pt idx="36">
                  <c:v>0.10866593511112603</c:v>
                </c:pt>
                <c:pt idx="37">
                  <c:v>0.09915909991244953</c:v>
                </c:pt>
                <c:pt idx="38">
                  <c:v>0.10372081554728477</c:v>
                </c:pt>
                <c:pt idx="39">
                  <c:v>0.10814262141275749</c:v>
                </c:pt>
                <c:pt idx="40">
                  <c:v>0.10640761457549397</c:v>
                </c:pt>
                <c:pt idx="41">
                  <c:v>0.10787913699290005</c:v>
                </c:pt>
                <c:pt idx="42">
                  <c:v>0.11445317608642176</c:v>
                </c:pt>
                <c:pt idx="43">
                  <c:v>0.10489045526507888</c:v>
                </c:pt>
                <c:pt idx="44">
                  <c:v>0.1058572704728704</c:v>
                </c:pt>
                <c:pt idx="45">
                  <c:v>0.10993879535897667</c:v>
                </c:pt>
                <c:pt idx="46">
                  <c:v>0.10759352325575121</c:v>
                </c:pt>
                <c:pt idx="47">
                  <c:v>0.10886324658742377</c:v>
                </c:pt>
                <c:pt idx="48">
                  <c:v>0.11346407719639515</c:v>
                </c:pt>
                <c:pt idx="49">
                  <c:v>0.10765665300470581</c:v>
                </c:pt>
                <c:pt idx="50">
                  <c:v>0.1100755792382285</c:v>
                </c:pt>
                <c:pt idx="51">
                  <c:v>0.11270913338691596</c:v>
                </c:pt>
                <c:pt idx="52">
                  <c:v>0.11502323303183777</c:v>
                </c:pt>
                <c:pt idx="53">
                  <c:v>0.15464622225753338</c:v>
                </c:pt>
                <c:pt idx="54">
                  <c:v>0.099765299424299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3.0"/>
          <c:min val="2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634824667472794"/>
          <c:min val="0.049583333333333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3.122447607854799</c:v>
                </c:pt>
                <c:pt idx="1">
                  <c:v>0.0</c:v>
                </c:pt>
                <c:pt idx="2">
                  <c:v>0.0</c:v>
                </c:pt>
                <c:pt idx="3">
                  <c:v>0.0</c:v>
                </c:pt>
                <c:pt idx="4">
                  <c:v>2.86164658852486</c:v>
                </c:pt>
                <c:pt idx="5">
                  <c:v>3.2175059134239543</c:v>
                </c:pt>
                <c:pt idx="6">
                  <c:v>2.927885938139424</c:v>
                </c:pt>
                <c:pt idx="7">
                  <c:v>7.10429711873857</c:v>
                </c:pt>
                <c:pt idx="8">
                  <c:v>3.8785056732565946</c:v>
                </c:pt>
                <c:pt idx="9">
                  <c:v>3.6497253555674742</c:v>
                </c:pt>
                <c:pt idx="10">
                  <c:v>5.951971918814164</c:v>
                </c:pt>
                <c:pt idx="11">
                  <c:v>4.351457911032901</c:v>
                </c:pt>
                <c:pt idx="12">
                  <c:v>5.677052130310519</c:v>
                </c:pt>
                <c:pt idx="13">
                  <c:v>5.060902699875931</c:v>
                </c:pt>
                <c:pt idx="14">
                  <c:v>4.008755603977959</c:v>
                </c:pt>
                <c:pt idx="15">
                  <c:v>4.183233452474315</c:v>
                </c:pt>
                <c:pt idx="16">
                  <c:v>2.591653534557757</c:v>
                </c:pt>
                <c:pt idx="17">
                  <c:v>1.554989868562655</c:v>
                </c:pt>
                <c:pt idx="18">
                  <c:v>1.9788341347611578</c:v>
                </c:pt>
                <c:pt idx="19">
                  <c:v>2.3177330866197354</c:v>
                </c:pt>
                <c:pt idx="20">
                  <c:v>2.5775885459061216</c:v>
                </c:pt>
                <c:pt idx="21">
                  <c:v>2.577615144017766</c:v>
                </c:pt>
                <c:pt idx="22">
                  <c:v>2.0279989467038773</c:v>
                </c:pt>
                <c:pt idx="23">
                  <c:v>8.377018602167608</c:v>
                </c:pt>
                <c:pt idx="24">
                  <c:v>8.360631750087098</c:v>
                </c:pt>
                <c:pt idx="25">
                  <c:v>8.53391730729919</c:v>
                </c:pt>
                <c:pt idx="26">
                  <c:v>9.204783598126905</c:v>
                </c:pt>
                <c:pt idx="27">
                  <c:v>10.26678783084681</c:v>
                </c:pt>
                <c:pt idx="28">
                  <c:v>13.359913856342468</c:v>
                </c:pt>
                <c:pt idx="29">
                  <c:v>7.3656878116285185</c:v>
                </c:pt>
                <c:pt idx="30">
                  <c:v>5.095399731372785</c:v>
                </c:pt>
                <c:pt idx="31">
                  <c:v>7.925159424523871</c:v>
                </c:pt>
                <c:pt idx="32">
                  <c:v>6.715441822924924</c:v>
                </c:pt>
                <c:pt idx="33">
                  <c:v>5.207426540584038</c:v>
                </c:pt>
                <c:pt idx="34">
                  <c:v>8.45461803586417</c:v>
                </c:pt>
                <c:pt idx="35">
                  <c:v>8.513400530613103</c:v>
                </c:pt>
                <c:pt idx="36">
                  <c:v>9.553531507405495</c:v>
                </c:pt>
                <c:pt idx="37">
                  <c:v>7.516760815771408</c:v>
                </c:pt>
                <c:pt idx="38">
                  <c:v>9.820516127461792</c:v>
                </c:pt>
                <c:pt idx="39">
                  <c:v>9.096446279939682</c:v>
                </c:pt>
                <c:pt idx="40">
                  <c:v>9.077502444975059</c:v>
                </c:pt>
                <c:pt idx="41">
                  <c:v>8.09893211863479</c:v>
                </c:pt>
                <c:pt idx="42">
                  <c:v>8.623792165133754</c:v>
                </c:pt>
                <c:pt idx="43">
                  <c:v>9.461599964464977</c:v>
                </c:pt>
                <c:pt idx="44">
                  <c:v>6.968266834333219</c:v>
                </c:pt>
                <c:pt idx="45">
                  <c:v>8.220781210491372</c:v>
                </c:pt>
                <c:pt idx="46">
                  <c:v>8.614769061713515</c:v>
                </c:pt>
                <c:pt idx="47">
                  <c:v>8.574519512669047</c:v>
                </c:pt>
                <c:pt idx="48">
                  <c:v>7.245703262733129</c:v>
                </c:pt>
                <c:pt idx="49">
                  <c:v>6.835649191134646</c:v>
                </c:pt>
                <c:pt idx="50">
                  <c:v>7.445520163801443</c:v>
                </c:pt>
                <c:pt idx="51">
                  <c:v>7.590280348124048</c:v>
                </c:pt>
                <c:pt idx="52">
                  <c:v>6.855781072286242</c:v>
                </c:pt>
              </c:numCache>
            </c:numRef>
          </c:xVal>
          <c:yVal>
            <c:numRef>
              <c:f>Sheet1!$B$2:$B$54</c:f>
              <c:numCache>
                <c:formatCode>General</c:formatCode>
                <c:ptCount val="53"/>
                <c:pt idx="0">
                  <c:v>0.00022696323195642307</c:v>
                </c:pt>
                <c:pt idx="1">
                  <c:v>0.0</c:v>
                </c:pt>
                <c:pt idx="2">
                  <c:v>0.0</c:v>
                </c:pt>
                <c:pt idx="3">
                  <c:v>0.0</c:v>
                </c:pt>
                <c:pt idx="4">
                  <c:v>0.0003158559696778269</c:v>
                </c:pt>
                <c:pt idx="5">
                  <c:v>0.00031191515907673113</c:v>
                </c:pt>
                <c:pt idx="6">
                  <c:v>0.00032797638570022957</c:v>
                </c:pt>
                <c:pt idx="7">
                  <c:v>0.00019868865487780648</c:v>
                </c:pt>
                <c:pt idx="8">
                  <c:v>0.00046992481203007516</c:v>
                </c:pt>
                <c:pt idx="9">
                  <c:v>0.0005376344086021505</c:v>
                </c:pt>
                <c:pt idx="10">
                  <c:v>0.00026932399676811203</c:v>
                </c:pt>
                <c:pt idx="11">
                  <c:v>0.00047427080863172874</c:v>
                </c:pt>
                <c:pt idx="12">
                  <c:v>0.00021404109589041095</c:v>
                </c:pt>
                <c:pt idx="13">
                  <c:v>0.0004590314436538903</c:v>
                </c:pt>
                <c:pt idx="14">
                  <c:v>0.00022578460149017836</c:v>
                </c:pt>
                <c:pt idx="15">
                  <c:v>0.0002256317689530686</c:v>
                </c:pt>
                <c:pt idx="16">
                  <c:v>0.0005117707267144319</c:v>
                </c:pt>
                <c:pt idx="17">
                  <c:v>0.0003508771929824561</c:v>
                </c:pt>
                <c:pt idx="18">
                  <c:v>0.0006499837504062399</c:v>
                </c:pt>
                <c:pt idx="19">
                  <c:v>0.0007183908045977011</c:v>
                </c:pt>
                <c:pt idx="20">
                  <c:v>0.000328515111695138</c:v>
                </c:pt>
                <c:pt idx="21">
                  <c:v>0.00036114120621162876</c:v>
                </c:pt>
                <c:pt idx="22">
                  <c:v>0.0011198208286674132</c:v>
                </c:pt>
                <c:pt idx="23">
                  <c:v>0.0007779074290159471</c:v>
                </c:pt>
                <c:pt idx="24">
                  <c:v>0.001122754491017964</c:v>
                </c:pt>
                <c:pt idx="25">
                  <c:v>0.001256281407035176</c:v>
                </c:pt>
                <c:pt idx="26">
                  <c:v>0.0009033423667570009</c:v>
                </c:pt>
                <c:pt idx="27">
                  <c:v>0.0012091898428053204</c:v>
                </c:pt>
                <c:pt idx="28">
                  <c:v>0.0008084074373484236</c:v>
                </c:pt>
                <c:pt idx="29">
                  <c:v>0.0014487504527345165</c:v>
                </c:pt>
                <c:pt idx="30">
                  <c:v>0.0021026072329688814</c:v>
                </c:pt>
                <c:pt idx="31">
                  <c:v>0.0017482517482517483</c:v>
                </c:pt>
                <c:pt idx="32">
                  <c:v>0.0013895321908290875</c:v>
                </c:pt>
                <c:pt idx="33">
                  <c:v>0.001702127659574468</c:v>
                </c:pt>
                <c:pt idx="34">
                  <c:v>0.0014863258026159335</c:v>
                </c:pt>
                <c:pt idx="35">
                  <c:v>0.0011524056467876692</c:v>
                </c:pt>
                <c:pt idx="36">
                  <c:v>0.0018077734257306419</c:v>
                </c:pt>
                <c:pt idx="37">
                  <c:v>0.003119584055459272</c:v>
                </c:pt>
                <c:pt idx="38">
                  <c:v>0.0023961661341853034</c:v>
                </c:pt>
                <c:pt idx="39">
                  <c:v>0.0023894862604540022</c:v>
                </c:pt>
                <c:pt idx="40">
                  <c:v>0.0025559105431309905</c:v>
                </c:pt>
                <c:pt idx="41">
                  <c:v>0.0022264631043256997</c:v>
                </c:pt>
                <c:pt idx="42">
                  <c:v>0.0021109770808202654</c:v>
                </c:pt>
                <c:pt idx="43">
                  <c:v>0.0018229166666666667</c:v>
                </c:pt>
                <c:pt idx="44">
                  <c:v>0.002609019754006709</c:v>
                </c:pt>
                <c:pt idx="45">
                  <c:v>0.0023458445040214475</c:v>
                </c:pt>
                <c:pt idx="46">
                  <c:v>0.0022754854368932037</c:v>
                </c:pt>
                <c:pt idx="47">
                  <c:v>0.0026580861779518746</c:v>
                </c:pt>
                <c:pt idx="48">
                  <c:v>0.002316521006633674</c:v>
                </c:pt>
                <c:pt idx="49">
                  <c:v>0.003197291705849163</c:v>
                </c:pt>
                <c:pt idx="50">
                  <c:v>0.0031572904707233064</c:v>
                </c:pt>
                <c:pt idx="51">
                  <c:v>0.0029688273132112814</c:v>
                </c:pt>
                <c:pt idx="52">
                  <c:v>0.0031627372052903968</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5.954272293909149</c:v>
                </c:pt>
                <c:pt idx="1">
                  <c:v>6.560019554849867</c:v>
                </c:pt>
                <c:pt idx="2">
                  <c:v>6.265639337487875</c:v>
                </c:pt>
                <c:pt idx="3">
                  <c:v>5.85397044176206</c:v>
                </c:pt>
                <c:pt idx="4">
                  <c:v>5.910588011711783</c:v>
                </c:pt>
                <c:pt idx="5">
                  <c:v>8.120032234974376</c:v>
                </c:pt>
                <c:pt idx="6">
                  <c:v>8.106301343625022</c:v>
                </c:pt>
                <c:pt idx="7">
                  <c:v>6.587495458111791</c:v>
                </c:pt>
                <c:pt idx="8">
                  <c:v>6.063050317667854</c:v>
                </c:pt>
                <c:pt idx="9">
                  <c:v>6.430103239273004</c:v>
                </c:pt>
                <c:pt idx="10">
                  <c:v>7.544020774115292</c:v>
                </c:pt>
                <c:pt idx="11">
                  <c:v>6.405105784968106</c:v>
                </c:pt>
                <c:pt idx="12">
                  <c:v>7.30658643855504</c:v>
                </c:pt>
                <c:pt idx="13">
                  <c:v>5.240548918111639</c:v>
                </c:pt>
                <c:pt idx="14">
                  <c:v>5.162166898836672</c:v>
                </c:pt>
                <c:pt idx="15">
                  <c:v>5.908343581006</c:v>
                </c:pt>
                <c:pt idx="16">
                  <c:v>5.036062038258651</c:v>
                </c:pt>
                <c:pt idx="17">
                  <c:v>3.497402262813792</c:v>
                </c:pt>
                <c:pt idx="18">
                  <c:v>5.083888241581375</c:v>
                </c:pt>
                <c:pt idx="19">
                  <c:v>5.920341190107495</c:v>
                </c:pt>
                <c:pt idx="20">
                  <c:v>5.351264738923019</c:v>
                </c:pt>
                <c:pt idx="21">
                  <c:v>4.3431309979709685</c:v>
                </c:pt>
                <c:pt idx="22">
                  <c:v>4.944457656587331</c:v>
                </c:pt>
                <c:pt idx="23">
                  <c:v>2.324134958609409</c:v>
                </c:pt>
                <c:pt idx="24">
                  <c:v>4.589040517163873</c:v>
                </c:pt>
                <c:pt idx="25">
                  <c:v>5.838093636070279</c:v>
                </c:pt>
                <c:pt idx="26">
                  <c:v>5.388840389931617</c:v>
                </c:pt>
                <c:pt idx="27">
                  <c:v>3.533144638324157</c:v>
                </c:pt>
                <c:pt idx="28">
                  <c:v>4.430803281063427</c:v>
                </c:pt>
                <c:pt idx="29">
                  <c:v>4.249140662944873</c:v>
                </c:pt>
                <c:pt idx="30">
                  <c:v>4.244956799906619</c:v>
                </c:pt>
                <c:pt idx="31">
                  <c:v>3.230254811904102</c:v>
                </c:pt>
                <c:pt idx="32">
                  <c:v>4.177082967890443</c:v>
                </c:pt>
                <c:pt idx="33">
                  <c:v>5.581179531820116</c:v>
                </c:pt>
                <c:pt idx="34">
                  <c:v>6.5253451793013335</c:v>
                </c:pt>
                <c:pt idx="35">
                  <c:v>3.7748300677585553</c:v>
                </c:pt>
                <c:pt idx="36">
                  <c:v>5.344551199532676</c:v>
                </c:pt>
                <c:pt idx="37">
                  <c:v>5.290836653386454</c:v>
                </c:pt>
                <c:pt idx="38">
                  <c:v>4.0314155710894735</c:v>
                </c:pt>
                <c:pt idx="39">
                  <c:v>2.7848452939368102</c:v>
                </c:pt>
                <c:pt idx="40">
                  <c:v>2.476177910054341</c:v>
                </c:pt>
                <c:pt idx="41">
                  <c:v>2.6106128661904706</c:v>
                </c:pt>
                <c:pt idx="42">
                  <c:v>2.448039123598885</c:v>
                </c:pt>
                <c:pt idx="43">
                  <c:v>2.5741005571137063</c:v>
                </c:pt>
                <c:pt idx="44">
                  <c:v>4.204744673397333</c:v>
                </c:pt>
                <c:pt idx="45">
                  <c:v>4.750317745383566</c:v>
                </c:pt>
                <c:pt idx="46">
                  <c:v>4.862659328806841</c:v>
                </c:pt>
                <c:pt idx="47">
                  <c:v>5.279526742180663</c:v>
                </c:pt>
                <c:pt idx="48">
                  <c:v>4.1173996691657475</c:v>
                </c:pt>
                <c:pt idx="49">
                  <c:v>4.0568568225190536</c:v>
                </c:pt>
                <c:pt idx="50">
                  <c:v>5.0341938414901355</c:v>
                </c:pt>
                <c:pt idx="51">
                  <c:v>7.220247334214532</c:v>
                </c:pt>
              </c:numCache>
            </c:numRef>
          </c:xVal>
          <c:yVal>
            <c:numRef>
              <c:f>Sheet1!$B$57:$B$108</c:f>
              <c:numCache>
                <c:formatCode>General</c:formatCode>
                <c:ptCount val="52"/>
                <c:pt idx="0">
                  <c:v>0.0027940055880111762</c:v>
                </c:pt>
                <c:pt idx="1">
                  <c:v>0.002967359050445104</c:v>
                </c:pt>
                <c:pt idx="2">
                  <c:v>0.003270440251572327</c:v>
                </c:pt>
                <c:pt idx="3">
                  <c:v>0.003498542274052478</c:v>
                </c:pt>
                <c:pt idx="4">
                  <c:v>0.004248088360237893</c:v>
                </c:pt>
                <c:pt idx="5">
                  <c:v>0.0025023459493274947</c:v>
                </c:pt>
                <c:pt idx="6">
                  <c:v>0.003094777562862669</c:v>
                </c:pt>
                <c:pt idx="7">
                  <c:v>0.0037641154328732747</c:v>
                </c:pt>
                <c:pt idx="8">
                  <c:v>0.004187994416007445</c:v>
                </c:pt>
                <c:pt idx="9">
                  <c:v>0.0036646816307833257</c:v>
                </c:pt>
                <c:pt idx="10">
                  <c:v>0.00300187617260788</c:v>
                </c:pt>
                <c:pt idx="11">
                  <c:v>0.003652491521001826</c:v>
                </c:pt>
                <c:pt idx="12">
                  <c:v>0.003399581589958159</c:v>
                </c:pt>
                <c:pt idx="13">
                  <c:v>0.007014590347923681</c:v>
                </c:pt>
                <c:pt idx="14">
                  <c:v>0.007507037847982484</c:v>
                </c:pt>
                <c:pt idx="15">
                  <c:v>0.007651559741024131</c:v>
                </c:pt>
                <c:pt idx="16">
                  <c:v>0.008064516129032258</c:v>
                </c:pt>
                <c:pt idx="17">
                  <c:v>0.01267710663683818</c:v>
                </c:pt>
                <c:pt idx="18">
                  <c:v>0.005319148936170213</c:v>
                </c:pt>
                <c:pt idx="19">
                  <c:v>0.004660194174757282</c:v>
                </c:pt>
                <c:pt idx="20">
                  <c:v>0.005863779882724403</c:v>
                </c:pt>
                <c:pt idx="21">
                  <c:v>0.008547008547008548</c:v>
                </c:pt>
                <c:pt idx="22">
                  <c:v>0.007152145643693108</c:v>
                </c:pt>
                <c:pt idx="23">
                  <c:v>0.012177650429799427</c:v>
                </c:pt>
                <c:pt idx="24">
                  <c:v>0.006401137980085348</c:v>
                </c:pt>
                <c:pt idx="25">
                  <c:v>0.005822416302765648</c:v>
                </c:pt>
                <c:pt idx="26">
                  <c:v>0.004651162790697674</c:v>
                </c:pt>
                <c:pt idx="27">
                  <c:v>0.008064516129032258</c:v>
                </c:pt>
                <c:pt idx="28">
                  <c:v>0.005</c:v>
                </c:pt>
                <c:pt idx="29">
                  <c:v>0.006726457399103139</c:v>
                </c:pt>
                <c:pt idx="30">
                  <c:v>0.006355932203389831</c:v>
                </c:pt>
                <c:pt idx="31">
                  <c:v>0.007909604519774011</c:v>
                </c:pt>
                <c:pt idx="32">
                  <c:v>0.0054914881933003845</c:v>
                </c:pt>
                <c:pt idx="33">
                  <c:v>0.0032666394446712946</c:v>
                </c:pt>
                <c:pt idx="34">
                  <c:v>0.003038487508440243</c:v>
                </c:pt>
                <c:pt idx="35">
                  <c:v>0.005403579871664978</c:v>
                </c:pt>
                <c:pt idx="36">
                  <c:v>0.004694835680751174</c:v>
                </c:pt>
                <c:pt idx="37">
                  <c:v>0.00477326968973747</c:v>
                </c:pt>
                <c:pt idx="38">
                  <c:v>0.00847457627118644</c:v>
                </c:pt>
                <c:pt idx="39">
                  <c:v>0.01259774109470026</c:v>
                </c:pt>
                <c:pt idx="40">
                  <c:v>0.011002444987775062</c:v>
                </c:pt>
                <c:pt idx="41">
                  <c:v>0.006995452955578874</c:v>
                </c:pt>
                <c:pt idx="42">
                  <c:v>0.012048192771084338</c:v>
                </c:pt>
                <c:pt idx="43">
                  <c:v>0.008095740936290039</c:v>
                </c:pt>
                <c:pt idx="44">
                  <c:v>0.0033879164313946925</c:v>
                </c:pt>
                <c:pt idx="45">
                  <c:v>0.0025945945945945945</c:v>
                </c:pt>
                <c:pt idx="46">
                  <c:v>0.0028212362144139523</c:v>
                </c:pt>
                <c:pt idx="47">
                  <c:v>0.002271694684234439</c:v>
                </c:pt>
                <c:pt idx="48">
                  <c:v>0.002940095553105476</c:v>
                </c:pt>
                <c:pt idx="49">
                  <c:v>0.0033277870216306157</c:v>
                </c:pt>
                <c:pt idx="50">
                  <c:v>0.002154011847065159</c:v>
                </c:pt>
                <c:pt idx="51">
                  <c:v>0.00200803212851405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4.357684498966274</c:v>
                </c:pt>
              </c:numCache>
            </c:numRef>
          </c:xVal>
          <c:yVal>
            <c:numRef>
              <c:f>Sheet1!$B$111:$B$112</c:f>
              <c:numCache>
                <c:formatCode>General</c:formatCode>
                <c:ptCount val="2"/>
                <c:pt idx="0">
                  <c:v>0.006550867398723562</c:v>
                </c:pt>
                <c:pt idx="1">
                  <c:v>0.006550867398723562</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4.357684498966274</c:v>
                </c:pt>
                <c:pt idx="1">
                  <c:v>4.357684498966274</c:v>
                </c:pt>
              </c:numCache>
            </c:numRef>
          </c:xVal>
          <c:yVal>
            <c:numRef>
              <c:f>Sheet1!$B$115:$B$116</c:f>
              <c:numCache>
                <c:formatCode>General</c:formatCode>
                <c:ptCount val="2"/>
                <c:pt idx="0">
                  <c:v>0.00655086739872356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4.357684498966274</c:v>
                </c:pt>
              </c:numCache>
            </c:numRef>
          </c:xVal>
          <c:yVal>
            <c:numRef>
              <c:f>Sheet1!$B$119:$B$120</c:f>
              <c:numCache>
                <c:formatCode>General</c:formatCode>
                <c:ptCount val="2"/>
                <c:pt idx="0">
                  <c:v>0.006550867398723562</c:v>
                </c:pt>
                <c:pt idx="1">
                  <c:v>0.006550867398723562</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4.357684498966274</c:v>
                </c:pt>
                <c:pt idx="1">
                  <c:v>4.357684498966274</c:v>
                </c:pt>
              </c:numCache>
            </c:numRef>
          </c:xVal>
          <c:yVal>
            <c:numRef>
              <c:f>Sheet1!$B$123:$B$124</c:f>
              <c:numCache>
                <c:formatCode>General</c:formatCode>
                <c:ptCount val="2"/>
                <c:pt idx="0">
                  <c:v>0.0065508673987235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5.049659912753245</c:v>
                </c:pt>
              </c:numCache>
            </c:numRef>
          </c:xVal>
          <c:yVal>
            <c:numRef>
              <c:f>Sheet1!$B$127:$B$128</c:f>
              <c:numCache>
                <c:formatCode>General</c:formatCode>
                <c:ptCount val="2"/>
                <c:pt idx="0">
                  <c:v>0.005557303170798582</c:v>
                </c:pt>
                <c:pt idx="1">
                  <c:v>0.005557303170798582</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5.049659912753245</c:v>
                </c:pt>
                <c:pt idx="1">
                  <c:v>5.049659912753245</c:v>
                </c:pt>
              </c:numCache>
            </c:numRef>
          </c:xVal>
          <c:yVal>
            <c:numRef>
              <c:f>Sheet1!$B$131:$B$132</c:f>
              <c:numCache>
                <c:formatCode>General</c:formatCode>
                <c:ptCount val="2"/>
                <c:pt idx="0">
                  <c:v>0.0055573031707985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5.954272293909149</c:v>
                </c:pt>
                <c:pt idx="1">
                  <c:v>6.560019554849867</c:v>
                </c:pt>
                <c:pt idx="2">
                  <c:v>6.265639337487875</c:v>
                </c:pt>
                <c:pt idx="3">
                  <c:v>5.85397044176206</c:v>
                </c:pt>
                <c:pt idx="4">
                  <c:v>5.910588011711783</c:v>
                </c:pt>
                <c:pt idx="5">
                  <c:v>8.120032234974376</c:v>
                </c:pt>
                <c:pt idx="6">
                  <c:v>8.106301343625022</c:v>
                </c:pt>
                <c:pt idx="7">
                  <c:v>6.587495458111791</c:v>
                </c:pt>
                <c:pt idx="8">
                  <c:v>6.063050317667854</c:v>
                </c:pt>
                <c:pt idx="9">
                  <c:v>6.430103239273004</c:v>
                </c:pt>
                <c:pt idx="10">
                  <c:v>7.544020774115292</c:v>
                </c:pt>
                <c:pt idx="11">
                  <c:v>6.405105784968106</c:v>
                </c:pt>
                <c:pt idx="12">
                  <c:v>7.30658643855504</c:v>
                </c:pt>
                <c:pt idx="13">
                  <c:v>5.240548918111639</c:v>
                </c:pt>
                <c:pt idx="14">
                  <c:v>5.162166898836672</c:v>
                </c:pt>
                <c:pt idx="15">
                  <c:v>5.908343581006</c:v>
                </c:pt>
                <c:pt idx="16">
                  <c:v>5.036062038258651</c:v>
                </c:pt>
                <c:pt idx="17">
                  <c:v>3.497402262813792</c:v>
                </c:pt>
                <c:pt idx="18">
                  <c:v>5.083888241581375</c:v>
                </c:pt>
                <c:pt idx="19">
                  <c:v>5.920341190107495</c:v>
                </c:pt>
                <c:pt idx="20">
                  <c:v>5.351264738923019</c:v>
                </c:pt>
                <c:pt idx="21">
                  <c:v>4.3431309979709685</c:v>
                </c:pt>
                <c:pt idx="22">
                  <c:v>4.944457656587331</c:v>
                </c:pt>
                <c:pt idx="23">
                  <c:v>2.324134958609409</c:v>
                </c:pt>
                <c:pt idx="24">
                  <c:v>4.589040517163873</c:v>
                </c:pt>
                <c:pt idx="25">
                  <c:v>5.838093636070279</c:v>
                </c:pt>
                <c:pt idx="26">
                  <c:v>5.388840389931617</c:v>
                </c:pt>
                <c:pt idx="27">
                  <c:v>3.533144638324157</c:v>
                </c:pt>
                <c:pt idx="28">
                  <c:v>4.430803281063427</c:v>
                </c:pt>
                <c:pt idx="29">
                  <c:v>4.249140662944873</c:v>
                </c:pt>
                <c:pt idx="30">
                  <c:v>4.244956799906619</c:v>
                </c:pt>
                <c:pt idx="31">
                  <c:v>3.230254811904102</c:v>
                </c:pt>
                <c:pt idx="32">
                  <c:v>4.177082967890443</c:v>
                </c:pt>
                <c:pt idx="33">
                  <c:v>5.581179531820116</c:v>
                </c:pt>
                <c:pt idx="34">
                  <c:v>6.5253451793013335</c:v>
                </c:pt>
                <c:pt idx="35">
                  <c:v>3.7748300677585553</c:v>
                </c:pt>
                <c:pt idx="36">
                  <c:v>5.344551199532676</c:v>
                </c:pt>
                <c:pt idx="37">
                  <c:v>5.290836653386454</c:v>
                </c:pt>
                <c:pt idx="38">
                  <c:v>4.0314155710894735</c:v>
                </c:pt>
                <c:pt idx="39">
                  <c:v>2.7848452939368102</c:v>
                </c:pt>
                <c:pt idx="40">
                  <c:v>2.476177910054341</c:v>
                </c:pt>
                <c:pt idx="41">
                  <c:v>2.6106128661904706</c:v>
                </c:pt>
                <c:pt idx="42">
                  <c:v>2.448039123598885</c:v>
                </c:pt>
                <c:pt idx="43">
                  <c:v>2.5741005571137063</c:v>
                </c:pt>
                <c:pt idx="44">
                  <c:v>4.204744673397333</c:v>
                </c:pt>
                <c:pt idx="45">
                  <c:v>4.750317745383566</c:v>
                </c:pt>
                <c:pt idx="46">
                  <c:v>4.862659328806841</c:v>
                </c:pt>
                <c:pt idx="47">
                  <c:v>5.279526742180663</c:v>
                </c:pt>
                <c:pt idx="48">
                  <c:v>4.1173996691657475</c:v>
                </c:pt>
                <c:pt idx="49">
                  <c:v>4.0568568225190536</c:v>
                </c:pt>
                <c:pt idx="50">
                  <c:v>5.0341938414901355</c:v>
                </c:pt>
                <c:pt idx="51">
                  <c:v>7.220247334214532</c:v>
                </c:pt>
                <c:pt idx="52">
                  <c:v>4.357684498966274</c:v>
                </c:pt>
                <c:pt idx="53">
                  <c:v>4.357684498966274</c:v>
                </c:pt>
                <c:pt idx="54">
                  <c:v>5.049659912753245</c:v>
                </c:pt>
              </c:numCache>
            </c:numRef>
          </c:xVal>
          <c:yVal>
            <c:numRef>
              <c:f>Sheet1!$B$135:$B$189</c:f>
              <c:numCache>
                <c:formatCode>General</c:formatCode>
                <c:ptCount val="55"/>
                <c:pt idx="0">
                  <c:v>0.004258426817467275</c:v>
                </c:pt>
                <c:pt idx="1">
                  <c:v>0.003388672202429003</c:v>
                </c:pt>
                <c:pt idx="2">
                  <c:v>0.0038113543491529317</c:v>
                </c:pt>
                <c:pt idx="3">
                  <c:v>0.0044024439751616205</c:v>
                </c:pt>
                <c:pt idx="4">
                  <c:v>0.004321150346727297</c:v>
                </c:pt>
                <c:pt idx="5">
                  <c:v>0.0011487475415244246</c:v>
                </c:pt>
                <c:pt idx="6">
                  <c:v>0.001168462869830066</c:v>
                </c:pt>
                <c:pt idx="7">
                  <c:v>0.0033492212709839465</c:v>
                </c:pt>
                <c:pt idx="8">
                  <c:v>0.004102239254964807</c:v>
                </c:pt>
                <c:pt idx="9">
                  <c:v>0.003575210916390771</c:v>
                </c:pt>
                <c:pt idx="10">
                  <c:v>0.001975806380583962</c:v>
                </c:pt>
                <c:pt idx="11">
                  <c:v>0.00361110319795409</c:v>
                </c:pt>
                <c:pt idx="12">
                  <c:v>0.002316723496414364</c:v>
                </c:pt>
                <c:pt idx="13">
                  <c:v>0.005283217584158552</c:v>
                </c:pt>
                <c:pt idx="14">
                  <c:v>0.0053957614244634165</c:v>
                </c:pt>
                <c:pt idx="15">
                  <c:v>0.00432437298443507</c:v>
                </c:pt>
                <c:pt idx="16">
                  <c:v>0.005576827508519924</c:v>
                </c:pt>
                <c:pt idx="17">
                  <c:v>0.007786092868776975</c:v>
                </c:pt>
                <c:pt idx="18">
                  <c:v>0.00550815685370739</c:v>
                </c:pt>
                <c:pt idx="19">
                  <c:v>0.004307146367728221</c:v>
                </c:pt>
                <c:pt idx="20">
                  <c:v>0.005124247660037223</c:v>
                </c:pt>
                <c:pt idx="21">
                  <c:v>0.006571763860782629</c:v>
                </c:pt>
                <c:pt idx="22">
                  <c:v>0.005708356512204771</c:v>
                </c:pt>
                <c:pt idx="23">
                  <c:v>0.009470714027311842</c:v>
                </c:pt>
                <c:pt idx="24">
                  <c:v>0.006218677758721322</c:v>
                </c:pt>
                <c:pt idx="25">
                  <c:v>0.004425240487689051</c:v>
                </c:pt>
                <c:pt idx="26">
                  <c:v>0.005070295132332779</c:v>
                </c:pt>
                <c:pt idx="27">
                  <c:v>0.007734772626727027</c:v>
                </c:pt>
                <c:pt idx="28">
                  <c:v>0.006445880711575834</c:v>
                </c:pt>
                <c:pt idx="29">
                  <c:v>0.0067067187056976275</c:v>
                </c:pt>
                <c:pt idx="30">
                  <c:v>0.006712726053020268</c:v>
                </c:pt>
                <c:pt idx="31">
                  <c:v>0.00816967318899761</c:v>
                </c:pt>
                <c:pt idx="32">
                  <c:v>0.00681018184430973</c:v>
                </c:pt>
                <c:pt idx="33">
                  <c:v>0.0047941273853251785</c:v>
                </c:pt>
                <c:pt idx="34">
                  <c:v>0.003438458970115037</c:v>
                </c:pt>
                <c:pt idx="35">
                  <c:v>0.0073877516310206235</c:v>
                </c:pt>
                <c:pt idx="36">
                  <c:v>0.005133887211454962</c:v>
                </c:pt>
                <c:pt idx="37">
                  <c:v>0.005211012569533857</c:v>
                </c:pt>
                <c:pt idx="38">
                  <c:v>0.007019336550897258</c:v>
                </c:pt>
                <c:pt idx="39">
                  <c:v>0.008809208864705664</c:v>
                </c:pt>
                <c:pt idx="40">
                  <c:v>0.009252405060469957</c:v>
                </c:pt>
                <c:pt idx="41">
                  <c:v>0.009059378313076526</c:v>
                </c:pt>
                <c:pt idx="42">
                  <c:v>0.009292807784442992</c:v>
                </c:pt>
                <c:pt idx="43">
                  <c:v>0.009111804054591069</c:v>
                </c:pt>
                <c:pt idx="44">
                  <c:v>0.0067704641310392085</c:v>
                </c:pt>
                <c:pt idx="45">
                  <c:v>0.005987109871271334</c:v>
                </c:pt>
                <c:pt idx="46">
                  <c:v>0.005825805616273369</c:v>
                </c:pt>
                <c:pt idx="47">
                  <c:v>0.005227251763833527</c:v>
                </c:pt>
                <c:pt idx="48">
                  <c:v>0.006895877360994191</c:v>
                </c:pt>
                <c:pt idx="49">
                  <c:v>0.006982807048792928</c:v>
                </c:pt>
                <c:pt idx="50">
                  <c:v>0.005579509935442817</c:v>
                </c:pt>
                <c:pt idx="51">
                  <c:v>0.0024406924176139533</c:v>
                </c:pt>
                <c:pt idx="52">
                  <c:v>0.006550867398723562</c:v>
                </c:pt>
                <c:pt idx="53">
                  <c:v>0.006550867398723562</c:v>
                </c:pt>
                <c:pt idx="54">
                  <c:v>0.0055573031707985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2125279642058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1533.0</c:v>
                </c:pt>
                <c:pt idx="1">
                  <c:v>0.0</c:v>
                </c:pt>
                <c:pt idx="2">
                  <c:v>0.0</c:v>
                </c:pt>
                <c:pt idx="3">
                  <c:v>0.0</c:v>
                </c:pt>
                <c:pt idx="4">
                  <c:v>1371.0</c:v>
                </c:pt>
                <c:pt idx="5">
                  <c:v>1536.0</c:v>
                </c:pt>
                <c:pt idx="6">
                  <c:v>1393.0</c:v>
                </c:pt>
                <c:pt idx="7">
                  <c:v>3295.0</c:v>
                </c:pt>
                <c:pt idx="8">
                  <c:v>1775.5</c:v>
                </c:pt>
                <c:pt idx="9">
                  <c:v>1755.0</c:v>
                </c:pt>
                <c:pt idx="10">
                  <c:v>2789.0</c:v>
                </c:pt>
                <c:pt idx="11">
                  <c:v>1953.5</c:v>
                </c:pt>
                <c:pt idx="12">
                  <c:v>2586.0</c:v>
                </c:pt>
                <c:pt idx="13">
                  <c:v>2341.0</c:v>
                </c:pt>
                <c:pt idx="14">
                  <c:v>1864.0</c:v>
                </c:pt>
                <c:pt idx="15">
                  <c:v>1924.0</c:v>
                </c:pt>
                <c:pt idx="16">
                  <c:v>1217.5</c:v>
                </c:pt>
                <c:pt idx="17">
                  <c:v>745.0</c:v>
                </c:pt>
                <c:pt idx="18">
                  <c:v>930.0</c:v>
                </c:pt>
                <c:pt idx="19">
                  <c:v>1088.0</c:v>
                </c:pt>
                <c:pt idx="20">
                  <c:v>1235.0</c:v>
                </c:pt>
                <c:pt idx="21">
                  <c:v>1243.0</c:v>
                </c:pt>
                <c:pt idx="22">
                  <c:v>920.3333</c:v>
                </c:pt>
                <c:pt idx="23">
                  <c:v>3715.0</c:v>
                </c:pt>
                <c:pt idx="24">
                  <c:v>3635.6667</c:v>
                </c:pt>
                <c:pt idx="25">
                  <c:v>3744.6667</c:v>
                </c:pt>
                <c:pt idx="26">
                  <c:v>4141.5</c:v>
                </c:pt>
                <c:pt idx="27">
                  <c:v>4213.0</c:v>
                </c:pt>
                <c:pt idx="28">
                  <c:v>6010.0</c:v>
                </c:pt>
                <c:pt idx="29">
                  <c:v>3254.25</c:v>
                </c:pt>
                <c:pt idx="30">
                  <c:v>2309.2</c:v>
                </c:pt>
                <c:pt idx="31">
                  <c:v>3548.25</c:v>
                </c:pt>
                <c:pt idx="32">
                  <c:v>2982.0</c:v>
                </c:pt>
                <c:pt idx="33">
                  <c:v>2404.75</c:v>
                </c:pt>
                <c:pt idx="34">
                  <c:v>3962.6</c:v>
                </c:pt>
                <c:pt idx="35">
                  <c:v>3973.25</c:v>
                </c:pt>
                <c:pt idx="36">
                  <c:v>4541.3333</c:v>
                </c:pt>
                <c:pt idx="37">
                  <c:v>3590.2222</c:v>
                </c:pt>
                <c:pt idx="38">
                  <c:v>4599.1667</c:v>
                </c:pt>
                <c:pt idx="39">
                  <c:v>4216.0</c:v>
                </c:pt>
                <c:pt idx="40">
                  <c:v>4101.625</c:v>
                </c:pt>
                <c:pt idx="41">
                  <c:v>4312.8571</c:v>
                </c:pt>
                <c:pt idx="42">
                  <c:v>5005.1429</c:v>
                </c:pt>
                <c:pt idx="43">
                  <c:v>5410.4286</c:v>
                </c:pt>
                <c:pt idx="44">
                  <c:v>3989.7857</c:v>
                </c:pt>
                <c:pt idx="45">
                  <c:v>4619.9286</c:v>
                </c:pt>
                <c:pt idx="46">
                  <c:v>4666.2</c:v>
                </c:pt>
                <c:pt idx="47">
                  <c:v>4006.8421</c:v>
                </c:pt>
                <c:pt idx="48">
                  <c:v>3883.8636</c:v>
                </c:pt>
                <c:pt idx="49">
                  <c:v>4128.0588</c:v>
                </c:pt>
                <c:pt idx="50">
                  <c:v>4536.0</c:v>
                </c:pt>
                <c:pt idx="51">
                  <c:v>4735.0833</c:v>
                </c:pt>
                <c:pt idx="52">
                  <c:v>4165.1818</c:v>
                </c:pt>
              </c:numCache>
            </c:numRef>
          </c:xVal>
          <c:yVal>
            <c:numRef>
              <c:f>Sheet1!$B$2:$B$54</c:f>
              <c:numCache>
                <c:formatCode>General</c:formatCode>
                <c:ptCount val="53"/>
                <c:pt idx="0">
                  <c:v>0.00022696323195642307</c:v>
                </c:pt>
                <c:pt idx="1">
                  <c:v>0.0</c:v>
                </c:pt>
                <c:pt idx="2">
                  <c:v>0.0</c:v>
                </c:pt>
                <c:pt idx="3">
                  <c:v>0.0</c:v>
                </c:pt>
                <c:pt idx="4">
                  <c:v>0.0003158559696778269</c:v>
                </c:pt>
                <c:pt idx="5">
                  <c:v>0.00031191515907673113</c:v>
                </c:pt>
                <c:pt idx="6">
                  <c:v>0.00032797638570022957</c:v>
                </c:pt>
                <c:pt idx="7">
                  <c:v>0.00019868865487780648</c:v>
                </c:pt>
                <c:pt idx="8">
                  <c:v>0.00046992481203007516</c:v>
                </c:pt>
                <c:pt idx="9">
                  <c:v>0.0005376344086021505</c:v>
                </c:pt>
                <c:pt idx="10">
                  <c:v>0.00026932399676811203</c:v>
                </c:pt>
                <c:pt idx="11">
                  <c:v>0.00047427080863172874</c:v>
                </c:pt>
                <c:pt idx="12">
                  <c:v>0.00021404109589041095</c:v>
                </c:pt>
                <c:pt idx="13">
                  <c:v>0.0004590314436538903</c:v>
                </c:pt>
                <c:pt idx="14">
                  <c:v>0.00022578460149017836</c:v>
                </c:pt>
                <c:pt idx="15">
                  <c:v>0.0002256317689530686</c:v>
                </c:pt>
                <c:pt idx="16">
                  <c:v>0.0005117707267144319</c:v>
                </c:pt>
                <c:pt idx="17">
                  <c:v>0.0003508771929824561</c:v>
                </c:pt>
                <c:pt idx="18">
                  <c:v>0.0006499837504062399</c:v>
                </c:pt>
                <c:pt idx="19">
                  <c:v>0.0007183908045977011</c:v>
                </c:pt>
                <c:pt idx="20">
                  <c:v>0.000328515111695138</c:v>
                </c:pt>
                <c:pt idx="21">
                  <c:v>0.00036114120621162876</c:v>
                </c:pt>
                <c:pt idx="22">
                  <c:v>0.0011198208286674132</c:v>
                </c:pt>
                <c:pt idx="23">
                  <c:v>0.0007779074290159471</c:v>
                </c:pt>
                <c:pt idx="24">
                  <c:v>0.001122754491017964</c:v>
                </c:pt>
                <c:pt idx="25">
                  <c:v>0.001256281407035176</c:v>
                </c:pt>
                <c:pt idx="26">
                  <c:v>0.0009033423667570009</c:v>
                </c:pt>
                <c:pt idx="27">
                  <c:v>0.0012091898428053204</c:v>
                </c:pt>
                <c:pt idx="28">
                  <c:v>0.0008084074373484236</c:v>
                </c:pt>
                <c:pt idx="29">
                  <c:v>0.0014487504527345165</c:v>
                </c:pt>
                <c:pt idx="30">
                  <c:v>0.0021026072329688814</c:v>
                </c:pt>
                <c:pt idx="31">
                  <c:v>0.0017482517482517483</c:v>
                </c:pt>
                <c:pt idx="32">
                  <c:v>0.0013895321908290875</c:v>
                </c:pt>
                <c:pt idx="33">
                  <c:v>0.001702127659574468</c:v>
                </c:pt>
                <c:pt idx="34">
                  <c:v>0.0014863258026159335</c:v>
                </c:pt>
                <c:pt idx="35">
                  <c:v>0.0011524056467876692</c:v>
                </c:pt>
                <c:pt idx="36">
                  <c:v>0.0018077734257306419</c:v>
                </c:pt>
                <c:pt idx="37">
                  <c:v>0.003119584055459272</c:v>
                </c:pt>
                <c:pt idx="38">
                  <c:v>0.0023961661341853034</c:v>
                </c:pt>
                <c:pt idx="39">
                  <c:v>0.0023894862604540022</c:v>
                </c:pt>
                <c:pt idx="40">
                  <c:v>0.0025559105431309905</c:v>
                </c:pt>
                <c:pt idx="41">
                  <c:v>0.0022264631043256997</c:v>
                </c:pt>
                <c:pt idx="42">
                  <c:v>0.0021109770808202654</c:v>
                </c:pt>
                <c:pt idx="43">
                  <c:v>0.0018229166666666667</c:v>
                </c:pt>
                <c:pt idx="44">
                  <c:v>0.002609019754006709</c:v>
                </c:pt>
                <c:pt idx="45">
                  <c:v>0.0023458445040214475</c:v>
                </c:pt>
                <c:pt idx="46">
                  <c:v>0.0022754854368932037</c:v>
                </c:pt>
                <c:pt idx="47">
                  <c:v>0.0026580861779518746</c:v>
                </c:pt>
                <c:pt idx="48">
                  <c:v>0.002316521006633674</c:v>
                </c:pt>
                <c:pt idx="49">
                  <c:v>0.003197291705849163</c:v>
                </c:pt>
                <c:pt idx="50">
                  <c:v>0.0031572904707233064</c:v>
                </c:pt>
                <c:pt idx="51">
                  <c:v>0.0029688273132112814</c:v>
                </c:pt>
                <c:pt idx="52">
                  <c:v>0.0031627372052903968</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numCache>
            </c:numRef>
          </c:xVal>
          <c:yVal>
            <c:numRef>
              <c:f>Sheet1!$B$57:$B$108</c:f>
              <c:numCache>
                <c:formatCode>General</c:formatCode>
                <c:ptCount val="52"/>
                <c:pt idx="0">
                  <c:v>0.0027940055880111762</c:v>
                </c:pt>
                <c:pt idx="1">
                  <c:v>0.002967359050445104</c:v>
                </c:pt>
                <c:pt idx="2">
                  <c:v>0.003270440251572327</c:v>
                </c:pt>
                <c:pt idx="3">
                  <c:v>0.003498542274052478</c:v>
                </c:pt>
                <c:pt idx="4">
                  <c:v>0.004248088360237893</c:v>
                </c:pt>
                <c:pt idx="5">
                  <c:v>0.0025023459493274947</c:v>
                </c:pt>
                <c:pt idx="6">
                  <c:v>0.003094777562862669</c:v>
                </c:pt>
                <c:pt idx="7">
                  <c:v>0.0037641154328732747</c:v>
                </c:pt>
                <c:pt idx="8">
                  <c:v>0.004187994416007445</c:v>
                </c:pt>
                <c:pt idx="9">
                  <c:v>0.0036646816307833257</c:v>
                </c:pt>
                <c:pt idx="10">
                  <c:v>0.00300187617260788</c:v>
                </c:pt>
                <c:pt idx="11">
                  <c:v>0.003652491521001826</c:v>
                </c:pt>
                <c:pt idx="12">
                  <c:v>0.003399581589958159</c:v>
                </c:pt>
                <c:pt idx="13">
                  <c:v>0.007014590347923681</c:v>
                </c:pt>
                <c:pt idx="14">
                  <c:v>0.007507037847982484</c:v>
                </c:pt>
                <c:pt idx="15">
                  <c:v>0.007651559741024131</c:v>
                </c:pt>
                <c:pt idx="16">
                  <c:v>0.008064516129032258</c:v>
                </c:pt>
                <c:pt idx="17">
                  <c:v>0.01267710663683818</c:v>
                </c:pt>
                <c:pt idx="18">
                  <c:v>0.005319148936170213</c:v>
                </c:pt>
                <c:pt idx="19">
                  <c:v>0.004660194174757282</c:v>
                </c:pt>
                <c:pt idx="20">
                  <c:v>0.005863779882724403</c:v>
                </c:pt>
                <c:pt idx="21">
                  <c:v>0.008547008547008548</c:v>
                </c:pt>
                <c:pt idx="22">
                  <c:v>0.007152145643693108</c:v>
                </c:pt>
                <c:pt idx="23">
                  <c:v>0.012177650429799427</c:v>
                </c:pt>
                <c:pt idx="24">
                  <c:v>0.006401137980085348</c:v>
                </c:pt>
                <c:pt idx="25">
                  <c:v>0.005822416302765648</c:v>
                </c:pt>
                <c:pt idx="26">
                  <c:v>0.004651162790697674</c:v>
                </c:pt>
                <c:pt idx="27">
                  <c:v>0.008064516129032258</c:v>
                </c:pt>
                <c:pt idx="28">
                  <c:v>0.005</c:v>
                </c:pt>
                <c:pt idx="29">
                  <c:v>0.006726457399103139</c:v>
                </c:pt>
                <c:pt idx="30">
                  <c:v>0.006355932203389831</c:v>
                </c:pt>
                <c:pt idx="31">
                  <c:v>0.007909604519774011</c:v>
                </c:pt>
                <c:pt idx="32">
                  <c:v>0.0054914881933003845</c:v>
                </c:pt>
                <c:pt idx="33">
                  <c:v>0.0032666394446712946</c:v>
                </c:pt>
                <c:pt idx="34">
                  <c:v>0.003038487508440243</c:v>
                </c:pt>
                <c:pt idx="35">
                  <c:v>0.005403579871664978</c:v>
                </c:pt>
                <c:pt idx="36">
                  <c:v>0.004694835680751174</c:v>
                </c:pt>
                <c:pt idx="37">
                  <c:v>0.00477326968973747</c:v>
                </c:pt>
                <c:pt idx="38">
                  <c:v>0.00847457627118644</c:v>
                </c:pt>
                <c:pt idx="39">
                  <c:v>0.01259774109470026</c:v>
                </c:pt>
                <c:pt idx="40">
                  <c:v>0.011002444987775062</c:v>
                </c:pt>
                <c:pt idx="41">
                  <c:v>0.006995452955578874</c:v>
                </c:pt>
                <c:pt idx="42">
                  <c:v>0.012048192771084338</c:v>
                </c:pt>
                <c:pt idx="43">
                  <c:v>0.008095740936290039</c:v>
                </c:pt>
                <c:pt idx="44">
                  <c:v>0.0033879164313946925</c:v>
                </c:pt>
                <c:pt idx="45">
                  <c:v>0.0025945945945945945</c:v>
                </c:pt>
                <c:pt idx="46">
                  <c:v>0.0028212362144139523</c:v>
                </c:pt>
                <c:pt idx="47">
                  <c:v>0.002271694684234439</c:v>
                </c:pt>
                <c:pt idx="48">
                  <c:v>0.002940095553105476</c:v>
                </c:pt>
                <c:pt idx="49">
                  <c:v>0.0033277870216306157</c:v>
                </c:pt>
                <c:pt idx="50">
                  <c:v>0.002154011847065159</c:v>
                </c:pt>
                <c:pt idx="51">
                  <c:v>0.00200803212851405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883.228250360482</c:v>
                </c:pt>
              </c:numCache>
            </c:numRef>
          </c:xVal>
          <c:yVal>
            <c:numRef>
              <c:f>Sheet1!$B$111:$B$112</c:f>
              <c:numCache>
                <c:formatCode>General</c:formatCode>
                <c:ptCount val="2"/>
                <c:pt idx="0">
                  <c:v>0.006550867398723562</c:v>
                </c:pt>
                <c:pt idx="1">
                  <c:v>0.006550867398723562</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883.228250360482</c:v>
                </c:pt>
                <c:pt idx="1">
                  <c:v>2883.228250360482</c:v>
                </c:pt>
              </c:numCache>
            </c:numRef>
          </c:xVal>
          <c:yVal>
            <c:numRef>
              <c:f>Sheet1!$B$115:$B$116</c:f>
              <c:numCache>
                <c:formatCode>General</c:formatCode>
                <c:ptCount val="2"/>
                <c:pt idx="0">
                  <c:v>0.00655086739872356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2883.228250360482</c:v>
                </c:pt>
              </c:numCache>
            </c:numRef>
          </c:xVal>
          <c:yVal>
            <c:numRef>
              <c:f>Sheet1!$B$119:$B$120</c:f>
              <c:numCache>
                <c:formatCode>General</c:formatCode>
                <c:ptCount val="2"/>
                <c:pt idx="0">
                  <c:v>0.006550867398723562</c:v>
                </c:pt>
                <c:pt idx="1">
                  <c:v>0.006550867398723562</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2883.228250360482</c:v>
                </c:pt>
                <c:pt idx="1">
                  <c:v>2883.228250360482</c:v>
                </c:pt>
              </c:numCache>
            </c:numRef>
          </c:xVal>
          <c:yVal>
            <c:numRef>
              <c:f>Sheet1!$B$123:$B$124</c:f>
              <c:numCache>
                <c:formatCode>General</c:formatCode>
                <c:ptCount val="2"/>
                <c:pt idx="0">
                  <c:v>0.0065508673987235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313.606966675741</c:v>
                </c:pt>
              </c:numCache>
            </c:numRef>
          </c:xVal>
          <c:yVal>
            <c:numRef>
              <c:f>Sheet1!$B$127:$B$128</c:f>
              <c:numCache>
                <c:formatCode>General</c:formatCode>
                <c:ptCount val="2"/>
                <c:pt idx="0">
                  <c:v>0.005557303170798582</c:v>
                </c:pt>
                <c:pt idx="1">
                  <c:v>0.005557303170798582</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313.606966675741</c:v>
                </c:pt>
                <c:pt idx="1">
                  <c:v>3313.606966675741</c:v>
                </c:pt>
              </c:numCache>
            </c:numRef>
          </c:xVal>
          <c:yVal>
            <c:numRef>
              <c:f>Sheet1!$B$131:$B$132</c:f>
              <c:numCache>
                <c:formatCode>General</c:formatCode>
                <c:ptCount val="2"/>
                <c:pt idx="0">
                  <c:v>0.0055573031707985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869.0909</c:v>
                </c:pt>
                <c:pt idx="1">
                  <c:v>4281.9091</c:v>
                </c:pt>
                <c:pt idx="2">
                  <c:v>4112.0</c:v>
                </c:pt>
                <c:pt idx="3">
                  <c:v>3981.3333</c:v>
                </c:pt>
                <c:pt idx="4">
                  <c:v>3962.2667</c:v>
                </c:pt>
                <c:pt idx="5">
                  <c:v>5697.0</c:v>
                </c:pt>
                <c:pt idx="6">
                  <c:v>5180.25</c:v>
                </c:pt>
                <c:pt idx="7">
                  <c:v>4528.8333</c:v>
                </c:pt>
                <c:pt idx="8">
                  <c:v>4137.7778</c:v>
                </c:pt>
                <c:pt idx="9">
                  <c:v>4315.25</c:v>
                </c:pt>
                <c:pt idx="10">
                  <c:v>4955.625</c:v>
                </c:pt>
                <c:pt idx="11">
                  <c:v>3729.1429</c:v>
                </c:pt>
                <c:pt idx="12">
                  <c:v>4106.7692</c:v>
                </c:pt>
                <c:pt idx="13">
                  <c:v>3067.2</c:v>
                </c:pt>
                <c:pt idx="14">
                  <c:v>3027.9583</c:v>
                </c:pt>
                <c:pt idx="15">
                  <c:v>3190.2692</c:v>
                </c:pt>
                <c:pt idx="16">
                  <c:v>3075.8182</c:v>
                </c:pt>
                <c:pt idx="17">
                  <c:v>1764.7647</c:v>
                </c:pt>
                <c:pt idx="18">
                  <c:v>2892.4167</c:v>
                </c:pt>
                <c:pt idx="19">
                  <c:v>3609.5</c:v>
                </c:pt>
                <c:pt idx="20">
                  <c:v>3482.6154</c:v>
                </c:pt>
                <c:pt idx="21">
                  <c:v>2718.0</c:v>
                </c:pt>
                <c:pt idx="22">
                  <c:v>3357.7273</c:v>
                </c:pt>
                <c:pt idx="23">
                  <c:v>1497.4706</c:v>
                </c:pt>
                <c:pt idx="24">
                  <c:v>3052.3333</c:v>
                </c:pt>
                <c:pt idx="25">
                  <c:v>3741.375</c:v>
                </c:pt>
                <c:pt idx="26">
                  <c:v>3703.75</c:v>
                </c:pt>
                <c:pt idx="27">
                  <c:v>2394.9375</c:v>
                </c:pt>
                <c:pt idx="28">
                  <c:v>3116.6</c:v>
                </c:pt>
                <c:pt idx="29">
                  <c:v>2584.3333</c:v>
                </c:pt>
                <c:pt idx="30">
                  <c:v>2662.0833</c:v>
                </c:pt>
                <c:pt idx="31">
                  <c:v>2212.0</c:v>
                </c:pt>
                <c:pt idx="32">
                  <c:v>2952.8</c:v>
                </c:pt>
                <c:pt idx="33">
                  <c:v>4143.125</c:v>
                </c:pt>
                <c:pt idx="34">
                  <c:v>4651.6667</c:v>
                </c:pt>
                <c:pt idx="35">
                  <c:v>2817.8125</c:v>
                </c:pt>
                <c:pt idx="36">
                  <c:v>3975.3333</c:v>
                </c:pt>
                <c:pt idx="37">
                  <c:v>3984.0</c:v>
                </c:pt>
                <c:pt idx="38">
                  <c:v>3057.4167</c:v>
                </c:pt>
                <c:pt idx="39">
                  <c:v>1951.2414</c:v>
                </c:pt>
                <c:pt idx="40">
                  <c:v>1830.7037</c:v>
                </c:pt>
                <c:pt idx="41">
                  <c:v>1936.65</c:v>
                </c:pt>
                <c:pt idx="42">
                  <c:v>1795.7143</c:v>
                </c:pt>
                <c:pt idx="43">
                  <c:v>1846.0435</c:v>
                </c:pt>
                <c:pt idx="44">
                  <c:v>2916.5833</c:v>
                </c:pt>
                <c:pt idx="45">
                  <c:v>3181.75</c:v>
                </c:pt>
                <c:pt idx="46">
                  <c:v>3229.8182</c:v>
                </c:pt>
                <c:pt idx="47">
                  <c:v>3343.5</c:v>
                </c:pt>
                <c:pt idx="48">
                  <c:v>2683.5</c:v>
                </c:pt>
                <c:pt idx="49">
                  <c:v>2599.4375</c:v>
                </c:pt>
                <c:pt idx="50">
                  <c:v>3130.375</c:v>
                </c:pt>
                <c:pt idx="51">
                  <c:v>4262.8889</c:v>
                </c:pt>
                <c:pt idx="52">
                  <c:v>2883.228250360482</c:v>
                </c:pt>
                <c:pt idx="53">
                  <c:v>2883.228250360482</c:v>
                </c:pt>
                <c:pt idx="54">
                  <c:v>3313.606966675741</c:v>
                </c:pt>
              </c:numCache>
            </c:numRef>
          </c:xVal>
          <c:yVal>
            <c:numRef>
              <c:f>Sheet1!$B$135:$B$189</c:f>
              <c:numCache>
                <c:formatCode>General</c:formatCode>
                <c:ptCount val="55"/>
                <c:pt idx="0">
                  <c:v>0.004274923386632478</c:v>
                </c:pt>
                <c:pt idx="1">
                  <c:v>0.003321899037129261</c:v>
                </c:pt>
                <c:pt idx="2">
                  <c:v>0.003714147996846098</c:v>
                </c:pt>
                <c:pt idx="3">
                  <c:v>0.004015802688352509</c:v>
                </c:pt>
                <c:pt idx="4">
                  <c:v>0.004059819483305438</c:v>
                </c:pt>
                <c:pt idx="5">
                  <c:v>5.5046741226555396e-05</c:v>
                </c:pt>
                <c:pt idx="6">
                  <c:v>0.0012480060938078793</c:v>
                </c:pt>
                <c:pt idx="7">
                  <c:v>0.0027518544628309313</c:v>
                </c:pt>
                <c:pt idx="8">
                  <c:v>0.003654637851516691</c:v>
                </c:pt>
                <c:pt idx="9">
                  <c:v>0.0032449288610702787</c:v>
                </c:pt>
                <c:pt idx="10">
                  <c:v>0.0017665711534568009</c:v>
                </c:pt>
                <c:pt idx="11">
                  <c:v>0.00459800471314443</c:v>
                </c:pt>
                <c:pt idx="12">
                  <c:v>0.0037262237235640133</c:v>
                </c:pt>
                <c:pt idx="13">
                  <c:v>0.006126153669951017</c:v>
                </c:pt>
                <c:pt idx="14">
                  <c:v>0.006216746322154579</c:v>
                </c:pt>
                <c:pt idx="15">
                  <c:v>0.0058420384243686235</c:v>
                </c:pt>
                <c:pt idx="16">
                  <c:v>0.006106257855161628</c:v>
                </c:pt>
                <c:pt idx="17">
                  <c:v>0.009132931361807935</c:v>
                </c:pt>
                <c:pt idx="18">
                  <c:v>0.006529655116317784</c:v>
                </c:pt>
                <c:pt idx="19">
                  <c:v>0.0048742100668453525</c:v>
                </c:pt>
                <c:pt idx="20">
                  <c:v>0.005167133473267298</c:v>
                </c:pt>
                <c:pt idx="21">
                  <c:v>0.00693231023680423</c:v>
                </c:pt>
                <c:pt idx="22">
                  <c:v>0.005455447797255902</c:v>
                </c:pt>
                <c:pt idx="23">
                  <c:v>0.009750001504981242</c:v>
                </c:pt>
                <c:pt idx="24">
                  <c:v>0.006160474654579987</c:v>
                </c:pt>
                <c:pt idx="25">
                  <c:v>0.004569765916634105</c:v>
                </c:pt>
                <c:pt idx="26">
                  <c:v>0.0046566262855569345</c:v>
                </c:pt>
                <c:pt idx="27">
                  <c:v>0.0076781262616582285</c:v>
                </c:pt>
                <c:pt idx="28">
                  <c:v>0.006012109756999846</c:v>
                </c:pt>
                <c:pt idx="29">
                  <c:v>0.00724089067201213</c:v>
                </c:pt>
                <c:pt idx="30">
                  <c:v>0.007061398481081897</c:v>
                </c:pt>
                <c:pt idx="31">
                  <c:v>0.008100452341121889</c:v>
                </c:pt>
                <c:pt idx="32">
                  <c:v>0.006390255363101095</c:v>
                </c:pt>
                <c:pt idx="33">
                  <c:v>0.003642293405943159</c:v>
                </c:pt>
                <c:pt idx="34">
                  <c:v>0.0024682835807034766</c:v>
                </c:pt>
                <c:pt idx="35">
                  <c:v>0.006701884972402637</c:v>
                </c:pt>
                <c:pt idx="36">
                  <c:v>0.004029654175755485</c:v>
                </c:pt>
                <c:pt idx="37">
                  <c:v>0.0040096463947762555</c:v>
                </c:pt>
                <c:pt idx="38">
                  <c:v>0.0061487392127359385</c:v>
                </c:pt>
                <c:pt idx="39">
                  <c:v>0.008702434751641504</c:v>
                </c:pt>
                <c:pt idx="40">
                  <c:v>0.008980705823830459</c:v>
                </c:pt>
                <c:pt idx="41">
                  <c:v>0.008736120183856803</c:v>
                </c:pt>
                <c:pt idx="42">
                  <c:v>0.009061481696053409</c:v>
                </c:pt>
                <c:pt idx="43">
                  <c:v>0.008945292649419763</c:v>
                </c:pt>
                <c:pt idx="44">
                  <c:v>0.006473864557072324</c:v>
                </c:pt>
                <c:pt idx="45">
                  <c:v>0.005861705689615863</c:v>
                </c:pt>
                <c:pt idx="46">
                  <c:v>0.0057507363451519055</c:v>
                </c:pt>
                <c:pt idx="47">
                  <c:v>0.005488292675043963</c:v>
                </c:pt>
                <c:pt idx="48">
                  <c:v>0.0070119562893713435</c:v>
                </c:pt>
                <c:pt idx="49">
                  <c:v>0.007206021399340124</c:v>
                </c:pt>
                <c:pt idx="50">
                  <c:v>0.005980309050503846</c:v>
                </c:pt>
                <c:pt idx="51">
                  <c:v>0.0033658087139129423</c:v>
                </c:pt>
                <c:pt idx="52">
                  <c:v>0.006550867398723561</c:v>
                </c:pt>
                <c:pt idx="53">
                  <c:v>0.006550867398723561</c:v>
                </c:pt>
                <c:pt idx="54">
                  <c:v>0.0055573031707985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21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52125279642058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998478213314393</c:v>
                </c:pt>
                <c:pt idx="1">
                  <c:v>1.96117982684795</c:v>
                </c:pt>
                <c:pt idx="2">
                  <c:v>2.1243453335410654</c:v>
                </c:pt>
                <c:pt idx="3">
                  <c:v>2.1773557865567956</c:v>
                </c:pt>
                <c:pt idx="4">
                  <c:v>2.103076057111477</c:v>
                </c:pt>
                <c:pt idx="5">
                  <c:v>1.622222580229411</c:v>
                </c:pt>
                <c:pt idx="6">
                  <c:v>1.44854850453269</c:v>
                </c:pt>
                <c:pt idx="7">
                  <c:v>1.402358909193216</c:v>
                </c:pt>
                <c:pt idx="8">
                  <c:v>1.400566186439681</c:v>
                </c:pt>
                <c:pt idx="9">
                  <c:v>1.5736345221136188</c:v>
                </c:pt>
                <c:pt idx="10">
                  <c:v>1.5747130071980076</c:v>
                </c:pt>
                <c:pt idx="11">
                  <c:v>1.6807763691974218</c:v>
                </c:pt>
                <c:pt idx="12">
                  <c:v>1.680508785056795</c:v>
                </c:pt>
                <c:pt idx="13">
                  <c:v>1.6687256832451542</c:v>
                </c:pt>
                <c:pt idx="14">
                  <c:v>1.7245662871085807</c:v>
                </c:pt>
                <c:pt idx="15">
                  <c:v>1.6585259228361386</c:v>
                </c:pt>
                <c:pt idx="16">
                  <c:v>1.6771053123821547</c:v>
                </c:pt>
                <c:pt idx="17">
                  <c:v>2.0892771959832483</c:v>
                </c:pt>
                <c:pt idx="18">
                  <c:v>2.109796647783683</c:v>
                </c:pt>
                <c:pt idx="19">
                  <c:v>2.442022489128042</c:v>
                </c:pt>
                <c:pt idx="20">
                  <c:v>2.5648021828103684</c:v>
                </c:pt>
                <c:pt idx="21">
                  <c:v>2.6287091355497907</c:v>
                </c:pt>
                <c:pt idx="22">
                  <c:v>2.8042639704601573</c:v>
                </c:pt>
                <c:pt idx="23">
                  <c:v>2.789130074304214</c:v>
                </c:pt>
                <c:pt idx="24">
                  <c:v>2.6958553413087305</c:v>
                </c:pt>
                <c:pt idx="25">
                  <c:v>2.7840899720905443</c:v>
                </c:pt>
                <c:pt idx="26">
                  <c:v>2.055674348489618</c:v>
                </c:pt>
                <c:pt idx="27">
                  <c:v>1.824572480158975</c:v>
                </c:pt>
                <c:pt idx="28">
                  <c:v>1.7438987020573904</c:v>
                </c:pt>
                <c:pt idx="29">
                  <c:v>1.7823607900245744</c:v>
                </c:pt>
                <c:pt idx="30">
                  <c:v>1.8158892521285692</c:v>
                </c:pt>
                <c:pt idx="31">
                  <c:v>1.6908177125581523</c:v>
                </c:pt>
                <c:pt idx="32">
                  <c:v>1.8631381224517725</c:v>
                </c:pt>
                <c:pt idx="33">
                  <c:v>1.8502423757341362</c:v>
                </c:pt>
                <c:pt idx="34">
                  <c:v>1.878918036285431</c:v>
                </c:pt>
                <c:pt idx="35">
                  <c:v>1.8720056726348824</c:v>
                </c:pt>
                <c:pt idx="36">
                  <c:v>2.003165431948133</c:v>
                </c:pt>
                <c:pt idx="37">
                  <c:v>1.9699819239426493</c:v>
                </c:pt>
                <c:pt idx="38">
                  <c:v>2.1265620359942057</c:v>
                </c:pt>
                <c:pt idx="39">
                  <c:v>2.2306122861361977</c:v>
                </c:pt>
                <c:pt idx="40">
                  <c:v>2.2449472394577716</c:v>
                </c:pt>
                <c:pt idx="41">
                  <c:v>2.1118323667937586</c:v>
                </c:pt>
                <c:pt idx="42">
                  <c:v>2.111286831650624</c:v>
                </c:pt>
                <c:pt idx="43">
                  <c:v>2.0658663436809657</c:v>
                </c:pt>
                <c:pt idx="44">
                  <c:v>1.959151531449325</c:v>
                </c:pt>
                <c:pt idx="45">
                  <c:v>1.9224151798674705</c:v>
                </c:pt>
                <c:pt idx="46">
                  <c:v>2.0091478298274645</c:v>
                </c:pt>
                <c:pt idx="47">
                  <c:v>2.0224224235059305</c:v>
                </c:pt>
                <c:pt idx="48">
                  <c:v>2.0052925602171516</c:v>
                </c:pt>
                <c:pt idx="49">
                  <c:v>1.928978778203723</c:v>
                </c:pt>
                <c:pt idx="50">
                  <c:v>1.8368234700769135</c:v>
                </c:pt>
                <c:pt idx="51">
                  <c:v>1.8464386454483745</c:v>
                </c:pt>
                <c:pt idx="52">
                  <c:v>1.7801313743989977</c:v>
                </c:pt>
                <c:pt idx="53">
                  <c:v>1.8426248566855903</c:v>
                </c:pt>
                <c:pt idx="54">
                  <c:v>1.861242284945581</c:v>
                </c:pt>
                <c:pt idx="55">
                  <c:v>1.8920710190684957</c:v>
                </c:pt>
                <c:pt idx="56">
                  <c:v>1.972955033318587</c:v>
                </c:pt>
                <c:pt idx="57">
                  <c:v>1.898994553609463</c:v>
                </c:pt>
                <c:pt idx="58">
                  <c:v>1.9119343170592318</c:v>
                </c:pt>
                <c:pt idx="59">
                  <c:v>1.844589051395334</c:v>
                </c:pt>
                <c:pt idx="60">
                  <c:v>1.7987431536904106</c:v>
                </c:pt>
                <c:pt idx="61">
                  <c:v>1.7748913689950008</c:v>
                </c:pt>
                <c:pt idx="62">
                  <c:v>1.857827723245573</c:v>
                </c:pt>
                <c:pt idx="63">
                  <c:v>1.824587637627846</c:v>
                </c:pt>
                <c:pt idx="64">
                  <c:v>1.8122077086732011</c:v>
                </c:pt>
                <c:pt idx="65">
                  <c:v>1.8222405372453803</c:v>
                </c:pt>
                <c:pt idx="66">
                  <c:v>1.8173802846153553</c:v>
                </c:pt>
                <c:pt idx="67">
                  <c:v>1.8519904115935877</c:v>
                </c:pt>
                <c:pt idx="68">
                  <c:v>1.9297482322264228</c:v>
                </c:pt>
                <c:pt idx="69">
                  <c:v>1.9077798055460915</c:v>
                </c:pt>
                <c:pt idx="70">
                  <c:v>1.815233266893382</c:v>
                </c:pt>
                <c:pt idx="71">
                  <c:v>2.055480902345339</c:v>
                </c:pt>
                <c:pt idx="72">
                  <c:v>2.368350204346437</c:v>
                </c:pt>
                <c:pt idx="73">
                  <c:v>2.1408555800608524</c:v>
                </c:pt>
                <c:pt idx="74">
                  <c:v>2.313541958540508</c:v>
                </c:pt>
                <c:pt idx="75">
                  <c:v>2.194631104027619</c:v>
                </c:pt>
                <c:pt idx="76">
                  <c:v>2.359756924762993</c:v>
                </c:pt>
                <c:pt idx="77">
                  <c:v>2.3949339855539105</c:v>
                </c:pt>
                <c:pt idx="78">
                  <c:v>2.4234506040529604</c:v>
                </c:pt>
                <c:pt idx="79">
                  <c:v>2.2977458072704593</c:v>
                </c:pt>
                <c:pt idx="80">
                  <c:v>2.3941592620058447</c:v>
                </c:pt>
                <c:pt idx="81">
                  <c:v>2.3696839310108198</c:v>
                </c:pt>
                <c:pt idx="82">
                  <c:v>2.317212553191489</c:v>
                </c:pt>
                <c:pt idx="83">
                  <c:v>2.355159785345213</c:v>
                </c:pt>
                <c:pt idx="84">
                  <c:v>2.3712472391917165</c:v>
                </c:pt>
                <c:pt idx="85">
                  <c:v>2.2004469274219827</c:v>
                </c:pt>
                <c:pt idx="86">
                  <c:v>2.301261017476876</c:v>
                </c:pt>
                <c:pt idx="87">
                  <c:v>2.3250812176500837</c:v>
                </c:pt>
                <c:pt idx="88">
                  <c:v>2.3518847996894134</c:v>
                </c:pt>
                <c:pt idx="89">
                  <c:v>2.3287525039944024</c:v>
                </c:pt>
                <c:pt idx="90">
                  <c:v>2.4150181544471505</c:v>
                </c:pt>
                <c:pt idx="91">
                  <c:v>2.351331198338166</c:v>
                </c:pt>
                <c:pt idx="92">
                  <c:v>2.2448677005392303</c:v>
                </c:pt>
                <c:pt idx="93">
                  <c:v>1.7778167604391921</c:v>
                </c:pt>
                <c:pt idx="94">
                  <c:v>1.741756340960541</c:v>
                </c:pt>
                <c:pt idx="95">
                  <c:v>1.7919088617146899</c:v>
                </c:pt>
                <c:pt idx="96">
                  <c:v>1.6403260547830785</c:v>
                </c:pt>
                <c:pt idx="97">
                  <c:v>1.5391743423102398</c:v>
                </c:pt>
                <c:pt idx="98">
                  <c:v>1.5165364924925253</c:v>
                </c:pt>
                <c:pt idx="99">
                  <c:v>1.4550332546501965</c:v>
                </c:pt>
                <c:pt idx="100">
                  <c:v>1.3483515311966037</c:v>
                </c:pt>
                <c:pt idx="101">
                  <c:v>1.3597811039003762</c:v>
                </c:pt>
                <c:pt idx="102">
                  <c:v>1.3807858919288123</c:v>
                </c:pt>
                <c:pt idx="103">
                  <c:v>1.356772551672596</c:v>
                </c:pt>
                <c:pt idx="104">
                  <c:v>1.3731991831543533</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768434044917035</c:v>
                </c:pt>
                <c:pt idx="1">
                  <c:v>1.4419632801017466</c:v>
                </c:pt>
                <c:pt idx="2">
                  <c:v>1.4658977154477653</c:v>
                </c:pt>
                <c:pt idx="3">
                  <c:v>1.5347327866984772</c:v>
                </c:pt>
                <c:pt idx="4">
                  <c:v>1.6506436273978344</c:v>
                </c:pt>
                <c:pt idx="5">
                  <c:v>1.6014633218889727</c:v>
                </c:pt>
                <c:pt idx="6">
                  <c:v>1.5836559025939652</c:v>
                </c:pt>
                <c:pt idx="7">
                  <c:v>1.8030555734022575</c:v>
                </c:pt>
                <c:pt idx="8">
                  <c:v>1.7339297843889356</c:v>
                </c:pt>
                <c:pt idx="9">
                  <c:v>1.6769597851701885</c:v>
                </c:pt>
                <c:pt idx="10">
                  <c:v>1.8353536003888489</c:v>
                </c:pt>
                <c:pt idx="11">
                  <c:v>1.7398747367254184</c:v>
                </c:pt>
                <c:pt idx="12">
                  <c:v>1.8141026112652072</c:v>
                </c:pt>
                <c:pt idx="13">
                  <c:v>1.7832178621092563</c:v>
                </c:pt>
                <c:pt idx="14">
                  <c:v>1.8680561741767552</c:v>
                </c:pt>
                <c:pt idx="15">
                  <c:v>1.9323555962816856</c:v>
                </c:pt>
                <c:pt idx="16">
                  <c:v>1.8891167958603061</c:v>
                </c:pt>
                <c:pt idx="17">
                  <c:v>1.8906624977763071</c:v>
                </c:pt>
                <c:pt idx="18">
                  <c:v>1.9535974199226855</c:v>
                </c:pt>
                <c:pt idx="19">
                  <c:v>1.9525031913149682</c:v>
                </c:pt>
                <c:pt idx="20">
                  <c:v>1.7402709639750393</c:v>
                </c:pt>
                <c:pt idx="21">
                  <c:v>1.6803703180212013</c:v>
                </c:pt>
                <c:pt idx="22">
                  <c:v>1.6532815984545723</c:v>
                </c:pt>
                <c:pt idx="23">
                  <c:v>1.7110683733012981</c:v>
                </c:pt>
                <c:pt idx="24">
                  <c:v>1.6875451446431258</c:v>
                </c:pt>
                <c:pt idx="25">
                  <c:v>1.862002370451341</c:v>
                </c:pt>
                <c:pt idx="26">
                  <c:v>1.7427055527613324</c:v>
                </c:pt>
                <c:pt idx="27">
                  <c:v>1.563430418370697</c:v>
                </c:pt>
                <c:pt idx="28">
                  <c:v>1.5419877403698998</c:v>
                </c:pt>
                <c:pt idx="29">
                  <c:v>1.6333795411307597</c:v>
                </c:pt>
                <c:pt idx="30">
                  <c:v>1.8872797579018161</c:v>
                </c:pt>
                <c:pt idx="31">
                  <c:v>1.6174995506103667</c:v>
                </c:pt>
                <c:pt idx="32">
                  <c:v>1.7080218555510236</c:v>
                </c:pt>
                <c:pt idx="33">
                  <c:v>1.6696185633273495</c:v>
                </c:pt>
                <c:pt idx="34">
                  <c:v>1.6417717582855367</c:v>
                </c:pt>
                <c:pt idx="35">
                  <c:v>1.8159132256277004</c:v>
                </c:pt>
                <c:pt idx="36">
                  <c:v>1.9509615235862734</c:v>
                </c:pt>
                <c:pt idx="37">
                  <c:v>2.0491338435879736</c:v>
                </c:pt>
                <c:pt idx="38">
                  <c:v>2.023233758512135</c:v>
                </c:pt>
                <c:pt idx="39">
                  <c:v>1.9132436352193614</c:v>
                </c:pt>
                <c:pt idx="40">
                  <c:v>1.7930772147073333</c:v>
                </c:pt>
                <c:pt idx="41">
                  <c:v>1.99230435701234</c:v>
                </c:pt>
                <c:pt idx="42">
                  <c:v>1.8759482026140202</c:v>
                </c:pt>
                <c:pt idx="43">
                  <c:v>2.0142709967929155</c:v>
                </c:pt>
                <c:pt idx="44">
                  <c:v>1.9834112720633905</c:v>
                </c:pt>
                <c:pt idx="45">
                  <c:v>1.834905737341271</c:v>
                </c:pt>
                <c:pt idx="46">
                  <c:v>1.7813387677824177</c:v>
                </c:pt>
                <c:pt idx="47">
                  <c:v>1.7359041768018664</c:v>
                </c:pt>
                <c:pt idx="48">
                  <c:v>1.596134785642408</c:v>
                </c:pt>
                <c:pt idx="49">
                  <c:v>1.6022837570345352</c:v>
                </c:pt>
                <c:pt idx="50">
                  <c:v>1.5543178761627732</c:v>
                </c:pt>
                <c:pt idx="51">
                  <c:v>1.5735764471192544</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9712290527935922</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9712290527935922</c:v>
                </c:pt>
                <c:pt idx="1">
                  <c:v>0.19712290527935922</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9270621687893</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9270621687893</c:v>
                </c:pt>
                <c:pt idx="1">
                  <c:v>1.19270621687893</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572288618302608</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572288618302608</c:v>
                </c:pt>
                <c:pt idx="1">
                  <c:v>2.0572288618302608</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768434044917035</c:v>
                </c:pt>
                <c:pt idx="1">
                  <c:v>1.4419632801017466</c:v>
                </c:pt>
                <c:pt idx="2">
                  <c:v>1.4658977154477653</c:v>
                </c:pt>
                <c:pt idx="3">
                  <c:v>1.5347327866984772</c:v>
                </c:pt>
                <c:pt idx="4">
                  <c:v>1.6506436273978344</c:v>
                </c:pt>
                <c:pt idx="5">
                  <c:v>1.6014633218889727</c:v>
                </c:pt>
                <c:pt idx="6">
                  <c:v>1.5836559025939652</c:v>
                </c:pt>
                <c:pt idx="7">
                  <c:v>1.8030555734022575</c:v>
                </c:pt>
                <c:pt idx="8">
                  <c:v>1.7339297843889356</c:v>
                </c:pt>
                <c:pt idx="9">
                  <c:v>1.6769597851701885</c:v>
                </c:pt>
                <c:pt idx="10">
                  <c:v>1.8353536003888489</c:v>
                </c:pt>
                <c:pt idx="11">
                  <c:v>1.7398747367254184</c:v>
                </c:pt>
                <c:pt idx="12">
                  <c:v>1.8141026112652072</c:v>
                </c:pt>
                <c:pt idx="13">
                  <c:v>1.7832178621092563</c:v>
                </c:pt>
                <c:pt idx="14">
                  <c:v>1.8680561741767552</c:v>
                </c:pt>
                <c:pt idx="15">
                  <c:v>1.9323555962816856</c:v>
                </c:pt>
                <c:pt idx="16">
                  <c:v>1.8891167958603061</c:v>
                </c:pt>
                <c:pt idx="17">
                  <c:v>1.8906624977763071</c:v>
                </c:pt>
                <c:pt idx="18">
                  <c:v>1.9535974199226855</c:v>
                </c:pt>
                <c:pt idx="19">
                  <c:v>1.9525031913149682</c:v>
                </c:pt>
                <c:pt idx="20">
                  <c:v>1.7402709639750393</c:v>
                </c:pt>
                <c:pt idx="21">
                  <c:v>1.6803703180212013</c:v>
                </c:pt>
                <c:pt idx="22">
                  <c:v>1.6532815984545723</c:v>
                </c:pt>
                <c:pt idx="23">
                  <c:v>1.7110683733012981</c:v>
                </c:pt>
                <c:pt idx="24">
                  <c:v>1.6875451446431258</c:v>
                </c:pt>
                <c:pt idx="25">
                  <c:v>1.862002370451341</c:v>
                </c:pt>
                <c:pt idx="26">
                  <c:v>1.7427055527613324</c:v>
                </c:pt>
                <c:pt idx="27">
                  <c:v>1.563430418370697</c:v>
                </c:pt>
                <c:pt idx="28">
                  <c:v>1.5419877403698998</c:v>
                </c:pt>
                <c:pt idx="29">
                  <c:v>1.6333795411307597</c:v>
                </c:pt>
                <c:pt idx="30">
                  <c:v>1.8872797579018161</c:v>
                </c:pt>
                <c:pt idx="31">
                  <c:v>1.6174995506103667</c:v>
                </c:pt>
                <c:pt idx="32">
                  <c:v>1.7080218555510236</c:v>
                </c:pt>
                <c:pt idx="33">
                  <c:v>1.6696185633273495</c:v>
                </c:pt>
                <c:pt idx="34">
                  <c:v>1.6417717582855367</c:v>
                </c:pt>
                <c:pt idx="35">
                  <c:v>1.8159132256277004</c:v>
                </c:pt>
                <c:pt idx="36">
                  <c:v>1.9509615235862734</c:v>
                </c:pt>
                <c:pt idx="37">
                  <c:v>2.0491338435879736</c:v>
                </c:pt>
                <c:pt idx="38">
                  <c:v>2.023233758512135</c:v>
                </c:pt>
                <c:pt idx="39">
                  <c:v>1.9132436352193614</c:v>
                </c:pt>
                <c:pt idx="40">
                  <c:v>1.7930772147073333</c:v>
                </c:pt>
                <c:pt idx="41">
                  <c:v>1.99230435701234</c:v>
                </c:pt>
                <c:pt idx="42">
                  <c:v>1.8759482026140202</c:v>
                </c:pt>
                <c:pt idx="43">
                  <c:v>2.0142709967929155</c:v>
                </c:pt>
                <c:pt idx="44">
                  <c:v>1.9834112720633905</c:v>
                </c:pt>
                <c:pt idx="45">
                  <c:v>1.834905737341271</c:v>
                </c:pt>
                <c:pt idx="46">
                  <c:v>1.7813387677824177</c:v>
                </c:pt>
                <c:pt idx="47">
                  <c:v>1.7359041768018664</c:v>
                </c:pt>
                <c:pt idx="48">
                  <c:v>1.596134785642408</c:v>
                </c:pt>
                <c:pt idx="49">
                  <c:v>1.6022837570345352</c:v>
                </c:pt>
                <c:pt idx="50">
                  <c:v>1.5543178761627732</c:v>
                </c:pt>
                <c:pt idx="51">
                  <c:v>1.5735764471192544</c:v>
                </c:pt>
                <c:pt idx="52">
                  <c:v>1.19270621687893</c:v>
                </c:pt>
                <c:pt idx="53">
                  <c:v>0.19712290527935922</c:v>
                </c:pt>
                <c:pt idx="54">
                  <c:v>2.0572288618302608</c:v>
                </c:pt>
              </c:numCache>
            </c:numRef>
          </c:xVal>
          <c:yVal>
            <c:numRef>
              <c:f>Sheet1!$B$187:$B$241</c:f>
              <c:numCache>
                <c:formatCode>General</c:formatCode>
                <c:ptCount val="55"/>
                <c:pt idx="0">
                  <c:v>0.36156994124521397</c:v>
                </c:pt>
                <c:pt idx="1">
                  <c:v>0.358408808762275</c:v>
                </c:pt>
                <c:pt idx="2">
                  <c:v>0.35724695271871965</c:v>
                </c:pt>
                <c:pt idx="3">
                  <c:v>0.35390547244625903</c:v>
                </c:pt>
                <c:pt idx="4">
                  <c:v>0.34827877982396854</c:v>
                </c:pt>
                <c:pt idx="5">
                  <c:v>0.35066615326116457</c:v>
                </c:pt>
                <c:pt idx="6">
                  <c:v>0.3515305838369822</c:v>
                </c:pt>
                <c:pt idx="7">
                  <c:v>0.3408802037550023</c:v>
                </c:pt>
                <c:pt idx="8">
                  <c:v>0.34423579642178403</c:v>
                </c:pt>
                <c:pt idx="9">
                  <c:v>0.3470013071571211</c:v>
                </c:pt>
                <c:pt idx="10">
                  <c:v>0.3393123515242402</c:v>
                </c:pt>
                <c:pt idx="11">
                  <c:v>0.3439472089242753</c:v>
                </c:pt>
                <c:pt idx="12">
                  <c:v>0.34034394428119824</c:v>
                </c:pt>
                <c:pt idx="13">
                  <c:v>0.34184319136773966</c:v>
                </c:pt>
                <c:pt idx="14">
                  <c:v>0.3377248612640359</c:v>
                </c:pt>
                <c:pt idx="15">
                  <c:v>0.33460355628693067</c:v>
                </c:pt>
                <c:pt idx="16">
                  <c:v>0.3367025095673982</c:v>
                </c:pt>
                <c:pt idx="17">
                  <c:v>0.33662747612346366</c:v>
                </c:pt>
                <c:pt idx="18">
                  <c:v>0.33357240845258085</c:v>
                </c:pt>
                <c:pt idx="19">
                  <c:v>0.333625525900414</c:v>
                </c:pt>
                <c:pt idx="20">
                  <c:v>0.3439279747531767</c:v>
                </c:pt>
                <c:pt idx="21">
                  <c:v>0.3468357486993005</c:v>
                </c:pt>
                <c:pt idx="22">
                  <c:v>0.348150724051159</c:v>
                </c:pt>
                <c:pt idx="23">
                  <c:v>0.3453455643462149</c:v>
                </c:pt>
                <c:pt idx="24">
                  <c:v>0.3464874590675783</c:v>
                </c:pt>
                <c:pt idx="25">
                  <c:v>0.3380187327652092</c:v>
                </c:pt>
                <c:pt idx="26">
                  <c:v>0.34380979182326704</c:v>
                </c:pt>
                <c:pt idx="27">
                  <c:v>0.35251239522041</c:v>
                </c:pt>
                <c:pt idx="28">
                  <c:v>0.3535532931845804</c:v>
                </c:pt>
                <c:pt idx="29">
                  <c:v>0.34911683523141307</c:v>
                </c:pt>
                <c:pt idx="30">
                  <c:v>0.33679168541898846</c:v>
                </c:pt>
                <c:pt idx="31">
                  <c:v>0.34988770208876674</c:v>
                </c:pt>
                <c:pt idx="32">
                  <c:v>0.3454934523163626</c:v>
                </c:pt>
                <c:pt idx="33">
                  <c:v>0.347357674158969</c:v>
                </c:pt>
                <c:pt idx="34">
                  <c:v>0.34870944946779914</c:v>
                </c:pt>
                <c:pt idx="35">
                  <c:v>0.34025605111767887</c:v>
                </c:pt>
                <c:pt idx="36">
                  <c:v>0.33370036351165666</c:v>
                </c:pt>
                <c:pt idx="37">
                  <c:v>0.328934756901146</c:v>
                </c:pt>
                <c:pt idx="38">
                  <c:v>0.33019203203377057</c:v>
                </c:pt>
                <c:pt idx="39">
                  <c:v>0.3355313136015878</c:v>
                </c:pt>
                <c:pt idx="40">
                  <c:v>0.3413645860346281</c:v>
                </c:pt>
                <c:pt idx="41">
                  <c:v>0.3316934466916295</c:v>
                </c:pt>
                <c:pt idx="42">
                  <c:v>0.33734175630236934</c:v>
                </c:pt>
                <c:pt idx="43">
                  <c:v>0.33062711390304705</c:v>
                </c:pt>
                <c:pt idx="44">
                  <c:v>0.3321251462218006</c:v>
                </c:pt>
                <c:pt idx="45">
                  <c:v>0.3393340922664383</c:v>
                </c:pt>
                <c:pt idx="46">
                  <c:v>0.34193440877347686</c:v>
                </c:pt>
                <c:pt idx="47">
                  <c:v>0.3441399529341834</c:v>
                </c:pt>
                <c:pt idx="48">
                  <c:v>0.3509248178986157</c:v>
                </c:pt>
                <c:pt idx="49">
                  <c:v>0.3506263266465636</c:v>
                </c:pt>
                <c:pt idx="50">
                  <c:v>0.35295474792618176</c:v>
                </c:pt>
                <c:pt idx="51">
                  <c:v>0.35201987368609444</c:v>
                </c:pt>
                <c:pt idx="52">
                  <c:v>0.3705085646628238</c:v>
                </c:pt>
                <c:pt idx="53">
                  <c:v>0.4188374460724805</c:v>
                </c:pt>
                <c:pt idx="54">
                  <c:v>0.3285417981481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9.6732</c:v>
                </c:pt>
                <c:pt idx="1">
                  <c:v>811.0569</c:v>
                </c:pt>
                <c:pt idx="2">
                  <c:v>770.3864</c:v>
                </c:pt>
                <c:pt idx="3">
                  <c:v>777.581</c:v>
                </c:pt>
                <c:pt idx="4">
                  <c:v>765.9403</c:v>
                </c:pt>
                <c:pt idx="5">
                  <c:v>755.2095</c:v>
                </c:pt>
                <c:pt idx="6">
                  <c:v>750.4333</c:v>
                </c:pt>
                <c:pt idx="7">
                  <c:v>748.6709</c:v>
                </c:pt>
                <c:pt idx="8">
                  <c:v>738.1967</c:v>
                </c:pt>
                <c:pt idx="9">
                  <c:v>764.415</c:v>
                </c:pt>
                <c:pt idx="10">
                  <c:v>776.7453</c:v>
                </c:pt>
                <c:pt idx="11">
                  <c:v>806.4323</c:v>
                </c:pt>
                <c:pt idx="12">
                  <c:v>823.817</c:v>
                </c:pt>
                <c:pt idx="13">
                  <c:v>835.7609</c:v>
                </c:pt>
                <c:pt idx="14">
                  <c:v>848.1417</c:v>
                </c:pt>
                <c:pt idx="15">
                  <c:v>835.7813</c:v>
                </c:pt>
                <c:pt idx="16">
                  <c:v>838.3187</c:v>
                </c:pt>
                <c:pt idx="17">
                  <c:v>892.1667</c:v>
                </c:pt>
                <c:pt idx="18">
                  <c:v>903.1512</c:v>
                </c:pt>
                <c:pt idx="19">
                  <c:v>1000.7794</c:v>
                </c:pt>
                <c:pt idx="20">
                  <c:v>1034.0</c:v>
                </c:pt>
                <c:pt idx="21">
                  <c:v>1060.375</c:v>
                </c:pt>
                <c:pt idx="22">
                  <c:v>1054.5</c:v>
                </c:pt>
                <c:pt idx="23">
                  <c:v>1027.7155</c:v>
                </c:pt>
                <c:pt idx="24">
                  <c:v>989.7043</c:v>
                </c:pt>
                <c:pt idx="25">
                  <c:v>1019.6891</c:v>
                </c:pt>
                <c:pt idx="26">
                  <c:v>1014.1507</c:v>
                </c:pt>
                <c:pt idx="27">
                  <c:v>976.197</c:v>
                </c:pt>
                <c:pt idx="28">
                  <c:v>973.16</c:v>
                </c:pt>
                <c:pt idx="29">
                  <c:v>979.1399</c:v>
                </c:pt>
                <c:pt idx="30">
                  <c:v>973.9453</c:v>
                </c:pt>
                <c:pt idx="31">
                  <c:v>920.9015</c:v>
                </c:pt>
                <c:pt idx="32">
                  <c:v>969.2773</c:v>
                </c:pt>
                <c:pt idx="33">
                  <c:v>945.7105</c:v>
                </c:pt>
                <c:pt idx="34">
                  <c:v>954.3765</c:v>
                </c:pt>
                <c:pt idx="35">
                  <c:v>952.5304</c:v>
                </c:pt>
                <c:pt idx="36">
                  <c:v>1017.8995</c:v>
                </c:pt>
                <c:pt idx="37">
                  <c:v>999.9185</c:v>
                </c:pt>
                <c:pt idx="38">
                  <c:v>1080.5974</c:v>
                </c:pt>
                <c:pt idx="39">
                  <c:v>1114.9343</c:v>
                </c:pt>
                <c:pt idx="40">
                  <c:v>1136.078</c:v>
                </c:pt>
                <c:pt idx="41">
                  <c:v>1087.5546</c:v>
                </c:pt>
                <c:pt idx="42">
                  <c:v>1113.7929</c:v>
                </c:pt>
                <c:pt idx="43">
                  <c:v>1099.2857</c:v>
                </c:pt>
                <c:pt idx="44">
                  <c:v>1037.4444</c:v>
                </c:pt>
                <c:pt idx="45">
                  <c:v>1015.7938</c:v>
                </c:pt>
                <c:pt idx="46">
                  <c:v>1038.7672</c:v>
                </c:pt>
                <c:pt idx="47">
                  <c:v>1046.3146</c:v>
                </c:pt>
                <c:pt idx="48">
                  <c:v>1039.2166</c:v>
                </c:pt>
                <c:pt idx="49">
                  <c:v>1007.9379</c:v>
                </c:pt>
                <c:pt idx="50">
                  <c:v>966.5839</c:v>
                </c:pt>
                <c:pt idx="51">
                  <c:v>979.2772</c:v>
                </c:pt>
                <c:pt idx="52">
                  <c:v>947.3391</c:v>
                </c:pt>
                <c:pt idx="53">
                  <c:v>975.0594</c:v>
                </c:pt>
                <c:pt idx="54">
                  <c:v>961.3134</c:v>
                </c:pt>
                <c:pt idx="55">
                  <c:v>973.8832</c:v>
                </c:pt>
                <c:pt idx="56">
                  <c:v>1015.0609</c:v>
                </c:pt>
                <c:pt idx="57">
                  <c:v>959.7847</c:v>
                </c:pt>
                <c:pt idx="58">
                  <c:v>970.5252</c:v>
                </c:pt>
                <c:pt idx="59">
                  <c:v>915.1069</c:v>
                </c:pt>
                <c:pt idx="60">
                  <c:v>899.1667</c:v>
                </c:pt>
                <c:pt idx="61">
                  <c:v>893.4828</c:v>
                </c:pt>
                <c:pt idx="62">
                  <c:v>917.1984</c:v>
                </c:pt>
                <c:pt idx="63">
                  <c:v>910.2532</c:v>
                </c:pt>
                <c:pt idx="64">
                  <c:v>916.787</c:v>
                </c:pt>
                <c:pt idx="65">
                  <c:v>918.8852</c:v>
                </c:pt>
                <c:pt idx="66">
                  <c:v>911.7955</c:v>
                </c:pt>
                <c:pt idx="67">
                  <c:v>910.9676</c:v>
                </c:pt>
                <c:pt idx="68">
                  <c:v>939.2899</c:v>
                </c:pt>
                <c:pt idx="69">
                  <c:v>948.563</c:v>
                </c:pt>
                <c:pt idx="70">
                  <c:v>903.7923</c:v>
                </c:pt>
                <c:pt idx="71">
                  <c:v>1011.7114</c:v>
                </c:pt>
                <c:pt idx="72">
                  <c:v>1165.2463</c:v>
                </c:pt>
                <c:pt idx="73">
                  <c:v>1087.3778</c:v>
                </c:pt>
                <c:pt idx="74">
                  <c:v>1163.381</c:v>
                </c:pt>
                <c:pt idx="75">
                  <c:v>1100.4925</c:v>
                </c:pt>
                <c:pt idx="76">
                  <c:v>1151.5156</c:v>
                </c:pt>
                <c:pt idx="77">
                  <c:v>1151.04</c:v>
                </c:pt>
                <c:pt idx="78">
                  <c:v>1168.41</c:v>
                </c:pt>
                <c:pt idx="79">
                  <c:v>1053.2745</c:v>
                </c:pt>
                <c:pt idx="80">
                  <c:v>1130.2857</c:v>
                </c:pt>
                <c:pt idx="81">
                  <c:v>1111.9339</c:v>
                </c:pt>
                <c:pt idx="82">
                  <c:v>1089.0899</c:v>
                </c:pt>
                <c:pt idx="83">
                  <c:v>1098.7209</c:v>
                </c:pt>
                <c:pt idx="84">
                  <c:v>1091.7642</c:v>
                </c:pt>
                <c:pt idx="85">
                  <c:v>1031.2762</c:v>
                </c:pt>
                <c:pt idx="86">
                  <c:v>1052.4884</c:v>
                </c:pt>
                <c:pt idx="87">
                  <c:v>1055.3632</c:v>
                </c:pt>
                <c:pt idx="88">
                  <c:v>1075.8864</c:v>
                </c:pt>
                <c:pt idx="89">
                  <c:v>1068.3548</c:v>
                </c:pt>
                <c:pt idx="90">
                  <c:v>1121.6774</c:v>
                </c:pt>
                <c:pt idx="91">
                  <c:v>1086.6442</c:v>
                </c:pt>
                <c:pt idx="92">
                  <c:v>1074.0794</c:v>
                </c:pt>
                <c:pt idx="93">
                  <c:v>1037.7744</c:v>
                </c:pt>
                <c:pt idx="94">
                  <c:v>1103.6228</c:v>
                </c:pt>
                <c:pt idx="95">
                  <c:v>1145.522</c:v>
                </c:pt>
                <c:pt idx="96">
                  <c:v>1092.2736</c:v>
                </c:pt>
                <c:pt idx="97">
                  <c:v>1067.0714</c:v>
                </c:pt>
                <c:pt idx="98">
                  <c:v>1046.8935</c:v>
                </c:pt>
                <c:pt idx="99">
                  <c:v>1003.0231</c:v>
                </c:pt>
                <c:pt idx="100">
                  <c:v>975.1134</c:v>
                </c:pt>
                <c:pt idx="101">
                  <c:v>989.9681</c:v>
                </c:pt>
                <c:pt idx="102">
                  <c:v>971.7677</c:v>
                </c:pt>
                <c:pt idx="103">
                  <c:v>976.6985</c:v>
                </c:pt>
                <c:pt idx="104">
                  <c:v>983.1745</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9646319539851</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9646319539851</c:v>
                </c:pt>
                <c:pt idx="1">
                  <c:v>768.9646319539851</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0.2469514536142</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0.2469514536142</c:v>
                </c:pt>
                <c:pt idx="1">
                  <c:v>1000.2469514536142</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0827833269377</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0827833269377</c:v>
                </c:pt>
                <c:pt idx="1">
                  <c:v>1201.0827833269377</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pt idx="52">
                  <c:v>1000.2469514536142</c:v>
                </c:pt>
                <c:pt idx="53">
                  <c:v>768.9646319539851</c:v>
                </c:pt>
                <c:pt idx="54">
                  <c:v>1201.0827833269377</c:v>
                </c:pt>
              </c:numCache>
            </c:numRef>
          </c:xVal>
          <c:yVal>
            <c:numRef>
              <c:f>Sheet1!$B$187:$B$241</c:f>
              <c:numCache>
                <c:formatCode>General</c:formatCode>
                <c:ptCount val="55"/>
                <c:pt idx="0">
                  <c:v>0.3703846409105437</c:v>
                </c:pt>
                <c:pt idx="1">
                  <c:v>0.36670192012234626</c:v>
                </c:pt>
                <c:pt idx="2">
                  <c:v>0.354949978614844</c:v>
                </c:pt>
                <c:pt idx="3">
                  <c:v>0.34982457327184674</c:v>
                </c:pt>
                <c:pt idx="4">
                  <c:v>0.34314362377930907</c:v>
                </c:pt>
                <c:pt idx="5">
                  <c:v>0.35158840930073765</c:v>
                </c:pt>
                <c:pt idx="6">
                  <c:v>0.36073189622363555</c:v>
                </c:pt>
                <c:pt idx="7">
                  <c:v>0.33380837375681244</c:v>
                </c:pt>
                <c:pt idx="8">
                  <c:v>0.33644576937802406</c:v>
                </c:pt>
                <c:pt idx="9">
                  <c:v>0.3487855587135652</c:v>
                </c:pt>
                <c:pt idx="10">
                  <c:v>0.3257688672281613</c:v>
                </c:pt>
                <c:pt idx="11">
                  <c:v>0.3499402120419437</c:v>
                </c:pt>
                <c:pt idx="12">
                  <c:v>0.3528183302203502</c:v>
                </c:pt>
                <c:pt idx="13">
                  <c:v>0.34403795405060994</c:v>
                </c:pt>
                <c:pt idx="14">
                  <c:v>0.3402665086115576</c:v>
                </c:pt>
                <c:pt idx="15">
                  <c:v>0.34500575485238805</c:v>
                </c:pt>
                <c:pt idx="16">
                  <c:v>0.3382433316401887</c:v>
                </c:pt>
                <c:pt idx="17">
                  <c:v>0.3512203252864158</c:v>
                </c:pt>
                <c:pt idx="18">
                  <c:v>0.3281377276425576</c:v>
                </c:pt>
                <c:pt idx="19">
                  <c:v>0.33412074888767246</c:v>
                </c:pt>
                <c:pt idx="20">
                  <c:v>0.34708253020563234</c:v>
                </c:pt>
                <c:pt idx="21">
                  <c:v>0.3559379859021088</c:v>
                </c:pt>
                <c:pt idx="22">
                  <c:v>0.36030478085305706</c:v>
                </c:pt>
                <c:pt idx="23">
                  <c:v>0.34594116676843234</c:v>
                </c:pt>
                <c:pt idx="24">
                  <c:v>0.352607593502528</c:v>
                </c:pt>
                <c:pt idx="25">
                  <c:v>0.3522857942507224</c:v>
                </c:pt>
                <c:pt idx="26">
                  <c:v>0.3646295120446622</c:v>
                </c:pt>
                <c:pt idx="27">
                  <c:v>0.3672796333635588</c:v>
                </c:pt>
                <c:pt idx="28">
                  <c:v>0.36582238425820635</c:v>
                </c:pt>
                <c:pt idx="29">
                  <c:v>0.3547262236545625</c:v>
                </c:pt>
                <c:pt idx="30">
                  <c:v>0.3449512161480235</c:v>
                </c:pt>
                <c:pt idx="31">
                  <c:v>0.35651801860546095</c:v>
                </c:pt>
                <c:pt idx="32">
                  <c:v>0.35000066432996146</c:v>
                </c:pt>
                <c:pt idx="33">
                  <c:v>0.3467693192325599</c:v>
                </c:pt>
                <c:pt idx="34">
                  <c:v>0.34408369551568807</c:v>
                </c:pt>
                <c:pt idx="35">
                  <c:v>0.32218176678907195</c:v>
                </c:pt>
                <c:pt idx="36">
                  <c:v>0.31336467625014836</c:v>
                </c:pt>
                <c:pt idx="37">
                  <c:v>0.3075863109707599</c:v>
                </c:pt>
                <c:pt idx="38">
                  <c:v>0.3103107177662909</c:v>
                </c:pt>
                <c:pt idx="39">
                  <c:v>0.32288155478541747</c:v>
                </c:pt>
                <c:pt idx="40">
                  <c:v>0.32819698885542264</c:v>
                </c:pt>
                <c:pt idx="41">
                  <c:v>0.3150934278021704</c:v>
                </c:pt>
                <c:pt idx="42">
                  <c:v>0.32956095796986196</c:v>
                </c:pt>
                <c:pt idx="43">
                  <c:v>0.3097928299314368</c:v>
                </c:pt>
                <c:pt idx="44">
                  <c:v>0.31636551696140264</c:v>
                </c:pt>
                <c:pt idx="45">
                  <c:v>0.33277798926937485</c:v>
                </c:pt>
                <c:pt idx="46">
                  <c:v>0.3344750206094331</c:v>
                </c:pt>
                <c:pt idx="47">
                  <c:v>0.346932580112713</c:v>
                </c:pt>
                <c:pt idx="48">
                  <c:v>0.35920863647955237</c:v>
                </c:pt>
                <c:pt idx="49">
                  <c:v>0.3543034964555995</c:v>
                </c:pt>
                <c:pt idx="50">
                  <c:v>0.3568082648137455</c:v>
                </c:pt>
                <c:pt idx="51">
                  <c:v>0.36702054317374455</c:v>
                </c:pt>
                <c:pt idx="52">
                  <c:v>0.3705085646628238</c:v>
                </c:pt>
                <c:pt idx="53">
                  <c:v>0.4188374460724805</c:v>
                </c:pt>
                <c:pt idx="54">
                  <c:v>0.3285417981481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59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546855643044619</c:v>
                </c:pt>
                <c:pt idx="1">
                  <c:v>0.5805704366499642</c:v>
                </c:pt>
                <c:pt idx="2">
                  <c:v>0.6066034645669292</c:v>
                </c:pt>
                <c:pt idx="3">
                  <c:v>0.6296202429149798</c:v>
                </c:pt>
                <c:pt idx="4">
                  <c:v>0.6958875924928046</c:v>
                </c:pt>
                <c:pt idx="5">
                  <c:v>0.5946531496062992</c:v>
                </c:pt>
                <c:pt idx="6">
                  <c:v>0.6817988588189322</c:v>
                </c:pt>
                <c:pt idx="7">
                  <c:v>0.6801976474803861</c:v>
                </c:pt>
                <c:pt idx="8">
                  <c:v>0.6458413823272091</c:v>
                </c:pt>
                <c:pt idx="9">
                  <c:v>0.6448945625673386</c:v>
                </c:pt>
                <c:pt idx="10">
                  <c:v>0.5396563117104287</c:v>
                </c:pt>
                <c:pt idx="11">
                  <c:v>0.6047486314210724</c:v>
                </c:pt>
                <c:pt idx="12">
                  <c:v>0.5405623359580053</c:v>
                </c:pt>
                <c:pt idx="13">
                  <c:v>0.598254044380816</c:v>
                </c:pt>
                <c:pt idx="14">
                  <c:v>0.6678281102362205</c:v>
                </c:pt>
                <c:pt idx="15">
                  <c:v>0.7312172353455818</c:v>
                </c:pt>
                <c:pt idx="16">
                  <c:v>0.8414038755906282</c:v>
                </c:pt>
                <c:pt idx="17">
                  <c:v>0.7888299734748011</c:v>
                </c:pt>
                <c:pt idx="18">
                  <c:v>0.9045079619429144</c:v>
                </c:pt>
                <c:pt idx="19">
                  <c:v>0.7708185563753159</c:v>
                </c:pt>
                <c:pt idx="20">
                  <c:v>1.008452568545272</c:v>
                </c:pt>
                <c:pt idx="21">
                  <c:v>0.8875906560382072</c:v>
                </c:pt>
                <c:pt idx="22">
                  <c:v>1.4831223628691983</c:v>
                </c:pt>
                <c:pt idx="23">
                  <c:v>1.2864534501642935</c:v>
                </c:pt>
                <c:pt idx="24">
                  <c:v>0.9834756536427841</c:v>
                </c:pt>
                <c:pt idx="25">
                  <c:v>1.09939525606469</c:v>
                </c:pt>
                <c:pt idx="26">
                  <c:v>1.6038230154888253</c:v>
                </c:pt>
                <c:pt idx="27">
                  <c:v>0.8727733571747877</c:v>
                </c:pt>
                <c:pt idx="28">
                  <c:v>0.6966070150322119</c:v>
                </c:pt>
                <c:pt idx="29">
                  <c:v>0.8120251285453641</c:v>
                </c:pt>
                <c:pt idx="30">
                  <c:v>0.7758047634220168</c:v>
                </c:pt>
                <c:pt idx="31">
                  <c:v>0.9361133418043203</c:v>
                </c:pt>
                <c:pt idx="32">
                  <c:v>0.7545950175165433</c:v>
                </c:pt>
                <c:pt idx="33">
                  <c:v>1.0791675952517152</c:v>
                </c:pt>
                <c:pt idx="34">
                  <c:v>0.8703050337406529</c:v>
                </c:pt>
                <c:pt idx="35">
                  <c:v>0.7812749343832021</c:v>
                </c:pt>
                <c:pt idx="36">
                  <c:v>0.8250690617754856</c:v>
                </c:pt>
                <c:pt idx="37">
                  <c:v>0.8052314190187648</c:v>
                </c:pt>
                <c:pt idx="38">
                  <c:v>0.9102322361299388</c:v>
                </c:pt>
                <c:pt idx="39">
                  <c:v>0.9383652142414023</c:v>
                </c:pt>
                <c:pt idx="40">
                  <c:v>0.9208598781743876</c:v>
                </c:pt>
                <c:pt idx="41">
                  <c:v>0.9014128470783257</c:v>
                </c:pt>
                <c:pt idx="42">
                  <c:v>0.9091259259259259</c:v>
                </c:pt>
                <c:pt idx="43">
                  <c:v>0.8907590146665586</c:v>
                </c:pt>
                <c:pt idx="44">
                  <c:v>0.8940917234729022</c:v>
                </c:pt>
                <c:pt idx="45">
                  <c:v>0.8627920402829004</c:v>
                </c:pt>
                <c:pt idx="46">
                  <c:v>0.9181023000479217</c:v>
                </c:pt>
                <c:pt idx="47">
                  <c:v>0.8037753792971</c:v>
                </c:pt>
                <c:pt idx="48">
                  <c:v>0.9173412957380062</c:v>
                </c:pt>
                <c:pt idx="49">
                  <c:v>0.8210191740152274</c:v>
                </c:pt>
                <c:pt idx="50">
                  <c:v>0.6707730048577376</c:v>
                </c:pt>
                <c:pt idx="51">
                  <c:v>0.47510052396662145</c:v>
                </c:pt>
                <c:pt idx="52">
                  <c:v>0.6312227478678039</c:v>
                </c:pt>
                <c:pt idx="53">
                  <c:v>0.5989308353808354</c:v>
                </c:pt>
                <c:pt idx="54">
                  <c:v>0.6224971195420641</c:v>
                </c:pt>
                <c:pt idx="55">
                  <c:v>0.5889828847898397</c:v>
                </c:pt>
                <c:pt idx="56">
                  <c:v>0.5698016187682178</c:v>
                </c:pt>
                <c:pt idx="57">
                  <c:v>0.4813363590772317</c:v>
                </c:pt>
                <c:pt idx="58">
                  <c:v>0.52222894116029</c:v>
                </c:pt>
                <c:pt idx="59">
                  <c:v>0.4959928997289973</c:v>
                </c:pt>
                <c:pt idx="60">
                  <c:v>0.5149866552119129</c:v>
                </c:pt>
                <c:pt idx="61">
                  <c:v>0.5063946950804806</c:v>
                </c:pt>
                <c:pt idx="62">
                  <c:v>0.5885135707410972</c:v>
                </c:pt>
                <c:pt idx="63">
                  <c:v>0.5452250374363582</c:v>
                </c:pt>
                <c:pt idx="64">
                  <c:v>0.5691972150414484</c:v>
                </c:pt>
                <c:pt idx="65">
                  <c:v>0.6019555846708157</c:v>
                </c:pt>
                <c:pt idx="66">
                  <c:v>0.5120528732300098</c:v>
                </c:pt>
                <c:pt idx="67">
                  <c:v>0.6320311894549303</c:v>
                </c:pt>
                <c:pt idx="68">
                  <c:v>0.534903132118451</c:v>
                </c:pt>
                <c:pt idx="69">
                  <c:v>0.7852342715231788</c:v>
                </c:pt>
                <c:pt idx="70">
                  <c:v>0.9138445904954499</c:v>
                </c:pt>
                <c:pt idx="71">
                  <c:v>0.6907451367604658</c:v>
                </c:pt>
                <c:pt idx="72">
                  <c:v>0.8330328138404347</c:v>
                </c:pt>
                <c:pt idx="73">
                  <c:v>0.7137366590088612</c:v>
                </c:pt>
                <c:pt idx="74">
                  <c:v>1.2814133976084519</c:v>
                </c:pt>
                <c:pt idx="75">
                  <c:v>1.0949183800191604</c:v>
                </c:pt>
                <c:pt idx="76">
                  <c:v>0.9415499591169255</c:v>
                </c:pt>
                <c:pt idx="77">
                  <c:v>0.9215692554043234</c:v>
                </c:pt>
                <c:pt idx="78">
                  <c:v>0.5958995282417443</c:v>
                </c:pt>
                <c:pt idx="79">
                  <c:v>0.7984392723072831</c:v>
                </c:pt>
                <c:pt idx="80">
                  <c:v>0.6115602748620279</c:v>
                </c:pt>
                <c:pt idx="81">
                  <c:v>0.6843271940652504</c:v>
                </c:pt>
                <c:pt idx="82">
                  <c:v>0.6947771298759169</c:v>
                </c:pt>
                <c:pt idx="83">
                  <c:v>0.6750973271889401</c:v>
                </c:pt>
                <c:pt idx="84">
                  <c:v>0.7618731332868109</c:v>
                </c:pt>
                <c:pt idx="85">
                  <c:v>0.5915542369322034</c:v>
                </c:pt>
                <c:pt idx="86">
                  <c:v>0.5823701203485959</c:v>
                </c:pt>
                <c:pt idx="87">
                  <c:v>0.5628803968653179</c:v>
                </c:pt>
                <c:pt idx="88">
                  <c:v>0.6664057334287625</c:v>
                </c:pt>
                <c:pt idx="89">
                  <c:v>0.5922144124168515</c:v>
                </c:pt>
                <c:pt idx="90">
                  <c:v>0.6298341672800706</c:v>
                </c:pt>
                <c:pt idx="91">
                  <c:v>0.5692589614301617</c:v>
                </c:pt>
                <c:pt idx="92">
                  <c:v>0.6504398168123842</c:v>
                </c:pt>
                <c:pt idx="93">
                  <c:v>0.6005638888888889</c:v>
                </c:pt>
                <c:pt idx="94">
                  <c:v>0.5837729701137265</c:v>
                </c:pt>
                <c:pt idx="95">
                  <c:v>0.5653309402519102</c:v>
                </c:pt>
                <c:pt idx="96">
                  <c:v>0.5826754137839594</c:v>
                </c:pt>
                <c:pt idx="97">
                  <c:v>0.5389589746827451</c:v>
                </c:pt>
                <c:pt idx="98">
                  <c:v>0.5337014497662435</c:v>
                </c:pt>
                <c:pt idx="99">
                  <c:v>0.49271309829675014</c:v>
                </c:pt>
                <c:pt idx="100">
                  <c:v>0.5475528609229792</c:v>
                </c:pt>
                <c:pt idx="101">
                  <c:v>0.6223604857007442</c:v>
                </c:pt>
                <c:pt idx="102">
                  <c:v>0.6263003995875226</c:v>
                </c:pt>
                <c:pt idx="103">
                  <c:v>0.4796358729683397</c:v>
                </c:pt>
                <c:pt idx="104">
                  <c:v>0.5662049680591531</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087784929096915</c:v>
                </c:pt>
                <c:pt idx="1">
                  <c:v>0.5650808316086708</c:v>
                </c:pt>
                <c:pt idx="2">
                  <c:v>0.6598133595284872</c:v>
                </c:pt>
                <c:pt idx="3">
                  <c:v>0.6171498648423998</c:v>
                </c:pt>
                <c:pt idx="4">
                  <c:v>0.6044603571838114</c:v>
                </c:pt>
                <c:pt idx="5">
                  <c:v>0.584456752713998</c:v>
                </c:pt>
                <c:pt idx="6">
                  <c:v>0.632903961976707</c:v>
                </c:pt>
                <c:pt idx="7">
                  <c:v>0.6602353172375071</c:v>
                </c:pt>
                <c:pt idx="8">
                  <c:v>0.6377508771929824</c:v>
                </c:pt>
                <c:pt idx="9">
                  <c:v>0.5595157841398531</c:v>
                </c:pt>
                <c:pt idx="10">
                  <c:v>0.6431953919491525</c:v>
                </c:pt>
                <c:pt idx="11">
                  <c:v>0.691863161209068</c:v>
                </c:pt>
                <c:pt idx="12">
                  <c:v>0.7207076333194781</c:v>
                </c:pt>
                <c:pt idx="13">
                  <c:v>0.6127920065252855</c:v>
                </c:pt>
                <c:pt idx="14">
                  <c:v>0.6428099595778126</c:v>
                </c:pt>
                <c:pt idx="15">
                  <c:v>0.5944978281597626</c:v>
                </c:pt>
                <c:pt idx="16">
                  <c:v>0.6781119953017177</c:v>
                </c:pt>
                <c:pt idx="17">
                  <c:v>0.581918828229028</c:v>
                </c:pt>
                <c:pt idx="18">
                  <c:v>0.7283651719805212</c:v>
                </c:pt>
                <c:pt idx="19">
                  <c:v>0.6751921555230386</c:v>
                </c:pt>
                <c:pt idx="20">
                  <c:v>0.5574314206965673</c:v>
                </c:pt>
                <c:pt idx="21">
                  <c:v>0.47820147486033515</c:v>
                </c:pt>
                <c:pt idx="22">
                  <c:v>0.6457852262234534</c:v>
                </c:pt>
                <c:pt idx="23">
                  <c:v>0.7990110793423874</c:v>
                </c:pt>
                <c:pt idx="24">
                  <c:v>0.6967684953480912</c:v>
                </c:pt>
                <c:pt idx="25">
                  <c:v>0.6578667271627344</c:v>
                </c:pt>
                <c:pt idx="26">
                  <c:v>0.5478858284496536</c:v>
                </c:pt>
                <c:pt idx="27">
                  <c:v>0.6142104089052528</c:v>
                </c:pt>
                <c:pt idx="28">
                  <c:v>0.6284671070825011</c:v>
                </c:pt>
                <c:pt idx="29">
                  <c:v>0.7580149379932355</c:v>
                </c:pt>
                <c:pt idx="30">
                  <c:v>0.7395766056786341</c:v>
                </c:pt>
                <c:pt idx="31">
                  <c:v>0.6229096745950679</c:v>
                </c:pt>
                <c:pt idx="32">
                  <c:v>0.7433268950298467</c:v>
                </c:pt>
                <c:pt idx="33">
                  <c:v>0.7311147358057105</c:v>
                </c:pt>
                <c:pt idx="34">
                  <c:v>0.630893444715402</c:v>
                </c:pt>
                <c:pt idx="35">
                  <c:v>0.6763802279280516</c:v>
                </c:pt>
                <c:pt idx="36">
                  <c:v>0.8151399033669757</c:v>
                </c:pt>
                <c:pt idx="37">
                  <c:v>0.7242895227494086</c:v>
                </c:pt>
                <c:pt idx="38">
                  <c:v>0.8045018733608094</c:v>
                </c:pt>
                <c:pt idx="39">
                  <c:v>0.690112592430931</c:v>
                </c:pt>
                <c:pt idx="40">
                  <c:v>0.7337764016838509</c:v>
                </c:pt>
                <c:pt idx="41">
                  <c:v>0.7491568855364147</c:v>
                </c:pt>
                <c:pt idx="42">
                  <c:v>0.6655333956913337</c:v>
                </c:pt>
                <c:pt idx="43">
                  <c:v>0.6857790941692125</c:v>
                </c:pt>
                <c:pt idx="44">
                  <c:v>0.722106364678899</c:v>
                </c:pt>
                <c:pt idx="45">
                  <c:v>0.5952863984674329</c:v>
                </c:pt>
                <c:pt idx="46">
                  <c:v>0.5873092610194658</c:v>
                </c:pt>
                <c:pt idx="47">
                  <c:v>0.6173824687699835</c:v>
                </c:pt>
                <c:pt idx="48">
                  <c:v>0.5418250401490332</c:v>
                </c:pt>
                <c:pt idx="49">
                  <c:v>0.6833037760630554</c:v>
                </c:pt>
                <c:pt idx="50">
                  <c:v>0.5393780364372469</c:v>
                </c:pt>
                <c:pt idx="51">
                  <c:v>0.5747042667420176</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475714329620242</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475714329620242</c:v>
                </c:pt>
                <c:pt idx="1">
                  <c:v>-0.2475714329620242</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288828352176006</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288828352176006</c:v>
                </c:pt>
                <c:pt idx="1">
                  <c:v>0.3288828352176006</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294514594741058</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294514594741058</c:v>
                </c:pt>
                <c:pt idx="1">
                  <c:v>0.8294514594741058</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087784929096915</c:v>
                </c:pt>
                <c:pt idx="1">
                  <c:v>0.5650808316086708</c:v>
                </c:pt>
                <c:pt idx="2">
                  <c:v>0.6598133595284872</c:v>
                </c:pt>
                <c:pt idx="3">
                  <c:v>0.6171498648423998</c:v>
                </c:pt>
                <c:pt idx="4">
                  <c:v>0.6044603571838114</c:v>
                </c:pt>
                <c:pt idx="5">
                  <c:v>0.584456752713998</c:v>
                </c:pt>
                <c:pt idx="6">
                  <c:v>0.632903961976707</c:v>
                </c:pt>
                <c:pt idx="7">
                  <c:v>0.6602353172375071</c:v>
                </c:pt>
                <c:pt idx="8">
                  <c:v>0.6377508771929824</c:v>
                </c:pt>
                <c:pt idx="9">
                  <c:v>0.5595157841398531</c:v>
                </c:pt>
                <c:pt idx="10">
                  <c:v>0.6431953919491525</c:v>
                </c:pt>
                <c:pt idx="11">
                  <c:v>0.691863161209068</c:v>
                </c:pt>
                <c:pt idx="12">
                  <c:v>0.7207076333194781</c:v>
                </c:pt>
                <c:pt idx="13">
                  <c:v>0.6127920065252855</c:v>
                </c:pt>
                <c:pt idx="14">
                  <c:v>0.6428099595778126</c:v>
                </c:pt>
                <c:pt idx="15">
                  <c:v>0.5944978281597626</c:v>
                </c:pt>
                <c:pt idx="16">
                  <c:v>0.6781119953017177</c:v>
                </c:pt>
                <c:pt idx="17">
                  <c:v>0.581918828229028</c:v>
                </c:pt>
                <c:pt idx="18">
                  <c:v>0.7283651719805212</c:v>
                </c:pt>
                <c:pt idx="19">
                  <c:v>0.6751921555230386</c:v>
                </c:pt>
                <c:pt idx="20">
                  <c:v>0.5574314206965673</c:v>
                </c:pt>
                <c:pt idx="21">
                  <c:v>0.47820147486033515</c:v>
                </c:pt>
                <c:pt idx="22">
                  <c:v>0.6457852262234534</c:v>
                </c:pt>
                <c:pt idx="23">
                  <c:v>0.7990110793423874</c:v>
                </c:pt>
                <c:pt idx="24">
                  <c:v>0.6967684953480912</c:v>
                </c:pt>
                <c:pt idx="25">
                  <c:v>0.6578667271627344</c:v>
                </c:pt>
                <c:pt idx="26">
                  <c:v>0.5478858284496536</c:v>
                </c:pt>
                <c:pt idx="27">
                  <c:v>0.6142104089052528</c:v>
                </c:pt>
                <c:pt idx="28">
                  <c:v>0.6284671070825011</c:v>
                </c:pt>
                <c:pt idx="29">
                  <c:v>0.7580149379932355</c:v>
                </c:pt>
                <c:pt idx="30">
                  <c:v>0.7395766056786341</c:v>
                </c:pt>
                <c:pt idx="31">
                  <c:v>0.6229096745950679</c:v>
                </c:pt>
                <c:pt idx="32">
                  <c:v>0.7433268950298467</c:v>
                </c:pt>
                <c:pt idx="33">
                  <c:v>0.7311147358057105</c:v>
                </c:pt>
                <c:pt idx="34">
                  <c:v>0.630893444715402</c:v>
                </c:pt>
                <c:pt idx="35">
                  <c:v>0.6763802279280516</c:v>
                </c:pt>
                <c:pt idx="36">
                  <c:v>0.8151399033669757</c:v>
                </c:pt>
                <c:pt idx="37">
                  <c:v>0.7242895227494086</c:v>
                </c:pt>
                <c:pt idx="38">
                  <c:v>0.8045018733608094</c:v>
                </c:pt>
                <c:pt idx="39">
                  <c:v>0.690112592430931</c:v>
                </c:pt>
                <c:pt idx="40">
                  <c:v>0.7337764016838509</c:v>
                </c:pt>
                <c:pt idx="41">
                  <c:v>0.7491568855364147</c:v>
                </c:pt>
                <c:pt idx="42">
                  <c:v>0.6655333956913337</c:v>
                </c:pt>
                <c:pt idx="43">
                  <c:v>0.6857790941692125</c:v>
                </c:pt>
                <c:pt idx="44">
                  <c:v>0.722106364678899</c:v>
                </c:pt>
                <c:pt idx="45">
                  <c:v>0.5952863984674329</c:v>
                </c:pt>
                <c:pt idx="46">
                  <c:v>0.5873092610194658</c:v>
                </c:pt>
                <c:pt idx="47">
                  <c:v>0.6173824687699835</c:v>
                </c:pt>
                <c:pt idx="48">
                  <c:v>0.5418250401490332</c:v>
                </c:pt>
                <c:pt idx="49">
                  <c:v>0.6833037760630554</c:v>
                </c:pt>
                <c:pt idx="50">
                  <c:v>0.5393780364372469</c:v>
                </c:pt>
                <c:pt idx="51">
                  <c:v>0.5747042667420176</c:v>
                </c:pt>
                <c:pt idx="52">
                  <c:v>0.3288828352176006</c:v>
                </c:pt>
                <c:pt idx="53">
                  <c:v>-0.2475714329620242</c:v>
                </c:pt>
                <c:pt idx="54">
                  <c:v>0.8294514594741058</c:v>
                </c:pt>
              </c:numCache>
            </c:numRef>
          </c:xVal>
          <c:yVal>
            <c:numRef>
              <c:f>Sheet1!$B$187:$B$241</c:f>
              <c:numCache>
                <c:formatCode>General</c:formatCode>
                <c:ptCount val="55"/>
                <c:pt idx="0">
                  <c:v>0.3554264386614527</c:v>
                </c:pt>
                <c:pt idx="1">
                  <c:v>0.3507061525949413</c:v>
                </c:pt>
                <c:pt idx="2">
                  <c:v>0.34276394909295044</c:v>
                </c:pt>
                <c:pt idx="3">
                  <c:v>0.3463407791886259</c:v>
                </c:pt>
                <c:pt idx="4">
                  <c:v>0.3474046445195488</c:v>
                </c:pt>
                <c:pt idx="5">
                  <c:v>0.34908171047525793</c:v>
                </c:pt>
                <c:pt idx="6">
                  <c:v>0.34501998422855995</c:v>
                </c:pt>
                <c:pt idx="7">
                  <c:v>0.3427285729231399</c:v>
                </c:pt>
                <c:pt idx="8">
                  <c:v>0.3446136276385918</c:v>
                </c:pt>
                <c:pt idx="9">
                  <c:v>0.35117271609183226</c:v>
                </c:pt>
                <c:pt idx="10">
                  <c:v>0.344157169385945</c:v>
                </c:pt>
                <c:pt idx="11">
                  <c:v>0.3400769517886974</c:v>
                </c:pt>
                <c:pt idx="12">
                  <c:v>0.33765868350810974</c:v>
                </c:pt>
                <c:pt idx="13">
                  <c:v>0.34670613413425405</c:v>
                </c:pt>
                <c:pt idx="14">
                  <c:v>0.34418948333762195</c:v>
                </c:pt>
                <c:pt idx="15">
                  <c:v>0.34823988490256125</c:v>
                </c:pt>
                <c:pt idx="16">
                  <c:v>0.3412298246236571</c:v>
                </c:pt>
                <c:pt idx="17">
                  <c:v>0.3492944854658016</c:v>
                </c:pt>
                <c:pt idx="18">
                  <c:v>0.3370166893408914</c:v>
                </c:pt>
                <c:pt idx="19">
                  <c:v>0.3414746187004615</c:v>
                </c:pt>
                <c:pt idx="20">
                  <c:v>0.3513474653464146</c:v>
                </c:pt>
                <c:pt idx="21">
                  <c:v>0.3579899604544907</c:v>
                </c:pt>
                <c:pt idx="22">
                  <c:v>0.3439400423727153</c:v>
                </c:pt>
                <c:pt idx="23">
                  <c:v>0.3310938644657266</c:v>
                </c:pt>
                <c:pt idx="24">
                  <c:v>0.339665697462091</c:v>
                </c:pt>
                <c:pt idx="25">
                  <c:v>0.34292715122353706</c:v>
                </c:pt>
                <c:pt idx="26">
                  <c:v>0.35214775050544866</c:v>
                </c:pt>
                <c:pt idx="27">
                  <c:v>0.3465872178486151</c:v>
                </c:pt>
                <c:pt idx="28">
                  <c:v>0.34539196210408346</c:v>
                </c:pt>
                <c:pt idx="29">
                  <c:v>0.3345309066785866</c:v>
                </c:pt>
                <c:pt idx="30">
                  <c:v>0.3360767430528027</c:v>
                </c:pt>
                <c:pt idx="31">
                  <c:v>0.34585788717473215</c:v>
                </c:pt>
                <c:pt idx="32">
                  <c:v>0.3357623255884668</c:v>
                </c:pt>
                <c:pt idx="33">
                  <c:v>0.3367861708915173</c:v>
                </c:pt>
                <c:pt idx="34">
                  <c:v>0.34518854235304136</c:v>
                </c:pt>
                <c:pt idx="35">
                  <c:v>0.341375012862605</c:v>
                </c:pt>
                <c:pt idx="36">
                  <c:v>0.3297416530821192</c:v>
                </c:pt>
                <c:pt idx="37">
                  <c:v>0.3373583843880628</c:v>
                </c:pt>
                <c:pt idx="38">
                  <c:v>0.3306335262435825</c:v>
                </c:pt>
                <c:pt idx="39">
                  <c:v>0.3402237163033313</c:v>
                </c:pt>
                <c:pt idx="40">
                  <c:v>0.33656302164676805</c:v>
                </c:pt>
                <c:pt idx="41">
                  <c:v>0.33527354974732143</c:v>
                </c:pt>
                <c:pt idx="42">
                  <c:v>0.34228439162476454</c:v>
                </c:pt>
                <c:pt idx="43">
                  <c:v>0.3405870289460513</c:v>
                </c:pt>
                <c:pt idx="44">
                  <c:v>0.337541416405193</c:v>
                </c:pt>
                <c:pt idx="45">
                  <c:v>0.34817377259671795</c:v>
                </c:pt>
                <c:pt idx="46">
                  <c:v>0.34884256134717473</c:v>
                </c:pt>
                <c:pt idx="47">
                  <c:v>0.34632127809677493</c:v>
                </c:pt>
                <c:pt idx="48">
                  <c:v>0.3526558760154821</c:v>
                </c:pt>
                <c:pt idx="49">
                  <c:v>0.34079455513122714</c:v>
                </c:pt>
                <c:pt idx="50">
                  <c:v>0.35286102837313466</c:v>
                </c:pt>
                <c:pt idx="51">
                  <c:v>0.34989934122934635</c:v>
                </c:pt>
                <c:pt idx="52">
                  <c:v>0.3705085646628238</c:v>
                </c:pt>
                <c:pt idx="53">
                  <c:v>0.4188374460724805</c:v>
                </c:pt>
                <c:pt idx="54">
                  <c:v>0.3285417981481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9.6732</c:v>
                </c:pt>
                <c:pt idx="1">
                  <c:v>811.0569</c:v>
                </c:pt>
                <c:pt idx="2">
                  <c:v>770.3864</c:v>
                </c:pt>
                <c:pt idx="3">
                  <c:v>777.581</c:v>
                </c:pt>
                <c:pt idx="4">
                  <c:v>765.9403</c:v>
                </c:pt>
                <c:pt idx="5">
                  <c:v>755.2095</c:v>
                </c:pt>
                <c:pt idx="6">
                  <c:v>750.4333</c:v>
                </c:pt>
                <c:pt idx="7">
                  <c:v>748.6709</c:v>
                </c:pt>
                <c:pt idx="8">
                  <c:v>738.1967</c:v>
                </c:pt>
                <c:pt idx="9">
                  <c:v>764.415</c:v>
                </c:pt>
                <c:pt idx="10">
                  <c:v>776.7453</c:v>
                </c:pt>
                <c:pt idx="11">
                  <c:v>806.4323</c:v>
                </c:pt>
                <c:pt idx="12">
                  <c:v>823.817</c:v>
                </c:pt>
                <c:pt idx="13">
                  <c:v>835.7609</c:v>
                </c:pt>
                <c:pt idx="14">
                  <c:v>848.1417</c:v>
                </c:pt>
                <c:pt idx="15">
                  <c:v>835.7813</c:v>
                </c:pt>
                <c:pt idx="16">
                  <c:v>838.3187</c:v>
                </c:pt>
                <c:pt idx="17">
                  <c:v>892.1667</c:v>
                </c:pt>
                <c:pt idx="18">
                  <c:v>903.1512</c:v>
                </c:pt>
                <c:pt idx="19">
                  <c:v>1000.7794</c:v>
                </c:pt>
                <c:pt idx="20">
                  <c:v>1034.0</c:v>
                </c:pt>
                <c:pt idx="21">
                  <c:v>1060.375</c:v>
                </c:pt>
                <c:pt idx="22">
                  <c:v>1054.5</c:v>
                </c:pt>
                <c:pt idx="23">
                  <c:v>1027.7155</c:v>
                </c:pt>
                <c:pt idx="24">
                  <c:v>989.7043</c:v>
                </c:pt>
                <c:pt idx="25">
                  <c:v>1019.6891</c:v>
                </c:pt>
                <c:pt idx="26">
                  <c:v>1014.1507</c:v>
                </c:pt>
                <c:pt idx="27">
                  <c:v>976.197</c:v>
                </c:pt>
                <c:pt idx="28">
                  <c:v>973.16</c:v>
                </c:pt>
                <c:pt idx="29">
                  <c:v>979.1399</c:v>
                </c:pt>
                <c:pt idx="30">
                  <c:v>973.9453</c:v>
                </c:pt>
                <c:pt idx="31">
                  <c:v>920.9015</c:v>
                </c:pt>
                <c:pt idx="32">
                  <c:v>969.2773</c:v>
                </c:pt>
                <c:pt idx="33">
                  <c:v>945.7105</c:v>
                </c:pt>
                <c:pt idx="34">
                  <c:v>954.3765</c:v>
                </c:pt>
                <c:pt idx="35">
                  <c:v>952.5304</c:v>
                </c:pt>
                <c:pt idx="36">
                  <c:v>1017.8995</c:v>
                </c:pt>
                <c:pt idx="37">
                  <c:v>999.9185</c:v>
                </c:pt>
                <c:pt idx="38">
                  <c:v>1080.5974</c:v>
                </c:pt>
                <c:pt idx="39">
                  <c:v>1114.9343</c:v>
                </c:pt>
                <c:pt idx="40">
                  <c:v>1136.078</c:v>
                </c:pt>
                <c:pt idx="41">
                  <c:v>1087.5546</c:v>
                </c:pt>
                <c:pt idx="42">
                  <c:v>1113.7929</c:v>
                </c:pt>
                <c:pt idx="43">
                  <c:v>1099.2857</c:v>
                </c:pt>
                <c:pt idx="44">
                  <c:v>1037.4444</c:v>
                </c:pt>
                <c:pt idx="45">
                  <c:v>1015.7938</c:v>
                </c:pt>
                <c:pt idx="46">
                  <c:v>1038.7672</c:v>
                </c:pt>
                <c:pt idx="47">
                  <c:v>1046.3146</c:v>
                </c:pt>
                <c:pt idx="48">
                  <c:v>1039.2166</c:v>
                </c:pt>
                <c:pt idx="49">
                  <c:v>1007.9379</c:v>
                </c:pt>
                <c:pt idx="50">
                  <c:v>966.5839</c:v>
                </c:pt>
                <c:pt idx="51">
                  <c:v>979.2772</c:v>
                </c:pt>
                <c:pt idx="52">
                  <c:v>947.3391</c:v>
                </c:pt>
                <c:pt idx="53">
                  <c:v>975.0594</c:v>
                </c:pt>
                <c:pt idx="54">
                  <c:v>961.3134</c:v>
                </c:pt>
                <c:pt idx="55">
                  <c:v>973.8832</c:v>
                </c:pt>
                <c:pt idx="56">
                  <c:v>1015.0609</c:v>
                </c:pt>
                <c:pt idx="57">
                  <c:v>959.7847</c:v>
                </c:pt>
                <c:pt idx="58">
                  <c:v>970.5252</c:v>
                </c:pt>
                <c:pt idx="59">
                  <c:v>915.1069</c:v>
                </c:pt>
                <c:pt idx="60">
                  <c:v>899.1667</c:v>
                </c:pt>
                <c:pt idx="61">
                  <c:v>893.4828</c:v>
                </c:pt>
                <c:pt idx="62">
                  <c:v>917.1984</c:v>
                </c:pt>
                <c:pt idx="63">
                  <c:v>910.2532</c:v>
                </c:pt>
                <c:pt idx="64">
                  <c:v>916.787</c:v>
                </c:pt>
                <c:pt idx="65">
                  <c:v>918.8852</c:v>
                </c:pt>
                <c:pt idx="66">
                  <c:v>911.7955</c:v>
                </c:pt>
                <c:pt idx="67">
                  <c:v>910.9676</c:v>
                </c:pt>
                <c:pt idx="68">
                  <c:v>939.2899</c:v>
                </c:pt>
                <c:pt idx="69">
                  <c:v>948.563</c:v>
                </c:pt>
                <c:pt idx="70">
                  <c:v>903.7923</c:v>
                </c:pt>
                <c:pt idx="71">
                  <c:v>1011.7114</c:v>
                </c:pt>
                <c:pt idx="72">
                  <c:v>1165.2463</c:v>
                </c:pt>
                <c:pt idx="73">
                  <c:v>1087.3778</c:v>
                </c:pt>
                <c:pt idx="74">
                  <c:v>1163.381</c:v>
                </c:pt>
                <c:pt idx="75">
                  <c:v>1100.4925</c:v>
                </c:pt>
                <c:pt idx="76">
                  <c:v>1151.5156</c:v>
                </c:pt>
                <c:pt idx="77">
                  <c:v>1151.04</c:v>
                </c:pt>
                <c:pt idx="78">
                  <c:v>1168.41</c:v>
                </c:pt>
                <c:pt idx="79">
                  <c:v>1053.2745</c:v>
                </c:pt>
                <c:pt idx="80">
                  <c:v>1130.2857</c:v>
                </c:pt>
                <c:pt idx="81">
                  <c:v>1111.9339</c:v>
                </c:pt>
                <c:pt idx="82">
                  <c:v>1089.0899</c:v>
                </c:pt>
                <c:pt idx="83">
                  <c:v>1098.7209</c:v>
                </c:pt>
                <c:pt idx="84">
                  <c:v>1091.7642</c:v>
                </c:pt>
                <c:pt idx="85">
                  <c:v>1031.2762</c:v>
                </c:pt>
                <c:pt idx="86">
                  <c:v>1052.4884</c:v>
                </c:pt>
                <c:pt idx="87">
                  <c:v>1055.3632</c:v>
                </c:pt>
                <c:pt idx="88">
                  <c:v>1075.8864</c:v>
                </c:pt>
                <c:pt idx="89">
                  <c:v>1068.3548</c:v>
                </c:pt>
                <c:pt idx="90">
                  <c:v>1121.6774</c:v>
                </c:pt>
                <c:pt idx="91">
                  <c:v>1086.6442</c:v>
                </c:pt>
                <c:pt idx="92">
                  <c:v>1074.0794</c:v>
                </c:pt>
                <c:pt idx="93">
                  <c:v>1037.7744</c:v>
                </c:pt>
                <c:pt idx="94">
                  <c:v>1103.6228</c:v>
                </c:pt>
                <c:pt idx="95">
                  <c:v>1145.522</c:v>
                </c:pt>
                <c:pt idx="96">
                  <c:v>1092.2736</c:v>
                </c:pt>
                <c:pt idx="97">
                  <c:v>1067.0714</c:v>
                </c:pt>
                <c:pt idx="98">
                  <c:v>1046.8935</c:v>
                </c:pt>
                <c:pt idx="99">
                  <c:v>1003.0231</c:v>
                </c:pt>
                <c:pt idx="100">
                  <c:v>975.1134</c:v>
                </c:pt>
                <c:pt idx="101">
                  <c:v>989.9681</c:v>
                </c:pt>
                <c:pt idx="102">
                  <c:v>971.7677</c:v>
                </c:pt>
                <c:pt idx="103">
                  <c:v>976.6985</c:v>
                </c:pt>
                <c:pt idx="104">
                  <c:v>983.1745</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9646319539851</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9646319539851</c:v>
                </c:pt>
                <c:pt idx="1">
                  <c:v>768.9646319539851</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0.2469514536142</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0.2469514536142</c:v>
                </c:pt>
                <c:pt idx="1">
                  <c:v>1000.2469514536142</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0827833269377</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0827833269377</c:v>
                </c:pt>
                <c:pt idx="1">
                  <c:v>1201.0827833269377</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pt idx="52">
                  <c:v>1000.2469514536142</c:v>
                </c:pt>
                <c:pt idx="53">
                  <c:v>768.9646319539851</c:v>
                </c:pt>
                <c:pt idx="54">
                  <c:v>1201.0827833269377</c:v>
                </c:pt>
              </c:numCache>
            </c:numRef>
          </c:xVal>
          <c:yVal>
            <c:numRef>
              <c:f>Sheet1!$B$187:$B$241</c:f>
              <c:numCache>
                <c:formatCode>General</c:formatCode>
                <c:ptCount val="55"/>
                <c:pt idx="0">
                  <c:v>0.3703846409105437</c:v>
                </c:pt>
                <c:pt idx="1">
                  <c:v>0.36670192012234626</c:v>
                </c:pt>
                <c:pt idx="2">
                  <c:v>0.354949978614844</c:v>
                </c:pt>
                <c:pt idx="3">
                  <c:v>0.34982457327184674</c:v>
                </c:pt>
                <c:pt idx="4">
                  <c:v>0.34314362377930907</c:v>
                </c:pt>
                <c:pt idx="5">
                  <c:v>0.35158840930073765</c:v>
                </c:pt>
                <c:pt idx="6">
                  <c:v>0.36073189622363555</c:v>
                </c:pt>
                <c:pt idx="7">
                  <c:v>0.33380837375681244</c:v>
                </c:pt>
                <c:pt idx="8">
                  <c:v>0.33644576937802406</c:v>
                </c:pt>
                <c:pt idx="9">
                  <c:v>0.3487855587135652</c:v>
                </c:pt>
                <c:pt idx="10">
                  <c:v>0.3257688672281613</c:v>
                </c:pt>
                <c:pt idx="11">
                  <c:v>0.3499402120419437</c:v>
                </c:pt>
                <c:pt idx="12">
                  <c:v>0.3528183302203502</c:v>
                </c:pt>
                <c:pt idx="13">
                  <c:v>0.34403795405060994</c:v>
                </c:pt>
                <c:pt idx="14">
                  <c:v>0.3402665086115576</c:v>
                </c:pt>
                <c:pt idx="15">
                  <c:v>0.34500575485238805</c:v>
                </c:pt>
                <c:pt idx="16">
                  <c:v>0.3382433316401887</c:v>
                </c:pt>
                <c:pt idx="17">
                  <c:v>0.3512203252864158</c:v>
                </c:pt>
                <c:pt idx="18">
                  <c:v>0.3281377276425576</c:v>
                </c:pt>
                <c:pt idx="19">
                  <c:v>0.33412074888767246</c:v>
                </c:pt>
                <c:pt idx="20">
                  <c:v>0.34708253020563234</c:v>
                </c:pt>
                <c:pt idx="21">
                  <c:v>0.3559379859021088</c:v>
                </c:pt>
                <c:pt idx="22">
                  <c:v>0.36030478085305706</c:v>
                </c:pt>
                <c:pt idx="23">
                  <c:v>0.34594116676843234</c:v>
                </c:pt>
                <c:pt idx="24">
                  <c:v>0.352607593502528</c:v>
                </c:pt>
                <c:pt idx="25">
                  <c:v>0.3522857942507224</c:v>
                </c:pt>
                <c:pt idx="26">
                  <c:v>0.3646295120446622</c:v>
                </c:pt>
                <c:pt idx="27">
                  <c:v>0.3672796333635588</c:v>
                </c:pt>
                <c:pt idx="28">
                  <c:v>0.36582238425820635</c:v>
                </c:pt>
                <c:pt idx="29">
                  <c:v>0.3547262236545625</c:v>
                </c:pt>
                <c:pt idx="30">
                  <c:v>0.3449512161480235</c:v>
                </c:pt>
                <c:pt idx="31">
                  <c:v>0.35651801860546095</c:v>
                </c:pt>
                <c:pt idx="32">
                  <c:v>0.35000066432996146</c:v>
                </c:pt>
                <c:pt idx="33">
                  <c:v>0.3467693192325599</c:v>
                </c:pt>
                <c:pt idx="34">
                  <c:v>0.34408369551568807</c:v>
                </c:pt>
                <c:pt idx="35">
                  <c:v>0.32218176678907195</c:v>
                </c:pt>
                <c:pt idx="36">
                  <c:v>0.31336467625014836</c:v>
                </c:pt>
                <c:pt idx="37">
                  <c:v>0.3075863109707599</c:v>
                </c:pt>
                <c:pt idx="38">
                  <c:v>0.3103107177662909</c:v>
                </c:pt>
                <c:pt idx="39">
                  <c:v>0.32288155478541747</c:v>
                </c:pt>
                <c:pt idx="40">
                  <c:v>0.32819698885542264</c:v>
                </c:pt>
                <c:pt idx="41">
                  <c:v>0.3150934278021704</c:v>
                </c:pt>
                <c:pt idx="42">
                  <c:v>0.32956095796986196</c:v>
                </c:pt>
                <c:pt idx="43">
                  <c:v>0.3097928299314368</c:v>
                </c:pt>
                <c:pt idx="44">
                  <c:v>0.31636551696140264</c:v>
                </c:pt>
                <c:pt idx="45">
                  <c:v>0.33277798926937485</c:v>
                </c:pt>
                <c:pt idx="46">
                  <c:v>0.3344750206094331</c:v>
                </c:pt>
                <c:pt idx="47">
                  <c:v>0.346932580112713</c:v>
                </c:pt>
                <c:pt idx="48">
                  <c:v>0.35920863647955237</c:v>
                </c:pt>
                <c:pt idx="49">
                  <c:v>0.3543034964555995</c:v>
                </c:pt>
                <c:pt idx="50">
                  <c:v>0.3568082648137455</c:v>
                </c:pt>
                <c:pt idx="51">
                  <c:v>0.36702054317374455</c:v>
                </c:pt>
                <c:pt idx="52">
                  <c:v>0.3705085646628238</c:v>
                </c:pt>
                <c:pt idx="53">
                  <c:v>0.4188374460724805</c:v>
                </c:pt>
                <c:pt idx="54">
                  <c:v>0.3285417981481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59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88361403508771</c:v>
                </c:pt>
                <c:pt idx="1">
                  <c:v>0.7030659674063802</c:v>
                </c:pt>
                <c:pt idx="2">
                  <c:v>0.8172993846806704</c:v>
                </c:pt>
                <c:pt idx="3">
                  <c:v>0.7867598916276524</c:v>
                </c:pt>
                <c:pt idx="4">
                  <c:v>0.8207675739391341</c:v>
                </c:pt>
                <c:pt idx="5">
                  <c:v>0.7146529453513131</c:v>
                </c:pt>
                <c:pt idx="6">
                  <c:v>0.6525506956521739</c:v>
                </c:pt>
                <c:pt idx="7">
                  <c:v>0.6675621043245653</c:v>
                </c:pt>
                <c:pt idx="8">
                  <c:v>0.7501998983739837</c:v>
                </c:pt>
                <c:pt idx="9">
                  <c:v>0.7656911774855151</c:v>
                </c:pt>
                <c:pt idx="10">
                  <c:v>0.6414081750619324</c:v>
                </c:pt>
                <c:pt idx="11">
                  <c:v>0.7447427965135539</c:v>
                </c:pt>
                <c:pt idx="12">
                  <c:v>0.9098641240181722</c:v>
                </c:pt>
                <c:pt idx="13">
                  <c:v>0.7978624343675418</c:v>
                </c:pt>
                <c:pt idx="14">
                  <c:v>0.8872935268732837</c:v>
                </c:pt>
                <c:pt idx="15">
                  <c:v>0.7975012404580153</c:v>
                </c:pt>
                <c:pt idx="16">
                  <c:v>0.7141718504663311</c:v>
                </c:pt>
                <c:pt idx="17">
                  <c:v>0.9197594845360825</c:v>
                </c:pt>
                <c:pt idx="18">
                  <c:v>0.745584390357303</c:v>
                </c:pt>
                <c:pt idx="19">
                  <c:v>0.5627098116390217</c:v>
                </c:pt>
                <c:pt idx="20">
                  <c:v>1.1422259044462855</c:v>
                </c:pt>
                <c:pt idx="21">
                  <c:v>1.262685200775729</c:v>
                </c:pt>
                <c:pt idx="22">
                  <c:v>0.9607575416050381</c:v>
                </c:pt>
                <c:pt idx="23">
                  <c:v>1.2427031438935914</c:v>
                </c:pt>
                <c:pt idx="24">
                  <c:v>0.9079855963302752</c:v>
                </c:pt>
                <c:pt idx="25">
                  <c:v>1.1524515144665461</c:v>
                </c:pt>
                <c:pt idx="26">
                  <c:v>0.9829762948909402</c:v>
                </c:pt>
                <c:pt idx="27">
                  <c:v>1.3650983742246485</c:v>
                </c:pt>
                <c:pt idx="28">
                  <c:v>1.3851403572647563</c:v>
                </c:pt>
                <c:pt idx="29">
                  <c:v>0.9408775163075748</c:v>
                </c:pt>
                <c:pt idx="30">
                  <c:v>0.8652676794598437</c:v>
                </c:pt>
                <c:pt idx="31">
                  <c:v>1.5265669291338584</c:v>
                </c:pt>
                <c:pt idx="32">
                  <c:v>0.9346936354869817</c:v>
                </c:pt>
                <c:pt idx="33">
                  <c:v>0.8031511677282378</c:v>
                </c:pt>
                <c:pt idx="34">
                  <c:v>1.147317016522421</c:v>
                </c:pt>
                <c:pt idx="35">
                  <c:v>1.1391179143745516</c:v>
                </c:pt>
                <c:pt idx="36">
                  <c:v>0.9888920333190425</c:v>
                </c:pt>
                <c:pt idx="37">
                  <c:v>1.4643669252802989</c:v>
                </c:pt>
                <c:pt idx="38">
                  <c:v>1.134910946665674</c:v>
                </c:pt>
                <c:pt idx="39">
                  <c:v>1.1892632533333332</c:v>
                </c:pt>
                <c:pt idx="40">
                  <c:v>0.9548880016810254</c:v>
                </c:pt>
                <c:pt idx="41">
                  <c:v>0.8915843580914904</c:v>
                </c:pt>
                <c:pt idx="42">
                  <c:v>1.069045745333021</c:v>
                </c:pt>
                <c:pt idx="43">
                  <c:v>0.9801923316986179</c:v>
                </c:pt>
                <c:pt idx="44">
                  <c:v>0.881306275483328</c:v>
                </c:pt>
                <c:pt idx="45">
                  <c:v>0.8778031455236779</c:v>
                </c:pt>
                <c:pt idx="46">
                  <c:v>0.8658798314565204</c:v>
                </c:pt>
                <c:pt idx="47">
                  <c:v>0.8899124813948542</c:v>
                </c:pt>
                <c:pt idx="48">
                  <c:v>0.7609127585575691</c:v>
                </c:pt>
                <c:pt idx="49">
                  <c:v>0.7848761096402429</c:v>
                </c:pt>
                <c:pt idx="50">
                  <c:v>0.7738862289831865</c:v>
                </c:pt>
                <c:pt idx="51">
                  <c:v>0.726466765578635</c:v>
                </c:pt>
                <c:pt idx="52">
                  <c:v>0.7363692965410027</c:v>
                </c:pt>
                <c:pt idx="53">
                  <c:v>0.8123802541137263</c:v>
                </c:pt>
                <c:pt idx="54">
                  <c:v>0.7130082699796032</c:v>
                </c:pt>
                <c:pt idx="55">
                  <c:v>0.7789507698460307</c:v>
                </c:pt>
                <c:pt idx="56">
                  <c:v>0.885433443824145</c:v>
                </c:pt>
                <c:pt idx="57">
                  <c:v>0.7656838452333466</c:v>
                </c:pt>
                <c:pt idx="58">
                  <c:v>0.7736350737345556</c:v>
                </c:pt>
                <c:pt idx="59">
                  <c:v>0.6827457767407554</c:v>
                </c:pt>
                <c:pt idx="60">
                  <c:v>0.6791289274924471</c:v>
                </c:pt>
                <c:pt idx="61">
                  <c:v>0.7749200346921076</c:v>
                </c:pt>
                <c:pt idx="62">
                  <c:v>0.6747413603418676</c:v>
                </c:pt>
                <c:pt idx="63">
                  <c:v>0.7093342684589908</c:v>
                </c:pt>
                <c:pt idx="64">
                  <c:v>0.6508959886403977</c:v>
                </c:pt>
                <c:pt idx="65">
                  <c:v>0.7900990541702494</c:v>
                </c:pt>
                <c:pt idx="66">
                  <c:v>0.4941981029810298</c:v>
                </c:pt>
                <c:pt idx="67">
                  <c:v>0.6846806463735438</c:v>
                </c:pt>
                <c:pt idx="68">
                  <c:v>0.5135537998906506</c:v>
                </c:pt>
                <c:pt idx="69">
                  <c:v>0.5141262872628726</c:v>
                </c:pt>
                <c:pt idx="70">
                  <c:v>0.6626043255131965</c:v>
                </c:pt>
                <c:pt idx="71">
                  <c:v>0.5982917800118274</c:v>
                </c:pt>
                <c:pt idx="72">
                  <c:v>0.9690197920997922</c:v>
                </c:pt>
                <c:pt idx="73">
                  <c:v>0.8259611090011394</c:v>
                </c:pt>
                <c:pt idx="74">
                  <c:v>0.0</c:v>
                </c:pt>
                <c:pt idx="75">
                  <c:v>0.5078414859252423</c:v>
                </c:pt>
                <c:pt idx="76">
                  <c:v>0.6833920474777447</c:v>
                </c:pt>
                <c:pt idx="77">
                  <c:v>0.8077473684210527</c:v>
                </c:pt>
                <c:pt idx="78">
                  <c:v>1.0285299295774648</c:v>
                </c:pt>
                <c:pt idx="79">
                  <c:v>0.0</c:v>
                </c:pt>
                <c:pt idx="80">
                  <c:v>0.0</c:v>
                </c:pt>
                <c:pt idx="81">
                  <c:v>1.2869605324074074</c:v>
                </c:pt>
                <c:pt idx="82">
                  <c:v>0.6754045891472867</c:v>
                </c:pt>
                <c:pt idx="83">
                  <c:v>0.0</c:v>
                </c:pt>
                <c:pt idx="84">
                  <c:v>0.712174951076321</c:v>
                </c:pt>
                <c:pt idx="85">
                  <c:v>0.0</c:v>
                </c:pt>
                <c:pt idx="86">
                  <c:v>0.650085484867202</c:v>
                </c:pt>
                <c:pt idx="87">
                  <c:v>0.4850014705882353</c:v>
                </c:pt>
                <c:pt idx="88">
                  <c:v>0.6921109038275973</c:v>
                </c:pt>
                <c:pt idx="89">
                  <c:v>0.9314340017436792</c:v>
                </c:pt>
                <c:pt idx="90">
                  <c:v>0.7730374913852516</c:v>
                </c:pt>
                <c:pt idx="91">
                  <c:v>0.0</c:v>
                </c:pt>
                <c:pt idx="92">
                  <c:v>0.48121836917562727</c:v>
                </c:pt>
                <c:pt idx="93">
                  <c:v>0.5502515376458113</c:v>
                </c:pt>
                <c:pt idx="94">
                  <c:v>0.5298237157945271</c:v>
                </c:pt>
                <c:pt idx="95">
                  <c:v>0.9859889826131865</c:v>
                </c:pt>
                <c:pt idx="96">
                  <c:v>1.0128137997476945</c:v>
                </c:pt>
                <c:pt idx="97">
                  <c:v>1.0008799087318632</c:v>
                </c:pt>
                <c:pt idx="98">
                  <c:v>1.049714608009024</c:v>
                </c:pt>
                <c:pt idx="99">
                  <c:v>0.9205666558428387</c:v>
                </c:pt>
                <c:pt idx="100">
                  <c:v>0.9524837202832777</c:v>
                </c:pt>
                <c:pt idx="101">
                  <c:v>0.9352346163591221</c:v>
                </c:pt>
                <c:pt idx="102">
                  <c:v>0.9338682448584366</c:v>
                </c:pt>
                <c:pt idx="103">
                  <c:v>0.9259755941014306</c:v>
                </c:pt>
                <c:pt idx="104">
                  <c:v>0.9447760610291964</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639071272921013</c:v>
                </c:pt>
                <c:pt idx="1">
                  <c:v>0.9779862258950524</c:v>
                </c:pt>
                <c:pt idx="2">
                  <c:v>1.0530577657895366</c:v>
                </c:pt>
                <c:pt idx="3">
                  <c:v>1.0063595083227768</c:v>
                </c:pt>
                <c:pt idx="4">
                  <c:v>1.070256097890964</c:v>
                </c:pt>
                <c:pt idx="5">
                  <c:v>1.2696535428488287</c:v>
                </c:pt>
                <c:pt idx="6">
                  <c:v>1.367718556462534</c:v>
                </c:pt>
                <c:pt idx="7">
                  <c:v>1.5178509100296889</c:v>
                </c:pt>
                <c:pt idx="8">
                  <c:v>1.4969213743404965</c:v>
                </c:pt>
                <c:pt idx="9">
                  <c:v>1.2505146092865234</c:v>
                </c:pt>
                <c:pt idx="10">
                  <c:v>1.6724979113624363</c:v>
                </c:pt>
                <c:pt idx="11">
                  <c:v>1.613889057408529</c:v>
                </c:pt>
                <c:pt idx="12">
                  <c:v>1.3123852696618843</c:v>
                </c:pt>
                <c:pt idx="13">
                  <c:v>1.5666235665719912</c:v>
                </c:pt>
                <c:pt idx="14">
                  <c:v>1.6362602357984994</c:v>
                </c:pt>
                <c:pt idx="15">
                  <c:v>1.4431156473519247</c:v>
                </c:pt>
                <c:pt idx="16">
                  <c:v>1.4219891625615764</c:v>
                </c:pt>
                <c:pt idx="17">
                  <c:v>1.4098968314916944</c:v>
                </c:pt>
                <c:pt idx="18">
                  <c:v>2.74661301369863</c:v>
                </c:pt>
                <c:pt idx="19">
                  <c:v>2.8125897656662566</c:v>
                </c:pt>
                <c:pt idx="20">
                  <c:v>2.6153008424604582</c:v>
                </c:pt>
                <c:pt idx="21">
                  <c:v>2.7122326996197716</c:v>
                </c:pt>
                <c:pt idx="22">
                  <c:v>2.6755992041641363</c:v>
                </c:pt>
                <c:pt idx="23">
                  <c:v>2.7310444661617392</c:v>
                </c:pt>
                <c:pt idx="24">
                  <c:v>2.5354393161147915</c:v>
                </c:pt>
                <c:pt idx="25">
                  <c:v>2.4446858135867373</c:v>
                </c:pt>
                <c:pt idx="26">
                  <c:v>2.554009672825638</c:v>
                </c:pt>
                <c:pt idx="27">
                  <c:v>2.3076580356061633</c:v>
                </c:pt>
                <c:pt idx="28">
                  <c:v>2.40807899140114</c:v>
                </c:pt>
                <c:pt idx="29">
                  <c:v>2.4993106870686566</c:v>
                </c:pt>
                <c:pt idx="30">
                  <c:v>2.539714932126697</c:v>
                </c:pt>
                <c:pt idx="31">
                  <c:v>2.450300030881311</c:v>
                </c:pt>
                <c:pt idx="32">
                  <c:v>2.876049300736746</c:v>
                </c:pt>
                <c:pt idx="33">
                  <c:v>3.2093738159553395</c:v>
                </c:pt>
                <c:pt idx="34">
                  <c:v>3.133430002797741</c:v>
                </c:pt>
                <c:pt idx="35">
                  <c:v>3.465314197632649</c:v>
                </c:pt>
                <c:pt idx="36">
                  <c:v>3.882430166116279</c:v>
                </c:pt>
                <c:pt idx="37">
                  <c:v>3.4387275911600224</c:v>
                </c:pt>
                <c:pt idx="38">
                  <c:v>3.8028740372007848</c:v>
                </c:pt>
                <c:pt idx="39">
                  <c:v>3.2101627807653244</c:v>
                </c:pt>
                <c:pt idx="40">
                  <c:v>3.395026353287612</c:v>
                </c:pt>
                <c:pt idx="41">
                  <c:v>3.943588636078205</c:v>
                </c:pt>
                <c:pt idx="42">
                  <c:v>3.4757461618634937</c:v>
                </c:pt>
                <c:pt idx="43">
                  <c:v>3.17411703490844</c:v>
                </c:pt>
                <c:pt idx="44">
                  <c:v>3.4550164609053495</c:v>
                </c:pt>
                <c:pt idx="45">
                  <c:v>3.2677612429341627</c:v>
                </c:pt>
                <c:pt idx="46">
                  <c:v>2.7449462498484376</c:v>
                </c:pt>
                <c:pt idx="47">
                  <c:v>2.9045968208073627</c:v>
                </c:pt>
                <c:pt idx="48">
                  <c:v>2.2894013295295483</c:v>
                </c:pt>
                <c:pt idx="49">
                  <c:v>1.8132872265952475</c:v>
                </c:pt>
                <c:pt idx="50">
                  <c:v>1.808150095606349</c:v>
                </c:pt>
                <c:pt idx="51">
                  <c:v>1.6209276340851893</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538818903503937</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538818903503937</c:v>
                </c:pt>
                <c:pt idx="1">
                  <c:v>-10.538818903503937</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286106639547544</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286106639547544</c:v>
                </c:pt>
                <c:pt idx="1">
                  <c:v>-2.286106639547544</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4.88020134425629</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4.88020134425629</c:v>
                </c:pt>
                <c:pt idx="1">
                  <c:v>4.88020134425629</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639071272921013</c:v>
                </c:pt>
                <c:pt idx="1">
                  <c:v>0.9779862258950524</c:v>
                </c:pt>
                <c:pt idx="2">
                  <c:v>1.0530577657895366</c:v>
                </c:pt>
                <c:pt idx="3">
                  <c:v>1.0063595083227768</c:v>
                </c:pt>
                <c:pt idx="4">
                  <c:v>1.070256097890964</c:v>
                </c:pt>
                <c:pt idx="5">
                  <c:v>1.2696535428488287</c:v>
                </c:pt>
                <c:pt idx="6">
                  <c:v>1.367718556462534</c:v>
                </c:pt>
                <c:pt idx="7">
                  <c:v>1.5178509100296889</c:v>
                </c:pt>
                <c:pt idx="8">
                  <c:v>1.4969213743404965</c:v>
                </c:pt>
                <c:pt idx="9">
                  <c:v>1.2505146092865234</c:v>
                </c:pt>
                <c:pt idx="10">
                  <c:v>1.6724979113624363</c:v>
                </c:pt>
                <c:pt idx="11">
                  <c:v>1.613889057408529</c:v>
                </c:pt>
                <c:pt idx="12">
                  <c:v>1.3123852696618843</c:v>
                </c:pt>
                <c:pt idx="13">
                  <c:v>1.5666235665719912</c:v>
                </c:pt>
                <c:pt idx="14">
                  <c:v>1.6362602357984994</c:v>
                </c:pt>
                <c:pt idx="15">
                  <c:v>1.4431156473519247</c:v>
                </c:pt>
                <c:pt idx="16">
                  <c:v>1.4219891625615764</c:v>
                </c:pt>
                <c:pt idx="17">
                  <c:v>1.4098968314916944</c:v>
                </c:pt>
                <c:pt idx="18">
                  <c:v>2.74661301369863</c:v>
                </c:pt>
                <c:pt idx="19">
                  <c:v>2.8125897656662566</c:v>
                </c:pt>
                <c:pt idx="20">
                  <c:v>2.6153008424604582</c:v>
                </c:pt>
                <c:pt idx="21">
                  <c:v>2.7122326996197716</c:v>
                </c:pt>
                <c:pt idx="22">
                  <c:v>2.6755992041641363</c:v>
                </c:pt>
                <c:pt idx="23">
                  <c:v>2.7310444661617392</c:v>
                </c:pt>
                <c:pt idx="24">
                  <c:v>2.5354393161147915</c:v>
                </c:pt>
                <c:pt idx="25">
                  <c:v>2.4446858135867373</c:v>
                </c:pt>
                <c:pt idx="26">
                  <c:v>2.554009672825638</c:v>
                </c:pt>
                <c:pt idx="27">
                  <c:v>2.3076580356061633</c:v>
                </c:pt>
                <c:pt idx="28">
                  <c:v>2.40807899140114</c:v>
                </c:pt>
                <c:pt idx="29">
                  <c:v>2.4993106870686566</c:v>
                </c:pt>
                <c:pt idx="30">
                  <c:v>2.539714932126697</c:v>
                </c:pt>
                <c:pt idx="31">
                  <c:v>2.450300030881311</c:v>
                </c:pt>
                <c:pt idx="32">
                  <c:v>2.876049300736746</c:v>
                </c:pt>
                <c:pt idx="33">
                  <c:v>3.2093738159553395</c:v>
                </c:pt>
                <c:pt idx="34">
                  <c:v>3.133430002797741</c:v>
                </c:pt>
                <c:pt idx="35">
                  <c:v>3.465314197632649</c:v>
                </c:pt>
                <c:pt idx="36">
                  <c:v>3.882430166116279</c:v>
                </c:pt>
                <c:pt idx="37">
                  <c:v>3.4387275911600224</c:v>
                </c:pt>
                <c:pt idx="38">
                  <c:v>3.8028740372007848</c:v>
                </c:pt>
                <c:pt idx="39">
                  <c:v>3.2101627807653244</c:v>
                </c:pt>
                <c:pt idx="40">
                  <c:v>3.395026353287612</c:v>
                </c:pt>
                <c:pt idx="41">
                  <c:v>3.943588636078205</c:v>
                </c:pt>
                <c:pt idx="42">
                  <c:v>3.4757461618634937</c:v>
                </c:pt>
                <c:pt idx="43">
                  <c:v>3.17411703490844</c:v>
                </c:pt>
                <c:pt idx="44">
                  <c:v>3.4550164609053495</c:v>
                </c:pt>
                <c:pt idx="45">
                  <c:v>3.2677612429341627</c:v>
                </c:pt>
                <c:pt idx="46">
                  <c:v>2.7449462498484376</c:v>
                </c:pt>
                <c:pt idx="47">
                  <c:v>2.9045968208073627</c:v>
                </c:pt>
                <c:pt idx="48">
                  <c:v>2.2894013295295483</c:v>
                </c:pt>
                <c:pt idx="49">
                  <c:v>1.8132872265952475</c:v>
                </c:pt>
                <c:pt idx="50">
                  <c:v>1.808150095606349</c:v>
                </c:pt>
                <c:pt idx="51">
                  <c:v>1.6209276340851893</c:v>
                </c:pt>
                <c:pt idx="52">
                  <c:v>-2.286106639547544</c:v>
                </c:pt>
                <c:pt idx="53">
                  <c:v>-10.538818903503937</c:v>
                </c:pt>
                <c:pt idx="54">
                  <c:v>4.88020134425629</c:v>
                </c:pt>
              </c:numCache>
            </c:numRef>
          </c:xVal>
          <c:yVal>
            <c:numRef>
              <c:f>Sheet1!$B$187:$B$241</c:f>
              <c:numCache>
                <c:formatCode>General</c:formatCode>
                <c:ptCount val="55"/>
                <c:pt idx="0">
                  <c:v>0.35147609086589476</c:v>
                </c:pt>
                <c:pt idx="1">
                  <c:v>0.3513936419612227</c:v>
                </c:pt>
                <c:pt idx="2">
                  <c:v>0.35095401394163855</c:v>
                </c:pt>
                <c:pt idx="3">
                  <c:v>0.3512274845867991</c:v>
                </c:pt>
                <c:pt idx="4">
                  <c:v>0.35085329842824253</c:v>
                </c:pt>
                <c:pt idx="5">
                  <c:v>0.3496856028679787</c:v>
                </c:pt>
                <c:pt idx="6">
                  <c:v>0.3491113222846034</c:v>
                </c:pt>
                <c:pt idx="7">
                  <c:v>0.3482321290594877</c:v>
                </c:pt>
                <c:pt idx="8">
                  <c:v>0.34835469495248506</c:v>
                </c:pt>
                <c:pt idx="9">
                  <c:v>0.34979768277829854</c:v>
                </c:pt>
                <c:pt idx="10">
                  <c:v>0.3473264975108862</c:v>
                </c:pt>
                <c:pt idx="11">
                  <c:v>0.34766971804998886</c:v>
                </c:pt>
                <c:pt idx="12">
                  <c:v>0.34943536070618686</c:v>
                </c:pt>
                <c:pt idx="13">
                  <c:v>0.3479465104823853</c:v>
                </c:pt>
                <c:pt idx="14">
                  <c:v>0.3475387097229295</c:v>
                </c:pt>
                <c:pt idx="15">
                  <c:v>0.34866978779900876</c:v>
                </c:pt>
                <c:pt idx="16">
                  <c:v>0.3487935070497689</c:v>
                </c:pt>
                <c:pt idx="17">
                  <c:v>0.34886432120341326</c:v>
                </c:pt>
                <c:pt idx="18">
                  <c:v>0.34103634952791984</c:v>
                </c:pt>
                <c:pt idx="19">
                  <c:v>0.34064998168669947</c:v>
                </c:pt>
                <c:pt idx="20">
                  <c:v>0.3418053294884997</c:v>
                </c:pt>
                <c:pt idx="21">
                  <c:v>0.3412376848064077</c:v>
                </c:pt>
                <c:pt idx="22">
                  <c:v>0.34145221498762207</c:v>
                </c:pt>
                <c:pt idx="23">
                  <c:v>0.3411275208257387</c:v>
                </c:pt>
                <c:pt idx="24">
                  <c:v>0.3422730082482222</c:v>
                </c:pt>
                <c:pt idx="25">
                  <c:v>0.3428044717381521</c:v>
                </c:pt>
                <c:pt idx="26">
                  <c:v>0.3421642579927294</c:v>
                </c:pt>
                <c:pt idx="27">
                  <c:v>0.34360692298327483</c:v>
                </c:pt>
                <c:pt idx="28">
                  <c:v>0.3430188457174702</c:v>
                </c:pt>
                <c:pt idx="29">
                  <c:v>0.3424845818706651</c:v>
                </c:pt>
                <c:pt idx="30">
                  <c:v>0.34224796972360344</c:v>
                </c:pt>
                <c:pt idx="31">
                  <c:v>0.34277159420248143</c:v>
                </c:pt>
                <c:pt idx="32">
                  <c:v>0.34027835497215514</c:v>
                </c:pt>
                <c:pt idx="33">
                  <c:v>0.33832636628629154</c:v>
                </c:pt>
                <c:pt idx="34">
                  <c:v>0.33877110244362985</c:v>
                </c:pt>
                <c:pt idx="35">
                  <c:v>0.33682754844817936</c:v>
                </c:pt>
                <c:pt idx="36">
                  <c:v>0.3343848668751209</c:v>
                </c:pt>
                <c:pt idx="37">
                  <c:v>0.3369832428320624</c:v>
                </c:pt>
                <c:pt idx="38">
                  <c:v>0.33485075719054613</c:v>
                </c:pt>
                <c:pt idx="39">
                  <c:v>0.3383217460129173</c:v>
                </c:pt>
                <c:pt idx="40">
                  <c:v>0.3372391625679067</c:v>
                </c:pt>
                <c:pt idx="41">
                  <c:v>0.3340267154762293</c:v>
                </c:pt>
                <c:pt idx="42">
                  <c:v>0.3367664576036113</c:v>
                </c:pt>
                <c:pt idx="43">
                  <c:v>0.338532834261377</c:v>
                </c:pt>
                <c:pt idx="44">
                  <c:v>0.33688785324024817</c:v>
                </c:pt>
                <c:pt idx="45">
                  <c:v>0.33798444245034265</c:v>
                </c:pt>
                <c:pt idx="46">
                  <c:v>0.3410461102986674</c:v>
                </c:pt>
                <c:pt idx="47">
                  <c:v>0.34011117724101597</c:v>
                </c:pt>
                <c:pt idx="48">
                  <c:v>0.3437138364627089</c:v>
                </c:pt>
                <c:pt idx="49">
                  <c:v>0.3465020182485532</c:v>
                </c:pt>
                <c:pt idx="50">
                  <c:v>0.3465321019091011</c:v>
                </c:pt>
                <c:pt idx="51">
                  <c:v>0.3476284992934614</c:v>
                </c:pt>
                <c:pt idx="52">
                  <c:v>0.3705085646628238</c:v>
                </c:pt>
                <c:pt idx="53">
                  <c:v>0.4188374460724805</c:v>
                </c:pt>
                <c:pt idx="54">
                  <c:v>0.3285417981481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9.6732</c:v>
                </c:pt>
                <c:pt idx="1">
                  <c:v>811.0569</c:v>
                </c:pt>
                <c:pt idx="2">
                  <c:v>770.3864</c:v>
                </c:pt>
                <c:pt idx="3">
                  <c:v>777.581</c:v>
                </c:pt>
                <c:pt idx="4">
                  <c:v>765.9403</c:v>
                </c:pt>
                <c:pt idx="5">
                  <c:v>755.2095</c:v>
                </c:pt>
                <c:pt idx="6">
                  <c:v>750.4333</c:v>
                </c:pt>
                <c:pt idx="7">
                  <c:v>748.6709</c:v>
                </c:pt>
                <c:pt idx="8">
                  <c:v>738.1967</c:v>
                </c:pt>
                <c:pt idx="9">
                  <c:v>764.415</c:v>
                </c:pt>
                <c:pt idx="10">
                  <c:v>776.7453</c:v>
                </c:pt>
                <c:pt idx="11">
                  <c:v>806.4323</c:v>
                </c:pt>
                <c:pt idx="12">
                  <c:v>823.817</c:v>
                </c:pt>
                <c:pt idx="13">
                  <c:v>835.7609</c:v>
                </c:pt>
                <c:pt idx="14">
                  <c:v>848.1417</c:v>
                </c:pt>
                <c:pt idx="15">
                  <c:v>835.7813</c:v>
                </c:pt>
                <c:pt idx="16">
                  <c:v>838.3187</c:v>
                </c:pt>
                <c:pt idx="17">
                  <c:v>892.1667</c:v>
                </c:pt>
                <c:pt idx="18">
                  <c:v>903.1512</c:v>
                </c:pt>
                <c:pt idx="19">
                  <c:v>1000.7794</c:v>
                </c:pt>
                <c:pt idx="20">
                  <c:v>1034.0</c:v>
                </c:pt>
                <c:pt idx="21">
                  <c:v>1060.375</c:v>
                </c:pt>
                <c:pt idx="22">
                  <c:v>1054.5</c:v>
                </c:pt>
                <c:pt idx="23">
                  <c:v>1027.7155</c:v>
                </c:pt>
                <c:pt idx="24">
                  <c:v>989.7043</c:v>
                </c:pt>
                <c:pt idx="25">
                  <c:v>1019.6891</c:v>
                </c:pt>
                <c:pt idx="26">
                  <c:v>1014.1507</c:v>
                </c:pt>
                <c:pt idx="27">
                  <c:v>976.197</c:v>
                </c:pt>
                <c:pt idx="28">
                  <c:v>973.16</c:v>
                </c:pt>
                <c:pt idx="29">
                  <c:v>979.1399</c:v>
                </c:pt>
                <c:pt idx="30">
                  <c:v>973.9453</c:v>
                </c:pt>
                <c:pt idx="31">
                  <c:v>920.9015</c:v>
                </c:pt>
                <c:pt idx="32">
                  <c:v>969.2773</c:v>
                </c:pt>
                <c:pt idx="33">
                  <c:v>945.7105</c:v>
                </c:pt>
                <c:pt idx="34">
                  <c:v>954.3765</c:v>
                </c:pt>
                <c:pt idx="35">
                  <c:v>952.5304</c:v>
                </c:pt>
                <c:pt idx="36">
                  <c:v>1017.8995</c:v>
                </c:pt>
                <c:pt idx="37">
                  <c:v>999.9185</c:v>
                </c:pt>
                <c:pt idx="38">
                  <c:v>1080.5974</c:v>
                </c:pt>
                <c:pt idx="39">
                  <c:v>1114.9343</c:v>
                </c:pt>
                <c:pt idx="40">
                  <c:v>1136.078</c:v>
                </c:pt>
                <c:pt idx="41">
                  <c:v>1087.5546</c:v>
                </c:pt>
                <c:pt idx="42">
                  <c:v>1113.7929</c:v>
                </c:pt>
                <c:pt idx="43">
                  <c:v>1099.2857</c:v>
                </c:pt>
                <c:pt idx="44">
                  <c:v>1037.4444</c:v>
                </c:pt>
                <c:pt idx="45">
                  <c:v>1015.7938</c:v>
                </c:pt>
                <c:pt idx="46">
                  <c:v>1038.7672</c:v>
                </c:pt>
                <c:pt idx="47">
                  <c:v>1046.3146</c:v>
                </c:pt>
                <c:pt idx="48">
                  <c:v>1039.2166</c:v>
                </c:pt>
                <c:pt idx="49">
                  <c:v>1007.9379</c:v>
                </c:pt>
                <c:pt idx="50">
                  <c:v>966.5839</c:v>
                </c:pt>
                <c:pt idx="51">
                  <c:v>979.2772</c:v>
                </c:pt>
                <c:pt idx="52">
                  <c:v>947.3391</c:v>
                </c:pt>
                <c:pt idx="53">
                  <c:v>975.0594</c:v>
                </c:pt>
                <c:pt idx="54">
                  <c:v>961.3134</c:v>
                </c:pt>
                <c:pt idx="55">
                  <c:v>973.8832</c:v>
                </c:pt>
                <c:pt idx="56">
                  <c:v>1015.0609</c:v>
                </c:pt>
                <c:pt idx="57">
                  <c:v>959.7847</c:v>
                </c:pt>
                <c:pt idx="58">
                  <c:v>970.5252</c:v>
                </c:pt>
                <c:pt idx="59">
                  <c:v>915.1069</c:v>
                </c:pt>
                <c:pt idx="60">
                  <c:v>899.1667</c:v>
                </c:pt>
                <c:pt idx="61">
                  <c:v>893.4828</c:v>
                </c:pt>
                <c:pt idx="62">
                  <c:v>917.1984</c:v>
                </c:pt>
                <c:pt idx="63">
                  <c:v>910.2532</c:v>
                </c:pt>
                <c:pt idx="64">
                  <c:v>916.787</c:v>
                </c:pt>
                <c:pt idx="65">
                  <c:v>918.8852</c:v>
                </c:pt>
                <c:pt idx="66">
                  <c:v>911.7955</c:v>
                </c:pt>
                <c:pt idx="67">
                  <c:v>910.9676</c:v>
                </c:pt>
                <c:pt idx="68">
                  <c:v>939.2899</c:v>
                </c:pt>
                <c:pt idx="69">
                  <c:v>948.563</c:v>
                </c:pt>
                <c:pt idx="70">
                  <c:v>903.7923</c:v>
                </c:pt>
                <c:pt idx="71">
                  <c:v>1011.7114</c:v>
                </c:pt>
                <c:pt idx="72">
                  <c:v>1165.2463</c:v>
                </c:pt>
                <c:pt idx="73">
                  <c:v>1087.3778</c:v>
                </c:pt>
                <c:pt idx="74">
                  <c:v>1163.381</c:v>
                </c:pt>
                <c:pt idx="75">
                  <c:v>1100.4925</c:v>
                </c:pt>
                <c:pt idx="76">
                  <c:v>1151.5156</c:v>
                </c:pt>
                <c:pt idx="77">
                  <c:v>1151.04</c:v>
                </c:pt>
                <c:pt idx="78">
                  <c:v>1168.41</c:v>
                </c:pt>
                <c:pt idx="79">
                  <c:v>1053.2745</c:v>
                </c:pt>
                <c:pt idx="80">
                  <c:v>1130.2857</c:v>
                </c:pt>
                <c:pt idx="81">
                  <c:v>1111.9339</c:v>
                </c:pt>
                <c:pt idx="82">
                  <c:v>1089.0899</c:v>
                </c:pt>
                <c:pt idx="83">
                  <c:v>1098.7209</c:v>
                </c:pt>
                <c:pt idx="84">
                  <c:v>1091.7642</c:v>
                </c:pt>
                <c:pt idx="85">
                  <c:v>1031.2762</c:v>
                </c:pt>
                <c:pt idx="86">
                  <c:v>1052.4884</c:v>
                </c:pt>
                <c:pt idx="87">
                  <c:v>1055.3632</c:v>
                </c:pt>
                <c:pt idx="88">
                  <c:v>1075.8864</c:v>
                </c:pt>
                <c:pt idx="89">
                  <c:v>1068.3548</c:v>
                </c:pt>
                <c:pt idx="90">
                  <c:v>1121.6774</c:v>
                </c:pt>
                <c:pt idx="91">
                  <c:v>1086.6442</c:v>
                </c:pt>
                <c:pt idx="92">
                  <c:v>1074.0794</c:v>
                </c:pt>
                <c:pt idx="93">
                  <c:v>1037.7744</c:v>
                </c:pt>
                <c:pt idx="94">
                  <c:v>1103.6228</c:v>
                </c:pt>
                <c:pt idx="95">
                  <c:v>1145.522</c:v>
                </c:pt>
                <c:pt idx="96">
                  <c:v>1092.2736</c:v>
                </c:pt>
                <c:pt idx="97">
                  <c:v>1067.0714</c:v>
                </c:pt>
                <c:pt idx="98">
                  <c:v>1046.8935</c:v>
                </c:pt>
                <c:pt idx="99">
                  <c:v>1003.0231</c:v>
                </c:pt>
                <c:pt idx="100">
                  <c:v>975.1134</c:v>
                </c:pt>
                <c:pt idx="101">
                  <c:v>989.9681</c:v>
                </c:pt>
                <c:pt idx="102">
                  <c:v>971.7677</c:v>
                </c:pt>
                <c:pt idx="103">
                  <c:v>976.6985</c:v>
                </c:pt>
                <c:pt idx="104">
                  <c:v>983.1745</c:v>
                </c:pt>
              </c:numCache>
            </c:numRef>
          </c:xVal>
          <c:yVal>
            <c:numRef>
              <c:f>Sheet1!$B$2:$B$106</c:f>
              <c:numCache>
                <c:formatCode>General</c:formatCode>
                <c:ptCount val="105"/>
                <c:pt idx="0">
                  <c:v>0.4304857621440536</c:v>
                </c:pt>
                <c:pt idx="1">
                  <c:v>0.411371237458194</c:v>
                </c:pt>
                <c:pt idx="2">
                  <c:v>0.43380281690140843</c:v>
                </c:pt>
                <c:pt idx="3">
                  <c:v>0.4062947067238913</c:v>
                </c:pt>
                <c:pt idx="4">
                  <c:v>0.3513986013986014</c:v>
                </c:pt>
                <c:pt idx="5">
                  <c:v>0.3894736842105263</c:v>
                </c:pt>
                <c:pt idx="6">
                  <c:v>0.4166666666666667</c:v>
                </c:pt>
                <c:pt idx="7">
                  <c:v>0.45489443378119004</c:v>
                </c:pt>
                <c:pt idx="8">
                  <c:v>0.47514910536779326</c:v>
                </c:pt>
                <c:pt idx="9">
                  <c:v>0.3874425727411945</c:v>
                </c:pt>
                <c:pt idx="10">
                  <c:v>0.3581081081081081</c:v>
                </c:pt>
                <c:pt idx="11">
                  <c:v>0.32908704883227174</c:v>
                </c:pt>
                <c:pt idx="12">
                  <c:v>0.29651162790697677</c:v>
                </c:pt>
                <c:pt idx="13">
                  <c:v>0.30666666666666664</c:v>
                </c:pt>
                <c:pt idx="14">
                  <c:v>0.2745995423340961</c:v>
                </c:pt>
                <c:pt idx="15">
                  <c:v>0.2615803814713896</c:v>
                </c:pt>
                <c:pt idx="16">
                  <c:v>0.2676470588235294</c:v>
                </c:pt>
                <c:pt idx="17">
                  <c:v>0.2564102564102564</c:v>
                </c:pt>
                <c:pt idx="18">
                  <c:v>0.3269961977186312</c:v>
                </c:pt>
                <c:pt idx="19">
                  <c:v>0.2943722943722944</c:v>
                </c:pt>
                <c:pt idx="20">
                  <c:v>0.319672131147541</c:v>
                </c:pt>
                <c:pt idx="21">
                  <c:v>0.35782747603833864</c:v>
                </c:pt>
                <c:pt idx="22">
                  <c:v>0.33691756272401435</c:v>
                </c:pt>
                <c:pt idx="23">
                  <c:v>0.33429394812680113</c:v>
                </c:pt>
                <c:pt idx="24">
                  <c:v>0.3463855421686747</c:v>
                </c:pt>
                <c:pt idx="25">
                  <c:v>0.3953488372093023</c:v>
                </c:pt>
                <c:pt idx="26">
                  <c:v>0.4451219512195122</c:v>
                </c:pt>
                <c:pt idx="27">
                  <c:v>0.3987915407854985</c:v>
                </c:pt>
                <c:pt idx="28">
                  <c:v>0.41946308724832215</c:v>
                </c:pt>
                <c:pt idx="29">
                  <c:v>0.3983286908077994</c:v>
                </c:pt>
                <c:pt idx="30">
                  <c:v>0.44755244755244755</c:v>
                </c:pt>
                <c:pt idx="31">
                  <c:v>0.4230769230769231</c:v>
                </c:pt>
                <c:pt idx="32">
                  <c:v>0.363914373088685</c:v>
                </c:pt>
                <c:pt idx="33">
                  <c:v>0.3173277661795407</c:v>
                </c:pt>
                <c:pt idx="34">
                  <c:v>0.3346456692913386</c:v>
                </c:pt>
                <c:pt idx="35">
                  <c:v>0.3662420382165605</c:v>
                </c:pt>
                <c:pt idx="36">
                  <c:v>0.3628472222222222</c:v>
                </c:pt>
                <c:pt idx="37">
                  <c:v>0.41723356009070295</c:v>
                </c:pt>
                <c:pt idx="38">
                  <c:v>0.385</c:v>
                </c:pt>
                <c:pt idx="39">
                  <c:v>0.3914285714285714</c:v>
                </c:pt>
                <c:pt idx="40">
                  <c:v>0.39385474860335196</c:v>
                </c:pt>
                <c:pt idx="41">
                  <c:v>0.3251366120218579</c:v>
                </c:pt>
                <c:pt idx="42">
                  <c:v>0.34845360824742266</c:v>
                </c:pt>
                <c:pt idx="43">
                  <c:v>0.3001949317738791</c:v>
                </c:pt>
                <c:pt idx="44">
                  <c:v>0.29320113314447593</c:v>
                </c:pt>
                <c:pt idx="45">
                  <c:v>0.3588162762022195</c:v>
                </c:pt>
                <c:pt idx="46">
                  <c:v>0.34701986754966885</c:v>
                </c:pt>
                <c:pt idx="47">
                  <c:v>0.3308550185873606</c:v>
                </c:pt>
                <c:pt idx="48">
                  <c:v>0.3003565062388592</c:v>
                </c:pt>
                <c:pt idx="49">
                  <c:v>0.3074626865671642</c:v>
                </c:pt>
                <c:pt idx="50">
                  <c:v>0.3146314631463146</c:v>
                </c:pt>
                <c:pt idx="51">
                  <c:v>0.3126934984520124</c:v>
                </c:pt>
                <c:pt idx="52">
                  <c:v>0.3207810320781032</c:v>
                </c:pt>
                <c:pt idx="53">
                  <c:v>0.30374479889042993</c:v>
                </c:pt>
                <c:pt idx="54">
                  <c:v>0.3126801152737752</c:v>
                </c:pt>
                <c:pt idx="55">
                  <c:v>0.3101449275362319</c:v>
                </c:pt>
                <c:pt idx="56">
                  <c:v>0.312202852614897</c:v>
                </c:pt>
                <c:pt idx="57">
                  <c:v>0.3087149187592319</c:v>
                </c:pt>
                <c:pt idx="58">
                  <c:v>0.32827586206896553</c:v>
                </c:pt>
                <c:pt idx="59">
                  <c:v>0.3267233238904627</c:v>
                </c:pt>
                <c:pt idx="60">
                  <c:v>0.3570595099183197</c:v>
                </c:pt>
                <c:pt idx="61">
                  <c:v>0.35714285714285715</c:v>
                </c:pt>
                <c:pt idx="62">
                  <c:v>0.34837799717912554</c:v>
                </c:pt>
                <c:pt idx="63">
                  <c:v>0.34801762114537443</c:v>
                </c:pt>
                <c:pt idx="64">
                  <c:v>0.32976190476190476</c:v>
                </c:pt>
                <c:pt idx="65">
                  <c:v>0.2828146143437077</c:v>
                </c:pt>
                <c:pt idx="66">
                  <c:v>0.37791411042944784</c:v>
                </c:pt>
                <c:pt idx="67">
                  <c:v>0.3678571428571429</c:v>
                </c:pt>
                <c:pt idx="68">
                  <c:v>0.36335877862595417</c:v>
                </c:pt>
                <c:pt idx="69">
                  <c:v>0.3358208955223881</c:v>
                </c:pt>
                <c:pt idx="70">
                  <c:v>0.3553398058252427</c:v>
                </c:pt>
                <c:pt idx="71">
                  <c:v>0.3363431151241535</c:v>
                </c:pt>
                <c:pt idx="72">
                  <c:v>0.2851063829787234</c:v>
                </c:pt>
                <c:pt idx="73">
                  <c:v>0.29605263157894735</c:v>
                </c:pt>
                <c:pt idx="74">
                  <c:v>0.26448362720403024</c:v>
                </c:pt>
                <c:pt idx="75">
                  <c:v>0.319047619047619</c:v>
                </c:pt>
                <c:pt idx="76">
                  <c:v>0.30843373493975906</c:v>
                </c:pt>
                <c:pt idx="77">
                  <c:v>0.28169014084507044</c:v>
                </c:pt>
                <c:pt idx="78">
                  <c:v>0.303951367781155</c:v>
                </c:pt>
                <c:pt idx="79">
                  <c:v>0.3157894736842105</c:v>
                </c:pt>
                <c:pt idx="80">
                  <c:v>0.30523255813953487</c:v>
                </c:pt>
                <c:pt idx="81">
                  <c:v>0.31926121372031663</c:v>
                </c:pt>
                <c:pt idx="82">
                  <c:v>0.27217125382262997</c:v>
                </c:pt>
                <c:pt idx="83">
                  <c:v>0.26959247648902823</c:v>
                </c:pt>
                <c:pt idx="84">
                  <c:v>0.3183183183183183</c:v>
                </c:pt>
                <c:pt idx="85">
                  <c:v>0.3153153153153153</c:v>
                </c:pt>
                <c:pt idx="86">
                  <c:v>0.35908141962421714</c:v>
                </c:pt>
                <c:pt idx="87">
                  <c:v>0.37781954887218044</c:v>
                </c:pt>
                <c:pt idx="88">
                  <c:v>0.3485148514851485</c:v>
                </c:pt>
                <c:pt idx="89">
                  <c:v>0.30170316301703165</c:v>
                </c:pt>
                <c:pt idx="90">
                  <c:v>0.32978723404255317</c:v>
                </c:pt>
                <c:pt idx="91">
                  <c:v>0.28337874659400547</c:v>
                </c:pt>
                <c:pt idx="92">
                  <c:v>0.28832951945080093</c:v>
                </c:pt>
                <c:pt idx="93">
                  <c:v>0.3144208037825059</c:v>
                </c:pt>
                <c:pt idx="94">
                  <c:v>0.3450413223140496</c:v>
                </c:pt>
                <c:pt idx="95">
                  <c:v>0.3446969696969697</c:v>
                </c:pt>
                <c:pt idx="96">
                  <c:v>0.2924137931034483</c:v>
                </c:pt>
                <c:pt idx="97">
                  <c:v>0.31029986962190353</c:v>
                </c:pt>
                <c:pt idx="98">
                  <c:v>0.3125671321160043</c:v>
                </c:pt>
                <c:pt idx="99">
                  <c:v>0.3166058394160584</c:v>
                </c:pt>
                <c:pt idx="100">
                  <c:v>0.31336405529953915</c:v>
                </c:pt>
                <c:pt idx="101">
                  <c:v>0.3513238289205703</c:v>
                </c:pt>
                <c:pt idx="102">
                  <c:v>0.3402061855670103</c:v>
                </c:pt>
                <c:pt idx="103">
                  <c:v>0.35262449528936746</c:v>
                </c:pt>
                <c:pt idx="104">
                  <c:v>0.3297045101088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numCache>
            </c:numRef>
          </c:xVal>
          <c:yVal>
            <c:numRef>
              <c:f>Sheet1!$B$109:$B$160</c:f>
              <c:numCache>
                <c:formatCode>General</c:formatCode>
                <c:ptCount val="52"/>
                <c:pt idx="0">
                  <c:v>0.3223495702005731</c:v>
                </c:pt>
                <c:pt idx="1">
                  <c:v>0.3293768545994065</c:v>
                </c:pt>
                <c:pt idx="2">
                  <c:v>0.32650073206442165</c:v>
                </c:pt>
                <c:pt idx="3">
                  <c:v>0.32653061224489793</c:v>
                </c:pt>
                <c:pt idx="4">
                  <c:v>0.32142857142857145</c:v>
                </c:pt>
                <c:pt idx="5">
                  <c:v>0.33088235294117646</c:v>
                </c:pt>
                <c:pt idx="6">
                  <c:v>0.3492063492063492</c:v>
                </c:pt>
                <c:pt idx="7">
                  <c:v>0.33211678832116787</c:v>
                </c:pt>
                <c:pt idx="8">
                  <c:v>0.3316582914572864</c:v>
                </c:pt>
                <c:pt idx="9">
                  <c:v>0.3692722371967655</c:v>
                </c:pt>
                <c:pt idx="10">
                  <c:v>0.35051546391752575</c:v>
                </c:pt>
                <c:pt idx="11">
                  <c:v>0.33689024390243905</c:v>
                </c:pt>
                <c:pt idx="12">
                  <c:v>0.33048433048433046</c:v>
                </c:pt>
                <c:pt idx="13">
                  <c:v>0.33650793650793653</c:v>
                </c:pt>
                <c:pt idx="14">
                  <c:v>0.3286219081272085</c:v>
                </c:pt>
                <c:pt idx="15">
                  <c:v>0.3719723183391003</c:v>
                </c:pt>
                <c:pt idx="16">
                  <c:v>0.35876288659793815</c:v>
                </c:pt>
                <c:pt idx="17">
                  <c:v>0.36018957345971564</c:v>
                </c:pt>
                <c:pt idx="18">
                  <c:v>0.3677811550151976</c:v>
                </c:pt>
                <c:pt idx="19">
                  <c:v>0.3604887983706721</c:v>
                </c:pt>
                <c:pt idx="20">
                  <c:v>0.3648960739030023</c:v>
                </c:pt>
                <c:pt idx="21">
                  <c:v>0.38271604938271603</c:v>
                </c:pt>
                <c:pt idx="22">
                  <c:v>0.42244224422442245</c:v>
                </c:pt>
                <c:pt idx="23">
                  <c:v>0.3609271523178808</c:v>
                </c:pt>
                <c:pt idx="24">
                  <c:v>0.40173410404624277</c:v>
                </c:pt>
                <c:pt idx="25">
                  <c:v>0.35064935064935066</c:v>
                </c:pt>
                <c:pt idx="26">
                  <c:v>0.3819241982507289</c:v>
                </c:pt>
                <c:pt idx="27">
                  <c:v>0.37730870712401055</c:v>
                </c:pt>
                <c:pt idx="28">
                  <c:v>0.38902743142144636</c:v>
                </c:pt>
                <c:pt idx="29">
                  <c:v>0.39528795811518325</c:v>
                </c:pt>
                <c:pt idx="30">
                  <c:v>0.35459183673469385</c:v>
                </c:pt>
                <c:pt idx="31">
                  <c:v>0.3614457831325301</c:v>
                </c:pt>
                <c:pt idx="32">
                  <c:v>0.36688311688311687</c:v>
                </c:pt>
                <c:pt idx="33">
                  <c:v>0.3472222222222222</c:v>
                </c:pt>
                <c:pt idx="34">
                  <c:v>0.30716723549488056</c:v>
                </c:pt>
                <c:pt idx="35">
                  <c:v>0.31153184165232356</c:v>
                </c:pt>
                <c:pt idx="36">
                  <c:v>0.28378378378378377</c:v>
                </c:pt>
                <c:pt idx="37">
                  <c:v>0.29357798165137616</c:v>
                </c:pt>
                <c:pt idx="38">
                  <c:v>0.296028880866426</c:v>
                </c:pt>
                <c:pt idx="39">
                  <c:v>0.2806652806652807</c:v>
                </c:pt>
                <c:pt idx="40">
                  <c:v>0.344017094017094</c:v>
                </c:pt>
                <c:pt idx="41">
                  <c:v>0.29876977152899825</c:v>
                </c:pt>
                <c:pt idx="42">
                  <c:v>0.3173913043478261</c:v>
                </c:pt>
                <c:pt idx="43">
                  <c:v>0.31771894093686354</c:v>
                </c:pt>
                <c:pt idx="44">
                  <c:v>0.336734693877551</c:v>
                </c:pt>
                <c:pt idx="45">
                  <c:v>0.32908163265306123</c:v>
                </c:pt>
                <c:pt idx="46">
                  <c:v>0.36186186186186187</c:v>
                </c:pt>
                <c:pt idx="47">
                  <c:v>0.3433029908972692</c:v>
                </c:pt>
                <c:pt idx="48">
                  <c:v>0.36041189931350115</c:v>
                </c:pt>
                <c:pt idx="49">
                  <c:v>0.34239802224969096</c:v>
                </c:pt>
                <c:pt idx="50">
                  <c:v>0.3057784911717496</c:v>
                </c:pt>
                <c:pt idx="51">
                  <c:v>0.332911392405063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8.9646319539851</c:v>
                </c:pt>
              </c:numCache>
            </c:numRef>
          </c:xVal>
          <c:yVal>
            <c:numRef>
              <c:f>Sheet1!$B$163:$B$164</c:f>
              <c:numCache>
                <c:formatCode>General</c:formatCode>
                <c:ptCount val="2"/>
                <c:pt idx="0">
                  <c:v>0.4188374460724805</c:v>
                </c:pt>
                <c:pt idx="1">
                  <c:v>0.41883744607248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8.9646319539851</c:v>
                </c:pt>
                <c:pt idx="1">
                  <c:v>768.9646319539851</c:v>
                </c:pt>
              </c:numCache>
            </c:numRef>
          </c:xVal>
          <c:yVal>
            <c:numRef>
              <c:f>Sheet1!$B$167:$B$168</c:f>
              <c:numCache>
                <c:formatCode>General</c:formatCode>
                <c:ptCount val="2"/>
                <c:pt idx="0">
                  <c:v>0.41883744607248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0.2469514536142</c:v>
                </c:pt>
              </c:numCache>
            </c:numRef>
          </c:xVal>
          <c:yVal>
            <c:numRef>
              <c:f>Sheet1!$B$171:$B$172</c:f>
              <c:numCache>
                <c:formatCode>General</c:formatCode>
                <c:ptCount val="2"/>
                <c:pt idx="0">
                  <c:v>0.3705085646628238</c:v>
                </c:pt>
                <c:pt idx="1">
                  <c:v>0.37050856466282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0.2469514536142</c:v>
                </c:pt>
                <c:pt idx="1">
                  <c:v>1000.2469514536142</c:v>
                </c:pt>
              </c:numCache>
            </c:numRef>
          </c:xVal>
          <c:yVal>
            <c:numRef>
              <c:f>Sheet1!$B$175:$B$176</c:f>
              <c:numCache>
                <c:formatCode>General</c:formatCode>
                <c:ptCount val="2"/>
                <c:pt idx="0">
                  <c:v>0.3705085646628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1.0827833269377</c:v>
                </c:pt>
              </c:numCache>
            </c:numRef>
          </c:xVal>
          <c:yVal>
            <c:numRef>
              <c:f>Sheet1!$B$179:$B$180</c:f>
              <c:numCache>
                <c:formatCode>General</c:formatCode>
                <c:ptCount val="2"/>
                <c:pt idx="0">
                  <c:v>0.3285417981481392</c:v>
                </c:pt>
                <c:pt idx="1">
                  <c:v>0.3285417981481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1.0827833269377</c:v>
                </c:pt>
                <c:pt idx="1">
                  <c:v>1201.0827833269377</c:v>
                </c:pt>
              </c:numCache>
            </c:numRef>
          </c:xVal>
          <c:yVal>
            <c:numRef>
              <c:f>Sheet1!$B$183:$B$184</c:f>
              <c:numCache>
                <c:formatCode>General</c:formatCode>
                <c:ptCount val="2"/>
                <c:pt idx="0">
                  <c:v>0.3285417981481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00.84</c:v>
                </c:pt>
                <c:pt idx="1">
                  <c:v>1018.464</c:v>
                </c:pt>
                <c:pt idx="2">
                  <c:v>1074.704</c:v>
                </c:pt>
                <c:pt idx="3">
                  <c:v>1099.2321</c:v>
                </c:pt>
                <c:pt idx="4">
                  <c:v>1131.2044</c:v>
                </c:pt>
                <c:pt idx="5">
                  <c:v>1090.7911</c:v>
                </c:pt>
                <c:pt idx="6">
                  <c:v>1047.0341</c:v>
                </c:pt>
                <c:pt idx="7">
                  <c:v>1175.8791</c:v>
                </c:pt>
                <c:pt idx="8">
                  <c:v>1163.2576</c:v>
                </c:pt>
                <c:pt idx="9">
                  <c:v>1104.2044</c:v>
                </c:pt>
                <c:pt idx="10">
                  <c:v>1214.3529</c:v>
                </c:pt>
                <c:pt idx="11">
                  <c:v>1098.6787</c:v>
                </c:pt>
                <c:pt idx="12">
                  <c:v>1084.9052</c:v>
                </c:pt>
                <c:pt idx="13">
                  <c:v>1126.9245</c:v>
                </c:pt>
                <c:pt idx="14">
                  <c:v>1144.9731</c:v>
                </c:pt>
                <c:pt idx="15">
                  <c:v>1122.293</c:v>
                </c:pt>
                <c:pt idx="16">
                  <c:v>1154.6552</c:v>
                </c:pt>
                <c:pt idx="17">
                  <c:v>1092.5526</c:v>
                </c:pt>
                <c:pt idx="18">
                  <c:v>1203.0165</c:v>
                </c:pt>
                <c:pt idx="19">
                  <c:v>1174.3842</c:v>
                </c:pt>
                <c:pt idx="20">
                  <c:v>1112.3544</c:v>
                </c:pt>
                <c:pt idx="21">
                  <c:v>1069.9758</c:v>
                </c:pt>
                <c:pt idx="22">
                  <c:v>1049.0781</c:v>
                </c:pt>
                <c:pt idx="23">
                  <c:v>1117.8165</c:v>
                </c:pt>
                <c:pt idx="24">
                  <c:v>1085.9137</c:v>
                </c:pt>
                <c:pt idx="25">
                  <c:v>1087.4537</c:v>
                </c:pt>
                <c:pt idx="26">
                  <c:v>1028.3817</c:v>
                </c:pt>
                <c:pt idx="27">
                  <c:v>1015.6993</c:v>
                </c:pt>
                <c:pt idx="28">
                  <c:v>1022.6731</c:v>
                </c:pt>
                <c:pt idx="29">
                  <c:v>1075.7748</c:v>
                </c:pt>
                <c:pt idx="30">
                  <c:v>1122.554</c:v>
                </c:pt>
                <c:pt idx="31">
                  <c:v>1067.2</c:v>
                </c:pt>
                <c:pt idx="32">
                  <c:v>1098.3894</c:v>
                </c:pt>
                <c:pt idx="33">
                  <c:v>1113.8533</c:v>
                </c:pt>
                <c:pt idx="34">
                  <c:v>1126.7056</c:v>
                </c:pt>
                <c:pt idx="35">
                  <c:v>1231.5193</c:v>
                </c:pt>
                <c:pt idx="36">
                  <c:v>1273.7143</c:v>
                </c:pt>
                <c:pt idx="37">
                  <c:v>1301.3672</c:v>
                </c:pt>
                <c:pt idx="38">
                  <c:v>1288.3293</c:v>
                </c:pt>
                <c:pt idx="39">
                  <c:v>1228.1704</c:v>
                </c:pt>
                <c:pt idx="40">
                  <c:v>1202.7329</c:v>
                </c:pt>
                <c:pt idx="41">
                  <c:v>1265.4412</c:v>
                </c:pt>
                <c:pt idx="42">
                  <c:v>1196.2055</c:v>
                </c:pt>
                <c:pt idx="43">
                  <c:v>1290.8077</c:v>
                </c:pt>
                <c:pt idx="44">
                  <c:v>1259.3535</c:v>
                </c:pt>
                <c:pt idx="45">
                  <c:v>1180.8101</c:v>
                </c:pt>
                <c:pt idx="46">
                  <c:v>1172.6888</c:v>
                </c:pt>
                <c:pt idx="47">
                  <c:v>1113.072</c:v>
                </c:pt>
                <c:pt idx="48">
                  <c:v>1054.3238</c:v>
                </c:pt>
                <c:pt idx="49">
                  <c:v>1077.7978</c:v>
                </c:pt>
                <c:pt idx="50">
                  <c:v>1065.811</c:v>
                </c:pt>
                <c:pt idx="51">
                  <c:v>1016.9392</c:v>
                </c:pt>
                <c:pt idx="52">
                  <c:v>1000.2469514536142</c:v>
                </c:pt>
                <c:pt idx="53">
                  <c:v>768.9646319539851</c:v>
                </c:pt>
                <c:pt idx="54">
                  <c:v>1201.0827833269377</c:v>
                </c:pt>
              </c:numCache>
            </c:numRef>
          </c:xVal>
          <c:yVal>
            <c:numRef>
              <c:f>Sheet1!$B$187:$B$241</c:f>
              <c:numCache>
                <c:formatCode>General</c:formatCode>
                <c:ptCount val="55"/>
                <c:pt idx="0">
                  <c:v>0.3703846409105437</c:v>
                </c:pt>
                <c:pt idx="1">
                  <c:v>0.36670192012234626</c:v>
                </c:pt>
                <c:pt idx="2">
                  <c:v>0.354949978614844</c:v>
                </c:pt>
                <c:pt idx="3">
                  <c:v>0.34982457327184674</c:v>
                </c:pt>
                <c:pt idx="4">
                  <c:v>0.34314362377930907</c:v>
                </c:pt>
                <c:pt idx="5">
                  <c:v>0.35158840930073765</c:v>
                </c:pt>
                <c:pt idx="6">
                  <c:v>0.36073189622363555</c:v>
                </c:pt>
                <c:pt idx="7">
                  <c:v>0.33380837375681244</c:v>
                </c:pt>
                <c:pt idx="8">
                  <c:v>0.33644576937802406</c:v>
                </c:pt>
                <c:pt idx="9">
                  <c:v>0.3487855587135652</c:v>
                </c:pt>
                <c:pt idx="10">
                  <c:v>0.3257688672281613</c:v>
                </c:pt>
                <c:pt idx="11">
                  <c:v>0.3499402120419437</c:v>
                </c:pt>
                <c:pt idx="12">
                  <c:v>0.3528183302203502</c:v>
                </c:pt>
                <c:pt idx="13">
                  <c:v>0.34403795405060994</c:v>
                </c:pt>
                <c:pt idx="14">
                  <c:v>0.3402665086115576</c:v>
                </c:pt>
                <c:pt idx="15">
                  <c:v>0.34500575485238805</c:v>
                </c:pt>
                <c:pt idx="16">
                  <c:v>0.3382433316401887</c:v>
                </c:pt>
                <c:pt idx="17">
                  <c:v>0.3512203252864158</c:v>
                </c:pt>
                <c:pt idx="18">
                  <c:v>0.3281377276425576</c:v>
                </c:pt>
                <c:pt idx="19">
                  <c:v>0.33412074888767246</c:v>
                </c:pt>
                <c:pt idx="20">
                  <c:v>0.34708253020563234</c:v>
                </c:pt>
                <c:pt idx="21">
                  <c:v>0.3559379859021088</c:v>
                </c:pt>
                <c:pt idx="22">
                  <c:v>0.36030478085305706</c:v>
                </c:pt>
                <c:pt idx="23">
                  <c:v>0.34594116676843234</c:v>
                </c:pt>
                <c:pt idx="24">
                  <c:v>0.352607593502528</c:v>
                </c:pt>
                <c:pt idx="25">
                  <c:v>0.3522857942507224</c:v>
                </c:pt>
                <c:pt idx="26">
                  <c:v>0.3646295120446622</c:v>
                </c:pt>
                <c:pt idx="27">
                  <c:v>0.3672796333635588</c:v>
                </c:pt>
                <c:pt idx="28">
                  <c:v>0.36582238425820635</c:v>
                </c:pt>
                <c:pt idx="29">
                  <c:v>0.3547262236545625</c:v>
                </c:pt>
                <c:pt idx="30">
                  <c:v>0.3449512161480235</c:v>
                </c:pt>
                <c:pt idx="31">
                  <c:v>0.35651801860546095</c:v>
                </c:pt>
                <c:pt idx="32">
                  <c:v>0.35000066432996146</c:v>
                </c:pt>
                <c:pt idx="33">
                  <c:v>0.3467693192325599</c:v>
                </c:pt>
                <c:pt idx="34">
                  <c:v>0.34408369551568807</c:v>
                </c:pt>
                <c:pt idx="35">
                  <c:v>0.32218176678907195</c:v>
                </c:pt>
                <c:pt idx="36">
                  <c:v>0.31336467625014836</c:v>
                </c:pt>
                <c:pt idx="37">
                  <c:v>0.3075863109707599</c:v>
                </c:pt>
                <c:pt idx="38">
                  <c:v>0.3103107177662909</c:v>
                </c:pt>
                <c:pt idx="39">
                  <c:v>0.32288155478541747</c:v>
                </c:pt>
                <c:pt idx="40">
                  <c:v>0.32819698885542264</c:v>
                </c:pt>
                <c:pt idx="41">
                  <c:v>0.3150934278021704</c:v>
                </c:pt>
                <c:pt idx="42">
                  <c:v>0.32956095796986196</c:v>
                </c:pt>
                <c:pt idx="43">
                  <c:v>0.3097928299314368</c:v>
                </c:pt>
                <c:pt idx="44">
                  <c:v>0.31636551696140264</c:v>
                </c:pt>
                <c:pt idx="45">
                  <c:v>0.33277798926937485</c:v>
                </c:pt>
                <c:pt idx="46">
                  <c:v>0.3344750206094331</c:v>
                </c:pt>
                <c:pt idx="47">
                  <c:v>0.346932580112713</c:v>
                </c:pt>
                <c:pt idx="48">
                  <c:v>0.35920863647955237</c:v>
                </c:pt>
                <c:pt idx="49">
                  <c:v>0.3543034964555995</c:v>
                </c:pt>
                <c:pt idx="50">
                  <c:v>0.3568082648137455</c:v>
                </c:pt>
                <c:pt idx="51">
                  <c:v>0.36702054317374455</c:v>
                </c:pt>
                <c:pt idx="52">
                  <c:v>0.3705085646628238</c:v>
                </c:pt>
                <c:pt idx="53">
                  <c:v>0.4188374460724805</c:v>
                </c:pt>
                <c:pt idx="54">
                  <c:v>0.3285417981481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59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701789264413519"/>
          <c:min val="0.205128205128205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710342707161605</c:v>
                </c:pt>
                <c:pt idx="1">
                  <c:v>0.6883307086614173</c:v>
                </c:pt>
                <c:pt idx="2">
                  <c:v>0.7439127559055118</c:v>
                </c:pt>
                <c:pt idx="3">
                  <c:v>0.7719307692307693</c:v>
                </c:pt>
                <c:pt idx="4">
                  <c:v>0.8352878305485212</c:v>
                </c:pt>
                <c:pt idx="5">
                  <c:v>0.732386377952756</c:v>
                </c:pt>
                <c:pt idx="6">
                  <c:v>0.8261889816417631</c:v>
                </c:pt>
                <c:pt idx="7">
                  <c:v>0.8760414937601001</c:v>
                </c:pt>
                <c:pt idx="8">
                  <c:v>0.834547944006999</c:v>
                </c:pt>
                <c:pt idx="9">
                  <c:v>0.8439669247459766</c:v>
                </c:pt>
                <c:pt idx="10">
                  <c:v>0.6782869541057654</c:v>
                </c:pt>
                <c:pt idx="11">
                  <c:v>0.7515613048368954</c:v>
                </c:pt>
                <c:pt idx="12">
                  <c:v>0.6585143700787401</c:v>
                </c:pt>
                <c:pt idx="13">
                  <c:v>0.7285756621331424</c:v>
                </c:pt>
                <c:pt idx="14">
                  <c:v>0.782927874015748</c:v>
                </c:pt>
                <c:pt idx="15">
                  <c:v>0.925961854768154</c:v>
                </c:pt>
                <c:pt idx="16">
                  <c:v>1.0719100726634352</c:v>
                </c:pt>
                <c:pt idx="17">
                  <c:v>0.9474480106100795</c:v>
                </c:pt>
                <c:pt idx="18">
                  <c:v>1.1149830746119178</c:v>
                </c:pt>
                <c:pt idx="19">
                  <c:v>0.8521373517878653</c:v>
                </c:pt>
                <c:pt idx="20">
                  <c:v>1.1736540693645667</c:v>
                </c:pt>
                <c:pt idx="21">
                  <c:v>1.0039620255590953</c:v>
                </c:pt>
                <c:pt idx="22">
                  <c:v>1.6852368495077357</c:v>
                </c:pt>
                <c:pt idx="23">
                  <c:v>1.4183818494758254</c:v>
                </c:pt>
                <c:pt idx="24">
                  <c:v>1.1382291533033835</c:v>
                </c:pt>
                <c:pt idx="25">
                  <c:v>1.2176835579514824</c:v>
                </c:pt>
                <c:pt idx="26">
                  <c:v>1.8168744236623313</c:v>
                </c:pt>
                <c:pt idx="27">
                  <c:v>1.0371091640590075</c:v>
                </c:pt>
                <c:pt idx="28">
                  <c:v>0.8720962777380101</c:v>
                </c:pt>
                <c:pt idx="29">
                  <c:v>0.910809835793664</c:v>
                </c:pt>
                <c:pt idx="30">
                  <c:v>0.8998503265891349</c:v>
                </c:pt>
                <c:pt idx="31">
                  <c:v>1.1325822617534942</c:v>
                </c:pt>
                <c:pt idx="32">
                  <c:v>0.847549552355002</c:v>
                </c:pt>
                <c:pt idx="33">
                  <c:v>1.1533341252694609</c:v>
                </c:pt>
                <c:pt idx="34">
                  <c:v>0.9543973189859567</c:v>
                </c:pt>
                <c:pt idx="35">
                  <c:v>0.8785721784776902</c:v>
                </c:pt>
                <c:pt idx="36">
                  <c:v>0.9414858853463884</c:v>
                </c:pt>
                <c:pt idx="37">
                  <c:v>0.9243727017828793</c:v>
                </c:pt>
                <c:pt idx="38">
                  <c:v>1.003471711260095</c:v>
                </c:pt>
                <c:pt idx="39">
                  <c:v>1.0128176458741016</c:v>
                </c:pt>
                <c:pt idx="40">
                  <c:v>1.0474259721233676</c:v>
                </c:pt>
                <c:pt idx="41">
                  <c:v>1.0514803978450062</c:v>
                </c:pt>
                <c:pt idx="42">
                  <c:v>1.0662645036220793</c:v>
                </c:pt>
                <c:pt idx="43">
                  <c:v>1.0499180779515438</c:v>
                </c:pt>
                <c:pt idx="44">
                  <c:v>0.9677995968916862</c:v>
                </c:pt>
                <c:pt idx="45">
                  <c:v>0.9749027739213696</c:v>
                </c:pt>
                <c:pt idx="46">
                  <c:v>1.02164051713029</c:v>
                </c:pt>
                <c:pt idx="47">
                  <c:v>0.8862767812560016</c:v>
                </c:pt>
                <c:pt idx="48">
                  <c:v>1.0001551828558077</c:v>
                </c:pt>
                <c:pt idx="49">
                  <c:v>0.8986399158664155</c:v>
                </c:pt>
                <c:pt idx="50">
                  <c:v>0.7612866065232476</c:v>
                </c:pt>
                <c:pt idx="51">
                  <c:v>0.5612607219095673</c:v>
                </c:pt>
                <c:pt idx="52">
                  <c:v>0.7389092484008528</c:v>
                </c:pt>
                <c:pt idx="53">
                  <c:v>0.686379054054054</c:v>
                </c:pt>
                <c:pt idx="54">
                  <c:v>0.7139357697866399</c:v>
                </c:pt>
                <c:pt idx="55">
                  <c:v>0.6416217719987903</c:v>
                </c:pt>
                <c:pt idx="56">
                  <c:v>0.6198765417822527</c:v>
                </c:pt>
                <c:pt idx="57">
                  <c:v>0.5354277331995988</c:v>
                </c:pt>
                <c:pt idx="58">
                  <c:v>0.5923911739197298</c:v>
                </c:pt>
                <c:pt idx="59">
                  <c:v>0.5845626016260163</c:v>
                </c:pt>
                <c:pt idx="60">
                  <c:v>0.6191145475372279</c:v>
                </c:pt>
                <c:pt idx="61">
                  <c:v>0.6160856948537746</c:v>
                </c:pt>
                <c:pt idx="62">
                  <c:v>0.7187356432467116</c:v>
                </c:pt>
                <c:pt idx="63">
                  <c:v>0.6750412099430967</c:v>
                </c:pt>
                <c:pt idx="64">
                  <c:v>0.6845082225888199</c:v>
                </c:pt>
                <c:pt idx="65">
                  <c:v>0.708071929249918</c:v>
                </c:pt>
                <c:pt idx="66">
                  <c:v>0.6094029837251408</c:v>
                </c:pt>
                <c:pt idx="67">
                  <c:v>0.7511989072895214</c:v>
                </c:pt>
                <c:pt idx="68">
                  <c:v>0.6296353075170843</c:v>
                </c:pt>
                <c:pt idx="69">
                  <c:v>0.9206847682119206</c:v>
                </c:pt>
                <c:pt idx="70">
                  <c:v>1.0207415571284126</c:v>
                </c:pt>
                <c:pt idx="71">
                  <c:v>0.7967248794555103</c:v>
                </c:pt>
                <c:pt idx="72">
                  <c:v>0.9108528738919075</c:v>
                </c:pt>
                <c:pt idx="73">
                  <c:v>0.8259869379717756</c:v>
                </c:pt>
                <c:pt idx="74">
                  <c:v>1.3787721162798663</c:v>
                </c:pt>
                <c:pt idx="75">
                  <c:v>1.2260659210027671</c:v>
                </c:pt>
                <c:pt idx="76">
                  <c:v>1.0139420278004905</c:v>
                </c:pt>
                <c:pt idx="77">
                  <c:v>0.9839920736589272</c:v>
                </c:pt>
                <c:pt idx="78">
                  <c:v>0.6113846232309066</c:v>
                </c:pt>
                <c:pt idx="79">
                  <c:v>0.8229197265212955</c:v>
                </c:pt>
                <c:pt idx="80">
                  <c:v>0.644096634563359</c:v>
                </c:pt>
                <c:pt idx="81">
                  <c:v>0.780702869193851</c:v>
                </c:pt>
                <c:pt idx="82">
                  <c:v>0.8525185186839112</c:v>
                </c:pt>
                <c:pt idx="83">
                  <c:v>0.6888809831029186</c:v>
                </c:pt>
                <c:pt idx="84">
                  <c:v>0.8107648988136776</c:v>
                </c:pt>
                <c:pt idx="85">
                  <c:v>0.695128464534005</c:v>
                </c:pt>
                <c:pt idx="86">
                  <c:v>0.6920820583759856</c:v>
                </c:pt>
                <c:pt idx="87">
                  <c:v>0.6954307654570965</c:v>
                </c:pt>
                <c:pt idx="88">
                  <c:v>0.8018464361026881</c:v>
                </c:pt>
                <c:pt idx="89">
                  <c:v>0.717285199556541</c:v>
                </c:pt>
                <c:pt idx="90">
                  <c:v>0.7547617113080055</c:v>
                </c:pt>
                <c:pt idx="91">
                  <c:v>0.6751136140396831</c:v>
                </c:pt>
                <c:pt idx="92">
                  <c:v>0.7033798872109307</c:v>
                </c:pt>
                <c:pt idx="93">
                  <c:v>0.7091320023148149</c:v>
                </c:pt>
                <c:pt idx="94">
                  <c:v>0.6685192806135943</c:v>
                </c:pt>
                <c:pt idx="95">
                  <c:v>0.6015891539875152</c:v>
                </c:pt>
                <c:pt idx="96">
                  <c:v>0.5610991520088757</c:v>
                </c:pt>
                <c:pt idx="97">
                  <c:v>0.5791450470357977</c:v>
                </c:pt>
                <c:pt idx="98">
                  <c:v>0.5992715330168455</c:v>
                </c:pt>
                <c:pt idx="99">
                  <c:v>0.5417978347944011</c:v>
                </c:pt>
                <c:pt idx="100">
                  <c:v>0.6200339712827043</c:v>
                </c:pt>
                <c:pt idx="101">
                  <c:v>0.7356335554142172</c:v>
                </c:pt>
                <c:pt idx="102">
                  <c:v>0.737577017272493</c:v>
                </c:pt>
                <c:pt idx="103">
                  <c:v>0.5349261832530068</c:v>
                </c:pt>
                <c:pt idx="104">
                  <c:v>0.6325059377621401</c:v>
                </c:pt>
              </c:numCache>
            </c:numRef>
          </c:xVal>
          <c:yVal>
            <c:numRef>
              <c:f>Sheet1!$B$2:$B$106</c:f>
              <c:numCache>
                <c:formatCode>General</c:formatCode>
                <c:ptCount val="105"/>
                <c:pt idx="0">
                  <c:v>0.457286432160804</c:v>
                </c:pt>
                <c:pt idx="1">
                  <c:v>0.49498327759197325</c:v>
                </c:pt>
                <c:pt idx="2">
                  <c:v>0.4028169014084507</c:v>
                </c:pt>
                <c:pt idx="3">
                  <c:v>0.4105865522174535</c:v>
                </c:pt>
                <c:pt idx="4">
                  <c:v>0.4493006993006993</c:v>
                </c:pt>
                <c:pt idx="5">
                  <c:v>0.4631578947368421</c:v>
                </c:pt>
                <c:pt idx="6">
                  <c:v>0.4791666666666667</c:v>
                </c:pt>
                <c:pt idx="7">
                  <c:v>0.42610364683301344</c:v>
                </c:pt>
                <c:pt idx="8">
                  <c:v>0.39165009940357853</c:v>
                </c:pt>
                <c:pt idx="9">
                  <c:v>0.4609494640122512</c:v>
                </c:pt>
                <c:pt idx="10">
                  <c:v>0.5168918918918919</c:v>
                </c:pt>
                <c:pt idx="11">
                  <c:v>0.4819532908704883</c:v>
                </c:pt>
                <c:pt idx="12">
                  <c:v>0.49806201550387597</c:v>
                </c:pt>
                <c:pt idx="13">
                  <c:v>0.5066666666666667</c:v>
                </c:pt>
                <c:pt idx="14">
                  <c:v>0.5606407322654462</c:v>
                </c:pt>
                <c:pt idx="15">
                  <c:v>0.5967302452316077</c:v>
                </c:pt>
                <c:pt idx="16">
                  <c:v>0.5794117647058824</c:v>
                </c:pt>
                <c:pt idx="17">
                  <c:v>0.5811965811965812</c:v>
                </c:pt>
                <c:pt idx="18">
                  <c:v>0.5019011406844106</c:v>
                </c:pt>
                <c:pt idx="19">
                  <c:v>0.5194805194805194</c:v>
                </c:pt>
                <c:pt idx="20">
                  <c:v>0.48770491803278687</c:v>
                </c:pt>
                <c:pt idx="21">
                  <c:v>0.4952076677316294</c:v>
                </c:pt>
                <c:pt idx="22">
                  <c:v>0.4229390681003584</c:v>
                </c:pt>
                <c:pt idx="23">
                  <c:v>0.47262247838616717</c:v>
                </c:pt>
                <c:pt idx="24">
                  <c:v>0.4608433734939759</c:v>
                </c:pt>
                <c:pt idx="25">
                  <c:v>0.43853820598006643</c:v>
                </c:pt>
                <c:pt idx="26">
                  <c:v>0.39939024390243905</c:v>
                </c:pt>
                <c:pt idx="27">
                  <c:v>0.459214501510574</c:v>
                </c:pt>
                <c:pt idx="28">
                  <c:v>0.45302013422818793</c:v>
                </c:pt>
                <c:pt idx="29">
                  <c:v>0.4596100278551532</c:v>
                </c:pt>
                <c:pt idx="30">
                  <c:v>0.42657342657342656</c:v>
                </c:pt>
                <c:pt idx="31">
                  <c:v>0.4326923076923077</c:v>
                </c:pt>
                <c:pt idx="32">
                  <c:v>0.4740061162079511</c:v>
                </c:pt>
                <c:pt idx="33">
                  <c:v>0.48851774530271397</c:v>
                </c:pt>
                <c:pt idx="34">
                  <c:v>0.44881889763779526</c:v>
                </c:pt>
                <c:pt idx="35">
                  <c:v>0.4410828025477707</c:v>
                </c:pt>
                <c:pt idx="36">
                  <c:v>0.4236111111111111</c:v>
                </c:pt>
                <c:pt idx="37">
                  <c:v>0.3877551020408163</c:v>
                </c:pt>
                <c:pt idx="38">
                  <c:v>0.425</c:v>
                </c:pt>
                <c:pt idx="39">
                  <c:v>0.4542857142857143</c:v>
                </c:pt>
                <c:pt idx="40">
                  <c:v>0.43575418994413406</c:v>
                </c:pt>
                <c:pt idx="41">
                  <c:v>0.4918032786885246</c:v>
                </c:pt>
                <c:pt idx="42">
                  <c:v>0.44948453608247424</c:v>
                </c:pt>
                <c:pt idx="43">
                  <c:v>0.4015594541910331</c:v>
                </c:pt>
                <c:pt idx="44">
                  <c:v>0.4263456090651558</c:v>
                </c:pt>
                <c:pt idx="45">
                  <c:v>0.44266337854500615</c:v>
                </c:pt>
                <c:pt idx="46">
                  <c:v>0.4278145695364238</c:v>
                </c:pt>
                <c:pt idx="47">
                  <c:v>0.4114002478314746</c:v>
                </c:pt>
                <c:pt idx="48">
                  <c:v>0.43404634581105167</c:v>
                </c:pt>
                <c:pt idx="49">
                  <c:v>0.5002985074626866</c:v>
                </c:pt>
                <c:pt idx="50">
                  <c:v>0.47084708470847086</c:v>
                </c:pt>
                <c:pt idx="51">
                  <c:v>0.44272445820433437</c:v>
                </c:pt>
                <c:pt idx="52">
                  <c:v>0.43375174337517436</c:v>
                </c:pt>
                <c:pt idx="53">
                  <c:v>0.4535367545076283</c:v>
                </c:pt>
                <c:pt idx="54">
                  <c:v>0.4510086455331412</c:v>
                </c:pt>
                <c:pt idx="55">
                  <c:v>0.4623188405797101</c:v>
                </c:pt>
                <c:pt idx="56">
                  <c:v>0.47702060221870046</c:v>
                </c:pt>
                <c:pt idx="57">
                  <c:v>0.4756277695716396</c:v>
                </c:pt>
                <c:pt idx="58">
                  <c:v>0.463448275862069</c:v>
                </c:pt>
                <c:pt idx="59">
                  <c:v>0.4447592067988669</c:v>
                </c:pt>
                <c:pt idx="60">
                  <c:v>0.4492415402567094</c:v>
                </c:pt>
                <c:pt idx="61">
                  <c:v>0.45689655172413796</c:v>
                </c:pt>
                <c:pt idx="62">
                  <c:v>0.4527503526093089</c:v>
                </c:pt>
                <c:pt idx="63">
                  <c:v>0.4713656387665198</c:v>
                </c:pt>
                <c:pt idx="64">
                  <c:v>0.49047619047619045</c:v>
                </c:pt>
                <c:pt idx="65">
                  <c:v>0.5277401894451962</c:v>
                </c:pt>
                <c:pt idx="66">
                  <c:v>0.46134969325153374</c:v>
                </c:pt>
                <c:pt idx="67">
                  <c:v>0.4595238095238095</c:v>
                </c:pt>
                <c:pt idx="68">
                  <c:v>0.43206106870229005</c:v>
                </c:pt>
                <c:pt idx="69">
                  <c:v>0.4651741293532338</c:v>
                </c:pt>
                <c:pt idx="70">
                  <c:v>0.4349514563106796</c:v>
                </c:pt>
                <c:pt idx="71">
                  <c:v>0.3905191873589165</c:v>
                </c:pt>
                <c:pt idx="72">
                  <c:v>0.42127659574468085</c:v>
                </c:pt>
                <c:pt idx="73">
                  <c:v>0.44298245614035087</c:v>
                </c:pt>
                <c:pt idx="74">
                  <c:v>0.43073047858942065</c:v>
                </c:pt>
                <c:pt idx="75">
                  <c:v>0.4023809523809524</c:v>
                </c:pt>
                <c:pt idx="76">
                  <c:v>0.42409638554216866</c:v>
                </c:pt>
                <c:pt idx="77">
                  <c:v>0.4647887323943662</c:v>
                </c:pt>
                <c:pt idx="78">
                  <c:v>0.44072948328267475</c:v>
                </c:pt>
                <c:pt idx="79">
                  <c:v>0.43034055727554177</c:v>
                </c:pt>
                <c:pt idx="80">
                  <c:v>0.45058139534883723</c:v>
                </c:pt>
                <c:pt idx="81">
                  <c:v>0.38786279683377306</c:v>
                </c:pt>
                <c:pt idx="82">
                  <c:v>0.41284403669724773</c:v>
                </c:pt>
                <c:pt idx="83">
                  <c:v>0.40752351097178685</c:v>
                </c:pt>
                <c:pt idx="84">
                  <c:v>0.4144144144144144</c:v>
                </c:pt>
                <c:pt idx="85">
                  <c:v>0.4144144144144144</c:v>
                </c:pt>
                <c:pt idx="86">
                  <c:v>0.4091858037578288</c:v>
                </c:pt>
                <c:pt idx="87">
                  <c:v>0.3966165413533835</c:v>
                </c:pt>
                <c:pt idx="88">
                  <c:v>0.41386138613861384</c:v>
                </c:pt>
                <c:pt idx="89">
                  <c:v>0.41605839416058393</c:v>
                </c:pt>
                <c:pt idx="90">
                  <c:v>0.3776595744680851</c:v>
                </c:pt>
                <c:pt idx="91">
                  <c:v>0.40054495912806537</c:v>
                </c:pt>
                <c:pt idx="92">
                  <c:v>0.4439359267734554</c:v>
                </c:pt>
                <c:pt idx="93">
                  <c:v>0.40425531914893614</c:v>
                </c:pt>
                <c:pt idx="94">
                  <c:v>0.42768595041322316</c:v>
                </c:pt>
                <c:pt idx="95">
                  <c:v>0.44696969696969696</c:v>
                </c:pt>
                <c:pt idx="96">
                  <c:v>0.4786206896551724</c:v>
                </c:pt>
                <c:pt idx="97">
                  <c:v>0.4641460234680574</c:v>
                </c:pt>
                <c:pt idx="98">
                  <c:v>0.4640171858216971</c:v>
                </c:pt>
                <c:pt idx="99">
                  <c:v>0.4863138686131387</c:v>
                </c:pt>
                <c:pt idx="100">
                  <c:v>0.4529295589203423</c:v>
                </c:pt>
                <c:pt idx="101">
                  <c:v>0.4409368635437882</c:v>
                </c:pt>
                <c:pt idx="102">
                  <c:v>0.4209621993127148</c:v>
                </c:pt>
                <c:pt idx="103">
                  <c:v>0.4158815612382234</c:v>
                </c:pt>
                <c:pt idx="104">
                  <c:v>0.4541213063763608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635344031183499</c:v>
                </c:pt>
                <c:pt idx="1">
                  <c:v>0.6237752473418762</c:v>
                </c:pt>
                <c:pt idx="2">
                  <c:v>0.6508648084479371</c:v>
                </c:pt>
                <c:pt idx="3">
                  <c:v>0.6368834302963563</c:v>
                </c:pt>
                <c:pt idx="4">
                  <c:v>0.5972894717971073</c:v>
                </c:pt>
                <c:pt idx="5">
                  <c:v>0.6100213718524982</c:v>
                </c:pt>
                <c:pt idx="6">
                  <c:v>0.6769615288527409</c:v>
                </c:pt>
                <c:pt idx="7">
                  <c:v>0.6526028635597978</c:v>
                </c:pt>
                <c:pt idx="8">
                  <c:v>0.685372697368421</c:v>
                </c:pt>
                <c:pt idx="9">
                  <c:v>0.5983890043070687</c:v>
                </c:pt>
                <c:pt idx="10">
                  <c:v>0.6595552436440678</c:v>
                </c:pt>
                <c:pt idx="11">
                  <c:v>0.7038441435768262</c:v>
                </c:pt>
                <c:pt idx="12">
                  <c:v>0.7567249060390812</c:v>
                </c:pt>
                <c:pt idx="13">
                  <c:v>0.6642557911908645</c:v>
                </c:pt>
                <c:pt idx="14">
                  <c:v>0.6836024028744666</c:v>
                </c:pt>
                <c:pt idx="15">
                  <c:v>0.6601206695624536</c:v>
                </c:pt>
                <c:pt idx="16">
                  <c:v>0.7641440610776685</c:v>
                </c:pt>
                <c:pt idx="17">
                  <c:v>0.6581144607190412</c:v>
                </c:pt>
                <c:pt idx="18">
                  <c:v>0.7792447471393593</c:v>
                </c:pt>
                <c:pt idx="19">
                  <c:v>0.8205529670477762</c:v>
                </c:pt>
                <c:pt idx="20">
                  <c:v>0.7109191681282887</c:v>
                </c:pt>
                <c:pt idx="21">
                  <c:v>0.5946985027932961</c:v>
                </c:pt>
                <c:pt idx="22">
                  <c:v>0.7342218528778086</c:v>
                </c:pt>
                <c:pt idx="23">
                  <c:v>0.8070050035739814</c:v>
                </c:pt>
                <c:pt idx="24">
                  <c:v>0.6733702919473853</c:v>
                </c:pt>
                <c:pt idx="25">
                  <c:v>0.6665546279491834</c:v>
                </c:pt>
                <c:pt idx="26">
                  <c:v>0.6553416622269579</c:v>
                </c:pt>
                <c:pt idx="27">
                  <c:v>0.724467149275002</c:v>
                </c:pt>
                <c:pt idx="28">
                  <c:v>0.734108465202028</c:v>
                </c:pt>
                <c:pt idx="29">
                  <c:v>0.8435517897406989</c:v>
                </c:pt>
                <c:pt idx="30">
                  <c:v>0.768128687122624</c:v>
                </c:pt>
                <c:pt idx="31">
                  <c:v>0.5772579016489129</c:v>
                </c:pt>
                <c:pt idx="32">
                  <c:v>0.7233884339411587</c:v>
                </c:pt>
                <c:pt idx="33">
                  <c:v>0.8138106990482442</c:v>
                </c:pt>
                <c:pt idx="34">
                  <c:v>0.724643677442645</c:v>
                </c:pt>
                <c:pt idx="35">
                  <c:v>0.6259607304682137</c:v>
                </c:pt>
                <c:pt idx="36">
                  <c:v>0.8343330103187604</c:v>
                </c:pt>
                <c:pt idx="37">
                  <c:v>0.740386920829275</c:v>
                </c:pt>
                <c:pt idx="38">
                  <c:v>0.808352628949669</c:v>
                </c:pt>
                <c:pt idx="39">
                  <c:v>0.6605124993348473</c:v>
                </c:pt>
                <c:pt idx="40">
                  <c:v>0.7293288389970106</c:v>
                </c:pt>
                <c:pt idx="41">
                  <c:v>0.7534629469501237</c:v>
                </c:pt>
                <c:pt idx="42">
                  <c:v>0.6958636527411594</c:v>
                </c:pt>
                <c:pt idx="43">
                  <c:v>0.7431874086864125</c:v>
                </c:pt>
                <c:pt idx="44">
                  <c:v>0.7402452981651376</c:v>
                </c:pt>
                <c:pt idx="45">
                  <c:v>0.6506733716475096</c:v>
                </c:pt>
                <c:pt idx="46">
                  <c:v>0.6198563810556171</c:v>
                </c:pt>
                <c:pt idx="47">
                  <c:v>0.6483200933790207</c:v>
                </c:pt>
                <c:pt idx="48">
                  <c:v>0.5598509667887198</c:v>
                </c:pt>
                <c:pt idx="49">
                  <c:v>0.7069052558517595</c:v>
                </c:pt>
                <c:pt idx="50">
                  <c:v>0.5637130566801619</c:v>
                </c:pt>
                <c:pt idx="51">
                  <c:v>0.6023977394744279</c:v>
                </c:pt>
              </c:numCache>
            </c:numRef>
          </c:xVal>
          <c:yVal>
            <c:numRef>
              <c:f>Sheet1!$B$109:$B$160</c:f>
              <c:numCache>
                <c:formatCode>General</c:formatCode>
                <c:ptCount val="52"/>
                <c:pt idx="0">
                  <c:v>0.4484240687679083</c:v>
                </c:pt>
                <c:pt idx="1">
                  <c:v>0.4317507418397626</c:v>
                </c:pt>
                <c:pt idx="2">
                  <c:v>0.45534407027818447</c:v>
                </c:pt>
                <c:pt idx="3">
                  <c:v>0.4752186588921283</c:v>
                </c:pt>
                <c:pt idx="4">
                  <c:v>0.4442857142857143</c:v>
                </c:pt>
                <c:pt idx="5">
                  <c:v>0.4647058823529412</c:v>
                </c:pt>
                <c:pt idx="6">
                  <c:v>0.44642857142857145</c:v>
                </c:pt>
                <c:pt idx="7">
                  <c:v>0.45985401459854014</c:v>
                </c:pt>
                <c:pt idx="8">
                  <c:v>0.4824120603015075</c:v>
                </c:pt>
                <c:pt idx="9">
                  <c:v>0.4420485175202156</c:v>
                </c:pt>
                <c:pt idx="10">
                  <c:v>0.48041237113402063</c:v>
                </c:pt>
                <c:pt idx="11">
                  <c:v>0.4695121951219512</c:v>
                </c:pt>
                <c:pt idx="12">
                  <c:v>0.48575498575498577</c:v>
                </c:pt>
                <c:pt idx="13">
                  <c:v>0.45396825396825397</c:v>
                </c:pt>
                <c:pt idx="14">
                  <c:v>0.4664310954063604</c:v>
                </c:pt>
                <c:pt idx="15">
                  <c:v>0.4429065743944637</c:v>
                </c:pt>
                <c:pt idx="16">
                  <c:v>0.422680412371134</c:v>
                </c:pt>
                <c:pt idx="17">
                  <c:v>0.4312796208530806</c:v>
                </c:pt>
                <c:pt idx="18">
                  <c:v>0.40425531914893614</c:v>
                </c:pt>
                <c:pt idx="19">
                  <c:v>0.3788187372708758</c:v>
                </c:pt>
                <c:pt idx="20">
                  <c:v>0.3648960739030023</c:v>
                </c:pt>
                <c:pt idx="21">
                  <c:v>0.35802469135802467</c:v>
                </c:pt>
                <c:pt idx="22">
                  <c:v>0.37293729372937295</c:v>
                </c:pt>
                <c:pt idx="23">
                  <c:v>0.44039735099337746</c:v>
                </c:pt>
                <c:pt idx="24">
                  <c:v>0.41329479768786126</c:v>
                </c:pt>
                <c:pt idx="25">
                  <c:v>0.4383116883116883</c:v>
                </c:pt>
                <c:pt idx="26">
                  <c:v>0.3819241982507289</c:v>
                </c:pt>
                <c:pt idx="27">
                  <c:v>0.38786279683377306</c:v>
                </c:pt>
                <c:pt idx="28">
                  <c:v>0.4314214463840399</c:v>
                </c:pt>
                <c:pt idx="29">
                  <c:v>0.43455497382198954</c:v>
                </c:pt>
                <c:pt idx="30">
                  <c:v>0.46938775510204084</c:v>
                </c:pt>
                <c:pt idx="31">
                  <c:v>0.46686746987951805</c:v>
                </c:pt>
                <c:pt idx="32">
                  <c:v>0.4448051948051948</c:v>
                </c:pt>
                <c:pt idx="33">
                  <c:v>0.4791666666666667</c:v>
                </c:pt>
                <c:pt idx="34">
                  <c:v>0.5</c:v>
                </c:pt>
                <c:pt idx="35">
                  <c:v>0.5249569707401033</c:v>
                </c:pt>
                <c:pt idx="36">
                  <c:v>0.4945945945945946</c:v>
                </c:pt>
                <c:pt idx="37">
                  <c:v>0.5137614678899083</c:v>
                </c:pt>
                <c:pt idx="38">
                  <c:v>0.44404332129963897</c:v>
                </c:pt>
                <c:pt idx="39">
                  <c:v>0.5239085239085239</c:v>
                </c:pt>
                <c:pt idx="40">
                  <c:v>0.46794871794871795</c:v>
                </c:pt>
                <c:pt idx="41">
                  <c:v>0.46221441124780316</c:v>
                </c:pt>
                <c:pt idx="42">
                  <c:v>0.4891304347826087</c:v>
                </c:pt>
                <c:pt idx="43">
                  <c:v>0.43584521384928715</c:v>
                </c:pt>
                <c:pt idx="44">
                  <c:v>0.4166666666666667</c:v>
                </c:pt>
                <c:pt idx="45">
                  <c:v>0.46811224489795916</c:v>
                </c:pt>
                <c:pt idx="46">
                  <c:v>0.4774774774774775</c:v>
                </c:pt>
                <c:pt idx="47">
                  <c:v>0.48244473342002603</c:v>
                </c:pt>
                <c:pt idx="48">
                  <c:v>0.4462242562929062</c:v>
                </c:pt>
                <c:pt idx="49">
                  <c:v>0.4907292954264524</c:v>
                </c:pt>
                <c:pt idx="50">
                  <c:v>0.4751203852327448</c:v>
                </c:pt>
                <c:pt idx="51">
                  <c:v>0.464556962025316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924852243379103</c:v>
                </c:pt>
              </c:numCache>
            </c:numRef>
          </c:xVal>
          <c:yVal>
            <c:numRef>
              <c:f>Sheet1!$B$163:$B$164</c:f>
              <c:numCache>
                <c:formatCode>General</c:formatCode>
                <c:ptCount val="2"/>
                <c:pt idx="0">
                  <c:v>0.5220612998672337</c:v>
                </c:pt>
                <c:pt idx="1">
                  <c:v>0.522061299867233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924852243379103</c:v>
                </c:pt>
                <c:pt idx="1">
                  <c:v>-0.6924852243379103</c:v>
                </c:pt>
              </c:numCache>
            </c:numRef>
          </c:xVal>
          <c:yVal>
            <c:numRef>
              <c:f>Sheet1!$B$167:$B$168</c:f>
              <c:numCache>
                <c:formatCode>General</c:formatCode>
                <c:ptCount val="2"/>
                <c:pt idx="0">
                  <c:v>0.52206129986723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8309705865995202</c:v>
                </c:pt>
              </c:numCache>
            </c:numRef>
          </c:xVal>
          <c:yVal>
            <c:numRef>
              <c:f>Sheet1!$B$171:$B$172</c:f>
              <c:numCache>
                <c:formatCode>General</c:formatCode>
                <c:ptCount val="2"/>
                <c:pt idx="0">
                  <c:v>0.47700805990179346</c:v>
                </c:pt>
                <c:pt idx="1">
                  <c:v>0.477008059901793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8309705865995202</c:v>
                </c:pt>
                <c:pt idx="1">
                  <c:v>0.18309705865995202</c:v>
                </c:pt>
              </c:numCache>
            </c:numRef>
          </c:xVal>
          <c:yVal>
            <c:numRef>
              <c:f>Sheet1!$B$175:$B$176</c:f>
              <c:numCache>
                <c:formatCode>General</c:formatCode>
                <c:ptCount val="2"/>
                <c:pt idx="0">
                  <c:v>0.477008059901793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3367689639336917</c:v>
                </c:pt>
              </c:numCache>
            </c:numRef>
          </c:xVal>
          <c:yVal>
            <c:numRef>
              <c:f>Sheet1!$B$179:$B$180</c:f>
              <c:numCache>
                <c:formatCode>General</c:formatCode>
                <c:ptCount val="2"/>
                <c:pt idx="0">
                  <c:v>0.46925994793665304</c:v>
                </c:pt>
                <c:pt idx="1">
                  <c:v>0.4692599479366530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3367689639336917</c:v>
                </c:pt>
                <c:pt idx="1">
                  <c:v>0.33367689639336917</c:v>
                </c:pt>
              </c:numCache>
            </c:numRef>
          </c:xVal>
          <c:yVal>
            <c:numRef>
              <c:f>Sheet1!$B$183:$B$184</c:f>
              <c:numCache>
                <c:formatCode>General</c:formatCode>
                <c:ptCount val="2"/>
                <c:pt idx="0">
                  <c:v>0.469259947936653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635344031183499</c:v>
                </c:pt>
                <c:pt idx="1">
                  <c:v>0.6237752473418762</c:v>
                </c:pt>
                <c:pt idx="2">
                  <c:v>0.6508648084479371</c:v>
                </c:pt>
                <c:pt idx="3">
                  <c:v>0.6368834302963563</c:v>
                </c:pt>
                <c:pt idx="4">
                  <c:v>0.5972894717971073</c:v>
                </c:pt>
                <c:pt idx="5">
                  <c:v>0.6100213718524982</c:v>
                </c:pt>
                <c:pt idx="6">
                  <c:v>0.6769615288527409</c:v>
                </c:pt>
                <c:pt idx="7">
                  <c:v>0.6526028635597978</c:v>
                </c:pt>
                <c:pt idx="8">
                  <c:v>0.685372697368421</c:v>
                </c:pt>
                <c:pt idx="9">
                  <c:v>0.5983890043070687</c:v>
                </c:pt>
                <c:pt idx="10">
                  <c:v>0.6595552436440678</c:v>
                </c:pt>
                <c:pt idx="11">
                  <c:v>0.7038441435768262</c:v>
                </c:pt>
                <c:pt idx="12">
                  <c:v>0.7567249060390812</c:v>
                </c:pt>
                <c:pt idx="13">
                  <c:v>0.6642557911908645</c:v>
                </c:pt>
                <c:pt idx="14">
                  <c:v>0.6836024028744666</c:v>
                </c:pt>
                <c:pt idx="15">
                  <c:v>0.6601206695624536</c:v>
                </c:pt>
                <c:pt idx="16">
                  <c:v>0.7641440610776685</c:v>
                </c:pt>
                <c:pt idx="17">
                  <c:v>0.6581144607190412</c:v>
                </c:pt>
                <c:pt idx="18">
                  <c:v>0.7792447471393593</c:v>
                </c:pt>
                <c:pt idx="19">
                  <c:v>0.8205529670477762</c:v>
                </c:pt>
                <c:pt idx="20">
                  <c:v>0.7109191681282887</c:v>
                </c:pt>
                <c:pt idx="21">
                  <c:v>0.5946985027932961</c:v>
                </c:pt>
                <c:pt idx="22">
                  <c:v>0.7342218528778086</c:v>
                </c:pt>
                <c:pt idx="23">
                  <c:v>0.8070050035739814</c:v>
                </c:pt>
                <c:pt idx="24">
                  <c:v>0.6733702919473853</c:v>
                </c:pt>
                <c:pt idx="25">
                  <c:v>0.6665546279491834</c:v>
                </c:pt>
                <c:pt idx="26">
                  <c:v>0.6553416622269579</c:v>
                </c:pt>
                <c:pt idx="27">
                  <c:v>0.724467149275002</c:v>
                </c:pt>
                <c:pt idx="28">
                  <c:v>0.734108465202028</c:v>
                </c:pt>
                <c:pt idx="29">
                  <c:v>0.8435517897406989</c:v>
                </c:pt>
                <c:pt idx="30">
                  <c:v>0.768128687122624</c:v>
                </c:pt>
                <c:pt idx="31">
                  <c:v>0.5772579016489129</c:v>
                </c:pt>
                <c:pt idx="32">
                  <c:v>0.7233884339411587</c:v>
                </c:pt>
                <c:pt idx="33">
                  <c:v>0.8138106990482442</c:v>
                </c:pt>
                <c:pt idx="34">
                  <c:v>0.724643677442645</c:v>
                </c:pt>
                <c:pt idx="35">
                  <c:v>0.6259607304682137</c:v>
                </c:pt>
                <c:pt idx="36">
                  <c:v>0.8343330103187604</c:v>
                </c:pt>
                <c:pt idx="37">
                  <c:v>0.740386920829275</c:v>
                </c:pt>
                <c:pt idx="38">
                  <c:v>0.808352628949669</c:v>
                </c:pt>
                <c:pt idx="39">
                  <c:v>0.6605124993348473</c:v>
                </c:pt>
                <c:pt idx="40">
                  <c:v>0.7293288389970106</c:v>
                </c:pt>
                <c:pt idx="41">
                  <c:v>0.7534629469501237</c:v>
                </c:pt>
                <c:pt idx="42">
                  <c:v>0.6958636527411594</c:v>
                </c:pt>
                <c:pt idx="43">
                  <c:v>0.7431874086864125</c:v>
                </c:pt>
                <c:pt idx="44">
                  <c:v>0.7402452981651376</c:v>
                </c:pt>
                <c:pt idx="45">
                  <c:v>0.6506733716475096</c:v>
                </c:pt>
                <c:pt idx="46">
                  <c:v>0.6198563810556171</c:v>
                </c:pt>
                <c:pt idx="47">
                  <c:v>0.6483200933790207</c:v>
                </c:pt>
                <c:pt idx="48">
                  <c:v>0.5598509667887198</c:v>
                </c:pt>
                <c:pt idx="49">
                  <c:v>0.7069052558517595</c:v>
                </c:pt>
                <c:pt idx="50">
                  <c:v>0.5637130566801619</c:v>
                </c:pt>
                <c:pt idx="51">
                  <c:v>0.6023977394744279</c:v>
                </c:pt>
                <c:pt idx="52">
                  <c:v>0.18309705865995202</c:v>
                </c:pt>
                <c:pt idx="53">
                  <c:v>-0.6924852243379103</c:v>
                </c:pt>
                <c:pt idx="54">
                  <c:v>0.33367689639336917</c:v>
                </c:pt>
              </c:numCache>
            </c:numRef>
          </c:xVal>
          <c:yVal>
            <c:numRef>
              <c:f>Sheet1!$B$187:$B$241</c:f>
              <c:numCache>
                <c:formatCode>General</c:formatCode>
                <c:ptCount val="55"/>
                <c:pt idx="0">
                  <c:v>0.45743258960674077</c:v>
                </c:pt>
                <c:pt idx="1">
                  <c:v>0.45433288639982944</c:v>
                </c:pt>
                <c:pt idx="2">
                  <c:v>0.45293898828109286</c:v>
                </c:pt>
                <c:pt idx="3">
                  <c:v>0.45365840254648204</c:v>
                </c:pt>
                <c:pt idx="4">
                  <c:v>0.4556957166265943</c:v>
                </c:pt>
                <c:pt idx="5">
                  <c:v>0.45504059447582673</c:v>
                </c:pt>
                <c:pt idx="6">
                  <c:v>0.4515961769548026</c:v>
                </c:pt>
                <c:pt idx="7">
                  <c:v>0.4528495563504241</c:v>
                </c:pt>
                <c:pt idx="8">
                  <c:v>0.45116337880334934</c:v>
                </c:pt>
                <c:pt idx="9">
                  <c:v>0.4556391399884153</c:v>
                </c:pt>
                <c:pt idx="10">
                  <c:v>0.4524918204136083</c:v>
                </c:pt>
                <c:pt idx="11">
                  <c:v>0.45021292729845286</c:v>
                </c:pt>
                <c:pt idx="12">
                  <c:v>0.44749193838966606</c:v>
                </c:pt>
                <c:pt idx="13">
                  <c:v>0.45224995291502246</c:v>
                </c:pt>
                <c:pt idx="14">
                  <c:v>0.45125446961707905</c:v>
                </c:pt>
                <c:pt idx="15">
                  <c:v>0.4524627263237913</c:v>
                </c:pt>
                <c:pt idx="16">
                  <c:v>0.4471101844656946</c:v>
                </c:pt>
                <c:pt idx="17">
                  <c:v>0.45256595615175627</c:v>
                </c:pt>
                <c:pt idx="18">
                  <c:v>0.4463331760154428</c:v>
                </c:pt>
                <c:pt idx="19">
                  <c:v>0.44420765431380776</c:v>
                </c:pt>
                <c:pt idx="20">
                  <c:v>0.4498488806690635</c:v>
                </c:pt>
                <c:pt idx="21">
                  <c:v>0.45582903539119063</c:v>
                </c:pt>
                <c:pt idx="22">
                  <c:v>0.44864983693754285</c:v>
                </c:pt>
                <c:pt idx="23">
                  <c:v>0.44490476715092236</c:v>
                </c:pt>
                <c:pt idx="24">
                  <c:v>0.4517809646797389</c:v>
                </c:pt>
                <c:pt idx="25">
                  <c:v>0.45213166586636344</c:v>
                </c:pt>
                <c:pt idx="26">
                  <c:v>0.45270863098456804</c:v>
                </c:pt>
                <c:pt idx="27">
                  <c:v>0.4491517669225858</c:v>
                </c:pt>
                <c:pt idx="28">
                  <c:v>0.4486556713202905</c:v>
                </c:pt>
                <c:pt idx="29">
                  <c:v>0.4430242458577125</c:v>
                </c:pt>
                <c:pt idx="30">
                  <c:v>0.44690515483357224</c:v>
                </c:pt>
                <c:pt idx="31">
                  <c:v>0.456726444582488</c:v>
                </c:pt>
                <c:pt idx="32">
                  <c:v>0.4492072724093159</c:v>
                </c:pt>
                <c:pt idx="33">
                  <c:v>0.44455457889644573</c:v>
                </c:pt>
                <c:pt idx="34">
                  <c:v>0.4491426836347533</c:v>
                </c:pt>
                <c:pt idx="35">
                  <c:v>0.4542204319821884</c:v>
                </c:pt>
                <c:pt idx="36">
                  <c:v>0.4434985997700176</c:v>
                </c:pt>
                <c:pt idx="37">
                  <c:v>0.44833261228462995</c:v>
                </c:pt>
                <c:pt idx="38">
                  <c:v>0.44483542485081723</c:v>
                </c:pt>
                <c:pt idx="39">
                  <c:v>0.4524425646541184</c:v>
                </c:pt>
                <c:pt idx="40">
                  <c:v>0.44890160782510696</c:v>
                </c:pt>
                <c:pt idx="41">
                  <c:v>0.447659783066798</c:v>
                </c:pt>
                <c:pt idx="42">
                  <c:v>0.45062356485433197</c:v>
                </c:pt>
                <c:pt idx="43">
                  <c:v>0.4481885126906821</c:v>
                </c:pt>
                <c:pt idx="44">
                  <c:v>0.44833989950365644</c:v>
                </c:pt>
                <c:pt idx="45">
                  <c:v>0.4529488386952405</c:v>
                </c:pt>
                <c:pt idx="46">
                  <c:v>0.45453453235203256</c:v>
                </c:pt>
                <c:pt idx="47">
                  <c:v>0.45306992704135535</c:v>
                </c:pt>
                <c:pt idx="48">
                  <c:v>0.4576221214692267</c:v>
                </c:pt>
                <c:pt idx="49">
                  <c:v>0.45005541722936887</c:v>
                </c:pt>
                <c:pt idx="50">
                  <c:v>0.4574233969563785</c:v>
                </c:pt>
                <c:pt idx="51">
                  <c:v>0.45543286981717046</c:v>
                </c:pt>
                <c:pt idx="52">
                  <c:v>0.47700805990179346</c:v>
                </c:pt>
                <c:pt idx="53">
                  <c:v>0.5220612998672337</c:v>
                </c:pt>
                <c:pt idx="54">
                  <c:v>0.469259947936653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60762942779292"/>
          <c:min val="0.286419753086419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94.8242</c:v>
                </c:pt>
                <c:pt idx="1">
                  <c:v>961.598</c:v>
                </c:pt>
                <c:pt idx="2">
                  <c:v>944.7692</c:v>
                </c:pt>
                <c:pt idx="3">
                  <c:v>953.3345</c:v>
                </c:pt>
                <c:pt idx="4">
                  <c:v>919.3735</c:v>
                </c:pt>
                <c:pt idx="5">
                  <c:v>930.1307</c:v>
                </c:pt>
                <c:pt idx="6">
                  <c:v>909.3587</c:v>
                </c:pt>
                <c:pt idx="7">
                  <c:v>964.2297</c:v>
                </c:pt>
                <c:pt idx="8">
                  <c:v>953.8883</c:v>
                </c:pt>
                <c:pt idx="9">
                  <c:v>1000.3821</c:v>
                </c:pt>
                <c:pt idx="10">
                  <c:v>976.281</c:v>
                </c:pt>
                <c:pt idx="11">
                  <c:v>1002.207</c:v>
                </c:pt>
                <c:pt idx="12">
                  <c:v>1003.5759</c:v>
                </c:pt>
                <c:pt idx="13">
                  <c:v>1017.8202</c:v>
                </c:pt>
                <c:pt idx="14">
                  <c:v>994.3184</c:v>
                </c:pt>
                <c:pt idx="15">
                  <c:v>1058.3744</c:v>
                </c:pt>
                <c:pt idx="16">
                  <c:v>1067.9797</c:v>
                </c:pt>
                <c:pt idx="17">
                  <c:v>1071.5637</c:v>
                </c:pt>
                <c:pt idx="18">
                  <c:v>1113.3106</c:v>
                </c:pt>
                <c:pt idx="19">
                  <c:v>1106.3583</c:v>
                </c:pt>
                <c:pt idx="20">
                  <c:v>1203.3866</c:v>
                </c:pt>
                <c:pt idx="21">
                  <c:v>1199.4</c:v>
                </c:pt>
                <c:pt idx="22">
                  <c:v>1198.2034</c:v>
                </c:pt>
                <c:pt idx="23">
                  <c:v>1133.1098</c:v>
                </c:pt>
                <c:pt idx="24">
                  <c:v>1145.4379</c:v>
                </c:pt>
                <c:pt idx="25">
                  <c:v>1129.4015</c:v>
                </c:pt>
                <c:pt idx="26">
                  <c:v>1148.8702</c:v>
                </c:pt>
                <c:pt idx="27">
                  <c:v>1160.0066</c:v>
                </c:pt>
                <c:pt idx="28">
                  <c:v>1218.3185</c:v>
                </c:pt>
                <c:pt idx="29">
                  <c:v>1098.2545</c:v>
                </c:pt>
                <c:pt idx="30">
                  <c:v>1129.6721</c:v>
                </c:pt>
                <c:pt idx="31">
                  <c:v>1114.1778</c:v>
                </c:pt>
                <c:pt idx="32">
                  <c:v>1088.6774</c:v>
                </c:pt>
                <c:pt idx="33">
                  <c:v>1010.7051</c:v>
                </c:pt>
                <c:pt idx="34">
                  <c:v>1046.5921</c:v>
                </c:pt>
                <c:pt idx="35">
                  <c:v>1071.1552</c:v>
                </c:pt>
                <c:pt idx="36">
                  <c:v>1161.5246</c:v>
                </c:pt>
                <c:pt idx="37">
                  <c:v>1147.8655</c:v>
                </c:pt>
                <c:pt idx="38">
                  <c:v>1191.2882</c:v>
                </c:pt>
                <c:pt idx="39">
                  <c:v>1203.3962</c:v>
                </c:pt>
                <c:pt idx="40">
                  <c:v>1292.2244</c:v>
                </c:pt>
                <c:pt idx="41">
                  <c:v>1268.6111</c:v>
                </c:pt>
                <c:pt idx="42">
                  <c:v>1306.3073</c:v>
                </c:pt>
                <c:pt idx="43">
                  <c:v>1295.7039</c:v>
                </c:pt>
                <c:pt idx="44">
                  <c:v>1122.9701</c:v>
                </c:pt>
                <c:pt idx="45">
                  <c:v>1147.7855</c:v>
                </c:pt>
                <c:pt idx="46">
                  <c:v>1155.9133</c:v>
                </c:pt>
                <c:pt idx="47">
                  <c:v>1153.7108</c:v>
                </c:pt>
                <c:pt idx="48">
                  <c:v>1133.0329</c:v>
                </c:pt>
                <c:pt idx="49">
                  <c:v>1103.2303</c:v>
                </c:pt>
                <c:pt idx="50">
                  <c:v>1097.014</c:v>
                </c:pt>
                <c:pt idx="51">
                  <c:v>1156.8706</c:v>
                </c:pt>
                <c:pt idx="52">
                  <c:v>1108.955</c:v>
                </c:pt>
                <c:pt idx="53">
                  <c:v>1117.4251</c:v>
                </c:pt>
                <c:pt idx="54">
                  <c:v>1102.5208</c:v>
                </c:pt>
                <c:pt idx="55">
                  <c:v>1060.9216</c:v>
                </c:pt>
                <c:pt idx="56">
                  <c:v>1104.2658</c:v>
                </c:pt>
                <c:pt idx="57">
                  <c:v>1067.6429</c:v>
                </c:pt>
                <c:pt idx="58">
                  <c:v>1100.9167</c:v>
                </c:pt>
                <c:pt idx="59">
                  <c:v>1078.518</c:v>
                </c:pt>
                <c:pt idx="60">
                  <c:v>1080.974</c:v>
                </c:pt>
                <c:pt idx="61">
                  <c:v>1087.0216</c:v>
                </c:pt>
                <c:pt idx="62">
                  <c:v>1120.1495</c:v>
                </c:pt>
                <c:pt idx="63">
                  <c:v>1126.9813</c:v>
                </c:pt>
                <c:pt idx="64">
                  <c:v>1102.5146</c:v>
                </c:pt>
                <c:pt idx="65">
                  <c:v>1080.8718</c:v>
                </c:pt>
                <c:pt idx="66">
                  <c:v>1085.1436</c:v>
                </c:pt>
                <c:pt idx="67">
                  <c:v>1082.728</c:v>
                </c:pt>
                <c:pt idx="68">
                  <c:v>1105.6396</c:v>
                </c:pt>
                <c:pt idx="69">
                  <c:v>1112.1872</c:v>
                </c:pt>
                <c:pt idx="70">
                  <c:v>1009.5134</c:v>
                </c:pt>
                <c:pt idx="71">
                  <c:v>1166.9364</c:v>
                </c:pt>
                <c:pt idx="72">
                  <c:v>1274.101</c:v>
                </c:pt>
                <c:pt idx="73">
                  <c:v>1258.3911</c:v>
                </c:pt>
                <c:pt idx="74">
                  <c:v>1251.7719</c:v>
                </c:pt>
                <c:pt idx="75">
                  <c:v>1232.3077</c:v>
                </c:pt>
                <c:pt idx="76">
                  <c:v>1240.0511</c:v>
                </c:pt>
                <c:pt idx="77">
                  <c:v>1229.0061</c:v>
                </c:pt>
                <c:pt idx="78">
                  <c:v>1198.7724</c:v>
                </c:pt>
                <c:pt idx="79">
                  <c:v>1085.5683</c:v>
                </c:pt>
                <c:pt idx="80">
                  <c:v>1190.4194</c:v>
                </c:pt>
                <c:pt idx="81">
                  <c:v>1268.5306</c:v>
                </c:pt>
                <c:pt idx="82">
                  <c:v>1336.3556</c:v>
                </c:pt>
                <c:pt idx="83">
                  <c:v>1121.1538</c:v>
                </c:pt>
                <c:pt idx="84">
                  <c:v>1161.8261</c:v>
                </c:pt>
                <c:pt idx="85">
                  <c:v>1211.8406</c:v>
                </c:pt>
                <c:pt idx="86">
                  <c:v>1250.7653</c:v>
                </c:pt>
                <c:pt idx="87">
                  <c:v>1303.8863</c:v>
                </c:pt>
                <c:pt idx="88">
                  <c:v>1294.5502</c:v>
                </c:pt>
                <c:pt idx="89">
                  <c:v>1293.9825</c:v>
                </c:pt>
                <c:pt idx="90">
                  <c:v>1344.162</c:v>
                </c:pt>
                <c:pt idx="91">
                  <c:v>1288.7075</c:v>
                </c:pt>
                <c:pt idx="92">
                  <c:v>1161.5</c:v>
                </c:pt>
                <c:pt idx="93">
                  <c:v>1225.3801</c:v>
                </c:pt>
                <c:pt idx="94">
                  <c:v>1263.8357</c:v>
                </c:pt>
                <c:pt idx="95">
                  <c:v>1218.9915</c:v>
                </c:pt>
                <c:pt idx="96">
                  <c:v>1051.8271</c:v>
                </c:pt>
                <c:pt idx="97">
                  <c:v>1146.6348</c:v>
                </c:pt>
                <c:pt idx="98">
                  <c:v>1175.5139</c:v>
                </c:pt>
                <c:pt idx="99">
                  <c:v>1102.9456</c:v>
                </c:pt>
                <c:pt idx="100">
                  <c:v>1104.1919</c:v>
                </c:pt>
                <c:pt idx="101">
                  <c:v>1170.1478</c:v>
                </c:pt>
                <c:pt idx="102">
                  <c:v>1144.4245</c:v>
                </c:pt>
                <c:pt idx="103">
                  <c:v>1089.288</c:v>
                </c:pt>
                <c:pt idx="104">
                  <c:v>1098.3014</c:v>
                </c:pt>
              </c:numCache>
            </c:numRef>
          </c:xVal>
          <c:yVal>
            <c:numRef>
              <c:f>Sheet1!$B$2:$B$106</c:f>
              <c:numCache>
                <c:formatCode>General</c:formatCode>
                <c:ptCount val="105"/>
                <c:pt idx="0">
                  <c:v>0.457286432160804</c:v>
                </c:pt>
                <c:pt idx="1">
                  <c:v>0.49498327759197325</c:v>
                </c:pt>
                <c:pt idx="2">
                  <c:v>0.4028169014084507</c:v>
                </c:pt>
                <c:pt idx="3">
                  <c:v>0.4105865522174535</c:v>
                </c:pt>
                <c:pt idx="4">
                  <c:v>0.4493006993006993</c:v>
                </c:pt>
                <c:pt idx="5">
                  <c:v>0.4631578947368421</c:v>
                </c:pt>
                <c:pt idx="6">
                  <c:v>0.4791666666666667</c:v>
                </c:pt>
                <c:pt idx="7">
                  <c:v>0.42610364683301344</c:v>
                </c:pt>
                <c:pt idx="8">
                  <c:v>0.39165009940357853</c:v>
                </c:pt>
                <c:pt idx="9">
                  <c:v>0.4609494640122512</c:v>
                </c:pt>
                <c:pt idx="10">
                  <c:v>0.5168918918918919</c:v>
                </c:pt>
                <c:pt idx="11">
                  <c:v>0.4819532908704883</c:v>
                </c:pt>
                <c:pt idx="12">
                  <c:v>0.49806201550387597</c:v>
                </c:pt>
                <c:pt idx="13">
                  <c:v>0.5066666666666667</c:v>
                </c:pt>
                <c:pt idx="14">
                  <c:v>0.5606407322654462</c:v>
                </c:pt>
                <c:pt idx="15">
                  <c:v>0.5967302452316077</c:v>
                </c:pt>
                <c:pt idx="16">
                  <c:v>0.5794117647058824</c:v>
                </c:pt>
                <c:pt idx="17">
                  <c:v>0.5811965811965812</c:v>
                </c:pt>
                <c:pt idx="18">
                  <c:v>0.5019011406844106</c:v>
                </c:pt>
                <c:pt idx="19">
                  <c:v>0.5194805194805194</c:v>
                </c:pt>
                <c:pt idx="20">
                  <c:v>0.48770491803278687</c:v>
                </c:pt>
                <c:pt idx="21">
                  <c:v>0.4952076677316294</c:v>
                </c:pt>
                <c:pt idx="22">
                  <c:v>0.4229390681003584</c:v>
                </c:pt>
                <c:pt idx="23">
                  <c:v>0.47262247838616717</c:v>
                </c:pt>
                <c:pt idx="24">
                  <c:v>0.4608433734939759</c:v>
                </c:pt>
                <c:pt idx="25">
                  <c:v>0.43853820598006643</c:v>
                </c:pt>
                <c:pt idx="26">
                  <c:v>0.39939024390243905</c:v>
                </c:pt>
                <c:pt idx="27">
                  <c:v>0.459214501510574</c:v>
                </c:pt>
                <c:pt idx="28">
                  <c:v>0.45302013422818793</c:v>
                </c:pt>
                <c:pt idx="29">
                  <c:v>0.4596100278551532</c:v>
                </c:pt>
                <c:pt idx="30">
                  <c:v>0.42657342657342656</c:v>
                </c:pt>
                <c:pt idx="31">
                  <c:v>0.4326923076923077</c:v>
                </c:pt>
                <c:pt idx="32">
                  <c:v>0.4740061162079511</c:v>
                </c:pt>
                <c:pt idx="33">
                  <c:v>0.48851774530271397</c:v>
                </c:pt>
                <c:pt idx="34">
                  <c:v>0.44881889763779526</c:v>
                </c:pt>
                <c:pt idx="35">
                  <c:v>0.4410828025477707</c:v>
                </c:pt>
                <c:pt idx="36">
                  <c:v>0.4236111111111111</c:v>
                </c:pt>
                <c:pt idx="37">
                  <c:v>0.3877551020408163</c:v>
                </c:pt>
                <c:pt idx="38">
                  <c:v>0.425</c:v>
                </c:pt>
                <c:pt idx="39">
                  <c:v>0.4542857142857143</c:v>
                </c:pt>
                <c:pt idx="40">
                  <c:v>0.43575418994413406</c:v>
                </c:pt>
                <c:pt idx="41">
                  <c:v>0.4918032786885246</c:v>
                </c:pt>
                <c:pt idx="42">
                  <c:v>0.44948453608247424</c:v>
                </c:pt>
                <c:pt idx="43">
                  <c:v>0.4015594541910331</c:v>
                </c:pt>
                <c:pt idx="44">
                  <c:v>0.4263456090651558</c:v>
                </c:pt>
                <c:pt idx="45">
                  <c:v>0.44266337854500615</c:v>
                </c:pt>
                <c:pt idx="46">
                  <c:v>0.4278145695364238</c:v>
                </c:pt>
                <c:pt idx="47">
                  <c:v>0.4114002478314746</c:v>
                </c:pt>
                <c:pt idx="48">
                  <c:v>0.43404634581105167</c:v>
                </c:pt>
                <c:pt idx="49">
                  <c:v>0.5002985074626866</c:v>
                </c:pt>
                <c:pt idx="50">
                  <c:v>0.47084708470847086</c:v>
                </c:pt>
                <c:pt idx="51">
                  <c:v>0.44272445820433437</c:v>
                </c:pt>
                <c:pt idx="52">
                  <c:v>0.43375174337517436</c:v>
                </c:pt>
                <c:pt idx="53">
                  <c:v>0.4535367545076283</c:v>
                </c:pt>
                <c:pt idx="54">
                  <c:v>0.4510086455331412</c:v>
                </c:pt>
                <c:pt idx="55">
                  <c:v>0.4623188405797101</c:v>
                </c:pt>
                <c:pt idx="56">
                  <c:v>0.47702060221870046</c:v>
                </c:pt>
                <c:pt idx="57">
                  <c:v>0.4756277695716396</c:v>
                </c:pt>
                <c:pt idx="58">
                  <c:v>0.463448275862069</c:v>
                </c:pt>
                <c:pt idx="59">
                  <c:v>0.4447592067988669</c:v>
                </c:pt>
                <c:pt idx="60">
                  <c:v>0.4492415402567094</c:v>
                </c:pt>
                <c:pt idx="61">
                  <c:v>0.45689655172413796</c:v>
                </c:pt>
                <c:pt idx="62">
                  <c:v>0.4527503526093089</c:v>
                </c:pt>
                <c:pt idx="63">
                  <c:v>0.4713656387665198</c:v>
                </c:pt>
                <c:pt idx="64">
                  <c:v>0.49047619047619045</c:v>
                </c:pt>
                <c:pt idx="65">
                  <c:v>0.5277401894451962</c:v>
                </c:pt>
                <c:pt idx="66">
                  <c:v>0.46134969325153374</c:v>
                </c:pt>
                <c:pt idx="67">
                  <c:v>0.4595238095238095</c:v>
                </c:pt>
                <c:pt idx="68">
                  <c:v>0.43206106870229005</c:v>
                </c:pt>
                <c:pt idx="69">
                  <c:v>0.4651741293532338</c:v>
                </c:pt>
                <c:pt idx="70">
                  <c:v>0.4349514563106796</c:v>
                </c:pt>
                <c:pt idx="71">
                  <c:v>0.3905191873589165</c:v>
                </c:pt>
                <c:pt idx="72">
                  <c:v>0.42127659574468085</c:v>
                </c:pt>
                <c:pt idx="73">
                  <c:v>0.44298245614035087</c:v>
                </c:pt>
                <c:pt idx="74">
                  <c:v>0.43073047858942065</c:v>
                </c:pt>
                <c:pt idx="75">
                  <c:v>0.4023809523809524</c:v>
                </c:pt>
                <c:pt idx="76">
                  <c:v>0.42409638554216866</c:v>
                </c:pt>
                <c:pt idx="77">
                  <c:v>0.4647887323943662</c:v>
                </c:pt>
                <c:pt idx="78">
                  <c:v>0.44072948328267475</c:v>
                </c:pt>
                <c:pt idx="79">
                  <c:v>0.43034055727554177</c:v>
                </c:pt>
                <c:pt idx="80">
                  <c:v>0.45058139534883723</c:v>
                </c:pt>
                <c:pt idx="81">
                  <c:v>0.38786279683377306</c:v>
                </c:pt>
                <c:pt idx="82">
                  <c:v>0.41284403669724773</c:v>
                </c:pt>
                <c:pt idx="83">
                  <c:v>0.40752351097178685</c:v>
                </c:pt>
                <c:pt idx="84">
                  <c:v>0.4144144144144144</c:v>
                </c:pt>
                <c:pt idx="85">
                  <c:v>0.4144144144144144</c:v>
                </c:pt>
                <c:pt idx="86">
                  <c:v>0.4091858037578288</c:v>
                </c:pt>
                <c:pt idx="87">
                  <c:v>0.3966165413533835</c:v>
                </c:pt>
                <c:pt idx="88">
                  <c:v>0.41386138613861384</c:v>
                </c:pt>
                <c:pt idx="89">
                  <c:v>0.41605839416058393</c:v>
                </c:pt>
                <c:pt idx="90">
                  <c:v>0.3776595744680851</c:v>
                </c:pt>
                <c:pt idx="91">
                  <c:v>0.40054495912806537</c:v>
                </c:pt>
                <c:pt idx="92">
                  <c:v>0.4439359267734554</c:v>
                </c:pt>
                <c:pt idx="93">
                  <c:v>0.40425531914893614</c:v>
                </c:pt>
                <c:pt idx="94">
                  <c:v>0.42768595041322316</c:v>
                </c:pt>
                <c:pt idx="95">
                  <c:v>0.44696969696969696</c:v>
                </c:pt>
                <c:pt idx="96">
                  <c:v>0.4786206896551724</c:v>
                </c:pt>
                <c:pt idx="97">
                  <c:v>0.4641460234680574</c:v>
                </c:pt>
                <c:pt idx="98">
                  <c:v>0.4640171858216971</c:v>
                </c:pt>
                <c:pt idx="99">
                  <c:v>0.4863138686131387</c:v>
                </c:pt>
                <c:pt idx="100">
                  <c:v>0.4529295589203423</c:v>
                </c:pt>
                <c:pt idx="101">
                  <c:v>0.4409368635437882</c:v>
                </c:pt>
                <c:pt idx="102">
                  <c:v>0.4209621993127148</c:v>
                </c:pt>
                <c:pt idx="103">
                  <c:v>0.4158815612382234</c:v>
                </c:pt>
                <c:pt idx="104">
                  <c:v>0.4541213063763608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8.5527</c:v>
                </c:pt>
                <c:pt idx="1">
                  <c:v>1124.2509</c:v>
                </c:pt>
                <c:pt idx="2">
                  <c:v>1060.1286</c:v>
                </c:pt>
                <c:pt idx="3">
                  <c:v>1134.3804</c:v>
                </c:pt>
                <c:pt idx="4">
                  <c:v>1117.7846</c:v>
                </c:pt>
                <c:pt idx="5">
                  <c:v>1138.5032</c:v>
                </c:pt>
                <c:pt idx="6">
                  <c:v>1119.92</c:v>
                </c:pt>
                <c:pt idx="7">
                  <c:v>1162.2857</c:v>
                </c:pt>
                <c:pt idx="8">
                  <c:v>1250.1198</c:v>
                </c:pt>
                <c:pt idx="9">
                  <c:v>1180.9207</c:v>
                </c:pt>
                <c:pt idx="10">
                  <c:v>1245.2403</c:v>
                </c:pt>
                <c:pt idx="11">
                  <c:v>1117.7045</c:v>
                </c:pt>
                <c:pt idx="12">
                  <c:v>1139.1232</c:v>
                </c:pt>
                <c:pt idx="13">
                  <c:v>1221.5664</c:v>
                </c:pt>
                <c:pt idx="14">
                  <c:v>1217.6326</c:v>
                </c:pt>
                <c:pt idx="15">
                  <c:v>1246.1758</c:v>
                </c:pt>
                <c:pt idx="16">
                  <c:v>1301.1463</c:v>
                </c:pt>
                <c:pt idx="17">
                  <c:v>1235.6099</c:v>
                </c:pt>
                <c:pt idx="18">
                  <c:v>1287.0526</c:v>
                </c:pt>
                <c:pt idx="19">
                  <c:v>1427.2151</c:v>
                </c:pt>
                <c:pt idx="20">
                  <c:v>1418.6392</c:v>
                </c:pt>
                <c:pt idx="21">
                  <c:v>1330.6379</c:v>
                </c:pt>
                <c:pt idx="22">
                  <c:v>1192.7434</c:v>
                </c:pt>
                <c:pt idx="23">
                  <c:v>1129.0</c:v>
                </c:pt>
                <c:pt idx="24">
                  <c:v>1049.4476</c:v>
                </c:pt>
                <c:pt idx="25">
                  <c:v>1101.8148</c:v>
                </c:pt>
                <c:pt idx="26">
                  <c:v>1230.0763</c:v>
                </c:pt>
                <c:pt idx="27">
                  <c:v>1198.0272</c:v>
                </c:pt>
                <c:pt idx="28">
                  <c:v>1194.578</c:v>
                </c:pt>
                <c:pt idx="29">
                  <c:v>1197.1687</c:v>
                </c:pt>
                <c:pt idx="30">
                  <c:v>1165.8913</c:v>
                </c:pt>
                <c:pt idx="31">
                  <c:v>988.9871</c:v>
                </c:pt>
                <c:pt idx="32">
                  <c:v>1068.927</c:v>
                </c:pt>
                <c:pt idx="33">
                  <c:v>1239.8406</c:v>
                </c:pt>
                <c:pt idx="34">
                  <c:v>1294.1331</c:v>
                </c:pt>
                <c:pt idx="35">
                  <c:v>1139.718</c:v>
                </c:pt>
                <c:pt idx="36">
                  <c:v>1303.7049</c:v>
                </c:pt>
                <c:pt idx="37">
                  <c:v>1330.2902</c:v>
                </c:pt>
                <c:pt idx="38">
                  <c:v>1294.4959</c:v>
                </c:pt>
                <c:pt idx="39">
                  <c:v>1175.4921</c:v>
                </c:pt>
                <c:pt idx="40">
                  <c:v>1195.4429</c:v>
                </c:pt>
                <c:pt idx="41">
                  <c:v>1272.7148</c:v>
                </c:pt>
                <c:pt idx="42">
                  <c:v>1250.72</c:v>
                </c:pt>
                <c:pt idx="43">
                  <c:v>1398.8645</c:v>
                </c:pt>
                <c:pt idx="44">
                  <c:v>1290.9878</c:v>
                </c:pt>
                <c:pt idx="45">
                  <c:v>1290.6757</c:v>
                </c:pt>
                <c:pt idx="46">
                  <c:v>1237.6761</c:v>
                </c:pt>
                <c:pt idx="47">
                  <c:v>1168.8491</c:v>
                </c:pt>
                <c:pt idx="48">
                  <c:v>1089.4</c:v>
                </c:pt>
                <c:pt idx="49">
                  <c:v>1115.0252</c:v>
                </c:pt>
                <c:pt idx="50">
                  <c:v>1113.897</c:v>
                </c:pt>
                <c:pt idx="51">
                  <c:v>1065.9428</c:v>
                </c:pt>
              </c:numCache>
            </c:numRef>
          </c:xVal>
          <c:yVal>
            <c:numRef>
              <c:f>Sheet1!$B$109:$B$160</c:f>
              <c:numCache>
                <c:formatCode>General</c:formatCode>
                <c:ptCount val="52"/>
                <c:pt idx="0">
                  <c:v>0.4484240687679083</c:v>
                </c:pt>
                <c:pt idx="1">
                  <c:v>0.4317507418397626</c:v>
                </c:pt>
                <c:pt idx="2">
                  <c:v>0.45534407027818447</c:v>
                </c:pt>
                <c:pt idx="3">
                  <c:v>0.4752186588921283</c:v>
                </c:pt>
                <c:pt idx="4">
                  <c:v>0.4442857142857143</c:v>
                </c:pt>
                <c:pt idx="5">
                  <c:v>0.4647058823529412</c:v>
                </c:pt>
                <c:pt idx="6">
                  <c:v>0.44642857142857145</c:v>
                </c:pt>
                <c:pt idx="7">
                  <c:v>0.45985401459854014</c:v>
                </c:pt>
                <c:pt idx="8">
                  <c:v>0.4824120603015075</c:v>
                </c:pt>
                <c:pt idx="9">
                  <c:v>0.4420485175202156</c:v>
                </c:pt>
                <c:pt idx="10">
                  <c:v>0.48041237113402063</c:v>
                </c:pt>
                <c:pt idx="11">
                  <c:v>0.4695121951219512</c:v>
                </c:pt>
                <c:pt idx="12">
                  <c:v>0.48575498575498577</c:v>
                </c:pt>
                <c:pt idx="13">
                  <c:v>0.45396825396825397</c:v>
                </c:pt>
                <c:pt idx="14">
                  <c:v>0.4664310954063604</c:v>
                </c:pt>
                <c:pt idx="15">
                  <c:v>0.4429065743944637</c:v>
                </c:pt>
                <c:pt idx="16">
                  <c:v>0.422680412371134</c:v>
                </c:pt>
                <c:pt idx="17">
                  <c:v>0.4312796208530806</c:v>
                </c:pt>
                <c:pt idx="18">
                  <c:v>0.40425531914893614</c:v>
                </c:pt>
                <c:pt idx="19">
                  <c:v>0.3788187372708758</c:v>
                </c:pt>
                <c:pt idx="20">
                  <c:v>0.3648960739030023</c:v>
                </c:pt>
                <c:pt idx="21">
                  <c:v>0.35802469135802467</c:v>
                </c:pt>
                <c:pt idx="22">
                  <c:v>0.37293729372937295</c:v>
                </c:pt>
                <c:pt idx="23">
                  <c:v>0.44039735099337746</c:v>
                </c:pt>
                <c:pt idx="24">
                  <c:v>0.41329479768786126</c:v>
                </c:pt>
                <c:pt idx="25">
                  <c:v>0.4383116883116883</c:v>
                </c:pt>
                <c:pt idx="26">
                  <c:v>0.3819241982507289</c:v>
                </c:pt>
                <c:pt idx="27">
                  <c:v>0.38786279683377306</c:v>
                </c:pt>
                <c:pt idx="28">
                  <c:v>0.4314214463840399</c:v>
                </c:pt>
                <c:pt idx="29">
                  <c:v>0.43455497382198954</c:v>
                </c:pt>
                <c:pt idx="30">
                  <c:v>0.46938775510204084</c:v>
                </c:pt>
                <c:pt idx="31">
                  <c:v>0.46686746987951805</c:v>
                </c:pt>
                <c:pt idx="32">
                  <c:v>0.4448051948051948</c:v>
                </c:pt>
                <c:pt idx="33">
                  <c:v>0.4791666666666667</c:v>
                </c:pt>
                <c:pt idx="34">
                  <c:v>0.5</c:v>
                </c:pt>
                <c:pt idx="35">
                  <c:v>0.5249569707401033</c:v>
                </c:pt>
                <c:pt idx="36">
                  <c:v>0.4945945945945946</c:v>
                </c:pt>
                <c:pt idx="37">
                  <c:v>0.5137614678899083</c:v>
                </c:pt>
                <c:pt idx="38">
                  <c:v>0.44404332129963897</c:v>
                </c:pt>
                <c:pt idx="39">
                  <c:v>0.5239085239085239</c:v>
                </c:pt>
                <c:pt idx="40">
                  <c:v>0.46794871794871795</c:v>
                </c:pt>
                <c:pt idx="41">
                  <c:v>0.46221441124780316</c:v>
                </c:pt>
                <c:pt idx="42">
                  <c:v>0.4891304347826087</c:v>
                </c:pt>
                <c:pt idx="43">
                  <c:v>0.43584521384928715</c:v>
                </c:pt>
                <c:pt idx="44">
                  <c:v>0.4166666666666667</c:v>
                </c:pt>
                <c:pt idx="45">
                  <c:v>0.46811224489795916</c:v>
                </c:pt>
                <c:pt idx="46">
                  <c:v>0.4774774774774775</c:v>
                </c:pt>
                <c:pt idx="47">
                  <c:v>0.48244473342002603</c:v>
                </c:pt>
                <c:pt idx="48">
                  <c:v>0.4462242562929062</c:v>
                </c:pt>
                <c:pt idx="49">
                  <c:v>0.4907292954264524</c:v>
                </c:pt>
                <c:pt idx="50">
                  <c:v>0.4751203852327448</c:v>
                </c:pt>
                <c:pt idx="51">
                  <c:v>0.464556962025316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27.8634713106482</c:v>
                </c:pt>
              </c:numCache>
            </c:numRef>
          </c:xVal>
          <c:yVal>
            <c:numRef>
              <c:f>Sheet1!$B$163:$B$164</c:f>
              <c:numCache>
                <c:formatCode>General</c:formatCode>
                <c:ptCount val="2"/>
                <c:pt idx="0">
                  <c:v>0.5220612998672337</c:v>
                </c:pt>
                <c:pt idx="1">
                  <c:v>0.522061299867233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27.8634713106482</c:v>
                </c:pt>
                <c:pt idx="1">
                  <c:v>527.8634713106482</c:v>
                </c:pt>
              </c:numCache>
            </c:numRef>
          </c:xVal>
          <c:yVal>
            <c:numRef>
              <c:f>Sheet1!$B$167:$B$168</c:f>
              <c:numCache>
                <c:formatCode>General</c:formatCode>
                <c:ptCount val="2"/>
                <c:pt idx="0">
                  <c:v>0.52206129986723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53.1739215765588</c:v>
                </c:pt>
              </c:numCache>
            </c:numRef>
          </c:xVal>
          <c:yVal>
            <c:numRef>
              <c:f>Sheet1!$B$171:$B$172</c:f>
              <c:numCache>
                <c:formatCode>General</c:formatCode>
                <c:ptCount val="2"/>
                <c:pt idx="0">
                  <c:v>0.47700805990179346</c:v>
                </c:pt>
                <c:pt idx="1">
                  <c:v>0.477008059901793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53.1739215765588</c:v>
                </c:pt>
                <c:pt idx="1">
                  <c:v>953.1739215765588</c:v>
                </c:pt>
              </c:numCache>
            </c:numRef>
          </c:xVal>
          <c:yVal>
            <c:numRef>
              <c:f>Sheet1!$B$175:$B$176</c:f>
              <c:numCache>
                <c:formatCode>General</c:formatCode>
                <c:ptCount val="2"/>
                <c:pt idx="0">
                  <c:v>0.477008059901793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26.317451123654</c:v>
                </c:pt>
              </c:numCache>
            </c:numRef>
          </c:xVal>
          <c:yVal>
            <c:numRef>
              <c:f>Sheet1!$B$179:$B$180</c:f>
              <c:numCache>
                <c:formatCode>General</c:formatCode>
                <c:ptCount val="2"/>
                <c:pt idx="0">
                  <c:v>0.46925994793665304</c:v>
                </c:pt>
                <c:pt idx="1">
                  <c:v>0.4692599479366530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26.317451123654</c:v>
                </c:pt>
                <c:pt idx="1">
                  <c:v>1026.317451123654</c:v>
                </c:pt>
              </c:numCache>
            </c:numRef>
          </c:xVal>
          <c:yVal>
            <c:numRef>
              <c:f>Sheet1!$B$183:$B$184</c:f>
              <c:numCache>
                <c:formatCode>General</c:formatCode>
                <c:ptCount val="2"/>
                <c:pt idx="0">
                  <c:v>0.469259947936653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8.5527</c:v>
                </c:pt>
                <c:pt idx="1">
                  <c:v>1124.2509</c:v>
                </c:pt>
                <c:pt idx="2">
                  <c:v>1060.1286</c:v>
                </c:pt>
                <c:pt idx="3">
                  <c:v>1134.3804</c:v>
                </c:pt>
                <c:pt idx="4">
                  <c:v>1117.7846</c:v>
                </c:pt>
                <c:pt idx="5">
                  <c:v>1138.5032</c:v>
                </c:pt>
                <c:pt idx="6">
                  <c:v>1119.92</c:v>
                </c:pt>
                <c:pt idx="7">
                  <c:v>1162.2857</c:v>
                </c:pt>
                <c:pt idx="8">
                  <c:v>1250.1198</c:v>
                </c:pt>
                <c:pt idx="9">
                  <c:v>1180.9207</c:v>
                </c:pt>
                <c:pt idx="10">
                  <c:v>1245.2403</c:v>
                </c:pt>
                <c:pt idx="11">
                  <c:v>1117.7045</c:v>
                </c:pt>
                <c:pt idx="12">
                  <c:v>1139.1232</c:v>
                </c:pt>
                <c:pt idx="13">
                  <c:v>1221.5664</c:v>
                </c:pt>
                <c:pt idx="14">
                  <c:v>1217.6326</c:v>
                </c:pt>
                <c:pt idx="15">
                  <c:v>1246.1758</c:v>
                </c:pt>
                <c:pt idx="16">
                  <c:v>1301.1463</c:v>
                </c:pt>
                <c:pt idx="17">
                  <c:v>1235.6099</c:v>
                </c:pt>
                <c:pt idx="18">
                  <c:v>1287.0526</c:v>
                </c:pt>
                <c:pt idx="19">
                  <c:v>1427.2151</c:v>
                </c:pt>
                <c:pt idx="20">
                  <c:v>1418.6392</c:v>
                </c:pt>
                <c:pt idx="21">
                  <c:v>1330.6379</c:v>
                </c:pt>
                <c:pt idx="22">
                  <c:v>1192.7434</c:v>
                </c:pt>
                <c:pt idx="23">
                  <c:v>1129.0</c:v>
                </c:pt>
                <c:pt idx="24">
                  <c:v>1049.4476</c:v>
                </c:pt>
                <c:pt idx="25">
                  <c:v>1101.8148</c:v>
                </c:pt>
                <c:pt idx="26">
                  <c:v>1230.0763</c:v>
                </c:pt>
                <c:pt idx="27">
                  <c:v>1198.0272</c:v>
                </c:pt>
                <c:pt idx="28">
                  <c:v>1194.578</c:v>
                </c:pt>
                <c:pt idx="29">
                  <c:v>1197.1687</c:v>
                </c:pt>
                <c:pt idx="30">
                  <c:v>1165.8913</c:v>
                </c:pt>
                <c:pt idx="31">
                  <c:v>988.9871</c:v>
                </c:pt>
                <c:pt idx="32">
                  <c:v>1068.927</c:v>
                </c:pt>
                <c:pt idx="33">
                  <c:v>1239.8406</c:v>
                </c:pt>
                <c:pt idx="34">
                  <c:v>1294.1331</c:v>
                </c:pt>
                <c:pt idx="35">
                  <c:v>1139.718</c:v>
                </c:pt>
                <c:pt idx="36">
                  <c:v>1303.7049</c:v>
                </c:pt>
                <c:pt idx="37">
                  <c:v>1330.2902</c:v>
                </c:pt>
                <c:pt idx="38">
                  <c:v>1294.4959</c:v>
                </c:pt>
                <c:pt idx="39">
                  <c:v>1175.4921</c:v>
                </c:pt>
                <c:pt idx="40">
                  <c:v>1195.4429</c:v>
                </c:pt>
                <c:pt idx="41">
                  <c:v>1272.7148</c:v>
                </c:pt>
                <c:pt idx="42">
                  <c:v>1250.72</c:v>
                </c:pt>
                <c:pt idx="43">
                  <c:v>1398.8645</c:v>
                </c:pt>
                <c:pt idx="44">
                  <c:v>1290.9878</c:v>
                </c:pt>
                <c:pt idx="45">
                  <c:v>1290.6757</c:v>
                </c:pt>
                <c:pt idx="46">
                  <c:v>1237.6761</c:v>
                </c:pt>
                <c:pt idx="47">
                  <c:v>1168.8491</c:v>
                </c:pt>
                <c:pt idx="48">
                  <c:v>1089.4</c:v>
                </c:pt>
                <c:pt idx="49">
                  <c:v>1115.0252</c:v>
                </c:pt>
                <c:pt idx="50">
                  <c:v>1113.897</c:v>
                </c:pt>
                <c:pt idx="51">
                  <c:v>1065.9428</c:v>
                </c:pt>
                <c:pt idx="52">
                  <c:v>953.1739215765588</c:v>
                </c:pt>
                <c:pt idx="53">
                  <c:v>527.8634713106482</c:v>
                </c:pt>
                <c:pt idx="54">
                  <c:v>1026.317451123654</c:v>
                </c:pt>
              </c:numCache>
            </c:numRef>
          </c:xVal>
          <c:yVal>
            <c:numRef>
              <c:f>Sheet1!$B$187:$B$241</c:f>
              <c:numCache>
                <c:formatCode>General</c:formatCode>
                <c:ptCount val="55"/>
                <c:pt idx="0">
                  <c:v>0.4605487479204594</c:v>
                </c:pt>
                <c:pt idx="1">
                  <c:v>0.45888583375697417</c:v>
                </c:pt>
                <c:pt idx="2">
                  <c:v>0.4656783246709166</c:v>
                </c:pt>
                <c:pt idx="3">
                  <c:v>0.457812813345779</c:v>
                </c:pt>
                <c:pt idx="4">
                  <c:v>0.459570810496686</c:v>
                </c:pt>
                <c:pt idx="5">
                  <c:v>0.4573760841339447</c:v>
                </c:pt>
                <c:pt idx="6">
                  <c:v>0.4593446070526793</c:v>
                </c:pt>
                <c:pt idx="7">
                  <c:v>0.4548567980952213</c:v>
                </c:pt>
                <c:pt idx="8">
                  <c:v>0.4455525104108384</c:v>
                </c:pt>
                <c:pt idx="9">
                  <c:v>0.452882787989824</c:v>
                </c:pt>
                <c:pt idx="10">
                  <c:v>0.4460693970386509</c:v>
                </c:pt>
                <c:pt idx="11">
                  <c:v>0.4595792955092668</c:v>
                </c:pt>
                <c:pt idx="12">
                  <c:v>0.4573104073823834</c:v>
                </c:pt>
                <c:pt idx="13">
                  <c:v>0.4485771790528266</c:v>
                </c:pt>
                <c:pt idx="14">
                  <c:v>0.44899388744845914</c:v>
                </c:pt>
                <c:pt idx="15">
                  <c:v>0.4459702992949643</c:v>
                </c:pt>
                <c:pt idx="16">
                  <c:v>0.44014726079221456</c:v>
                </c:pt>
                <c:pt idx="17">
                  <c:v>0.4470895476648391</c:v>
                </c:pt>
                <c:pt idx="18">
                  <c:v>0.44164020987847363</c:v>
                </c:pt>
                <c:pt idx="19">
                  <c:v>0.42679276199021243</c:v>
                </c:pt>
                <c:pt idx="20">
                  <c:v>0.4277012091736241</c:v>
                </c:pt>
                <c:pt idx="21">
                  <c:v>0.43702320839487974</c:v>
                </c:pt>
                <c:pt idx="22">
                  <c:v>0.4516304064887196</c:v>
                </c:pt>
                <c:pt idx="23">
                  <c:v>0.45838276043303844</c:v>
                </c:pt>
                <c:pt idx="24">
                  <c:v>0.46680976561192805</c:v>
                </c:pt>
                <c:pt idx="25">
                  <c:v>0.461262495314565</c:v>
                </c:pt>
                <c:pt idx="26">
                  <c:v>0.4476757232655489</c:v>
                </c:pt>
                <c:pt idx="27">
                  <c:v>0.4510706922630744</c:v>
                </c:pt>
                <c:pt idx="28">
                  <c:v>0.4514360668622446</c:v>
                </c:pt>
                <c:pt idx="29">
                  <c:v>0.451161633377938</c:v>
                </c:pt>
                <c:pt idx="30">
                  <c:v>0.45447485600581855</c:v>
                </c:pt>
                <c:pt idx="31">
                  <c:v>0.4732143611567294</c:v>
                </c:pt>
                <c:pt idx="32">
                  <c:v>0.46474630800811395</c:v>
                </c:pt>
                <c:pt idx="33">
                  <c:v>0.44664138857962826</c:v>
                </c:pt>
                <c:pt idx="34">
                  <c:v>0.4408901707826182</c:v>
                </c:pt>
                <c:pt idx="35">
                  <c:v>0.4572474000729822</c:v>
                </c:pt>
                <c:pt idx="36">
                  <c:v>0.43987622766875495</c:v>
                </c:pt>
                <c:pt idx="37">
                  <c:v>0.4370600403408763</c:v>
                </c:pt>
                <c:pt idx="38">
                  <c:v>0.4408517392899304</c:v>
                </c:pt>
                <c:pt idx="39">
                  <c:v>0.45345784091486613</c:v>
                </c:pt>
                <c:pt idx="40">
                  <c:v>0.45134444779381644</c:v>
                </c:pt>
                <c:pt idx="41">
                  <c:v>0.44315901653740386</c:v>
                </c:pt>
                <c:pt idx="42">
                  <c:v>0.44548893107811716</c:v>
                </c:pt>
                <c:pt idx="43">
                  <c:v>0.4297959479786254</c:v>
                </c:pt>
                <c:pt idx="44">
                  <c:v>0.4412233531804989</c:v>
                </c:pt>
                <c:pt idx="45">
                  <c:v>0.4412564140097929</c:v>
                </c:pt>
                <c:pt idx="46">
                  <c:v>0.44687067459374863</c:v>
                </c:pt>
                <c:pt idx="47">
                  <c:v>0.454161535528773</c:v>
                </c:pt>
                <c:pt idx="48">
                  <c:v>0.4625775981134105</c:v>
                </c:pt>
                <c:pt idx="49">
                  <c:v>0.45986311441323197</c:v>
                </c:pt>
                <c:pt idx="50">
                  <c:v>0.4599826249150248</c:v>
                </c:pt>
                <c:pt idx="51">
                  <c:v>0.46506242504361306</c:v>
                </c:pt>
                <c:pt idx="52">
                  <c:v>0.47700805990179346</c:v>
                </c:pt>
                <c:pt idx="53">
                  <c:v>0.5220612998672337</c:v>
                </c:pt>
                <c:pt idx="54">
                  <c:v>0.469259947936653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3.0"/>
          <c:min val="42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60762942779292"/>
          <c:min val="0.286419753086419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2515969293638136</c:v>
                </c:pt>
                <c:pt idx="1">
                  <c:v>2.521767333553105</c:v>
                </c:pt>
                <c:pt idx="2">
                  <c:v>2.616815629246203</c:v>
                </c:pt>
                <c:pt idx="3">
                  <c:v>2.6457204749102705</c:v>
                </c:pt>
                <c:pt idx="4">
                  <c:v>2.7017649835771866</c:v>
                </c:pt>
                <c:pt idx="5">
                  <c:v>2.133733302044268</c:v>
                </c:pt>
                <c:pt idx="6">
                  <c:v>1.8199517964603935</c:v>
                </c:pt>
                <c:pt idx="7">
                  <c:v>1.806073560640009</c:v>
                </c:pt>
                <c:pt idx="8">
                  <c:v>1.794122185452664</c:v>
                </c:pt>
                <c:pt idx="9">
                  <c:v>1.8339391443025674</c:v>
                </c:pt>
                <c:pt idx="10">
                  <c:v>1.7277260651048767</c:v>
                </c:pt>
                <c:pt idx="11">
                  <c:v>1.822252002188728</c:v>
                </c:pt>
                <c:pt idx="12">
                  <c:v>1.8584920221335572</c:v>
                </c:pt>
                <c:pt idx="13">
                  <c:v>1.8656460351176143</c:v>
                </c:pt>
                <c:pt idx="14">
                  <c:v>1.7873246354428387</c:v>
                </c:pt>
                <c:pt idx="15">
                  <c:v>1.905451126616093</c:v>
                </c:pt>
                <c:pt idx="16">
                  <c:v>1.8953565128590397</c:v>
                </c:pt>
                <c:pt idx="17">
                  <c:v>2.5003709805324927</c:v>
                </c:pt>
                <c:pt idx="18">
                  <c:v>2.6078533398794943</c:v>
                </c:pt>
                <c:pt idx="19">
                  <c:v>2.4124370149115246</c:v>
                </c:pt>
                <c:pt idx="20">
                  <c:v>2.677084044661981</c:v>
                </c:pt>
                <c:pt idx="21">
                  <c:v>2.662418568946105</c:v>
                </c:pt>
                <c:pt idx="22">
                  <c:v>2.4599994405737284</c:v>
                </c:pt>
                <c:pt idx="23">
                  <c:v>2.535906827410744</c:v>
                </c:pt>
                <c:pt idx="24">
                  <c:v>2.786390070586413</c:v>
                </c:pt>
                <c:pt idx="25">
                  <c:v>2.7960917069556235</c:v>
                </c:pt>
                <c:pt idx="26">
                  <c:v>2.17839853064946</c:v>
                </c:pt>
                <c:pt idx="27">
                  <c:v>2.0650185302451987</c:v>
                </c:pt>
                <c:pt idx="28">
                  <c:v>2.0309991294903127</c:v>
                </c:pt>
                <c:pt idx="29">
                  <c:v>2.0049003595575483</c:v>
                </c:pt>
                <c:pt idx="30">
                  <c:v>1.973056751408947</c:v>
                </c:pt>
                <c:pt idx="31">
                  <c:v>1.8935679846026328</c:v>
                </c:pt>
                <c:pt idx="32">
                  <c:v>1.77076913031384</c:v>
                </c:pt>
                <c:pt idx="33">
                  <c:v>1.6949381330735693</c:v>
                </c:pt>
                <c:pt idx="34">
                  <c:v>1.8153956847690165</c:v>
                </c:pt>
                <c:pt idx="35">
                  <c:v>1.9291779351570544</c:v>
                </c:pt>
                <c:pt idx="36">
                  <c:v>2.1391062323484085</c:v>
                </c:pt>
                <c:pt idx="37">
                  <c:v>2.194677754677755</c:v>
                </c:pt>
                <c:pt idx="38">
                  <c:v>2.3072997668165924</c:v>
                </c:pt>
                <c:pt idx="39">
                  <c:v>2.2802878475675548</c:v>
                </c:pt>
                <c:pt idx="40">
                  <c:v>2.2712317927681243</c:v>
                </c:pt>
                <c:pt idx="41">
                  <c:v>2.4028165253284506</c:v>
                </c:pt>
                <c:pt idx="42">
                  <c:v>2.4091943247853944</c:v>
                </c:pt>
                <c:pt idx="43">
                  <c:v>2.427447096528976</c:v>
                </c:pt>
                <c:pt idx="44">
                  <c:v>2.3025684504793453</c:v>
                </c:pt>
                <c:pt idx="45">
                  <c:v>2.247299271837083</c:v>
                </c:pt>
                <c:pt idx="46">
                  <c:v>2.242558459841735</c:v>
                </c:pt>
                <c:pt idx="47">
                  <c:v>2.241718057572097</c:v>
                </c:pt>
                <c:pt idx="48">
                  <c:v>2.2246898605689425</c:v>
                </c:pt>
                <c:pt idx="49">
                  <c:v>2.156028104513277</c:v>
                </c:pt>
                <c:pt idx="50">
                  <c:v>2.140119964427718</c:v>
                </c:pt>
                <c:pt idx="51">
                  <c:v>2.1964714281343385</c:v>
                </c:pt>
                <c:pt idx="52">
                  <c:v>2.231939923465013</c:v>
                </c:pt>
                <c:pt idx="53">
                  <c:v>2.4097644688786453</c:v>
                </c:pt>
                <c:pt idx="54">
                  <c:v>2.4687442861377455</c:v>
                </c:pt>
                <c:pt idx="55">
                  <c:v>2.5405007414911904</c:v>
                </c:pt>
                <c:pt idx="56">
                  <c:v>2.614530939300797</c:v>
                </c:pt>
                <c:pt idx="57">
                  <c:v>2.502527489177489</c:v>
                </c:pt>
                <c:pt idx="58">
                  <c:v>2.324314220270517</c:v>
                </c:pt>
                <c:pt idx="59">
                  <c:v>2.464793097943231</c:v>
                </c:pt>
                <c:pt idx="60">
                  <c:v>2.5011459693370273</c:v>
                </c:pt>
                <c:pt idx="61">
                  <c:v>2.4480076608421193</c:v>
                </c:pt>
                <c:pt idx="62">
                  <c:v>2.308337565937619</c:v>
                </c:pt>
                <c:pt idx="63">
                  <c:v>2.398308635114961</c:v>
                </c:pt>
                <c:pt idx="64">
                  <c:v>2.3725655473768748</c:v>
                </c:pt>
                <c:pt idx="65">
                  <c:v>2.330498354604995</c:v>
                </c:pt>
                <c:pt idx="66">
                  <c:v>2.3751587479633183</c:v>
                </c:pt>
                <c:pt idx="67">
                  <c:v>2.4000476741394725</c:v>
                </c:pt>
                <c:pt idx="68">
                  <c:v>2.4418734191986595</c:v>
                </c:pt>
                <c:pt idx="69">
                  <c:v>2.488206149595144</c:v>
                </c:pt>
                <c:pt idx="70">
                  <c:v>2.4523510856206476</c:v>
                </c:pt>
                <c:pt idx="71">
                  <c:v>2.6476712548131562</c:v>
                </c:pt>
                <c:pt idx="72">
                  <c:v>2.860421660531573</c:v>
                </c:pt>
                <c:pt idx="73">
                  <c:v>2.682326444193968</c:v>
                </c:pt>
                <c:pt idx="74">
                  <c:v>2.713796173376912</c:v>
                </c:pt>
                <c:pt idx="75">
                  <c:v>2.595271475228889</c:v>
                </c:pt>
                <c:pt idx="76">
                  <c:v>2.8307280487601467</c:v>
                </c:pt>
                <c:pt idx="77">
                  <c:v>2.8635197997882025</c:v>
                </c:pt>
                <c:pt idx="78">
                  <c:v>2.9725359577671155</c:v>
                </c:pt>
                <c:pt idx="79">
                  <c:v>2.9403119067547676</c:v>
                </c:pt>
                <c:pt idx="80">
                  <c:v>2.86570954600777</c:v>
                </c:pt>
                <c:pt idx="81">
                  <c:v>2.784217720419899</c:v>
                </c:pt>
                <c:pt idx="82">
                  <c:v>2.8397303999720576</c:v>
                </c:pt>
                <c:pt idx="83">
                  <c:v>2.718664196481565</c:v>
                </c:pt>
                <c:pt idx="84">
                  <c:v>2.8016120454545455</c:v>
                </c:pt>
                <c:pt idx="85">
                  <c:v>2.596132419829634</c:v>
                </c:pt>
                <c:pt idx="86">
                  <c:v>2.591985977807668</c:v>
                </c:pt>
                <c:pt idx="87">
                  <c:v>2.6338978430876687</c:v>
                </c:pt>
                <c:pt idx="88">
                  <c:v>2.691834913885796</c:v>
                </c:pt>
                <c:pt idx="89">
                  <c:v>2.680900411578166</c:v>
                </c:pt>
                <c:pt idx="90">
                  <c:v>2.7969841090017975</c:v>
                </c:pt>
                <c:pt idx="91">
                  <c:v>2.848442491969701</c:v>
                </c:pt>
                <c:pt idx="92">
                  <c:v>2.6232514558236915</c:v>
                </c:pt>
                <c:pt idx="93">
                  <c:v>2.345895448818421</c:v>
                </c:pt>
                <c:pt idx="94">
                  <c:v>2.3017187076585035</c:v>
                </c:pt>
                <c:pt idx="95">
                  <c:v>2.1771153131591703</c:v>
                </c:pt>
                <c:pt idx="96">
                  <c:v>2.0799320006980624</c:v>
                </c:pt>
                <c:pt idx="97">
                  <c:v>2.0730590767519548</c:v>
                </c:pt>
                <c:pt idx="98">
                  <c:v>2.1541354274856745</c:v>
                </c:pt>
                <c:pt idx="99">
                  <c:v>2.4569557970213443</c:v>
                </c:pt>
                <c:pt idx="100">
                  <c:v>2.10046189505224</c:v>
                </c:pt>
                <c:pt idx="101">
                  <c:v>1.8321421856563065</c:v>
                </c:pt>
                <c:pt idx="102">
                  <c:v>1.8055582230648382</c:v>
                </c:pt>
                <c:pt idx="103">
                  <c:v>1.826198558382373</c:v>
                </c:pt>
                <c:pt idx="104">
                  <c:v>1.8789098405360976</c:v>
                </c:pt>
              </c:numCache>
            </c:numRef>
          </c:xVal>
          <c:yVal>
            <c:numRef>
              <c:f>Sheet1!$B$2:$B$106</c:f>
              <c:numCache>
                <c:formatCode>General</c:formatCode>
                <c:ptCount val="105"/>
                <c:pt idx="0">
                  <c:v>0.19854178351093663</c:v>
                </c:pt>
                <c:pt idx="1">
                  <c:v>0.20333442301405688</c:v>
                </c:pt>
                <c:pt idx="2">
                  <c:v>0.1962503779860901</c:v>
                </c:pt>
                <c:pt idx="3">
                  <c:v>0.20410742496050552</c:v>
                </c:pt>
                <c:pt idx="4">
                  <c:v>0.19811676082862523</c:v>
                </c:pt>
                <c:pt idx="5">
                  <c:v>0.21595487510072522</c:v>
                </c:pt>
                <c:pt idx="6">
                  <c:v>0.2604712041884817</c:v>
                </c:pt>
                <c:pt idx="7">
                  <c:v>0.26794520547945205</c:v>
                </c:pt>
                <c:pt idx="8">
                  <c:v>0.272552783109405</c:v>
                </c:pt>
                <c:pt idx="9">
                  <c:v>0.24609375</c:v>
                </c:pt>
                <c:pt idx="10">
                  <c:v>0.24826522744795682</c:v>
                </c:pt>
                <c:pt idx="11">
                  <c:v>0.22420480993017844</c:v>
                </c:pt>
                <c:pt idx="12">
                  <c:v>0.21013763007720712</c:v>
                </c:pt>
                <c:pt idx="13">
                  <c:v>0.19766340385222608</c:v>
                </c:pt>
                <c:pt idx="14">
                  <c:v>0.19810795770728992</c:v>
                </c:pt>
                <c:pt idx="15">
                  <c:v>0.15802297250261052</c:v>
                </c:pt>
                <c:pt idx="16">
                  <c:v>0.14888232813159005</c:v>
                </c:pt>
                <c:pt idx="17">
                  <c:v>0.12521739130434784</c:v>
                </c:pt>
                <c:pt idx="18">
                  <c:v>0.12168486739469579</c:v>
                </c:pt>
                <c:pt idx="19">
                  <c:v>0.13280212483399734</c:v>
                </c:pt>
                <c:pt idx="20">
                  <c:v>0.13043478260869565</c:v>
                </c:pt>
                <c:pt idx="21">
                  <c:v>0.14209320091673033</c:v>
                </c:pt>
                <c:pt idx="22">
                  <c:v>0.1934623082054703</c:v>
                </c:pt>
                <c:pt idx="23">
                  <c:v>0.18252933507170796</c:v>
                </c:pt>
                <c:pt idx="24">
                  <c:v>0.19388343912290826</c:v>
                </c:pt>
                <c:pt idx="25">
                  <c:v>0.20525224602626124</c:v>
                </c:pt>
                <c:pt idx="26">
                  <c:v>0.23213156230234028</c:v>
                </c:pt>
                <c:pt idx="27">
                  <c:v>0.22967812329514456</c:v>
                </c:pt>
                <c:pt idx="28">
                  <c:v>0.22340425531914893</c:v>
                </c:pt>
                <c:pt idx="29">
                  <c:v>0.21849809079338142</c:v>
                </c:pt>
                <c:pt idx="30">
                  <c:v>0.22941176470588234</c:v>
                </c:pt>
                <c:pt idx="31">
                  <c:v>0.2369589345172031</c:v>
                </c:pt>
                <c:pt idx="32">
                  <c:v>0.2586109542631282</c:v>
                </c:pt>
                <c:pt idx="33">
                  <c:v>0.26800804828973845</c:v>
                </c:pt>
                <c:pt idx="34">
                  <c:v>0.24012345679012345</c:v>
                </c:pt>
                <c:pt idx="35">
                  <c:v>0.2445380363253488</c:v>
                </c:pt>
                <c:pt idx="36">
                  <c:v>0.20216466950135292</c:v>
                </c:pt>
                <c:pt idx="37">
                  <c:v>0.20642648490749757</c:v>
                </c:pt>
                <c:pt idx="38">
                  <c:v>0.1907114624505929</c:v>
                </c:pt>
                <c:pt idx="39">
                  <c:v>0.18673817649926866</c:v>
                </c:pt>
                <c:pt idx="40">
                  <c:v>0.2025129342202513</c:v>
                </c:pt>
                <c:pt idx="41">
                  <c:v>0.18274111675126903</c:v>
                </c:pt>
                <c:pt idx="42">
                  <c:v>0.1794871794871795</c:v>
                </c:pt>
                <c:pt idx="43">
                  <c:v>0.170367673825992</c:v>
                </c:pt>
                <c:pt idx="44">
                  <c:v>0.18146805618486633</c:v>
                </c:pt>
                <c:pt idx="45">
                  <c:v>0.19034453424074863</c:v>
                </c:pt>
                <c:pt idx="46">
                  <c:v>0.20164770498234602</c:v>
                </c:pt>
                <c:pt idx="47">
                  <c:v>0.1782608695652174</c:v>
                </c:pt>
                <c:pt idx="48">
                  <c:v>0.18634276403495778</c:v>
                </c:pt>
                <c:pt idx="49">
                  <c:v>0.19776009431181846</c:v>
                </c:pt>
                <c:pt idx="50">
                  <c:v>0.19226614819615467</c:v>
                </c:pt>
                <c:pt idx="51">
                  <c:v>0.18242830994508846</c:v>
                </c:pt>
                <c:pt idx="52">
                  <c:v>0.1821917808219178</c:v>
                </c:pt>
                <c:pt idx="53">
                  <c:v>0.17337740384615385</c:v>
                </c:pt>
                <c:pt idx="54">
                  <c:v>0.1758393907926618</c:v>
                </c:pt>
                <c:pt idx="55">
                  <c:v>0.17186392629340894</c:v>
                </c:pt>
                <c:pt idx="56">
                  <c:v>0.16965352449223417</c:v>
                </c:pt>
                <c:pt idx="57">
                  <c:v>0.1754816112084063</c:v>
                </c:pt>
                <c:pt idx="58">
                  <c:v>0.20682170542635658</c:v>
                </c:pt>
                <c:pt idx="59">
                  <c:v>0.19413270328804882</c:v>
                </c:pt>
                <c:pt idx="60">
                  <c:v>0.20296465222348917</c:v>
                </c:pt>
                <c:pt idx="61">
                  <c:v>0.19319727891156463</c:v>
                </c:pt>
                <c:pt idx="62">
                  <c:v>0.21393939393939393</c:v>
                </c:pt>
                <c:pt idx="63">
                  <c:v>0.22735242548217416</c:v>
                </c:pt>
                <c:pt idx="64">
                  <c:v>0.208688906128782</c:v>
                </c:pt>
                <c:pt idx="65">
                  <c:v>0.18285260650965865</c:v>
                </c:pt>
                <c:pt idx="66">
                  <c:v>0.1830631637786473</c:v>
                </c:pt>
                <c:pt idx="67">
                  <c:v>0.1652707984366276</c:v>
                </c:pt>
                <c:pt idx="68">
                  <c:v>0.15337423312883436</c:v>
                </c:pt>
                <c:pt idx="69">
                  <c:v>0.14543114543114544</c:v>
                </c:pt>
                <c:pt idx="70">
                  <c:v>0.1516072980017376</c:v>
                </c:pt>
                <c:pt idx="71">
                  <c:v>0.15602094240837697</c:v>
                </c:pt>
                <c:pt idx="72">
                  <c:v>0.1565059144676979</c:v>
                </c:pt>
                <c:pt idx="73">
                  <c:v>0.16132315521628499</c:v>
                </c:pt>
                <c:pt idx="74">
                  <c:v>0.1587944219523167</c:v>
                </c:pt>
                <c:pt idx="75">
                  <c:v>0.18599562363238512</c:v>
                </c:pt>
                <c:pt idx="76">
                  <c:v>0.17323369565217392</c:v>
                </c:pt>
                <c:pt idx="77">
                  <c:v>0.16676453317674692</c:v>
                </c:pt>
                <c:pt idx="78">
                  <c:v>0.16757599376461418</c:v>
                </c:pt>
                <c:pt idx="79">
                  <c:v>0.13617677286742036</c:v>
                </c:pt>
                <c:pt idx="80">
                  <c:v>0.12361111111111112</c:v>
                </c:pt>
                <c:pt idx="81">
                  <c:v>0.15095986038394416</c:v>
                </c:pt>
                <c:pt idx="82">
                  <c:v>0.15298507462686567</c:v>
                </c:pt>
                <c:pt idx="83">
                  <c:v>0.1600831600831601</c:v>
                </c:pt>
                <c:pt idx="84">
                  <c:v>0.1534820824881677</c:v>
                </c:pt>
                <c:pt idx="85">
                  <c:v>0.17718446601941748</c:v>
                </c:pt>
                <c:pt idx="86">
                  <c:v>0.19043552519214346</c:v>
                </c:pt>
                <c:pt idx="87">
                  <c:v>0.1905697445972495</c:v>
                </c:pt>
                <c:pt idx="88">
                  <c:v>0.19413716814159293</c:v>
                </c:pt>
                <c:pt idx="89">
                  <c:v>0.1980952380952381</c:v>
                </c:pt>
                <c:pt idx="90">
                  <c:v>0.17758726270667483</c:v>
                </c:pt>
                <c:pt idx="91">
                  <c:v>0.16774573278399058</c:v>
                </c:pt>
                <c:pt idx="92">
                  <c:v>0.18250235183443086</c:v>
                </c:pt>
                <c:pt idx="93">
                  <c:v>0.1791179117911791</c:v>
                </c:pt>
                <c:pt idx="94">
                  <c:v>0.1787974683544304</c:v>
                </c:pt>
                <c:pt idx="95">
                  <c:v>0.1845444059976932</c:v>
                </c:pt>
                <c:pt idx="96">
                  <c:v>0.1895994028365265</c:v>
                </c:pt>
                <c:pt idx="97">
                  <c:v>0.19345099860659545</c:v>
                </c:pt>
                <c:pt idx="98">
                  <c:v>0.1919798527702441</c:v>
                </c:pt>
                <c:pt idx="99">
                  <c:v>0.18596372266485844</c:v>
                </c:pt>
                <c:pt idx="100">
                  <c:v>0.1896082376612617</c:v>
                </c:pt>
                <c:pt idx="101">
                  <c:v>0.20064171122994653</c:v>
                </c:pt>
                <c:pt idx="102">
                  <c:v>0.1864631718646317</c:v>
                </c:pt>
                <c:pt idx="103">
                  <c:v>0.18143203883495146</c:v>
                </c:pt>
                <c:pt idx="104">
                  <c:v>0.1822878228782287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086266977564305</c:v>
                </c:pt>
                <c:pt idx="1">
                  <c:v>1.831725957828176</c:v>
                </c:pt>
                <c:pt idx="2">
                  <c:v>1.7834241614628086</c:v>
                </c:pt>
                <c:pt idx="3">
                  <c:v>1.6919960046758373</c:v>
                </c:pt>
                <c:pt idx="4">
                  <c:v>1.6998079693089647</c:v>
                </c:pt>
                <c:pt idx="5">
                  <c:v>1.6748395302735937</c:v>
                </c:pt>
                <c:pt idx="6">
                  <c:v>1.6341029529983642</c:v>
                </c:pt>
                <c:pt idx="7">
                  <c:v>1.5708647564390088</c:v>
                </c:pt>
                <c:pt idx="8">
                  <c:v>1.598729291158562</c:v>
                </c:pt>
                <c:pt idx="9">
                  <c:v>1.6385251276247148</c:v>
                </c:pt>
                <c:pt idx="10">
                  <c:v>1.618618509980762</c:v>
                </c:pt>
                <c:pt idx="11">
                  <c:v>1.7509738307738123</c:v>
                </c:pt>
                <c:pt idx="12">
                  <c:v>1.8167819340875824</c:v>
                </c:pt>
                <c:pt idx="13">
                  <c:v>1.6390395806321663</c:v>
                </c:pt>
                <c:pt idx="14">
                  <c:v>1.5814975192981358</c:v>
                </c:pt>
                <c:pt idx="15">
                  <c:v>1.7542315503399497</c:v>
                </c:pt>
                <c:pt idx="16">
                  <c:v>1.651080758673832</c:v>
                </c:pt>
                <c:pt idx="17">
                  <c:v>1.762180134732856</c:v>
                </c:pt>
                <c:pt idx="18">
                  <c:v>1.560068742881179</c:v>
                </c:pt>
                <c:pt idx="19">
                  <c:v>1.8160205442077844</c:v>
                </c:pt>
                <c:pt idx="20">
                  <c:v>1.76756600242011</c:v>
                </c:pt>
                <c:pt idx="21">
                  <c:v>1.5846361606837138</c:v>
                </c:pt>
                <c:pt idx="22">
                  <c:v>1.6811171326464664</c:v>
                </c:pt>
                <c:pt idx="23">
                  <c:v>1.6500457578392405</c:v>
                </c:pt>
                <c:pt idx="24">
                  <c:v>1.6431216233883434</c:v>
                </c:pt>
                <c:pt idx="25">
                  <c:v>1.7097321969461368</c:v>
                </c:pt>
                <c:pt idx="26">
                  <c:v>1.673813871141133</c:v>
                </c:pt>
                <c:pt idx="27">
                  <c:v>1.6464572109228008</c:v>
                </c:pt>
                <c:pt idx="28">
                  <c:v>1.7104201062750406</c:v>
                </c:pt>
                <c:pt idx="29">
                  <c:v>1.6247638505847513</c:v>
                </c:pt>
                <c:pt idx="30">
                  <c:v>1.6528401649277895</c:v>
                </c:pt>
                <c:pt idx="31">
                  <c:v>1.5850076083993938</c:v>
                </c:pt>
                <c:pt idx="32">
                  <c:v>1.6471172649685089</c:v>
                </c:pt>
                <c:pt idx="33">
                  <c:v>1.6347309986809297</c:v>
                </c:pt>
                <c:pt idx="34">
                  <c:v>1.7095358940640095</c:v>
                </c:pt>
                <c:pt idx="35">
                  <c:v>1.7154688476816318</c:v>
                </c:pt>
                <c:pt idx="36">
                  <c:v>1.7155231849180934</c:v>
                </c:pt>
                <c:pt idx="37">
                  <c:v>1.7464305620656386</c:v>
                </c:pt>
                <c:pt idx="38">
                  <c:v>1.7957667863249442</c:v>
                </c:pt>
                <c:pt idx="39">
                  <c:v>1.7992931906158462</c:v>
                </c:pt>
                <c:pt idx="40">
                  <c:v>1.7034848509200071</c:v>
                </c:pt>
                <c:pt idx="41">
                  <c:v>1.7783399159729152</c:v>
                </c:pt>
                <c:pt idx="42">
                  <c:v>1.7725649122392044</c:v>
                </c:pt>
                <c:pt idx="43">
                  <c:v>1.8067868744321847</c:v>
                </c:pt>
                <c:pt idx="44">
                  <c:v>1.7252005685547531</c:v>
                </c:pt>
                <c:pt idx="45">
                  <c:v>1.7416016970600228</c:v>
                </c:pt>
                <c:pt idx="46">
                  <c:v>1.7368615134915333</c:v>
                </c:pt>
                <c:pt idx="47">
                  <c:v>1.7342614519354478</c:v>
                </c:pt>
                <c:pt idx="48">
                  <c:v>1.671633946132103</c:v>
                </c:pt>
                <c:pt idx="49">
                  <c:v>1.7890507479932254</c:v>
                </c:pt>
                <c:pt idx="50">
                  <c:v>1.7841007531996944</c:v>
                </c:pt>
                <c:pt idx="51">
                  <c:v>1.8178641102416895</c:v>
                </c:pt>
              </c:numCache>
            </c:numRef>
          </c:xVal>
          <c:yVal>
            <c:numRef>
              <c:f>Sheet1!$B$109:$B$160</c:f>
              <c:numCache>
                <c:formatCode>General</c:formatCode>
                <c:ptCount val="52"/>
                <c:pt idx="0">
                  <c:v>0.19006131010003227</c:v>
                </c:pt>
                <c:pt idx="1">
                  <c:v>0.18291008922443378</c:v>
                </c:pt>
                <c:pt idx="2">
                  <c:v>0.2015691007845504</c:v>
                </c:pt>
                <c:pt idx="3">
                  <c:v>0.22535211267605634</c:v>
                </c:pt>
                <c:pt idx="4">
                  <c:v>0.21711229946524063</c:v>
                </c:pt>
                <c:pt idx="5">
                  <c:v>0.21114683815648447</c:v>
                </c:pt>
                <c:pt idx="6">
                  <c:v>0.2419648271679806</c:v>
                </c:pt>
                <c:pt idx="7">
                  <c:v>0.24577319587628865</c:v>
                </c:pt>
                <c:pt idx="8">
                  <c:v>0.23313219967087218</c:v>
                </c:pt>
                <c:pt idx="9">
                  <c:v>0.2236144578313253</c:v>
                </c:pt>
                <c:pt idx="10">
                  <c:v>0.23483812129502965</c:v>
                </c:pt>
                <c:pt idx="11">
                  <c:v>0.21885617214043035</c:v>
                </c:pt>
                <c:pt idx="12">
                  <c:v>0.21499339498018494</c:v>
                </c:pt>
                <c:pt idx="13">
                  <c:v>0.21606049693914295</c:v>
                </c:pt>
                <c:pt idx="14">
                  <c:v>0.2248</c:v>
                </c:pt>
                <c:pt idx="15">
                  <c:v>0.20202020202020202</c:v>
                </c:pt>
                <c:pt idx="16">
                  <c:v>0.1946078431372549</c:v>
                </c:pt>
                <c:pt idx="17">
                  <c:v>0.1973753280839895</c:v>
                </c:pt>
                <c:pt idx="18">
                  <c:v>0.205470737913486</c:v>
                </c:pt>
                <c:pt idx="19">
                  <c:v>0.19390243902439025</c:v>
                </c:pt>
                <c:pt idx="20">
                  <c:v>0.1871584699453552</c:v>
                </c:pt>
                <c:pt idx="21">
                  <c:v>0.21871713985278654</c:v>
                </c:pt>
                <c:pt idx="22">
                  <c:v>0.20414507772020726</c:v>
                </c:pt>
                <c:pt idx="23">
                  <c:v>0.20225776105362184</c:v>
                </c:pt>
                <c:pt idx="24">
                  <c:v>0.20046620046620048</c:v>
                </c:pt>
                <c:pt idx="25">
                  <c:v>0.19516129032258064</c:v>
                </c:pt>
                <c:pt idx="26">
                  <c:v>0.1904427266338721</c:v>
                </c:pt>
                <c:pt idx="27">
                  <c:v>0.19082125603864733</c:v>
                </c:pt>
                <c:pt idx="28">
                  <c:v>0.18687872763419483</c:v>
                </c:pt>
                <c:pt idx="29">
                  <c:v>0.20313520574787722</c:v>
                </c:pt>
                <c:pt idx="30">
                  <c:v>0.20286085825747724</c:v>
                </c:pt>
                <c:pt idx="31">
                  <c:v>0.2094376212023271</c:v>
                </c:pt>
                <c:pt idx="32">
                  <c:v>0.18996617812852312</c:v>
                </c:pt>
                <c:pt idx="33">
                  <c:v>0.20049403046521203</c:v>
                </c:pt>
                <c:pt idx="34">
                  <c:v>0.2166466346153846</c:v>
                </c:pt>
                <c:pt idx="35">
                  <c:v>0.1939838025453143</c:v>
                </c:pt>
                <c:pt idx="36">
                  <c:v>0.2157006603081438</c:v>
                </c:pt>
                <c:pt idx="37">
                  <c:v>0.20945083014048532</c:v>
                </c:pt>
                <c:pt idx="38">
                  <c:v>0.20396600566572237</c:v>
                </c:pt>
                <c:pt idx="39">
                  <c:v>0.20968547179231153</c:v>
                </c:pt>
                <c:pt idx="40">
                  <c:v>0.18736017897091722</c:v>
                </c:pt>
                <c:pt idx="41">
                  <c:v>0.1847710330138445</c:v>
                </c:pt>
                <c:pt idx="42">
                  <c:v>0.2007125890736342</c:v>
                </c:pt>
                <c:pt idx="43">
                  <c:v>0.18076764341725135</c:v>
                </c:pt>
                <c:pt idx="44">
                  <c:v>0.17728813559322035</c:v>
                </c:pt>
                <c:pt idx="45">
                  <c:v>0.19551795106334324</c:v>
                </c:pt>
                <c:pt idx="46">
                  <c:v>0.20287683548097094</c:v>
                </c:pt>
                <c:pt idx="47">
                  <c:v>0.2072480181200453</c:v>
                </c:pt>
                <c:pt idx="48">
                  <c:v>0.1984973339796413</c:v>
                </c:pt>
                <c:pt idx="49">
                  <c:v>0.19985842378480415</c:v>
                </c:pt>
                <c:pt idx="50">
                  <c:v>0.21026490066225165</c:v>
                </c:pt>
                <c:pt idx="51">
                  <c:v>0.2011390111312451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044918123838227</c:v>
                </c:pt>
              </c:numCache>
            </c:numRef>
          </c:xVal>
          <c:yVal>
            <c:numRef>
              <c:f>Sheet1!$B$163:$B$164</c:f>
              <c:numCache>
                <c:formatCode>General</c:formatCode>
                <c:ptCount val="2"/>
                <c:pt idx="0">
                  <c:v>0.22414164868647538</c:v>
                </c:pt>
                <c:pt idx="1">
                  <c:v>0.2241416486864753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044918123838227</c:v>
                </c:pt>
                <c:pt idx="1">
                  <c:v>1.5044918123838227</c:v>
                </c:pt>
              </c:numCache>
            </c:numRef>
          </c:xVal>
          <c:yVal>
            <c:numRef>
              <c:f>Sheet1!$B$167:$B$168</c:f>
              <c:numCache>
                <c:formatCode>General</c:formatCode>
                <c:ptCount val="2"/>
                <c:pt idx="0">
                  <c:v>0.224141648686475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832299993843577</c:v>
                </c:pt>
              </c:numCache>
            </c:numRef>
          </c:xVal>
          <c:yVal>
            <c:numRef>
              <c:f>Sheet1!$B$171:$B$172</c:f>
              <c:numCache>
                <c:formatCode>General</c:formatCode>
                <c:ptCount val="2"/>
                <c:pt idx="0">
                  <c:v>0.21655799701354883</c:v>
                </c:pt>
                <c:pt idx="1">
                  <c:v>0.216557997013548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832299993843577</c:v>
                </c:pt>
                <c:pt idx="1">
                  <c:v>1.5832299993843577</c:v>
                </c:pt>
              </c:numCache>
            </c:numRef>
          </c:xVal>
          <c:yVal>
            <c:numRef>
              <c:f>Sheet1!$B$175:$B$176</c:f>
              <c:numCache>
                <c:formatCode>General</c:formatCode>
                <c:ptCount val="2"/>
                <c:pt idx="0">
                  <c:v>0.216557997013548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902965635970898</c:v>
                </c:pt>
              </c:numCache>
            </c:numRef>
          </c:xVal>
          <c:yVal>
            <c:numRef>
              <c:f>Sheet1!$B$179:$B$180</c:f>
              <c:numCache>
                <c:formatCode>General</c:formatCode>
                <c:ptCount val="2"/>
                <c:pt idx="0">
                  <c:v>0.19661442508334467</c:v>
                </c:pt>
                <c:pt idx="1">
                  <c:v>0.1966144250833446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902965635970898</c:v>
                </c:pt>
                <c:pt idx="1">
                  <c:v>1.7902965635970898</c:v>
                </c:pt>
              </c:numCache>
            </c:numRef>
          </c:xVal>
          <c:yVal>
            <c:numRef>
              <c:f>Sheet1!$B$183:$B$184</c:f>
              <c:numCache>
                <c:formatCode>General</c:formatCode>
                <c:ptCount val="2"/>
                <c:pt idx="0">
                  <c:v>0.196614425083344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086266977564305</c:v>
                </c:pt>
                <c:pt idx="1">
                  <c:v>1.831725957828176</c:v>
                </c:pt>
                <c:pt idx="2">
                  <c:v>1.7834241614628086</c:v>
                </c:pt>
                <c:pt idx="3">
                  <c:v>1.6919960046758373</c:v>
                </c:pt>
                <c:pt idx="4">
                  <c:v>1.6998079693089647</c:v>
                </c:pt>
                <c:pt idx="5">
                  <c:v>1.6748395302735937</c:v>
                </c:pt>
                <c:pt idx="6">
                  <c:v>1.6341029529983642</c:v>
                </c:pt>
                <c:pt idx="7">
                  <c:v>1.5708647564390088</c:v>
                </c:pt>
                <c:pt idx="8">
                  <c:v>1.598729291158562</c:v>
                </c:pt>
                <c:pt idx="9">
                  <c:v>1.6385251276247148</c:v>
                </c:pt>
                <c:pt idx="10">
                  <c:v>1.618618509980762</c:v>
                </c:pt>
                <c:pt idx="11">
                  <c:v>1.7509738307738123</c:v>
                </c:pt>
                <c:pt idx="12">
                  <c:v>1.8167819340875824</c:v>
                </c:pt>
                <c:pt idx="13">
                  <c:v>1.6390395806321663</c:v>
                </c:pt>
                <c:pt idx="14">
                  <c:v>1.5814975192981358</c:v>
                </c:pt>
                <c:pt idx="15">
                  <c:v>1.7542315503399497</c:v>
                </c:pt>
                <c:pt idx="16">
                  <c:v>1.651080758673832</c:v>
                </c:pt>
                <c:pt idx="17">
                  <c:v>1.762180134732856</c:v>
                </c:pt>
                <c:pt idx="18">
                  <c:v>1.560068742881179</c:v>
                </c:pt>
                <c:pt idx="19">
                  <c:v>1.8160205442077844</c:v>
                </c:pt>
                <c:pt idx="20">
                  <c:v>1.76756600242011</c:v>
                </c:pt>
                <c:pt idx="21">
                  <c:v>1.5846361606837138</c:v>
                </c:pt>
                <c:pt idx="22">
                  <c:v>1.6811171326464664</c:v>
                </c:pt>
                <c:pt idx="23">
                  <c:v>1.6500457578392405</c:v>
                </c:pt>
                <c:pt idx="24">
                  <c:v>1.6431216233883434</c:v>
                </c:pt>
                <c:pt idx="25">
                  <c:v>1.7097321969461368</c:v>
                </c:pt>
                <c:pt idx="26">
                  <c:v>1.673813871141133</c:v>
                </c:pt>
                <c:pt idx="27">
                  <c:v>1.6464572109228008</c:v>
                </c:pt>
                <c:pt idx="28">
                  <c:v>1.7104201062750406</c:v>
                </c:pt>
                <c:pt idx="29">
                  <c:v>1.6247638505847513</c:v>
                </c:pt>
                <c:pt idx="30">
                  <c:v>1.6528401649277895</c:v>
                </c:pt>
                <c:pt idx="31">
                  <c:v>1.5850076083993938</c:v>
                </c:pt>
                <c:pt idx="32">
                  <c:v>1.6471172649685089</c:v>
                </c:pt>
                <c:pt idx="33">
                  <c:v>1.6347309986809297</c:v>
                </c:pt>
                <c:pt idx="34">
                  <c:v>1.7095358940640095</c:v>
                </c:pt>
                <c:pt idx="35">
                  <c:v>1.7154688476816318</c:v>
                </c:pt>
                <c:pt idx="36">
                  <c:v>1.7155231849180934</c:v>
                </c:pt>
                <c:pt idx="37">
                  <c:v>1.7464305620656386</c:v>
                </c:pt>
                <c:pt idx="38">
                  <c:v>1.7957667863249442</c:v>
                </c:pt>
                <c:pt idx="39">
                  <c:v>1.7992931906158462</c:v>
                </c:pt>
                <c:pt idx="40">
                  <c:v>1.7034848509200071</c:v>
                </c:pt>
                <c:pt idx="41">
                  <c:v>1.7783399159729152</c:v>
                </c:pt>
                <c:pt idx="42">
                  <c:v>1.7725649122392044</c:v>
                </c:pt>
                <c:pt idx="43">
                  <c:v>1.8067868744321847</c:v>
                </c:pt>
                <c:pt idx="44">
                  <c:v>1.7252005685547531</c:v>
                </c:pt>
                <c:pt idx="45">
                  <c:v>1.7416016970600228</c:v>
                </c:pt>
                <c:pt idx="46">
                  <c:v>1.7368615134915333</c:v>
                </c:pt>
                <c:pt idx="47">
                  <c:v>1.7342614519354478</c:v>
                </c:pt>
                <c:pt idx="48">
                  <c:v>1.671633946132103</c:v>
                </c:pt>
                <c:pt idx="49">
                  <c:v>1.7890507479932254</c:v>
                </c:pt>
                <c:pt idx="50">
                  <c:v>1.7841007531996944</c:v>
                </c:pt>
                <c:pt idx="51">
                  <c:v>1.8178641102416895</c:v>
                </c:pt>
                <c:pt idx="52">
                  <c:v>1.5832299993843577</c:v>
                </c:pt>
                <c:pt idx="53">
                  <c:v>1.5044918123838227</c:v>
                </c:pt>
                <c:pt idx="54">
                  <c:v>1.7902965635970898</c:v>
                </c:pt>
              </c:numCache>
            </c:numRef>
          </c:xVal>
          <c:yVal>
            <c:numRef>
              <c:f>Sheet1!$B$187:$B$241</c:f>
              <c:numCache>
                <c:formatCode>General</c:formatCode>
                <c:ptCount val="55"/>
                <c:pt idx="0">
                  <c:v>0.19484896212467245</c:v>
                </c:pt>
                <c:pt idx="1">
                  <c:v>0.1926241618217995</c:v>
                </c:pt>
                <c:pt idx="2">
                  <c:v>0.1972763390278747</c:v>
                </c:pt>
                <c:pt idx="3">
                  <c:v>0.20608222243188795</c:v>
                </c:pt>
                <c:pt idx="4">
                  <c:v>0.20532981472584746</c:v>
                </c:pt>
                <c:pt idx="5">
                  <c:v>0.20773464460159338</c:v>
                </c:pt>
                <c:pt idx="6">
                  <c:v>0.211658179345929</c:v>
                </c:pt>
                <c:pt idx="7">
                  <c:v>0.21774895274825481</c:v>
                </c:pt>
                <c:pt idx="8">
                  <c:v>0.21506518603490868</c:v>
                </c:pt>
                <c:pt idx="9">
                  <c:v>0.21123225854078184</c:v>
                </c:pt>
                <c:pt idx="10">
                  <c:v>0.2131495601697468</c:v>
                </c:pt>
                <c:pt idx="11">
                  <c:v>0.20040178570110015</c:v>
                </c:pt>
                <c:pt idx="12">
                  <c:v>0.19406349227831401</c:v>
                </c:pt>
                <c:pt idx="13">
                  <c:v>0.21118270910918807</c:v>
                </c:pt>
                <c:pt idx="14">
                  <c:v>0.21672486046322542</c:v>
                </c:pt>
                <c:pt idx="15">
                  <c:v>0.20008801913650429</c:v>
                </c:pt>
                <c:pt idx="16">
                  <c:v>0.21002296561650305</c:v>
                </c:pt>
                <c:pt idx="17">
                  <c:v>0.19932245292746456</c:v>
                </c:pt>
                <c:pt idx="18">
                  <c:v>0.21878876848948106</c:v>
                </c:pt>
                <c:pt idx="19">
                  <c:v>0.1941368253820549</c:v>
                </c:pt>
                <c:pt idx="20">
                  <c:v>0.19880371423087342</c:v>
                </c:pt>
                <c:pt idx="21">
                  <c:v>0.21642256288817083</c:v>
                </c:pt>
                <c:pt idx="22">
                  <c:v>0.20713001866911313</c:v>
                </c:pt>
                <c:pt idx="23">
                  <c:v>0.2101226515009479</c:v>
                </c:pt>
                <c:pt idx="24">
                  <c:v>0.2107895480325096</c:v>
                </c:pt>
                <c:pt idx="25">
                  <c:v>0.20437396485947154</c:v>
                </c:pt>
                <c:pt idx="26">
                  <c:v>0.20783343074199162</c:v>
                </c:pt>
                <c:pt idx="27">
                  <c:v>0.21046828163116726</c:v>
                </c:pt>
                <c:pt idx="28">
                  <c:v>0.20430770901930434</c:v>
                </c:pt>
                <c:pt idx="29">
                  <c:v>0.21255767300130296</c:v>
                </c:pt>
                <c:pt idx="30">
                  <c:v>0.20985350877872888</c:v>
                </c:pt>
                <c:pt idx="31">
                  <c:v>0.21638678698072708</c:v>
                </c:pt>
                <c:pt idx="32">
                  <c:v>0.21040470866665487</c:v>
                </c:pt>
                <c:pt idx="33">
                  <c:v>0.21159768926007996</c:v>
                </c:pt>
                <c:pt idx="34">
                  <c:v>0.2043928717296594</c:v>
                </c:pt>
                <c:pt idx="35">
                  <c:v>0.20382144056846982</c:v>
                </c:pt>
                <c:pt idx="36">
                  <c:v>0.20381620708913925</c:v>
                </c:pt>
                <c:pt idx="37">
                  <c:v>0.20083936965688848</c:v>
                </c:pt>
                <c:pt idx="38">
                  <c:v>0.19608756174902517</c:v>
                </c:pt>
                <c:pt idx="39">
                  <c:v>0.19574791687251902</c:v>
                </c:pt>
                <c:pt idx="40">
                  <c:v>0.204975676658374</c:v>
                </c:pt>
                <c:pt idx="41">
                  <c:v>0.19776602704691348</c:v>
                </c:pt>
                <c:pt idx="42">
                  <c:v>0.19832224529875125</c:v>
                </c:pt>
                <c:pt idx="43">
                  <c:v>0.19502616431540504</c:v>
                </c:pt>
                <c:pt idx="44">
                  <c:v>0.20288413194997953</c:v>
                </c:pt>
                <c:pt idx="45">
                  <c:v>0.2013044607590995</c:v>
                </c:pt>
                <c:pt idx="46">
                  <c:v>0.20176101052762427</c:v>
                </c:pt>
                <c:pt idx="47">
                  <c:v>0.20201143490137044</c:v>
                </c:pt>
                <c:pt idx="48">
                  <c:v>0.2080433897538936</c:v>
                </c:pt>
                <c:pt idx="49">
                  <c:v>0.19673441554728996</c:v>
                </c:pt>
                <c:pt idx="50">
                  <c:v>0.19721117323916676</c:v>
                </c:pt>
                <c:pt idx="51">
                  <c:v>0.19395926271304045</c:v>
                </c:pt>
                <c:pt idx="52">
                  <c:v>0.21655799701354883</c:v>
                </c:pt>
                <c:pt idx="53">
                  <c:v>0.22414164868647538</c:v>
                </c:pt>
                <c:pt idx="54">
                  <c:v>0.196614425083344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7063339731286"/>
          <c:min val="0.0973478939157566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8983</c:v>
                </c:pt>
                <c:pt idx="1">
                  <c:v>900.365</c:v>
                </c:pt>
                <c:pt idx="2">
                  <c:v>935.0</c:v>
                </c:pt>
                <c:pt idx="3">
                  <c:v>957.5418</c:v>
                </c:pt>
                <c:pt idx="4">
                  <c:v>972.3536</c:v>
                </c:pt>
                <c:pt idx="5">
                  <c:v>963.8116</c:v>
                </c:pt>
                <c:pt idx="6">
                  <c:v>907.3417</c:v>
                </c:pt>
                <c:pt idx="7">
                  <c:v>904.0061</c:v>
                </c:pt>
                <c:pt idx="8">
                  <c:v>896.4484</c:v>
                </c:pt>
                <c:pt idx="9">
                  <c:v>868.2143</c:v>
                </c:pt>
                <c:pt idx="10">
                  <c:v>855.8742</c:v>
                </c:pt>
                <c:pt idx="11">
                  <c:v>915.8183</c:v>
                </c:pt>
                <c:pt idx="12">
                  <c:v>934.3866</c:v>
                </c:pt>
                <c:pt idx="13">
                  <c:v>945.9553</c:v>
                </c:pt>
                <c:pt idx="14">
                  <c:v>914.4691</c:v>
                </c:pt>
                <c:pt idx="15">
                  <c:v>982.1322</c:v>
                </c:pt>
                <c:pt idx="16">
                  <c:v>1004.0907</c:v>
                </c:pt>
                <c:pt idx="17">
                  <c:v>1038.2813</c:v>
                </c:pt>
                <c:pt idx="18">
                  <c:v>1092.0897</c:v>
                </c:pt>
                <c:pt idx="19">
                  <c:v>998.43</c:v>
                </c:pt>
                <c:pt idx="20">
                  <c:v>1113.3682</c:v>
                </c:pt>
                <c:pt idx="21">
                  <c:v>1103.5914</c:v>
                </c:pt>
                <c:pt idx="22">
                  <c:v>1011.3931</c:v>
                </c:pt>
                <c:pt idx="23">
                  <c:v>1019.3643</c:v>
                </c:pt>
                <c:pt idx="24">
                  <c:v>1036.4524</c:v>
                </c:pt>
                <c:pt idx="25">
                  <c:v>1005.2727</c:v>
                </c:pt>
                <c:pt idx="26">
                  <c:v>993.9074</c:v>
                </c:pt>
                <c:pt idx="27">
                  <c:v>1006.0285</c:v>
                </c:pt>
                <c:pt idx="28">
                  <c:v>1017.2381</c:v>
                </c:pt>
                <c:pt idx="29">
                  <c:v>993.0893</c:v>
                </c:pt>
                <c:pt idx="30">
                  <c:v>998.7487</c:v>
                </c:pt>
                <c:pt idx="31">
                  <c:v>977.5433</c:v>
                </c:pt>
                <c:pt idx="32">
                  <c:v>938.321</c:v>
                </c:pt>
                <c:pt idx="33">
                  <c:v>896.7838</c:v>
                </c:pt>
                <c:pt idx="34">
                  <c:v>933.0424</c:v>
                </c:pt>
                <c:pt idx="35">
                  <c:v>971.2809</c:v>
                </c:pt>
                <c:pt idx="36">
                  <c:v>1070.2141</c:v>
                </c:pt>
                <c:pt idx="37">
                  <c:v>1097.8656</c:v>
                </c:pt>
                <c:pt idx="38">
                  <c:v>1143.2435</c:v>
                </c:pt>
                <c:pt idx="39">
                  <c:v>1139.7337</c:v>
                </c:pt>
                <c:pt idx="40">
                  <c:v>1134.354</c:v>
                </c:pt>
                <c:pt idx="41">
                  <c:v>1196.8333</c:v>
                </c:pt>
                <c:pt idx="42">
                  <c:v>1203.779</c:v>
                </c:pt>
                <c:pt idx="43">
                  <c:v>1214.7222</c:v>
                </c:pt>
                <c:pt idx="44">
                  <c:v>1148.5094</c:v>
                </c:pt>
                <c:pt idx="45">
                  <c:v>1115.8369</c:v>
                </c:pt>
                <c:pt idx="46">
                  <c:v>1103.1089</c:v>
                </c:pt>
                <c:pt idx="47">
                  <c:v>1088.1963</c:v>
                </c:pt>
                <c:pt idx="48">
                  <c:v>1093.876</c:v>
                </c:pt>
                <c:pt idx="49">
                  <c:v>1058.8157</c:v>
                </c:pt>
                <c:pt idx="50">
                  <c:v>1058.1393</c:v>
                </c:pt>
                <c:pt idx="51">
                  <c:v>1076.8311</c:v>
                </c:pt>
                <c:pt idx="52">
                  <c:v>1093.2381</c:v>
                </c:pt>
                <c:pt idx="53">
                  <c:v>1183.0329</c:v>
                </c:pt>
                <c:pt idx="54">
                  <c:v>1147.6654</c:v>
                </c:pt>
                <c:pt idx="55">
                  <c:v>1170.5629</c:v>
                </c:pt>
                <c:pt idx="56">
                  <c:v>1188.223</c:v>
                </c:pt>
                <c:pt idx="57">
                  <c:v>1156.1677</c:v>
                </c:pt>
                <c:pt idx="58">
                  <c:v>1078.069</c:v>
                </c:pt>
                <c:pt idx="59">
                  <c:v>1108.5264</c:v>
                </c:pt>
                <c:pt idx="60">
                  <c:v>1131.0022</c:v>
                </c:pt>
                <c:pt idx="61">
                  <c:v>1152.9296</c:v>
                </c:pt>
                <c:pt idx="62">
                  <c:v>1065.2904</c:v>
                </c:pt>
                <c:pt idx="63">
                  <c:v>1101.4242</c:v>
                </c:pt>
                <c:pt idx="64">
                  <c:v>1109.2776</c:v>
                </c:pt>
                <c:pt idx="65">
                  <c:v>1104.2069</c:v>
                </c:pt>
                <c:pt idx="66">
                  <c:v>1127.5603</c:v>
                </c:pt>
                <c:pt idx="67">
                  <c:v>1140.7669</c:v>
                </c:pt>
                <c:pt idx="68">
                  <c:v>1163.4533</c:v>
                </c:pt>
                <c:pt idx="69">
                  <c:v>1218.5487</c:v>
                </c:pt>
                <c:pt idx="70">
                  <c:v>1197.2378</c:v>
                </c:pt>
                <c:pt idx="71">
                  <c:v>1276.4161</c:v>
                </c:pt>
                <c:pt idx="72">
                  <c:v>1355.3576</c:v>
                </c:pt>
                <c:pt idx="73">
                  <c:v>1313.388</c:v>
                </c:pt>
                <c:pt idx="74">
                  <c:v>1307.0907</c:v>
                </c:pt>
                <c:pt idx="75">
                  <c:v>1260.2794</c:v>
                </c:pt>
                <c:pt idx="76">
                  <c:v>1289.8235</c:v>
                </c:pt>
                <c:pt idx="77">
                  <c:v>1256.5563</c:v>
                </c:pt>
                <c:pt idx="78">
                  <c:v>1300.0279</c:v>
                </c:pt>
                <c:pt idx="79">
                  <c:v>1263.2415</c:v>
                </c:pt>
                <c:pt idx="80">
                  <c:v>1275.2247</c:v>
                </c:pt>
                <c:pt idx="81">
                  <c:v>1222.3526</c:v>
                </c:pt>
                <c:pt idx="82">
                  <c:v>1260.1829</c:v>
                </c:pt>
                <c:pt idx="83">
                  <c:v>1222.5368</c:v>
                </c:pt>
                <c:pt idx="84">
                  <c:v>1232.7093</c:v>
                </c:pt>
                <c:pt idx="85">
                  <c:v>1191.3836</c:v>
                </c:pt>
                <c:pt idx="86">
                  <c:v>1204.0314</c:v>
                </c:pt>
                <c:pt idx="87">
                  <c:v>1203.9979</c:v>
                </c:pt>
                <c:pt idx="88">
                  <c:v>1252.9972</c:v>
                </c:pt>
                <c:pt idx="89">
                  <c:v>1239.6891</c:v>
                </c:pt>
                <c:pt idx="90">
                  <c:v>1298.6414</c:v>
                </c:pt>
                <c:pt idx="91">
                  <c:v>1320.3263</c:v>
                </c:pt>
                <c:pt idx="92">
                  <c:v>1256.1959</c:v>
                </c:pt>
                <c:pt idx="93">
                  <c:v>1295.696</c:v>
                </c:pt>
                <c:pt idx="94">
                  <c:v>1285.1239</c:v>
                </c:pt>
                <c:pt idx="95">
                  <c:v>1232.775</c:v>
                </c:pt>
                <c:pt idx="96">
                  <c:v>1178.7218</c:v>
                </c:pt>
                <c:pt idx="97">
                  <c:v>1160.0084</c:v>
                </c:pt>
                <c:pt idx="98">
                  <c:v>1153.781</c:v>
                </c:pt>
                <c:pt idx="99">
                  <c:v>1133.5141</c:v>
                </c:pt>
                <c:pt idx="100">
                  <c:v>1130.0506</c:v>
                </c:pt>
                <c:pt idx="101">
                  <c:v>1130.3731</c:v>
                </c:pt>
                <c:pt idx="102">
                  <c:v>1139.3986</c:v>
                </c:pt>
                <c:pt idx="103">
                  <c:v>1139.612</c:v>
                </c:pt>
                <c:pt idx="104">
                  <c:v>1182.3198</c:v>
                </c:pt>
              </c:numCache>
            </c:numRef>
          </c:xVal>
          <c:yVal>
            <c:numRef>
              <c:f>Sheet1!$B$2:$B$106</c:f>
              <c:numCache>
                <c:formatCode>General</c:formatCode>
                <c:ptCount val="105"/>
                <c:pt idx="0">
                  <c:v>0.19854178351093663</c:v>
                </c:pt>
                <c:pt idx="1">
                  <c:v>0.20333442301405688</c:v>
                </c:pt>
                <c:pt idx="2">
                  <c:v>0.1962503779860901</c:v>
                </c:pt>
                <c:pt idx="3">
                  <c:v>0.20410742496050552</c:v>
                </c:pt>
                <c:pt idx="4">
                  <c:v>0.19811676082862523</c:v>
                </c:pt>
                <c:pt idx="5">
                  <c:v>0.21595487510072522</c:v>
                </c:pt>
                <c:pt idx="6">
                  <c:v>0.2604712041884817</c:v>
                </c:pt>
                <c:pt idx="7">
                  <c:v>0.26794520547945205</c:v>
                </c:pt>
                <c:pt idx="8">
                  <c:v>0.272552783109405</c:v>
                </c:pt>
                <c:pt idx="9">
                  <c:v>0.24609375</c:v>
                </c:pt>
                <c:pt idx="10">
                  <c:v>0.24826522744795682</c:v>
                </c:pt>
                <c:pt idx="11">
                  <c:v>0.22420480993017844</c:v>
                </c:pt>
                <c:pt idx="12">
                  <c:v>0.21013763007720712</c:v>
                </c:pt>
                <c:pt idx="13">
                  <c:v>0.19766340385222608</c:v>
                </c:pt>
                <c:pt idx="14">
                  <c:v>0.19810795770728992</c:v>
                </c:pt>
                <c:pt idx="15">
                  <c:v>0.15802297250261052</c:v>
                </c:pt>
                <c:pt idx="16">
                  <c:v>0.14888232813159005</c:v>
                </c:pt>
                <c:pt idx="17">
                  <c:v>0.12521739130434784</c:v>
                </c:pt>
                <c:pt idx="18">
                  <c:v>0.12168486739469579</c:v>
                </c:pt>
                <c:pt idx="19">
                  <c:v>0.13280212483399734</c:v>
                </c:pt>
                <c:pt idx="20">
                  <c:v>0.13043478260869565</c:v>
                </c:pt>
                <c:pt idx="21">
                  <c:v>0.14209320091673033</c:v>
                </c:pt>
                <c:pt idx="22">
                  <c:v>0.1934623082054703</c:v>
                </c:pt>
                <c:pt idx="23">
                  <c:v>0.18252933507170796</c:v>
                </c:pt>
                <c:pt idx="24">
                  <c:v>0.19388343912290826</c:v>
                </c:pt>
                <c:pt idx="25">
                  <c:v>0.20525224602626124</c:v>
                </c:pt>
                <c:pt idx="26">
                  <c:v>0.23213156230234028</c:v>
                </c:pt>
                <c:pt idx="27">
                  <c:v>0.22967812329514456</c:v>
                </c:pt>
                <c:pt idx="28">
                  <c:v>0.22340425531914893</c:v>
                </c:pt>
                <c:pt idx="29">
                  <c:v>0.21849809079338142</c:v>
                </c:pt>
                <c:pt idx="30">
                  <c:v>0.22941176470588234</c:v>
                </c:pt>
                <c:pt idx="31">
                  <c:v>0.2369589345172031</c:v>
                </c:pt>
                <c:pt idx="32">
                  <c:v>0.2586109542631282</c:v>
                </c:pt>
                <c:pt idx="33">
                  <c:v>0.26800804828973845</c:v>
                </c:pt>
                <c:pt idx="34">
                  <c:v>0.24012345679012345</c:v>
                </c:pt>
                <c:pt idx="35">
                  <c:v>0.2445380363253488</c:v>
                </c:pt>
                <c:pt idx="36">
                  <c:v>0.20216466950135292</c:v>
                </c:pt>
                <c:pt idx="37">
                  <c:v>0.20642648490749757</c:v>
                </c:pt>
                <c:pt idx="38">
                  <c:v>0.1907114624505929</c:v>
                </c:pt>
                <c:pt idx="39">
                  <c:v>0.18673817649926866</c:v>
                </c:pt>
                <c:pt idx="40">
                  <c:v>0.2025129342202513</c:v>
                </c:pt>
                <c:pt idx="41">
                  <c:v>0.18274111675126903</c:v>
                </c:pt>
                <c:pt idx="42">
                  <c:v>0.1794871794871795</c:v>
                </c:pt>
                <c:pt idx="43">
                  <c:v>0.170367673825992</c:v>
                </c:pt>
                <c:pt idx="44">
                  <c:v>0.18146805618486633</c:v>
                </c:pt>
                <c:pt idx="45">
                  <c:v>0.19034453424074863</c:v>
                </c:pt>
                <c:pt idx="46">
                  <c:v>0.20164770498234602</c:v>
                </c:pt>
                <c:pt idx="47">
                  <c:v>0.1782608695652174</c:v>
                </c:pt>
                <c:pt idx="48">
                  <c:v>0.18634276403495778</c:v>
                </c:pt>
                <c:pt idx="49">
                  <c:v>0.19776009431181846</c:v>
                </c:pt>
                <c:pt idx="50">
                  <c:v>0.19226614819615467</c:v>
                </c:pt>
                <c:pt idx="51">
                  <c:v>0.18242830994508846</c:v>
                </c:pt>
                <c:pt idx="52">
                  <c:v>0.1821917808219178</c:v>
                </c:pt>
                <c:pt idx="53">
                  <c:v>0.17337740384615385</c:v>
                </c:pt>
                <c:pt idx="54">
                  <c:v>0.1758393907926618</c:v>
                </c:pt>
                <c:pt idx="55">
                  <c:v>0.17186392629340894</c:v>
                </c:pt>
                <c:pt idx="56">
                  <c:v>0.16965352449223417</c:v>
                </c:pt>
                <c:pt idx="57">
                  <c:v>0.1754816112084063</c:v>
                </c:pt>
                <c:pt idx="58">
                  <c:v>0.20682170542635658</c:v>
                </c:pt>
                <c:pt idx="59">
                  <c:v>0.19413270328804882</c:v>
                </c:pt>
                <c:pt idx="60">
                  <c:v>0.20296465222348917</c:v>
                </c:pt>
                <c:pt idx="61">
                  <c:v>0.19319727891156463</c:v>
                </c:pt>
                <c:pt idx="62">
                  <c:v>0.21393939393939393</c:v>
                </c:pt>
                <c:pt idx="63">
                  <c:v>0.22735242548217416</c:v>
                </c:pt>
                <c:pt idx="64">
                  <c:v>0.208688906128782</c:v>
                </c:pt>
                <c:pt idx="65">
                  <c:v>0.18285260650965865</c:v>
                </c:pt>
                <c:pt idx="66">
                  <c:v>0.1830631637786473</c:v>
                </c:pt>
                <c:pt idx="67">
                  <c:v>0.1652707984366276</c:v>
                </c:pt>
                <c:pt idx="68">
                  <c:v>0.15337423312883436</c:v>
                </c:pt>
                <c:pt idx="69">
                  <c:v>0.14543114543114544</c:v>
                </c:pt>
                <c:pt idx="70">
                  <c:v>0.1516072980017376</c:v>
                </c:pt>
                <c:pt idx="71">
                  <c:v>0.15602094240837697</c:v>
                </c:pt>
                <c:pt idx="72">
                  <c:v>0.1565059144676979</c:v>
                </c:pt>
                <c:pt idx="73">
                  <c:v>0.16132315521628499</c:v>
                </c:pt>
                <c:pt idx="74">
                  <c:v>0.1587944219523167</c:v>
                </c:pt>
                <c:pt idx="75">
                  <c:v>0.18599562363238512</c:v>
                </c:pt>
                <c:pt idx="76">
                  <c:v>0.17323369565217392</c:v>
                </c:pt>
                <c:pt idx="77">
                  <c:v>0.16676453317674692</c:v>
                </c:pt>
                <c:pt idx="78">
                  <c:v>0.16757599376461418</c:v>
                </c:pt>
                <c:pt idx="79">
                  <c:v>0.13617677286742036</c:v>
                </c:pt>
                <c:pt idx="80">
                  <c:v>0.12361111111111112</c:v>
                </c:pt>
                <c:pt idx="81">
                  <c:v>0.15095986038394416</c:v>
                </c:pt>
                <c:pt idx="82">
                  <c:v>0.15298507462686567</c:v>
                </c:pt>
                <c:pt idx="83">
                  <c:v>0.1600831600831601</c:v>
                </c:pt>
                <c:pt idx="84">
                  <c:v>0.1534820824881677</c:v>
                </c:pt>
                <c:pt idx="85">
                  <c:v>0.17718446601941748</c:v>
                </c:pt>
                <c:pt idx="86">
                  <c:v>0.19043552519214346</c:v>
                </c:pt>
                <c:pt idx="87">
                  <c:v>0.1905697445972495</c:v>
                </c:pt>
                <c:pt idx="88">
                  <c:v>0.19413716814159293</c:v>
                </c:pt>
                <c:pt idx="89">
                  <c:v>0.1980952380952381</c:v>
                </c:pt>
                <c:pt idx="90">
                  <c:v>0.17758726270667483</c:v>
                </c:pt>
                <c:pt idx="91">
                  <c:v>0.16774573278399058</c:v>
                </c:pt>
                <c:pt idx="92">
                  <c:v>0.18250235183443086</c:v>
                </c:pt>
                <c:pt idx="93">
                  <c:v>0.1791179117911791</c:v>
                </c:pt>
                <c:pt idx="94">
                  <c:v>0.1787974683544304</c:v>
                </c:pt>
                <c:pt idx="95">
                  <c:v>0.1845444059976932</c:v>
                </c:pt>
                <c:pt idx="96">
                  <c:v>0.1895994028365265</c:v>
                </c:pt>
                <c:pt idx="97">
                  <c:v>0.19345099860659545</c:v>
                </c:pt>
                <c:pt idx="98">
                  <c:v>0.1919798527702441</c:v>
                </c:pt>
                <c:pt idx="99">
                  <c:v>0.18596372266485844</c:v>
                </c:pt>
                <c:pt idx="100">
                  <c:v>0.1896082376612617</c:v>
                </c:pt>
                <c:pt idx="101">
                  <c:v>0.20064171122994653</c:v>
                </c:pt>
                <c:pt idx="102">
                  <c:v>0.1864631718646317</c:v>
                </c:pt>
                <c:pt idx="103">
                  <c:v>0.18143203883495146</c:v>
                </c:pt>
                <c:pt idx="104">
                  <c:v>0.1822878228782287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7997</c:v>
                </c:pt>
                <c:pt idx="1">
                  <c:v>1214.0469</c:v>
                </c:pt>
                <c:pt idx="2">
                  <c:v>1233.9057</c:v>
                </c:pt>
                <c:pt idx="3">
                  <c:v>1195.439</c:v>
                </c:pt>
                <c:pt idx="4">
                  <c:v>1204.2808</c:v>
                </c:pt>
                <c:pt idx="5">
                  <c:v>1236.9797</c:v>
                </c:pt>
                <c:pt idx="6">
                  <c:v>1112.3195</c:v>
                </c:pt>
                <c:pt idx="7">
                  <c:v>1127.7081</c:v>
                </c:pt>
                <c:pt idx="8">
                  <c:v>1199.2588</c:v>
                </c:pt>
                <c:pt idx="9">
                  <c:v>1160.4828</c:v>
                </c:pt>
                <c:pt idx="10">
                  <c:v>1154.3534</c:v>
                </c:pt>
                <c:pt idx="11">
                  <c:v>1036.5175</c:v>
                </c:pt>
                <c:pt idx="12">
                  <c:v>1092.2949</c:v>
                </c:pt>
                <c:pt idx="13">
                  <c:v>1162.0017</c:v>
                </c:pt>
                <c:pt idx="14">
                  <c:v>1125.0</c:v>
                </c:pt>
                <c:pt idx="15">
                  <c:v>1186.1391</c:v>
                </c:pt>
                <c:pt idx="16">
                  <c:v>1196.262</c:v>
                </c:pt>
                <c:pt idx="17">
                  <c:v>1181.6676</c:v>
                </c:pt>
                <c:pt idx="18">
                  <c:v>1117.1022</c:v>
                </c:pt>
                <c:pt idx="19">
                  <c:v>1294.9623</c:v>
                </c:pt>
                <c:pt idx="20">
                  <c:v>1305.7482</c:v>
                </c:pt>
                <c:pt idx="21">
                  <c:v>1156.9904</c:v>
                </c:pt>
                <c:pt idx="22">
                  <c:v>1241.3147</c:v>
                </c:pt>
                <c:pt idx="23">
                  <c:v>1214.1535</c:v>
                </c:pt>
                <c:pt idx="24">
                  <c:v>1241.7287</c:v>
                </c:pt>
                <c:pt idx="25">
                  <c:v>1203.9876</c:v>
                </c:pt>
                <c:pt idx="26">
                  <c:v>1208.2325</c:v>
                </c:pt>
                <c:pt idx="27">
                  <c:v>1207.8038</c:v>
                </c:pt>
                <c:pt idx="28">
                  <c:v>1230.9548</c:v>
                </c:pt>
                <c:pt idx="29">
                  <c:v>1221.328</c:v>
                </c:pt>
                <c:pt idx="30">
                  <c:v>1213.1346</c:v>
                </c:pt>
                <c:pt idx="31">
                  <c:v>1181.0895</c:v>
                </c:pt>
                <c:pt idx="32">
                  <c:v>1252.0356</c:v>
                </c:pt>
                <c:pt idx="33">
                  <c:v>1230.6304</c:v>
                </c:pt>
                <c:pt idx="34">
                  <c:v>1249.9417</c:v>
                </c:pt>
                <c:pt idx="35">
                  <c:v>1314.1193</c:v>
                </c:pt>
                <c:pt idx="36">
                  <c:v>1359.5782</c:v>
                </c:pt>
                <c:pt idx="37">
                  <c:v>1296.2439</c:v>
                </c:pt>
                <c:pt idx="38">
                  <c:v>1362.1771</c:v>
                </c:pt>
                <c:pt idx="39">
                  <c:v>1274.2024</c:v>
                </c:pt>
                <c:pt idx="40">
                  <c:v>1303.6836</c:v>
                </c:pt>
                <c:pt idx="41">
                  <c:v>1350.5101</c:v>
                </c:pt>
                <c:pt idx="42">
                  <c:v>1348.9024</c:v>
                </c:pt>
                <c:pt idx="43">
                  <c:v>1321.3242</c:v>
                </c:pt>
                <c:pt idx="44">
                  <c:v>1244.8164</c:v>
                </c:pt>
                <c:pt idx="45">
                  <c:v>1189.1322</c:v>
                </c:pt>
                <c:pt idx="46">
                  <c:v>1196.8242</c:v>
                </c:pt>
                <c:pt idx="47">
                  <c:v>1169.6298</c:v>
                </c:pt>
                <c:pt idx="48">
                  <c:v>1163.381</c:v>
                </c:pt>
                <c:pt idx="49">
                  <c:v>1194.0826</c:v>
                </c:pt>
                <c:pt idx="50">
                  <c:v>1146.5197</c:v>
                </c:pt>
                <c:pt idx="51">
                  <c:v>1142.2291</c:v>
                </c:pt>
              </c:numCache>
            </c:numRef>
          </c:xVal>
          <c:yVal>
            <c:numRef>
              <c:f>Sheet1!$B$109:$B$160</c:f>
              <c:numCache>
                <c:formatCode>General</c:formatCode>
                <c:ptCount val="52"/>
                <c:pt idx="0">
                  <c:v>0.19006131010003227</c:v>
                </c:pt>
                <c:pt idx="1">
                  <c:v>0.18291008922443378</c:v>
                </c:pt>
                <c:pt idx="2">
                  <c:v>0.2015691007845504</c:v>
                </c:pt>
                <c:pt idx="3">
                  <c:v>0.22535211267605634</c:v>
                </c:pt>
                <c:pt idx="4">
                  <c:v>0.21711229946524063</c:v>
                </c:pt>
                <c:pt idx="5">
                  <c:v>0.21114683815648447</c:v>
                </c:pt>
                <c:pt idx="6">
                  <c:v>0.2419648271679806</c:v>
                </c:pt>
                <c:pt idx="7">
                  <c:v>0.24577319587628865</c:v>
                </c:pt>
                <c:pt idx="8">
                  <c:v>0.23313219967087218</c:v>
                </c:pt>
                <c:pt idx="9">
                  <c:v>0.2236144578313253</c:v>
                </c:pt>
                <c:pt idx="10">
                  <c:v>0.23483812129502965</c:v>
                </c:pt>
                <c:pt idx="11">
                  <c:v>0.21885617214043035</c:v>
                </c:pt>
                <c:pt idx="12">
                  <c:v>0.21499339498018494</c:v>
                </c:pt>
                <c:pt idx="13">
                  <c:v>0.21606049693914295</c:v>
                </c:pt>
                <c:pt idx="14">
                  <c:v>0.2248</c:v>
                </c:pt>
                <c:pt idx="15">
                  <c:v>0.20202020202020202</c:v>
                </c:pt>
                <c:pt idx="16">
                  <c:v>0.1946078431372549</c:v>
                </c:pt>
                <c:pt idx="17">
                  <c:v>0.1973753280839895</c:v>
                </c:pt>
                <c:pt idx="18">
                  <c:v>0.205470737913486</c:v>
                </c:pt>
                <c:pt idx="19">
                  <c:v>0.19390243902439025</c:v>
                </c:pt>
                <c:pt idx="20">
                  <c:v>0.1871584699453552</c:v>
                </c:pt>
                <c:pt idx="21">
                  <c:v>0.21871713985278654</c:v>
                </c:pt>
                <c:pt idx="22">
                  <c:v>0.20414507772020726</c:v>
                </c:pt>
                <c:pt idx="23">
                  <c:v>0.20225776105362184</c:v>
                </c:pt>
                <c:pt idx="24">
                  <c:v>0.20046620046620048</c:v>
                </c:pt>
                <c:pt idx="25">
                  <c:v>0.19516129032258064</c:v>
                </c:pt>
                <c:pt idx="26">
                  <c:v>0.1904427266338721</c:v>
                </c:pt>
                <c:pt idx="27">
                  <c:v>0.19082125603864733</c:v>
                </c:pt>
                <c:pt idx="28">
                  <c:v>0.18687872763419483</c:v>
                </c:pt>
                <c:pt idx="29">
                  <c:v>0.20313520574787722</c:v>
                </c:pt>
                <c:pt idx="30">
                  <c:v>0.20286085825747724</c:v>
                </c:pt>
                <c:pt idx="31">
                  <c:v>0.2094376212023271</c:v>
                </c:pt>
                <c:pt idx="32">
                  <c:v>0.18996617812852312</c:v>
                </c:pt>
                <c:pt idx="33">
                  <c:v>0.20049403046521203</c:v>
                </c:pt>
                <c:pt idx="34">
                  <c:v>0.2166466346153846</c:v>
                </c:pt>
                <c:pt idx="35">
                  <c:v>0.1939838025453143</c:v>
                </c:pt>
                <c:pt idx="36">
                  <c:v>0.2157006603081438</c:v>
                </c:pt>
                <c:pt idx="37">
                  <c:v>0.20945083014048532</c:v>
                </c:pt>
                <c:pt idx="38">
                  <c:v>0.20396600566572237</c:v>
                </c:pt>
                <c:pt idx="39">
                  <c:v>0.20968547179231153</c:v>
                </c:pt>
                <c:pt idx="40">
                  <c:v>0.18736017897091722</c:v>
                </c:pt>
                <c:pt idx="41">
                  <c:v>0.1847710330138445</c:v>
                </c:pt>
                <c:pt idx="42">
                  <c:v>0.2007125890736342</c:v>
                </c:pt>
                <c:pt idx="43">
                  <c:v>0.18076764341725135</c:v>
                </c:pt>
                <c:pt idx="44">
                  <c:v>0.17728813559322035</c:v>
                </c:pt>
                <c:pt idx="45">
                  <c:v>0.19551795106334324</c:v>
                </c:pt>
                <c:pt idx="46">
                  <c:v>0.20287683548097094</c:v>
                </c:pt>
                <c:pt idx="47">
                  <c:v>0.2072480181200453</c:v>
                </c:pt>
                <c:pt idx="48">
                  <c:v>0.1984973339796413</c:v>
                </c:pt>
                <c:pt idx="49">
                  <c:v>0.19985842378480415</c:v>
                </c:pt>
                <c:pt idx="50">
                  <c:v>0.21026490066225165</c:v>
                </c:pt>
                <c:pt idx="51">
                  <c:v>0.2011390111312451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5.1458948930908</c:v>
                </c:pt>
              </c:numCache>
            </c:numRef>
          </c:xVal>
          <c:yVal>
            <c:numRef>
              <c:f>Sheet1!$B$163:$B$164</c:f>
              <c:numCache>
                <c:formatCode>General</c:formatCode>
                <c:ptCount val="2"/>
                <c:pt idx="0">
                  <c:v>0.22414164868647538</c:v>
                </c:pt>
                <c:pt idx="1">
                  <c:v>0.2241416486864753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5.1458948930908</c:v>
                </c:pt>
                <c:pt idx="1">
                  <c:v>1035.1458948930908</c:v>
                </c:pt>
              </c:numCache>
            </c:numRef>
          </c:xVal>
          <c:yVal>
            <c:numRef>
              <c:f>Sheet1!$B$167:$B$168</c:f>
              <c:numCache>
                <c:formatCode>General</c:formatCode>
                <c:ptCount val="2"/>
                <c:pt idx="0">
                  <c:v>0.224141648686475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5.9734425067857</c:v>
                </c:pt>
              </c:numCache>
            </c:numRef>
          </c:xVal>
          <c:yVal>
            <c:numRef>
              <c:f>Sheet1!$B$171:$B$172</c:f>
              <c:numCache>
                <c:formatCode>General</c:formatCode>
                <c:ptCount val="2"/>
                <c:pt idx="0">
                  <c:v>0.21655799701354883</c:v>
                </c:pt>
                <c:pt idx="1">
                  <c:v>0.216557997013548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5.9734425067857</c:v>
                </c:pt>
                <c:pt idx="1">
                  <c:v>1105.9734425067857</c:v>
                </c:pt>
              </c:numCache>
            </c:numRef>
          </c:xVal>
          <c:yVal>
            <c:numRef>
              <c:f>Sheet1!$B$175:$B$176</c:f>
              <c:numCache>
                <c:formatCode>General</c:formatCode>
                <c:ptCount val="2"/>
                <c:pt idx="0">
                  <c:v>0.216557997013548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2.236518844596</c:v>
                </c:pt>
              </c:numCache>
            </c:numRef>
          </c:xVal>
          <c:yVal>
            <c:numRef>
              <c:f>Sheet1!$B$179:$B$180</c:f>
              <c:numCache>
                <c:formatCode>General</c:formatCode>
                <c:ptCount val="2"/>
                <c:pt idx="0">
                  <c:v>0.19661442508334467</c:v>
                </c:pt>
                <c:pt idx="1">
                  <c:v>0.1966144250833446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2.236518844596</c:v>
                </c:pt>
                <c:pt idx="1">
                  <c:v>1292.236518844596</c:v>
                </c:pt>
              </c:numCache>
            </c:numRef>
          </c:xVal>
          <c:yVal>
            <c:numRef>
              <c:f>Sheet1!$B$183:$B$184</c:f>
              <c:numCache>
                <c:formatCode>General</c:formatCode>
                <c:ptCount val="2"/>
                <c:pt idx="0">
                  <c:v>0.196614425083344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7997</c:v>
                </c:pt>
                <c:pt idx="1">
                  <c:v>1214.0469</c:v>
                </c:pt>
                <c:pt idx="2">
                  <c:v>1233.9057</c:v>
                </c:pt>
                <c:pt idx="3">
                  <c:v>1195.439</c:v>
                </c:pt>
                <c:pt idx="4">
                  <c:v>1204.2808</c:v>
                </c:pt>
                <c:pt idx="5">
                  <c:v>1236.9797</c:v>
                </c:pt>
                <c:pt idx="6">
                  <c:v>1112.3195</c:v>
                </c:pt>
                <c:pt idx="7">
                  <c:v>1127.7081</c:v>
                </c:pt>
                <c:pt idx="8">
                  <c:v>1199.2588</c:v>
                </c:pt>
                <c:pt idx="9">
                  <c:v>1160.4828</c:v>
                </c:pt>
                <c:pt idx="10">
                  <c:v>1154.3534</c:v>
                </c:pt>
                <c:pt idx="11">
                  <c:v>1036.5175</c:v>
                </c:pt>
                <c:pt idx="12">
                  <c:v>1092.2949</c:v>
                </c:pt>
                <c:pt idx="13">
                  <c:v>1162.0017</c:v>
                </c:pt>
                <c:pt idx="14">
                  <c:v>1125.0</c:v>
                </c:pt>
                <c:pt idx="15">
                  <c:v>1186.1391</c:v>
                </c:pt>
                <c:pt idx="16">
                  <c:v>1196.262</c:v>
                </c:pt>
                <c:pt idx="17">
                  <c:v>1181.6676</c:v>
                </c:pt>
                <c:pt idx="18">
                  <c:v>1117.1022</c:v>
                </c:pt>
                <c:pt idx="19">
                  <c:v>1294.9623</c:v>
                </c:pt>
                <c:pt idx="20">
                  <c:v>1305.7482</c:v>
                </c:pt>
                <c:pt idx="21">
                  <c:v>1156.9904</c:v>
                </c:pt>
                <c:pt idx="22">
                  <c:v>1241.3147</c:v>
                </c:pt>
                <c:pt idx="23">
                  <c:v>1214.1535</c:v>
                </c:pt>
                <c:pt idx="24">
                  <c:v>1241.7287</c:v>
                </c:pt>
                <c:pt idx="25">
                  <c:v>1203.9876</c:v>
                </c:pt>
                <c:pt idx="26">
                  <c:v>1208.2325</c:v>
                </c:pt>
                <c:pt idx="27">
                  <c:v>1207.8038</c:v>
                </c:pt>
                <c:pt idx="28">
                  <c:v>1230.9548</c:v>
                </c:pt>
                <c:pt idx="29">
                  <c:v>1221.328</c:v>
                </c:pt>
                <c:pt idx="30">
                  <c:v>1213.1346</c:v>
                </c:pt>
                <c:pt idx="31">
                  <c:v>1181.0895</c:v>
                </c:pt>
                <c:pt idx="32">
                  <c:v>1252.0356</c:v>
                </c:pt>
                <c:pt idx="33">
                  <c:v>1230.6304</c:v>
                </c:pt>
                <c:pt idx="34">
                  <c:v>1249.9417</c:v>
                </c:pt>
                <c:pt idx="35">
                  <c:v>1314.1193</c:v>
                </c:pt>
                <c:pt idx="36">
                  <c:v>1359.5782</c:v>
                </c:pt>
                <c:pt idx="37">
                  <c:v>1296.2439</c:v>
                </c:pt>
                <c:pt idx="38">
                  <c:v>1362.1771</c:v>
                </c:pt>
                <c:pt idx="39">
                  <c:v>1274.2024</c:v>
                </c:pt>
                <c:pt idx="40">
                  <c:v>1303.6836</c:v>
                </c:pt>
                <c:pt idx="41">
                  <c:v>1350.5101</c:v>
                </c:pt>
                <c:pt idx="42">
                  <c:v>1348.9024</c:v>
                </c:pt>
                <c:pt idx="43">
                  <c:v>1321.3242</c:v>
                </c:pt>
                <c:pt idx="44">
                  <c:v>1244.8164</c:v>
                </c:pt>
                <c:pt idx="45">
                  <c:v>1189.1322</c:v>
                </c:pt>
                <c:pt idx="46">
                  <c:v>1196.8242</c:v>
                </c:pt>
                <c:pt idx="47">
                  <c:v>1169.6298</c:v>
                </c:pt>
                <c:pt idx="48">
                  <c:v>1163.381</c:v>
                </c:pt>
                <c:pt idx="49">
                  <c:v>1194.0826</c:v>
                </c:pt>
                <c:pt idx="50">
                  <c:v>1146.5197</c:v>
                </c:pt>
                <c:pt idx="51">
                  <c:v>1142.2291</c:v>
                </c:pt>
                <c:pt idx="52">
                  <c:v>1105.9734425067857</c:v>
                </c:pt>
                <c:pt idx="53">
                  <c:v>1035.1458948930908</c:v>
                </c:pt>
                <c:pt idx="54">
                  <c:v>1292.236518844596</c:v>
                </c:pt>
              </c:numCache>
            </c:numRef>
          </c:xVal>
          <c:yVal>
            <c:numRef>
              <c:f>Sheet1!$B$187:$B$241</c:f>
              <c:numCache>
                <c:formatCode>General</c:formatCode>
                <c:ptCount val="55"/>
                <c:pt idx="0">
                  <c:v>0.2043703847476333</c:v>
                </c:pt>
                <c:pt idx="1">
                  <c:v>0.20498634891431547</c:v>
                </c:pt>
                <c:pt idx="2">
                  <c:v>0.20286002622044327</c:v>
                </c:pt>
                <c:pt idx="3">
                  <c:v>0.2069787351640035</c:v>
                </c:pt>
                <c:pt idx="4">
                  <c:v>0.2060320253932883</c:v>
                </c:pt>
                <c:pt idx="5">
                  <c:v>0.20253088669736213</c:v>
                </c:pt>
                <c:pt idx="6">
                  <c:v>0.2158785115429041</c:v>
                </c:pt>
                <c:pt idx="7">
                  <c:v>0.21423082238711816</c:v>
                </c:pt>
                <c:pt idx="8">
                  <c:v>0.2065697412959927</c:v>
                </c:pt>
                <c:pt idx="9">
                  <c:v>0.21072156762878164</c:v>
                </c:pt>
                <c:pt idx="10">
                  <c:v>0.21137785513456347</c:v>
                </c:pt>
                <c:pt idx="11">
                  <c:v>0.22399478809742407</c:v>
                </c:pt>
                <c:pt idx="12">
                  <c:v>0.21802258678489825</c:v>
                </c:pt>
                <c:pt idx="13">
                  <c:v>0.21055893587158972</c:v>
                </c:pt>
                <c:pt idx="14">
                  <c:v>0.21452078424217866</c:v>
                </c:pt>
                <c:pt idx="15">
                  <c:v>0.2079744946469905</c:v>
                </c:pt>
                <c:pt idx="16">
                  <c:v>0.20689061485577456</c:v>
                </c:pt>
                <c:pt idx="17">
                  <c:v>0.20845326737875927</c:v>
                </c:pt>
                <c:pt idx="18">
                  <c:v>0.21536641798498607</c:v>
                </c:pt>
                <c:pt idx="19">
                  <c:v>0.1963225700704907</c:v>
                </c:pt>
                <c:pt idx="20">
                  <c:v>0.1951677015011997</c:v>
                </c:pt>
                <c:pt idx="21">
                  <c:v>0.2110955061032151</c:v>
                </c:pt>
                <c:pt idx="22">
                  <c:v>0.20206672930225592</c:v>
                </c:pt>
                <c:pt idx="23">
                  <c:v>0.20497493503235048</c:v>
                </c:pt>
                <c:pt idx="24">
                  <c:v>0.20202240146798278</c:v>
                </c:pt>
                <c:pt idx="25">
                  <c:v>0.20606341892229527</c:v>
                </c:pt>
                <c:pt idx="26">
                  <c:v>0.2056089087201069</c:v>
                </c:pt>
                <c:pt idx="27">
                  <c:v>0.2056548105137129</c:v>
                </c:pt>
                <c:pt idx="28">
                  <c:v>0.20317598517251226</c:v>
                </c:pt>
                <c:pt idx="29">
                  <c:v>0.20420674651304485</c:v>
                </c:pt>
                <c:pt idx="30">
                  <c:v>0.20508403075781154</c:v>
                </c:pt>
                <c:pt idx="31">
                  <c:v>0.20851516573864645</c:v>
                </c:pt>
                <c:pt idx="32">
                  <c:v>0.20091882041708992</c:v>
                </c:pt>
                <c:pt idx="33">
                  <c:v>0.2032107193498992</c:v>
                </c:pt>
                <c:pt idx="34">
                  <c:v>0.20114301861077225</c:v>
                </c:pt>
                <c:pt idx="35">
                  <c:v>0.19427139055075587</c:v>
                </c:pt>
                <c:pt idx="36">
                  <c:v>0.1894040123250591</c:v>
                </c:pt>
                <c:pt idx="37">
                  <c:v>0.19618534651395825</c:v>
                </c:pt>
                <c:pt idx="38">
                  <c:v>0.18912574273932858</c:v>
                </c:pt>
                <c:pt idx="39">
                  <c:v>0.1985453754007482</c:v>
                </c:pt>
                <c:pt idx="40">
                  <c:v>0.1953887624834226</c:v>
                </c:pt>
                <c:pt idx="41">
                  <c:v>0.19037495250373568</c:v>
                </c:pt>
                <c:pt idx="42">
                  <c:v>0.19054709226016298</c:v>
                </c:pt>
                <c:pt idx="43">
                  <c:v>0.19349994704072104</c:v>
                </c:pt>
                <c:pt idx="44">
                  <c:v>0.20169179505763224</c:v>
                </c:pt>
                <c:pt idx="45">
                  <c:v>0.20765401725384344</c:v>
                </c:pt>
                <c:pt idx="46">
                  <c:v>0.20683041894169643</c:v>
                </c:pt>
                <c:pt idx="47">
                  <c:v>0.20974217946429793</c:v>
                </c:pt>
                <c:pt idx="48">
                  <c:v>0.21041125137445707</c:v>
                </c:pt>
                <c:pt idx="49">
                  <c:v>0.2071239677108829</c:v>
                </c:pt>
                <c:pt idx="50">
                  <c:v>0.212216625558103</c:v>
                </c:pt>
                <c:pt idx="51">
                  <c:v>0.21267602895359156</c:v>
                </c:pt>
                <c:pt idx="52">
                  <c:v>0.21655799701354883</c:v>
                </c:pt>
                <c:pt idx="53">
                  <c:v>0.22414164868647538</c:v>
                </c:pt>
                <c:pt idx="54">
                  <c:v>0.196614425083344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5.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7063339731286"/>
          <c:min val="0.0973478939157566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28521334740551</c:v>
                </c:pt>
                <c:pt idx="1">
                  <c:v>0.6441597751442307</c:v>
                </c:pt>
                <c:pt idx="2">
                  <c:v>0.6662841977905116</c:v>
                </c:pt>
                <c:pt idx="3">
                  <c:v>0.6549259760170727</c:v>
                </c:pt>
                <c:pt idx="4">
                  <c:v>0.6599044105056702</c:v>
                </c:pt>
                <c:pt idx="5">
                  <c:v>0.6807009792739136</c:v>
                </c:pt>
                <c:pt idx="6">
                  <c:v>0.642039828714577</c:v>
                </c:pt>
                <c:pt idx="7">
                  <c:v>0.6302648387807271</c:v>
                </c:pt>
                <c:pt idx="8">
                  <c:v>0.642341712969237</c:v>
                </c:pt>
                <c:pt idx="9">
                  <c:v>0.7086580229434231</c:v>
                </c:pt>
                <c:pt idx="10">
                  <c:v>0.7154756235235566</c:v>
                </c:pt>
                <c:pt idx="11">
                  <c:v>0.7365817357261615</c:v>
                </c:pt>
                <c:pt idx="12">
                  <c:v>0.7594756425203407</c:v>
                </c:pt>
                <c:pt idx="13">
                  <c:v>0.7300612125959861</c:v>
                </c:pt>
                <c:pt idx="14">
                  <c:v>0.7355531760030941</c:v>
                </c:pt>
                <c:pt idx="15">
                  <c:v>0.7451414570373383</c:v>
                </c:pt>
                <c:pt idx="16">
                  <c:v>0.7163815735084186</c:v>
                </c:pt>
                <c:pt idx="17">
                  <c:v>0.7493521272978922</c:v>
                </c:pt>
                <c:pt idx="18">
                  <c:v>0.7694646582976506</c:v>
                </c:pt>
                <c:pt idx="19">
                  <c:v>0.775506787976514</c:v>
                </c:pt>
                <c:pt idx="20">
                  <c:v>0.7977102248105005</c:v>
                </c:pt>
                <c:pt idx="21">
                  <c:v>0.6666800750697562</c:v>
                </c:pt>
                <c:pt idx="22">
                  <c:v>0.6391233817732189</c:v>
                </c:pt>
                <c:pt idx="23">
                  <c:v>0.6255687991161393</c:v>
                </c:pt>
                <c:pt idx="24">
                  <c:v>0.6084380119370498</c:v>
                </c:pt>
                <c:pt idx="25">
                  <c:v>0.5795252134237983</c:v>
                </c:pt>
                <c:pt idx="26">
                  <c:v>0.59331008509751</c:v>
                </c:pt>
                <c:pt idx="27">
                  <c:v>0.6164851575269881</c:v>
                </c:pt>
                <c:pt idx="28">
                  <c:v>0.581347362160445</c:v>
                </c:pt>
                <c:pt idx="29">
                  <c:v>0.490877852437668</c:v>
                </c:pt>
                <c:pt idx="30">
                  <c:v>0.5050087746610598</c:v>
                </c:pt>
                <c:pt idx="31">
                  <c:v>0.5752034468245146</c:v>
                </c:pt>
                <c:pt idx="32">
                  <c:v>0.5201939847223995</c:v>
                </c:pt>
                <c:pt idx="33">
                  <c:v>0.5301235028530431</c:v>
                </c:pt>
                <c:pt idx="34">
                  <c:v>0.6485047405795096</c:v>
                </c:pt>
                <c:pt idx="35">
                  <c:v>0.7448955289664289</c:v>
                </c:pt>
                <c:pt idx="36">
                  <c:v>0.7343154180823654</c:v>
                </c:pt>
                <c:pt idx="37">
                  <c:v>0.7007895783848206</c:v>
                </c:pt>
                <c:pt idx="38">
                  <c:v>0.7610942565476448</c:v>
                </c:pt>
                <c:pt idx="39">
                  <c:v>0.7619482934429285</c:v>
                </c:pt>
                <c:pt idx="40">
                  <c:v>0.7558820948978882</c:v>
                </c:pt>
                <c:pt idx="41">
                  <c:v>0.7193480645308984</c:v>
                </c:pt>
                <c:pt idx="42">
                  <c:v>0.7508858343737214</c:v>
                </c:pt>
                <c:pt idx="43">
                  <c:v>0.7696901944042217</c:v>
                </c:pt>
                <c:pt idx="44">
                  <c:v>0.6751191353036686</c:v>
                </c:pt>
                <c:pt idx="45">
                  <c:v>0.6564245738827003</c:v>
                </c:pt>
                <c:pt idx="46">
                  <c:v>0.6622344230050231</c:v>
                </c:pt>
                <c:pt idx="47">
                  <c:v>0.656337913277521</c:v>
                </c:pt>
                <c:pt idx="48">
                  <c:v>0.6632756155471549</c:v>
                </c:pt>
                <c:pt idx="49">
                  <c:v>0.6794370314825402</c:v>
                </c:pt>
                <c:pt idx="50">
                  <c:v>0.6418695306696175</c:v>
                </c:pt>
                <c:pt idx="51">
                  <c:v>0.6240976223322242</c:v>
                </c:pt>
                <c:pt idx="52">
                  <c:v>0.6550592586396378</c:v>
                </c:pt>
                <c:pt idx="53">
                  <c:v>0.5983540900005315</c:v>
                </c:pt>
                <c:pt idx="54">
                  <c:v>0.5951316472340343</c:v>
                </c:pt>
                <c:pt idx="55">
                  <c:v>0.6104469678055803</c:v>
                </c:pt>
                <c:pt idx="56">
                  <c:v>0.6218933531000989</c:v>
                </c:pt>
                <c:pt idx="57">
                  <c:v>0.6082877883416685</c:v>
                </c:pt>
                <c:pt idx="58">
                  <c:v>0.5902221186537909</c:v>
                </c:pt>
                <c:pt idx="59">
                  <c:v>0.6062688222621153</c:v>
                </c:pt>
                <c:pt idx="60">
                  <c:v>0.6054818991068552</c:v>
                </c:pt>
                <c:pt idx="61">
                  <c:v>0.652109587697262</c:v>
                </c:pt>
                <c:pt idx="62">
                  <c:v>0.6751494200988037</c:v>
                </c:pt>
                <c:pt idx="63">
                  <c:v>0.6845910219328745</c:v>
                </c:pt>
                <c:pt idx="64">
                  <c:v>0.7430929066041407</c:v>
                </c:pt>
                <c:pt idx="65">
                  <c:v>0.742216164636505</c:v>
                </c:pt>
                <c:pt idx="66">
                  <c:v>0.674612191773735</c:v>
                </c:pt>
                <c:pt idx="67">
                  <c:v>0.5970842073015413</c:v>
                </c:pt>
                <c:pt idx="68">
                  <c:v>0.5584107917455099</c:v>
                </c:pt>
                <c:pt idx="69">
                  <c:v>0.5991393315336845</c:v>
                </c:pt>
                <c:pt idx="70">
                  <c:v>0.561237803371795</c:v>
                </c:pt>
                <c:pt idx="71">
                  <c:v>0.49468853515060274</c:v>
                </c:pt>
                <c:pt idx="72">
                  <c:v>0.5330787275862383</c:v>
                </c:pt>
                <c:pt idx="73">
                  <c:v>0.5215071785873608</c:v>
                </c:pt>
                <c:pt idx="74">
                  <c:v>0.5151650693954045</c:v>
                </c:pt>
                <c:pt idx="75">
                  <c:v>0.48600348630025086</c:v>
                </c:pt>
                <c:pt idx="76">
                  <c:v>0.5118552289844884</c:v>
                </c:pt>
                <c:pt idx="77">
                  <c:v>0.46959545937445096</c:v>
                </c:pt>
                <c:pt idx="78">
                  <c:v>0.49031252770096345</c:v>
                </c:pt>
                <c:pt idx="79">
                  <c:v>0.28485073732992594</c:v>
                </c:pt>
                <c:pt idx="80">
                  <c:v>0.25822896605503504</c:v>
                </c:pt>
                <c:pt idx="81">
                  <c:v>0.4052251646100248</c:v>
                </c:pt>
                <c:pt idx="82">
                  <c:v>0.4288339816609458</c:v>
                </c:pt>
                <c:pt idx="83">
                  <c:v>0.43630940747543473</c:v>
                </c:pt>
                <c:pt idx="84">
                  <c:v>0.381368133705471</c:v>
                </c:pt>
                <c:pt idx="85">
                  <c:v>0.6004646321048688</c:v>
                </c:pt>
                <c:pt idx="86">
                  <c:v>0.6017143979009243</c:v>
                </c:pt>
                <c:pt idx="87">
                  <c:v>0.7097627750916017</c:v>
                </c:pt>
                <c:pt idx="88">
                  <c:v>0.6400086567244293</c:v>
                </c:pt>
                <c:pt idx="89">
                  <c:v>0.5740212203911071</c:v>
                </c:pt>
                <c:pt idx="90">
                  <c:v>0.5712869392550711</c:v>
                </c:pt>
                <c:pt idx="91">
                  <c:v>0.6633090625369208</c:v>
                </c:pt>
                <c:pt idx="92">
                  <c:v>0.7073333078529329</c:v>
                </c:pt>
                <c:pt idx="93">
                  <c:v>0.6894634837479362</c:v>
                </c:pt>
                <c:pt idx="94">
                  <c:v>0.6646729084733047</c:v>
                </c:pt>
                <c:pt idx="95">
                  <c:v>0.705004582690208</c:v>
                </c:pt>
                <c:pt idx="96">
                  <c:v>0.7078129884833433</c:v>
                </c:pt>
                <c:pt idx="97">
                  <c:v>0.782628125204623</c:v>
                </c:pt>
                <c:pt idx="98">
                  <c:v>0.7824780986890014</c:v>
                </c:pt>
                <c:pt idx="99">
                  <c:v>0.7959027939247054</c:v>
                </c:pt>
                <c:pt idx="100">
                  <c:v>0.7793176611172006</c:v>
                </c:pt>
                <c:pt idx="101">
                  <c:v>0.7112877894216181</c:v>
                </c:pt>
                <c:pt idx="102">
                  <c:v>0.7454464635779747</c:v>
                </c:pt>
                <c:pt idx="103">
                  <c:v>0.6843295258362188</c:v>
                </c:pt>
                <c:pt idx="104">
                  <c:v>0.6845377699740565</c:v>
                </c:pt>
              </c:numCache>
            </c:numRef>
          </c:xVal>
          <c:yVal>
            <c:numRef>
              <c:f>Sheet1!$B$2:$B$106</c:f>
              <c:numCache>
                <c:formatCode>General</c:formatCode>
                <c:ptCount val="105"/>
                <c:pt idx="0">
                  <c:v>0.15367358384744811</c:v>
                </c:pt>
                <c:pt idx="1">
                  <c:v>0.15822164105916967</c:v>
                </c:pt>
                <c:pt idx="2">
                  <c:v>0.1363773813123677</c:v>
                </c:pt>
                <c:pt idx="3">
                  <c:v>0.14218009478672985</c:v>
                </c:pt>
                <c:pt idx="4">
                  <c:v>0.14463276836158193</c:v>
                </c:pt>
                <c:pt idx="5">
                  <c:v>0.13215149073327961</c:v>
                </c:pt>
                <c:pt idx="6">
                  <c:v>0.1631762652705061</c:v>
                </c:pt>
                <c:pt idx="7">
                  <c:v>0.16602739726027396</c:v>
                </c:pt>
                <c:pt idx="8">
                  <c:v>0.15930902111324377</c:v>
                </c:pt>
                <c:pt idx="9">
                  <c:v>0.1484375</c:v>
                </c:pt>
                <c:pt idx="10">
                  <c:v>0.1661526599845798</c:v>
                </c:pt>
                <c:pt idx="11">
                  <c:v>0.16020170674941817</c:v>
                </c:pt>
                <c:pt idx="12">
                  <c:v>0.17421953675730112</c:v>
                </c:pt>
                <c:pt idx="13">
                  <c:v>0.1859804231133565</c:v>
                </c:pt>
                <c:pt idx="14">
                  <c:v>0.17084028937117418</c:v>
                </c:pt>
                <c:pt idx="15">
                  <c:v>0.1681169509223808</c:v>
                </c:pt>
                <c:pt idx="16">
                  <c:v>0.17334458034584563</c:v>
                </c:pt>
                <c:pt idx="17">
                  <c:v>0.14956521739130435</c:v>
                </c:pt>
                <c:pt idx="18">
                  <c:v>0.12896515860634425</c:v>
                </c:pt>
                <c:pt idx="19">
                  <c:v>0.12084993359893759</c:v>
                </c:pt>
                <c:pt idx="20">
                  <c:v>0.13700707785642063</c:v>
                </c:pt>
                <c:pt idx="21">
                  <c:v>0.12987012987012986</c:v>
                </c:pt>
                <c:pt idx="22">
                  <c:v>0.13075383589059372</c:v>
                </c:pt>
                <c:pt idx="23">
                  <c:v>0.14863102998696218</c:v>
                </c:pt>
                <c:pt idx="24">
                  <c:v>0.13791113675706868</c:v>
                </c:pt>
                <c:pt idx="25">
                  <c:v>0.143054595715273</c:v>
                </c:pt>
                <c:pt idx="26">
                  <c:v>0.1568627450980392</c:v>
                </c:pt>
                <c:pt idx="27">
                  <c:v>0.13693398799781778</c:v>
                </c:pt>
                <c:pt idx="28">
                  <c:v>0.1528555431131019</c:v>
                </c:pt>
                <c:pt idx="29">
                  <c:v>0.19431480695799747</c:v>
                </c:pt>
                <c:pt idx="30">
                  <c:v>0.16411764705882353</c:v>
                </c:pt>
                <c:pt idx="31">
                  <c:v>0.15149833518312986</c:v>
                </c:pt>
                <c:pt idx="32">
                  <c:v>0.1665725578769057</c:v>
                </c:pt>
                <c:pt idx="33">
                  <c:v>0.18309859154929578</c:v>
                </c:pt>
                <c:pt idx="34">
                  <c:v>0.17253086419753086</c:v>
                </c:pt>
                <c:pt idx="35">
                  <c:v>0.1595156620163201</c:v>
                </c:pt>
                <c:pt idx="36">
                  <c:v>0.12098956320061847</c:v>
                </c:pt>
                <c:pt idx="37">
                  <c:v>0.10662122687439143</c:v>
                </c:pt>
                <c:pt idx="38">
                  <c:v>0.10622529644268774</c:v>
                </c:pt>
                <c:pt idx="39">
                  <c:v>0.10921501706484642</c:v>
                </c:pt>
                <c:pt idx="40">
                  <c:v>0.11160384331116038</c:v>
                </c:pt>
                <c:pt idx="41">
                  <c:v>0.09460083064143977</c:v>
                </c:pt>
                <c:pt idx="42">
                  <c:v>0.09094551282051282</c:v>
                </c:pt>
                <c:pt idx="43">
                  <c:v>0.1044776119402985</c:v>
                </c:pt>
                <c:pt idx="44">
                  <c:v>0.14159492523787948</c:v>
                </c:pt>
                <c:pt idx="45">
                  <c:v>0.17524457677584007</c:v>
                </c:pt>
                <c:pt idx="46">
                  <c:v>0.17752059631227932</c:v>
                </c:pt>
                <c:pt idx="47">
                  <c:v>0.18347826086956523</c:v>
                </c:pt>
                <c:pt idx="48">
                  <c:v>0.2027847726262776</c:v>
                </c:pt>
                <c:pt idx="49">
                  <c:v>0.21907849494056392</c:v>
                </c:pt>
                <c:pt idx="50">
                  <c:v>0.18319291423633613</c:v>
                </c:pt>
                <c:pt idx="51">
                  <c:v>0.1561928004881025</c:v>
                </c:pt>
                <c:pt idx="52">
                  <c:v>0.18424657534246575</c:v>
                </c:pt>
                <c:pt idx="53">
                  <c:v>0.16856971153846154</c:v>
                </c:pt>
                <c:pt idx="54">
                  <c:v>0.15195569401176878</c:v>
                </c:pt>
                <c:pt idx="55">
                  <c:v>0.13217576187101346</c:v>
                </c:pt>
                <c:pt idx="56">
                  <c:v>0.1365989645559538</c:v>
                </c:pt>
                <c:pt idx="57">
                  <c:v>0.14220665499124344</c:v>
                </c:pt>
                <c:pt idx="58">
                  <c:v>0.1516279069767442</c:v>
                </c:pt>
                <c:pt idx="59">
                  <c:v>0.16341799566843868</c:v>
                </c:pt>
                <c:pt idx="60">
                  <c:v>0.16875712656784492</c:v>
                </c:pt>
                <c:pt idx="61">
                  <c:v>0.16768707482993198</c:v>
                </c:pt>
                <c:pt idx="62">
                  <c:v>0.17272727272727273</c:v>
                </c:pt>
                <c:pt idx="63">
                  <c:v>0.18790181180596144</c:v>
                </c:pt>
                <c:pt idx="64">
                  <c:v>0.1761055081458495</c:v>
                </c:pt>
                <c:pt idx="65">
                  <c:v>0.16062450383699392</c:v>
                </c:pt>
                <c:pt idx="66">
                  <c:v>0.1791503633314701</c:v>
                </c:pt>
                <c:pt idx="67">
                  <c:v>0.19458403126744836</c:v>
                </c:pt>
                <c:pt idx="68">
                  <c:v>0.19904567143830948</c:v>
                </c:pt>
                <c:pt idx="69">
                  <c:v>0.16602316602316602</c:v>
                </c:pt>
                <c:pt idx="70">
                  <c:v>0.14813205907906168</c:v>
                </c:pt>
                <c:pt idx="71">
                  <c:v>0.1769633507853403</c:v>
                </c:pt>
                <c:pt idx="72">
                  <c:v>0.1592356687898089</c:v>
                </c:pt>
                <c:pt idx="73">
                  <c:v>0.17608142493638676</c:v>
                </c:pt>
                <c:pt idx="74">
                  <c:v>0.16824111560953667</c:v>
                </c:pt>
                <c:pt idx="75">
                  <c:v>0.18654266958424506</c:v>
                </c:pt>
                <c:pt idx="76">
                  <c:v>0.15692934782608695</c:v>
                </c:pt>
                <c:pt idx="77">
                  <c:v>0.2025836758661186</c:v>
                </c:pt>
                <c:pt idx="78">
                  <c:v>0.13406079501169135</c:v>
                </c:pt>
                <c:pt idx="79">
                  <c:v>0.24820143884892087</c:v>
                </c:pt>
                <c:pt idx="80">
                  <c:v>0.2708333333333333</c:v>
                </c:pt>
                <c:pt idx="81">
                  <c:v>0.15226876090750435</c:v>
                </c:pt>
                <c:pt idx="82">
                  <c:v>0.14365671641791045</c:v>
                </c:pt>
                <c:pt idx="83">
                  <c:v>0.12474012474012475</c:v>
                </c:pt>
                <c:pt idx="84">
                  <c:v>0.15956727518593644</c:v>
                </c:pt>
                <c:pt idx="85">
                  <c:v>0.12196601941747573</c:v>
                </c:pt>
                <c:pt idx="86">
                  <c:v>0.13108454312553372</c:v>
                </c:pt>
                <c:pt idx="87">
                  <c:v>0.13713163064833006</c:v>
                </c:pt>
                <c:pt idx="88">
                  <c:v>0.1172566371681416</c:v>
                </c:pt>
                <c:pt idx="89">
                  <c:v>0.11873015873015873</c:v>
                </c:pt>
                <c:pt idx="90">
                  <c:v>0.11696264543784446</c:v>
                </c:pt>
                <c:pt idx="91">
                  <c:v>0.10417892878163626</c:v>
                </c:pt>
                <c:pt idx="92">
                  <c:v>0.11100658513640639</c:v>
                </c:pt>
                <c:pt idx="93">
                  <c:v>0.10576057605760576</c:v>
                </c:pt>
                <c:pt idx="94">
                  <c:v>0.10812236286919831</c:v>
                </c:pt>
                <c:pt idx="95">
                  <c:v>0.10995770857362552</c:v>
                </c:pt>
                <c:pt idx="96">
                  <c:v>0.11370987807912417</c:v>
                </c:pt>
                <c:pt idx="97">
                  <c:v>0.11425917324663261</c:v>
                </c:pt>
                <c:pt idx="98">
                  <c:v>0.1433552886478109</c:v>
                </c:pt>
                <c:pt idx="99">
                  <c:v>0.1398542125784031</c:v>
                </c:pt>
                <c:pt idx="100">
                  <c:v>0.16605515445614866</c:v>
                </c:pt>
                <c:pt idx="101">
                  <c:v>0.16085561497326203</c:v>
                </c:pt>
                <c:pt idx="102">
                  <c:v>0.11512939615129396</c:v>
                </c:pt>
                <c:pt idx="103">
                  <c:v>0.12469660194174757</c:v>
                </c:pt>
                <c:pt idx="104">
                  <c:v>0.132472324723247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65904507520483</c:v>
                </c:pt>
                <c:pt idx="1">
                  <c:v>0.6505472323226845</c:v>
                </c:pt>
                <c:pt idx="2">
                  <c:v>0.6499025894643415</c:v>
                </c:pt>
                <c:pt idx="3">
                  <c:v>0.5806591783784588</c:v>
                </c:pt>
                <c:pt idx="4">
                  <c:v>0.6215098174036207</c:v>
                </c:pt>
                <c:pt idx="5">
                  <c:v>0.6489946470426007</c:v>
                </c:pt>
                <c:pt idx="6">
                  <c:v>0.6506604814927962</c:v>
                </c:pt>
                <c:pt idx="7">
                  <c:v>0.692474766085819</c:v>
                </c:pt>
                <c:pt idx="8">
                  <c:v>0.7487732511899677</c:v>
                </c:pt>
                <c:pt idx="9">
                  <c:v>0.6997644609545977</c:v>
                </c:pt>
                <c:pt idx="10">
                  <c:v>0.7256778030540644</c:v>
                </c:pt>
                <c:pt idx="11">
                  <c:v>0.7271351531857901</c:v>
                </c:pt>
                <c:pt idx="12">
                  <c:v>0.7169565760180464</c:v>
                </c:pt>
                <c:pt idx="13">
                  <c:v>0.6575055886528307</c:v>
                </c:pt>
                <c:pt idx="14">
                  <c:v>0.6660394356420982</c:v>
                </c:pt>
                <c:pt idx="15">
                  <c:v>0.6940251892899495</c:v>
                </c:pt>
                <c:pt idx="16">
                  <c:v>0.7350425563679925</c:v>
                </c:pt>
                <c:pt idx="17">
                  <c:v>0.7102517516322048</c:v>
                </c:pt>
                <c:pt idx="18">
                  <c:v>0.6497643972045001</c:v>
                </c:pt>
                <c:pt idx="19">
                  <c:v>0.6827302565636273</c:v>
                </c:pt>
                <c:pt idx="20">
                  <c:v>0.6885865747304544</c:v>
                </c:pt>
                <c:pt idx="21">
                  <c:v>0.648427852626094</c:v>
                </c:pt>
                <c:pt idx="22">
                  <c:v>0.6249036121777898</c:v>
                </c:pt>
                <c:pt idx="23">
                  <c:v>0.6457572976091842</c:v>
                </c:pt>
                <c:pt idx="24">
                  <c:v>0.669943022590931</c:v>
                </c:pt>
                <c:pt idx="25">
                  <c:v>0.7049375549685822</c:v>
                </c:pt>
                <c:pt idx="26">
                  <c:v>0.6601106115646426</c:v>
                </c:pt>
                <c:pt idx="27">
                  <c:v>0.7072889813383328</c:v>
                </c:pt>
                <c:pt idx="28">
                  <c:v>0.6867263650502202</c:v>
                </c:pt>
                <c:pt idx="29">
                  <c:v>0.6389703357987645</c:v>
                </c:pt>
                <c:pt idx="30">
                  <c:v>0.6527108349384904</c:v>
                </c:pt>
                <c:pt idx="31">
                  <c:v>0.5970655991202708</c:v>
                </c:pt>
                <c:pt idx="32">
                  <c:v>0.6079496154567561</c:v>
                </c:pt>
                <c:pt idx="33">
                  <c:v>0.6639245245525216</c:v>
                </c:pt>
                <c:pt idx="34">
                  <c:v>0.7185210088966535</c:v>
                </c:pt>
                <c:pt idx="35">
                  <c:v>0.6803669407027869</c:v>
                </c:pt>
                <c:pt idx="36">
                  <c:v>0.6078803321680492</c:v>
                </c:pt>
                <c:pt idx="37">
                  <c:v>0.5921561300426621</c:v>
                </c:pt>
                <c:pt idx="38">
                  <c:v>0.6204789642330031</c:v>
                </c:pt>
                <c:pt idx="39">
                  <c:v>0.6930840271775919</c:v>
                </c:pt>
                <c:pt idx="40">
                  <c:v>0.7060103545010876</c:v>
                </c:pt>
                <c:pt idx="41">
                  <c:v>0.7570079877506445</c:v>
                </c:pt>
                <c:pt idx="42">
                  <c:v>0.7304731963041781</c:v>
                </c:pt>
                <c:pt idx="43">
                  <c:v>0.7835499755922184</c:v>
                </c:pt>
                <c:pt idx="44">
                  <c:v>0.8402270153059048</c:v>
                </c:pt>
                <c:pt idx="45">
                  <c:v>0.8338835264362836</c:v>
                </c:pt>
                <c:pt idx="46">
                  <c:v>0.7817203503773742</c:v>
                </c:pt>
                <c:pt idx="47">
                  <c:v>0.7825943494409836</c:v>
                </c:pt>
                <c:pt idx="48">
                  <c:v>0.8658658605106753</c:v>
                </c:pt>
                <c:pt idx="49">
                  <c:v>0.8869488134780209</c:v>
                </c:pt>
                <c:pt idx="50">
                  <c:v>0.7806443633029672</c:v>
                </c:pt>
                <c:pt idx="51">
                  <c:v>0.748080230529677</c:v>
                </c:pt>
              </c:numCache>
            </c:numRef>
          </c:xVal>
          <c:yVal>
            <c:numRef>
              <c:f>Sheet1!$B$109:$B$160</c:f>
              <c:numCache>
                <c:formatCode>General</c:formatCode>
                <c:ptCount val="52"/>
                <c:pt idx="0">
                  <c:v>0.13585027428202645</c:v>
                </c:pt>
                <c:pt idx="1">
                  <c:v>0.13829787234042554</c:v>
                </c:pt>
                <c:pt idx="2">
                  <c:v>0.14906457453228728</c:v>
                </c:pt>
                <c:pt idx="3">
                  <c:v>0.16800804828973842</c:v>
                </c:pt>
                <c:pt idx="4">
                  <c:v>0.14581105169340464</c:v>
                </c:pt>
                <c:pt idx="5">
                  <c:v>0.14612361557699177</c:v>
                </c:pt>
                <c:pt idx="6">
                  <c:v>0.14493632504548212</c:v>
                </c:pt>
                <c:pt idx="7">
                  <c:v>0.12948453608247423</c:v>
                </c:pt>
                <c:pt idx="8">
                  <c:v>0.12177729018102029</c:v>
                </c:pt>
                <c:pt idx="9">
                  <c:v>0.12626506024096384</c:v>
                </c:pt>
                <c:pt idx="10">
                  <c:v>0.14181486548107616</c:v>
                </c:pt>
                <c:pt idx="11">
                  <c:v>0.14694224235560588</c:v>
                </c:pt>
                <c:pt idx="12">
                  <c:v>0.15356671070013211</c:v>
                </c:pt>
                <c:pt idx="13">
                  <c:v>0.15628375945264675</c:v>
                </c:pt>
                <c:pt idx="14">
                  <c:v>0.1616</c:v>
                </c:pt>
                <c:pt idx="15">
                  <c:v>0.15590689503732982</c:v>
                </c:pt>
                <c:pt idx="16">
                  <c:v>0.14215686274509803</c:v>
                </c:pt>
                <c:pt idx="17">
                  <c:v>0.11863517060367454</c:v>
                </c:pt>
                <c:pt idx="18">
                  <c:v>0.12022900763358779</c:v>
                </c:pt>
                <c:pt idx="19">
                  <c:v>0.13597560975609757</c:v>
                </c:pt>
                <c:pt idx="20">
                  <c:v>0.11133879781420765</c:v>
                </c:pt>
                <c:pt idx="21">
                  <c:v>0.10830704521556257</c:v>
                </c:pt>
                <c:pt idx="22">
                  <c:v>0.10880829015544041</c:v>
                </c:pt>
                <c:pt idx="23">
                  <c:v>0.10630291627469426</c:v>
                </c:pt>
                <c:pt idx="24">
                  <c:v>0.10567210567210568</c:v>
                </c:pt>
                <c:pt idx="25">
                  <c:v>0.10403225806451613</c:v>
                </c:pt>
                <c:pt idx="26">
                  <c:v>0.10541110330288124</c:v>
                </c:pt>
                <c:pt idx="27">
                  <c:v>0.10507246376811594</c:v>
                </c:pt>
                <c:pt idx="28">
                  <c:v>0.12823061630218688</c:v>
                </c:pt>
                <c:pt idx="29">
                  <c:v>0.11822338340953625</c:v>
                </c:pt>
                <c:pt idx="30">
                  <c:v>0.12548764629388817</c:v>
                </c:pt>
                <c:pt idx="31">
                  <c:v>0.13445378151260504</c:v>
                </c:pt>
                <c:pt idx="32">
                  <c:v>0.1471251409244645</c:v>
                </c:pt>
                <c:pt idx="33">
                  <c:v>0.15891313297653356</c:v>
                </c:pt>
                <c:pt idx="34">
                  <c:v>0.18118990384615385</c:v>
                </c:pt>
                <c:pt idx="35">
                  <c:v>0.17662938681064405</c:v>
                </c:pt>
                <c:pt idx="36">
                  <c:v>0.13206162876008803</c:v>
                </c:pt>
                <c:pt idx="37">
                  <c:v>0.12132822477650064</c:v>
                </c:pt>
                <c:pt idx="38">
                  <c:v>0.12464589235127478</c:v>
                </c:pt>
                <c:pt idx="39">
                  <c:v>0.1527708437343984</c:v>
                </c:pt>
                <c:pt idx="40">
                  <c:v>0.11073825503355705</c:v>
                </c:pt>
                <c:pt idx="41">
                  <c:v>0.1134185303514377</c:v>
                </c:pt>
                <c:pt idx="42">
                  <c:v>0.1003562945368171</c:v>
                </c:pt>
                <c:pt idx="43">
                  <c:v>0.10978126289723483</c:v>
                </c:pt>
                <c:pt idx="44">
                  <c:v>0.0935593220338983</c:v>
                </c:pt>
                <c:pt idx="45">
                  <c:v>0.1106791676194832</c:v>
                </c:pt>
                <c:pt idx="46">
                  <c:v>0.10967935271201679</c:v>
                </c:pt>
                <c:pt idx="47">
                  <c:v>0.10928652321630804</c:v>
                </c:pt>
                <c:pt idx="48">
                  <c:v>0.09912748424624333</c:v>
                </c:pt>
                <c:pt idx="49">
                  <c:v>0.11349693251533742</c:v>
                </c:pt>
                <c:pt idx="50">
                  <c:v>0.14885611077664057</c:v>
                </c:pt>
                <c:pt idx="51">
                  <c:v>0.140046595909914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30362888845438</c:v>
                </c:pt>
              </c:numCache>
            </c:numRef>
          </c:xVal>
          <c:yVal>
            <c:numRef>
              <c:f>Sheet1!$B$163:$B$164</c:f>
              <c:numCache>
                <c:formatCode>General</c:formatCode>
                <c:ptCount val="2"/>
                <c:pt idx="0">
                  <c:v>0.1741739928459232</c:v>
                </c:pt>
                <c:pt idx="1">
                  <c:v>0.174173992845923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30362888845438</c:v>
                </c:pt>
                <c:pt idx="1">
                  <c:v>0.2830362888845438</c:v>
                </c:pt>
              </c:numCache>
            </c:numRef>
          </c:xVal>
          <c:yVal>
            <c:numRef>
              <c:f>Sheet1!$B$167:$B$168</c:f>
              <c:numCache>
                <c:formatCode>General</c:formatCode>
                <c:ptCount val="2"/>
                <c:pt idx="0">
                  <c:v>0.17417399284592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20144455933226</c:v>
                </c:pt>
              </c:numCache>
            </c:numRef>
          </c:xVal>
          <c:yVal>
            <c:numRef>
              <c:f>Sheet1!$B$171:$B$172</c:f>
              <c:numCache>
                <c:formatCode>General</c:formatCode>
                <c:ptCount val="2"/>
                <c:pt idx="0">
                  <c:v>0.14215039866931675</c:v>
                </c:pt>
                <c:pt idx="1">
                  <c:v>0.142150398669316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20144455933226</c:v>
                </c:pt>
                <c:pt idx="1">
                  <c:v>0.5820144455933226</c:v>
                </c:pt>
              </c:numCache>
            </c:numRef>
          </c:xVal>
          <c:yVal>
            <c:numRef>
              <c:f>Sheet1!$B$175:$B$176</c:f>
              <c:numCache>
                <c:formatCode>General</c:formatCode>
                <c:ptCount val="2"/>
                <c:pt idx="0">
                  <c:v>0.142150398669316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234327195595919</c:v>
                </c:pt>
              </c:numCache>
            </c:numRef>
          </c:xVal>
          <c:yVal>
            <c:numRef>
              <c:f>Sheet1!$B$179:$B$180</c:f>
              <c:numCache>
                <c:formatCode>General</c:formatCode>
                <c:ptCount val="2"/>
                <c:pt idx="0">
                  <c:v>0.11629205196794519</c:v>
                </c:pt>
                <c:pt idx="1">
                  <c:v>0.1162920519679451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234327195595919</c:v>
                </c:pt>
                <c:pt idx="1">
                  <c:v>0.8234327195595919</c:v>
                </c:pt>
              </c:numCache>
            </c:numRef>
          </c:xVal>
          <c:yVal>
            <c:numRef>
              <c:f>Sheet1!$B$183:$B$184</c:f>
              <c:numCache>
                <c:formatCode>General</c:formatCode>
                <c:ptCount val="2"/>
                <c:pt idx="0">
                  <c:v>0.116292051967945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65904507520483</c:v>
                </c:pt>
                <c:pt idx="1">
                  <c:v>0.6505472323226845</c:v>
                </c:pt>
                <c:pt idx="2">
                  <c:v>0.6499025894643415</c:v>
                </c:pt>
                <c:pt idx="3">
                  <c:v>0.5806591783784588</c:v>
                </c:pt>
                <c:pt idx="4">
                  <c:v>0.6215098174036207</c:v>
                </c:pt>
                <c:pt idx="5">
                  <c:v>0.6489946470426007</c:v>
                </c:pt>
                <c:pt idx="6">
                  <c:v>0.6506604814927962</c:v>
                </c:pt>
                <c:pt idx="7">
                  <c:v>0.692474766085819</c:v>
                </c:pt>
                <c:pt idx="8">
                  <c:v>0.7487732511899677</c:v>
                </c:pt>
                <c:pt idx="9">
                  <c:v>0.6997644609545977</c:v>
                </c:pt>
                <c:pt idx="10">
                  <c:v>0.7256778030540644</c:v>
                </c:pt>
                <c:pt idx="11">
                  <c:v>0.7271351531857901</c:v>
                </c:pt>
                <c:pt idx="12">
                  <c:v>0.7169565760180464</c:v>
                </c:pt>
                <c:pt idx="13">
                  <c:v>0.6575055886528307</c:v>
                </c:pt>
                <c:pt idx="14">
                  <c:v>0.6660394356420982</c:v>
                </c:pt>
                <c:pt idx="15">
                  <c:v>0.6940251892899495</c:v>
                </c:pt>
                <c:pt idx="16">
                  <c:v>0.7350425563679925</c:v>
                </c:pt>
                <c:pt idx="17">
                  <c:v>0.7102517516322048</c:v>
                </c:pt>
                <c:pt idx="18">
                  <c:v>0.6497643972045001</c:v>
                </c:pt>
                <c:pt idx="19">
                  <c:v>0.6827302565636273</c:v>
                </c:pt>
                <c:pt idx="20">
                  <c:v>0.6885865747304544</c:v>
                </c:pt>
                <c:pt idx="21">
                  <c:v>0.648427852626094</c:v>
                </c:pt>
                <c:pt idx="22">
                  <c:v>0.6249036121777898</c:v>
                </c:pt>
                <c:pt idx="23">
                  <c:v>0.6457572976091842</c:v>
                </c:pt>
                <c:pt idx="24">
                  <c:v>0.669943022590931</c:v>
                </c:pt>
                <c:pt idx="25">
                  <c:v>0.7049375549685822</c:v>
                </c:pt>
                <c:pt idx="26">
                  <c:v>0.6601106115646426</c:v>
                </c:pt>
                <c:pt idx="27">
                  <c:v>0.7072889813383328</c:v>
                </c:pt>
                <c:pt idx="28">
                  <c:v>0.6867263650502202</c:v>
                </c:pt>
                <c:pt idx="29">
                  <c:v>0.6389703357987645</c:v>
                </c:pt>
                <c:pt idx="30">
                  <c:v>0.6527108349384904</c:v>
                </c:pt>
                <c:pt idx="31">
                  <c:v>0.5970655991202708</c:v>
                </c:pt>
                <c:pt idx="32">
                  <c:v>0.6079496154567561</c:v>
                </c:pt>
                <c:pt idx="33">
                  <c:v>0.6639245245525216</c:v>
                </c:pt>
                <c:pt idx="34">
                  <c:v>0.7185210088966535</c:v>
                </c:pt>
                <c:pt idx="35">
                  <c:v>0.6803669407027869</c:v>
                </c:pt>
                <c:pt idx="36">
                  <c:v>0.6078803321680492</c:v>
                </c:pt>
                <c:pt idx="37">
                  <c:v>0.5921561300426621</c:v>
                </c:pt>
                <c:pt idx="38">
                  <c:v>0.6204789642330031</c:v>
                </c:pt>
                <c:pt idx="39">
                  <c:v>0.6930840271775919</c:v>
                </c:pt>
                <c:pt idx="40">
                  <c:v>0.7060103545010876</c:v>
                </c:pt>
                <c:pt idx="41">
                  <c:v>0.7570079877506445</c:v>
                </c:pt>
                <c:pt idx="42">
                  <c:v>0.7304731963041781</c:v>
                </c:pt>
                <c:pt idx="43">
                  <c:v>0.7835499755922184</c:v>
                </c:pt>
                <c:pt idx="44">
                  <c:v>0.8402270153059048</c:v>
                </c:pt>
                <c:pt idx="45">
                  <c:v>0.8338835264362836</c:v>
                </c:pt>
                <c:pt idx="46">
                  <c:v>0.7817203503773742</c:v>
                </c:pt>
                <c:pt idx="47">
                  <c:v>0.7825943494409836</c:v>
                </c:pt>
                <c:pt idx="48">
                  <c:v>0.8658658605106753</c:v>
                </c:pt>
                <c:pt idx="49">
                  <c:v>0.8869488134780209</c:v>
                </c:pt>
                <c:pt idx="50">
                  <c:v>0.7806443633029672</c:v>
                </c:pt>
                <c:pt idx="51">
                  <c:v>0.748080230529677</c:v>
                </c:pt>
                <c:pt idx="52">
                  <c:v>0.5820144455933226</c:v>
                </c:pt>
                <c:pt idx="53">
                  <c:v>0.2830362888845438</c:v>
                </c:pt>
                <c:pt idx="54">
                  <c:v>0.8234327195595919</c:v>
                </c:pt>
              </c:numCache>
            </c:numRef>
          </c:xVal>
          <c:yVal>
            <c:numRef>
              <c:f>Sheet1!$B$187:$B$241</c:f>
              <c:numCache>
                <c:formatCode>General</c:formatCode>
                <c:ptCount val="55"/>
                <c:pt idx="0">
                  <c:v>0.128807044501702</c:v>
                </c:pt>
                <c:pt idx="1">
                  <c:v>0.13480984184010752</c:v>
                </c:pt>
                <c:pt idx="2">
                  <c:v>0.13487888963112904</c:v>
                </c:pt>
                <c:pt idx="3">
                  <c:v>0.14229556153929834</c:v>
                </c:pt>
                <c:pt idx="4">
                  <c:v>0.13792004360716037</c:v>
                </c:pt>
                <c:pt idx="5">
                  <c:v>0.13497613947696938</c:v>
                </c:pt>
                <c:pt idx="6">
                  <c:v>0.13479771170490162</c:v>
                </c:pt>
                <c:pt idx="7">
                  <c:v>0.13031897755477978</c:v>
                </c:pt>
                <c:pt idx="8">
                  <c:v>0.12428883856543185</c:v>
                </c:pt>
                <c:pt idx="9">
                  <c:v>0.1295381772691708</c:v>
                </c:pt>
                <c:pt idx="10">
                  <c:v>0.12676259539961904</c:v>
                </c:pt>
                <c:pt idx="11">
                  <c:v>0.12660649841345337</c:v>
                </c:pt>
                <c:pt idx="12">
                  <c:v>0.12769672730543424</c:v>
                </c:pt>
                <c:pt idx="13">
                  <c:v>0.13406453127392504</c:v>
                </c:pt>
                <c:pt idx="14">
                  <c:v>0.13315046967237548</c:v>
                </c:pt>
                <c:pt idx="15">
                  <c:v>0.13015291149819014</c:v>
                </c:pt>
                <c:pt idx="16">
                  <c:v>0.1257595352998761</c:v>
                </c:pt>
                <c:pt idx="17">
                  <c:v>0.12841488202791035</c:v>
                </c:pt>
                <c:pt idx="18">
                  <c:v>0.13489369142433102</c:v>
                </c:pt>
                <c:pt idx="19">
                  <c:v>0.13136271339763836</c:v>
                </c:pt>
                <c:pt idx="20">
                  <c:v>0.13073544230061895</c:v>
                </c:pt>
                <c:pt idx="21">
                  <c:v>0.13503684890997808</c:v>
                </c:pt>
                <c:pt idx="22">
                  <c:v>0.13755653375158072</c:v>
                </c:pt>
                <c:pt idx="23">
                  <c:v>0.1353228924491759</c:v>
                </c:pt>
                <c:pt idx="24">
                  <c:v>0.1327323559022639</c:v>
                </c:pt>
                <c:pt idx="25">
                  <c:v>0.12898408641128034</c:v>
                </c:pt>
                <c:pt idx="26">
                  <c:v>0.13378550688810717</c:v>
                </c:pt>
                <c:pt idx="27">
                  <c:v>0.1287322247882441</c:v>
                </c:pt>
                <c:pt idx="28">
                  <c:v>0.1309346896320594</c:v>
                </c:pt>
                <c:pt idx="29">
                  <c:v>0.13604984492323477</c:v>
                </c:pt>
                <c:pt idx="30">
                  <c:v>0.13457809804687954</c:v>
                </c:pt>
                <c:pt idx="31">
                  <c:v>0.14053826740948605</c:v>
                </c:pt>
                <c:pt idx="32">
                  <c:v>0.13937247882476791</c:v>
                </c:pt>
                <c:pt idx="33">
                  <c:v>0.13337699810909395</c:v>
                </c:pt>
                <c:pt idx="34">
                  <c:v>0.12752916067055847</c:v>
                </c:pt>
                <c:pt idx="35">
                  <c:v>0.13161584850580751</c:v>
                </c:pt>
                <c:pt idx="36">
                  <c:v>0.13937989976797394</c:v>
                </c:pt>
                <c:pt idx="37">
                  <c:v>0.14106412136181032</c:v>
                </c:pt>
                <c:pt idx="38">
                  <c:v>0.13803045844132392</c:v>
                </c:pt>
                <c:pt idx="39">
                  <c:v>0.13025371950996034</c:v>
                </c:pt>
                <c:pt idx="40">
                  <c:v>0.12886917869614828</c:v>
                </c:pt>
                <c:pt idx="41">
                  <c:v>0.12340681472571957</c:v>
                </c:pt>
                <c:pt idx="42">
                  <c:v>0.12624896012589415</c:v>
                </c:pt>
                <c:pt idx="43">
                  <c:v>0.12056389851861049</c:v>
                </c:pt>
                <c:pt idx="44">
                  <c:v>0.11449321248956251</c:v>
                </c:pt>
                <c:pt idx="45">
                  <c:v>0.115172664511947</c:v>
                </c:pt>
                <c:pt idx="46">
                  <c:v>0.12075986994348127</c:v>
                </c:pt>
                <c:pt idx="47">
                  <c:v>0.12066625577570438</c:v>
                </c:pt>
                <c:pt idx="48">
                  <c:v>0.11174703202262577</c:v>
                </c:pt>
                <c:pt idx="49">
                  <c:v>0.10948883384084893</c:v>
                </c:pt>
                <c:pt idx="50">
                  <c:v>0.12087511907669352</c:v>
                </c:pt>
                <c:pt idx="51">
                  <c:v>0.12436306810990914</c:v>
                </c:pt>
                <c:pt idx="52">
                  <c:v>0.14215039866931675</c:v>
                </c:pt>
                <c:pt idx="53">
                  <c:v>0.1741739928459232</c:v>
                </c:pt>
                <c:pt idx="54">
                  <c:v>0.116292051967945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499999999999996"/>
          <c:min val="0.07275641025641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8.2354</c:v>
                </c:pt>
                <c:pt idx="1">
                  <c:v>910.6756</c:v>
                </c:pt>
                <c:pt idx="2">
                  <c:v>971.2572</c:v>
                </c:pt>
                <c:pt idx="3">
                  <c:v>978.6644</c:v>
                </c:pt>
                <c:pt idx="4">
                  <c:v>985.4505</c:v>
                </c:pt>
                <c:pt idx="5">
                  <c:v>990.6677</c:v>
                </c:pt>
                <c:pt idx="6">
                  <c:v>916.6845</c:v>
                </c:pt>
                <c:pt idx="7">
                  <c:v>944.3069</c:v>
                </c:pt>
                <c:pt idx="8">
                  <c:v>947.9679</c:v>
                </c:pt>
                <c:pt idx="9">
                  <c:v>947.0447</c:v>
                </c:pt>
                <c:pt idx="10">
                  <c:v>924.0905</c:v>
                </c:pt>
                <c:pt idx="11">
                  <c:v>968.0194</c:v>
                </c:pt>
                <c:pt idx="12">
                  <c:v>980.0058</c:v>
                </c:pt>
                <c:pt idx="13">
                  <c:v>944.1494</c:v>
                </c:pt>
                <c:pt idx="14">
                  <c:v>958.7345</c:v>
                </c:pt>
                <c:pt idx="15">
                  <c:v>958.4534</c:v>
                </c:pt>
                <c:pt idx="16">
                  <c:v>952.3212</c:v>
                </c:pt>
                <c:pt idx="17">
                  <c:v>983.689</c:v>
                </c:pt>
                <c:pt idx="18">
                  <c:v>1021.5806</c:v>
                </c:pt>
                <c:pt idx="19">
                  <c:v>1063.2637</c:v>
                </c:pt>
                <c:pt idx="20">
                  <c:v>1063.6089</c:v>
                </c:pt>
                <c:pt idx="21">
                  <c:v>1078.9471</c:v>
                </c:pt>
                <c:pt idx="22">
                  <c:v>1065.7755</c:v>
                </c:pt>
                <c:pt idx="23">
                  <c:v>1034.5877</c:v>
                </c:pt>
                <c:pt idx="24">
                  <c:v>1019.2887</c:v>
                </c:pt>
                <c:pt idx="25">
                  <c:v>996.5894</c:v>
                </c:pt>
                <c:pt idx="26">
                  <c:v>1000.4435</c:v>
                </c:pt>
                <c:pt idx="27">
                  <c:v>1021.6892</c:v>
                </c:pt>
                <c:pt idx="28">
                  <c:v>985.663</c:v>
                </c:pt>
                <c:pt idx="29">
                  <c:v>808.4367</c:v>
                </c:pt>
                <c:pt idx="30">
                  <c:v>869.6846</c:v>
                </c:pt>
                <c:pt idx="31">
                  <c:v>911.6813</c:v>
                </c:pt>
                <c:pt idx="32">
                  <c:v>901.8407</c:v>
                </c:pt>
                <c:pt idx="33">
                  <c:v>893.6989</c:v>
                </c:pt>
                <c:pt idx="34">
                  <c:v>984.2182</c:v>
                </c:pt>
                <c:pt idx="35">
                  <c:v>1051.2178</c:v>
                </c:pt>
                <c:pt idx="36">
                  <c:v>1113.2268</c:v>
                </c:pt>
                <c:pt idx="37">
                  <c:v>1108.2648</c:v>
                </c:pt>
                <c:pt idx="38">
                  <c:v>1182.1488</c:v>
                </c:pt>
                <c:pt idx="39">
                  <c:v>1177.6429</c:v>
                </c:pt>
                <c:pt idx="40">
                  <c:v>1196.6987</c:v>
                </c:pt>
                <c:pt idx="41">
                  <c:v>1222.3463</c:v>
                </c:pt>
                <c:pt idx="42">
                  <c:v>1256.0617</c:v>
                </c:pt>
                <c:pt idx="43">
                  <c:v>1276.6167</c:v>
                </c:pt>
                <c:pt idx="44">
                  <c:v>1046.1104</c:v>
                </c:pt>
                <c:pt idx="45">
                  <c:v>978.2039</c:v>
                </c:pt>
                <c:pt idx="46">
                  <c:v>977.7282</c:v>
                </c:pt>
                <c:pt idx="47">
                  <c:v>944.6031</c:v>
                </c:pt>
                <c:pt idx="48">
                  <c:v>954.3514</c:v>
                </c:pt>
                <c:pt idx="49">
                  <c:v>948.8561</c:v>
                </c:pt>
                <c:pt idx="50">
                  <c:v>930.9788</c:v>
                </c:pt>
                <c:pt idx="51">
                  <c:v>922.8906</c:v>
                </c:pt>
                <c:pt idx="52">
                  <c:v>952.2565</c:v>
                </c:pt>
                <c:pt idx="53">
                  <c:v>989.3886</c:v>
                </c:pt>
                <c:pt idx="54">
                  <c:v>1011.7654</c:v>
                </c:pt>
                <c:pt idx="55">
                  <c:v>1024.244</c:v>
                </c:pt>
                <c:pt idx="56">
                  <c:v>1058.7026</c:v>
                </c:pt>
                <c:pt idx="57">
                  <c:v>1028.9163</c:v>
                </c:pt>
                <c:pt idx="58">
                  <c:v>993.8814</c:v>
                </c:pt>
                <c:pt idx="59">
                  <c:v>1000.8313</c:v>
                </c:pt>
                <c:pt idx="60">
                  <c:v>1039.8973</c:v>
                </c:pt>
                <c:pt idx="61">
                  <c:v>1029.0183</c:v>
                </c:pt>
                <c:pt idx="62">
                  <c:v>997.0105</c:v>
                </c:pt>
                <c:pt idx="63">
                  <c:v>1018.9487</c:v>
                </c:pt>
                <c:pt idx="64">
                  <c:v>1027.3333</c:v>
                </c:pt>
                <c:pt idx="65">
                  <c:v>1006.1895</c:v>
                </c:pt>
                <c:pt idx="66">
                  <c:v>941.4711</c:v>
                </c:pt>
                <c:pt idx="67">
                  <c:v>816.4376</c:v>
                </c:pt>
                <c:pt idx="68">
                  <c:v>768.8699</c:v>
                </c:pt>
                <c:pt idx="69">
                  <c:v>827.3953</c:v>
                </c:pt>
                <c:pt idx="70">
                  <c:v>804.7361</c:v>
                </c:pt>
                <c:pt idx="71">
                  <c:v>812.1598</c:v>
                </c:pt>
                <c:pt idx="72">
                  <c:v>864.52</c:v>
                </c:pt>
                <c:pt idx="73">
                  <c:v>877.5867</c:v>
                </c:pt>
                <c:pt idx="74">
                  <c:v>869.7995</c:v>
                </c:pt>
                <c:pt idx="75">
                  <c:v>852.9003</c:v>
                </c:pt>
                <c:pt idx="76">
                  <c:v>884.2641</c:v>
                </c:pt>
                <c:pt idx="77">
                  <c:v>785.9159</c:v>
                </c:pt>
                <c:pt idx="78">
                  <c:v>846.2907</c:v>
                </c:pt>
                <c:pt idx="79">
                  <c:v>487.7557</c:v>
                </c:pt>
                <c:pt idx="80">
                  <c:v>437.1145</c:v>
                </c:pt>
                <c:pt idx="81">
                  <c:v>675.6275</c:v>
                </c:pt>
                <c:pt idx="82">
                  <c:v>722.2554</c:v>
                </c:pt>
                <c:pt idx="83">
                  <c:v>765.2778</c:v>
                </c:pt>
                <c:pt idx="84">
                  <c:v>652.6907</c:v>
                </c:pt>
                <c:pt idx="85">
                  <c:v>1020.6418</c:v>
                </c:pt>
                <c:pt idx="86">
                  <c:v>1003.4365</c:v>
                </c:pt>
                <c:pt idx="87">
                  <c:v>1144.7822</c:v>
                </c:pt>
                <c:pt idx="88">
                  <c:v>1158.9575</c:v>
                </c:pt>
                <c:pt idx="89">
                  <c:v>1056.8342</c:v>
                </c:pt>
                <c:pt idx="90">
                  <c:v>1054.7853</c:v>
                </c:pt>
                <c:pt idx="91">
                  <c:v>1185.1808</c:v>
                </c:pt>
                <c:pt idx="92">
                  <c:v>1212.1822</c:v>
                </c:pt>
                <c:pt idx="93">
                  <c:v>1208.2851</c:v>
                </c:pt>
                <c:pt idx="94">
                  <c:v>1196.4341</c:v>
                </c:pt>
                <c:pt idx="95">
                  <c:v>1197.3427</c:v>
                </c:pt>
                <c:pt idx="96">
                  <c:v>1126.8249</c:v>
                </c:pt>
                <c:pt idx="97">
                  <c:v>1159.372</c:v>
                </c:pt>
                <c:pt idx="98">
                  <c:v>1138.1338</c:v>
                </c:pt>
                <c:pt idx="99">
                  <c:v>1120.6921</c:v>
                </c:pt>
                <c:pt idx="100">
                  <c:v>1122.7748</c:v>
                </c:pt>
                <c:pt idx="101">
                  <c:v>1119.359</c:v>
                </c:pt>
                <c:pt idx="102">
                  <c:v>1165.8732</c:v>
                </c:pt>
                <c:pt idx="103">
                  <c:v>1051.4988</c:v>
                </c:pt>
                <c:pt idx="104">
                  <c:v>1124.9526</c:v>
                </c:pt>
              </c:numCache>
            </c:numRef>
          </c:xVal>
          <c:yVal>
            <c:numRef>
              <c:f>Sheet1!$B$2:$B$106</c:f>
              <c:numCache>
                <c:formatCode>General</c:formatCode>
                <c:ptCount val="105"/>
                <c:pt idx="0">
                  <c:v>0.15367358384744811</c:v>
                </c:pt>
                <c:pt idx="1">
                  <c:v>0.15822164105916967</c:v>
                </c:pt>
                <c:pt idx="2">
                  <c:v>0.1363773813123677</c:v>
                </c:pt>
                <c:pt idx="3">
                  <c:v>0.14218009478672985</c:v>
                </c:pt>
                <c:pt idx="4">
                  <c:v>0.14463276836158193</c:v>
                </c:pt>
                <c:pt idx="5">
                  <c:v>0.13215149073327961</c:v>
                </c:pt>
                <c:pt idx="6">
                  <c:v>0.1631762652705061</c:v>
                </c:pt>
                <c:pt idx="7">
                  <c:v>0.16602739726027396</c:v>
                </c:pt>
                <c:pt idx="8">
                  <c:v>0.15930902111324377</c:v>
                </c:pt>
                <c:pt idx="9">
                  <c:v>0.1484375</c:v>
                </c:pt>
                <c:pt idx="10">
                  <c:v>0.1661526599845798</c:v>
                </c:pt>
                <c:pt idx="11">
                  <c:v>0.16020170674941817</c:v>
                </c:pt>
                <c:pt idx="12">
                  <c:v>0.17421953675730112</c:v>
                </c:pt>
                <c:pt idx="13">
                  <c:v>0.1859804231133565</c:v>
                </c:pt>
                <c:pt idx="14">
                  <c:v>0.17084028937117418</c:v>
                </c:pt>
                <c:pt idx="15">
                  <c:v>0.1681169509223808</c:v>
                </c:pt>
                <c:pt idx="16">
                  <c:v>0.17334458034584563</c:v>
                </c:pt>
                <c:pt idx="17">
                  <c:v>0.14956521739130435</c:v>
                </c:pt>
                <c:pt idx="18">
                  <c:v>0.12896515860634425</c:v>
                </c:pt>
                <c:pt idx="19">
                  <c:v>0.12084993359893759</c:v>
                </c:pt>
                <c:pt idx="20">
                  <c:v>0.13700707785642063</c:v>
                </c:pt>
                <c:pt idx="21">
                  <c:v>0.12987012987012986</c:v>
                </c:pt>
                <c:pt idx="22">
                  <c:v>0.13075383589059372</c:v>
                </c:pt>
                <c:pt idx="23">
                  <c:v>0.14863102998696218</c:v>
                </c:pt>
                <c:pt idx="24">
                  <c:v>0.13791113675706868</c:v>
                </c:pt>
                <c:pt idx="25">
                  <c:v>0.143054595715273</c:v>
                </c:pt>
                <c:pt idx="26">
                  <c:v>0.1568627450980392</c:v>
                </c:pt>
                <c:pt idx="27">
                  <c:v>0.13693398799781778</c:v>
                </c:pt>
                <c:pt idx="28">
                  <c:v>0.1528555431131019</c:v>
                </c:pt>
                <c:pt idx="29">
                  <c:v>0.19431480695799747</c:v>
                </c:pt>
                <c:pt idx="30">
                  <c:v>0.16411764705882353</c:v>
                </c:pt>
                <c:pt idx="31">
                  <c:v>0.15149833518312986</c:v>
                </c:pt>
                <c:pt idx="32">
                  <c:v>0.1665725578769057</c:v>
                </c:pt>
                <c:pt idx="33">
                  <c:v>0.18309859154929578</c:v>
                </c:pt>
                <c:pt idx="34">
                  <c:v>0.17253086419753086</c:v>
                </c:pt>
                <c:pt idx="35">
                  <c:v>0.1595156620163201</c:v>
                </c:pt>
                <c:pt idx="36">
                  <c:v>0.12098956320061847</c:v>
                </c:pt>
                <c:pt idx="37">
                  <c:v>0.10662122687439143</c:v>
                </c:pt>
                <c:pt idx="38">
                  <c:v>0.10622529644268774</c:v>
                </c:pt>
                <c:pt idx="39">
                  <c:v>0.10921501706484642</c:v>
                </c:pt>
                <c:pt idx="40">
                  <c:v>0.11160384331116038</c:v>
                </c:pt>
                <c:pt idx="41">
                  <c:v>0.09460083064143977</c:v>
                </c:pt>
                <c:pt idx="42">
                  <c:v>0.09094551282051282</c:v>
                </c:pt>
                <c:pt idx="43">
                  <c:v>0.1044776119402985</c:v>
                </c:pt>
                <c:pt idx="44">
                  <c:v>0.14159492523787948</c:v>
                </c:pt>
                <c:pt idx="45">
                  <c:v>0.17524457677584007</c:v>
                </c:pt>
                <c:pt idx="46">
                  <c:v>0.17752059631227932</c:v>
                </c:pt>
                <c:pt idx="47">
                  <c:v>0.18347826086956523</c:v>
                </c:pt>
                <c:pt idx="48">
                  <c:v>0.2027847726262776</c:v>
                </c:pt>
                <c:pt idx="49">
                  <c:v>0.21907849494056392</c:v>
                </c:pt>
                <c:pt idx="50">
                  <c:v>0.18319291423633613</c:v>
                </c:pt>
                <c:pt idx="51">
                  <c:v>0.1561928004881025</c:v>
                </c:pt>
                <c:pt idx="52">
                  <c:v>0.18424657534246575</c:v>
                </c:pt>
                <c:pt idx="53">
                  <c:v>0.16856971153846154</c:v>
                </c:pt>
                <c:pt idx="54">
                  <c:v>0.15195569401176878</c:v>
                </c:pt>
                <c:pt idx="55">
                  <c:v>0.13217576187101346</c:v>
                </c:pt>
                <c:pt idx="56">
                  <c:v>0.1365989645559538</c:v>
                </c:pt>
                <c:pt idx="57">
                  <c:v>0.14220665499124344</c:v>
                </c:pt>
                <c:pt idx="58">
                  <c:v>0.1516279069767442</c:v>
                </c:pt>
                <c:pt idx="59">
                  <c:v>0.16341799566843868</c:v>
                </c:pt>
                <c:pt idx="60">
                  <c:v>0.16875712656784492</c:v>
                </c:pt>
                <c:pt idx="61">
                  <c:v>0.16768707482993198</c:v>
                </c:pt>
                <c:pt idx="62">
                  <c:v>0.17272727272727273</c:v>
                </c:pt>
                <c:pt idx="63">
                  <c:v>0.18790181180596144</c:v>
                </c:pt>
                <c:pt idx="64">
                  <c:v>0.1761055081458495</c:v>
                </c:pt>
                <c:pt idx="65">
                  <c:v>0.16062450383699392</c:v>
                </c:pt>
                <c:pt idx="66">
                  <c:v>0.1791503633314701</c:v>
                </c:pt>
                <c:pt idx="67">
                  <c:v>0.19458403126744836</c:v>
                </c:pt>
                <c:pt idx="68">
                  <c:v>0.19904567143830948</c:v>
                </c:pt>
                <c:pt idx="69">
                  <c:v>0.16602316602316602</c:v>
                </c:pt>
                <c:pt idx="70">
                  <c:v>0.14813205907906168</c:v>
                </c:pt>
                <c:pt idx="71">
                  <c:v>0.1769633507853403</c:v>
                </c:pt>
                <c:pt idx="72">
                  <c:v>0.1592356687898089</c:v>
                </c:pt>
                <c:pt idx="73">
                  <c:v>0.17608142493638676</c:v>
                </c:pt>
                <c:pt idx="74">
                  <c:v>0.16824111560953667</c:v>
                </c:pt>
                <c:pt idx="75">
                  <c:v>0.18654266958424506</c:v>
                </c:pt>
                <c:pt idx="76">
                  <c:v>0.15692934782608695</c:v>
                </c:pt>
                <c:pt idx="77">
                  <c:v>0.2025836758661186</c:v>
                </c:pt>
                <c:pt idx="78">
                  <c:v>0.13406079501169135</c:v>
                </c:pt>
                <c:pt idx="79">
                  <c:v>0.24820143884892087</c:v>
                </c:pt>
                <c:pt idx="80">
                  <c:v>0.2708333333333333</c:v>
                </c:pt>
                <c:pt idx="81">
                  <c:v>0.15226876090750435</c:v>
                </c:pt>
                <c:pt idx="82">
                  <c:v>0.14365671641791045</c:v>
                </c:pt>
                <c:pt idx="83">
                  <c:v>0.12474012474012475</c:v>
                </c:pt>
                <c:pt idx="84">
                  <c:v>0.15956727518593644</c:v>
                </c:pt>
                <c:pt idx="85">
                  <c:v>0.12196601941747573</c:v>
                </c:pt>
                <c:pt idx="86">
                  <c:v>0.13108454312553372</c:v>
                </c:pt>
                <c:pt idx="87">
                  <c:v>0.13713163064833006</c:v>
                </c:pt>
                <c:pt idx="88">
                  <c:v>0.1172566371681416</c:v>
                </c:pt>
                <c:pt idx="89">
                  <c:v>0.11873015873015873</c:v>
                </c:pt>
                <c:pt idx="90">
                  <c:v>0.11696264543784446</c:v>
                </c:pt>
                <c:pt idx="91">
                  <c:v>0.10417892878163626</c:v>
                </c:pt>
                <c:pt idx="92">
                  <c:v>0.11100658513640639</c:v>
                </c:pt>
                <c:pt idx="93">
                  <c:v>0.10576057605760576</c:v>
                </c:pt>
                <c:pt idx="94">
                  <c:v>0.10812236286919831</c:v>
                </c:pt>
                <c:pt idx="95">
                  <c:v>0.10995770857362552</c:v>
                </c:pt>
                <c:pt idx="96">
                  <c:v>0.11370987807912417</c:v>
                </c:pt>
                <c:pt idx="97">
                  <c:v>0.11425917324663261</c:v>
                </c:pt>
                <c:pt idx="98">
                  <c:v>0.1433552886478109</c:v>
                </c:pt>
                <c:pt idx="99">
                  <c:v>0.1398542125784031</c:v>
                </c:pt>
                <c:pt idx="100">
                  <c:v>0.16605515445614866</c:v>
                </c:pt>
                <c:pt idx="101">
                  <c:v>0.16085561497326203</c:v>
                </c:pt>
                <c:pt idx="102">
                  <c:v>0.11512939615129396</c:v>
                </c:pt>
                <c:pt idx="103">
                  <c:v>0.12469660194174757</c:v>
                </c:pt>
                <c:pt idx="104">
                  <c:v>0.132472324723247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5.1306</c:v>
                </c:pt>
                <c:pt idx="1">
                  <c:v>1151.8238</c:v>
                </c:pt>
                <c:pt idx="2">
                  <c:v>1128.3664</c:v>
                </c:pt>
                <c:pt idx="3">
                  <c:v>1044.1796</c:v>
                </c:pt>
                <c:pt idx="4">
                  <c:v>1116.1394</c:v>
                </c:pt>
                <c:pt idx="5">
                  <c:v>1130.4939</c:v>
                </c:pt>
                <c:pt idx="6">
                  <c:v>1051.7155</c:v>
                </c:pt>
                <c:pt idx="7">
                  <c:v>1137.0892</c:v>
                </c:pt>
                <c:pt idx="8">
                  <c:v>1264.2027</c:v>
                </c:pt>
                <c:pt idx="9">
                  <c:v>1170.7748</c:v>
                </c:pt>
                <c:pt idx="10">
                  <c:v>1207.7267</c:v>
                </c:pt>
                <c:pt idx="11">
                  <c:v>1063.4721</c:v>
                </c:pt>
                <c:pt idx="12">
                  <c:v>1075.6516</c:v>
                </c:pt>
                <c:pt idx="13">
                  <c:v>1113.47</c:v>
                </c:pt>
                <c:pt idx="14">
                  <c:v>1127.6733</c:v>
                </c:pt>
                <c:pt idx="15">
                  <c:v>1192.0873</c:v>
                </c:pt>
                <c:pt idx="16">
                  <c:v>1241.1897</c:v>
                </c:pt>
                <c:pt idx="17">
                  <c:v>1197.1593</c:v>
                </c:pt>
                <c:pt idx="18">
                  <c:v>1103.6349</c:v>
                </c:pt>
                <c:pt idx="19">
                  <c:v>1260.1166</c:v>
                </c:pt>
                <c:pt idx="20">
                  <c:v>1340.6196</c:v>
                </c:pt>
                <c:pt idx="21">
                  <c:v>1227.7379</c:v>
                </c:pt>
                <c:pt idx="22">
                  <c:v>1211.8762</c:v>
                </c:pt>
                <c:pt idx="23">
                  <c:v>1170.6637</c:v>
                </c:pt>
                <c:pt idx="24">
                  <c:v>1207.375</c:v>
                </c:pt>
                <c:pt idx="25">
                  <c:v>1171.6667</c:v>
                </c:pt>
                <c:pt idx="26">
                  <c:v>1145.3333</c:v>
                </c:pt>
                <c:pt idx="27">
                  <c:v>1215.6552</c:v>
                </c:pt>
                <c:pt idx="28">
                  <c:v>1183.3256</c:v>
                </c:pt>
                <c:pt idx="29">
                  <c:v>1190.9724</c:v>
                </c:pt>
                <c:pt idx="30">
                  <c:v>1198.0104</c:v>
                </c:pt>
                <c:pt idx="31">
                  <c:v>1074.8317</c:v>
                </c:pt>
                <c:pt idx="32">
                  <c:v>1091.9808</c:v>
                </c:pt>
                <c:pt idx="33">
                  <c:v>1141.3083</c:v>
                </c:pt>
                <c:pt idx="34">
                  <c:v>1184.8507</c:v>
                </c:pt>
                <c:pt idx="35">
                  <c:v>1199.1004</c:v>
                </c:pt>
                <c:pt idx="36">
                  <c:v>1225.0278</c:v>
                </c:pt>
                <c:pt idx="37">
                  <c:v>1169.1684</c:v>
                </c:pt>
                <c:pt idx="38">
                  <c:v>1221.8182</c:v>
                </c:pt>
                <c:pt idx="39">
                  <c:v>1234.0131</c:v>
                </c:pt>
                <c:pt idx="40">
                  <c:v>1268.8889</c:v>
                </c:pt>
                <c:pt idx="41">
                  <c:v>1378.9765</c:v>
                </c:pt>
                <c:pt idx="42">
                  <c:v>1372.0592</c:v>
                </c:pt>
                <c:pt idx="43">
                  <c:v>1337.0677</c:v>
                </c:pt>
                <c:pt idx="44">
                  <c:v>1290.25</c:v>
                </c:pt>
                <c:pt idx="45">
                  <c:v>1240.8884</c:v>
                </c:pt>
                <c:pt idx="46">
                  <c:v>1198.6885</c:v>
                </c:pt>
                <c:pt idx="47">
                  <c:v>1175.6839</c:v>
                </c:pt>
                <c:pt idx="48">
                  <c:v>1213.868</c:v>
                </c:pt>
                <c:pt idx="49">
                  <c:v>1229.9917</c:v>
                </c:pt>
                <c:pt idx="50">
                  <c:v>1078.6178</c:v>
                </c:pt>
                <c:pt idx="51">
                  <c:v>1045.9963</c:v>
                </c:pt>
              </c:numCache>
            </c:numRef>
          </c:xVal>
          <c:yVal>
            <c:numRef>
              <c:f>Sheet1!$B$109:$B$160</c:f>
              <c:numCache>
                <c:formatCode>General</c:formatCode>
                <c:ptCount val="52"/>
                <c:pt idx="0">
                  <c:v>0.13585027428202645</c:v>
                </c:pt>
                <c:pt idx="1">
                  <c:v>0.13829787234042554</c:v>
                </c:pt>
                <c:pt idx="2">
                  <c:v>0.14906457453228728</c:v>
                </c:pt>
                <c:pt idx="3">
                  <c:v>0.16800804828973842</c:v>
                </c:pt>
                <c:pt idx="4">
                  <c:v>0.14581105169340464</c:v>
                </c:pt>
                <c:pt idx="5">
                  <c:v>0.14612361557699177</c:v>
                </c:pt>
                <c:pt idx="6">
                  <c:v>0.14493632504548212</c:v>
                </c:pt>
                <c:pt idx="7">
                  <c:v>0.12948453608247423</c:v>
                </c:pt>
                <c:pt idx="8">
                  <c:v>0.12177729018102029</c:v>
                </c:pt>
                <c:pt idx="9">
                  <c:v>0.12626506024096384</c:v>
                </c:pt>
                <c:pt idx="10">
                  <c:v>0.14181486548107616</c:v>
                </c:pt>
                <c:pt idx="11">
                  <c:v>0.14694224235560588</c:v>
                </c:pt>
                <c:pt idx="12">
                  <c:v>0.15356671070013211</c:v>
                </c:pt>
                <c:pt idx="13">
                  <c:v>0.15628375945264675</c:v>
                </c:pt>
                <c:pt idx="14">
                  <c:v>0.1616</c:v>
                </c:pt>
                <c:pt idx="15">
                  <c:v>0.15590689503732982</c:v>
                </c:pt>
                <c:pt idx="16">
                  <c:v>0.14215686274509803</c:v>
                </c:pt>
                <c:pt idx="17">
                  <c:v>0.11863517060367454</c:v>
                </c:pt>
                <c:pt idx="18">
                  <c:v>0.12022900763358779</c:v>
                </c:pt>
                <c:pt idx="19">
                  <c:v>0.13597560975609757</c:v>
                </c:pt>
                <c:pt idx="20">
                  <c:v>0.11133879781420765</c:v>
                </c:pt>
                <c:pt idx="21">
                  <c:v>0.10830704521556257</c:v>
                </c:pt>
                <c:pt idx="22">
                  <c:v>0.10880829015544041</c:v>
                </c:pt>
                <c:pt idx="23">
                  <c:v>0.10630291627469426</c:v>
                </c:pt>
                <c:pt idx="24">
                  <c:v>0.10567210567210568</c:v>
                </c:pt>
                <c:pt idx="25">
                  <c:v>0.10403225806451613</c:v>
                </c:pt>
                <c:pt idx="26">
                  <c:v>0.10541110330288124</c:v>
                </c:pt>
                <c:pt idx="27">
                  <c:v>0.10507246376811594</c:v>
                </c:pt>
                <c:pt idx="28">
                  <c:v>0.12823061630218688</c:v>
                </c:pt>
                <c:pt idx="29">
                  <c:v>0.11822338340953625</c:v>
                </c:pt>
                <c:pt idx="30">
                  <c:v>0.12548764629388817</c:v>
                </c:pt>
                <c:pt idx="31">
                  <c:v>0.13445378151260504</c:v>
                </c:pt>
                <c:pt idx="32">
                  <c:v>0.1471251409244645</c:v>
                </c:pt>
                <c:pt idx="33">
                  <c:v>0.15891313297653356</c:v>
                </c:pt>
                <c:pt idx="34">
                  <c:v>0.18118990384615385</c:v>
                </c:pt>
                <c:pt idx="35">
                  <c:v>0.17662938681064405</c:v>
                </c:pt>
                <c:pt idx="36">
                  <c:v>0.13206162876008803</c:v>
                </c:pt>
                <c:pt idx="37">
                  <c:v>0.12132822477650064</c:v>
                </c:pt>
                <c:pt idx="38">
                  <c:v>0.12464589235127478</c:v>
                </c:pt>
                <c:pt idx="39">
                  <c:v>0.1527708437343984</c:v>
                </c:pt>
                <c:pt idx="40">
                  <c:v>0.11073825503355705</c:v>
                </c:pt>
                <c:pt idx="41">
                  <c:v>0.1134185303514377</c:v>
                </c:pt>
                <c:pt idx="42">
                  <c:v>0.1003562945368171</c:v>
                </c:pt>
                <c:pt idx="43">
                  <c:v>0.10978126289723483</c:v>
                </c:pt>
                <c:pt idx="44">
                  <c:v>0.0935593220338983</c:v>
                </c:pt>
                <c:pt idx="45">
                  <c:v>0.1106791676194832</c:v>
                </c:pt>
                <c:pt idx="46">
                  <c:v>0.10967935271201679</c:v>
                </c:pt>
                <c:pt idx="47">
                  <c:v>0.10928652321630804</c:v>
                </c:pt>
                <c:pt idx="48">
                  <c:v>0.09912748424624333</c:v>
                </c:pt>
                <c:pt idx="49">
                  <c:v>0.11349693251533742</c:v>
                </c:pt>
                <c:pt idx="50">
                  <c:v>0.14885611077664057</c:v>
                </c:pt>
                <c:pt idx="51">
                  <c:v>0.140046595909914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0.7748906063802</c:v>
                </c:pt>
              </c:numCache>
            </c:numRef>
          </c:xVal>
          <c:yVal>
            <c:numRef>
              <c:f>Sheet1!$B$163:$B$164</c:f>
              <c:numCache>
                <c:formatCode>General</c:formatCode>
                <c:ptCount val="2"/>
                <c:pt idx="0">
                  <c:v>0.1741739928459232</c:v>
                </c:pt>
                <c:pt idx="1">
                  <c:v>0.174173992845923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0.7748906063802</c:v>
                </c:pt>
                <c:pt idx="1">
                  <c:v>880.7748906063802</c:v>
                </c:pt>
              </c:numCache>
            </c:numRef>
          </c:xVal>
          <c:yVal>
            <c:numRef>
              <c:f>Sheet1!$B$167:$B$168</c:f>
              <c:numCache>
                <c:formatCode>General</c:formatCode>
                <c:ptCount val="2"/>
                <c:pt idx="0">
                  <c:v>0.17417399284592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0.4228695367854</c:v>
                </c:pt>
              </c:numCache>
            </c:numRef>
          </c:xVal>
          <c:yVal>
            <c:numRef>
              <c:f>Sheet1!$B$171:$B$172</c:f>
              <c:numCache>
                <c:formatCode>General</c:formatCode>
                <c:ptCount val="2"/>
                <c:pt idx="0">
                  <c:v>0.14215039866931675</c:v>
                </c:pt>
                <c:pt idx="1">
                  <c:v>0.142150398669316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0.4228695367854</c:v>
                </c:pt>
                <c:pt idx="1">
                  <c:v>1100.4228695367854</c:v>
                </c:pt>
              </c:numCache>
            </c:numRef>
          </c:xVal>
          <c:yVal>
            <c:numRef>
              <c:f>Sheet1!$B$175:$B$176</c:f>
              <c:numCache>
                <c:formatCode>General</c:formatCode>
                <c:ptCount val="2"/>
                <c:pt idx="0">
                  <c:v>0.142150398669316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7.78377287933</c:v>
                </c:pt>
              </c:numCache>
            </c:numRef>
          </c:xVal>
          <c:yVal>
            <c:numRef>
              <c:f>Sheet1!$B$179:$B$180</c:f>
              <c:numCache>
                <c:formatCode>General</c:formatCode>
                <c:ptCount val="2"/>
                <c:pt idx="0">
                  <c:v>0.11629205196794519</c:v>
                </c:pt>
                <c:pt idx="1">
                  <c:v>0.1162920519679451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7.78377287933</c:v>
                </c:pt>
                <c:pt idx="1">
                  <c:v>1277.78377287933</c:v>
                </c:pt>
              </c:numCache>
            </c:numRef>
          </c:xVal>
          <c:yVal>
            <c:numRef>
              <c:f>Sheet1!$B$183:$B$184</c:f>
              <c:numCache>
                <c:formatCode>General</c:formatCode>
                <c:ptCount val="2"/>
                <c:pt idx="0">
                  <c:v>0.116292051967945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5.1306</c:v>
                </c:pt>
                <c:pt idx="1">
                  <c:v>1151.8238</c:v>
                </c:pt>
                <c:pt idx="2">
                  <c:v>1128.3664</c:v>
                </c:pt>
                <c:pt idx="3">
                  <c:v>1044.1796</c:v>
                </c:pt>
                <c:pt idx="4">
                  <c:v>1116.1394</c:v>
                </c:pt>
                <c:pt idx="5">
                  <c:v>1130.4939</c:v>
                </c:pt>
                <c:pt idx="6">
                  <c:v>1051.7155</c:v>
                </c:pt>
                <c:pt idx="7">
                  <c:v>1137.0892</c:v>
                </c:pt>
                <c:pt idx="8">
                  <c:v>1264.2027</c:v>
                </c:pt>
                <c:pt idx="9">
                  <c:v>1170.7748</c:v>
                </c:pt>
                <c:pt idx="10">
                  <c:v>1207.7267</c:v>
                </c:pt>
                <c:pt idx="11">
                  <c:v>1063.4721</c:v>
                </c:pt>
                <c:pt idx="12">
                  <c:v>1075.6516</c:v>
                </c:pt>
                <c:pt idx="13">
                  <c:v>1113.47</c:v>
                </c:pt>
                <c:pt idx="14">
                  <c:v>1127.6733</c:v>
                </c:pt>
                <c:pt idx="15">
                  <c:v>1192.0873</c:v>
                </c:pt>
                <c:pt idx="16">
                  <c:v>1241.1897</c:v>
                </c:pt>
                <c:pt idx="17">
                  <c:v>1197.1593</c:v>
                </c:pt>
                <c:pt idx="18">
                  <c:v>1103.6349</c:v>
                </c:pt>
                <c:pt idx="19">
                  <c:v>1260.1166</c:v>
                </c:pt>
                <c:pt idx="20">
                  <c:v>1340.6196</c:v>
                </c:pt>
                <c:pt idx="21">
                  <c:v>1227.7379</c:v>
                </c:pt>
                <c:pt idx="22">
                  <c:v>1211.8762</c:v>
                </c:pt>
                <c:pt idx="23">
                  <c:v>1170.6637</c:v>
                </c:pt>
                <c:pt idx="24">
                  <c:v>1207.375</c:v>
                </c:pt>
                <c:pt idx="25">
                  <c:v>1171.6667</c:v>
                </c:pt>
                <c:pt idx="26">
                  <c:v>1145.3333</c:v>
                </c:pt>
                <c:pt idx="27">
                  <c:v>1215.6552</c:v>
                </c:pt>
                <c:pt idx="28">
                  <c:v>1183.3256</c:v>
                </c:pt>
                <c:pt idx="29">
                  <c:v>1190.9724</c:v>
                </c:pt>
                <c:pt idx="30">
                  <c:v>1198.0104</c:v>
                </c:pt>
                <c:pt idx="31">
                  <c:v>1074.8317</c:v>
                </c:pt>
                <c:pt idx="32">
                  <c:v>1091.9808</c:v>
                </c:pt>
                <c:pt idx="33">
                  <c:v>1141.3083</c:v>
                </c:pt>
                <c:pt idx="34">
                  <c:v>1184.8507</c:v>
                </c:pt>
                <c:pt idx="35">
                  <c:v>1199.1004</c:v>
                </c:pt>
                <c:pt idx="36">
                  <c:v>1225.0278</c:v>
                </c:pt>
                <c:pt idx="37">
                  <c:v>1169.1684</c:v>
                </c:pt>
                <c:pt idx="38">
                  <c:v>1221.8182</c:v>
                </c:pt>
                <c:pt idx="39">
                  <c:v>1234.0131</c:v>
                </c:pt>
                <c:pt idx="40">
                  <c:v>1268.8889</c:v>
                </c:pt>
                <c:pt idx="41">
                  <c:v>1378.9765</c:v>
                </c:pt>
                <c:pt idx="42">
                  <c:v>1372.0592</c:v>
                </c:pt>
                <c:pt idx="43">
                  <c:v>1337.0677</c:v>
                </c:pt>
                <c:pt idx="44">
                  <c:v>1290.25</c:v>
                </c:pt>
                <c:pt idx="45">
                  <c:v>1240.8884</c:v>
                </c:pt>
                <c:pt idx="46">
                  <c:v>1198.6885</c:v>
                </c:pt>
                <c:pt idx="47">
                  <c:v>1175.6839</c:v>
                </c:pt>
                <c:pt idx="48">
                  <c:v>1213.868</c:v>
                </c:pt>
                <c:pt idx="49">
                  <c:v>1229.9917</c:v>
                </c:pt>
                <c:pt idx="50">
                  <c:v>1078.6178</c:v>
                </c:pt>
                <c:pt idx="51">
                  <c:v>1045.9963</c:v>
                </c:pt>
                <c:pt idx="52">
                  <c:v>1100.4228695367854</c:v>
                </c:pt>
                <c:pt idx="53">
                  <c:v>880.7748906063802</c:v>
                </c:pt>
                <c:pt idx="54">
                  <c:v>1277.78377287933</c:v>
                </c:pt>
              </c:numCache>
            </c:numRef>
          </c:xVal>
          <c:yVal>
            <c:numRef>
              <c:f>Sheet1!$B$187:$B$241</c:f>
              <c:numCache>
                <c:formatCode>General</c:formatCode>
                <c:ptCount val="55"/>
                <c:pt idx="0">
                  <c:v>0.12980042851623447</c:v>
                </c:pt>
                <c:pt idx="1">
                  <c:v>0.13465639601347854</c:v>
                </c:pt>
                <c:pt idx="2">
                  <c:v>0.13807636947144664</c:v>
                </c:pt>
                <c:pt idx="3">
                  <c:v>0.15035039052711657</c:v>
                </c:pt>
                <c:pt idx="4">
                  <c:v>0.13985900588769806</c:v>
                </c:pt>
                <c:pt idx="5">
                  <c:v>0.13776619044342875</c:v>
                </c:pt>
                <c:pt idx="6">
                  <c:v>0.14925169340032918</c:v>
                </c:pt>
                <c:pt idx="7">
                  <c:v>0.13680462816681938</c:v>
                </c:pt>
                <c:pt idx="8">
                  <c:v>0.11827210554498438</c:v>
                </c:pt>
                <c:pt idx="9">
                  <c:v>0.13189343349410496</c:v>
                </c:pt>
                <c:pt idx="10">
                  <c:v>0.12650602835877484</c:v>
                </c:pt>
                <c:pt idx="11">
                  <c:v>0.14753763898867453</c:v>
                </c:pt>
                <c:pt idx="12">
                  <c:v>0.14576192783861858</c:v>
                </c:pt>
                <c:pt idx="13">
                  <c:v>0.1402481912683754</c:v>
                </c:pt>
                <c:pt idx="14">
                  <c:v>0.13817742003986933</c:v>
                </c:pt>
                <c:pt idx="15">
                  <c:v>0.12878617589850844</c:v>
                </c:pt>
                <c:pt idx="16">
                  <c:v>0.12162728767037853</c:v>
                </c:pt>
                <c:pt idx="17">
                  <c:v>0.12804670326391063</c:v>
                </c:pt>
                <c:pt idx="18">
                  <c:v>0.1416821004380388</c:v>
                </c:pt>
                <c:pt idx="19">
                  <c:v>0.11886783881237989</c:v>
                </c:pt>
                <c:pt idx="20">
                  <c:v>0.10713089766430686</c:v>
                </c:pt>
                <c:pt idx="21">
                  <c:v>0.12358849389791846</c:v>
                </c:pt>
                <c:pt idx="22">
                  <c:v>0.12590105168344684</c:v>
                </c:pt>
                <c:pt idx="23">
                  <c:v>0.13190963132724842</c:v>
                </c:pt>
                <c:pt idx="24">
                  <c:v>0.12655730448763683</c:v>
                </c:pt>
                <c:pt idx="25">
                  <c:v>0.13176339886421579</c:v>
                </c:pt>
                <c:pt idx="26">
                  <c:v>0.13560267896593456</c:v>
                </c:pt>
                <c:pt idx="27">
                  <c:v>0.12535009208444348</c:v>
                </c:pt>
                <c:pt idx="28">
                  <c:v>0.13006358863166212</c:v>
                </c:pt>
                <c:pt idx="29">
                  <c:v>0.1289487228307468</c:v>
                </c:pt>
                <c:pt idx="30">
                  <c:v>0.1279226170731957</c:v>
                </c:pt>
                <c:pt idx="31">
                  <c:v>0.14588146522290615</c:v>
                </c:pt>
                <c:pt idx="32">
                  <c:v>0.14338121085421904</c:v>
                </c:pt>
                <c:pt idx="33">
                  <c:v>0.13618950415407655</c:v>
                </c:pt>
                <c:pt idx="34">
                  <c:v>0.1298412365585105</c:v>
                </c:pt>
                <c:pt idx="35">
                  <c:v>0.1277637004383945</c:v>
                </c:pt>
                <c:pt idx="36">
                  <c:v>0.1239836131382622</c:v>
                </c:pt>
                <c:pt idx="37">
                  <c:v>0.13212763870708163</c:v>
                </c:pt>
                <c:pt idx="38">
                  <c:v>0.12445155701996671</c:v>
                </c:pt>
                <c:pt idx="39">
                  <c:v>0.12267360062571264</c:v>
                </c:pt>
                <c:pt idx="40">
                  <c:v>0.11758888065140155</c:v>
                </c:pt>
                <c:pt idx="41">
                  <c:v>0.10153865044466881</c:v>
                </c:pt>
                <c:pt idx="42">
                  <c:v>0.10254715873632958</c:v>
                </c:pt>
                <c:pt idx="43">
                  <c:v>0.10764874720114201</c:v>
                </c:pt>
                <c:pt idx="44">
                  <c:v>0.11447453741502397</c:v>
                </c:pt>
                <c:pt idx="45">
                  <c:v>0.12167121572731943</c:v>
                </c:pt>
                <c:pt idx="46">
                  <c:v>0.12782375343094002</c:v>
                </c:pt>
                <c:pt idx="47">
                  <c:v>0.13117771087768063</c:v>
                </c:pt>
                <c:pt idx="48">
                  <c:v>0.1256106570474863</c:v>
                </c:pt>
                <c:pt idx="49">
                  <c:v>0.12325990095157452</c:v>
                </c:pt>
                <c:pt idx="50">
                  <c:v>0.14532947047885042</c:v>
                </c:pt>
                <c:pt idx="51">
                  <c:v>0.15008552460927865</c:v>
                </c:pt>
                <c:pt idx="52">
                  <c:v>0.14215039866931675</c:v>
                </c:pt>
                <c:pt idx="53">
                  <c:v>0.1741739928459232</c:v>
                </c:pt>
                <c:pt idx="54">
                  <c:v>0.116292051967945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5.0"/>
          <c:min val="3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499999999999996"/>
          <c:min val="0.07275641025641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448596089479526</c:v>
                </c:pt>
                <c:pt idx="1">
                  <c:v>1.875460871796551</c:v>
                </c:pt>
                <c:pt idx="2">
                  <c:v>2.0002393061357724</c:v>
                </c:pt>
                <c:pt idx="3">
                  <c:v>2.0319543556661968</c:v>
                </c:pt>
                <c:pt idx="4">
                  <c:v>2.0336110574565773</c:v>
                </c:pt>
                <c:pt idx="5">
                  <c:v>2.0502487717663653</c:v>
                </c:pt>
                <c:pt idx="6">
                  <c:v>1.8945559581351235</c:v>
                </c:pt>
                <c:pt idx="7">
                  <c:v>1.9575383332044625</c:v>
                </c:pt>
                <c:pt idx="8">
                  <c:v>1.9671918153748718</c:v>
                </c:pt>
                <c:pt idx="9">
                  <c:v>2.3211879901960786</c:v>
                </c:pt>
                <c:pt idx="10">
                  <c:v>2.1648749239498164</c:v>
                </c:pt>
                <c:pt idx="11">
                  <c:v>2.012221506225705</c:v>
                </c:pt>
                <c:pt idx="12">
                  <c:v>2.070917079069048</c:v>
                </c:pt>
                <c:pt idx="13">
                  <c:v>1.9831492594088589</c:v>
                </c:pt>
                <c:pt idx="14">
                  <c:v>2.002246938522768</c:v>
                </c:pt>
                <c:pt idx="15">
                  <c:v>1.983107283975114</c:v>
                </c:pt>
                <c:pt idx="16">
                  <c:v>1.9610799270032409</c:v>
                </c:pt>
                <c:pt idx="17">
                  <c:v>2.0198546312620405</c:v>
                </c:pt>
                <c:pt idx="18">
                  <c:v>2.0986219006940208</c:v>
                </c:pt>
                <c:pt idx="19">
                  <c:v>2.1941185380353003</c:v>
                </c:pt>
                <c:pt idx="20">
                  <c:v>2.18331636740744</c:v>
                </c:pt>
                <c:pt idx="21">
                  <c:v>2.226591218875981</c:v>
                </c:pt>
                <c:pt idx="22">
                  <c:v>2.1656601473202945</c:v>
                </c:pt>
                <c:pt idx="23">
                  <c:v>1.8320745418475344</c:v>
                </c:pt>
                <c:pt idx="24">
                  <c:v>1.7529246547037218</c:v>
                </c:pt>
                <c:pt idx="25">
                  <c:v>1.707205783525169</c:v>
                </c:pt>
                <c:pt idx="26">
                  <c:v>1.7512857053581166</c:v>
                </c:pt>
                <c:pt idx="27">
                  <c:v>1.8105615493764688</c:v>
                </c:pt>
                <c:pt idx="28">
                  <c:v>1.770966309771009</c:v>
                </c:pt>
                <c:pt idx="29">
                  <c:v>1.4184530895660528</c:v>
                </c:pt>
                <c:pt idx="30">
                  <c:v>1.5190997379912665</c:v>
                </c:pt>
                <c:pt idx="31">
                  <c:v>1.6076389899157686</c:v>
                </c:pt>
                <c:pt idx="32">
                  <c:v>1.5841137320548109</c:v>
                </c:pt>
                <c:pt idx="33">
                  <c:v>1.5717460665849925</c:v>
                </c:pt>
                <c:pt idx="34">
                  <c:v>1.7720091821578072</c:v>
                </c:pt>
                <c:pt idx="35">
                  <c:v>1.9044708108375452</c:v>
                </c:pt>
                <c:pt idx="36">
                  <c:v>1.942487898567301</c:v>
                </c:pt>
                <c:pt idx="37">
                  <c:v>1.8946546748409117</c:v>
                </c:pt>
                <c:pt idx="38">
                  <c:v>2.079692877526258</c:v>
                </c:pt>
                <c:pt idx="39">
                  <c:v>2.0647230994404273</c:v>
                </c:pt>
                <c:pt idx="40">
                  <c:v>2.1066873621154283</c:v>
                </c:pt>
                <c:pt idx="41">
                  <c:v>2.121008467228164</c:v>
                </c:pt>
                <c:pt idx="42">
                  <c:v>2.162640668044077</c:v>
                </c:pt>
                <c:pt idx="43">
                  <c:v>2.1564471283783786</c:v>
                </c:pt>
                <c:pt idx="44">
                  <c:v>1.7621796974188475</c:v>
                </c:pt>
                <c:pt idx="45">
                  <c:v>1.6456808704072698</c:v>
                </c:pt>
                <c:pt idx="46">
                  <c:v>1.6947141246890212</c:v>
                </c:pt>
                <c:pt idx="47">
                  <c:v>1.7139179807840776</c:v>
                </c:pt>
                <c:pt idx="48">
                  <c:v>1.7065905933887349</c:v>
                </c:pt>
                <c:pt idx="49">
                  <c:v>1.7020499807705554</c:v>
                </c:pt>
                <c:pt idx="50">
                  <c:v>1.5867787470434709</c:v>
                </c:pt>
                <c:pt idx="51">
                  <c:v>1.5957843474940965</c:v>
                </c:pt>
                <c:pt idx="52">
                  <c:v>1.6599684412039617</c:v>
                </c:pt>
                <c:pt idx="53">
                  <c:v>1.7122856265170232</c:v>
                </c:pt>
                <c:pt idx="54">
                  <c:v>1.7201207627954296</c:v>
                </c:pt>
                <c:pt idx="55">
                  <c:v>1.719511130510694</c:v>
                </c:pt>
                <c:pt idx="56">
                  <c:v>1.7445257338747113</c:v>
                </c:pt>
                <c:pt idx="57">
                  <c:v>1.6710220714661224</c:v>
                </c:pt>
                <c:pt idx="58">
                  <c:v>1.6020159440562147</c:v>
                </c:pt>
                <c:pt idx="59">
                  <c:v>1.7073450046025909</c:v>
                </c:pt>
                <c:pt idx="60">
                  <c:v>2.0826849501738516</c:v>
                </c:pt>
                <c:pt idx="61">
                  <c:v>2.003238413837167</c:v>
                </c:pt>
                <c:pt idx="62">
                  <c:v>1.816140234423528</c:v>
                </c:pt>
                <c:pt idx="63">
                  <c:v>1.750345105039736</c:v>
                </c:pt>
                <c:pt idx="64">
                  <c:v>1.8811858942548871</c:v>
                </c:pt>
                <c:pt idx="65">
                  <c:v>1.9660014197093405</c:v>
                </c:pt>
                <c:pt idx="66">
                  <c:v>1.6640930025878633</c:v>
                </c:pt>
                <c:pt idx="67">
                  <c:v>1.3181787431993166</c:v>
                </c:pt>
                <c:pt idx="68">
                  <c:v>1.2480489240046586</c:v>
                </c:pt>
                <c:pt idx="69">
                  <c:v>1.3276876601048935</c:v>
                </c:pt>
                <c:pt idx="70">
                  <c:v>1.2980830945609578</c:v>
                </c:pt>
                <c:pt idx="71">
                  <c:v>1.2895361552423066</c:v>
                </c:pt>
                <c:pt idx="72">
                  <c:v>1.3860615615141374</c:v>
                </c:pt>
                <c:pt idx="73">
                  <c:v>1.3791305594096677</c:v>
                </c:pt>
                <c:pt idx="74">
                  <c:v>1.3682568322429327</c:v>
                </c:pt>
                <c:pt idx="75">
                  <c:v>1.3400567634584608</c:v>
                </c:pt>
                <c:pt idx="76">
                  <c:v>1.4123194779428523</c:v>
                </c:pt>
                <c:pt idx="77">
                  <c:v>1.1862713193201484</c:v>
                </c:pt>
                <c:pt idx="78">
                  <c:v>1.2444600479526031</c:v>
                </c:pt>
                <c:pt idx="79">
                  <c:v>0.7199249427055666</c:v>
                </c:pt>
                <c:pt idx="80">
                  <c:v>0.639282371938263</c:v>
                </c:pt>
                <c:pt idx="81">
                  <c:v>0.9924055277499428</c:v>
                </c:pt>
                <c:pt idx="82">
                  <c:v>1.052881133560745</c:v>
                </c:pt>
                <c:pt idx="83">
                  <c:v>1.1407990833988122</c:v>
                </c:pt>
                <c:pt idx="84">
                  <c:v>0.9564311348780544</c:v>
                </c:pt>
                <c:pt idx="85">
                  <c:v>1.48338663384727</c:v>
                </c:pt>
                <c:pt idx="86">
                  <c:v>1.4858710413320406</c:v>
                </c:pt>
                <c:pt idx="87">
                  <c:v>1.6891599338254522</c:v>
                </c:pt>
                <c:pt idx="88">
                  <c:v>1.7119295882207834</c:v>
                </c:pt>
                <c:pt idx="89">
                  <c:v>1.5745331380228509</c:v>
                </c:pt>
                <c:pt idx="90">
                  <c:v>1.5450874309311537</c:v>
                </c:pt>
                <c:pt idx="91">
                  <c:v>1.7337026458702849</c:v>
                </c:pt>
                <c:pt idx="92">
                  <c:v>1.930226433121019</c:v>
                </c:pt>
                <c:pt idx="93">
                  <c:v>1.8426665450712372</c:v>
                </c:pt>
                <c:pt idx="94">
                  <c:v>1.7691563683230074</c:v>
                </c:pt>
                <c:pt idx="95">
                  <c:v>1.7581874384461778</c:v>
                </c:pt>
                <c:pt idx="96">
                  <c:v>1.661094281380323</c:v>
                </c:pt>
                <c:pt idx="97">
                  <c:v>1.6948552430898334</c:v>
                </c:pt>
                <c:pt idx="98">
                  <c:v>1.7275353458018998</c:v>
                </c:pt>
                <c:pt idx="99">
                  <c:v>1.7661154641384786</c:v>
                </c:pt>
                <c:pt idx="100">
                  <c:v>1.7739777160772472</c:v>
                </c:pt>
                <c:pt idx="101">
                  <c:v>1.7763988343959212</c:v>
                </c:pt>
                <c:pt idx="102">
                  <c:v>1.8640645375434008</c:v>
                </c:pt>
                <c:pt idx="103">
                  <c:v>1.6808815214560817</c:v>
                </c:pt>
                <c:pt idx="104">
                  <c:v>1.800289690818824</c:v>
                </c:pt>
              </c:numCache>
            </c:numRef>
          </c:xVal>
          <c:yVal>
            <c:numRef>
              <c:f>Sheet1!$B$2:$B$106</c:f>
              <c:numCache>
                <c:formatCode>General</c:formatCode>
                <c:ptCount val="105"/>
                <c:pt idx="0">
                  <c:v>0.15367358384744811</c:v>
                </c:pt>
                <c:pt idx="1">
                  <c:v>0.15822164105916967</c:v>
                </c:pt>
                <c:pt idx="2">
                  <c:v>0.1363773813123677</c:v>
                </c:pt>
                <c:pt idx="3">
                  <c:v>0.14218009478672985</c:v>
                </c:pt>
                <c:pt idx="4">
                  <c:v>0.14463276836158193</c:v>
                </c:pt>
                <c:pt idx="5">
                  <c:v>0.13215149073327961</c:v>
                </c:pt>
                <c:pt idx="6">
                  <c:v>0.1631762652705061</c:v>
                </c:pt>
                <c:pt idx="7">
                  <c:v>0.16602739726027396</c:v>
                </c:pt>
                <c:pt idx="8">
                  <c:v>0.15930902111324377</c:v>
                </c:pt>
                <c:pt idx="9">
                  <c:v>0.1484375</c:v>
                </c:pt>
                <c:pt idx="10">
                  <c:v>0.1661526599845798</c:v>
                </c:pt>
                <c:pt idx="11">
                  <c:v>0.16020170674941817</c:v>
                </c:pt>
                <c:pt idx="12">
                  <c:v>0.17421953675730112</c:v>
                </c:pt>
                <c:pt idx="13">
                  <c:v>0.1859804231133565</c:v>
                </c:pt>
                <c:pt idx="14">
                  <c:v>0.17084028937117418</c:v>
                </c:pt>
                <c:pt idx="15">
                  <c:v>0.1681169509223808</c:v>
                </c:pt>
                <c:pt idx="16">
                  <c:v>0.17334458034584563</c:v>
                </c:pt>
                <c:pt idx="17">
                  <c:v>0.14956521739130435</c:v>
                </c:pt>
                <c:pt idx="18">
                  <c:v>0.12896515860634425</c:v>
                </c:pt>
                <c:pt idx="19">
                  <c:v>0.12084993359893759</c:v>
                </c:pt>
                <c:pt idx="20">
                  <c:v>0.13700707785642063</c:v>
                </c:pt>
                <c:pt idx="21">
                  <c:v>0.12987012987012986</c:v>
                </c:pt>
                <c:pt idx="22">
                  <c:v>0.13075383589059372</c:v>
                </c:pt>
                <c:pt idx="23">
                  <c:v>0.14863102998696218</c:v>
                </c:pt>
                <c:pt idx="24">
                  <c:v>0.13791113675706868</c:v>
                </c:pt>
                <c:pt idx="25">
                  <c:v>0.143054595715273</c:v>
                </c:pt>
                <c:pt idx="26">
                  <c:v>0.1568627450980392</c:v>
                </c:pt>
                <c:pt idx="27">
                  <c:v>0.13693398799781778</c:v>
                </c:pt>
                <c:pt idx="28">
                  <c:v>0.1528555431131019</c:v>
                </c:pt>
                <c:pt idx="29">
                  <c:v>0.19431480695799747</c:v>
                </c:pt>
                <c:pt idx="30">
                  <c:v>0.16411764705882353</c:v>
                </c:pt>
                <c:pt idx="31">
                  <c:v>0.15149833518312986</c:v>
                </c:pt>
                <c:pt idx="32">
                  <c:v>0.1665725578769057</c:v>
                </c:pt>
                <c:pt idx="33">
                  <c:v>0.18309859154929578</c:v>
                </c:pt>
                <c:pt idx="34">
                  <c:v>0.17253086419753086</c:v>
                </c:pt>
                <c:pt idx="35">
                  <c:v>0.1595156620163201</c:v>
                </c:pt>
                <c:pt idx="36">
                  <c:v>0.12098956320061847</c:v>
                </c:pt>
                <c:pt idx="37">
                  <c:v>0.10662122687439143</c:v>
                </c:pt>
                <c:pt idx="38">
                  <c:v>0.10622529644268774</c:v>
                </c:pt>
                <c:pt idx="39">
                  <c:v>0.10921501706484642</c:v>
                </c:pt>
                <c:pt idx="40">
                  <c:v>0.11160384331116038</c:v>
                </c:pt>
                <c:pt idx="41">
                  <c:v>0.09460083064143977</c:v>
                </c:pt>
                <c:pt idx="42">
                  <c:v>0.09094551282051282</c:v>
                </c:pt>
                <c:pt idx="43">
                  <c:v>0.1044776119402985</c:v>
                </c:pt>
                <c:pt idx="44">
                  <c:v>0.14159492523787948</c:v>
                </c:pt>
                <c:pt idx="45">
                  <c:v>0.17524457677584007</c:v>
                </c:pt>
                <c:pt idx="46">
                  <c:v>0.17752059631227932</c:v>
                </c:pt>
                <c:pt idx="47">
                  <c:v>0.18347826086956523</c:v>
                </c:pt>
                <c:pt idx="48">
                  <c:v>0.2027847726262776</c:v>
                </c:pt>
                <c:pt idx="49">
                  <c:v>0.21907849494056392</c:v>
                </c:pt>
                <c:pt idx="50">
                  <c:v>0.18319291423633613</c:v>
                </c:pt>
                <c:pt idx="51">
                  <c:v>0.1561928004881025</c:v>
                </c:pt>
                <c:pt idx="52">
                  <c:v>0.18424657534246575</c:v>
                </c:pt>
                <c:pt idx="53">
                  <c:v>0.16856971153846154</c:v>
                </c:pt>
                <c:pt idx="54">
                  <c:v>0.15195569401176878</c:v>
                </c:pt>
                <c:pt idx="55">
                  <c:v>0.13217576187101346</c:v>
                </c:pt>
                <c:pt idx="56">
                  <c:v>0.1365989645559538</c:v>
                </c:pt>
                <c:pt idx="57">
                  <c:v>0.14220665499124344</c:v>
                </c:pt>
                <c:pt idx="58">
                  <c:v>0.1516279069767442</c:v>
                </c:pt>
                <c:pt idx="59">
                  <c:v>0.16341799566843868</c:v>
                </c:pt>
                <c:pt idx="60">
                  <c:v>0.16875712656784492</c:v>
                </c:pt>
                <c:pt idx="61">
                  <c:v>0.16768707482993198</c:v>
                </c:pt>
                <c:pt idx="62">
                  <c:v>0.17272727272727273</c:v>
                </c:pt>
                <c:pt idx="63">
                  <c:v>0.18790181180596144</c:v>
                </c:pt>
                <c:pt idx="64">
                  <c:v>0.1761055081458495</c:v>
                </c:pt>
                <c:pt idx="65">
                  <c:v>0.16062450383699392</c:v>
                </c:pt>
                <c:pt idx="66">
                  <c:v>0.1791503633314701</c:v>
                </c:pt>
                <c:pt idx="67">
                  <c:v>0.19458403126744836</c:v>
                </c:pt>
                <c:pt idx="68">
                  <c:v>0.19904567143830948</c:v>
                </c:pt>
                <c:pt idx="69">
                  <c:v>0.16602316602316602</c:v>
                </c:pt>
                <c:pt idx="70">
                  <c:v>0.14813205907906168</c:v>
                </c:pt>
                <c:pt idx="71">
                  <c:v>0.1769633507853403</c:v>
                </c:pt>
                <c:pt idx="72">
                  <c:v>0.1592356687898089</c:v>
                </c:pt>
                <c:pt idx="73">
                  <c:v>0.17608142493638676</c:v>
                </c:pt>
                <c:pt idx="74">
                  <c:v>0.16824111560953667</c:v>
                </c:pt>
                <c:pt idx="75">
                  <c:v>0.18654266958424506</c:v>
                </c:pt>
                <c:pt idx="76">
                  <c:v>0.15692934782608695</c:v>
                </c:pt>
                <c:pt idx="77">
                  <c:v>0.2025836758661186</c:v>
                </c:pt>
                <c:pt idx="78">
                  <c:v>0.13406079501169135</c:v>
                </c:pt>
                <c:pt idx="79">
                  <c:v>0.24820143884892087</c:v>
                </c:pt>
                <c:pt idx="80">
                  <c:v>0.2708333333333333</c:v>
                </c:pt>
                <c:pt idx="81">
                  <c:v>0.15226876090750435</c:v>
                </c:pt>
                <c:pt idx="82">
                  <c:v>0.14365671641791045</c:v>
                </c:pt>
                <c:pt idx="83">
                  <c:v>0.12474012474012475</c:v>
                </c:pt>
                <c:pt idx="84">
                  <c:v>0.15956727518593644</c:v>
                </c:pt>
                <c:pt idx="85">
                  <c:v>0.12196601941747573</c:v>
                </c:pt>
                <c:pt idx="86">
                  <c:v>0.13108454312553372</c:v>
                </c:pt>
                <c:pt idx="87">
                  <c:v>0.13713163064833006</c:v>
                </c:pt>
                <c:pt idx="88">
                  <c:v>0.1172566371681416</c:v>
                </c:pt>
                <c:pt idx="89">
                  <c:v>0.11873015873015873</c:v>
                </c:pt>
                <c:pt idx="90">
                  <c:v>0.11696264543784446</c:v>
                </c:pt>
                <c:pt idx="91">
                  <c:v>0.10417892878163626</c:v>
                </c:pt>
                <c:pt idx="92">
                  <c:v>0.11100658513640639</c:v>
                </c:pt>
                <c:pt idx="93">
                  <c:v>0.10576057605760576</c:v>
                </c:pt>
                <c:pt idx="94">
                  <c:v>0.10812236286919831</c:v>
                </c:pt>
                <c:pt idx="95">
                  <c:v>0.10995770857362552</c:v>
                </c:pt>
                <c:pt idx="96">
                  <c:v>0.11370987807912417</c:v>
                </c:pt>
                <c:pt idx="97">
                  <c:v>0.11425917324663261</c:v>
                </c:pt>
                <c:pt idx="98">
                  <c:v>0.1433552886478109</c:v>
                </c:pt>
                <c:pt idx="99">
                  <c:v>0.1398542125784031</c:v>
                </c:pt>
                <c:pt idx="100">
                  <c:v>0.16605515445614866</c:v>
                </c:pt>
                <c:pt idx="101">
                  <c:v>0.16085561497326203</c:v>
                </c:pt>
                <c:pt idx="102">
                  <c:v>0.11512939615129396</c:v>
                </c:pt>
                <c:pt idx="103">
                  <c:v>0.12469660194174757</c:v>
                </c:pt>
                <c:pt idx="104">
                  <c:v>0.1324723247232472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015558307471279</c:v>
                </c:pt>
                <c:pt idx="1">
                  <c:v>1.8463084932122553</c:v>
                </c:pt>
                <c:pt idx="2">
                  <c:v>1.8179150194476301</c:v>
                </c:pt>
                <c:pt idx="3">
                  <c:v>1.6755932288792417</c:v>
                </c:pt>
                <c:pt idx="4">
                  <c:v>1.7904874747301691</c:v>
                </c:pt>
                <c:pt idx="5">
                  <c:v>1.8203399328056653</c:v>
                </c:pt>
                <c:pt idx="6">
                  <c:v>1.7208696342244625</c:v>
                </c:pt>
                <c:pt idx="7">
                  <c:v>1.8290289647526956</c:v>
                </c:pt>
                <c:pt idx="8">
                  <c:v>2.027732657445277</c:v>
                </c:pt>
                <c:pt idx="9">
                  <c:v>1.913433102680253</c:v>
                </c:pt>
                <c:pt idx="10">
                  <c:v>1.9674965418473531</c:v>
                </c:pt>
                <c:pt idx="11">
                  <c:v>1.789594233569125</c:v>
                </c:pt>
                <c:pt idx="12">
                  <c:v>1.7960358201458932</c:v>
                </c:pt>
                <c:pt idx="13">
                  <c:v>1.7878951659856908</c:v>
                </c:pt>
                <c:pt idx="14">
                  <c:v>1.8029431021044426</c:v>
                </c:pt>
                <c:pt idx="15">
                  <c:v>1.9251033011973362</c:v>
                </c:pt>
                <c:pt idx="16">
                  <c:v>1.9863640386387178</c:v>
                </c:pt>
                <c:pt idx="17">
                  <c:v>1.9358372327905626</c:v>
                </c:pt>
                <c:pt idx="18">
                  <c:v>1.8470366927105781</c:v>
                </c:pt>
                <c:pt idx="19">
                  <c:v>2.026568752783259</c:v>
                </c:pt>
                <c:pt idx="20">
                  <c:v>2.153195551819364</c:v>
                </c:pt>
                <c:pt idx="21">
                  <c:v>1.9587722831987455</c:v>
                </c:pt>
                <c:pt idx="22">
                  <c:v>1.9555202780091543</c:v>
                </c:pt>
                <c:pt idx="23">
                  <c:v>1.8677598726941858</c:v>
                </c:pt>
                <c:pt idx="24">
                  <c:v>1.9286761617942652</c:v>
                </c:pt>
                <c:pt idx="25">
                  <c:v>1.8770116330929905</c:v>
                </c:pt>
                <c:pt idx="26">
                  <c:v>1.8450887398569789</c:v>
                </c:pt>
                <c:pt idx="27">
                  <c:v>1.9504937865731062</c:v>
                </c:pt>
                <c:pt idx="28">
                  <c:v>1.8979836224863447</c:v>
                </c:pt>
                <c:pt idx="29">
                  <c:v>1.9055558400000001</c:v>
                </c:pt>
                <c:pt idx="30">
                  <c:v>1.911010226527718</c:v>
                </c:pt>
                <c:pt idx="31">
                  <c:v>1.7303679145028983</c:v>
                </c:pt>
                <c:pt idx="32">
                  <c:v>1.767011547429317</c:v>
                </c:pt>
                <c:pt idx="33">
                  <c:v>1.8421625375011237</c:v>
                </c:pt>
                <c:pt idx="34">
                  <c:v>1.8978314263463725</c:v>
                </c:pt>
                <c:pt idx="35">
                  <c:v>1.9276405982741103</c:v>
                </c:pt>
                <c:pt idx="36">
                  <c:v>1.9612708234204685</c:v>
                </c:pt>
                <c:pt idx="37">
                  <c:v>1.862254730266009</c:v>
                </c:pt>
                <c:pt idx="38">
                  <c:v>1.9744846345431732</c:v>
                </c:pt>
                <c:pt idx="39">
                  <c:v>1.994597026982861</c:v>
                </c:pt>
                <c:pt idx="40">
                  <c:v>2.0461471577914314</c:v>
                </c:pt>
                <c:pt idx="41">
                  <c:v>2.198851825795666</c:v>
                </c:pt>
                <c:pt idx="42">
                  <c:v>2.2046927076989626</c:v>
                </c:pt>
                <c:pt idx="43">
                  <c:v>2.1289052965341684</c:v>
                </c:pt>
                <c:pt idx="44">
                  <c:v>2.079406661998309</c:v>
                </c:pt>
                <c:pt idx="45">
                  <c:v>2.013880634463534</c:v>
                </c:pt>
                <c:pt idx="46">
                  <c:v>1.9324543727942893</c:v>
                </c:pt>
                <c:pt idx="47">
                  <c:v>1.8984475695436849</c:v>
                </c:pt>
                <c:pt idx="48">
                  <c:v>1.9653615128388167</c:v>
                </c:pt>
                <c:pt idx="49">
                  <c:v>1.9776846526776424</c:v>
                </c:pt>
                <c:pt idx="50">
                  <c:v>1.7325248136795564</c:v>
                </c:pt>
                <c:pt idx="51">
                  <c:v>1.7068943599996542</c:v>
                </c:pt>
              </c:numCache>
            </c:numRef>
          </c:xVal>
          <c:yVal>
            <c:numRef>
              <c:f>Sheet1!$B$109:$B$160</c:f>
              <c:numCache>
                <c:formatCode>General</c:formatCode>
                <c:ptCount val="52"/>
                <c:pt idx="0">
                  <c:v>0.13585027428202645</c:v>
                </c:pt>
                <c:pt idx="1">
                  <c:v>0.13829787234042554</c:v>
                </c:pt>
                <c:pt idx="2">
                  <c:v>0.14906457453228728</c:v>
                </c:pt>
                <c:pt idx="3">
                  <c:v>0.16800804828973842</c:v>
                </c:pt>
                <c:pt idx="4">
                  <c:v>0.14581105169340464</c:v>
                </c:pt>
                <c:pt idx="5">
                  <c:v>0.14612361557699177</c:v>
                </c:pt>
                <c:pt idx="6">
                  <c:v>0.14493632504548212</c:v>
                </c:pt>
                <c:pt idx="7">
                  <c:v>0.12948453608247423</c:v>
                </c:pt>
                <c:pt idx="8">
                  <c:v>0.12177729018102029</c:v>
                </c:pt>
                <c:pt idx="9">
                  <c:v>0.12626506024096384</c:v>
                </c:pt>
                <c:pt idx="10">
                  <c:v>0.14181486548107616</c:v>
                </c:pt>
                <c:pt idx="11">
                  <c:v>0.14694224235560588</c:v>
                </c:pt>
                <c:pt idx="12">
                  <c:v>0.15356671070013211</c:v>
                </c:pt>
                <c:pt idx="13">
                  <c:v>0.15628375945264675</c:v>
                </c:pt>
                <c:pt idx="14">
                  <c:v>0.1616</c:v>
                </c:pt>
                <c:pt idx="15">
                  <c:v>0.15590689503732982</c:v>
                </c:pt>
                <c:pt idx="16">
                  <c:v>0.14215686274509803</c:v>
                </c:pt>
                <c:pt idx="17">
                  <c:v>0.11863517060367454</c:v>
                </c:pt>
                <c:pt idx="18">
                  <c:v>0.12022900763358779</c:v>
                </c:pt>
                <c:pt idx="19">
                  <c:v>0.13597560975609757</c:v>
                </c:pt>
                <c:pt idx="20">
                  <c:v>0.11133879781420765</c:v>
                </c:pt>
                <c:pt idx="21">
                  <c:v>0.10830704521556257</c:v>
                </c:pt>
                <c:pt idx="22">
                  <c:v>0.10880829015544041</c:v>
                </c:pt>
                <c:pt idx="23">
                  <c:v>0.10630291627469426</c:v>
                </c:pt>
                <c:pt idx="24">
                  <c:v>0.10567210567210568</c:v>
                </c:pt>
                <c:pt idx="25">
                  <c:v>0.10403225806451613</c:v>
                </c:pt>
                <c:pt idx="26">
                  <c:v>0.10541110330288124</c:v>
                </c:pt>
                <c:pt idx="27">
                  <c:v>0.10507246376811594</c:v>
                </c:pt>
                <c:pt idx="28">
                  <c:v>0.12823061630218688</c:v>
                </c:pt>
                <c:pt idx="29">
                  <c:v>0.11822338340953625</c:v>
                </c:pt>
                <c:pt idx="30">
                  <c:v>0.12548764629388817</c:v>
                </c:pt>
                <c:pt idx="31">
                  <c:v>0.13445378151260504</c:v>
                </c:pt>
                <c:pt idx="32">
                  <c:v>0.1471251409244645</c:v>
                </c:pt>
                <c:pt idx="33">
                  <c:v>0.15891313297653356</c:v>
                </c:pt>
                <c:pt idx="34">
                  <c:v>0.18118990384615385</c:v>
                </c:pt>
                <c:pt idx="35">
                  <c:v>0.17662938681064405</c:v>
                </c:pt>
                <c:pt idx="36">
                  <c:v>0.13206162876008803</c:v>
                </c:pt>
                <c:pt idx="37">
                  <c:v>0.12132822477650064</c:v>
                </c:pt>
                <c:pt idx="38">
                  <c:v>0.12464589235127478</c:v>
                </c:pt>
                <c:pt idx="39">
                  <c:v>0.1527708437343984</c:v>
                </c:pt>
                <c:pt idx="40">
                  <c:v>0.11073825503355705</c:v>
                </c:pt>
                <c:pt idx="41">
                  <c:v>0.1134185303514377</c:v>
                </c:pt>
                <c:pt idx="42">
                  <c:v>0.1003562945368171</c:v>
                </c:pt>
                <c:pt idx="43">
                  <c:v>0.10978126289723483</c:v>
                </c:pt>
                <c:pt idx="44">
                  <c:v>0.0935593220338983</c:v>
                </c:pt>
                <c:pt idx="45">
                  <c:v>0.1106791676194832</c:v>
                </c:pt>
                <c:pt idx="46">
                  <c:v>0.10967935271201679</c:v>
                </c:pt>
                <c:pt idx="47">
                  <c:v>0.10928652321630804</c:v>
                </c:pt>
                <c:pt idx="48">
                  <c:v>0.09912748424624333</c:v>
                </c:pt>
                <c:pt idx="49">
                  <c:v>0.11349693251533742</c:v>
                </c:pt>
                <c:pt idx="50">
                  <c:v>0.14885611077664057</c:v>
                </c:pt>
                <c:pt idx="51">
                  <c:v>0.1400465959099145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547849860934836</c:v>
                </c:pt>
              </c:numCache>
            </c:numRef>
          </c:xVal>
          <c:yVal>
            <c:numRef>
              <c:f>Sheet1!$B$163:$B$164</c:f>
              <c:numCache>
                <c:formatCode>General</c:formatCode>
                <c:ptCount val="2"/>
                <c:pt idx="0">
                  <c:v>0.1741739928459232</c:v>
                </c:pt>
                <c:pt idx="1">
                  <c:v>0.174173992845923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547849860934836</c:v>
                </c:pt>
                <c:pt idx="1">
                  <c:v>1.4547849860934836</c:v>
                </c:pt>
              </c:numCache>
            </c:numRef>
          </c:xVal>
          <c:yVal>
            <c:numRef>
              <c:f>Sheet1!$B$167:$B$168</c:f>
              <c:numCache>
                <c:formatCode>General</c:formatCode>
                <c:ptCount val="2"/>
                <c:pt idx="0">
                  <c:v>0.17417399284592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83646422410073</c:v>
                </c:pt>
              </c:numCache>
            </c:numRef>
          </c:xVal>
          <c:yVal>
            <c:numRef>
              <c:f>Sheet1!$B$171:$B$172</c:f>
              <c:numCache>
                <c:formatCode>General</c:formatCode>
                <c:ptCount val="2"/>
                <c:pt idx="0">
                  <c:v>0.14215039866931675</c:v>
                </c:pt>
                <c:pt idx="1">
                  <c:v>0.142150398669316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83646422410073</c:v>
                </c:pt>
                <c:pt idx="1">
                  <c:v>1.783646422410073</c:v>
                </c:pt>
              </c:numCache>
            </c:numRef>
          </c:xVal>
          <c:yVal>
            <c:numRef>
              <c:f>Sheet1!$B$175:$B$176</c:f>
              <c:numCache>
                <c:formatCode>General</c:formatCode>
                <c:ptCount val="2"/>
                <c:pt idx="0">
                  <c:v>0.142150398669316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491947862223245</c:v>
                </c:pt>
              </c:numCache>
            </c:numRef>
          </c:xVal>
          <c:yVal>
            <c:numRef>
              <c:f>Sheet1!$B$179:$B$180</c:f>
              <c:numCache>
                <c:formatCode>General</c:formatCode>
                <c:ptCount val="2"/>
                <c:pt idx="0">
                  <c:v>0.11629205196794519</c:v>
                </c:pt>
                <c:pt idx="1">
                  <c:v>0.1162920519679451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491947862223245</c:v>
                </c:pt>
                <c:pt idx="1">
                  <c:v>2.0491947862223245</c:v>
                </c:pt>
              </c:numCache>
            </c:numRef>
          </c:xVal>
          <c:yVal>
            <c:numRef>
              <c:f>Sheet1!$B$183:$B$184</c:f>
              <c:numCache>
                <c:formatCode>General</c:formatCode>
                <c:ptCount val="2"/>
                <c:pt idx="0">
                  <c:v>0.116292051967945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015558307471279</c:v>
                </c:pt>
                <c:pt idx="1">
                  <c:v>1.8463084932122553</c:v>
                </c:pt>
                <c:pt idx="2">
                  <c:v>1.8179150194476301</c:v>
                </c:pt>
                <c:pt idx="3">
                  <c:v>1.6755932288792417</c:v>
                </c:pt>
                <c:pt idx="4">
                  <c:v>1.7904874747301691</c:v>
                </c:pt>
                <c:pt idx="5">
                  <c:v>1.8203399328056653</c:v>
                </c:pt>
                <c:pt idx="6">
                  <c:v>1.7208696342244625</c:v>
                </c:pt>
                <c:pt idx="7">
                  <c:v>1.8290289647526956</c:v>
                </c:pt>
                <c:pt idx="8">
                  <c:v>2.027732657445277</c:v>
                </c:pt>
                <c:pt idx="9">
                  <c:v>1.913433102680253</c:v>
                </c:pt>
                <c:pt idx="10">
                  <c:v>1.9674965418473531</c:v>
                </c:pt>
                <c:pt idx="11">
                  <c:v>1.789594233569125</c:v>
                </c:pt>
                <c:pt idx="12">
                  <c:v>1.7960358201458932</c:v>
                </c:pt>
                <c:pt idx="13">
                  <c:v>1.7878951659856908</c:v>
                </c:pt>
                <c:pt idx="14">
                  <c:v>1.8029431021044426</c:v>
                </c:pt>
                <c:pt idx="15">
                  <c:v>1.9251033011973362</c:v>
                </c:pt>
                <c:pt idx="16">
                  <c:v>1.9863640386387178</c:v>
                </c:pt>
                <c:pt idx="17">
                  <c:v>1.9358372327905626</c:v>
                </c:pt>
                <c:pt idx="18">
                  <c:v>1.8470366927105781</c:v>
                </c:pt>
                <c:pt idx="19">
                  <c:v>2.026568752783259</c:v>
                </c:pt>
                <c:pt idx="20">
                  <c:v>2.153195551819364</c:v>
                </c:pt>
                <c:pt idx="21">
                  <c:v>1.9587722831987455</c:v>
                </c:pt>
                <c:pt idx="22">
                  <c:v>1.9555202780091543</c:v>
                </c:pt>
                <c:pt idx="23">
                  <c:v>1.8677598726941858</c:v>
                </c:pt>
                <c:pt idx="24">
                  <c:v>1.9286761617942652</c:v>
                </c:pt>
                <c:pt idx="25">
                  <c:v>1.8770116330929905</c:v>
                </c:pt>
                <c:pt idx="26">
                  <c:v>1.8450887398569789</c:v>
                </c:pt>
                <c:pt idx="27">
                  <c:v>1.9504937865731062</c:v>
                </c:pt>
                <c:pt idx="28">
                  <c:v>1.8979836224863447</c:v>
                </c:pt>
                <c:pt idx="29">
                  <c:v>1.9055558400000001</c:v>
                </c:pt>
                <c:pt idx="30">
                  <c:v>1.911010226527718</c:v>
                </c:pt>
                <c:pt idx="31">
                  <c:v>1.7303679145028983</c:v>
                </c:pt>
                <c:pt idx="32">
                  <c:v>1.767011547429317</c:v>
                </c:pt>
                <c:pt idx="33">
                  <c:v>1.8421625375011237</c:v>
                </c:pt>
                <c:pt idx="34">
                  <c:v>1.8978314263463725</c:v>
                </c:pt>
                <c:pt idx="35">
                  <c:v>1.9276405982741103</c:v>
                </c:pt>
                <c:pt idx="36">
                  <c:v>1.9612708234204685</c:v>
                </c:pt>
                <c:pt idx="37">
                  <c:v>1.862254730266009</c:v>
                </c:pt>
                <c:pt idx="38">
                  <c:v>1.9744846345431732</c:v>
                </c:pt>
                <c:pt idx="39">
                  <c:v>1.994597026982861</c:v>
                </c:pt>
                <c:pt idx="40">
                  <c:v>2.0461471577914314</c:v>
                </c:pt>
                <c:pt idx="41">
                  <c:v>2.198851825795666</c:v>
                </c:pt>
                <c:pt idx="42">
                  <c:v>2.2046927076989626</c:v>
                </c:pt>
                <c:pt idx="43">
                  <c:v>2.1289052965341684</c:v>
                </c:pt>
                <c:pt idx="44">
                  <c:v>2.079406661998309</c:v>
                </c:pt>
                <c:pt idx="45">
                  <c:v>2.013880634463534</c:v>
                </c:pt>
                <c:pt idx="46">
                  <c:v>1.9324543727942893</c:v>
                </c:pt>
                <c:pt idx="47">
                  <c:v>1.8984475695436849</c:v>
                </c:pt>
                <c:pt idx="48">
                  <c:v>1.9653615128388167</c:v>
                </c:pt>
                <c:pt idx="49">
                  <c:v>1.9776846526776424</c:v>
                </c:pt>
                <c:pt idx="50">
                  <c:v>1.7325248136795564</c:v>
                </c:pt>
                <c:pt idx="51">
                  <c:v>1.7068943599996542</c:v>
                </c:pt>
                <c:pt idx="52">
                  <c:v>1.783646422410073</c:v>
                </c:pt>
                <c:pt idx="53">
                  <c:v>1.4547849860934836</c:v>
                </c:pt>
                <c:pt idx="54">
                  <c:v>2.0491947862223245</c:v>
                </c:pt>
              </c:numCache>
            </c:numRef>
          </c:xVal>
          <c:yVal>
            <c:numRef>
              <c:f>Sheet1!$B$187:$B$241</c:f>
              <c:numCache>
                <c:formatCode>General</c:formatCode>
                <c:ptCount val="55"/>
                <c:pt idx="0">
                  <c:v>0.13066871481948206</c:v>
                </c:pt>
                <c:pt idx="1">
                  <c:v>0.13604854389391194</c:v>
                </c:pt>
                <c:pt idx="2">
                  <c:v>0.13881341985895865</c:v>
                </c:pt>
                <c:pt idx="3">
                  <c:v>0.1526723122687773</c:v>
                </c:pt>
                <c:pt idx="4">
                  <c:v>0.1414842363922999</c:v>
                </c:pt>
                <c:pt idx="5">
                  <c:v>0.1385772886720341</c:v>
                </c:pt>
                <c:pt idx="6">
                  <c:v>0.1482634242982368</c:v>
                </c:pt>
                <c:pt idx="7">
                  <c:v>0.1377311753789224</c:v>
                </c:pt>
                <c:pt idx="8">
                  <c:v>0.118381973212042</c:v>
                </c:pt>
                <c:pt idx="9">
                  <c:v>0.12951213975683035</c:v>
                </c:pt>
                <c:pt idx="10">
                  <c:v>0.12424759534849122</c:v>
                </c:pt>
                <c:pt idx="11">
                  <c:v>0.14157121768376266</c:v>
                </c:pt>
                <c:pt idx="12">
                  <c:v>0.14094395424813952</c:v>
                </c:pt>
                <c:pt idx="13">
                  <c:v>0.14173666806730398</c:v>
                </c:pt>
                <c:pt idx="14">
                  <c:v>0.1402713427167253</c:v>
                </c:pt>
                <c:pt idx="15">
                  <c:v>0.12837572891627275</c:v>
                </c:pt>
                <c:pt idx="16">
                  <c:v>0.1224103320100394</c:v>
                </c:pt>
                <c:pt idx="17">
                  <c:v>0.1273304890939604</c:v>
                </c:pt>
                <c:pt idx="18">
                  <c:v>0.13597763389158668</c:v>
                </c:pt>
                <c:pt idx="19">
                  <c:v>0.11849531094775892</c:v>
                </c:pt>
                <c:pt idx="20">
                  <c:v>0.10616475230995254</c:v>
                </c:pt>
                <c:pt idx="21">
                  <c:v>0.12509713891791663</c:v>
                </c:pt>
                <c:pt idx="22">
                  <c:v>0.1254138099621659</c:v>
                </c:pt>
                <c:pt idx="23">
                  <c:v>0.1339596693856938</c:v>
                </c:pt>
                <c:pt idx="24">
                  <c:v>0.12802781388224763</c:v>
                </c:pt>
                <c:pt idx="25">
                  <c:v>0.13305875919157392</c:v>
                </c:pt>
                <c:pt idx="26">
                  <c:v>0.13616732001701845</c:v>
                </c:pt>
                <c:pt idx="27">
                  <c:v>0.12590327544551078</c:v>
                </c:pt>
                <c:pt idx="28">
                  <c:v>0.13101656633086303</c:v>
                </c:pt>
                <c:pt idx="29">
                  <c:v>0.13027920526052805</c:v>
                </c:pt>
                <c:pt idx="30">
                  <c:v>0.12974807256645982</c:v>
                </c:pt>
                <c:pt idx="31">
                  <c:v>0.14733850869724954</c:v>
                </c:pt>
                <c:pt idx="32">
                  <c:v>0.14377025562648663</c:v>
                </c:pt>
                <c:pt idx="33">
                  <c:v>0.13645226530513768</c:v>
                </c:pt>
                <c:pt idx="34">
                  <c:v>0.13103138675941892</c:v>
                </c:pt>
                <c:pt idx="35">
                  <c:v>0.12812865412148325</c:v>
                </c:pt>
                <c:pt idx="36">
                  <c:v>0.1248538381557763</c:v>
                </c:pt>
                <c:pt idx="37">
                  <c:v>0.13449574454542956</c:v>
                </c:pt>
                <c:pt idx="38">
                  <c:v>0.12356711469662174</c:v>
                </c:pt>
                <c:pt idx="39">
                  <c:v>0.12160862694985786</c:v>
                </c:pt>
                <c:pt idx="40">
                  <c:v>0.11658882138294605</c:v>
                </c:pt>
                <c:pt idx="41">
                  <c:v>0.101718873809241</c:v>
                </c:pt>
                <c:pt idx="42">
                  <c:v>0.10115010529141272</c:v>
                </c:pt>
                <c:pt idx="43">
                  <c:v>0.10853006849421454</c:v>
                </c:pt>
                <c:pt idx="44">
                  <c:v>0.1133501051711405</c:v>
                </c:pt>
                <c:pt idx="45">
                  <c:v>0.11973084393236974</c:v>
                </c:pt>
                <c:pt idx="46">
                  <c:v>0.12765990240824346</c:v>
                </c:pt>
                <c:pt idx="47">
                  <c:v>0.1309713884819486</c:v>
                </c:pt>
                <c:pt idx="48">
                  <c:v>0.12445549841943335</c:v>
                </c:pt>
                <c:pt idx="49">
                  <c:v>0.12325550600439014</c:v>
                </c:pt>
                <c:pt idx="50">
                  <c:v>0.14712847597134895</c:v>
                </c:pt>
                <c:pt idx="51">
                  <c:v>0.14962429687513332</c:v>
                </c:pt>
                <c:pt idx="52">
                  <c:v>0.14215039866931675</c:v>
                </c:pt>
                <c:pt idx="53">
                  <c:v>0.1741739928459232</c:v>
                </c:pt>
                <c:pt idx="54">
                  <c:v>0.11629205196794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499999999999996"/>
          <c:min val="0.07275641025641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8.2354</c:v>
                </c:pt>
                <c:pt idx="1">
                  <c:v>910.6756</c:v>
                </c:pt>
                <c:pt idx="2">
                  <c:v>971.2572</c:v>
                </c:pt>
                <c:pt idx="3">
                  <c:v>978.6644</c:v>
                </c:pt>
                <c:pt idx="4">
                  <c:v>985.4505</c:v>
                </c:pt>
                <c:pt idx="5">
                  <c:v>990.6677</c:v>
                </c:pt>
                <c:pt idx="6">
                  <c:v>916.6845</c:v>
                </c:pt>
                <c:pt idx="7">
                  <c:v>944.3069</c:v>
                </c:pt>
                <c:pt idx="8">
                  <c:v>947.9679</c:v>
                </c:pt>
                <c:pt idx="9">
                  <c:v>947.0447</c:v>
                </c:pt>
                <c:pt idx="10">
                  <c:v>924.0905</c:v>
                </c:pt>
                <c:pt idx="11">
                  <c:v>968.0194</c:v>
                </c:pt>
                <c:pt idx="12">
                  <c:v>980.0058</c:v>
                </c:pt>
                <c:pt idx="13">
                  <c:v>944.1494</c:v>
                </c:pt>
                <c:pt idx="14">
                  <c:v>958.7345</c:v>
                </c:pt>
                <c:pt idx="15">
                  <c:v>958.4534</c:v>
                </c:pt>
                <c:pt idx="16">
                  <c:v>952.3212</c:v>
                </c:pt>
                <c:pt idx="17">
                  <c:v>983.689</c:v>
                </c:pt>
                <c:pt idx="18">
                  <c:v>1021.5806</c:v>
                </c:pt>
                <c:pt idx="19">
                  <c:v>1063.2637</c:v>
                </c:pt>
                <c:pt idx="20">
                  <c:v>1063.6089</c:v>
                </c:pt>
                <c:pt idx="21">
                  <c:v>1078.9471</c:v>
                </c:pt>
                <c:pt idx="22">
                  <c:v>1065.7755</c:v>
                </c:pt>
                <c:pt idx="23">
                  <c:v>1034.5877</c:v>
                </c:pt>
                <c:pt idx="24">
                  <c:v>1019.2887</c:v>
                </c:pt>
                <c:pt idx="25">
                  <c:v>996.5894</c:v>
                </c:pt>
                <c:pt idx="26">
                  <c:v>1000.4435</c:v>
                </c:pt>
                <c:pt idx="27">
                  <c:v>1021.6892</c:v>
                </c:pt>
                <c:pt idx="28">
                  <c:v>985.663</c:v>
                </c:pt>
                <c:pt idx="29">
                  <c:v>808.4367</c:v>
                </c:pt>
                <c:pt idx="30">
                  <c:v>869.6846</c:v>
                </c:pt>
                <c:pt idx="31">
                  <c:v>911.6813</c:v>
                </c:pt>
                <c:pt idx="32">
                  <c:v>901.8407</c:v>
                </c:pt>
                <c:pt idx="33">
                  <c:v>893.6989</c:v>
                </c:pt>
                <c:pt idx="34">
                  <c:v>984.2182</c:v>
                </c:pt>
                <c:pt idx="35">
                  <c:v>1051.2178</c:v>
                </c:pt>
                <c:pt idx="36">
                  <c:v>1113.2268</c:v>
                </c:pt>
                <c:pt idx="37">
                  <c:v>1108.2648</c:v>
                </c:pt>
                <c:pt idx="38">
                  <c:v>1182.1488</c:v>
                </c:pt>
                <c:pt idx="39">
                  <c:v>1177.6429</c:v>
                </c:pt>
                <c:pt idx="40">
                  <c:v>1196.6987</c:v>
                </c:pt>
                <c:pt idx="41">
                  <c:v>1222.3463</c:v>
                </c:pt>
                <c:pt idx="42">
                  <c:v>1256.0617</c:v>
                </c:pt>
                <c:pt idx="43">
                  <c:v>1276.6167</c:v>
                </c:pt>
                <c:pt idx="44">
                  <c:v>1046.1104</c:v>
                </c:pt>
                <c:pt idx="45">
                  <c:v>978.2039</c:v>
                </c:pt>
                <c:pt idx="46">
                  <c:v>977.7282</c:v>
                </c:pt>
                <c:pt idx="47">
                  <c:v>944.6031</c:v>
                </c:pt>
                <c:pt idx="48">
                  <c:v>954.3514</c:v>
                </c:pt>
                <c:pt idx="49">
                  <c:v>948.8561</c:v>
                </c:pt>
                <c:pt idx="50">
                  <c:v>930.9788</c:v>
                </c:pt>
                <c:pt idx="51">
                  <c:v>922.8906</c:v>
                </c:pt>
                <c:pt idx="52">
                  <c:v>952.2565</c:v>
                </c:pt>
                <c:pt idx="53">
                  <c:v>989.3886</c:v>
                </c:pt>
                <c:pt idx="54">
                  <c:v>1011.7654</c:v>
                </c:pt>
                <c:pt idx="55">
                  <c:v>1024.244</c:v>
                </c:pt>
                <c:pt idx="56">
                  <c:v>1058.7026</c:v>
                </c:pt>
                <c:pt idx="57">
                  <c:v>1028.9163</c:v>
                </c:pt>
                <c:pt idx="58">
                  <c:v>993.8814</c:v>
                </c:pt>
                <c:pt idx="59">
                  <c:v>1000.8313</c:v>
                </c:pt>
                <c:pt idx="60">
                  <c:v>1039.8973</c:v>
                </c:pt>
                <c:pt idx="61">
                  <c:v>1029.0183</c:v>
                </c:pt>
                <c:pt idx="62">
                  <c:v>997.0105</c:v>
                </c:pt>
                <c:pt idx="63">
                  <c:v>1018.9487</c:v>
                </c:pt>
                <c:pt idx="64">
                  <c:v>1027.3333</c:v>
                </c:pt>
                <c:pt idx="65">
                  <c:v>1006.1895</c:v>
                </c:pt>
                <c:pt idx="66">
                  <c:v>941.4711</c:v>
                </c:pt>
                <c:pt idx="67">
                  <c:v>816.4376</c:v>
                </c:pt>
                <c:pt idx="68">
                  <c:v>768.8699</c:v>
                </c:pt>
                <c:pt idx="69">
                  <c:v>827.3953</c:v>
                </c:pt>
                <c:pt idx="70">
                  <c:v>804.7361</c:v>
                </c:pt>
                <c:pt idx="71">
                  <c:v>812.1598</c:v>
                </c:pt>
                <c:pt idx="72">
                  <c:v>864.52</c:v>
                </c:pt>
                <c:pt idx="73">
                  <c:v>877.5867</c:v>
                </c:pt>
                <c:pt idx="74">
                  <c:v>869.7995</c:v>
                </c:pt>
                <c:pt idx="75">
                  <c:v>852.9003</c:v>
                </c:pt>
                <c:pt idx="76">
                  <c:v>884.2641</c:v>
                </c:pt>
                <c:pt idx="77">
                  <c:v>785.9159</c:v>
                </c:pt>
                <c:pt idx="78">
                  <c:v>846.2907</c:v>
                </c:pt>
                <c:pt idx="79">
                  <c:v>487.7557</c:v>
                </c:pt>
                <c:pt idx="80">
                  <c:v>437.1145</c:v>
                </c:pt>
                <c:pt idx="81">
                  <c:v>675.6275</c:v>
                </c:pt>
                <c:pt idx="82">
                  <c:v>722.2554</c:v>
                </c:pt>
                <c:pt idx="83">
                  <c:v>765.2778</c:v>
                </c:pt>
                <c:pt idx="84">
                  <c:v>652.6907</c:v>
                </c:pt>
                <c:pt idx="85">
                  <c:v>1020.6418</c:v>
                </c:pt>
                <c:pt idx="86">
                  <c:v>1003.4365</c:v>
                </c:pt>
                <c:pt idx="87">
                  <c:v>1144.7822</c:v>
                </c:pt>
                <c:pt idx="88">
                  <c:v>1158.9575</c:v>
                </c:pt>
                <c:pt idx="89">
                  <c:v>1056.8342</c:v>
                </c:pt>
                <c:pt idx="90">
                  <c:v>1054.7853</c:v>
                </c:pt>
                <c:pt idx="91">
                  <c:v>1185.1808</c:v>
                </c:pt>
                <c:pt idx="92">
                  <c:v>1212.1822</c:v>
                </c:pt>
                <c:pt idx="93">
                  <c:v>1208.2851</c:v>
                </c:pt>
                <c:pt idx="94">
                  <c:v>1196.4341</c:v>
                </c:pt>
                <c:pt idx="95">
                  <c:v>1197.3427</c:v>
                </c:pt>
                <c:pt idx="96">
                  <c:v>1126.8249</c:v>
                </c:pt>
                <c:pt idx="97">
                  <c:v>1159.372</c:v>
                </c:pt>
                <c:pt idx="98">
                  <c:v>1138.1338</c:v>
                </c:pt>
                <c:pt idx="99">
                  <c:v>1120.6921</c:v>
                </c:pt>
                <c:pt idx="100">
                  <c:v>1122.7748</c:v>
                </c:pt>
                <c:pt idx="101">
                  <c:v>1119.359</c:v>
                </c:pt>
                <c:pt idx="102">
                  <c:v>1165.8732</c:v>
                </c:pt>
                <c:pt idx="103">
                  <c:v>1051.4988</c:v>
                </c:pt>
                <c:pt idx="104">
                  <c:v>1124.9526</c:v>
                </c:pt>
              </c:numCache>
            </c:numRef>
          </c:xVal>
          <c:yVal>
            <c:numRef>
              <c:f>Sheet1!$B$2:$B$106</c:f>
              <c:numCache>
                <c:formatCode>General</c:formatCode>
                <c:ptCount val="105"/>
                <c:pt idx="0">
                  <c:v>0.15367358384744811</c:v>
                </c:pt>
                <c:pt idx="1">
                  <c:v>0.15822164105916967</c:v>
                </c:pt>
                <c:pt idx="2">
                  <c:v>0.1363773813123677</c:v>
                </c:pt>
                <c:pt idx="3">
                  <c:v>0.14218009478672985</c:v>
                </c:pt>
                <c:pt idx="4">
                  <c:v>0.14463276836158193</c:v>
                </c:pt>
                <c:pt idx="5">
                  <c:v>0.13215149073327961</c:v>
                </c:pt>
                <c:pt idx="6">
                  <c:v>0.1631762652705061</c:v>
                </c:pt>
                <c:pt idx="7">
                  <c:v>0.16602739726027396</c:v>
                </c:pt>
                <c:pt idx="8">
                  <c:v>0.15930902111324377</c:v>
                </c:pt>
                <c:pt idx="9">
                  <c:v>0.1484375</c:v>
                </c:pt>
                <c:pt idx="10">
                  <c:v>0.1661526599845798</c:v>
                </c:pt>
                <c:pt idx="11">
                  <c:v>0.16020170674941817</c:v>
                </c:pt>
                <c:pt idx="12">
                  <c:v>0.17421953675730112</c:v>
                </c:pt>
                <c:pt idx="13">
                  <c:v>0.1859804231133565</c:v>
                </c:pt>
                <c:pt idx="14">
                  <c:v>0.17084028937117418</c:v>
                </c:pt>
                <c:pt idx="15">
                  <c:v>0.1681169509223808</c:v>
                </c:pt>
                <c:pt idx="16">
                  <c:v>0.17334458034584563</c:v>
                </c:pt>
                <c:pt idx="17">
                  <c:v>0.14956521739130435</c:v>
                </c:pt>
                <c:pt idx="18">
                  <c:v>0.12896515860634425</c:v>
                </c:pt>
                <c:pt idx="19">
                  <c:v>0.12084993359893759</c:v>
                </c:pt>
                <c:pt idx="20">
                  <c:v>0.13700707785642063</c:v>
                </c:pt>
                <c:pt idx="21">
                  <c:v>0.12987012987012986</c:v>
                </c:pt>
                <c:pt idx="22">
                  <c:v>0.13075383589059372</c:v>
                </c:pt>
                <c:pt idx="23">
                  <c:v>0.14863102998696218</c:v>
                </c:pt>
                <c:pt idx="24">
                  <c:v>0.13791113675706868</c:v>
                </c:pt>
                <c:pt idx="25">
                  <c:v>0.143054595715273</c:v>
                </c:pt>
                <c:pt idx="26">
                  <c:v>0.1568627450980392</c:v>
                </c:pt>
                <c:pt idx="27">
                  <c:v>0.13693398799781778</c:v>
                </c:pt>
                <c:pt idx="28">
                  <c:v>0.1528555431131019</c:v>
                </c:pt>
                <c:pt idx="29">
                  <c:v>0.19431480695799747</c:v>
                </c:pt>
                <c:pt idx="30">
                  <c:v>0.16411764705882353</c:v>
                </c:pt>
                <c:pt idx="31">
                  <c:v>0.15149833518312986</c:v>
                </c:pt>
                <c:pt idx="32">
                  <c:v>0.1665725578769057</c:v>
                </c:pt>
                <c:pt idx="33">
                  <c:v>0.18309859154929578</c:v>
                </c:pt>
                <c:pt idx="34">
                  <c:v>0.17253086419753086</c:v>
                </c:pt>
                <c:pt idx="35">
                  <c:v>0.1595156620163201</c:v>
                </c:pt>
                <c:pt idx="36">
                  <c:v>0.12098956320061847</c:v>
                </c:pt>
                <c:pt idx="37">
                  <c:v>0.10662122687439143</c:v>
                </c:pt>
                <c:pt idx="38">
                  <c:v>0.10622529644268774</c:v>
                </c:pt>
                <c:pt idx="39">
                  <c:v>0.10921501706484642</c:v>
                </c:pt>
                <c:pt idx="40">
                  <c:v>0.11160384331116038</c:v>
                </c:pt>
                <c:pt idx="41">
                  <c:v>0.09460083064143977</c:v>
                </c:pt>
                <c:pt idx="42">
                  <c:v>0.09094551282051282</c:v>
                </c:pt>
                <c:pt idx="43">
                  <c:v>0.1044776119402985</c:v>
                </c:pt>
                <c:pt idx="44">
                  <c:v>0.14159492523787948</c:v>
                </c:pt>
                <c:pt idx="45">
                  <c:v>0.17524457677584007</c:v>
                </c:pt>
                <c:pt idx="46">
                  <c:v>0.17752059631227932</c:v>
                </c:pt>
                <c:pt idx="47">
                  <c:v>0.18347826086956523</c:v>
                </c:pt>
                <c:pt idx="48">
                  <c:v>0.2027847726262776</c:v>
                </c:pt>
                <c:pt idx="49">
                  <c:v>0.21907849494056392</c:v>
                </c:pt>
                <c:pt idx="50">
                  <c:v>0.18319291423633613</c:v>
                </c:pt>
                <c:pt idx="51">
                  <c:v>0.1561928004881025</c:v>
                </c:pt>
                <c:pt idx="52">
                  <c:v>0.18424657534246575</c:v>
                </c:pt>
                <c:pt idx="53">
                  <c:v>0.16856971153846154</c:v>
                </c:pt>
                <c:pt idx="54">
                  <c:v>0.15195569401176878</c:v>
                </c:pt>
                <c:pt idx="55">
                  <c:v>0.13217576187101346</c:v>
                </c:pt>
                <c:pt idx="56">
                  <c:v>0.1365989645559538</c:v>
                </c:pt>
                <c:pt idx="57">
                  <c:v>0.14220665499124344</c:v>
                </c:pt>
                <c:pt idx="58">
                  <c:v>0.1516279069767442</c:v>
                </c:pt>
                <c:pt idx="59">
                  <c:v>0.16341799566843868</c:v>
                </c:pt>
                <c:pt idx="60">
                  <c:v>0.16875712656784492</c:v>
                </c:pt>
                <c:pt idx="61">
                  <c:v>0.16768707482993198</c:v>
                </c:pt>
                <c:pt idx="62">
                  <c:v>0.17272727272727273</c:v>
                </c:pt>
                <c:pt idx="63">
                  <c:v>0.18790181180596144</c:v>
                </c:pt>
                <c:pt idx="64">
                  <c:v>0.1761055081458495</c:v>
                </c:pt>
                <c:pt idx="65">
                  <c:v>0.16062450383699392</c:v>
                </c:pt>
                <c:pt idx="66">
                  <c:v>0.1791503633314701</c:v>
                </c:pt>
                <c:pt idx="67">
                  <c:v>0.19458403126744836</c:v>
                </c:pt>
                <c:pt idx="68">
                  <c:v>0.19904567143830948</c:v>
                </c:pt>
                <c:pt idx="69">
                  <c:v>0.16602316602316602</c:v>
                </c:pt>
                <c:pt idx="70">
                  <c:v>0.14813205907906168</c:v>
                </c:pt>
                <c:pt idx="71">
                  <c:v>0.1769633507853403</c:v>
                </c:pt>
                <c:pt idx="72">
                  <c:v>0.1592356687898089</c:v>
                </c:pt>
                <c:pt idx="73">
                  <c:v>0.17608142493638676</c:v>
                </c:pt>
                <c:pt idx="74">
                  <c:v>0.16824111560953667</c:v>
                </c:pt>
                <c:pt idx="75">
                  <c:v>0.18654266958424506</c:v>
                </c:pt>
                <c:pt idx="76">
                  <c:v>0.15692934782608695</c:v>
                </c:pt>
                <c:pt idx="77">
                  <c:v>0.2025836758661186</c:v>
                </c:pt>
                <c:pt idx="78">
                  <c:v>0.13406079501169135</c:v>
                </c:pt>
                <c:pt idx="79">
                  <c:v>0.24820143884892087</c:v>
                </c:pt>
                <c:pt idx="80">
                  <c:v>0.2708333333333333</c:v>
                </c:pt>
                <c:pt idx="81">
                  <c:v>0.15226876090750435</c:v>
                </c:pt>
                <c:pt idx="82">
                  <c:v>0.14365671641791045</c:v>
                </c:pt>
                <c:pt idx="83">
                  <c:v>0.12474012474012475</c:v>
                </c:pt>
                <c:pt idx="84">
                  <c:v>0.15956727518593644</c:v>
                </c:pt>
                <c:pt idx="85">
                  <c:v>0.12196601941747573</c:v>
                </c:pt>
                <c:pt idx="86">
                  <c:v>0.13108454312553372</c:v>
                </c:pt>
                <c:pt idx="87">
                  <c:v>0.13713163064833006</c:v>
                </c:pt>
                <c:pt idx="88">
                  <c:v>0.1172566371681416</c:v>
                </c:pt>
                <c:pt idx="89">
                  <c:v>0.11873015873015873</c:v>
                </c:pt>
                <c:pt idx="90">
                  <c:v>0.11696264543784446</c:v>
                </c:pt>
                <c:pt idx="91">
                  <c:v>0.10417892878163626</c:v>
                </c:pt>
                <c:pt idx="92">
                  <c:v>0.11100658513640639</c:v>
                </c:pt>
                <c:pt idx="93">
                  <c:v>0.10576057605760576</c:v>
                </c:pt>
                <c:pt idx="94">
                  <c:v>0.10812236286919831</c:v>
                </c:pt>
                <c:pt idx="95">
                  <c:v>0.10995770857362552</c:v>
                </c:pt>
                <c:pt idx="96">
                  <c:v>0.11370987807912417</c:v>
                </c:pt>
                <c:pt idx="97">
                  <c:v>0.11425917324663261</c:v>
                </c:pt>
                <c:pt idx="98">
                  <c:v>0.1433552886478109</c:v>
                </c:pt>
                <c:pt idx="99">
                  <c:v>0.1398542125784031</c:v>
                </c:pt>
                <c:pt idx="100">
                  <c:v>0.16605515445614866</c:v>
                </c:pt>
                <c:pt idx="101">
                  <c:v>0.16085561497326203</c:v>
                </c:pt>
                <c:pt idx="102">
                  <c:v>0.11512939615129396</c:v>
                </c:pt>
                <c:pt idx="103">
                  <c:v>0.12469660194174757</c:v>
                </c:pt>
                <c:pt idx="104">
                  <c:v>0.1324723247232472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5.1306</c:v>
                </c:pt>
                <c:pt idx="1">
                  <c:v>1151.8238</c:v>
                </c:pt>
                <c:pt idx="2">
                  <c:v>1128.3664</c:v>
                </c:pt>
                <c:pt idx="3">
                  <c:v>1044.1796</c:v>
                </c:pt>
                <c:pt idx="4">
                  <c:v>1116.1394</c:v>
                </c:pt>
                <c:pt idx="5">
                  <c:v>1130.4939</c:v>
                </c:pt>
                <c:pt idx="6">
                  <c:v>1051.7155</c:v>
                </c:pt>
                <c:pt idx="7">
                  <c:v>1137.0892</c:v>
                </c:pt>
                <c:pt idx="8">
                  <c:v>1264.2027</c:v>
                </c:pt>
                <c:pt idx="9">
                  <c:v>1170.7748</c:v>
                </c:pt>
                <c:pt idx="10">
                  <c:v>1207.7267</c:v>
                </c:pt>
                <c:pt idx="11">
                  <c:v>1063.4721</c:v>
                </c:pt>
                <c:pt idx="12">
                  <c:v>1075.6516</c:v>
                </c:pt>
                <c:pt idx="13">
                  <c:v>1113.47</c:v>
                </c:pt>
                <c:pt idx="14">
                  <c:v>1127.6733</c:v>
                </c:pt>
                <c:pt idx="15">
                  <c:v>1192.0873</c:v>
                </c:pt>
                <c:pt idx="16">
                  <c:v>1241.1897</c:v>
                </c:pt>
                <c:pt idx="17">
                  <c:v>1197.1593</c:v>
                </c:pt>
                <c:pt idx="18">
                  <c:v>1103.6349</c:v>
                </c:pt>
                <c:pt idx="19">
                  <c:v>1260.1166</c:v>
                </c:pt>
                <c:pt idx="20">
                  <c:v>1340.6196</c:v>
                </c:pt>
                <c:pt idx="21">
                  <c:v>1227.7379</c:v>
                </c:pt>
                <c:pt idx="22">
                  <c:v>1211.8762</c:v>
                </c:pt>
                <c:pt idx="23">
                  <c:v>1170.6637</c:v>
                </c:pt>
                <c:pt idx="24">
                  <c:v>1207.375</c:v>
                </c:pt>
                <c:pt idx="25">
                  <c:v>1171.6667</c:v>
                </c:pt>
                <c:pt idx="26">
                  <c:v>1145.3333</c:v>
                </c:pt>
                <c:pt idx="27">
                  <c:v>1215.6552</c:v>
                </c:pt>
                <c:pt idx="28">
                  <c:v>1183.3256</c:v>
                </c:pt>
                <c:pt idx="29">
                  <c:v>1190.9724</c:v>
                </c:pt>
                <c:pt idx="30">
                  <c:v>1198.0104</c:v>
                </c:pt>
                <c:pt idx="31">
                  <c:v>1074.8317</c:v>
                </c:pt>
                <c:pt idx="32">
                  <c:v>1091.9808</c:v>
                </c:pt>
                <c:pt idx="33">
                  <c:v>1141.3083</c:v>
                </c:pt>
                <c:pt idx="34">
                  <c:v>1184.8507</c:v>
                </c:pt>
                <c:pt idx="35">
                  <c:v>1199.1004</c:v>
                </c:pt>
                <c:pt idx="36">
                  <c:v>1225.0278</c:v>
                </c:pt>
                <c:pt idx="37">
                  <c:v>1169.1684</c:v>
                </c:pt>
                <c:pt idx="38">
                  <c:v>1221.8182</c:v>
                </c:pt>
                <c:pt idx="39">
                  <c:v>1234.0131</c:v>
                </c:pt>
                <c:pt idx="40">
                  <c:v>1268.8889</c:v>
                </c:pt>
                <c:pt idx="41">
                  <c:v>1378.9765</c:v>
                </c:pt>
                <c:pt idx="42">
                  <c:v>1372.0592</c:v>
                </c:pt>
                <c:pt idx="43">
                  <c:v>1337.0677</c:v>
                </c:pt>
                <c:pt idx="44">
                  <c:v>1290.25</c:v>
                </c:pt>
                <c:pt idx="45">
                  <c:v>1240.8884</c:v>
                </c:pt>
                <c:pt idx="46">
                  <c:v>1198.6885</c:v>
                </c:pt>
                <c:pt idx="47">
                  <c:v>1175.6839</c:v>
                </c:pt>
                <c:pt idx="48">
                  <c:v>1213.868</c:v>
                </c:pt>
                <c:pt idx="49">
                  <c:v>1229.9917</c:v>
                </c:pt>
                <c:pt idx="50">
                  <c:v>1078.6178</c:v>
                </c:pt>
                <c:pt idx="51">
                  <c:v>1045.9963</c:v>
                </c:pt>
              </c:numCache>
            </c:numRef>
          </c:xVal>
          <c:yVal>
            <c:numRef>
              <c:f>Sheet1!$B$109:$B$160</c:f>
              <c:numCache>
                <c:formatCode>General</c:formatCode>
                <c:ptCount val="52"/>
                <c:pt idx="0">
                  <c:v>0.13585027428202645</c:v>
                </c:pt>
                <c:pt idx="1">
                  <c:v>0.13829787234042554</c:v>
                </c:pt>
                <c:pt idx="2">
                  <c:v>0.14906457453228728</c:v>
                </c:pt>
                <c:pt idx="3">
                  <c:v>0.16800804828973842</c:v>
                </c:pt>
                <c:pt idx="4">
                  <c:v>0.14581105169340464</c:v>
                </c:pt>
                <c:pt idx="5">
                  <c:v>0.14612361557699177</c:v>
                </c:pt>
                <c:pt idx="6">
                  <c:v>0.14493632504548212</c:v>
                </c:pt>
                <c:pt idx="7">
                  <c:v>0.12948453608247423</c:v>
                </c:pt>
                <c:pt idx="8">
                  <c:v>0.12177729018102029</c:v>
                </c:pt>
                <c:pt idx="9">
                  <c:v>0.12626506024096384</c:v>
                </c:pt>
                <c:pt idx="10">
                  <c:v>0.14181486548107616</c:v>
                </c:pt>
                <c:pt idx="11">
                  <c:v>0.14694224235560588</c:v>
                </c:pt>
                <c:pt idx="12">
                  <c:v>0.15356671070013211</c:v>
                </c:pt>
                <c:pt idx="13">
                  <c:v>0.15628375945264675</c:v>
                </c:pt>
                <c:pt idx="14">
                  <c:v>0.1616</c:v>
                </c:pt>
                <c:pt idx="15">
                  <c:v>0.15590689503732982</c:v>
                </c:pt>
                <c:pt idx="16">
                  <c:v>0.14215686274509803</c:v>
                </c:pt>
                <c:pt idx="17">
                  <c:v>0.11863517060367454</c:v>
                </c:pt>
                <c:pt idx="18">
                  <c:v>0.12022900763358779</c:v>
                </c:pt>
                <c:pt idx="19">
                  <c:v>0.13597560975609757</c:v>
                </c:pt>
                <c:pt idx="20">
                  <c:v>0.11133879781420765</c:v>
                </c:pt>
                <c:pt idx="21">
                  <c:v>0.10830704521556257</c:v>
                </c:pt>
                <c:pt idx="22">
                  <c:v>0.10880829015544041</c:v>
                </c:pt>
                <c:pt idx="23">
                  <c:v>0.10630291627469426</c:v>
                </c:pt>
                <c:pt idx="24">
                  <c:v>0.10567210567210568</c:v>
                </c:pt>
                <c:pt idx="25">
                  <c:v>0.10403225806451613</c:v>
                </c:pt>
                <c:pt idx="26">
                  <c:v>0.10541110330288124</c:v>
                </c:pt>
                <c:pt idx="27">
                  <c:v>0.10507246376811594</c:v>
                </c:pt>
                <c:pt idx="28">
                  <c:v>0.12823061630218688</c:v>
                </c:pt>
                <c:pt idx="29">
                  <c:v>0.11822338340953625</c:v>
                </c:pt>
                <c:pt idx="30">
                  <c:v>0.12548764629388817</c:v>
                </c:pt>
                <c:pt idx="31">
                  <c:v>0.13445378151260504</c:v>
                </c:pt>
                <c:pt idx="32">
                  <c:v>0.1471251409244645</c:v>
                </c:pt>
                <c:pt idx="33">
                  <c:v>0.15891313297653356</c:v>
                </c:pt>
                <c:pt idx="34">
                  <c:v>0.18118990384615385</c:v>
                </c:pt>
                <c:pt idx="35">
                  <c:v>0.17662938681064405</c:v>
                </c:pt>
                <c:pt idx="36">
                  <c:v>0.13206162876008803</c:v>
                </c:pt>
                <c:pt idx="37">
                  <c:v>0.12132822477650064</c:v>
                </c:pt>
                <c:pt idx="38">
                  <c:v>0.12464589235127478</c:v>
                </c:pt>
                <c:pt idx="39">
                  <c:v>0.1527708437343984</c:v>
                </c:pt>
                <c:pt idx="40">
                  <c:v>0.11073825503355705</c:v>
                </c:pt>
                <c:pt idx="41">
                  <c:v>0.1134185303514377</c:v>
                </c:pt>
                <c:pt idx="42">
                  <c:v>0.1003562945368171</c:v>
                </c:pt>
                <c:pt idx="43">
                  <c:v>0.10978126289723483</c:v>
                </c:pt>
                <c:pt idx="44">
                  <c:v>0.0935593220338983</c:v>
                </c:pt>
                <c:pt idx="45">
                  <c:v>0.1106791676194832</c:v>
                </c:pt>
                <c:pt idx="46">
                  <c:v>0.10967935271201679</c:v>
                </c:pt>
                <c:pt idx="47">
                  <c:v>0.10928652321630804</c:v>
                </c:pt>
                <c:pt idx="48">
                  <c:v>0.09912748424624333</c:v>
                </c:pt>
                <c:pt idx="49">
                  <c:v>0.11349693251533742</c:v>
                </c:pt>
                <c:pt idx="50">
                  <c:v>0.14885611077664057</c:v>
                </c:pt>
                <c:pt idx="51">
                  <c:v>0.1400465959099145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0.7748906063802</c:v>
                </c:pt>
              </c:numCache>
            </c:numRef>
          </c:xVal>
          <c:yVal>
            <c:numRef>
              <c:f>Sheet1!$B$163:$B$164</c:f>
              <c:numCache>
                <c:formatCode>General</c:formatCode>
                <c:ptCount val="2"/>
                <c:pt idx="0">
                  <c:v>0.1741739928459232</c:v>
                </c:pt>
                <c:pt idx="1">
                  <c:v>0.174173992845923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0.7748906063802</c:v>
                </c:pt>
                <c:pt idx="1">
                  <c:v>880.7748906063802</c:v>
                </c:pt>
              </c:numCache>
            </c:numRef>
          </c:xVal>
          <c:yVal>
            <c:numRef>
              <c:f>Sheet1!$B$167:$B$168</c:f>
              <c:numCache>
                <c:formatCode>General</c:formatCode>
                <c:ptCount val="2"/>
                <c:pt idx="0">
                  <c:v>0.17417399284592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0.4228695367854</c:v>
                </c:pt>
              </c:numCache>
            </c:numRef>
          </c:xVal>
          <c:yVal>
            <c:numRef>
              <c:f>Sheet1!$B$171:$B$172</c:f>
              <c:numCache>
                <c:formatCode>General</c:formatCode>
                <c:ptCount val="2"/>
                <c:pt idx="0">
                  <c:v>0.14215039866931675</c:v>
                </c:pt>
                <c:pt idx="1">
                  <c:v>0.142150398669316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0.4228695367854</c:v>
                </c:pt>
                <c:pt idx="1">
                  <c:v>1100.4228695367854</c:v>
                </c:pt>
              </c:numCache>
            </c:numRef>
          </c:xVal>
          <c:yVal>
            <c:numRef>
              <c:f>Sheet1!$B$175:$B$176</c:f>
              <c:numCache>
                <c:formatCode>General</c:formatCode>
                <c:ptCount val="2"/>
                <c:pt idx="0">
                  <c:v>0.142150398669316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77.78377287933</c:v>
                </c:pt>
              </c:numCache>
            </c:numRef>
          </c:xVal>
          <c:yVal>
            <c:numRef>
              <c:f>Sheet1!$B$179:$B$180</c:f>
              <c:numCache>
                <c:formatCode>General</c:formatCode>
                <c:ptCount val="2"/>
                <c:pt idx="0">
                  <c:v>0.11629205196794519</c:v>
                </c:pt>
                <c:pt idx="1">
                  <c:v>0.1162920519679451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77.78377287933</c:v>
                </c:pt>
                <c:pt idx="1">
                  <c:v>1277.78377287933</c:v>
                </c:pt>
              </c:numCache>
            </c:numRef>
          </c:xVal>
          <c:yVal>
            <c:numRef>
              <c:f>Sheet1!$B$183:$B$184</c:f>
              <c:numCache>
                <c:formatCode>General</c:formatCode>
                <c:ptCount val="2"/>
                <c:pt idx="0">
                  <c:v>0.116292051967945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5.1306</c:v>
                </c:pt>
                <c:pt idx="1">
                  <c:v>1151.8238</c:v>
                </c:pt>
                <c:pt idx="2">
                  <c:v>1128.3664</c:v>
                </c:pt>
                <c:pt idx="3">
                  <c:v>1044.1796</c:v>
                </c:pt>
                <c:pt idx="4">
                  <c:v>1116.1394</c:v>
                </c:pt>
                <c:pt idx="5">
                  <c:v>1130.4939</c:v>
                </c:pt>
                <c:pt idx="6">
                  <c:v>1051.7155</c:v>
                </c:pt>
                <c:pt idx="7">
                  <c:v>1137.0892</c:v>
                </c:pt>
                <c:pt idx="8">
                  <c:v>1264.2027</c:v>
                </c:pt>
                <c:pt idx="9">
                  <c:v>1170.7748</c:v>
                </c:pt>
                <c:pt idx="10">
                  <c:v>1207.7267</c:v>
                </c:pt>
                <c:pt idx="11">
                  <c:v>1063.4721</c:v>
                </c:pt>
                <c:pt idx="12">
                  <c:v>1075.6516</c:v>
                </c:pt>
                <c:pt idx="13">
                  <c:v>1113.47</c:v>
                </c:pt>
                <c:pt idx="14">
                  <c:v>1127.6733</c:v>
                </c:pt>
                <c:pt idx="15">
                  <c:v>1192.0873</c:v>
                </c:pt>
                <c:pt idx="16">
                  <c:v>1241.1897</c:v>
                </c:pt>
                <c:pt idx="17">
                  <c:v>1197.1593</c:v>
                </c:pt>
                <c:pt idx="18">
                  <c:v>1103.6349</c:v>
                </c:pt>
                <c:pt idx="19">
                  <c:v>1260.1166</c:v>
                </c:pt>
                <c:pt idx="20">
                  <c:v>1340.6196</c:v>
                </c:pt>
                <c:pt idx="21">
                  <c:v>1227.7379</c:v>
                </c:pt>
                <c:pt idx="22">
                  <c:v>1211.8762</c:v>
                </c:pt>
                <c:pt idx="23">
                  <c:v>1170.6637</c:v>
                </c:pt>
                <c:pt idx="24">
                  <c:v>1207.375</c:v>
                </c:pt>
                <c:pt idx="25">
                  <c:v>1171.6667</c:v>
                </c:pt>
                <c:pt idx="26">
                  <c:v>1145.3333</c:v>
                </c:pt>
                <c:pt idx="27">
                  <c:v>1215.6552</c:v>
                </c:pt>
                <c:pt idx="28">
                  <c:v>1183.3256</c:v>
                </c:pt>
                <c:pt idx="29">
                  <c:v>1190.9724</c:v>
                </c:pt>
                <c:pt idx="30">
                  <c:v>1198.0104</c:v>
                </c:pt>
                <c:pt idx="31">
                  <c:v>1074.8317</c:v>
                </c:pt>
                <c:pt idx="32">
                  <c:v>1091.9808</c:v>
                </c:pt>
                <c:pt idx="33">
                  <c:v>1141.3083</c:v>
                </c:pt>
                <c:pt idx="34">
                  <c:v>1184.8507</c:v>
                </c:pt>
                <c:pt idx="35">
                  <c:v>1199.1004</c:v>
                </c:pt>
                <c:pt idx="36">
                  <c:v>1225.0278</c:v>
                </c:pt>
                <c:pt idx="37">
                  <c:v>1169.1684</c:v>
                </c:pt>
                <c:pt idx="38">
                  <c:v>1221.8182</c:v>
                </c:pt>
                <c:pt idx="39">
                  <c:v>1234.0131</c:v>
                </c:pt>
                <c:pt idx="40">
                  <c:v>1268.8889</c:v>
                </c:pt>
                <c:pt idx="41">
                  <c:v>1378.9765</c:v>
                </c:pt>
                <c:pt idx="42">
                  <c:v>1372.0592</c:v>
                </c:pt>
                <c:pt idx="43">
                  <c:v>1337.0677</c:v>
                </c:pt>
                <c:pt idx="44">
                  <c:v>1290.25</c:v>
                </c:pt>
                <c:pt idx="45">
                  <c:v>1240.8884</c:v>
                </c:pt>
                <c:pt idx="46">
                  <c:v>1198.6885</c:v>
                </c:pt>
                <c:pt idx="47">
                  <c:v>1175.6839</c:v>
                </c:pt>
                <c:pt idx="48">
                  <c:v>1213.868</c:v>
                </c:pt>
                <c:pt idx="49">
                  <c:v>1229.9917</c:v>
                </c:pt>
                <c:pt idx="50">
                  <c:v>1078.6178</c:v>
                </c:pt>
                <c:pt idx="51">
                  <c:v>1045.9963</c:v>
                </c:pt>
                <c:pt idx="52">
                  <c:v>1100.4228695367854</c:v>
                </c:pt>
                <c:pt idx="53">
                  <c:v>880.7748906063802</c:v>
                </c:pt>
                <c:pt idx="54">
                  <c:v>1277.78377287933</c:v>
                </c:pt>
              </c:numCache>
            </c:numRef>
          </c:xVal>
          <c:yVal>
            <c:numRef>
              <c:f>Sheet1!$B$187:$B$241</c:f>
              <c:numCache>
                <c:formatCode>General</c:formatCode>
                <c:ptCount val="55"/>
                <c:pt idx="0">
                  <c:v>0.12980042851623447</c:v>
                </c:pt>
                <c:pt idx="1">
                  <c:v>0.13465639601347854</c:v>
                </c:pt>
                <c:pt idx="2">
                  <c:v>0.13807636947144664</c:v>
                </c:pt>
                <c:pt idx="3">
                  <c:v>0.15035039052711657</c:v>
                </c:pt>
                <c:pt idx="4">
                  <c:v>0.13985900588769806</c:v>
                </c:pt>
                <c:pt idx="5">
                  <c:v>0.13776619044342875</c:v>
                </c:pt>
                <c:pt idx="6">
                  <c:v>0.14925169340032918</c:v>
                </c:pt>
                <c:pt idx="7">
                  <c:v>0.13680462816681938</c:v>
                </c:pt>
                <c:pt idx="8">
                  <c:v>0.11827210554498438</c:v>
                </c:pt>
                <c:pt idx="9">
                  <c:v>0.13189343349410496</c:v>
                </c:pt>
                <c:pt idx="10">
                  <c:v>0.12650602835877484</c:v>
                </c:pt>
                <c:pt idx="11">
                  <c:v>0.14753763898867453</c:v>
                </c:pt>
                <c:pt idx="12">
                  <c:v>0.14576192783861858</c:v>
                </c:pt>
                <c:pt idx="13">
                  <c:v>0.1402481912683754</c:v>
                </c:pt>
                <c:pt idx="14">
                  <c:v>0.13817742003986933</c:v>
                </c:pt>
                <c:pt idx="15">
                  <c:v>0.12878617589850844</c:v>
                </c:pt>
                <c:pt idx="16">
                  <c:v>0.12162728767037853</c:v>
                </c:pt>
                <c:pt idx="17">
                  <c:v>0.12804670326391063</c:v>
                </c:pt>
                <c:pt idx="18">
                  <c:v>0.1416821004380388</c:v>
                </c:pt>
                <c:pt idx="19">
                  <c:v>0.11886783881237989</c:v>
                </c:pt>
                <c:pt idx="20">
                  <c:v>0.10713089766430686</c:v>
                </c:pt>
                <c:pt idx="21">
                  <c:v>0.12358849389791846</c:v>
                </c:pt>
                <c:pt idx="22">
                  <c:v>0.12590105168344684</c:v>
                </c:pt>
                <c:pt idx="23">
                  <c:v>0.13190963132724842</c:v>
                </c:pt>
                <c:pt idx="24">
                  <c:v>0.12655730448763683</c:v>
                </c:pt>
                <c:pt idx="25">
                  <c:v>0.13176339886421579</c:v>
                </c:pt>
                <c:pt idx="26">
                  <c:v>0.13560267896593456</c:v>
                </c:pt>
                <c:pt idx="27">
                  <c:v>0.12535009208444348</c:v>
                </c:pt>
                <c:pt idx="28">
                  <c:v>0.13006358863166212</c:v>
                </c:pt>
                <c:pt idx="29">
                  <c:v>0.1289487228307468</c:v>
                </c:pt>
                <c:pt idx="30">
                  <c:v>0.1279226170731957</c:v>
                </c:pt>
                <c:pt idx="31">
                  <c:v>0.14588146522290615</c:v>
                </c:pt>
                <c:pt idx="32">
                  <c:v>0.14338121085421904</c:v>
                </c:pt>
                <c:pt idx="33">
                  <c:v>0.13618950415407655</c:v>
                </c:pt>
                <c:pt idx="34">
                  <c:v>0.1298412365585105</c:v>
                </c:pt>
                <c:pt idx="35">
                  <c:v>0.1277637004383945</c:v>
                </c:pt>
                <c:pt idx="36">
                  <c:v>0.1239836131382622</c:v>
                </c:pt>
                <c:pt idx="37">
                  <c:v>0.13212763870708163</c:v>
                </c:pt>
                <c:pt idx="38">
                  <c:v>0.12445155701996671</c:v>
                </c:pt>
                <c:pt idx="39">
                  <c:v>0.12267360062571264</c:v>
                </c:pt>
                <c:pt idx="40">
                  <c:v>0.11758888065140155</c:v>
                </c:pt>
                <c:pt idx="41">
                  <c:v>0.10153865044466881</c:v>
                </c:pt>
                <c:pt idx="42">
                  <c:v>0.10254715873632958</c:v>
                </c:pt>
                <c:pt idx="43">
                  <c:v>0.10764874720114201</c:v>
                </c:pt>
                <c:pt idx="44">
                  <c:v>0.11447453741502397</c:v>
                </c:pt>
                <c:pt idx="45">
                  <c:v>0.12167121572731943</c:v>
                </c:pt>
                <c:pt idx="46">
                  <c:v>0.12782375343094002</c:v>
                </c:pt>
                <c:pt idx="47">
                  <c:v>0.13117771087768063</c:v>
                </c:pt>
                <c:pt idx="48">
                  <c:v>0.1256106570474863</c:v>
                </c:pt>
                <c:pt idx="49">
                  <c:v>0.12325990095157452</c:v>
                </c:pt>
                <c:pt idx="50">
                  <c:v>0.14532947047885042</c:v>
                </c:pt>
                <c:pt idx="51">
                  <c:v>0.15008552460927865</c:v>
                </c:pt>
                <c:pt idx="52">
                  <c:v>0.14215039866931675</c:v>
                </c:pt>
                <c:pt idx="53">
                  <c:v>0.1741739928459232</c:v>
                </c:pt>
                <c:pt idx="54">
                  <c:v>0.1162920519679451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5.0"/>
          <c:min val="3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499999999999996"/>
          <c:min val="0.07275641025641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8274753309674162</c:v>
                </c:pt>
                <c:pt idx="5">
                  <c:v>1.0631914783980279</c:v>
                </c:pt>
                <c:pt idx="6">
                  <c:v>1.4138295598363912</c:v>
                </c:pt>
                <c:pt idx="7">
                  <c:v>1.585263938996931</c:v>
                </c:pt>
                <c:pt idx="8">
                  <c:v>1.2463005700733336</c:v>
                </c:pt>
                <c:pt idx="9">
                  <c:v>1.4864269688050697</c:v>
                </c:pt>
                <c:pt idx="10">
                  <c:v>1.1005745116975136</c:v>
                </c:pt>
                <c:pt idx="11">
                  <c:v>1.5359273726692204</c:v>
                </c:pt>
                <c:pt idx="12">
                  <c:v>1.0311733956093807</c:v>
                </c:pt>
                <c:pt idx="13">
                  <c:v>1.1184631096731517</c:v>
                </c:pt>
                <c:pt idx="14">
                  <c:v>0.6035599100373498</c:v>
                </c:pt>
                <c:pt idx="15">
                  <c:v>0.6712652579464904</c:v>
                </c:pt>
                <c:pt idx="16">
                  <c:v>0.9197447202846165</c:v>
                </c:pt>
                <c:pt idx="17">
                  <c:v>0.5642056120638136</c:v>
                </c:pt>
                <c:pt idx="18">
                  <c:v>0.4513339845933178</c:v>
                </c:pt>
                <c:pt idx="19">
                  <c:v>0.4960347133088157</c:v>
                </c:pt>
                <c:pt idx="20">
                  <c:v>1.6530608721289322</c:v>
                </c:pt>
                <c:pt idx="21">
                  <c:v>0.0</c:v>
                </c:pt>
                <c:pt idx="22">
                  <c:v>1.3579094671253977</c:v>
                </c:pt>
                <c:pt idx="23">
                  <c:v>1.9489890922658621</c:v>
                </c:pt>
                <c:pt idx="24">
                  <c:v>2.119541127906969</c:v>
                </c:pt>
                <c:pt idx="25">
                  <c:v>1.541288089133594</c:v>
                </c:pt>
                <c:pt idx="26">
                  <c:v>2.035039993963854</c:v>
                </c:pt>
                <c:pt idx="27">
                  <c:v>2.1206515757816566</c:v>
                </c:pt>
                <c:pt idx="28">
                  <c:v>1.6419803286195576</c:v>
                </c:pt>
                <c:pt idx="29">
                  <c:v>1.5871088605636416</c:v>
                </c:pt>
                <c:pt idx="30">
                  <c:v>2.1089823970936017</c:v>
                </c:pt>
                <c:pt idx="31">
                  <c:v>2.814774411481881</c:v>
                </c:pt>
                <c:pt idx="32">
                  <c:v>2.327596821691402</c:v>
                </c:pt>
                <c:pt idx="33">
                  <c:v>3.0081693833149643</c:v>
                </c:pt>
                <c:pt idx="34">
                  <c:v>1.8469871243189897</c:v>
                </c:pt>
                <c:pt idx="35">
                  <c:v>1.843980489098412</c:v>
                </c:pt>
                <c:pt idx="36">
                  <c:v>2.011338783876001</c:v>
                </c:pt>
                <c:pt idx="37">
                  <c:v>2.0891983039389683</c:v>
                </c:pt>
                <c:pt idx="38">
                  <c:v>2.8372031848207744</c:v>
                </c:pt>
                <c:pt idx="39">
                  <c:v>2.6046724440377362</c:v>
                </c:pt>
                <c:pt idx="40">
                  <c:v>2.6243999902493447</c:v>
                </c:pt>
                <c:pt idx="41">
                  <c:v>2.231665438741704</c:v>
                </c:pt>
                <c:pt idx="42">
                  <c:v>2.3993626226303393</c:v>
                </c:pt>
                <c:pt idx="43">
                  <c:v>2.127533335973371</c:v>
                </c:pt>
                <c:pt idx="44">
                  <c:v>2.4418991125908915</c:v>
                </c:pt>
                <c:pt idx="45">
                  <c:v>2.9059310264790708</c:v>
                </c:pt>
                <c:pt idx="46">
                  <c:v>2.0707150426165573</c:v>
                </c:pt>
                <c:pt idx="47">
                  <c:v>3.1213371004426365</c:v>
                </c:pt>
                <c:pt idx="48">
                  <c:v>2.941611558498331</c:v>
                </c:pt>
                <c:pt idx="49">
                  <c:v>2.8596194844087672</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2.369798226563979</c:v>
                </c:pt>
                <c:pt idx="1">
                  <c:v>2.056568990582566</c:v>
                </c:pt>
                <c:pt idx="2">
                  <c:v>2.2916474605440533</c:v>
                </c:pt>
                <c:pt idx="3">
                  <c:v>2.0238942416691548</c:v>
                </c:pt>
                <c:pt idx="4">
                  <c:v>2.736147184990118</c:v>
                </c:pt>
                <c:pt idx="5">
                  <c:v>2.471273579500637</c:v>
                </c:pt>
                <c:pt idx="6">
                  <c:v>2.8161051593392497</c:v>
                </c:pt>
                <c:pt idx="7">
                  <c:v>2.47212977262362</c:v>
                </c:pt>
                <c:pt idx="8">
                  <c:v>2.0029596085017625</c:v>
                </c:pt>
                <c:pt idx="9">
                  <c:v>2.584589585406334</c:v>
                </c:pt>
                <c:pt idx="10">
                  <c:v>2.5222027142165295</c:v>
                </c:pt>
                <c:pt idx="11">
                  <c:v>2.708920127765819</c:v>
                </c:pt>
                <c:pt idx="12">
                  <c:v>2.6380516779851635</c:v>
                </c:pt>
                <c:pt idx="13">
                  <c:v>1.9056365779239517</c:v>
                </c:pt>
                <c:pt idx="14">
                  <c:v>2.252204694705797</c:v>
                </c:pt>
                <c:pt idx="15">
                  <c:v>2.070995789753014</c:v>
                </c:pt>
                <c:pt idx="16">
                  <c:v>2.0681272610133967</c:v>
                </c:pt>
                <c:pt idx="17">
                  <c:v>1.862902038287739</c:v>
                </c:pt>
                <c:pt idx="18">
                  <c:v>2.6131222234945755</c:v>
                </c:pt>
                <c:pt idx="19">
                  <c:v>2.5322794795692913</c:v>
                </c:pt>
                <c:pt idx="20">
                  <c:v>1.9912698298965372</c:v>
                </c:pt>
                <c:pt idx="21">
                  <c:v>2.2783003190386264</c:v>
                </c:pt>
                <c:pt idx="22">
                  <c:v>2.086318730305404</c:v>
                </c:pt>
                <c:pt idx="23">
                  <c:v>2.1191998914418924</c:v>
                </c:pt>
                <c:pt idx="24">
                  <c:v>2.5358743495123055</c:v>
                </c:pt>
                <c:pt idx="25">
                  <c:v>2.496381354079314</c:v>
                </c:pt>
                <c:pt idx="26">
                  <c:v>2.468004700925217</c:v>
                </c:pt>
                <c:pt idx="27">
                  <c:v>2.2122625284421287</c:v>
                </c:pt>
                <c:pt idx="28">
                  <c:v>1.9893190332369415</c:v>
                </c:pt>
                <c:pt idx="29">
                  <c:v>2.088332533663009</c:v>
                </c:pt>
                <c:pt idx="30">
                  <c:v>1.844586758627994</c:v>
                </c:pt>
                <c:pt idx="31">
                  <c:v>2.1900462412223862</c:v>
                </c:pt>
                <c:pt idx="32">
                  <c:v>2.922514902404277</c:v>
                </c:pt>
                <c:pt idx="33">
                  <c:v>2.8104667786520934</c:v>
                </c:pt>
                <c:pt idx="34">
                  <c:v>2.8553438592642033</c:v>
                </c:pt>
                <c:pt idx="35">
                  <c:v>2.4218808113947548</c:v>
                </c:pt>
                <c:pt idx="36">
                  <c:v>1.9998188805827581</c:v>
                </c:pt>
                <c:pt idx="37">
                  <c:v>2.255022586565543</c:v>
                </c:pt>
                <c:pt idx="38">
                  <c:v>1.8794154320031864</c:v>
                </c:pt>
                <c:pt idx="39">
                  <c:v>2.219401900670094</c:v>
                </c:pt>
                <c:pt idx="40">
                  <c:v>1.9903139584125162</c:v>
                </c:pt>
                <c:pt idx="41">
                  <c:v>2.646710648171276</c:v>
                </c:pt>
                <c:pt idx="42">
                  <c:v>2.7896004271060733</c:v>
                </c:pt>
                <c:pt idx="43">
                  <c:v>2.524774513704984</c:v>
                </c:pt>
                <c:pt idx="44">
                  <c:v>2.815354732742688</c:v>
                </c:pt>
                <c:pt idx="45">
                  <c:v>3.228889223696841</c:v>
                </c:pt>
                <c:pt idx="46">
                  <c:v>3.0816710937622784</c:v>
                </c:pt>
                <c:pt idx="47">
                  <c:v>3.1575122331549372</c:v>
                </c:pt>
                <c:pt idx="48">
                  <c:v>2.3292858618902197</c:v>
                </c:pt>
                <c:pt idx="49">
                  <c:v>3.0660433032965733</c:v>
                </c:pt>
                <c:pt idx="50">
                  <c:v>3.4278739864221075</c:v>
                </c:pt>
                <c:pt idx="51">
                  <c:v>2.7679066438341664</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1.9428610119573728</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1.9428610119573728</c:v>
                </c:pt>
                <c:pt idx="1">
                  <c:v>1.9428610119573728</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1.9428610119573728</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9428610119573728</c:v>
                </c:pt>
                <c:pt idx="1">
                  <c:v>1.9428610119573728</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2.9723026750301873</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2.9723026750301873</c:v>
                </c:pt>
                <c:pt idx="1">
                  <c:v>2.9723026750301873</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2.369798226563979</c:v>
                </c:pt>
                <c:pt idx="1">
                  <c:v>2.056568990582566</c:v>
                </c:pt>
                <c:pt idx="2">
                  <c:v>2.2916474605440533</c:v>
                </c:pt>
                <c:pt idx="3">
                  <c:v>2.0238942416691548</c:v>
                </c:pt>
                <c:pt idx="4">
                  <c:v>2.736147184990118</c:v>
                </c:pt>
                <c:pt idx="5">
                  <c:v>2.471273579500637</c:v>
                </c:pt>
                <c:pt idx="6">
                  <c:v>2.8161051593392497</c:v>
                </c:pt>
                <c:pt idx="7">
                  <c:v>2.47212977262362</c:v>
                </c:pt>
                <c:pt idx="8">
                  <c:v>2.0029596085017625</c:v>
                </c:pt>
                <c:pt idx="9">
                  <c:v>2.584589585406334</c:v>
                </c:pt>
                <c:pt idx="10">
                  <c:v>2.5222027142165295</c:v>
                </c:pt>
                <c:pt idx="11">
                  <c:v>2.708920127765819</c:v>
                </c:pt>
                <c:pt idx="12">
                  <c:v>2.6380516779851635</c:v>
                </c:pt>
                <c:pt idx="13">
                  <c:v>1.9056365779239517</c:v>
                </c:pt>
                <c:pt idx="14">
                  <c:v>2.252204694705797</c:v>
                </c:pt>
                <c:pt idx="15">
                  <c:v>2.070995789753014</c:v>
                </c:pt>
                <c:pt idx="16">
                  <c:v>2.0681272610133967</c:v>
                </c:pt>
                <c:pt idx="17">
                  <c:v>1.862902038287739</c:v>
                </c:pt>
                <c:pt idx="18">
                  <c:v>2.6131222234945755</c:v>
                </c:pt>
                <c:pt idx="19">
                  <c:v>2.5322794795692913</c:v>
                </c:pt>
                <c:pt idx="20">
                  <c:v>1.9912698298965372</c:v>
                </c:pt>
                <c:pt idx="21">
                  <c:v>2.2783003190386264</c:v>
                </c:pt>
                <c:pt idx="22">
                  <c:v>2.086318730305404</c:v>
                </c:pt>
                <c:pt idx="23">
                  <c:v>2.1191998914418924</c:v>
                </c:pt>
                <c:pt idx="24">
                  <c:v>2.5358743495123055</c:v>
                </c:pt>
                <c:pt idx="25">
                  <c:v>2.496381354079314</c:v>
                </c:pt>
                <c:pt idx="26">
                  <c:v>2.468004700925217</c:v>
                </c:pt>
                <c:pt idx="27">
                  <c:v>2.2122625284421287</c:v>
                </c:pt>
                <c:pt idx="28">
                  <c:v>1.9893190332369415</c:v>
                </c:pt>
                <c:pt idx="29">
                  <c:v>2.088332533663009</c:v>
                </c:pt>
                <c:pt idx="30">
                  <c:v>1.844586758627994</c:v>
                </c:pt>
                <c:pt idx="31">
                  <c:v>2.1900462412223862</c:v>
                </c:pt>
                <c:pt idx="32">
                  <c:v>2.922514902404277</c:v>
                </c:pt>
                <c:pt idx="33">
                  <c:v>2.8104667786520934</c:v>
                </c:pt>
                <c:pt idx="34">
                  <c:v>2.8553438592642033</c:v>
                </c:pt>
                <c:pt idx="35">
                  <c:v>2.4218808113947548</c:v>
                </c:pt>
                <c:pt idx="36">
                  <c:v>1.9998188805827581</c:v>
                </c:pt>
                <c:pt idx="37">
                  <c:v>2.255022586565543</c:v>
                </c:pt>
                <c:pt idx="38">
                  <c:v>1.8794154320031864</c:v>
                </c:pt>
                <c:pt idx="39">
                  <c:v>2.219401900670094</c:v>
                </c:pt>
                <c:pt idx="40">
                  <c:v>1.9903139584125162</c:v>
                </c:pt>
                <c:pt idx="41">
                  <c:v>2.646710648171276</c:v>
                </c:pt>
                <c:pt idx="42">
                  <c:v>2.7896004271060733</c:v>
                </c:pt>
                <c:pt idx="43">
                  <c:v>2.524774513704984</c:v>
                </c:pt>
                <c:pt idx="44">
                  <c:v>2.815354732742688</c:v>
                </c:pt>
                <c:pt idx="45">
                  <c:v>3.228889223696841</c:v>
                </c:pt>
                <c:pt idx="46">
                  <c:v>3.0816710937622784</c:v>
                </c:pt>
                <c:pt idx="47">
                  <c:v>3.1575122331549372</c:v>
                </c:pt>
                <c:pt idx="48">
                  <c:v>2.3292858618902197</c:v>
                </c:pt>
                <c:pt idx="49">
                  <c:v>3.0660433032965733</c:v>
                </c:pt>
                <c:pt idx="50">
                  <c:v>3.4278739864221075</c:v>
                </c:pt>
                <c:pt idx="51">
                  <c:v>2.7679066438341664</c:v>
                </c:pt>
                <c:pt idx="52">
                  <c:v>1.9428610119573728</c:v>
                </c:pt>
                <c:pt idx="53">
                  <c:v>1.9428610119573728</c:v>
                </c:pt>
                <c:pt idx="54">
                  <c:v>2.9723026750301873</c:v>
                </c:pt>
              </c:numCache>
            </c:numRef>
          </c:xVal>
          <c:yVal>
            <c:numRef>
              <c:f>Sheet1!$B$132:$B$186</c:f>
              <c:numCache>
                <c:formatCode>General</c:formatCode>
                <c:ptCount val="55"/>
                <c:pt idx="0">
                  <c:v>0.00420107534586223</c:v>
                </c:pt>
                <c:pt idx="1">
                  <c:v>0.005043819833615948</c:v>
                </c:pt>
                <c:pt idx="2">
                  <c:v>0.00441134028831138</c:v>
                </c:pt>
                <c:pt idx="3">
                  <c:v>0.005131731373703312</c:v>
                </c:pt>
                <c:pt idx="4">
                  <c:v>0.0032154120365590535</c:v>
                </c:pt>
                <c:pt idx="5">
                  <c:v>0.003928055510844958</c:v>
                </c:pt>
                <c:pt idx="6">
                  <c:v>0.003000284793013108</c:v>
                </c:pt>
                <c:pt idx="7">
                  <c:v>0.003925751919889963</c:v>
                </c:pt>
                <c:pt idx="8">
                  <c:v>0.0051880560863364995</c:v>
                </c:pt>
                <c:pt idx="9">
                  <c:v>0.0036231783525807124</c:v>
                </c:pt>
                <c:pt idx="10">
                  <c:v>0.003791030474170437</c:v>
                </c:pt>
                <c:pt idx="11">
                  <c:v>0.003288666540793438</c:v>
                </c:pt>
                <c:pt idx="12">
                  <c:v>0.0034793383828428262</c:v>
                </c:pt>
                <c:pt idx="13">
                  <c:v>0.005449904081763732</c:v>
                </c:pt>
                <c:pt idx="14">
                  <c:v>0.00451746120447619</c:v>
                </c:pt>
                <c:pt idx="15">
                  <c:v>0.005005004473872369</c:v>
                </c:pt>
                <c:pt idx="16">
                  <c:v>0.005012722261695403</c:v>
                </c:pt>
                <c:pt idx="17">
                  <c:v>0.005564881528240816</c:v>
                </c:pt>
                <c:pt idx="18">
                  <c:v>0.003546411177911984</c:v>
                </c:pt>
                <c:pt idx="19">
                  <c:v>0.0037639188974722404</c:v>
                </c:pt>
                <c:pt idx="20">
                  <c:v>0.005219507481515969</c:v>
                </c:pt>
                <c:pt idx="21">
                  <c:v>0.004447250824873282</c:v>
                </c:pt>
                <c:pt idx="22">
                  <c:v>0.0049637780422264076</c:v>
                </c:pt>
                <c:pt idx="23">
                  <c:v>0.004875311149243398</c:v>
                </c:pt>
                <c:pt idx="24">
                  <c:v>0.0037542468857930805</c:v>
                </c:pt>
                <c:pt idx="25">
                  <c:v>0.0038605029448795045</c:v>
                </c:pt>
                <c:pt idx="26">
                  <c:v>0.0039368504414712124</c:v>
                </c:pt>
                <c:pt idx="27">
                  <c:v>0.004624925759443998</c:v>
                </c:pt>
                <c:pt idx="28">
                  <c:v>0.0052247561075787685</c:v>
                </c:pt>
                <c:pt idx="29">
                  <c:v>0.00495835989639553</c:v>
                </c:pt>
                <c:pt idx="30">
                  <c:v>0.00561415885998974</c:v>
                </c:pt>
                <c:pt idx="31">
                  <c:v>0.004684698767331111</c:v>
                </c:pt>
                <c:pt idx="32">
                  <c:v>0.0027139889620049745</c:v>
                </c:pt>
                <c:pt idx="33">
                  <c:v>0.0030154548783631234</c:v>
                </c:pt>
                <c:pt idx="34">
                  <c:v>0.002894712916988294</c:v>
                </c:pt>
                <c:pt idx="35">
                  <c:v>0.004060946947130298</c:v>
                </c:pt>
                <c:pt idx="36">
                  <c:v>0.005196506227119118</c:v>
                </c:pt>
                <c:pt idx="37">
                  <c:v>0.004509879655377025</c:v>
                </c:pt>
                <c:pt idx="38">
                  <c:v>0.0055204521776912215</c:v>
                </c:pt>
                <c:pt idx="39">
                  <c:v>0.004605717250467215</c:v>
                </c:pt>
                <c:pt idx="40">
                  <c:v>0.005222079257492231</c:v>
                </c:pt>
                <c:pt idx="41">
                  <c:v>0.0034560413896004612</c:v>
                </c:pt>
                <c:pt idx="42">
                  <c:v>0.003071595879026239</c:v>
                </c:pt>
                <c:pt idx="43">
                  <c:v>0.0037841110375612967</c:v>
                </c:pt>
                <c:pt idx="44">
                  <c:v>0.003002303818713997</c:v>
                </c:pt>
                <c:pt idx="45">
                  <c:v>0.0018896876491035306</c:v>
                </c:pt>
                <c:pt idx="46">
                  <c:v>0.0022857786050164888</c:v>
                </c:pt>
                <c:pt idx="47">
                  <c:v>0.002081727722065328</c:v>
                </c:pt>
                <c:pt idx="48">
                  <c:v>0.004310074021888452</c:v>
                </c:pt>
                <c:pt idx="49">
                  <c:v>0.0023278252365497108</c:v>
                </c:pt>
                <c:pt idx="50">
                  <c:v>0.0013543183646614783</c:v>
                </c:pt>
                <c:pt idx="51">
                  <c:v>0.0031299630879926725</c:v>
                </c:pt>
                <c:pt idx="52">
                  <c:v>0.005349751596019141</c:v>
                </c:pt>
                <c:pt idx="53">
                  <c:v>0.005349751596019141</c:v>
                </c:pt>
                <c:pt idx="54">
                  <c:v>0.00258003476450946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48.877825097005</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48.877825097005</c:v>
                </c:pt>
                <c:pt idx="1">
                  <c:v>3348.877825097005</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48.877825097005</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48.877825097005</c:v>
                </c:pt>
                <c:pt idx="1">
                  <c:v>3348.877825097005</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85.537920295936</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85.537920295936</c:v>
                </c:pt>
                <c:pt idx="1">
                  <c:v>4985.537920295936</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48.877825097005</c:v>
                </c:pt>
                <c:pt idx="53">
                  <c:v>3348.877825097005</c:v>
                </c:pt>
                <c:pt idx="54">
                  <c:v>4985.537920295936</c:v>
                </c:pt>
              </c:numCache>
            </c:numRef>
          </c:xVal>
          <c:yVal>
            <c:numRef>
              <c:f>Sheet1!$B$132:$B$186</c:f>
              <c:numCache>
                <c:formatCode>General</c:formatCode>
                <c:ptCount val="55"/>
                <c:pt idx="0">
                  <c:v>0.004290589279856178</c:v>
                </c:pt>
                <c:pt idx="1">
                  <c:v>0.004854970708851797</c:v>
                </c:pt>
                <c:pt idx="2">
                  <c:v>0.0042837730414162735</c:v>
                </c:pt>
                <c:pt idx="3">
                  <c:v>0.004857932230593153</c:v>
                </c:pt>
                <c:pt idx="4">
                  <c:v>0.0027015817433947986</c:v>
                </c:pt>
                <c:pt idx="5">
                  <c:v>0.0037321308943432732</c:v>
                </c:pt>
                <c:pt idx="6">
                  <c:v>0.0033138794095568655</c:v>
                </c:pt>
                <c:pt idx="7">
                  <c:v>0.004147336242481429</c:v>
                </c:pt>
                <c:pt idx="8">
                  <c:v>0.005294160490809221</c:v>
                </c:pt>
                <c:pt idx="9">
                  <c:v>0.003699092665486143</c:v>
                </c:pt>
                <c:pt idx="10">
                  <c:v>0.003913399040168955</c:v>
                </c:pt>
                <c:pt idx="11">
                  <c:v>0.004312278957400431</c:v>
                </c:pt>
                <c:pt idx="12">
                  <c:v>0.004319146810933543</c:v>
                </c:pt>
                <c:pt idx="13">
                  <c:v>0.005555751367763598</c:v>
                </c:pt>
                <c:pt idx="14">
                  <c:v>0.004563955844173443</c:v>
                </c:pt>
                <c:pt idx="15">
                  <c:v>0.004997156244561148</c:v>
                </c:pt>
                <c:pt idx="16">
                  <c:v>0.005107155623525811</c:v>
                </c:pt>
                <c:pt idx="17">
                  <c:v>0.005703235150483142</c:v>
                </c:pt>
                <c:pt idx="18">
                  <c:v>0.003505906848483801</c:v>
                </c:pt>
                <c:pt idx="19">
                  <c:v>0.00310753191301668</c:v>
                </c:pt>
                <c:pt idx="20">
                  <c:v>0.004456293528937244</c:v>
                </c:pt>
                <c:pt idx="21">
                  <c:v>0.003716900211102012</c:v>
                </c:pt>
                <c:pt idx="22">
                  <c:v>0.004170013037529528</c:v>
                </c:pt>
                <c:pt idx="23">
                  <c:v>0.0045155803172923625</c:v>
                </c:pt>
                <c:pt idx="24">
                  <c:v>0.003282966707160961</c:v>
                </c:pt>
                <c:pt idx="25">
                  <c:v>0.003995367869696402</c:v>
                </c:pt>
                <c:pt idx="26">
                  <c:v>0.003770388847576997</c:v>
                </c:pt>
                <c:pt idx="27">
                  <c:v>0.004582369740212127</c:v>
                </c:pt>
                <c:pt idx="28">
                  <c:v>0.005216064824030028</c:v>
                </c:pt>
                <c:pt idx="29">
                  <c:v>0.0044299016317869725</c:v>
                </c:pt>
                <c:pt idx="30">
                  <c:v>0.005287564420357059</c:v>
                </c:pt>
                <c:pt idx="31">
                  <c:v>0.004345165894804031</c:v>
                </c:pt>
                <c:pt idx="32">
                  <c:v>0.0021336143346449322</c:v>
                </c:pt>
                <c:pt idx="33">
                  <c:v>0.002841075509685976</c:v>
                </c:pt>
                <c:pt idx="34">
                  <c:v>0.003048865521158923</c:v>
                </c:pt>
                <c:pt idx="35">
                  <c:v>0.0037936459316565896</c:v>
                </c:pt>
                <c:pt idx="36">
                  <c:v>0.004196878270468975</c:v>
                </c:pt>
                <c:pt idx="37">
                  <c:v>0.003482305381733144</c:v>
                </c:pt>
                <c:pt idx="38">
                  <c:v>0.004754097724515111</c:v>
                </c:pt>
                <c:pt idx="39">
                  <c:v>0.004329814381475723</c:v>
                </c:pt>
                <c:pt idx="40">
                  <c:v>0.004963489326945782</c:v>
                </c:pt>
                <c:pt idx="41">
                  <c:v>0.002857998491065156</c:v>
                </c:pt>
                <c:pt idx="42">
                  <c:v>0.0021498321353900403</c:v>
                </c:pt>
                <c:pt idx="43">
                  <c:v>0.0037260668824256717</c:v>
                </c:pt>
                <c:pt idx="44">
                  <c:v>0.003700823378791792</c:v>
                </c:pt>
                <c:pt idx="45">
                  <c:v>0.002885800580253754</c:v>
                </c:pt>
                <c:pt idx="46">
                  <c:v>0.003020217282901366</c:v>
                </c:pt>
                <c:pt idx="47">
                  <c:v>0.0029896350863317968</c:v>
                </c:pt>
                <c:pt idx="48">
                  <c:v>0.005490928733739722</c:v>
                </c:pt>
                <c:pt idx="49">
                  <c:v>0.0038215876354415652</c:v>
                </c:pt>
                <c:pt idx="50">
                  <c:v>0.0030018196329248056</c:v>
                </c:pt>
                <c:pt idx="51">
                  <c:v>0.0044675190501754945</c:v>
                </c:pt>
                <c:pt idx="52">
                  <c:v>0.005349751596019141</c:v>
                </c:pt>
                <c:pt idx="53">
                  <c:v>0.005349751596019141</c:v>
                </c:pt>
                <c:pt idx="54">
                  <c:v>0.00258003476450946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3.037282081681098</c:v>
                </c:pt>
                <c:pt idx="5">
                  <c:v>4.038093418394245</c:v>
                </c:pt>
                <c:pt idx="6">
                  <c:v>4.73706728610209</c:v>
                </c:pt>
                <c:pt idx="7">
                  <c:v>5.07262455557655</c:v>
                </c:pt>
                <c:pt idx="8">
                  <c:v>4.039190820519699</c:v>
                </c:pt>
                <c:pt idx="9">
                  <c:v>4.395312949490261</c:v>
                </c:pt>
                <c:pt idx="10">
                  <c:v>3.1489601677644408</c:v>
                </c:pt>
                <c:pt idx="11">
                  <c:v>4.515193357073119</c:v>
                </c:pt>
                <c:pt idx="12">
                  <c:v>2.966484406706275</c:v>
                </c:pt>
                <c:pt idx="13">
                  <c:v>3.232175340055279</c:v>
                </c:pt>
                <c:pt idx="14">
                  <c:v>1.7019589169374623</c:v>
                </c:pt>
                <c:pt idx="15">
                  <c:v>1.9715280622695617</c:v>
                </c:pt>
                <c:pt idx="16">
                  <c:v>3.1321945835436154</c:v>
                </c:pt>
                <c:pt idx="17">
                  <c:v>1.9310666198989768</c:v>
                </c:pt>
                <c:pt idx="18">
                  <c:v>1.5511234565606804</c:v>
                </c:pt>
                <c:pt idx="19">
                  <c:v>1.738826766346944</c:v>
                </c:pt>
                <c:pt idx="20">
                  <c:v>5.973978904708756</c:v>
                </c:pt>
                <c:pt idx="21">
                  <c:v>0.0</c:v>
                </c:pt>
                <c:pt idx="22">
                  <c:v>5.178944307548074</c:v>
                </c:pt>
                <c:pt idx="23">
                  <c:v>7.69184335346078</c:v>
                </c:pt>
                <c:pt idx="24">
                  <c:v>8.447610306953637</c:v>
                </c:pt>
                <c:pt idx="25">
                  <c:v>5.862995129826353</c:v>
                </c:pt>
                <c:pt idx="26">
                  <c:v>7.72841709125887</c:v>
                </c:pt>
                <c:pt idx="27">
                  <c:v>8.048490823481162</c:v>
                </c:pt>
                <c:pt idx="28">
                  <c:v>6.404513046860354</c:v>
                </c:pt>
                <c:pt idx="29">
                  <c:v>6.173295454545454</c:v>
                </c:pt>
                <c:pt idx="30">
                  <c:v>7.8114938731608206</c:v>
                </c:pt>
                <c:pt idx="31">
                  <c:v>10.105037277125158</c:v>
                </c:pt>
                <c:pt idx="32">
                  <c:v>8.212787815094797</c:v>
                </c:pt>
                <c:pt idx="33">
                  <c:v>11.702597551305564</c:v>
                </c:pt>
                <c:pt idx="34">
                  <c:v>7.353780758071966</c:v>
                </c:pt>
                <c:pt idx="35">
                  <c:v>7.332749516153974</c:v>
                </c:pt>
                <c:pt idx="36">
                  <c:v>7.753183911916859</c:v>
                </c:pt>
                <c:pt idx="37">
                  <c:v>7.476632061574983</c:v>
                </c:pt>
                <c:pt idx="38">
                  <c:v>9.002313313165244</c:v>
                </c:pt>
                <c:pt idx="39">
                  <c:v>8.397328974161086</c:v>
                </c:pt>
                <c:pt idx="40">
                  <c:v>7.871439687314125</c:v>
                </c:pt>
                <c:pt idx="41">
                  <c:v>6.2690944972549545</c:v>
                </c:pt>
                <c:pt idx="42">
                  <c:v>6.352048274762691</c:v>
                </c:pt>
                <c:pt idx="43">
                  <c:v>5.777595390395399</c:v>
                </c:pt>
                <c:pt idx="44">
                  <c:v>7.452884909255249</c:v>
                </c:pt>
                <c:pt idx="45">
                  <c:v>7.781805238280226</c:v>
                </c:pt>
                <c:pt idx="46">
                  <c:v>5.281797435199232</c:v>
                </c:pt>
                <c:pt idx="47">
                  <c:v>7.735908974652745</c:v>
                </c:pt>
                <c:pt idx="48">
                  <c:v>7.243022067188207</c:v>
                </c:pt>
                <c:pt idx="49">
                  <c:v>7.468201616378899</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5.893458546437888</c:v>
                </c:pt>
                <c:pt idx="1">
                  <c:v>5.493834005870651</c:v>
                </c:pt>
                <c:pt idx="2">
                  <c:v>5.750721843340085</c:v>
                </c:pt>
                <c:pt idx="3">
                  <c:v>5.1512619707218095</c:v>
                </c:pt>
                <c:pt idx="4">
                  <c:v>6.935567457396498</c:v>
                </c:pt>
                <c:pt idx="5">
                  <c:v>5.8285236758091115</c:v>
                </c:pt>
                <c:pt idx="6">
                  <c:v>6.687173273284567</c:v>
                </c:pt>
                <c:pt idx="7">
                  <c:v>5.654626753402332</c:v>
                </c:pt>
                <c:pt idx="8">
                  <c:v>4.5081732893855415</c:v>
                </c:pt>
                <c:pt idx="9">
                  <c:v>6.105587672347726</c:v>
                </c:pt>
                <c:pt idx="10">
                  <c:v>5.885868205706338</c:v>
                </c:pt>
                <c:pt idx="11">
                  <c:v>6.692835892854036</c:v>
                </c:pt>
                <c:pt idx="12">
                  <c:v>6.583016909972654</c:v>
                </c:pt>
                <c:pt idx="13">
                  <c:v>4.551995563033251</c:v>
                </c:pt>
                <c:pt idx="14">
                  <c:v>5.36052351644638</c:v>
                </c:pt>
                <c:pt idx="15">
                  <c:v>5.260939885719153</c:v>
                </c:pt>
                <c:pt idx="16">
                  <c:v>4.819976793317955</c:v>
                </c:pt>
                <c:pt idx="17">
                  <c:v>4.682573697595811</c:v>
                </c:pt>
                <c:pt idx="18">
                  <c:v>6.1984066689420825</c:v>
                </c:pt>
                <c:pt idx="19">
                  <c:v>6.554458993132438</c:v>
                </c:pt>
                <c:pt idx="20">
                  <c:v>5.247994014565873</c:v>
                </c:pt>
                <c:pt idx="21">
                  <c:v>5.908194431128703</c:v>
                </c:pt>
                <c:pt idx="22">
                  <c:v>5.479512905701998</c:v>
                </c:pt>
                <c:pt idx="23">
                  <c:v>5.221041484842563</c:v>
                </c:pt>
                <c:pt idx="24">
                  <c:v>6.047488253480288</c:v>
                </c:pt>
                <c:pt idx="25">
                  <c:v>5.892104562845092</c:v>
                </c:pt>
                <c:pt idx="26">
                  <c:v>5.932227600423359</c:v>
                </c:pt>
                <c:pt idx="27">
                  <c:v>5.183274866428546</c:v>
                </c:pt>
                <c:pt idx="28">
                  <c:v>4.763055736731808</c:v>
                </c:pt>
                <c:pt idx="29">
                  <c:v>5.178197241250682</c:v>
                </c:pt>
                <c:pt idx="30">
                  <c:v>4.612758537579958</c:v>
                </c:pt>
                <c:pt idx="31">
                  <c:v>5.290786596709741</c:v>
                </c:pt>
                <c:pt idx="32">
                  <c:v>6.905768101165908</c:v>
                </c:pt>
                <c:pt idx="33">
                  <c:v>6.417729073874574</c:v>
                </c:pt>
                <c:pt idx="34">
                  <c:v>6.439780157106838</c:v>
                </c:pt>
                <c:pt idx="35">
                  <c:v>5.5720262455960246</c:v>
                </c:pt>
                <c:pt idx="36">
                  <c:v>5.085233696464118</c:v>
                </c:pt>
                <c:pt idx="37">
                  <c:v>5.998688806772397</c:v>
                </c:pt>
                <c:pt idx="38">
                  <c:v>4.878863593518679</c:v>
                </c:pt>
                <c:pt idx="39">
                  <c:v>5.579989107109143</c:v>
                </c:pt>
                <c:pt idx="40">
                  <c:v>4.674123573654858</c:v>
                </c:pt>
                <c:pt idx="41">
                  <c:v>6.348626942234211</c:v>
                </c:pt>
                <c:pt idx="42">
                  <c:v>6.885447752858451</c:v>
                </c:pt>
                <c:pt idx="43">
                  <c:v>5.891241571992021</c:v>
                </c:pt>
                <c:pt idx="44">
                  <c:v>5.991625237267389</c:v>
                </c:pt>
                <c:pt idx="45">
                  <c:v>7.037188362648745</c:v>
                </c:pt>
                <c:pt idx="46">
                  <c:v>6.857661359197263</c:v>
                </c:pt>
                <c:pt idx="47">
                  <c:v>7.0333956925993135</c:v>
                </c:pt>
                <c:pt idx="48">
                  <c:v>4.692052381592817</c:v>
                </c:pt>
                <c:pt idx="49">
                  <c:v>6.370451271067087</c:v>
                </c:pt>
                <c:pt idx="50">
                  <c:v>7.370162411844919</c:v>
                </c:pt>
                <c:pt idx="51">
                  <c:v>6.159445315705392</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4.759488250230935</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4.759488250230935</c:v>
                </c:pt>
                <c:pt idx="1">
                  <c:v>4.759488250230935</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4.759488250230935</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4.759488250230935</c:v>
                </c:pt>
                <c:pt idx="1">
                  <c:v>4.759488250230935</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6.944979541216257</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6.944979541216257</c:v>
                </c:pt>
                <c:pt idx="1">
                  <c:v>6.944979541216257</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5.893458546437888</c:v>
                </c:pt>
                <c:pt idx="1">
                  <c:v>5.493834005870651</c:v>
                </c:pt>
                <c:pt idx="2">
                  <c:v>5.750721843340085</c:v>
                </c:pt>
                <c:pt idx="3">
                  <c:v>5.1512619707218095</c:v>
                </c:pt>
                <c:pt idx="4">
                  <c:v>6.935567457396498</c:v>
                </c:pt>
                <c:pt idx="5">
                  <c:v>5.8285236758091115</c:v>
                </c:pt>
                <c:pt idx="6">
                  <c:v>6.687173273284567</c:v>
                </c:pt>
                <c:pt idx="7">
                  <c:v>5.654626753402332</c:v>
                </c:pt>
                <c:pt idx="8">
                  <c:v>4.5081732893855415</c:v>
                </c:pt>
                <c:pt idx="9">
                  <c:v>6.105587672347726</c:v>
                </c:pt>
                <c:pt idx="10">
                  <c:v>5.885868205706338</c:v>
                </c:pt>
                <c:pt idx="11">
                  <c:v>6.692835892854036</c:v>
                </c:pt>
                <c:pt idx="12">
                  <c:v>6.583016909972654</c:v>
                </c:pt>
                <c:pt idx="13">
                  <c:v>4.551995563033251</c:v>
                </c:pt>
                <c:pt idx="14">
                  <c:v>5.36052351644638</c:v>
                </c:pt>
                <c:pt idx="15">
                  <c:v>5.260939885719153</c:v>
                </c:pt>
                <c:pt idx="16">
                  <c:v>4.819976793317955</c:v>
                </c:pt>
                <c:pt idx="17">
                  <c:v>4.682573697595811</c:v>
                </c:pt>
                <c:pt idx="18">
                  <c:v>6.1984066689420825</c:v>
                </c:pt>
                <c:pt idx="19">
                  <c:v>6.554458993132438</c:v>
                </c:pt>
                <c:pt idx="20">
                  <c:v>5.247994014565873</c:v>
                </c:pt>
                <c:pt idx="21">
                  <c:v>5.908194431128703</c:v>
                </c:pt>
                <c:pt idx="22">
                  <c:v>5.479512905701998</c:v>
                </c:pt>
                <c:pt idx="23">
                  <c:v>5.221041484842563</c:v>
                </c:pt>
                <c:pt idx="24">
                  <c:v>6.047488253480288</c:v>
                </c:pt>
                <c:pt idx="25">
                  <c:v>5.892104562845092</c:v>
                </c:pt>
                <c:pt idx="26">
                  <c:v>5.932227600423359</c:v>
                </c:pt>
                <c:pt idx="27">
                  <c:v>5.183274866428546</c:v>
                </c:pt>
                <c:pt idx="28">
                  <c:v>4.763055736731808</c:v>
                </c:pt>
                <c:pt idx="29">
                  <c:v>5.178197241250682</c:v>
                </c:pt>
                <c:pt idx="30">
                  <c:v>4.612758537579958</c:v>
                </c:pt>
                <c:pt idx="31">
                  <c:v>5.290786596709741</c:v>
                </c:pt>
                <c:pt idx="32">
                  <c:v>6.905768101165908</c:v>
                </c:pt>
                <c:pt idx="33">
                  <c:v>6.417729073874574</c:v>
                </c:pt>
                <c:pt idx="34">
                  <c:v>6.439780157106838</c:v>
                </c:pt>
                <c:pt idx="35">
                  <c:v>5.5720262455960246</c:v>
                </c:pt>
                <c:pt idx="36">
                  <c:v>5.085233696464118</c:v>
                </c:pt>
                <c:pt idx="37">
                  <c:v>5.998688806772397</c:v>
                </c:pt>
                <c:pt idx="38">
                  <c:v>4.878863593518679</c:v>
                </c:pt>
                <c:pt idx="39">
                  <c:v>5.579989107109143</c:v>
                </c:pt>
                <c:pt idx="40">
                  <c:v>4.674123573654858</c:v>
                </c:pt>
                <c:pt idx="41">
                  <c:v>6.348626942234211</c:v>
                </c:pt>
                <c:pt idx="42">
                  <c:v>6.885447752858451</c:v>
                </c:pt>
                <c:pt idx="43">
                  <c:v>5.891241571992021</c:v>
                </c:pt>
                <c:pt idx="44">
                  <c:v>5.991625237267389</c:v>
                </c:pt>
                <c:pt idx="45">
                  <c:v>7.037188362648745</c:v>
                </c:pt>
                <c:pt idx="46">
                  <c:v>6.857661359197263</c:v>
                </c:pt>
                <c:pt idx="47">
                  <c:v>7.0333956925993135</c:v>
                </c:pt>
                <c:pt idx="48">
                  <c:v>4.692052381592817</c:v>
                </c:pt>
                <c:pt idx="49">
                  <c:v>6.370451271067087</c:v>
                </c:pt>
                <c:pt idx="50">
                  <c:v>7.370162411844919</c:v>
                </c:pt>
                <c:pt idx="51">
                  <c:v>6.159445315705392</c:v>
                </c:pt>
                <c:pt idx="52">
                  <c:v>4.759488250230935</c:v>
                </c:pt>
                <c:pt idx="53">
                  <c:v>4.759488250230935</c:v>
                </c:pt>
                <c:pt idx="54">
                  <c:v>6.944979541216257</c:v>
                </c:pt>
              </c:numCache>
            </c:numRef>
          </c:xVal>
          <c:yVal>
            <c:numRef>
              <c:f>Sheet1!$B$132:$B$186</c:f>
              <c:numCache>
                <c:formatCode>General</c:formatCode>
                <c:ptCount val="55"/>
                <c:pt idx="0">
                  <c:v>0.003912648355758503</c:v>
                </c:pt>
                <c:pt idx="1">
                  <c:v>0.004419100530086033</c:v>
                </c:pt>
                <c:pt idx="2">
                  <c:v>0.004093541434891271</c:v>
                </c:pt>
                <c:pt idx="3">
                  <c:v>0.004853248923021744</c:v>
                </c:pt>
                <c:pt idx="4">
                  <c:v>0.002591962886613036</c:v>
                </c:pt>
                <c:pt idx="5">
                  <c:v>0.0039949416162598245</c:v>
                </c:pt>
                <c:pt idx="6">
                  <c:v>0.0029067578050012734</c:v>
                </c:pt>
                <c:pt idx="7">
                  <c:v>0.004215324664650121</c:v>
                </c:pt>
                <c:pt idx="8">
                  <c:v>0.0056682480731887475</c:v>
                </c:pt>
                <c:pt idx="9">
                  <c:v>0.003643812871073947</c:v>
                </c:pt>
                <c:pt idx="10">
                  <c:v>0.003922267746404342</c:v>
                </c:pt>
                <c:pt idx="11">
                  <c:v>0.0028995814539461654</c:v>
                </c:pt>
                <c:pt idx="12">
                  <c:v>0.0030387572477644526</c:v>
                </c:pt>
                <c:pt idx="13">
                  <c:v>0.0056127112291767265</c:v>
                </c:pt>
                <c:pt idx="14">
                  <c:v>0.004588047580068891</c:v>
                </c:pt>
                <c:pt idx="15">
                  <c:v>0.004714251907354813</c:v>
                </c:pt>
                <c:pt idx="16">
                  <c:v>0.005273093255355571</c:v>
                </c:pt>
                <c:pt idx="17">
                  <c:v>0.005447226947167988</c:v>
                </c:pt>
                <c:pt idx="18">
                  <c:v>0.0035261814999439697</c:v>
                </c:pt>
                <c:pt idx="19">
                  <c:v>0.00307494926704701</c:v>
                </c:pt>
                <c:pt idx="20">
                  <c:v>0.004730658468835838</c:v>
                </c:pt>
                <c:pt idx="21">
                  <c:v>0.00389397327431403</c:v>
                </c:pt>
                <c:pt idx="22">
                  <c:v>0.0044372499468082445</c:v>
                </c:pt>
                <c:pt idx="23">
                  <c:v>0.004764815948911066</c:v>
                </c:pt>
                <c:pt idx="24">
                  <c:v>0.0037174434268221358</c:v>
                </c:pt>
                <c:pt idx="25">
                  <c:v>0.003914364286250664</c:v>
                </c:pt>
                <c:pt idx="26">
                  <c:v>0.003863515558108755</c:v>
                </c:pt>
                <c:pt idx="27">
                  <c:v>0.004812678339908446</c:v>
                </c:pt>
                <c:pt idx="28">
                  <c:v>0.005345230449012787</c:v>
                </c:pt>
                <c:pt idx="29">
                  <c:v>0.0048191133158688795</c:v>
                </c:pt>
                <c:pt idx="30">
                  <c:v>0.005535705096034584</c:v>
                </c:pt>
                <c:pt idx="31">
                  <c:v>0.004676426573464525</c:v>
                </c:pt>
                <c:pt idx="32">
                  <c:v>0.002629728206868697</c:v>
                </c:pt>
                <c:pt idx="33">
                  <c:v>0.0032482298288600605</c:v>
                </c:pt>
                <c:pt idx="34">
                  <c:v>0.0032202840499711925</c:v>
                </c:pt>
                <c:pt idx="35">
                  <c:v>0.004320005940528933</c:v>
                </c:pt>
                <c:pt idx="36">
                  <c:v>0.004936927875814375</c:v>
                </c:pt>
                <c:pt idx="37">
                  <c:v>0.003779287941816413</c:v>
                </c:pt>
                <c:pt idx="38">
                  <c:v>0.0051984648354929785</c:v>
                </c:pt>
                <c:pt idx="39">
                  <c:v>0.004309914446844728</c:v>
                </c:pt>
                <c:pt idx="40">
                  <c:v>0.005457935958274158</c:v>
                </c:pt>
                <c:pt idx="41">
                  <c:v>0.0033358043426030184</c:v>
                </c:pt>
                <c:pt idx="42">
                  <c:v>0.002655480590765834</c:v>
                </c:pt>
                <c:pt idx="43">
                  <c:v>0.003915457971821981</c:v>
                </c:pt>
                <c:pt idx="44">
                  <c:v>0.003788239744749354</c:v>
                </c:pt>
                <c:pt idx="45">
                  <c:v>0.0024631766805680317</c:v>
                </c:pt>
                <c:pt idx="46">
                  <c:v>0.0026906948432901014</c:v>
                </c:pt>
                <c:pt idx="47">
                  <c:v>0.0024679832071900325</c:v>
                </c:pt>
                <c:pt idx="48">
                  <c:v>0.005435214421327523</c:v>
                </c:pt>
                <c:pt idx="49">
                  <c:v>0.003308145934100476</c:v>
                </c:pt>
                <c:pt idx="50">
                  <c:v>0.0020411920072277035</c:v>
                </c:pt>
                <c:pt idx="51">
                  <c:v>0.0035755580022815304</c:v>
                </c:pt>
                <c:pt idx="52">
                  <c:v>0.005349751596019141</c:v>
                </c:pt>
                <c:pt idx="53">
                  <c:v>0.005349751596019141</c:v>
                </c:pt>
                <c:pt idx="54">
                  <c:v>0.00258003476450946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556273856026977</c:v>
                </c:pt>
                <c:pt idx="1">
                  <c:v>0.20868897534146869</c:v>
                </c:pt>
                <c:pt idx="2">
                  <c:v>0.2011183095689045</c:v>
                </c:pt>
                <c:pt idx="3">
                  <c:v>0.19012784937681204</c:v>
                </c:pt>
                <c:pt idx="4">
                  <c:v>0.18708504071697168</c:v>
                </c:pt>
                <c:pt idx="5">
                  <c:v>0.20357515833710563</c:v>
                </c:pt>
                <c:pt idx="6">
                  <c:v>0.1987447635149227</c:v>
                </c:pt>
                <c:pt idx="7">
                  <c:v>0.17803984436691905</c:v>
                </c:pt>
                <c:pt idx="8">
                  <c:v>0.1687083954959143</c:v>
                </c:pt>
                <c:pt idx="9">
                  <c:v>0.15897722239457154</c:v>
                </c:pt>
                <c:pt idx="10">
                  <c:v>0.17380251696100263</c:v>
                </c:pt>
                <c:pt idx="11">
                  <c:v>0.19566046261455203</c:v>
                </c:pt>
                <c:pt idx="12">
                  <c:v>0.19722155883811382</c:v>
                </c:pt>
                <c:pt idx="13">
                  <c:v>0.17490969482297636</c:v>
                </c:pt>
                <c:pt idx="14">
                  <c:v>0.18319825857392538</c:v>
                </c:pt>
                <c:pt idx="15">
                  <c:v>0.19400673311108904</c:v>
                </c:pt>
                <c:pt idx="16">
                  <c:v>0.1873360990137797</c:v>
                </c:pt>
                <c:pt idx="17">
                  <c:v>0.18935605745297907</c:v>
                </c:pt>
                <c:pt idx="18">
                  <c:v>0.16791163270997234</c:v>
                </c:pt>
                <c:pt idx="19">
                  <c:v>0.18413152526896934</c:v>
                </c:pt>
                <c:pt idx="20">
                  <c:v>0.17466744312379132</c:v>
                </c:pt>
                <c:pt idx="21">
                  <c:v>0.1835569460700459</c:v>
                </c:pt>
                <c:pt idx="22">
                  <c:v>0.17593188123238673</c:v>
                </c:pt>
                <c:pt idx="23">
                  <c:v>0.15142895071210483</c:v>
                </c:pt>
                <c:pt idx="24">
                  <c:v>0.18216462668462052</c:v>
                </c:pt>
                <c:pt idx="25">
                  <c:v>0.1897354678137443</c:v>
                </c:pt>
                <c:pt idx="26">
                  <c:v>0.17352867686768678</c:v>
                </c:pt>
                <c:pt idx="27">
                  <c:v>0.1829755709533403</c:v>
                </c:pt>
                <c:pt idx="28">
                  <c:v>0.14899928253265973</c:v>
                </c:pt>
                <c:pt idx="29">
                  <c:v>0.16336865146047086</c:v>
                </c:pt>
                <c:pt idx="30">
                  <c:v>0.16356242056863446</c:v>
                </c:pt>
                <c:pt idx="31">
                  <c:v>0.15870276224697086</c:v>
                </c:pt>
                <c:pt idx="32">
                  <c:v>0.14813436842787464</c:v>
                </c:pt>
                <c:pt idx="33">
                  <c:v>0.160482301773958</c:v>
                </c:pt>
                <c:pt idx="34">
                  <c:v>0.17303445056912087</c:v>
                </c:pt>
                <c:pt idx="35">
                  <c:v>0.17938909817178547</c:v>
                </c:pt>
                <c:pt idx="36">
                  <c:v>0.16432657356178204</c:v>
                </c:pt>
                <c:pt idx="37">
                  <c:v>0.16723269977307545</c:v>
                </c:pt>
                <c:pt idx="38">
                  <c:v>0.1777333666739359</c:v>
                </c:pt>
                <c:pt idx="39">
                  <c:v>0.2214936834904959</c:v>
                </c:pt>
                <c:pt idx="40">
                  <c:v>0.22459156560655014</c:v>
                </c:pt>
                <c:pt idx="41">
                  <c:v>0.20444898839091258</c:v>
                </c:pt>
                <c:pt idx="42">
                  <c:v>0.18397873980475166</c:v>
                </c:pt>
                <c:pt idx="43">
                  <c:v>0.2055257472280123</c:v>
                </c:pt>
                <c:pt idx="44">
                  <c:v>0.20517587639452922</c:v>
                </c:pt>
                <c:pt idx="45">
                  <c:v>0.22337691741188848</c:v>
                </c:pt>
                <c:pt idx="46">
                  <c:v>0.23555989049321938</c:v>
                </c:pt>
                <c:pt idx="47">
                  <c:v>0.18596855449732486</c:v>
                </c:pt>
                <c:pt idx="48">
                  <c:v>0.25525404924233014</c:v>
                </c:pt>
                <c:pt idx="49">
                  <c:v>0.24187243583168996</c:v>
                </c:pt>
                <c:pt idx="50">
                  <c:v>0.22944434884603845</c:v>
                </c:pt>
                <c:pt idx="51">
                  <c:v>0.20908350579532506</c:v>
                </c:pt>
                <c:pt idx="52">
                  <c:v>0.21602340776897147</c:v>
                </c:pt>
                <c:pt idx="53">
                  <c:v>0.24201148617986254</c:v>
                </c:pt>
                <c:pt idx="54">
                  <c:v>0.233368458928755</c:v>
                </c:pt>
                <c:pt idx="55">
                  <c:v>0.1993233226882865</c:v>
                </c:pt>
                <c:pt idx="56">
                  <c:v>0.21343943415911992</c:v>
                </c:pt>
                <c:pt idx="57">
                  <c:v>0.20952418268334153</c:v>
                </c:pt>
                <c:pt idx="58">
                  <c:v>0.21546933644598487</c:v>
                </c:pt>
                <c:pt idx="59">
                  <c:v>0.24250056512120985</c:v>
                </c:pt>
                <c:pt idx="60">
                  <c:v>0.23636521643594816</c:v>
                </c:pt>
                <c:pt idx="61">
                  <c:v>0.23230637149695502</c:v>
                </c:pt>
                <c:pt idx="62">
                  <c:v>0.23444583250210738</c:v>
                </c:pt>
                <c:pt idx="63">
                  <c:v>0.26348824242480756</c:v>
                </c:pt>
                <c:pt idx="64">
                  <c:v>0.26714490497021826</c:v>
                </c:pt>
                <c:pt idx="65">
                  <c:v>0.236604960100947</c:v>
                </c:pt>
                <c:pt idx="66">
                  <c:v>0.23896056563060716</c:v>
                </c:pt>
                <c:pt idx="67">
                  <c:v>0.2602914705097776</c:v>
                </c:pt>
                <c:pt idx="68">
                  <c:v>0.22957157263009953</c:v>
                </c:pt>
                <c:pt idx="69">
                  <c:v>0.18999950745749028</c:v>
                </c:pt>
                <c:pt idx="70">
                  <c:v>0.1798322092606601</c:v>
                </c:pt>
                <c:pt idx="71">
                  <c:v>0.22270346734477833</c:v>
                </c:pt>
                <c:pt idx="72">
                  <c:v>0.2522258096076705</c:v>
                </c:pt>
                <c:pt idx="73">
                  <c:v>0.237826174330837</c:v>
                </c:pt>
                <c:pt idx="74">
                  <c:v>0.22723112111661414</c:v>
                </c:pt>
                <c:pt idx="75">
                  <c:v>0.20918044340306302</c:v>
                </c:pt>
                <c:pt idx="76">
                  <c:v>0.19305421706176423</c:v>
                </c:pt>
                <c:pt idx="77">
                  <c:v>0.22464427803990797</c:v>
                </c:pt>
                <c:pt idx="78">
                  <c:v>0.19302263783362558</c:v>
                </c:pt>
                <c:pt idx="79">
                  <c:v>0.21412439260927668</c:v>
                </c:pt>
                <c:pt idx="80">
                  <c:v>0.2026835484397974</c:v>
                </c:pt>
                <c:pt idx="81">
                  <c:v>0.224827719969416</c:v>
                </c:pt>
                <c:pt idx="82">
                  <c:v>0.21415498898463425</c:v>
                </c:pt>
                <c:pt idx="83">
                  <c:v>0.1851077954695003</c:v>
                </c:pt>
                <c:pt idx="84">
                  <c:v>0.14993793802438135</c:v>
                </c:pt>
                <c:pt idx="85">
                  <c:v>0.19225416764343342</c:v>
                </c:pt>
                <c:pt idx="86">
                  <c:v>0.21480829286514755</c:v>
                </c:pt>
                <c:pt idx="87">
                  <c:v>0.23486249652834928</c:v>
                </c:pt>
                <c:pt idx="88">
                  <c:v>0.1818400982798365</c:v>
                </c:pt>
                <c:pt idx="89">
                  <c:v>0.1614768217627077</c:v>
                </c:pt>
                <c:pt idx="90">
                  <c:v>0.18161337498334262</c:v>
                </c:pt>
                <c:pt idx="91">
                  <c:v>0.2005109235069877</c:v>
                </c:pt>
                <c:pt idx="92">
                  <c:v>0.2056088349256368</c:v>
                </c:pt>
                <c:pt idx="93">
                  <c:v>0.1699500970224155</c:v>
                </c:pt>
                <c:pt idx="94">
                  <c:v>0.1838453798618684</c:v>
                </c:pt>
                <c:pt idx="95">
                  <c:v>0.18092407129384652</c:v>
                </c:pt>
                <c:pt idx="96">
                  <c:v>0.18912204316673936</c:v>
                </c:pt>
                <c:pt idx="97">
                  <c:v>0.19140243777008545</c:v>
                </c:pt>
                <c:pt idx="98">
                  <c:v>0.2037961613400003</c:v>
                </c:pt>
                <c:pt idx="99">
                  <c:v>0.2158320871117601</c:v>
                </c:pt>
                <c:pt idx="100">
                  <c:v>0.22804244285288397</c:v>
                </c:pt>
                <c:pt idx="101">
                  <c:v>0.22602936056565967</c:v>
                </c:pt>
                <c:pt idx="102">
                  <c:v>0.20118691762992538</c:v>
                </c:pt>
                <c:pt idx="103">
                  <c:v>0.21365366564008673</c:v>
                </c:pt>
                <c:pt idx="104">
                  <c:v>0.20314250665847391</c:v>
                </c:pt>
              </c:numCache>
            </c:numRef>
          </c:xVal>
          <c:yVal>
            <c:numRef>
              <c:f>Sheet1!$B$2:$B$106</c:f>
              <c:numCache>
                <c:formatCode>General</c:formatCode>
                <c:ptCount val="105"/>
                <c:pt idx="0">
                  <c:v>0.26444898717710463</c:v>
                </c:pt>
                <c:pt idx="1">
                  <c:v>0.2634190347316193</c:v>
                </c:pt>
                <c:pt idx="2">
                  <c:v>0.2621038732394366</c:v>
                </c:pt>
                <c:pt idx="3">
                  <c:v>0.2565277141548328</c:v>
                </c:pt>
                <c:pt idx="4">
                  <c:v>0.27923627684964203</c:v>
                </c:pt>
                <c:pt idx="5">
                  <c:v>0.27608695652173915</c:v>
                </c:pt>
                <c:pt idx="6">
                  <c:v>0.28471286060932866</c:v>
                </c:pt>
                <c:pt idx="7">
                  <c:v>0.3000312207305651</c:v>
                </c:pt>
                <c:pt idx="8">
                  <c:v>0.2972577696526508</c:v>
                </c:pt>
                <c:pt idx="9">
                  <c:v>0.28635761589403974</c:v>
                </c:pt>
                <c:pt idx="10">
                  <c:v>0.28311555213937994</c:v>
                </c:pt>
                <c:pt idx="11">
                  <c:v>0.2514808831448573</c:v>
                </c:pt>
                <c:pt idx="12">
                  <c:v>0.24126826851622493</c:v>
                </c:pt>
                <c:pt idx="13">
                  <c:v>0.23155837811431362</c:v>
                </c:pt>
                <c:pt idx="14">
                  <c:v>0.2257014028056112</c:v>
                </c:pt>
                <c:pt idx="15">
                  <c:v>0.2310668877833057</c:v>
                </c:pt>
                <c:pt idx="16">
                  <c:v>0.21981627296587927</c:v>
                </c:pt>
                <c:pt idx="17">
                  <c:v>0.20209176788124156</c:v>
                </c:pt>
                <c:pt idx="18">
                  <c:v>0.18692579505300352</c:v>
                </c:pt>
                <c:pt idx="19">
                  <c:v>0.1757526444263629</c:v>
                </c:pt>
                <c:pt idx="20">
                  <c:v>0.17650940283734742</c:v>
                </c:pt>
                <c:pt idx="21">
                  <c:v>0.1850022451728783</c:v>
                </c:pt>
                <c:pt idx="22">
                  <c:v>0.22226753670473084</c:v>
                </c:pt>
                <c:pt idx="23">
                  <c:v>0.22342642767819926</c:v>
                </c:pt>
                <c:pt idx="24">
                  <c:v>0.22412587412587412</c:v>
                </c:pt>
                <c:pt idx="25">
                  <c:v>0.2378964941569282</c:v>
                </c:pt>
                <c:pt idx="26">
                  <c:v>0.2483060980470307</c:v>
                </c:pt>
                <c:pt idx="27">
                  <c:v>0.23338368580060423</c:v>
                </c:pt>
                <c:pt idx="28">
                  <c:v>0.24411647387315516</c:v>
                </c:pt>
                <c:pt idx="29">
                  <c:v>0.25673854447439354</c:v>
                </c:pt>
                <c:pt idx="30">
                  <c:v>0.2506654835847382</c:v>
                </c:pt>
                <c:pt idx="31">
                  <c:v>0.26189473684210524</c:v>
                </c:pt>
                <c:pt idx="32">
                  <c:v>0.26963024511840467</c:v>
                </c:pt>
                <c:pt idx="33">
                  <c:v>0.2719033232628399</c:v>
                </c:pt>
                <c:pt idx="34">
                  <c:v>0.2690025430912687</c:v>
                </c:pt>
                <c:pt idx="35">
                  <c:v>0.26968659468001055</c:v>
                </c:pt>
                <c:pt idx="36">
                  <c:v>0.2572490706319703</c:v>
                </c:pt>
                <c:pt idx="37">
                  <c:v>0.24663127807268273</c:v>
                </c:pt>
                <c:pt idx="38">
                  <c:v>0.2505484861781483</c:v>
                </c:pt>
                <c:pt idx="39">
                  <c:v>0.24246339362618433</c:v>
                </c:pt>
                <c:pt idx="40">
                  <c:v>0.2363150867823765</c:v>
                </c:pt>
                <c:pt idx="41">
                  <c:v>0.2375950742484607</c:v>
                </c:pt>
                <c:pt idx="42">
                  <c:v>0.22297955209347614</c:v>
                </c:pt>
                <c:pt idx="43">
                  <c:v>0.2223583460949464</c:v>
                </c:pt>
                <c:pt idx="44">
                  <c:v>0.21895568231680562</c:v>
                </c:pt>
                <c:pt idx="45">
                  <c:v>0.24332027075169219</c:v>
                </c:pt>
                <c:pt idx="46">
                  <c:v>0.2390207715133531</c:v>
                </c:pt>
                <c:pt idx="47">
                  <c:v>0.236755743084857</c:v>
                </c:pt>
                <c:pt idx="48">
                  <c:v>0.24096682698236527</c:v>
                </c:pt>
                <c:pt idx="49">
                  <c:v>0.25176224871638675</c:v>
                </c:pt>
                <c:pt idx="50">
                  <c:v>0.23494260103789905</c:v>
                </c:pt>
                <c:pt idx="51">
                  <c:v>0.22319347319347319</c:v>
                </c:pt>
                <c:pt idx="52">
                  <c:v>0.2308106169296987</c:v>
                </c:pt>
                <c:pt idx="53">
                  <c:v>0.21754064575223264</c:v>
                </c:pt>
                <c:pt idx="54">
                  <c:v>0.23309287646528404</c:v>
                </c:pt>
                <c:pt idx="55">
                  <c:v>0.21687905746573696</c:v>
                </c:pt>
                <c:pt idx="56">
                  <c:v>0.20757020757020758</c:v>
                </c:pt>
                <c:pt idx="57">
                  <c:v>0.2106032143602588</c:v>
                </c:pt>
                <c:pt idx="58">
                  <c:v>0.22334522393975426</c:v>
                </c:pt>
                <c:pt idx="59">
                  <c:v>0.2289661595777709</c:v>
                </c:pt>
                <c:pt idx="60">
                  <c:v>0.2333157245994013</c:v>
                </c:pt>
                <c:pt idx="61">
                  <c:v>0.2287813529262731</c:v>
                </c:pt>
                <c:pt idx="62">
                  <c:v>0.2465277777777778</c:v>
                </c:pt>
                <c:pt idx="63">
                  <c:v>0.2486057486057486</c:v>
                </c:pt>
                <c:pt idx="64">
                  <c:v>0.23611699872827469</c:v>
                </c:pt>
                <c:pt idx="65">
                  <c:v>0.23482968644258967</c:v>
                </c:pt>
                <c:pt idx="66">
                  <c:v>0.22666966494265797</c:v>
                </c:pt>
                <c:pt idx="67">
                  <c:v>0.21390644753476612</c:v>
                </c:pt>
                <c:pt idx="68">
                  <c:v>0.21549213744903903</c:v>
                </c:pt>
                <c:pt idx="69">
                  <c:v>0.19949676491732565</c:v>
                </c:pt>
                <c:pt idx="70">
                  <c:v>0.20148148148148148</c:v>
                </c:pt>
                <c:pt idx="71">
                  <c:v>0.21385420861860652</c:v>
                </c:pt>
                <c:pt idx="72">
                  <c:v>0.19676840215439856</c:v>
                </c:pt>
                <c:pt idx="73">
                  <c:v>0.19480519480519481</c:v>
                </c:pt>
                <c:pt idx="74">
                  <c:v>0.20517241379310344</c:v>
                </c:pt>
                <c:pt idx="75">
                  <c:v>0.20948616600790515</c:v>
                </c:pt>
                <c:pt idx="76">
                  <c:v>0.2181266261925412</c:v>
                </c:pt>
                <c:pt idx="77">
                  <c:v>0.2088808337109198</c:v>
                </c:pt>
                <c:pt idx="78">
                  <c:v>0.22334558823529413</c:v>
                </c:pt>
                <c:pt idx="79">
                  <c:v>0.1846531184302733</c:v>
                </c:pt>
                <c:pt idx="80">
                  <c:v>0.17593602326426755</c:v>
                </c:pt>
                <c:pt idx="81">
                  <c:v>0.2001817080557238</c:v>
                </c:pt>
                <c:pt idx="82">
                  <c:v>0.1971774193548387</c:v>
                </c:pt>
                <c:pt idx="83">
                  <c:v>0.21321631388745482</c:v>
                </c:pt>
                <c:pt idx="84">
                  <c:v>0.20885051268213708</c:v>
                </c:pt>
                <c:pt idx="85">
                  <c:v>0.23554421768707484</c:v>
                </c:pt>
                <c:pt idx="86">
                  <c:v>0.24236387782204516</c:v>
                </c:pt>
                <c:pt idx="87">
                  <c:v>0.24838898652606914</c:v>
                </c:pt>
                <c:pt idx="88">
                  <c:v>0.23837209302325582</c:v>
                </c:pt>
                <c:pt idx="89">
                  <c:v>0.24396507447354904</c:v>
                </c:pt>
                <c:pt idx="90">
                  <c:v>0.2231652521218173</c:v>
                </c:pt>
                <c:pt idx="91">
                  <c:v>0.2172093023255814</c:v>
                </c:pt>
                <c:pt idx="92">
                  <c:v>0.23740458015267177</c:v>
                </c:pt>
                <c:pt idx="93">
                  <c:v>0.23433874709976799</c:v>
                </c:pt>
                <c:pt idx="94">
                  <c:v>0.238560411311054</c:v>
                </c:pt>
                <c:pt idx="95">
                  <c:v>0.21603260869565216</c:v>
                </c:pt>
                <c:pt idx="96">
                  <c:v>0.23650568181818182</c:v>
                </c:pt>
                <c:pt idx="97">
                  <c:v>0.24868725057760974</c:v>
                </c:pt>
                <c:pt idx="98">
                  <c:v>0.23917803604514065</c:v>
                </c:pt>
                <c:pt idx="99">
                  <c:v>0.238191089640365</c:v>
                </c:pt>
                <c:pt idx="100">
                  <c:v>0.23553934340802501</c:v>
                </c:pt>
                <c:pt idx="101">
                  <c:v>0.24096177131984087</c:v>
                </c:pt>
                <c:pt idx="102">
                  <c:v>0.24226305609284332</c:v>
                </c:pt>
                <c:pt idx="103">
                  <c:v>0.22743091095189355</c:v>
                </c:pt>
                <c:pt idx="104">
                  <c:v>0.220456802383316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359183434279679</c:v>
                </c:pt>
                <c:pt idx="1">
                  <c:v>0.24160900527027643</c:v>
                </c:pt>
                <c:pt idx="2">
                  <c:v>0.24290563706354</c:v>
                </c:pt>
                <c:pt idx="3">
                  <c:v>0.23643540976434757</c:v>
                </c:pt>
                <c:pt idx="4">
                  <c:v>0.22521053032941082</c:v>
                </c:pt>
                <c:pt idx="5">
                  <c:v>0.23031381454956654</c:v>
                </c:pt>
                <c:pt idx="6">
                  <c:v>0.22442874112262223</c:v>
                </c:pt>
                <c:pt idx="7">
                  <c:v>0.1962018544813782</c:v>
                </c:pt>
                <c:pt idx="8">
                  <c:v>0.2532615091591655</c:v>
                </c:pt>
                <c:pt idx="9">
                  <c:v>0.2402696355657209</c:v>
                </c:pt>
                <c:pt idx="10">
                  <c:v>0.21165583780986835</c:v>
                </c:pt>
                <c:pt idx="11">
                  <c:v>0.1981932701081096</c:v>
                </c:pt>
                <c:pt idx="12">
                  <c:v>0.19101523852657643</c:v>
                </c:pt>
                <c:pt idx="13">
                  <c:v>0.21150555501151144</c:v>
                </c:pt>
                <c:pt idx="14">
                  <c:v>0.20370112741169935</c:v>
                </c:pt>
                <c:pt idx="15">
                  <c:v>0.1945817905365932</c:v>
                </c:pt>
                <c:pt idx="16">
                  <c:v>0.1941505742174239</c:v>
                </c:pt>
                <c:pt idx="17">
                  <c:v>0.19052797167031169</c:v>
                </c:pt>
                <c:pt idx="18">
                  <c:v>0.1961856732853119</c:v>
                </c:pt>
                <c:pt idx="19">
                  <c:v>0.21792529316185663</c:v>
                </c:pt>
                <c:pt idx="20">
                  <c:v>0.18625330670598564</c:v>
                </c:pt>
                <c:pt idx="21">
                  <c:v>0.16447123750676204</c:v>
                </c:pt>
                <c:pt idx="22">
                  <c:v>0.191545674380598</c:v>
                </c:pt>
                <c:pt idx="23">
                  <c:v>0.2197155336146362</c:v>
                </c:pt>
                <c:pt idx="24">
                  <c:v>0.1770209873048948</c:v>
                </c:pt>
                <c:pt idx="25">
                  <c:v>0.17016204605476756</c:v>
                </c:pt>
                <c:pt idx="26">
                  <c:v>0.18305822832619026</c:v>
                </c:pt>
                <c:pt idx="27">
                  <c:v>0.18783985527781782</c:v>
                </c:pt>
                <c:pt idx="28">
                  <c:v>0.20015376826782053</c:v>
                </c:pt>
                <c:pt idx="29">
                  <c:v>0.19030630608451496</c:v>
                </c:pt>
                <c:pt idx="30">
                  <c:v>0.1822557965558724</c:v>
                </c:pt>
                <c:pt idx="31">
                  <c:v>0.2019452191725225</c:v>
                </c:pt>
                <c:pt idx="32">
                  <c:v>0.19455917579633047</c:v>
                </c:pt>
                <c:pt idx="33">
                  <c:v>0.21038848439858346</c:v>
                </c:pt>
                <c:pt idx="34">
                  <c:v>0.227810570283005</c:v>
                </c:pt>
                <c:pt idx="35">
                  <c:v>0.18069626598272806</c:v>
                </c:pt>
                <c:pt idx="36">
                  <c:v>0.16557202795904996</c:v>
                </c:pt>
                <c:pt idx="37">
                  <c:v>0.1590590742007958</c:v>
                </c:pt>
                <c:pt idx="38">
                  <c:v>0.15044915772350487</c:v>
                </c:pt>
                <c:pt idx="39">
                  <c:v>0.1759848652115986</c:v>
                </c:pt>
                <c:pt idx="40">
                  <c:v>0.18701091985483628</c:v>
                </c:pt>
                <c:pt idx="41">
                  <c:v>0.2092138996825415</c:v>
                </c:pt>
                <c:pt idx="42">
                  <c:v>0.19471640344959462</c:v>
                </c:pt>
                <c:pt idx="43">
                  <c:v>0.18341176598394243</c:v>
                </c:pt>
                <c:pt idx="44">
                  <c:v>0.19621123997983514</c:v>
                </c:pt>
                <c:pt idx="45">
                  <c:v>0.18397944333272698</c:v>
                </c:pt>
                <c:pt idx="46">
                  <c:v>0.187907628385969</c:v>
                </c:pt>
                <c:pt idx="47">
                  <c:v>0.17367088105726872</c:v>
                </c:pt>
                <c:pt idx="48">
                  <c:v>0.1752962200126217</c:v>
                </c:pt>
                <c:pt idx="49">
                  <c:v>0.2038834109577441</c:v>
                </c:pt>
                <c:pt idx="50">
                  <c:v>0.21947389208890858</c:v>
                </c:pt>
                <c:pt idx="51">
                  <c:v>0.19444687222545878</c:v>
                </c:pt>
              </c:numCache>
            </c:numRef>
          </c:xVal>
          <c:yVal>
            <c:numRef>
              <c:f>Sheet1!$B$109:$B$160</c:f>
              <c:numCache>
                <c:formatCode>General</c:formatCode>
                <c:ptCount val="52"/>
                <c:pt idx="0">
                  <c:v>0.21953510213665178</c:v>
                </c:pt>
                <c:pt idx="1">
                  <c:v>0.2187254130605822</c:v>
                </c:pt>
                <c:pt idx="2">
                  <c:v>0.22806619814101112</c:v>
                </c:pt>
                <c:pt idx="3">
                  <c:v>0.24000918695452458</c:v>
                </c:pt>
                <c:pt idx="4">
                  <c:v>0.21110009910802774</c:v>
                </c:pt>
                <c:pt idx="5">
                  <c:v>0.22422298963986187</c:v>
                </c:pt>
                <c:pt idx="6">
                  <c:v>0.2412081092263136</c:v>
                </c:pt>
                <c:pt idx="7">
                  <c:v>0.24911995667479014</c:v>
                </c:pt>
                <c:pt idx="8">
                  <c:v>0.22805176635187127</c:v>
                </c:pt>
                <c:pt idx="9">
                  <c:v>0.24503513596089216</c:v>
                </c:pt>
                <c:pt idx="10">
                  <c:v>0.2456461961503208</c:v>
                </c:pt>
                <c:pt idx="11">
                  <c:v>0.26771964461994074</c:v>
                </c:pt>
                <c:pt idx="12">
                  <c:v>0.2599489795918367</c:v>
                </c:pt>
                <c:pt idx="13">
                  <c:v>0.24557395773843518</c:v>
                </c:pt>
                <c:pt idx="14">
                  <c:v>0.24396782841823056</c:v>
                </c:pt>
                <c:pt idx="15">
                  <c:v>0.2522679692951849</c:v>
                </c:pt>
                <c:pt idx="16">
                  <c:v>0.23613963039014374</c:v>
                </c:pt>
                <c:pt idx="17">
                  <c:v>0.2507228418009087</c:v>
                </c:pt>
                <c:pt idx="18">
                  <c:v>0.23510971786833856</c:v>
                </c:pt>
                <c:pt idx="19">
                  <c:v>0.23534269199009084</c:v>
                </c:pt>
                <c:pt idx="20">
                  <c:v>0.22217174011812812</c:v>
                </c:pt>
                <c:pt idx="21">
                  <c:v>0.23576423576423577</c:v>
                </c:pt>
                <c:pt idx="22">
                  <c:v>0.2147937411095306</c:v>
                </c:pt>
                <c:pt idx="23">
                  <c:v>0.21580547112462006</c:v>
                </c:pt>
                <c:pt idx="24">
                  <c:v>0.22092520536100302</c:v>
                </c:pt>
                <c:pt idx="25">
                  <c:v>0.2375</c:v>
                </c:pt>
                <c:pt idx="26">
                  <c:v>0.2190721649484536</c:v>
                </c:pt>
                <c:pt idx="27">
                  <c:v>0.2175632911392405</c:v>
                </c:pt>
                <c:pt idx="28">
                  <c:v>0.21062338620435264</c:v>
                </c:pt>
                <c:pt idx="29">
                  <c:v>0.2178477690288714</c:v>
                </c:pt>
                <c:pt idx="30">
                  <c:v>0.22317596566523606</c:v>
                </c:pt>
                <c:pt idx="31">
                  <c:v>0.2136125654450262</c:v>
                </c:pt>
                <c:pt idx="32">
                  <c:v>0.20565552699228792</c:v>
                </c:pt>
                <c:pt idx="33">
                  <c:v>0.23282571912013536</c:v>
                </c:pt>
                <c:pt idx="34">
                  <c:v>0.2556712036295703</c:v>
                </c:pt>
                <c:pt idx="35">
                  <c:v>0.23125463994060877</c:v>
                </c:pt>
                <c:pt idx="36">
                  <c:v>0.23790849673202613</c:v>
                </c:pt>
                <c:pt idx="37">
                  <c:v>0.24171428571428571</c:v>
                </c:pt>
                <c:pt idx="38">
                  <c:v>0.2494343891402715</c:v>
                </c:pt>
                <c:pt idx="39">
                  <c:v>0.2336490753270185</c:v>
                </c:pt>
                <c:pt idx="40">
                  <c:v>0.22795115332428764</c:v>
                </c:pt>
                <c:pt idx="41">
                  <c:v>0.22921063739974673</c:v>
                </c:pt>
                <c:pt idx="42">
                  <c:v>0.24302973977695166</c:v>
                </c:pt>
                <c:pt idx="43">
                  <c:v>0.21980595516895282</c:v>
                </c:pt>
                <c:pt idx="44">
                  <c:v>0.22258936617602884</c:v>
                </c:pt>
                <c:pt idx="45">
                  <c:v>0.24982857142857143</c:v>
                </c:pt>
                <c:pt idx="46">
                  <c:v>0.267329132331556</c:v>
                </c:pt>
                <c:pt idx="47">
                  <c:v>0.266682059570538</c:v>
                </c:pt>
                <c:pt idx="48">
                  <c:v>0.2476502732240437</c:v>
                </c:pt>
                <c:pt idx="49">
                  <c:v>0.25154377043225573</c:v>
                </c:pt>
                <c:pt idx="50">
                  <c:v>0.2506869847614289</c:v>
                </c:pt>
                <c:pt idx="51">
                  <c:v>0.253246753246753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9333523146630327</c:v>
                </c:pt>
              </c:numCache>
            </c:numRef>
          </c:xVal>
          <c:yVal>
            <c:numRef>
              <c:f>Sheet1!$B$163:$B$164</c:f>
              <c:numCache>
                <c:formatCode>General</c:formatCode>
                <c:ptCount val="2"/>
                <c:pt idx="0">
                  <c:v>0.2759805215185466</c:v>
                </c:pt>
                <c:pt idx="1">
                  <c:v>0.27598052151854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9333523146630327</c:v>
                </c:pt>
                <c:pt idx="1">
                  <c:v>-0.19333523146630327</c:v>
                </c:pt>
              </c:numCache>
            </c:numRef>
          </c:xVal>
          <c:yVal>
            <c:numRef>
              <c:f>Sheet1!$B$167:$B$168</c:f>
              <c:numCache>
                <c:formatCode>General</c:formatCode>
                <c:ptCount val="2"/>
                <c:pt idx="0">
                  <c:v>0.27598052151854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085750014389545</c:v>
                </c:pt>
              </c:numCache>
            </c:numRef>
          </c:xVal>
          <c:yVal>
            <c:numRef>
              <c:f>Sheet1!$B$171:$B$172</c:f>
              <c:numCache>
                <c:formatCode>General</c:formatCode>
                <c:ptCount val="2"/>
                <c:pt idx="0">
                  <c:v>0.2507819454161204</c:v>
                </c:pt>
                <c:pt idx="1">
                  <c:v>0.250781945416120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085750014389545</c:v>
                </c:pt>
                <c:pt idx="1">
                  <c:v>0.05085750014389545</c:v>
                </c:pt>
              </c:numCache>
            </c:numRef>
          </c:xVal>
          <c:yVal>
            <c:numRef>
              <c:f>Sheet1!$B$175:$B$176</c:f>
              <c:numCache>
                <c:formatCode>General</c:formatCode>
                <c:ptCount val="2"/>
                <c:pt idx="0">
                  <c:v>0.25078194541612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313683224713148</c:v>
                </c:pt>
              </c:numCache>
            </c:numRef>
          </c:xVal>
          <c:yVal>
            <c:numRef>
              <c:f>Sheet1!$B$179:$B$180</c:f>
              <c:numCache>
                <c:formatCode>General</c:formatCode>
                <c:ptCount val="2"/>
                <c:pt idx="0">
                  <c:v>0.2433233440129333</c:v>
                </c:pt>
                <c:pt idx="1">
                  <c:v>0.243323344012933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313683224713148</c:v>
                </c:pt>
                <c:pt idx="1">
                  <c:v>0.12313683224713148</c:v>
                </c:pt>
              </c:numCache>
            </c:numRef>
          </c:xVal>
          <c:yVal>
            <c:numRef>
              <c:f>Sheet1!$B$183:$B$184</c:f>
              <c:numCache>
                <c:formatCode>General</c:formatCode>
                <c:ptCount val="2"/>
                <c:pt idx="0">
                  <c:v>0.24332334401293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359183434279679</c:v>
                </c:pt>
                <c:pt idx="1">
                  <c:v>0.24160900527027643</c:v>
                </c:pt>
                <c:pt idx="2">
                  <c:v>0.24290563706354</c:v>
                </c:pt>
                <c:pt idx="3">
                  <c:v>0.23643540976434757</c:v>
                </c:pt>
                <c:pt idx="4">
                  <c:v>0.22521053032941082</c:v>
                </c:pt>
                <c:pt idx="5">
                  <c:v>0.23031381454956654</c:v>
                </c:pt>
                <c:pt idx="6">
                  <c:v>0.22442874112262223</c:v>
                </c:pt>
                <c:pt idx="7">
                  <c:v>0.1962018544813782</c:v>
                </c:pt>
                <c:pt idx="8">
                  <c:v>0.2532615091591655</c:v>
                </c:pt>
                <c:pt idx="9">
                  <c:v>0.2402696355657209</c:v>
                </c:pt>
                <c:pt idx="10">
                  <c:v>0.21165583780986835</c:v>
                </c:pt>
                <c:pt idx="11">
                  <c:v>0.1981932701081096</c:v>
                </c:pt>
                <c:pt idx="12">
                  <c:v>0.19101523852657643</c:v>
                </c:pt>
                <c:pt idx="13">
                  <c:v>0.21150555501151144</c:v>
                </c:pt>
                <c:pt idx="14">
                  <c:v>0.20370112741169935</c:v>
                </c:pt>
                <c:pt idx="15">
                  <c:v>0.1945817905365932</c:v>
                </c:pt>
                <c:pt idx="16">
                  <c:v>0.1941505742174239</c:v>
                </c:pt>
                <c:pt idx="17">
                  <c:v>0.19052797167031169</c:v>
                </c:pt>
                <c:pt idx="18">
                  <c:v>0.1961856732853119</c:v>
                </c:pt>
                <c:pt idx="19">
                  <c:v>0.21792529316185663</c:v>
                </c:pt>
                <c:pt idx="20">
                  <c:v>0.18625330670598564</c:v>
                </c:pt>
                <c:pt idx="21">
                  <c:v>0.16447123750676204</c:v>
                </c:pt>
                <c:pt idx="22">
                  <c:v>0.191545674380598</c:v>
                </c:pt>
                <c:pt idx="23">
                  <c:v>0.2197155336146362</c:v>
                </c:pt>
                <c:pt idx="24">
                  <c:v>0.1770209873048948</c:v>
                </c:pt>
                <c:pt idx="25">
                  <c:v>0.17016204605476756</c:v>
                </c:pt>
                <c:pt idx="26">
                  <c:v>0.18305822832619026</c:v>
                </c:pt>
                <c:pt idx="27">
                  <c:v>0.18783985527781782</c:v>
                </c:pt>
                <c:pt idx="28">
                  <c:v>0.20015376826782053</c:v>
                </c:pt>
                <c:pt idx="29">
                  <c:v>0.19030630608451496</c:v>
                </c:pt>
                <c:pt idx="30">
                  <c:v>0.1822557965558724</c:v>
                </c:pt>
                <c:pt idx="31">
                  <c:v>0.2019452191725225</c:v>
                </c:pt>
                <c:pt idx="32">
                  <c:v>0.19455917579633047</c:v>
                </c:pt>
                <c:pt idx="33">
                  <c:v>0.21038848439858346</c:v>
                </c:pt>
                <c:pt idx="34">
                  <c:v>0.227810570283005</c:v>
                </c:pt>
                <c:pt idx="35">
                  <c:v>0.18069626598272806</c:v>
                </c:pt>
                <c:pt idx="36">
                  <c:v>0.16557202795904996</c:v>
                </c:pt>
                <c:pt idx="37">
                  <c:v>0.1590590742007958</c:v>
                </c:pt>
                <c:pt idx="38">
                  <c:v>0.15044915772350487</c:v>
                </c:pt>
                <c:pt idx="39">
                  <c:v>0.1759848652115986</c:v>
                </c:pt>
                <c:pt idx="40">
                  <c:v>0.18701091985483628</c:v>
                </c:pt>
                <c:pt idx="41">
                  <c:v>0.2092138996825415</c:v>
                </c:pt>
                <c:pt idx="42">
                  <c:v>0.19471640344959462</c:v>
                </c:pt>
                <c:pt idx="43">
                  <c:v>0.18341176598394243</c:v>
                </c:pt>
                <c:pt idx="44">
                  <c:v>0.19621123997983514</c:v>
                </c:pt>
                <c:pt idx="45">
                  <c:v>0.18397944333272698</c:v>
                </c:pt>
                <c:pt idx="46">
                  <c:v>0.187907628385969</c:v>
                </c:pt>
                <c:pt idx="47">
                  <c:v>0.17367088105726872</c:v>
                </c:pt>
                <c:pt idx="48">
                  <c:v>0.1752962200126217</c:v>
                </c:pt>
                <c:pt idx="49">
                  <c:v>0.2038834109577441</c:v>
                </c:pt>
                <c:pt idx="50">
                  <c:v>0.21947389208890858</c:v>
                </c:pt>
                <c:pt idx="51">
                  <c:v>0.19444687222545878</c:v>
                </c:pt>
                <c:pt idx="52">
                  <c:v>0.05085750014389545</c:v>
                </c:pt>
                <c:pt idx="53">
                  <c:v>-0.19333523146630327</c:v>
                </c:pt>
                <c:pt idx="54">
                  <c:v>0.12313683224713148</c:v>
                </c:pt>
              </c:numCache>
            </c:numRef>
          </c:xVal>
          <c:yVal>
            <c:numRef>
              <c:f>Sheet1!$B$187:$B$241</c:f>
              <c:numCache>
                <c:formatCode>General</c:formatCode>
                <c:ptCount val="55"/>
                <c:pt idx="0">
                  <c:v>0.23168526832698916</c:v>
                </c:pt>
                <c:pt idx="1">
                  <c:v>0.23109804128480396</c:v>
                </c:pt>
                <c:pt idx="2">
                  <c:v>0.23096424010774216</c:v>
                </c:pt>
                <c:pt idx="3">
                  <c:v>0.23163191155694385</c:v>
                </c:pt>
                <c:pt idx="4">
                  <c:v>0.2327902219489719</c:v>
                </c:pt>
                <c:pt idx="5">
                  <c:v>0.23226360719288988</c:v>
                </c:pt>
                <c:pt idx="6">
                  <c:v>0.23287089582772913</c:v>
                </c:pt>
                <c:pt idx="7">
                  <c:v>0.23578366618937668</c:v>
                </c:pt>
                <c:pt idx="8">
                  <c:v>0.22989560375076343</c:v>
                </c:pt>
                <c:pt idx="9">
                  <c:v>0.2312362526443599</c:v>
                </c:pt>
                <c:pt idx="10">
                  <c:v>0.23418894888382558</c:v>
                </c:pt>
                <c:pt idx="11">
                  <c:v>0.23557816933494183</c:v>
                </c:pt>
                <c:pt idx="12">
                  <c:v>0.23631888005913165</c:v>
                </c:pt>
                <c:pt idx="13">
                  <c:v>0.23420445676772658</c:v>
                </c:pt>
                <c:pt idx="14">
                  <c:v>0.2350098061387458</c:v>
                </c:pt>
                <c:pt idx="15">
                  <c:v>0.23595084276475742</c:v>
                </c:pt>
                <c:pt idx="16">
                  <c:v>0.2359953405561681</c:v>
                </c:pt>
                <c:pt idx="17">
                  <c:v>0.23636916178078166</c:v>
                </c:pt>
                <c:pt idx="18">
                  <c:v>0.23578533594874182</c:v>
                </c:pt>
                <c:pt idx="19">
                  <c:v>0.23354199536163792</c:v>
                </c:pt>
                <c:pt idx="20">
                  <c:v>0.23681027020241924</c:v>
                </c:pt>
                <c:pt idx="21">
                  <c:v>0.23905799119217053</c:v>
                </c:pt>
                <c:pt idx="22">
                  <c:v>0.23626414367059592</c:v>
                </c:pt>
                <c:pt idx="23">
                  <c:v>0.233357258043727</c:v>
                </c:pt>
                <c:pt idx="24">
                  <c:v>0.23776296564710453</c:v>
                </c:pt>
                <c:pt idx="25">
                  <c:v>0.2384707490112273</c:v>
                </c:pt>
                <c:pt idx="26">
                  <c:v>0.237139974633733</c:v>
                </c:pt>
                <c:pt idx="27">
                  <c:v>0.2366465521234089</c:v>
                </c:pt>
                <c:pt idx="28">
                  <c:v>0.23537586289547335</c:v>
                </c:pt>
                <c:pt idx="29">
                  <c:v>0.23639203575043732</c:v>
                </c:pt>
                <c:pt idx="30">
                  <c:v>0.23722277864635868</c:v>
                </c:pt>
                <c:pt idx="31">
                  <c:v>0.23519100066940204</c:v>
                </c:pt>
                <c:pt idx="32">
                  <c:v>0.2359531764101931</c:v>
                </c:pt>
                <c:pt idx="33">
                  <c:v>0.2343197287853089</c:v>
                </c:pt>
                <c:pt idx="34">
                  <c:v>0.2325219203324251</c:v>
                </c:pt>
                <c:pt idx="35">
                  <c:v>0.23738370870177972</c:v>
                </c:pt>
                <c:pt idx="36">
                  <c:v>0.2389443991462407</c:v>
                </c:pt>
                <c:pt idx="37">
                  <c:v>0.2396164795961655</c:v>
                </c:pt>
                <c:pt idx="38">
                  <c:v>0.24050494844680628</c:v>
                </c:pt>
                <c:pt idx="39">
                  <c:v>0.23786988447817362</c:v>
                </c:pt>
                <c:pt idx="40">
                  <c:v>0.23673209108356658</c:v>
                </c:pt>
                <c:pt idx="41">
                  <c:v>0.23444093576047464</c:v>
                </c:pt>
                <c:pt idx="42">
                  <c:v>0.23593695187738226</c:v>
                </c:pt>
                <c:pt idx="43">
                  <c:v>0.23710349260777258</c:v>
                </c:pt>
                <c:pt idx="44">
                  <c:v>0.2357826976871794</c:v>
                </c:pt>
                <c:pt idx="45">
                  <c:v>0.23704491321934998</c:v>
                </c:pt>
                <c:pt idx="46">
                  <c:v>0.23663955852531043</c:v>
                </c:pt>
                <c:pt idx="47">
                  <c:v>0.23810866761241434</c:v>
                </c:pt>
                <c:pt idx="48">
                  <c:v>0.23794094670160493</c:v>
                </c:pt>
                <c:pt idx="49">
                  <c:v>0.2349909960546907</c:v>
                </c:pt>
                <c:pt idx="50">
                  <c:v>0.2333821933574663</c:v>
                </c:pt>
                <c:pt idx="51">
                  <c:v>0.23596476516657633</c:v>
                </c:pt>
                <c:pt idx="52">
                  <c:v>0.2507819454161204</c:v>
                </c:pt>
                <c:pt idx="53">
                  <c:v>0.2759805215185466</c:v>
                </c:pt>
                <c:pt idx="54">
                  <c:v>0.24332334401293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00374648766781"/>
          <c:min val="0.140602115541090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48.877825097005</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48.877825097005</c:v>
                </c:pt>
                <c:pt idx="1">
                  <c:v>3348.877825097005</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48.877825097005</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48.877825097005</c:v>
                </c:pt>
                <c:pt idx="1">
                  <c:v>3348.877825097005</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85.537920295936</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85.537920295936</c:v>
                </c:pt>
                <c:pt idx="1">
                  <c:v>4985.537920295936</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48.877825097005</c:v>
                </c:pt>
                <c:pt idx="53">
                  <c:v>3348.877825097005</c:v>
                </c:pt>
                <c:pt idx="54">
                  <c:v>4985.537920295936</c:v>
                </c:pt>
              </c:numCache>
            </c:numRef>
          </c:xVal>
          <c:yVal>
            <c:numRef>
              <c:f>Sheet1!$B$132:$B$186</c:f>
              <c:numCache>
                <c:formatCode>General</c:formatCode>
                <c:ptCount val="55"/>
                <c:pt idx="0">
                  <c:v>0.004290589279856178</c:v>
                </c:pt>
                <c:pt idx="1">
                  <c:v>0.004854970708851797</c:v>
                </c:pt>
                <c:pt idx="2">
                  <c:v>0.0042837730414162735</c:v>
                </c:pt>
                <c:pt idx="3">
                  <c:v>0.004857932230593153</c:v>
                </c:pt>
                <c:pt idx="4">
                  <c:v>0.0027015817433947986</c:v>
                </c:pt>
                <c:pt idx="5">
                  <c:v>0.0037321308943432732</c:v>
                </c:pt>
                <c:pt idx="6">
                  <c:v>0.0033138794095568655</c:v>
                </c:pt>
                <c:pt idx="7">
                  <c:v>0.004147336242481429</c:v>
                </c:pt>
                <c:pt idx="8">
                  <c:v>0.005294160490809221</c:v>
                </c:pt>
                <c:pt idx="9">
                  <c:v>0.003699092665486143</c:v>
                </c:pt>
                <c:pt idx="10">
                  <c:v>0.003913399040168955</c:v>
                </c:pt>
                <c:pt idx="11">
                  <c:v>0.004312278957400431</c:v>
                </c:pt>
                <c:pt idx="12">
                  <c:v>0.004319146810933543</c:v>
                </c:pt>
                <c:pt idx="13">
                  <c:v>0.005555751367763598</c:v>
                </c:pt>
                <c:pt idx="14">
                  <c:v>0.004563955844173443</c:v>
                </c:pt>
                <c:pt idx="15">
                  <c:v>0.004997156244561148</c:v>
                </c:pt>
                <c:pt idx="16">
                  <c:v>0.005107155623525811</c:v>
                </c:pt>
                <c:pt idx="17">
                  <c:v>0.005703235150483142</c:v>
                </c:pt>
                <c:pt idx="18">
                  <c:v>0.003505906848483801</c:v>
                </c:pt>
                <c:pt idx="19">
                  <c:v>0.00310753191301668</c:v>
                </c:pt>
                <c:pt idx="20">
                  <c:v>0.004456293528937244</c:v>
                </c:pt>
                <c:pt idx="21">
                  <c:v>0.003716900211102012</c:v>
                </c:pt>
                <c:pt idx="22">
                  <c:v>0.004170013037529528</c:v>
                </c:pt>
                <c:pt idx="23">
                  <c:v>0.0045155803172923625</c:v>
                </c:pt>
                <c:pt idx="24">
                  <c:v>0.003282966707160961</c:v>
                </c:pt>
                <c:pt idx="25">
                  <c:v>0.003995367869696402</c:v>
                </c:pt>
                <c:pt idx="26">
                  <c:v>0.003770388847576997</c:v>
                </c:pt>
                <c:pt idx="27">
                  <c:v>0.004582369740212127</c:v>
                </c:pt>
                <c:pt idx="28">
                  <c:v>0.005216064824030028</c:v>
                </c:pt>
                <c:pt idx="29">
                  <c:v>0.0044299016317869725</c:v>
                </c:pt>
                <c:pt idx="30">
                  <c:v>0.005287564420357059</c:v>
                </c:pt>
                <c:pt idx="31">
                  <c:v>0.004345165894804031</c:v>
                </c:pt>
                <c:pt idx="32">
                  <c:v>0.0021336143346449322</c:v>
                </c:pt>
                <c:pt idx="33">
                  <c:v>0.002841075509685976</c:v>
                </c:pt>
                <c:pt idx="34">
                  <c:v>0.003048865521158923</c:v>
                </c:pt>
                <c:pt idx="35">
                  <c:v>0.0037936459316565896</c:v>
                </c:pt>
                <c:pt idx="36">
                  <c:v>0.004196878270468975</c:v>
                </c:pt>
                <c:pt idx="37">
                  <c:v>0.003482305381733144</c:v>
                </c:pt>
                <c:pt idx="38">
                  <c:v>0.004754097724515111</c:v>
                </c:pt>
                <c:pt idx="39">
                  <c:v>0.004329814381475723</c:v>
                </c:pt>
                <c:pt idx="40">
                  <c:v>0.004963489326945782</c:v>
                </c:pt>
                <c:pt idx="41">
                  <c:v>0.002857998491065156</c:v>
                </c:pt>
                <c:pt idx="42">
                  <c:v>0.0021498321353900403</c:v>
                </c:pt>
                <c:pt idx="43">
                  <c:v>0.0037260668824256717</c:v>
                </c:pt>
                <c:pt idx="44">
                  <c:v>0.003700823378791792</c:v>
                </c:pt>
                <c:pt idx="45">
                  <c:v>0.002885800580253754</c:v>
                </c:pt>
                <c:pt idx="46">
                  <c:v>0.003020217282901366</c:v>
                </c:pt>
                <c:pt idx="47">
                  <c:v>0.0029896350863317968</c:v>
                </c:pt>
                <c:pt idx="48">
                  <c:v>0.005490928733739722</c:v>
                </c:pt>
                <c:pt idx="49">
                  <c:v>0.0038215876354415652</c:v>
                </c:pt>
                <c:pt idx="50">
                  <c:v>0.0030018196329248056</c:v>
                </c:pt>
                <c:pt idx="51">
                  <c:v>0.0044675190501754945</c:v>
                </c:pt>
                <c:pt idx="52">
                  <c:v>0.005349751596019141</c:v>
                </c:pt>
                <c:pt idx="53">
                  <c:v>0.005349751596019141</c:v>
                </c:pt>
                <c:pt idx="54">
                  <c:v>0.00258003476450946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2.330296101138263</c:v>
                </c:pt>
                <c:pt idx="5">
                  <c:v>3.6570752890861935</c:v>
                </c:pt>
                <c:pt idx="6">
                  <c:v>4.343192828806562</c:v>
                </c:pt>
                <c:pt idx="7">
                  <c:v>4.264332510826595</c:v>
                </c:pt>
                <c:pt idx="8">
                  <c:v>3.1865099487822204</c:v>
                </c:pt>
                <c:pt idx="9">
                  <c:v>3.7629822888966933</c:v>
                </c:pt>
                <c:pt idx="10">
                  <c:v>2.9152303002628592</c:v>
                </c:pt>
                <c:pt idx="11">
                  <c:v>3.7887337710600835</c:v>
                </c:pt>
                <c:pt idx="12">
                  <c:v>2.2765144916292885</c:v>
                </c:pt>
                <c:pt idx="13">
                  <c:v>2.499766661391185</c:v>
                </c:pt>
                <c:pt idx="14">
                  <c:v>1.3374836244506447</c:v>
                </c:pt>
                <c:pt idx="15">
                  <c:v>1.5525648451895249</c:v>
                </c:pt>
                <c:pt idx="16">
                  <c:v>2.3975572226252555</c:v>
                </c:pt>
                <c:pt idx="17">
                  <c:v>1.4669947818274136</c:v>
                </c:pt>
                <c:pt idx="18">
                  <c:v>1.1935568985624356</c:v>
                </c:pt>
                <c:pt idx="19">
                  <c:v>1.317447408285997</c:v>
                </c:pt>
                <c:pt idx="20">
                  <c:v>4.5579825341754425</c:v>
                </c:pt>
                <c:pt idx="21">
                  <c:v>0.0</c:v>
                </c:pt>
                <c:pt idx="22">
                  <c:v>3.4302909513434825</c:v>
                </c:pt>
                <c:pt idx="23">
                  <c:v>4.9467205551385085</c:v>
                </c:pt>
                <c:pt idx="24">
                  <c:v>5.356877568138937</c:v>
                </c:pt>
                <c:pt idx="25">
                  <c:v>3.8156769184891557</c:v>
                </c:pt>
                <c:pt idx="26">
                  <c:v>4.983858643491503</c:v>
                </c:pt>
                <c:pt idx="27">
                  <c:v>5.206663022245547</c:v>
                </c:pt>
                <c:pt idx="28">
                  <c:v>4.293213993909897</c:v>
                </c:pt>
                <c:pt idx="29">
                  <c:v>3.980301956366952</c:v>
                </c:pt>
                <c:pt idx="30">
                  <c:v>5.21002592259498</c:v>
                </c:pt>
                <c:pt idx="31">
                  <c:v>6.950792270375453</c:v>
                </c:pt>
                <c:pt idx="32">
                  <c:v>5.539432936297849</c:v>
                </c:pt>
                <c:pt idx="33">
                  <c:v>8.046413309522016</c:v>
                </c:pt>
                <c:pt idx="34">
                  <c:v>5.066262934949214</c:v>
                </c:pt>
                <c:pt idx="35">
                  <c:v>4.987180488150722</c:v>
                </c:pt>
                <c:pt idx="36">
                  <c:v>5.2570718060304635</c:v>
                </c:pt>
                <c:pt idx="37">
                  <c:v>5.701167675159235</c:v>
                </c:pt>
                <c:pt idx="38">
                  <c:v>7.582735726363922</c:v>
                </c:pt>
                <c:pt idx="39">
                  <c:v>6.932842881093427</c:v>
                </c:pt>
                <c:pt idx="40">
                  <c:v>6.544903692267526</c:v>
                </c:pt>
                <c:pt idx="41">
                  <c:v>5.237268542063762</c:v>
                </c:pt>
                <c:pt idx="42">
                  <c:v>5.196046743113881</c:v>
                </c:pt>
                <c:pt idx="43">
                  <c:v>4.697114262269752</c:v>
                </c:pt>
                <c:pt idx="44">
                  <c:v>5.41859611190257</c:v>
                </c:pt>
                <c:pt idx="45">
                  <c:v>6.614833902315592</c:v>
                </c:pt>
                <c:pt idx="46">
                  <c:v>5.171487325912409</c:v>
                </c:pt>
                <c:pt idx="47">
                  <c:v>7.805220204180435</c:v>
                </c:pt>
                <c:pt idx="48">
                  <c:v>7.225321026357179</c:v>
                </c:pt>
                <c:pt idx="49">
                  <c:v>7.520612745211788</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105</c:f>
              <c:numCache>
                <c:formatCode>General</c:formatCode>
                <c:ptCount val="52"/>
                <c:pt idx="0">
                  <c:v>6.377532601269554</c:v>
                </c:pt>
                <c:pt idx="1">
                  <c:v>5.836718082148611</c:v>
                </c:pt>
                <c:pt idx="2">
                  <c:v>6.4102227092767015</c:v>
                </c:pt>
                <c:pt idx="3">
                  <c:v>5.840299462377928</c:v>
                </c:pt>
                <c:pt idx="4">
                  <c:v>7.882477680254383</c:v>
                </c:pt>
                <c:pt idx="5">
                  <c:v>6.931579485519726</c:v>
                </c:pt>
                <c:pt idx="6">
                  <c:v>7.448047012739025</c:v>
                </c:pt>
                <c:pt idx="7">
                  <c:v>6.5296198218372785</c:v>
                </c:pt>
                <c:pt idx="8">
                  <c:v>5.42416092354829</c:v>
                </c:pt>
                <c:pt idx="9">
                  <c:v>7.067291275142338</c:v>
                </c:pt>
                <c:pt idx="10">
                  <c:v>6.838331139762476</c:v>
                </c:pt>
                <c:pt idx="11">
                  <c:v>6.667079453673956</c:v>
                </c:pt>
                <c:pt idx="12">
                  <c:v>6.608538742153991</c:v>
                </c:pt>
                <c:pt idx="13">
                  <c:v>5.181824283465851</c:v>
                </c:pt>
                <c:pt idx="14">
                  <c:v>6.09663137278414</c:v>
                </c:pt>
                <c:pt idx="15">
                  <c:v>5.744576555929118</c:v>
                </c:pt>
                <c:pt idx="16">
                  <c:v>5.58886500246217</c:v>
                </c:pt>
                <c:pt idx="17">
                  <c:v>5.077460377213264</c:v>
                </c:pt>
                <c:pt idx="18">
                  <c:v>7.428127256736844</c:v>
                </c:pt>
                <c:pt idx="19">
                  <c:v>7.516641334220868</c:v>
                </c:pt>
                <c:pt idx="20">
                  <c:v>6.226658342683626</c:v>
                </c:pt>
                <c:pt idx="21">
                  <c:v>6.882294614061021</c:v>
                </c:pt>
                <c:pt idx="22">
                  <c:v>6.528748600579036</c:v>
                </c:pt>
                <c:pt idx="23">
                  <c:v>6.129480122187545</c:v>
                </c:pt>
                <c:pt idx="24">
                  <c:v>7.300442339551475</c:v>
                </c:pt>
                <c:pt idx="25">
                  <c:v>6.6470239941353935</c:v>
                </c:pt>
                <c:pt idx="26">
                  <c:v>6.898370672753956</c:v>
                </c:pt>
                <c:pt idx="27">
                  <c:v>6.100765641548701</c:v>
                </c:pt>
                <c:pt idx="28">
                  <c:v>5.498106869259297</c:v>
                </c:pt>
                <c:pt idx="29">
                  <c:v>6.22788576</c:v>
                </c:pt>
                <c:pt idx="30">
                  <c:v>5.400590844777229</c:v>
                </c:pt>
                <c:pt idx="31">
                  <c:v>6.3470174008895315</c:v>
                </c:pt>
                <c:pt idx="32">
                  <c:v>8.49431835926533</c:v>
                </c:pt>
                <c:pt idx="33">
                  <c:v>7.798080084500301</c:v>
                </c:pt>
                <c:pt idx="34">
                  <c:v>7.541827228487011</c:v>
                </c:pt>
                <c:pt idx="35">
                  <c:v>6.861761642038658</c:v>
                </c:pt>
                <c:pt idx="36">
                  <c:v>6.452234453158871</c:v>
                </c:pt>
                <c:pt idx="37">
                  <c:v>7.091755477370174</c:v>
                </c:pt>
                <c:pt idx="38">
                  <c:v>5.980665109252759</c:v>
                </c:pt>
                <c:pt idx="39">
                  <c:v>6.38712228123875</c:v>
                </c:pt>
                <c:pt idx="40">
                  <c:v>5.768293939536137</c:v>
                </c:pt>
                <c:pt idx="41">
                  <c:v>7.687798061915875</c:v>
                </c:pt>
                <c:pt idx="42">
                  <c:v>8.419489928106339</c:v>
                </c:pt>
                <c:pt idx="43">
                  <c:v>6.859812395142394</c:v>
                </c:pt>
                <c:pt idx="44">
                  <c:v>6.967482930815106</c:v>
                </c:pt>
                <c:pt idx="45">
                  <c:v>7.797968507929171</c:v>
                </c:pt>
                <c:pt idx="46">
                  <c:v>7.618055200660719</c:v>
                </c:pt>
                <c:pt idx="47">
                  <c:v>7.659615008873107</c:v>
                </c:pt>
                <c:pt idx="48">
                  <c:v>5.287064653015255</c:v>
                </c:pt>
                <c:pt idx="49">
                  <c:v>6.836546476224533</c:v>
                </c:pt>
                <c:pt idx="50">
                  <c:v>7.6076597985222225</c:v>
                </c:pt>
                <c:pt idx="51">
                  <c:v>6.315531471832798</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096C-4121-9522-6AB7243CCAAE}"/>
            </c:ext>
          </c:extLst>
        </c:ser>
        <c:ser>
          <c:idx val="2"/>
          <c:order val="2"/>
          <c:tx>
            <c:strRef>
              <c:f>Sheet1!$B$10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8:$A$109</c:f>
              <c:numCache>
                <c:formatCode>General</c:formatCode>
                <c:ptCount val="2"/>
                <c:pt idx="0">
                  <c:v>0</c:v>
                </c:pt>
                <c:pt idx="1">
                  <c:v>5.379683599440273</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5-096C-4121-9522-6AB7243CCAAE}"/>
            </c:ext>
          </c:extLst>
        </c:ser>
        <c:ser>
          <c:idx val="3"/>
          <c:order val="3"/>
          <c:tx>
            <c:strRef>
              <c:f>Sheet1!$B$1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5.379683599440273</c:v>
                </c:pt>
                <c:pt idx="1">
                  <c:v>5.379683599440273</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6:$A$117</c:f>
              <c:numCache>
                <c:formatCode>General</c:formatCode>
                <c:ptCount val="2"/>
                <c:pt idx="0">
                  <c:v>0</c:v>
                </c:pt>
                <c:pt idx="1">
                  <c:v>5.379683599440273</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D-096C-4121-9522-6AB7243CCAAE}"/>
            </c:ext>
          </c:extLst>
        </c:ser>
        <c:ser>
          <c:idx val="5"/>
          <c:order val="5"/>
          <c:tx>
            <c:strRef>
              <c:f>Sheet1!$B$11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5.379683599440273</c:v>
                </c:pt>
                <c:pt idx="1">
                  <c:v>5.379683599440273</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4:$A$125</c:f>
              <c:numCache>
                <c:formatCode>General</c:formatCode>
                <c:ptCount val="2"/>
                <c:pt idx="0">
                  <c:v>0</c:v>
                </c:pt>
                <c:pt idx="1">
                  <c:v>8.063335699772244</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5-096C-4121-9522-6AB7243CCAAE}"/>
            </c:ext>
          </c:extLst>
        </c:ser>
        <c:ser>
          <c:idx val="7"/>
          <c:order val="7"/>
          <c:tx>
            <c:strRef>
              <c:f>Sheet1!$B$12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8.063335699772244</c:v>
                </c:pt>
                <c:pt idx="1">
                  <c:v>8.063335699772244</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2:$A$186</c:f>
              <c:numCache>
                <c:formatCode>General</c:formatCode>
                <c:ptCount val="55"/>
                <c:pt idx="0">
                  <c:v>6.377532601269554</c:v>
                </c:pt>
                <c:pt idx="1">
                  <c:v>5.836718082148611</c:v>
                </c:pt>
                <c:pt idx="2">
                  <c:v>6.4102227092767015</c:v>
                </c:pt>
                <c:pt idx="3">
                  <c:v>5.840299462377928</c:v>
                </c:pt>
                <c:pt idx="4">
                  <c:v>7.882477680254383</c:v>
                </c:pt>
                <c:pt idx="5">
                  <c:v>6.931579485519726</c:v>
                </c:pt>
                <c:pt idx="6">
                  <c:v>7.448047012739025</c:v>
                </c:pt>
                <c:pt idx="7">
                  <c:v>6.5296198218372785</c:v>
                </c:pt>
                <c:pt idx="8">
                  <c:v>5.42416092354829</c:v>
                </c:pt>
                <c:pt idx="9">
                  <c:v>7.067291275142338</c:v>
                </c:pt>
                <c:pt idx="10">
                  <c:v>6.838331139762476</c:v>
                </c:pt>
                <c:pt idx="11">
                  <c:v>6.667079453673956</c:v>
                </c:pt>
                <c:pt idx="12">
                  <c:v>6.608538742153991</c:v>
                </c:pt>
                <c:pt idx="13">
                  <c:v>5.181824283465851</c:v>
                </c:pt>
                <c:pt idx="14">
                  <c:v>6.09663137278414</c:v>
                </c:pt>
                <c:pt idx="15">
                  <c:v>5.744576555929118</c:v>
                </c:pt>
                <c:pt idx="16">
                  <c:v>5.58886500246217</c:v>
                </c:pt>
                <c:pt idx="17">
                  <c:v>5.077460377213264</c:v>
                </c:pt>
                <c:pt idx="18">
                  <c:v>7.428127256736844</c:v>
                </c:pt>
                <c:pt idx="19">
                  <c:v>7.516641334220868</c:v>
                </c:pt>
                <c:pt idx="20">
                  <c:v>6.226658342683626</c:v>
                </c:pt>
                <c:pt idx="21">
                  <c:v>6.882294614061021</c:v>
                </c:pt>
                <c:pt idx="22">
                  <c:v>6.528748600579036</c:v>
                </c:pt>
                <c:pt idx="23">
                  <c:v>6.129480122187545</c:v>
                </c:pt>
                <c:pt idx="24">
                  <c:v>7.300442339551475</c:v>
                </c:pt>
                <c:pt idx="25">
                  <c:v>6.6470239941353935</c:v>
                </c:pt>
                <c:pt idx="26">
                  <c:v>6.898370672753956</c:v>
                </c:pt>
                <c:pt idx="27">
                  <c:v>6.100765641548701</c:v>
                </c:pt>
                <c:pt idx="28">
                  <c:v>5.498106869259297</c:v>
                </c:pt>
                <c:pt idx="29">
                  <c:v>6.22788576</c:v>
                </c:pt>
                <c:pt idx="30">
                  <c:v>5.400590844777229</c:v>
                </c:pt>
                <c:pt idx="31">
                  <c:v>6.3470174008895315</c:v>
                </c:pt>
                <c:pt idx="32">
                  <c:v>8.49431835926533</c:v>
                </c:pt>
                <c:pt idx="33">
                  <c:v>7.798080084500301</c:v>
                </c:pt>
                <c:pt idx="34">
                  <c:v>7.541827228487011</c:v>
                </c:pt>
                <c:pt idx="35">
                  <c:v>6.861761642038658</c:v>
                </c:pt>
                <c:pt idx="36">
                  <c:v>6.452234453158871</c:v>
                </c:pt>
                <c:pt idx="37">
                  <c:v>7.091755477370174</c:v>
                </c:pt>
                <c:pt idx="38">
                  <c:v>5.980665109252759</c:v>
                </c:pt>
                <c:pt idx="39">
                  <c:v>6.38712228123875</c:v>
                </c:pt>
                <c:pt idx="40">
                  <c:v>5.768293939536137</c:v>
                </c:pt>
                <c:pt idx="41">
                  <c:v>7.687798061915875</c:v>
                </c:pt>
                <c:pt idx="42">
                  <c:v>8.419489928106339</c:v>
                </c:pt>
                <c:pt idx="43">
                  <c:v>6.859812395142394</c:v>
                </c:pt>
                <c:pt idx="44">
                  <c:v>6.967482930815106</c:v>
                </c:pt>
                <c:pt idx="45">
                  <c:v>7.797968507929171</c:v>
                </c:pt>
                <c:pt idx="46">
                  <c:v>7.618055200660719</c:v>
                </c:pt>
                <c:pt idx="47">
                  <c:v>7.659615008873107</c:v>
                </c:pt>
                <c:pt idx="48">
                  <c:v>5.287064653015255</c:v>
                </c:pt>
                <c:pt idx="49">
                  <c:v>6.836546476224533</c:v>
                </c:pt>
                <c:pt idx="50">
                  <c:v>7.6076597985222225</c:v>
                </c:pt>
                <c:pt idx="51">
                  <c:v>6.315531471832798</c:v>
                </c:pt>
                <c:pt idx="52">
                  <c:v>5.379683599440273</c:v>
                </c:pt>
                <c:pt idx="53">
                  <c:v>5.379683599440273</c:v>
                </c:pt>
                <c:pt idx="54">
                  <c:v>8.063335699772244</c:v>
                </c:pt>
              </c:numCache>
            </c:numRef>
          </c:xVal>
          <c:yVal>
            <c:numRef>
              <c:f>Sheet1!$B$132:$B$186</c:f>
              <c:numCache>
                <c:formatCode>General</c:formatCode>
                <c:ptCount val="55"/>
                <c:pt idx="0">
                  <c:v>0.00431990157360759</c:v>
                </c:pt>
                <c:pt idx="1">
                  <c:v>0.004878060016033415</c:v>
                </c:pt>
                <c:pt idx="2">
                  <c:v>0.004286163093735305</c:v>
                </c:pt>
                <c:pt idx="3">
                  <c:v>0.004874363780929041</c:v>
                </c:pt>
                <c:pt idx="4">
                  <c:v>0.002766692901273975</c:v>
                </c:pt>
                <c:pt idx="5">
                  <c:v>0.0037480864040618173</c:v>
                </c:pt>
                <c:pt idx="6">
                  <c:v>0.003215055761643405</c:v>
                </c:pt>
                <c:pt idx="7">
                  <c:v>0.004162936915404747</c:v>
                </c:pt>
                <c:pt idx="8">
                  <c:v>0.005303847883989089</c:v>
                </c:pt>
                <c:pt idx="9">
                  <c:v>0.0036080223369252644</c:v>
                </c:pt>
                <c:pt idx="10">
                  <c:v>0.0038443252245565973</c:v>
                </c:pt>
                <c:pt idx="11">
                  <c:v>0.004021068952748904</c:v>
                </c:pt>
                <c:pt idx="12">
                  <c:v>0.004081487065068807</c:v>
                </c:pt>
                <c:pt idx="13">
                  <c:v>0.005553956260870281</c:v>
                </c:pt>
                <c:pt idx="14">
                  <c:v>0.004609811305361402</c:v>
                </c:pt>
                <c:pt idx="15">
                  <c:v>0.004973156521284431</c:v>
                </c:pt>
                <c:pt idx="16">
                  <c:v>0.005133861744753812</c:v>
                </c:pt>
                <c:pt idx="17">
                  <c:v>0.005661667117919946</c:v>
                </c:pt>
                <c:pt idx="18">
                  <c:v>0.003235614344282332</c:v>
                </c:pt>
                <c:pt idx="19">
                  <c:v>0.003144261620058978</c:v>
                </c:pt>
                <c:pt idx="20">
                  <c:v>0.0044756143701341206</c:v>
                </c:pt>
                <c:pt idx="21">
                  <c:v>0.003798951841501</c:v>
                </c:pt>
                <c:pt idx="22">
                  <c:v>0.004163836076731442</c:v>
                </c:pt>
                <c:pt idx="23">
                  <c:v>0.00457590909646279</c:v>
                </c:pt>
                <c:pt idx="24">
                  <c:v>0.0033673941171576943</c:v>
                </c:pt>
                <c:pt idx="25">
                  <c:v>0.004041767590937046</c:v>
                </c:pt>
                <c:pt idx="26">
                  <c:v>0.0037823602235559422</c:v>
                </c:pt>
                <c:pt idx="27">
                  <c:v>0.004605544450584744</c:v>
                </c:pt>
                <c:pt idx="28">
                  <c:v>0.005227530491569876</c:v>
                </c:pt>
                <c:pt idx="29">
                  <c:v>0.004474347589540605</c:v>
                </c:pt>
                <c:pt idx="30">
                  <c:v>0.005328173855259411</c:v>
                </c:pt>
                <c:pt idx="31">
                  <c:v>0.004351395396558405</c:v>
                </c:pt>
                <c:pt idx="32">
                  <c:v>0.0021352304897902727</c:v>
                </c:pt>
                <c:pt idx="33">
                  <c:v>0.002853797128185547</c:v>
                </c:pt>
                <c:pt idx="34">
                  <c:v>0.003118268014085636</c:v>
                </c:pt>
                <c:pt idx="35">
                  <c:v>0.0038201433059997774</c:v>
                </c:pt>
                <c:pt idx="36">
                  <c:v>0.004242804033096586</c:v>
                </c:pt>
                <c:pt idx="37">
                  <c:v>0.0035827735676561365</c:v>
                </c:pt>
                <c:pt idx="38">
                  <c:v>0.004729496607323761</c:v>
                </c:pt>
                <c:pt idx="39">
                  <c:v>0.004310004352572051</c:v>
                </c:pt>
                <c:pt idx="40">
                  <c:v>0.004948678521111605</c:v>
                </c:pt>
                <c:pt idx="41">
                  <c:v>0.002967615895576158</c:v>
                </c:pt>
                <c:pt idx="42">
                  <c:v>0.0022124586689685217</c:v>
                </c:pt>
                <c:pt idx="43">
                  <c:v>0.0038221550652500482</c:v>
                </c:pt>
                <c:pt idx="44">
                  <c:v>0.003711031535164504</c:v>
                </c:pt>
                <c:pt idx="45">
                  <c:v>0.002853912283017658</c:v>
                </c:pt>
                <c:pt idx="46">
                  <c:v>0.0030395954106079894</c:v>
                </c:pt>
                <c:pt idx="47">
                  <c:v>0.0029967027792173837</c:v>
                </c:pt>
                <c:pt idx="48">
                  <c:v>0.0054453408323431535</c:v>
                </c:pt>
                <c:pt idx="49">
                  <c:v>0.0038461671222597355</c:v>
                </c:pt>
                <c:pt idx="50">
                  <c:v>0.003050324193325297</c:v>
                </c:pt>
                <c:pt idx="51">
                  <c:v>0.004383891079457604</c:v>
                </c:pt>
                <c:pt idx="52">
                  <c:v>0.005349751596019141</c:v>
                </c:pt>
                <c:pt idx="53">
                  <c:v>0.005349751596019141</c:v>
                </c:pt>
                <c:pt idx="54">
                  <c:v>0.00258003476450946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1366.0</c:v>
                </c:pt>
                <c:pt idx="5">
                  <c:v>1826.0</c:v>
                </c:pt>
                <c:pt idx="6">
                  <c:v>2231.0</c:v>
                </c:pt>
                <c:pt idx="7">
                  <c:v>2341.0</c:v>
                </c:pt>
                <c:pt idx="8">
                  <c:v>1855.0</c:v>
                </c:pt>
                <c:pt idx="9">
                  <c:v>2055.0</c:v>
                </c:pt>
                <c:pt idx="10">
                  <c:v>1492.0</c:v>
                </c:pt>
                <c:pt idx="11">
                  <c:v>2143.5</c:v>
                </c:pt>
                <c:pt idx="12">
                  <c:v>1410.0</c:v>
                </c:pt>
                <c:pt idx="13">
                  <c:v>1540.0</c:v>
                </c:pt>
                <c:pt idx="14">
                  <c:v>833.5</c:v>
                </c:pt>
                <c:pt idx="15">
                  <c:v>962.5</c:v>
                </c:pt>
                <c:pt idx="16">
                  <c:v>1510.0</c:v>
                </c:pt>
                <c:pt idx="17">
                  <c:v>915.0</c:v>
                </c:pt>
                <c:pt idx="18">
                  <c:v>759.5</c:v>
                </c:pt>
                <c:pt idx="19">
                  <c:v>837.5</c:v>
                </c:pt>
                <c:pt idx="20">
                  <c:v>2901.0</c:v>
                </c:pt>
                <c:pt idx="21">
                  <c:v>0.0</c:v>
                </c:pt>
                <c:pt idx="22">
                  <c:v>2272.6</c:v>
                </c:pt>
                <c:pt idx="23">
                  <c:v>3364.0</c:v>
                </c:pt>
                <c:pt idx="24">
                  <c:v>3629.3333</c:v>
                </c:pt>
                <c:pt idx="25">
                  <c:v>2609.0</c:v>
                </c:pt>
                <c:pt idx="26">
                  <c:v>3393.0</c:v>
                </c:pt>
                <c:pt idx="27">
                  <c:v>3571.6667</c:v>
                </c:pt>
                <c:pt idx="28">
                  <c:v>2880.0</c:v>
                </c:pt>
                <c:pt idx="29">
                  <c:v>2716.25</c:v>
                </c:pt>
                <c:pt idx="30">
                  <c:v>3584.75</c:v>
                </c:pt>
                <c:pt idx="31">
                  <c:v>4694.0</c:v>
                </c:pt>
                <c:pt idx="32">
                  <c:v>3754.2</c:v>
                </c:pt>
                <c:pt idx="33">
                  <c:v>5447.3333</c:v>
                </c:pt>
                <c:pt idx="34">
                  <c:v>3400.5</c:v>
                </c:pt>
                <c:pt idx="35">
                  <c:v>3404.6</c:v>
                </c:pt>
                <c:pt idx="36">
                  <c:v>3593.8</c:v>
                </c:pt>
                <c:pt idx="37">
                  <c:v>3580.3333</c:v>
                </c:pt>
                <c:pt idx="38">
                  <c:v>4972.2</c:v>
                </c:pt>
                <c:pt idx="39">
                  <c:v>4688.5</c:v>
                </c:pt>
                <c:pt idx="40">
                  <c:v>4457.1429</c:v>
                </c:pt>
                <c:pt idx="41">
                  <c:v>3552.7692</c:v>
                </c:pt>
                <c:pt idx="42">
                  <c:v>3554.375</c:v>
                </c:pt>
                <c:pt idx="43">
                  <c:v>3094.55</c:v>
                </c:pt>
                <c:pt idx="44">
                  <c:v>3438.381</c:v>
                </c:pt>
                <c:pt idx="45">
                  <c:v>4186.619</c:v>
                </c:pt>
                <c:pt idx="46">
                  <c:v>3258.7</c:v>
                </c:pt>
                <c:pt idx="47">
                  <c:v>4881.75</c:v>
                </c:pt>
                <c:pt idx="48">
                  <c:v>4519.9</c:v>
                </c:pt>
                <c:pt idx="49">
                  <c:v>4699.4286</c:v>
                </c:pt>
              </c:numCache>
            </c:numRef>
          </c:xVal>
          <c:yVal>
            <c:numRef>
              <c:f>Sheet1!$B$2:$B$51</c:f>
              <c:numCache>
                <c:formatCode>General</c:formatCode>
                <c:ptCount val="50"/>
                <c:pt idx="0">
                  <c:v>0.0</c:v>
                </c:pt>
                <c:pt idx="1">
                  <c:v>0.0</c:v>
                </c:pt>
                <c:pt idx="2">
                  <c:v>0.0</c:v>
                </c:pt>
                <c:pt idx="3">
                  <c:v>0.0</c:v>
                </c:pt>
                <c:pt idx="4">
                  <c:v>0.00019688915140775743</c:v>
                </c:pt>
                <c:pt idx="5">
                  <c:v>0.00022805017103762827</c:v>
                </c:pt>
                <c:pt idx="6">
                  <c:v>0.0003401360544217687</c:v>
                </c:pt>
                <c:pt idx="7">
                  <c:v>0.00030303030303030303</c:v>
                </c:pt>
                <c:pt idx="8">
                  <c:v>0.0002922267679719462</c:v>
                </c:pt>
                <c:pt idx="9">
                  <c:v>0.0002585983966899405</c:v>
                </c:pt>
                <c:pt idx="10">
                  <c:v>0.0005292405398253506</c:v>
                </c:pt>
                <c:pt idx="11">
                  <c:v>0.0005589714924538849</c:v>
                </c:pt>
                <c:pt idx="12">
                  <c:v>0.0005583472920156337</c:v>
                </c:pt>
                <c:pt idx="13">
                  <c:v>0.0006816632583503749</c:v>
                </c:pt>
                <c:pt idx="14">
                  <c:v>0.000858000858000858</c:v>
                </c:pt>
                <c:pt idx="15">
                  <c:v>0.0008688097306689834</c:v>
                </c:pt>
                <c:pt idx="16">
                  <c:v>0.0005235602094240838</c:v>
                </c:pt>
                <c:pt idx="17">
                  <c:v>0.0009099181073703367</c:v>
                </c:pt>
                <c:pt idx="18">
                  <c:v>0.0010178117048346056</c:v>
                </c:pt>
                <c:pt idx="19">
                  <c:v>0.000899685110211426</c:v>
                </c:pt>
                <c:pt idx="20">
                  <c:v>0.0010940919037199124</c:v>
                </c:pt>
                <c:pt idx="21">
                  <c:v>0.0</c:v>
                </c:pt>
                <c:pt idx="22">
                  <c:v>0.002935995302407516</c:v>
                </c:pt>
                <c:pt idx="23">
                  <c:v>0.001558846453624318</c:v>
                </c:pt>
                <c:pt idx="24">
                  <c:v>0.001541623843782117</c:v>
                </c:pt>
                <c:pt idx="25">
                  <c:v>0.001851851851851852</c:v>
                </c:pt>
                <c:pt idx="26">
                  <c:v>0.0013089005235602095</c:v>
                </c:pt>
                <c:pt idx="27">
                  <c:v>0.0018656716417910447</c:v>
                </c:pt>
                <c:pt idx="28">
                  <c:v>0.002079002079002079</c:v>
                </c:pt>
                <c:pt idx="29">
                  <c:v>0.002704530087897228</c:v>
                </c:pt>
                <c:pt idx="30">
                  <c:v>0.0024271844660194173</c:v>
                </c:pt>
                <c:pt idx="31">
                  <c:v>0.0017079419299743809</c:v>
                </c:pt>
                <c:pt idx="32">
                  <c:v>0.0019646365422396855</c:v>
                </c:pt>
                <c:pt idx="33">
                  <c:v>0.00165929203539823</c:v>
                </c:pt>
                <c:pt idx="34">
                  <c:v>0.0025396825396825397</c:v>
                </c:pt>
                <c:pt idx="35">
                  <c:v>0.003061849357011635</c:v>
                </c:pt>
                <c:pt idx="36">
                  <c:v>0.002942907592701589</c:v>
                </c:pt>
                <c:pt idx="37">
                  <c:v>0.0028222013170272815</c:v>
                </c:pt>
                <c:pt idx="38">
                  <c:v>0.0022502250225022503</c:v>
                </c:pt>
                <c:pt idx="39">
                  <c:v>0.002109704641350211</c:v>
                </c:pt>
                <c:pt idx="40">
                  <c:v>0.002691272587466359</c:v>
                </c:pt>
                <c:pt idx="41">
                  <c:v>0.0032346354814630504</c:v>
                </c:pt>
                <c:pt idx="42">
                  <c:v>0.0037157454714352067</c:v>
                </c:pt>
                <c:pt idx="43">
                  <c:v>0.0038744672607516468</c:v>
                </c:pt>
                <c:pt idx="44">
                  <c:v>0.003559925411086625</c:v>
                </c:pt>
                <c:pt idx="45">
                  <c:v>0.0024855012427506215</c:v>
                </c:pt>
                <c:pt idx="46">
                  <c:v>0.0042780748663101605</c:v>
                </c:pt>
                <c:pt idx="47">
                  <c:v>0.0026542800265428003</c:v>
                </c:pt>
                <c:pt idx="48">
                  <c:v>0.003033980582524272</c:v>
                </c:pt>
                <c:pt idx="49">
                  <c:v>0.0025830258302583027</c:v>
                </c:pt>
              </c:numCache>
            </c:numRef>
          </c:yVal>
          <c:smooth val="0"/>
          <c:extLst>
            <c:ext xmlns:c16="http://schemas.microsoft.com/office/drawing/2014/chart" uri="{C3380CC4-5D6E-409C-BE32-E72D297353CC}">
              <c16:uniqueId val="{00000000-F32D-48B7-BC20-E66FC6253BAD}"/>
            </c:ext>
          </c:extLst>
        </c:ser>
        <c:ser>
          <c:idx val="1"/>
          <c:order val="1"/>
          <c:tx>
            <c:strRef>
              <c:f>Sheet1!$B$5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4:$A$105</c:f>
              <c:numCache>
                <c:formatCode>General</c:formatCode>
                <c:ptCount val="52"/>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numCache>
            </c:numRef>
          </c:xVal>
          <c:yVal>
            <c:numRef>
              <c:f>Sheet1!$B$54:$B$105</c:f>
              <c:numCache>
                <c:formatCode>General</c:formatCode>
                <c:ptCount val="52"/>
                <c:pt idx="0">
                  <c:v>0.0025814778960955146</c:v>
                </c:pt>
                <c:pt idx="1">
                  <c:v>0.002745367192862045</c:v>
                </c:pt>
                <c:pt idx="2">
                  <c:v>0.002715751357875679</c:v>
                </c:pt>
                <c:pt idx="3">
                  <c:v>0.00335345405767941</c:v>
                </c:pt>
                <c:pt idx="4">
                  <c:v>0.0024955436720142605</c:v>
                </c:pt>
                <c:pt idx="5">
                  <c:v>0.0028581636298678098</c:v>
                </c:pt>
                <c:pt idx="6">
                  <c:v>0.0030321406913280777</c:v>
                </c:pt>
                <c:pt idx="7">
                  <c:v>0.004123711340206186</c:v>
                </c:pt>
                <c:pt idx="8">
                  <c:v>0.006034009873834339</c:v>
                </c:pt>
                <c:pt idx="9">
                  <c:v>0.005301204819277108</c:v>
                </c:pt>
                <c:pt idx="10">
                  <c:v>0.005015959872321021</c:v>
                </c:pt>
                <c:pt idx="11">
                  <c:v>0.004246885617214043</c:v>
                </c:pt>
                <c:pt idx="12">
                  <c:v>0.005284015852047556</c:v>
                </c:pt>
                <c:pt idx="13">
                  <c:v>0.007202016564638099</c:v>
                </c:pt>
                <c:pt idx="14">
                  <c:v>0.0056</c:v>
                </c:pt>
                <c:pt idx="15">
                  <c:v>0.005709266578831796</c:v>
                </c:pt>
                <c:pt idx="16">
                  <c:v>0.006372549019607843</c:v>
                </c:pt>
                <c:pt idx="17">
                  <c:v>0.008398950131233596</c:v>
                </c:pt>
                <c:pt idx="18">
                  <c:v>0.004452926208651399</c:v>
                </c:pt>
                <c:pt idx="19">
                  <c:v>0.003658536585365854</c:v>
                </c:pt>
                <c:pt idx="20">
                  <c:v>0.004098360655737705</c:v>
                </c:pt>
                <c:pt idx="21">
                  <c:v>0.004206098843322818</c:v>
                </c:pt>
                <c:pt idx="22">
                  <c:v>0.0062176165803108805</c:v>
                </c:pt>
                <c:pt idx="23">
                  <c:v>0.004703668861712135</c:v>
                </c:pt>
                <c:pt idx="24">
                  <c:v>0.004662004662004662</c:v>
                </c:pt>
                <c:pt idx="25">
                  <c:v>0.004032258064516129</c:v>
                </c:pt>
                <c:pt idx="26">
                  <c:v>0.004919184820801124</c:v>
                </c:pt>
                <c:pt idx="27">
                  <c:v>0.005434782608695652</c:v>
                </c:pt>
                <c:pt idx="28">
                  <c:v>0.003976143141153081</c:v>
                </c:pt>
                <c:pt idx="29">
                  <c:v>0.0045721750489875895</c:v>
                </c:pt>
                <c:pt idx="30">
                  <c:v>0.005201560468140442</c:v>
                </c:pt>
                <c:pt idx="31">
                  <c:v>0.003878474466709761</c:v>
                </c:pt>
                <c:pt idx="32">
                  <c:v>0.0033821871476888386</c:v>
                </c:pt>
                <c:pt idx="33">
                  <c:v>0.002881844380403458</c:v>
                </c:pt>
                <c:pt idx="34">
                  <c:v>0.0030048076923076925</c:v>
                </c:pt>
                <c:pt idx="35">
                  <c:v>0.0038565368299267257</c:v>
                </c:pt>
                <c:pt idx="36">
                  <c:v>0.00586940572267058</c:v>
                </c:pt>
                <c:pt idx="37">
                  <c:v>0.005108556832694764</c:v>
                </c:pt>
                <c:pt idx="38">
                  <c:v>0.004957507082152974</c:v>
                </c:pt>
                <c:pt idx="39">
                  <c:v>0.003494757863205192</c:v>
                </c:pt>
                <c:pt idx="40">
                  <c:v>0.0044742729306487695</c:v>
                </c:pt>
                <c:pt idx="41">
                  <c:v>0.003727369542066028</c:v>
                </c:pt>
                <c:pt idx="42">
                  <c:v>0.0023752969121140144</c:v>
                </c:pt>
                <c:pt idx="43">
                  <c:v>0.0024762690879075525</c:v>
                </c:pt>
                <c:pt idx="44">
                  <c:v>0.002711864406779661</c:v>
                </c:pt>
                <c:pt idx="45">
                  <c:v>0.001600731763091699</c:v>
                </c:pt>
                <c:pt idx="46">
                  <c:v>0.002097692538207971</c:v>
                </c:pt>
                <c:pt idx="47">
                  <c:v>0.0016987542468856172</c:v>
                </c:pt>
                <c:pt idx="48">
                  <c:v>0.002666020358700921</c:v>
                </c:pt>
                <c:pt idx="49">
                  <c:v>0.0021236432279377066</c:v>
                </c:pt>
                <c:pt idx="50">
                  <c:v>0.0015051173991571343</c:v>
                </c:pt>
                <c:pt idx="51">
                  <c:v>0.0025886616619207868</c:v>
                </c:pt>
              </c:numCache>
            </c:numRef>
          </c:yVal>
          <c:smooth val="0"/>
          <c:extLst>
            <c:ext xmlns:c16="http://schemas.microsoft.com/office/drawing/2014/chart" uri="{C3380CC4-5D6E-409C-BE32-E72D297353CC}">
              <c16:uniqueId val="{00000002-F32D-48B7-BC20-E66FC6253BAD}"/>
            </c:ext>
          </c:extLst>
        </c:ser>
        <c:ser>
          <c:idx val="2"/>
          <c:order val="2"/>
          <c:tx>
            <c:strRef>
              <c:f>Sheet1!$B$107</c:f>
              <c:strCache>
                <c:ptCount val="1"/>
                <c:pt idx="0">
                  <c:v>Custom Linep3yQ</c:v>
                </c:pt>
              </c:strCache>
            </c:strRef>
          </c:tx>
          <c:spPr>
            <a:ln w="19050" cap="rnd">
              <a:solidFill>
                <a:srgbClr val="C00000"/>
              </a:solidFill>
              <a:prstDash val="sysDot"/>
              <a:round/>
            </a:ln>
            <a:effectLst/>
          </c:spPr>
          <c:marker>
            <c:symbol val="none"/>
          </c:marker>
          <c:xVal>
            <c:numRef>
              <c:f>Sheet1!$A$108:$A$109</c:f>
              <c:numCache>
                <c:formatCode>General</c:formatCode>
                <c:ptCount val="2"/>
                <c:pt idx="0">
                  <c:v>0</c:v>
                </c:pt>
                <c:pt idx="1">
                  <c:v>3348.877825097005</c:v>
                </c:pt>
              </c:numCache>
            </c:numRef>
          </c:xVal>
          <c:yVal>
            <c:numRef>
              <c:f>Sheet1!$B$108:$B$109</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3-F32D-48B7-BC20-E66FC6253BAD}"/>
            </c:ext>
          </c:extLst>
        </c:ser>
        <c:ser>
          <c:idx val="3"/>
          <c:order val="3"/>
          <c:tx>
            <c:strRef>
              <c:f>Sheet1!$B$1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3348.877825097005</c:v>
                </c:pt>
                <c:pt idx="1">
                  <c:v>3348.877825097005</c:v>
                </c:pt>
              </c:numCache>
            </c:numRef>
          </c:xVal>
          <c:yVal>
            <c:numRef>
              <c:f>Sheet1!$B$112:$B$113</c:f>
              <c:numCache>
                <c:formatCode>General</c:formatCode>
                <c:ptCount val="2"/>
                <c:pt idx="0">
                  <c:v>0.005349751596019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6:$A$117</c:f>
              <c:numCache>
                <c:formatCode>General</c:formatCode>
                <c:ptCount val="2"/>
                <c:pt idx="0">
                  <c:v>0</c:v>
                </c:pt>
                <c:pt idx="1">
                  <c:v>3348.877825097005</c:v>
                </c:pt>
              </c:numCache>
            </c:numRef>
          </c:xVal>
          <c:yVal>
            <c:numRef>
              <c:f>Sheet1!$B$116:$B$117</c:f>
              <c:numCache>
                <c:formatCode>General</c:formatCode>
                <c:ptCount val="2"/>
                <c:pt idx="0">
                  <c:v>0.005349751596019141</c:v>
                </c:pt>
                <c:pt idx="1">
                  <c:v>0.005349751596019141</c:v>
                </c:pt>
              </c:numCache>
            </c:numRef>
          </c:yVal>
          <c:smooth val="0"/>
          <c:extLst>
            <c:ext xmlns:c16="http://schemas.microsoft.com/office/drawing/2014/chart" uri="{C3380CC4-5D6E-409C-BE32-E72D297353CC}">
              <c16:uniqueId val="{0000000A-F32D-48B7-BC20-E66FC6253BAD}"/>
            </c:ext>
          </c:extLst>
        </c:ser>
        <c:ser>
          <c:idx val="5"/>
          <c:order val="5"/>
          <c:tx>
            <c:strRef>
              <c:f>Sheet1!$B$11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3348.877825097005</c:v>
                </c:pt>
                <c:pt idx="1">
                  <c:v>3348.877825097005</c:v>
                </c:pt>
              </c:numCache>
            </c:numRef>
          </c:xVal>
          <c:yVal>
            <c:numRef>
              <c:f>Sheet1!$B$120:$B$121</c:f>
              <c:numCache>
                <c:formatCode>General</c:formatCode>
                <c:ptCount val="2"/>
                <c:pt idx="0">
                  <c:v>0.0053497515960191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4:$A$125</c:f>
              <c:numCache>
                <c:formatCode>General</c:formatCode>
                <c:ptCount val="2"/>
                <c:pt idx="0">
                  <c:v>0</c:v>
                </c:pt>
                <c:pt idx="1">
                  <c:v>4985.537920295936</c:v>
                </c:pt>
              </c:numCache>
            </c:numRef>
          </c:xVal>
          <c:yVal>
            <c:numRef>
              <c:f>Sheet1!$B$124:$B$125</c:f>
              <c:numCache>
                <c:formatCode>General</c:formatCode>
                <c:ptCount val="2"/>
                <c:pt idx="0">
                  <c:v>0.0025800347645094654</c:v>
                </c:pt>
                <c:pt idx="1">
                  <c:v>0.0025800347645094654</c:v>
                </c:pt>
              </c:numCache>
            </c:numRef>
          </c:yVal>
          <c:smooth val="0"/>
          <c:extLst>
            <c:ext xmlns:c16="http://schemas.microsoft.com/office/drawing/2014/chart" uri="{C3380CC4-5D6E-409C-BE32-E72D297353CC}">
              <c16:uniqueId val="{00000011-F32D-48B7-BC20-E66FC6253BAD}"/>
            </c:ext>
          </c:extLst>
        </c:ser>
        <c:ser>
          <c:idx val="7"/>
          <c:order val="7"/>
          <c:tx>
            <c:strRef>
              <c:f>Sheet1!$B$12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4985.537920295936</c:v>
                </c:pt>
                <c:pt idx="1">
                  <c:v>4985.537920295936</c:v>
                </c:pt>
              </c:numCache>
            </c:numRef>
          </c:xVal>
          <c:yVal>
            <c:numRef>
              <c:f>Sheet1!$B$128:$B$129</c:f>
              <c:numCache>
                <c:formatCode>General</c:formatCode>
                <c:ptCount val="2"/>
                <c:pt idx="0">
                  <c:v>0.00258003476450946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2:$A$186</c:f>
              <c:numCache>
                <c:formatCode>General</c:formatCode>
                <c:ptCount val="55"/>
                <c:pt idx="0">
                  <c:v>3974.75</c:v>
                </c:pt>
                <c:pt idx="1">
                  <c:v>3641.25</c:v>
                </c:pt>
                <c:pt idx="2">
                  <c:v>3978.7778</c:v>
                </c:pt>
                <c:pt idx="3">
                  <c:v>3639.5</c:v>
                </c:pt>
                <c:pt idx="4">
                  <c:v>4913.7143</c:v>
                </c:pt>
                <c:pt idx="5">
                  <c:v>4304.75</c:v>
                </c:pt>
                <c:pt idx="6">
                  <c:v>4551.9</c:v>
                </c:pt>
                <c:pt idx="7">
                  <c:v>4059.4</c:v>
                </c:pt>
                <c:pt idx="8">
                  <c:v>3381.7273</c:v>
                </c:pt>
                <c:pt idx="9">
                  <c:v>4324.2727</c:v>
                </c:pt>
                <c:pt idx="10">
                  <c:v>4197.6364</c:v>
                </c:pt>
                <c:pt idx="11">
                  <c:v>3961.9333</c:v>
                </c:pt>
                <c:pt idx="12">
                  <c:v>3957.875</c:v>
                </c:pt>
                <c:pt idx="13">
                  <c:v>3227.15</c:v>
                </c:pt>
                <c:pt idx="14">
                  <c:v>3813.2143</c:v>
                </c:pt>
                <c:pt idx="15">
                  <c:v>3557.2308</c:v>
                </c:pt>
                <c:pt idx="16">
                  <c:v>3492.2308</c:v>
                </c:pt>
                <c:pt idx="17">
                  <c:v>3140.0</c:v>
                </c:pt>
                <c:pt idx="18">
                  <c:v>4438.4286</c:v>
                </c:pt>
                <c:pt idx="19">
                  <c:v>4673.8333</c:v>
                </c:pt>
                <c:pt idx="20">
                  <c:v>3876.8333</c:v>
                </c:pt>
                <c:pt idx="21">
                  <c:v>4313.75</c:v>
                </c:pt>
                <c:pt idx="22">
                  <c:v>4046.0</c:v>
                </c:pt>
                <c:pt idx="23">
                  <c:v>3841.8</c:v>
                </c:pt>
                <c:pt idx="24">
                  <c:v>4570.1667</c:v>
                </c:pt>
                <c:pt idx="25">
                  <c:v>4149.2</c:v>
                </c:pt>
                <c:pt idx="26">
                  <c:v>4282.1429</c:v>
                </c:pt>
                <c:pt idx="27">
                  <c:v>3802.3333</c:v>
                </c:pt>
                <c:pt idx="28">
                  <c:v>3427.875</c:v>
                </c:pt>
                <c:pt idx="29">
                  <c:v>3892.4286</c:v>
                </c:pt>
                <c:pt idx="30">
                  <c:v>3385.625</c:v>
                </c:pt>
                <c:pt idx="31">
                  <c:v>3942.5</c:v>
                </c:pt>
                <c:pt idx="32">
                  <c:v>5249.3333</c:v>
                </c:pt>
                <c:pt idx="33">
                  <c:v>4831.2857</c:v>
                </c:pt>
                <c:pt idx="34">
                  <c:v>4708.5</c:v>
                </c:pt>
                <c:pt idx="35">
                  <c:v>4268.4</c:v>
                </c:pt>
                <c:pt idx="36">
                  <c:v>4030.125</c:v>
                </c:pt>
                <c:pt idx="37">
                  <c:v>4452.375</c:v>
                </c:pt>
                <c:pt idx="38">
                  <c:v>3700.8571</c:v>
                </c:pt>
                <c:pt idx="39">
                  <c:v>3951.5714</c:v>
                </c:pt>
                <c:pt idx="40">
                  <c:v>3577.125</c:v>
                </c:pt>
                <c:pt idx="41">
                  <c:v>4821.2857</c:v>
                </c:pt>
                <c:pt idx="42">
                  <c:v>5239.75</c:v>
                </c:pt>
                <c:pt idx="43">
                  <c:v>4308.3333</c:v>
                </c:pt>
                <c:pt idx="44">
                  <c:v>4323.25</c:v>
                </c:pt>
                <c:pt idx="45">
                  <c:v>4804.8571</c:v>
                </c:pt>
                <c:pt idx="46">
                  <c:v>4725.4286</c:v>
                </c:pt>
                <c:pt idx="47">
                  <c:v>4743.5</c:v>
                </c:pt>
                <c:pt idx="48">
                  <c:v>3265.4545</c:v>
                </c:pt>
                <c:pt idx="49">
                  <c:v>4251.8889</c:v>
                </c:pt>
                <c:pt idx="50">
                  <c:v>4736.3</c:v>
                </c:pt>
                <c:pt idx="51">
                  <c:v>3870.2</c:v>
                </c:pt>
                <c:pt idx="52">
                  <c:v>3348.877825097005</c:v>
                </c:pt>
                <c:pt idx="53">
                  <c:v>3348.877825097005</c:v>
                </c:pt>
                <c:pt idx="54">
                  <c:v>4985.537920295936</c:v>
                </c:pt>
              </c:numCache>
            </c:numRef>
          </c:xVal>
          <c:yVal>
            <c:numRef>
              <c:f>Sheet1!$B$132:$B$186</c:f>
              <c:numCache>
                <c:formatCode>General</c:formatCode>
                <c:ptCount val="55"/>
                <c:pt idx="0">
                  <c:v>0.004290589279856178</c:v>
                </c:pt>
                <c:pt idx="1">
                  <c:v>0.004854970708851797</c:v>
                </c:pt>
                <c:pt idx="2">
                  <c:v>0.0042837730414162735</c:v>
                </c:pt>
                <c:pt idx="3">
                  <c:v>0.004857932230593153</c:v>
                </c:pt>
                <c:pt idx="4">
                  <c:v>0.0027015817433947986</c:v>
                </c:pt>
                <c:pt idx="5">
                  <c:v>0.0037321308943432732</c:v>
                </c:pt>
                <c:pt idx="6">
                  <c:v>0.0033138794095568655</c:v>
                </c:pt>
                <c:pt idx="7">
                  <c:v>0.004147336242481429</c:v>
                </c:pt>
                <c:pt idx="8">
                  <c:v>0.005294160490809221</c:v>
                </c:pt>
                <c:pt idx="9">
                  <c:v>0.003699092665486143</c:v>
                </c:pt>
                <c:pt idx="10">
                  <c:v>0.003913399040168955</c:v>
                </c:pt>
                <c:pt idx="11">
                  <c:v>0.004312278957400431</c:v>
                </c:pt>
                <c:pt idx="12">
                  <c:v>0.004319146810933543</c:v>
                </c:pt>
                <c:pt idx="13">
                  <c:v>0.005555751367763598</c:v>
                </c:pt>
                <c:pt idx="14">
                  <c:v>0.004563955844173443</c:v>
                </c:pt>
                <c:pt idx="15">
                  <c:v>0.004997156244561148</c:v>
                </c:pt>
                <c:pt idx="16">
                  <c:v>0.005107155623525811</c:v>
                </c:pt>
                <c:pt idx="17">
                  <c:v>0.005703235150483142</c:v>
                </c:pt>
                <c:pt idx="18">
                  <c:v>0.003505906848483801</c:v>
                </c:pt>
                <c:pt idx="19">
                  <c:v>0.00310753191301668</c:v>
                </c:pt>
                <c:pt idx="20">
                  <c:v>0.004456293528937244</c:v>
                </c:pt>
                <c:pt idx="21">
                  <c:v>0.003716900211102012</c:v>
                </c:pt>
                <c:pt idx="22">
                  <c:v>0.004170013037529528</c:v>
                </c:pt>
                <c:pt idx="23">
                  <c:v>0.0045155803172923625</c:v>
                </c:pt>
                <c:pt idx="24">
                  <c:v>0.003282966707160961</c:v>
                </c:pt>
                <c:pt idx="25">
                  <c:v>0.003995367869696402</c:v>
                </c:pt>
                <c:pt idx="26">
                  <c:v>0.003770388847576997</c:v>
                </c:pt>
                <c:pt idx="27">
                  <c:v>0.004582369740212127</c:v>
                </c:pt>
                <c:pt idx="28">
                  <c:v>0.005216064824030028</c:v>
                </c:pt>
                <c:pt idx="29">
                  <c:v>0.0044299016317869725</c:v>
                </c:pt>
                <c:pt idx="30">
                  <c:v>0.005287564420357059</c:v>
                </c:pt>
                <c:pt idx="31">
                  <c:v>0.004345165894804031</c:v>
                </c:pt>
                <c:pt idx="32">
                  <c:v>0.0021336143346449322</c:v>
                </c:pt>
                <c:pt idx="33">
                  <c:v>0.002841075509685976</c:v>
                </c:pt>
                <c:pt idx="34">
                  <c:v>0.003048865521158923</c:v>
                </c:pt>
                <c:pt idx="35">
                  <c:v>0.0037936459316565896</c:v>
                </c:pt>
                <c:pt idx="36">
                  <c:v>0.004196878270468975</c:v>
                </c:pt>
                <c:pt idx="37">
                  <c:v>0.003482305381733144</c:v>
                </c:pt>
                <c:pt idx="38">
                  <c:v>0.004754097724515111</c:v>
                </c:pt>
                <c:pt idx="39">
                  <c:v>0.004329814381475723</c:v>
                </c:pt>
                <c:pt idx="40">
                  <c:v>0.004963489326945782</c:v>
                </c:pt>
                <c:pt idx="41">
                  <c:v>0.002857998491065156</c:v>
                </c:pt>
                <c:pt idx="42">
                  <c:v>0.0021498321353900403</c:v>
                </c:pt>
                <c:pt idx="43">
                  <c:v>0.0037260668824256717</c:v>
                </c:pt>
                <c:pt idx="44">
                  <c:v>0.003700823378791792</c:v>
                </c:pt>
                <c:pt idx="45">
                  <c:v>0.002885800580253754</c:v>
                </c:pt>
                <c:pt idx="46">
                  <c:v>0.003020217282901366</c:v>
                </c:pt>
                <c:pt idx="47">
                  <c:v>0.0029896350863317968</c:v>
                </c:pt>
                <c:pt idx="48">
                  <c:v>0.005490928733739722</c:v>
                </c:pt>
                <c:pt idx="49">
                  <c:v>0.0038215876354415652</c:v>
                </c:pt>
                <c:pt idx="50">
                  <c:v>0.0030018196329248056</c:v>
                </c:pt>
                <c:pt idx="51">
                  <c:v>0.0044675190501754945</c:v>
                </c:pt>
                <c:pt idx="52">
                  <c:v>0.005349751596019141</c:v>
                </c:pt>
                <c:pt idx="53">
                  <c:v>0.005349751596019141</c:v>
                </c:pt>
                <c:pt idx="54">
                  <c:v>0.00258003476450946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5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07874015748031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344654238067407</c:v>
                </c:pt>
                <c:pt idx="1">
                  <c:v>2.242043504475674</c:v>
                </c:pt>
                <c:pt idx="2">
                  <c:v>2.4297884267549437</c:v>
                </c:pt>
                <c:pt idx="3">
                  <c:v>2.4490459775560196</c:v>
                </c:pt>
                <c:pt idx="4">
                  <c:v>2.459161811763411</c:v>
                </c:pt>
                <c:pt idx="5">
                  <c:v>1.83295625</c:v>
                </c:pt>
                <c:pt idx="6">
                  <c:v>1.4745540343269172</c:v>
                </c:pt>
                <c:pt idx="7">
                  <c:v>1.5651376174243459</c:v>
                </c:pt>
                <c:pt idx="8">
                  <c:v>1.5708205375376505</c:v>
                </c:pt>
                <c:pt idx="9">
                  <c:v>1.5814790443409596</c:v>
                </c:pt>
                <c:pt idx="10">
                  <c:v>1.501344744590386</c:v>
                </c:pt>
                <c:pt idx="11">
                  <c:v>1.6195064771557874</c:v>
                </c:pt>
                <c:pt idx="12">
                  <c:v>1.684708648470391</c:v>
                </c:pt>
                <c:pt idx="13">
                  <c:v>1.6470537832711627</c:v>
                </c:pt>
                <c:pt idx="14">
                  <c:v>1.710982987726029</c:v>
                </c:pt>
                <c:pt idx="15">
                  <c:v>1.6962710323731647</c:v>
                </c:pt>
                <c:pt idx="16">
                  <c:v>1.787185295059817</c:v>
                </c:pt>
                <c:pt idx="17">
                  <c:v>2.193913989948238</c:v>
                </c:pt>
                <c:pt idx="18">
                  <c:v>2.4065447442738264</c:v>
                </c:pt>
                <c:pt idx="19">
                  <c:v>2.749894627697492</c:v>
                </c:pt>
                <c:pt idx="20">
                  <c:v>2.781068731100857</c:v>
                </c:pt>
                <c:pt idx="21">
                  <c:v>2.8447744051403903</c:v>
                </c:pt>
                <c:pt idx="22">
                  <c:v>2.9086947545703965</c:v>
                </c:pt>
                <c:pt idx="23">
                  <c:v>2.754126259355505</c:v>
                </c:pt>
                <c:pt idx="24">
                  <c:v>2.8041460738472668</c:v>
                </c:pt>
                <c:pt idx="25">
                  <c:v>2.7409530195757887</c:v>
                </c:pt>
                <c:pt idx="26">
                  <c:v>1.9773726951699508</c:v>
                </c:pt>
                <c:pt idx="27">
                  <c:v>1.8180418990087304</c:v>
                </c:pt>
                <c:pt idx="28">
                  <c:v>1.8467759411029312</c:v>
                </c:pt>
                <c:pt idx="29">
                  <c:v>1.7915306329020741</c:v>
                </c:pt>
                <c:pt idx="30">
                  <c:v>1.799290905984615</c:v>
                </c:pt>
                <c:pt idx="31">
                  <c:v>1.831177056002895</c:v>
                </c:pt>
                <c:pt idx="32">
                  <c:v>1.819227586631417</c:v>
                </c:pt>
                <c:pt idx="33">
                  <c:v>1.7716722313178608</c:v>
                </c:pt>
                <c:pt idx="34">
                  <c:v>1.7885934581250686</c:v>
                </c:pt>
                <c:pt idx="35">
                  <c:v>1.821557009741375</c:v>
                </c:pt>
                <c:pt idx="36">
                  <c:v>1.9296089001560564</c:v>
                </c:pt>
                <c:pt idx="37">
                  <c:v>1.9605079445954898</c:v>
                </c:pt>
                <c:pt idx="38">
                  <c:v>2.222797762467327</c:v>
                </c:pt>
                <c:pt idx="39">
                  <c:v>2.2658021592933837</c:v>
                </c:pt>
                <c:pt idx="40">
                  <c:v>2.1624981741767426</c:v>
                </c:pt>
                <c:pt idx="41">
                  <c:v>2.165991618440961</c:v>
                </c:pt>
                <c:pt idx="42">
                  <c:v>2.2501326699960065</c:v>
                </c:pt>
                <c:pt idx="43">
                  <c:v>2.210195737251023</c:v>
                </c:pt>
                <c:pt idx="44">
                  <c:v>1.9882434490403482</c:v>
                </c:pt>
                <c:pt idx="45">
                  <c:v>1.8846798271229996</c:v>
                </c:pt>
                <c:pt idx="46">
                  <c:v>1.952000435895622</c:v>
                </c:pt>
                <c:pt idx="47">
                  <c:v>1.9213484758166894</c:v>
                </c:pt>
                <c:pt idx="48">
                  <c:v>1.8789999632014156</c:v>
                </c:pt>
                <c:pt idx="49">
                  <c:v>1.846761041785958</c:v>
                </c:pt>
                <c:pt idx="50">
                  <c:v>1.7339333132291375</c:v>
                </c:pt>
                <c:pt idx="51">
                  <c:v>1.7237130405639445</c:v>
                </c:pt>
                <c:pt idx="52">
                  <c:v>1.8119760864987045</c:v>
                </c:pt>
                <c:pt idx="53">
                  <c:v>2.0250536130326275</c:v>
                </c:pt>
                <c:pt idx="54">
                  <c:v>2.0956429618221053</c:v>
                </c:pt>
                <c:pt idx="55">
                  <c:v>2.1616849257065542</c:v>
                </c:pt>
                <c:pt idx="56">
                  <c:v>2.2226709740577584</c:v>
                </c:pt>
                <c:pt idx="57">
                  <c:v>2.127689659242937</c:v>
                </c:pt>
                <c:pt idx="58">
                  <c:v>1.9412374612585481</c:v>
                </c:pt>
                <c:pt idx="59">
                  <c:v>2.052691366832114</c:v>
                </c:pt>
                <c:pt idx="60">
                  <c:v>2.096547720318176</c:v>
                </c:pt>
                <c:pt idx="61">
                  <c:v>2.0327569918931387</c:v>
                </c:pt>
                <c:pt idx="62">
                  <c:v>1.918885150090836</c:v>
                </c:pt>
                <c:pt idx="63">
                  <c:v>1.9735972100076302</c:v>
                </c:pt>
                <c:pt idx="64">
                  <c:v>2.0562891069559988</c:v>
                </c:pt>
                <c:pt idx="65">
                  <c:v>1.9858271257627387</c:v>
                </c:pt>
                <c:pt idx="66">
                  <c:v>1.9792714486900296</c:v>
                </c:pt>
                <c:pt idx="67">
                  <c:v>2.0630737587917</c:v>
                </c:pt>
                <c:pt idx="68">
                  <c:v>2.19518942936706</c:v>
                </c:pt>
                <c:pt idx="69">
                  <c:v>2.2907004479848303</c:v>
                </c:pt>
                <c:pt idx="70">
                  <c:v>2.192863720541153</c:v>
                </c:pt>
                <c:pt idx="71">
                  <c:v>2.4139333922844792</c:v>
                </c:pt>
                <c:pt idx="72">
                  <c:v>2.5217672879328634</c:v>
                </c:pt>
                <c:pt idx="73">
                  <c:v>2.4959065352787015</c:v>
                </c:pt>
                <c:pt idx="74">
                  <c:v>2.3116319803198033</c:v>
                </c:pt>
                <c:pt idx="75">
                  <c:v>2.229884819765183</c:v>
                </c:pt>
                <c:pt idx="76">
                  <c:v>2.2633732576148686</c:v>
                </c:pt>
                <c:pt idx="77">
                  <c:v>2.4924172754619685</c:v>
                </c:pt>
                <c:pt idx="78">
                  <c:v>2.59867905982906</c:v>
                </c:pt>
                <c:pt idx="79">
                  <c:v>2.228735463535032</c:v>
                </c:pt>
                <c:pt idx="80">
                  <c:v>2.399436728710363</c:v>
                </c:pt>
                <c:pt idx="81">
                  <c:v>2.36664997952815</c:v>
                </c:pt>
                <c:pt idx="82">
                  <c:v>2.3200287490290843</c:v>
                </c:pt>
                <c:pt idx="83">
                  <c:v>2.4370902580297367</c:v>
                </c:pt>
                <c:pt idx="84">
                  <c:v>2.500378658028949</c:v>
                </c:pt>
                <c:pt idx="85">
                  <c:v>2.376990400457416</c:v>
                </c:pt>
                <c:pt idx="86">
                  <c:v>2.4112680960091417</c:v>
                </c:pt>
                <c:pt idx="87">
                  <c:v>2.415227704852613</c:v>
                </c:pt>
                <c:pt idx="88">
                  <c:v>2.437001792317548</c:v>
                </c:pt>
                <c:pt idx="89">
                  <c:v>2.4511778512884645</c:v>
                </c:pt>
                <c:pt idx="90">
                  <c:v>2.662246825233309</c:v>
                </c:pt>
                <c:pt idx="91">
                  <c:v>2.7826370260276954</c:v>
                </c:pt>
                <c:pt idx="92">
                  <c:v>2.2809567398082686</c:v>
                </c:pt>
                <c:pt idx="93">
                  <c:v>1.998583023550338</c:v>
                </c:pt>
                <c:pt idx="94">
                  <c:v>1.8858492437620056</c:v>
                </c:pt>
                <c:pt idx="95">
                  <c:v>1.7587024996895493</c:v>
                </c:pt>
                <c:pt idx="96">
                  <c:v>1.6063049436956127</c:v>
                </c:pt>
                <c:pt idx="97">
                  <c:v>1.4950733741452824</c:v>
                </c:pt>
                <c:pt idx="98">
                  <c:v>1.536187685443429</c:v>
                </c:pt>
                <c:pt idx="99">
                  <c:v>1.4719141123383932</c:v>
                </c:pt>
                <c:pt idx="100">
                  <c:v>1.4134848509634148</c:v>
                </c:pt>
                <c:pt idx="101">
                  <c:v>1.4538788444188717</c:v>
                </c:pt>
                <c:pt idx="102">
                  <c:v>1.5557016404471196</c:v>
                </c:pt>
                <c:pt idx="103">
                  <c:v>1.538067200947228</c:v>
                </c:pt>
                <c:pt idx="104">
                  <c:v>1.6532047053634253</c:v>
                </c:pt>
              </c:numCache>
            </c:numRef>
          </c:xVal>
          <c:yVal>
            <c:numRef>
              <c:f>Sheet1!$B$2:$B$106</c:f>
              <c:numCache>
                <c:formatCode>General</c:formatCode>
                <c:ptCount val="105"/>
                <c:pt idx="0">
                  <c:v>0.388</c:v>
                </c:pt>
                <c:pt idx="1">
                  <c:v>0.32827324478178366</c:v>
                </c:pt>
                <c:pt idx="2">
                  <c:v>0.2915951972555746</c:v>
                </c:pt>
                <c:pt idx="3">
                  <c:v>0.28308823529411764</c:v>
                </c:pt>
                <c:pt idx="4">
                  <c:v>0.30655391120507397</c:v>
                </c:pt>
                <c:pt idx="5">
                  <c:v>0.30927835051546393</c:v>
                </c:pt>
                <c:pt idx="6">
                  <c:v>0.3546099290780142</c:v>
                </c:pt>
                <c:pt idx="7">
                  <c:v>0.3186119873817035</c:v>
                </c:pt>
                <c:pt idx="8">
                  <c:v>0.3404255319148936</c:v>
                </c:pt>
                <c:pt idx="9">
                  <c:v>0.3634453781512605</c:v>
                </c:pt>
                <c:pt idx="10">
                  <c:v>0.36995515695067266</c:v>
                </c:pt>
                <c:pt idx="11">
                  <c:v>0.32409972299168976</c:v>
                </c:pt>
                <c:pt idx="12">
                  <c:v>0.26590909090909093</c:v>
                </c:pt>
                <c:pt idx="13">
                  <c:v>0.29295154185022027</c:v>
                </c:pt>
                <c:pt idx="14">
                  <c:v>0.2471131639722864</c:v>
                </c:pt>
                <c:pt idx="15">
                  <c:v>0.2722772277227723</c:v>
                </c:pt>
                <c:pt idx="16">
                  <c:v>0.30538922155688625</c:v>
                </c:pt>
                <c:pt idx="17">
                  <c:v>0.3345724907063197</c:v>
                </c:pt>
                <c:pt idx="18">
                  <c:v>0.37333333333333335</c:v>
                </c:pt>
                <c:pt idx="19">
                  <c:v>0.31221719457013575</c:v>
                </c:pt>
                <c:pt idx="20">
                  <c:v>0.33916083916083917</c:v>
                </c:pt>
                <c:pt idx="21">
                  <c:v>0.29694323144104806</c:v>
                </c:pt>
                <c:pt idx="22">
                  <c:v>0.2550607287449393</c:v>
                </c:pt>
                <c:pt idx="23">
                  <c:v>0.2975206611570248</c:v>
                </c:pt>
                <c:pt idx="24">
                  <c:v>0.23076923076923078</c:v>
                </c:pt>
                <c:pt idx="25">
                  <c:v>0.2559055118110236</c:v>
                </c:pt>
                <c:pt idx="26">
                  <c:v>0.30943396226415093</c:v>
                </c:pt>
                <c:pt idx="27">
                  <c:v>0.28975265017667845</c:v>
                </c:pt>
                <c:pt idx="28">
                  <c:v>0.2912280701754386</c:v>
                </c:pt>
                <c:pt idx="29">
                  <c:v>0.29904306220095694</c:v>
                </c:pt>
                <c:pt idx="30">
                  <c:v>0.3154121863799283</c:v>
                </c:pt>
                <c:pt idx="31">
                  <c:v>0.2542372881355932</c:v>
                </c:pt>
                <c:pt idx="32">
                  <c:v>0.25225225225225223</c:v>
                </c:pt>
                <c:pt idx="33">
                  <c:v>0.26369168356997974</c:v>
                </c:pt>
                <c:pt idx="34">
                  <c:v>0.293354943273906</c:v>
                </c:pt>
                <c:pt idx="35">
                  <c:v>0.36</c:v>
                </c:pt>
                <c:pt idx="36">
                  <c:v>0.375</c:v>
                </c:pt>
                <c:pt idx="37">
                  <c:v>0.3797909407665505</c:v>
                </c:pt>
                <c:pt idx="38">
                  <c:v>0.3225806451612903</c:v>
                </c:pt>
                <c:pt idx="39">
                  <c:v>0.31950207468879666</c:v>
                </c:pt>
                <c:pt idx="40">
                  <c:v>0.3435754189944134</c:v>
                </c:pt>
                <c:pt idx="41">
                  <c:v>0.2894736842105263</c:v>
                </c:pt>
                <c:pt idx="42">
                  <c:v>0.23249299719887956</c:v>
                </c:pt>
                <c:pt idx="43">
                  <c:v>0.2242152466367713</c:v>
                </c:pt>
                <c:pt idx="44">
                  <c:v>0.28450704225352114</c:v>
                </c:pt>
                <c:pt idx="45">
                  <c:v>0.34523809523809523</c:v>
                </c:pt>
                <c:pt idx="46">
                  <c:v>0.31145584725536996</c:v>
                </c:pt>
                <c:pt idx="47">
                  <c:v>0.2862595419847328</c:v>
                </c:pt>
                <c:pt idx="48">
                  <c:v>0.27413479052823314</c:v>
                </c:pt>
                <c:pt idx="49">
                  <c:v>0.2790084388185654</c:v>
                </c:pt>
                <c:pt idx="50">
                  <c:v>0.2862694300518135</c:v>
                </c:pt>
                <c:pt idx="51">
                  <c:v>0.2689243027888446</c:v>
                </c:pt>
                <c:pt idx="52">
                  <c:v>0.24623803009575923</c:v>
                </c:pt>
                <c:pt idx="53">
                  <c:v>0.23063063063063063</c:v>
                </c:pt>
                <c:pt idx="54">
                  <c:v>0.24130879345603273</c:v>
                </c:pt>
                <c:pt idx="55">
                  <c:v>0.24107142857142858</c:v>
                </c:pt>
                <c:pt idx="56">
                  <c:v>0.22857142857142856</c:v>
                </c:pt>
                <c:pt idx="57">
                  <c:v>0.2634730538922156</c:v>
                </c:pt>
                <c:pt idx="58">
                  <c:v>0.3062605752961083</c:v>
                </c:pt>
                <c:pt idx="59">
                  <c:v>0.28407908428720086</c:v>
                </c:pt>
                <c:pt idx="60">
                  <c:v>0.29364161849710985</c:v>
                </c:pt>
                <c:pt idx="61">
                  <c:v>0.2946127946127946</c:v>
                </c:pt>
                <c:pt idx="62">
                  <c:v>0.2911184210526316</c:v>
                </c:pt>
                <c:pt idx="63">
                  <c:v>0.28551532033426186</c:v>
                </c:pt>
                <c:pt idx="64">
                  <c:v>0.27146814404432135</c:v>
                </c:pt>
                <c:pt idx="65">
                  <c:v>0.2863849765258216</c:v>
                </c:pt>
                <c:pt idx="66">
                  <c:v>0.2956381260096931</c:v>
                </c:pt>
                <c:pt idx="67">
                  <c:v>0.2585278276481149</c:v>
                </c:pt>
                <c:pt idx="68">
                  <c:v>0.23918575063613232</c:v>
                </c:pt>
                <c:pt idx="69">
                  <c:v>0.25483870967741934</c:v>
                </c:pt>
                <c:pt idx="70">
                  <c:v>0.26688102893890675</c:v>
                </c:pt>
                <c:pt idx="71">
                  <c:v>0.2679738562091503</c:v>
                </c:pt>
                <c:pt idx="72">
                  <c:v>0.2672413793103448</c:v>
                </c:pt>
                <c:pt idx="73">
                  <c:v>0.26006191950464397</c:v>
                </c:pt>
                <c:pt idx="74">
                  <c:v>0.2802197802197802</c:v>
                </c:pt>
                <c:pt idx="75">
                  <c:v>0.2744479495268139</c:v>
                </c:pt>
                <c:pt idx="76">
                  <c:v>0.2846715328467153</c:v>
                </c:pt>
                <c:pt idx="77">
                  <c:v>0.25</c:v>
                </c:pt>
                <c:pt idx="78">
                  <c:v>0.2534562211981567</c:v>
                </c:pt>
                <c:pt idx="79">
                  <c:v>0.2823920265780731</c:v>
                </c:pt>
                <c:pt idx="80">
                  <c:v>0.2915129151291513</c:v>
                </c:pt>
                <c:pt idx="81">
                  <c:v>0.2607449856733524</c:v>
                </c:pt>
                <c:pt idx="82">
                  <c:v>0.2839506172839506</c:v>
                </c:pt>
                <c:pt idx="83">
                  <c:v>0.28773584905660377</c:v>
                </c:pt>
                <c:pt idx="84">
                  <c:v>0.26732673267326734</c:v>
                </c:pt>
                <c:pt idx="85">
                  <c:v>0.2956204379562044</c:v>
                </c:pt>
                <c:pt idx="86">
                  <c:v>0.29365079365079366</c:v>
                </c:pt>
                <c:pt idx="87">
                  <c:v>0.30985915492957744</c:v>
                </c:pt>
                <c:pt idx="88">
                  <c:v>0.30718954248366015</c:v>
                </c:pt>
                <c:pt idx="89">
                  <c:v>0.30612244897959184</c:v>
                </c:pt>
                <c:pt idx="90">
                  <c:v>0.2440677966101695</c:v>
                </c:pt>
                <c:pt idx="91">
                  <c:v>0.25170068027210885</c:v>
                </c:pt>
                <c:pt idx="92">
                  <c:v>0.2824207492795389</c:v>
                </c:pt>
                <c:pt idx="93">
                  <c:v>0.25386996904024767</c:v>
                </c:pt>
                <c:pt idx="94">
                  <c:v>0.26334519572953735</c:v>
                </c:pt>
                <c:pt idx="95">
                  <c:v>0.27699530516431925</c:v>
                </c:pt>
                <c:pt idx="96">
                  <c:v>0.3218045112781955</c:v>
                </c:pt>
                <c:pt idx="97">
                  <c:v>0.34051724137931033</c:v>
                </c:pt>
                <c:pt idx="98">
                  <c:v>0.31554524361948955</c:v>
                </c:pt>
                <c:pt idx="99">
                  <c:v>0.3101761252446184</c:v>
                </c:pt>
                <c:pt idx="100">
                  <c:v>0.3063545150501672</c:v>
                </c:pt>
                <c:pt idx="101">
                  <c:v>0.3353510895883777</c:v>
                </c:pt>
                <c:pt idx="102">
                  <c:v>0.29880478087649404</c:v>
                </c:pt>
                <c:pt idx="103">
                  <c:v>0.32922535211267606</c:v>
                </c:pt>
                <c:pt idx="104">
                  <c:v>0.279735682819383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349717646914786</c:v>
                </c:pt>
                <c:pt idx="1">
                  <c:v>1.7216990209122005</c:v>
                </c:pt>
                <c:pt idx="2">
                  <c:v>1.6793333215627817</c:v>
                </c:pt>
                <c:pt idx="3">
                  <c:v>1.6639581240888424</c:v>
                </c:pt>
                <c:pt idx="4">
                  <c:v>1.8399319962903296</c:v>
                </c:pt>
                <c:pt idx="5">
                  <c:v>1.7655932530631606</c:v>
                </c:pt>
                <c:pt idx="6">
                  <c:v>1.6078226919466492</c:v>
                </c:pt>
                <c:pt idx="7">
                  <c:v>1.651548353197694</c:v>
                </c:pt>
                <c:pt idx="8">
                  <c:v>1.7844304911512237</c:v>
                </c:pt>
                <c:pt idx="9">
                  <c:v>1.700162243699759</c:v>
                </c:pt>
                <c:pt idx="10">
                  <c:v>1.746007539829516</c:v>
                </c:pt>
                <c:pt idx="11">
                  <c:v>1.573776693348305</c:v>
                </c:pt>
                <c:pt idx="12">
                  <c:v>1.5595303634056792</c:v>
                </c:pt>
                <c:pt idx="13">
                  <c:v>1.6716448319311163</c:v>
                </c:pt>
                <c:pt idx="14">
                  <c:v>1.7018052505900556</c:v>
                </c:pt>
                <c:pt idx="15">
                  <c:v>1.731938084786878</c:v>
                </c:pt>
                <c:pt idx="16">
                  <c:v>1.6650316730727455</c:v>
                </c:pt>
                <c:pt idx="17">
                  <c:v>1.7223186136176818</c:v>
                </c:pt>
                <c:pt idx="18">
                  <c:v>1.8726316445575786</c:v>
                </c:pt>
                <c:pt idx="19">
                  <c:v>2.0527971768202082</c:v>
                </c:pt>
                <c:pt idx="20">
                  <c:v>2.1066101737360703</c:v>
                </c:pt>
                <c:pt idx="21">
                  <c:v>1.9211835689365582</c:v>
                </c:pt>
                <c:pt idx="22">
                  <c:v>1.9496842580690206</c:v>
                </c:pt>
                <c:pt idx="23">
                  <c:v>1.9543064506134589</c:v>
                </c:pt>
                <c:pt idx="24">
                  <c:v>1.8877934964605498</c:v>
                </c:pt>
                <c:pt idx="25">
                  <c:v>1.847391784006231</c:v>
                </c:pt>
                <c:pt idx="26">
                  <c:v>1.7841889454714872</c:v>
                </c:pt>
                <c:pt idx="27">
                  <c:v>1.7135150945683801</c:v>
                </c:pt>
                <c:pt idx="28">
                  <c:v>1.8471430762246184</c:v>
                </c:pt>
                <c:pt idx="29">
                  <c:v>1.8661110941233516</c:v>
                </c:pt>
                <c:pt idx="30">
                  <c:v>1.9613220783004892</c:v>
                </c:pt>
                <c:pt idx="31">
                  <c:v>1.7352116947786145</c:v>
                </c:pt>
                <c:pt idx="32">
                  <c:v>1.7953963120854537</c:v>
                </c:pt>
                <c:pt idx="33">
                  <c:v>1.7724765238584685</c:v>
                </c:pt>
                <c:pt idx="34">
                  <c:v>1.7663753012545356</c:v>
                </c:pt>
                <c:pt idx="35">
                  <c:v>1.89316757472447</c:v>
                </c:pt>
                <c:pt idx="36">
                  <c:v>2.073848853499821</c:v>
                </c:pt>
                <c:pt idx="37">
                  <c:v>1.912102751628879</c:v>
                </c:pt>
                <c:pt idx="38">
                  <c:v>2.0578595171387706</c:v>
                </c:pt>
                <c:pt idx="39">
                  <c:v>1.9825657058517765</c:v>
                </c:pt>
                <c:pt idx="40">
                  <c:v>1.9667151025122727</c:v>
                </c:pt>
                <c:pt idx="41">
                  <c:v>2.0432263224870435</c:v>
                </c:pt>
                <c:pt idx="42">
                  <c:v>2.0655473145957495</c:v>
                </c:pt>
                <c:pt idx="43">
                  <c:v>2.0567128964456844</c:v>
                </c:pt>
                <c:pt idx="44">
                  <c:v>1.8731862820006946</c:v>
                </c:pt>
                <c:pt idx="45">
                  <c:v>1.7573462643769946</c:v>
                </c:pt>
                <c:pt idx="46">
                  <c:v>1.7831220236686482</c:v>
                </c:pt>
                <c:pt idx="47">
                  <c:v>1.7578907286532077</c:v>
                </c:pt>
                <c:pt idx="48">
                  <c:v>1.7295063402841553</c:v>
                </c:pt>
                <c:pt idx="49">
                  <c:v>1.7370777989311081</c:v>
                </c:pt>
                <c:pt idx="50">
                  <c:v>1.6432228147091512</c:v>
                </c:pt>
                <c:pt idx="51">
                  <c:v>1.6502099789014044</c:v>
                </c:pt>
              </c:numCache>
            </c:numRef>
          </c:xVal>
          <c:yVal>
            <c:numRef>
              <c:f>Sheet1!$B$109:$B$160</c:f>
              <c:numCache>
                <c:formatCode>General</c:formatCode>
                <c:ptCount val="52"/>
                <c:pt idx="0">
                  <c:v>0.258252427184466</c:v>
                </c:pt>
                <c:pt idx="1">
                  <c:v>0.25925925925925924</c:v>
                </c:pt>
                <c:pt idx="2">
                  <c:v>0.291005291005291</c:v>
                </c:pt>
                <c:pt idx="3">
                  <c:v>0.3154121863799283</c:v>
                </c:pt>
                <c:pt idx="4">
                  <c:v>0.2766798418972332</c:v>
                </c:pt>
                <c:pt idx="5">
                  <c:v>0.3216374269005848</c:v>
                </c:pt>
                <c:pt idx="6">
                  <c:v>0.33277870216306155</c:v>
                </c:pt>
                <c:pt idx="7">
                  <c:v>0.3139784946236559</c:v>
                </c:pt>
                <c:pt idx="8">
                  <c:v>0.3322884012539185</c:v>
                </c:pt>
                <c:pt idx="9">
                  <c:v>0.3324022346368715</c:v>
                </c:pt>
                <c:pt idx="10">
                  <c:v>0.36134453781512604</c:v>
                </c:pt>
                <c:pt idx="11">
                  <c:v>0.31166912850812406</c:v>
                </c:pt>
                <c:pt idx="12">
                  <c:v>0.32482993197278914</c:v>
                </c:pt>
                <c:pt idx="13">
                  <c:v>0.2935606060606061</c:v>
                </c:pt>
                <c:pt idx="14">
                  <c:v>0.2920168067226891</c:v>
                </c:pt>
                <c:pt idx="15">
                  <c:v>0.3052109181141439</c:v>
                </c:pt>
                <c:pt idx="16">
                  <c:v>0.3416666666666667</c:v>
                </c:pt>
                <c:pt idx="17">
                  <c:v>0.3302752293577982</c:v>
                </c:pt>
                <c:pt idx="18">
                  <c:v>0.28515625</c:v>
                </c:pt>
                <c:pt idx="19">
                  <c:v>0.25752508361204013</c:v>
                </c:pt>
                <c:pt idx="20">
                  <c:v>0.272</c:v>
                </c:pt>
                <c:pt idx="21">
                  <c:v>0.30625</c:v>
                </c:pt>
                <c:pt idx="22">
                  <c:v>0.23958333333333334</c:v>
                </c:pt>
                <c:pt idx="23">
                  <c:v>0.28217821782178215</c:v>
                </c:pt>
                <c:pt idx="24">
                  <c:v>0.3022222222222222</c:v>
                </c:pt>
                <c:pt idx="25">
                  <c:v>0.3076923076923077</c:v>
                </c:pt>
                <c:pt idx="26">
                  <c:v>0.31666666666666665</c:v>
                </c:pt>
                <c:pt idx="27">
                  <c:v>0.31683168316831684</c:v>
                </c:pt>
                <c:pt idx="28">
                  <c:v>0.26358695652173914</c:v>
                </c:pt>
                <c:pt idx="29">
                  <c:v>0.29347826086956524</c:v>
                </c:pt>
                <c:pt idx="30">
                  <c:v>0.27205882352941174</c:v>
                </c:pt>
                <c:pt idx="31">
                  <c:v>0.28735632183908044</c:v>
                </c:pt>
                <c:pt idx="32">
                  <c:v>0.2664576802507837</c:v>
                </c:pt>
                <c:pt idx="33">
                  <c:v>0.2678983833718245</c:v>
                </c:pt>
                <c:pt idx="34">
                  <c:v>0.2631578947368421</c:v>
                </c:pt>
                <c:pt idx="35">
                  <c:v>0.27364185110663986</c:v>
                </c:pt>
                <c:pt idx="36">
                  <c:v>0.27896995708154504</c:v>
                </c:pt>
                <c:pt idx="37">
                  <c:v>0.27906976744186046</c:v>
                </c:pt>
                <c:pt idx="38">
                  <c:v>0.25862068965517243</c:v>
                </c:pt>
                <c:pt idx="39">
                  <c:v>0.28421052631578947</c:v>
                </c:pt>
                <c:pt idx="40">
                  <c:v>0.25901639344262295</c:v>
                </c:pt>
                <c:pt idx="41">
                  <c:v>0.26988636363636365</c:v>
                </c:pt>
                <c:pt idx="42">
                  <c:v>0.2608695652173913</c:v>
                </c:pt>
                <c:pt idx="43">
                  <c:v>0.24205378973105135</c:v>
                </c:pt>
                <c:pt idx="44">
                  <c:v>0.27682403433476394</c:v>
                </c:pt>
                <c:pt idx="45">
                  <c:v>0.29907773386034253</c:v>
                </c:pt>
                <c:pt idx="46">
                  <c:v>0.3138401559454191</c:v>
                </c:pt>
                <c:pt idx="47">
                  <c:v>0.33015873015873015</c:v>
                </c:pt>
                <c:pt idx="48">
                  <c:v>0.324812030075188</c:v>
                </c:pt>
                <c:pt idx="49">
                  <c:v>0.32590529247910865</c:v>
                </c:pt>
                <c:pt idx="50">
                  <c:v>0.2942643391521197</c:v>
                </c:pt>
                <c:pt idx="51">
                  <c:v>0.28148148148148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54900816283198</c:v>
                </c:pt>
              </c:numCache>
            </c:numRef>
          </c:xVal>
          <c:yVal>
            <c:numRef>
              <c:f>Sheet1!$B$163:$B$164</c:f>
              <c:numCache>
                <c:formatCode>General</c:formatCode>
                <c:ptCount val="2"/>
                <c:pt idx="0">
                  <c:v>0.3244929319362917</c:v>
                </c:pt>
                <c:pt idx="1">
                  <c:v>0.324492931936291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54900816283198</c:v>
                </c:pt>
                <c:pt idx="1">
                  <c:v>1.554900816283198</c:v>
                </c:pt>
              </c:numCache>
            </c:numRef>
          </c:xVal>
          <c:yVal>
            <c:numRef>
              <c:f>Sheet1!$B$167:$B$168</c:f>
              <c:numCache>
                <c:formatCode>General</c:formatCode>
                <c:ptCount val="2"/>
                <c:pt idx="0">
                  <c:v>0.32449293193629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853085147659417</c:v>
                </c:pt>
              </c:numCache>
            </c:numRef>
          </c:xVal>
          <c:yVal>
            <c:numRef>
              <c:f>Sheet1!$B$171:$B$172</c:f>
              <c:numCache>
                <c:formatCode>General</c:formatCode>
                <c:ptCount val="2"/>
                <c:pt idx="0">
                  <c:v>0.3087621071897581</c:v>
                </c:pt>
                <c:pt idx="1">
                  <c:v>0.308762107189758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853085147659417</c:v>
                </c:pt>
                <c:pt idx="1">
                  <c:v>1.6853085147659417</c:v>
                </c:pt>
              </c:numCache>
            </c:numRef>
          </c:xVal>
          <c:yVal>
            <c:numRef>
              <c:f>Sheet1!$B$175:$B$176</c:f>
              <c:numCache>
                <c:formatCode>General</c:formatCode>
                <c:ptCount val="2"/>
                <c:pt idx="0">
                  <c:v>0.308762107189758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456915355412606</c:v>
                </c:pt>
              </c:numCache>
            </c:numRef>
          </c:xVal>
          <c:yVal>
            <c:numRef>
              <c:f>Sheet1!$B$179:$B$180</c:f>
              <c:numCache>
                <c:formatCode>General</c:formatCode>
                <c:ptCount val="2"/>
                <c:pt idx="0">
                  <c:v>0.2894154181407979</c:v>
                </c:pt>
                <c:pt idx="1">
                  <c:v>0.2894154181407979</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456915355412606</c:v>
                </c:pt>
                <c:pt idx="1">
                  <c:v>1.8456915355412606</c:v>
                </c:pt>
              </c:numCache>
            </c:numRef>
          </c:xVal>
          <c:yVal>
            <c:numRef>
              <c:f>Sheet1!$B$183:$B$184</c:f>
              <c:numCache>
                <c:formatCode>General</c:formatCode>
                <c:ptCount val="2"/>
                <c:pt idx="0">
                  <c:v>0.289415418140797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349717646914786</c:v>
                </c:pt>
                <c:pt idx="1">
                  <c:v>1.7216990209122005</c:v>
                </c:pt>
                <c:pt idx="2">
                  <c:v>1.6793333215627817</c:v>
                </c:pt>
                <c:pt idx="3">
                  <c:v>1.6639581240888424</c:v>
                </c:pt>
                <c:pt idx="4">
                  <c:v>1.8399319962903296</c:v>
                </c:pt>
                <c:pt idx="5">
                  <c:v>1.7655932530631606</c:v>
                </c:pt>
                <c:pt idx="6">
                  <c:v>1.6078226919466492</c:v>
                </c:pt>
                <c:pt idx="7">
                  <c:v>1.651548353197694</c:v>
                </c:pt>
                <c:pt idx="8">
                  <c:v>1.7844304911512237</c:v>
                </c:pt>
                <c:pt idx="9">
                  <c:v>1.700162243699759</c:v>
                </c:pt>
                <c:pt idx="10">
                  <c:v>1.746007539829516</c:v>
                </c:pt>
                <c:pt idx="11">
                  <c:v>1.573776693348305</c:v>
                </c:pt>
                <c:pt idx="12">
                  <c:v>1.5595303634056792</c:v>
                </c:pt>
                <c:pt idx="13">
                  <c:v>1.6716448319311163</c:v>
                </c:pt>
                <c:pt idx="14">
                  <c:v>1.7018052505900556</c:v>
                </c:pt>
                <c:pt idx="15">
                  <c:v>1.731938084786878</c:v>
                </c:pt>
                <c:pt idx="16">
                  <c:v>1.6650316730727455</c:v>
                </c:pt>
                <c:pt idx="17">
                  <c:v>1.7223186136176818</c:v>
                </c:pt>
                <c:pt idx="18">
                  <c:v>1.8726316445575786</c:v>
                </c:pt>
                <c:pt idx="19">
                  <c:v>2.0527971768202082</c:v>
                </c:pt>
                <c:pt idx="20">
                  <c:v>2.1066101737360703</c:v>
                </c:pt>
                <c:pt idx="21">
                  <c:v>1.9211835689365582</c:v>
                </c:pt>
                <c:pt idx="22">
                  <c:v>1.9496842580690206</c:v>
                </c:pt>
                <c:pt idx="23">
                  <c:v>1.9543064506134589</c:v>
                </c:pt>
                <c:pt idx="24">
                  <c:v>1.8877934964605498</c:v>
                </c:pt>
                <c:pt idx="25">
                  <c:v>1.847391784006231</c:v>
                </c:pt>
                <c:pt idx="26">
                  <c:v>1.7841889454714872</c:v>
                </c:pt>
                <c:pt idx="27">
                  <c:v>1.7135150945683801</c:v>
                </c:pt>
                <c:pt idx="28">
                  <c:v>1.8471430762246184</c:v>
                </c:pt>
                <c:pt idx="29">
                  <c:v>1.8661110941233516</c:v>
                </c:pt>
                <c:pt idx="30">
                  <c:v>1.9613220783004892</c:v>
                </c:pt>
                <c:pt idx="31">
                  <c:v>1.7352116947786145</c:v>
                </c:pt>
                <c:pt idx="32">
                  <c:v>1.7953963120854537</c:v>
                </c:pt>
                <c:pt idx="33">
                  <c:v>1.7724765238584685</c:v>
                </c:pt>
                <c:pt idx="34">
                  <c:v>1.7663753012545356</c:v>
                </c:pt>
                <c:pt idx="35">
                  <c:v>1.89316757472447</c:v>
                </c:pt>
                <c:pt idx="36">
                  <c:v>2.073848853499821</c:v>
                </c:pt>
                <c:pt idx="37">
                  <c:v>1.912102751628879</c:v>
                </c:pt>
                <c:pt idx="38">
                  <c:v>2.0578595171387706</c:v>
                </c:pt>
                <c:pt idx="39">
                  <c:v>1.9825657058517765</c:v>
                </c:pt>
                <c:pt idx="40">
                  <c:v>1.9667151025122727</c:v>
                </c:pt>
                <c:pt idx="41">
                  <c:v>2.0432263224870435</c:v>
                </c:pt>
                <c:pt idx="42">
                  <c:v>2.0655473145957495</c:v>
                </c:pt>
                <c:pt idx="43">
                  <c:v>2.0567128964456844</c:v>
                </c:pt>
                <c:pt idx="44">
                  <c:v>1.8731862820006946</c:v>
                </c:pt>
                <c:pt idx="45">
                  <c:v>1.7573462643769946</c:v>
                </c:pt>
                <c:pt idx="46">
                  <c:v>1.7831220236686482</c:v>
                </c:pt>
                <c:pt idx="47">
                  <c:v>1.7578907286532077</c:v>
                </c:pt>
                <c:pt idx="48">
                  <c:v>1.7295063402841553</c:v>
                </c:pt>
                <c:pt idx="49">
                  <c:v>1.7370777989311081</c:v>
                </c:pt>
                <c:pt idx="50">
                  <c:v>1.6432228147091512</c:v>
                </c:pt>
                <c:pt idx="51">
                  <c:v>1.6502099789014044</c:v>
                </c:pt>
                <c:pt idx="52">
                  <c:v>1.6853085147659417</c:v>
                </c:pt>
                <c:pt idx="53">
                  <c:v>1.554900816283198</c:v>
                </c:pt>
                <c:pt idx="54">
                  <c:v>1.8456915355412606</c:v>
                </c:pt>
              </c:numCache>
            </c:numRef>
          </c:xVal>
          <c:yVal>
            <c:numRef>
              <c:f>Sheet1!$B$187:$B$241</c:f>
              <c:numCache>
                <c:formatCode>General</c:formatCode>
                <c:ptCount val="55"/>
                <c:pt idx="0">
                  <c:v>0.30277132681397145</c:v>
                </c:pt>
                <c:pt idx="1">
                  <c:v>0.3043723918486795</c:v>
                </c:pt>
                <c:pt idx="2">
                  <c:v>0.3094828830197067</c:v>
                </c:pt>
                <c:pt idx="3">
                  <c:v>0.3113375629175955</c:v>
                </c:pt>
                <c:pt idx="4">
                  <c:v>0.29011018005770395</c:v>
                </c:pt>
                <c:pt idx="5">
                  <c:v>0.299077516765505</c:v>
                </c:pt>
                <c:pt idx="6">
                  <c:v>0.3181090699327018</c:v>
                </c:pt>
                <c:pt idx="7">
                  <c:v>0.31283452922636845</c:v>
                </c:pt>
                <c:pt idx="8">
                  <c:v>0.2968052177024918</c:v>
                </c:pt>
                <c:pt idx="9">
                  <c:v>0.3069703310184969</c:v>
                </c:pt>
                <c:pt idx="10">
                  <c:v>0.3014401029164683</c:v>
                </c:pt>
                <c:pt idx="11">
                  <c:v>0.3222159719293056</c:v>
                </c:pt>
                <c:pt idx="12">
                  <c:v>0.3239344787522628</c:v>
                </c:pt>
                <c:pt idx="13">
                  <c:v>0.3104103304355299</c:v>
                </c:pt>
                <c:pt idx="14">
                  <c:v>0.3067721383216752</c:v>
                </c:pt>
                <c:pt idx="15">
                  <c:v>0.303137273667352</c:v>
                </c:pt>
                <c:pt idx="16">
                  <c:v>0.31120806281047697</c:v>
                </c:pt>
                <c:pt idx="17">
                  <c:v>0.30429765159655053</c:v>
                </c:pt>
                <c:pt idx="18">
                  <c:v>0.28616568565936557</c:v>
                </c:pt>
                <c:pt idx="19">
                  <c:v>0.2644326710723134</c:v>
                </c:pt>
                <c:pt idx="20">
                  <c:v>0.25794131486084554</c:v>
                </c:pt>
                <c:pt idx="21">
                  <c:v>0.28030896230331503</c:v>
                </c:pt>
                <c:pt idx="22">
                  <c:v>0.2768709801050667</c:v>
                </c:pt>
                <c:pt idx="23">
                  <c:v>0.276313414089354</c:v>
                </c:pt>
                <c:pt idx="24">
                  <c:v>0.284336741219018</c:v>
                </c:pt>
                <c:pt idx="25">
                  <c:v>0.28921032050515827</c:v>
                </c:pt>
                <c:pt idx="26">
                  <c:v>0.2968343548838118</c:v>
                </c:pt>
                <c:pt idx="27">
                  <c:v>0.30535960282280933</c:v>
                </c:pt>
                <c:pt idx="28">
                  <c:v>0.2892403216367722</c:v>
                </c:pt>
                <c:pt idx="29">
                  <c:v>0.28695224686184956</c:v>
                </c:pt>
                <c:pt idx="30">
                  <c:v>0.2754671326894395</c:v>
                </c:pt>
                <c:pt idx="31">
                  <c:v>0.3027423845184163</c:v>
                </c:pt>
                <c:pt idx="32">
                  <c:v>0.2954824322433107</c:v>
                </c:pt>
                <c:pt idx="33">
                  <c:v>0.29824720131769233</c:v>
                </c:pt>
                <c:pt idx="34">
                  <c:v>0.298983179826927</c:v>
                </c:pt>
                <c:pt idx="35">
                  <c:v>0.2836884767045187</c:v>
                </c:pt>
                <c:pt idx="36">
                  <c:v>0.26189324862777497</c:v>
                </c:pt>
                <c:pt idx="37">
                  <c:v>0.2814043634742919</c:v>
                </c:pt>
                <c:pt idx="38">
                  <c:v>0.2638220108943856</c:v>
                </c:pt>
                <c:pt idx="39">
                  <c:v>0.2729045555879492</c:v>
                </c:pt>
                <c:pt idx="40">
                  <c:v>0.2748165827624304</c:v>
                </c:pt>
                <c:pt idx="41">
                  <c:v>0.2655871844479906</c:v>
                </c:pt>
                <c:pt idx="42">
                  <c:v>0.26289464697423653</c:v>
                </c:pt>
                <c:pt idx="43">
                  <c:v>0.2639603254983818</c:v>
                </c:pt>
                <c:pt idx="44">
                  <c:v>0.28609878083306284</c:v>
                </c:pt>
                <c:pt idx="45">
                  <c:v>0.3000723348262339</c:v>
                </c:pt>
                <c:pt idx="46">
                  <c:v>0.29696305556708424</c:v>
                </c:pt>
                <c:pt idx="47">
                  <c:v>0.30000665716909014</c:v>
                </c:pt>
                <c:pt idx="48">
                  <c:v>0.30343061023448525</c:v>
                </c:pt>
                <c:pt idx="49">
                  <c:v>0.3025172800366779</c:v>
                </c:pt>
                <c:pt idx="50">
                  <c:v>0.31383882259560625</c:v>
                </c:pt>
                <c:pt idx="51">
                  <c:v>0.312995974691208</c:v>
                </c:pt>
                <c:pt idx="52">
                  <c:v>0.3087621071897581</c:v>
                </c:pt>
                <c:pt idx="53">
                  <c:v>0.3244929319362917</c:v>
                </c:pt>
                <c:pt idx="54">
                  <c:v>0.28941541814079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6"/>
          <c:min val="0.179372197309417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02.433</c:v>
                </c:pt>
                <c:pt idx="1">
                  <c:v>821.7919</c:v>
                </c:pt>
                <c:pt idx="2">
                  <c:v>860.8235</c:v>
                </c:pt>
                <c:pt idx="3">
                  <c:v>878.8377</c:v>
                </c:pt>
                <c:pt idx="4">
                  <c:v>875.7931</c:v>
                </c:pt>
                <c:pt idx="5">
                  <c:v>850.4917</c:v>
                </c:pt>
                <c:pt idx="6">
                  <c:v>787.98</c:v>
                </c:pt>
                <c:pt idx="7">
                  <c:v>836.8218</c:v>
                </c:pt>
                <c:pt idx="8">
                  <c:v>852.5729</c:v>
                </c:pt>
                <c:pt idx="9">
                  <c:v>781.0925</c:v>
                </c:pt>
                <c:pt idx="10">
                  <c:v>768.1758</c:v>
                </c:pt>
                <c:pt idx="11">
                  <c:v>848.7265</c:v>
                </c:pt>
                <c:pt idx="12">
                  <c:v>874.5983</c:v>
                </c:pt>
                <c:pt idx="13">
                  <c:v>863.0827</c:v>
                </c:pt>
                <c:pt idx="14">
                  <c:v>887.4299</c:v>
                </c:pt>
                <c:pt idx="15">
                  <c:v>899.4545</c:v>
                </c:pt>
                <c:pt idx="16">
                  <c:v>960.1569</c:v>
                </c:pt>
                <c:pt idx="17">
                  <c:v>971.7444</c:v>
                </c:pt>
                <c:pt idx="18">
                  <c:v>1021.1429</c:v>
                </c:pt>
                <c:pt idx="19">
                  <c:v>1060.8406</c:v>
                </c:pt>
                <c:pt idx="20">
                  <c:v>1052.2371</c:v>
                </c:pt>
                <c:pt idx="21">
                  <c:v>1062.5588</c:v>
                </c:pt>
                <c:pt idx="22">
                  <c:v>1070.7778</c:v>
                </c:pt>
                <c:pt idx="23">
                  <c:v>1007.9028</c:v>
                </c:pt>
                <c:pt idx="24">
                  <c:v>1031.2121</c:v>
                </c:pt>
                <c:pt idx="25">
                  <c:v>1008.0</c:v>
                </c:pt>
                <c:pt idx="26">
                  <c:v>989.0488</c:v>
                </c:pt>
                <c:pt idx="27">
                  <c:v>1000.1463</c:v>
                </c:pt>
                <c:pt idx="28">
                  <c:v>997.1205</c:v>
                </c:pt>
                <c:pt idx="29">
                  <c:v>973.464</c:v>
                </c:pt>
                <c:pt idx="30">
                  <c:v>982.6023</c:v>
                </c:pt>
                <c:pt idx="31">
                  <c:v>1001.88</c:v>
                </c:pt>
                <c:pt idx="32">
                  <c:v>981.2024</c:v>
                </c:pt>
                <c:pt idx="33">
                  <c:v>955.1923</c:v>
                </c:pt>
                <c:pt idx="34">
                  <c:v>932.0221</c:v>
                </c:pt>
                <c:pt idx="35">
                  <c:v>950.2174</c:v>
                </c:pt>
                <c:pt idx="36">
                  <c:v>1022.0764</c:v>
                </c:pt>
                <c:pt idx="37">
                  <c:v>1028.1284</c:v>
                </c:pt>
                <c:pt idx="38">
                  <c:v>1165.7125</c:v>
                </c:pt>
                <c:pt idx="39">
                  <c:v>1177.8052</c:v>
                </c:pt>
                <c:pt idx="40">
                  <c:v>1129.6179</c:v>
                </c:pt>
                <c:pt idx="41">
                  <c:v>1131.6364</c:v>
                </c:pt>
                <c:pt idx="42">
                  <c:v>1185.5301</c:v>
                </c:pt>
                <c:pt idx="43">
                  <c:v>1180.79</c:v>
                </c:pt>
                <c:pt idx="44">
                  <c:v>1055.5495</c:v>
                </c:pt>
                <c:pt idx="45">
                  <c:v>1008.4215</c:v>
                </c:pt>
                <c:pt idx="46">
                  <c:v>1021.0153</c:v>
                </c:pt>
                <c:pt idx="47">
                  <c:v>1004.3511</c:v>
                </c:pt>
                <c:pt idx="48">
                  <c:v>985.4917</c:v>
                </c:pt>
                <c:pt idx="49">
                  <c:v>968.2136</c:v>
                </c:pt>
                <c:pt idx="50">
                  <c:v>922.2715</c:v>
                </c:pt>
                <c:pt idx="51">
                  <c:v>921.1407</c:v>
                </c:pt>
                <c:pt idx="52">
                  <c:v>967.0944</c:v>
                </c:pt>
                <c:pt idx="53">
                  <c:v>1079.7031</c:v>
                </c:pt>
                <c:pt idx="54">
                  <c:v>1083.6356</c:v>
                </c:pt>
                <c:pt idx="55">
                  <c:v>1110.3981</c:v>
                </c:pt>
                <c:pt idx="56">
                  <c:v>1135.2292</c:v>
                </c:pt>
                <c:pt idx="57">
                  <c:v>1081.4621</c:v>
                </c:pt>
                <c:pt idx="58">
                  <c:v>987.2431</c:v>
                </c:pt>
                <c:pt idx="59">
                  <c:v>1012.8205</c:v>
                </c:pt>
                <c:pt idx="60">
                  <c:v>1040.0512</c:v>
                </c:pt>
                <c:pt idx="61">
                  <c:v>1036.28</c:v>
                </c:pt>
                <c:pt idx="62">
                  <c:v>951.8814</c:v>
                </c:pt>
                <c:pt idx="63">
                  <c:v>983.1512</c:v>
                </c:pt>
                <c:pt idx="64">
                  <c:v>1031.8724</c:v>
                </c:pt>
                <c:pt idx="65">
                  <c:v>1002.3661</c:v>
                </c:pt>
                <c:pt idx="66">
                  <c:v>999.6831</c:v>
                </c:pt>
                <c:pt idx="67">
                  <c:v>1038.4653</c:v>
                </c:pt>
                <c:pt idx="68">
                  <c:v>1078.9468</c:v>
                </c:pt>
                <c:pt idx="69">
                  <c:v>1141.8608</c:v>
                </c:pt>
                <c:pt idx="70">
                  <c:v>1123.012</c:v>
                </c:pt>
                <c:pt idx="71">
                  <c:v>1227.622</c:v>
                </c:pt>
                <c:pt idx="72">
                  <c:v>1251.4946</c:v>
                </c:pt>
                <c:pt idx="73">
                  <c:v>1275.5238</c:v>
                </c:pt>
                <c:pt idx="74">
                  <c:v>1174.598</c:v>
                </c:pt>
                <c:pt idx="75">
                  <c:v>1142.954</c:v>
                </c:pt>
                <c:pt idx="76">
                  <c:v>1096.0385</c:v>
                </c:pt>
                <c:pt idx="77">
                  <c:v>1159.971</c:v>
                </c:pt>
                <c:pt idx="78">
                  <c:v>1216.1818</c:v>
                </c:pt>
                <c:pt idx="79">
                  <c:v>1022.2824</c:v>
                </c:pt>
                <c:pt idx="80">
                  <c:v>1127.4051</c:v>
                </c:pt>
                <c:pt idx="81">
                  <c:v>1100.5604</c:v>
                </c:pt>
                <c:pt idx="82">
                  <c:v>1075.8841</c:v>
                </c:pt>
                <c:pt idx="83">
                  <c:v>1146.9344</c:v>
                </c:pt>
                <c:pt idx="84">
                  <c:v>1143.6852</c:v>
                </c:pt>
                <c:pt idx="85">
                  <c:v>1098.3457</c:v>
                </c:pt>
                <c:pt idx="86">
                  <c:v>1080.3964</c:v>
                </c:pt>
                <c:pt idx="87">
                  <c:v>1069.4394</c:v>
                </c:pt>
                <c:pt idx="88">
                  <c:v>1104.4787</c:v>
                </c:pt>
                <c:pt idx="89">
                  <c:v>1082.7333</c:v>
                </c:pt>
                <c:pt idx="90">
                  <c:v>1205.5833</c:v>
                </c:pt>
                <c:pt idx="91">
                  <c:v>1228.1892</c:v>
                </c:pt>
                <c:pt idx="92">
                  <c:v>1177.4082</c:v>
                </c:pt>
                <c:pt idx="93">
                  <c:v>1268.0</c:v>
                </c:pt>
                <c:pt idx="94">
                  <c:v>1248.1216</c:v>
                </c:pt>
                <c:pt idx="95">
                  <c:v>1171.2373</c:v>
                </c:pt>
                <c:pt idx="96">
                  <c:v>1097.2804</c:v>
                </c:pt>
                <c:pt idx="97">
                  <c:v>1052.4726</c:v>
                </c:pt>
                <c:pt idx="98">
                  <c:v>1076.6949</c:v>
                </c:pt>
                <c:pt idx="99">
                  <c:v>1027.4511</c:v>
                </c:pt>
                <c:pt idx="100">
                  <c:v>1028.238</c:v>
                </c:pt>
                <c:pt idx="101">
                  <c:v>1041.0325</c:v>
                </c:pt>
                <c:pt idx="102">
                  <c:v>1088.7133</c:v>
                </c:pt>
                <c:pt idx="103">
                  <c:v>1064.1444</c:v>
                </c:pt>
                <c:pt idx="104">
                  <c:v>1157.3858</c:v>
                </c:pt>
              </c:numCache>
            </c:numRef>
          </c:xVal>
          <c:yVal>
            <c:numRef>
              <c:f>Sheet1!$B$2:$B$106</c:f>
              <c:numCache>
                <c:formatCode>General</c:formatCode>
                <c:ptCount val="105"/>
                <c:pt idx="0">
                  <c:v>0.388</c:v>
                </c:pt>
                <c:pt idx="1">
                  <c:v>0.32827324478178366</c:v>
                </c:pt>
                <c:pt idx="2">
                  <c:v>0.2915951972555746</c:v>
                </c:pt>
                <c:pt idx="3">
                  <c:v>0.28308823529411764</c:v>
                </c:pt>
                <c:pt idx="4">
                  <c:v>0.30655391120507397</c:v>
                </c:pt>
                <c:pt idx="5">
                  <c:v>0.30927835051546393</c:v>
                </c:pt>
                <c:pt idx="6">
                  <c:v>0.3546099290780142</c:v>
                </c:pt>
                <c:pt idx="7">
                  <c:v>0.3186119873817035</c:v>
                </c:pt>
                <c:pt idx="8">
                  <c:v>0.3404255319148936</c:v>
                </c:pt>
                <c:pt idx="9">
                  <c:v>0.3634453781512605</c:v>
                </c:pt>
                <c:pt idx="10">
                  <c:v>0.36995515695067266</c:v>
                </c:pt>
                <c:pt idx="11">
                  <c:v>0.32409972299168976</c:v>
                </c:pt>
                <c:pt idx="12">
                  <c:v>0.26590909090909093</c:v>
                </c:pt>
                <c:pt idx="13">
                  <c:v>0.29295154185022027</c:v>
                </c:pt>
                <c:pt idx="14">
                  <c:v>0.2471131639722864</c:v>
                </c:pt>
                <c:pt idx="15">
                  <c:v>0.2722772277227723</c:v>
                </c:pt>
                <c:pt idx="16">
                  <c:v>0.30538922155688625</c:v>
                </c:pt>
                <c:pt idx="17">
                  <c:v>0.3345724907063197</c:v>
                </c:pt>
                <c:pt idx="18">
                  <c:v>0.37333333333333335</c:v>
                </c:pt>
                <c:pt idx="19">
                  <c:v>0.31221719457013575</c:v>
                </c:pt>
                <c:pt idx="20">
                  <c:v>0.33916083916083917</c:v>
                </c:pt>
                <c:pt idx="21">
                  <c:v>0.29694323144104806</c:v>
                </c:pt>
                <c:pt idx="22">
                  <c:v>0.2550607287449393</c:v>
                </c:pt>
                <c:pt idx="23">
                  <c:v>0.2975206611570248</c:v>
                </c:pt>
                <c:pt idx="24">
                  <c:v>0.23076923076923078</c:v>
                </c:pt>
                <c:pt idx="25">
                  <c:v>0.2559055118110236</c:v>
                </c:pt>
                <c:pt idx="26">
                  <c:v>0.30943396226415093</c:v>
                </c:pt>
                <c:pt idx="27">
                  <c:v>0.28975265017667845</c:v>
                </c:pt>
                <c:pt idx="28">
                  <c:v>0.2912280701754386</c:v>
                </c:pt>
                <c:pt idx="29">
                  <c:v>0.29904306220095694</c:v>
                </c:pt>
                <c:pt idx="30">
                  <c:v>0.3154121863799283</c:v>
                </c:pt>
                <c:pt idx="31">
                  <c:v>0.2542372881355932</c:v>
                </c:pt>
                <c:pt idx="32">
                  <c:v>0.25225225225225223</c:v>
                </c:pt>
                <c:pt idx="33">
                  <c:v>0.26369168356997974</c:v>
                </c:pt>
                <c:pt idx="34">
                  <c:v>0.293354943273906</c:v>
                </c:pt>
                <c:pt idx="35">
                  <c:v>0.36</c:v>
                </c:pt>
                <c:pt idx="36">
                  <c:v>0.375</c:v>
                </c:pt>
                <c:pt idx="37">
                  <c:v>0.3797909407665505</c:v>
                </c:pt>
                <c:pt idx="38">
                  <c:v>0.3225806451612903</c:v>
                </c:pt>
                <c:pt idx="39">
                  <c:v>0.31950207468879666</c:v>
                </c:pt>
                <c:pt idx="40">
                  <c:v>0.3435754189944134</c:v>
                </c:pt>
                <c:pt idx="41">
                  <c:v>0.2894736842105263</c:v>
                </c:pt>
                <c:pt idx="42">
                  <c:v>0.23249299719887956</c:v>
                </c:pt>
                <c:pt idx="43">
                  <c:v>0.2242152466367713</c:v>
                </c:pt>
                <c:pt idx="44">
                  <c:v>0.28450704225352114</c:v>
                </c:pt>
                <c:pt idx="45">
                  <c:v>0.34523809523809523</c:v>
                </c:pt>
                <c:pt idx="46">
                  <c:v>0.31145584725536996</c:v>
                </c:pt>
                <c:pt idx="47">
                  <c:v>0.2862595419847328</c:v>
                </c:pt>
                <c:pt idx="48">
                  <c:v>0.27413479052823314</c:v>
                </c:pt>
                <c:pt idx="49">
                  <c:v>0.2790084388185654</c:v>
                </c:pt>
                <c:pt idx="50">
                  <c:v>0.2862694300518135</c:v>
                </c:pt>
                <c:pt idx="51">
                  <c:v>0.2689243027888446</c:v>
                </c:pt>
                <c:pt idx="52">
                  <c:v>0.24623803009575923</c:v>
                </c:pt>
                <c:pt idx="53">
                  <c:v>0.23063063063063063</c:v>
                </c:pt>
                <c:pt idx="54">
                  <c:v>0.24130879345603273</c:v>
                </c:pt>
                <c:pt idx="55">
                  <c:v>0.24107142857142858</c:v>
                </c:pt>
                <c:pt idx="56">
                  <c:v>0.22857142857142856</c:v>
                </c:pt>
                <c:pt idx="57">
                  <c:v>0.2634730538922156</c:v>
                </c:pt>
                <c:pt idx="58">
                  <c:v>0.3062605752961083</c:v>
                </c:pt>
                <c:pt idx="59">
                  <c:v>0.28407908428720086</c:v>
                </c:pt>
                <c:pt idx="60">
                  <c:v>0.29364161849710985</c:v>
                </c:pt>
                <c:pt idx="61">
                  <c:v>0.2946127946127946</c:v>
                </c:pt>
                <c:pt idx="62">
                  <c:v>0.2911184210526316</c:v>
                </c:pt>
                <c:pt idx="63">
                  <c:v>0.28551532033426186</c:v>
                </c:pt>
                <c:pt idx="64">
                  <c:v>0.27146814404432135</c:v>
                </c:pt>
                <c:pt idx="65">
                  <c:v>0.2863849765258216</c:v>
                </c:pt>
                <c:pt idx="66">
                  <c:v>0.2956381260096931</c:v>
                </c:pt>
                <c:pt idx="67">
                  <c:v>0.2585278276481149</c:v>
                </c:pt>
                <c:pt idx="68">
                  <c:v>0.23918575063613232</c:v>
                </c:pt>
                <c:pt idx="69">
                  <c:v>0.25483870967741934</c:v>
                </c:pt>
                <c:pt idx="70">
                  <c:v>0.26688102893890675</c:v>
                </c:pt>
                <c:pt idx="71">
                  <c:v>0.2679738562091503</c:v>
                </c:pt>
                <c:pt idx="72">
                  <c:v>0.2672413793103448</c:v>
                </c:pt>
                <c:pt idx="73">
                  <c:v>0.26006191950464397</c:v>
                </c:pt>
                <c:pt idx="74">
                  <c:v>0.2802197802197802</c:v>
                </c:pt>
                <c:pt idx="75">
                  <c:v>0.2744479495268139</c:v>
                </c:pt>
                <c:pt idx="76">
                  <c:v>0.2846715328467153</c:v>
                </c:pt>
                <c:pt idx="77">
                  <c:v>0.25</c:v>
                </c:pt>
                <c:pt idx="78">
                  <c:v>0.2534562211981567</c:v>
                </c:pt>
                <c:pt idx="79">
                  <c:v>0.2823920265780731</c:v>
                </c:pt>
                <c:pt idx="80">
                  <c:v>0.2915129151291513</c:v>
                </c:pt>
                <c:pt idx="81">
                  <c:v>0.2607449856733524</c:v>
                </c:pt>
                <c:pt idx="82">
                  <c:v>0.2839506172839506</c:v>
                </c:pt>
                <c:pt idx="83">
                  <c:v>0.28773584905660377</c:v>
                </c:pt>
                <c:pt idx="84">
                  <c:v>0.26732673267326734</c:v>
                </c:pt>
                <c:pt idx="85">
                  <c:v>0.2956204379562044</c:v>
                </c:pt>
                <c:pt idx="86">
                  <c:v>0.29365079365079366</c:v>
                </c:pt>
                <c:pt idx="87">
                  <c:v>0.30985915492957744</c:v>
                </c:pt>
                <c:pt idx="88">
                  <c:v>0.30718954248366015</c:v>
                </c:pt>
                <c:pt idx="89">
                  <c:v>0.30612244897959184</c:v>
                </c:pt>
                <c:pt idx="90">
                  <c:v>0.2440677966101695</c:v>
                </c:pt>
                <c:pt idx="91">
                  <c:v>0.25170068027210885</c:v>
                </c:pt>
                <c:pt idx="92">
                  <c:v>0.2824207492795389</c:v>
                </c:pt>
                <c:pt idx="93">
                  <c:v>0.25386996904024767</c:v>
                </c:pt>
                <c:pt idx="94">
                  <c:v>0.26334519572953735</c:v>
                </c:pt>
                <c:pt idx="95">
                  <c:v>0.27699530516431925</c:v>
                </c:pt>
                <c:pt idx="96">
                  <c:v>0.3218045112781955</c:v>
                </c:pt>
                <c:pt idx="97">
                  <c:v>0.34051724137931033</c:v>
                </c:pt>
                <c:pt idx="98">
                  <c:v>0.31554524361948955</c:v>
                </c:pt>
                <c:pt idx="99">
                  <c:v>0.3101761252446184</c:v>
                </c:pt>
                <c:pt idx="100">
                  <c:v>0.3063545150501672</c:v>
                </c:pt>
                <c:pt idx="101">
                  <c:v>0.3353510895883777</c:v>
                </c:pt>
                <c:pt idx="102">
                  <c:v>0.29880478087649404</c:v>
                </c:pt>
                <c:pt idx="103">
                  <c:v>0.32922535211267606</c:v>
                </c:pt>
                <c:pt idx="104">
                  <c:v>0.279735682819383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8.7068</c:v>
                </c:pt>
                <c:pt idx="1">
                  <c:v>1245.4206</c:v>
                </c:pt>
                <c:pt idx="2">
                  <c:v>1198.4485</c:v>
                </c:pt>
                <c:pt idx="3">
                  <c:v>1178.5852</c:v>
                </c:pt>
                <c:pt idx="4">
                  <c:v>1242.5357</c:v>
                </c:pt>
                <c:pt idx="5">
                  <c:v>1205.2727</c:v>
                </c:pt>
                <c:pt idx="6">
                  <c:v>1062.105</c:v>
                </c:pt>
                <c:pt idx="7">
                  <c:v>1089.7466</c:v>
                </c:pt>
                <c:pt idx="8">
                  <c:v>1173.3396</c:v>
                </c:pt>
                <c:pt idx="9">
                  <c:v>1094.7479</c:v>
                </c:pt>
                <c:pt idx="10">
                  <c:v>1156.8372</c:v>
                </c:pt>
                <c:pt idx="11">
                  <c:v>996.782</c:v>
                </c:pt>
                <c:pt idx="12">
                  <c:v>1013.5759</c:v>
                </c:pt>
                <c:pt idx="13">
                  <c:v>1089.6</c:v>
                </c:pt>
                <c:pt idx="14">
                  <c:v>1107.1511</c:v>
                </c:pt>
                <c:pt idx="15">
                  <c:v>1124.5041</c:v>
                </c:pt>
                <c:pt idx="16">
                  <c:v>1112.1301</c:v>
                </c:pt>
                <c:pt idx="17">
                  <c:v>1091.4352</c:v>
                </c:pt>
                <c:pt idx="18">
                  <c:v>1216.7808</c:v>
                </c:pt>
                <c:pt idx="19">
                  <c:v>1381.5325</c:v>
                </c:pt>
                <c:pt idx="20">
                  <c:v>1379.5735</c:v>
                </c:pt>
                <c:pt idx="21">
                  <c:v>1227.551</c:v>
                </c:pt>
                <c:pt idx="22">
                  <c:v>1262.2174</c:v>
                </c:pt>
                <c:pt idx="23">
                  <c:v>1261.5439</c:v>
                </c:pt>
                <c:pt idx="24">
                  <c:v>1220.0294</c:v>
                </c:pt>
                <c:pt idx="25">
                  <c:v>1132.3333</c:v>
                </c:pt>
                <c:pt idx="26">
                  <c:v>1190.2105</c:v>
                </c:pt>
                <c:pt idx="27">
                  <c:v>1130.6458</c:v>
                </c:pt>
                <c:pt idx="28">
                  <c:v>1216.5155</c:v>
                </c:pt>
                <c:pt idx="29">
                  <c:v>1196.1481</c:v>
                </c:pt>
                <c:pt idx="30">
                  <c:v>1179.3108</c:v>
                </c:pt>
                <c:pt idx="31">
                  <c:v>1154.5467</c:v>
                </c:pt>
                <c:pt idx="32">
                  <c:v>1184.8235</c:v>
                </c:pt>
                <c:pt idx="33">
                  <c:v>1160.3966</c:v>
                </c:pt>
                <c:pt idx="34">
                  <c:v>1185.7257</c:v>
                </c:pt>
                <c:pt idx="35">
                  <c:v>1255.9853</c:v>
                </c:pt>
                <c:pt idx="36">
                  <c:v>1331.2154</c:v>
                </c:pt>
                <c:pt idx="37">
                  <c:v>1254.1111</c:v>
                </c:pt>
                <c:pt idx="38">
                  <c:v>1330.9867</c:v>
                </c:pt>
                <c:pt idx="39">
                  <c:v>1254.0648</c:v>
                </c:pt>
                <c:pt idx="40">
                  <c:v>1277.0127</c:v>
                </c:pt>
                <c:pt idx="41">
                  <c:v>1333.9579</c:v>
                </c:pt>
                <c:pt idx="42">
                  <c:v>1339.6923</c:v>
                </c:pt>
                <c:pt idx="43">
                  <c:v>1338.4343</c:v>
                </c:pt>
                <c:pt idx="44">
                  <c:v>1231.9225</c:v>
                </c:pt>
                <c:pt idx="45">
                  <c:v>1155.3789</c:v>
                </c:pt>
                <c:pt idx="46">
                  <c:v>1148.9627</c:v>
                </c:pt>
                <c:pt idx="47">
                  <c:v>1135.2163</c:v>
                </c:pt>
                <c:pt idx="48">
                  <c:v>1126.3519</c:v>
                </c:pt>
                <c:pt idx="49">
                  <c:v>1136.1538</c:v>
                </c:pt>
                <c:pt idx="50">
                  <c:v>1092.5169</c:v>
                </c:pt>
                <c:pt idx="51">
                  <c:v>1065.1211</c:v>
                </c:pt>
              </c:numCache>
            </c:numRef>
          </c:xVal>
          <c:yVal>
            <c:numRef>
              <c:f>Sheet1!$B$109:$B$160</c:f>
              <c:numCache>
                <c:formatCode>General</c:formatCode>
                <c:ptCount val="52"/>
                <c:pt idx="0">
                  <c:v>0.258252427184466</c:v>
                </c:pt>
                <c:pt idx="1">
                  <c:v>0.25925925925925924</c:v>
                </c:pt>
                <c:pt idx="2">
                  <c:v>0.291005291005291</c:v>
                </c:pt>
                <c:pt idx="3">
                  <c:v>0.3154121863799283</c:v>
                </c:pt>
                <c:pt idx="4">
                  <c:v>0.2766798418972332</c:v>
                </c:pt>
                <c:pt idx="5">
                  <c:v>0.3216374269005848</c:v>
                </c:pt>
                <c:pt idx="6">
                  <c:v>0.33277870216306155</c:v>
                </c:pt>
                <c:pt idx="7">
                  <c:v>0.3139784946236559</c:v>
                </c:pt>
                <c:pt idx="8">
                  <c:v>0.3322884012539185</c:v>
                </c:pt>
                <c:pt idx="9">
                  <c:v>0.3324022346368715</c:v>
                </c:pt>
                <c:pt idx="10">
                  <c:v>0.36134453781512604</c:v>
                </c:pt>
                <c:pt idx="11">
                  <c:v>0.31166912850812406</c:v>
                </c:pt>
                <c:pt idx="12">
                  <c:v>0.32482993197278914</c:v>
                </c:pt>
                <c:pt idx="13">
                  <c:v>0.2935606060606061</c:v>
                </c:pt>
                <c:pt idx="14">
                  <c:v>0.2920168067226891</c:v>
                </c:pt>
                <c:pt idx="15">
                  <c:v>0.3052109181141439</c:v>
                </c:pt>
                <c:pt idx="16">
                  <c:v>0.3416666666666667</c:v>
                </c:pt>
                <c:pt idx="17">
                  <c:v>0.3302752293577982</c:v>
                </c:pt>
                <c:pt idx="18">
                  <c:v>0.28515625</c:v>
                </c:pt>
                <c:pt idx="19">
                  <c:v>0.25752508361204013</c:v>
                </c:pt>
                <c:pt idx="20">
                  <c:v>0.272</c:v>
                </c:pt>
                <c:pt idx="21">
                  <c:v>0.30625</c:v>
                </c:pt>
                <c:pt idx="22">
                  <c:v>0.23958333333333334</c:v>
                </c:pt>
                <c:pt idx="23">
                  <c:v>0.28217821782178215</c:v>
                </c:pt>
                <c:pt idx="24">
                  <c:v>0.3022222222222222</c:v>
                </c:pt>
                <c:pt idx="25">
                  <c:v>0.3076923076923077</c:v>
                </c:pt>
                <c:pt idx="26">
                  <c:v>0.31666666666666665</c:v>
                </c:pt>
                <c:pt idx="27">
                  <c:v>0.31683168316831684</c:v>
                </c:pt>
                <c:pt idx="28">
                  <c:v>0.26358695652173914</c:v>
                </c:pt>
                <c:pt idx="29">
                  <c:v>0.29347826086956524</c:v>
                </c:pt>
                <c:pt idx="30">
                  <c:v>0.27205882352941174</c:v>
                </c:pt>
                <c:pt idx="31">
                  <c:v>0.28735632183908044</c:v>
                </c:pt>
                <c:pt idx="32">
                  <c:v>0.2664576802507837</c:v>
                </c:pt>
                <c:pt idx="33">
                  <c:v>0.2678983833718245</c:v>
                </c:pt>
                <c:pt idx="34">
                  <c:v>0.2631578947368421</c:v>
                </c:pt>
                <c:pt idx="35">
                  <c:v>0.27364185110663986</c:v>
                </c:pt>
                <c:pt idx="36">
                  <c:v>0.27896995708154504</c:v>
                </c:pt>
                <c:pt idx="37">
                  <c:v>0.27906976744186046</c:v>
                </c:pt>
                <c:pt idx="38">
                  <c:v>0.25862068965517243</c:v>
                </c:pt>
                <c:pt idx="39">
                  <c:v>0.28421052631578947</c:v>
                </c:pt>
                <c:pt idx="40">
                  <c:v>0.25901639344262295</c:v>
                </c:pt>
                <c:pt idx="41">
                  <c:v>0.26988636363636365</c:v>
                </c:pt>
                <c:pt idx="42">
                  <c:v>0.2608695652173913</c:v>
                </c:pt>
                <c:pt idx="43">
                  <c:v>0.24205378973105135</c:v>
                </c:pt>
                <c:pt idx="44">
                  <c:v>0.27682403433476394</c:v>
                </c:pt>
                <c:pt idx="45">
                  <c:v>0.29907773386034253</c:v>
                </c:pt>
                <c:pt idx="46">
                  <c:v>0.3138401559454191</c:v>
                </c:pt>
                <c:pt idx="47">
                  <c:v>0.33015873015873015</c:v>
                </c:pt>
                <c:pt idx="48">
                  <c:v>0.324812030075188</c:v>
                </c:pt>
                <c:pt idx="49">
                  <c:v>0.32590529247910865</c:v>
                </c:pt>
                <c:pt idx="50">
                  <c:v>0.2942643391521197</c:v>
                </c:pt>
                <c:pt idx="51">
                  <c:v>0.28148148148148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0.662401947731</c:v>
                </c:pt>
              </c:numCache>
            </c:numRef>
          </c:xVal>
          <c:yVal>
            <c:numRef>
              <c:f>Sheet1!$B$163:$B$164</c:f>
              <c:numCache>
                <c:formatCode>General</c:formatCode>
                <c:ptCount val="2"/>
                <c:pt idx="0">
                  <c:v>0.3244929319362917</c:v>
                </c:pt>
                <c:pt idx="1">
                  <c:v>0.324492931936291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0.662401947731</c:v>
                </c:pt>
                <c:pt idx="1">
                  <c:v>1040.662401947731</c:v>
                </c:pt>
              </c:numCache>
            </c:numRef>
          </c:xVal>
          <c:yVal>
            <c:numRef>
              <c:f>Sheet1!$B$167:$B$168</c:f>
              <c:numCache>
                <c:formatCode>General</c:formatCode>
                <c:ptCount val="2"/>
                <c:pt idx="0">
                  <c:v>0.32449293193629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5.8410878018806</c:v>
                </c:pt>
              </c:numCache>
            </c:numRef>
          </c:xVal>
          <c:yVal>
            <c:numRef>
              <c:f>Sheet1!$B$171:$B$172</c:f>
              <c:numCache>
                <c:formatCode>General</c:formatCode>
                <c:ptCount val="2"/>
                <c:pt idx="0">
                  <c:v>0.3087621071897581</c:v>
                </c:pt>
                <c:pt idx="1">
                  <c:v>0.308762107189758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5.8410878018806</c:v>
                </c:pt>
                <c:pt idx="1">
                  <c:v>1115.8410878018806</c:v>
                </c:pt>
              </c:numCache>
            </c:numRef>
          </c:xVal>
          <c:yVal>
            <c:numRef>
              <c:f>Sheet1!$B$175:$B$176</c:f>
              <c:numCache>
                <c:formatCode>General</c:formatCode>
                <c:ptCount val="2"/>
                <c:pt idx="0">
                  <c:v>0.308762107189758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8.3002361151432</c:v>
                </c:pt>
              </c:numCache>
            </c:numRef>
          </c:xVal>
          <c:yVal>
            <c:numRef>
              <c:f>Sheet1!$B$179:$B$180</c:f>
              <c:numCache>
                <c:formatCode>General</c:formatCode>
                <c:ptCount val="2"/>
                <c:pt idx="0">
                  <c:v>0.2894154181407979</c:v>
                </c:pt>
                <c:pt idx="1">
                  <c:v>0.2894154181407979</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8.3002361151432</c:v>
                </c:pt>
                <c:pt idx="1">
                  <c:v>1208.3002361151432</c:v>
                </c:pt>
              </c:numCache>
            </c:numRef>
          </c:xVal>
          <c:yVal>
            <c:numRef>
              <c:f>Sheet1!$B$183:$B$184</c:f>
              <c:numCache>
                <c:formatCode>General</c:formatCode>
                <c:ptCount val="2"/>
                <c:pt idx="0">
                  <c:v>0.289415418140797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8.7068</c:v>
                </c:pt>
                <c:pt idx="1">
                  <c:v>1245.4206</c:v>
                </c:pt>
                <c:pt idx="2">
                  <c:v>1198.4485</c:v>
                </c:pt>
                <c:pt idx="3">
                  <c:v>1178.5852</c:v>
                </c:pt>
                <c:pt idx="4">
                  <c:v>1242.5357</c:v>
                </c:pt>
                <c:pt idx="5">
                  <c:v>1205.2727</c:v>
                </c:pt>
                <c:pt idx="6">
                  <c:v>1062.105</c:v>
                </c:pt>
                <c:pt idx="7">
                  <c:v>1089.7466</c:v>
                </c:pt>
                <c:pt idx="8">
                  <c:v>1173.3396</c:v>
                </c:pt>
                <c:pt idx="9">
                  <c:v>1094.7479</c:v>
                </c:pt>
                <c:pt idx="10">
                  <c:v>1156.8372</c:v>
                </c:pt>
                <c:pt idx="11">
                  <c:v>996.782</c:v>
                </c:pt>
                <c:pt idx="12">
                  <c:v>1013.5759</c:v>
                </c:pt>
                <c:pt idx="13">
                  <c:v>1089.6</c:v>
                </c:pt>
                <c:pt idx="14">
                  <c:v>1107.1511</c:v>
                </c:pt>
                <c:pt idx="15">
                  <c:v>1124.5041</c:v>
                </c:pt>
                <c:pt idx="16">
                  <c:v>1112.1301</c:v>
                </c:pt>
                <c:pt idx="17">
                  <c:v>1091.4352</c:v>
                </c:pt>
                <c:pt idx="18">
                  <c:v>1216.7808</c:v>
                </c:pt>
                <c:pt idx="19">
                  <c:v>1381.5325</c:v>
                </c:pt>
                <c:pt idx="20">
                  <c:v>1379.5735</c:v>
                </c:pt>
                <c:pt idx="21">
                  <c:v>1227.551</c:v>
                </c:pt>
                <c:pt idx="22">
                  <c:v>1262.2174</c:v>
                </c:pt>
                <c:pt idx="23">
                  <c:v>1261.5439</c:v>
                </c:pt>
                <c:pt idx="24">
                  <c:v>1220.0294</c:v>
                </c:pt>
                <c:pt idx="25">
                  <c:v>1132.3333</c:v>
                </c:pt>
                <c:pt idx="26">
                  <c:v>1190.2105</c:v>
                </c:pt>
                <c:pt idx="27">
                  <c:v>1130.6458</c:v>
                </c:pt>
                <c:pt idx="28">
                  <c:v>1216.5155</c:v>
                </c:pt>
                <c:pt idx="29">
                  <c:v>1196.1481</c:v>
                </c:pt>
                <c:pt idx="30">
                  <c:v>1179.3108</c:v>
                </c:pt>
                <c:pt idx="31">
                  <c:v>1154.5467</c:v>
                </c:pt>
                <c:pt idx="32">
                  <c:v>1184.8235</c:v>
                </c:pt>
                <c:pt idx="33">
                  <c:v>1160.3966</c:v>
                </c:pt>
                <c:pt idx="34">
                  <c:v>1185.7257</c:v>
                </c:pt>
                <c:pt idx="35">
                  <c:v>1255.9853</c:v>
                </c:pt>
                <c:pt idx="36">
                  <c:v>1331.2154</c:v>
                </c:pt>
                <c:pt idx="37">
                  <c:v>1254.1111</c:v>
                </c:pt>
                <c:pt idx="38">
                  <c:v>1330.9867</c:v>
                </c:pt>
                <c:pt idx="39">
                  <c:v>1254.0648</c:v>
                </c:pt>
                <c:pt idx="40">
                  <c:v>1277.0127</c:v>
                </c:pt>
                <c:pt idx="41">
                  <c:v>1333.9579</c:v>
                </c:pt>
                <c:pt idx="42">
                  <c:v>1339.6923</c:v>
                </c:pt>
                <c:pt idx="43">
                  <c:v>1338.4343</c:v>
                </c:pt>
                <c:pt idx="44">
                  <c:v>1231.9225</c:v>
                </c:pt>
                <c:pt idx="45">
                  <c:v>1155.3789</c:v>
                </c:pt>
                <c:pt idx="46">
                  <c:v>1148.9627</c:v>
                </c:pt>
                <c:pt idx="47">
                  <c:v>1135.2163</c:v>
                </c:pt>
                <c:pt idx="48">
                  <c:v>1126.3519</c:v>
                </c:pt>
                <c:pt idx="49">
                  <c:v>1136.1538</c:v>
                </c:pt>
                <c:pt idx="50">
                  <c:v>1092.5169</c:v>
                </c:pt>
                <c:pt idx="51">
                  <c:v>1065.1211</c:v>
                </c:pt>
                <c:pt idx="52">
                  <c:v>1115.8410878018806</c:v>
                </c:pt>
                <c:pt idx="53">
                  <c:v>1040.662401947731</c:v>
                </c:pt>
                <c:pt idx="54">
                  <c:v>1208.3002361151432</c:v>
                </c:pt>
              </c:numCache>
            </c:numRef>
          </c:xVal>
          <c:yVal>
            <c:numRef>
              <c:f>Sheet1!$B$187:$B$241</c:f>
              <c:numCache>
                <c:formatCode>General</c:formatCode>
                <c:ptCount val="55"/>
                <c:pt idx="0">
                  <c:v>0.2872378882887348</c:v>
                </c:pt>
                <c:pt idx="1">
                  <c:v>0.2816481376654103</c:v>
                </c:pt>
                <c:pt idx="2">
                  <c:v>0.29147685260876766</c:v>
                </c:pt>
                <c:pt idx="3">
                  <c:v>0.2956331648352679</c:v>
                </c:pt>
                <c:pt idx="4">
                  <c:v>0.2822517908923278</c:v>
                </c:pt>
                <c:pt idx="5">
                  <c:v>0.290048917376652</c:v>
                </c:pt>
                <c:pt idx="6">
                  <c:v>0.3200061582152798</c:v>
                </c:pt>
                <c:pt idx="7">
                  <c:v>0.3142222693327664</c:v>
                </c:pt>
                <c:pt idx="8">
                  <c:v>0.2967307846373818</c:v>
                </c:pt>
                <c:pt idx="9">
                  <c:v>0.3131757682811589</c:v>
                </c:pt>
                <c:pt idx="10">
                  <c:v>0.3001838426331125</c:v>
                </c:pt>
                <c:pt idx="11">
                  <c:v>0.33367472202752013</c:v>
                </c:pt>
                <c:pt idx="12">
                  <c:v>0.3301606688792204</c:v>
                </c:pt>
                <c:pt idx="13">
                  <c:v>0.3142529447679864</c:v>
                </c:pt>
                <c:pt idx="14">
                  <c:v>0.31058045069507156</c:v>
                </c:pt>
                <c:pt idx="15">
                  <c:v>0.30694940821640704</c:v>
                </c:pt>
                <c:pt idx="16">
                  <c:v>0.30953861582494707</c:v>
                </c:pt>
                <c:pt idx="17">
                  <c:v>0.31386893686405937</c:v>
                </c:pt>
                <c:pt idx="18">
                  <c:v>0.28764089571188395</c:v>
                </c:pt>
                <c:pt idx="19">
                  <c:v>0.25316729338766314</c:v>
                </c:pt>
                <c:pt idx="20">
                  <c:v>0.25357720592242394</c:v>
                </c:pt>
                <c:pt idx="21">
                  <c:v>0.2853872765276672</c:v>
                </c:pt>
                <c:pt idx="22">
                  <c:v>0.27813347770427194</c:v>
                </c:pt>
                <c:pt idx="23">
                  <c:v>0.27827440475489035</c:v>
                </c:pt>
                <c:pt idx="24">
                  <c:v>0.2869611397851745</c:v>
                </c:pt>
                <c:pt idx="25">
                  <c:v>0.30531118094884746</c:v>
                </c:pt>
                <c:pt idx="26">
                  <c:v>0.2932006195619884</c:v>
                </c:pt>
                <c:pt idx="27">
                  <c:v>0.30566428324716743</c:v>
                </c:pt>
                <c:pt idx="28">
                  <c:v>0.28769640862432505</c:v>
                </c:pt>
                <c:pt idx="29">
                  <c:v>0.29195820166183745</c:v>
                </c:pt>
                <c:pt idx="30">
                  <c:v>0.2954813360781354</c:v>
                </c:pt>
                <c:pt idx="31">
                  <c:v>0.3006631201526988</c:v>
                </c:pt>
                <c:pt idx="32">
                  <c:v>0.29432782672112895</c:v>
                </c:pt>
                <c:pt idx="33">
                  <c:v>0.2994390531097702</c:v>
                </c:pt>
                <c:pt idx="34">
                  <c:v>0.2941390451545842</c:v>
                </c:pt>
                <c:pt idx="35">
                  <c:v>0.2794375184944112</c:v>
                </c:pt>
                <c:pt idx="36">
                  <c:v>0.2636959355534681</c:v>
                </c:pt>
                <c:pt idx="37">
                  <c:v>0.2798296869847882</c:v>
                </c:pt>
                <c:pt idx="38">
                  <c:v>0.2637437900693945</c:v>
                </c:pt>
                <c:pt idx="39">
                  <c:v>0.27983937506562506</c:v>
                </c:pt>
                <c:pt idx="40">
                  <c:v>0.2750376232246669</c:v>
                </c:pt>
                <c:pt idx="41">
                  <c:v>0.2631220789293836</c:v>
                </c:pt>
                <c:pt idx="42">
                  <c:v>0.26192217977709564</c:v>
                </c:pt>
                <c:pt idx="43">
                  <c:v>0.26218541100156173</c:v>
                </c:pt>
                <c:pt idx="44">
                  <c:v>0.2844725584849379</c:v>
                </c:pt>
                <c:pt idx="45">
                  <c:v>0.30048898579260286</c:v>
                </c:pt>
                <c:pt idx="46">
                  <c:v>0.3018315487357025</c:v>
                </c:pt>
                <c:pt idx="47">
                  <c:v>0.3047079252889622</c:v>
                </c:pt>
                <c:pt idx="48">
                  <c:v>0.3065627638153192</c:v>
                </c:pt>
                <c:pt idx="49">
                  <c:v>0.30451175734545105</c:v>
                </c:pt>
                <c:pt idx="50">
                  <c:v>0.31364259567526365</c:v>
                </c:pt>
                <c:pt idx="51">
                  <c:v>0.3193750519385611</c:v>
                </c:pt>
                <c:pt idx="52">
                  <c:v>0.30876210718975805</c:v>
                </c:pt>
                <c:pt idx="53">
                  <c:v>0.3244929319362917</c:v>
                </c:pt>
                <c:pt idx="54">
                  <c:v>0.28941541814079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8.0"/>
          <c:min val="56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656"/>
          <c:min val="0.179372197309417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836075531630408</c:v>
                </c:pt>
                <c:pt idx="1">
                  <c:v>2.527461893342282</c:v>
                </c:pt>
                <c:pt idx="2">
                  <c:v>2.7657384345454097</c:v>
                </c:pt>
                <c:pt idx="3">
                  <c:v>2.7990614436712935</c:v>
                </c:pt>
                <c:pt idx="4">
                  <c:v>2.9275316537445937</c:v>
                </c:pt>
                <c:pt idx="5">
                  <c:v>2.313858405172414</c:v>
                </c:pt>
                <c:pt idx="6">
                  <c:v>1.763094905492348</c:v>
                </c:pt>
                <c:pt idx="7">
                  <c:v>1.8588945867624376</c:v>
                </c:pt>
                <c:pt idx="8">
                  <c:v>1.8593658223099718</c:v>
                </c:pt>
                <c:pt idx="9">
                  <c:v>1.8586108523992713</c:v>
                </c:pt>
                <c:pt idx="10">
                  <c:v>1.8140370970090403</c:v>
                </c:pt>
                <c:pt idx="11">
                  <c:v>1.9206289144722344</c:v>
                </c:pt>
                <c:pt idx="12">
                  <c:v>1.94759209090741</c:v>
                </c:pt>
                <c:pt idx="13">
                  <c:v>1.8757381691135062</c:v>
                </c:pt>
                <c:pt idx="14">
                  <c:v>1.8708374761672573</c:v>
                </c:pt>
                <c:pt idx="15">
                  <c:v>1.9064742557340444</c:v>
                </c:pt>
                <c:pt idx="16">
                  <c:v>1.8624851627366492</c:v>
                </c:pt>
                <c:pt idx="17">
                  <c:v>2.2365717805156735</c:v>
                </c:pt>
                <c:pt idx="18">
                  <c:v>2.5758915872511987</c:v>
                </c:pt>
                <c:pt idx="19">
                  <c:v>2.8719499708379237</c:v>
                </c:pt>
                <c:pt idx="20">
                  <c:v>3.0062869178350295</c:v>
                </c:pt>
                <c:pt idx="21">
                  <c:v>3.0414323483149825</c:v>
                </c:pt>
                <c:pt idx="22">
                  <c:v>2.8638567897210225</c:v>
                </c:pt>
                <c:pt idx="23">
                  <c:v>2.9622161924358057</c:v>
                </c:pt>
                <c:pt idx="24">
                  <c:v>2.8462311571453625</c:v>
                </c:pt>
                <c:pt idx="25">
                  <c:v>2.837898461286622</c:v>
                </c:pt>
                <c:pt idx="26">
                  <c:v>2.073530443739325</c:v>
                </c:pt>
                <c:pt idx="27">
                  <c:v>1.9359844747390946</c:v>
                </c:pt>
                <c:pt idx="28">
                  <c:v>1.9688238181228876</c:v>
                </c:pt>
                <c:pt idx="29">
                  <c:v>1.8017387783646504</c:v>
                </c:pt>
                <c:pt idx="30">
                  <c:v>1.7663490905508514</c:v>
                </c:pt>
                <c:pt idx="31">
                  <c:v>1.8108377724590516</c:v>
                </c:pt>
                <c:pt idx="32">
                  <c:v>1.7532549762112288</c:v>
                </c:pt>
                <c:pt idx="33">
                  <c:v>1.6997210224367256</c:v>
                </c:pt>
                <c:pt idx="34">
                  <c:v>1.870450373273674</c:v>
                </c:pt>
                <c:pt idx="35">
                  <c:v>1.9937258842690289</c:v>
                </c:pt>
                <c:pt idx="36">
                  <c:v>2.1779997228518466</c:v>
                </c:pt>
                <c:pt idx="37">
                  <c:v>2.1054236361202503</c:v>
                </c:pt>
                <c:pt idx="38">
                  <c:v>2.2940596238083364</c:v>
                </c:pt>
                <c:pt idx="39">
                  <c:v>2.231610397635173</c:v>
                </c:pt>
                <c:pt idx="40">
                  <c:v>2.3701220846412414</c:v>
                </c:pt>
                <c:pt idx="41">
                  <c:v>2.4731163264310045</c:v>
                </c:pt>
                <c:pt idx="42">
                  <c:v>2.458208761458208</c:v>
                </c:pt>
                <c:pt idx="43">
                  <c:v>2.441776160381307</c:v>
                </c:pt>
                <c:pt idx="44">
                  <c:v>2.1456450469065946</c:v>
                </c:pt>
                <c:pt idx="45">
                  <c:v>2.0461875014601096</c:v>
                </c:pt>
                <c:pt idx="46">
                  <c:v>2.104649935667159</c:v>
                </c:pt>
                <c:pt idx="47">
                  <c:v>2.0412029175922517</c:v>
                </c:pt>
                <c:pt idx="48">
                  <c:v>2.0795690256592905</c:v>
                </c:pt>
                <c:pt idx="49">
                  <c:v>2.005301018584465</c:v>
                </c:pt>
                <c:pt idx="50">
                  <c:v>1.952703876475008</c:v>
                </c:pt>
                <c:pt idx="51">
                  <c:v>1.9879064726298032</c:v>
                </c:pt>
                <c:pt idx="52">
                  <c:v>2.085408252511225</c:v>
                </c:pt>
                <c:pt idx="53">
                  <c:v>2.1474560020526186</c:v>
                </c:pt>
                <c:pt idx="54">
                  <c:v>2.2560201342204005</c:v>
                </c:pt>
                <c:pt idx="55">
                  <c:v>2.3459719957755185</c:v>
                </c:pt>
                <c:pt idx="56">
                  <c:v>2.3111504650024477</c:v>
                </c:pt>
                <c:pt idx="57">
                  <c:v>2.296164909105218</c:v>
                </c:pt>
                <c:pt idx="58">
                  <c:v>2.189793689601973</c:v>
                </c:pt>
                <c:pt idx="59">
                  <c:v>2.2269412315493575</c:v>
                </c:pt>
                <c:pt idx="60">
                  <c:v>2.2653653256141175</c:v>
                </c:pt>
                <c:pt idx="61">
                  <c:v>2.26935462103641</c:v>
                </c:pt>
                <c:pt idx="62">
                  <c:v>2.1775697920169272</c:v>
                </c:pt>
                <c:pt idx="63">
                  <c:v>2.2016216338831587</c:v>
                </c:pt>
                <c:pt idx="64">
                  <c:v>2.2122322881695546</c:v>
                </c:pt>
                <c:pt idx="65">
                  <c:v>2.166142523179333</c:v>
                </c:pt>
                <c:pt idx="66">
                  <c:v>2.173790375830345</c:v>
                </c:pt>
                <c:pt idx="67">
                  <c:v>2.1971585647837735</c:v>
                </c:pt>
                <c:pt idx="68">
                  <c:v>2.2309076752204606</c:v>
                </c:pt>
                <c:pt idx="69">
                  <c:v>2.1200561631065207</c:v>
                </c:pt>
                <c:pt idx="70">
                  <c:v>1.9944009347787202</c:v>
                </c:pt>
                <c:pt idx="71">
                  <c:v>2.3145645313492085</c:v>
                </c:pt>
                <c:pt idx="72">
                  <c:v>2.282411750861616</c:v>
                </c:pt>
                <c:pt idx="73">
                  <c:v>2.2454617125689005</c:v>
                </c:pt>
                <c:pt idx="74">
                  <c:v>2.3895132103321033</c:v>
                </c:pt>
                <c:pt idx="75">
                  <c:v>2.209080113055613</c:v>
                </c:pt>
                <c:pt idx="76">
                  <c:v>2.557957046979866</c:v>
                </c:pt>
                <c:pt idx="77">
                  <c:v>2.6029222174473574</c:v>
                </c:pt>
                <c:pt idx="78">
                  <c:v>2.695556623931624</c:v>
                </c:pt>
                <c:pt idx="79">
                  <c:v>2.4117881489753157</c:v>
                </c:pt>
                <c:pt idx="80">
                  <c:v>2.630898961057535</c:v>
                </c:pt>
                <c:pt idx="81">
                  <c:v>2.6697634641123305</c:v>
                </c:pt>
                <c:pt idx="82">
                  <c:v>2.7410116156255677</c:v>
                </c:pt>
                <c:pt idx="83">
                  <c:v>2.709014328657975</c:v>
                </c:pt>
                <c:pt idx="84">
                  <c:v>2.6490030275152336</c:v>
                </c:pt>
                <c:pt idx="85">
                  <c:v>2.6390176380801265</c:v>
                </c:pt>
                <c:pt idx="86">
                  <c:v>2.718344021970198</c:v>
                </c:pt>
                <c:pt idx="87">
                  <c:v>2.7927522350873537</c:v>
                </c:pt>
                <c:pt idx="88">
                  <c:v>2.7330241182881037</c:v>
                </c:pt>
                <c:pt idx="89">
                  <c:v>2.942209492175579</c:v>
                </c:pt>
                <c:pt idx="90">
                  <c:v>2.8675383570026165</c:v>
                </c:pt>
                <c:pt idx="91">
                  <c:v>3.0345623685927645</c:v>
                </c:pt>
                <c:pt idx="92">
                  <c:v>2.3769612187748512</c:v>
                </c:pt>
                <c:pt idx="93">
                  <c:v>2.028251421113895</c:v>
                </c:pt>
                <c:pt idx="94">
                  <c:v>1.9687053561512962</c:v>
                </c:pt>
                <c:pt idx="95">
                  <c:v>1.84056379996177</c:v>
                </c:pt>
                <c:pt idx="96">
                  <c:v>1.7108463312704105</c:v>
                </c:pt>
                <c:pt idx="97">
                  <c:v>1.6623929893793756</c:v>
                </c:pt>
                <c:pt idx="98">
                  <c:v>1.661044937875916</c:v>
                </c:pt>
                <c:pt idx="99">
                  <c:v>1.6049061268063858</c:v>
                </c:pt>
                <c:pt idx="100">
                  <c:v>1.5692975822769133</c:v>
                </c:pt>
                <c:pt idx="101">
                  <c:v>1.570353249408551</c:v>
                </c:pt>
                <c:pt idx="102">
                  <c:v>1.6155217602662622</c:v>
                </c:pt>
                <c:pt idx="103">
                  <c:v>1.6324445937336312</c:v>
                </c:pt>
                <c:pt idx="104">
                  <c:v>1.757980660095857</c:v>
                </c:pt>
              </c:numCache>
            </c:numRef>
          </c:xVal>
          <c:yVal>
            <c:numRef>
              <c:f>Sheet1!$B$2:$B$106</c:f>
              <c:numCache>
                <c:formatCode>General</c:formatCode>
                <c:ptCount val="105"/>
                <c:pt idx="0">
                  <c:v>0.47</c:v>
                </c:pt>
                <c:pt idx="1">
                  <c:v>0.45540796963946867</c:v>
                </c:pt>
                <c:pt idx="2">
                  <c:v>0.36192109777015435</c:v>
                </c:pt>
                <c:pt idx="3">
                  <c:v>0.3547794117647059</c:v>
                </c:pt>
                <c:pt idx="4">
                  <c:v>0.3086680761099366</c:v>
                </c:pt>
                <c:pt idx="5">
                  <c:v>0.30670103092783507</c:v>
                </c:pt>
                <c:pt idx="6">
                  <c:v>0.37115839243498816</c:v>
                </c:pt>
                <c:pt idx="7">
                  <c:v>0.3501577287066246</c:v>
                </c:pt>
                <c:pt idx="8">
                  <c:v>0.36879432624113473</c:v>
                </c:pt>
                <c:pt idx="9">
                  <c:v>0.39285714285714285</c:v>
                </c:pt>
                <c:pt idx="10">
                  <c:v>0.4282511210762332</c:v>
                </c:pt>
                <c:pt idx="11">
                  <c:v>0.44598337950138506</c:v>
                </c:pt>
                <c:pt idx="12">
                  <c:v>0.5409090909090909</c:v>
                </c:pt>
                <c:pt idx="13">
                  <c:v>0.5572687224669604</c:v>
                </c:pt>
                <c:pt idx="14">
                  <c:v>0.5958429561200924</c:v>
                </c:pt>
                <c:pt idx="15">
                  <c:v>0.556930693069307</c:v>
                </c:pt>
                <c:pt idx="16">
                  <c:v>0.5239520958083832</c:v>
                </c:pt>
                <c:pt idx="17">
                  <c:v>0.4423791821561338</c:v>
                </c:pt>
                <c:pt idx="18">
                  <c:v>0.40444444444444444</c:v>
                </c:pt>
                <c:pt idx="19">
                  <c:v>0.3076923076923077</c:v>
                </c:pt>
                <c:pt idx="20">
                  <c:v>0.34965034965034963</c:v>
                </c:pt>
                <c:pt idx="21">
                  <c:v>0.33624454148471616</c:v>
                </c:pt>
                <c:pt idx="22">
                  <c:v>0.32793522267206476</c:v>
                </c:pt>
                <c:pt idx="23">
                  <c:v>0.371900826446281</c:v>
                </c:pt>
                <c:pt idx="24">
                  <c:v>0.3706293706293706</c:v>
                </c:pt>
                <c:pt idx="25">
                  <c:v>0.36220472440944884</c:v>
                </c:pt>
                <c:pt idx="26">
                  <c:v>0.44150943396226416</c:v>
                </c:pt>
                <c:pt idx="27">
                  <c:v>0.4840989399293286</c:v>
                </c:pt>
                <c:pt idx="28">
                  <c:v>0.4070175438596491</c:v>
                </c:pt>
                <c:pt idx="29">
                  <c:v>0.4449760765550239</c:v>
                </c:pt>
                <c:pt idx="30">
                  <c:v>0.3978494623655914</c:v>
                </c:pt>
                <c:pt idx="31">
                  <c:v>0.45084745762711864</c:v>
                </c:pt>
                <c:pt idx="32">
                  <c:v>0.45045045045045046</c:v>
                </c:pt>
                <c:pt idx="33">
                  <c:v>0.4665314401622718</c:v>
                </c:pt>
                <c:pt idx="34">
                  <c:v>0.46677471636953</c:v>
                </c:pt>
                <c:pt idx="35">
                  <c:v>0.47130434782608693</c:v>
                </c:pt>
                <c:pt idx="36">
                  <c:v>0.4244791666666667</c:v>
                </c:pt>
                <c:pt idx="37">
                  <c:v>0.3902439024390244</c:v>
                </c:pt>
                <c:pt idx="38">
                  <c:v>0.47580645161290325</c:v>
                </c:pt>
                <c:pt idx="39">
                  <c:v>0.5228215767634855</c:v>
                </c:pt>
                <c:pt idx="40">
                  <c:v>0.41620111731843573</c:v>
                </c:pt>
                <c:pt idx="41">
                  <c:v>0.3533834586466165</c:v>
                </c:pt>
                <c:pt idx="42">
                  <c:v>0.3865546218487395</c:v>
                </c:pt>
                <c:pt idx="43">
                  <c:v>0.40358744394618834</c:v>
                </c:pt>
                <c:pt idx="44">
                  <c:v>0.4225352112676056</c:v>
                </c:pt>
                <c:pt idx="45">
                  <c:v>0.4576719576719577</c:v>
                </c:pt>
                <c:pt idx="46">
                  <c:v>0.48687350835322196</c:v>
                </c:pt>
                <c:pt idx="47">
                  <c:v>0.43765903307888043</c:v>
                </c:pt>
                <c:pt idx="48">
                  <c:v>0.4663023679417122</c:v>
                </c:pt>
                <c:pt idx="49">
                  <c:v>0.5427215189873418</c:v>
                </c:pt>
                <c:pt idx="50">
                  <c:v>0.47150259067357514</c:v>
                </c:pt>
                <c:pt idx="51">
                  <c:v>0.4243027888446215</c:v>
                </c:pt>
                <c:pt idx="52">
                  <c:v>0.47606019151846785</c:v>
                </c:pt>
                <c:pt idx="53">
                  <c:v>0.4594594594594595</c:v>
                </c:pt>
                <c:pt idx="54">
                  <c:v>0.40899795501022496</c:v>
                </c:pt>
                <c:pt idx="55">
                  <c:v>0.3638392857142857</c:v>
                </c:pt>
                <c:pt idx="56">
                  <c:v>0.4023809523809524</c:v>
                </c:pt>
                <c:pt idx="57">
                  <c:v>0.37924151696606784</c:v>
                </c:pt>
                <c:pt idx="58">
                  <c:v>0.43485617597292725</c:v>
                </c:pt>
                <c:pt idx="59">
                  <c:v>0.4620187304890739</c:v>
                </c:pt>
                <c:pt idx="60">
                  <c:v>0.446242774566474</c:v>
                </c:pt>
                <c:pt idx="61">
                  <c:v>0.4175084175084175</c:v>
                </c:pt>
                <c:pt idx="62">
                  <c:v>0.4506578947368421</c:v>
                </c:pt>
                <c:pt idx="63">
                  <c:v>0.4805013927576602</c:v>
                </c:pt>
                <c:pt idx="64">
                  <c:v>0.502770083102493</c:v>
                </c:pt>
                <c:pt idx="65">
                  <c:v>0.47104851330203446</c:v>
                </c:pt>
                <c:pt idx="66">
                  <c:v>0.48465266558966075</c:v>
                </c:pt>
                <c:pt idx="67">
                  <c:v>0.5134649910233393</c:v>
                </c:pt>
                <c:pt idx="68">
                  <c:v>0.5012722646310432</c:v>
                </c:pt>
                <c:pt idx="69">
                  <c:v>0.4645161290322581</c:v>
                </c:pt>
                <c:pt idx="70">
                  <c:v>0.4115755627009646</c:v>
                </c:pt>
                <c:pt idx="71">
                  <c:v>0.4117647058823529</c:v>
                </c:pt>
                <c:pt idx="72">
                  <c:v>0.3936781609195402</c:v>
                </c:pt>
                <c:pt idx="73">
                  <c:v>0.3993808049535604</c:v>
                </c:pt>
                <c:pt idx="74">
                  <c:v>0.38461538461538464</c:v>
                </c:pt>
                <c:pt idx="75">
                  <c:v>0.3911671924290221</c:v>
                </c:pt>
                <c:pt idx="76">
                  <c:v>0.354014598540146</c:v>
                </c:pt>
                <c:pt idx="77">
                  <c:v>0.3804347826086957</c:v>
                </c:pt>
                <c:pt idx="78">
                  <c:v>0.33640552995391704</c:v>
                </c:pt>
                <c:pt idx="79">
                  <c:v>0.3654485049833887</c:v>
                </c:pt>
                <c:pt idx="80">
                  <c:v>0.2988929889298893</c:v>
                </c:pt>
                <c:pt idx="81">
                  <c:v>0.33810888252148996</c:v>
                </c:pt>
                <c:pt idx="82">
                  <c:v>0.3004115226337449</c:v>
                </c:pt>
                <c:pt idx="83">
                  <c:v>0.3018867924528302</c:v>
                </c:pt>
                <c:pt idx="84">
                  <c:v>0.3118811881188119</c:v>
                </c:pt>
                <c:pt idx="85">
                  <c:v>0.3029197080291971</c:v>
                </c:pt>
                <c:pt idx="86">
                  <c:v>0.35978835978835977</c:v>
                </c:pt>
                <c:pt idx="87">
                  <c:v>0.3967136150234742</c:v>
                </c:pt>
                <c:pt idx="88">
                  <c:v>0.3627450980392157</c:v>
                </c:pt>
                <c:pt idx="89">
                  <c:v>0.3231292517006803</c:v>
                </c:pt>
                <c:pt idx="90">
                  <c:v>0.3152542372881356</c:v>
                </c:pt>
                <c:pt idx="91">
                  <c:v>0.3197278911564626</c:v>
                </c:pt>
                <c:pt idx="92">
                  <c:v>0.4092219020172911</c:v>
                </c:pt>
                <c:pt idx="93">
                  <c:v>0.4024767801857585</c:v>
                </c:pt>
                <c:pt idx="94">
                  <c:v>0.4306049822064057</c:v>
                </c:pt>
                <c:pt idx="95">
                  <c:v>0.42018779342723006</c:v>
                </c:pt>
                <c:pt idx="96">
                  <c:v>0.3924812030075188</c:v>
                </c:pt>
                <c:pt idx="97">
                  <c:v>0.3994252873563218</c:v>
                </c:pt>
                <c:pt idx="98">
                  <c:v>0.4396751740139211</c:v>
                </c:pt>
                <c:pt idx="99">
                  <c:v>0.474559686888454</c:v>
                </c:pt>
                <c:pt idx="100">
                  <c:v>0.4789297658862876</c:v>
                </c:pt>
                <c:pt idx="101">
                  <c:v>0.43099273607748184</c:v>
                </c:pt>
                <c:pt idx="102">
                  <c:v>0.42828685258964144</c:v>
                </c:pt>
                <c:pt idx="103">
                  <c:v>0.3908450704225352</c:v>
                </c:pt>
                <c:pt idx="104">
                  <c:v>0.41189427312775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756080588682728</c:v>
                </c:pt>
                <c:pt idx="1">
                  <c:v>1.752946912715976</c:v>
                </c:pt>
                <c:pt idx="2">
                  <c:v>1.7810796510423803</c:v>
                </c:pt>
                <c:pt idx="3">
                  <c:v>1.8388408224625026</c:v>
                </c:pt>
                <c:pt idx="4">
                  <c:v>1.8998202471405612</c:v>
                </c:pt>
                <c:pt idx="5">
                  <c:v>1.8953993044111095</c:v>
                </c:pt>
                <c:pt idx="6">
                  <c:v>1.7852117340076437</c:v>
                </c:pt>
                <c:pt idx="7">
                  <c:v>1.7954428792848132</c:v>
                </c:pt>
                <c:pt idx="8">
                  <c:v>1.9187275841621891</c:v>
                </c:pt>
                <c:pt idx="9">
                  <c:v>1.8600146076791417</c:v>
                </c:pt>
                <c:pt idx="10">
                  <c:v>1.9135079405470947</c:v>
                </c:pt>
                <c:pt idx="11">
                  <c:v>1.5911199688523001</c:v>
                </c:pt>
                <c:pt idx="12">
                  <c:v>1.6907574395644533</c:v>
                </c:pt>
                <c:pt idx="13">
                  <c:v>1.7904282684714377</c:v>
                </c:pt>
                <c:pt idx="14">
                  <c:v>1.7791594967217437</c:v>
                </c:pt>
                <c:pt idx="15">
                  <c:v>1.8688786723653306</c:v>
                </c:pt>
                <c:pt idx="16">
                  <c:v>1.8797293083006938</c:v>
                </c:pt>
                <c:pt idx="17">
                  <c:v>1.9805332514019622</c:v>
                </c:pt>
                <c:pt idx="18">
                  <c:v>2.003120486387117</c:v>
                </c:pt>
                <c:pt idx="19">
                  <c:v>2.088810104011887</c:v>
                </c:pt>
                <c:pt idx="20">
                  <c:v>2.2661092502058398</c:v>
                </c:pt>
                <c:pt idx="21">
                  <c:v>2.0164019221366867</c:v>
                </c:pt>
                <c:pt idx="22">
                  <c:v>1.5754995630184812</c:v>
                </c:pt>
                <c:pt idx="23">
                  <c:v>1.769463223447763</c:v>
                </c:pt>
                <c:pt idx="24">
                  <c:v>1.8039620117018713</c:v>
                </c:pt>
                <c:pt idx="25">
                  <c:v>1.724284517703474</c:v>
                </c:pt>
                <c:pt idx="26">
                  <c:v>1.9378774335068687</c:v>
                </c:pt>
                <c:pt idx="27">
                  <c:v>1.948366270611057</c:v>
                </c:pt>
                <c:pt idx="28">
                  <c:v>1.7563258340128123</c:v>
                </c:pt>
                <c:pt idx="29">
                  <c:v>1.7785281513871476</c:v>
                </c:pt>
                <c:pt idx="30">
                  <c:v>1.9676076314072097</c:v>
                </c:pt>
                <c:pt idx="31">
                  <c:v>1.5834875848333152</c:v>
                </c:pt>
                <c:pt idx="32">
                  <c:v>1.7687391152090297</c:v>
                </c:pt>
                <c:pt idx="33">
                  <c:v>1.7384755465801138</c:v>
                </c:pt>
                <c:pt idx="34">
                  <c:v>1.8434808205623854</c:v>
                </c:pt>
                <c:pt idx="35">
                  <c:v>1.9265201213209038</c:v>
                </c:pt>
                <c:pt idx="36">
                  <c:v>1.8814729328622568</c:v>
                </c:pt>
                <c:pt idx="37">
                  <c:v>1.9736824049987147</c:v>
                </c:pt>
                <c:pt idx="38">
                  <c:v>1.877830261536304</c:v>
                </c:pt>
                <c:pt idx="39">
                  <c:v>1.9568173971111056</c:v>
                </c:pt>
                <c:pt idx="40">
                  <c:v>2.019472750024064</c:v>
                </c:pt>
                <c:pt idx="41">
                  <c:v>2.0748922753804595</c:v>
                </c:pt>
                <c:pt idx="42">
                  <c:v>2.102904379426432</c:v>
                </c:pt>
                <c:pt idx="43">
                  <c:v>2.1311564964123697</c:v>
                </c:pt>
                <c:pt idx="44">
                  <c:v>1.895787574610951</c:v>
                </c:pt>
                <c:pt idx="45">
                  <c:v>1.8324493206091477</c:v>
                </c:pt>
                <c:pt idx="46">
                  <c:v>1.8407021290299048</c:v>
                </c:pt>
                <c:pt idx="47">
                  <c:v>1.777198601635967</c:v>
                </c:pt>
                <c:pt idx="48">
                  <c:v>1.7531214669247728</c:v>
                </c:pt>
                <c:pt idx="49">
                  <c:v>1.7913159090506015</c:v>
                </c:pt>
                <c:pt idx="50">
                  <c:v>1.5835503080863513</c:v>
                </c:pt>
                <c:pt idx="51">
                  <c:v>1.5883764368751025</c:v>
                </c:pt>
              </c:numCache>
            </c:numRef>
          </c:xVal>
          <c:yVal>
            <c:numRef>
              <c:f>Sheet1!$B$109:$B$160</c:f>
              <c:numCache>
                <c:formatCode>General</c:formatCode>
                <c:ptCount val="52"/>
                <c:pt idx="0">
                  <c:v>0.4174757281553398</c:v>
                </c:pt>
                <c:pt idx="1">
                  <c:v>0.42386831275720166</c:v>
                </c:pt>
                <c:pt idx="2">
                  <c:v>0.41622574955908287</c:v>
                </c:pt>
                <c:pt idx="3">
                  <c:v>0.3978494623655914</c:v>
                </c:pt>
                <c:pt idx="4">
                  <c:v>0.3794466403162055</c:v>
                </c:pt>
                <c:pt idx="5">
                  <c:v>0.40350877192982454</c:v>
                </c:pt>
                <c:pt idx="6">
                  <c:v>0.40765391014975044</c:v>
                </c:pt>
                <c:pt idx="7">
                  <c:v>0.46236559139784944</c:v>
                </c:pt>
                <c:pt idx="8">
                  <c:v>0.3981191222570533</c:v>
                </c:pt>
                <c:pt idx="9">
                  <c:v>0.40782122905027934</c:v>
                </c:pt>
                <c:pt idx="10">
                  <c:v>0.4425770308123249</c:v>
                </c:pt>
                <c:pt idx="11">
                  <c:v>0.4874446085672083</c:v>
                </c:pt>
                <c:pt idx="12">
                  <c:v>0.4608843537414966</c:v>
                </c:pt>
                <c:pt idx="13">
                  <c:v>0.4621212121212121</c:v>
                </c:pt>
                <c:pt idx="14">
                  <c:v>0.47689075630252103</c:v>
                </c:pt>
                <c:pt idx="15">
                  <c:v>0.45905707196029777</c:v>
                </c:pt>
                <c:pt idx="16">
                  <c:v>0.4111111111111111</c:v>
                </c:pt>
                <c:pt idx="17">
                  <c:v>0.37003058103975534</c:v>
                </c:pt>
                <c:pt idx="18">
                  <c:v>0.3984375</c:v>
                </c:pt>
                <c:pt idx="19">
                  <c:v>0.391304347826087</c:v>
                </c:pt>
                <c:pt idx="20">
                  <c:v>0.308</c:v>
                </c:pt>
                <c:pt idx="21">
                  <c:v>0.2875</c:v>
                </c:pt>
                <c:pt idx="22">
                  <c:v>0.3697916666666667</c:v>
                </c:pt>
                <c:pt idx="23">
                  <c:v>0.3316831683168317</c:v>
                </c:pt>
                <c:pt idx="24">
                  <c:v>0.3288888888888889</c:v>
                </c:pt>
                <c:pt idx="25">
                  <c:v>0.3803418803418803</c:v>
                </c:pt>
                <c:pt idx="26">
                  <c:v>0.32916666666666666</c:v>
                </c:pt>
                <c:pt idx="27">
                  <c:v>0.33003300330033003</c:v>
                </c:pt>
                <c:pt idx="28">
                  <c:v>0.41304347826086957</c:v>
                </c:pt>
                <c:pt idx="29">
                  <c:v>0.40942028985507245</c:v>
                </c:pt>
                <c:pt idx="30">
                  <c:v>0.4485294117647059</c:v>
                </c:pt>
                <c:pt idx="31">
                  <c:v>0.46360153256704983</c:v>
                </c:pt>
                <c:pt idx="32">
                  <c:v>0.47335423197492166</c:v>
                </c:pt>
                <c:pt idx="33">
                  <c:v>0.5057736720554272</c:v>
                </c:pt>
                <c:pt idx="34">
                  <c:v>0.5428571428571428</c:v>
                </c:pt>
                <c:pt idx="35">
                  <c:v>0.5372233400402414</c:v>
                </c:pt>
                <c:pt idx="36">
                  <c:v>0.44206008583690987</c:v>
                </c:pt>
                <c:pt idx="37">
                  <c:v>0.3798449612403101</c:v>
                </c:pt>
                <c:pt idx="38">
                  <c:v>0.40344827586206894</c:v>
                </c:pt>
                <c:pt idx="39">
                  <c:v>0.4263157894736842</c:v>
                </c:pt>
                <c:pt idx="40">
                  <c:v>0.3901639344262295</c:v>
                </c:pt>
                <c:pt idx="41">
                  <c:v>0.3778409090909091</c:v>
                </c:pt>
                <c:pt idx="42">
                  <c:v>0.38461538461538464</c:v>
                </c:pt>
                <c:pt idx="43">
                  <c:v>0.4058679706601467</c:v>
                </c:pt>
                <c:pt idx="44">
                  <c:v>0.41201716738197425</c:v>
                </c:pt>
                <c:pt idx="45">
                  <c:v>0.4479578392621871</c:v>
                </c:pt>
                <c:pt idx="46">
                  <c:v>0.4522417153996101</c:v>
                </c:pt>
                <c:pt idx="47">
                  <c:v>0.43333333333333335</c:v>
                </c:pt>
                <c:pt idx="48">
                  <c:v>0.4255639097744361</c:v>
                </c:pt>
                <c:pt idx="49">
                  <c:v>0.45403899721448465</c:v>
                </c:pt>
                <c:pt idx="50">
                  <c:v>0.4921030756442228</c:v>
                </c:pt>
                <c:pt idx="51">
                  <c:v>0.463703703703703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11313170722489</c:v>
                </c:pt>
              </c:numCache>
            </c:numRef>
          </c:xVal>
          <c:yVal>
            <c:numRef>
              <c:f>Sheet1!$B$163:$B$164</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11313170722489</c:v>
                </c:pt>
                <c:pt idx="1">
                  <c:v>1.611313170722489</c:v>
                </c:pt>
              </c:numCache>
            </c:numRef>
          </c:xVal>
          <c:yVal>
            <c:numRef>
              <c:f>Sheet1!$B$167:$B$168</c:f>
              <c:numCache>
                <c:formatCode>General</c:formatCode>
                <c:ptCount val="2"/>
                <c:pt idx="0">
                  <c:v>0.45885242158421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11313170722489</c:v>
                </c:pt>
              </c:numCache>
            </c:numRef>
          </c:xVal>
          <c:yVal>
            <c:numRef>
              <c:f>Sheet1!$B$171:$B$172</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11313170722489</c:v>
                </c:pt>
                <c:pt idx="1">
                  <c:v>1.611313170722489</c:v>
                </c:pt>
              </c:numCache>
            </c:numRef>
          </c:xVal>
          <c:yVal>
            <c:numRef>
              <c:f>Sheet1!$B$175:$B$176</c:f>
              <c:numCache>
                <c:formatCode>General</c:formatCode>
                <c:ptCount val="2"/>
                <c:pt idx="0">
                  <c:v>0.45885242158421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923327094434232</c:v>
                </c:pt>
              </c:numCache>
            </c:numRef>
          </c:xVal>
          <c:yVal>
            <c:numRef>
              <c:f>Sheet1!$B$179:$B$18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923327094434232</c:v>
                </c:pt>
                <c:pt idx="1">
                  <c:v>1.7923327094434232</c:v>
                </c:pt>
              </c:numCache>
            </c:numRef>
          </c:xVal>
          <c:yVal>
            <c:numRef>
              <c:f>Sheet1!$B$183:$B$184</c:f>
              <c:numCache>
                <c:formatCode>General</c:formatCode>
                <c:ptCount val="2"/>
                <c:pt idx="0">
                  <c:v>0.4281356715369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756080588682728</c:v>
                </c:pt>
                <c:pt idx="1">
                  <c:v>1.752946912715976</c:v>
                </c:pt>
                <c:pt idx="2">
                  <c:v>1.7810796510423803</c:v>
                </c:pt>
                <c:pt idx="3">
                  <c:v>1.8388408224625026</c:v>
                </c:pt>
                <c:pt idx="4">
                  <c:v>1.8998202471405612</c:v>
                </c:pt>
                <c:pt idx="5">
                  <c:v>1.8953993044111095</c:v>
                </c:pt>
                <c:pt idx="6">
                  <c:v>1.7852117340076437</c:v>
                </c:pt>
                <c:pt idx="7">
                  <c:v>1.7954428792848132</c:v>
                </c:pt>
                <c:pt idx="8">
                  <c:v>1.9187275841621891</c:v>
                </c:pt>
                <c:pt idx="9">
                  <c:v>1.8600146076791417</c:v>
                </c:pt>
                <c:pt idx="10">
                  <c:v>1.9135079405470947</c:v>
                </c:pt>
                <c:pt idx="11">
                  <c:v>1.5911199688523001</c:v>
                </c:pt>
                <c:pt idx="12">
                  <c:v>1.6907574395644533</c:v>
                </c:pt>
                <c:pt idx="13">
                  <c:v>1.7904282684714377</c:v>
                </c:pt>
                <c:pt idx="14">
                  <c:v>1.7791594967217437</c:v>
                </c:pt>
                <c:pt idx="15">
                  <c:v>1.8688786723653306</c:v>
                </c:pt>
                <c:pt idx="16">
                  <c:v>1.8797293083006938</c:v>
                </c:pt>
                <c:pt idx="17">
                  <c:v>1.9805332514019622</c:v>
                </c:pt>
                <c:pt idx="18">
                  <c:v>2.003120486387117</c:v>
                </c:pt>
                <c:pt idx="19">
                  <c:v>2.088810104011887</c:v>
                </c:pt>
                <c:pt idx="20">
                  <c:v>2.2661092502058398</c:v>
                </c:pt>
                <c:pt idx="21">
                  <c:v>2.0164019221366867</c:v>
                </c:pt>
                <c:pt idx="22">
                  <c:v>1.5754995630184812</c:v>
                </c:pt>
                <c:pt idx="23">
                  <c:v>1.769463223447763</c:v>
                </c:pt>
                <c:pt idx="24">
                  <c:v>1.8039620117018713</c:v>
                </c:pt>
                <c:pt idx="25">
                  <c:v>1.724284517703474</c:v>
                </c:pt>
                <c:pt idx="26">
                  <c:v>1.9378774335068687</c:v>
                </c:pt>
                <c:pt idx="27">
                  <c:v>1.948366270611057</c:v>
                </c:pt>
                <c:pt idx="28">
                  <c:v>1.7563258340128123</c:v>
                </c:pt>
                <c:pt idx="29">
                  <c:v>1.7785281513871476</c:v>
                </c:pt>
                <c:pt idx="30">
                  <c:v>1.9676076314072097</c:v>
                </c:pt>
                <c:pt idx="31">
                  <c:v>1.5834875848333152</c:v>
                </c:pt>
                <c:pt idx="32">
                  <c:v>1.7687391152090297</c:v>
                </c:pt>
                <c:pt idx="33">
                  <c:v>1.7384755465801138</c:v>
                </c:pt>
                <c:pt idx="34">
                  <c:v>1.8434808205623854</c:v>
                </c:pt>
                <c:pt idx="35">
                  <c:v>1.9265201213209038</c:v>
                </c:pt>
                <c:pt idx="36">
                  <c:v>1.8814729328622568</c:v>
                </c:pt>
                <c:pt idx="37">
                  <c:v>1.9736824049987147</c:v>
                </c:pt>
                <c:pt idx="38">
                  <c:v>1.877830261536304</c:v>
                </c:pt>
                <c:pt idx="39">
                  <c:v>1.9568173971111056</c:v>
                </c:pt>
                <c:pt idx="40">
                  <c:v>2.019472750024064</c:v>
                </c:pt>
                <c:pt idx="41">
                  <c:v>2.0748922753804595</c:v>
                </c:pt>
                <c:pt idx="42">
                  <c:v>2.102904379426432</c:v>
                </c:pt>
                <c:pt idx="43">
                  <c:v>2.1311564964123697</c:v>
                </c:pt>
                <c:pt idx="44">
                  <c:v>1.895787574610951</c:v>
                </c:pt>
                <c:pt idx="45">
                  <c:v>1.8324493206091477</c:v>
                </c:pt>
                <c:pt idx="46">
                  <c:v>1.8407021290299048</c:v>
                </c:pt>
                <c:pt idx="47">
                  <c:v>1.777198601635967</c:v>
                </c:pt>
                <c:pt idx="48">
                  <c:v>1.7531214669247728</c:v>
                </c:pt>
                <c:pt idx="49">
                  <c:v>1.7913159090506015</c:v>
                </c:pt>
                <c:pt idx="50">
                  <c:v>1.5835503080863513</c:v>
                </c:pt>
                <c:pt idx="51">
                  <c:v>1.5883764368751025</c:v>
                </c:pt>
                <c:pt idx="52">
                  <c:v>1.611313170722489</c:v>
                </c:pt>
                <c:pt idx="53">
                  <c:v>1.611313170722489</c:v>
                </c:pt>
                <c:pt idx="54">
                  <c:v>1.7923327094434232</c:v>
                </c:pt>
              </c:numCache>
            </c:numRef>
          </c:xVal>
          <c:yVal>
            <c:numRef>
              <c:f>Sheet1!$B$187:$B$241</c:f>
              <c:numCache>
                <c:formatCode>General</c:formatCode>
                <c:ptCount val="55"/>
                <c:pt idx="0">
                  <c:v>0.430973635410762</c:v>
                </c:pt>
                <c:pt idx="1">
                  <c:v>0.43481894828175405</c:v>
                </c:pt>
                <c:pt idx="2">
                  <c:v>0.43004517470226505</c:v>
                </c:pt>
                <c:pt idx="3">
                  <c:v>0.4202438268616634</c:v>
                </c:pt>
                <c:pt idx="4">
                  <c:v>0.40989638172343673</c:v>
                </c:pt>
                <c:pt idx="5">
                  <c:v>0.4106465603712964</c:v>
                </c:pt>
                <c:pt idx="6">
                  <c:v>0.4293440119409665</c:v>
                </c:pt>
                <c:pt idx="7">
                  <c:v>0.4276079146423177</c:v>
                </c:pt>
                <c:pt idx="8">
                  <c:v>0.4066880432785571</c:v>
                </c:pt>
                <c:pt idx="9">
                  <c:v>0.4166509005253708</c:v>
                </c:pt>
                <c:pt idx="10">
                  <c:v>0.40757375147002384</c:v>
                </c:pt>
                <c:pt idx="11">
                  <c:v>0.4622789551997724</c:v>
                </c:pt>
                <c:pt idx="12">
                  <c:v>0.4453717235007394</c:v>
                </c:pt>
                <c:pt idx="13">
                  <c:v>0.4284588313335608</c:v>
                </c:pt>
                <c:pt idx="14">
                  <c:v>0.4303710008574742</c:v>
                </c:pt>
                <c:pt idx="15">
                  <c:v>0.4151467796923805</c:v>
                </c:pt>
                <c:pt idx="16">
                  <c:v>0.41330556258269463</c:v>
                </c:pt>
                <c:pt idx="17">
                  <c:v>0.3962003951190107</c:v>
                </c:pt>
                <c:pt idx="18">
                  <c:v>0.39236762404799697</c:v>
                </c:pt>
                <c:pt idx="19">
                  <c:v>0.37782716844401076</c:v>
                </c:pt>
                <c:pt idx="20">
                  <c:v>0.3477417224434606</c:v>
                </c:pt>
                <c:pt idx="21">
                  <c:v>0.3901139306341756</c:v>
                </c:pt>
                <c:pt idx="22">
                  <c:v>0.4649295425619132</c:v>
                </c:pt>
                <c:pt idx="23">
                  <c:v>0.43201633707173775</c:v>
                </c:pt>
                <c:pt idx="24">
                  <c:v>0.42616232449816344</c:v>
                </c:pt>
                <c:pt idx="25">
                  <c:v>0.43968259797159376</c:v>
                </c:pt>
                <c:pt idx="26">
                  <c:v>0.40343855352778424</c:v>
                </c:pt>
                <c:pt idx="27">
                  <c:v>0.40165872915140843</c:v>
                </c:pt>
                <c:pt idx="28">
                  <c:v>0.43424558762887827</c:v>
                </c:pt>
                <c:pt idx="29">
                  <c:v>0.4304781322587214</c:v>
                </c:pt>
                <c:pt idx="30">
                  <c:v>0.3983937110526946</c:v>
                </c:pt>
                <c:pt idx="31">
                  <c:v>0.4635740752394789</c:v>
                </c:pt>
                <c:pt idx="32">
                  <c:v>0.43213920917677956</c:v>
                </c:pt>
                <c:pt idx="33">
                  <c:v>0.4372745579887427</c:v>
                </c:pt>
                <c:pt idx="34">
                  <c:v>0.41945647725917873</c:v>
                </c:pt>
                <c:pt idx="35">
                  <c:v>0.40536574725554453</c:v>
                </c:pt>
                <c:pt idx="36">
                  <c:v>0.41300969131812154</c:v>
                </c:pt>
                <c:pt idx="37">
                  <c:v>0.3973628980071943</c:v>
                </c:pt>
                <c:pt idx="38">
                  <c:v>0.4136278070497947</c:v>
                </c:pt>
                <c:pt idx="39">
                  <c:v>0.4002246787601962</c:v>
                </c:pt>
                <c:pt idx="40">
                  <c:v>0.3895928495767315</c:v>
                </c:pt>
                <c:pt idx="41">
                  <c:v>0.3801888497646736</c:v>
                </c:pt>
                <c:pt idx="42">
                  <c:v>0.37543554631269316</c:v>
                </c:pt>
                <c:pt idx="43">
                  <c:v>0.3706415156688465</c:v>
                </c:pt>
                <c:pt idx="44">
                  <c:v>0.4105806757780442</c:v>
                </c:pt>
                <c:pt idx="45">
                  <c:v>0.4213283847289708</c:v>
                </c:pt>
                <c:pt idx="46">
                  <c:v>0.4199279864336289</c:v>
                </c:pt>
                <c:pt idx="47">
                  <c:v>0.4307037402106087</c:v>
                </c:pt>
                <c:pt idx="48">
                  <c:v>0.43478932861727365</c:v>
                </c:pt>
                <c:pt idx="49">
                  <c:v>0.4283082098371486</c:v>
                </c:pt>
                <c:pt idx="50">
                  <c:v>0.46356343188849436</c:v>
                </c:pt>
                <c:pt idx="51">
                  <c:v>0.4627444982377545</c:v>
                </c:pt>
                <c:pt idx="52">
                  <c:v>0.4588524215842118</c:v>
                </c:pt>
                <c:pt idx="53">
                  <c:v>0.4588524215842118</c:v>
                </c:pt>
                <c:pt idx="54">
                  <c:v>0.4281356715369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299999999999999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4.1897</c:v>
                </c:pt>
                <c:pt idx="1">
                  <c:v>862.6841</c:v>
                </c:pt>
                <c:pt idx="2">
                  <c:v>908.5945</c:v>
                </c:pt>
                <c:pt idx="3">
                  <c:v>929.8643</c:v>
                </c:pt>
                <c:pt idx="4">
                  <c:v>935.2972</c:v>
                </c:pt>
                <c:pt idx="5">
                  <c:v>918.9528</c:v>
                </c:pt>
                <c:pt idx="6">
                  <c:v>869.5464</c:v>
                </c:pt>
                <c:pt idx="7">
                  <c:v>889.3465</c:v>
                </c:pt>
                <c:pt idx="8">
                  <c:v>903.8253</c:v>
                </c:pt>
                <c:pt idx="9">
                  <c:v>851.0796</c:v>
                </c:pt>
                <c:pt idx="10">
                  <c:v>838.9882</c:v>
                </c:pt>
                <c:pt idx="11">
                  <c:v>899.8897</c:v>
                </c:pt>
                <c:pt idx="12">
                  <c:v>903.2023</c:v>
                </c:pt>
                <c:pt idx="13">
                  <c:v>899.5179</c:v>
                </c:pt>
                <c:pt idx="14">
                  <c:v>880.5083</c:v>
                </c:pt>
                <c:pt idx="15">
                  <c:v>863.5275</c:v>
                </c:pt>
                <c:pt idx="16">
                  <c:v>888.791</c:v>
                </c:pt>
                <c:pt idx="17">
                  <c:v>877.384</c:v>
                </c:pt>
                <c:pt idx="18">
                  <c:v>924.9868</c:v>
                </c:pt>
                <c:pt idx="19">
                  <c:v>983.9375</c:v>
                </c:pt>
                <c:pt idx="20">
                  <c:v>1004.7963</c:v>
                </c:pt>
                <c:pt idx="21">
                  <c:v>1019.3835</c:v>
                </c:pt>
                <c:pt idx="22">
                  <c:v>997.8917</c:v>
                </c:pt>
                <c:pt idx="23">
                  <c:v>998.125</c:v>
                </c:pt>
                <c:pt idx="24">
                  <c:v>1002.9516</c:v>
                </c:pt>
                <c:pt idx="25">
                  <c:v>969.6684</c:v>
                </c:pt>
                <c:pt idx="26">
                  <c:v>963.9518</c:v>
                </c:pt>
                <c:pt idx="27">
                  <c:v>1007.8123</c:v>
                </c:pt>
                <c:pt idx="28">
                  <c:v>996.835</c:v>
                </c:pt>
                <c:pt idx="29">
                  <c:v>959.6089</c:v>
                </c:pt>
                <c:pt idx="30">
                  <c:v>951.4637</c:v>
                </c:pt>
                <c:pt idx="31">
                  <c:v>950.1688</c:v>
                </c:pt>
                <c:pt idx="32">
                  <c:v>927.5408</c:v>
                </c:pt>
                <c:pt idx="33">
                  <c:v>870.2481</c:v>
                </c:pt>
                <c:pt idx="34">
                  <c:v>893.5924</c:v>
                </c:pt>
                <c:pt idx="35">
                  <c:v>946.6865</c:v>
                </c:pt>
                <c:pt idx="36">
                  <c:v>1027.7832</c:v>
                </c:pt>
                <c:pt idx="37">
                  <c:v>1040.0911</c:v>
                </c:pt>
                <c:pt idx="38">
                  <c:v>1073.8441</c:v>
                </c:pt>
                <c:pt idx="39">
                  <c:v>1105.1226</c:v>
                </c:pt>
                <c:pt idx="40">
                  <c:v>1079.065</c:v>
                </c:pt>
                <c:pt idx="41">
                  <c:v>1102.2058</c:v>
                </c:pt>
                <c:pt idx="42">
                  <c:v>1139.6885</c:v>
                </c:pt>
                <c:pt idx="43">
                  <c:v>1147.9298</c:v>
                </c:pt>
                <c:pt idx="44">
                  <c:v>1098.8707</c:v>
                </c:pt>
                <c:pt idx="45">
                  <c:v>1061.5988</c:v>
                </c:pt>
                <c:pt idx="46">
                  <c:v>1058.4438</c:v>
                </c:pt>
                <c:pt idx="47">
                  <c:v>1044.6706</c:v>
                </c:pt>
                <c:pt idx="48">
                  <c:v>1039.6331</c:v>
                </c:pt>
                <c:pt idx="49">
                  <c:v>994.009</c:v>
                </c:pt>
                <c:pt idx="50">
                  <c:v>999.2356</c:v>
                </c:pt>
                <c:pt idx="51">
                  <c:v>1006.9539</c:v>
                </c:pt>
                <c:pt idx="52">
                  <c:v>1013.7327</c:v>
                </c:pt>
                <c:pt idx="53">
                  <c:v>1087.8168</c:v>
                </c:pt>
                <c:pt idx="54">
                  <c:v>1089.588</c:v>
                </c:pt>
                <c:pt idx="55">
                  <c:v>1112.2361</c:v>
                </c:pt>
                <c:pt idx="56">
                  <c:v>1131.1518</c:v>
                </c:pt>
                <c:pt idx="57">
                  <c:v>1093.0278</c:v>
                </c:pt>
                <c:pt idx="58">
                  <c:v>1050.6131</c:v>
                </c:pt>
                <c:pt idx="59">
                  <c:v>1057.1186</c:v>
                </c:pt>
                <c:pt idx="60">
                  <c:v>1075.6981</c:v>
                </c:pt>
                <c:pt idx="61">
                  <c:v>1099.0709</c:v>
                </c:pt>
                <c:pt idx="62">
                  <c:v>1012.9058</c:v>
                </c:pt>
                <c:pt idx="63">
                  <c:v>1062.415</c:v>
                </c:pt>
                <c:pt idx="64">
                  <c:v>1080.895</c:v>
                </c:pt>
                <c:pt idx="65">
                  <c:v>1076.8598</c:v>
                </c:pt>
                <c:pt idx="66">
                  <c:v>1071.8542</c:v>
                </c:pt>
                <c:pt idx="67">
                  <c:v>1083.8794</c:v>
                </c:pt>
                <c:pt idx="68">
                  <c:v>1106.7081</c:v>
                </c:pt>
                <c:pt idx="69">
                  <c:v>1115.982</c:v>
                </c:pt>
                <c:pt idx="70">
                  <c:v>1129.2114</c:v>
                </c:pt>
                <c:pt idx="71">
                  <c:v>1197.7853</c:v>
                </c:pt>
                <c:pt idx="72">
                  <c:v>1289.0</c:v>
                </c:pt>
                <c:pt idx="73">
                  <c:v>1289.9549</c:v>
                </c:pt>
                <c:pt idx="74">
                  <c:v>1261.7008</c:v>
                </c:pt>
                <c:pt idx="75">
                  <c:v>1209.566</c:v>
                </c:pt>
                <c:pt idx="76">
                  <c:v>1197.1292</c:v>
                </c:pt>
                <c:pt idx="77">
                  <c:v>1216.757</c:v>
                </c:pt>
                <c:pt idx="78">
                  <c:v>1238.4815</c:v>
                </c:pt>
                <c:pt idx="79">
                  <c:v>1254.0076</c:v>
                </c:pt>
                <c:pt idx="80">
                  <c:v>1240.626</c:v>
                </c:pt>
                <c:pt idx="81">
                  <c:v>1230.112</c:v>
                </c:pt>
                <c:pt idx="82">
                  <c:v>1228.7014</c:v>
                </c:pt>
                <c:pt idx="83">
                  <c:v>1188.0436</c:v>
                </c:pt>
                <c:pt idx="84">
                  <c:v>1216.0749</c:v>
                </c:pt>
                <c:pt idx="85">
                  <c:v>1152.0126</c:v>
                </c:pt>
                <c:pt idx="86">
                  <c:v>1150.0836</c:v>
                </c:pt>
                <c:pt idx="87">
                  <c:v>1151.6828</c:v>
                </c:pt>
                <c:pt idx="88">
                  <c:v>1235.4934</c:v>
                </c:pt>
                <c:pt idx="89">
                  <c:v>1210.9516</c:v>
                </c:pt>
                <c:pt idx="90">
                  <c:v>1281.3602</c:v>
                </c:pt>
                <c:pt idx="91">
                  <c:v>1301.4754</c:v>
                </c:pt>
                <c:pt idx="92">
                  <c:v>1249.4662</c:v>
                </c:pt>
                <c:pt idx="93">
                  <c:v>1269.9521</c:v>
                </c:pt>
                <c:pt idx="94">
                  <c:v>1264.3966</c:v>
                </c:pt>
                <c:pt idx="95">
                  <c:v>1221.9088</c:v>
                </c:pt>
                <c:pt idx="96">
                  <c:v>1141.7648</c:v>
                </c:pt>
                <c:pt idx="97">
                  <c:v>1142.6123</c:v>
                </c:pt>
                <c:pt idx="98">
                  <c:v>1134.581</c:v>
                </c:pt>
                <c:pt idx="99">
                  <c:v>1082.6777</c:v>
                </c:pt>
                <c:pt idx="100">
                  <c:v>1097.9022</c:v>
                </c:pt>
                <c:pt idx="101">
                  <c:v>1088.4228</c:v>
                </c:pt>
                <c:pt idx="102">
                  <c:v>1098.4212</c:v>
                </c:pt>
                <c:pt idx="103">
                  <c:v>1100.1665</c:v>
                </c:pt>
                <c:pt idx="104">
                  <c:v>1143.8919</c:v>
                </c:pt>
              </c:numCache>
            </c:numRef>
          </c:xVal>
          <c:yVal>
            <c:numRef>
              <c:f>Sheet1!$B$2:$B$106</c:f>
              <c:numCache>
                <c:formatCode>General</c:formatCode>
                <c:ptCount val="105"/>
                <c:pt idx="0">
                  <c:v>0.26444898717710463</c:v>
                </c:pt>
                <c:pt idx="1">
                  <c:v>0.2634190347316193</c:v>
                </c:pt>
                <c:pt idx="2">
                  <c:v>0.2621038732394366</c:v>
                </c:pt>
                <c:pt idx="3">
                  <c:v>0.2565277141548328</c:v>
                </c:pt>
                <c:pt idx="4">
                  <c:v>0.27923627684964203</c:v>
                </c:pt>
                <c:pt idx="5">
                  <c:v>0.27608695652173915</c:v>
                </c:pt>
                <c:pt idx="6">
                  <c:v>0.28471286060932866</c:v>
                </c:pt>
                <c:pt idx="7">
                  <c:v>0.3000312207305651</c:v>
                </c:pt>
                <c:pt idx="8">
                  <c:v>0.2972577696526508</c:v>
                </c:pt>
                <c:pt idx="9">
                  <c:v>0.28635761589403974</c:v>
                </c:pt>
                <c:pt idx="10">
                  <c:v>0.28311555213937994</c:v>
                </c:pt>
                <c:pt idx="11">
                  <c:v>0.2514808831448573</c:v>
                </c:pt>
                <c:pt idx="12">
                  <c:v>0.24126826851622493</c:v>
                </c:pt>
                <c:pt idx="13">
                  <c:v>0.23155837811431362</c:v>
                </c:pt>
                <c:pt idx="14">
                  <c:v>0.2257014028056112</c:v>
                </c:pt>
                <c:pt idx="15">
                  <c:v>0.2310668877833057</c:v>
                </c:pt>
                <c:pt idx="16">
                  <c:v>0.21981627296587927</c:v>
                </c:pt>
                <c:pt idx="17">
                  <c:v>0.20209176788124156</c:v>
                </c:pt>
                <c:pt idx="18">
                  <c:v>0.18692579505300352</c:v>
                </c:pt>
                <c:pt idx="19">
                  <c:v>0.1757526444263629</c:v>
                </c:pt>
                <c:pt idx="20">
                  <c:v>0.17650940283734742</c:v>
                </c:pt>
                <c:pt idx="21">
                  <c:v>0.1850022451728783</c:v>
                </c:pt>
                <c:pt idx="22">
                  <c:v>0.22226753670473084</c:v>
                </c:pt>
                <c:pt idx="23">
                  <c:v>0.22342642767819926</c:v>
                </c:pt>
                <c:pt idx="24">
                  <c:v>0.22412587412587412</c:v>
                </c:pt>
                <c:pt idx="25">
                  <c:v>0.2378964941569282</c:v>
                </c:pt>
                <c:pt idx="26">
                  <c:v>0.2483060980470307</c:v>
                </c:pt>
                <c:pt idx="27">
                  <c:v>0.23338368580060423</c:v>
                </c:pt>
                <c:pt idx="28">
                  <c:v>0.24411647387315516</c:v>
                </c:pt>
                <c:pt idx="29">
                  <c:v>0.25673854447439354</c:v>
                </c:pt>
                <c:pt idx="30">
                  <c:v>0.2506654835847382</c:v>
                </c:pt>
                <c:pt idx="31">
                  <c:v>0.26189473684210524</c:v>
                </c:pt>
                <c:pt idx="32">
                  <c:v>0.26963024511840467</c:v>
                </c:pt>
                <c:pt idx="33">
                  <c:v>0.2719033232628399</c:v>
                </c:pt>
                <c:pt idx="34">
                  <c:v>0.2690025430912687</c:v>
                </c:pt>
                <c:pt idx="35">
                  <c:v>0.26968659468001055</c:v>
                </c:pt>
                <c:pt idx="36">
                  <c:v>0.2572490706319703</c:v>
                </c:pt>
                <c:pt idx="37">
                  <c:v>0.24663127807268273</c:v>
                </c:pt>
                <c:pt idx="38">
                  <c:v>0.2505484861781483</c:v>
                </c:pt>
                <c:pt idx="39">
                  <c:v>0.24246339362618433</c:v>
                </c:pt>
                <c:pt idx="40">
                  <c:v>0.2363150867823765</c:v>
                </c:pt>
                <c:pt idx="41">
                  <c:v>0.2375950742484607</c:v>
                </c:pt>
                <c:pt idx="42">
                  <c:v>0.22297955209347614</c:v>
                </c:pt>
                <c:pt idx="43">
                  <c:v>0.2223583460949464</c:v>
                </c:pt>
                <c:pt idx="44">
                  <c:v>0.21895568231680562</c:v>
                </c:pt>
                <c:pt idx="45">
                  <c:v>0.24332027075169219</c:v>
                </c:pt>
                <c:pt idx="46">
                  <c:v>0.2390207715133531</c:v>
                </c:pt>
                <c:pt idx="47">
                  <c:v>0.236755743084857</c:v>
                </c:pt>
                <c:pt idx="48">
                  <c:v>0.24096682698236527</c:v>
                </c:pt>
                <c:pt idx="49">
                  <c:v>0.25176224871638675</c:v>
                </c:pt>
                <c:pt idx="50">
                  <c:v>0.23494260103789905</c:v>
                </c:pt>
                <c:pt idx="51">
                  <c:v>0.22319347319347319</c:v>
                </c:pt>
                <c:pt idx="52">
                  <c:v>0.2308106169296987</c:v>
                </c:pt>
                <c:pt idx="53">
                  <c:v>0.21754064575223264</c:v>
                </c:pt>
                <c:pt idx="54">
                  <c:v>0.23309287646528404</c:v>
                </c:pt>
                <c:pt idx="55">
                  <c:v>0.21687905746573696</c:v>
                </c:pt>
                <c:pt idx="56">
                  <c:v>0.20757020757020758</c:v>
                </c:pt>
                <c:pt idx="57">
                  <c:v>0.2106032143602588</c:v>
                </c:pt>
                <c:pt idx="58">
                  <c:v>0.22334522393975426</c:v>
                </c:pt>
                <c:pt idx="59">
                  <c:v>0.2289661595777709</c:v>
                </c:pt>
                <c:pt idx="60">
                  <c:v>0.2333157245994013</c:v>
                </c:pt>
                <c:pt idx="61">
                  <c:v>0.2287813529262731</c:v>
                </c:pt>
                <c:pt idx="62">
                  <c:v>0.2465277777777778</c:v>
                </c:pt>
                <c:pt idx="63">
                  <c:v>0.2486057486057486</c:v>
                </c:pt>
                <c:pt idx="64">
                  <c:v>0.23611699872827469</c:v>
                </c:pt>
                <c:pt idx="65">
                  <c:v>0.23482968644258967</c:v>
                </c:pt>
                <c:pt idx="66">
                  <c:v>0.22666966494265797</c:v>
                </c:pt>
                <c:pt idx="67">
                  <c:v>0.21390644753476612</c:v>
                </c:pt>
                <c:pt idx="68">
                  <c:v>0.21549213744903903</c:v>
                </c:pt>
                <c:pt idx="69">
                  <c:v>0.19949676491732565</c:v>
                </c:pt>
                <c:pt idx="70">
                  <c:v>0.20148148148148148</c:v>
                </c:pt>
                <c:pt idx="71">
                  <c:v>0.21385420861860652</c:v>
                </c:pt>
                <c:pt idx="72">
                  <c:v>0.19676840215439856</c:v>
                </c:pt>
                <c:pt idx="73">
                  <c:v>0.19480519480519481</c:v>
                </c:pt>
                <c:pt idx="74">
                  <c:v>0.20517241379310344</c:v>
                </c:pt>
                <c:pt idx="75">
                  <c:v>0.20948616600790515</c:v>
                </c:pt>
                <c:pt idx="76">
                  <c:v>0.2181266261925412</c:v>
                </c:pt>
                <c:pt idx="77">
                  <c:v>0.2088808337109198</c:v>
                </c:pt>
                <c:pt idx="78">
                  <c:v>0.22334558823529413</c:v>
                </c:pt>
                <c:pt idx="79">
                  <c:v>0.1846531184302733</c:v>
                </c:pt>
                <c:pt idx="80">
                  <c:v>0.17593602326426755</c:v>
                </c:pt>
                <c:pt idx="81">
                  <c:v>0.2001817080557238</c:v>
                </c:pt>
                <c:pt idx="82">
                  <c:v>0.1971774193548387</c:v>
                </c:pt>
                <c:pt idx="83">
                  <c:v>0.21321631388745482</c:v>
                </c:pt>
                <c:pt idx="84">
                  <c:v>0.20885051268213708</c:v>
                </c:pt>
                <c:pt idx="85">
                  <c:v>0.23554421768707484</c:v>
                </c:pt>
                <c:pt idx="86">
                  <c:v>0.24236387782204516</c:v>
                </c:pt>
                <c:pt idx="87">
                  <c:v>0.24838898652606914</c:v>
                </c:pt>
                <c:pt idx="88">
                  <c:v>0.23837209302325582</c:v>
                </c:pt>
                <c:pt idx="89">
                  <c:v>0.24396507447354904</c:v>
                </c:pt>
                <c:pt idx="90">
                  <c:v>0.2231652521218173</c:v>
                </c:pt>
                <c:pt idx="91">
                  <c:v>0.2172093023255814</c:v>
                </c:pt>
                <c:pt idx="92">
                  <c:v>0.23740458015267177</c:v>
                </c:pt>
                <c:pt idx="93">
                  <c:v>0.23433874709976799</c:v>
                </c:pt>
                <c:pt idx="94">
                  <c:v>0.238560411311054</c:v>
                </c:pt>
                <c:pt idx="95">
                  <c:v>0.21603260869565216</c:v>
                </c:pt>
                <c:pt idx="96">
                  <c:v>0.23650568181818182</c:v>
                </c:pt>
                <c:pt idx="97">
                  <c:v>0.24868725057760974</c:v>
                </c:pt>
                <c:pt idx="98">
                  <c:v>0.23917803604514065</c:v>
                </c:pt>
                <c:pt idx="99">
                  <c:v>0.238191089640365</c:v>
                </c:pt>
                <c:pt idx="100">
                  <c:v>0.23553934340802501</c:v>
                </c:pt>
                <c:pt idx="101">
                  <c:v>0.24096177131984087</c:v>
                </c:pt>
                <c:pt idx="102">
                  <c:v>0.24226305609284332</c:v>
                </c:pt>
                <c:pt idx="103">
                  <c:v>0.22743091095189355</c:v>
                </c:pt>
                <c:pt idx="104">
                  <c:v>0.220456802383316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2.3155</c:v>
                </c:pt>
                <c:pt idx="1">
                  <c:v>1184.771</c:v>
                </c:pt>
                <c:pt idx="2">
                  <c:v>1216.4622</c:v>
                </c:pt>
                <c:pt idx="3">
                  <c:v>1214.9282</c:v>
                </c:pt>
                <c:pt idx="4">
                  <c:v>1242.1326</c:v>
                </c:pt>
                <c:pt idx="5">
                  <c:v>1222.0451</c:v>
                </c:pt>
                <c:pt idx="6">
                  <c:v>1115.5703</c:v>
                </c:pt>
                <c:pt idx="7">
                  <c:v>1146.8587</c:v>
                </c:pt>
                <c:pt idx="8">
                  <c:v>1234.9172</c:v>
                </c:pt>
                <c:pt idx="9">
                  <c:v>1168.697</c:v>
                </c:pt>
                <c:pt idx="10">
                  <c:v>1164.3147</c:v>
                </c:pt>
                <c:pt idx="11">
                  <c:v>985.6077</c:v>
                </c:pt>
                <c:pt idx="12">
                  <c:v>1070.4995</c:v>
                </c:pt>
                <c:pt idx="13">
                  <c:v>1134.9791</c:v>
                </c:pt>
                <c:pt idx="14">
                  <c:v>1120.8559</c:v>
                </c:pt>
                <c:pt idx="15">
                  <c:v>1150.4288</c:v>
                </c:pt>
                <c:pt idx="16">
                  <c:v>1193.4522</c:v>
                </c:pt>
                <c:pt idx="17">
                  <c:v>1168.0428</c:v>
                </c:pt>
                <c:pt idx="18">
                  <c:v>1208.6286</c:v>
                </c:pt>
                <c:pt idx="19">
                  <c:v>1272.0684</c:v>
                </c:pt>
                <c:pt idx="20">
                  <c:v>1274.9305</c:v>
                </c:pt>
                <c:pt idx="21">
                  <c:v>1173.2373</c:v>
                </c:pt>
                <c:pt idx="22">
                  <c:v>1269.9338</c:v>
                </c:pt>
                <c:pt idx="23">
                  <c:v>1287.662</c:v>
                </c:pt>
                <c:pt idx="24">
                  <c:v>1276.8943</c:v>
                </c:pt>
                <c:pt idx="25">
                  <c:v>1174.7274</c:v>
                </c:pt>
                <c:pt idx="26">
                  <c:v>1237.2863</c:v>
                </c:pt>
                <c:pt idx="27">
                  <c:v>1238.3745</c:v>
                </c:pt>
                <c:pt idx="28">
                  <c:v>1302.2312</c:v>
                </c:pt>
                <c:pt idx="29">
                  <c:v>1295.5663</c:v>
                </c:pt>
                <c:pt idx="30">
                  <c:v>1276.1603</c:v>
                </c:pt>
                <c:pt idx="31">
                  <c:v>1287.277</c:v>
                </c:pt>
                <c:pt idx="32">
                  <c:v>1274.3083</c:v>
                </c:pt>
                <c:pt idx="33">
                  <c:v>1287.8881</c:v>
                </c:pt>
                <c:pt idx="34">
                  <c:v>1307.7787</c:v>
                </c:pt>
                <c:pt idx="35">
                  <c:v>1337.4767</c:v>
                </c:pt>
                <c:pt idx="36">
                  <c:v>1313.2582</c:v>
                </c:pt>
                <c:pt idx="37">
                  <c:v>1301.0449</c:v>
                </c:pt>
                <c:pt idx="38">
                  <c:v>1314.0385</c:v>
                </c:pt>
                <c:pt idx="39">
                  <c:v>1272.6622</c:v>
                </c:pt>
                <c:pt idx="40">
                  <c:v>1322.6369</c:v>
                </c:pt>
                <c:pt idx="41">
                  <c:v>1352.8453</c:v>
                </c:pt>
                <c:pt idx="42">
                  <c:v>1359.2486</c:v>
                </c:pt>
                <c:pt idx="43">
                  <c:v>1354.0396</c:v>
                </c:pt>
                <c:pt idx="44">
                  <c:v>1272.3414</c:v>
                </c:pt>
                <c:pt idx="45">
                  <c:v>1213.602</c:v>
                </c:pt>
                <c:pt idx="46">
                  <c:v>1209.8794</c:v>
                </c:pt>
                <c:pt idx="47">
                  <c:v>1182.6987</c:v>
                </c:pt>
                <c:pt idx="48">
                  <c:v>1180.0494</c:v>
                </c:pt>
                <c:pt idx="49">
                  <c:v>1203.8296</c:v>
                </c:pt>
                <c:pt idx="50">
                  <c:v>1170.3602</c:v>
                </c:pt>
                <c:pt idx="51">
                  <c:v>1101.9383</c:v>
                </c:pt>
              </c:numCache>
            </c:numRef>
          </c:xVal>
          <c:yVal>
            <c:numRef>
              <c:f>Sheet1!$B$109:$B$160</c:f>
              <c:numCache>
                <c:formatCode>General</c:formatCode>
                <c:ptCount val="52"/>
                <c:pt idx="0">
                  <c:v>0.21953510213665178</c:v>
                </c:pt>
                <c:pt idx="1">
                  <c:v>0.2187254130605822</c:v>
                </c:pt>
                <c:pt idx="2">
                  <c:v>0.22806619814101112</c:v>
                </c:pt>
                <c:pt idx="3">
                  <c:v>0.24000918695452458</c:v>
                </c:pt>
                <c:pt idx="4">
                  <c:v>0.21110009910802774</c:v>
                </c:pt>
                <c:pt idx="5">
                  <c:v>0.22422298963986187</c:v>
                </c:pt>
                <c:pt idx="6">
                  <c:v>0.2412081092263136</c:v>
                </c:pt>
                <c:pt idx="7">
                  <c:v>0.24911995667479014</c:v>
                </c:pt>
                <c:pt idx="8">
                  <c:v>0.22805176635187127</c:v>
                </c:pt>
                <c:pt idx="9">
                  <c:v>0.24503513596089216</c:v>
                </c:pt>
                <c:pt idx="10">
                  <c:v>0.2456461961503208</c:v>
                </c:pt>
                <c:pt idx="11">
                  <c:v>0.26771964461994074</c:v>
                </c:pt>
                <c:pt idx="12">
                  <c:v>0.2599489795918367</c:v>
                </c:pt>
                <c:pt idx="13">
                  <c:v>0.24557395773843518</c:v>
                </c:pt>
                <c:pt idx="14">
                  <c:v>0.24396782841823056</c:v>
                </c:pt>
                <c:pt idx="15">
                  <c:v>0.2522679692951849</c:v>
                </c:pt>
                <c:pt idx="16">
                  <c:v>0.23613963039014374</c:v>
                </c:pt>
                <c:pt idx="17">
                  <c:v>0.2507228418009087</c:v>
                </c:pt>
                <c:pt idx="18">
                  <c:v>0.23510971786833856</c:v>
                </c:pt>
                <c:pt idx="19">
                  <c:v>0.23534269199009084</c:v>
                </c:pt>
                <c:pt idx="20">
                  <c:v>0.22217174011812812</c:v>
                </c:pt>
                <c:pt idx="21">
                  <c:v>0.23576423576423577</c:v>
                </c:pt>
                <c:pt idx="22">
                  <c:v>0.2147937411095306</c:v>
                </c:pt>
                <c:pt idx="23">
                  <c:v>0.21580547112462006</c:v>
                </c:pt>
                <c:pt idx="24">
                  <c:v>0.22092520536100302</c:v>
                </c:pt>
                <c:pt idx="25">
                  <c:v>0.2375</c:v>
                </c:pt>
                <c:pt idx="26">
                  <c:v>0.2190721649484536</c:v>
                </c:pt>
                <c:pt idx="27">
                  <c:v>0.2175632911392405</c:v>
                </c:pt>
                <c:pt idx="28">
                  <c:v>0.21062338620435264</c:v>
                </c:pt>
                <c:pt idx="29">
                  <c:v>0.2178477690288714</c:v>
                </c:pt>
                <c:pt idx="30">
                  <c:v>0.22317596566523606</c:v>
                </c:pt>
                <c:pt idx="31">
                  <c:v>0.2136125654450262</c:v>
                </c:pt>
                <c:pt idx="32">
                  <c:v>0.20565552699228792</c:v>
                </c:pt>
                <c:pt idx="33">
                  <c:v>0.23282571912013536</c:v>
                </c:pt>
                <c:pt idx="34">
                  <c:v>0.2556712036295703</c:v>
                </c:pt>
                <c:pt idx="35">
                  <c:v>0.23125463994060877</c:v>
                </c:pt>
                <c:pt idx="36">
                  <c:v>0.23790849673202613</c:v>
                </c:pt>
                <c:pt idx="37">
                  <c:v>0.24171428571428571</c:v>
                </c:pt>
                <c:pt idx="38">
                  <c:v>0.2494343891402715</c:v>
                </c:pt>
                <c:pt idx="39">
                  <c:v>0.2336490753270185</c:v>
                </c:pt>
                <c:pt idx="40">
                  <c:v>0.22795115332428764</c:v>
                </c:pt>
                <c:pt idx="41">
                  <c:v>0.22921063739974673</c:v>
                </c:pt>
                <c:pt idx="42">
                  <c:v>0.24302973977695166</c:v>
                </c:pt>
                <c:pt idx="43">
                  <c:v>0.21980595516895282</c:v>
                </c:pt>
                <c:pt idx="44">
                  <c:v>0.22258936617602884</c:v>
                </c:pt>
                <c:pt idx="45">
                  <c:v>0.24982857142857143</c:v>
                </c:pt>
                <c:pt idx="46">
                  <c:v>0.267329132331556</c:v>
                </c:pt>
                <c:pt idx="47">
                  <c:v>0.266682059570538</c:v>
                </c:pt>
                <c:pt idx="48">
                  <c:v>0.2476502732240437</c:v>
                </c:pt>
                <c:pt idx="49">
                  <c:v>0.25154377043225573</c:v>
                </c:pt>
                <c:pt idx="50">
                  <c:v>0.2506869847614289</c:v>
                </c:pt>
                <c:pt idx="51">
                  <c:v>0.253246753246753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57.4476139615381</c:v>
                </c:pt>
              </c:numCache>
            </c:numRef>
          </c:xVal>
          <c:yVal>
            <c:numRef>
              <c:f>Sheet1!$B$163:$B$164</c:f>
              <c:numCache>
                <c:formatCode>General</c:formatCode>
                <c:ptCount val="2"/>
                <c:pt idx="0">
                  <c:v>0.2759805215185466</c:v>
                </c:pt>
                <c:pt idx="1">
                  <c:v>0.27598052151854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57.4476139615381</c:v>
                </c:pt>
                <c:pt idx="1">
                  <c:v>857.4476139615381</c:v>
                </c:pt>
              </c:numCache>
            </c:numRef>
          </c:xVal>
          <c:yVal>
            <c:numRef>
              <c:f>Sheet1!$B$167:$B$168</c:f>
              <c:numCache>
                <c:formatCode>General</c:formatCode>
                <c:ptCount val="2"/>
                <c:pt idx="0">
                  <c:v>0.27598052151854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87.3915905435845</c:v>
                </c:pt>
              </c:numCache>
            </c:numRef>
          </c:xVal>
          <c:yVal>
            <c:numRef>
              <c:f>Sheet1!$B$171:$B$172</c:f>
              <c:numCache>
                <c:formatCode>General</c:formatCode>
                <c:ptCount val="2"/>
                <c:pt idx="0">
                  <c:v>0.2507819454161204</c:v>
                </c:pt>
                <c:pt idx="1">
                  <c:v>0.250781945416120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87.3915905435845</c:v>
                </c:pt>
                <c:pt idx="1">
                  <c:v>1087.3915905435845</c:v>
                </c:pt>
              </c:numCache>
            </c:numRef>
          </c:xVal>
          <c:yVal>
            <c:numRef>
              <c:f>Sheet1!$B$175:$B$176</c:f>
              <c:numCache>
                <c:formatCode>General</c:formatCode>
                <c:ptCount val="2"/>
                <c:pt idx="0">
                  <c:v>0.25078194541612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5.4533913143096</c:v>
                </c:pt>
              </c:numCache>
            </c:numRef>
          </c:xVal>
          <c:yVal>
            <c:numRef>
              <c:f>Sheet1!$B$179:$B$180</c:f>
              <c:numCache>
                <c:formatCode>General</c:formatCode>
                <c:ptCount val="2"/>
                <c:pt idx="0">
                  <c:v>0.2433233440129333</c:v>
                </c:pt>
                <c:pt idx="1">
                  <c:v>0.243323344012933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5.4533913143096</c:v>
                </c:pt>
                <c:pt idx="1">
                  <c:v>1155.4533913143096</c:v>
                </c:pt>
              </c:numCache>
            </c:numRef>
          </c:xVal>
          <c:yVal>
            <c:numRef>
              <c:f>Sheet1!$B$183:$B$184</c:f>
              <c:numCache>
                <c:formatCode>General</c:formatCode>
                <c:ptCount val="2"/>
                <c:pt idx="0">
                  <c:v>0.24332334401293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2.3155</c:v>
                </c:pt>
                <c:pt idx="1">
                  <c:v>1184.771</c:v>
                </c:pt>
                <c:pt idx="2">
                  <c:v>1216.4622</c:v>
                </c:pt>
                <c:pt idx="3">
                  <c:v>1214.9282</c:v>
                </c:pt>
                <c:pt idx="4">
                  <c:v>1242.1326</c:v>
                </c:pt>
                <c:pt idx="5">
                  <c:v>1222.0451</c:v>
                </c:pt>
                <c:pt idx="6">
                  <c:v>1115.5703</c:v>
                </c:pt>
                <c:pt idx="7">
                  <c:v>1146.8587</c:v>
                </c:pt>
                <c:pt idx="8">
                  <c:v>1234.9172</c:v>
                </c:pt>
                <c:pt idx="9">
                  <c:v>1168.697</c:v>
                </c:pt>
                <c:pt idx="10">
                  <c:v>1164.3147</c:v>
                </c:pt>
                <c:pt idx="11">
                  <c:v>985.6077</c:v>
                </c:pt>
                <c:pt idx="12">
                  <c:v>1070.4995</c:v>
                </c:pt>
                <c:pt idx="13">
                  <c:v>1134.9791</c:v>
                </c:pt>
                <c:pt idx="14">
                  <c:v>1120.8559</c:v>
                </c:pt>
                <c:pt idx="15">
                  <c:v>1150.4288</c:v>
                </c:pt>
                <c:pt idx="16">
                  <c:v>1193.4522</c:v>
                </c:pt>
                <c:pt idx="17">
                  <c:v>1168.0428</c:v>
                </c:pt>
                <c:pt idx="18">
                  <c:v>1208.6286</c:v>
                </c:pt>
                <c:pt idx="19">
                  <c:v>1272.0684</c:v>
                </c:pt>
                <c:pt idx="20">
                  <c:v>1274.9305</c:v>
                </c:pt>
                <c:pt idx="21">
                  <c:v>1173.2373</c:v>
                </c:pt>
                <c:pt idx="22">
                  <c:v>1269.9338</c:v>
                </c:pt>
                <c:pt idx="23">
                  <c:v>1287.662</c:v>
                </c:pt>
                <c:pt idx="24">
                  <c:v>1276.8943</c:v>
                </c:pt>
                <c:pt idx="25">
                  <c:v>1174.7274</c:v>
                </c:pt>
                <c:pt idx="26">
                  <c:v>1237.2863</c:v>
                </c:pt>
                <c:pt idx="27">
                  <c:v>1238.3745</c:v>
                </c:pt>
                <c:pt idx="28">
                  <c:v>1302.2312</c:v>
                </c:pt>
                <c:pt idx="29">
                  <c:v>1295.5663</c:v>
                </c:pt>
                <c:pt idx="30">
                  <c:v>1276.1603</c:v>
                </c:pt>
                <c:pt idx="31">
                  <c:v>1287.277</c:v>
                </c:pt>
                <c:pt idx="32">
                  <c:v>1274.3083</c:v>
                </c:pt>
                <c:pt idx="33">
                  <c:v>1287.8881</c:v>
                </c:pt>
                <c:pt idx="34">
                  <c:v>1307.7787</c:v>
                </c:pt>
                <c:pt idx="35">
                  <c:v>1337.4767</c:v>
                </c:pt>
                <c:pt idx="36">
                  <c:v>1313.2582</c:v>
                </c:pt>
                <c:pt idx="37">
                  <c:v>1301.0449</c:v>
                </c:pt>
                <c:pt idx="38">
                  <c:v>1314.0385</c:v>
                </c:pt>
                <c:pt idx="39">
                  <c:v>1272.6622</c:v>
                </c:pt>
                <c:pt idx="40">
                  <c:v>1322.6369</c:v>
                </c:pt>
                <c:pt idx="41">
                  <c:v>1352.8453</c:v>
                </c:pt>
                <c:pt idx="42">
                  <c:v>1359.2486</c:v>
                </c:pt>
                <c:pt idx="43">
                  <c:v>1354.0396</c:v>
                </c:pt>
                <c:pt idx="44">
                  <c:v>1272.3414</c:v>
                </c:pt>
                <c:pt idx="45">
                  <c:v>1213.602</c:v>
                </c:pt>
                <c:pt idx="46">
                  <c:v>1209.8794</c:v>
                </c:pt>
                <c:pt idx="47">
                  <c:v>1182.6987</c:v>
                </c:pt>
                <c:pt idx="48">
                  <c:v>1180.0494</c:v>
                </c:pt>
                <c:pt idx="49">
                  <c:v>1203.8296</c:v>
                </c:pt>
                <c:pt idx="50">
                  <c:v>1170.3602</c:v>
                </c:pt>
                <c:pt idx="51">
                  <c:v>1101.9383</c:v>
                </c:pt>
                <c:pt idx="52">
                  <c:v>1087.3915905435845</c:v>
                </c:pt>
                <c:pt idx="53">
                  <c:v>857.4476139615381</c:v>
                </c:pt>
                <c:pt idx="54">
                  <c:v>1155.4533913143096</c:v>
                </c:pt>
              </c:numCache>
            </c:numRef>
          </c:xVal>
          <c:yVal>
            <c:numRef>
              <c:f>Sheet1!$B$187:$B$241</c:f>
              <c:numCache>
                <c:formatCode>General</c:formatCode>
                <c:ptCount val="55"/>
                <c:pt idx="0">
                  <c:v>0.24147549770149865</c:v>
                </c:pt>
                <c:pt idx="1">
                  <c:v>0.24011055277313353</c:v>
                </c:pt>
                <c:pt idx="2">
                  <c:v>0.23663764982152144</c:v>
                </c:pt>
                <c:pt idx="3">
                  <c:v>0.23680575431512765</c:v>
                </c:pt>
                <c:pt idx="4">
                  <c:v>0.2338245405694558</c:v>
                </c:pt>
                <c:pt idx="5">
                  <c:v>0.23602584370851357</c:v>
                </c:pt>
                <c:pt idx="6">
                  <c:v>0.24769396126771945</c:v>
                </c:pt>
                <c:pt idx="7">
                  <c:v>0.24426519944389394</c:v>
                </c:pt>
                <c:pt idx="8">
                  <c:v>0.23461524536943376</c:v>
                </c:pt>
                <c:pt idx="9">
                  <c:v>0.24187203362725748</c:v>
                </c:pt>
                <c:pt idx="10">
                  <c:v>0.24235227112551722</c:v>
                </c:pt>
                <c:pt idx="11">
                  <c:v>0.26193600628776226</c:v>
                </c:pt>
                <c:pt idx="12">
                  <c:v>0.25263307731102225</c:v>
                </c:pt>
                <c:pt idx="13">
                  <c:v>0.24556703395643908</c:v>
                </c:pt>
                <c:pt idx="14">
                  <c:v>0.24711473498909825</c:v>
                </c:pt>
                <c:pt idx="15">
                  <c:v>0.24387396746695555</c:v>
                </c:pt>
                <c:pt idx="16">
                  <c:v>0.2391592172256145</c:v>
                </c:pt>
                <c:pt idx="17">
                  <c:v>0.24194372460490882</c:v>
                </c:pt>
                <c:pt idx="18">
                  <c:v>0.23749610051325126</c:v>
                </c:pt>
                <c:pt idx="19">
                  <c:v>0.2305440043897318</c:v>
                </c:pt>
                <c:pt idx="20">
                  <c:v>0.23023035910215012</c:v>
                </c:pt>
                <c:pt idx="21">
                  <c:v>0.2413744815853277</c:v>
                </c:pt>
                <c:pt idx="22">
                  <c:v>0.2307779260664279</c:v>
                </c:pt>
                <c:pt idx="23">
                  <c:v>0.22883516851522223</c:v>
                </c:pt>
                <c:pt idx="24">
                  <c:v>0.23001515466633274</c:v>
                </c:pt>
                <c:pt idx="25">
                  <c:v>0.2412111879048045</c:v>
                </c:pt>
                <c:pt idx="26">
                  <c:v>0.23435562584153125</c:v>
                </c:pt>
                <c:pt idx="27">
                  <c:v>0.23423637466164712</c:v>
                </c:pt>
                <c:pt idx="28">
                  <c:v>0.22723859225169712</c:v>
                </c:pt>
                <c:pt idx="29">
                  <c:v>0.22796897011312867</c:v>
                </c:pt>
                <c:pt idx="30">
                  <c:v>0.23009559058439463</c:v>
                </c:pt>
                <c:pt idx="31">
                  <c:v>0.2288773590172029</c:v>
                </c:pt>
                <c:pt idx="32">
                  <c:v>0.2302985433367797</c:v>
                </c:pt>
                <c:pt idx="33">
                  <c:v>0.22881039118405902</c:v>
                </c:pt>
                <c:pt idx="34">
                  <c:v>0.22663066547315708</c:v>
                </c:pt>
                <c:pt idx="35">
                  <c:v>0.22337618877751367</c:v>
                </c:pt>
                <c:pt idx="36">
                  <c:v>0.22603019052353832</c:v>
                </c:pt>
                <c:pt idx="37">
                  <c:v>0.22736859379065738</c:v>
                </c:pt>
                <c:pt idx="38">
                  <c:v>0.2259446807866668</c:v>
                </c:pt>
                <c:pt idx="39">
                  <c:v>0.23047893238953404</c:v>
                </c:pt>
                <c:pt idx="40">
                  <c:v>0.2250024189367166</c:v>
                </c:pt>
                <c:pt idx="41">
                  <c:v>0.2216920096898759</c:v>
                </c:pt>
                <c:pt idx="42">
                  <c:v>0.22099029945264737</c:v>
                </c:pt>
                <c:pt idx="43">
                  <c:v>0.22156113146516018</c:v>
                </c:pt>
                <c:pt idx="44">
                  <c:v>0.23051408748832733</c:v>
                </c:pt>
                <c:pt idx="45">
                  <c:v>0.2369510868962362</c:v>
                </c:pt>
                <c:pt idx="46">
                  <c:v>0.23735903069538775</c:v>
                </c:pt>
                <c:pt idx="47">
                  <c:v>0.2403376472595091</c:v>
                </c:pt>
                <c:pt idx="48">
                  <c:v>0.240627972705996</c:v>
                </c:pt>
                <c:pt idx="49">
                  <c:v>0.23802200238079765</c:v>
                </c:pt>
                <c:pt idx="50">
                  <c:v>0.24168977065870084</c:v>
                </c:pt>
                <c:pt idx="51">
                  <c:v>0.2491878337949944</c:v>
                </c:pt>
                <c:pt idx="52">
                  <c:v>0.2507819454161204</c:v>
                </c:pt>
                <c:pt idx="53">
                  <c:v>0.2759805215185466</c:v>
                </c:pt>
                <c:pt idx="54">
                  <c:v>0.243323344012933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31.0"/>
          <c:min val="61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00374648766781"/>
          <c:min val="0.140602115541090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3.3319</c:v>
                </c:pt>
                <c:pt idx="1">
                  <c:v>926.4083</c:v>
                </c:pt>
                <c:pt idx="2">
                  <c:v>979.8436</c:v>
                </c:pt>
                <c:pt idx="3">
                  <c:v>1004.4404</c:v>
                </c:pt>
                <c:pt idx="4">
                  <c:v>1042.5959</c:v>
                </c:pt>
                <c:pt idx="5">
                  <c:v>1073.6303</c:v>
                </c:pt>
                <c:pt idx="6">
                  <c:v>942.172</c:v>
                </c:pt>
                <c:pt idx="7">
                  <c:v>993.8829</c:v>
                </c:pt>
                <c:pt idx="8">
                  <c:v>1009.1827</c:v>
                </c:pt>
                <c:pt idx="9">
                  <c:v>917.9679</c:v>
                </c:pt>
                <c:pt idx="10">
                  <c:v>928.1675</c:v>
                </c:pt>
                <c:pt idx="11">
                  <c:v>1006.5342</c:v>
                </c:pt>
                <c:pt idx="12">
                  <c:v>1011.0714</c:v>
                </c:pt>
                <c:pt idx="13">
                  <c:v>982.917</c:v>
                </c:pt>
                <c:pt idx="14">
                  <c:v>970.3411</c:v>
                </c:pt>
                <c:pt idx="15">
                  <c:v>1010.9156</c:v>
                </c:pt>
                <c:pt idx="16">
                  <c:v>1000.6114</c:v>
                </c:pt>
                <c:pt idx="17">
                  <c:v>990.6387</c:v>
                </c:pt>
                <c:pt idx="18">
                  <c:v>1093.0</c:v>
                </c:pt>
                <c:pt idx="19">
                  <c:v>1107.9265</c:v>
                </c:pt>
                <c:pt idx="20">
                  <c:v>1137.45</c:v>
                </c:pt>
                <c:pt idx="21">
                  <c:v>1136.013</c:v>
                </c:pt>
                <c:pt idx="22">
                  <c:v>1054.2716</c:v>
                </c:pt>
                <c:pt idx="23">
                  <c:v>1084.0556</c:v>
                </c:pt>
                <c:pt idx="24">
                  <c:v>1046.6887</c:v>
                </c:pt>
                <c:pt idx="25">
                  <c:v>1043.6522</c:v>
                </c:pt>
                <c:pt idx="26">
                  <c:v>1037.1453</c:v>
                </c:pt>
                <c:pt idx="27">
                  <c:v>1065.0292</c:v>
                </c:pt>
                <c:pt idx="28">
                  <c:v>1063.0172</c:v>
                </c:pt>
                <c:pt idx="29">
                  <c:v>979.0108</c:v>
                </c:pt>
                <c:pt idx="30">
                  <c:v>964.6126</c:v>
                </c:pt>
                <c:pt idx="31">
                  <c:v>990.7519</c:v>
                </c:pt>
                <c:pt idx="32">
                  <c:v>945.62</c:v>
                </c:pt>
                <c:pt idx="33">
                  <c:v>916.4</c:v>
                </c:pt>
                <c:pt idx="34">
                  <c:v>974.6771</c:v>
                </c:pt>
                <c:pt idx="35">
                  <c:v>1040.0295</c:v>
                </c:pt>
                <c:pt idx="36">
                  <c:v>1153.6442</c:v>
                </c:pt>
                <c:pt idx="37">
                  <c:v>1104.125</c:v>
                </c:pt>
                <c:pt idx="38">
                  <c:v>1203.0847</c:v>
                </c:pt>
                <c:pt idx="39">
                  <c:v>1160.0317</c:v>
                </c:pt>
                <c:pt idx="40">
                  <c:v>1238.0738</c:v>
                </c:pt>
                <c:pt idx="41">
                  <c:v>1292.0957</c:v>
                </c:pt>
                <c:pt idx="42">
                  <c:v>1295.1594</c:v>
                </c:pt>
                <c:pt idx="43">
                  <c:v>1304.5111</c:v>
                </c:pt>
                <c:pt idx="44">
                  <c:v>1139.1133</c:v>
                </c:pt>
                <c:pt idx="45">
                  <c:v>1094.8382</c:v>
                </c:pt>
                <c:pt idx="46">
                  <c:v>1100.8603</c:v>
                </c:pt>
                <c:pt idx="47">
                  <c:v>1067.0029</c:v>
                </c:pt>
                <c:pt idx="48">
                  <c:v>1090.6855</c:v>
                </c:pt>
                <c:pt idx="49">
                  <c:v>1051.3324</c:v>
                </c:pt>
                <c:pt idx="50">
                  <c:v>1038.6346</c:v>
                </c:pt>
                <c:pt idx="51">
                  <c:v>1062.3239</c:v>
                </c:pt>
                <c:pt idx="52">
                  <c:v>1113.0316</c:v>
                </c:pt>
                <c:pt idx="53">
                  <c:v>1144.9647</c:v>
                </c:pt>
                <c:pt idx="54">
                  <c:v>1166.565</c:v>
                </c:pt>
                <c:pt idx="55">
                  <c:v>1205.0613</c:v>
                </c:pt>
                <c:pt idx="56">
                  <c:v>1180.4201</c:v>
                </c:pt>
                <c:pt idx="57">
                  <c:v>1167.0947</c:v>
                </c:pt>
                <c:pt idx="58">
                  <c:v>1113.6498</c:v>
                </c:pt>
                <c:pt idx="59">
                  <c:v>1098.7973</c:v>
                </c:pt>
                <c:pt idx="60">
                  <c:v>1123.7979</c:v>
                </c:pt>
                <c:pt idx="61">
                  <c:v>1156.8952</c:v>
                </c:pt>
                <c:pt idx="62">
                  <c:v>1080.2044</c:v>
                </c:pt>
                <c:pt idx="63">
                  <c:v>1096.742</c:v>
                </c:pt>
                <c:pt idx="64">
                  <c:v>1110.1267</c:v>
                </c:pt>
                <c:pt idx="65">
                  <c:v>1093.3821</c:v>
                </c:pt>
                <c:pt idx="66">
                  <c:v>1097.93</c:v>
                </c:pt>
                <c:pt idx="67">
                  <c:v>1105.958</c:v>
                </c:pt>
                <c:pt idx="68">
                  <c:v>1096.5025</c:v>
                </c:pt>
                <c:pt idx="69">
                  <c:v>1056.7986</c:v>
                </c:pt>
                <c:pt idx="70">
                  <c:v>1021.375</c:v>
                </c:pt>
                <c:pt idx="71">
                  <c:v>1177.0873</c:v>
                </c:pt>
                <c:pt idx="72">
                  <c:v>1132.708</c:v>
                </c:pt>
                <c:pt idx="73">
                  <c:v>1147.5349</c:v>
                </c:pt>
                <c:pt idx="74">
                  <c:v>1214.1714</c:v>
                </c:pt>
                <c:pt idx="75">
                  <c:v>1132.2903</c:v>
                </c:pt>
                <c:pt idx="76">
                  <c:v>1238.6907</c:v>
                </c:pt>
                <c:pt idx="77">
                  <c:v>1211.4</c:v>
                </c:pt>
                <c:pt idx="78">
                  <c:v>1261.5205</c:v>
                </c:pt>
                <c:pt idx="79">
                  <c:v>1106.2455</c:v>
                </c:pt>
                <c:pt idx="80">
                  <c:v>1236.1605</c:v>
                </c:pt>
                <c:pt idx="81">
                  <c:v>1241.5169</c:v>
                </c:pt>
                <c:pt idx="82">
                  <c:v>1271.1096</c:v>
                </c:pt>
                <c:pt idx="83">
                  <c:v>1274.9063</c:v>
                </c:pt>
                <c:pt idx="84">
                  <c:v>1211.6667</c:v>
                </c:pt>
                <c:pt idx="85">
                  <c:v>1219.4217</c:v>
                </c:pt>
                <c:pt idx="86">
                  <c:v>1217.9853</c:v>
                </c:pt>
                <c:pt idx="87">
                  <c:v>1236.6036</c:v>
                </c:pt>
                <c:pt idx="88">
                  <c:v>1238.6396</c:v>
                </c:pt>
                <c:pt idx="89">
                  <c:v>1299.6316</c:v>
                </c:pt>
                <c:pt idx="90">
                  <c:v>1298.5484</c:v>
                </c:pt>
                <c:pt idx="91">
                  <c:v>1339.383</c:v>
                </c:pt>
                <c:pt idx="92">
                  <c:v>1226.9648</c:v>
                </c:pt>
                <c:pt idx="93">
                  <c:v>1286.8231</c:v>
                </c:pt>
                <c:pt idx="94">
                  <c:v>1302.9587</c:v>
                </c:pt>
                <c:pt idx="95">
                  <c:v>1225.7542</c:v>
                </c:pt>
                <c:pt idx="96">
                  <c:v>1168.6935</c:v>
                </c:pt>
                <c:pt idx="97">
                  <c:v>1170.259</c:v>
                </c:pt>
                <c:pt idx="98">
                  <c:v>1164.2058</c:v>
                </c:pt>
                <c:pt idx="99">
                  <c:v>1120.2845</c:v>
                </c:pt>
                <c:pt idx="100">
                  <c:v>1141.5838</c:v>
                </c:pt>
                <c:pt idx="101">
                  <c:v>1124.4326</c:v>
                </c:pt>
                <c:pt idx="102">
                  <c:v>1130.5767</c:v>
                </c:pt>
                <c:pt idx="103">
                  <c:v>1129.4414</c:v>
                </c:pt>
                <c:pt idx="104">
                  <c:v>1230.738</c:v>
                </c:pt>
              </c:numCache>
            </c:numRef>
          </c:xVal>
          <c:yVal>
            <c:numRef>
              <c:f>Sheet1!$B$2:$B$106</c:f>
              <c:numCache>
                <c:formatCode>General</c:formatCode>
                <c:ptCount val="105"/>
                <c:pt idx="0">
                  <c:v>0.47</c:v>
                </c:pt>
                <c:pt idx="1">
                  <c:v>0.45540796963946867</c:v>
                </c:pt>
                <c:pt idx="2">
                  <c:v>0.36192109777015435</c:v>
                </c:pt>
                <c:pt idx="3">
                  <c:v>0.3547794117647059</c:v>
                </c:pt>
                <c:pt idx="4">
                  <c:v>0.3086680761099366</c:v>
                </c:pt>
                <c:pt idx="5">
                  <c:v>0.30670103092783507</c:v>
                </c:pt>
                <c:pt idx="6">
                  <c:v>0.37115839243498816</c:v>
                </c:pt>
                <c:pt idx="7">
                  <c:v>0.3501577287066246</c:v>
                </c:pt>
                <c:pt idx="8">
                  <c:v>0.36879432624113473</c:v>
                </c:pt>
                <c:pt idx="9">
                  <c:v>0.39285714285714285</c:v>
                </c:pt>
                <c:pt idx="10">
                  <c:v>0.4282511210762332</c:v>
                </c:pt>
                <c:pt idx="11">
                  <c:v>0.44598337950138506</c:v>
                </c:pt>
                <c:pt idx="12">
                  <c:v>0.5409090909090909</c:v>
                </c:pt>
                <c:pt idx="13">
                  <c:v>0.5572687224669604</c:v>
                </c:pt>
                <c:pt idx="14">
                  <c:v>0.5958429561200924</c:v>
                </c:pt>
                <c:pt idx="15">
                  <c:v>0.556930693069307</c:v>
                </c:pt>
                <c:pt idx="16">
                  <c:v>0.5239520958083832</c:v>
                </c:pt>
                <c:pt idx="17">
                  <c:v>0.4423791821561338</c:v>
                </c:pt>
                <c:pt idx="18">
                  <c:v>0.40444444444444444</c:v>
                </c:pt>
                <c:pt idx="19">
                  <c:v>0.3076923076923077</c:v>
                </c:pt>
                <c:pt idx="20">
                  <c:v>0.34965034965034963</c:v>
                </c:pt>
                <c:pt idx="21">
                  <c:v>0.33624454148471616</c:v>
                </c:pt>
                <c:pt idx="22">
                  <c:v>0.32793522267206476</c:v>
                </c:pt>
                <c:pt idx="23">
                  <c:v>0.371900826446281</c:v>
                </c:pt>
                <c:pt idx="24">
                  <c:v>0.3706293706293706</c:v>
                </c:pt>
                <c:pt idx="25">
                  <c:v>0.36220472440944884</c:v>
                </c:pt>
                <c:pt idx="26">
                  <c:v>0.44150943396226416</c:v>
                </c:pt>
                <c:pt idx="27">
                  <c:v>0.4840989399293286</c:v>
                </c:pt>
                <c:pt idx="28">
                  <c:v>0.4070175438596491</c:v>
                </c:pt>
                <c:pt idx="29">
                  <c:v>0.4449760765550239</c:v>
                </c:pt>
                <c:pt idx="30">
                  <c:v>0.3978494623655914</c:v>
                </c:pt>
                <c:pt idx="31">
                  <c:v>0.45084745762711864</c:v>
                </c:pt>
                <c:pt idx="32">
                  <c:v>0.45045045045045046</c:v>
                </c:pt>
                <c:pt idx="33">
                  <c:v>0.4665314401622718</c:v>
                </c:pt>
                <c:pt idx="34">
                  <c:v>0.46677471636953</c:v>
                </c:pt>
                <c:pt idx="35">
                  <c:v>0.47130434782608693</c:v>
                </c:pt>
                <c:pt idx="36">
                  <c:v>0.4244791666666667</c:v>
                </c:pt>
                <c:pt idx="37">
                  <c:v>0.3902439024390244</c:v>
                </c:pt>
                <c:pt idx="38">
                  <c:v>0.47580645161290325</c:v>
                </c:pt>
                <c:pt idx="39">
                  <c:v>0.5228215767634855</c:v>
                </c:pt>
                <c:pt idx="40">
                  <c:v>0.41620111731843573</c:v>
                </c:pt>
                <c:pt idx="41">
                  <c:v>0.3533834586466165</c:v>
                </c:pt>
                <c:pt idx="42">
                  <c:v>0.3865546218487395</c:v>
                </c:pt>
                <c:pt idx="43">
                  <c:v>0.40358744394618834</c:v>
                </c:pt>
                <c:pt idx="44">
                  <c:v>0.4225352112676056</c:v>
                </c:pt>
                <c:pt idx="45">
                  <c:v>0.4576719576719577</c:v>
                </c:pt>
                <c:pt idx="46">
                  <c:v>0.48687350835322196</c:v>
                </c:pt>
                <c:pt idx="47">
                  <c:v>0.43765903307888043</c:v>
                </c:pt>
                <c:pt idx="48">
                  <c:v>0.4663023679417122</c:v>
                </c:pt>
                <c:pt idx="49">
                  <c:v>0.5427215189873418</c:v>
                </c:pt>
                <c:pt idx="50">
                  <c:v>0.47150259067357514</c:v>
                </c:pt>
                <c:pt idx="51">
                  <c:v>0.4243027888446215</c:v>
                </c:pt>
                <c:pt idx="52">
                  <c:v>0.47606019151846785</c:v>
                </c:pt>
                <c:pt idx="53">
                  <c:v>0.4594594594594595</c:v>
                </c:pt>
                <c:pt idx="54">
                  <c:v>0.40899795501022496</c:v>
                </c:pt>
                <c:pt idx="55">
                  <c:v>0.3638392857142857</c:v>
                </c:pt>
                <c:pt idx="56">
                  <c:v>0.4023809523809524</c:v>
                </c:pt>
                <c:pt idx="57">
                  <c:v>0.37924151696606784</c:v>
                </c:pt>
                <c:pt idx="58">
                  <c:v>0.43485617597292725</c:v>
                </c:pt>
                <c:pt idx="59">
                  <c:v>0.4620187304890739</c:v>
                </c:pt>
                <c:pt idx="60">
                  <c:v>0.446242774566474</c:v>
                </c:pt>
                <c:pt idx="61">
                  <c:v>0.4175084175084175</c:v>
                </c:pt>
                <c:pt idx="62">
                  <c:v>0.4506578947368421</c:v>
                </c:pt>
                <c:pt idx="63">
                  <c:v>0.4805013927576602</c:v>
                </c:pt>
                <c:pt idx="64">
                  <c:v>0.502770083102493</c:v>
                </c:pt>
                <c:pt idx="65">
                  <c:v>0.47104851330203446</c:v>
                </c:pt>
                <c:pt idx="66">
                  <c:v>0.48465266558966075</c:v>
                </c:pt>
                <c:pt idx="67">
                  <c:v>0.5134649910233393</c:v>
                </c:pt>
                <c:pt idx="68">
                  <c:v>0.5012722646310432</c:v>
                </c:pt>
                <c:pt idx="69">
                  <c:v>0.4645161290322581</c:v>
                </c:pt>
                <c:pt idx="70">
                  <c:v>0.4115755627009646</c:v>
                </c:pt>
                <c:pt idx="71">
                  <c:v>0.4117647058823529</c:v>
                </c:pt>
                <c:pt idx="72">
                  <c:v>0.3936781609195402</c:v>
                </c:pt>
                <c:pt idx="73">
                  <c:v>0.3993808049535604</c:v>
                </c:pt>
                <c:pt idx="74">
                  <c:v>0.38461538461538464</c:v>
                </c:pt>
                <c:pt idx="75">
                  <c:v>0.3911671924290221</c:v>
                </c:pt>
                <c:pt idx="76">
                  <c:v>0.354014598540146</c:v>
                </c:pt>
                <c:pt idx="77">
                  <c:v>0.3804347826086957</c:v>
                </c:pt>
                <c:pt idx="78">
                  <c:v>0.33640552995391704</c:v>
                </c:pt>
                <c:pt idx="79">
                  <c:v>0.3654485049833887</c:v>
                </c:pt>
                <c:pt idx="80">
                  <c:v>0.2988929889298893</c:v>
                </c:pt>
                <c:pt idx="81">
                  <c:v>0.33810888252148996</c:v>
                </c:pt>
                <c:pt idx="82">
                  <c:v>0.3004115226337449</c:v>
                </c:pt>
                <c:pt idx="83">
                  <c:v>0.3018867924528302</c:v>
                </c:pt>
                <c:pt idx="84">
                  <c:v>0.3118811881188119</c:v>
                </c:pt>
                <c:pt idx="85">
                  <c:v>0.3029197080291971</c:v>
                </c:pt>
                <c:pt idx="86">
                  <c:v>0.35978835978835977</c:v>
                </c:pt>
                <c:pt idx="87">
                  <c:v>0.3967136150234742</c:v>
                </c:pt>
                <c:pt idx="88">
                  <c:v>0.3627450980392157</c:v>
                </c:pt>
                <c:pt idx="89">
                  <c:v>0.3231292517006803</c:v>
                </c:pt>
                <c:pt idx="90">
                  <c:v>0.3152542372881356</c:v>
                </c:pt>
                <c:pt idx="91">
                  <c:v>0.3197278911564626</c:v>
                </c:pt>
                <c:pt idx="92">
                  <c:v>0.4092219020172911</c:v>
                </c:pt>
                <c:pt idx="93">
                  <c:v>0.4024767801857585</c:v>
                </c:pt>
                <c:pt idx="94">
                  <c:v>0.4306049822064057</c:v>
                </c:pt>
                <c:pt idx="95">
                  <c:v>0.42018779342723006</c:v>
                </c:pt>
                <c:pt idx="96">
                  <c:v>0.3924812030075188</c:v>
                </c:pt>
                <c:pt idx="97">
                  <c:v>0.3994252873563218</c:v>
                </c:pt>
                <c:pt idx="98">
                  <c:v>0.4396751740139211</c:v>
                </c:pt>
                <c:pt idx="99">
                  <c:v>0.474559686888454</c:v>
                </c:pt>
                <c:pt idx="100">
                  <c:v>0.4789297658862876</c:v>
                </c:pt>
                <c:pt idx="101">
                  <c:v>0.43099273607748184</c:v>
                </c:pt>
                <c:pt idx="102">
                  <c:v>0.42828685258964144</c:v>
                </c:pt>
                <c:pt idx="103">
                  <c:v>0.3908450704225352</c:v>
                </c:pt>
                <c:pt idx="104">
                  <c:v>0.41189427312775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7.2512</c:v>
                </c:pt>
                <c:pt idx="1">
                  <c:v>1268.0243</c:v>
                </c:pt>
                <c:pt idx="2">
                  <c:v>1271.0593</c:v>
                </c:pt>
                <c:pt idx="3">
                  <c:v>1302.455</c:v>
                </c:pt>
                <c:pt idx="4">
                  <c:v>1282.9792</c:v>
                </c:pt>
                <c:pt idx="5">
                  <c:v>1293.8841</c:v>
                </c:pt>
                <c:pt idx="6">
                  <c:v>1179.2857</c:v>
                </c:pt>
                <c:pt idx="7">
                  <c:v>1184.693</c:v>
                </c:pt>
                <c:pt idx="8">
                  <c:v>1261.6457</c:v>
                </c:pt>
                <c:pt idx="9">
                  <c:v>1197.6781</c:v>
                </c:pt>
                <c:pt idx="10">
                  <c:v>1267.8165</c:v>
                </c:pt>
                <c:pt idx="11">
                  <c:v>1007.7667</c:v>
                </c:pt>
                <c:pt idx="12">
                  <c:v>1098.8635</c:v>
                </c:pt>
                <c:pt idx="13">
                  <c:v>1167.0246</c:v>
                </c:pt>
                <c:pt idx="14">
                  <c:v>1157.4758</c:v>
                </c:pt>
                <c:pt idx="15">
                  <c:v>1213.4162</c:v>
                </c:pt>
                <c:pt idx="16">
                  <c:v>1255.5338</c:v>
                </c:pt>
                <c:pt idx="17">
                  <c:v>1255.0661</c:v>
                </c:pt>
                <c:pt idx="18">
                  <c:v>1301.5686</c:v>
                </c:pt>
                <c:pt idx="19">
                  <c:v>1405.7692</c:v>
                </c:pt>
                <c:pt idx="20">
                  <c:v>1484.026</c:v>
                </c:pt>
                <c:pt idx="21">
                  <c:v>1288.3913</c:v>
                </c:pt>
                <c:pt idx="22">
                  <c:v>1019.9718</c:v>
                </c:pt>
                <c:pt idx="23">
                  <c:v>1142.2239</c:v>
                </c:pt>
                <c:pt idx="24">
                  <c:v>1165.8514</c:v>
                </c:pt>
                <c:pt idx="25">
                  <c:v>1056.8764</c:v>
                </c:pt>
                <c:pt idx="26">
                  <c:v>1292.7342</c:v>
                </c:pt>
                <c:pt idx="27">
                  <c:v>1285.61</c:v>
                </c:pt>
                <c:pt idx="28">
                  <c:v>1156.7039</c:v>
                </c:pt>
                <c:pt idx="29">
                  <c:v>1140.0088</c:v>
                </c:pt>
                <c:pt idx="30">
                  <c:v>1183.0902</c:v>
                </c:pt>
                <c:pt idx="31">
                  <c:v>1053.595</c:v>
                </c:pt>
                <c:pt idx="32">
                  <c:v>1167.2318</c:v>
                </c:pt>
                <c:pt idx="33">
                  <c:v>1138.137</c:v>
                </c:pt>
                <c:pt idx="34">
                  <c:v>1237.4848</c:v>
                </c:pt>
                <c:pt idx="35">
                  <c:v>1278.1124</c:v>
                </c:pt>
                <c:pt idx="36">
                  <c:v>1207.7282</c:v>
                </c:pt>
                <c:pt idx="37">
                  <c:v>1294.5</c:v>
                </c:pt>
                <c:pt idx="38">
                  <c:v>1214.547</c:v>
                </c:pt>
                <c:pt idx="39">
                  <c:v>1237.7778</c:v>
                </c:pt>
                <c:pt idx="40">
                  <c:v>1311.2689</c:v>
                </c:pt>
                <c:pt idx="41">
                  <c:v>1354.6316</c:v>
                </c:pt>
                <c:pt idx="42">
                  <c:v>1363.9217</c:v>
                </c:pt>
                <c:pt idx="43">
                  <c:v>1386.8795</c:v>
                </c:pt>
                <c:pt idx="44">
                  <c:v>1246.7865</c:v>
                </c:pt>
                <c:pt idx="45">
                  <c:v>1204.7559</c:v>
                </c:pt>
                <c:pt idx="46">
                  <c:v>1186.0647</c:v>
                </c:pt>
                <c:pt idx="47">
                  <c:v>1147.685</c:v>
                </c:pt>
                <c:pt idx="48">
                  <c:v>1141.7314</c:v>
                </c:pt>
                <c:pt idx="49">
                  <c:v>1171.6288</c:v>
                </c:pt>
                <c:pt idx="50">
                  <c:v>1052.8429</c:v>
                </c:pt>
                <c:pt idx="51">
                  <c:v>1025.2109</c:v>
                </c:pt>
              </c:numCache>
            </c:numRef>
          </c:xVal>
          <c:yVal>
            <c:numRef>
              <c:f>Sheet1!$B$109:$B$160</c:f>
              <c:numCache>
                <c:formatCode>General</c:formatCode>
                <c:ptCount val="52"/>
                <c:pt idx="0">
                  <c:v>0.4174757281553398</c:v>
                </c:pt>
                <c:pt idx="1">
                  <c:v>0.42386831275720166</c:v>
                </c:pt>
                <c:pt idx="2">
                  <c:v>0.41622574955908287</c:v>
                </c:pt>
                <c:pt idx="3">
                  <c:v>0.3978494623655914</c:v>
                </c:pt>
                <c:pt idx="4">
                  <c:v>0.3794466403162055</c:v>
                </c:pt>
                <c:pt idx="5">
                  <c:v>0.40350877192982454</c:v>
                </c:pt>
                <c:pt idx="6">
                  <c:v>0.40765391014975044</c:v>
                </c:pt>
                <c:pt idx="7">
                  <c:v>0.46236559139784944</c:v>
                </c:pt>
                <c:pt idx="8">
                  <c:v>0.3981191222570533</c:v>
                </c:pt>
                <c:pt idx="9">
                  <c:v>0.40782122905027934</c:v>
                </c:pt>
                <c:pt idx="10">
                  <c:v>0.4425770308123249</c:v>
                </c:pt>
                <c:pt idx="11">
                  <c:v>0.4874446085672083</c:v>
                </c:pt>
                <c:pt idx="12">
                  <c:v>0.4608843537414966</c:v>
                </c:pt>
                <c:pt idx="13">
                  <c:v>0.4621212121212121</c:v>
                </c:pt>
                <c:pt idx="14">
                  <c:v>0.47689075630252103</c:v>
                </c:pt>
                <c:pt idx="15">
                  <c:v>0.45905707196029777</c:v>
                </c:pt>
                <c:pt idx="16">
                  <c:v>0.4111111111111111</c:v>
                </c:pt>
                <c:pt idx="17">
                  <c:v>0.37003058103975534</c:v>
                </c:pt>
                <c:pt idx="18">
                  <c:v>0.3984375</c:v>
                </c:pt>
                <c:pt idx="19">
                  <c:v>0.391304347826087</c:v>
                </c:pt>
                <c:pt idx="20">
                  <c:v>0.308</c:v>
                </c:pt>
                <c:pt idx="21">
                  <c:v>0.2875</c:v>
                </c:pt>
                <c:pt idx="22">
                  <c:v>0.3697916666666667</c:v>
                </c:pt>
                <c:pt idx="23">
                  <c:v>0.3316831683168317</c:v>
                </c:pt>
                <c:pt idx="24">
                  <c:v>0.3288888888888889</c:v>
                </c:pt>
                <c:pt idx="25">
                  <c:v>0.3803418803418803</c:v>
                </c:pt>
                <c:pt idx="26">
                  <c:v>0.32916666666666666</c:v>
                </c:pt>
                <c:pt idx="27">
                  <c:v>0.33003300330033003</c:v>
                </c:pt>
                <c:pt idx="28">
                  <c:v>0.41304347826086957</c:v>
                </c:pt>
                <c:pt idx="29">
                  <c:v>0.40942028985507245</c:v>
                </c:pt>
                <c:pt idx="30">
                  <c:v>0.4485294117647059</c:v>
                </c:pt>
                <c:pt idx="31">
                  <c:v>0.46360153256704983</c:v>
                </c:pt>
                <c:pt idx="32">
                  <c:v>0.47335423197492166</c:v>
                </c:pt>
                <c:pt idx="33">
                  <c:v>0.5057736720554272</c:v>
                </c:pt>
                <c:pt idx="34">
                  <c:v>0.5428571428571428</c:v>
                </c:pt>
                <c:pt idx="35">
                  <c:v>0.5372233400402414</c:v>
                </c:pt>
                <c:pt idx="36">
                  <c:v>0.44206008583690987</c:v>
                </c:pt>
                <c:pt idx="37">
                  <c:v>0.3798449612403101</c:v>
                </c:pt>
                <c:pt idx="38">
                  <c:v>0.40344827586206894</c:v>
                </c:pt>
                <c:pt idx="39">
                  <c:v>0.4263157894736842</c:v>
                </c:pt>
                <c:pt idx="40">
                  <c:v>0.3901639344262295</c:v>
                </c:pt>
                <c:pt idx="41">
                  <c:v>0.3778409090909091</c:v>
                </c:pt>
                <c:pt idx="42">
                  <c:v>0.38461538461538464</c:v>
                </c:pt>
                <c:pt idx="43">
                  <c:v>0.4058679706601467</c:v>
                </c:pt>
                <c:pt idx="44">
                  <c:v>0.41201716738197425</c:v>
                </c:pt>
                <c:pt idx="45">
                  <c:v>0.4479578392621871</c:v>
                </c:pt>
                <c:pt idx="46">
                  <c:v>0.4522417153996101</c:v>
                </c:pt>
                <c:pt idx="47">
                  <c:v>0.43333333333333335</c:v>
                </c:pt>
                <c:pt idx="48">
                  <c:v>0.4255639097744361</c:v>
                </c:pt>
                <c:pt idx="49">
                  <c:v>0.45403899721448465</c:v>
                </c:pt>
                <c:pt idx="50">
                  <c:v>0.4921030756442228</c:v>
                </c:pt>
                <c:pt idx="51">
                  <c:v>0.463703703703703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4.7111290261266</c:v>
                </c:pt>
              </c:numCache>
            </c:numRef>
          </c:xVal>
          <c:yVal>
            <c:numRef>
              <c:f>Sheet1!$B$163:$B$164</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4.7111290261266</c:v>
                </c:pt>
                <c:pt idx="1">
                  <c:v>1034.7111290261266</c:v>
                </c:pt>
              </c:numCache>
            </c:numRef>
          </c:xVal>
          <c:yVal>
            <c:numRef>
              <c:f>Sheet1!$B$167:$B$168</c:f>
              <c:numCache>
                <c:formatCode>General</c:formatCode>
                <c:ptCount val="2"/>
                <c:pt idx="0">
                  <c:v>0.45885242158421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4.7111290261266</c:v>
                </c:pt>
              </c:numCache>
            </c:numRef>
          </c:xVal>
          <c:yVal>
            <c:numRef>
              <c:f>Sheet1!$B$171:$B$172</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4.7111290261266</c:v>
                </c:pt>
                <c:pt idx="1">
                  <c:v>1034.7111290261266</c:v>
                </c:pt>
              </c:numCache>
            </c:numRef>
          </c:xVal>
          <c:yVal>
            <c:numRef>
              <c:f>Sheet1!$B$175:$B$176</c:f>
              <c:numCache>
                <c:formatCode>General</c:formatCode>
                <c:ptCount val="2"/>
                <c:pt idx="0">
                  <c:v>0.45885242158421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0.6520170889921</c:v>
                </c:pt>
              </c:numCache>
            </c:numRef>
          </c:xVal>
          <c:yVal>
            <c:numRef>
              <c:f>Sheet1!$B$179:$B$18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0.6520170889921</c:v>
                </c:pt>
                <c:pt idx="1">
                  <c:v>1170.6520170889921</c:v>
                </c:pt>
              </c:numCache>
            </c:numRef>
          </c:xVal>
          <c:yVal>
            <c:numRef>
              <c:f>Sheet1!$B$183:$B$184</c:f>
              <c:numCache>
                <c:formatCode>General</c:formatCode>
                <c:ptCount val="2"/>
                <c:pt idx="0">
                  <c:v>0.4281356715369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7.2512</c:v>
                </c:pt>
                <c:pt idx="1">
                  <c:v>1268.0243</c:v>
                </c:pt>
                <c:pt idx="2">
                  <c:v>1271.0593</c:v>
                </c:pt>
                <c:pt idx="3">
                  <c:v>1302.455</c:v>
                </c:pt>
                <c:pt idx="4">
                  <c:v>1282.9792</c:v>
                </c:pt>
                <c:pt idx="5">
                  <c:v>1293.8841</c:v>
                </c:pt>
                <c:pt idx="6">
                  <c:v>1179.2857</c:v>
                </c:pt>
                <c:pt idx="7">
                  <c:v>1184.693</c:v>
                </c:pt>
                <c:pt idx="8">
                  <c:v>1261.6457</c:v>
                </c:pt>
                <c:pt idx="9">
                  <c:v>1197.6781</c:v>
                </c:pt>
                <c:pt idx="10">
                  <c:v>1267.8165</c:v>
                </c:pt>
                <c:pt idx="11">
                  <c:v>1007.7667</c:v>
                </c:pt>
                <c:pt idx="12">
                  <c:v>1098.8635</c:v>
                </c:pt>
                <c:pt idx="13">
                  <c:v>1167.0246</c:v>
                </c:pt>
                <c:pt idx="14">
                  <c:v>1157.4758</c:v>
                </c:pt>
                <c:pt idx="15">
                  <c:v>1213.4162</c:v>
                </c:pt>
                <c:pt idx="16">
                  <c:v>1255.5338</c:v>
                </c:pt>
                <c:pt idx="17">
                  <c:v>1255.0661</c:v>
                </c:pt>
                <c:pt idx="18">
                  <c:v>1301.5686</c:v>
                </c:pt>
                <c:pt idx="19">
                  <c:v>1405.7692</c:v>
                </c:pt>
                <c:pt idx="20">
                  <c:v>1484.026</c:v>
                </c:pt>
                <c:pt idx="21">
                  <c:v>1288.3913</c:v>
                </c:pt>
                <c:pt idx="22">
                  <c:v>1019.9718</c:v>
                </c:pt>
                <c:pt idx="23">
                  <c:v>1142.2239</c:v>
                </c:pt>
                <c:pt idx="24">
                  <c:v>1165.8514</c:v>
                </c:pt>
                <c:pt idx="25">
                  <c:v>1056.8764</c:v>
                </c:pt>
                <c:pt idx="26">
                  <c:v>1292.7342</c:v>
                </c:pt>
                <c:pt idx="27">
                  <c:v>1285.61</c:v>
                </c:pt>
                <c:pt idx="28">
                  <c:v>1156.7039</c:v>
                </c:pt>
                <c:pt idx="29">
                  <c:v>1140.0088</c:v>
                </c:pt>
                <c:pt idx="30">
                  <c:v>1183.0902</c:v>
                </c:pt>
                <c:pt idx="31">
                  <c:v>1053.595</c:v>
                </c:pt>
                <c:pt idx="32">
                  <c:v>1167.2318</c:v>
                </c:pt>
                <c:pt idx="33">
                  <c:v>1138.137</c:v>
                </c:pt>
                <c:pt idx="34">
                  <c:v>1237.4848</c:v>
                </c:pt>
                <c:pt idx="35">
                  <c:v>1278.1124</c:v>
                </c:pt>
                <c:pt idx="36">
                  <c:v>1207.7282</c:v>
                </c:pt>
                <c:pt idx="37">
                  <c:v>1294.5</c:v>
                </c:pt>
                <c:pt idx="38">
                  <c:v>1214.547</c:v>
                </c:pt>
                <c:pt idx="39">
                  <c:v>1237.7778</c:v>
                </c:pt>
                <c:pt idx="40">
                  <c:v>1311.2689</c:v>
                </c:pt>
                <c:pt idx="41">
                  <c:v>1354.6316</c:v>
                </c:pt>
                <c:pt idx="42">
                  <c:v>1363.9217</c:v>
                </c:pt>
                <c:pt idx="43">
                  <c:v>1386.8795</c:v>
                </c:pt>
                <c:pt idx="44">
                  <c:v>1246.7865</c:v>
                </c:pt>
                <c:pt idx="45">
                  <c:v>1204.7559</c:v>
                </c:pt>
                <c:pt idx="46">
                  <c:v>1186.0647</c:v>
                </c:pt>
                <c:pt idx="47">
                  <c:v>1147.685</c:v>
                </c:pt>
                <c:pt idx="48">
                  <c:v>1141.7314</c:v>
                </c:pt>
                <c:pt idx="49">
                  <c:v>1171.6288</c:v>
                </c:pt>
                <c:pt idx="50">
                  <c:v>1052.8429</c:v>
                </c:pt>
                <c:pt idx="51">
                  <c:v>1025.2109</c:v>
                </c:pt>
                <c:pt idx="52">
                  <c:v>1034.7111290261266</c:v>
                </c:pt>
                <c:pt idx="53">
                  <c:v>1034.7111290261266</c:v>
                </c:pt>
                <c:pt idx="54">
                  <c:v>1170.6520170889921</c:v>
                </c:pt>
              </c:numCache>
            </c:numRef>
          </c:xVal>
          <c:yVal>
            <c:numRef>
              <c:f>Sheet1!$B$187:$B$241</c:f>
              <c:numCache>
                <c:formatCode>General</c:formatCode>
                <c:ptCount val="55"/>
                <c:pt idx="0">
                  <c:v>0.4108275754311297</c:v>
                </c:pt>
                <c:pt idx="1">
                  <c:v>0.40613375498093685</c:v>
                </c:pt>
                <c:pt idx="2">
                  <c:v>0.40544797649499426</c:v>
                </c:pt>
                <c:pt idx="3">
                  <c:v>0.3983539087483355</c:v>
                </c:pt>
                <c:pt idx="4">
                  <c:v>0.4027545956137462</c:v>
                </c:pt>
                <c:pt idx="5">
                  <c:v>0.40029056075003755</c:v>
                </c:pt>
                <c:pt idx="6">
                  <c:v>0.4261848333178956</c:v>
                </c:pt>
                <c:pt idx="7">
                  <c:v>0.42496301782958</c:v>
                </c:pt>
                <c:pt idx="8">
                  <c:v>0.4075750421804208</c:v>
                </c:pt>
                <c:pt idx="9">
                  <c:v>0.42202894790608286</c:v>
                </c:pt>
                <c:pt idx="10">
                  <c:v>0.4061807087764489</c:v>
                </c:pt>
                <c:pt idx="11">
                  <c:v>0.4649406949753571</c:v>
                </c:pt>
                <c:pt idx="12">
                  <c:v>0.4443567656250377</c:v>
                </c:pt>
                <c:pt idx="13">
                  <c:v>0.4289553106141036</c:v>
                </c:pt>
                <c:pt idx="14">
                  <c:v>0.43111292564097975</c:v>
                </c:pt>
                <c:pt idx="15">
                  <c:v>0.4184728192768856</c:v>
                </c:pt>
                <c:pt idx="16">
                  <c:v>0.40895606673667545</c:v>
                </c:pt>
                <c:pt idx="17">
                  <c:v>0.40906174667007755</c:v>
                </c:pt>
                <c:pt idx="18">
                  <c:v>0.39855419673843084</c:v>
                </c:pt>
                <c:pt idx="19">
                  <c:v>0.37500937640817894</c:v>
                </c:pt>
                <c:pt idx="20">
                  <c:v>0.3573267306688985</c:v>
                </c:pt>
                <c:pt idx="21">
                  <c:v>0.4015316955334266</c:v>
                </c:pt>
                <c:pt idx="22">
                  <c:v>0.46218287125253055</c:v>
                </c:pt>
                <c:pt idx="23">
                  <c:v>0.4345591941384257</c:v>
                </c:pt>
                <c:pt idx="24">
                  <c:v>0.42922040297644554</c:v>
                </c:pt>
                <c:pt idx="25">
                  <c:v>0.4538440308201356</c:v>
                </c:pt>
                <c:pt idx="26">
                  <c:v>0.4005503883220261</c:v>
                </c:pt>
                <c:pt idx="27">
                  <c:v>0.4021601488128178</c:v>
                </c:pt>
                <c:pt idx="28">
                  <c:v>0.43128734159264337</c:v>
                </c:pt>
                <c:pt idx="29">
                  <c:v>0.4350597107526634</c:v>
                </c:pt>
                <c:pt idx="30">
                  <c:v>0.4253251811762913</c:v>
                </c:pt>
                <c:pt idx="31">
                  <c:v>0.45458548502895674</c:v>
                </c:pt>
                <c:pt idx="32">
                  <c:v>0.4289084923925921</c:v>
                </c:pt>
                <c:pt idx="33">
                  <c:v>0.4354826564429394</c:v>
                </c:pt>
                <c:pt idx="34">
                  <c:v>0.41303435862885957</c:v>
                </c:pt>
                <c:pt idx="35">
                  <c:v>0.40385428152326375</c:v>
                </c:pt>
                <c:pt idx="36">
                  <c:v>0.4197580608017758</c:v>
                </c:pt>
                <c:pt idx="37">
                  <c:v>0.400151394038508</c:v>
                </c:pt>
                <c:pt idx="38">
                  <c:v>0.4182173074772467</c:v>
                </c:pt>
                <c:pt idx="39">
                  <c:v>0.4129681533252743</c:v>
                </c:pt>
                <c:pt idx="40">
                  <c:v>0.3963623492764245</c:v>
                </c:pt>
                <c:pt idx="41">
                  <c:v>0.38656425808947725</c:v>
                </c:pt>
                <c:pt idx="42">
                  <c:v>0.38446509805249013</c:v>
                </c:pt>
                <c:pt idx="43">
                  <c:v>0.37927763007075244</c:v>
                </c:pt>
                <c:pt idx="44">
                  <c:v>0.4109325774945292</c:v>
                </c:pt>
                <c:pt idx="45">
                  <c:v>0.4204296718046645</c:v>
                </c:pt>
                <c:pt idx="46">
                  <c:v>0.42465307306873407</c:v>
                </c:pt>
                <c:pt idx="47">
                  <c:v>0.43332522218139724</c:v>
                </c:pt>
                <c:pt idx="48">
                  <c:v>0.4346704777971825</c:v>
                </c:pt>
                <c:pt idx="49">
                  <c:v>0.42791496092547854</c:v>
                </c:pt>
                <c:pt idx="50">
                  <c:v>0.45475542703860333</c:v>
                </c:pt>
                <c:pt idx="51">
                  <c:v>0.460999061675693</c:v>
                </c:pt>
                <c:pt idx="52">
                  <c:v>0.4588524215842118</c:v>
                </c:pt>
                <c:pt idx="53">
                  <c:v>0.4588524215842118</c:v>
                </c:pt>
                <c:pt idx="54">
                  <c:v>0.4281356715369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6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299999999999999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235435348911652</c:v>
                </c:pt>
                <c:pt idx="1">
                  <c:v>0.6768279817351599</c:v>
                </c:pt>
                <c:pt idx="2">
                  <c:v>0.6000266993263932</c:v>
                </c:pt>
                <c:pt idx="3">
                  <c:v>0.7219956871765382</c:v>
                </c:pt>
                <c:pt idx="4">
                  <c:v>0.6970776978587543</c:v>
                </c:pt>
                <c:pt idx="5">
                  <c:v>1.0419548718944098</c:v>
                </c:pt>
                <c:pt idx="6">
                  <c:v>0.8099828060522696</c:v>
                </c:pt>
                <c:pt idx="7">
                  <c:v>0.6107432939521362</c:v>
                </c:pt>
                <c:pt idx="8">
                  <c:v>0.6983963321799308</c:v>
                </c:pt>
                <c:pt idx="9">
                  <c:v>0.6217188621740602</c:v>
                </c:pt>
                <c:pt idx="10">
                  <c:v>0.7106948698315467</c:v>
                </c:pt>
                <c:pt idx="11">
                  <c:v>0.7328243174372042</c:v>
                </c:pt>
                <c:pt idx="12">
                  <c:v>0.668476958677686</c:v>
                </c:pt>
                <c:pt idx="13">
                  <c:v>0.6629013657056146</c:v>
                </c:pt>
                <c:pt idx="14">
                  <c:v>0.8339334397528162</c:v>
                </c:pt>
                <c:pt idx="15">
                  <c:v>0.6674472467978345</c:v>
                </c:pt>
                <c:pt idx="16">
                  <c:v>0.48644210014584344</c:v>
                </c:pt>
                <c:pt idx="17">
                  <c:v>0.8447143039863568</c:v>
                </c:pt>
                <c:pt idx="18">
                  <c:v>0.5831406826096511</c:v>
                </c:pt>
                <c:pt idx="19">
                  <c:v>0.7993697691197691</c:v>
                </c:pt>
                <c:pt idx="20">
                  <c:v>0.891069330199765</c:v>
                </c:pt>
                <c:pt idx="21">
                  <c:v>0.8439918276374442</c:v>
                </c:pt>
                <c:pt idx="22">
                  <c:v>0.845898605132351</c:v>
                </c:pt>
                <c:pt idx="23">
                  <c:v>0.6904812738853503</c:v>
                </c:pt>
                <c:pt idx="24">
                  <c:v>0.7519315373563218</c:v>
                </c:pt>
                <c:pt idx="25">
                  <c:v>0.6292115227248488</c:v>
                </c:pt>
                <c:pt idx="26">
                  <c:v>0.9289254814151365</c:v>
                </c:pt>
                <c:pt idx="27">
                  <c:v>0.8644717532467532</c:v>
                </c:pt>
                <c:pt idx="28">
                  <c:v>0.8661782033000611</c:v>
                </c:pt>
                <c:pt idx="29">
                  <c:v>0.7537617029067548</c:v>
                </c:pt>
                <c:pt idx="30">
                  <c:v>0.7462191143316371</c:v>
                </c:pt>
                <c:pt idx="31">
                  <c:v>0.8116481755421033</c:v>
                </c:pt>
                <c:pt idx="32">
                  <c:v>0.7081527885210381</c:v>
                </c:pt>
                <c:pt idx="33">
                  <c:v>0.7069623915139827</c:v>
                </c:pt>
                <c:pt idx="34">
                  <c:v>0.8545301595651412</c:v>
                </c:pt>
                <c:pt idx="35">
                  <c:v>0.994699644615375</c:v>
                </c:pt>
                <c:pt idx="36">
                  <c:v>1.1814072708653354</c:v>
                </c:pt>
                <c:pt idx="37">
                  <c:v>1.0354407951059954</c:v>
                </c:pt>
                <c:pt idx="38">
                  <c:v>1.1414465844402277</c:v>
                </c:pt>
                <c:pt idx="39">
                  <c:v>1.078346920752963</c:v>
                </c:pt>
                <c:pt idx="40">
                  <c:v>1.0148145901639343</c:v>
                </c:pt>
                <c:pt idx="41">
                  <c:v>1.0392190895233</c:v>
                </c:pt>
                <c:pt idx="42">
                  <c:v>1.0959673365771103</c:v>
                </c:pt>
                <c:pt idx="43">
                  <c:v>1.231832955618508</c:v>
                </c:pt>
                <c:pt idx="44">
                  <c:v>0.8892375487900078</c:v>
                </c:pt>
                <c:pt idx="45">
                  <c:v>0.7734092964114156</c:v>
                </c:pt>
                <c:pt idx="46">
                  <c:v>0.7467256571137867</c:v>
                </c:pt>
                <c:pt idx="47">
                  <c:v>0.6264511375311903</c:v>
                </c:pt>
                <c:pt idx="48">
                  <c:v>0.786816837397201</c:v>
                </c:pt>
                <c:pt idx="49">
                  <c:v>0.7719033773861967</c:v>
                </c:pt>
                <c:pt idx="50">
                  <c:v>0.764545160103055</c:v>
                </c:pt>
                <c:pt idx="51">
                  <c:v>0.757180256593015</c:v>
                </c:pt>
                <c:pt idx="52">
                  <c:v>0.7756317770034843</c:v>
                </c:pt>
                <c:pt idx="53">
                  <c:v>0.9190966887417219</c:v>
                </c:pt>
                <c:pt idx="54">
                  <c:v>0.8099739628536713</c:v>
                </c:pt>
                <c:pt idx="55">
                  <c:v>0.9585279191854916</c:v>
                </c:pt>
                <c:pt idx="56">
                  <c:v>0.7831181730012865</c:v>
                </c:pt>
                <c:pt idx="57">
                  <c:v>0.6110443455497383</c:v>
                </c:pt>
                <c:pt idx="58">
                  <c:v>0.5980933404940924</c:v>
                </c:pt>
                <c:pt idx="59">
                  <c:v>0.7482446714334354</c:v>
                </c:pt>
                <c:pt idx="60">
                  <c:v>0.767097542662116</c:v>
                </c:pt>
                <c:pt idx="61">
                  <c:v>0.8076057242582897</c:v>
                </c:pt>
                <c:pt idx="62">
                  <c:v>0.7957306813996318</c:v>
                </c:pt>
                <c:pt idx="63">
                  <c:v>0.7064685615815117</c:v>
                </c:pt>
                <c:pt idx="64">
                  <c:v>0.8298461595963371</c:v>
                </c:pt>
                <c:pt idx="65">
                  <c:v>0.7263388779083011</c:v>
                </c:pt>
                <c:pt idx="66">
                  <c:v>0.6783626814952116</c:v>
                </c:pt>
                <c:pt idx="67">
                  <c:v>1.4197150192554557</c:v>
                </c:pt>
                <c:pt idx="68">
                  <c:v>0.48092214912280706</c:v>
                </c:pt>
                <c:pt idx="69">
                  <c:v>0.31201612046058463</c:v>
                </c:pt>
                <c:pt idx="70">
                  <c:v>0.44994493392070484</c:v>
                </c:pt>
                <c:pt idx="71">
                  <c:v>0.5518458977965307</c:v>
                </c:pt>
                <c:pt idx="72">
                  <c:v>2.0445992779783393</c:v>
                </c:pt>
                <c:pt idx="73">
                  <c:v>0.5055219823788547</c:v>
                </c:pt>
                <c:pt idx="74">
                  <c:v>0.5759826375711574</c:v>
                </c:pt>
                <c:pt idx="75">
                  <c:v>0.4339939823687236</c:v>
                </c:pt>
                <c:pt idx="76">
                  <c:v>0.5758673640167364</c:v>
                </c:pt>
                <c:pt idx="77">
                  <c:v>0.5757604562737643</c:v>
                </c:pt>
                <c:pt idx="78">
                  <c:v>0.39422515625000004</c:v>
                </c:pt>
                <c:pt idx="79">
                  <c:v>0.5693492022645393</c:v>
                </c:pt>
                <c:pt idx="80">
                  <c:v>0.8839188416160171</c:v>
                </c:pt>
                <c:pt idx="81">
                  <c:v>0.35778585014409225</c:v>
                </c:pt>
                <c:pt idx="82">
                  <c:v>0.588340476741495</c:v>
                </c:pt>
                <c:pt idx="83">
                  <c:v>0.8828990997229917</c:v>
                </c:pt>
                <c:pt idx="84">
                  <c:v>0.9313348962336664</c:v>
                </c:pt>
                <c:pt idx="85">
                  <c:v>0.5314542166049249</c:v>
                </c:pt>
                <c:pt idx="86">
                  <c:v>0.3507012093291103</c:v>
                </c:pt>
                <c:pt idx="87">
                  <c:v>0.4610751677852349</c:v>
                </c:pt>
                <c:pt idx="88">
                  <c:v>0.7775515379786566</c:v>
                </c:pt>
                <c:pt idx="89">
                  <c:v>0.8841031292517006</c:v>
                </c:pt>
                <c:pt idx="90">
                  <c:v>1.82636905766526</c:v>
                </c:pt>
                <c:pt idx="91">
                  <c:v>0.3975609973285842</c:v>
                </c:pt>
                <c:pt idx="92">
                  <c:v>0.6760136639118457</c:v>
                </c:pt>
                <c:pt idx="93">
                  <c:v>1.2290574021012417</c:v>
                </c:pt>
                <c:pt idx="94">
                  <c:v>0.3624363560500695</c:v>
                </c:pt>
                <c:pt idx="95">
                  <c:v>1.0543617870835598</c:v>
                </c:pt>
                <c:pt idx="96">
                  <c:v>1.0703955448143962</c:v>
                </c:pt>
                <c:pt idx="97">
                  <c:v>1.1616865663211464</c:v>
                </c:pt>
                <c:pt idx="98">
                  <c:v>1.135575555536264</c:v>
                </c:pt>
                <c:pt idx="99">
                  <c:v>1.0211127995703664</c:v>
                </c:pt>
                <c:pt idx="100">
                  <c:v>1.042109736187126</c:v>
                </c:pt>
                <c:pt idx="101">
                  <c:v>1.073722203537986</c:v>
                </c:pt>
                <c:pt idx="102">
                  <c:v>1.051151679125293</c:v>
                </c:pt>
                <c:pt idx="103">
                  <c:v>1.0803073990309726</c:v>
                </c:pt>
                <c:pt idx="104">
                  <c:v>1.152286530460686</c:v>
                </c:pt>
              </c:numCache>
            </c:numRef>
          </c:xVal>
          <c:yVal>
            <c:numRef>
              <c:f>Sheet1!$B$2:$B$106</c:f>
              <c:numCache>
                <c:formatCode>General</c:formatCode>
                <c:ptCount val="105"/>
                <c:pt idx="0">
                  <c:v>0.47</c:v>
                </c:pt>
                <c:pt idx="1">
                  <c:v>0.45540796963946867</c:v>
                </c:pt>
                <c:pt idx="2">
                  <c:v>0.36192109777015435</c:v>
                </c:pt>
                <c:pt idx="3">
                  <c:v>0.3547794117647059</c:v>
                </c:pt>
                <c:pt idx="4">
                  <c:v>0.3086680761099366</c:v>
                </c:pt>
                <c:pt idx="5">
                  <c:v>0.30670103092783507</c:v>
                </c:pt>
                <c:pt idx="6">
                  <c:v>0.37115839243498816</c:v>
                </c:pt>
                <c:pt idx="7">
                  <c:v>0.3501577287066246</c:v>
                </c:pt>
                <c:pt idx="8">
                  <c:v>0.36879432624113473</c:v>
                </c:pt>
                <c:pt idx="9">
                  <c:v>0.39285714285714285</c:v>
                </c:pt>
                <c:pt idx="10">
                  <c:v>0.4282511210762332</c:v>
                </c:pt>
                <c:pt idx="11">
                  <c:v>0.44598337950138506</c:v>
                </c:pt>
                <c:pt idx="12">
                  <c:v>0.5409090909090909</c:v>
                </c:pt>
                <c:pt idx="13">
                  <c:v>0.5572687224669604</c:v>
                </c:pt>
                <c:pt idx="14">
                  <c:v>0.5958429561200924</c:v>
                </c:pt>
                <c:pt idx="15">
                  <c:v>0.556930693069307</c:v>
                </c:pt>
                <c:pt idx="16">
                  <c:v>0.5239520958083832</c:v>
                </c:pt>
                <c:pt idx="17">
                  <c:v>0.4423791821561338</c:v>
                </c:pt>
                <c:pt idx="18">
                  <c:v>0.40444444444444444</c:v>
                </c:pt>
                <c:pt idx="19">
                  <c:v>0.3076923076923077</c:v>
                </c:pt>
                <c:pt idx="20">
                  <c:v>0.34965034965034963</c:v>
                </c:pt>
                <c:pt idx="21">
                  <c:v>0.33624454148471616</c:v>
                </c:pt>
                <c:pt idx="22">
                  <c:v>0.32793522267206476</c:v>
                </c:pt>
                <c:pt idx="23">
                  <c:v>0.371900826446281</c:v>
                </c:pt>
                <c:pt idx="24">
                  <c:v>0.3706293706293706</c:v>
                </c:pt>
                <c:pt idx="25">
                  <c:v>0.36220472440944884</c:v>
                </c:pt>
                <c:pt idx="26">
                  <c:v>0.44150943396226416</c:v>
                </c:pt>
                <c:pt idx="27">
                  <c:v>0.4840989399293286</c:v>
                </c:pt>
                <c:pt idx="28">
                  <c:v>0.4070175438596491</c:v>
                </c:pt>
                <c:pt idx="29">
                  <c:v>0.4449760765550239</c:v>
                </c:pt>
                <c:pt idx="30">
                  <c:v>0.3978494623655914</c:v>
                </c:pt>
                <c:pt idx="31">
                  <c:v>0.45084745762711864</c:v>
                </c:pt>
                <c:pt idx="32">
                  <c:v>0.45045045045045046</c:v>
                </c:pt>
                <c:pt idx="33">
                  <c:v>0.4665314401622718</c:v>
                </c:pt>
                <c:pt idx="34">
                  <c:v>0.46677471636953</c:v>
                </c:pt>
                <c:pt idx="35">
                  <c:v>0.47130434782608693</c:v>
                </c:pt>
                <c:pt idx="36">
                  <c:v>0.4244791666666667</c:v>
                </c:pt>
                <c:pt idx="37">
                  <c:v>0.3902439024390244</c:v>
                </c:pt>
                <c:pt idx="38">
                  <c:v>0.47580645161290325</c:v>
                </c:pt>
                <c:pt idx="39">
                  <c:v>0.5228215767634855</c:v>
                </c:pt>
                <c:pt idx="40">
                  <c:v>0.41620111731843573</c:v>
                </c:pt>
                <c:pt idx="41">
                  <c:v>0.3533834586466165</c:v>
                </c:pt>
                <c:pt idx="42">
                  <c:v>0.3865546218487395</c:v>
                </c:pt>
                <c:pt idx="43">
                  <c:v>0.40358744394618834</c:v>
                </c:pt>
                <c:pt idx="44">
                  <c:v>0.4225352112676056</c:v>
                </c:pt>
                <c:pt idx="45">
                  <c:v>0.4576719576719577</c:v>
                </c:pt>
                <c:pt idx="46">
                  <c:v>0.48687350835322196</c:v>
                </c:pt>
                <c:pt idx="47">
                  <c:v>0.43765903307888043</c:v>
                </c:pt>
                <c:pt idx="48">
                  <c:v>0.4663023679417122</c:v>
                </c:pt>
                <c:pt idx="49">
                  <c:v>0.5427215189873418</c:v>
                </c:pt>
                <c:pt idx="50">
                  <c:v>0.47150259067357514</c:v>
                </c:pt>
                <c:pt idx="51">
                  <c:v>0.4243027888446215</c:v>
                </c:pt>
                <c:pt idx="52">
                  <c:v>0.47606019151846785</c:v>
                </c:pt>
                <c:pt idx="53">
                  <c:v>0.4594594594594595</c:v>
                </c:pt>
                <c:pt idx="54">
                  <c:v>0.40899795501022496</c:v>
                </c:pt>
                <c:pt idx="55">
                  <c:v>0.3638392857142857</c:v>
                </c:pt>
                <c:pt idx="56">
                  <c:v>0.4023809523809524</c:v>
                </c:pt>
                <c:pt idx="57">
                  <c:v>0.37924151696606784</c:v>
                </c:pt>
                <c:pt idx="58">
                  <c:v>0.43485617597292725</c:v>
                </c:pt>
                <c:pt idx="59">
                  <c:v>0.4620187304890739</c:v>
                </c:pt>
                <c:pt idx="60">
                  <c:v>0.446242774566474</c:v>
                </c:pt>
                <c:pt idx="61">
                  <c:v>0.4175084175084175</c:v>
                </c:pt>
                <c:pt idx="62">
                  <c:v>0.4506578947368421</c:v>
                </c:pt>
                <c:pt idx="63">
                  <c:v>0.4805013927576602</c:v>
                </c:pt>
                <c:pt idx="64">
                  <c:v>0.502770083102493</c:v>
                </c:pt>
                <c:pt idx="65">
                  <c:v>0.47104851330203446</c:v>
                </c:pt>
                <c:pt idx="66">
                  <c:v>0.48465266558966075</c:v>
                </c:pt>
                <c:pt idx="67">
                  <c:v>0.5134649910233393</c:v>
                </c:pt>
                <c:pt idx="68">
                  <c:v>0.5012722646310432</c:v>
                </c:pt>
                <c:pt idx="69">
                  <c:v>0.4645161290322581</c:v>
                </c:pt>
                <c:pt idx="70">
                  <c:v>0.4115755627009646</c:v>
                </c:pt>
                <c:pt idx="71">
                  <c:v>0.4117647058823529</c:v>
                </c:pt>
                <c:pt idx="72">
                  <c:v>0.3936781609195402</c:v>
                </c:pt>
                <c:pt idx="73">
                  <c:v>0.3993808049535604</c:v>
                </c:pt>
                <c:pt idx="74">
                  <c:v>0.38461538461538464</c:v>
                </c:pt>
                <c:pt idx="75">
                  <c:v>0.3911671924290221</c:v>
                </c:pt>
                <c:pt idx="76">
                  <c:v>0.354014598540146</c:v>
                </c:pt>
                <c:pt idx="77">
                  <c:v>0.3804347826086957</c:v>
                </c:pt>
                <c:pt idx="78">
                  <c:v>0.33640552995391704</c:v>
                </c:pt>
                <c:pt idx="79">
                  <c:v>0.3654485049833887</c:v>
                </c:pt>
                <c:pt idx="80">
                  <c:v>0.2988929889298893</c:v>
                </c:pt>
                <c:pt idx="81">
                  <c:v>0.33810888252148996</c:v>
                </c:pt>
                <c:pt idx="82">
                  <c:v>0.3004115226337449</c:v>
                </c:pt>
                <c:pt idx="83">
                  <c:v>0.3018867924528302</c:v>
                </c:pt>
                <c:pt idx="84">
                  <c:v>0.3118811881188119</c:v>
                </c:pt>
                <c:pt idx="85">
                  <c:v>0.3029197080291971</c:v>
                </c:pt>
                <c:pt idx="86">
                  <c:v>0.35978835978835977</c:v>
                </c:pt>
                <c:pt idx="87">
                  <c:v>0.3967136150234742</c:v>
                </c:pt>
                <c:pt idx="88">
                  <c:v>0.3627450980392157</c:v>
                </c:pt>
                <c:pt idx="89">
                  <c:v>0.3231292517006803</c:v>
                </c:pt>
                <c:pt idx="90">
                  <c:v>0.3152542372881356</c:v>
                </c:pt>
                <c:pt idx="91">
                  <c:v>0.3197278911564626</c:v>
                </c:pt>
                <c:pt idx="92">
                  <c:v>0.4092219020172911</c:v>
                </c:pt>
                <c:pt idx="93">
                  <c:v>0.4024767801857585</c:v>
                </c:pt>
                <c:pt idx="94">
                  <c:v>0.4306049822064057</c:v>
                </c:pt>
                <c:pt idx="95">
                  <c:v>0.42018779342723006</c:v>
                </c:pt>
                <c:pt idx="96">
                  <c:v>0.3924812030075188</c:v>
                </c:pt>
                <c:pt idx="97">
                  <c:v>0.3994252873563218</c:v>
                </c:pt>
                <c:pt idx="98">
                  <c:v>0.4396751740139211</c:v>
                </c:pt>
                <c:pt idx="99">
                  <c:v>0.474559686888454</c:v>
                </c:pt>
                <c:pt idx="100">
                  <c:v>0.4789297658862876</c:v>
                </c:pt>
                <c:pt idx="101">
                  <c:v>0.43099273607748184</c:v>
                </c:pt>
                <c:pt idx="102">
                  <c:v>0.42828685258964144</c:v>
                </c:pt>
                <c:pt idx="103">
                  <c:v>0.3908450704225352</c:v>
                </c:pt>
                <c:pt idx="104">
                  <c:v>0.41189427312775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99992610996684</c:v>
                </c:pt>
                <c:pt idx="1">
                  <c:v>1.1729670502479095</c:v>
                </c:pt>
                <c:pt idx="2">
                  <c:v>1.1556765529531567</c:v>
                </c:pt>
                <c:pt idx="3">
                  <c:v>1.241277756858785</c:v>
                </c:pt>
                <c:pt idx="4">
                  <c:v>1.1222598112945954</c:v>
                </c:pt>
                <c:pt idx="5">
                  <c:v>1.3462459316372513</c:v>
                </c:pt>
                <c:pt idx="6">
                  <c:v>1.3715578052389885</c:v>
                </c:pt>
                <c:pt idx="7">
                  <c:v>1.4606004191838244</c:v>
                </c:pt>
                <c:pt idx="8">
                  <c:v>1.7003311320754717</c:v>
                </c:pt>
                <c:pt idx="9">
                  <c:v>1.461474191580232</c:v>
                </c:pt>
                <c:pt idx="10">
                  <c:v>1.42475913253324</c:v>
                </c:pt>
                <c:pt idx="11">
                  <c:v>1.265347395668798</c:v>
                </c:pt>
                <c:pt idx="12">
                  <c:v>1.3736748454017553</c:v>
                </c:pt>
                <c:pt idx="13">
                  <c:v>1.3550545429887506</c:v>
                </c:pt>
                <c:pt idx="14">
                  <c:v>1.5414039067382532</c:v>
                </c:pt>
                <c:pt idx="15">
                  <c:v>1.4297480959824895</c:v>
                </c:pt>
                <c:pt idx="16">
                  <c:v>1.5045342121030556</c:v>
                </c:pt>
                <c:pt idx="17">
                  <c:v>1.5442647244653895</c:v>
                </c:pt>
                <c:pt idx="18">
                  <c:v>2.562647371529829</c:v>
                </c:pt>
                <c:pt idx="19">
                  <c:v>2.919248753560625</c:v>
                </c:pt>
                <c:pt idx="20">
                  <c:v>2.939979895961402</c:v>
                </c:pt>
                <c:pt idx="21">
                  <c:v>2.6936886891072547</c:v>
                </c:pt>
                <c:pt idx="22">
                  <c:v>2.407486356610043</c:v>
                </c:pt>
                <c:pt idx="23">
                  <c:v>2.5322463361676224</c:v>
                </c:pt>
                <c:pt idx="24">
                  <c:v>2.7081333333333335</c:v>
                </c:pt>
                <c:pt idx="25">
                  <c:v>2.2651708646527506</c:v>
                </c:pt>
                <c:pt idx="26">
                  <c:v>2.988714761807331</c:v>
                </c:pt>
                <c:pt idx="27">
                  <c:v>2.827320376055316</c:v>
                </c:pt>
                <c:pt idx="28">
                  <c:v>2.475172182984516</c:v>
                </c:pt>
                <c:pt idx="29">
                  <c:v>2.4980860207089735</c:v>
                </c:pt>
                <c:pt idx="30">
                  <c:v>1.9976195863233432</c:v>
                </c:pt>
                <c:pt idx="31">
                  <c:v>1.8662377983674239</c:v>
                </c:pt>
                <c:pt idx="32">
                  <c:v>2.6292705617344785</c:v>
                </c:pt>
                <c:pt idx="33">
                  <c:v>2.8266365261292083</c:v>
                </c:pt>
                <c:pt idx="34">
                  <c:v>2.135312673145788</c:v>
                </c:pt>
                <c:pt idx="35">
                  <c:v>2.1881323604362253</c:v>
                </c:pt>
                <c:pt idx="36">
                  <c:v>2.1721730215827337</c:v>
                </c:pt>
                <c:pt idx="37">
                  <c:v>3.2308649558348623</c:v>
                </c:pt>
                <c:pt idx="38">
                  <c:v>2.8473357283317813</c:v>
                </c:pt>
                <c:pt idx="39">
                  <c:v>1.910150925925926</c:v>
                </c:pt>
                <c:pt idx="40">
                  <c:v>2.5778548114118736</c:v>
                </c:pt>
                <c:pt idx="41">
                  <c:v>2.016571045775958</c:v>
                </c:pt>
                <c:pt idx="42">
                  <c:v>2.5299975885735484</c:v>
                </c:pt>
                <c:pt idx="43">
                  <c:v>3.0773951126187047</c:v>
                </c:pt>
                <c:pt idx="44">
                  <c:v>2.689109441770811</c:v>
                </c:pt>
                <c:pt idx="45">
                  <c:v>2.2744654159292037</c:v>
                </c:pt>
                <c:pt idx="46">
                  <c:v>1.7626820731933865</c:v>
                </c:pt>
                <c:pt idx="47">
                  <c:v>1.4304342098227756</c:v>
                </c:pt>
                <c:pt idx="48">
                  <c:v>1.0189481481481482</c:v>
                </c:pt>
                <c:pt idx="49">
                  <c:v>1.8288839804878048</c:v>
                </c:pt>
                <c:pt idx="50">
                  <c:v>0.8193329961089495</c:v>
                </c:pt>
                <c:pt idx="51">
                  <c:v>1.0016716170004885</c:v>
                </c:pt>
              </c:numCache>
            </c:numRef>
          </c:xVal>
          <c:yVal>
            <c:numRef>
              <c:f>Sheet1!$B$109:$B$160</c:f>
              <c:numCache>
                <c:formatCode>General</c:formatCode>
                <c:ptCount val="52"/>
                <c:pt idx="0">
                  <c:v>0.4174757281553398</c:v>
                </c:pt>
                <c:pt idx="1">
                  <c:v>0.42386831275720166</c:v>
                </c:pt>
                <c:pt idx="2">
                  <c:v>0.41622574955908287</c:v>
                </c:pt>
                <c:pt idx="3">
                  <c:v>0.3978494623655914</c:v>
                </c:pt>
                <c:pt idx="4">
                  <c:v>0.3794466403162055</c:v>
                </c:pt>
                <c:pt idx="5">
                  <c:v>0.40350877192982454</c:v>
                </c:pt>
                <c:pt idx="6">
                  <c:v>0.40765391014975044</c:v>
                </c:pt>
                <c:pt idx="7">
                  <c:v>0.46236559139784944</c:v>
                </c:pt>
                <c:pt idx="8">
                  <c:v>0.3981191222570533</c:v>
                </c:pt>
                <c:pt idx="9">
                  <c:v>0.40782122905027934</c:v>
                </c:pt>
                <c:pt idx="10">
                  <c:v>0.4425770308123249</c:v>
                </c:pt>
                <c:pt idx="11">
                  <c:v>0.4874446085672083</c:v>
                </c:pt>
                <c:pt idx="12">
                  <c:v>0.4608843537414966</c:v>
                </c:pt>
                <c:pt idx="13">
                  <c:v>0.4621212121212121</c:v>
                </c:pt>
                <c:pt idx="14">
                  <c:v>0.47689075630252103</c:v>
                </c:pt>
                <c:pt idx="15">
                  <c:v>0.45905707196029777</c:v>
                </c:pt>
                <c:pt idx="16">
                  <c:v>0.4111111111111111</c:v>
                </c:pt>
                <c:pt idx="17">
                  <c:v>0.37003058103975534</c:v>
                </c:pt>
                <c:pt idx="18">
                  <c:v>0.3984375</c:v>
                </c:pt>
                <c:pt idx="19">
                  <c:v>0.391304347826087</c:v>
                </c:pt>
                <c:pt idx="20">
                  <c:v>0.308</c:v>
                </c:pt>
                <c:pt idx="21">
                  <c:v>0.2875</c:v>
                </c:pt>
                <c:pt idx="22">
                  <c:v>0.3697916666666667</c:v>
                </c:pt>
                <c:pt idx="23">
                  <c:v>0.3316831683168317</c:v>
                </c:pt>
                <c:pt idx="24">
                  <c:v>0.3288888888888889</c:v>
                </c:pt>
                <c:pt idx="25">
                  <c:v>0.3803418803418803</c:v>
                </c:pt>
                <c:pt idx="26">
                  <c:v>0.32916666666666666</c:v>
                </c:pt>
                <c:pt idx="27">
                  <c:v>0.33003300330033003</c:v>
                </c:pt>
                <c:pt idx="28">
                  <c:v>0.41304347826086957</c:v>
                </c:pt>
                <c:pt idx="29">
                  <c:v>0.40942028985507245</c:v>
                </c:pt>
                <c:pt idx="30">
                  <c:v>0.4485294117647059</c:v>
                </c:pt>
                <c:pt idx="31">
                  <c:v>0.46360153256704983</c:v>
                </c:pt>
                <c:pt idx="32">
                  <c:v>0.47335423197492166</c:v>
                </c:pt>
                <c:pt idx="33">
                  <c:v>0.5057736720554272</c:v>
                </c:pt>
                <c:pt idx="34">
                  <c:v>0.5428571428571428</c:v>
                </c:pt>
                <c:pt idx="35">
                  <c:v>0.5372233400402414</c:v>
                </c:pt>
                <c:pt idx="36">
                  <c:v>0.44206008583690987</c:v>
                </c:pt>
                <c:pt idx="37">
                  <c:v>0.3798449612403101</c:v>
                </c:pt>
                <c:pt idx="38">
                  <c:v>0.40344827586206894</c:v>
                </c:pt>
                <c:pt idx="39">
                  <c:v>0.4263157894736842</c:v>
                </c:pt>
                <c:pt idx="40">
                  <c:v>0.3901639344262295</c:v>
                </c:pt>
                <c:pt idx="41">
                  <c:v>0.3778409090909091</c:v>
                </c:pt>
                <c:pt idx="42">
                  <c:v>0.38461538461538464</c:v>
                </c:pt>
                <c:pt idx="43">
                  <c:v>0.4058679706601467</c:v>
                </c:pt>
                <c:pt idx="44">
                  <c:v>0.41201716738197425</c:v>
                </c:pt>
                <c:pt idx="45">
                  <c:v>0.4479578392621871</c:v>
                </c:pt>
                <c:pt idx="46">
                  <c:v>0.4522417153996101</c:v>
                </c:pt>
                <c:pt idx="47">
                  <c:v>0.43333333333333335</c:v>
                </c:pt>
                <c:pt idx="48">
                  <c:v>0.4255639097744361</c:v>
                </c:pt>
                <c:pt idx="49">
                  <c:v>0.45403899721448465</c:v>
                </c:pt>
                <c:pt idx="50">
                  <c:v>0.4921030756442228</c:v>
                </c:pt>
                <c:pt idx="51">
                  <c:v>0.463703703703703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484855066460572</c:v>
                </c:pt>
              </c:numCache>
            </c:numRef>
          </c:xVal>
          <c:yVal>
            <c:numRef>
              <c:f>Sheet1!$B$163:$B$164</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484855066460572</c:v>
                </c:pt>
                <c:pt idx="1">
                  <c:v>0.7484855066460572</c:v>
                </c:pt>
              </c:numCache>
            </c:numRef>
          </c:xVal>
          <c:yVal>
            <c:numRef>
              <c:f>Sheet1!$B$167:$B$168</c:f>
              <c:numCache>
                <c:formatCode>General</c:formatCode>
                <c:ptCount val="2"/>
                <c:pt idx="0">
                  <c:v>0.45885242158421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484855066460572</c:v>
                </c:pt>
              </c:numCache>
            </c:numRef>
          </c:xVal>
          <c:yVal>
            <c:numRef>
              <c:f>Sheet1!$B$171:$B$172</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484855066460572</c:v>
                </c:pt>
                <c:pt idx="1">
                  <c:v>0.7484855066460572</c:v>
                </c:pt>
              </c:numCache>
            </c:numRef>
          </c:xVal>
          <c:yVal>
            <c:numRef>
              <c:f>Sheet1!$B$175:$B$176</c:f>
              <c:numCache>
                <c:formatCode>General</c:formatCode>
                <c:ptCount val="2"/>
                <c:pt idx="0">
                  <c:v>0.45885242158421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746574492872417</c:v>
                </c:pt>
              </c:numCache>
            </c:numRef>
          </c:xVal>
          <c:yVal>
            <c:numRef>
              <c:f>Sheet1!$B$179:$B$18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746574492872417</c:v>
                </c:pt>
                <c:pt idx="1">
                  <c:v>1.6746574492872417</c:v>
                </c:pt>
              </c:numCache>
            </c:numRef>
          </c:xVal>
          <c:yVal>
            <c:numRef>
              <c:f>Sheet1!$B$183:$B$184</c:f>
              <c:numCache>
                <c:formatCode>General</c:formatCode>
                <c:ptCount val="2"/>
                <c:pt idx="0">
                  <c:v>0.4281356715369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99992610996684</c:v>
                </c:pt>
                <c:pt idx="1">
                  <c:v>1.1729670502479095</c:v>
                </c:pt>
                <c:pt idx="2">
                  <c:v>1.1556765529531567</c:v>
                </c:pt>
                <c:pt idx="3">
                  <c:v>1.241277756858785</c:v>
                </c:pt>
                <c:pt idx="4">
                  <c:v>1.1222598112945954</c:v>
                </c:pt>
                <c:pt idx="5">
                  <c:v>1.3462459316372513</c:v>
                </c:pt>
                <c:pt idx="6">
                  <c:v>1.3715578052389885</c:v>
                </c:pt>
                <c:pt idx="7">
                  <c:v>1.4606004191838244</c:v>
                </c:pt>
                <c:pt idx="8">
                  <c:v>1.7003311320754717</c:v>
                </c:pt>
                <c:pt idx="9">
                  <c:v>1.461474191580232</c:v>
                </c:pt>
                <c:pt idx="10">
                  <c:v>1.42475913253324</c:v>
                </c:pt>
                <c:pt idx="11">
                  <c:v>1.265347395668798</c:v>
                </c:pt>
                <c:pt idx="12">
                  <c:v>1.3736748454017553</c:v>
                </c:pt>
                <c:pt idx="13">
                  <c:v>1.3550545429887506</c:v>
                </c:pt>
                <c:pt idx="14">
                  <c:v>1.5414039067382532</c:v>
                </c:pt>
                <c:pt idx="15">
                  <c:v>1.4297480959824895</c:v>
                </c:pt>
                <c:pt idx="16">
                  <c:v>1.5045342121030556</c:v>
                </c:pt>
                <c:pt idx="17">
                  <c:v>1.5442647244653895</c:v>
                </c:pt>
                <c:pt idx="18">
                  <c:v>2.562647371529829</c:v>
                </c:pt>
                <c:pt idx="19">
                  <c:v>2.919248753560625</c:v>
                </c:pt>
                <c:pt idx="20">
                  <c:v>2.939979895961402</c:v>
                </c:pt>
                <c:pt idx="21">
                  <c:v>2.6936886891072547</c:v>
                </c:pt>
                <c:pt idx="22">
                  <c:v>2.407486356610043</c:v>
                </c:pt>
                <c:pt idx="23">
                  <c:v>2.5322463361676224</c:v>
                </c:pt>
                <c:pt idx="24">
                  <c:v>2.7081333333333335</c:v>
                </c:pt>
                <c:pt idx="25">
                  <c:v>2.2651708646527506</c:v>
                </c:pt>
                <c:pt idx="26">
                  <c:v>2.988714761807331</c:v>
                </c:pt>
                <c:pt idx="27">
                  <c:v>2.827320376055316</c:v>
                </c:pt>
                <c:pt idx="28">
                  <c:v>2.475172182984516</c:v>
                </c:pt>
                <c:pt idx="29">
                  <c:v>2.4980860207089735</c:v>
                </c:pt>
                <c:pt idx="30">
                  <c:v>1.9976195863233432</c:v>
                </c:pt>
                <c:pt idx="31">
                  <c:v>1.8662377983674239</c:v>
                </c:pt>
                <c:pt idx="32">
                  <c:v>2.6292705617344785</c:v>
                </c:pt>
                <c:pt idx="33">
                  <c:v>2.8266365261292083</c:v>
                </c:pt>
                <c:pt idx="34">
                  <c:v>2.135312673145788</c:v>
                </c:pt>
                <c:pt idx="35">
                  <c:v>2.1881323604362253</c:v>
                </c:pt>
                <c:pt idx="36">
                  <c:v>2.1721730215827337</c:v>
                </c:pt>
                <c:pt idx="37">
                  <c:v>3.2308649558348623</c:v>
                </c:pt>
                <c:pt idx="38">
                  <c:v>2.8473357283317813</c:v>
                </c:pt>
                <c:pt idx="39">
                  <c:v>1.910150925925926</c:v>
                </c:pt>
                <c:pt idx="40">
                  <c:v>2.5778548114118736</c:v>
                </c:pt>
                <c:pt idx="41">
                  <c:v>2.016571045775958</c:v>
                </c:pt>
                <c:pt idx="42">
                  <c:v>2.5299975885735484</c:v>
                </c:pt>
                <c:pt idx="43">
                  <c:v>3.0773951126187047</c:v>
                </c:pt>
                <c:pt idx="44">
                  <c:v>2.689109441770811</c:v>
                </c:pt>
                <c:pt idx="45">
                  <c:v>2.2744654159292037</c:v>
                </c:pt>
                <c:pt idx="46">
                  <c:v>1.7626820731933865</c:v>
                </c:pt>
                <c:pt idx="47">
                  <c:v>1.4304342098227756</c:v>
                </c:pt>
                <c:pt idx="48">
                  <c:v>1.0189481481481482</c:v>
                </c:pt>
                <c:pt idx="49">
                  <c:v>1.8288839804878048</c:v>
                </c:pt>
                <c:pt idx="50">
                  <c:v>0.8193329961089495</c:v>
                </c:pt>
                <c:pt idx="51">
                  <c:v>1.0016716170004885</c:v>
                </c:pt>
                <c:pt idx="52">
                  <c:v>0.7484855066460572</c:v>
                </c:pt>
                <c:pt idx="53">
                  <c:v>0.7484855066460572</c:v>
                </c:pt>
                <c:pt idx="54">
                  <c:v>1.6746574492872417</c:v>
                </c:pt>
              </c:numCache>
            </c:numRef>
          </c:xVal>
          <c:yVal>
            <c:numRef>
              <c:f>Sheet1!$B$187:$B$241</c:f>
              <c:numCache>
                <c:formatCode>General</c:formatCode>
                <c:ptCount val="55"/>
                <c:pt idx="0">
                  <c:v>0.44387806290373544</c:v>
                </c:pt>
                <c:pt idx="1">
                  <c:v>0.4447743731418106</c:v>
                </c:pt>
                <c:pt idx="2">
                  <c:v>0.4453478172930999</c:v>
                </c:pt>
                <c:pt idx="3">
                  <c:v>0.4425088295597684</c:v>
                </c:pt>
                <c:pt idx="4">
                  <c:v>0.44645609282344356</c:v>
                </c:pt>
                <c:pt idx="5">
                  <c:v>0.43902753085146046</c:v>
                </c:pt>
                <c:pt idx="6">
                  <c:v>0.43818805552419526</c:v>
                </c:pt>
                <c:pt idx="7">
                  <c:v>0.435234932469853</c:v>
                </c:pt>
                <c:pt idx="8">
                  <c:v>0.4272841967073918</c:v>
                </c:pt>
                <c:pt idx="9">
                  <c:v>0.43520595356532893</c:v>
                </c:pt>
                <c:pt idx="10">
                  <c:v>0.43642361870912605</c:v>
                </c:pt>
                <c:pt idx="11">
                  <c:v>0.44171055329483777</c:v>
                </c:pt>
                <c:pt idx="12">
                  <c:v>0.4381178432984456</c:v>
                </c:pt>
                <c:pt idx="13">
                  <c:v>0.4387353908063022</c:v>
                </c:pt>
                <c:pt idx="14">
                  <c:v>0.4325550623335599</c:v>
                </c:pt>
                <c:pt idx="15">
                  <c:v>0.43625815834889475</c:v>
                </c:pt>
                <c:pt idx="16">
                  <c:v>0.4337778560096442</c:v>
                </c:pt>
                <c:pt idx="17">
                  <c:v>0.4324601825180424</c:v>
                </c:pt>
                <c:pt idx="18">
                  <c:v>0.3986852388146683</c:v>
                </c:pt>
                <c:pt idx="19">
                  <c:v>0.3868584548083286</c:v>
                </c:pt>
                <c:pt idx="20">
                  <c:v>0.38617090070525034</c:v>
                </c:pt>
                <c:pt idx="21">
                  <c:v>0.3943392170744594</c:v>
                </c:pt>
                <c:pt idx="22">
                  <c:v>0.4038311970249544</c:v>
                </c:pt>
                <c:pt idx="23">
                  <c:v>0.39969349760702166</c:v>
                </c:pt>
                <c:pt idx="24">
                  <c:v>0.3938601564316279</c:v>
                </c:pt>
                <c:pt idx="25">
                  <c:v>0.40855112989383346</c:v>
                </c:pt>
                <c:pt idx="26">
                  <c:v>0.38455459532624325</c:v>
                </c:pt>
                <c:pt idx="27">
                  <c:v>0.38990728501368843</c:v>
                </c:pt>
                <c:pt idx="28">
                  <c:v>0.4015863777697324</c:v>
                </c:pt>
                <c:pt idx="29">
                  <c:v>0.400826433969234</c:v>
                </c:pt>
                <c:pt idx="30">
                  <c:v>0.4174245424459719</c:v>
                </c:pt>
                <c:pt idx="31">
                  <c:v>0.42178185598096873</c:v>
                </c:pt>
                <c:pt idx="32">
                  <c:v>0.3964756621835389</c:v>
                </c:pt>
                <c:pt idx="33">
                  <c:v>0.3899299650866673</c:v>
                </c:pt>
                <c:pt idx="34">
                  <c:v>0.41285791292888663</c:v>
                </c:pt>
                <c:pt idx="35">
                  <c:v>0.41110613331067847</c:v>
                </c:pt>
                <c:pt idx="36">
                  <c:v>0.41163542922206653</c:v>
                </c:pt>
                <c:pt idx="37">
                  <c:v>0.3765236167990497</c:v>
                </c:pt>
                <c:pt idx="38">
                  <c:v>0.3892434702891451</c:v>
                </c:pt>
                <c:pt idx="39">
                  <c:v>0.42032546489319556</c:v>
                </c:pt>
                <c:pt idx="40">
                  <c:v>0.3981808798417723</c:v>
                </c:pt>
                <c:pt idx="41">
                  <c:v>0.4167960120228015</c:v>
                </c:pt>
                <c:pt idx="42">
                  <c:v>0.3997680779463586</c:v>
                </c:pt>
                <c:pt idx="43">
                  <c:v>0.38161348682946805</c:v>
                </c:pt>
                <c:pt idx="44">
                  <c:v>0.39449108908586694</c:v>
                </c:pt>
                <c:pt idx="45">
                  <c:v>0.40824287351592364</c:v>
                </c:pt>
                <c:pt idx="46">
                  <c:v>0.4252163104053418</c:v>
                </c:pt>
                <c:pt idx="47">
                  <c:v>0.4362354031925726</c:v>
                </c:pt>
                <c:pt idx="48">
                  <c:v>0.4498824528627976</c:v>
                </c:pt>
                <c:pt idx="49">
                  <c:v>0.42302070573908956</c:v>
                </c:pt>
                <c:pt idx="50">
                  <c:v>0.4565027448933999</c:v>
                </c:pt>
                <c:pt idx="51">
                  <c:v>0.45045543382293457</c:v>
                </c:pt>
                <c:pt idx="52">
                  <c:v>0.4588524215842118</c:v>
                </c:pt>
                <c:pt idx="53">
                  <c:v>0.4588524215842118</c:v>
                </c:pt>
                <c:pt idx="54">
                  <c:v>0.4281356715369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299999999999999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3.3319</c:v>
                </c:pt>
                <c:pt idx="1">
                  <c:v>926.4083</c:v>
                </c:pt>
                <c:pt idx="2">
                  <c:v>979.8436</c:v>
                </c:pt>
                <c:pt idx="3">
                  <c:v>1004.4404</c:v>
                </c:pt>
                <c:pt idx="4">
                  <c:v>1042.5959</c:v>
                </c:pt>
                <c:pt idx="5">
                  <c:v>1073.6303</c:v>
                </c:pt>
                <c:pt idx="6">
                  <c:v>942.172</c:v>
                </c:pt>
                <c:pt idx="7">
                  <c:v>993.8829</c:v>
                </c:pt>
                <c:pt idx="8">
                  <c:v>1009.1827</c:v>
                </c:pt>
                <c:pt idx="9">
                  <c:v>917.9679</c:v>
                </c:pt>
                <c:pt idx="10">
                  <c:v>928.1675</c:v>
                </c:pt>
                <c:pt idx="11">
                  <c:v>1006.5342</c:v>
                </c:pt>
                <c:pt idx="12">
                  <c:v>1011.0714</c:v>
                </c:pt>
                <c:pt idx="13">
                  <c:v>982.917</c:v>
                </c:pt>
                <c:pt idx="14">
                  <c:v>970.3411</c:v>
                </c:pt>
                <c:pt idx="15">
                  <c:v>1010.9156</c:v>
                </c:pt>
                <c:pt idx="16">
                  <c:v>1000.6114</c:v>
                </c:pt>
                <c:pt idx="17">
                  <c:v>990.6387</c:v>
                </c:pt>
                <c:pt idx="18">
                  <c:v>1093.0</c:v>
                </c:pt>
                <c:pt idx="19">
                  <c:v>1107.9265</c:v>
                </c:pt>
                <c:pt idx="20">
                  <c:v>1137.45</c:v>
                </c:pt>
                <c:pt idx="21">
                  <c:v>1136.013</c:v>
                </c:pt>
                <c:pt idx="22">
                  <c:v>1054.2716</c:v>
                </c:pt>
                <c:pt idx="23">
                  <c:v>1084.0556</c:v>
                </c:pt>
                <c:pt idx="24">
                  <c:v>1046.6887</c:v>
                </c:pt>
                <c:pt idx="25">
                  <c:v>1043.6522</c:v>
                </c:pt>
                <c:pt idx="26">
                  <c:v>1037.1453</c:v>
                </c:pt>
                <c:pt idx="27">
                  <c:v>1065.0292</c:v>
                </c:pt>
                <c:pt idx="28">
                  <c:v>1063.0172</c:v>
                </c:pt>
                <c:pt idx="29">
                  <c:v>979.0108</c:v>
                </c:pt>
                <c:pt idx="30">
                  <c:v>964.6126</c:v>
                </c:pt>
                <c:pt idx="31">
                  <c:v>990.7519</c:v>
                </c:pt>
                <c:pt idx="32">
                  <c:v>945.62</c:v>
                </c:pt>
                <c:pt idx="33">
                  <c:v>916.4</c:v>
                </c:pt>
                <c:pt idx="34">
                  <c:v>974.6771</c:v>
                </c:pt>
                <c:pt idx="35">
                  <c:v>1040.0295</c:v>
                </c:pt>
                <c:pt idx="36">
                  <c:v>1153.6442</c:v>
                </c:pt>
                <c:pt idx="37">
                  <c:v>1104.125</c:v>
                </c:pt>
                <c:pt idx="38">
                  <c:v>1203.0847</c:v>
                </c:pt>
                <c:pt idx="39">
                  <c:v>1160.0317</c:v>
                </c:pt>
                <c:pt idx="40">
                  <c:v>1238.0738</c:v>
                </c:pt>
                <c:pt idx="41">
                  <c:v>1292.0957</c:v>
                </c:pt>
                <c:pt idx="42">
                  <c:v>1295.1594</c:v>
                </c:pt>
                <c:pt idx="43">
                  <c:v>1304.5111</c:v>
                </c:pt>
                <c:pt idx="44">
                  <c:v>1139.1133</c:v>
                </c:pt>
                <c:pt idx="45">
                  <c:v>1094.8382</c:v>
                </c:pt>
                <c:pt idx="46">
                  <c:v>1100.8603</c:v>
                </c:pt>
                <c:pt idx="47">
                  <c:v>1067.0029</c:v>
                </c:pt>
                <c:pt idx="48">
                  <c:v>1090.6855</c:v>
                </c:pt>
                <c:pt idx="49">
                  <c:v>1051.3324</c:v>
                </c:pt>
                <c:pt idx="50">
                  <c:v>1038.6346</c:v>
                </c:pt>
                <c:pt idx="51">
                  <c:v>1062.3239</c:v>
                </c:pt>
                <c:pt idx="52">
                  <c:v>1113.0316</c:v>
                </c:pt>
                <c:pt idx="53">
                  <c:v>1144.9647</c:v>
                </c:pt>
                <c:pt idx="54">
                  <c:v>1166.565</c:v>
                </c:pt>
                <c:pt idx="55">
                  <c:v>1205.0613</c:v>
                </c:pt>
                <c:pt idx="56">
                  <c:v>1180.4201</c:v>
                </c:pt>
                <c:pt idx="57">
                  <c:v>1167.0947</c:v>
                </c:pt>
                <c:pt idx="58">
                  <c:v>1113.6498</c:v>
                </c:pt>
                <c:pt idx="59">
                  <c:v>1098.7973</c:v>
                </c:pt>
                <c:pt idx="60">
                  <c:v>1123.7979</c:v>
                </c:pt>
                <c:pt idx="61">
                  <c:v>1156.8952</c:v>
                </c:pt>
                <c:pt idx="62">
                  <c:v>1080.2044</c:v>
                </c:pt>
                <c:pt idx="63">
                  <c:v>1096.742</c:v>
                </c:pt>
                <c:pt idx="64">
                  <c:v>1110.1267</c:v>
                </c:pt>
                <c:pt idx="65">
                  <c:v>1093.3821</c:v>
                </c:pt>
                <c:pt idx="66">
                  <c:v>1097.93</c:v>
                </c:pt>
                <c:pt idx="67">
                  <c:v>1105.958</c:v>
                </c:pt>
                <c:pt idx="68">
                  <c:v>1096.5025</c:v>
                </c:pt>
                <c:pt idx="69">
                  <c:v>1056.7986</c:v>
                </c:pt>
                <c:pt idx="70">
                  <c:v>1021.375</c:v>
                </c:pt>
                <c:pt idx="71">
                  <c:v>1177.0873</c:v>
                </c:pt>
                <c:pt idx="72">
                  <c:v>1132.708</c:v>
                </c:pt>
                <c:pt idx="73">
                  <c:v>1147.5349</c:v>
                </c:pt>
                <c:pt idx="74">
                  <c:v>1214.1714</c:v>
                </c:pt>
                <c:pt idx="75">
                  <c:v>1132.2903</c:v>
                </c:pt>
                <c:pt idx="76">
                  <c:v>1238.6907</c:v>
                </c:pt>
                <c:pt idx="77">
                  <c:v>1211.4</c:v>
                </c:pt>
                <c:pt idx="78">
                  <c:v>1261.5205</c:v>
                </c:pt>
                <c:pt idx="79">
                  <c:v>1106.2455</c:v>
                </c:pt>
                <c:pt idx="80">
                  <c:v>1236.1605</c:v>
                </c:pt>
                <c:pt idx="81">
                  <c:v>1241.5169</c:v>
                </c:pt>
                <c:pt idx="82">
                  <c:v>1271.1096</c:v>
                </c:pt>
                <c:pt idx="83">
                  <c:v>1274.9063</c:v>
                </c:pt>
                <c:pt idx="84">
                  <c:v>1211.6667</c:v>
                </c:pt>
                <c:pt idx="85">
                  <c:v>1219.4217</c:v>
                </c:pt>
                <c:pt idx="86">
                  <c:v>1217.9853</c:v>
                </c:pt>
                <c:pt idx="87">
                  <c:v>1236.6036</c:v>
                </c:pt>
                <c:pt idx="88">
                  <c:v>1238.6396</c:v>
                </c:pt>
                <c:pt idx="89">
                  <c:v>1299.6316</c:v>
                </c:pt>
                <c:pt idx="90">
                  <c:v>1298.5484</c:v>
                </c:pt>
                <c:pt idx="91">
                  <c:v>1339.383</c:v>
                </c:pt>
                <c:pt idx="92">
                  <c:v>1226.9648</c:v>
                </c:pt>
                <c:pt idx="93">
                  <c:v>1286.8231</c:v>
                </c:pt>
                <c:pt idx="94">
                  <c:v>1302.9587</c:v>
                </c:pt>
                <c:pt idx="95">
                  <c:v>1225.7542</c:v>
                </c:pt>
                <c:pt idx="96">
                  <c:v>1168.6935</c:v>
                </c:pt>
                <c:pt idx="97">
                  <c:v>1170.259</c:v>
                </c:pt>
                <c:pt idx="98">
                  <c:v>1164.2058</c:v>
                </c:pt>
                <c:pt idx="99">
                  <c:v>1120.2845</c:v>
                </c:pt>
                <c:pt idx="100">
                  <c:v>1141.5838</c:v>
                </c:pt>
                <c:pt idx="101">
                  <c:v>1124.4326</c:v>
                </c:pt>
                <c:pt idx="102">
                  <c:v>1130.5767</c:v>
                </c:pt>
                <c:pt idx="103">
                  <c:v>1129.4414</c:v>
                </c:pt>
                <c:pt idx="104">
                  <c:v>1230.738</c:v>
                </c:pt>
              </c:numCache>
            </c:numRef>
          </c:xVal>
          <c:yVal>
            <c:numRef>
              <c:f>Sheet1!$B$2:$B$106</c:f>
              <c:numCache>
                <c:formatCode>General</c:formatCode>
                <c:ptCount val="105"/>
                <c:pt idx="0">
                  <c:v>0.47</c:v>
                </c:pt>
                <c:pt idx="1">
                  <c:v>0.45540796963946867</c:v>
                </c:pt>
                <c:pt idx="2">
                  <c:v>0.36192109777015435</c:v>
                </c:pt>
                <c:pt idx="3">
                  <c:v>0.3547794117647059</c:v>
                </c:pt>
                <c:pt idx="4">
                  <c:v>0.3086680761099366</c:v>
                </c:pt>
                <c:pt idx="5">
                  <c:v>0.30670103092783507</c:v>
                </c:pt>
                <c:pt idx="6">
                  <c:v>0.37115839243498816</c:v>
                </c:pt>
                <c:pt idx="7">
                  <c:v>0.3501577287066246</c:v>
                </c:pt>
                <c:pt idx="8">
                  <c:v>0.36879432624113473</c:v>
                </c:pt>
                <c:pt idx="9">
                  <c:v>0.39285714285714285</c:v>
                </c:pt>
                <c:pt idx="10">
                  <c:v>0.4282511210762332</c:v>
                </c:pt>
                <c:pt idx="11">
                  <c:v>0.44598337950138506</c:v>
                </c:pt>
                <c:pt idx="12">
                  <c:v>0.5409090909090909</c:v>
                </c:pt>
                <c:pt idx="13">
                  <c:v>0.5572687224669604</c:v>
                </c:pt>
                <c:pt idx="14">
                  <c:v>0.5958429561200924</c:v>
                </c:pt>
                <c:pt idx="15">
                  <c:v>0.556930693069307</c:v>
                </c:pt>
                <c:pt idx="16">
                  <c:v>0.5239520958083832</c:v>
                </c:pt>
                <c:pt idx="17">
                  <c:v>0.4423791821561338</c:v>
                </c:pt>
                <c:pt idx="18">
                  <c:v>0.40444444444444444</c:v>
                </c:pt>
                <c:pt idx="19">
                  <c:v>0.3076923076923077</c:v>
                </c:pt>
                <c:pt idx="20">
                  <c:v>0.34965034965034963</c:v>
                </c:pt>
                <c:pt idx="21">
                  <c:v>0.33624454148471616</c:v>
                </c:pt>
                <c:pt idx="22">
                  <c:v>0.32793522267206476</c:v>
                </c:pt>
                <c:pt idx="23">
                  <c:v>0.371900826446281</c:v>
                </c:pt>
                <c:pt idx="24">
                  <c:v>0.3706293706293706</c:v>
                </c:pt>
                <c:pt idx="25">
                  <c:v>0.36220472440944884</c:v>
                </c:pt>
                <c:pt idx="26">
                  <c:v>0.44150943396226416</c:v>
                </c:pt>
                <c:pt idx="27">
                  <c:v>0.4840989399293286</c:v>
                </c:pt>
                <c:pt idx="28">
                  <c:v>0.4070175438596491</c:v>
                </c:pt>
                <c:pt idx="29">
                  <c:v>0.4449760765550239</c:v>
                </c:pt>
                <c:pt idx="30">
                  <c:v>0.3978494623655914</c:v>
                </c:pt>
                <c:pt idx="31">
                  <c:v>0.45084745762711864</c:v>
                </c:pt>
                <c:pt idx="32">
                  <c:v>0.45045045045045046</c:v>
                </c:pt>
                <c:pt idx="33">
                  <c:v>0.4665314401622718</c:v>
                </c:pt>
                <c:pt idx="34">
                  <c:v>0.46677471636953</c:v>
                </c:pt>
                <c:pt idx="35">
                  <c:v>0.47130434782608693</c:v>
                </c:pt>
                <c:pt idx="36">
                  <c:v>0.4244791666666667</c:v>
                </c:pt>
                <c:pt idx="37">
                  <c:v>0.3902439024390244</c:v>
                </c:pt>
                <c:pt idx="38">
                  <c:v>0.47580645161290325</c:v>
                </c:pt>
                <c:pt idx="39">
                  <c:v>0.5228215767634855</c:v>
                </c:pt>
                <c:pt idx="40">
                  <c:v>0.41620111731843573</c:v>
                </c:pt>
                <c:pt idx="41">
                  <c:v>0.3533834586466165</c:v>
                </c:pt>
                <c:pt idx="42">
                  <c:v>0.3865546218487395</c:v>
                </c:pt>
                <c:pt idx="43">
                  <c:v>0.40358744394618834</c:v>
                </c:pt>
                <c:pt idx="44">
                  <c:v>0.4225352112676056</c:v>
                </c:pt>
                <c:pt idx="45">
                  <c:v>0.4576719576719577</c:v>
                </c:pt>
                <c:pt idx="46">
                  <c:v>0.48687350835322196</c:v>
                </c:pt>
                <c:pt idx="47">
                  <c:v>0.43765903307888043</c:v>
                </c:pt>
                <c:pt idx="48">
                  <c:v>0.4663023679417122</c:v>
                </c:pt>
                <c:pt idx="49">
                  <c:v>0.5427215189873418</c:v>
                </c:pt>
                <c:pt idx="50">
                  <c:v>0.47150259067357514</c:v>
                </c:pt>
                <c:pt idx="51">
                  <c:v>0.4243027888446215</c:v>
                </c:pt>
                <c:pt idx="52">
                  <c:v>0.47606019151846785</c:v>
                </c:pt>
                <c:pt idx="53">
                  <c:v>0.4594594594594595</c:v>
                </c:pt>
                <c:pt idx="54">
                  <c:v>0.40899795501022496</c:v>
                </c:pt>
                <c:pt idx="55">
                  <c:v>0.3638392857142857</c:v>
                </c:pt>
                <c:pt idx="56">
                  <c:v>0.4023809523809524</c:v>
                </c:pt>
                <c:pt idx="57">
                  <c:v>0.37924151696606784</c:v>
                </c:pt>
                <c:pt idx="58">
                  <c:v>0.43485617597292725</c:v>
                </c:pt>
                <c:pt idx="59">
                  <c:v>0.4620187304890739</c:v>
                </c:pt>
                <c:pt idx="60">
                  <c:v>0.446242774566474</c:v>
                </c:pt>
                <c:pt idx="61">
                  <c:v>0.4175084175084175</c:v>
                </c:pt>
                <c:pt idx="62">
                  <c:v>0.4506578947368421</c:v>
                </c:pt>
                <c:pt idx="63">
                  <c:v>0.4805013927576602</c:v>
                </c:pt>
                <c:pt idx="64">
                  <c:v>0.502770083102493</c:v>
                </c:pt>
                <c:pt idx="65">
                  <c:v>0.47104851330203446</c:v>
                </c:pt>
                <c:pt idx="66">
                  <c:v>0.48465266558966075</c:v>
                </c:pt>
                <c:pt idx="67">
                  <c:v>0.5134649910233393</c:v>
                </c:pt>
                <c:pt idx="68">
                  <c:v>0.5012722646310432</c:v>
                </c:pt>
                <c:pt idx="69">
                  <c:v>0.4645161290322581</c:v>
                </c:pt>
                <c:pt idx="70">
                  <c:v>0.4115755627009646</c:v>
                </c:pt>
                <c:pt idx="71">
                  <c:v>0.4117647058823529</c:v>
                </c:pt>
                <c:pt idx="72">
                  <c:v>0.3936781609195402</c:v>
                </c:pt>
                <c:pt idx="73">
                  <c:v>0.3993808049535604</c:v>
                </c:pt>
                <c:pt idx="74">
                  <c:v>0.38461538461538464</c:v>
                </c:pt>
                <c:pt idx="75">
                  <c:v>0.3911671924290221</c:v>
                </c:pt>
                <c:pt idx="76">
                  <c:v>0.354014598540146</c:v>
                </c:pt>
                <c:pt idx="77">
                  <c:v>0.3804347826086957</c:v>
                </c:pt>
                <c:pt idx="78">
                  <c:v>0.33640552995391704</c:v>
                </c:pt>
                <c:pt idx="79">
                  <c:v>0.3654485049833887</c:v>
                </c:pt>
                <c:pt idx="80">
                  <c:v>0.2988929889298893</c:v>
                </c:pt>
                <c:pt idx="81">
                  <c:v>0.33810888252148996</c:v>
                </c:pt>
                <c:pt idx="82">
                  <c:v>0.3004115226337449</c:v>
                </c:pt>
                <c:pt idx="83">
                  <c:v>0.3018867924528302</c:v>
                </c:pt>
                <c:pt idx="84">
                  <c:v>0.3118811881188119</c:v>
                </c:pt>
                <c:pt idx="85">
                  <c:v>0.3029197080291971</c:v>
                </c:pt>
                <c:pt idx="86">
                  <c:v>0.35978835978835977</c:v>
                </c:pt>
                <c:pt idx="87">
                  <c:v>0.3967136150234742</c:v>
                </c:pt>
                <c:pt idx="88">
                  <c:v>0.3627450980392157</c:v>
                </c:pt>
                <c:pt idx="89">
                  <c:v>0.3231292517006803</c:v>
                </c:pt>
                <c:pt idx="90">
                  <c:v>0.3152542372881356</c:v>
                </c:pt>
                <c:pt idx="91">
                  <c:v>0.3197278911564626</c:v>
                </c:pt>
                <c:pt idx="92">
                  <c:v>0.4092219020172911</c:v>
                </c:pt>
                <c:pt idx="93">
                  <c:v>0.4024767801857585</c:v>
                </c:pt>
                <c:pt idx="94">
                  <c:v>0.4306049822064057</c:v>
                </c:pt>
                <c:pt idx="95">
                  <c:v>0.42018779342723006</c:v>
                </c:pt>
                <c:pt idx="96">
                  <c:v>0.3924812030075188</c:v>
                </c:pt>
                <c:pt idx="97">
                  <c:v>0.3994252873563218</c:v>
                </c:pt>
                <c:pt idx="98">
                  <c:v>0.4396751740139211</c:v>
                </c:pt>
                <c:pt idx="99">
                  <c:v>0.474559686888454</c:v>
                </c:pt>
                <c:pt idx="100">
                  <c:v>0.4789297658862876</c:v>
                </c:pt>
                <c:pt idx="101">
                  <c:v>0.43099273607748184</c:v>
                </c:pt>
                <c:pt idx="102">
                  <c:v>0.42828685258964144</c:v>
                </c:pt>
                <c:pt idx="103">
                  <c:v>0.3908450704225352</c:v>
                </c:pt>
                <c:pt idx="104">
                  <c:v>0.41189427312775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47.2512</c:v>
                </c:pt>
                <c:pt idx="1">
                  <c:v>1268.0243</c:v>
                </c:pt>
                <c:pt idx="2">
                  <c:v>1271.0593</c:v>
                </c:pt>
                <c:pt idx="3">
                  <c:v>1302.455</c:v>
                </c:pt>
                <c:pt idx="4">
                  <c:v>1282.9792</c:v>
                </c:pt>
                <c:pt idx="5">
                  <c:v>1293.8841</c:v>
                </c:pt>
                <c:pt idx="6">
                  <c:v>1179.2857</c:v>
                </c:pt>
                <c:pt idx="7">
                  <c:v>1184.693</c:v>
                </c:pt>
                <c:pt idx="8">
                  <c:v>1261.6457</c:v>
                </c:pt>
                <c:pt idx="9">
                  <c:v>1197.6781</c:v>
                </c:pt>
                <c:pt idx="10">
                  <c:v>1267.8165</c:v>
                </c:pt>
                <c:pt idx="11">
                  <c:v>1007.7667</c:v>
                </c:pt>
                <c:pt idx="12">
                  <c:v>1098.8635</c:v>
                </c:pt>
                <c:pt idx="13">
                  <c:v>1167.0246</c:v>
                </c:pt>
                <c:pt idx="14">
                  <c:v>1157.4758</c:v>
                </c:pt>
                <c:pt idx="15">
                  <c:v>1213.4162</c:v>
                </c:pt>
                <c:pt idx="16">
                  <c:v>1255.5338</c:v>
                </c:pt>
                <c:pt idx="17">
                  <c:v>1255.0661</c:v>
                </c:pt>
                <c:pt idx="18">
                  <c:v>1301.5686</c:v>
                </c:pt>
                <c:pt idx="19">
                  <c:v>1405.7692</c:v>
                </c:pt>
                <c:pt idx="20">
                  <c:v>1484.026</c:v>
                </c:pt>
                <c:pt idx="21">
                  <c:v>1288.3913</c:v>
                </c:pt>
                <c:pt idx="22">
                  <c:v>1019.9718</c:v>
                </c:pt>
                <c:pt idx="23">
                  <c:v>1142.2239</c:v>
                </c:pt>
                <c:pt idx="24">
                  <c:v>1165.8514</c:v>
                </c:pt>
                <c:pt idx="25">
                  <c:v>1056.8764</c:v>
                </c:pt>
                <c:pt idx="26">
                  <c:v>1292.7342</c:v>
                </c:pt>
                <c:pt idx="27">
                  <c:v>1285.61</c:v>
                </c:pt>
                <c:pt idx="28">
                  <c:v>1156.7039</c:v>
                </c:pt>
                <c:pt idx="29">
                  <c:v>1140.0088</c:v>
                </c:pt>
                <c:pt idx="30">
                  <c:v>1183.0902</c:v>
                </c:pt>
                <c:pt idx="31">
                  <c:v>1053.595</c:v>
                </c:pt>
                <c:pt idx="32">
                  <c:v>1167.2318</c:v>
                </c:pt>
                <c:pt idx="33">
                  <c:v>1138.137</c:v>
                </c:pt>
                <c:pt idx="34">
                  <c:v>1237.4848</c:v>
                </c:pt>
                <c:pt idx="35">
                  <c:v>1278.1124</c:v>
                </c:pt>
                <c:pt idx="36">
                  <c:v>1207.7282</c:v>
                </c:pt>
                <c:pt idx="37">
                  <c:v>1294.5</c:v>
                </c:pt>
                <c:pt idx="38">
                  <c:v>1214.547</c:v>
                </c:pt>
                <c:pt idx="39">
                  <c:v>1237.7778</c:v>
                </c:pt>
                <c:pt idx="40">
                  <c:v>1311.2689</c:v>
                </c:pt>
                <c:pt idx="41">
                  <c:v>1354.6316</c:v>
                </c:pt>
                <c:pt idx="42">
                  <c:v>1363.9217</c:v>
                </c:pt>
                <c:pt idx="43">
                  <c:v>1386.8795</c:v>
                </c:pt>
                <c:pt idx="44">
                  <c:v>1246.7865</c:v>
                </c:pt>
                <c:pt idx="45">
                  <c:v>1204.7559</c:v>
                </c:pt>
                <c:pt idx="46">
                  <c:v>1186.0647</c:v>
                </c:pt>
                <c:pt idx="47">
                  <c:v>1147.685</c:v>
                </c:pt>
                <c:pt idx="48">
                  <c:v>1141.7314</c:v>
                </c:pt>
                <c:pt idx="49">
                  <c:v>1171.6288</c:v>
                </c:pt>
                <c:pt idx="50">
                  <c:v>1052.8429</c:v>
                </c:pt>
                <c:pt idx="51">
                  <c:v>1025.2109</c:v>
                </c:pt>
              </c:numCache>
            </c:numRef>
          </c:xVal>
          <c:yVal>
            <c:numRef>
              <c:f>Sheet1!$B$109:$B$160</c:f>
              <c:numCache>
                <c:formatCode>General</c:formatCode>
                <c:ptCount val="52"/>
                <c:pt idx="0">
                  <c:v>0.4174757281553398</c:v>
                </c:pt>
                <c:pt idx="1">
                  <c:v>0.42386831275720166</c:v>
                </c:pt>
                <c:pt idx="2">
                  <c:v>0.41622574955908287</c:v>
                </c:pt>
                <c:pt idx="3">
                  <c:v>0.3978494623655914</c:v>
                </c:pt>
                <c:pt idx="4">
                  <c:v>0.3794466403162055</c:v>
                </c:pt>
                <c:pt idx="5">
                  <c:v>0.40350877192982454</c:v>
                </c:pt>
                <c:pt idx="6">
                  <c:v>0.40765391014975044</c:v>
                </c:pt>
                <c:pt idx="7">
                  <c:v>0.46236559139784944</c:v>
                </c:pt>
                <c:pt idx="8">
                  <c:v>0.3981191222570533</c:v>
                </c:pt>
                <c:pt idx="9">
                  <c:v>0.40782122905027934</c:v>
                </c:pt>
                <c:pt idx="10">
                  <c:v>0.4425770308123249</c:v>
                </c:pt>
                <c:pt idx="11">
                  <c:v>0.4874446085672083</c:v>
                </c:pt>
                <c:pt idx="12">
                  <c:v>0.4608843537414966</c:v>
                </c:pt>
                <c:pt idx="13">
                  <c:v>0.4621212121212121</c:v>
                </c:pt>
                <c:pt idx="14">
                  <c:v>0.47689075630252103</c:v>
                </c:pt>
                <c:pt idx="15">
                  <c:v>0.45905707196029777</c:v>
                </c:pt>
                <c:pt idx="16">
                  <c:v>0.4111111111111111</c:v>
                </c:pt>
                <c:pt idx="17">
                  <c:v>0.37003058103975534</c:v>
                </c:pt>
                <c:pt idx="18">
                  <c:v>0.3984375</c:v>
                </c:pt>
                <c:pt idx="19">
                  <c:v>0.391304347826087</c:v>
                </c:pt>
                <c:pt idx="20">
                  <c:v>0.308</c:v>
                </c:pt>
                <c:pt idx="21">
                  <c:v>0.2875</c:v>
                </c:pt>
                <c:pt idx="22">
                  <c:v>0.3697916666666667</c:v>
                </c:pt>
                <c:pt idx="23">
                  <c:v>0.3316831683168317</c:v>
                </c:pt>
                <c:pt idx="24">
                  <c:v>0.3288888888888889</c:v>
                </c:pt>
                <c:pt idx="25">
                  <c:v>0.3803418803418803</c:v>
                </c:pt>
                <c:pt idx="26">
                  <c:v>0.32916666666666666</c:v>
                </c:pt>
                <c:pt idx="27">
                  <c:v>0.33003300330033003</c:v>
                </c:pt>
                <c:pt idx="28">
                  <c:v>0.41304347826086957</c:v>
                </c:pt>
                <c:pt idx="29">
                  <c:v>0.40942028985507245</c:v>
                </c:pt>
                <c:pt idx="30">
                  <c:v>0.4485294117647059</c:v>
                </c:pt>
                <c:pt idx="31">
                  <c:v>0.46360153256704983</c:v>
                </c:pt>
                <c:pt idx="32">
                  <c:v>0.47335423197492166</c:v>
                </c:pt>
                <c:pt idx="33">
                  <c:v>0.5057736720554272</c:v>
                </c:pt>
                <c:pt idx="34">
                  <c:v>0.5428571428571428</c:v>
                </c:pt>
                <c:pt idx="35">
                  <c:v>0.5372233400402414</c:v>
                </c:pt>
                <c:pt idx="36">
                  <c:v>0.44206008583690987</c:v>
                </c:pt>
                <c:pt idx="37">
                  <c:v>0.3798449612403101</c:v>
                </c:pt>
                <c:pt idx="38">
                  <c:v>0.40344827586206894</c:v>
                </c:pt>
                <c:pt idx="39">
                  <c:v>0.4263157894736842</c:v>
                </c:pt>
                <c:pt idx="40">
                  <c:v>0.3901639344262295</c:v>
                </c:pt>
                <c:pt idx="41">
                  <c:v>0.3778409090909091</c:v>
                </c:pt>
                <c:pt idx="42">
                  <c:v>0.38461538461538464</c:v>
                </c:pt>
                <c:pt idx="43">
                  <c:v>0.4058679706601467</c:v>
                </c:pt>
                <c:pt idx="44">
                  <c:v>0.41201716738197425</c:v>
                </c:pt>
                <c:pt idx="45">
                  <c:v>0.4479578392621871</c:v>
                </c:pt>
                <c:pt idx="46">
                  <c:v>0.4522417153996101</c:v>
                </c:pt>
                <c:pt idx="47">
                  <c:v>0.43333333333333335</c:v>
                </c:pt>
                <c:pt idx="48">
                  <c:v>0.4255639097744361</c:v>
                </c:pt>
                <c:pt idx="49">
                  <c:v>0.45403899721448465</c:v>
                </c:pt>
                <c:pt idx="50">
                  <c:v>0.4921030756442228</c:v>
                </c:pt>
                <c:pt idx="51">
                  <c:v>0.463703703703703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4.7111290261266</c:v>
                </c:pt>
              </c:numCache>
            </c:numRef>
          </c:xVal>
          <c:yVal>
            <c:numRef>
              <c:f>Sheet1!$B$163:$B$164</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4.7111290261266</c:v>
                </c:pt>
                <c:pt idx="1">
                  <c:v>1034.7111290261266</c:v>
                </c:pt>
              </c:numCache>
            </c:numRef>
          </c:xVal>
          <c:yVal>
            <c:numRef>
              <c:f>Sheet1!$B$167:$B$168</c:f>
              <c:numCache>
                <c:formatCode>General</c:formatCode>
                <c:ptCount val="2"/>
                <c:pt idx="0">
                  <c:v>0.45885242158421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4.7111290261266</c:v>
                </c:pt>
              </c:numCache>
            </c:numRef>
          </c:xVal>
          <c:yVal>
            <c:numRef>
              <c:f>Sheet1!$B$171:$B$172</c:f>
              <c:numCache>
                <c:formatCode>General</c:formatCode>
                <c:ptCount val="2"/>
                <c:pt idx="0">
                  <c:v>0.4588524215842118</c:v>
                </c:pt>
                <c:pt idx="1">
                  <c:v>0.45885242158421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4.7111290261266</c:v>
                </c:pt>
                <c:pt idx="1">
                  <c:v>1034.7111290261266</c:v>
                </c:pt>
              </c:numCache>
            </c:numRef>
          </c:xVal>
          <c:yVal>
            <c:numRef>
              <c:f>Sheet1!$B$175:$B$176</c:f>
              <c:numCache>
                <c:formatCode>General</c:formatCode>
                <c:ptCount val="2"/>
                <c:pt idx="0">
                  <c:v>0.45885242158421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70.6520170889921</c:v>
                </c:pt>
              </c:numCache>
            </c:numRef>
          </c:xVal>
          <c:yVal>
            <c:numRef>
              <c:f>Sheet1!$B$179:$B$18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70.6520170889921</c:v>
                </c:pt>
                <c:pt idx="1">
                  <c:v>1170.6520170889921</c:v>
                </c:pt>
              </c:numCache>
            </c:numRef>
          </c:xVal>
          <c:yVal>
            <c:numRef>
              <c:f>Sheet1!$B$183:$B$184</c:f>
              <c:numCache>
                <c:formatCode>General</c:formatCode>
                <c:ptCount val="2"/>
                <c:pt idx="0">
                  <c:v>0.4281356715369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47.2512</c:v>
                </c:pt>
                <c:pt idx="1">
                  <c:v>1268.0243</c:v>
                </c:pt>
                <c:pt idx="2">
                  <c:v>1271.0593</c:v>
                </c:pt>
                <c:pt idx="3">
                  <c:v>1302.455</c:v>
                </c:pt>
                <c:pt idx="4">
                  <c:v>1282.9792</c:v>
                </c:pt>
                <c:pt idx="5">
                  <c:v>1293.8841</c:v>
                </c:pt>
                <c:pt idx="6">
                  <c:v>1179.2857</c:v>
                </c:pt>
                <c:pt idx="7">
                  <c:v>1184.693</c:v>
                </c:pt>
                <c:pt idx="8">
                  <c:v>1261.6457</c:v>
                </c:pt>
                <c:pt idx="9">
                  <c:v>1197.6781</c:v>
                </c:pt>
                <c:pt idx="10">
                  <c:v>1267.8165</c:v>
                </c:pt>
                <c:pt idx="11">
                  <c:v>1007.7667</c:v>
                </c:pt>
                <c:pt idx="12">
                  <c:v>1098.8635</c:v>
                </c:pt>
                <c:pt idx="13">
                  <c:v>1167.0246</c:v>
                </c:pt>
                <c:pt idx="14">
                  <c:v>1157.4758</c:v>
                </c:pt>
                <c:pt idx="15">
                  <c:v>1213.4162</c:v>
                </c:pt>
                <c:pt idx="16">
                  <c:v>1255.5338</c:v>
                </c:pt>
                <c:pt idx="17">
                  <c:v>1255.0661</c:v>
                </c:pt>
                <c:pt idx="18">
                  <c:v>1301.5686</c:v>
                </c:pt>
                <c:pt idx="19">
                  <c:v>1405.7692</c:v>
                </c:pt>
                <c:pt idx="20">
                  <c:v>1484.026</c:v>
                </c:pt>
                <c:pt idx="21">
                  <c:v>1288.3913</c:v>
                </c:pt>
                <c:pt idx="22">
                  <c:v>1019.9718</c:v>
                </c:pt>
                <c:pt idx="23">
                  <c:v>1142.2239</c:v>
                </c:pt>
                <c:pt idx="24">
                  <c:v>1165.8514</c:v>
                </c:pt>
                <c:pt idx="25">
                  <c:v>1056.8764</c:v>
                </c:pt>
                <c:pt idx="26">
                  <c:v>1292.7342</c:v>
                </c:pt>
                <c:pt idx="27">
                  <c:v>1285.61</c:v>
                </c:pt>
                <c:pt idx="28">
                  <c:v>1156.7039</c:v>
                </c:pt>
                <c:pt idx="29">
                  <c:v>1140.0088</c:v>
                </c:pt>
                <c:pt idx="30">
                  <c:v>1183.0902</c:v>
                </c:pt>
                <c:pt idx="31">
                  <c:v>1053.595</c:v>
                </c:pt>
                <c:pt idx="32">
                  <c:v>1167.2318</c:v>
                </c:pt>
                <c:pt idx="33">
                  <c:v>1138.137</c:v>
                </c:pt>
                <c:pt idx="34">
                  <c:v>1237.4848</c:v>
                </c:pt>
                <c:pt idx="35">
                  <c:v>1278.1124</c:v>
                </c:pt>
                <c:pt idx="36">
                  <c:v>1207.7282</c:v>
                </c:pt>
                <c:pt idx="37">
                  <c:v>1294.5</c:v>
                </c:pt>
                <c:pt idx="38">
                  <c:v>1214.547</c:v>
                </c:pt>
                <c:pt idx="39">
                  <c:v>1237.7778</c:v>
                </c:pt>
                <c:pt idx="40">
                  <c:v>1311.2689</c:v>
                </c:pt>
                <c:pt idx="41">
                  <c:v>1354.6316</c:v>
                </c:pt>
                <c:pt idx="42">
                  <c:v>1363.9217</c:v>
                </c:pt>
                <c:pt idx="43">
                  <c:v>1386.8795</c:v>
                </c:pt>
                <c:pt idx="44">
                  <c:v>1246.7865</c:v>
                </c:pt>
                <c:pt idx="45">
                  <c:v>1204.7559</c:v>
                </c:pt>
                <c:pt idx="46">
                  <c:v>1186.0647</c:v>
                </c:pt>
                <c:pt idx="47">
                  <c:v>1147.685</c:v>
                </c:pt>
                <c:pt idx="48">
                  <c:v>1141.7314</c:v>
                </c:pt>
                <c:pt idx="49">
                  <c:v>1171.6288</c:v>
                </c:pt>
                <c:pt idx="50">
                  <c:v>1052.8429</c:v>
                </c:pt>
                <c:pt idx="51">
                  <c:v>1025.2109</c:v>
                </c:pt>
                <c:pt idx="52">
                  <c:v>1034.7111290261266</c:v>
                </c:pt>
                <c:pt idx="53">
                  <c:v>1034.7111290261266</c:v>
                </c:pt>
                <c:pt idx="54">
                  <c:v>1170.6520170889921</c:v>
                </c:pt>
              </c:numCache>
            </c:numRef>
          </c:xVal>
          <c:yVal>
            <c:numRef>
              <c:f>Sheet1!$B$187:$B$241</c:f>
              <c:numCache>
                <c:formatCode>General</c:formatCode>
                <c:ptCount val="55"/>
                <c:pt idx="0">
                  <c:v>0.4108275754311297</c:v>
                </c:pt>
                <c:pt idx="1">
                  <c:v>0.40613375498093685</c:v>
                </c:pt>
                <c:pt idx="2">
                  <c:v>0.40544797649499426</c:v>
                </c:pt>
                <c:pt idx="3">
                  <c:v>0.3983539087483355</c:v>
                </c:pt>
                <c:pt idx="4">
                  <c:v>0.4027545956137462</c:v>
                </c:pt>
                <c:pt idx="5">
                  <c:v>0.40029056075003755</c:v>
                </c:pt>
                <c:pt idx="6">
                  <c:v>0.4261848333178956</c:v>
                </c:pt>
                <c:pt idx="7">
                  <c:v>0.42496301782958</c:v>
                </c:pt>
                <c:pt idx="8">
                  <c:v>0.4075750421804208</c:v>
                </c:pt>
                <c:pt idx="9">
                  <c:v>0.42202894790608286</c:v>
                </c:pt>
                <c:pt idx="10">
                  <c:v>0.4061807087764489</c:v>
                </c:pt>
                <c:pt idx="11">
                  <c:v>0.4649406949753571</c:v>
                </c:pt>
                <c:pt idx="12">
                  <c:v>0.4443567656250377</c:v>
                </c:pt>
                <c:pt idx="13">
                  <c:v>0.4289553106141036</c:v>
                </c:pt>
                <c:pt idx="14">
                  <c:v>0.43111292564097975</c:v>
                </c:pt>
                <c:pt idx="15">
                  <c:v>0.4184728192768856</c:v>
                </c:pt>
                <c:pt idx="16">
                  <c:v>0.40895606673667545</c:v>
                </c:pt>
                <c:pt idx="17">
                  <c:v>0.40906174667007755</c:v>
                </c:pt>
                <c:pt idx="18">
                  <c:v>0.39855419673843084</c:v>
                </c:pt>
                <c:pt idx="19">
                  <c:v>0.37500937640817894</c:v>
                </c:pt>
                <c:pt idx="20">
                  <c:v>0.3573267306688985</c:v>
                </c:pt>
                <c:pt idx="21">
                  <c:v>0.4015316955334266</c:v>
                </c:pt>
                <c:pt idx="22">
                  <c:v>0.46218287125253055</c:v>
                </c:pt>
                <c:pt idx="23">
                  <c:v>0.4345591941384257</c:v>
                </c:pt>
                <c:pt idx="24">
                  <c:v>0.42922040297644554</c:v>
                </c:pt>
                <c:pt idx="25">
                  <c:v>0.4538440308201356</c:v>
                </c:pt>
                <c:pt idx="26">
                  <c:v>0.4005503883220261</c:v>
                </c:pt>
                <c:pt idx="27">
                  <c:v>0.4021601488128178</c:v>
                </c:pt>
                <c:pt idx="28">
                  <c:v>0.43128734159264337</c:v>
                </c:pt>
                <c:pt idx="29">
                  <c:v>0.4350597107526634</c:v>
                </c:pt>
                <c:pt idx="30">
                  <c:v>0.4253251811762913</c:v>
                </c:pt>
                <c:pt idx="31">
                  <c:v>0.45458548502895674</c:v>
                </c:pt>
                <c:pt idx="32">
                  <c:v>0.4289084923925921</c:v>
                </c:pt>
                <c:pt idx="33">
                  <c:v>0.4354826564429394</c:v>
                </c:pt>
                <c:pt idx="34">
                  <c:v>0.41303435862885957</c:v>
                </c:pt>
                <c:pt idx="35">
                  <c:v>0.40385428152326375</c:v>
                </c:pt>
                <c:pt idx="36">
                  <c:v>0.4197580608017758</c:v>
                </c:pt>
                <c:pt idx="37">
                  <c:v>0.400151394038508</c:v>
                </c:pt>
                <c:pt idx="38">
                  <c:v>0.4182173074772467</c:v>
                </c:pt>
                <c:pt idx="39">
                  <c:v>0.4129681533252743</c:v>
                </c:pt>
                <c:pt idx="40">
                  <c:v>0.3963623492764245</c:v>
                </c:pt>
                <c:pt idx="41">
                  <c:v>0.38656425808947725</c:v>
                </c:pt>
                <c:pt idx="42">
                  <c:v>0.38446509805249013</c:v>
                </c:pt>
                <c:pt idx="43">
                  <c:v>0.37927763007075244</c:v>
                </c:pt>
                <c:pt idx="44">
                  <c:v>0.4109325774945292</c:v>
                </c:pt>
                <c:pt idx="45">
                  <c:v>0.4204296718046645</c:v>
                </c:pt>
                <c:pt idx="46">
                  <c:v>0.42465307306873407</c:v>
                </c:pt>
                <c:pt idx="47">
                  <c:v>0.43332522218139724</c:v>
                </c:pt>
                <c:pt idx="48">
                  <c:v>0.4346704777971825</c:v>
                </c:pt>
                <c:pt idx="49">
                  <c:v>0.42791496092547854</c:v>
                </c:pt>
                <c:pt idx="50">
                  <c:v>0.45475542703860333</c:v>
                </c:pt>
                <c:pt idx="51">
                  <c:v>0.460999061675693</c:v>
                </c:pt>
                <c:pt idx="52">
                  <c:v>0.4588524215842118</c:v>
                </c:pt>
                <c:pt idx="53">
                  <c:v>0.4588524215842118</c:v>
                </c:pt>
                <c:pt idx="54">
                  <c:v>0.4281356715369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1.0"/>
          <c:min val="64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299999999999999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0</c:f>
              <c:numCache>
                <c:formatCode>General</c:formatCode>
                <c:ptCount val="89"/>
                <c:pt idx="0">
                  <c:v>0.5510931383577053</c:v>
                </c:pt>
                <c:pt idx="1">
                  <c:v>0.0</c:v>
                </c:pt>
                <c:pt idx="2">
                  <c:v>1.3682360892388452</c:v>
                </c:pt>
                <c:pt idx="3">
                  <c:v>1.4089636482939634</c:v>
                </c:pt>
                <c:pt idx="4">
                  <c:v>0.6182230971128609</c:v>
                </c:pt>
                <c:pt idx="5">
                  <c:v>0.9782312007874016</c:v>
                </c:pt>
                <c:pt idx="6">
                  <c:v>0.7946320472440944</c:v>
                </c:pt>
                <c:pt idx="7">
                  <c:v>0.7228093700787401</c:v>
                </c:pt>
                <c:pt idx="8">
                  <c:v>0.9135506889763779</c:v>
                </c:pt>
                <c:pt idx="9">
                  <c:v>0.6604555118110237</c:v>
                </c:pt>
                <c:pt idx="10">
                  <c:v>0.7297520028870444</c:v>
                </c:pt>
                <c:pt idx="11">
                  <c:v>0.6449586614173228</c:v>
                </c:pt>
                <c:pt idx="12">
                  <c:v>0.7640481102362204</c:v>
                </c:pt>
                <c:pt idx="13">
                  <c:v>1.3266608923884515</c:v>
                </c:pt>
                <c:pt idx="14">
                  <c:v>0.9848537401574803</c:v>
                </c:pt>
                <c:pt idx="15">
                  <c:v>0.9750380905511811</c:v>
                </c:pt>
                <c:pt idx="16">
                  <c:v>0.0</c:v>
                </c:pt>
                <c:pt idx="17">
                  <c:v>0.0</c:v>
                </c:pt>
                <c:pt idx="18">
                  <c:v>0.0</c:v>
                </c:pt>
                <c:pt idx="19">
                  <c:v>0.0</c:v>
                </c:pt>
                <c:pt idx="20">
                  <c:v>0.0</c:v>
                </c:pt>
                <c:pt idx="21">
                  <c:v>0.0</c:v>
                </c:pt>
                <c:pt idx="22">
                  <c:v>0.0</c:v>
                </c:pt>
                <c:pt idx="23">
                  <c:v>1.3976761154855641</c:v>
                </c:pt>
                <c:pt idx="24">
                  <c:v>1.3950356955380578</c:v>
                </c:pt>
                <c:pt idx="25">
                  <c:v>1.2847910761154855</c:v>
                </c:pt>
                <c:pt idx="26">
                  <c:v>1.2658958005249343</c:v>
                </c:pt>
                <c:pt idx="27">
                  <c:v>0.0</c:v>
                </c:pt>
                <c:pt idx="28">
                  <c:v>0.7445826771653543</c:v>
                </c:pt>
                <c:pt idx="29">
                  <c:v>0.0</c:v>
                </c:pt>
                <c:pt idx="30">
                  <c:v>0.9593278543307087</c:v>
                </c:pt>
                <c:pt idx="31">
                  <c:v>0.8620219643597182</c:v>
                </c:pt>
                <c:pt idx="32">
                  <c:v>1.1354765748031495</c:v>
                </c:pt>
                <c:pt idx="33">
                  <c:v>0.6209926884139483</c:v>
                </c:pt>
                <c:pt idx="34">
                  <c:v>1.5788513123359582</c:v>
                </c:pt>
                <c:pt idx="35">
                  <c:v>0.0</c:v>
                </c:pt>
                <c:pt idx="36">
                  <c:v>0.8123843832020997</c:v>
                </c:pt>
                <c:pt idx="37">
                  <c:v>0.0</c:v>
                </c:pt>
                <c:pt idx="38">
                  <c:v>0.0</c:v>
                </c:pt>
                <c:pt idx="39">
                  <c:v>1.7119568241469816</c:v>
                </c:pt>
                <c:pt idx="40">
                  <c:v>0.0</c:v>
                </c:pt>
                <c:pt idx="41">
                  <c:v>1.0835239173228346</c:v>
                </c:pt>
                <c:pt idx="42">
                  <c:v>1.4313458005249344</c:v>
                </c:pt>
                <c:pt idx="43">
                  <c:v>1.0347759842519686</c:v>
                </c:pt>
                <c:pt idx="44">
                  <c:v>0.8178225196850395</c:v>
                </c:pt>
                <c:pt idx="45">
                  <c:v>0.0</c:v>
                </c:pt>
                <c:pt idx="46">
                  <c:v>0.0</c:v>
                </c:pt>
                <c:pt idx="47">
                  <c:v>0.0</c:v>
                </c:pt>
                <c:pt idx="48">
                  <c:v>0.0</c:v>
                </c:pt>
                <c:pt idx="49">
                  <c:v>0.7886526832460733</c:v>
                </c:pt>
                <c:pt idx="50">
                  <c:v>0.0</c:v>
                </c:pt>
                <c:pt idx="51">
                  <c:v>0.8348316881258943</c:v>
                </c:pt>
                <c:pt idx="52">
                  <c:v>0.0</c:v>
                </c:pt>
                <c:pt idx="53">
                  <c:v>0.0</c:v>
                </c:pt>
                <c:pt idx="54">
                  <c:v>0.551963605108055</c:v>
                </c:pt>
                <c:pt idx="55">
                  <c:v>0.0</c:v>
                </c:pt>
                <c:pt idx="56">
                  <c:v>0.49917024029574864</c:v>
                </c:pt>
                <c:pt idx="57">
                  <c:v>0.6803610421836228</c:v>
                </c:pt>
                <c:pt idx="58">
                  <c:v>0.5451150012275964</c:v>
                </c:pt>
                <c:pt idx="59">
                  <c:v>0.8595771226415094</c:v>
                </c:pt>
                <c:pt idx="60">
                  <c:v>0.7395127808820661</c:v>
                </c:pt>
                <c:pt idx="61">
                  <c:v>0.7241104479290801</c:v>
                </c:pt>
                <c:pt idx="62">
                  <c:v>0.9576441048034935</c:v>
                </c:pt>
                <c:pt idx="63">
                  <c:v>0.0</c:v>
                </c:pt>
                <c:pt idx="64">
                  <c:v>0.0</c:v>
                </c:pt>
                <c:pt idx="65">
                  <c:v>0.0</c:v>
                </c:pt>
                <c:pt idx="66">
                  <c:v>0.8090771428571429</c:v>
                </c:pt>
                <c:pt idx="67">
                  <c:v>0.5302841497227357</c:v>
                </c:pt>
                <c:pt idx="68">
                  <c:v>0.5297431937172775</c:v>
                </c:pt>
                <c:pt idx="69">
                  <c:v>0.0</c:v>
                </c:pt>
                <c:pt idx="70">
                  <c:v>0.7489061064087063</c:v>
                </c:pt>
                <c:pt idx="71">
                  <c:v>0.41372950819672133</c:v>
                </c:pt>
                <c:pt idx="72">
                  <c:v>0.598000942902043</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numCache>
            </c:numRef>
          </c:xVal>
          <c:yVal>
            <c:numRef>
              <c:f>Sheet1!$B$2:$B$90</c:f>
              <c:numCache>
                <c:formatCode>General</c:formatCode>
                <c:ptCount val="89"/>
                <c:pt idx="0">
                  <c:v>0.36192109777015435</c:v>
                </c:pt>
                <c:pt idx="1">
                  <c:v>0.3547794117647059</c:v>
                </c:pt>
                <c:pt idx="2">
                  <c:v>0.3086680761099366</c:v>
                </c:pt>
                <c:pt idx="3">
                  <c:v>0.30670103092783507</c:v>
                </c:pt>
                <c:pt idx="4">
                  <c:v>0.37115839243498816</c:v>
                </c:pt>
                <c:pt idx="5">
                  <c:v>0.3501577287066246</c:v>
                </c:pt>
                <c:pt idx="6">
                  <c:v>0.36879432624113473</c:v>
                </c:pt>
                <c:pt idx="7">
                  <c:v>0.39285714285714285</c:v>
                </c:pt>
                <c:pt idx="8">
                  <c:v>0.4282511210762332</c:v>
                </c:pt>
                <c:pt idx="9">
                  <c:v>0.44598337950138506</c:v>
                </c:pt>
                <c:pt idx="10">
                  <c:v>0.5409090909090909</c:v>
                </c:pt>
                <c:pt idx="11">
                  <c:v>0.5572687224669604</c:v>
                </c:pt>
                <c:pt idx="12">
                  <c:v>0.5958429561200924</c:v>
                </c:pt>
                <c:pt idx="13">
                  <c:v>0.556930693069307</c:v>
                </c:pt>
                <c:pt idx="14">
                  <c:v>0.5239520958083832</c:v>
                </c:pt>
                <c:pt idx="15">
                  <c:v>0.4423791821561338</c:v>
                </c:pt>
                <c:pt idx="16">
                  <c:v>0.40444444444444444</c:v>
                </c:pt>
                <c:pt idx="17">
                  <c:v>0.3076923076923077</c:v>
                </c:pt>
                <c:pt idx="18">
                  <c:v>0.34965034965034963</c:v>
                </c:pt>
                <c:pt idx="19">
                  <c:v>0.33624454148471616</c:v>
                </c:pt>
                <c:pt idx="20">
                  <c:v>0.32793522267206476</c:v>
                </c:pt>
                <c:pt idx="21">
                  <c:v>0.36220472440944884</c:v>
                </c:pt>
                <c:pt idx="22">
                  <c:v>0.44150943396226416</c:v>
                </c:pt>
                <c:pt idx="23">
                  <c:v>0.4840989399293286</c:v>
                </c:pt>
                <c:pt idx="24">
                  <c:v>0.4070175438596491</c:v>
                </c:pt>
                <c:pt idx="25">
                  <c:v>0.4449760765550239</c:v>
                </c:pt>
                <c:pt idx="26">
                  <c:v>0.3978494623655914</c:v>
                </c:pt>
                <c:pt idx="27">
                  <c:v>0.45084745762711864</c:v>
                </c:pt>
                <c:pt idx="28">
                  <c:v>0.45045045045045046</c:v>
                </c:pt>
                <c:pt idx="29">
                  <c:v>0.4665314401622718</c:v>
                </c:pt>
                <c:pt idx="30">
                  <c:v>0.46677471636953</c:v>
                </c:pt>
                <c:pt idx="31">
                  <c:v>0.47130434782608693</c:v>
                </c:pt>
                <c:pt idx="32">
                  <c:v>0.4244791666666667</c:v>
                </c:pt>
                <c:pt idx="33">
                  <c:v>0.3902439024390244</c:v>
                </c:pt>
                <c:pt idx="34">
                  <c:v>0.47580645161290325</c:v>
                </c:pt>
                <c:pt idx="35">
                  <c:v>0.5228215767634855</c:v>
                </c:pt>
                <c:pt idx="36">
                  <c:v>0.41620111731843573</c:v>
                </c:pt>
                <c:pt idx="37">
                  <c:v>0.3533834586466165</c:v>
                </c:pt>
                <c:pt idx="38">
                  <c:v>0.3865546218487395</c:v>
                </c:pt>
                <c:pt idx="39">
                  <c:v>0.40358744394618834</c:v>
                </c:pt>
                <c:pt idx="40">
                  <c:v>0.4225352112676056</c:v>
                </c:pt>
                <c:pt idx="41">
                  <c:v>0.48687350835322196</c:v>
                </c:pt>
                <c:pt idx="42">
                  <c:v>0.4663023679417122</c:v>
                </c:pt>
                <c:pt idx="43">
                  <c:v>0.5427215189873418</c:v>
                </c:pt>
                <c:pt idx="44">
                  <c:v>0.47150259067357514</c:v>
                </c:pt>
                <c:pt idx="45">
                  <c:v>0.4243027888446215</c:v>
                </c:pt>
                <c:pt idx="46">
                  <c:v>0.47606019151846785</c:v>
                </c:pt>
                <c:pt idx="47">
                  <c:v>0.4594594594594595</c:v>
                </c:pt>
                <c:pt idx="48">
                  <c:v>0.40899795501022496</c:v>
                </c:pt>
                <c:pt idx="49">
                  <c:v>0.3638392857142857</c:v>
                </c:pt>
                <c:pt idx="50">
                  <c:v>0.4023809523809524</c:v>
                </c:pt>
                <c:pt idx="51">
                  <c:v>0.37924151696606784</c:v>
                </c:pt>
                <c:pt idx="52">
                  <c:v>0.43485617597292725</c:v>
                </c:pt>
                <c:pt idx="53">
                  <c:v>0.4620187304890739</c:v>
                </c:pt>
                <c:pt idx="54">
                  <c:v>0.446242774566474</c:v>
                </c:pt>
                <c:pt idx="55">
                  <c:v>0.4175084175084175</c:v>
                </c:pt>
                <c:pt idx="56">
                  <c:v>0.4506578947368421</c:v>
                </c:pt>
                <c:pt idx="57">
                  <c:v>0.4805013927576602</c:v>
                </c:pt>
                <c:pt idx="58">
                  <c:v>0.502770083102493</c:v>
                </c:pt>
                <c:pt idx="59">
                  <c:v>0.47104851330203446</c:v>
                </c:pt>
                <c:pt idx="60">
                  <c:v>0.48465266558966075</c:v>
                </c:pt>
                <c:pt idx="61">
                  <c:v>0.5134649910233393</c:v>
                </c:pt>
                <c:pt idx="62">
                  <c:v>0.5012722646310432</c:v>
                </c:pt>
                <c:pt idx="63">
                  <c:v>0.4645161290322581</c:v>
                </c:pt>
                <c:pt idx="64">
                  <c:v>0.4115755627009646</c:v>
                </c:pt>
                <c:pt idx="65">
                  <c:v>0.4117647058823529</c:v>
                </c:pt>
                <c:pt idx="66">
                  <c:v>0.3936781609195402</c:v>
                </c:pt>
                <c:pt idx="67">
                  <c:v>0.3993808049535604</c:v>
                </c:pt>
                <c:pt idx="68">
                  <c:v>0.38461538461538464</c:v>
                </c:pt>
                <c:pt idx="69">
                  <c:v>0.3911671924290221</c:v>
                </c:pt>
                <c:pt idx="70">
                  <c:v>0.354014598540146</c:v>
                </c:pt>
                <c:pt idx="71">
                  <c:v>0.3804347826086957</c:v>
                </c:pt>
                <c:pt idx="72">
                  <c:v>0.4789297658862876</c:v>
                </c:pt>
                <c:pt idx="73">
                  <c:v>0.43099273607748184</c:v>
                </c:pt>
                <c:pt idx="74">
                  <c:v>0.42828685258964144</c:v>
                </c:pt>
                <c:pt idx="75">
                  <c:v>0.4174757281553398</c:v>
                </c:pt>
                <c:pt idx="76">
                  <c:v>0.41622574955908287</c:v>
                </c:pt>
                <c:pt idx="77">
                  <c:v>0.3978494623655914</c:v>
                </c:pt>
                <c:pt idx="78">
                  <c:v>0.40350877192982454</c:v>
                </c:pt>
                <c:pt idx="79">
                  <c:v>0.46236559139784944</c:v>
                </c:pt>
                <c:pt idx="80">
                  <c:v>0.3981191222570533</c:v>
                </c:pt>
                <c:pt idx="81">
                  <c:v>0.4425770308123249</c:v>
                </c:pt>
                <c:pt idx="82">
                  <c:v>0.4111111111111111</c:v>
                </c:pt>
                <c:pt idx="83">
                  <c:v>0.3984375</c:v>
                </c:pt>
                <c:pt idx="84">
                  <c:v>0.41304347826086957</c:v>
                </c:pt>
                <c:pt idx="85">
                  <c:v>0.46360153256704983</c:v>
                </c:pt>
                <c:pt idx="86">
                  <c:v>0.40344827586206894</c:v>
                </c:pt>
                <c:pt idx="87">
                  <c:v>0.43333333333333335</c:v>
                </c:pt>
                <c:pt idx="88">
                  <c:v>0.4255639097744361</c:v>
                </c:pt>
              </c:numCache>
            </c:numRef>
          </c:yVal>
          <c:smooth val="0"/>
          <c:extLst>
            <c:ext xmlns:c16="http://schemas.microsoft.com/office/drawing/2014/chart" uri="{C3380CC4-5D6E-409C-BE32-E72D297353CC}">
              <c16:uniqueId val="{00000000-096C-4121-9522-6AB7243CCAAE}"/>
            </c:ext>
          </c:extLst>
        </c:ser>
        <c:ser>
          <c:idx val="1"/>
          <c:order val="1"/>
          <c:tx>
            <c:strRef>
              <c:f>Sheet1!$B$9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3:$A$120</c:f>
              <c:numCache>
                <c:formatCode>General</c:formatCode>
                <c:ptCount val="28"/>
                <c:pt idx="0">
                  <c:v>1.1064784467713786</c:v>
                </c:pt>
                <c:pt idx="1">
                  <c:v>0.6177504976427448</c:v>
                </c:pt>
                <c:pt idx="2">
                  <c:v>0.7848480340760158</c:v>
                </c:pt>
                <c:pt idx="3">
                  <c:v>0.6595331806282723</c:v>
                </c:pt>
                <c:pt idx="4">
                  <c:v>1.151848532494759</c:v>
                </c:pt>
                <c:pt idx="5">
                  <c:v>0.3985739754098361</c:v>
                </c:pt>
                <c:pt idx="6">
                  <c:v>1.5189971128608923</c:v>
                </c:pt>
                <c:pt idx="7">
                  <c:v>0.7336252720677146</c:v>
                </c:pt>
                <c:pt idx="8">
                  <c:v>0.552148153967007</c:v>
                </c:pt>
                <c:pt idx="9">
                  <c:v>0.7192484542586751</c:v>
                </c:pt>
                <c:pt idx="10">
                  <c:v>0.7227185094685401</c:v>
                </c:pt>
                <c:pt idx="11">
                  <c:v>2.658842369020501</c:v>
                </c:pt>
                <c:pt idx="12">
                  <c:v>0.9690395913154534</c:v>
                </c:pt>
                <c:pt idx="13">
                  <c:v>1.5420371339563863</c:v>
                </c:pt>
                <c:pt idx="14">
                  <c:v>0.6875730751126353</c:v>
                </c:pt>
                <c:pt idx="15">
                  <c:v>0.9144837225016729</c:v>
                </c:pt>
                <c:pt idx="16">
                  <c:v>1.1295811518324608</c:v>
                </c:pt>
                <c:pt idx="17">
                  <c:v>0.7779873035826524</c:v>
                </c:pt>
                <c:pt idx="18">
                  <c:v>0.5120144084342054</c:v>
                </c:pt>
                <c:pt idx="19">
                  <c:v>0.4532056206088993</c:v>
                </c:pt>
                <c:pt idx="20">
                  <c:v>0.48469143567874917</c:v>
                </c:pt>
                <c:pt idx="21">
                  <c:v>0.5046868631732169</c:v>
                </c:pt>
                <c:pt idx="22">
                  <c:v>0.6503841940532081</c:v>
                </c:pt>
                <c:pt idx="23">
                  <c:v>0.9071957078313254</c:v>
                </c:pt>
                <c:pt idx="24">
                  <c:v>0.5047083829787233</c:v>
                </c:pt>
                <c:pt idx="25">
                  <c:v>0.4466751048417842</c:v>
                </c:pt>
                <c:pt idx="26">
                  <c:v>0.7593529751172017</c:v>
                </c:pt>
                <c:pt idx="27">
                  <c:v>0.30787114114114117</c:v>
                </c:pt>
              </c:numCache>
            </c:numRef>
          </c:xVal>
          <c:yVal>
            <c:numRef>
              <c:f>Sheet1!$B$93:$B$120</c:f>
              <c:numCache>
                <c:formatCode>General</c:formatCode>
                <c:ptCount val="28"/>
                <c:pt idx="0">
                  <c:v>0.42386831275720166</c:v>
                </c:pt>
                <c:pt idx="1">
                  <c:v>0.40765391014975044</c:v>
                </c:pt>
                <c:pt idx="2">
                  <c:v>0.40782122905027934</c:v>
                </c:pt>
                <c:pt idx="3">
                  <c:v>0.4874446085672083</c:v>
                </c:pt>
                <c:pt idx="4">
                  <c:v>0.4608843537414966</c:v>
                </c:pt>
                <c:pt idx="5">
                  <c:v>0.4621212121212121</c:v>
                </c:pt>
                <c:pt idx="6">
                  <c:v>0.47689075630252103</c:v>
                </c:pt>
                <c:pt idx="7">
                  <c:v>0.45905707196029777</c:v>
                </c:pt>
                <c:pt idx="8">
                  <c:v>0.391304347826087</c:v>
                </c:pt>
                <c:pt idx="9">
                  <c:v>0.40942028985507245</c:v>
                </c:pt>
                <c:pt idx="10">
                  <c:v>0.4485294117647059</c:v>
                </c:pt>
                <c:pt idx="11">
                  <c:v>0.47335423197492166</c:v>
                </c:pt>
                <c:pt idx="12">
                  <c:v>0.5057736720554272</c:v>
                </c:pt>
                <c:pt idx="13">
                  <c:v>0.5428571428571428</c:v>
                </c:pt>
                <c:pt idx="14">
                  <c:v>0.5372233400402414</c:v>
                </c:pt>
                <c:pt idx="15">
                  <c:v>0.44206008583690987</c:v>
                </c:pt>
                <c:pt idx="16">
                  <c:v>0.3798449612403101</c:v>
                </c:pt>
                <c:pt idx="17">
                  <c:v>0.4263157894736842</c:v>
                </c:pt>
                <c:pt idx="18">
                  <c:v>0.3901639344262295</c:v>
                </c:pt>
                <c:pt idx="19">
                  <c:v>0.3778409090909091</c:v>
                </c:pt>
                <c:pt idx="20">
                  <c:v>0.38461538461538464</c:v>
                </c:pt>
                <c:pt idx="21">
                  <c:v>0.4058679706601467</c:v>
                </c:pt>
                <c:pt idx="22">
                  <c:v>0.41201716738197425</c:v>
                </c:pt>
                <c:pt idx="23">
                  <c:v>0.4479578392621871</c:v>
                </c:pt>
                <c:pt idx="24">
                  <c:v>0.4522417153996101</c:v>
                </c:pt>
                <c:pt idx="25">
                  <c:v>0.45403899721448465</c:v>
                </c:pt>
                <c:pt idx="26">
                  <c:v>0.4921030756442228</c:v>
                </c:pt>
                <c:pt idx="27">
                  <c:v>0.4637037037037037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9229526107649484</c:v>
                </c:pt>
              </c:numCache>
            </c:numRef>
          </c:xVal>
          <c:yVal>
            <c:numRef>
              <c:f>Sheet1!$B$123:$B$124</c:f>
              <c:numCache>
                <c:formatCode>General</c:formatCode>
                <c:ptCount val="2"/>
                <c:pt idx="0">
                  <c:v>0.4789297658862876</c:v>
                </c:pt>
                <c:pt idx="1">
                  <c:v>0.478929765886287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9229526107649484</c:v>
                </c:pt>
                <c:pt idx="1">
                  <c:v>1.9229526107649484</c:v>
                </c:pt>
              </c:numCache>
            </c:numRef>
          </c:xVal>
          <c:yVal>
            <c:numRef>
              <c:f>Sheet1!$B$127:$B$128</c:f>
              <c:numCache>
                <c:formatCode>General</c:formatCode>
                <c:ptCount val="2"/>
                <c:pt idx="0">
                  <c:v>0.47892976588628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4971849848743626</c:v>
                </c:pt>
              </c:numCache>
            </c:numRef>
          </c:xVal>
          <c:yVal>
            <c:numRef>
              <c:f>Sheet1!$B$131:$B$132</c:f>
              <c:numCache>
                <c:formatCode>General</c:formatCode>
                <c:ptCount val="2"/>
                <c:pt idx="0">
                  <c:v>0.46522567990502706</c:v>
                </c:pt>
                <c:pt idx="1">
                  <c:v>0.46522567990502706</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4971849848743626</c:v>
                </c:pt>
                <c:pt idx="1">
                  <c:v>1.4971849848743626</c:v>
                </c:pt>
              </c:numCache>
            </c:numRef>
          </c:xVal>
          <c:yVal>
            <c:numRef>
              <c:f>Sheet1!$B$135:$B$136</c:f>
              <c:numCache>
                <c:formatCode>General</c:formatCode>
                <c:ptCount val="2"/>
                <c:pt idx="0">
                  <c:v>0.465225679905027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3448480228373659</c:v>
                </c:pt>
              </c:numCache>
            </c:numRef>
          </c:xVal>
          <c:yVal>
            <c:numRef>
              <c:f>Sheet1!$B$139:$B$14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3448480228373659</c:v>
                </c:pt>
                <c:pt idx="1">
                  <c:v>0.3448480228373659</c:v>
                </c:pt>
              </c:numCache>
            </c:numRef>
          </c:xVal>
          <c:yVal>
            <c:numRef>
              <c:f>Sheet1!$B$143:$B$144</c:f>
              <c:numCache>
                <c:formatCode>General</c:formatCode>
                <c:ptCount val="2"/>
                <c:pt idx="0">
                  <c:v>0.4281356715369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177</c:f>
              <c:numCache>
                <c:formatCode>General</c:formatCode>
                <c:ptCount val="31"/>
                <c:pt idx="0">
                  <c:v>1.1064784467713786</c:v>
                </c:pt>
                <c:pt idx="1">
                  <c:v>0.6177504976427448</c:v>
                </c:pt>
                <c:pt idx="2">
                  <c:v>0.7848480340760158</c:v>
                </c:pt>
                <c:pt idx="3">
                  <c:v>0.6595331806282723</c:v>
                </c:pt>
                <c:pt idx="4">
                  <c:v>1.151848532494759</c:v>
                </c:pt>
                <c:pt idx="5">
                  <c:v>0.3985739754098361</c:v>
                </c:pt>
                <c:pt idx="6">
                  <c:v>1.5189971128608923</c:v>
                </c:pt>
                <c:pt idx="7">
                  <c:v>0.7336252720677146</c:v>
                </c:pt>
                <c:pt idx="8">
                  <c:v>0.552148153967007</c:v>
                </c:pt>
                <c:pt idx="9">
                  <c:v>0.7192484542586751</c:v>
                </c:pt>
                <c:pt idx="10">
                  <c:v>0.7227185094685401</c:v>
                </c:pt>
                <c:pt idx="11">
                  <c:v>2.658842369020501</c:v>
                </c:pt>
                <c:pt idx="12">
                  <c:v>0.9690395913154534</c:v>
                </c:pt>
                <c:pt idx="13">
                  <c:v>1.5420371339563863</c:v>
                </c:pt>
                <c:pt idx="14">
                  <c:v>0.6875730751126353</c:v>
                </c:pt>
                <c:pt idx="15">
                  <c:v>0.9144837225016729</c:v>
                </c:pt>
                <c:pt idx="16">
                  <c:v>1.1295811518324608</c:v>
                </c:pt>
                <c:pt idx="17">
                  <c:v>0.7779873035826524</c:v>
                </c:pt>
                <c:pt idx="18">
                  <c:v>0.5120144084342054</c:v>
                </c:pt>
                <c:pt idx="19">
                  <c:v>0.4532056206088993</c:v>
                </c:pt>
                <c:pt idx="20">
                  <c:v>0.48469143567874917</c:v>
                </c:pt>
                <c:pt idx="21">
                  <c:v>0.5046868631732169</c:v>
                </c:pt>
                <c:pt idx="22">
                  <c:v>0.6503841940532081</c:v>
                </c:pt>
                <c:pt idx="23">
                  <c:v>0.9071957078313254</c:v>
                </c:pt>
                <c:pt idx="24">
                  <c:v>0.5047083829787233</c:v>
                </c:pt>
                <c:pt idx="25">
                  <c:v>0.4466751048417842</c:v>
                </c:pt>
                <c:pt idx="26">
                  <c:v>0.7593529751172017</c:v>
                </c:pt>
                <c:pt idx="27">
                  <c:v>0.30787114114114117</c:v>
                </c:pt>
                <c:pt idx="28">
                  <c:v>1.4971849848743626</c:v>
                </c:pt>
                <c:pt idx="29">
                  <c:v>1.9229526107649484</c:v>
                </c:pt>
                <c:pt idx="30">
                  <c:v>0.3448480228373659</c:v>
                </c:pt>
              </c:numCache>
            </c:numRef>
          </c:xVal>
          <c:yVal>
            <c:numRef>
              <c:f>Sheet1!$B$147:$B$177</c:f>
              <c:numCache>
                <c:formatCode>General</c:formatCode>
                <c:ptCount val="31"/>
                <c:pt idx="0">
                  <c:v>0.45265009720212823</c:v>
                </c:pt>
                <c:pt idx="1">
                  <c:v>0.4369195215805213</c:v>
                </c:pt>
                <c:pt idx="2">
                  <c:v>0.4422978520765248</c:v>
                </c:pt>
                <c:pt idx="3">
                  <c:v>0.43826437131860013</c:v>
                </c:pt>
                <c:pt idx="4">
                  <c:v>0.45411041385826156</c:v>
                </c:pt>
                <c:pt idx="5">
                  <c:v>0.42986493658366826</c:v>
                </c:pt>
                <c:pt idx="6">
                  <c:v>0.4659277419200438</c:v>
                </c:pt>
                <c:pt idx="7">
                  <c:v>0.4406491566565969</c:v>
                </c:pt>
                <c:pt idx="8">
                  <c:v>0.4348079938277382</c:v>
                </c:pt>
                <c:pt idx="9">
                  <c:v>0.44018641328342495</c:v>
                </c:pt>
                <c:pt idx="10">
                  <c:v>0.44029810316321855</c:v>
                </c:pt>
                <c:pt idx="11">
                  <c:v>0.5026156825850239</c:v>
                </c:pt>
                <c:pt idx="12">
                  <c:v>0.4482263839421209</c:v>
                </c:pt>
                <c:pt idx="13">
                  <c:v>0.46666932585198856</c:v>
                </c:pt>
                <c:pt idx="14">
                  <c:v>0.43916688504099843</c:v>
                </c:pt>
                <c:pt idx="15">
                  <c:v>0.44647040656962206</c:v>
                </c:pt>
                <c:pt idx="16">
                  <c:v>0.4533936987286523</c:v>
                </c:pt>
                <c:pt idx="17">
                  <c:v>0.4420770273006188</c:v>
                </c:pt>
                <c:pt idx="18">
                  <c:v>0.4335162180653582</c:v>
                </c:pt>
                <c:pt idx="19">
                  <c:v>0.4316233529534889</c:v>
                </c:pt>
                <c:pt idx="20">
                  <c:v>0.43263677974000125</c:v>
                </c:pt>
                <c:pt idx="21">
                  <c:v>0.4332803680284323</c:v>
                </c:pt>
                <c:pt idx="22">
                  <c:v>0.4379698949633258</c:v>
                </c:pt>
                <c:pt idx="23">
                  <c:v>0.4462358288948488</c:v>
                </c:pt>
                <c:pt idx="24">
                  <c:v>0.43328106068152994</c:v>
                </c:pt>
                <c:pt idx="25">
                  <c:v>0.4314131567240614</c:v>
                </c:pt>
                <c:pt idx="26">
                  <c:v>0.44147724839784425</c:v>
                </c:pt>
                <c:pt idx="27">
                  <c:v>0.42694550503468137</c:v>
                </c:pt>
                <c:pt idx="28">
                  <c:v>0.46522567990502706</c:v>
                </c:pt>
                <c:pt idx="29">
                  <c:v>0.4789297658862876</c:v>
                </c:pt>
                <c:pt idx="30">
                  <c:v>0.4281356715369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45360824742268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6</c:f>
              <c:numCache>
                <c:formatCode>General</c:formatCode>
                <c:ptCount val="75"/>
                <c:pt idx="0">
                  <c:v>979.8436</c:v>
                </c:pt>
                <c:pt idx="1">
                  <c:v>1004.4404</c:v>
                </c:pt>
                <c:pt idx="2">
                  <c:v>1042.5959</c:v>
                </c:pt>
                <c:pt idx="3">
                  <c:v>1073.6303</c:v>
                </c:pt>
                <c:pt idx="4">
                  <c:v>942.172</c:v>
                </c:pt>
                <c:pt idx="5">
                  <c:v>993.8829</c:v>
                </c:pt>
                <c:pt idx="6">
                  <c:v>1009.1827</c:v>
                </c:pt>
                <c:pt idx="7">
                  <c:v>917.9679</c:v>
                </c:pt>
                <c:pt idx="8">
                  <c:v>928.1675</c:v>
                </c:pt>
                <c:pt idx="9">
                  <c:v>1006.5342</c:v>
                </c:pt>
                <c:pt idx="10">
                  <c:v>1011.0714</c:v>
                </c:pt>
                <c:pt idx="11">
                  <c:v>982.917</c:v>
                </c:pt>
                <c:pt idx="12">
                  <c:v>970.3411</c:v>
                </c:pt>
                <c:pt idx="13">
                  <c:v>1010.9156</c:v>
                </c:pt>
                <c:pt idx="14">
                  <c:v>1000.6114</c:v>
                </c:pt>
                <c:pt idx="15">
                  <c:v>990.6387</c:v>
                </c:pt>
                <c:pt idx="16">
                  <c:v>1093.0</c:v>
                </c:pt>
                <c:pt idx="17">
                  <c:v>1107.9265</c:v>
                </c:pt>
                <c:pt idx="18">
                  <c:v>1137.45</c:v>
                </c:pt>
                <c:pt idx="19">
                  <c:v>1136.013</c:v>
                </c:pt>
                <c:pt idx="20">
                  <c:v>1054.2716</c:v>
                </c:pt>
                <c:pt idx="21">
                  <c:v>1043.6522</c:v>
                </c:pt>
                <c:pt idx="22">
                  <c:v>1037.1453</c:v>
                </c:pt>
                <c:pt idx="23">
                  <c:v>1065.0292</c:v>
                </c:pt>
                <c:pt idx="24">
                  <c:v>1063.0172</c:v>
                </c:pt>
                <c:pt idx="25">
                  <c:v>979.0108</c:v>
                </c:pt>
                <c:pt idx="26">
                  <c:v>964.6126</c:v>
                </c:pt>
                <c:pt idx="27">
                  <c:v>990.7519</c:v>
                </c:pt>
                <c:pt idx="28">
                  <c:v>945.62</c:v>
                </c:pt>
                <c:pt idx="29">
                  <c:v>916.4</c:v>
                </c:pt>
                <c:pt idx="30">
                  <c:v>974.6771</c:v>
                </c:pt>
                <c:pt idx="31">
                  <c:v>1040.0295</c:v>
                </c:pt>
                <c:pt idx="32">
                  <c:v>1153.6442</c:v>
                </c:pt>
                <c:pt idx="33">
                  <c:v>1104.125</c:v>
                </c:pt>
                <c:pt idx="34">
                  <c:v>1203.0847</c:v>
                </c:pt>
                <c:pt idx="35">
                  <c:v>1160.0317</c:v>
                </c:pt>
                <c:pt idx="36">
                  <c:v>1238.0738</c:v>
                </c:pt>
                <c:pt idx="37">
                  <c:v>1292.0957</c:v>
                </c:pt>
                <c:pt idx="38">
                  <c:v>1295.1594</c:v>
                </c:pt>
                <c:pt idx="39">
                  <c:v>1304.5111</c:v>
                </c:pt>
                <c:pt idx="40">
                  <c:v>1139.1133</c:v>
                </c:pt>
                <c:pt idx="41">
                  <c:v>1100.8603</c:v>
                </c:pt>
                <c:pt idx="42">
                  <c:v>1090.6855</c:v>
                </c:pt>
                <c:pt idx="43">
                  <c:v>1051.3324</c:v>
                </c:pt>
                <c:pt idx="44">
                  <c:v>1038.6346</c:v>
                </c:pt>
                <c:pt idx="45">
                  <c:v>1062.3239</c:v>
                </c:pt>
                <c:pt idx="46">
                  <c:v>1113.0316</c:v>
                </c:pt>
                <c:pt idx="47">
                  <c:v>1144.9647</c:v>
                </c:pt>
                <c:pt idx="48">
                  <c:v>1166.565</c:v>
                </c:pt>
                <c:pt idx="49">
                  <c:v>1205.0613</c:v>
                </c:pt>
                <c:pt idx="50">
                  <c:v>1180.4201</c:v>
                </c:pt>
                <c:pt idx="51">
                  <c:v>1167.0947</c:v>
                </c:pt>
                <c:pt idx="52">
                  <c:v>1113.6498</c:v>
                </c:pt>
                <c:pt idx="53">
                  <c:v>1098.7973</c:v>
                </c:pt>
                <c:pt idx="54">
                  <c:v>1123.7979</c:v>
                </c:pt>
                <c:pt idx="55">
                  <c:v>1156.8952</c:v>
                </c:pt>
                <c:pt idx="56">
                  <c:v>1080.2044</c:v>
                </c:pt>
                <c:pt idx="57">
                  <c:v>1096.742</c:v>
                </c:pt>
                <c:pt idx="58">
                  <c:v>1110.1267</c:v>
                </c:pt>
                <c:pt idx="59">
                  <c:v>1093.3821</c:v>
                </c:pt>
                <c:pt idx="60">
                  <c:v>1097.93</c:v>
                </c:pt>
                <c:pt idx="61">
                  <c:v>1105.958</c:v>
                </c:pt>
                <c:pt idx="62">
                  <c:v>1096.5025</c:v>
                </c:pt>
                <c:pt idx="63">
                  <c:v>1056.7986</c:v>
                </c:pt>
                <c:pt idx="64">
                  <c:v>1021.375</c:v>
                </c:pt>
                <c:pt idx="65">
                  <c:v>1177.0873</c:v>
                </c:pt>
                <c:pt idx="66">
                  <c:v>1132.708</c:v>
                </c:pt>
                <c:pt idx="67">
                  <c:v>1147.5349</c:v>
                </c:pt>
                <c:pt idx="68">
                  <c:v>1214.1714</c:v>
                </c:pt>
                <c:pt idx="69">
                  <c:v>1132.2903</c:v>
                </c:pt>
                <c:pt idx="70">
                  <c:v>1238.6907</c:v>
                </c:pt>
                <c:pt idx="71">
                  <c:v>1211.4</c:v>
                </c:pt>
                <c:pt idx="72">
                  <c:v>1141.5838</c:v>
                </c:pt>
                <c:pt idx="73">
                  <c:v>1124.4326</c:v>
                </c:pt>
                <c:pt idx="74">
                  <c:v>1130.5767</c:v>
                </c:pt>
              </c:numCache>
            </c:numRef>
          </c:xVal>
          <c:yVal>
            <c:numRef>
              <c:f>Sheet1!$B$2:$B$76</c:f>
              <c:numCache>
                <c:formatCode>General</c:formatCode>
                <c:ptCount val="75"/>
                <c:pt idx="0">
                  <c:v>0.36192109777015435</c:v>
                </c:pt>
                <c:pt idx="1">
                  <c:v>0.3547794117647059</c:v>
                </c:pt>
                <c:pt idx="2">
                  <c:v>0.3086680761099366</c:v>
                </c:pt>
                <c:pt idx="3">
                  <c:v>0.30670103092783507</c:v>
                </c:pt>
                <c:pt idx="4">
                  <c:v>0.37115839243498816</c:v>
                </c:pt>
                <c:pt idx="5">
                  <c:v>0.3501577287066246</c:v>
                </c:pt>
                <c:pt idx="6">
                  <c:v>0.36879432624113473</c:v>
                </c:pt>
                <c:pt idx="7">
                  <c:v>0.39285714285714285</c:v>
                </c:pt>
                <c:pt idx="8">
                  <c:v>0.4282511210762332</c:v>
                </c:pt>
                <c:pt idx="9">
                  <c:v>0.44598337950138506</c:v>
                </c:pt>
                <c:pt idx="10">
                  <c:v>0.5409090909090909</c:v>
                </c:pt>
                <c:pt idx="11">
                  <c:v>0.5572687224669604</c:v>
                </c:pt>
                <c:pt idx="12">
                  <c:v>0.5958429561200924</c:v>
                </c:pt>
                <c:pt idx="13">
                  <c:v>0.556930693069307</c:v>
                </c:pt>
                <c:pt idx="14">
                  <c:v>0.5239520958083832</c:v>
                </c:pt>
                <c:pt idx="15">
                  <c:v>0.4423791821561338</c:v>
                </c:pt>
                <c:pt idx="16">
                  <c:v>0.40444444444444444</c:v>
                </c:pt>
                <c:pt idx="17">
                  <c:v>0.3076923076923077</c:v>
                </c:pt>
                <c:pt idx="18">
                  <c:v>0.34965034965034963</c:v>
                </c:pt>
                <c:pt idx="19">
                  <c:v>0.33624454148471616</c:v>
                </c:pt>
                <c:pt idx="20">
                  <c:v>0.32793522267206476</c:v>
                </c:pt>
                <c:pt idx="21">
                  <c:v>0.36220472440944884</c:v>
                </c:pt>
                <c:pt idx="22">
                  <c:v>0.44150943396226416</c:v>
                </c:pt>
                <c:pt idx="23">
                  <c:v>0.4840989399293286</c:v>
                </c:pt>
                <c:pt idx="24">
                  <c:v>0.4070175438596491</c:v>
                </c:pt>
                <c:pt idx="25">
                  <c:v>0.4449760765550239</c:v>
                </c:pt>
                <c:pt idx="26">
                  <c:v>0.3978494623655914</c:v>
                </c:pt>
                <c:pt idx="27">
                  <c:v>0.45084745762711864</c:v>
                </c:pt>
                <c:pt idx="28">
                  <c:v>0.45045045045045046</c:v>
                </c:pt>
                <c:pt idx="29">
                  <c:v>0.4665314401622718</c:v>
                </c:pt>
                <c:pt idx="30">
                  <c:v>0.46677471636953</c:v>
                </c:pt>
                <c:pt idx="31">
                  <c:v>0.47130434782608693</c:v>
                </c:pt>
                <c:pt idx="32">
                  <c:v>0.4244791666666667</c:v>
                </c:pt>
                <c:pt idx="33">
                  <c:v>0.3902439024390244</c:v>
                </c:pt>
                <c:pt idx="34">
                  <c:v>0.47580645161290325</c:v>
                </c:pt>
                <c:pt idx="35">
                  <c:v>0.5228215767634855</c:v>
                </c:pt>
                <c:pt idx="36">
                  <c:v>0.41620111731843573</c:v>
                </c:pt>
                <c:pt idx="37">
                  <c:v>0.3533834586466165</c:v>
                </c:pt>
                <c:pt idx="38">
                  <c:v>0.3865546218487395</c:v>
                </c:pt>
                <c:pt idx="39">
                  <c:v>0.40358744394618834</c:v>
                </c:pt>
                <c:pt idx="40">
                  <c:v>0.4225352112676056</c:v>
                </c:pt>
                <c:pt idx="41">
                  <c:v>0.48687350835322196</c:v>
                </c:pt>
                <c:pt idx="42">
                  <c:v>0.4663023679417122</c:v>
                </c:pt>
                <c:pt idx="43">
                  <c:v>0.5427215189873418</c:v>
                </c:pt>
                <c:pt idx="44">
                  <c:v>0.47150259067357514</c:v>
                </c:pt>
                <c:pt idx="45">
                  <c:v>0.4243027888446215</c:v>
                </c:pt>
                <c:pt idx="46">
                  <c:v>0.47606019151846785</c:v>
                </c:pt>
                <c:pt idx="47">
                  <c:v>0.4594594594594595</c:v>
                </c:pt>
                <c:pt idx="48">
                  <c:v>0.40899795501022496</c:v>
                </c:pt>
                <c:pt idx="49">
                  <c:v>0.3638392857142857</c:v>
                </c:pt>
                <c:pt idx="50">
                  <c:v>0.4023809523809524</c:v>
                </c:pt>
                <c:pt idx="51">
                  <c:v>0.37924151696606784</c:v>
                </c:pt>
                <c:pt idx="52">
                  <c:v>0.43485617597292725</c:v>
                </c:pt>
                <c:pt idx="53">
                  <c:v>0.4620187304890739</c:v>
                </c:pt>
                <c:pt idx="54">
                  <c:v>0.446242774566474</c:v>
                </c:pt>
                <c:pt idx="55">
                  <c:v>0.4175084175084175</c:v>
                </c:pt>
                <c:pt idx="56">
                  <c:v>0.4506578947368421</c:v>
                </c:pt>
                <c:pt idx="57">
                  <c:v>0.4805013927576602</c:v>
                </c:pt>
                <c:pt idx="58">
                  <c:v>0.502770083102493</c:v>
                </c:pt>
                <c:pt idx="59">
                  <c:v>0.47104851330203446</c:v>
                </c:pt>
                <c:pt idx="60">
                  <c:v>0.48465266558966075</c:v>
                </c:pt>
                <c:pt idx="61">
                  <c:v>0.5134649910233393</c:v>
                </c:pt>
                <c:pt idx="62">
                  <c:v>0.5012722646310432</c:v>
                </c:pt>
                <c:pt idx="63">
                  <c:v>0.4645161290322581</c:v>
                </c:pt>
                <c:pt idx="64">
                  <c:v>0.4115755627009646</c:v>
                </c:pt>
                <c:pt idx="65">
                  <c:v>0.4117647058823529</c:v>
                </c:pt>
                <c:pt idx="66">
                  <c:v>0.3936781609195402</c:v>
                </c:pt>
                <c:pt idx="67">
                  <c:v>0.3993808049535604</c:v>
                </c:pt>
                <c:pt idx="68">
                  <c:v>0.38461538461538464</c:v>
                </c:pt>
                <c:pt idx="69">
                  <c:v>0.3911671924290221</c:v>
                </c:pt>
                <c:pt idx="70">
                  <c:v>0.354014598540146</c:v>
                </c:pt>
                <c:pt idx="71">
                  <c:v>0.3804347826086957</c:v>
                </c:pt>
                <c:pt idx="72">
                  <c:v>0.4789297658862876</c:v>
                </c:pt>
                <c:pt idx="73">
                  <c:v>0.43099273607748184</c:v>
                </c:pt>
                <c:pt idx="74">
                  <c:v>0.42828685258964144</c:v>
                </c:pt>
              </c:numCache>
            </c:numRef>
          </c:yVal>
          <c:smooth val="0"/>
          <c:extLst>
            <c:ext xmlns:c16="http://schemas.microsoft.com/office/drawing/2014/chart" uri="{C3380CC4-5D6E-409C-BE32-E72D297353CC}">
              <c16:uniqueId val="{00000000-F32D-48B7-BC20-E66FC6253BAD}"/>
            </c:ext>
          </c:extLst>
        </c:ser>
        <c:ser>
          <c:idx val="1"/>
          <c:order val="1"/>
          <c:tx>
            <c:strRef>
              <c:f>Sheet1!$B$7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9:$A$120</c:f>
              <c:numCache>
                <c:formatCode>General</c:formatCode>
                <c:ptCount val="42"/>
                <c:pt idx="0">
                  <c:v>1247.2512</c:v>
                </c:pt>
                <c:pt idx="1">
                  <c:v>1268.0243</c:v>
                </c:pt>
                <c:pt idx="2">
                  <c:v>1271.0593</c:v>
                </c:pt>
                <c:pt idx="3">
                  <c:v>1302.455</c:v>
                </c:pt>
                <c:pt idx="4">
                  <c:v>1293.8841</c:v>
                </c:pt>
                <c:pt idx="5">
                  <c:v>1179.2857</c:v>
                </c:pt>
                <c:pt idx="6">
                  <c:v>1184.693</c:v>
                </c:pt>
                <c:pt idx="7">
                  <c:v>1261.6457</c:v>
                </c:pt>
                <c:pt idx="8">
                  <c:v>1197.6781</c:v>
                </c:pt>
                <c:pt idx="9">
                  <c:v>1267.8165</c:v>
                </c:pt>
                <c:pt idx="10">
                  <c:v>1007.7667</c:v>
                </c:pt>
                <c:pt idx="11">
                  <c:v>1098.8635</c:v>
                </c:pt>
                <c:pt idx="12">
                  <c:v>1167.0246</c:v>
                </c:pt>
                <c:pt idx="13">
                  <c:v>1157.4758</c:v>
                </c:pt>
                <c:pt idx="14">
                  <c:v>1213.4162</c:v>
                </c:pt>
                <c:pt idx="15">
                  <c:v>1255.5338</c:v>
                </c:pt>
                <c:pt idx="16">
                  <c:v>1301.5686</c:v>
                </c:pt>
                <c:pt idx="17">
                  <c:v>1405.7692</c:v>
                </c:pt>
                <c:pt idx="18">
                  <c:v>1156.7039</c:v>
                </c:pt>
                <c:pt idx="19">
                  <c:v>1140.0088</c:v>
                </c:pt>
                <c:pt idx="20">
                  <c:v>1183.0902</c:v>
                </c:pt>
                <c:pt idx="21">
                  <c:v>1053.595</c:v>
                </c:pt>
                <c:pt idx="22">
                  <c:v>1167.2318</c:v>
                </c:pt>
                <c:pt idx="23">
                  <c:v>1138.137</c:v>
                </c:pt>
                <c:pt idx="24">
                  <c:v>1237.4848</c:v>
                </c:pt>
                <c:pt idx="25">
                  <c:v>1278.1124</c:v>
                </c:pt>
                <c:pt idx="26">
                  <c:v>1207.7282</c:v>
                </c:pt>
                <c:pt idx="27">
                  <c:v>1294.5</c:v>
                </c:pt>
                <c:pt idx="28">
                  <c:v>1214.547</c:v>
                </c:pt>
                <c:pt idx="29">
                  <c:v>1237.7778</c:v>
                </c:pt>
                <c:pt idx="30">
                  <c:v>1311.2689</c:v>
                </c:pt>
                <c:pt idx="31">
                  <c:v>1354.6316</c:v>
                </c:pt>
                <c:pt idx="32">
                  <c:v>1363.9217</c:v>
                </c:pt>
                <c:pt idx="33">
                  <c:v>1386.8795</c:v>
                </c:pt>
                <c:pt idx="34">
                  <c:v>1246.7865</c:v>
                </c:pt>
                <c:pt idx="35">
                  <c:v>1204.7559</c:v>
                </c:pt>
                <c:pt idx="36">
                  <c:v>1186.0647</c:v>
                </c:pt>
                <c:pt idx="37">
                  <c:v>1147.685</c:v>
                </c:pt>
                <c:pt idx="38">
                  <c:v>1141.7314</c:v>
                </c:pt>
                <c:pt idx="39">
                  <c:v>1171.6288</c:v>
                </c:pt>
                <c:pt idx="40">
                  <c:v>1052.8429</c:v>
                </c:pt>
                <c:pt idx="41">
                  <c:v>1025.2109</c:v>
                </c:pt>
              </c:numCache>
            </c:numRef>
          </c:xVal>
          <c:yVal>
            <c:numRef>
              <c:f>Sheet1!$B$79:$B$120</c:f>
              <c:numCache>
                <c:formatCode>General</c:formatCode>
                <c:ptCount val="42"/>
                <c:pt idx="0">
                  <c:v>0.4174757281553398</c:v>
                </c:pt>
                <c:pt idx="1">
                  <c:v>0.42386831275720166</c:v>
                </c:pt>
                <c:pt idx="2">
                  <c:v>0.41622574955908287</c:v>
                </c:pt>
                <c:pt idx="3">
                  <c:v>0.3978494623655914</c:v>
                </c:pt>
                <c:pt idx="4">
                  <c:v>0.40350877192982454</c:v>
                </c:pt>
                <c:pt idx="5">
                  <c:v>0.40765391014975044</c:v>
                </c:pt>
                <c:pt idx="6">
                  <c:v>0.46236559139784944</c:v>
                </c:pt>
                <c:pt idx="7">
                  <c:v>0.3981191222570533</c:v>
                </c:pt>
                <c:pt idx="8">
                  <c:v>0.40782122905027934</c:v>
                </c:pt>
                <c:pt idx="9">
                  <c:v>0.4425770308123249</c:v>
                </c:pt>
                <c:pt idx="10">
                  <c:v>0.4874446085672083</c:v>
                </c:pt>
                <c:pt idx="11">
                  <c:v>0.4608843537414966</c:v>
                </c:pt>
                <c:pt idx="12">
                  <c:v>0.4621212121212121</c:v>
                </c:pt>
                <c:pt idx="13">
                  <c:v>0.47689075630252103</c:v>
                </c:pt>
                <c:pt idx="14">
                  <c:v>0.45905707196029777</c:v>
                </c:pt>
                <c:pt idx="15">
                  <c:v>0.4111111111111111</c:v>
                </c:pt>
                <c:pt idx="16">
                  <c:v>0.3984375</c:v>
                </c:pt>
                <c:pt idx="17">
                  <c:v>0.391304347826087</c:v>
                </c:pt>
                <c:pt idx="18">
                  <c:v>0.41304347826086957</c:v>
                </c:pt>
                <c:pt idx="19">
                  <c:v>0.40942028985507245</c:v>
                </c:pt>
                <c:pt idx="20">
                  <c:v>0.4485294117647059</c:v>
                </c:pt>
                <c:pt idx="21">
                  <c:v>0.46360153256704983</c:v>
                </c:pt>
                <c:pt idx="22">
                  <c:v>0.47335423197492166</c:v>
                </c:pt>
                <c:pt idx="23">
                  <c:v>0.5057736720554272</c:v>
                </c:pt>
                <c:pt idx="24">
                  <c:v>0.5428571428571428</c:v>
                </c:pt>
                <c:pt idx="25">
                  <c:v>0.5372233400402414</c:v>
                </c:pt>
                <c:pt idx="26">
                  <c:v>0.44206008583690987</c:v>
                </c:pt>
                <c:pt idx="27">
                  <c:v>0.3798449612403101</c:v>
                </c:pt>
                <c:pt idx="28">
                  <c:v>0.40344827586206894</c:v>
                </c:pt>
                <c:pt idx="29">
                  <c:v>0.4263157894736842</c:v>
                </c:pt>
                <c:pt idx="30">
                  <c:v>0.3901639344262295</c:v>
                </c:pt>
                <c:pt idx="31">
                  <c:v>0.3778409090909091</c:v>
                </c:pt>
                <c:pt idx="32">
                  <c:v>0.38461538461538464</c:v>
                </c:pt>
                <c:pt idx="33">
                  <c:v>0.4058679706601467</c:v>
                </c:pt>
                <c:pt idx="34">
                  <c:v>0.41201716738197425</c:v>
                </c:pt>
                <c:pt idx="35">
                  <c:v>0.4479578392621871</c:v>
                </c:pt>
                <c:pt idx="36">
                  <c:v>0.4522417153996101</c:v>
                </c:pt>
                <c:pt idx="37">
                  <c:v>0.43333333333333335</c:v>
                </c:pt>
                <c:pt idx="38">
                  <c:v>0.4255639097744361</c:v>
                </c:pt>
                <c:pt idx="39">
                  <c:v>0.45403899721448465</c:v>
                </c:pt>
                <c:pt idx="40">
                  <c:v>0.4921030756442228</c:v>
                </c:pt>
                <c:pt idx="41">
                  <c:v>0.4637037037037037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36.748188238558</c:v>
                </c:pt>
              </c:numCache>
            </c:numRef>
          </c:xVal>
          <c:yVal>
            <c:numRef>
              <c:f>Sheet1!$B$123:$B$124</c:f>
              <c:numCache>
                <c:formatCode>General</c:formatCode>
                <c:ptCount val="2"/>
                <c:pt idx="0">
                  <c:v>0.4789297658862876</c:v>
                </c:pt>
                <c:pt idx="1">
                  <c:v>0.478929765886287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36.748188238558</c:v>
                </c:pt>
                <c:pt idx="1">
                  <c:v>1036.748188238558</c:v>
                </c:pt>
              </c:numCache>
            </c:numRef>
          </c:xVal>
          <c:yVal>
            <c:numRef>
              <c:f>Sheet1!$B$127:$B$128</c:f>
              <c:numCache>
                <c:formatCode>General</c:formatCode>
                <c:ptCount val="2"/>
                <c:pt idx="0">
                  <c:v>0.47892976588628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093.2227296262686</c:v>
                </c:pt>
              </c:numCache>
            </c:numRef>
          </c:xVal>
          <c:yVal>
            <c:numRef>
              <c:f>Sheet1!$B$131:$B$132</c:f>
              <c:numCache>
                <c:formatCode>General</c:formatCode>
                <c:ptCount val="2"/>
                <c:pt idx="0">
                  <c:v>0.46522567990502706</c:v>
                </c:pt>
                <c:pt idx="1">
                  <c:v>0.46522567990502706</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093.2227296262686</c:v>
                </c:pt>
                <c:pt idx="1">
                  <c:v>1093.2227296262686</c:v>
                </c:pt>
              </c:numCache>
            </c:numRef>
          </c:xVal>
          <c:yVal>
            <c:numRef>
              <c:f>Sheet1!$B$135:$B$136</c:f>
              <c:numCache>
                <c:formatCode>General</c:formatCode>
                <c:ptCount val="2"/>
                <c:pt idx="0">
                  <c:v>0.465225679905027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246.0706623901156</c:v>
                </c:pt>
              </c:numCache>
            </c:numRef>
          </c:xVal>
          <c:yVal>
            <c:numRef>
              <c:f>Sheet1!$B$139:$B$140</c:f>
              <c:numCache>
                <c:formatCode>General</c:formatCode>
                <c:ptCount val="2"/>
                <c:pt idx="0">
                  <c:v>0.4281356715369466</c:v>
                </c:pt>
                <c:pt idx="1">
                  <c:v>0.428135671536946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246.0706623901156</c:v>
                </c:pt>
                <c:pt idx="1">
                  <c:v>1246.0706623901156</c:v>
                </c:pt>
              </c:numCache>
            </c:numRef>
          </c:xVal>
          <c:yVal>
            <c:numRef>
              <c:f>Sheet1!$B$143:$B$144</c:f>
              <c:numCache>
                <c:formatCode>General</c:formatCode>
                <c:ptCount val="2"/>
                <c:pt idx="0">
                  <c:v>0.4281356715369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191</c:f>
              <c:numCache>
                <c:formatCode>General</c:formatCode>
                <c:ptCount val="45"/>
                <c:pt idx="0">
                  <c:v>1247.2512</c:v>
                </c:pt>
                <c:pt idx="1">
                  <c:v>1268.0243</c:v>
                </c:pt>
                <c:pt idx="2">
                  <c:v>1271.0593</c:v>
                </c:pt>
                <c:pt idx="3">
                  <c:v>1302.455</c:v>
                </c:pt>
                <c:pt idx="4">
                  <c:v>1293.8841</c:v>
                </c:pt>
                <c:pt idx="5">
                  <c:v>1179.2857</c:v>
                </c:pt>
                <c:pt idx="6">
                  <c:v>1184.693</c:v>
                </c:pt>
                <c:pt idx="7">
                  <c:v>1261.6457</c:v>
                </c:pt>
                <c:pt idx="8">
                  <c:v>1197.6781</c:v>
                </c:pt>
                <c:pt idx="9">
                  <c:v>1267.8165</c:v>
                </c:pt>
                <c:pt idx="10">
                  <c:v>1007.7667</c:v>
                </c:pt>
                <c:pt idx="11">
                  <c:v>1098.8635</c:v>
                </c:pt>
                <c:pt idx="12">
                  <c:v>1167.0246</c:v>
                </c:pt>
                <c:pt idx="13">
                  <c:v>1157.4758</c:v>
                </c:pt>
                <c:pt idx="14">
                  <c:v>1213.4162</c:v>
                </c:pt>
                <c:pt idx="15">
                  <c:v>1255.5338</c:v>
                </c:pt>
                <c:pt idx="16">
                  <c:v>1301.5686</c:v>
                </c:pt>
                <c:pt idx="17">
                  <c:v>1405.7692</c:v>
                </c:pt>
                <c:pt idx="18">
                  <c:v>1156.7039</c:v>
                </c:pt>
                <c:pt idx="19">
                  <c:v>1140.0088</c:v>
                </c:pt>
                <c:pt idx="20">
                  <c:v>1183.0902</c:v>
                </c:pt>
                <c:pt idx="21">
                  <c:v>1053.595</c:v>
                </c:pt>
                <c:pt idx="22">
                  <c:v>1167.2318</c:v>
                </c:pt>
                <c:pt idx="23">
                  <c:v>1138.137</c:v>
                </c:pt>
                <c:pt idx="24">
                  <c:v>1237.4848</c:v>
                </c:pt>
                <c:pt idx="25">
                  <c:v>1278.1124</c:v>
                </c:pt>
                <c:pt idx="26">
                  <c:v>1207.7282</c:v>
                </c:pt>
                <c:pt idx="27">
                  <c:v>1294.5</c:v>
                </c:pt>
                <c:pt idx="28">
                  <c:v>1214.547</c:v>
                </c:pt>
                <c:pt idx="29">
                  <c:v>1237.7778</c:v>
                </c:pt>
                <c:pt idx="30">
                  <c:v>1311.2689</c:v>
                </c:pt>
                <c:pt idx="31">
                  <c:v>1354.6316</c:v>
                </c:pt>
                <c:pt idx="32">
                  <c:v>1363.9217</c:v>
                </c:pt>
                <c:pt idx="33">
                  <c:v>1386.8795</c:v>
                </c:pt>
                <c:pt idx="34">
                  <c:v>1246.7865</c:v>
                </c:pt>
                <c:pt idx="35">
                  <c:v>1204.7559</c:v>
                </c:pt>
                <c:pt idx="36">
                  <c:v>1186.0647</c:v>
                </c:pt>
                <c:pt idx="37">
                  <c:v>1147.685</c:v>
                </c:pt>
                <c:pt idx="38">
                  <c:v>1141.7314</c:v>
                </c:pt>
                <c:pt idx="39">
                  <c:v>1171.6288</c:v>
                </c:pt>
                <c:pt idx="40">
                  <c:v>1052.8429</c:v>
                </c:pt>
                <c:pt idx="41">
                  <c:v>1025.2109</c:v>
                </c:pt>
                <c:pt idx="42">
                  <c:v>1093.2227296262686</c:v>
                </c:pt>
                <c:pt idx="43">
                  <c:v>1036.748188238558</c:v>
                </c:pt>
                <c:pt idx="44">
                  <c:v>1246.0706623901156</c:v>
                </c:pt>
              </c:numCache>
            </c:numRef>
          </c:xVal>
          <c:yVal>
            <c:numRef>
              <c:f>Sheet1!$B$147:$B$191</c:f>
              <c:numCache>
                <c:formatCode>General</c:formatCode>
                <c:ptCount val="45"/>
                <c:pt idx="0">
                  <c:v>0.4278492028288804</c:v>
                </c:pt>
                <c:pt idx="1">
                  <c:v>0.42280841203178554</c:v>
                </c:pt>
                <c:pt idx="2">
                  <c:v>0.42207194034151385</c:v>
                </c:pt>
                <c:pt idx="3">
                  <c:v>0.41445347436251456</c:v>
                </c:pt>
                <c:pt idx="4">
                  <c:v>0.4165332849754139</c:v>
                </c:pt>
                <c:pt idx="5">
                  <c:v>0.4443416794895594</c:v>
                </c:pt>
                <c:pt idx="6">
                  <c:v>0.44302954658319815</c:v>
                </c:pt>
                <c:pt idx="7">
                  <c:v>0.4243562401449872</c:v>
                </c:pt>
                <c:pt idx="8">
                  <c:v>0.4398785882486522</c:v>
                </c:pt>
                <c:pt idx="9">
                  <c:v>0.42285883668326446</c:v>
                </c:pt>
                <c:pt idx="10">
                  <c:v>0.48596240036063354</c:v>
                </c:pt>
                <c:pt idx="11">
                  <c:v>0.463856893186221</c:v>
                </c:pt>
                <c:pt idx="12">
                  <c:v>0.4473169523203963</c:v>
                </c:pt>
                <c:pt idx="13">
                  <c:v>0.4496340596930706</c:v>
                </c:pt>
                <c:pt idx="14">
                  <c:v>0.43605958821284835</c:v>
                </c:pt>
                <c:pt idx="15">
                  <c:v>0.4258393509600684</c:v>
                </c:pt>
                <c:pt idx="16">
                  <c:v>0.4146685677747902</c:v>
                </c:pt>
                <c:pt idx="17">
                  <c:v>0.38938329857896675</c:v>
                </c:pt>
                <c:pt idx="18">
                  <c:v>0.44982136858853045</c:v>
                </c:pt>
                <c:pt idx="19">
                  <c:v>0.45387259379981704</c:v>
                </c:pt>
                <c:pt idx="20">
                  <c:v>0.44341848128671296</c:v>
                </c:pt>
                <c:pt idx="21">
                  <c:v>0.4748417263694381</c:v>
                </c:pt>
                <c:pt idx="22">
                  <c:v>0.4472666732646387</c:v>
                </c:pt>
                <c:pt idx="23">
                  <c:v>0.454326803918384</c:v>
                </c:pt>
                <c:pt idx="24">
                  <c:v>0.4302191129164815</c:v>
                </c:pt>
                <c:pt idx="25">
                  <c:v>0.42036043837161097</c:v>
                </c:pt>
                <c:pt idx="26">
                  <c:v>0.437439835650827</c:v>
                </c:pt>
                <c:pt idx="27">
                  <c:v>0.41638383096749354</c:v>
                </c:pt>
                <c:pt idx="28">
                  <c:v>0.43578518881009404</c:v>
                </c:pt>
                <c:pt idx="29">
                  <c:v>0.43014801367257716</c:v>
                </c:pt>
                <c:pt idx="30">
                  <c:v>0.4123146974824863</c:v>
                </c:pt>
                <c:pt idx="31">
                  <c:v>0.4017923248420434</c:v>
                </c:pt>
                <c:pt idx="32">
                  <c:v>0.39953799349120545</c:v>
                </c:pt>
                <c:pt idx="33">
                  <c:v>0.3939670644068828</c:v>
                </c:pt>
                <c:pt idx="34">
                  <c:v>0.4279619667150317</c:v>
                </c:pt>
                <c:pt idx="35">
                  <c:v>0.4381610925882222</c:v>
                </c:pt>
                <c:pt idx="36">
                  <c:v>0.44269669049833965</c:v>
                </c:pt>
                <c:pt idx="37">
                  <c:v>0.45200989067333813</c:v>
                </c:pt>
                <c:pt idx="38">
                  <c:v>0.4534545884839482</c:v>
                </c:pt>
                <c:pt idx="39">
                  <c:v>0.4461996992870029</c:v>
                </c:pt>
                <c:pt idx="40">
                  <c:v>0.47502423060609483</c:v>
                </c:pt>
                <c:pt idx="41">
                  <c:v>0.4817293988912966</c:v>
                </c:pt>
                <c:pt idx="42">
                  <c:v>0.46522567990502706</c:v>
                </c:pt>
                <c:pt idx="43">
                  <c:v>0.4789297658862876</c:v>
                </c:pt>
                <c:pt idx="44">
                  <c:v>0.4281356715369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7.0"/>
          <c:min val="73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50115473441109"/>
          <c:min val="0.245360824742268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74222950200764</c:v>
                </c:pt>
                <c:pt idx="1">
                  <c:v>2.3622902435165347</c:v>
                </c:pt>
                <c:pt idx="2">
                  <c:v>2.4579169778379524</c:v>
                </c:pt>
                <c:pt idx="3">
                  <c:v>2.5143533630094637</c:v>
                </c:pt>
                <c:pt idx="4">
                  <c:v>2.515274787367071</c:v>
                </c:pt>
                <c:pt idx="5">
                  <c:v>2.046850626909684</c:v>
                </c:pt>
                <c:pt idx="6">
                  <c:v>1.8057881846479718</c:v>
                </c:pt>
                <c:pt idx="7">
                  <c:v>1.8204551469673957</c:v>
                </c:pt>
                <c:pt idx="8">
                  <c:v>1.9019352728549543</c:v>
                </c:pt>
                <c:pt idx="9">
                  <c:v>1.9479706885837487</c:v>
                </c:pt>
                <c:pt idx="10">
                  <c:v>1.8328319141710194</c:v>
                </c:pt>
                <c:pt idx="11">
                  <c:v>1.9106240893830606</c:v>
                </c:pt>
                <c:pt idx="12">
                  <c:v>1.9287738578475584</c:v>
                </c:pt>
                <c:pt idx="13">
                  <c:v>1.9041791638832068</c:v>
                </c:pt>
                <c:pt idx="14">
                  <c:v>1.9009247987296447</c:v>
                </c:pt>
                <c:pt idx="15">
                  <c:v>1.8694005813311978</c:v>
                </c:pt>
                <c:pt idx="16">
                  <c:v>1.8403751000481459</c:v>
                </c:pt>
                <c:pt idx="17">
                  <c:v>2.2404343441393757</c:v>
                </c:pt>
                <c:pt idx="18">
                  <c:v>2.4161120739497317</c:v>
                </c:pt>
                <c:pt idx="19">
                  <c:v>2.4637707588882205</c:v>
                </c:pt>
                <c:pt idx="20">
                  <c:v>2.4956307548614376</c:v>
                </c:pt>
                <c:pt idx="21">
                  <c:v>2.5384540894477925</c:v>
                </c:pt>
                <c:pt idx="22">
                  <c:v>2.3720941673285685</c:v>
                </c:pt>
                <c:pt idx="23">
                  <c:v>2.4734162644905053</c:v>
                </c:pt>
                <c:pt idx="24">
                  <c:v>2.633525515769001</c:v>
                </c:pt>
                <c:pt idx="25">
                  <c:v>2.602067243545514</c:v>
                </c:pt>
                <c:pt idx="26">
                  <c:v>2.1182269389307016</c:v>
                </c:pt>
                <c:pt idx="27">
                  <c:v>2.1029649462657467</c:v>
                </c:pt>
                <c:pt idx="28">
                  <c:v>2.034663274304461</c:v>
                </c:pt>
                <c:pt idx="29">
                  <c:v>2.0140049878059427</c:v>
                </c:pt>
                <c:pt idx="30">
                  <c:v>1.9867065105406947</c:v>
                </c:pt>
                <c:pt idx="31">
                  <c:v>1.9328049681919337</c:v>
                </c:pt>
                <c:pt idx="32">
                  <c:v>1.8078408884786616</c:v>
                </c:pt>
                <c:pt idx="33">
                  <c:v>1.777654356059873</c:v>
                </c:pt>
                <c:pt idx="34">
                  <c:v>1.8196718888676946</c:v>
                </c:pt>
                <c:pt idx="35">
                  <c:v>1.9717023478348055</c:v>
                </c:pt>
                <c:pt idx="36">
                  <c:v>2.1892692628459662</c:v>
                </c:pt>
                <c:pt idx="37">
                  <c:v>2.197138864962541</c:v>
                </c:pt>
                <c:pt idx="38">
                  <c:v>2.310583366184466</c:v>
                </c:pt>
                <c:pt idx="39">
                  <c:v>2.300990767307068</c:v>
                </c:pt>
                <c:pt idx="40">
                  <c:v>2.284467814931007</c:v>
                </c:pt>
                <c:pt idx="41">
                  <c:v>2.3592067083508903</c:v>
                </c:pt>
                <c:pt idx="42">
                  <c:v>2.4585763748777607</c:v>
                </c:pt>
                <c:pt idx="43">
                  <c:v>2.5112273716469278</c:v>
                </c:pt>
                <c:pt idx="44">
                  <c:v>2.3544491679868997</c:v>
                </c:pt>
                <c:pt idx="45">
                  <c:v>2.2761729053581417</c:v>
                </c:pt>
                <c:pt idx="46">
                  <c:v>2.339313656503897</c:v>
                </c:pt>
                <c:pt idx="47">
                  <c:v>2.3335004758978126</c:v>
                </c:pt>
                <c:pt idx="48">
                  <c:v>2.2729975471728103</c:v>
                </c:pt>
                <c:pt idx="49">
                  <c:v>2.2038781340369002</c:v>
                </c:pt>
                <c:pt idx="50">
                  <c:v>2.206742306733655</c:v>
                </c:pt>
                <c:pt idx="51">
                  <c:v>2.24045422817553</c:v>
                </c:pt>
                <c:pt idx="52">
                  <c:v>2.23391586064707</c:v>
                </c:pt>
                <c:pt idx="53">
                  <c:v>2.391157021967411</c:v>
                </c:pt>
                <c:pt idx="54">
                  <c:v>2.4951741443945976</c:v>
                </c:pt>
                <c:pt idx="55">
                  <c:v>2.5691587405967065</c:v>
                </c:pt>
                <c:pt idx="56">
                  <c:v>2.620448269232308</c:v>
                </c:pt>
                <c:pt idx="57">
                  <c:v>2.52441100290073</c:v>
                </c:pt>
                <c:pt idx="58">
                  <c:v>2.4484617530716277</c:v>
                </c:pt>
                <c:pt idx="59">
                  <c:v>2.564601804631951</c:v>
                </c:pt>
                <c:pt idx="60">
                  <c:v>2.6322042308690836</c:v>
                </c:pt>
                <c:pt idx="61">
                  <c:v>2.567479839091638</c:v>
                </c:pt>
                <c:pt idx="62">
                  <c:v>2.426680324447042</c:v>
                </c:pt>
                <c:pt idx="63">
                  <c:v>2.5514142620009204</c:v>
                </c:pt>
                <c:pt idx="64">
                  <c:v>2.467773873727223</c:v>
                </c:pt>
                <c:pt idx="65">
                  <c:v>2.4483329692755023</c:v>
                </c:pt>
                <c:pt idx="66">
                  <c:v>2.452855798480613</c:v>
                </c:pt>
                <c:pt idx="67">
                  <c:v>2.4886428584381464</c:v>
                </c:pt>
                <c:pt idx="68">
                  <c:v>2.5191369698222914</c:v>
                </c:pt>
                <c:pt idx="69">
                  <c:v>2.517847663849686</c:v>
                </c:pt>
                <c:pt idx="70">
                  <c:v>2.5693068662461402</c:v>
                </c:pt>
                <c:pt idx="71">
                  <c:v>2.65370552487581</c:v>
                </c:pt>
                <c:pt idx="72">
                  <c:v>2.817562890308885</c:v>
                </c:pt>
                <c:pt idx="73">
                  <c:v>2.8161791000432714</c:v>
                </c:pt>
                <c:pt idx="74">
                  <c:v>2.7116919556678334</c:v>
                </c:pt>
                <c:pt idx="75">
                  <c:v>2.6600569006459027</c:v>
                </c:pt>
                <c:pt idx="76">
                  <c:v>2.6957054866113284</c:v>
                </c:pt>
                <c:pt idx="77">
                  <c:v>2.906337907468972</c:v>
                </c:pt>
                <c:pt idx="78">
                  <c:v>2.949864863278481</c:v>
                </c:pt>
                <c:pt idx="79">
                  <c:v>2.961740644835013</c:v>
                </c:pt>
                <c:pt idx="80">
                  <c:v>2.8650184032094512</c:v>
                </c:pt>
                <c:pt idx="81">
                  <c:v>2.808481584885723</c:v>
                </c:pt>
                <c:pt idx="82">
                  <c:v>2.850812398563163</c:v>
                </c:pt>
                <c:pt idx="83">
                  <c:v>2.7895640148025618</c:v>
                </c:pt>
                <c:pt idx="84">
                  <c:v>2.8118802464770387</c:v>
                </c:pt>
                <c:pt idx="85">
                  <c:v>2.607607164872734</c:v>
                </c:pt>
                <c:pt idx="86">
                  <c:v>2.533641203298529</c:v>
                </c:pt>
                <c:pt idx="87">
                  <c:v>2.5656329994550267</c:v>
                </c:pt>
                <c:pt idx="88">
                  <c:v>2.7504950114300044</c:v>
                </c:pt>
                <c:pt idx="89">
                  <c:v>2.5895758047547357</c:v>
                </c:pt>
                <c:pt idx="90">
                  <c:v>2.732986066483162</c:v>
                </c:pt>
                <c:pt idx="91">
                  <c:v>2.863060931835122</c:v>
                </c:pt>
                <c:pt idx="92">
                  <c:v>2.6905102505704193</c:v>
                </c:pt>
                <c:pt idx="93">
                  <c:v>2.510574685236722</c:v>
                </c:pt>
                <c:pt idx="94">
                  <c:v>2.387757934596127</c:v>
                </c:pt>
                <c:pt idx="95">
                  <c:v>2.3732201603558267</c:v>
                </c:pt>
                <c:pt idx="96">
                  <c:v>2.190169294571099</c:v>
                </c:pt>
                <c:pt idx="97">
                  <c:v>2.2062191031929124</c:v>
                </c:pt>
                <c:pt idx="98">
                  <c:v>2.293436647909019</c:v>
                </c:pt>
                <c:pt idx="99">
                  <c:v>2.6375699855807837</c:v>
                </c:pt>
                <c:pt idx="100">
                  <c:v>2.270797262107593</c:v>
                </c:pt>
                <c:pt idx="101">
                  <c:v>2.0839679466055157</c:v>
                </c:pt>
                <c:pt idx="102">
                  <c:v>1.9803590254137127</c:v>
                </c:pt>
                <c:pt idx="103">
                  <c:v>2.068620190379203</c:v>
                </c:pt>
                <c:pt idx="104">
                  <c:v>2.0288018620177994</c:v>
                </c:pt>
              </c:numCache>
            </c:numRef>
          </c:xVal>
          <c:yVal>
            <c:numRef>
              <c:f>Sheet1!$B$2:$B$106</c:f>
              <c:numCache>
                <c:formatCode>General</c:formatCode>
                <c:ptCount val="105"/>
                <c:pt idx="0">
                  <c:v>0.2420185375901133</c:v>
                </c:pt>
                <c:pt idx="1">
                  <c:v>0.25104737350950695</c:v>
                </c:pt>
                <c:pt idx="2">
                  <c:v>0.2501591343093571</c:v>
                </c:pt>
                <c:pt idx="3">
                  <c:v>0.24042829331602855</c:v>
                </c:pt>
                <c:pt idx="4">
                  <c:v>0.26000762485703394</c:v>
                </c:pt>
                <c:pt idx="5">
                  <c:v>0.2641802641802642</c:v>
                </c:pt>
                <c:pt idx="6">
                  <c:v>0.27996814018319394</c:v>
                </c:pt>
                <c:pt idx="7">
                  <c:v>0.29518916394208317</c:v>
                </c:pt>
                <c:pt idx="8">
                  <c:v>0.2914193200215866</c:v>
                </c:pt>
                <c:pt idx="9">
                  <c:v>0.2772429726607624</c:v>
                </c:pt>
                <c:pt idx="10">
                  <c:v>0.2744220730797912</c:v>
                </c:pt>
                <c:pt idx="11">
                  <c:v>0.2324766355140187</c:v>
                </c:pt>
                <c:pt idx="12">
                  <c:v>0.22641509433962265</c:v>
                </c:pt>
                <c:pt idx="13">
                  <c:v>0.21968911917098446</c:v>
                </c:pt>
                <c:pt idx="14">
                  <c:v>0.20554191511750264</c:v>
                </c:pt>
                <c:pt idx="15">
                  <c:v>0.21138211382113822</c:v>
                </c:pt>
                <c:pt idx="16">
                  <c:v>0.206113941639648</c:v>
                </c:pt>
                <c:pt idx="17">
                  <c:v>0.18006582040432534</c:v>
                </c:pt>
                <c:pt idx="18">
                  <c:v>0.1609907120743034</c:v>
                </c:pt>
                <c:pt idx="19">
                  <c:v>0.15424912689173456</c:v>
                </c:pt>
                <c:pt idx="20">
                  <c:v>0.14844486333647502</c:v>
                </c:pt>
                <c:pt idx="21">
                  <c:v>0.1654861558274308</c:v>
                </c:pt>
                <c:pt idx="22">
                  <c:v>0.22202694786174576</c:v>
                </c:pt>
                <c:pt idx="23">
                  <c:v>0.21217712177121772</c:v>
                </c:pt>
                <c:pt idx="24">
                  <c:v>0.2183967112024666</c:v>
                </c:pt>
                <c:pt idx="25">
                  <c:v>0.23737980769230768</c:v>
                </c:pt>
                <c:pt idx="26">
                  <c:v>0.2523943661971831</c:v>
                </c:pt>
                <c:pt idx="27">
                  <c:v>0.23617021276595745</c:v>
                </c:pt>
                <c:pt idx="28">
                  <c:v>0.2434540389972145</c:v>
                </c:pt>
                <c:pt idx="29">
                  <c:v>0.26206563706563707</c:v>
                </c:pt>
                <c:pt idx="30">
                  <c:v>0.25482866043613706</c:v>
                </c:pt>
                <c:pt idx="31">
                  <c:v>0.2625730994152047</c:v>
                </c:pt>
                <c:pt idx="32">
                  <c:v>0.28511655708308425</c:v>
                </c:pt>
                <c:pt idx="33">
                  <c:v>0.281592039800995</c:v>
                </c:pt>
                <c:pt idx="34">
                  <c:v>0.2762339278307756</c:v>
                </c:pt>
                <c:pt idx="35">
                  <c:v>0.2609204368174727</c:v>
                </c:pt>
                <c:pt idx="36">
                  <c:v>0.24518201284796573</c:v>
                </c:pt>
                <c:pt idx="37">
                  <c:v>0.23923166472642607</c:v>
                </c:pt>
                <c:pt idx="38">
                  <c:v>0.2440894568690096</c:v>
                </c:pt>
                <c:pt idx="39">
                  <c:v>0.2510903426791277</c:v>
                </c:pt>
                <c:pt idx="40">
                  <c:v>0.23302840635532018</c:v>
                </c:pt>
                <c:pt idx="41">
                  <c:v>0.22594142259414227</c:v>
                </c:pt>
                <c:pt idx="42">
                  <c:v>0.21962402567629527</c:v>
                </c:pt>
                <c:pt idx="43">
                  <c:v>0.2151501568803227</c:v>
                </c:pt>
                <c:pt idx="44">
                  <c:v>0.21818181818181817</c:v>
                </c:pt>
                <c:pt idx="45">
                  <c:v>0.23526422764227642</c:v>
                </c:pt>
                <c:pt idx="46">
                  <c:v>0.22889782102813624</c:v>
                </c:pt>
                <c:pt idx="47">
                  <c:v>0.22708102108768036</c:v>
                </c:pt>
                <c:pt idx="48">
                  <c:v>0.2295603037259403</c:v>
                </c:pt>
                <c:pt idx="49">
                  <c:v>0.23917161257734562</c:v>
                </c:pt>
                <c:pt idx="50">
                  <c:v>0.22692924204259216</c:v>
                </c:pt>
                <c:pt idx="51">
                  <c:v>0.21418598156939403</c:v>
                </c:pt>
                <c:pt idx="52">
                  <c:v>0.21954925297543681</c:v>
                </c:pt>
                <c:pt idx="53">
                  <c:v>0.21086369770580296</c:v>
                </c:pt>
                <c:pt idx="54">
                  <c:v>0.22573363431151242</c:v>
                </c:pt>
                <c:pt idx="55">
                  <c:v>0.20425677995193958</c:v>
                </c:pt>
                <c:pt idx="56">
                  <c:v>0.2026120720084716</c:v>
                </c:pt>
                <c:pt idx="57">
                  <c:v>0.2071907373552712</c:v>
                </c:pt>
                <c:pt idx="58">
                  <c:v>0.2204840613931523</c:v>
                </c:pt>
                <c:pt idx="59">
                  <c:v>0.2261061946902655</c:v>
                </c:pt>
                <c:pt idx="60">
                  <c:v>0.22991409802930773</c:v>
                </c:pt>
                <c:pt idx="61">
                  <c:v>0.23059532780708364</c:v>
                </c:pt>
                <c:pt idx="62">
                  <c:v>0.24926590538336052</c:v>
                </c:pt>
                <c:pt idx="63">
                  <c:v>0.2522225880803424</c:v>
                </c:pt>
                <c:pt idx="64">
                  <c:v>0.2415474642392718</c:v>
                </c:pt>
                <c:pt idx="65">
                  <c:v>0.23444662737393582</c:v>
                </c:pt>
                <c:pt idx="66">
                  <c:v>0.21456436931079323</c:v>
                </c:pt>
                <c:pt idx="67">
                  <c:v>0.20662058930520188</c:v>
                </c:pt>
                <c:pt idx="68">
                  <c:v>0.20604054613156805</c:v>
                </c:pt>
                <c:pt idx="69">
                  <c:v>0.1925624044829343</c:v>
                </c:pt>
                <c:pt idx="70">
                  <c:v>0.1967808930425753</c:v>
                </c:pt>
                <c:pt idx="71">
                  <c:v>0.21441124780316345</c:v>
                </c:pt>
                <c:pt idx="72">
                  <c:v>0.18952879581151832</c:v>
                </c:pt>
                <c:pt idx="73">
                  <c:v>0.19058171745152355</c:v>
                </c:pt>
                <c:pt idx="74">
                  <c:v>0.20284697508896798</c:v>
                </c:pt>
                <c:pt idx="75">
                  <c:v>0.20689655172413793</c:v>
                </c:pt>
                <c:pt idx="76">
                  <c:v>0.2211660329531052</c:v>
                </c:pt>
                <c:pt idx="77">
                  <c:v>0.21108179419525067</c:v>
                </c:pt>
                <c:pt idx="78">
                  <c:v>0.22413793103448276</c:v>
                </c:pt>
                <c:pt idx="79">
                  <c:v>0.1728276524243879</c:v>
                </c:pt>
                <c:pt idx="80">
                  <c:v>0.16412776412776411</c:v>
                </c:pt>
                <c:pt idx="81">
                  <c:v>0.19383825417201542</c:v>
                </c:pt>
                <c:pt idx="82">
                  <c:v>0.1907158836689038</c:v>
                </c:pt>
                <c:pt idx="83">
                  <c:v>0.20682148040638607</c:v>
                </c:pt>
                <c:pt idx="84">
                  <c:v>0.20583717357910905</c:v>
                </c:pt>
                <c:pt idx="85">
                  <c:v>0.2282208588957055</c:v>
                </c:pt>
                <c:pt idx="86">
                  <c:v>0.24305893813930832</c:v>
                </c:pt>
                <c:pt idx="87">
                  <c:v>0.2510729613733906</c:v>
                </c:pt>
                <c:pt idx="88">
                  <c:v>0.2362924281984334</c:v>
                </c:pt>
                <c:pt idx="89">
                  <c:v>0.25867269984917046</c:v>
                </c:pt>
                <c:pt idx="90">
                  <c:v>0.23909883720930233</c:v>
                </c:pt>
                <c:pt idx="91">
                  <c:v>0.21185286103542234</c:v>
                </c:pt>
                <c:pt idx="92">
                  <c:v>0.23665382498624105</c:v>
                </c:pt>
                <c:pt idx="93">
                  <c:v>0.2326350606394708</c:v>
                </c:pt>
                <c:pt idx="94">
                  <c:v>0.2406576980568012</c:v>
                </c:pt>
                <c:pt idx="95">
                  <c:v>0.21323529411764705</c:v>
                </c:pt>
                <c:pt idx="96">
                  <c:v>0.234375</c:v>
                </c:pt>
                <c:pt idx="97">
                  <c:v>0.24472824472824473</c:v>
                </c:pt>
                <c:pt idx="98">
                  <c:v>0.23142451490771415</c:v>
                </c:pt>
                <c:pt idx="99">
                  <c:v>0.22569050321604237</c:v>
                </c:pt>
                <c:pt idx="100">
                  <c:v>0.21954073424016382</c:v>
                </c:pt>
                <c:pt idx="101">
                  <c:v>0.2299625468164794</c:v>
                </c:pt>
                <c:pt idx="102">
                  <c:v>0.2397923875432526</c:v>
                </c:pt>
                <c:pt idx="103">
                  <c:v>0.2197452229299363</c:v>
                </c:pt>
                <c:pt idx="104">
                  <c:v>0.212668082094833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670184828415065</c:v>
                </c:pt>
                <c:pt idx="1">
                  <c:v>1.9722927982485186</c:v>
                </c:pt>
                <c:pt idx="2">
                  <c:v>2.0181042155063</c:v>
                </c:pt>
                <c:pt idx="3">
                  <c:v>1.9907124069663558</c:v>
                </c:pt>
                <c:pt idx="4">
                  <c:v>1.9052192293100645</c:v>
                </c:pt>
                <c:pt idx="5">
                  <c:v>1.908868307419284</c:v>
                </c:pt>
                <c:pt idx="6">
                  <c:v>1.8715679708866086</c:v>
                </c:pt>
                <c:pt idx="7">
                  <c:v>1.7715398046263362</c:v>
                </c:pt>
                <c:pt idx="8">
                  <c:v>1.8671750831792127</c:v>
                </c:pt>
                <c:pt idx="9">
                  <c:v>1.8373008244684172</c:v>
                </c:pt>
                <c:pt idx="10">
                  <c:v>1.783832388632092</c:v>
                </c:pt>
                <c:pt idx="11">
                  <c:v>1.9496832849482881</c:v>
                </c:pt>
                <c:pt idx="12">
                  <c:v>1.87989297703327</c:v>
                </c:pt>
                <c:pt idx="13">
                  <c:v>1.7968053567617692</c:v>
                </c:pt>
                <c:pt idx="14">
                  <c:v>1.7947597885000277</c:v>
                </c:pt>
                <c:pt idx="15">
                  <c:v>1.8373516837478134</c:v>
                </c:pt>
                <c:pt idx="16">
                  <c:v>1.8080763823360781</c:v>
                </c:pt>
                <c:pt idx="17">
                  <c:v>1.8117288691009632</c:v>
                </c:pt>
                <c:pt idx="18">
                  <c:v>1.983951773533648</c:v>
                </c:pt>
                <c:pt idx="19">
                  <c:v>2.1059331523358864</c:v>
                </c:pt>
                <c:pt idx="20">
                  <c:v>2.0058414850749724</c:v>
                </c:pt>
                <c:pt idx="21">
                  <c:v>1.8413894641820916</c:v>
                </c:pt>
                <c:pt idx="22">
                  <c:v>2.010842859311407</c:v>
                </c:pt>
                <c:pt idx="23">
                  <c:v>1.9893300205584823</c:v>
                </c:pt>
                <c:pt idx="24">
                  <c:v>1.9652554364992372</c:v>
                </c:pt>
                <c:pt idx="25">
                  <c:v>1.8309341800561474</c:v>
                </c:pt>
                <c:pt idx="26">
                  <c:v>1.8360930373332134</c:v>
                </c:pt>
                <c:pt idx="27">
                  <c:v>1.904964868254474</c:v>
                </c:pt>
                <c:pt idx="28">
                  <c:v>1.9746195405061744</c:v>
                </c:pt>
                <c:pt idx="29">
                  <c:v>1.9467443785773586</c:v>
                </c:pt>
                <c:pt idx="30">
                  <c:v>1.8709154592802426</c:v>
                </c:pt>
                <c:pt idx="31">
                  <c:v>1.956091889401871</c:v>
                </c:pt>
                <c:pt idx="32">
                  <c:v>1.8528431122530076</c:v>
                </c:pt>
                <c:pt idx="33">
                  <c:v>1.8388379687316492</c:v>
                </c:pt>
                <c:pt idx="34">
                  <c:v>1.920448211626133</c:v>
                </c:pt>
                <c:pt idx="35">
                  <c:v>1.8483943312215925</c:v>
                </c:pt>
                <c:pt idx="36">
                  <c:v>1.861660958111803</c:v>
                </c:pt>
                <c:pt idx="37">
                  <c:v>1.802238526970763</c:v>
                </c:pt>
                <c:pt idx="38">
                  <c:v>1.8570460984537485</c:v>
                </c:pt>
                <c:pt idx="39">
                  <c:v>1.8632238775501884</c:v>
                </c:pt>
                <c:pt idx="40">
                  <c:v>1.8884051207520263</c:v>
                </c:pt>
                <c:pt idx="41">
                  <c:v>1.9189335148180104</c:v>
                </c:pt>
                <c:pt idx="42">
                  <c:v>1.9848411281574156</c:v>
                </c:pt>
                <c:pt idx="43">
                  <c:v>2.036689550072569</c:v>
                </c:pt>
                <c:pt idx="44">
                  <c:v>1.961559738648087</c:v>
                </c:pt>
                <c:pt idx="45">
                  <c:v>1.90526532478509</c:v>
                </c:pt>
                <c:pt idx="46">
                  <c:v>1.8699678146805245</c:v>
                </c:pt>
                <c:pt idx="47">
                  <c:v>1.8923720166682203</c:v>
                </c:pt>
                <c:pt idx="48">
                  <c:v>1.8668351487553554</c:v>
                </c:pt>
                <c:pt idx="49">
                  <c:v>1.970636629450118</c:v>
                </c:pt>
                <c:pt idx="50">
                  <c:v>1.9718519189813764</c:v>
                </c:pt>
                <c:pt idx="51">
                  <c:v>1.9791195767754843</c:v>
                </c:pt>
              </c:numCache>
            </c:numRef>
          </c:xVal>
          <c:yVal>
            <c:numRef>
              <c:f>Sheet1!$B$109:$B$160</c:f>
              <c:numCache>
                <c:formatCode>General</c:formatCode>
                <c:ptCount val="52"/>
                <c:pt idx="0">
                  <c:v>0.214862138533961</c:v>
                </c:pt>
                <c:pt idx="1">
                  <c:v>0.21374622356495468</c:v>
                </c:pt>
                <c:pt idx="2">
                  <c:v>0.22702354079329248</c:v>
                </c:pt>
                <c:pt idx="3">
                  <c:v>0.24430505117200396</c:v>
                </c:pt>
                <c:pt idx="4">
                  <c:v>0.21514818880351264</c:v>
                </c:pt>
                <c:pt idx="5">
                  <c:v>0.22375886524822694</c:v>
                </c:pt>
                <c:pt idx="6">
                  <c:v>0.2492483463619964</c:v>
                </c:pt>
                <c:pt idx="7">
                  <c:v>0.25396825396825395</c:v>
                </c:pt>
                <c:pt idx="8">
                  <c:v>0.2356687898089172</c:v>
                </c:pt>
                <c:pt idx="9">
                  <c:v>0.24850985786336544</c:v>
                </c:pt>
                <c:pt idx="10">
                  <c:v>0.24931002759889603</c:v>
                </c:pt>
                <c:pt idx="11">
                  <c:v>0.26485076789336426</c:v>
                </c:pt>
                <c:pt idx="12">
                  <c:v>0.25403377110694186</c:v>
                </c:pt>
                <c:pt idx="13">
                  <c:v>0.24190800681431004</c:v>
                </c:pt>
                <c:pt idx="14">
                  <c:v>0.2415329768270945</c:v>
                </c:pt>
                <c:pt idx="15">
                  <c:v>0.24807790876473604</c:v>
                </c:pt>
                <c:pt idx="16">
                  <c:v>0.22453841572364502</c:v>
                </c:pt>
                <c:pt idx="17">
                  <c:v>0.2480666270077335</c:v>
                </c:pt>
                <c:pt idx="18">
                  <c:v>0.23081800887761572</c:v>
                </c:pt>
                <c:pt idx="19">
                  <c:v>0.2250300842358604</c:v>
                </c:pt>
                <c:pt idx="20">
                  <c:v>0.220349967595593</c:v>
                </c:pt>
                <c:pt idx="21">
                  <c:v>0.23722627737226276</c:v>
                </c:pt>
                <c:pt idx="22">
                  <c:v>0.21418539325842698</c:v>
                </c:pt>
                <c:pt idx="23">
                  <c:v>0.2137006701414743</c:v>
                </c:pt>
                <c:pt idx="24">
                  <c:v>0.22021210230817218</c:v>
                </c:pt>
                <c:pt idx="25">
                  <c:v>0.23313686967910938</c:v>
                </c:pt>
                <c:pt idx="26">
                  <c:v>0.2154320987654321</c:v>
                </c:pt>
                <c:pt idx="27">
                  <c:v>0.21739130434782608</c:v>
                </c:pt>
                <c:pt idx="28">
                  <c:v>0.2159214830970556</c:v>
                </c:pt>
                <c:pt idx="29">
                  <c:v>0.23346303501945526</c:v>
                </c:pt>
                <c:pt idx="30">
                  <c:v>0.23333333333333334</c:v>
                </c:pt>
                <c:pt idx="31">
                  <c:v>0.21535022354694486</c:v>
                </c:pt>
                <c:pt idx="32">
                  <c:v>0.2219403931515536</c:v>
                </c:pt>
                <c:pt idx="33">
                  <c:v>0.24791768740813327</c:v>
                </c:pt>
                <c:pt idx="34">
                  <c:v>0.26653465346534655</c:v>
                </c:pt>
                <c:pt idx="35">
                  <c:v>0.23667377398720682</c:v>
                </c:pt>
                <c:pt idx="36">
                  <c:v>0.25616698292220114</c:v>
                </c:pt>
                <c:pt idx="37">
                  <c:v>0.2591059602649007</c:v>
                </c:pt>
                <c:pt idx="38">
                  <c:v>0.26841659610499574</c:v>
                </c:pt>
                <c:pt idx="39">
                  <c:v>0.24327956989247312</c:v>
                </c:pt>
                <c:pt idx="40">
                  <c:v>0.2363150867823765</c:v>
                </c:pt>
                <c:pt idx="41">
                  <c:v>0.23859432799013564</c:v>
                </c:pt>
                <c:pt idx="42">
                  <c:v>0.2548342541436464</c:v>
                </c:pt>
                <c:pt idx="43">
                  <c:v>0.22696737044145873</c:v>
                </c:pt>
                <c:pt idx="44">
                  <c:v>0.22413793103448276</c:v>
                </c:pt>
                <c:pt idx="45">
                  <c:v>0.24696621843227287</c:v>
                </c:pt>
                <c:pt idx="46">
                  <c:v>0.2727912706793383</c:v>
                </c:pt>
                <c:pt idx="47">
                  <c:v>0.27350993377483446</c:v>
                </c:pt>
                <c:pt idx="48">
                  <c:v>0.25336252736940884</c:v>
                </c:pt>
                <c:pt idx="49">
                  <c:v>0.2498040240397178</c:v>
                </c:pt>
                <c:pt idx="50">
                  <c:v>0.2490791089282582</c:v>
                </c:pt>
                <c:pt idx="51">
                  <c:v>0.249487554904831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055386027850993</c:v>
                </c:pt>
              </c:numCache>
            </c:numRef>
          </c:xVal>
          <c:yVal>
            <c:numRef>
              <c:f>Sheet1!$B$163:$B$164</c:f>
              <c:numCache>
                <c:formatCode>General</c:formatCode>
                <c:ptCount val="2"/>
                <c:pt idx="0">
                  <c:v>0.26382420576768534</c:v>
                </c:pt>
                <c:pt idx="1">
                  <c:v>0.263824205767685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055386027850993</c:v>
                </c:pt>
                <c:pt idx="1">
                  <c:v>1.6055386027850993</c:v>
                </c:pt>
              </c:numCache>
            </c:numRef>
          </c:xVal>
          <c:yVal>
            <c:numRef>
              <c:f>Sheet1!$B$167:$B$168</c:f>
              <c:numCache>
                <c:formatCode>General</c:formatCode>
                <c:ptCount val="2"/>
                <c:pt idx="0">
                  <c:v>0.263824205767685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639106260582489</c:v>
                </c:pt>
              </c:numCache>
            </c:numRef>
          </c:xVal>
          <c:yVal>
            <c:numRef>
              <c:f>Sheet1!$B$171:$B$172</c:f>
              <c:numCache>
                <c:formatCode>General</c:formatCode>
                <c:ptCount val="2"/>
                <c:pt idx="0">
                  <c:v>0.2504333038105541</c:v>
                </c:pt>
                <c:pt idx="1">
                  <c:v>0.250433303810554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639106260582489</c:v>
                </c:pt>
                <c:pt idx="1">
                  <c:v>1.7639106260582489</c:v>
                </c:pt>
              </c:numCache>
            </c:numRef>
          </c:xVal>
          <c:yVal>
            <c:numRef>
              <c:f>Sheet1!$B$175:$B$176</c:f>
              <c:numCache>
                <c:formatCode>General</c:formatCode>
                <c:ptCount val="2"/>
                <c:pt idx="0">
                  <c:v>0.25043330381055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971201779241948</c:v>
                </c:pt>
              </c:numCache>
            </c:numRef>
          </c:xVal>
          <c:yVal>
            <c:numRef>
              <c:f>Sheet1!$B$179:$B$180</c:f>
              <c:numCache>
                <c:formatCode>General</c:formatCode>
                <c:ptCount val="2"/>
                <c:pt idx="0">
                  <c:v>0.2476253214164027</c:v>
                </c:pt>
                <c:pt idx="1">
                  <c:v>0.247625321416402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971201779241948</c:v>
                </c:pt>
                <c:pt idx="1">
                  <c:v>1.7971201779241948</c:v>
                </c:pt>
              </c:numCache>
            </c:numRef>
          </c:xVal>
          <c:yVal>
            <c:numRef>
              <c:f>Sheet1!$B$183:$B$184</c:f>
              <c:numCache>
                <c:formatCode>General</c:formatCode>
                <c:ptCount val="2"/>
                <c:pt idx="0">
                  <c:v>0.247625321416402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670184828415065</c:v>
                </c:pt>
                <c:pt idx="1">
                  <c:v>1.9722927982485186</c:v>
                </c:pt>
                <c:pt idx="2">
                  <c:v>2.0181042155063</c:v>
                </c:pt>
                <c:pt idx="3">
                  <c:v>1.9907124069663558</c:v>
                </c:pt>
                <c:pt idx="4">
                  <c:v>1.9052192293100645</c:v>
                </c:pt>
                <c:pt idx="5">
                  <c:v>1.908868307419284</c:v>
                </c:pt>
                <c:pt idx="6">
                  <c:v>1.8715679708866086</c:v>
                </c:pt>
                <c:pt idx="7">
                  <c:v>1.7715398046263362</c:v>
                </c:pt>
                <c:pt idx="8">
                  <c:v>1.8671750831792127</c:v>
                </c:pt>
                <c:pt idx="9">
                  <c:v>1.8373008244684172</c:v>
                </c:pt>
                <c:pt idx="10">
                  <c:v>1.783832388632092</c:v>
                </c:pt>
                <c:pt idx="11">
                  <c:v>1.9496832849482881</c:v>
                </c:pt>
                <c:pt idx="12">
                  <c:v>1.87989297703327</c:v>
                </c:pt>
                <c:pt idx="13">
                  <c:v>1.7968053567617692</c:v>
                </c:pt>
                <c:pt idx="14">
                  <c:v>1.7947597885000277</c:v>
                </c:pt>
                <c:pt idx="15">
                  <c:v>1.8373516837478134</c:v>
                </c:pt>
                <c:pt idx="16">
                  <c:v>1.8080763823360781</c:v>
                </c:pt>
                <c:pt idx="17">
                  <c:v>1.8117288691009632</c:v>
                </c:pt>
                <c:pt idx="18">
                  <c:v>1.983951773533648</c:v>
                </c:pt>
                <c:pt idx="19">
                  <c:v>2.1059331523358864</c:v>
                </c:pt>
                <c:pt idx="20">
                  <c:v>2.0058414850749724</c:v>
                </c:pt>
                <c:pt idx="21">
                  <c:v>1.8413894641820916</c:v>
                </c:pt>
                <c:pt idx="22">
                  <c:v>2.010842859311407</c:v>
                </c:pt>
                <c:pt idx="23">
                  <c:v>1.9893300205584823</c:v>
                </c:pt>
                <c:pt idx="24">
                  <c:v>1.9652554364992372</c:v>
                </c:pt>
                <c:pt idx="25">
                  <c:v>1.8309341800561474</c:v>
                </c:pt>
                <c:pt idx="26">
                  <c:v>1.8360930373332134</c:v>
                </c:pt>
                <c:pt idx="27">
                  <c:v>1.904964868254474</c:v>
                </c:pt>
                <c:pt idx="28">
                  <c:v>1.9746195405061744</c:v>
                </c:pt>
                <c:pt idx="29">
                  <c:v>1.9467443785773586</c:v>
                </c:pt>
                <c:pt idx="30">
                  <c:v>1.8709154592802426</c:v>
                </c:pt>
                <c:pt idx="31">
                  <c:v>1.956091889401871</c:v>
                </c:pt>
                <c:pt idx="32">
                  <c:v>1.8528431122530076</c:v>
                </c:pt>
                <c:pt idx="33">
                  <c:v>1.8388379687316492</c:v>
                </c:pt>
                <c:pt idx="34">
                  <c:v>1.920448211626133</c:v>
                </c:pt>
                <c:pt idx="35">
                  <c:v>1.8483943312215925</c:v>
                </c:pt>
                <c:pt idx="36">
                  <c:v>1.861660958111803</c:v>
                </c:pt>
                <c:pt idx="37">
                  <c:v>1.802238526970763</c:v>
                </c:pt>
                <c:pt idx="38">
                  <c:v>1.8570460984537485</c:v>
                </c:pt>
                <c:pt idx="39">
                  <c:v>1.8632238775501884</c:v>
                </c:pt>
                <c:pt idx="40">
                  <c:v>1.8884051207520263</c:v>
                </c:pt>
                <c:pt idx="41">
                  <c:v>1.9189335148180104</c:v>
                </c:pt>
                <c:pt idx="42">
                  <c:v>1.9848411281574156</c:v>
                </c:pt>
                <c:pt idx="43">
                  <c:v>2.036689550072569</c:v>
                </c:pt>
                <c:pt idx="44">
                  <c:v>1.961559738648087</c:v>
                </c:pt>
                <c:pt idx="45">
                  <c:v>1.90526532478509</c:v>
                </c:pt>
                <c:pt idx="46">
                  <c:v>1.8699678146805245</c:v>
                </c:pt>
                <c:pt idx="47">
                  <c:v>1.8923720166682203</c:v>
                </c:pt>
                <c:pt idx="48">
                  <c:v>1.8668351487553554</c:v>
                </c:pt>
                <c:pt idx="49">
                  <c:v>1.970636629450118</c:v>
                </c:pt>
                <c:pt idx="50">
                  <c:v>1.9718519189813764</c:v>
                </c:pt>
                <c:pt idx="51">
                  <c:v>1.9791195767754843</c:v>
                </c:pt>
                <c:pt idx="52">
                  <c:v>1.7639106260582489</c:v>
                </c:pt>
                <c:pt idx="53">
                  <c:v>1.6055386027850993</c:v>
                </c:pt>
                <c:pt idx="54">
                  <c:v>1.7971201779241948</c:v>
                </c:pt>
              </c:numCache>
            </c:numRef>
          </c:xVal>
          <c:yVal>
            <c:numRef>
              <c:f>Sheet1!$B$187:$B$241</c:f>
              <c:numCache>
                <c:formatCode>General</c:formatCode>
                <c:ptCount val="55"/>
                <c:pt idx="0">
                  <c:v>0.23325983250737625</c:v>
                </c:pt>
                <c:pt idx="1">
                  <c:v>0.23281387090982522</c:v>
                </c:pt>
                <c:pt idx="2">
                  <c:v>0.22894035724031725</c:v>
                </c:pt>
                <c:pt idx="3">
                  <c:v>0.23125642932808912</c:v>
                </c:pt>
                <c:pt idx="4">
                  <c:v>0.23848517299340474</c:v>
                </c:pt>
                <c:pt idx="5">
                  <c:v>0.2381766308267735</c:v>
                </c:pt>
                <c:pt idx="6">
                  <c:v>0.2413305032036868</c:v>
                </c:pt>
                <c:pt idx="7">
                  <c:v>0.24978823039349926</c:v>
                </c:pt>
                <c:pt idx="8">
                  <c:v>0.2417019370427113</c:v>
                </c:pt>
                <c:pt idx="9">
                  <c:v>0.24422790887264914</c:v>
                </c:pt>
                <c:pt idx="10">
                  <c:v>0.24874884992832097</c:v>
                </c:pt>
                <c:pt idx="11">
                  <c:v>0.2347255834057858</c:v>
                </c:pt>
                <c:pt idx="12">
                  <c:v>0.24062659515983878</c:v>
                </c:pt>
                <c:pt idx="13">
                  <c:v>0.24765194063381837</c:v>
                </c:pt>
                <c:pt idx="14">
                  <c:v>0.24782490050055164</c:v>
                </c:pt>
                <c:pt idx="15">
                  <c:v>0.24422360854478864</c:v>
                </c:pt>
                <c:pt idx="16">
                  <c:v>0.24669893646488397</c:v>
                </c:pt>
                <c:pt idx="17">
                  <c:v>0.24639010608463469</c:v>
                </c:pt>
                <c:pt idx="18">
                  <c:v>0.23182806425195035</c:v>
                </c:pt>
                <c:pt idx="19">
                  <c:v>0.2215141170636947</c:v>
                </c:pt>
                <c:pt idx="20">
                  <c:v>0.2299772134825932</c:v>
                </c:pt>
                <c:pt idx="21">
                  <c:v>0.24388220025308183</c:v>
                </c:pt>
                <c:pt idx="22">
                  <c:v>0.2295543300043951</c:v>
                </c:pt>
                <c:pt idx="23">
                  <c:v>0.23137331487688823</c:v>
                </c:pt>
                <c:pt idx="24">
                  <c:v>0.23340890416932308</c:v>
                </c:pt>
                <c:pt idx="25">
                  <c:v>0.24476623066306777</c:v>
                </c:pt>
                <c:pt idx="26">
                  <c:v>0.24433003144946755</c:v>
                </c:pt>
                <c:pt idx="27">
                  <c:v>0.23850668009981615</c:v>
                </c:pt>
                <c:pt idx="28">
                  <c:v>0.23261713680990123</c:v>
                </c:pt>
                <c:pt idx="29">
                  <c:v>0.23497407809734144</c:v>
                </c:pt>
                <c:pt idx="30">
                  <c:v>0.24138567531531455</c:v>
                </c:pt>
                <c:pt idx="31">
                  <c:v>0.2341837137488455</c:v>
                </c:pt>
                <c:pt idx="32">
                  <c:v>0.24291375472085172</c:v>
                </c:pt>
                <c:pt idx="33">
                  <c:v>0.24409793801228194</c:v>
                </c:pt>
                <c:pt idx="34">
                  <c:v>0.2371975099018647</c:v>
                </c:pt>
                <c:pt idx="35">
                  <c:v>0.24328991453360904</c:v>
                </c:pt>
                <c:pt idx="36">
                  <c:v>0.24216817537591545</c:v>
                </c:pt>
                <c:pt idx="37">
                  <c:v>0.24719254731370174</c:v>
                </c:pt>
                <c:pt idx="38">
                  <c:v>0.24255837771058125</c:v>
                </c:pt>
                <c:pt idx="39">
                  <c:v>0.24203602513540098</c:v>
                </c:pt>
                <c:pt idx="40">
                  <c:v>0.2399068639874569</c:v>
                </c:pt>
                <c:pt idx="41">
                  <c:v>0.2373255827523161</c:v>
                </c:pt>
                <c:pt idx="42">
                  <c:v>0.23175286624458857</c:v>
                </c:pt>
                <c:pt idx="43">
                  <c:v>0.22736890296528947</c:v>
                </c:pt>
                <c:pt idx="44">
                  <c:v>0.23372138819626878</c:v>
                </c:pt>
                <c:pt idx="45">
                  <c:v>0.2384812754616692</c:v>
                </c:pt>
                <c:pt idx="46">
                  <c:v>0.24146580194161357</c:v>
                </c:pt>
                <c:pt idx="47">
                  <c:v>0.23957144922675588</c:v>
                </c:pt>
                <c:pt idx="48">
                  <c:v>0.24173067967318132</c:v>
                </c:pt>
                <c:pt idx="49">
                  <c:v>0.23295390570603156</c:v>
                </c:pt>
                <c:pt idx="50">
                  <c:v>0.23285114877569582</c:v>
                </c:pt>
                <c:pt idx="51">
                  <c:v>0.23223664318962378</c:v>
                </c:pt>
                <c:pt idx="52">
                  <c:v>0.2504333038105541</c:v>
                </c:pt>
                <c:pt idx="53">
                  <c:v>0.26382420576768534</c:v>
                </c:pt>
                <c:pt idx="54">
                  <c:v>0.247625321416402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2269967304998"/>
          <c:min val="0.11875589066918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6.5394</c:v>
                </c:pt>
                <c:pt idx="1">
                  <c:v>906.2721</c:v>
                </c:pt>
                <c:pt idx="2">
                  <c:v>960.7061</c:v>
                </c:pt>
                <c:pt idx="3">
                  <c:v>979.2119</c:v>
                </c:pt>
                <c:pt idx="4">
                  <c:v>982.0</c:v>
                </c:pt>
                <c:pt idx="5">
                  <c:v>965.1132</c:v>
                </c:pt>
                <c:pt idx="6">
                  <c:v>915.9559</c:v>
                </c:pt>
                <c:pt idx="7">
                  <c:v>934.0759</c:v>
                </c:pt>
                <c:pt idx="8">
                  <c:v>949.0056</c:v>
                </c:pt>
                <c:pt idx="9">
                  <c:v>893.6972</c:v>
                </c:pt>
                <c:pt idx="10">
                  <c:v>884.519</c:v>
                </c:pt>
                <c:pt idx="11">
                  <c:v>962.0084</c:v>
                </c:pt>
                <c:pt idx="12">
                  <c:v>971.3255</c:v>
                </c:pt>
                <c:pt idx="13">
                  <c:v>965.4434</c:v>
                </c:pt>
                <c:pt idx="14">
                  <c:v>978.7474</c:v>
                </c:pt>
                <c:pt idx="15">
                  <c:v>953.848</c:v>
                </c:pt>
                <c:pt idx="16">
                  <c:v>960.2135</c:v>
                </c:pt>
                <c:pt idx="17">
                  <c:v>966.1723</c:v>
                </c:pt>
                <c:pt idx="18">
                  <c:v>1037.6218</c:v>
                </c:pt>
                <c:pt idx="19">
                  <c:v>1083.5208</c:v>
                </c:pt>
                <c:pt idx="20">
                  <c:v>1092.2984</c:v>
                </c:pt>
                <c:pt idx="21">
                  <c:v>1108.8366</c:v>
                </c:pt>
                <c:pt idx="22">
                  <c:v>1027.0449</c:v>
                </c:pt>
                <c:pt idx="23">
                  <c:v>1042.1826</c:v>
                </c:pt>
                <c:pt idx="24">
                  <c:v>1042.0871</c:v>
                </c:pt>
                <c:pt idx="25">
                  <c:v>995.9696</c:v>
                </c:pt>
                <c:pt idx="26">
                  <c:v>984.9643</c:v>
                </c:pt>
                <c:pt idx="27">
                  <c:v>1039.6779</c:v>
                </c:pt>
                <c:pt idx="28">
                  <c:v>1026.9794</c:v>
                </c:pt>
                <c:pt idx="29">
                  <c:v>994.3628</c:v>
                </c:pt>
                <c:pt idx="30">
                  <c:v>979.0293</c:v>
                </c:pt>
                <c:pt idx="31">
                  <c:v>983.1715</c:v>
                </c:pt>
                <c:pt idx="32">
                  <c:v>944.8449</c:v>
                </c:pt>
                <c:pt idx="33">
                  <c:v>918.5972</c:v>
                </c:pt>
                <c:pt idx="34">
                  <c:v>923.4369</c:v>
                </c:pt>
                <c:pt idx="35">
                  <c:v>985.2571</c:v>
                </c:pt>
                <c:pt idx="36">
                  <c:v>1098.5786</c:v>
                </c:pt>
                <c:pt idx="37">
                  <c:v>1097.1046</c:v>
                </c:pt>
                <c:pt idx="38">
                  <c:v>1156.4241</c:v>
                </c:pt>
                <c:pt idx="39">
                  <c:v>1155.6427</c:v>
                </c:pt>
                <c:pt idx="40">
                  <c:v>1143.1116</c:v>
                </c:pt>
                <c:pt idx="41">
                  <c:v>1181.3704</c:v>
                </c:pt>
                <c:pt idx="42">
                  <c:v>1225.8747</c:v>
                </c:pt>
                <c:pt idx="43">
                  <c:v>1243.2479</c:v>
                </c:pt>
                <c:pt idx="44">
                  <c:v>1172.4095</c:v>
                </c:pt>
                <c:pt idx="45">
                  <c:v>1134.6706</c:v>
                </c:pt>
                <c:pt idx="46">
                  <c:v>1136.6442</c:v>
                </c:pt>
                <c:pt idx="47">
                  <c:v>1119.6833</c:v>
                </c:pt>
                <c:pt idx="48">
                  <c:v>1115.5431</c:v>
                </c:pt>
                <c:pt idx="49">
                  <c:v>1069.6225</c:v>
                </c:pt>
                <c:pt idx="50">
                  <c:v>1071.2785</c:v>
                </c:pt>
                <c:pt idx="51">
                  <c:v>1087.4654</c:v>
                </c:pt>
                <c:pt idx="52">
                  <c:v>1093.2572</c:v>
                </c:pt>
                <c:pt idx="53">
                  <c:v>1174.7984</c:v>
                </c:pt>
                <c:pt idx="54">
                  <c:v>1166.1643</c:v>
                </c:pt>
                <c:pt idx="55">
                  <c:v>1197.8605</c:v>
                </c:pt>
                <c:pt idx="56">
                  <c:v>1211.662</c:v>
                </c:pt>
                <c:pt idx="57">
                  <c:v>1173.6426</c:v>
                </c:pt>
                <c:pt idx="58">
                  <c:v>1132.1124</c:v>
                </c:pt>
                <c:pt idx="59">
                  <c:v>1124.3063</c:v>
                </c:pt>
                <c:pt idx="60">
                  <c:v>1154.8088</c:v>
                </c:pt>
                <c:pt idx="61">
                  <c:v>1179.0327</c:v>
                </c:pt>
                <c:pt idx="62">
                  <c:v>1092.8351</c:v>
                </c:pt>
                <c:pt idx="63">
                  <c:v>1146.1828</c:v>
                </c:pt>
                <c:pt idx="64">
                  <c:v>1161.249</c:v>
                </c:pt>
                <c:pt idx="65">
                  <c:v>1152.2374</c:v>
                </c:pt>
                <c:pt idx="66">
                  <c:v>1161.4439</c:v>
                </c:pt>
                <c:pt idx="67">
                  <c:v>1166.5053</c:v>
                </c:pt>
                <c:pt idx="68">
                  <c:v>1189.0261</c:v>
                </c:pt>
                <c:pt idx="69">
                  <c:v>1203.8439</c:v>
                </c:pt>
                <c:pt idx="70">
                  <c:v>1203.905</c:v>
                </c:pt>
                <c:pt idx="71">
                  <c:v>1273.3798</c:v>
                </c:pt>
                <c:pt idx="72">
                  <c:v>1367.6022</c:v>
                </c:pt>
                <c:pt idx="73">
                  <c:v>1349.7907</c:v>
                </c:pt>
                <c:pt idx="74">
                  <c:v>1332.5238</c:v>
                </c:pt>
                <c:pt idx="75">
                  <c:v>1272.3249</c:v>
                </c:pt>
                <c:pt idx="76">
                  <c:v>1261.9026</c:v>
                </c:pt>
                <c:pt idx="77">
                  <c:v>1281.9531</c:v>
                </c:pt>
                <c:pt idx="78">
                  <c:v>1306.6686</c:v>
                </c:pt>
                <c:pt idx="79">
                  <c:v>1320.025</c:v>
                </c:pt>
                <c:pt idx="80">
                  <c:v>1297.6737</c:v>
                </c:pt>
                <c:pt idx="81">
                  <c:v>1282.1634</c:v>
                </c:pt>
                <c:pt idx="82">
                  <c:v>1293.1496</c:v>
                </c:pt>
                <c:pt idx="83">
                  <c:v>1244.5333</c:v>
                </c:pt>
                <c:pt idx="84">
                  <c:v>1268.3731</c:v>
                </c:pt>
                <c:pt idx="85">
                  <c:v>1203.8952</c:v>
                </c:pt>
                <c:pt idx="86">
                  <c:v>1211.5591</c:v>
                </c:pt>
                <c:pt idx="87">
                  <c:v>1209.4376</c:v>
                </c:pt>
                <c:pt idx="88">
                  <c:v>1301.732</c:v>
                </c:pt>
                <c:pt idx="89">
                  <c:v>1258.7726</c:v>
                </c:pt>
                <c:pt idx="90">
                  <c:v>1328.9787</c:v>
                </c:pt>
                <c:pt idx="91">
                  <c:v>1367.8328</c:v>
                </c:pt>
                <c:pt idx="92">
                  <c:v>1299.8116</c:v>
                </c:pt>
                <c:pt idx="93">
                  <c:v>1324.5664</c:v>
                </c:pt>
                <c:pt idx="94">
                  <c:v>1310.9037</c:v>
                </c:pt>
                <c:pt idx="95">
                  <c:v>1287.6046</c:v>
                </c:pt>
                <c:pt idx="96">
                  <c:v>1204.373</c:v>
                </c:pt>
                <c:pt idx="97">
                  <c:v>1194.9357</c:v>
                </c:pt>
                <c:pt idx="98">
                  <c:v>1181.5859</c:v>
                </c:pt>
                <c:pt idx="99">
                  <c:v>1127.8877</c:v>
                </c:pt>
                <c:pt idx="100">
                  <c:v>1150.2065</c:v>
                </c:pt>
                <c:pt idx="101">
                  <c:v>1147.7839</c:v>
                </c:pt>
                <c:pt idx="102">
                  <c:v>1147.7547</c:v>
                </c:pt>
                <c:pt idx="103">
                  <c:v>1150.5349</c:v>
                </c:pt>
                <c:pt idx="104">
                  <c:v>1199.9235</c:v>
                </c:pt>
              </c:numCache>
            </c:numRef>
          </c:xVal>
          <c:yVal>
            <c:numRef>
              <c:f>Sheet1!$B$2:$B$106</c:f>
              <c:numCache>
                <c:formatCode>General</c:formatCode>
                <c:ptCount val="105"/>
                <c:pt idx="0">
                  <c:v>0.2420185375901133</c:v>
                </c:pt>
                <c:pt idx="1">
                  <c:v>0.25104737350950695</c:v>
                </c:pt>
                <c:pt idx="2">
                  <c:v>0.2501591343093571</c:v>
                </c:pt>
                <c:pt idx="3">
                  <c:v>0.24042829331602855</c:v>
                </c:pt>
                <c:pt idx="4">
                  <c:v>0.26000762485703394</c:v>
                </c:pt>
                <c:pt idx="5">
                  <c:v>0.2641802641802642</c:v>
                </c:pt>
                <c:pt idx="6">
                  <c:v>0.27996814018319394</c:v>
                </c:pt>
                <c:pt idx="7">
                  <c:v>0.29518916394208317</c:v>
                </c:pt>
                <c:pt idx="8">
                  <c:v>0.2914193200215866</c:v>
                </c:pt>
                <c:pt idx="9">
                  <c:v>0.2772429726607624</c:v>
                </c:pt>
                <c:pt idx="10">
                  <c:v>0.2744220730797912</c:v>
                </c:pt>
                <c:pt idx="11">
                  <c:v>0.2324766355140187</c:v>
                </c:pt>
                <c:pt idx="12">
                  <c:v>0.22641509433962265</c:v>
                </c:pt>
                <c:pt idx="13">
                  <c:v>0.21968911917098446</c:v>
                </c:pt>
                <c:pt idx="14">
                  <c:v>0.20554191511750264</c:v>
                </c:pt>
                <c:pt idx="15">
                  <c:v>0.21138211382113822</c:v>
                </c:pt>
                <c:pt idx="16">
                  <c:v>0.206113941639648</c:v>
                </c:pt>
                <c:pt idx="17">
                  <c:v>0.18006582040432534</c:v>
                </c:pt>
                <c:pt idx="18">
                  <c:v>0.1609907120743034</c:v>
                </c:pt>
                <c:pt idx="19">
                  <c:v>0.15424912689173456</c:v>
                </c:pt>
                <c:pt idx="20">
                  <c:v>0.14844486333647502</c:v>
                </c:pt>
                <c:pt idx="21">
                  <c:v>0.1654861558274308</c:v>
                </c:pt>
                <c:pt idx="22">
                  <c:v>0.22202694786174576</c:v>
                </c:pt>
                <c:pt idx="23">
                  <c:v>0.21217712177121772</c:v>
                </c:pt>
                <c:pt idx="24">
                  <c:v>0.2183967112024666</c:v>
                </c:pt>
                <c:pt idx="25">
                  <c:v>0.23737980769230768</c:v>
                </c:pt>
                <c:pt idx="26">
                  <c:v>0.2523943661971831</c:v>
                </c:pt>
                <c:pt idx="27">
                  <c:v>0.23617021276595745</c:v>
                </c:pt>
                <c:pt idx="28">
                  <c:v>0.2434540389972145</c:v>
                </c:pt>
                <c:pt idx="29">
                  <c:v>0.26206563706563707</c:v>
                </c:pt>
                <c:pt idx="30">
                  <c:v>0.25482866043613706</c:v>
                </c:pt>
                <c:pt idx="31">
                  <c:v>0.2625730994152047</c:v>
                </c:pt>
                <c:pt idx="32">
                  <c:v>0.28511655708308425</c:v>
                </c:pt>
                <c:pt idx="33">
                  <c:v>0.281592039800995</c:v>
                </c:pt>
                <c:pt idx="34">
                  <c:v>0.2762339278307756</c:v>
                </c:pt>
                <c:pt idx="35">
                  <c:v>0.2609204368174727</c:v>
                </c:pt>
                <c:pt idx="36">
                  <c:v>0.24518201284796573</c:v>
                </c:pt>
                <c:pt idx="37">
                  <c:v>0.23923166472642607</c:v>
                </c:pt>
                <c:pt idx="38">
                  <c:v>0.2440894568690096</c:v>
                </c:pt>
                <c:pt idx="39">
                  <c:v>0.2510903426791277</c:v>
                </c:pt>
                <c:pt idx="40">
                  <c:v>0.23302840635532018</c:v>
                </c:pt>
                <c:pt idx="41">
                  <c:v>0.22594142259414227</c:v>
                </c:pt>
                <c:pt idx="42">
                  <c:v>0.21962402567629527</c:v>
                </c:pt>
                <c:pt idx="43">
                  <c:v>0.2151501568803227</c:v>
                </c:pt>
                <c:pt idx="44">
                  <c:v>0.21818181818181817</c:v>
                </c:pt>
                <c:pt idx="45">
                  <c:v>0.23526422764227642</c:v>
                </c:pt>
                <c:pt idx="46">
                  <c:v>0.22889782102813624</c:v>
                </c:pt>
                <c:pt idx="47">
                  <c:v>0.22708102108768036</c:v>
                </c:pt>
                <c:pt idx="48">
                  <c:v>0.2295603037259403</c:v>
                </c:pt>
                <c:pt idx="49">
                  <c:v>0.23917161257734562</c:v>
                </c:pt>
                <c:pt idx="50">
                  <c:v>0.22692924204259216</c:v>
                </c:pt>
                <c:pt idx="51">
                  <c:v>0.21418598156939403</c:v>
                </c:pt>
                <c:pt idx="52">
                  <c:v>0.21954925297543681</c:v>
                </c:pt>
                <c:pt idx="53">
                  <c:v>0.21086369770580296</c:v>
                </c:pt>
                <c:pt idx="54">
                  <c:v>0.22573363431151242</c:v>
                </c:pt>
                <c:pt idx="55">
                  <c:v>0.20425677995193958</c:v>
                </c:pt>
                <c:pt idx="56">
                  <c:v>0.2026120720084716</c:v>
                </c:pt>
                <c:pt idx="57">
                  <c:v>0.2071907373552712</c:v>
                </c:pt>
                <c:pt idx="58">
                  <c:v>0.2204840613931523</c:v>
                </c:pt>
                <c:pt idx="59">
                  <c:v>0.2261061946902655</c:v>
                </c:pt>
                <c:pt idx="60">
                  <c:v>0.22991409802930773</c:v>
                </c:pt>
                <c:pt idx="61">
                  <c:v>0.23059532780708364</c:v>
                </c:pt>
                <c:pt idx="62">
                  <c:v>0.24926590538336052</c:v>
                </c:pt>
                <c:pt idx="63">
                  <c:v>0.2522225880803424</c:v>
                </c:pt>
                <c:pt idx="64">
                  <c:v>0.2415474642392718</c:v>
                </c:pt>
                <c:pt idx="65">
                  <c:v>0.23444662737393582</c:v>
                </c:pt>
                <c:pt idx="66">
                  <c:v>0.21456436931079323</c:v>
                </c:pt>
                <c:pt idx="67">
                  <c:v>0.20662058930520188</c:v>
                </c:pt>
                <c:pt idx="68">
                  <c:v>0.20604054613156805</c:v>
                </c:pt>
                <c:pt idx="69">
                  <c:v>0.1925624044829343</c:v>
                </c:pt>
                <c:pt idx="70">
                  <c:v>0.1967808930425753</c:v>
                </c:pt>
                <c:pt idx="71">
                  <c:v>0.21441124780316345</c:v>
                </c:pt>
                <c:pt idx="72">
                  <c:v>0.18952879581151832</c:v>
                </c:pt>
                <c:pt idx="73">
                  <c:v>0.19058171745152355</c:v>
                </c:pt>
                <c:pt idx="74">
                  <c:v>0.20284697508896798</c:v>
                </c:pt>
                <c:pt idx="75">
                  <c:v>0.20689655172413793</c:v>
                </c:pt>
                <c:pt idx="76">
                  <c:v>0.2211660329531052</c:v>
                </c:pt>
                <c:pt idx="77">
                  <c:v>0.21108179419525067</c:v>
                </c:pt>
                <c:pt idx="78">
                  <c:v>0.22413793103448276</c:v>
                </c:pt>
                <c:pt idx="79">
                  <c:v>0.1728276524243879</c:v>
                </c:pt>
                <c:pt idx="80">
                  <c:v>0.16412776412776411</c:v>
                </c:pt>
                <c:pt idx="81">
                  <c:v>0.19383825417201542</c:v>
                </c:pt>
                <c:pt idx="82">
                  <c:v>0.1907158836689038</c:v>
                </c:pt>
                <c:pt idx="83">
                  <c:v>0.20682148040638607</c:v>
                </c:pt>
                <c:pt idx="84">
                  <c:v>0.20583717357910905</c:v>
                </c:pt>
                <c:pt idx="85">
                  <c:v>0.2282208588957055</c:v>
                </c:pt>
                <c:pt idx="86">
                  <c:v>0.24305893813930832</c:v>
                </c:pt>
                <c:pt idx="87">
                  <c:v>0.2510729613733906</c:v>
                </c:pt>
                <c:pt idx="88">
                  <c:v>0.2362924281984334</c:v>
                </c:pt>
                <c:pt idx="89">
                  <c:v>0.25867269984917046</c:v>
                </c:pt>
                <c:pt idx="90">
                  <c:v>0.23909883720930233</c:v>
                </c:pt>
                <c:pt idx="91">
                  <c:v>0.21185286103542234</c:v>
                </c:pt>
                <c:pt idx="92">
                  <c:v>0.23665382498624105</c:v>
                </c:pt>
                <c:pt idx="93">
                  <c:v>0.2326350606394708</c:v>
                </c:pt>
                <c:pt idx="94">
                  <c:v>0.2406576980568012</c:v>
                </c:pt>
                <c:pt idx="95">
                  <c:v>0.21323529411764705</c:v>
                </c:pt>
                <c:pt idx="96">
                  <c:v>0.234375</c:v>
                </c:pt>
                <c:pt idx="97">
                  <c:v>0.24472824472824473</c:v>
                </c:pt>
                <c:pt idx="98">
                  <c:v>0.23142451490771415</c:v>
                </c:pt>
                <c:pt idx="99">
                  <c:v>0.22569050321604237</c:v>
                </c:pt>
                <c:pt idx="100">
                  <c:v>0.21954073424016382</c:v>
                </c:pt>
                <c:pt idx="101">
                  <c:v>0.2299625468164794</c:v>
                </c:pt>
                <c:pt idx="102">
                  <c:v>0.2397923875432526</c:v>
                </c:pt>
                <c:pt idx="103">
                  <c:v>0.2197452229299363</c:v>
                </c:pt>
                <c:pt idx="104">
                  <c:v>0.212668082094833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0.3005</c:v>
                </c:pt>
                <c:pt idx="1">
                  <c:v>1246.0654</c:v>
                </c:pt>
                <c:pt idx="2">
                  <c:v>1266.6619</c:v>
                </c:pt>
                <c:pt idx="3">
                  <c:v>1265.3838</c:v>
                </c:pt>
                <c:pt idx="4">
                  <c:v>1300.6684</c:v>
                </c:pt>
                <c:pt idx="5">
                  <c:v>1284.7306</c:v>
                </c:pt>
                <c:pt idx="6">
                  <c:v>1161.4584</c:v>
                </c:pt>
                <c:pt idx="7">
                  <c:v>1193.2938</c:v>
                </c:pt>
                <c:pt idx="8">
                  <c:v>1297.9212</c:v>
                </c:pt>
                <c:pt idx="9">
                  <c:v>1220.5092</c:v>
                </c:pt>
                <c:pt idx="10">
                  <c:v>1214.3967</c:v>
                </c:pt>
                <c:pt idx="11">
                  <c:v>1027.4595</c:v>
                </c:pt>
                <c:pt idx="12">
                  <c:v>1131.2068</c:v>
                </c:pt>
                <c:pt idx="13">
                  <c:v>1206.5194</c:v>
                </c:pt>
                <c:pt idx="14">
                  <c:v>1191.7546</c:v>
                </c:pt>
                <c:pt idx="15">
                  <c:v>1207.4649</c:v>
                </c:pt>
                <c:pt idx="16">
                  <c:v>1249.13</c:v>
                </c:pt>
                <c:pt idx="17">
                  <c:v>1214.9856</c:v>
                </c:pt>
                <c:pt idx="18">
                  <c:v>1268.6703</c:v>
                </c:pt>
                <c:pt idx="19">
                  <c:v>1353.1684</c:v>
                </c:pt>
                <c:pt idx="20">
                  <c:v>1321.8706</c:v>
                </c:pt>
                <c:pt idx="21">
                  <c:v>1206.7846</c:v>
                </c:pt>
                <c:pt idx="22">
                  <c:v>1320.7049</c:v>
                </c:pt>
                <c:pt idx="23">
                  <c:v>1345.6063</c:v>
                </c:pt>
                <c:pt idx="24">
                  <c:v>1325.8924</c:v>
                </c:pt>
                <c:pt idx="25">
                  <c:v>1236.4185</c:v>
                </c:pt>
                <c:pt idx="26">
                  <c:v>1278.8052</c:v>
                </c:pt>
                <c:pt idx="27">
                  <c:v>1286.8312</c:v>
                </c:pt>
                <c:pt idx="28">
                  <c:v>1348.8788</c:v>
                </c:pt>
                <c:pt idx="29">
                  <c:v>1330.4639</c:v>
                </c:pt>
                <c:pt idx="30">
                  <c:v>1319.9911</c:v>
                </c:pt>
                <c:pt idx="31">
                  <c:v>1329.1038</c:v>
                </c:pt>
                <c:pt idx="32">
                  <c:v>1311.4229</c:v>
                </c:pt>
                <c:pt idx="33">
                  <c:v>1323.0099</c:v>
                </c:pt>
                <c:pt idx="34">
                  <c:v>1353.3967</c:v>
                </c:pt>
                <c:pt idx="35">
                  <c:v>1380.6014</c:v>
                </c:pt>
                <c:pt idx="36">
                  <c:v>1351.8667</c:v>
                </c:pt>
                <c:pt idx="37">
                  <c:v>1347.3674</c:v>
                </c:pt>
                <c:pt idx="38">
                  <c:v>1361.8486</c:v>
                </c:pt>
                <c:pt idx="39">
                  <c:v>1325.2845</c:v>
                </c:pt>
                <c:pt idx="40">
                  <c:v>1381.4605</c:v>
                </c:pt>
                <c:pt idx="41">
                  <c:v>1402.4729</c:v>
                </c:pt>
                <c:pt idx="42">
                  <c:v>1405.0081</c:v>
                </c:pt>
                <c:pt idx="43">
                  <c:v>1403.2791</c:v>
                </c:pt>
                <c:pt idx="44">
                  <c:v>1311.95</c:v>
                </c:pt>
                <c:pt idx="45">
                  <c:v>1251.3293</c:v>
                </c:pt>
                <c:pt idx="46">
                  <c:v>1241.4232</c:v>
                </c:pt>
                <c:pt idx="47">
                  <c:v>1214.063</c:v>
                </c:pt>
                <c:pt idx="48">
                  <c:v>1221.1988</c:v>
                </c:pt>
                <c:pt idx="49">
                  <c:v>1252.1569</c:v>
                </c:pt>
                <c:pt idx="50">
                  <c:v>1218.4704</c:v>
                </c:pt>
                <c:pt idx="51">
                  <c:v>1153.7711</c:v>
                </c:pt>
              </c:numCache>
            </c:numRef>
          </c:xVal>
          <c:yVal>
            <c:numRef>
              <c:f>Sheet1!$B$109:$B$160</c:f>
              <c:numCache>
                <c:formatCode>General</c:formatCode>
                <c:ptCount val="52"/>
                <c:pt idx="0">
                  <c:v>0.214862138533961</c:v>
                </c:pt>
                <c:pt idx="1">
                  <c:v>0.21374622356495468</c:v>
                </c:pt>
                <c:pt idx="2">
                  <c:v>0.22702354079329248</c:v>
                </c:pt>
                <c:pt idx="3">
                  <c:v>0.24430505117200396</c:v>
                </c:pt>
                <c:pt idx="4">
                  <c:v>0.21514818880351264</c:v>
                </c:pt>
                <c:pt idx="5">
                  <c:v>0.22375886524822694</c:v>
                </c:pt>
                <c:pt idx="6">
                  <c:v>0.2492483463619964</c:v>
                </c:pt>
                <c:pt idx="7">
                  <c:v>0.25396825396825395</c:v>
                </c:pt>
                <c:pt idx="8">
                  <c:v>0.2356687898089172</c:v>
                </c:pt>
                <c:pt idx="9">
                  <c:v>0.24850985786336544</c:v>
                </c:pt>
                <c:pt idx="10">
                  <c:v>0.24931002759889603</c:v>
                </c:pt>
                <c:pt idx="11">
                  <c:v>0.26485076789336426</c:v>
                </c:pt>
                <c:pt idx="12">
                  <c:v>0.25403377110694186</c:v>
                </c:pt>
                <c:pt idx="13">
                  <c:v>0.24190800681431004</c:v>
                </c:pt>
                <c:pt idx="14">
                  <c:v>0.2415329768270945</c:v>
                </c:pt>
                <c:pt idx="15">
                  <c:v>0.24807790876473604</c:v>
                </c:pt>
                <c:pt idx="16">
                  <c:v>0.22453841572364502</c:v>
                </c:pt>
                <c:pt idx="17">
                  <c:v>0.2480666270077335</c:v>
                </c:pt>
                <c:pt idx="18">
                  <c:v>0.23081800887761572</c:v>
                </c:pt>
                <c:pt idx="19">
                  <c:v>0.2250300842358604</c:v>
                </c:pt>
                <c:pt idx="20">
                  <c:v>0.220349967595593</c:v>
                </c:pt>
                <c:pt idx="21">
                  <c:v>0.23722627737226276</c:v>
                </c:pt>
                <c:pt idx="22">
                  <c:v>0.21418539325842698</c:v>
                </c:pt>
                <c:pt idx="23">
                  <c:v>0.2137006701414743</c:v>
                </c:pt>
                <c:pt idx="24">
                  <c:v>0.22021210230817218</c:v>
                </c:pt>
                <c:pt idx="25">
                  <c:v>0.23313686967910938</c:v>
                </c:pt>
                <c:pt idx="26">
                  <c:v>0.2154320987654321</c:v>
                </c:pt>
                <c:pt idx="27">
                  <c:v>0.21739130434782608</c:v>
                </c:pt>
                <c:pt idx="28">
                  <c:v>0.2159214830970556</c:v>
                </c:pt>
                <c:pt idx="29">
                  <c:v>0.23346303501945526</c:v>
                </c:pt>
                <c:pt idx="30">
                  <c:v>0.23333333333333334</c:v>
                </c:pt>
                <c:pt idx="31">
                  <c:v>0.21535022354694486</c:v>
                </c:pt>
                <c:pt idx="32">
                  <c:v>0.2219403931515536</c:v>
                </c:pt>
                <c:pt idx="33">
                  <c:v>0.24791768740813327</c:v>
                </c:pt>
                <c:pt idx="34">
                  <c:v>0.26653465346534655</c:v>
                </c:pt>
                <c:pt idx="35">
                  <c:v>0.23667377398720682</c:v>
                </c:pt>
                <c:pt idx="36">
                  <c:v>0.25616698292220114</c:v>
                </c:pt>
                <c:pt idx="37">
                  <c:v>0.2591059602649007</c:v>
                </c:pt>
                <c:pt idx="38">
                  <c:v>0.26841659610499574</c:v>
                </c:pt>
                <c:pt idx="39">
                  <c:v>0.24327956989247312</c:v>
                </c:pt>
                <c:pt idx="40">
                  <c:v>0.2363150867823765</c:v>
                </c:pt>
                <c:pt idx="41">
                  <c:v>0.23859432799013564</c:v>
                </c:pt>
                <c:pt idx="42">
                  <c:v>0.2548342541436464</c:v>
                </c:pt>
                <c:pt idx="43">
                  <c:v>0.22696737044145873</c:v>
                </c:pt>
                <c:pt idx="44">
                  <c:v>0.22413793103448276</c:v>
                </c:pt>
                <c:pt idx="45">
                  <c:v>0.24696621843227287</c:v>
                </c:pt>
                <c:pt idx="46">
                  <c:v>0.2727912706793383</c:v>
                </c:pt>
                <c:pt idx="47">
                  <c:v>0.27350993377483446</c:v>
                </c:pt>
                <c:pt idx="48">
                  <c:v>0.25336252736940884</c:v>
                </c:pt>
                <c:pt idx="49">
                  <c:v>0.2498040240397178</c:v>
                </c:pt>
                <c:pt idx="50">
                  <c:v>0.2490791089282582</c:v>
                </c:pt>
                <c:pt idx="51">
                  <c:v>0.249487554904831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5.8257478850128</c:v>
                </c:pt>
              </c:numCache>
            </c:numRef>
          </c:xVal>
          <c:yVal>
            <c:numRef>
              <c:f>Sheet1!$B$163:$B$164</c:f>
              <c:numCache>
                <c:formatCode>General</c:formatCode>
                <c:ptCount val="2"/>
                <c:pt idx="0">
                  <c:v>0.26382420576768534</c:v>
                </c:pt>
                <c:pt idx="1">
                  <c:v>0.263824205767685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5.8257478850128</c:v>
                </c:pt>
                <c:pt idx="1">
                  <c:v>905.8257478850128</c:v>
                </c:pt>
              </c:numCache>
            </c:numRef>
          </c:xVal>
          <c:yVal>
            <c:numRef>
              <c:f>Sheet1!$B$167:$B$168</c:f>
              <c:numCache>
                <c:formatCode>General</c:formatCode>
                <c:ptCount val="2"/>
                <c:pt idx="0">
                  <c:v>0.263824205767685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5980833262054</c:v>
                </c:pt>
              </c:numCache>
            </c:numRef>
          </c:xVal>
          <c:yVal>
            <c:numRef>
              <c:f>Sheet1!$B$171:$B$172</c:f>
              <c:numCache>
                <c:formatCode>General</c:formatCode>
                <c:ptCount val="2"/>
                <c:pt idx="0">
                  <c:v>0.2504333038105541</c:v>
                </c:pt>
                <c:pt idx="1">
                  <c:v>0.250433303810554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5980833262054</c:v>
                </c:pt>
                <c:pt idx="1">
                  <c:v>1101.5980833262054</c:v>
                </c:pt>
              </c:numCache>
            </c:numRef>
          </c:xVal>
          <c:yVal>
            <c:numRef>
              <c:f>Sheet1!$B$175:$B$176</c:f>
              <c:numCache>
                <c:formatCode>General</c:formatCode>
                <c:ptCount val="2"/>
                <c:pt idx="0">
                  <c:v>0.25043330381055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2.650229995685</c:v>
                </c:pt>
              </c:numCache>
            </c:numRef>
          </c:xVal>
          <c:yVal>
            <c:numRef>
              <c:f>Sheet1!$B$179:$B$180</c:f>
              <c:numCache>
                <c:formatCode>General</c:formatCode>
                <c:ptCount val="2"/>
                <c:pt idx="0">
                  <c:v>0.2476253214164027</c:v>
                </c:pt>
                <c:pt idx="1">
                  <c:v>0.247625321416402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2.650229995685</c:v>
                </c:pt>
                <c:pt idx="1">
                  <c:v>1142.650229995685</c:v>
                </c:pt>
              </c:numCache>
            </c:numRef>
          </c:xVal>
          <c:yVal>
            <c:numRef>
              <c:f>Sheet1!$B$183:$B$184</c:f>
              <c:numCache>
                <c:formatCode>General</c:formatCode>
                <c:ptCount val="2"/>
                <c:pt idx="0">
                  <c:v>0.247625321416402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0.3005</c:v>
                </c:pt>
                <c:pt idx="1">
                  <c:v>1246.0654</c:v>
                </c:pt>
                <c:pt idx="2">
                  <c:v>1266.6619</c:v>
                </c:pt>
                <c:pt idx="3">
                  <c:v>1265.3838</c:v>
                </c:pt>
                <c:pt idx="4">
                  <c:v>1300.6684</c:v>
                </c:pt>
                <c:pt idx="5">
                  <c:v>1284.7306</c:v>
                </c:pt>
                <c:pt idx="6">
                  <c:v>1161.4584</c:v>
                </c:pt>
                <c:pt idx="7">
                  <c:v>1193.2938</c:v>
                </c:pt>
                <c:pt idx="8">
                  <c:v>1297.9212</c:v>
                </c:pt>
                <c:pt idx="9">
                  <c:v>1220.5092</c:v>
                </c:pt>
                <c:pt idx="10">
                  <c:v>1214.3967</c:v>
                </c:pt>
                <c:pt idx="11">
                  <c:v>1027.4595</c:v>
                </c:pt>
                <c:pt idx="12">
                  <c:v>1131.2068</c:v>
                </c:pt>
                <c:pt idx="13">
                  <c:v>1206.5194</c:v>
                </c:pt>
                <c:pt idx="14">
                  <c:v>1191.7546</c:v>
                </c:pt>
                <c:pt idx="15">
                  <c:v>1207.4649</c:v>
                </c:pt>
                <c:pt idx="16">
                  <c:v>1249.13</c:v>
                </c:pt>
                <c:pt idx="17">
                  <c:v>1214.9856</c:v>
                </c:pt>
                <c:pt idx="18">
                  <c:v>1268.6703</c:v>
                </c:pt>
                <c:pt idx="19">
                  <c:v>1353.1684</c:v>
                </c:pt>
                <c:pt idx="20">
                  <c:v>1321.8706</c:v>
                </c:pt>
                <c:pt idx="21">
                  <c:v>1206.7846</c:v>
                </c:pt>
                <c:pt idx="22">
                  <c:v>1320.7049</c:v>
                </c:pt>
                <c:pt idx="23">
                  <c:v>1345.6063</c:v>
                </c:pt>
                <c:pt idx="24">
                  <c:v>1325.8924</c:v>
                </c:pt>
                <c:pt idx="25">
                  <c:v>1236.4185</c:v>
                </c:pt>
                <c:pt idx="26">
                  <c:v>1278.8052</c:v>
                </c:pt>
                <c:pt idx="27">
                  <c:v>1286.8312</c:v>
                </c:pt>
                <c:pt idx="28">
                  <c:v>1348.8788</c:v>
                </c:pt>
                <c:pt idx="29">
                  <c:v>1330.4639</c:v>
                </c:pt>
                <c:pt idx="30">
                  <c:v>1319.9911</c:v>
                </c:pt>
                <c:pt idx="31">
                  <c:v>1329.1038</c:v>
                </c:pt>
                <c:pt idx="32">
                  <c:v>1311.4229</c:v>
                </c:pt>
                <c:pt idx="33">
                  <c:v>1323.0099</c:v>
                </c:pt>
                <c:pt idx="34">
                  <c:v>1353.3967</c:v>
                </c:pt>
                <c:pt idx="35">
                  <c:v>1380.6014</c:v>
                </c:pt>
                <c:pt idx="36">
                  <c:v>1351.8667</c:v>
                </c:pt>
                <c:pt idx="37">
                  <c:v>1347.3674</c:v>
                </c:pt>
                <c:pt idx="38">
                  <c:v>1361.8486</c:v>
                </c:pt>
                <c:pt idx="39">
                  <c:v>1325.2845</c:v>
                </c:pt>
                <c:pt idx="40">
                  <c:v>1381.4605</c:v>
                </c:pt>
                <c:pt idx="41">
                  <c:v>1402.4729</c:v>
                </c:pt>
                <c:pt idx="42">
                  <c:v>1405.0081</c:v>
                </c:pt>
                <c:pt idx="43">
                  <c:v>1403.2791</c:v>
                </c:pt>
                <c:pt idx="44">
                  <c:v>1311.95</c:v>
                </c:pt>
                <c:pt idx="45">
                  <c:v>1251.3293</c:v>
                </c:pt>
                <c:pt idx="46">
                  <c:v>1241.4232</c:v>
                </c:pt>
                <c:pt idx="47">
                  <c:v>1214.063</c:v>
                </c:pt>
                <c:pt idx="48">
                  <c:v>1221.1988</c:v>
                </c:pt>
                <c:pt idx="49">
                  <c:v>1252.1569</c:v>
                </c:pt>
                <c:pt idx="50">
                  <c:v>1218.4704</c:v>
                </c:pt>
                <c:pt idx="51">
                  <c:v>1153.7711</c:v>
                </c:pt>
                <c:pt idx="52">
                  <c:v>1101.5980833262054</c:v>
                </c:pt>
                <c:pt idx="53">
                  <c:v>905.8257478850128</c:v>
                </c:pt>
                <c:pt idx="54">
                  <c:v>1142.650229995685</c:v>
                </c:pt>
              </c:numCache>
            </c:numRef>
          </c:xVal>
          <c:yVal>
            <c:numRef>
              <c:f>Sheet1!$B$187:$B$241</c:f>
              <c:numCache>
                <c:formatCode>General</c:formatCode>
                <c:ptCount val="55"/>
                <c:pt idx="0">
                  <c:v>0.24231401351261111</c:v>
                </c:pt>
                <c:pt idx="1">
                  <c:v>0.24055168458570853</c:v>
                </c:pt>
                <c:pt idx="2">
                  <c:v>0.23914287617803182</c:v>
                </c:pt>
                <c:pt idx="3">
                  <c:v>0.2392302987025312</c:v>
                </c:pt>
                <c:pt idx="4">
                  <c:v>0.23681681868692134</c:v>
                </c:pt>
                <c:pt idx="5">
                  <c:v>0.2379069702485881</c:v>
                </c:pt>
                <c:pt idx="6">
                  <c:v>0.24633883545834714</c:v>
                </c:pt>
                <c:pt idx="7">
                  <c:v>0.24416128203025256</c:v>
                </c:pt>
                <c:pt idx="8">
                  <c:v>0.23700472820832397</c:v>
                </c:pt>
                <c:pt idx="9">
                  <c:v>0.24229973835349755</c:v>
                </c:pt>
                <c:pt idx="10">
                  <c:v>0.24271783567061084</c:v>
                </c:pt>
                <c:pt idx="11">
                  <c:v>0.25550441101436044</c:v>
                </c:pt>
                <c:pt idx="12">
                  <c:v>0.24840805636605828</c:v>
                </c:pt>
                <c:pt idx="13">
                  <c:v>0.2432566459767207</c:v>
                </c:pt>
                <c:pt idx="14">
                  <c:v>0.24426656389372914</c:v>
                </c:pt>
                <c:pt idx="15">
                  <c:v>0.2431919734183026</c:v>
                </c:pt>
                <c:pt idx="16">
                  <c:v>0.24034206478398656</c:v>
                </c:pt>
                <c:pt idx="17">
                  <c:v>0.2426775546873719</c:v>
                </c:pt>
                <c:pt idx="18">
                  <c:v>0.2390055008566919</c:v>
                </c:pt>
                <c:pt idx="19">
                  <c:v>0.23322579878533484</c:v>
                </c:pt>
                <c:pt idx="20">
                  <c:v>0.23536658016963719</c:v>
                </c:pt>
                <c:pt idx="21">
                  <c:v>0.24323850619618925</c:v>
                </c:pt>
                <c:pt idx="22">
                  <c:v>0.23544631449152825</c:v>
                </c:pt>
                <c:pt idx="23">
                  <c:v>0.23374304929195935</c:v>
                </c:pt>
                <c:pt idx="24">
                  <c:v>0.23509148752506195</c:v>
                </c:pt>
                <c:pt idx="25">
                  <c:v>0.24121153620263452</c:v>
                </c:pt>
                <c:pt idx="26">
                  <c:v>0.2383122698547759</c:v>
                </c:pt>
                <c:pt idx="27">
                  <c:v>0.23776328841229719</c:v>
                </c:pt>
                <c:pt idx="28">
                  <c:v>0.23351920905142715</c:v>
                </c:pt>
                <c:pt idx="29">
                  <c:v>0.2347787951921076</c:v>
                </c:pt>
                <c:pt idx="30">
                  <c:v>0.235495138682114</c:v>
                </c:pt>
                <c:pt idx="31">
                  <c:v>0.23487182654769137</c:v>
                </c:pt>
                <c:pt idx="32">
                  <c:v>0.23608120681012873</c:v>
                </c:pt>
                <c:pt idx="33">
                  <c:v>0.2352886516177538</c:v>
                </c:pt>
                <c:pt idx="34">
                  <c:v>0.23321018297879137</c:v>
                </c:pt>
                <c:pt idx="35">
                  <c:v>0.2313493711860925</c:v>
                </c:pt>
                <c:pt idx="36">
                  <c:v>0.23331483555878046</c:v>
                </c:pt>
                <c:pt idx="37">
                  <c:v>0.23362258938436536</c:v>
                </c:pt>
                <c:pt idx="38">
                  <c:v>0.2326320698148634</c:v>
                </c:pt>
                <c:pt idx="39">
                  <c:v>0.23513306811550336</c:v>
                </c:pt>
                <c:pt idx="40">
                  <c:v>0.23129060842042676</c:v>
                </c:pt>
                <c:pt idx="41">
                  <c:v>0.22985335229509157</c:v>
                </c:pt>
                <c:pt idx="42">
                  <c:v>0.22967994365405345</c:v>
                </c:pt>
                <c:pt idx="43">
                  <c:v>0.22979820790947902</c:v>
                </c:pt>
                <c:pt idx="44">
                  <c:v>0.2360451529703168</c:v>
                </c:pt>
                <c:pt idx="45">
                  <c:v>0.2401916318302807</c:v>
                </c:pt>
                <c:pt idx="46">
                  <c:v>0.24086921282546364</c:v>
                </c:pt>
                <c:pt idx="47">
                  <c:v>0.2427406608771091</c:v>
                </c:pt>
                <c:pt idx="48">
                  <c:v>0.24225256945208548</c:v>
                </c:pt>
                <c:pt idx="49">
                  <c:v>0.24013502367655587</c:v>
                </c:pt>
                <c:pt idx="50">
                  <c:v>0.24243919304636147</c:v>
                </c:pt>
                <c:pt idx="51">
                  <c:v>0.24686464969243221</c:v>
                </c:pt>
                <c:pt idx="52">
                  <c:v>0.2504333038105541</c:v>
                </c:pt>
                <c:pt idx="53">
                  <c:v>0.26382420576768534</c:v>
                </c:pt>
                <c:pt idx="54">
                  <c:v>0.247625321416402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6.0"/>
          <c:min val="6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2269967304998"/>
          <c:min val="0.11875589066918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799015894446097</c:v>
                </c:pt>
                <c:pt idx="1">
                  <c:v>1.892424576843302</c:v>
                </c:pt>
                <c:pt idx="2">
                  <c:v>2.023362133819482</c:v>
                </c:pt>
                <c:pt idx="3">
                  <c:v>2.050007903069636</c:v>
                </c:pt>
                <c:pt idx="4">
                  <c:v>2.047566086133724</c:v>
                </c:pt>
                <c:pt idx="5">
                  <c:v>1.9847355747726716</c:v>
                </c:pt>
                <c:pt idx="6">
                  <c:v>1.9131362972638954</c:v>
                </c:pt>
                <c:pt idx="7">
                  <c:v>1.9515089433061685</c:v>
                </c:pt>
                <c:pt idx="8">
                  <c:v>1.9908413447267246</c:v>
                </c:pt>
                <c:pt idx="9">
                  <c:v>2.316504387297315</c:v>
                </c:pt>
                <c:pt idx="10">
                  <c:v>2.2618868615453227</c:v>
                </c:pt>
                <c:pt idx="11">
                  <c:v>2.0557426198522744</c:v>
                </c:pt>
                <c:pt idx="12">
                  <c:v>2.051614719700983</c:v>
                </c:pt>
                <c:pt idx="13">
                  <c:v>2.069571696803155</c:v>
                </c:pt>
                <c:pt idx="14">
                  <c:v>2.036705113241105</c:v>
                </c:pt>
                <c:pt idx="15">
                  <c:v>1.9920505769095822</c:v>
                </c:pt>
                <c:pt idx="16">
                  <c:v>1.9726708194480995</c:v>
                </c:pt>
                <c:pt idx="17">
                  <c:v>1.9839979876073575</c:v>
                </c:pt>
                <c:pt idx="18">
                  <c:v>2.113193168191653</c:v>
                </c:pt>
                <c:pt idx="19">
                  <c:v>2.221579146466609</c:v>
                </c:pt>
                <c:pt idx="20">
                  <c:v>2.259016483626708</c:v>
                </c:pt>
                <c:pt idx="21">
                  <c:v>2.2283908687222067</c:v>
                </c:pt>
                <c:pt idx="22">
                  <c:v>2.113090672521887</c:v>
                </c:pt>
                <c:pt idx="23">
                  <c:v>1.910158724340176</c:v>
                </c:pt>
                <c:pt idx="24">
                  <c:v>1.8958006250161459</c:v>
                </c:pt>
                <c:pt idx="25">
                  <c:v>1.8323641070125942</c:v>
                </c:pt>
                <c:pt idx="26">
                  <c:v>1.8766211212312605</c:v>
                </c:pt>
                <c:pt idx="27">
                  <c:v>1.981622193420501</c:v>
                </c:pt>
                <c:pt idx="28">
                  <c:v>2.011664755514168</c:v>
                </c:pt>
                <c:pt idx="29">
                  <c:v>1.9192969520563148</c:v>
                </c:pt>
                <c:pt idx="30">
                  <c:v>1.8474300545041602</c:v>
                </c:pt>
                <c:pt idx="31">
                  <c:v>1.849556804598592</c:v>
                </c:pt>
                <c:pt idx="32">
                  <c:v>1.76606523364486</c:v>
                </c:pt>
                <c:pt idx="33">
                  <c:v>1.7589718657471067</c:v>
                </c:pt>
                <c:pt idx="34">
                  <c:v>1.8267373092922101</c:v>
                </c:pt>
                <c:pt idx="35">
                  <c:v>1.9407558147895068</c:v>
                </c:pt>
                <c:pt idx="36">
                  <c:v>2.0289031058926694</c:v>
                </c:pt>
                <c:pt idx="37">
                  <c:v>2.010491676863243</c:v>
                </c:pt>
                <c:pt idx="38">
                  <c:v>2.1671275121073825</c:v>
                </c:pt>
                <c:pt idx="39">
                  <c:v>2.170348196927219</c:v>
                </c:pt>
                <c:pt idx="40">
                  <c:v>2.0933495120206596</c:v>
                </c:pt>
                <c:pt idx="41">
                  <c:v>2.2620146450640837</c:v>
                </c:pt>
                <c:pt idx="42">
                  <c:v>2.357570584819963</c:v>
                </c:pt>
                <c:pt idx="43">
                  <c:v>2.3146833370072923</c:v>
                </c:pt>
                <c:pt idx="44">
                  <c:v>2.103559641192043</c:v>
                </c:pt>
                <c:pt idx="45">
                  <c:v>2.1456111027804035</c:v>
                </c:pt>
                <c:pt idx="46">
                  <c:v>2.3695603183501195</c:v>
                </c:pt>
                <c:pt idx="47">
                  <c:v>2.5005952876799458</c:v>
                </c:pt>
                <c:pt idx="48">
                  <c:v>2.406781229773463</c:v>
                </c:pt>
                <c:pt idx="49">
                  <c:v>2.188679835983423</c:v>
                </c:pt>
                <c:pt idx="50">
                  <c:v>2.0742354189243843</c:v>
                </c:pt>
                <c:pt idx="51">
                  <c:v>2.0824121438267778</c:v>
                </c:pt>
                <c:pt idx="52">
                  <c:v>2.107571921562791</c:v>
                </c:pt>
                <c:pt idx="53">
                  <c:v>2.2443498110888376</c:v>
                </c:pt>
                <c:pt idx="54">
                  <c:v>2.291658085622834</c:v>
                </c:pt>
                <c:pt idx="55">
                  <c:v>2.2364579118871126</c:v>
                </c:pt>
                <c:pt idx="56">
                  <c:v>2.197057804904142</c:v>
                </c:pt>
                <c:pt idx="57">
                  <c:v>2.1630795118503365</c:v>
                </c:pt>
                <c:pt idx="58">
                  <c:v>2.041482336890125</c:v>
                </c:pt>
                <c:pt idx="59">
                  <c:v>2.2648620794754044</c:v>
                </c:pt>
                <c:pt idx="60">
                  <c:v>2.4718008584455298</c:v>
                </c:pt>
                <c:pt idx="61">
                  <c:v>2.3040443161545765</c:v>
                </c:pt>
                <c:pt idx="62">
                  <c:v>2.322602974528061</c:v>
                </c:pt>
                <c:pt idx="63">
                  <c:v>2.299232487747908</c:v>
                </c:pt>
                <c:pt idx="64">
                  <c:v>2.187353254134596</c:v>
                </c:pt>
                <c:pt idx="65">
                  <c:v>2.2884556107249256</c:v>
                </c:pt>
                <c:pt idx="66">
                  <c:v>2.2325387430978254</c:v>
                </c:pt>
                <c:pt idx="67">
                  <c:v>2.099309201735229</c:v>
                </c:pt>
                <c:pt idx="68">
                  <c:v>2.0946498461813823</c:v>
                </c:pt>
                <c:pt idx="69">
                  <c:v>2.1815354383289303</c:v>
                </c:pt>
                <c:pt idx="70">
                  <c:v>2.1336568571554655</c:v>
                </c:pt>
                <c:pt idx="71">
                  <c:v>1.9562922895143435</c:v>
                </c:pt>
                <c:pt idx="72">
                  <c:v>2.1138849838823486</c:v>
                </c:pt>
                <c:pt idx="73">
                  <c:v>2.120790187546203</c:v>
                </c:pt>
                <c:pt idx="74">
                  <c:v>2.098399229503612</c:v>
                </c:pt>
                <c:pt idx="75">
                  <c:v>1.9743458002950214</c:v>
                </c:pt>
                <c:pt idx="76">
                  <c:v>1.9623583770012507</c:v>
                </c:pt>
                <c:pt idx="77">
                  <c:v>1.9683306732259618</c:v>
                </c:pt>
                <c:pt idx="78">
                  <c:v>1.9146530968759794</c:v>
                </c:pt>
                <c:pt idx="79">
                  <c:v>1.9131526317597325</c:v>
                </c:pt>
                <c:pt idx="80">
                  <c:v>1.8949837622724848</c:v>
                </c:pt>
                <c:pt idx="81">
                  <c:v>1.899076784167806</c:v>
                </c:pt>
                <c:pt idx="82">
                  <c:v>1.9004203807896043</c:v>
                </c:pt>
                <c:pt idx="83">
                  <c:v>1.8536391123026512</c:v>
                </c:pt>
                <c:pt idx="84">
                  <c:v>1.8170232791347327</c:v>
                </c:pt>
                <c:pt idx="85">
                  <c:v>1.7831421522029496</c:v>
                </c:pt>
                <c:pt idx="86">
                  <c:v>1.7937299353370804</c:v>
                </c:pt>
                <c:pt idx="87">
                  <c:v>1.8098030093511561</c:v>
                </c:pt>
                <c:pt idx="88">
                  <c:v>1.9275101067041704</c:v>
                </c:pt>
                <c:pt idx="89">
                  <c:v>1.8294214815497345</c:v>
                </c:pt>
                <c:pt idx="90">
                  <c:v>1.914865777860771</c:v>
                </c:pt>
                <c:pt idx="91">
                  <c:v>1.971447983587707</c:v>
                </c:pt>
                <c:pt idx="92">
                  <c:v>2.1522967341283192</c:v>
                </c:pt>
                <c:pt idx="93">
                  <c:v>2.022012807118349</c:v>
                </c:pt>
                <c:pt idx="94">
                  <c:v>1.9266271495375313</c:v>
                </c:pt>
                <c:pt idx="95">
                  <c:v>1.8783179340793865</c:v>
                </c:pt>
                <c:pt idx="96">
                  <c:v>1.7912871647619562</c:v>
                </c:pt>
                <c:pt idx="97">
                  <c:v>1.7858805320626145</c:v>
                </c:pt>
                <c:pt idx="98">
                  <c:v>1.8700959448536694</c:v>
                </c:pt>
                <c:pt idx="99">
                  <c:v>1.8277179965179156</c:v>
                </c:pt>
                <c:pt idx="100">
                  <c:v>1.8283972556074426</c:v>
                </c:pt>
                <c:pt idx="101">
                  <c:v>1.8423639540079924</c:v>
                </c:pt>
                <c:pt idx="102">
                  <c:v>1.8440542968337663</c:v>
                </c:pt>
                <c:pt idx="103">
                  <c:v>1.8357011910555163</c:v>
                </c:pt>
                <c:pt idx="104">
                  <c:v>1.9177518104731268</c:v>
                </c:pt>
              </c:numCache>
            </c:numRef>
          </c:xVal>
          <c:yVal>
            <c:numRef>
              <c:f>Sheet1!$B$2:$B$106</c:f>
              <c:numCache>
                <c:formatCode>General</c:formatCode>
                <c:ptCount val="105"/>
                <c:pt idx="0">
                  <c:v>0.2420185375901133</c:v>
                </c:pt>
                <c:pt idx="1">
                  <c:v>0.25104737350950695</c:v>
                </c:pt>
                <c:pt idx="2">
                  <c:v>0.2501591343093571</c:v>
                </c:pt>
                <c:pt idx="3">
                  <c:v>0.24042829331602855</c:v>
                </c:pt>
                <c:pt idx="4">
                  <c:v>0.26000762485703394</c:v>
                </c:pt>
                <c:pt idx="5">
                  <c:v>0.2641802641802642</c:v>
                </c:pt>
                <c:pt idx="6">
                  <c:v>0.27996814018319394</c:v>
                </c:pt>
                <c:pt idx="7">
                  <c:v>0.29518916394208317</c:v>
                </c:pt>
                <c:pt idx="8">
                  <c:v>0.2914193200215866</c:v>
                </c:pt>
                <c:pt idx="9">
                  <c:v>0.2772429726607624</c:v>
                </c:pt>
                <c:pt idx="10">
                  <c:v>0.2744220730797912</c:v>
                </c:pt>
                <c:pt idx="11">
                  <c:v>0.2324766355140187</c:v>
                </c:pt>
                <c:pt idx="12">
                  <c:v>0.22641509433962265</c:v>
                </c:pt>
                <c:pt idx="13">
                  <c:v>0.21968911917098446</c:v>
                </c:pt>
                <c:pt idx="14">
                  <c:v>0.20554191511750264</c:v>
                </c:pt>
                <c:pt idx="15">
                  <c:v>0.21138211382113822</c:v>
                </c:pt>
                <c:pt idx="16">
                  <c:v>0.206113941639648</c:v>
                </c:pt>
                <c:pt idx="17">
                  <c:v>0.18006582040432534</c:v>
                </c:pt>
                <c:pt idx="18">
                  <c:v>0.1609907120743034</c:v>
                </c:pt>
                <c:pt idx="19">
                  <c:v>0.15424912689173456</c:v>
                </c:pt>
                <c:pt idx="20">
                  <c:v>0.14844486333647502</c:v>
                </c:pt>
                <c:pt idx="21">
                  <c:v>0.1654861558274308</c:v>
                </c:pt>
                <c:pt idx="22">
                  <c:v>0.22202694786174576</c:v>
                </c:pt>
                <c:pt idx="23">
                  <c:v>0.21217712177121772</c:v>
                </c:pt>
                <c:pt idx="24">
                  <c:v>0.2183967112024666</c:v>
                </c:pt>
                <c:pt idx="25">
                  <c:v>0.23737980769230768</c:v>
                </c:pt>
                <c:pt idx="26">
                  <c:v>0.2523943661971831</c:v>
                </c:pt>
                <c:pt idx="27">
                  <c:v>0.23617021276595745</c:v>
                </c:pt>
                <c:pt idx="28">
                  <c:v>0.2434540389972145</c:v>
                </c:pt>
                <c:pt idx="29">
                  <c:v>0.26206563706563707</c:v>
                </c:pt>
                <c:pt idx="30">
                  <c:v>0.25482866043613706</c:v>
                </c:pt>
                <c:pt idx="31">
                  <c:v>0.2625730994152047</c:v>
                </c:pt>
                <c:pt idx="32">
                  <c:v>0.28511655708308425</c:v>
                </c:pt>
                <c:pt idx="33">
                  <c:v>0.281592039800995</c:v>
                </c:pt>
                <c:pt idx="34">
                  <c:v>0.2762339278307756</c:v>
                </c:pt>
                <c:pt idx="35">
                  <c:v>0.2609204368174727</c:v>
                </c:pt>
                <c:pt idx="36">
                  <c:v>0.24518201284796573</c:v>
                </c:pt>
                <c:pt idx="37">
                  <c:v>0.23923166472642607</c:v>
                </c:pt>
                <c:pt idx="38">
                  <c:v>0.2440894568690096</c:v>
                </c:pt>
                <c:pt idx="39">
                  <c:v>0.2510903426791277</c:v>
                </c:pt>
                <c:pt idx="40">
                  <c:v>0.23302840635532018</c:v>
                </c:pt>
                <c:pt idx="41">
                  <c:v>0.22594142259414227</c:v>
                </c:pt>
                <c:pt idx="42">
                  <c:v>0.21962402567629527</c:v>
                </c:pt>
                <c:pt idx="43">
                  <c:v>0.2151501568803227</c:v>
                </c:pt>
                <c:pt idx="44">
                  <c:v>0.21818181818181817</c:v>
                </c:pt>
                <c:pt idx="45">
                  <c:v>0.23526422764227642</c:v>
                </c:pt>
                <c:pt idx="46">
                  <c:v>0.22889782102813624</c:v>
                </c:pt>
                <c:pt idx="47">
                  <c:v>0.22708102108768036</c:v>
                </c:pt>
                <c:pt idx="48">
                  <c:v>0.2295603037259403</c:v>
                </c:pt>
                <c:pt idx="49">
                  <c:v>0.23917161257734562</c:v>
                </c:pt>
                <c:pt idx="50">
                  <c:v>0.22692924204259216</c:v>
                </c:pt>
                <c:pt idx="51">
                  <c:v>0.21418598156939403</c:v>
                </c:pt>
                <c:pt idx="52">
                  <c:v>0.21954925297543681</c:v>
                </c:pt>
                <c:pt idx="53">
                  <c:v>0.21086369770580296</c:v>
                </c:pt>
                <c:pt idx="54">
                  <c:v>0.22573363431151242</c:v>
                </c:pt>
                <c:pt idx="55">
                  <c:v>0.20425677995193958</c:v>
                </c:pt>
                <c:pt idx="56">
                  <c:v>0.2026120720084716</c:v>
                </c:pt>
                <c:pt idx="57">
                  <c:v>0.2071907373552712</c:v>
                </c:pt>
                <c:pt idx="58">
                  <c:v>0.2204840613931523</c:v>
                </c:pt>
                <c:pt idx="59">
                  <c:v>0.2261061946902655</c:v>
                </c:pt>
                <c:pt idx="60">
                  <c:v>0.22991409802930773</c:v>
                </c:pt>
                <c:pt idx="61">
                  <c:v>0.23059532780708364</c:v>
                </c:pt>
                <c:pt idx="62">
                  <c:v>0.24926590538336052</c:v>
                </c:pt>
                <c:pt idx="63">
                  <c:v>0.2522225880803424</c:v>
                </c:pt>
                <c:pt idx="64">
                  <c:v>0.2415474642392718</c:v>
                </c:pt>
                <c:pt idx="65">
                  <c:v>0.23444662737393582</c:v>
                </c:pt>
                <c:pt idx="66">
                  <c:v>0.21456436931079323</c:v>
                </c:pt>
                <c:pt idx="67">
                  <c:v>0.20662058930520188</c:v>
                </c:pt>
                <c:pt idx="68">
                  <c:v>0.20604054613156805</c:v>
                </c:pt>
                <c:pt idx="69">
                  <c:v>0.1925624044829343</c:v>
                </c:pt>
                <c:pt idx="70">
                  <c:v>0.1967808930425753</c:v>
                </c:pt>
                <c:pt idx="71">
                  <c:v>0.21441124780316345</c:v>
                </c:pt>
                <c:pt idx="72">
                  <c:v>0.18952879581151832</c:v>
                </c:pt>
                <c:pt idx="73">
                  <c:v>0.19058171745152355</c:v>
                </c:pt>
                <c:pt idx="74">
                  <c:v>0.20284697508896798</c:v>
                </c:pt>
                <c:pt idx="75">
                  <c:v>0.20689655172413793</c:v>
                </c:pt>
                <c:pt idx="76">
                  <c:v>0.2211660329531052</c:v>
                </c:pt>
                <c:pt idx="77">
                  <c:v>0.21108179419525067</c:v>
                </c:pt>
                <c:pt idx="78">
                  <c:v>0.22413793103448276</c:v>
                </c:pt>
                <c:pt idx="79">
                  <c:v>0.1728276524243879</c:v>
                </c:pt>
                <c:pt idx="80">
                  <c:v>0.16412776412776411</c:v>
                </c:pt>
                <c:pt idx="81">
                  <c:v>0.19383825417201542</c:v>
                </c:pt>
                <c:pt idx="82">
                  <c:v>0.1907158836689038</c:v>
                </c:pt>
                <c:pt idx="83">
                  <c:v>0.20682148040638607</c:v>
                </c:pt>
                <c:pt idx="84">
                  <c:v>0.20583717357910905</c:v>
                </c:pt>
                <c:pt idx="85">
                  <c:v>0.2282208588957055</c:v>
                </c:pt>
                <c:pt idx="86">
                  <c:v>0.24305893813930832</c:v>
                </c:pt>
                <c:pt idx="87">
                  <c:v>0.2510729613733906</c:v>
                </c:pt>
                <c:pt idx="88">
                  <c:v>0.2362924281984334</c:v>
                </c:pt>
                <c:pt idx="89">
                  <c:v>0.25867269984917046</c:v>
                </c:pt>
                <c:pt idx="90">
                  <c:v>0.23909883720930233</c:v>
                </c:pt>
                <c:pt idx="91">
                  <c:v>0.21185286103542234</c:v>
                </c:pt>
                <c:pt idx="92">
                  <c:v>0.23665382498624105</c:v>
                </c:pt>
                <c:pt idx="93">
                  <c:v>0.2326350606394708</c:v>
                </c:pt>
                <c:pt idx="94">
                  <c:v>0.2406576980568012</c:v>
                </c:pt>
                <c:pt idx="95">
                  <c:v>0.21323529411764705</c:v>
                </c:pt>
                <c:pt idx="96">
                  <c:v>0.234375</c:v>
                </c:pt>
                <c:pt idx="97">
                  <c:v>0.24472824472824473</c:v>
                </c:pt>
                <c:pt idx="98">
                  <c:v>0.23142451490771415</c:v>
                </c:pt>
                <c:pt idx="99">
                  <c:v>0.22569050321604237</c:v>
                </c:pt>
                <c:pt idx="100">
                  <c:v>0.21954073424016382</c:v>
                </c:pt>
                <c:pt idx="101">
                  <c:v>0.2299625468164794</c:v>
                </c:pt>
                <c:pt idx="102">
                  <c:v>0.2397923875432526</c:v>
                </c:pt>
                <c:pt idx="103">
                  <c:v>0.2197452229299363</c:v>
                </c:pt>
                <c:pt idx="104">
                  <c:v>0.212668082094833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504835048909916</c:v>
                </c:pt>
                <c:pt idx="1">
                  <c:v>1.9944532779824233</c:v>
                </c:pt>
                <c:pt idx="2">
                  <c:v>2.02117341366145</c:v>
                </c:pt>
                <c:pt idx="3">
                  <c:v>2.016903056235401</c:v>
                </c:pt>
                <c:pt idx="4">
                  <c:v>2.0868334409104703</c:v>
                </c:pt>
                <c:pt idx="5">
                  <c:v>2.0593416739466703</c:v>
                </c:pt>
                <c:pt idx="6">
                  <c:v>1.874042715505286</c:v>
                </c:pt>
                <c:pt idx="7">
                  <c:v>1.9048812336376983</c:v>
                </c:pt>
                <c:pt idx="8">
                  <c:v>2.0855282386901832</c:v>
                </c:pt>
                <c:pt idx="9">
                  <c:v>1.9576983159109385</c:v>
                </c:pt>
                <c:pt idx="10">
                  <c:v>1.943455750253735</c:v>
                </c:pt>
                <c:pt idx="11">
                  <c:v>1.666321496118899</c:v>
                </c:pt>
                <c:pt idx="12">
                  <c:v>1.8354399715599374</c:v>
                </c:pt>
                <c:pt idx="13">
                  <c:v>1.9393486304464642</c:v>
                </c:pt>
                <c:pt idx="14">
                  <c:v>1.8972781665717036</c:v>
                </c:pt>
                <c:pt idx="15">
                  <c:v>1.9375301268617677</c:v>
                </c:pt>
                <c:pt idx="16">
                  <c:v>2.0091429814058612</c:v>
                </c:pt>
                <c:pt idx="17">
                  <c:v>1.9531684143042425</c:v>
                </c:pt>
                <c:pt idx="18">
                  <c:v>2.067226434786009</c:v>
                </c:pt>
                <c:pt idx="19">
                  <c:v>2.1685391025641025</c:v>
                </c:pt>
                <c:pt idx="20">
                  <c:v>2.1163277702512526</c:v>
                </c:pt>
                <c:pt idx="21">
                  <c:v>1.9613023031456647</c:v>
                </c:pt>
                <c:pt idx="22">
                  <c:v>2.132096333524689</c:v>
                </c:pt>
                <c:pt idx="23">
                  <c:v>2.1514155531778956</c:v>
                </c:pt>
                <c:pt idx="24">
                  <c:v>2.1051865781717938</c:v>
                </c:pt>
                <c:pt idx="25">
                  <c:v>1.9795526668565495</c:v>
                </c:pt>
                <c:pt idx="26">
                  <c:v>2.0395233391141923</c:v>
                </c:pt>
                <c:pt idx="27">
                  <c:v>2.0527120089993</c:v>
                </c:pt>
                <c:pt idx="28">
                  <c:v>2.164919408488948</c:v>
                </c:pt>
                <c:pt idx="29">
                  <c:v>2.131731097537235</c:v>
                </c:pt>
                <c:pt idx="30">
                  <c:v>2.141543862358803</c:v>
                </c:pt>
                <c:pt idx="31">
                  <c:v>2.1286497726894904</c:v>
                </c:pt>
                <c:pt idx="32">
                  <c:v>2.101401508098603</c:v>
                </c:pt>
                <c:pt idx="33">
                  <c:v>2.0962839960292907</c:v>
                </c:pt>
                <c:pt idx="34">
                  <c:v>2.1727106935706293</c:v>
                </c:pt>
                <c:pt idx="35">
                  <c:v>2.206955852295561</c:v>
                </c:pt>
                <c:pt idx="36">
                  <c:v>2.130481704969476</c:v>
                </c:pt>
                <c:pt idx="37">
                  <c:v>2.1507348175901613</c:v>
                </c:pt>
                <c:pt idx="38">
                  <c:v>2.199304315976654</c:v>
                </c:pt>
                <c:pt idx="39">
                  <c:v>2.114372910311282</c:v>
                </c:pt>
                <c:pt idx="40">
                  <c:v>2.220256907864338</c:v>
                </c:pt>
                <c:pt idx="41">
                  <c:v>2.2650597486663746</c:v>
                </c:pt>
                <c:pt idx="42">
                  <c:v>2.2240276227387072</c:v>
                </c:pt>
                <c:pt idx="43">
                  <c:v>2.254909840828279</c:v>
                </c:pt>
                <c:pt idx="44">
                  <c:v>2.103552268772394</c:v>
                </c:pt>
                <c:pt idx="45">
                  <c:v>2.022749539747561</c:v>
                </c:pt>
                <c:pt idx="46">
                  <c:v>1.994331987577989</c:v>
                </c:pt>
                <c:pt idx="47">
                  <c:v>1.958421355557305</c:v>
                </c:pt>
                <c:pt idx="48">
                  <c:v>1.962058267339538</c:v>
                </c:pt>
                <c:pt idx="49">
                  <c:v>2.0059384036204895</c:v>
                </c:pt>
                <c:pt idx="50">
                  <c:v>1.9571853497142295</c:v>
                </c:pt>
                <c:pt idx="51">
                  <c:v>1.8521803315611054</c:v>
                </c:pt>
              </c:numCache>
            </c:numRef>
          </c:xVal>
          <c:yVal>
            <c:numRef>
              <c:f>Sheet1!$B$109:$B$160</c:f>
              <c:numCache>
                <c:formatCode>General</c:formatCode>
                <c:ptCount val="52"/>
                <c:pt idx="0">
                  <c:v>0.214862138533961</c:v>
                </c:pt>
                <c:pt idx="1">
                  <c:v>0.21374622356495468</c:v>
                </c:pt>
                <c:pt idx="2">
                  <c:v>0.22702354079329248</c:v>
                </c:pt>
                <c:pt idx="3">
                  <c:v>0.24430505117200396</c:v>
                </c:pt>
                <c:pt idx="4">
                  <c:v>0.21514818880351264</c:v>
                </c:pt>
                <c:pt idx="5">
                  <c:v>0.22375886524822694</c:v>
                </c:pt>
                <c:pt idx="6">
                  <c:v>0.2492483463619964</c:v>
                </c:pt>
                <c:pt idx="7">
                  <c:v>0.25396825396825395</c:v>
                </c:pt>
                <c:pt idx="8">
                  <c:v>0.2356687898089172</c:v>
                </c:pt>
                <c:pt idx="9">
                  <c:v>0.24850985786336544</c:v>
                </c:pt>
                <c:pt idx="10">
                  <c:v>0.24931002759889603</c:v>
                </c:pt>
                <c:pt idx="11">
                  <c:v>0.26485076789336426</c:v>
                </c:pt>
                <c:pt idx="12">
                  <c:v>0.25403377110694186</c:v>
                </c:pt>
                <c:pt idx="13">
                  <c:v>0.24190800681431004</c:v>
                </c:pt>
                <c:pt idx="14">
                  <c:v>0.2415329768270945</c:v>
                </c:pt>
                <c:pt idx="15">
                  <c:v>0.24807790876473604</c:v>
                </c:pt>
                <c:pt idx="16">
                  <c:v>0.22453841572364502</c:v>
                </c:pt>
                <c:pt idx="17">
                  <c:v>0.2480666270077335</c:v>
                </c:pt>
                <c:pt idx="18">
                  <c:v>0.23081800887761572</c:v>
                </c:pt>
                <c:pt idx="19">
                  <c:v>0.2250300842358604</c:v>
                </c:pt>
                <c:pt idx="20">
                  <c:v>0.220349967595593</c:v>
                </c:pt>
                <c:pt idx="21">
                  <c:v>0.23722627737226276</c:v>
                </c:pt>
                <c:pt idx="22">
                  <c:v>0.21418539325842698</c:v>
                </c:pt>
                <c:pt idx="23">
                  <c:v>0.2137006701414743</c:v>
                </c:pt>
                <c:pt idx="24">
                  <c:v>0.22021210230817218</c:v>
                </c:pt>
                <c:pt idx="25">
                  <c:v>0.23313686967910938</c:v>
                </c:pt>
                <c:pt idx="26">
                  <c:v>0.2154320987654321</c:v>
                </c:pt>
                <c:pt idx="27">
                  <c:v>0.21739130434782608</c:v>
                </c:pt>
                <c:pt idx="28">
                  <c:v>0.2159214830970556</c:v>
                </c:pt>
                <c:pt idx="29">
                  <c:v>0.23346303501945526</c:v>
                </c:pt>
                <c:pt idx="30">
                  <c:v>0.23333333333333334</c:v>
                </c:pt>
                <c:pt idx="31">
                  <c:v>0.21535022354694486</c:v>
                </c:pt>
                <c:pt idx="32">
                  <c:v>0.2219403931515536</c:v>
                </c:pt>
                <c:pt idx="33">
                  <c:v>0.24791768740813327</c:v>
                </c:pt>
                <c:pt idx="34">
                  <c:v>0.26653465346534655</c:v>
                </c:pt>
                <c:pt idx="35">
                  <c:v>0.23667377398720682</c:v>
                </c:pt>
                <c:pt idx="36">
                  <c:v>0.25616698292220114</c:v>
                </c:pt>
                <c:pt idx="37">
                  <c:v>0.2591059602649007</c:v>
                </c:pt>
                <c:pt idx="38">
                  <c:v>0.26841659610499574</c:v>
                </c:pt>
                <c:pt idx="39">
                  <c:v>0.24327956989247312</c:v>
                </c:pt>
                <c:pt idx="40">
                  <c:v>0.2363150867823765</c:v>
                </c:pt>
                <c:pt idx="41">
                  <c:v>0.23859432799013564</c:v>
                </c:pt>
                <c:pt idx="42">
                  <c:v>0.2548342541436464</c:v>
                </c:pt>
                <c:pt idx="43">
                  <c:v>0.22696737044145873</c:v>
                </c:pt>
                <c:pt idx="44">
                  <c:v>0.22413793103448276</c:v>
                </c:pt>
                <c:pt idx="45">
                  <c:v>0.24696621843227287</c:v>
                </c:pt>
                <c:pt idx="46">
                  <c:v>0.2727912706793383</c:v>
                </c:pt>
                <c:pt idx="47">
                  <c:v>0.27350993377483446</c:v>
                </c:pt>
                <c:pt idx="48">
                  <c:v>0.25336252736940884</c:v>
                </c:pt>
                <c:pt idx="49">
                  <c:v>0.2498040240397178</c:v>
                </c:pt>
                <c:pt idx="50">
                  <c:v>0.2490791089282582</c:v>
                </c:pt>
                <c:pt idx="51">
                  <c:v>0.2494875549048316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678036557832246</c:v>
                </c:pt>
              </c:numCache>
            </c:numRef>
          </c:xVal>
          <c:yVal>
            <c:numRef>
              <c:f>Sheet1!$B$163:$B$164</c:f>
              <c:numCache>
                <c:formatCode>General</c:formatCode>
                <c:ptCount val="2"/>
                <c:pt idx="0">
                  <c:v>0.26382420576768534</c:v>
                </c:pt>
                <c:pt idx="1">
                  <c:v>0.263824205767685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678036557832246</c:v>
                </c:pt>
                <c:pt idx="1">
                  <c:v>1.4678036557832246</c:v>
                </c:pt>
              </c:numCache>
            </c:numRef>
          </c:xVal>
          <c:yVal>
            <c:numRef>
              <c:f>Sheet1!$B$167:$B$168</c:f>
              <c:numCache>
                <c:formatCode>General</c:formatCode>
                <c:ptCount val="2"/>
                <c:pt idx="0">
                  <c:v>0.263824205767685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738346620537389</c:v>
                </c:pt>
              </c:numCache>
            </c:numRef>
          </c:xVal>
          <c:yVal>
            <c:numRef>
              <c:f>Sheet1!$B$171:$B$172</c:f>
              <c:numCache>
                <c:formatCode>General</c:formatCode>
                <c:ptCount val="2"/>
                <c:pt idx="0">
                  <c:v>0.2504333038105541</c:v>
                </c:pt>
                <c:pt idx="1">
                  <c:v>0.250433303810554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738346620537389</c:v>
                </c:pt>
                <c:pt idx="1">
                  <c:v>1.7738346620537389</c:v>
                </c:pt>
              </c:numCache>
            </c:numRef>
          </c:xVal>
          <c:yVal>
            <c:numRef>
              <c:f>Sheet1!$B$175:$B$176</c:f>
              <c:numCache>
                <c:formatCode>General</c:formatCode>
                <c:ptCount val="2"/>
                <c:pt idx="0">
                  <c:v>0.250433303810554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380073130389414</c:v>
                </c:pt>
              </c:numCache>
            </c:numRef>
          </c:xVal>
          <c:yVal>
            <c:numRef>
              <c:f>Sheet1!$B$179:$B$180</c:f>
              <c:numCache>
                <c:formatCode>General</c:formatCode>
                <c:ptCount val="2"/>
                <c:pt idx="0">
                  <c:v>0.2476253214164027</c:v>
                </c:pt>
                <c:pt idx="1">
                  <c:v>0.247625321416402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380073130389414</c:v>
                </c:pt>
                <c:pt idx="1">
                  <c:v>1.8380073130389414</c:v>
                </c:pt>
              </c:numCache>
            </c:numRef>
          </c:xVal>
          <c:yVal>
            <c:numRef>
              <c:f>Sheet1!$B$183:$B$184</c:f>
              <c:numCache>
                <c:formatCode>General</c:formatCode>
                <c:ptCount val="2"/>
                <c:pt idx="0">
                  <c:v>0.247625321416402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504835048909916</c:v>
                </c:pt>
                <c:pt idx="1">
                  <c:v>1.9944532779824233</c:v>
                </c:pt>
                <c:pt idx="2">
                  <c:v>2.02117341366145</c:v>
                </c:pt>
                <c:pt idx="3">
                  <c:v>2.016903056235401</c:v>
                </c:pt>
                <c:pt idx="4">
                  <c:v>2.0868334409104703</c:v>
                </c:pt>
                <c:pt idx="5">
                  <c:v>2.0593416739466703</c:v>
                </c:pt>
                <c:pt idx="6">
                  <c:v>1.874042715505286</c:v>
                </c:pt>
                <c:pt idx="7">
                  <c:v>1.9048812336376983</c:v>
                </c:pt>
                <c:pt idx="8">
                  <c:v>2.0855282386901832</c:v>
                </c:pt>
                <c:pt idx="9">
                  <c:v>1.9576983159109385</c:v>
                </c:pt>
                <c:pt idx="10">
                  <c:v>1.943455750253735</c:v>
                </c:pt>
                <c:pt idx="11">
                  <c:v>1.666321496118899</c:v>
                </c:pt>
                <c:pt idx="12">
                  <c:v>1.8354399715599374</c:v>
                </c:pt>
                <c:pt idx="13">
                  <c:v>1.9393486304464642</c:v>
                </c:pt>
                <c:pt idx="14">
                  <c:v>1.8972781665717036</c:v>
                </c:pt>
                <c:pt idx="15">
                  <c:v>1.9375301268617677</c:v>
                </c:pt>
                <c:pt idx="16">
                  <c:v>2.0091429814058612</c:v>
                </c:pt>
                <c:pt idx="17">
                  <c:v>1.9531684143042425</c:v>
                </c:pt>
                <c:pt idx="18">
                  <c:v>2.067226434786009</c:v>
                </c:pt>
                <c:pt idx="19">
                  <c:v>2.1685391025641025</c:v>
                </c:pt>
                <c:pt idx="20">
                  <c:v>2.1163277702512526</c:v>
                </c:pt>
                <c:pt idx="21">
                  <c:v>1.9613023031456647</c:v>
                </c:pt>
                <c:pt idx="22">
                  <c:v>2.132096333524689</c:v>
                </c:pt>
                <c:pt idx="23">
                  <c:v>2.1514155531778956</c:v>
                </c:pt>
                <c:pt idx="24">
                  <c:v>2.1051865781717938</c:v>
                </c:pt>
                <c:pt idx="25">
                  <c:v>1.9795526668565495</c:v>
                </c:pt>
                <c:pt idx="26">
                  <c:v>2.0395233391141923</c:v>
                </c:pt>
                <c:pt idx="27">
                  <c:v>2.0527120089993</c:v>
                </c:pt>
                <c:pt idx="28">
                  <c:v>2.164919408488948</c:v>
                </c:pt>
                <c:pt idx="29">
                  <c:v>2.131731097537235</c:v>
                </c:pt>
                <c:pt idx="30">
                  <c:v>2.141543862358803</c:v>
                </c:pt>
                <c:pt idx="31">
                  <c:v>2.1286497726894904</c:v>
                </c:pt>
                <c:pt idx="32">
                  <c:v>2.101401508098603</c:v>
                </c:pt>
                <c:pt idx="33">
                  <c:v>2.0962839960292907</c:v>
                </c:pt>
                <c:pt idx="34">
                  <c:v>2.1727106935706293</c:v>
                </c:pt>
                <c:pt idx="35">
                  <c:v>2.206955852295561</c:v>
                </c:pt>
                <c:pt idx="36">
                  <c:v>2.130481704969476</c:v>
                </c:pt>
                <c:pt idx="37">
                  <c:v>2.1507348175901613</c:v>
                </c:pt>
                <c:pt idx="38">
                  <c:v>2.199304315976654</c:v>
                </c:pt>
                <c:pt idx="39">
                  <c:v>2.114372910311282</c:v>
                </c:pt>
                <c:pt idx="40">
                  <c:v>2.220256907864338</c:v>
                </c:pt>
                <c:pt idx="41">
                  <c:v>2.2650597486663746</c:v>
                </c:pt>
                <c:pt idx="42">
                  <c:v>2.2240276227387072</c:v>
                </c:pt>
                <c:pt idx="43">
                  <c:v>2.254909840828279</c:v>
                </c:pt>
                <c:pt idx="44">
                  <c:v>2.103552268772394</c:v>
                </c:pt>
                <c:pt idx="45">
                  <c:v>2.022749539747561</c:v>
                </c:pt>
                <c:pt idx="46">
                  <c:v>1.994331987577989</c:v>
                </c:pt>
                <c:pt idx="47">
                  <c:v>1.958421355557305</c:v>
                </c:pt>
                <c:pt idx="48">
                  <c:v>1.962058267339538</c:v>
                </c:pt>
                <c:pt idx="49">
                  <c:v>2.0059384036204895</c:v>
                </c:pt>
                <c:pt idx="50">
                  <c:v>1.9571853497142295</c:v>
                </c:pt>
                <c:pt idx="51">
                  <c:v>1.8521803315611054</c:v>
                </c:pt>
                <c:pt idx="52">
                  <c:v>1.7738346620537389</c:v>
                </c:pt>
                <c:pt idx="53">
                  <c:v>1.4678036557832246</c:v>
                </c:pt>
                <c:pt idx="54">
                  <c:v>1.8380073130389414</c:v>
                </c:pt>
              </c:numCache>
            </c:numRef>
          </c:xVal>
          <c:yVal>
            <c:numRef>
              <c:f>Sheet1!$B$187:$B$241</c:f>
              <c:numCache>
                <c:formatCode>General</c:formatCode>
                <c:ptCount val="55"/>
                <c:pt idx="0">
                  <c:v>0.24270373626084193</c:v>
                </c:pt>
                <c:pt idx="1">
                  <c:v>0.24077976480539992</c:v>
                </c:pt>
                <c:pt idx="2">
                  <c:v>0.2396105802789052</c:v>
                </c:pt>
                <c:pt idx="3">
                  <c:v>0.23979743695826922</c:v>
                </c:pt>
                <c:pt idx="4">
                  <c:v>0.2367375152319701</c:v>
                </c:pt>
                <c:pt idx="5">
                  <c:v>0.23794046378455935</c:v>
                </c:pt>
                <c:pt idx="6">
                  <c:v>0.24604853170710755</c:v>
                </c:pt>
                <c:pt idx="7">
                  <c:v>0.24469914042206464</c:v>
                </c:pt>
                <c:pt idx="8">
                  <c:v>0.23679462655274472</c:v>
                </c:pt>
                <c:pt idx="9">
                  <c:v>0.2423880400567719</c:v>
                </c:pt>
                <c:pt idx="10">
                  <c:v>0.24301124749793238</c:v>
                </c:pt>
                <c:pt idx="11">
                  <c:v>0.25513772341064395</c:v>
                </c:pt>
                <c:pt idx="12">
                  <c:v>0.24773765976556145</c:v>
                </c:pt>
                <c:pt idx="13">
                  <c:v>0.24319096144043642</c:v>
                </c:pt>
                <c:pt idx="14">
                  <c:v>0.24503182542315316</c:v>
                </c:pt>
                <c:pt idx="15">
                  <c:v>0.24327053312667868</c:v>
                </c:pt>
                <c:pt idx="16">
                  <c:v>0.24013699209841247</c:v>
                </c:pt>
                <c:pt idx="17">
                  <c:v>0.24258625352876595</c:v>
                </c:pt>
                <c:pt idx="18">
                  <c:v>0.23759545279811806</c:v>
                </c:pt>
                <c:pt idx="19">
                  <c:v>0.23316234643492606</c:v>
                </c:pt>
                <c:pt idx="20">
                  <c:v>0.2354469411907743</c:v>
                </c:pt>
                <c:pt idx="21">
                  <c:v>0.2422303415271258</c:v>
                </c:pt>
                <c:pt idx="22">
                  <c:v>0.23475696115452674</c:v>
                </c:pt>
                <c:pt idx="23">
                  <c:v>0.23391161616998718</c:v>
                </c:pt>
                <c:pt idx="24">
                  <c:v>0.23593444280912249</c:v>
                </c:pt>
                <c:pt idx="25">
                  <c:v>0.24143176613402195</c:v>
                </c:pt>
                <c:pt idx="26">
                  <c:v>0.23880764839414992</c:v>
                </c:pt>
                <c:pt idx="27">
                  <c:v>0.23823055593698783</c:v>
                </c:pt>
                <c:pt idx="28">
                  <c:v>0.23332073224382138</c:v>
                </c:pt>
                <c:pt idx="29">
                  <c:v>0.23477294267012155</c:v>
                </c:pt>
                <c:pt idx="30">
                  <c:v>0.23434356862317335</c:v>
                </c:pt>
                <c:pt idx="31">
                  <c:v>0.2349077712269958</c:v>
                </c:pt>
                <c:pt idx="32">
                  <c:v>0.2361000649232627</c:v>
                </c:pt>
                <c:pt idx="33">
                  <c:v>0.23632399028043388</c:v>
                </c:pt>
                <c:pt idx="34">
                  <c:v>0.23297981144654561</c:v>
                </c:pt>
                <c:pt idx="35">
                  <c:v>0.23148135686646754</c:v>
                </c:pt>
                <c:pt idx="36">
                  <c:v>0.23482761194558066</c:v>
                </c:pt>
                <c:pt idx="37">
                  <c:v>0.23394140290181273</c:v>
                </c:pt>
                <c:pt idx="38">
                  <c:v>0.23181616272132705</c:v>
                </c:pt>
                <c:pt idx="39">
                  <c:v>0.23553247937893074</c:v>
                </c:pt>
                <c:pt idx="40">
                  <c:v>0.23089934678448779</c:v>
                </c:pt>
                <c:pt idx="41">
                  <c:v>0.22893892304869579</c:v>
                </c:pt>
                <c:pt idx="42">
                  <c:v>0.2307343528062425</c:v>
                </c:pt>
                <c:pt idx="43">
                  <c:v>0.22938304935599457</c:v>
                </c:pt>
                <c:pt idx="44">
                  <c:v>0.2360059547686513</c:v>
                </c:pt>
                <c:pt idx="45">
                  <c:v>0.23954161422821513</c:v>
                </c:pt>
                <c:pt idx="46">
                  <c:v>0.24078507207126787</c:v>
                </c:pt>
                <c:pt idx="47">
                  <c:v>0.24235640223963173</c:v>
                </c:pt>
                <c:pt idx="48">
                  <c:v>0.24219726304097297</c:v>
                </c:pt>
                <c:pt idx="49">
                  <c:v>0.24027721379509892</c:v>
                </c:pt>
                <c:pt idx="50">
                  <c:v>0.24241048575641247</c:v>
                </c:pt>
                <c:pt idx="51">
                  <c:v>0.24700515712723542</c:v>
                </c:pt>
                <c:pt idx="52">
                  <c:v>0.2504333038105541</c:v>
                </c:pt>
                <c:pt idx="53">
                  <c:v>0.26382420576768534</c:v>
                </c:pt>
                <c:pt idx="54">
                  <c:v>0.247625321416402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2269967304998"/>
          <c:min val="0.11875589066918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6.5394</c:v>
                </c:pt>
                <c:pt idx="1">
                  <c:v>906.2721</c:v>
                </c:pt>
                <c:pt idx="2">
                  <c:v>960.7061</c:v>
                </c:pt>
                <c:pt idx="3">
                  <c:v>979.2119</c:v>
                </c:pt>
                <c:pt idx="4">
                  <c:v>982.0</c:v>
                </c:pt>
                <c:pt idx="5">
                  <c:v>965.1132</c:v>
                </c:pt>
                <c:pt idx="6">
                  <c:v>915.9559</c:v>
                </c:pt>
                <c:pt idx="7">
                  <c:v>934.0759</c:v>
                </c:pt>
                <c:pt idx="8">
                  <c:v>949.0056</c:v>
                </c:pt>
                <c:pt idx="9">
                  <c:v>893.6972</c:v>
                </c:pt>
                <c:pt idx="10">
                  <c:v>884.519</c:v>
                </c:pt>
                <c:pt idx="11">
                  <c:v>962.0084</c:v>
                </c:pt>
                <c:pt idx="12">
                  <c:v>971.3255</c:v>
                </c:pt>
                <c:pt idx="13">
                  <c:v>965.4434</c:v>
                </c:pt>
                <c:pt idx="14">
                  <c:v>978.7474</c:v>
                </c:pt>
                <c:pt idx="15">
                  <c:v>953.848</c:v>
                </c:pt>
                <c:pt idx="16">
                  <c:v>960.2135</c:v>
                </c:pt>
                <c:pt idx="17">
                  <c:v>966.1723</c:v>
                </c:pt>
                <c:pt idx="18">
                  <c:v>1037.6218</c:v>
                </c:pt>
                <c:pt idx="19">
                  <c:v>1083.5208</c:v>
                </c:pt>
                <c:pt idx="20">
                  <c:v>1092.2984</c:v>
                </c:pt>
                <c:pt idx="21">
                  <c:v>1108.8366</c:v>
                </c:pt>
                <c:pt idx="22">
                  <c:v>1027.0449</c:v>
                </c:pt>
                <c:pt idx="23">
                  <c:v>1042.1826</c:v>
                </c:pt>
                <c:pt idx="24">
                  <c:v>1042.0871</c:v>
                </c:pt>
                <c:pt idx="25">
                  <c:v>995.9696</c:v>
                </c:pt>
                <c:pt idx="26">
                  <c:v>984.9643</c:v>
                </c:pt>
                <c:pt idx="27">
                  <c:v>1039.6779</c:v>
                </c:pt>
                <c:pt idx="28">
                  <c:v>1026.9794</c:v>
                </c:pt>
                <c:pt idx="29">
                  <c:v>994.3628</c:v>
                </c:pt>
                <c:pt idx="30">
                  <c:v>979.0293</c:v>
                </c:pt>
                <c:pt idx="31">
                  <c:v>983.1715</c:v>
                </c:pt>
                <c:pt idx="32">
                  <c:v>944.8449</c:v>
                </c:pt>
                <c:pt idx="33">
                  <c:v>918.5972</c:v>
                </c:pt>
                <c:pt idx="34">
                  <c:v>923.4369</c:v>
                </c:pt>
                <c:pt idx="35">
                  <c:v>985.2571</c:v>
                </c:pt>
                <c:pt idx="36">
                  <c:v>1098.5786</c:v>
                </c:pt>
                <c:pt idx="37">
                  <c:v>1097.1046</c:v>
                </c:pt>
                <c:pt idx="38">
                  <c:v>1156.4241</c:v>
                </c:pt>
                <c:pt idx="39">
                  <c:v>1155.6427</c:v>
                </c:pt>
                <c:pt idx="40">
                  <c:v>1143.1116</c:v>
                </c:pt>
                <c:pt idx="41">
                  <c:v>1181.3704</c:v>
                </c:pt>
                <c:pt idx="42">
                  <c:v>1225.8747</c:v>
                </c:pt>
                <c:pt idx="43">
                  <c:v>1243.2479</c:v>
                </c:pt>
                <c:pt idx="44">
                  <c:v>1172.4095</c:v>
                </c:pt>
                <c:pt idx="45">
                  <c:v>1134.6706</c:v>
                </c:pt>
                <c:pt idx="46">
                  <c:v>1136.6442</c:v>
                </c:pt>
                <c:pt idx="47">
                  <c:v>1119.6833</c:v>
                </c:pt>
                <c:pt idx="48">
                  <c:v>1115.5431</c:v>
                </c:pt>
                <c:pt idx="49">
                  <c:v>1069.6225</c:v>
                </c:pt>
                <c:pt idx="50">
                  <c:v>1071.2785</c:v>
                </c:pt>
                <c:pt idx="51">
                  <c:v>1087.4654</c:v>
                </c:pt>
                <c:pt idx="52">
                  <c:v>1093.2572</c:v>
                </c:pt>
                <c:pt idx="53">
                  <c:v>1174.7984</c:v>
                </c:pt>
                <c:pt idx="54">
                  <c:v>1166.1643</c:v>
                </c:pt>
                <c:pt idx="55">
                  <c:v>1197.8605</c:v>
                </c:pt>
                <c:pt idx="56">
                  <c:v>1211.662</c:v>
                </c:pt>
                <c:pt idx="57">
                  <c:v>1173.6426</c:v>
                </c:pt>
                <c:pt idx="58">
                  <c:v>1132.1124</c:v>
                </c:pt>
                <c:pt idx="59">
                  <c:v>1124.3063</c:v>
                </c:pt>
                <c:pt idx="60">
                  <c:v>1154.8088</c:v>
                </c:pt>
                <c:pt idx="61">
                  <c:v>1179.0327</c:v>
                </c:pt>
                <c:pt idx="62">
                  <c:v>1092.8351</c:v>
                </c:pt>
                <c:pt idx="63">
                  <c:v>1146.1828</c:v>
                </c:pt>
                <c:pt idx="64">
                  <c:v>1161.249</c:v>
                </c:pt>
                <c:pt idx="65">
                  <c:v>1152.2374</c:v>
                </c:pt>
                <c:pt idx="66">
                  <c:v>1161.4439</c:v>
                </c:pt>
                <c:pt idx="67">
                  <c:v>1166.5053</c:v>
                </c:pt>
                <c:pt idx="68">
                  <c:v>1189.0261</c:v>
                </c:pt>
                <c:pt idx="69">
                  <c:v>1203.8439</c:v>
                </c:pt>
                <c:pt idx="70">
                  <c:v>1203.905</c:v>
                </c:pt>
                <c:pt idx="71">
                  <c:v>1273.3798</c:v>
                </c:pt>
                <c:pt idx="72">
                  <c:v>1367.6022</c:v>
                </c:pt>
                <c:pt idx="73">
                  <c:v>1349.7907</c:v>
                </c:pt>
                <c:pt idx="74">
                  <c:v>1332.5238</c:v>
                </c:pt>
                <c:pt idx="75">
                  <c:v>1272.3249</c:v>
                </c:pt>
                <c:pt idx="76">
                  <c:v>1261.9026</c:v>
                </c:pt>
                <c:pt idx="77">
                  <c:v>1281.9531</c:v>
                </c:pt>
                <c:pt idx="78">
                  <c:v>1306.6686</c:v>
                </c:pt>
                <c:pt idx="79">
                  <c:v>1320.025</c:v>
                </c:pt>
                <c:pt idx="80">
                  <c:v>1297.6737</c:v>
                </c:pt>
                <c:pt idx="81">
                  <c:v>1282.1634</c:v>
                </c:pt>
                <c:pt idx="82">
                  <c:v>1293.1496</c:v>
                </c:pt>
                <c:pt idx="83">
                  <c:v>1244.5333</c:v>
                </c:pt>
                <c:pt idx="84">
                  <c:v>1268.3731</c:v>
                </c:pt>
                <c:pt idx="85">
                  <c:v>1203.8952</c:v>
                </c:pt>
                <c:pt idx="86">
                  <c:v>1211.5591</c:v>
                </c:pt>
                <c:pt idx="87">
                  <c:v>1209.4376</c:v>
                </c:pt>
                <c:pt idx="88">
                  <c:v>1301.732</c:v>
                </c:pt>
                <c:pt idx="89">
                  <c:v>1258.7726</c:v>
                </c:pt>
                <c:pt idx="90">
                  <c:v>1328.9787</c:v>
                </c:pt>
                <c:pt idx="91">
                  <c:v>1367.8328</c:v>
                </c:pt>
                <c:pt idx="92">
                  <c:v>1299.8116</c:v>
                </c:pt>
                <c:pt idx="93">
                  <c:v>1324.5664</c:v>
                </c:pt>
                <c:pt idx="94">
                  <c:v>1310.9037</c:v>
                </c:pt>
                <c:pt idx="95">
                  <c:v>1287.6046</c:v>
                </c:pt>
                <c:pt idx="96">
                  <c:v>1204.373</c:v>
                </c:pt>
                <c:pt idx="97">
                  <c:v>1194.9357</c:v>
                </c:pt>
                <c:pt idx="98">
                  <c:v>1181.5859</c:v>
                </c:pt>
                <c:pt idx="99">
                  <c:v>1127.8877</c:v>
                </c:pt>
                <c:pt idx="100">
                  <c:v>1150.2065</c:v>
                </c:pt>
                <c:pt idx="101">
                  <c:v>1147.7839</c:v>
                </c:pt>
                <c:pt idx="102">
                  <c:v>1147.7547</c:v>
                </c:pt>
                <c:pt idx="103">
                  <c:v>1150.5349</c:v>
                </c:pt>
                <c:pt idx="104">
                  <c:v>1199.9235</c:v>
                </c:pt>
              </c:numCache>
            </c:numRef>
          </c:xVal>
          <c:yVal>
            <c:numRef>
              <c:f>Sheet1!$B$2:$B$106</c:f>
              <c:numCache>
                <c:formatCode>General</c:formatCode>
                <c:ptCount val="105"/>
                <c:pt idx="0">
                  <c:v>0.2420185375901133</c:v>
                </c:pt>
                <c:pt idx="1">
                  <c:v>0.25104737350950695</c:v>
                </c:pt>
                <c:pt idx="2">
                  <c:v>0.2501591343093571</c:v>
                </c:pt>
                <c:pt idx="3">
                  <c:v>0.24042829331602855</c:v>
                </c:pt>
                <c:pt idx="4">
                  <c:v>0.26000762485703394</c:v>
                </c:pt>
                <c:pt idx="5">
                  <c:v>0.2641802641802642</c:v>
                </c:pt>
                <c:pt idx="6">
                  <c:v>0.27996814018319394</c:v>
                </c:pt>
                <c:pt idx="7">
                  <c:v>0.29518916394208317</c:v>
                </c:pt>
                <c:pt idx="8">
                  <c:v>0.2914193200215866</c:v>
                </c:pt>
                <c:pt idx="9">
                  <c:v>0.2772429726607624</c:v>
                </c:pt>
                <c:pt idx="10">
                  <c:v>0.2744220730797912</c:v>
                </c:pt>
                <c:pt idx="11">
                  <c:v>0.2324766355140187</c:v>
                </c:pt>
                <c:pt idx="12">
                  <c:v>0.22641509433962265</c:v>
                </c:pt>
                <c:pt idx="13">
                  <c:v>0.21968911917098446</c:v>
                </c:pt>
                <c:pt idx="14">
                  <c:v>0.20554191511750264</c:v>
                </c:pt>
                <c:pt idx="15">
                  <c:v>0.21138211382113822</c:v>
                </c:pt>
                <c:pt idx="16">
                  <c:v>0.206113941639648</c:v>
                </c:pt>
                <c:pt idx="17">
                  <c:v>0.18006582040432534</c:v>
                </c:pt>
                <c:pt idx="18">
                  <c:v>0.1609907120743034</c:v>
                </c:pt>
                <c:pt idx="19">
                  <c:v>0.15424912689173456</c:v>
                </c:pt>
                <c:pt idx="20">
                  <c:v>0.14844486333647502</c:v>
                </c:pt>
                <c:pt idx="21">
                  <c:v>0.1654861558274308</c:v>
                </c:pt>
                <c:pt idx="22">
                  <c:v>0.22202694786174576</c:v>
                </c:pt>
                <c:pt idx="23">
                  <c:v>0.21217712177121772</c:v>
                </c:pt>
                <c:pt idx="24">
                  <c:v>0.2183967112024666</c:v>
                </c:pt>
                <c:pt idx="25">
                  <c:v>0.23737980769230768</c:v>
                </c:pt>
                <c:pt idx="26">
                  <c:v>0.2523943661971831</c:v>
                </c:pt>
                <c:pt idx="27">
                  <c:v>0.23617021276595745</c:v>
                </c:pt>
                <c:pt idx="28">
                  <c:v>0.2434540389972145</c:v>
                </c:pt>
                <c:pt idx="29">
                  <c:v>0.26206563706563707</c:v>
                </c:pt>
                <c:pt idx="30">
                  <c:v>0.25482866043613706</c:v>
                </c:pt>
                <c:pt idx="31">
                  <c:v>0.2625730994152047</c:v>
                </c:pt>
                <c:pt idx="32">
                  <c:v>0.28511655708308425</c:v>
                </c:pt>
                <c:pt idx="33">
                  <c:v>0.281592039800995</c:v>
                </c:pt>
                <c:pt idx="34">
                  <c:v>0.2762339278307756</c:v>
                </c:pt>
                <c:pt idx="35">
                  <c:v>0.2609204368174727</c:v>
                </c:pt>
                <c:pt idx="36">
                  <c:v>0.24518201284796573</c:v>
                </c:pt>
                <c:pt idx="37">
                  <c:v>0.23923166472642607</c:v>
                </c:pt>
                <c:pt idx="38">
                  <c:v>0.2440894568690096</c:v>
                </c:pt>
                <c:pt idx="39">
                  <c:v>0.2510903426791277</c:v>
                </c:pt>
                <c:pt idx="40">
                  <c:v>0.23302840635532018</c:v>
                </c:pt>
                <c:pt idx="41">
                  <c:v>0.22594142259414227</c:v>
                </c:pt>
                <c:pt idx="42">
                  <c:v>0.21962402567629527</c:v>
                </c:pt>
                <c:pt idx="43">
                  <c:v>0.2151501568803227</c:v>
                </c:pt>
                <c:pt idx="44">
                  <c:v>0.21818181818181817</c:v>
                </c:pt>
                <c:pt idx="45">
                  <c:v>0.23526422764227642</c:v>
                </c:pt>
                <c:pt idx="46">
                  <c:v>0.22889782102813624</c:v>
                </c:pt>
                <c:pt idx="47">
                  <c:v>0.22708102108768036</c:v>
                </c:pt>
                <c:pt idx="48">
                  <c:v>0.2295603037259403</c:v>
                </c:pt>
                <c:pt idx="49">
                  <c:v>0.23917161257734562</c:v>
                </c:pt>
                <c:pt idx="50">
                  <c:v>0.22692924204259216</c:v>
                </c:pt>
                <c:pt idx="51">
                  <c:v>0.21418598156939403</c:v>
                </c:pt>
                <c:pt idx="52">
                  <c:v>0.21954925297543681</c:v>
                </c:pt>
                <c:pt idx="53">
                  <c:v>0.21086369770580296</c:v>
                </c:pt>
                <c:pt idx="54">
                  <c:v>0.22573363431151242</c:v>
                </c:pt>
                <c:pt idx="55">
                  <c:v>0.20425677995193958</c:v>
                </c:pt>
                <c:pt idx="56">
                  <c:v>0.2026120720084716</c:v>
                </c:pt>
                <c:pt idx="57">
                  <c:v>0.2071907373552712</c:v>
                </c:pt>
                <c:pt idx="58">
                  <c:v>0.2204840613931523</c:v>
                </c:pt>
                <c:pt idx="59">
                  <c:v>0.2261061946902655</c:v>
                </c:pt>
                <c:pt idx="60">
                  <c:v>0.22991409802930773</c:v>
                </c:pt>
                <c:pt idx="61">
                  <c:v>0.23059532780708364</c:v>
                </c:pt>
                <c:pt idx="62">
                  <c:v>0.24926590538336052</c:v>
                </c:pt>
                <c:pt idx="63">
                  <c:v>0.2522225880803424</c:v>
                </c:pt>
                <c:pt idx="64">
                  <c:v>0.2415474642392718</c:v>
                </c:pt>
                <c:pt idx="65">
                  <c:v>0.23444662737393582</c:v>
                </c:pt>
                <c:pt idx="66">
                  <c:v>0.21456436931079323</c:v>
                </c:pt>
                <c:pt idx="67">
                  <c:v>0.20662058930520188</c:v>
                </c:pt>
                <c:pt idx="68">
                  <c:v>0.20604054613156805</c:v>
                </c:pt>
                <c:pt idx="69">
                  <c:v>0.1925624044829343</c:v>
                </c:pt>
                <c:pt idx="70">
                  <c:v>0.1967808930425753</c:v>
                </c:pt>
                <c:pt idx="71">
                  <c:v>0.21441124780316345</c:v>
                </c:pt>
                <c:pt idx="72">
                  <c:v>0.18952879581151832</c:v>
                </c:pt>
                <c:pt idx="73">
                  <c:v>0.19058171745152355</c:v>
                </c:pt>
                <c:pt idx="74">
                  <c:v>0.20284697508896798</c:v>
                </c:pt>
                <c:pt idx="75">
                  <c:v>0.20689655172413793</c:v>
                </c:pt>
                <c:pt idx="76">
                  <c:v>0.2211660329531052</c:v>
                </c:pt>
                <c:pt idx="77">
                  <c:v>0.21108179419525067</c:v>
                </c:pt>
                <c:pt idx="78">
                  <c:v>0.22413793103448276</c:v>
                </c:pt>
                <c:pt idx="79">
                  <c:v>0.1728276524243879</c:v>
                </c:pt>
                <c:pt idx="80">
                  <c:v>0.16412776412776411</c:v>
                </c:pt>
                <c:pt idx="81">
                  <c:v>0.19383825417201542</c:v>
                </c:pt>
                <c:pt idx="82">
                  <c:v>0.1907158836689038</c:v>
                </c:pt>
                <c:pt idx="83">
                  <c:v>0.20682148040638607</c:v>
                </c:pt>
                <c:pt idx="84">
                  <c:v>0.20583717357910905</c:v>
                </c:pt>
                <c:pt idx="85">
                  <c:v>0.2282208588957055</c:v>
                </c:pt>
                <c:pt idx="86">
                  <c:v>0.24305893813930832</c:v>
                </c:pt>
                <c:pt idx="87">
                  <c:v>0.2510729613733906</c:v>
                </c:pt>
                <c:pt idx="88">
                  <c:v>0.2362924281984334</c:v>
                </c:pt>
                <c:pt idx="89">
                  <c:v>0.25867269984917046</c:v>
                </c:pt>
                <c:pt idx="90">
                  <c:v>0.23909883720930233</c:v>
                </c:pt>
                <c:pt idx="91">
                  <c:v>0.21185286103542234</c:v>
                </c:pt>
                <c:pt idx="92">
                  <c:v>0.23665382498624105</c:v>
                </c:pt>
                <c:pt idx="93">
                  <c:v>0.2326350606394708</c:v>
                </c:pt>
                <c:pt idx="94">
                  <c:v>0.2406576980568012</c:v>
                </c:pt>
                <c:pt idx="95">
                  <c:v>0.21323529411764705</c:v>
                </c:pt>
                <c:pt idx="96">
                  <c:v>0.234375</c:v>
                </c:pt>
                <c:pt idx="97">
                  <c:v>0.24472824472824473</c:v>
                </c:pt>
                <c:pt idx="98">
                  <c:v>0.23142451490771415</c:v>
                </c:pt>
                <c:pt idx="99">
                  <c:v>0.22569050321604237</c:v>
                </c:pt>
                <c:pt idx="100">
                  <c:v>0.21954073424016382</c:v>
                </c:pt>
                <c:pt idx="101">
                  <c:v>0.2299625468164794</c:v>
                </c:pt>
                <c:pt idx="102">
                  <c:v>0.2397923875432526</c:v>
                </c:pt>
                <c:pt idx="103">
                  <c:v>0.2197452229299363</c:v>
                </c:pt>
                <c:pt idx="104">
                  <c:v>0.212668082094833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0.3005</c:v>
                </c:pt>
                <c:pt idx="1">
                  <c:v>1246.0654</c:v>
                </c:pt>
                <c:pt idx="2">
                  <c:v>1266.6619</c:v>
                </c:pt>
                <c:pt idx="3">
                  <c:v>1265.3838</c:v>
                </c:pt>
                <c:pt idx="4">
                  <c:v>1300.6684</c:v>
                </c:pt>
                <c:pt idx="5">
                  <c:v>1284.7306</c:v>
                </c:pt>
                <c:pt idx="6">
                  <c:v>1161.4584</c:v>
                </c:pt>
                <c:pt idx="7">
                  <c:v>1193.2938</c:v>
                </c:pt>
                <c:pt idx="8">
                  <c:v>1297.9212</c:v>
                </c:pt>
                <c:pt idx="9">
                  <c:v>1220.5092</c:v>
                </c:pt>
                <c:pt idx="10">
                  <c:v>1214.3967</c:v>
                </c:pt>
                <c:pt idx="11">
                  <c:v>1027.4595</c:v>
                </c:pt>
                <c:pt idx="12">
                  <c:v>1131.2068</c:v>
                </c:pt>
                <c:pt idx="13">
                  <c:v>1206.5194</c:v>
                </c:pt>
                <c:pt idx="14">
                  <c:v>1191.7546</c:v>
                </c:pt>
                <c:pt idx="15">
                  <c:v>1207.4649</c:v>
                </c:pt>
                <c:pt idx="16">
                  <c:v>1249.13</c:v>
                </c:pt>
                <c:pt idx="17">
                  <c:v>1214.9856</c:v>
                </c:pt>
                <c:pt idx="18">
                  <c:v>1268.6703</c:v>
                </c:pt>
                <c:pt idx="19">
                  <c:v>1353.1684</c:v>
                </c:pt>
                <c:pt idx="20">
                  <c:v>1321.8706</c:v>
                </c:pt>
                <c:pt idx="21">
                  <c:v>1206.7846</c:v>
                </c:pt>
                <c:pt idx="22">
                  <c:v>1320.7049</c:v>
                </c:pt>
                <c:pt idx="23">
                  <c:v>1345.6063</c:v>
                </c:pt>
                <c:pt idx="24">
                  <c:v>1325.8924</c:v>
                </c:pt>
                <c:pt idx="25">
                  <c:v>1236.4185</c:v>
                </c:pt>
                <c:pt idx="26">
                  <c:v>1278.8052</c:v>
                </c:pt>
                <c:pt idx="27">
                  <c:v>1286.8312</c:v>
                </c:pt>
                <c:pt idx="28">
                  <c:v>1348.8788</c:v>
                </c:pt>
                <c:pt idx="29">
                  <c:v>1330.4639</c:v>
                </c:pt>
                <c:pt idx="30">
                  <c:v>1319.9911</c:v>
                </c:pt>
                <c:pt idx="31">
                  <c:v>1329.1038</c:v>
                </c:pt>
                <c:pt idx="32">
                  <c:v>1311.4229</c:v>
                </c:pt>
                <c:pt idx="33">
                  <c:v>1323.0099</c:v>
                </c:pt>
                <c:pt idx="34">
                  <c:v>1353.3967</c:v>
                </c:pt>
                <c:pt idx="35">
                  <c:v>1380.6014</c:v>
                </c:pt>
                <c:pt idx="36">
                  <c:v>1351.8667</c:v>
                </c:pt>
                <c:pt idx="37">
                  <c:v>1347.3674</c:v>
                </c:pt>
                <c:pt idx="38">
                  <c:v>1361.8486</c:v>
                </c:pt>
                <c:pt idx="39">
                  <c:v>1325.2845</c:v>
                </c:pt>
                <c:pt idx="40">
                  <c:v>1381.4605</c:v>
                </c:pt>
                <c:pt idx="41">
                  <c:v>1402.4729</c:v>
                </c:pt>
                <c:pt idx="42">
                  <c:v>1405.0081</c:v>
                </c:pt>
                <c:pt idx="43">
                  <c:v>1403.2791</c:v>
                </c:pt>
                <c:pt idx="44">
                  <c:v>1311.95</c:v>
                </c:pt>
                <c:pt idx="45">
                  <c:v>1251.3293</c:v>
                </c:pt>
                <c:pt idx="46">
                  <c:v>1241.4232</c:v>
                </c:pt>
                <c:pt idx="47">
                  <c:v>1214.063</c:v>
                </c:pt>
                <c:pt idx="48">
                  <c:v>1221.1988</c:v>
                </c:pt>
                <c:pt idx="49">
                  <c:v>1252.1569</c:v>
                </c:pt>
                <c:pt idx="50">
                  <c:v>1218.4704</c:v>
                </c:pt>
                <c:pt idx="51">
                  <c:v>1153.7711</c:v>
                </c:pt>
              </c:numCache>
            </c:numRef>
          </c:xVal>
          <c:yVal>
            <c:numRef>
              <c:f>Sheet1!$B$109:$B$160</c:f>
              <c:numCache>
                <c:formatCode>General</c:formatCode>
                <c:ptCount val="52"/>
                <c:pt idx="0">
                  <c:v>0.214862138533961</c:v>
                </c:pt>
                <c:pt idx="1">
                  <c:v>0.21374622356495468</c:v>
                </c:pt>
                <c:pt idx="2">
                  <c:v>0.22702354079329248</c:v>
                </c:pt>
                <c:pt idx="3">
                  <c:v>0.24430505117200396</c:v>
                </c:pt>
                <c:pt idx="4">
                  <c:v>0.21514818880351264</c:v>
                </c:pt>
                <c:pt idx="5">
                  <c:v>0.22375886524822694</c:v>
                </c:pt>
                <c:pt idx="6">
                  <c:v>0.2492483463619964</c:v>
                </c:pt>
                <c:pt idx="7">
                  <c:v>0.25396825396825395</c:v>
                </c:pt>
                <c:pt idx="8">
                  <c:v>0.2356687898089172</c:v>
                </c:pt>
                <c:pt idx="9">
                  <c:v>0.24850985786336544</c:v>
                </c:pt>
                <c:pt idx="10">
                  <c:v>0.24931002759889603</c:v>
                </c:pt>
                <c:pt idx="11">
                  <c:v>0.26485076789336426</c:v>
                </c:pt>
                <c:pt idx="12">
                  <c:v>0.25403377110694186</c:v>
                </c:pt>
                <c:pt idx="13">
                  <c:v>0.24190800681431004</c:v>
                </c:pt>
                <c:pt idx="14">
                  <c:v>0.2415329768270945</c:v>
                </c:pt>
                <c:pt idx="15">
                  <c:v>0.24807790876473604</c:v>
                </c:pt>
                <c:pt idx="16">
                  <c:v>0.22453841572364502</c:v>
                </c:pt>
                <c:pt idx="17">
                  <c:v>0.2480666270077335</c:v>
                </c:pt>
                <c:pt idx="18">
                  <c:v>0.23081800887761572</c:v>
                </c:pt>
                <c:pt idx="19">
                  <c:v>0.2250300842358604</c:v>
                </c:pt>
                <c:pt idx="20">
                  <c:v>0.220349967595593</c:v>
                </c:pt>
                <c:pt idx="21">
                  <c:v>0.23722627737226276</c:v>
                </c:pt>
                <c:pt idx="22">
                  <c:v>0.21418539325842698</c:v>
                </c:pt>
                <c:pt idx="23">
                  <c:v>0.2137006701414743</c:v>
                </c:pt>
                <c:pt idx="24">
                  <c:v>0.22021210230817218</c:v>
                </c:pt>
                <c:pt idx="25">
                  <c:v>0.23313686967910938</c:v>
                </c:pt>
                <c:pt idx="26">
                  <c:v>0.2154320987654321</c:v>
                </c:pt>
                <c:pt idx="27">
                  <c:v>0.21739130434782608</c:v>
                </c:pt>
                <c:pt idx="28">
                  <c:v>0.2159214830970556</c:v>
                </c:pt>
                <c:pt idx="29">
                  <c:v>0.23346303501945526</c:v>
                </c:pt>
                <c:pt idx="30">
                  <c:v>0.23333333333333334</c:v>
                </c:pt>
                <c:pt idx="31">
                  <c:v>0.21535022354694486</c:v>
                </c:pt>
                <c:pt idx="32">
                  <c:v>0.2219403931515536</c:v>
                </c:pt>
                <c:pt idx="33">
                  <c:v>0.24791768740813327</c:v>
                </c:pt>
                <c:pt idx="34">
                  <c:v>0.26653465346534655</c:v>
                </c:pt>
                <c:pt idx="35">
                  <c:v>0.23667377398720682</c:v>
                </c:pt>
                <c:pt idx="36">
                  <c:v>0.25616698292220114</c:v>
                </c:pt>
                <c:pt idx="37">
                  <c:v>0.2591059602649007</c:v>
                </c:pt>
                <c:pt idx="38">
                  <c:v>0.26841659610499574</c:v>
                </c:pt>
                <c:pt idx="39">
                  <c:v>0.24327956989247312</c:v>
                </c:pt>
                <c:pt idx="40">
                  <c:v>0.2363150867823765</c:v>
                </c:pt>
                <c:pt idx="41">
                  <c:v>0.23859432799013564</c:v>
                </c:pt>
                <c:pt idx="42">
                  <c:v>0.2548342541436464</c:v>
                </c:pt>
                <c:pt idx="43">
                  <c:v>0.22696737044145873</c:v>
                </c:pt>
                <c:pt idx="44">
                  <c:v>0.22413793103448276</c:v>
                </c:pt>
                <c:pt idx="45">
                  <c:v>0.24696621843227287</c:v>
                </c:pt>
                <c:pt idx="46">
                  <c:v>0.2727912706793383</c:v>
                </c:pt>
                <c:pt idx="47">
                  <c:v>0.27350993377483446</c:v>
                </c:pt>
                <c:pt idx="48">
                  <c:v>0.25336252736940884</c:v>
                </c:pt>
                <c:pt idx="49">
                  <c:v>0.2498040240397178</c:v>
                </c:pt>
                <c:pt idx="50">
                  <c:v>0.2490791089282582</c:v>
                </c:pt>
                <c:pt idx="51">
                  <c:v>0.2494875549048316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5.8257478850128</c:v>
                </c:pt>
              </c:numCache>
            </c:numRef>
          </c:xVal>
          <c:yVal>
            <c:numRef>
              <c:f>Sheet1!$B$163:$B$164</c:f>
              <c:numCache>
                <c:formatCode>General</c:formatCode>
                <c:ptCount val="2"/>
                <c:pt idx="0">
                  <c:v>0.26382420576768534</c:v>
                </c:pt>
                <c:pt idx="1">
                  <c:v>0.263824205767685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5.8257478850128</c:v>
                </c:pt>
                <c:pt idx="1">
                  <c:v>905.8257478850128</c:v>
                </c:pt>
              </c:numCache>
            </c:numRef>
          </c:xVal>
          <c:yVal>
            <c:numRef>
              <c:f>Sheet1!$B$167:$B$168</c:f>
              <c:numCache>
                <c:formatCode>General</c:formatCode>
                <c:ptCount val="2"/>
                <c:pt idx="0">
                  <c:v>0.263824205767685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5980833262054</c:v>
                </c:pt>
              </c:numCache>
            </c:numRef>
          </c:xVal>
          <c:yVal>
            <c:numRef>
              <c:f>Sheet1!$B$171:$B$172</c:f>
              <c:numCache>
                <c:formatCode>General</c:formatCode>
                <c:ptCount val="2"/>
                <c:pt idx="0">
                  <c:v>0.2504333038105541</c:v>
                </c:pt>
                <c:pt idx="1">
                  <c:v>0.250433303810554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5980833262054</c:v>
                </c:pt>
                <c:pt idx="1">
                  <c:v>1101.5980833262054</c:v>
                </c:pt>
              </c:numCache>
            </c:numRef>
          </c:xVal>
          <c:yVal>
            <c:numRef>
              <c:f>Sheet1!$B$175:$B$176</c:f>
              <c:numCache>
                <c:formatCode>General</c:formatCode>
                <c:ptCount val="2"/>
                <c:pt idx="0">
                  <c:v>0.250433303810554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42.650229995685</c:v>
                </c:pt>
              </c:numCache>
            </c:numRef>
          </c:xVal>
          <c:yVal>
            <c:numRef>
              <c:f>Sheet1!$B$179:$B$180</c:f>
              <c:numCache>
                <c:formatCode>General</c:formatCode>
                <c:ptCount val="2"/>
                <c:pt idx="0">
                  <c:v>0.2476253214164027</c:v>
                </c:pt>
                <c:pt idx="1">
                  <c:v>0.247625321416402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42.650229995685</c:v>
                </c:pt>
                <c:pt idx="1">
                  <c:v>1142.650229995685</c:v>
                </c:pt>
              </c:numCache>
            </c:numRef>
          </c:xVal>
          <c:yVal>
            <c:numRef>
              <c:f>Sheet1!$B$183:$B$184</c:f>
              <c:numCache>
                <c:formatCode>General</c:formatCode>
                <c:ptCount val="2"/>
                <c:pt idx="0">
                  <c:v>0.247625321416402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0.3005</c:v>
                </c:pt>
                <c:pt idx="1">
                  <c:v>1246.0654</c:v>
                </c:pt>
                <c:pt idx="2">
                  <c:v>1266.6619</c:v>
                </c:pt>
                <c:pt idx="3">
                  <c:v>1265.3838</c:v>
                </c:pt>
                <c:pt idx="4">
                  <c:v>1300.6684</c:v>
                </c:pt>
                <c:pt idx="5">
                  <c:v>1284.7306</c:v>
                </c:pt>
                <c:pt idx="6">
                  <c:v>1161.4584</c:v>
                </c:pt>
                <c:pt idx="7">
                  <c:v>1193.2938</c:v>
                </c:pt>
                <c:pt idx="8">
                  <c:v>1297.9212</c:v>
                </c:pt>
                <c:pt idx="9">
                  <c:v>1220.5092</c:v>
                </c:pt>
                <c:pt idx="10">
                  <c:v>1214.3967</c:v>
                </c:pt>
                <c:pt idx="11">
                  <c:v>1027.4595</c:v>
                </c:pt>
                <c:pt idx="12">
                  <c:v>1131.2068</c:v>
                </c:pt>
                <c:pt idx="13">
                  <c:v>1206.5194</c:v>
                </c:pt>
                <c:pt idx="14">
                  <c:v>1191.7546</c:v>
                </c:pt>
                <c:pt idx="15">
                  <c:v>1207.4649</c:v>
                </c:pt>
                <c:pt idx="16">
                  <c:v>1249.13</c:v>
                </c:pt>
                <c:pt idx="17">
                  <c:v>1214.9856</c:v>
                </c:pt>
                <c:pt idx="18">
                  <c:v>1268.6703</c:v>
                </c:pt>
                <c:pt idx="19">
                  <c:v>1353.1684</c:v>
                </c:pt>
                <c:pt idx="20">
                  <c:v>1321.8706</c:v>
                </c:pt>
                <c:pt idx="21">
                  <c:v>1206.7846</c:v>
                </c:pt>
                <c:pt idx="22">
                  <c:v>1320.7049</c:v>
                </c:pt>
                <c:pt idx="23">
                  <c:v>1345.6063</c:v>
                </c:pt>
                <c:pt idx="24">
                  <c:v>1325.8924</c:v>
                </c:pt>
                <c:pt idx="25">
                  <c:v>1236.4185</c:v>
                </c:pt>
                <c:pt idx="26">
                  <c:v>1278.8052</c:v>
                </c:pt>
                <c:pt idx="27">
                  <c:v>1286.8312</c:v>
                </c:pt>
                <c:pt idx="28">
                  <c:v>1348.8788</c:v>
                </c:pt>
                <c:pt idx="29">
                  <c:v>1330.4639</c:v>
                </c:pt>
                <c:pt idx="30">
                  <c:v>1319.9911</c:v>
                </c:pt>
                <c:pt idx="31">
                  <c:v>1329.1038</c:v>
                </c:pt>
                <c:pt idx="32">
                  <c:v>1311.4229</c:v>
                </c:pt>
                <c:pt idx="33">
                  <c:v>1323.0099</c:v>
                </c:pt>
                <c:pt idx="34">
                  <c:v>1353.3967</c:v>
                </c:pt>
                <c:pt idx="35">
                  <c:v>1380.6014</c:v>
                </c:pt>
                <c:pt idx="36">
                  <c:v>1351.8667</c:v>
                </c:pt>
                <c:pt idx="37">
                  <c:v>1347.3674</c:v>
                </c:pt>
                <c:pt idx="38">
                  <c:v>1361.8486</c:v>
                </c:pt>
                <c:pt idx="39">
                  <c:v>1325.2845</c:v>
                </c:pt>
                <c:pt idx="40">
                  <c:v>1381.4605</c:v>
                </c:pt>
                <c:pt idx="41">
                  <c:v>1402.4729</c:v>
                </c:pt>
                <c:pt idx="42">
                  <c:v>1405.0081</c:v>
                </c:pt>
                <c:pt idx="43">
                  <c:v>1403.2791</c:v>
                </c:pt>
                <c:pt idx="44">
                  <c:v>1311.95</c:v>
                </c:pt>
                <c:pt idx="45">
                  <c:v>1251.3293</c:v>
                </c:pt>
                <c:pt idx="46">
                  <c:v>1241.4232</c:v>
                </c:pt>
                <c:pt idx="47">
                  <c:v>1214.063</c:v>
                </c:pt>
                <c:pt idx="48">
                  <c:v>1221.1988</c:v>
                </c:pt>
                <c:pt idx="49">
                  <c:v>1252.1569</c:v>
                </c:pt>
                <c:pt idx="50">
                  <c:v>1218.4704</c:v>
                </c:pt>
                <c:pt idx="51">
                  <c:v>1153.7711</c:v>
                </c:pt>
                <c:pt idx="52">
                  <c:v>1101.5980833262054</c:v>
                </c:pt>
                <c:pt idx="53">
                  <c:v>905.8257478850128</c:v>
                </c:pt>
                <c:pt idx="54">
                  <c:v>1142.650229995685</c:v>
                </c:pt>
              </c:numCache>
            </c:numRef>
          </c:xVal>
          <c:yVal>
            <c:numRef>
              <c:f>Sheet1!$B$187:$B$241</c:f>
              <c:numCache>
                <c:formatCode>General</c:formatCode>
                <c:ptCount val="55"/>
                <c:pt idx="0">
                  <c:v>0.24231401351261111</c:v>
                </c:pt>
                <c:pt idx="1">
                  <c:v>0.24055168458570853</c:v>
                </c:pt>
                <c:pt idx="2">
                  <c:v>0.23914287617803182</c:v>
                </c:pt>
                <c:pt idx="3">
                  <c:v>0.2392302987025312</c:v>
                </c:pt>
                <c:pt idx="4">
                  <c:v>0.23681681868692134</c:v>
                </c:pt>
                <c:pt idx="5">
                  <c:v>0.2379069702485881</c:v>
                </c:pt>
                <c:pt idx="6">
                  <c:v>0.24633883545834714</c:v>
                </c:pt>
                <c:pt idx="7">
                  <c:v>0.24416128203025256</c:v>
                </c:pt>
                <c:pt idx="8">
                  <c:v>0.23700472820832397</c:v>
                </c:pt>
                <c:pt idx="9">
                  <c:v>0.24229973835349755</c:v>
                </c:pt>
                <c:pt idx="10">
                  <c:v>0.24271783567061084</c:v>
                </c:pt>
                <c:pt idx="11">
                  <c:v>0.25550441101436044</c:v>
                </c:pt>
                <c:pt idx="12">
                  <c:v>0.24840805636605828</c:v>
                </c:pt>
                <c:pt idx="13">
                  <c:v>0.2432566459767207</c:v>
                </c:pt>
                <c:pt idx="14">
                  <c:v>0.24426656389372914</c:v>
                </c:pt>
                <c:pt idx="15">
                  <c:v>0.2431919734183026</c:v>
                </c:pt>
                <c:pt idx="16">
                  <c:v>0.24034206478398656</c:v>
                </c:pt>
                <c:pt idx="17">
                  <c:v>0.2426775546873719</c:v>
                </c:pt>
                <c:pt idx="18">
                  <c:v>0.2390055008566919</c:v>
                </c:pt>
                <c:pt idx="19">
                  <c:v>0.23322579878533484</c:v>
                </c:pt>
                <c:pt idx="20">
                  <c:v>0.23536658016963719</c:v>
                </c:pt>
                <c:pt idx="21">
                  <c:v>0.24323850619618925</c:v>
                </c:pt>
                <c:pt idx="22">
                  <c:v>0.23544631449152825</c:v>
                </c:pt>
                <c:pt idx="23">
                  <c:v>0.23374304929195935</c:v>
                </c:pt>
                <c:pt idx="24">
                  <c:v>0.23509148752506195</c:v>
                </c:pt>
                <c:pt idx="25">
                  <c:v>0.24121153620263452</c:v>
                </c:pt>
                <c:pt idx="26">
                  <c:v>0.2383122698547759</c:v>
                </c:pt>
                <c:pt idx="27">
                  <c:v>0.23776328841229719</c:v>
                </c:pt>
                <c:pt idx="28">
                  <c:v>0.23351920905142715</c:v>
                </c:pt>
                <c:pt idx="29">
                  <c:v>0.2347787951921076</c:v>
                </c:pt>
                <c:pt idx="30">
                  <c:v>0.235495138682114</c:v>
                </c:pt>
                <c:pt idx="31">
                  <c:v>0.23487182654769137</c:v>
                </c:pt>
                <c:pt idx="32">
                  <c:v>0.23608120681012873</c:v>
                </c:pt>
                <c:pt idx="33">
                  <c:v>0.2352886516177538</c:v>
                </c:pt>
                <c:pt idx="34">
                  <c:v>0.23321018297879137</c:v>
                </c:pt>
                <c:pt idx="35">
                  <c:v>0.2313493711860925</c:v>
                </c:pt>
                <c:pt idx="36">
                  <c:v>0.23331483555878046</c:v>
                </c:pt>
                <c:pt idx="37">
                  <c:v>0.23362258938436536</c:v>
                </c:pt>
                <c:pt idx="38">
                  <c:v>0.2326320698148634</c:v>
                </c:pt>
                <c:pt idx="39">
                  <c:v>0.23513306811550336</c:v>
                </c:pt>
                <c:pt idx="40">
                  <c:v>0.23129060842042676</c:v>
                </c:pt>
                <c:pt idx="41">
                  <c:v>0.22985335229509157</c:v>
                </c:pt>
                <c:pt idx="42">
                  <c:v>0.22967994365405345</c:v>
                </c:pt>
                <c:pt idx="43">
                  <c:v>0.22979820790947902</c:v>
                </c:pt>
                <c:pt idx="44">
                  <c:v>0.2360451529703168</c:v>
                </c:pt>
                <c:pt idx="45">
                  <c:v>0.2401916318302807</c:v>
                </c:pt>
                <c:pt idx="46">
                  <c:v>0.24086921282546364</c:v>
                </c:pt>
                <c:pt idx="47">
                  <c:v>0.2427406608771091</c:v>
                </c:pt>
                <c:pt idx="48">
                  <c:v>0.24225256945208548</c:v>
                </c:pt>
                <c:pt idx="49">
                  <c:v>0.24013502367655587</c:v>
                </c:pt>
                <c:pt idx="50">
                  <c:v>0.24243919304636147</c:v>
                </c:pt>
                <c:pt idx="51">
                  <c:v>0.24686464969243221</c:v>
                </c:pt>
                <c:pt idx="52">
                  <c:v>0.2504333038105541</c:v>
                </c:pt>
                <c:pt idx="53">
                  <c:v>0.26382420576768534</c:v>
                </c:pt>
                <c:pt idx="54">
                  <c:v>0.247625321416402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6.0"/>
          <c:min val="6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2269967304998"/>
          <c:min val="0.11875589066918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62982906204703</c:v>
                </c:pt>
                <c:pt idx="1">
                  <c:v>0.6358027140499192</c:v>
                </c:pt>
                <c:pt idx="2">
                  <c:v>0.6574013227258656</c:v>
                </c:pt>
                <c:pt idx="3">
                  <c:v>0.6566190964192348</c:v>
                </c:pt>
                <c:pt idx="4">
                  <c:v>0.669933493555425</c:v>
                </c:pt>
                <c:pt idx="5">
                  <c:v>0.6927809682855546</c:v>
                </c:pt>
                <c:pt idx="6">
                  <c:v>0.6540765106298758</c:v>
                </c:pt>
                <c:pt idx="7">
                  <c:v>0.6432469032334209</c:v>
                </c:pt>
                <c:pt idx="8">
                  <c:v>0.6527534178163843</c:v>
                </c:pt>
                <c:pt idx="9">
                  <c:v>0.7001668860762419</c:v>
                </c:pt>
                <c:pt idx="10">
                  <c:v>0.68972516294487</c:v>
                </c:pt>
                <c:pt idx="11">
                  <c:v>0.7298116169304582</c:v>
                </c:pt>
                <c:pt idx="12">
                  <c:v>0.7329333350118286</c:v>
                </c:pt>
                <c:pt idx="13">
                  <c:v>0.7369208405767882</c:v>
                </c:pt>
                <c:pt idx="14">
                  <c:v>0.7072104451735355</c:v>
                </c:pt>
                <c:pt idx="15">
                  <c:v>0.68948622633014</c:v>
                </c:pt>
                <c:pt idx="16">
                  <c:v>0.6904234512019228</c:v>
                </c:pt>
                <c:pt idx="17">
                  <c:v>0.6903918278196973</c:v>
                </c:pt>
                <c:pt idx="18">
                  <c:v>0.7302581598016703</c:v>
                </c:pt>
                <c:pt idx="19">
                  <c:v>0.7289900989764494</c:v>
                </c:pt>
                <c:pt idx="20">
                  <c:v>0.7105675309758138</c:v>
                </c:pt>
                <c:pt idx="21">
                  <c:v>0.6054313182569014</c:v>
                </c:pt>
                <c:pt idx="22">
                  <c:v>0.5588424322964392</c:v>
                </c:pt>
                <c:pt idx="23">
                  <c:v>0.5692652011163555</c:v>
                </c:pt>
                <c:pt idx="24">
                  <c:v>0.5589885125005352</c:v>
                </c:pt>
                <c:pt idx="25">
                  <c:v>0.5487097193287371</c:v>
                </c:pt>
                <c:pt idx="26">
                  <c:v>0.5450339908946529</c:v>
                </c:pt>
                <c:pt idx="27">
                  <c:v>0.5789599558525115</c:v>
                </c:pt>
                <c:pt idx="28">
                  <c:v>0.5752758051304506</c:v>
                </c:pt>
                <c:pt idx="29">
                  <c:v>0.49842028825590023</c:v>
                </c:pt>
                <c:pt idx="30">
                  <c:v>0.4899105221510011</c:v>
                </c:pt>
                <c:pt idx="31">
                  <c:v>0.5676681548293867</c:v>
                </c:pt>
                <c:pt idx="32">
                  <c:v>0.4974609617765827</c:v>
                </c:pt>
                <c:pt idx="33">
                  <c:v>0.5020067833966313</c:v>
                </c:pt>
                <c:pt idx="34">
                  <c:v>0.5860177174277212</c:v>
                </c:pt>
                <c:pt idx="35">
                  <c:v>0.6380921469555962</c:v>
                </c:pt>
                <c:pt idx="36">
                  <c:v>0.6576423618032148</c:v>
                </c:pt>
                <c:pt idx="37">
                  <c:v>0.6423546893666489</c:v>
                </c:pt>
                <c:pt idx="38">
                  <c:v>0.6764927499864738</c:v>
                </c:pt>
                <c:pt idx="39">
                  <c:v>0.6621405483494816</c:v>
                </c:pt>
                <c:pt idx="40">
                  <c:v>0.6804317968573783</c:v>
                </c:pt>
                <c:pt idx="41">
                  <c:v>0.6900909986914663</c:v>
                </c:pt>
                <c:pt idx="42">
                  <c:v>0.7257560304987006</c:v>
                </c:pt>
                <c:pt idx="43">
                  <c:v>0.7438058935312117</c:v>
                </c:pt>
                <c:pt idx="44">
                  <c:v>0.6761080717393205</c:v>
                </c:pt>
                <c:pt idx="45">
                  <c:v>0.652853711801615</c:v>
                </c:pt>
                <c:pt idx="46">
                  <c:v>0.6637975105768809</c:v>
                </c:pt>
                <c:pt idx="47">
                  <c:v>0.6703266299843333</c:v>
                </c:pt>
                <c:pt idx="48">
                  <c:v>0.6695264205004305</c:v>
                </c:pt>
                <c:pt idx="49">
                  <c:v>0.6712732726659926</c:v>
                </c:pt>
                <c:pt idx="50">
                  <c:v>0.6516703040628771</c:v>
                </c:pt>
                <c:pt idx="51">
                  <c:v>0.6498148307917604</c:v>
                </c:pt>
                <c:pt idx="52">
                  <c:v>0.6710592825074276</c:v>
                </c:pt>
                <c:pt idx="53">
                  <c:v>0.6216903954891054</c:v>
                </c:pt>
                <c:pt idx="54">
                  <c:v>0.6005703732141354</c:v>
                </c:pt>
                <c:pt idx="55">
                  <c:v>0.611772397233665</c:v>
                </c:pt>
                <c:pt idx="56">
                  <c:v>0.6175354829816041</c:v>
                </c:pt>
                <c:pt idx="57">
                  <c:v>0.6374567172628509</c:v>
                </c:pt>
                <c:pt idx="58">
                  <c:v>0.6347676501937909</c:v>
                </c:pt>
                <c:pt idx="59">
                  <c:v>0.6256691232709126</c:v>
                </c:pt>
                <c:pt idx="60">
                  <c:v>0.6477784880305199</c:v>
                </c:pt>
                <c:pt idx="61">
                  <c:v>0.6762009788973287</c:v>
                </c:pt>
                <c:pt idx="62">
                  <c:v>0.723889589920021</c:v>
                </c:pt>
                <c:pt idx="63">
                  <c:v>0.7181445920077921</c:v>
                </c:pt>
                <c:pt idx="64">
                  <c:v>0.7414656871006332</c:v>
                </c:pt>
                <c:pt idx="65">
                  <c:v>0.7529789913096897</c:v>
                </c:pt>
                <c:pt idx="66">
                  <c:v>0.704789332375221</c:v>
                </c:pt>
                <c:pt idx="67">
                  <c:v>0.6903319594997543</c:v>
                </c:pt>
                <c:pt idx="68">
                  <c:v>0.6286573256414548</c:v>
                </c:pt>
                <c:pt idx="69">
                  <c:v>0.6338983274333044</c:v>
                </c:pt>
                <c:pt idx="70">
                  <c:v>0.6075952168840294</c:v>
                </c:pt>
                <c:pt idx="71">
                  <c:v>0.5583341546510561</c:v>
                </c:pt>
                <c:pt idx="72">
                  <c:v>0.5481195384380753</c:v>
                </c:pt>
                <c:pt idx="73">
                  <c:v>0.5692397539730127</c:v>
                </c:pt>
                <c:pt idx="74">
                  <c:v>0.5782703456608312</c:v>
                </c:pt>
                <c:pt idx="75">
                  <c:v>0.5388893655308655</c:v>
                </c:pt>
                <c:pt idx="76">
                  <c:v>0.553877732362314</c:v>
                </c:pt>
                <c:pt idx="77">
                  <c:v>0.5806407056263397</c:v>
                </c:pt>
                <c:pt idx="78">
                  <c:v>0.6093173113423945</c:v>
                </c:pt>
                <c:pt idx="79">
                  <c:v>0.29838462832156076</c:v>
                </c:pt>
                <c:pt idx="80">
                  <c:v>0.3146095532511783</c:v>
                </c:pt>
                <c:pt idx="81">
                  <c:v>0.45683827088359796</c:v>
                </c:pt>
                <c:pt idx="82">
                  <c:v>0.3778657837717158</c:v>
                </c:pt>
                <c:pt idx="83">
                  <c:v>0.45813622455160596</c:v>
                </c:pt>
                <c:pt idx="84">
                  <c:v>0.4861996389382619</c:v>
                </c:pt>
                <c:pt idx="85">
                  <c:v>0.5126329883112427</c:v>
                </c:pt>
                <c:pt idx="86">
                  <c:v>0.6544449080114919</c:v>
                </c:pt>
                <c:pt idx="87">
                  <c:v>0.7486398908904542</c:v>
                </c:pt>
                <c:pt idx="88">
                  <c:v>0.5851293329256375</c:v>
                </c:pt>
                <c:pt idx="89">
                  <c:v>0.4785912816853396</c:v>
                </c:pt>
                <c:pt idx="90">
                  <c:v>0.5833610946323715</c:v>
                </c:pt>
                <c:pt idx="91">
                  <c:v>0.5329282235053369</c:v>
                </c:pt>
                <c:pt idx="92">
                  <c:v>0.6365906997965542</c:v>
                </c:pt>
                <c:pt idx="93">
                  <c:v>0.6599566367349585</c:v>
                </c:pt>
                <c:pt idx="94">
                  <c:v>0.5951485001550846</c:v>
                </c:pt>
                <c:pt idx="95">
                  <c:v>0.712890731330191</c:v>
                </c:pt>
                <c:pt idx="96">
                  <c:v>0.7151730390584116</c:v>
                </c:pt>
                <c:pt idx="97">
                  <c:v>0.759661576029985</c:v>
                </c:pt>
                <c:pt idx="98">
                  <c:v>0.7931239498547688</c:v>
                </c:pt>
                <c:pt idx="99">
                  <c:v>0.7638985661485942</c:v>
                </c:pt>
                <c:pt idx="100">
                  <c:v>0.7796581307803632</c:v>
                </c:pt>
                <c:pt idx="101">
                  <c:v>0.7162154129089736</c:v>
                </c:pt>
                <c:pt idx="102">
                  <c:v>0.6992080399080941</c:v>
                </c:pt>
                <c:pt idx="103">
                  <c:v>0.6715777860496822</c:v>
                </c:pt>
                <c:pt idx="104">
                  <c:v>0.71192763449912</c:v>
                </c:pt>
              </c:numCache>
            </c:numRef>
          </c:xVal>
          <c:yVal>
            <c:numRef>
              <c:f>Sheet1!$B$2:$B$106</c:f>
              <c:numCache>
                <c:formatCode>General</c:formatCode>
                <c:ptCount val="105"/>
                <c:pt idx="0">
                  <c:v>0.2252832131822863</c:v>
                </c:pt>
                <c:pt idx="1">
                  <c:v>0.21076377699000967</c:v>
                </c:pt>
                <c:pt idx="2">
                  <c:v>0.19223424570337364</c:v>
                </c:pt>
                <c:pt idx="3">
                  <c:v>0.1946787800129786</c:v>
                </c:pt>
                <c:pt idx="4">
                  <c:v>0.2089210827296988</c:v>
                </c:pt>
                <c:pt idx="5">
                  <c:v>0.19696969696969696</c:v>
                </c:pt>
                <c:pt idx="6">
                  <c:v>0.20828355236957388</c:v>
                </c:pt>
                <c:pt idx="7">
                  <c:v>0.22232601588042972</c:v>
                </c:pt>
                <c:pt idx="8">
                  <c:v>0.20831084727468968</c:v>
                </c:pt>
                <c:pt idx="9">
                  <c:v>0.20292645360030806</c:v>
                </c:pt>
                <c:pt idx="10">
                  <c:v>0.21327367636092467</c:v>
                </c:pt>
                <c:pt idx="11">
                  <c:v>0.21066978193146418</c:v>
                </c:pt>
                <c:pt idx="12">
                  <c:v>0.21751512993948025</c:v>
                </c:pt>
                <c:pt idx="13">
                  <c:v>0.21278065630397236</c:v>
                </c:pt>
                <c:pt idx="14">
                  <c:v>0.21115398105927743</c:v>
                </c:pt>
                <c:pt idx="15">
                  <c:v>0.2148664343786295</c:v>
                </c:pt>
                <c:pt idx="16">
                  <c:v>0.2176933765632237</c:v>
                </c:pt>
                <c:pt idx="17">
                  <c:v>0.1866478608368594</c:v>
                </c:pt>
                <c:pt idx="18">
                  <c:v>0.17182662538699692</c:v>
                </c:pt>
                <c:pt idx="19">
                  <c:v>0.18044237485448195</c:v>
                </c:pt>
                <c:pt idx="20">
                  <c:v>0.20263901979264845</c:v>
                </c:pt>
                <c:pt idx="21">
                  <c:v>0.2169993560849968</c:v>
                </c:pt>
                <c:pt idx="22">
                  <c:v>0.21382542472173405</c:v>
                </c:pt>
                <c:pt idx="23">
                  <c:v>0.2109471094710947</c:v>
                </c:pt>
                <c:pt idx="24">
                  <c:v>0.20966084275436794</c:v>
                </c:pt>
                <c:pt idx="25">
                  <c:v>0.21213942307692307</c:v>
                </c:pt>
                <c:pt idx="26">
                  <c:v>0.20507042253521127</c:v>
                </c:pt>
                <c:pt idx="27">
                  <c:v>0.18563829787234043</c:v>
                </c:pt>
                <c:pt idx="28">
                  <c:v>0.19498607242339833</c:v>
                </c:pt>
                <c:pt idx="29">
                  <c:v>0.20945945945945946</c:v>
                </c:pt>
                <c:pt idx="30">
                  <c:v>0.21869158878504674</c:v>
                </c:pt>
                <c:pt idx="31">
                  <c:v>0.19415204678362574</c:v>
                </c:pt>
                <c:pt idx="32">
                  <c:v>0.19964136282127914</c:v>
                </c:pt>
                <c:pt idx="33">
                  <c:v>0.21741293532338307</c:v>
                </c:pt>
                <c:pt idx="34">
                  <c:v>0.2086271256739942</c:v>
                </c:pt>
                <c:pt idx="35">
                  <c:v>0.20865834633385336</c:v>
                </c:pt>
                <c:pt idx="36">
                  <c:v>0.18201284796573874</c:v>
                </c:pt>
                <c:pt idx="37">
                  <c:v>0.15424912689173456</c:v>
                </c:pt>
                <c:pt idx="38">
                  <c:v>0.14057507987220447</c:v>
                </c:pt>
                <c:pt idx="39">
                  <c:v>0.14330218068535824</c:v>
                </c:pt>
                <c:pt idx="40">
                  <c:v>0.14299470389985555</c:v>
                </c:pt>
                <c:pt idx="41">
                  <c:v>0.1412133891213389</c:v>
                </c:pt>
                <c:pt idx="42">
                  <c:v>0.13204951856946354</c:v>
                </c:pt>
                <c:pt idx="43">
                  <c:v>0.13088301210219633</c:v>
                </c:pt>
                <c:pt idx="44">
                  <c:v>0.15768025078369907</c:v>
                </c:pt>
                <c:pt idx="45">
                  <c:v>0.19207317073170732</c:v>
                </c:pt>
                <c:pt idx="46">
                  <c:v>0.20964671038713772</c:v>
                </c:pt>
                <c:pt idx="47">
                  <c:v>0.20133185349611543</c:v>
                </c:pt>
                <c:pt idx="48">
                  <c:v>0.2203778915769027</c:v>
                </c:pt>
                <c:pt idx="49">
                  <c:v>0.24030811971208485</c:v>
                </c:pt>
                <c:pt idx="50">
                  <c:v>0.21067094114953058</c:v>
                </c:pt>
                <c:pt idx="51">
                  <c:v>0.18877408545099134</c:v>
                </c:pt>
                <c:pt idx="52">
                  <c:v>0.1909344137756394</c:v>
                </c:pt>
                <c:pt idx="53">
                  <c:v>0.19433198380566802</c:v>
                </c:pt>
                <c:pt idx="54">
                  <c:v>0.18800386971944533</c:v>
                </c:pt>
                <c:pt idx="55">
                  <c:v>0.1860624785444559</c:v>
                </c:pt>
                <c:pt idx="56">
                  <c:v>0.18496293681609602</c:v>
                </c:pt>
                <c:pt idx="57">
                  <c:v>0.17580743449116393</c:v>
                </c:pt>
                <c:pt idx="58">
                  <c:v>0.19775678866587956</c:v>
                </c:pt>
                <c:pt idx="59">
                  <c:v>0.19247787610619468</c:v>
                </c:pt>
                <c:pt idx="60">
                  <c:v>0.20515411824153612</c:v>
                </c:pt>
                <c:pt idx="61">
                  <c:v>0.2045968349660889</c:v>
                </c:pt>
                <c:pt idx="62">
                  <c:v>0.1836867862969005</c:v>
                </c:pt>
                <c:pt idx="63">
                  <c:v>0.22160026341784655</c:v>
                </c:pt>
                <c:pt idx="64">
                  <c:v>0.21749024707412223</c:v>
                </c:pt>
                <c:pt idx="65">
                  <c:v>0.206286836935167</c:v>
                </c:pt>
                <c:pt idx="66">
                  <c:v>0.21261378413524057</c:v>
                </c:pt>
                <c:pt idx="67">
                  <c:v>0.21716987995634776</c:v>
                </c:pt>
                <c:pt idx="68">
                  <c:v>0.20107571369466282</c:v>
                </c:pt>
                <c:pt idx="69">
                  <c:v>0.19154355578196638</c:v>
                </c:pt>
                <c:pt idx="70">
                  <c:v>0.16666666666666666</c:v>
                </c:pt>
                <c:pt idx="71">
                  <c:v>0.18453427065026362</c:v>
                </c:pt>
                <c:pt idx="72">
                  <c:v>0.2089005235602094</c:v>
                </c:pt>
                <c:pt idx="73">
                  <c:v>0.2</c:v>
                </c:pt>
                <c:pt idx="74">
                  <c:v>0.20793085917641077</c:v>
                </c:pt>
                <c:pt idx="75">
                  <c:v>0.22150789012273525</c:v>
                </c:pt>
                <c:pt idx="76">
                  <c:v>0.2224334600760456</c:v>
                </c:pt>
                <c:pt idx="77">
                  <c:v>0.2038258575197889</c:v>
                </c:pt>
                <c:pt idx="78">
                  <c:v>0.1863395225464191</c:v>
                </c:pt>
                <c:pt idx="79">
                  <c:v>0.32501200192030727</c:v>
                </c:pt>
                <c:pt idx="80">
                  <c:v>0.314004914004914</c:v>
                </c:pt>
                <c:pt idx="81">
                  <c:v>0.22421908429610612</c:v>
                </c:pt>
                <c:pt idx="82">
                  <c:v>0.2544742729306488</c:v>
                </c:pt>
                <c:pt idx="83">
                  <c:v>0.18722786647314948</c:v>
                </c:pt>
                <c:pt idx="84">
                  <c:v>0.20583717357910905</c:v>
                </c:pt>
                <c:pt idx="85">
                  <c:v>0.20552147239263804</c:v>
                </c:pt>
                <c:pt idx="86">
                  <c:v>0.169995129079396</c:v>
                </c:pt>
                <c:pt idx="87">
                  <c:v>0.17639484978540773</c:v>
                </c:pt>
                <c:pt idx="88">
                  <c:v>0.1866840731070496</c:v>
                </c:pt>
                <c:pt idx="89">
                  <c:v>0.19306184012066366</c:v>
                </c:pt>
                <c:pt idx="90">
                  <c:v>0.15915697674418605</c:v>
                </c:pt>
                <c:pt idx="91">
                  <c:v>0.18596730245231607</c:v>
                </c:pt>
                <c:pt idx="92">
                  <c:v>0.17226197028068244</c:v>
                </c:pt>
                <c:pt idx="93">
                  <c:v>0.1582138919514884</c:v>
                </c:pt>
                <c:pt idx="94">
                  <c:v>0.17488789237668162</c:v>
                </c:pt>
                <c:pt idx="95">
                  <c:v>0.15980392156862744</c:v>
                </c:pt>
                <c:pt idx="96">
                  <c:v>0.14195478723404256</c:v>
                </c:pt>
                <c:pt idx="97">
                  <c:v>0.16513216513216514</c:v>
                </c:pt>
                <c:pt idx="98">
                  <c:v>0.17841930903928063</c:v>
                </c:pt>
                <c:pt idx="99">
                  <c:v>0.18142262580401058</c:v>
                </c:pt>
                <c:pt idx="100">
                  <c:v>0.19804007605675003</c:v>
                </c:pt>
                <c:pt idx="101">
                  <c:v>0.19300873907615482</c:v>
                </c:pt>
                <c:pt idx="102">
                  <c:v>0.16608996539792387</c:v>
                </c:pt>
                <c:pt idx="103">
                  <c:v>0.1751592356687898</c:v>
                </c:pt>
                <c:pt idx="104">
                  <c:v>0.1755130927105449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28269328564658</c:v>
                </c:pt>
                <c:pt idx="1">
                  <c:v>0.6177152686359374</c:v>
                </c:pt>
                <c:pt idx="2">
                  <c:v>0.62546291606195</c:v>
                </c:pt>
                <c:pt idx="3">
                  <c:v>0.6305871184203587</c:v>
                </c:pt>
                <c:pt idx="4">
                  <c:v>0.621528685524518</c:v>
                </c:pt>
                <c:pt idx="5">
                  <c:v>0.655428791673194</c:v>
                </c:pt>
                <c:pt idx="6">
                  <c:v>0.6916415185989433</c:v>
                </c:pt>
                <c:pt idx="7">
                  <c:v>0.7110331519848812</c:v>
                </c:pt>
                <c:pt idx="8">
                  <c:v>0.7477116927878205</c:v>
                </c:pt>
                <c:pt idx="9">
                  <c:v>0.7355834854033989</c:v>
                </c:pt>
                <c:pt idx="10">
                  <c:v>0.7617128950365636</c:v>
                </c:pt>
                <c:pt idx="11">
                  <c:v>0.7468615828696433</c:v>
                </c:pt>
                <c:pt idx="12">
                  <c:v>0.741255043411517</c:v>
                </c:pt>
                <c:pt idx="13">
                  <c:v>0.7079025171481538</c:v>
                </c:pt>
                <c:pt idx="14">
                  <c:v>0.6994093977077919</c:v>
                </c:pt>
                <c:pt idx="15">
                  <c:v>0.7157028063458518</c:v>
                </c:pt>
                <c:pt idx="16">
                  <c:v>0.7284309755251641</c:v>
                </c:pt>
                <c:pt idx="17">
                  <c:v>0.7042141824502005</c:v>
                </c:pt>
                <c:pt idx="18">
                  <c:v>0.7442508712841434</c:v>
                </c:pt>
                <c:pt idx="19">
                  <c:v>0.7635079244146804</c:v>
                </c:pt>
                <c:pt idx="20">
                  <c:v>0.7228378425174723</c:v>
                </c:pt>
                <c:pt idx="21">
                  <c:v>0.7303936363105888</c:v>
                </c:pt>
                <c:pt idx="22">
                  <c:v>0.7350949539703017</c:v>
                </c:pt>
                <c:pt idx="23">
                  <c:v>0.7012023148995035</c:v>
                </c:pt>
                <c:pt idx="24">
                  <c:v>0.7024710828476456</c:v>
                </c:pt>
                <c:pt idx="25">
                  <c:v>0.7416458023029032</c:v>
                </c:pt>
                <c:pt idx="26">
                  <c:v>0.7461123450103672</c:v>
                </c:pt>
                <c:pt idx="27">
                  <c:v>0.7702289572181048</c:v>
                </c:pt>
                <c:pt idx="28">
                  <c:v>0.7468944311801765</c:v>
                </c:pt>
                <c:pt idx="29">
                  <c:v>0.6971945516078896</c:v>
                </c:pt>
                <c:pt idx="30">
                  <c:v>0.6926241777774398</c:v>
                </c:pt>
                <c:pt idx="31">
                  <c:v>0.6809886624355601</c:v>
                </c:pt>
                <c:pt idx="32">
                  <c:v>0.6790521346810328</c:v>
                </c:pt>
                <c:pt idx="33">
                  <c:v>0.7160189045750855</c:v>
                </c:pt>
                <c:pt idx="34">
                  <c:v>0.7371426742758891</c:v>
                </c:pt>
                <c:pt idx="35">
                  <c:v>0.7024023123452344</c:v>
                </c:pt>
                <c:pt idx="36">
                  <c:v>0.6365995601106237</c:v>
                </c:pt>
                <c:pt idx="37">
                  <c:v>0.7328362935798638</c:v>
                </c:pt>
                <c:pt idx="38">
                  <c:v>0.7245021843382669</c:v>
                </c:pt>
                <c:pt idx="39">
                  <c:v>0.7310910438508497</c:v>
                </c:pt>
                <c:pt idx="40">
                  <c:v>0.7606765550547447</c:v>
                </c:pt>
                <c:pt idx="41">
                  <c:v>0.8240816770887153</c:v>
                </c:pt>
                <c:pt idx="42">
                  <c:v>0.7709222833898496</c:v>
                </c:pt>
                <c:pt idx="43">
                  <c:v>0.8168093817857004</c:v>
                </c:pt>
                <c:pt idx="44">
                  <c:v>0.8358392963200081</c:v>
                </c:pt>
                <c:pt idx="45">
                  <c:v>0.837478563152397</c:v>
                </c:pt>
                <c:pt idx="46">
                  <c:v>0.7985895652432957</c:v>
                </c:pt>
                <c:pt idx="47">
                  <c:v>0.7953768781344259</c:v>
                </c:pt>
                <c:pt idx="48">
                  <c:v>0.860573722416095</c:v>
                </c:pt>
                <c:pt idx="49">
                  <c:v>0.9179556268441684</c:v>
                </c:pt>
                <c:pt idx="50">
                  <c:v>0.8066539035170057</c:v>
                </c:pt>
                <c:pt idx="51">
                  <c:v>0.7765180519182664</c:v>
                </c:pt>
              </c:numCache>
            </c:numRef>
          </c:xVal>
          <c:yVal>
            <c:numRef>
              <c:f>Sheet1!$B$109:$B$160</c:f>
              <c:numCache>
                <c:formatCode>General</c:formatCode>
                <c:ptCount val="52"/>
                <c:pt idx="0">
                  <c:v>0.1684599865501009</c:v>
                </c:pt>
                <c:pt idx="1">
                  <c:v>0.19297583081570996</c:v>
                </c:pt>
                <c:pt idx="2">
                  <c:v>0.19219606578523057</c:v>
                </c:pt>
                <c:pt idx="3">
                  <c:v>0.19808517662594916</c:v>
                </c:pt>
                <c:pt idx="4">
                  <c:v>0.20783022319795097</c:v>
                </c:pt>
                <c:pt idx="5">
                  <c:v>0.1797872340425532</c:v>
                </c:pt>
                <c:pt idx="6">
                  <c:v>0.17739025856885146</c:v>
                </c:pt>
                <c:pt idx="7">
                  <c:v>0.16825396825396827</c:v>
                </c:pt>
                <c:pt idx="8">
                  <c:v>0.15764331210191082</c:v>
                </c:pt>
                <c:pt idx="9">
                  <c:v>0.17285648784961027</c:v>
                </c:pt>
                <c:pt idx="10">
                  <c:v>0.17847286108555657</c:v>
                </c:pt>
                <c:pt idx="11">
                  <c:v>0.18864097363083165</c:v>
                </c:pt>
                <c:pt idx="12">
                  <c:v>0.1973733583489681</c:v>
                </c:pt>
                <c:pt idx="13">
                  <c:v>0.19804088586030663</c:v>
                </c:pt>
                <c:pt idx="14">
                  <c:v>0.20276292335115864</c:v>
                </c:pt>
                <c:pt idx="15">
                  <c:v>0.18862121988723732</c:v>
                </c:pt>
                <c:pt idx="16">
                  <c:v>0.16676593210244192</c:v>
                </c:pt>
                <c:pt idx="17">
                  <c:v>0.1505056513979774</c:v>
                </c:pt>
                <c:pt idx="18">
                  <c:v>0.14204185161699429</c:v>
                </c:pt>
                <c:pt idx="19">
                  <c:v>0.15643802647412755</c:v>
                </c:pt>
                <c:pt idx="20">
                  <c:v>0.15035644847699287</c:v>
                </c:pt>
                <c:pt idx="21">
                  <c:v>0.15401459854014599</c:v>
                </c:pt>
                <c:pt idx="22">
                  <c:v>0.14606741573033707</c:v>
                </c:pt>
                <c:pt idx="23">
                  <c:v>0.14892032762472077</c:v>
                </c:pt>
                <c:pt idx="24">
                  <c:v>0.14971927635683094</c:v>
                </c:pt>
                <c:pt idx="25">
                  <c:v>0.15455140798952194</c:v>
                </c:pt>
                <c:pt idx="26">
                  <c:v>0.1382716049382716</c:v>
                </c:pt>
                <c:pt idx="27">
                  <c:v>0.13721061547148503</c:v>
                </c:pt>
                <c:pt idx="28">
                  <c:v>0.15376226826608505</c:v>
                </c:pt>
                <c:pt idx="29">
                  <c:v>0.16277561608300908</c:v>
                </c:pt>
                <c:pt idx="30">
                  <c:v>0.15</c:v>
                </c:pt>
                <c:pt idx="31">
                  <c:v>0.1557377049180328</c:v>
                </c:pt>
                <c:pt idx="32">
                  <c:v>0.1636017755231452</c:v>
                </c:pt>
                <c:pt idx="33">
                  <c:v>0.19598236158745713</c:v>
                </c:pt>
                <c:pt idx="34">
                  <c:v>0.21069306930693069</c:v>
                </c:pt>
                <c:pt idx="35">
                  <c:v>0.2084221748400853</c:v>
                </c:pt>
                <c:pt idx="36">
                  <c:v>0.1603415559772296</c:v>
                </c:pt>
                <c:pt idx="37">
                  <c:v>0.13327814569536423</c:v>
                </c:pt>
                <c:pt idx="38">
                  <c:v>0.14225232853513972</c:v>
                </c:pt>
                <c:pt idx="39">
                  <c:v>0.16263440860215053</c:v>
                </c:pt>
                <c:pt idx="40">
                  <c:v>0.13684913217623498</c:v>
                </c:pt>
                <c:pt idx="41">
                  <c:v>0.13933415536374846</c:v>
                </c:pt>
                <c:pt idx="42">
                  <c:v>0.13604972375690608</c:v>
                </c:pt>
                <c:pt idx="43">
                  <c:v>0.1276391554702495</c:v>
                </c:pt>
                <c:pt idx="44">
                  <c:v>0.125</c:v>
                </c:pt>
                <c:pt idx="45">
                  <c:v>0.14004591669399805</c:v>
                </c:pt>
                <c:pt idx="46">
                  <c:v>0.13586765223512848</c:v>
                </c:pt>
                <c:pt idx="47">
                  <c:v>0.13708609271523178</c:v>
                </c:pt>
                <c:pt idx="48">
                  <c:v>0.13293712855802314</c:v>
                </c:pt>
                <c:pt idx="49">
                  <c:v>0.1429318003658218</c:v>
                </c:pt>
                <c:pt idx="50">
                  <c:v>0.17663567795123664</c:v>
                </c:pt>
                <c:pt idx="51">
                  <c:v>0.177745241581259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10314180848137</c:v>
                </c:pt>
              </c:numCache>
            </c:numRef>
          </c:xVal>
          <c:yVal>
            <c:numRef>
              <c:f>Sheet1!$B$163:$B$164</c:f>
              <c:numCache>
                <c:formatCode>General</c:formatCode>
                <c:ptCount val="2"/>
                <c:pt idx="0">
                  <c:v>0.22176602527879116</c:v>
                </c:pt>
                <c:pt idx="1">
                  <c:v>0.2217660252787911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10314180848137</c:v>
                </c:pt>
                <c:pt idx="1">
                  <c:v>0.4710314180848137</c:v>
                </c:pt>
              </c:numCache>
            </c:numRef>
          </c:xVal>
          <c:yVal>
            <c:numRef>
              <c:f>Sheet1!$B$167:$B$168</c:f>
              <c:numCache>
                <c:formatCode>General</c:formatCode>
                <c:ptCount val="2"/>
                <c:pt idx="0">
                  <c:v>0.221766025278791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66162738758763</c:v>
                </c:pt>
              </c:numCache>
            </c:numRef>
          </c:xVal>
          <c:yVal>
            <c:numRef>
              <c:f>Sheet1!$B$171:$B$172</c:f>
              <c:numCache>
                <c:formatCode>General</c:formatCode>
                <c:ptCount val="2"/>
                <c:pt idx="0">
                  <c:v>0.18251356177135836</c:v>
                </c:pt>
                <c:pt idx="1">
                  <c:v>0.182513561771358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66162738758763</c:v>
                </c:pt>
                <c:pt idx="1">
                  <c:v>0.6466162738758763</c:v>
                </c:pt>
              </c:numCache>
            </c:numRef>
          </c:xVal>
          <c:yVal>
            <c:numRef>
              <c:f>Sheet1!$B$175:$B$176</c:f>
              <c:numCache>
                <c:formatCode>General</c:formatCode>
                <c:ptCount val="2"/>
                <c:pt idx="0">
                  <c:v>0.18251356177135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193238837812818</c:v>
                </c:pt>
              </c:numCache>
            </c:numRef>
          </c:xVal>
          <c:yVal>
            <c:numRef>
              <c:f>Sheet1!$B$179:$B$180</c:f>
              <c:numCache>
                <c:formatCode>General</c:formatCode>
                <c:ptCount val="2"/>
                <c:pt idx="0">
                  <c:v>0.14390431426692218</c:v>
                </c:pt>
                <c:pt idx="1">
                  <c:v>0.143904314266922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193238837812818</c:v>
                </c:pt>
                <c:pt idx="1">
                  <c:v>0.8193238837812818</c:v>
                </c:pt>
              </c:numCache>
            </c:numRef>
          </c:xVal>
          <c:yVal>
            <c:numRef>
              <c:f>Sheet1!$B$183:$B$184</c:f>
              <c:numCache>
                <c:formatCode>General</c:formatCode>
                <c:ptCount val="2"/>
                <c:pt idx="0">
                  <c:v>0.143904314266922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28269328564658</c:v>
                </c:pt>
                <c:pt idx="1">
                  <c:v>0.6177152686359374</c:v>
                </c:pt>
                <c:pt idx="2">
                  <c:v>0.62546291606195</c:v>
                </c:pt>
                <c:pt idx="3">
                  <c:v>0.6305871184203587</c:v>
                </c:pt>
                <c:pt idx="4">
                  <c:v>0.621528685524518</c:v>
                </c:pt>
                <c:pt idx="5">
                  <c:v>0.655428791673194</c:v>
                </c:pt>
                <c:pt idx="6">
                  <c:v>0.6916415185989433</c:v>
                </c:pt>
                <c:pt idx="7">
                  <c:v>0.7110331519848812</c:v>
                </c:pt>
                <c:pt idx="8">
                  <c:v>0.7477116927878205</c:v>
                </c:pt>
                <c:pt idx="9">
                  <c:v>0.7355834854033989</c:v>
                </c:pt>
                <c:pt idx="10">
                  <c:v>0.7617128950365636</c:v>
                </c:pt>
                <c:pt idx="11">
                  <c:v>0.7468615828696433</c:v>
                </c:pt>
                <c:pt idx="12">
                  <c:v>0.741255043411517</c:v>
                </c:pt>
                <c:pt idx="13">
                  <c:v>0.7079025171481538</c:v>
                </c:pt>
                <c:pt idx="14">
                  <c:v>0.6994093977077919</c:v>
                </c:pt>
                <c:pt idx="15">
                  <c:v>0.7157028063458518</c:v>
                </c:pt>
                <c:pt idx="16">
                  <c:v>0.7284309755251641</c:v>
                </c:pt>
                <c:pt idx="17">
                  <c:v>0.7042141824502005</c:v>
                </c:pt>
                <c:pt idx="18">
                  <c:v>0.7442508712841434</c:v>
                </c:pt>
                <c:pt idx="19">
                  <c:v>0.7635079244146804</c:v>
                </c:pt>
                <c:pt idx="20">
                  <c:v>0.7228378425174723</c:v>
                </c:pt>
                <c:pt idx="21">
                  <c:v>0.7303936363105888</c:v>
                </c:pt>
                <c:pt idx="22">
                  <c:v>0.7350949539703017</c:v>
                </c:pt>
                <c:pt idx="23">
                  <c:v>0.7012023148995035</c:v>
                </c:pt>
                <c:pt idx="24">
                  <c:v>0.7024710828476456</c:v>
                </c:pt>
                <c:pt idx="25">
                  <c:v>0.7416458023029032</c:v>
                </c:pt>
                <c:pt idx="26">
                  <c:v>0.7461123450103672</c:v>
                </c:pt>
                <c:pt idx="27">
                  <c:v>0.7702289572181048</c:v>
                </c:pt>
                <c:pt idx="28">
                  <c:v>0.7468944311801765</c:v>
                </c:pt>
                <c:pt idx="29">
                  <c:v>0.6971945516078896</c:v>
                </c:pt>
                <c:pt idx="30">
                  <c:v>0.6926241777774398</c:v>
                </c:pt>
                <c:pt idx="31">
                  <c:v>0.6809886624355601</c:v>
                </c:pt>
                <c:pt idx="32">
                  <c:v>0.6790521346810328</c:v>
                </c:pt>
                <c:pt idx="33">
                  <c:v>0.7160189045750855</c:v>
                </c:pt>
                <c:pt idx="34">
                  <c:v>0.7371426742758891</c:v>
                </c:pt>
                <c:pt idx="35">
                  <c:v>0.7024023123452344</c:v>
                </c:pt>
                <c:pt idx="36">
                  <c:v>0.6365995601106237</c:v>
                </c:pt>
                <c:pt idx="37">
                  <c:v>0.7328362935798638</c:v>
                </c:pt>
                <c:pt idx="38">
                  <c:v>0.7245021843382669</c:v>
                </c:pt>
                <c:pt idx="39">
                  <c:v>0.7310910438508497</c:v>
                </c:pt>
                <c:pt idx="40">
                  <c:v>0.7606765550547447</c:v>
                </c:pt>
                <c:pt idx="41">
                  <c:v>0.8240816770887153</c:v>
                </c:pt>
                <c:pt idx="42">
                  <c:v>0.7709222833898496</c:v>
                </c:pt>
                <c:pt idx="43">
                  <c:v>0.8168093817857004</c:v>
                </c:pt>
                <c:pt idx="44">
                  <c:v>0.8358392963200081</c:v>
                </c:pt>
                <c:pt idx="45">
                  <c:v>0.837478563152397</c:v>
                </c:pt>
                <c:pt idx="46">
                  <c:v>0.7985895652432957</c:v>
                </c:pt>
                <c:pt idx="47">
                  <c:v>0.7953768781344259</c:v>
                </c:pt>
                <c:pt idx="48">
                  <c:v>0.860573722416095</c:v>
                </c:pt>
                <c:pt idx="49">
                  <c:v>0.9179556268441684</c:v>
                </c:pt>
                <c:pt idx="50">
                  <c:v>0.8066539035170057</c:v>
                </c:pt>
                <c:pt idx="51">
                  <c:v>0.7765180519182664</c:v>
                </c:pt>
                <c:pt idx="52">
                  <c:v>0.6466162738758763</c:v>
                </c:pt>
                <c:pt idx="53">
                  <c:v>0.4710314180848137</c:v>
                </c:pt>
                <c:pt idx="54">
                  <c:v>0.8193238837812818</c:v>
                </c:pt>
              </c:numCache>
            </c:numRef>
          </c:xVal>
          <c:yVal>
            <c:numRef>
              <c:f>Sheet1!$B$187:$B$241</c:f>
              <c:numCache>
                <c:formatCode>General</c:formatCode>
                <c:ptCount val="55"/>
                <c:pt idx="0">
                  <c:v>0.16994751881495523</c:v>
                </c:pt>
                <c:pt idx="1">
                  <c:v>0.1889744586886799</c:v>
                </c:pt>
                <c:pt idx="2">
                  <c:v>0.18724245141226709</c:v>
                </c:pt>
                <c:pt idx="3">
                  <c:v>0.1860969222880613</c:v>
                </c:pt>
                <c:pt idx="4">
                  <c:v>0.1881219591574233</c:v>
                </c:pt>
                <c:pt idx="5">
                  <c:v>0.18054349987912185</c:v>
                </c:pt>
                <c:pt idx="6">
                  <c:v>0.17244804804898767</c:v>
                </c:pt>
                <c:pt idx="7">
                  <c:v>0.16811299660960388</c:v>
                </c:pt>
                <c:pt idx="8">
                  <c:v>0.15991341084301328</c:v>
                </c:pt>
                <c:pt idx="9">
                  <c:v>0.16262470399880843</c:v>
                </c:pt>
                <c:pt idx="10">
                  <c:v>0.1567834046824424</c:v>
                </c:pt>
                <c:pt idx="11">
                  <c:v>0.16010345518590505</c:v>
                </c:pt>
                <c:pt idx="12">
                  <c:v>0.1613568120570976</c:v>
                </c:pt>
                <c:pt idx="13">
                  <c:v>0.16881285838942597</c:v>
                </c:pt>
                <c:pt idx="14">
                  <c:v>0.1707115179258371</c:v>
                </c:pt>
                <c:pt idx="15">
                  <c:v>0.16706908290434427</c:v>
                </c:pt>
                <c:pt idx="16">
                  <c:v>0.16422366668677535</c:v>
                </c:pt>
                <c:pt idx="17">
                  <c:v>0.16963739546286746</c:v>
                </c:pt>
                <c:pt idx="18">
                  <c:v>0.16068708673417598</c:v>
                </c:pt>
                <c:pt idx="19">
                  <c:v>0.15638212107035718</c:v>
                </c:pt>
                <c:pt idx="20">
                  <c:v>0.16547402651016405</c:v>
                </c:pt>
                <c:pt idx="21">
                  <c:v>0.16378490862583514</c:v>
                </c:pt>
                <c:pt idx="22">
                  <c:v>0.16273391650556757</c:v>
                </c:pt>
                <c:pt idx="23">
                  <c:v>0.17031070649866453</c:v>
                </c:pt>
                <c:pt idx="24">
                  <c:v>0.170027070034919</c:v>
                </c:pt>
                <c:pt idx="25">
                  <c:v>0.161269456863193</c:v>
                </c:pt>
                <c:pt idx="26">
                  <c:v>0.1602709493105955</c:v>
                </c:pt>
                <c:pt idx="27">
                  <c:v>0.15487961623495952</c:v>
                </c:pt>
                <c:pt idx="28">
                  <c:v>0.16009611185834596</c:v>
                </c:pt>
                <c:pt idx="29">
                  <c:v>0.17120665268742752</c:v>
                </c:pt>
                <c:pt idx="30">
                  <c:v>0.17222837196490628</c:v>
                </c:pt>
                <c:pt idx="31">
                  <c:v>0.17482952249858774</c:v>
                </c:pt>
                <c:pt idx="32">
                  <c:v>0.1752624384506683</c:v>
                </c:pt>
                <c:pt idx="33">
                  <c:v>0.16699841830088594</c:v>
                </c:pt>
                <c:pt idx="34">
                  <c:v>0.16227614316169703</c:v>
                </c:pt>
                <c:pt idx="35">
                  <c:v>0.17004244386442222</c:v>
                </c:pt>
                <c:pt idx="36">
                  <c:v>0.18475282488869033</c:v>
                </c:pt>
                <c:pt idx="37">
                  <c:v>0.1632388460688372</c:v>
                </c:pt>
                <c:pt idx="38">
                  <c:v>0.16510195845059078</c:v>
                </c:pt>
                <c:pt idx="39">
                  <c:v>0.16362900130740177</c:v>
                </c:pt>
                <c:pt idx="40">
                  <c:v>0.15701508125349045</c:v>
                </c:pt>
                <c:pt idx="41">
                  <c:v>0.14284069686475756</c:v>
                </c:pt>
                <c:pt idx="42">
                  <c:v>0.15472462131735942</c:v>
                </c:pt>
                <c:pt idx="43">
                  <c:v>0.14446643790438654</c:v>
                </c:pt>
                <c:pt idx="44">
                  <c:v>0.14021224968045262</c:v>
                </c:pt>
                <c:pt idx="45">
                  <c:v>0.1398457872015139</c:v>
                </c:pt>
                <c:pt idx="46">
                  <c:v>0.14853952655842104</c:v>
                </c:pt>
                <c:pt idx="47">
                  <c:v>0.14925773134284603</c:v>
                </c:pt>
                <c:pt idx="48">
                  <c:v>0.13468280265986643</c:v>
                </c:pt>
                <c:pt idx="49">
                  <c:v>0.12185492465522707</c:v>
                </c:pt>
                <c:pt idx="50">
                  <c:v>0.14673672219710945</c:v>
                </c:pt>
                <c:pt idx="51">
                  <c:v>0.15347367231627307</c:v>
                </c:pt>
                <c:pt idx="52">
                  <c:v>0.18251356177135836</c:v>
                </c:pt>
                <c:pt idx="53">
                  <c:v>0.22176602527879116</c:v>
                </c:pt>
                <c:pt idx="54">
                  <c:v>0.143904314266922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001440230436873"/>
          <c:min val="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5.2469</c:v>
                </c:pt>
                <c:pt idx="1">
                  <c:v>927.8379</c:v>
                </c:pt>
                <c:pt idx="2">
                  <c:v>1006.9917</c:v>
                </c:pt>
                <c:pt idx="3">
                  <c:v>1029.135</c:v>
                </c:pt>
                <c:pt idx="4">
                  <c:v>1044.8741</c:v>
                </c:pt>
                <c:pt idx="5">
                  <c:v>1018.5227</c:v>
                </c:pt>
                <c:pt idx="6">
                  <c:v>966.3155</c:v>
                </c:pt>
                <c:pt idx="7">
                  <c:v>992.4706</c:v>
                </c:pt>
                <c:pt idx="8">
                  <c:v>989.4482</c:v>
                </c:pt>
                <c:pt idx="9">
                  <c:v>969.575</c:v>
                </c:pt>
                <c:pt idx="10">
                  <c:v>943.6241</c:v>
                </c:pt>
                <c:pt idx="11">
                  <c:v>1001.8262</c:v>
                </c:pt>
                <c:pt idx="12">
                  <c:v>983.9427</c:v>
                </c:pt>
                <c:pt idx="13">
                  <c:v>983.237</c:v>
                </c:pt>
                <c:pt idx="14">
                  <c:v>968.588</c:v>
                </c:pt>
                <c:pt idx="15">
                  <c:v>963.1964</c:v>
                </c:pt>
                <c:pt idx="16">
                  <c:v>976.0468</c:v>
                </c:pt>
                <c:pt idx="17">
                  <c:v>975.4484</c:v>
                </c:pt>
                <c:pt idx="18">
                  <c:v>1041.3994</c:v>
                </c:pt>
                <c:pt idx="19">
                  <c:v>1035.6774</c:v>
                </c:pt>
                <c:pt idx="20">
                  <c:v>1013.5558</c:v>
                </c:pt>
                <c:pt idx="21">
                  <c:v>1018.9288</c:v>
                </c:pt>
                <c:pt idx="22">
                  <c:v>990.1288</c:v>
                </c:pt>
                <c:pt idx="23">
                  <c:v>993.8163</c:v>
                </c:pt>
                <c:pt idx="24">
                  <c:v>985.6446</c:v>
                </c:pt>
                <c:pt idx="25">
                  <c:v>977.3116</c:v>
                </c:pt>
                <c:pt idx="26">
                  <c:v>977.5879</c:v>
                </c:pt>
                <c:pt idx="27">
                  <c:v>999.3037</c:v>
                </c:pt>
                <c:pt idx="28">
                  <c:v>979.7914</c:v>
                </c:pt>
                <c:pt idx="29">
                  <c:v>870.8802</c:v>
                </c:pt>
                <c:pt idx="30">
                  <c:v>880.8746</c:v>
                </c:pt>
                <c:pt idx="31">
                  <c:v>937.6054</c:v>
                </c:pt>
                <c:pt idx="32">
                  <c:v>925.3144</c:v>
                </c:pt>
                <c:pt idx="33">
                  <c:v>908.1625</c:v>
                </c:pt>
                <c:pt idx="34">
                  <c:v>975.3121</c:v>
                </c:pt>
                <c:pt idx="35">
                  <c:v>1026.6262</c:v>
                </c:pt>
                <c:pt idx="36">
                  <c:v>1105.2765</c:v>
                </c:pt>
                <c:pt idx="37">
                  <c:v>1117.5358</c:v>
                </c:pt>
                <c:pt idx="38">
                  <c:v>1160.3182</c:v>
                </c:pt>
                <c:pt idx="39">
                  <c:v>1159.413</c:v>
                </c:pt>
                <c:pt idx="40">
                  <c:v>1194.9024</c:v>
                </c:pt>
                <c:pt idx="41">
                  <c:v>1263.3852</c:v>
                </c:pt>
                <c:pt idx="42">
                  <c:v>1314.0694</c:v>
                </c:pt>
                <c:pt idx="43">
                  <c:v>1330.5719</c:v>
                </c:pt>
                <c:pt idx="44">
                  <c:v>1138.7336</c:v>
                </c:pt>
                <c:pt idx="45">
                  <c:v>1041.5807</c:v>
                </c:pt>
                <c:pt idx="46">
                  <c:v>1030.0525</c:v>
                </c:pt>
                <c:pt idx="47">
                  <c:v>1015.8908</c:v>
                </c:pt>
                <c:pt idx="48">
                  <c:v>1011.0329</c:v>
                </c:pt>
                <c:pt idx="49">
                  <c:v>995.8339</c:v>
                </c:pt>
                <c:pt idx="50">
                  <c:v>1000.6</c:v>
                </c:pt>
                <c:pt idx="51">
                  <c:v>1005.503</c:v>
                </c:pt>
                <c:pt idx="52">
                  <c:v>1042.0279</c:v>
                </c:pt>
                <c:pt idx="53">
                  <c:v>1107.5747</c:v>
                </c:pt>
                <c:pt idx="54">
                  <c:v>1071.1166</c:v>
                </c:pt>
                <c:pt idx="55">
                  <c:v>1080.9059</c:v>
                </c:pt>
                <c:pt idx="56">
                  <c:v>1111.8664</c:v>
                </c:pt>
                <c:pt idx="57">
                  <c:v>1114.3189</c:v>
                </c:pt>
                <c:pt idx="58">
                  <c:v>1103.5746</c:v>
                </c:pt>
                <c:pt idx="59">
                  <c:v>1085.0414</c:v>
                </c:pt>
                <c:pt idx="60">
                  <c:v>1137.2118</c:v>
                </c:pt>
                <c:pt idx="61">
                  <c:v>1126.4659</c:v>
                </c:pt>
                <c:pt idx="62">
                  <c:v>1106.0941</c:v>
                </c:pt>
                <c:pt idx="63">
                  <c:v>1114.6389</c:v>
                </c:pt>
                <c:pt idx="64">
                  <c:v>1119.7055</c:v>
                </c:pt>
                <c:pt idx="65">
                  <c:v>1116.8905</c:v>
                </c:pt>
                <c:pt idx="66">
                  <c:v>1026.3119</c:v>
                </c:pt>
                <c:pt idx="67">
                  <c:v>1009.8626</c:v>
                </c:pt>
                <c:pt idx="68">
                  <c:v>944.9733</c:v>
                </c:pt>
                <c:pt idx="69">
                  <c:v>961.4973</c:v>
                </c:pt>
                <c:pt idx="70">
                  <c:v>936.0779</c:v>
                </c:pt>
                <c:pt idx="71">
                  <c:v>990.8127</c:v>
                </c:pt>
                <c:pt idx="72">
                  <c:v>990.1404</c:v>
                </c:pt>
                <c:pt idx="73">
                  <c:v>1032.0249</c:v>
                </c:pt>
                <c:pt idx="74">
                  <c:v>1038.6039</c:v>
                </c:pt>
                <c:pt idx="75">
                  <c:v>979.8496</c:v>
                </c:pt>
                <c:pt idx="76">
                  <c:v>1010.4217</c:v>
                </c:pt>
                <c:pt idx="77">
                  <c:v>1031.1715</c:v>
                </c:pt>
                <c:pt idx="78">
                  <c:v>1093.0854</c:v>
                </c:pt>
                <c:pt idx="79">
                  <c:v>532.2585</c:v>
                </c:pt>
                <c:pt idx="80">
                  <c:v>529.6729</c:v>
                </c:pt>
                <c:pt idx="81">
                  <c:v>767.2538</c:v>
                </c:pt>
                <c:pt idx="82">
                  <c:v>668.2044</c:v>
                </c:pt>
                <c:pt idx="83">
                  <c:v>814.186</c:v>
                </c:pt>
                <c:pt idx="84">
                  <c:v>850.9328</c:v>
                </c:pt>
                <c:pt idx="85">
                  <c:v>895.8567</c:v>
                </c:pt>
                <c:pt idx="86">
                  <c:v>1124.5444</c:v>
                </c:pt>
                <c:pt idx="87">
                  <c:v>1204.5255</c:v>
                </c:pt>
                <c:pt idx="88">
                  <c:v>1094.5874</c:v>
                </c:pt>
                <c:pt idx="89">
                  <c:v>946.1328</c:v>
                </c:pt>
                <c:pt idx="90">
                  <c:v>1128.5982</c:v>
                </c:pt>
                <c:pt idx="91">
                  <c:v>998.4762</c:v>
                </c:pt>
                <c:pt idx="92">
                  <c:v>1139.9105</c:v>
                </c:pt>
                <c:pt idx="93">
                  <c:v>1205.4564</c:v>
                </c:pt>
                <c:pt idx="94">
                  <c:v>1127.4786</c:v>
                </c:pt>
                <c:pt idx="95">
                  <c:v>1251.8558</c:v>
                </c:pt>
                <c:pt idx="96">
                  <c:v>1195.2225</c:v>
                </c:pt>
                <c:pt idx="97">
                  <c:v>1194.7032</c:v>
                </c:pt>
                <c:pt idx="98">
                  <c:v>1204.2016</c:v>
                </c:pt>
                <c:pt idx="99">
                  <c:v>1123.3243</c:v>
                </c:pt>
                <c:pt idx="100">
                  <c:v>1161.127</c:v>
                </c:pt>
                <c:pt idx="101">
                  <c:v>1140.9858</c:v>
                </c:pt>
                <c:pt idx="102">
                  <c:v>1143.8896</c:v>
                </c:pt>
                <c:pt idx="103">
                  <c:v>1048.2248</c:v>
                </c:pt>
                <c:pt idx="104">
                  <c:v>1162.8448</c:v>
                </c:pt>
              </c:numCache>
            </c:numRef>
          </c:xVal>
          <c:yVal>
            <c:numRef>
              <c:f>Sheet1!$B$2:$B$106</c:f>
              <c:numCache>
                <c:formatCode>General</c:formatCode>
                <c:ptCount val="105"/>
                <c:pt idx="0">
                  <c:v>0.2252832131822863</c:v>
                </c:pt>
                <c:pt idx="1">
                  <c:v>0.21076377699000967</c:v>
                </c:pt>
                <c:pt idx="2">
                  <c:v>0.19223424570337364</c:v>
                </c:pt>
                <c:pt idx="3">
                  <c:v>0.1946787800129786</c:v>
                </c:pt>
                <c:pt idx="4">
                  <c:v>0.2089210827296988</c:v>
                </c:pt>
                <c:pt idx="5">
                  <c:v>0.19696969696969696</c:v>
                </c:pt>
                <c:pt idx="6">
                  <c:v>0.20828355236957388</c:v>
                </c:pt>
                <c:pt idx="7">
                  <c:v>0.22232601588042972</c:v>
                </c:pt>
                <c:pt idx="8">
                  <c:v>0.20831084727468968</c:v>
                </c:pt>
                <c:pt idx="9">
                  <c:v>0.20292645360030806</c:v>
                </c:pt>
                <c:pt idx="10">
                  <c:v>0.21327367636092467</c:v>
                </c:pt>
                <c:pt idx="11">
                  <c:v>0.21066978193146418</c:v>
                </c:pt>
                <c:pt idx="12">
                  <c:v>0.21751512993948025</c:v>
                </c:pt>
                <c:pt idx="13">
                  <c:v>0.21278065630397236</c:v>
                </c:pt>
                <c:pt idx="14">
                  <c:v>0.21115398105927743</c:v>
                </c:pt>
                <c:pt idx="15">
                  <c:v>0.2148664343786295</c:v>
                </c:pt>
                <c:pt idx="16">
                  <c:v>0.2176933765632237</c:v>
                </c:pt>
                <c:pt idx="17">
                  <c:v>0.1866478608368594</c:v>
                </c:pt>
                <c:pt idx="18">
                  <c:v>0.17182662538699692</c:v>
                </c:pt>
                <c:pt idx="19">
                  <c:v>0.18044237485448195</c:v>
                </c:pt>
                <c:pt idx="20">
                  <c:v>0.20263901979264845</c:v>
                </c:pt>
                <c:pt idx="21">
                  <c:v>0.2169993560849968</c:v>
                </c:pt>
                <c:pt idx="22">
                  <c:v>0.21382542472173405</c:v>
                </c:pt>
                <c:pt idx="23">
                  <c:v>0.2109471094710947</c:v>
                </c:pt>
                <c:pt idx="24">
                  <c:v>0.20966084275436794</c:v>
                </c:pt>
                <c:pt idx="25">
                  <c:v>0.21213942307692307</c:v>
                </c:pt>
                <c:pt idx="26">
                  <c:v>0.20507042253521127</c:v>
                </c:pt>
                <c:pt idx="27">
                  <c:v>0.18563829787234043</c:v>
                </c:pt>
                <c:pt idx="28">
                  <c:v>0.19498607242339833</c:v>
                </c:pt>
                <c:pt idx="29">
                  <c:v>0.20945945945945946</c:v>
                </c:pt>
                <c:pt idx="30">
                  <c:v>0.21869158878504674</c:v>
                </c:pt>
                <c:pt idx="31">
                  <c:v>0.19415204678362574</c:v>
                </c:pt>
                <c:pt idx="32">
                  <c:v>0.19964136282127914</c:v>
                </c:pt>
                <c:pt idx="33">
                  <c:v>0.21741293532338307</c:v>
                </c:pt>
                <c:pt idx="34">
                  <c:v>0.2086271256739942</c:v>
                </c:pt>
                <c:pt idx="35">
                  <c:v>0.20865834633385336</c:v>
                </c:pt>
                <c:pt idx="36">
                  <c:v>0.18201284796573874</c:v>
                </c:pt>
                <c:pt idx="37">
                  <c:v>0.15424912689173456</c:v>
                </c:pt>
                <c:pt idx="38">
                  <c:v>0.14057507987220447</c:v>
                </c:pt>
                <c:pt idx="39">
                  <c:v>0.14330218068535824</c:v>
                </c:pt>
                <c:pt idx="40">
                  <c:v>0.14299470389985555</c:v>
                </c:pt>
                <c:pt idx="41">
                  <c:v>0.1412133891213389</c:v>
                </c:pt>
                <c:pt idx="42">
                  <c:v>0.13204951856946354</c:v>
                </c:pt>
                <c:pt idx="43">
                  <c:v>0.13088301210219633</c:v>
                </c:pt>
                <c:pt idx="44">
                  <c:v>0.15768025078369907</c:v>
                </c:pt>
                <c:pt idx="45">
                  <c:v>0.19207317073170732</c:v>
                </c:pt>
                <c:pt idx="46">
                  <c:v>0.20964671038713772</c:v>
                </c:pt>
                <c:pt idx="47">
                  <c:v>0.20133185349611543</c:v>
                </c:pt>
                <c:pt idx="48">
                  <c:v>0.2203778915769027</c:v>
                </c:pt>
                <c:pt idx="49">
                  <c:v>0.24030811971208485</c:v>
                </c:pt>
                <c:pt idx="50">
                  <c:v>0.21067094114953058</c:v>
                </c:pt>
                <c:pt idx="51">
                  <c:v>0.18877408545099134</c:v>
                </c:pt>
                <c:pt idx="52">
                  <c:v>0.1909344137756394</c:v>
                </c:pt>
                <c:pt idx="53">
                  <c:v>0.19433198380566802</c:v>
                </c:pt>
                <c:pt idx="54">
                  <c:v>0.18800386971944533</c:v>
                </c:pt>
                <c:pt idx="55">
                  <c:v>0.1860624785444559</c:v>
                </c:pt>
                <c:pt idx="56">
                  <c:v>0.18496293681609602</c:v>
                </c:pt>
                <c:pt idx="57">
                  <c:v>0.17580743449116393</c:v>
                </c:pt>
                <c:pt idx="58">
                  <c:v>0.19775678866587956</c:v>
                </c:pt>
                <c:pt idx="59">
                  <c:v>0.19247787610619468</c:v>
                </c:pt>
                <c:pt idx="60">
                  <c:v>0.20515411824153612</c:v>
                </c:pt>
                <c:pt idx="61">
                  <c:v>0.2045968349660889</c:v>
                </c:pt>
                <c:pt idx="62">
                  <c:v>0.1836867862969005</c:v>
                </c:pt>
                <c:pt idx="63">
                  <c:v>0.22160026341784655</c:v>
                </c:pt>
                <c:pt idx="64">
                  <c:v>0.21749024707412223</c:v>
                </c:pt>
                <c:pt idx="65">
                  <c:v>0.206286836935167</c:v>
                </c:pt>
                <c:pt idx="66">
                  <c:v>0.21261378413524057</c:v>
                </c:pt>
                <c:pt idx="67">
                  <c:v>0.21716987995634776</c:v>
                </c:pt>
                <c:pt idx="68">
                  <c:v>0.20107571369466282</c:v>
                </c:pt>
                <c:pt idx="69">
                  <c:v>0.19154355578196638</c:v>
                </c:pt>
                <c:pt idx="70">
                  <c:v>0.16666666666666666</c:v>
                </c:pt>
                <c:pt idx="71">
                  <c:v>0.18453427065026362</c:v>
                </c:pt>
                <c:pt idx="72">
                  <c:v>0.2089005235602094</c:v>
                </c:pt>
                <c:pt idx="73">
                  <c:v>0.2</c:v>
                </c:pt>
                <c:pt idx="74">
                  <c:v>0.20793085917641077</c:v>
                </c:pt>
                <c:pt idx="75">
                  <c:v>0.22150789012273525</c:v>
                </c:pt>
                <c:pt idx="76">
                  <c:v>0.2224334600760456</c:v>
                </c:pt>
                <c:pt idx="77">
                  <c:v>0.2038258575197889</c:v>
                </c:pt>
                <c:pt idx="78">
                  <c:v>0.1863395225464191</c:v>
                </c:pt>
                <c:pt idx="79">
                  <c:v>0.32501200192030727</c:v>
                </c:pt>
                <c:pt idx="80">
                  <c:v>0.314004914004914</c:v>
                </c:pt>
                <c:pt idx="81">
                  <c:v>0.22421908429610612</c:v>
                </c:pt>
                <c:pt idx="82">
                  <c:v>0.2544742729306488</c:v>
                </c:pt>
                <c:pt idx="83">
                  <c:v>0.18722786647314948</c:v>
                </c:pt>
                <c:pt idx="84">
                  <c:v>0.20583717357910905</c:v>
                </c:pt>
                <c:pt idx="85">
                  <c:v>0.20552147239263804</c:v>
                </c:pt>
                <c:pt idx="86">
                  <c:v>0.169995129079396</c:v>
                </c:pt>
                <c:pt idx="87">
                  <c:v>0.17639484978540773</c:v>
                </c:pt>
                <c:pt idx="88">
                  <c:v>0.1866840731070496</c:v>
                </c:pt>
                <c:pt idx="89">
                  <c:v>0.19306184012066366</c:v>
                </c:pt>
                <c:pt idx="90">
                  <c:v>0.15915697674418605</c:v>
                </c:pt>
                <c:pt idx="91">
                  <c:v>0.18596730245231607</c:v>
                </c:pt>
                <c:pt idx="92">
                  <c:v>0.17226197028068244</c:v>
                </c:pt>
                <c:pt idx="93">
                  <c:v>0.1582138919514884</c:v>
                </c:pt>
                <c:pt idx="94">
                  <c:v>0.17488789237668162</c:v>
                </c:pt>
                <c:pt idx="95">
                  <c:v>0.15980392156862744</c:v>
                </c:pt>
                <c:pt idx="96">
                  <c:v>0.14195478723404256</c:v>
                </c:pt>
                <c:pt idx="97">
                  <c:v>0.16513216513216514</c:v>
                </c:pt>
                <c:pt idx="98">
                  <c:v>0.17841930903928063</c:v>
                </c:pt>
                <c:pt idx="99">
                  <c:v>0.18142262580401058</c:v>
                </c:pt>
                <c:pt idx="100">
                  <c:v>0.19804007605675003</c:v>
                </c:pt>
                <c:pt idx="101">
                  <c:v>0.19300873907615482</c:v>
                </c:pt>
                <c:pt idx="102">
                  <c:v>0.16608996539792387</c:v>
                </c:pt>
                <c:pt idx="103">
                  <c:v>0.1751592356687898</c:v>
                </c:pt>
                <c:pt idx="104">
                  <c:v>0.1755130927105449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0.7725</c:v>
                </c:pt>
                <c:pt idx="1">
                  <c:v>1147.9413</c:v>
                </c:pt>
                <c:pt idx="2">
                  <c:v>1134.1611</c:v>
                </c:pt>
                <c:pt idx="3">
                  <c:v>1165.7333</c:v>
                </c:pt>
                <c:pt idx="4">
                  <c:v>1167.5458</c:v>
                </c:pt>
                <c:pt idx="5">
                  <c:v>1176.931</c:v>
                </c:pt>
                <c:pt idx="6">
                  <c:v>1128.1407</c:v>
                </c:pt>
                <c:pt idx="7">
                  <c:v>1197.9387</c:v>
                </c:pt>
                <c:pt idx="8">
                  <c:v>1296.2626</c:v>
                </c:pt>
                <c:pt idx="9">
                  <c:v>1228.7533</c:v>
                </c:pt>
                <c:pt idx="10">
                  <c:v>1279.9304</c:v>
                </c:pt>
                <c:pt idx="11">
                  <c:v>1102.5453</c:v>
                </c:pt>
                <c:pt idx="12">
                  <c:v>1150.8688</c:v>
                </c:pt>
                <c:pt idx="13">
                  <c:v>1201.572</c:v>
                </c:pt>
                <c:pt idx="14">
                  <c:v>1182.0044</c:v>
                </c:pt>
                <c:pt idx="15">
                  <c:v>1233.2391</c:v>
                </c:pt>
                <c:pt idx="16">
                  <c:v>1278.0143</c:v>
                </c:pt>
                <c:pt idx="17">
                  <c:v>1217.8735</c:v>
                </c:pt>
                <c:pt idx="18">
                  <c:v>1271.1563</c:v>
                </c:pt>
                <c:pt idx="19">
                  <c:v>1379.45</c:v>
                </c:pt>
                <c:pt idx="20">
                  <c:v>1381.8319</c:v>
                </c:pt>
                <c:pt idx="21">
                  <c:v>1366.8531</c:v>
                </c:pt>
                <c:pt idx="22">
                  <c:v>1353.5865</c:v>
                </c:pt>
                <c:pt idx="23">
                  <c:v>1302.53</c:v>
                </c:pt>
                <c:pt idx="24">
                  <c:v>1292.9583</c:v>
                </c:pt>
                <c:pt idx="25">
                  <c:v>1226.25</c:v>
                </c:pt>
                <c:pt idx="26">
                  <c:v>1282.9598</c:v>
                </c:pt>
                <c:pt idx="27">
                  <c:v>1316.6749</c:v>
                </c:pt>
                <c:pt idx="28">
                  <c:v>1299.4184</c:v>
                </c:pt>
                <c:pt idx="29">
                  <c:v>1305.6255</c:v>
                </c:pt>
                <c:pt idx="30">
                  <c:v>1274.9954</c:v>
                </c:pt>
                <c:pt idx="31">
                  <c:v>1231.1244</c:v>
                </c:pt>
                <c:pt idx="32">
                  <c:v>1248.5388</c:v>
                </c:pt>
                <c:pt idx="33">
                  <c:v>1282.5075</c:v>
                </c:pt>
                <c:pt idx="34">
                  <c:v>1306.0545</c:v>
                </c:pt>
                <c:pt idx="35">
                  <c:v>1279.5422</c:v>
                </c:pt>
                <c:pt idx="36">
                  <c:v>1299.858</c:v>
                </c:pt>
                <c:pt idx="37">
                  <c:v>1481.646</c:v>
                </c:pt>
                <c:pt idx="38">
                  <c:v>1435.6786</c:v>
                </c:pt>
                <c:pt idx="39">
                  <c:v>1367.5289</c:v>
                </c:pt>
                <c:pt idx="40">
                  <c:v>1428.8537</c:v>
                </c:pt>
                <c:pt idx="41">
                  <c:v>1507.1062</c:v>
                </c:pt>
                <c:pt idx="42">
                  <c:v>1488.4518</c:v>
                </c:pt>
                <c:pt idx="43">
                  <c:v>1419.5639</c:v>
                </c:pt>
                <c:pt idx="44">
                  <c:v>1364.8241</c:v>
                </c:pt>
                <c:pt idx="45">
                  <c:v>1291.7096</c:v>
                </c:pt>
                <c:pt idx="46">
                  <c:v>1281.3808</c:v>
                </c:pt>
                <c:pt idx="47">
                  <c:v>1238.2778</c:v>
                </c:pt>
                <c:pt idx="48">
                  <c:v>1260.2165</c:v>
                </c:pt>
                <c:pt idx="49">
                  <c:v>1313.872</c:v>
                </c:pt>
                <c:pt idx="50">
                  <c:v>1146.3962</c:v>
                </c:pt>
                <c:pt idx="51">
                  <c:v>1091.9028</c:v>
                </c:pt>
              </c:numCache>
            </c:numRef>
          </c:xVal>
          <c:yVal>
            <c:numRef>
              <c:f>Sheet1!$B$109:$B$160</c:f>
              <c:numCache>
                <c:formatCode>General</c:formatCode>
                <c:ptCount val="52"/>
                <c:pt idx="0">
                  <c:v>0.1684599865501009</c:v>
                </c:pt>
                <c:pt idx="1">
                  <c:v>0.19297583081570996</c:v>
                </c:pt>
                <c:pt idx="2">
                  <c:v>0.19219606578523057</c:v>
                </c:pt>
                <c:pt idx="3">
                  <c:v>0.19808517662594916</c:v>
                </c:pt>
                <c:pt idx="4">
                  <c:v>0.20783022319795097</c:v>
                </c:pt>
                <c:pt idx="5">
                  <c:v>0.1797872340425532</c:v>
                </c:pt>
                <c:pt idx="6">
                  <c:v>0.17739025856885146</c:v>
                </c:pt>
                <c:pt idx="7">
                  <c:v>0.16825396825396827</c:v>
                </c:pt>
                <c:pt idx="8">
                  <c:v>0.15764331210191082</c:v>
                </c:pt>
                <c:pt idx="9">
                  <c:v>0.17285648784961027</c:v>
                </c:pt>
                <c:pt idx="10">
                  <c:v>0.17847286108555657</c:v>
                </c:pt>
                <c:pt idx="11">
                  <c:v>0.18864097363083165</c:v>
                </c:pt>
                <c:pt idx="12">
                  <c:v>0.1973733583489681</c:v>
                </c:pt>
                <c:pt idx="13">
                  <c:v>0.19804088586030663</c:v>
                </c:pt>
                <c:pt idx="14">
                  <c:v>0.20276292335115864</c:v>
                </c:pt>
                <c:pt idx="15">
                  <c:v>0.18862121988723732</c:v>
                </c:pt>
                <c:pt idx="16">
                  <c:v>0.16676593210244192</c:v>
                </c:pt>
                <c:pt idx="17">
                  <c:v>0.1505056513979774</c:v>
                </c:pt>
                <c:pt idx="18">
                  <c:v>0.14204185161699429</c:v>
                </c:pt>
                <c:pt idx="19">
                  <c:v>0.15643802647412755</c:v>
                </c:pt>
                <c:pt idx="20">
                  <c:v>0.15035644847699287</c:v>
                </c:pt>
                <c:pt idx="21">
                  <c:v>0.15401459854014599</c:v>
                </c:pt>
                <c:pt idx="22">
                  <c:v>0.14606741573033707</c:v>
                </c:pt>
                <c:pt idx="23">
                  <c:v>0.14892032762472077</c:v>
                </c:pt>
                <c:pt idx="24">
                  <c:v>0.14971927635683094</c:v>
                </c:pt>
                <c:pt idx="25">
                  <c:v>0.15455140798952194</c:v>
                </c:pt>
                <c:pt idx="26">
                  <c:v>0.1382716049382716</c:v>
                </c:pt>
                <c:pt idx="27">
                  <c:v>0.13721061547148503</c:v>
                </c:pt>
                <c:pt idx="28">
                  <c:v>0.15376226826608505</c:v>
                </c:pt>
                <c:pt idx="29">
                  <c:v>0.16277561608300908</c:v>
                </c:pt>
                <c:pt idx="30">
                  <c:v>0.15</c:v>
                </c:pt>
                <c:pt idx="31">
                  <c:v>0.1557377049180328</c:v>
                </c:pt>
                <c:pt idx="32">
                  <c:v>0.1636017755231452</c:v>
                </c:pt>
                <c:pt idx="33">
                  <c:v>0.19598236158745713</c:v>
                </c:pt>
                <c:pt idx="34">
                  <c:v>0.21069306930693069</c:v>
                </c:pt>
                <c:pt idx="35">
                  <c:v>0.2084221748400853</c:v>
                </c:pt>
                <c:pt idx="36">
                  <c:v>0.1603415559772296</c:v>
                </c:pt>
                <c:pt idx="37">
                  <c:v>0.13327814569536423</c:v>
                </c:pt>
                <c:pt idx="38">
                  <c:v>0.14225232853513972</c:v>
                </c:pt>
                <c:pt idx="39">
                  <c:v>0.16263440860215053</c:v>
                </c:pt>
                <c:pt idx="40">
                  <c:v>0.13684913217623498</c:v>
                </c:pt>
                <c:pt idx="41">
                  <c:v>0.13933415536374846</c:v>
                </c:pt>
                <c:pt idx="42">
                  <c:v>0.13604972375690608</c:v>
                </c:pt>
                <c:pt idx="43">
                  <c:v>0.1276391554702495</c:v>
                </c:pt>
                <c:pt idx="44">
                  <c:v>0.125</c:v>
                </c:pt>
                <c:pt idx="45">
                  <c:v>0.14004591669399805</c:v>
                </c:pt>
                <c:pt idx="46">
                  <c:v>0.13586765223512848</c:v>
                </c:pt>
                <c:pt idx="47">
                  <c:v>0.13708609271523178</c:v>
                </c:pt>
                <c:pt idx="48">
                  <c:v>0.13293712855802314</c:v>
                </c:pt>
                <c:pt idx="49">
                  <c:v>0.1429318003658218</c:v>
                </c:pt>
                <c:pt idx="50">
                  <c:v>0.17663567795123664</c:v>
                </c:pt>
                <c:pt idx="51">
                  <c:v>0.177745241581259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1.5134038556735</c:v>
                </c:pt>
              </c:numCache>
            </c:numRef>
          </c:xVal>
          <c:yVal>
            <c:numRef>
              <c:f>Sheet1!$B$163:$B$164</c:f>
              <c:numCache>
                <c:formatCode>General</c:formatCode>
                <c:ptCount val="2"/>
                <c:pt idx="0">
                  <c:v>0.22176602527879116</c:v>
                </c:pt>
                <c:pt idx="1">
                  <c:v>0.2217660252787911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1.5134038556735</c:v>
                </c:pt>
                <c:pt idx="1">
                  <c:v>901.5134038556735</c:v>
                </c:pt>
              </c:numCache>
            </c:numRef>
          </c:xVal>
          <c:yVal>
            <c:numRef>
              <c:f>Sheet1!$B$167:$B$168</c:f>
              <c:numCache>
                <c:formatCode>General</c:formatCode>
                <c:ptCount val="2"/>
                <c:pt idx="0">
                  <c:v>0.221766025278791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1.0231776015316</c:v>
                </c:pt>
              </c:numCache>
            </c:numRef>
          </c:xVal>
          <c:yVal>
            <c:numRef>
              <c:f>Sheet1!$B$171:$B$172</c:f>
              <c:numCache>
                <c:formatCode>General</c:formatCode>
                <c:ptCount val="2"/>
                <c:pt idx="0">
                  <c:v>0.18251356177135836</c:v>
                </c:pt>
                <c:pt idx="1">
                  <c:v>0.182513561771358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1.0231776015316</c:v>
                </c:pt>
                <c:pt idx="1">
                  <c:v>1151.0231776015316</c:v>
                </c:pt>
              </c:numCache>
            </c:numRef>
          </c:xVal>
          <c:yVal>
            <c:numRef>
              <c:f>Sheet1!$B$175:$B$176</c:f>
              <c:numCache>
                <c:formatCode>General</c:formatCode>
                <c:ptCount val="2"/>
                <c:pt idx="0">
                  <c:v>0.18251356177135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96.4443244170825</c:v>
                </c:pt>
              </c:numCache>
            </c:numRef>
          </c:xVal>
          <c:yVal>
            <c:numRef>
              <c:f>Sheet1!$B$179:$B$180</c:f>
              <c:numCache>
                <c:formatCode>General</c:formatCode>
                <c:ptCount val="2"/>
                <c:pt idx="0">
                  <c:v>0.14390431426692218</c:v>
                </c:pt>
                <c:pt idx="1">
                  <c:v>0.143904314266922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96.4443244170825</c:v>
                </c:pt>
                <c:pt idx="1">
                  <c:v>1396.4443244170825</c:v>
                </c:pt>
              </c:numCache>
            </c:numRef>
          </c:xVal>
          <c:yVal>
            <c:numRef>
              <c:f>Sheet1!$B$183:$B$184</c:f>
              <c:numCache>
                <c:formatCode>General</c:formatCode>
                <c:ptCount val="2"/>
                <c:pt idx="0">
                  <c:v>0.143904314266922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0.7725</c:v>
                </c:pt>
                <c:pt idx="1">
                  <c:v>1147.9413</c:v>
                </c:pt>
                <c:pt idx="2">
                  <c:v>1134.1611</c:v>
                </c:pt>
                <c:pt idx="3">
                  <c:v>1165.7333</c:v>
                </c:pt>
                <c:pt idx="4">
                  <c:v>1167.5458</c:v>
                </c:pt>
                <c:pt idx="5">
                  <c:v>1176.931</c:v>
                </c:pt>
                <c:pt idx="6">
                  <c:v>1128.1407</c:v>
                </c:pt>
                <c:pt idx="7">
                  <c:v>1197.9387</c:v>
                </c:pt>
                <c:pt idx="8">
                  <c:v>1296.2626</c:v>
                </c:pt>
                <c:pt idx="9">
                  <c:v>1228.7533</c:v>
                </c:pt>
                <c:pt idx="10">
                  <c:v>1279.9304</c:v>
                </c:pt>
                <c:pt idx="11">
                  <c:v>1102.5453</c:v>
                </c:pt>
                <c:pt idx="12">
                  <c:v>1150.8688</c:v>
                </c:pt>
                <c:pt idx="13">
                  <c:v>1201.572</c:v>
                </c:pt>
                <c:pt idx="14">
                  <c:v>1182.0044</c:v>
                </c:pt>
                <c:pt idx="15">
                  <c:v>1233.2391</c:v>
                </c:pt>
                <c:pt idx="16">
                  <c:v>1278.0143</c:v>
                </c:pt>
                <c:pt idx="17">
                  <c:v>1217.8735</c:v>
                </c:pt>
                <c:pt idx="18">
                  <c:v>1271.1563</c:v>
                </c:pt>
                <c:pt idx="19">
                  <c:v>1379.45</c:v>
                </c:pt>
                <c:pt idx="20">
                  <c:v>1381.8319</c:v>
                </c:pt>
                <c:pt idx="21">
                  <c:v>1366.8531</c:v>
                </c:pt>
                <c:pt idx="22">
                  <c:v>1353.5865</c:v>
                </c:pt>
                <c:pt idx="23">
                  <c:v>1302.53</c:v>
                </c:pt>
                <c:pt idx="24">
                  <c:v>1292.9583</c:v>
                </c:pt>
                <c:pt idx="25">
                  <c:v>1226.25</c:v>
                </c:pt>
                <c:pt idx="26">
                  <c:v>1282.9598</c:v>
                </c:pt>
                <c:pt idx="27">
                  <c:v>1316.6749</c:v>
                </c:pt>
                <c:pt idx="28">
                  <c:v>1299.4184</c:v>
                </c:pt>
                <c:pt idx="29">
                  <c:v>1305.6255</c:v>
                </c:pt>
                <c:pt idx="30">
                  <c:v>1274.9954</c:v>
                </c:pt>
                <c:pt idx="31">
                  <c:v>1231.1244</c:v>
                </c:pt>
                <c:pt idx="32">
                  <c:v>1248.5388</c:v>
                </c:pt>
                <c:pt idx="33">
                  <c:v>1282.5075</c:v>
                </c:pt>
                <c:pt idx="34">
                  <c:v>1306.0545</c:v>
                </c:pt>
                <c:pt idx="35">
                  <c:v>1279.5422</c:v>
                </c:pt>
                <c:pt idx="36">
                  <c:v>1299.858</c:v>
                </c:pt>
                <c:pt idx="37">
                  <c:v>1481.646</c:v>
                </c:pt>
                <c:pt idx="38">
                  <c:v>1435.6786</c:v>
                </c:pt>
                <c:pt idx="39">
                  <c:v>1367.5289</c:v>
                </c:pt>
                <c:pt idx="40">
                  <c:v>1428.8537</c:v>
                </c:pt>
                <c:pt idx="41">
                  <c:v>1507.1062</c:v>
                </c:pt>
                <c:pt idx="42">
                  <c:v>1488.4518</c:v>
                </c:pt>
                <c:pt idx="43">
                  <c:v>1419.5639</c:v>
                </c:pt>
                <c:pt idx="44">
                  <c:v>1364.8241</c:v>
                </c:pt>
                <c:pt idx="45">
                  <c:v>1291.7096</c:v>
                </c:pt>
                <c:pt idx="46">
                  <c:v>1281.3808</c:v>
                </c:pt>
                <c:pt idx="47">
                  <c:v>1238.2778</c:v>
                </c:pt>
                <c:pt idx="48">
                  <c:v>1260.2165</c:v>
                </c:pt>
                <c:pt idx="49">
                  <c:v>1313.872</c:v>
                </c:pt>
                <c:pt idx="50">
                  <c:v>1146.3962</c:v>
                </c:pt>
                <c:pt idx="51">
                  <c:v>1091.9028</c:v>
                </c:pt>
                <c:pt idx="52">
                  <c:v>1151.0231776015316</c:v>
                </c:pt>
                <c:pt idx="53">
                  <c:v>901.5134038556735</c:v>
                </c:pt>
                <c:pt idx="54">
                  <c:v>1396.4443244170825</c:v>
                </c:pt>
              </c:numCache>
            </c:numRef>
          </c:xVal>
          <c:yVal>
            <c:numRef>
              <c:f>Sheet1!$B$187:$B$241</c:f>
              <c:numCache>
                <c:formatCode>General</c:formatCode>
                <c:ptCount val="55"/>
                <c:pt idx="0">
                  <c:v>0.171540714130918</c:v>
                </c:pt>
                <c:pt idx="1">
                  <c:v>0.18299839764080095</c:v>
                </c:pt>
                <c:pt idx="2">
                  <c:v>0.18516627583452683</c:v>
                </c:pt>
                <c:pt idx="3">
                  <c:v>0.1801993897292488</c:v>
                </c:pt>
                <c:pt idx="4">
                  <c:v>0.17991425023735982</c:v>
                </c:pt>
                <c:pt idx="5">
                  <c:v>0.1784377861494833</c:v>
                </c:pt>
                <c:pt idx="6">
                  <c:v>0.1861133951707852</c:v>
                </c:pt>
                <c:pt idx="7">
                  <c:v>0.17513288965085955</c:v>
                </c:pt>
                <c:pt idx="8">
                  <c:v>0.15966473688587177</c:v>
                </c:pt>
                <c:pt idx="9">
                  <c:v>0.17028518792023256</c:v>
                </c:pt>
                <c:pt idx="10">
                  <c:v>0.1622340914841773</c:v>
                </c:pt>
                <c:pt idx="11">
                  <c:v>0.19014002101944424</c:v>
                </c:pt>
                <c:pt idx="12">
                  <c:v>0.18253784819941893</c:v>
                </c:pt>
                <c:pt idx="13">
                  <c:v>0.17456130492485672</c:v>
                </c:pt>
                <c:pt idx="14">
                  <c:v>0.1776396472815388</c:v>
                </c:pt>
                <c:pt idx="15">
                  <c:v>0.1695794893090792</c:v>
                </c:pt>
                <c:pt idx="16">
                  <c:v>0.16253552915612676</c:v>
                </c:pt>
                <c:pt idx="17">
                  <c:v>0.1719967799996</c:v>
                </c:pt>
                <c:pt idx="18">
                  <c:v>0.16361441833426438</c:v>
                </c:pt>
                <c:pt idx="19">
                  <c:v>0.14657783317963</c:v>
                </c:pt>
                <c:pt idx="20">
                  <c:v>0.14620311662474433</c:v>
                </c:pt>
                <c:pt idx="21">
                  <c:v>0.14855955658121675</c:v>
                </c:pt>
                <c:pt idx="22">
                  <c:v>0.1506466360753376</c:v>
                </c:pt>
                <c:pt idx="23">
                  <c:v>0.15867875991954636</c:v>
                </c:pt>
                <c:pt idx="24">
                  <c:v>0.16018456387789862</c:v>
                </c:pt>
                <c:pt idx="25">
                  <c:v>0.17067900292163707</c:v>
                </c:pt>
                <c:pt idx="26">
                  <c:v>0.16175751130391333</c:v>
                </c:pt>
                <c:pt idx="27">
                  <c:v>0.1564535077270939</c:v>
                </c:pt>
                <c:pt idx="28">
                  <c:v>0.15916827166738726</c:v>
                </c:pt>
                <c:pt idx="29">
                  <c:v>0.15819178099698508</c:v>
                </c:pt>
                <c:pt idx="30">
                  <c:v>0.163010457493817</c:v>
                </c:pt>
                <c:pt idx="31">
                  <c:v>0.1699121704034227</c:v>
                </c:pt>
                <c:pt idx="32">
                  <c:v>0.16717256589718765</c:v>
                </c:pt>
                <c:pt idx="33">
                  <c:v>0.1618286663892548</c:v>
                </c:pt>
                <c:pt idx="34">
                  <c:v>0.15812429142897386</c:v>
                </c:pt>
                <c:pt idx="35">
                  <c:v>0.16229516246390213</c:v>
                </c:pt>
                <c:pt idx="36">
                  <c:v>0.1590991145249683</c:v>
                </c:pt>
                <c:pt idx="37">
                  <c:v>0.13050052806896323</c:v>
                </c:pt>
                <c:pt idx="38">
                  <c:v>0.13773204314728393</c:v>
                </c:pt>
                <c:pt idx="39">
                  <c:v>0.1484532408468065</c:v>
                </c:pt>
                <c:pt idx="40">
                  <c:v>0.1388057250883559</c:v>
                </c:pt>
                <c:pt idx="41">
                  <c:v>0.12649517165991983</c:v>
                </c:pt>
                <c:pt idx="42">
                  <c:v>0.12942985090819198</c:v>
                </c:pt>
                <c:pt idx="43">
                  <c:v>0.14026718100656277</c:v>
                </c:pt>
                <c:pt idx="44">
                  <c:v>0.148878755493792</c:v>
                </c:pt>
                <c:pt idx="45">
                  <c:v>0.16038100728949684</c:v>
                </c:pt>
                <c:pt idx="46">
                  <c:v>0.16200591696333</c:v>
                </c:pt>
                <c:pt idx="47">
                  <c:v>0.16878680938754492</c:v>
                </c:pt>
                <c:pt idx="48">
                  <c:v>0.16533544951405296</c:v>
                </c:pt>
                <c:pt idx="49">
                  <c:v>0.15689445530326798</c:v>
                </c:pt>
                <c:pt idx="50">
                  <c:v>0.18324147020847967</c:v>
                </c:pt>
                <c:pt idx="51">
                  <c:v>0.191814281456646</c:v>
                </c:pt>
                <c:pt idx="52">
                  <c:v>0.18251356177135836</c:v>
                </c:pt>
                <c:pt idx="53">
                  <c:v>0.22176602527879116</c:v>
                </c:pt>
                <c:pt idx="54">
                  <c:v>0.143904314266922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9.0"/>
          <c:min val="4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001440230436873"/>
          <c:min val="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708989549153083</c:v>
                </c:pt>
                <c:pt idx="1">
                  <c:v>2.418503690817438</c:v>
                </c:pt>
                <c:pt idx="2">
                  <c:v>2.5763362967841075</c:v>
                </c:pt>
                <c:pt idx="3">
                  <c:v>2.6425424856874637</c:v>
                </c:pt>
                <c:pt idx="4">
                  <c:v>2.6763192257666595</c:v>
                </c:pt>
                <c:pt idx="5">
                  <c:v>2.1601236280021285</c:v>
                </c:pt>
                <c:pt idx="6">
                  <c:v>1.905071098447204</c:v>
                </c:pt>
                <c:pt idx="7">
                  <c:v>1.934262742442899</c:v>
                </c:pt>
                <c:pt idx="8">
                  <c:v>1.9829877002231004</c:v>
                </c:pt>
                <c:pt idx="9">
                  <c:v>2.113359737933148</c:v>
                </c:pt>
                <c:pt idx="10">
                  <c:v>1.9553049346152036</c:v>
                </c:pt>
                <c:pt idx="11">
                  <c:v>1.9897053612994355</c:v>
                </c:pt>
                <c:pt idx="12">
                  <c:v>1.9538279983177036</c:v>
                </c:pt>
                <c:pt idx="13">
                  <c:v>1.939274128922558</c:v>
                </c:pt>
                <c:pt idx="14">
                  <c:v>1.8811931954577341</c:v>
                </c:pt>
                <c:pt idx="15">
                  <c:v>1.887722058541945</c:v>
                </c:pt>
                <c:pt idx="16">
                  <c:v>1.8707216959579016</c:v>
                </c:pt>
                <c:pt idx="17">
                  <c:v>2.2619444754272124</c:v>
                </c:pt>
                <c:pt idx="18">
                  <c:v>2.4249082509099233</c:v>
                </c:pt>
                <c:pt idx="19">
                  <c:v>2.354981735248072</c:v>
                </c:pt>
                <c:pt idx="20">
                  <c:v>2.3157234563816886</c:v>
                </c:pt>
                <c:pt idx="21">
                  <c:v>2.3326286120210424</c:v>
                </c:pt>
                <c:pt idx="22">
                  <c:v>2.2868316189331495</c:v>
                </c:pt>
                <c:pt idx="23">
                  <c:v>2.3586283251474116</c:v>
                </c:pt>
                <c:pt idx="24">
                  <c:v>2.4908860339792427</c:v>
                </c:pt>
                <c:pt idx="25">
                  <c:v>2.553321407698644</c:v>
                </c:pt>
                <c:pt idx="26">
                  <c:v>2.1023635323155294</c:v>
                </c:pt>
                <c:pt idx="27">
                  <c:v>2.021299723475571</c:v>
                </c:pt>
                <c:pt idx="28">
                  <c:v>1.9411738717050722</c:v>
                </c:pt>
                <c:pt idx="29">
                  <c:v>1.7639005266301562</c:v>
                </c:pt>
                <c:pt idx="30">
                  <c:v>1.7875249523072805</c:v>
                </c:pt>
                <c:pt idx="31">
                  <c:v>1.8432271229623574</c:v>
                </c:pt>
                <c:pt idx="32">
                  <c:v>1.770471753637131</c:v>
                </c:pt>
                <c:pt idx="33">
                  <c:v>1.757461294390212</c:v>
                </c:pt>
                <c:pt idx="34">
                  <c:v>1.9218941881600333</c:v>
                </c:pt>
                <c:pt idx="35">
                  <c:v>2.0544904359366956</c:v>
                </c:pt>
                <c:pt idx="36">
                  <c:v>2.202616971053295</c:v>
                </c:pt>
                <c:pt idx="37">
                  <c:v>2.2380558236352353</c:v>
                </c:pt>
                <c:pt idx="38">
                  <c:v>2.318363939666339</c:v>
                </c:pt>
                <c:pt idx="39">
                  <c:v>2.3084977809281275</c:v>
                </c:pt>
                <c:pt idx="40">
                  <c:v>2.3879698839411794</c:v>
                </c:pt>
                <c:pt idx="41">
                  <c:v>2.522990959542605</c:v>
                </c:pt>
                <c:pt idx="42">
                  <c:v>2.635456936822168</c:v>
                </c:pt>
                <c:pt idx="43">
                  <c:v>2.6876124827753647</c:v>
                </c:pt>
                <c:pt idx="44">
                  <c:v>2.2868207542490295</c:v>
                </c:pt>
                <c:pt idx="45">
                  <c:v>2.089432623074897</c:v>
                </c:pt>
                <c:pt idx="46">
                  <c:v>2.119938570192837</c:v>
                </c:pt>
                <c:pt idx="47">
                  <c:v>2.117189445676478</c:v>
                </c:pt>
                <c:pt idx="48">
                  <c:v>2.0600506621492376</c:v>
                </c:pt>
                <c:pt idx="49">
                  <c:v>2.051842175480311</c:v>
                </c:pt>
                <c:pt idx="50">
                  <c:v>2.061150627141024</c:v>
                </c:pt>
                <c:pt idx="51">
                  <c:v>2.0715909193921758</c:v>
                </c:pt>
                <c:pt idx="52">
                  <c:v>2.1292360599562112</c:v>
                </c:pt>
                <c:pt idx="53">
                  <c:v>2.25433148466873</c:v>
                </c:pt>
                <c:pt idx="54">
                  <c:v>2.291806091090124</c:v>
                </c:pt>
                <c:pt idx="55">
                  <c:v>2.3183157310451</c:v>
                </c:pt>
                <c:pt idx="56">
                  <c:v>2.404621407205605</c:v>
                </c:pt>
                <c:pt idx="57">
                  <c:v>2.39681048719622</c:v>
                </c:pt>
                <c:pt idx="58">
                  <c:v>2.386741987598864</c:v>
                </c:pt>
                <c:pt idx="59">
                  <c:v>2.4750365025441723</c:v>
                </c:pt>
                <c:pt idx="60">
                  <c:v>2.5920946492217984</c:v>
                </c:pt>
                <c:pt idx="61">
                  <c:v>2.4530095625627832</c:v>
                </c:pt>
                <c:pt idx="62">
                  <c:v>2.4561224190703235</c:v>
                </c:pt>
                <c:pt idx="63">
                  <c:v>2.4811972282615105</c:v>
                </c:pt>
                <c:pt idx="64">
                  <c:v>2.3794896522353746</c:v>
                </c:pt>
                <c:pt idx="65">
                  <c:v>2.3732260680139357</c:v>
                </c:pt>
                <c:pt idx="66">
                  <c:v>2.16747024541147</c:v>
                </c:pt>
                <c:pt idx="67">
                  <c:v>2.1544585759651316</c:v>
                </c:pt>
                <c:pt idx="68">
                  <c:v>2.002073104639983</c:v>
                </c:pt>
                <c:pt idx="69">
                  <c:v>2.0109781098718704</c:v>
                </c:pt>
                <c:pt idx="70">
                  <c:v>1.997725215703289</c:v>
                </c:pt>
                <c:pt idx="71">
                  <c:v>2.06483967792415</c:v>
                </c:pt>
                <c:pt idx="72">
                  <c:v>2.0399081306213134</c:v>
                </c:pt>
                <c:pt idx="73">
                  <c:v>2.153198235922241</c:v>
                </c:pt>
                <c:pt idx="74">
                  <c:v>2.113563630724824</c:v>
                </c:pt>
                <c:pt idx="75">
                  <c:v>2.0485771284324685</c:v>
                </c:pt>
                <c:pt idx="76">
                  <c:v>2.1584861783160965</c:v>
                </c:pt>
                <c:pt idx="77">
                  <c:v>2.3377866316261033</c:v>
                </c:pt>
                <c:pt idx="78">
                  <c:v>2.4676909003726757</c:v>
                </c:pt>
                <c:pt idx="79">
                  <c:v>1.1942286191616953</c:v>
                </c:pt>
                <c:pt idx="80">
                  <c:v>1.1694177096918272</c:v>
                </c:pt>
                <c:pt idx="81">
                  <c:v>1.6806111984116796</c:v>
                </c:pt>
                <c:pt idx="82">
                  <c:v>1.473089724726713</c:v>
                </c:pt>
                <c:pt idx="83">
                  <c:v>1.8249603823023766</c:v>
                </c:pt>
                <c:pt idx="84">
                  <c:v>1.8864489726243776</c:v>
                </c:pt>
                <c:pt idx="85">
                  <c:v>1.9404034085518769</c:v>
                </c:pt>
                <c:pt idx="86">
                  <c:v>2.3516739932691872</c:v>
                </c:pt>
                <c:pt idx="87">
                  <c:v>2.555212746391435</c:v>
                </c:pt>
                <c:pt idx="88">
                  <c:v>2.3128087680675735</c:v>
                </c:pt>
                <c:pt idx="89">
                  <c:v>1.9464060521851616</c:v>
                </c:pt>
                <c:pt idx="90">
                  <c:v>2.3209124083463317</c:v>
                </c:pt>
                <c:pt idx="91">
                  <c:v>2.089947104344326</c:v>
                </c:pt>
                <c:pt idx="92">
                  <c:v>2.3595272460892422</c:v>
                </c:pt>
                <c:pt idx="93">
                  <c:v>2.284814352830173</c:v>
                </c:pt>
                <c:pt idx="94">
                  <c:v>2.0536565525273387</c:v>
                </c:pt>
                <c:pt idx="95">
                  <c:v>2.3073305441890875</c:v>
                </c:pt>
                <c:pt idx="96">
                  <c:v>2.173528981204748</c:v>
                </c:pt>
                <c:pt idx="97">
                  <c:v>2.2057898366294544</c:v>
                </c:pt>
                <c:pt idx="98">
                  <c:v>2.337333308488767</c:v>
                </c:pt>
                <c:pt idx="99">
                  <c:v>2.626898456072838</c:v>
                </c:pt>
                <c:pt idx="100">
                  <c:v>2.292357078975995</c:v>
                </c:pt>
                <c:pt idx="101">
                  <c:v>2.0716250112343024</c:v>
                </c:pt>
                <c:pt idx="102">
                  <c:v>1.9736901041981196</c:v>
                </c:pt>
                <c:pt idx="103">
                  <c:v>1.8846703262423434</c:v>
                </c:pt>
                <c:pt idx="104">
                  <c:v>1.966110085749396</c:v>
                </c:pt>
              </c:numCache>
            </c:numRef>
          </c:xVal>
          <c:yVal>
            <c:numRef>
              <c:f>Sheet1!$B$2:$B$106</c:f>
              <c:numCache>
                <c:formatCode>General</c:formatCode>
                <c:ptCount val="105"/>
                <c:pt idx="0">
                  <c:v>0.2252832131822863</c:v>
                </c:pt>
                <c:pt idx="1">
                  <c:v>0.21076377699000967</c:v>
                </c:pt>
                <c:pt idx="2">
                  <c:v>0.19223424570337364</c:v>
                </c:pt>
                <c:pt idx="3">
                  <c:v>0.1946787800129786</c:v>
                </c:pt>
                <c:pt idx="4">
                  <c:v>0.2089210827296988</c:v>
                </c:pt>
                <c:pt idx="5">
                  <c:v>0.19696969696969696</c:v>
                </c:pt>
                <c:pt idx="6">
                  <c:v>0.20828355236957388</c:v>
                </c:pt>
                <c:pt idx="7">
                  <c:v>0.22232601588042972</c:v>
                </c:pt>
                <c:pt idx="8">
                  <c:v>0.20831084727468968</c:v>
                </c:pt>
                <c:pt idx="9">
                  <c:v>0.20292645360030806</c:v>
                </c:pt>
                <c:pt idx="10">
                  <c:v>0.21327367636092467</c:v>
                </c:pt>
                <c:pt idx="11">
                  <c:v>0.21066978193146418</c:v>
                </c:pt>
                <c:pt idx="12">
                  <c:v>0.21751512993948025</c:v>
                </c:pt>
                <c:pt idx="13">
                  <c:v>0.21278065630397236</c:v>
                </c:pt>
                <c:pt idx="14">
                  <c:v>0.21115398105927743</c:v>
                </c:pt>
                <c:pt idx="15">
                  <c:v>0.2148664343786295</c:v>
                </c:pt>
                <c:pt idx="16">
                  <c:v>0.2176933765632237</c:v>
                </c:pt>
                <c:pt idx="17">
                  <c:v>0.1866478608368594</c:v>
                </c:pt>
                <c:pt idx="18">
                  <c:v>0.17182662538699692</c:v>
                </c:pt>
                <c:pt idx="19">
                  <c:v>0.18044237485448195</c:v>
                </c:pt>
                <c:pt idx="20">
                  <c:v>0.20263901979264845</c:v>
                </c:pt>
                <c:pt idx="21">
                  <c:v>0.2169993560849968</c:v>
                </c:pt>
                <c:pt idx="22">
                  <c:v>0.21382542472173405</c:v>
                </c:pt>
                <c:pt idx="23">
                  <c:v>0.2109471094710947</c:v>
                </c:pt>
                <c:pt idx="24">
                  <c:v>0.20966084275436794</c:v>
                </c:pt>
                <c:pt idx="25">
                  <c:v>0.21213942307692307</c:v>
                </c:pt>
                <c:pt idx="26">
                  <c:v>0.20507042253521127</c:v>
                </c:pt>
                <c:pt idx="27">
                  <c:v>0.18563829787234043</c:v>
                </c:pt>
                <c:pt idx="28">
                  <c:v>0.19498607242339833</c:v>
                </c:pt>
                <c:pt idx="29">
                  <c:v>0.20945945945945946</c:v>
                </c:pt>
                <c:pt idx="30">
                  <c:v>0.21869158878504674</c:v>
                </c:pt>
                <c:pt idx="31">
                  <c:v>0.19415204678362574</c:v>
                </c:pt>
                <c:pt idx="32">
                  <c:v>0.19964136282127914</c:v>
                </c:pt>
                <c:pt idx="33">
                  <c:v>0.21741293532338307</c:v>
                </c:pt>
                <c:pt idx="34">
                  <c:v>0.2086271256739942</c:v>
                </c:pt>
                <c:pt idx="35">
                  <c:v>0.20865834633385336</c:v>
                </c:pt>
                <c:pt idx="36">
                  <c:v>0.18201284796573874</c:v>
                </c:pt>
                <c:pt idx="37">
                  <c:v>0.15424912689173456</c:v>
                </c:pt>
                <c:pt idx="38">
                  <c:v>0.14057507987220447</c:v>
                </c:pt>
                <c:pt idx="39">
                  <c:v>0.14330218068535824</c:v>
                </c:pt>
                <c:pt idx="40">
                  <c:v>0.14299470389985555</c:v>
                </c:pt>
                <c:pt idx="41">
                  <c:v>0.1412133891213389</c:v>
                </c:pt>
                <c:pt idx="42">
                  <c:v>0.13204951856946354</c:v>
                </c:pt>
                <c:pt idx="43">
                  <c:v>0.13088301210219633</c:v>
                </c:pt>
                <c:pt idx="44">
                  <c:v>0.15768025078369907</c:v>
                </c:pt>
                <c:pt idx="45">
                  <c:v>0.19207317073170732</c:v>
                </c:pt>
                <c:pt idx="46">
                  <c:v>0.20964671038713772</c:v>
                </c:pt>
                <c:pt idx="47">
                  <c:v>0.20133185349611543</c:v>
                </c:pt>
                <c:pt idx="48">
                  <c:v>0.2203778915769027</c:v>
                </c:pt>
                <c:pt idx="49">
                  <c:v>0.24030811971208485</c:v>
                </c:pt>
                <c:pt idx="50">
                  <c:v>0.21067094114953058</c:v>
                </c:pt>
                <c:pt idx="51">
                  <c:v>0.18877408545099134</c:v>
                </c:pt>
                <c:pt idx="52">
                  <c:v>0.1909344137756394</c:v>
                </c:pt>
                <c:pt idx="53">
                  <c:v>0.19433198380566802</c:v>
                </c:pt>
                <c:pt idx="54">
                  <c:v>0.18800386971944533</c:v>
                </c:pt>
                <c:pt idx="55">
                  <c:v>0.1860624785444559</c:v>
                </c:pt>
                <c:pt idx="56">
                  <c:v>0.18496293681609602</c:v>
                </c:pt>
                <c:pt idx="57">
                  <c:v>0.17580743449116393</c:v>
                </c:pt>
                <c:pt idx="58">
                  <c:v>0.19775678866587956</c:v>
                </c:pt>
                <c:pt idx="59">
                  <c:v>0.19247787610619468</c:v>
                </c:pt>
                <c:pt idx="60">
                  <c:v>0.20515411824153612</c:v>
                </c:pt>
                <c:pt idx="61">
                  <c:v>0.2045968349660889</c:v>
                </c:pt>
                <c:pt idx="62">
                  <c:v>0.1836867862969005</c:v>
                </c:pt>
                <c:pt idx="63">
                  <c:v>0.22160026341784655</c:v>
                </c:pt>
                <c:pt idx="64">
                  <c:v>0.21749024707412223</c:v>
                </c:pt>
                <c:pt idx="65">
                  <c:v>0.206286836935167</c:v>
                </c:pt>
                <c:pt idx="66">
                  <c:v>0.21261378413524057</c:v>
                </c:pt>
                <c:pt idx="67">
                  <c:v>0.21716987995634776</c:v>
                </c:pt>
                <c:pt idx="68">
                  <c:v>0.20107571369466282</c:v>
                </c:pt>
                <c:pt idx="69">
                  <c:v>0.19154355578196638</c:v>
                </c:pt>
                <c:pt idx="70">
                  <c:v>0.16666666666666666</c:v>
                </c:pt>
                <c:pt idx="71">
                  <c:v>0.18453427065026362</c:v>
                </c:pt>
                <c:pt idx="72">
                  <c:v>0.2089005235602094</c:v>
                </c:pt>
                <c:pt idx="73">
                  <c:v>0.2</c:v>
                </c:pt>
                <c:pt idx="74">
                  <c:v>0.20793085917641077</c:v>
                </c:pt>
                <c:pt idx="75">
                  <c:v>0.22150789012273525</c:v>
                </c:pt>
                <c:pt idx="76">
                  <c:v>0.2224334600760456</c:v>
                </c:pt>
                <c:pt idx="77">
                  <c:v>0.2038258575197889</c:v>
                </c:pt>
                <c:pt idx="78">
                  <c:v>0.1863395225464191</c:v>
                </c:pt>
                <c:pt idx="79">
                  <c:v>0.32501200192030727</c:v>
                </c:pt>
                <c:pt idx="80">
                  <c:v>0.314004914004914</c:v>
                </c:pt>
                <c:pt idx="81">
                  <c:v>0.22421908429610612</c:v>
                </c:pt>
                <c:pt idx="82">
                  <c:v>0.2544742729306488</c:v>
                </c:pt>
                <c:pt idx="83">
                  <c:v>0.18722786647314948</c:v>
                </c:pt>
                <c:pt idx="84">
                  <c:v>0.20583717357910905</c:v>
                </c:pt>
                <c:pt idx="85">
                  <c:v>0.20552147239263804</c:v>
                </c:pt>
                <c:pt idx="86">
                  <c:v>0.169995129079396</c:v>
                </c:pt>
                <c:pt idx="87">
                  <c:v>0.17639484978540773</c:v>
                </c:pt>
                <c:pt idx="88">
                  <c:v>0.1866840731070496</c:v>
                </c:pt>
                <c:pt idx="89">
                  <c:v>0.19306184012066366</c:v>
                </c:pt>
                <c:pt idx="90">
                  <c:v>0.15915697674418605</c:v>
                </c:pt>
                <c:pt idx="91">
                  <c:v>0.18596730245231607</c:v>
                </c:pt>
                <c:pt idx="92">
                  <c:v>0.17226197028068244</c:v>
                </c:pt>
                <c:pt idx="93">
                  <c:v>0.1582138919514884</c:v>
                </c:pt>
                <c:pt idx="94">
                  <c:v>0.17488789237668162</c:v>
                </c:pt>
                <c:pt idx="95">
                  <c:v>0.15980392156862744</c:v>
                </c:pt>
                <c:pt idx="96">
                  <c:v>0.14195478723404256</c:v>
                </c:pt>
                <c:pt idx="97">
                  <c:v>0.16513216513216514</c:v>
                </c:pt>
                <c:pt idx="98">
                  <c:v>0.17841930903928063</c:v>
                </c:pt>
                <c:pt idx="99">
                  <c:v>0.18142262580401058</c:v>
                </c:pt>
                <c:pt idx="100">
                  <c:v>0.19804007605675003</c:v>
                </c:pt>
                <c:pt idx="101">
                  <c:v>0.19300873907615482</c:v>
                </c:pt>
                <c:pt idx="102">
                  <c:v>0.16608996539792387</c:v>
                </c:pt>
                <c:pt idx="103">
                  <c:v>0.1751592356687898</c:v>
                </c:pt>
                <c:pt idx="104">
                  <c:v>0.1755130927105449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677793058714905</c:v>
                </c:pt>
                <c:pt idx="1">
                  <c:v>1.8169803597805074</c:v>
                </c:pt>
                <c:pt idx="2">
                  <c:v>1.806997823944387</c:v>
                </c:pt>
                <c:pt idx="3">
                  <c:v>1.8339414045950588</c:v>
                </c:pt>
                <c:pt idx="4">
                  <c:v>1.7102212287622294</c:v>
                </c:pt>
                <c:pt idx="5">
                  <c:v>1.7486983542847703</c:v>
                </c:pt>
                <c:pt idx="6">
                  <c:v>1.817880003944694</c:v>
                </c:pt>
                <c:pt idx="7">
                  <c:v>1.7784355290812097</c:v>
                </c:pt>
                <c:pt idx="8">
                  <c:v>1.8647890395634976</c:v>
                </c:pt>
                <c:pt idx="9">
                  <c:v>1.849711129713966</c:v>
                </c:pt>
                <c:pt idx="10">
                  <c:v>1.8800951144834541</c:v>
                </c:pt>
                <c:pt idx="11">
                  <c:v>2.09216435519677</c:v>
                </c:pt>
                <c:pt idx="12">
                  <c:v>1.9125682188320536</c:v>
                </c:pt>
                <c:pt idx="13">
                  <c:v>1.7894374563185247</c:v>
                </c:pt>
                <c:pt idx="14">
                  <c:v>1.7800761725191598</c:v>
                </c:pt>
                <c:pt idx="15">
                  <c:v>1.876571266666748</c:v>
                </c:pt>
                <c:pt idx="16">
                  <c:v>1.8498854980008288</c:v>
                </c:pt>
                <c:pt idx="17">
                  <c:v>1.816035168534534</c:v>
                </c:pt>
                <c:pt idx="18">
                  <c:v>1.9878393904416856</c:v>
                </c:pt>
                <c:pt idx="19">
                  <c:v>2.146835151478366</c:v>
                </c:pt>
                <c:pt idx="20">
                  <c:v>2.0968283509898553</c:v>
                </c:pt>
                <c:pt idx="21">
                  <c:v>2.0856322639720717</c:v>
                </c:pt>
                <c:pt idx="22">
                  <c:v>2.060906829364622</c:v>
                </c:pt>
                <c:pt idx="23">
                  <c:v>1.9256464774860522</c:v>
                </c:pt>
                <c:pt idx="24">
                  <c:v>1.9164400732984155</c:v>
                </c:pt>
                <c:pt idx="25">
                  <c:v>1.8158762896979062</c:v>
                </c:pt>
                <c:pt idx="26">
                  <c:v>1.8420581617578753</c:v>
                </c:pt>
                <c:pt idx="27">
                  <c:v>1.9491440893043879</c:v>
                </c:pt>
                <c:pt idx="28">
                  <c:v>1.9022146125606456</c:v>
                </c:pt>
                <c:pt idx="29">
                  <c:v>1.9104006524733617</c:v>
                </c:pt>
                <c:pt idx="30">
                  <c:v>1.8071399150882128</c:v>
                </c:pt>
                <c:pt idx="31">
                  <c:v>1.8118919332596481</c:v>
                </c:pt>
                <c:pt idx="32">
                  <c:v>1.7639973466687484</c:v>
                </c:pt>
                <c:pt idx="33">
                  <c:v>1.7825440959913492</c:v>
                </c:pt>
                <c:pt idx="34">
                  <c:v>1.8532703890967541</c:v>
                </c:pt>
                <c:pt idx="35">
                  <c:v>1.7130929673393096</c:v>
                </c:pt>
                <c:pt idx="36">
                  <c:v>1.7900395724588025</c:v>
                </c:pt>
                <c:pt idx="37">
                  <c:v>1.9818495716403133</c:v>
                </c:pt>
                <c:pt idx="38">
                  <c:v>1.9577222774716219</c:v>
                </c:pt>
                <c:pt idx="39">
                  <c:v>1.922615483482938</c:v>
                </c:pt>
                <c:pt idx="40">
                  <c:v>1.9531898623851203</c:v>
                </c:pt>
                <c:pt idx="41">
                  <c:v>2.0620980252595364</c:v>
                </c:pt>
                <c:pt idx="42">
                  <c:v>2.102721222688991</c:v>
                </c:pt>
                <c:pt idx="43">
                  <c:v>2.06032496371553</c:v>
                </c:pt>
                <c:pt idx="44">
                  <c:v>2.0406143564134385</c:v>
                </c:pt>
                <c:pt idx="45">
                  <c:v>1.9667480898689242</c:v>
                </c:pt>
                <c:pt idx="46">
                  <c:v>1.9301563353653952</c:v>
                </c:pt>
                <c:pt idx="47">
                  <c:v>1.9301158651416666</c:v>
                </c:pt>
                <c:pt idx="48">
                  <c:v>1.92648114069671</c:v>
                </c:pt>
                <c:pt idx="49">
                  <c:v>2.06776346447389</c:v>
                </c:pt>
                <c:pt idx="50">
                  <c:v>1.8552141659600083</c:v>
                </c:pt>
                <c:pt idx="51">
                  <c:v>1.8729938784356504</c:v>
                </c:pt>
              </c:numCache>
            </c:numRef>
          </c:xVal>
          <c:yVal>
            <c:numRef>
              <c:f>Sheet1!$B$109:$B$160</c:f>
              <c:numCache>
                <c:formatCode>General</c:formatCode>
                <c:ptCount val="52"/>
                <c:pt idx="0">
                  <c:v>0.1684599865501009</c:v>
                </c:pt>
                <c:pt idx="1">
                  <c:v>0.19297583081570996</c:v>
                </c:pt>
                <c:pt idx="2">
                  <c:v>0.19219606578523057</c:v>
                </c:pt>
                <c:pt idx="3">
                  <c:v>0.19808517662594916</c:v>
                </c:pt>
                <c:pt idx="4">
                  <c:v>0.20783022319795097</c:v>
                </c:pt>
                <c:pt idx="5">
                  <c:v>0.1797872340425532</c:v>
                </c:pt>
                <c:pt idx="6">
                  <c:v>0.17739025856885146</c:v>
                </c:pt>
                <c:pt idx="7">
                  <c:v>0.16825396825396827</c:v>
                </c:pt>
                <c:pt idx="8">
                  <c:v>0.15764331210191082</c:v>
                </c:pt>
                <c:pt idx="9">
                  <c:v>0.17285648784961027</c:v>
                </c:pt>
                <c:pt idx="10">
                  <c:v>0.17847286108555657</c:v>
                </c:pt>
                <c:pt idx="11">
                  <c:v>0.18864097363083165</c:v>
                </c:pt>
                <c:pt idx="12">
                  <c:v>0.1973733583489681</c:v>
                </c:pt>
                <c:pt idx="13">
                  <c:v>0.19804088586030663</c:v>
                </c:pt>
                <c:pt idx="14">
                  <c:v>0.20276292335115864</c:v>
                </c:pt>
                <c:pt idx="15">
                  <c:v>0.18862121988723732</c:v>
                </c:pt>
                <c:pt idx="16">
                  <c:v>0.16676593210244192</c:v>
                </c:pt>
                <c:pt idx="17">
                  <c:v>0.1505056513979774</c:v>
                </c:pt>
                <c:pt idx="18">
                  <c:v>0.14204185161699429</c:v>
                </c:pt>
                <c:pt idx="19">
                  <c:v>0.15643802647412755</c:v>
                </c:pt>
                <c:pt idx="20">
                  <c:v>0.15035644847699287</c:v>
                </c:pt>
                <c:pt idx="21">
                  <c:v>0.15401459854014599</c:v>
                </c:pt>
                <c:pt idx="22">
                  <c:v>0.14606741573033707</c:v>
                </c:pt>
                <c:pt idx="23">
                  <c:v>0.14892032762472077</c:v>
                </c:pt>
                <c:pt idx="24">
                  <c:v>0.14971927635683094</c:v>
                </c:pt>
                <c:pt idx="25">
                  <c:v>0.15455140798952194</c:v>
                </c:pt>
                <c:pt idx="26">
                  <c:v>0.1382716049382716</c:v>
                </c:pt>
                <c:pt idx="27">
                  <c:v>0.13721061547148503</c:v>
                </c:pt>
                <c:pt idx="28">
                  <c:v>0.15376226826608505</c:v>
                </c:pt>
                <c:pt idx="29">
                  <c:v>0.16277561608300908</c:v>
                </c:pt>
                <c:pt idx="30">
                  <c:v>0.15</c:v>
                </c:pt>
                <c:pt idx="31">
                  <c:v>0.1557377049180328</c:v>
                </c:pt>
                <c:pt idx="32">
                  <c:v>0.1636017755231452</c:v>
                </c:pt>
                <c:pt idx="33">
                  <c:v>0.19598236158745713</c:v>
                </c:pt>
                <c:pt idx="34">
                  <c:v>0.21069306930693069</c:v>
                </c:pt>
                <c:pt idx="35">
                  <c:v>0.2084221748400853</c:v>
                </c:pt>
                <c:pt idx="36">
                  <c:v>0.1603415559772296</c:v>
                </c:pt>
                <c:pt idx="37">
                  <c:v>0.13327814569536423</c:v>
                </c:pt>
                <c:pt idx="38">
                  <c:v>0.14225232853513972</c:v>
                </c:pt>
                <c:pt idx="39">
                  <c:v>0.16263440860215053</c:v>
                </c:pt>
                <c:pt idx="40">
                  <c:v>0.13684913217623498</c:v>
                </c:pt>
                <c:pt idx="41">
                  <c:v>0.13933415536374846</c:v>
                </c:pt>
                <c:pt idx="42">
                  <c:v>0.13604972375690608</c:v>
                </c:pt>
                <c:pt idx="43">
                  <c:v>0.1276391554702495</c:v>
                </c:pt>
                <c:pt idx="44">
                  <c:v>0.125</c:v>
                </c:pt>
                <c:pt idx="45">
                  <c:v>0.14004591669399805</c:v>
                </c:pt>
                <c:pt idx="46">
                  <c:v>0.13586765223512848</c:v>
                </c:pt>
                <c:pt idx="47">
                  <c:v>0.13708609271523178</c:v>
                </c:pt>
                <c:pt idx="48">
                  <c:v>0.13293712855802314</c:v>
                </c:pt>
                <c:pt idx="49">
                  <c:v>0.1429318003658218</c:v>
                </c:pt>
                <c:pt idx="50">
                  <c:v>0.17663567795123664</c:v>
                </c:pt>
                <c:pt idx="51">
                  <c:v>0.1777452415812591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4425800741306667</c:v>
                </c:pt>
              </c:numCache>
            </c:numRef>
          </c:xVal>
          <c:yVal>
            <c:numRef>
              <c:f>Sheet1!$B$163:$B$164</c:f>
              <c:numCache>
                <c:formatCode>General</c:formatCode>
                <c:ptCount val="2"/>
                <c:pt idx="0">
                  <c:v>0.22176602527879116</c:v>
                </c:pt>
                <c:pt idx="1">
                  <c:v>0.2217660252787911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4425800741306667</c:v>
                </c:pt>
                <c:pt idx="1">
                  <c:v>1.4425800741306667</c:v>
                </c:pt>
              </c:numCache>
            </c:numRef>
          </c:xVal>
          <c:yVal>
            <c:numRef>
              <c:f>Sheet1!$B$167:$B$168</c:f>
              <c:numCache>
                <c:formatCode>General</c:formatCode>
                <c:ptCount val="2"/>
                <c:pt idx="0">
                  <c:v>0.221766025278791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500666387534671</c:v>
                </c:pt>
              </c:numCache>
            </c:numRef>
          </c:xVal>
          <c:yVal>
            <c:numRef>
              <c:f>Sheet1!$B$171:$B$172</c:f>
              <c:numCache>
                <c:formatCode>General</c:formatCode>
                <c:ptCount val="2"/>
                <c:pt idx="0">
                  <c:v>0.18251356177135836</c:v>
                </c:pt>
                <c:pt idx="1">
                  <c:v>0.1825135617713583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500666387534671</c:v>
                </c:pt>
                <c:pt idx="1">
                  <c:v>1.7500666387534671</c:v>
                </c:pt>
              </c:numCache>
            </c:numRef>
          </c:xVal>
          <c:yVal>
            <c:numRef>
              <c:f>Sheet1!$B$175:$B$176</c:f>
              <c:numCache>
                <c:formatCode>General</c:formatCode>
                <c:ptCount val="2"/>
                <c:pt idx="0">
                  <c:v>0.1825135617713583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52514531624254</c:v>
                </c:pt>
              </c:numCache>
            </c:numRef>
          </c:xVal>
          <c:yVal>
            <c:numRef>
              <c:f>Sheet1!$B$179:$B$180</c:f>
              <c:numCache>
                <c:formatCode>General</c:formatCode>
                <c:ptCount val="2"/>
                <c:pt idx="0">
                  <c:v>0.14390431426692218</c:v>
                </c:pt>
                <c:pt idx="1">
                  <c:v>0.1439043142669221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52514531624254</c:v>
                </c:pt>
                <c:pt idx="1">
                  <c:v>2.052514531624254</c:v>
                </c:pt>
              </c:numCache>
            </c:numRef>
          </c:xVal>
          <c:yVal>
            <c:numRef>
              <c:f>Sheet1!$B$183:$B$184</c:f>
              <c:numCache>
                <c:formatCode>General</c:formatCode>
                <c:ptCount val="2"/>
                <c:pt idx="0">
                  <c:v>0.1439043142669221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677793058714905</c:v>
                </c:pt>
                <c:pt idx="1">
                  <c:v>1.8169803597805074</c:v>
                </c:pt>
                <c:pt idx="2">
                  <c:v>1.806997823944387</c:v>
                </c:pt>
                <c:pt idx="3">
                  <c:v>1.8339414045950588</c:v>
                </c:pt>
                <c:pt idx="4">
                  <c:v>1.7102212287622294</c:v>
                </c:pt>
                <c:pt idx="5">
                  <c:v>1.7486983542847703</c:v>
                </c:pt>
                <c:pt idx="6">
                  <c:v>1.817880003944694</c:v>
                </c:pt>
                <c:pt idx="7">
                  <c:v>1.7784355290812097</c:v>
                </c:pt>
                <c:pt idx="8">
                  <c:v>1.8647890395634976</c:v>
                </c:pt>
                <c:pt idx="9">
                  <c:v>1.849711129713966</c:v>
                </c:pt>
                <c:pt idx="10">
                  <c:v>1.8800951144834541</c:v>
                </c:pt>
                <c:pt idx="11">
                  <c:v>2.09216435519677</c:v>
                </c:pt>
                <c:pt idx="12">
                  <c:v>1.9125682188320536</c:v>
                </c:pt>
                <c:pt idx="13">
                  <c:v>1.7894374563185247</c:v>
                </c:pt>
                <c:pt idx="14">
                  <c:v>1.7800761725191598</c:v>
                </c:pt>
                <c:pt idx="15">
                  <c:v>1.876571266666748</c:v>
                </c:pt>
                <c:pt idx="16">
                  <c:v>1.8498854980008288</c:v>
                </c:pt>
                <c:pt idx="17">
                  <c:v>1.816035168534534</c:v>
                </c:pt>
                <c:pt idx="18">
                  <c:v>1.9878393904416856</c:v>
                </c:pt>
                <c:pt idx="19">
                  <c:v>2.146835151478366</c:v>
                </c:pt>
                <c:pt idx="20">
                  <c:v>2.0968283509898553</c:v>
                </c:pt>
                <c:pt idx="21">
                  <c:v>2.0856322639720717</c:v>
                </c:pt>
                <c:pt idx="22">
                  <c:v>2.060906829364622</c:v>
                </c:pt>
                <c:pt idx="23">
                  <c:v>1.9256464774860522</c:v>
                </c:pt>
                <c:pt idx="24">
                  <c:v>1.9164400732984155</c:v>
                </c:pt>
                <c:pt idx="25">
                  <c:v>1.8158762896979062</c:v>
                </c:pt>
                <c:pt idx="26">
                  <c:v>1.8420581617578753</c:v>
                </c:pt>
                <c:pt idx="27">
                  <c:v>1.9491440893043879</c:v>
                </c:pt>
                <c:pt idx="28">
                  <c:v>1.9022146125606456</c:v>
                </c:pt>
                <c:pt idx="29">
                  <c:v>1.9104006524733617</c:v>
                </c:pt>
                <c:pt idx="30">
                  <c:v>1.8071399150882128</c:v>
                </c:pt>
                <c:pt idx="31">
                  <c:v>1.8118919332596481</c:v>
                </c:pt>
                <c:pt idx="32">
                  <c:v>1.7639973466687484</c:v>
                </c:pt>
                <c:pt idx="33">
                  <c:v>1.7825440959913492</c:v>
                </c:pt>
                <c:pt idx="34">
                  <c:v>1.8532703890967541</c:v>
                </c:pt>
                <c:pt idx="35">
                  <c:v>1.7130929673393096</c:v>
                </c:pt>
                <c:pt idx="36">
                  <c:v>1.7900395724588025</c:v>
                </c:pt>
                <c:pt idx="37">
                  <c:v>1.9818495716403133</c:v>
                </c:pt>
                <c:pt idx="38">
                  <c:v>1.9577222774716219</c:v>
                </c:pt>
                <c:pt idx="39">
                  <c:v>1.922615483482938</c:v>
                </c:pt>
                <c:pt idx="40">
                  <c:v>1.9531898623851203</c:v>
                </c:pt>
                <c:pt idx="41">
                  <c:v>2.0620980252595364</c:v>
                </c:pt>
                <c:pt idx="42">
                  <c:v>2.102721222688991</c:v>
                </c:pt>
                <c:pt idx="43">
                  <c:v>2.06032496371553</c:v>
                </c:pt>
                <c:pt idx="44">
                  <c:v>2.0406143564134385</c:v>
                </c:pt>
                <c:pt idx="45">
                  <c:v>1.9667480898689242</c:v>
                </c:pt>
                <c:pt idx="46">
                  <c:v>1.9301563353653952</c:v>
                </c:pt>
                <c:pt idx="47">
                  <c:v>1.9301158651416666</c:v>
                </c:pt>
                <c:pt idx="48">
                  <c:v>1.92648114069671</c:v>
                </c:pt>
                <c:pt idx="49">
                  <c:v>2.06776346447389</c:v>
                </c:pt>
                <c:pt idx="50">
                  <c:v>1.8552141659600083</c:v>
                </c:pt>
                <c:pt idx="51">
                  <c:v>1.8729938784356504</c:v>
                </c:pt>
                <c:pt idx="52">
                  <c:v>1.7500666387534671</c:v>
                </c:pt>
                <c:pt idx="53">
                  <c:v>1.4425800741306667</c:v>
                </c:pt>
                <c:pt idx="54">
                  <c:v>2.052514531624254</c:v>
                </c:pt>
              </c:numCache>
            </c:numRef>
          </c:xVal>
          <c:yVal>
            <c:numRef>
              <c:f>Sheet1!$B$187:$B$241</c:f>
              <c:numCache>
                <c:formatCode>General</c:formatCode>
                <c:ptCount val="55"/>
                <c:pt idx="0">
                  <c:v>0.15472126284070647</c:v>
                </c:pt>
                <c:pt idx="1">
                  <c:v>0.1739716328061613</c:v>
                </c:pt>
                <c:pt idx="2">
                  <c:v>0.1752459620572609</c:v>
                </c:pt>
                <c:pt idx="3">
                  <c:v>0.1718064559521813</c:v>
                </c:pt>
                <c:pt idx="4">
                  <c:v>0.18760006206621965</c:v>
                </c:pt>
                <c:pt idx="5">
                  <c:v>0.1826882313093305</c:v>
                </c:pt>
                <c:pt idx="6">
                  <c:v>0.1738567879518252</c:v>
                </c:pt>
                <c:pt idx="7">
                  <c:v>0.17889210652598173</c:v>
                </c:pt>
                <c:pt idx="8">
                  <c:v>0.16786857441457778</c:v>
                </c:pt>
                <c:pt idx="9">
                  <c:v>0.16979335804492318</c:v>
                </c:pt>
                <c:pt idx="10">
                  <c:v>0.16591466417471207</c:v>
                </c:pt>
                <c:pt idx="11">
                  <c:v>0.13884278172560433</c:v>
                </c:pt>
                <c:pt idx="12">
                  <c:v>0.1617692819366943</c:v>
                </c:pt>
                <c:pt idx="13">
                  <c:v>0.1774876459833759</c:v>
                </c:pt>
                <c:pt idx="14">
                  <c:v>0.17868266876808864</c:v>
                </c:pt>
                <c:pt idx="15">
                  <c:v>0.16636450401731034</c:v>
                </c:pt>
                <c:pt idx="16">
                  <c:v>0.16977109891036446</c:v>
                </c:pt>
                <c:pt idx="17">
                  <c:v>0.17409229201263957</c:v>
                </c:pt>
                <c:pt idx="18">
                  <c:v>0.15216047538479427</c:v>
                </c:pt>
                <c:pt idx="19">
                  <c:v>0.13186373391387918</c:v>
                </c:pt>
                <c:pt idx="20">
                  <c:v>0.13824739530639124</c:v>
                </c:pt>
                <c:pt idx="21">
                  <c:v>0.1396766414837997</c:v>
                </c:pt>
                <c:pt idx="22">
                  <c:v>0.14283298823613638</c:v>
                </c:pt>
                <c:pt idx="23">
                  <c:v>0.16009976551022348</c:v>
                </c:pt>
                <c:pt idx="24">
                  <c:v>0.1612750170040674</c:v>
                </c:pt>
                <c:pt idx="25">
                  <c:v>0.1741125738280239</c:v>
                </c:pt>
                <c:pt idx="26">
                  <c:v>0.17077030429227713</c:v>
                </c:pt>
                <c:pt idx="27">
                  <c:v>0.15710015753859552</c:v>
                </c:pt>
                <c:pt idx="28">
                  <c:v>0.16309098050533685</c:v>
                </c:pt>
                <c:pt idx="29">
                  <c:v>0.16204598449603658</c:v>
                </c:pt>
                <c:pt idx="30">
                  <c:v>0.17522782328932937</c:v>
                </c:pt>
                <c:pt idx="31">
                  <c:v>0.17462120029723296</c:v>
                </c:pt>
                <c:pt idx="32">
                  <c:v>0.18073522519672436</c:v>
                </c:pt>
                <c:pt idx="33">
                  <c:v>0.1783676238614922</c:v>
                </c:pt>
                <c:pt idx="34">
                  <c:v>0.16933899770821134</c:v>
                </c:pt>
                <c:pt idx="35">
                  <c:v>0.1872334677929446</c:v>
                </c:pt>
                <c:pt idx="36">
                  <c:v>0.17741078232641425</c:v>
                </c:pt>
                <c:pt idx="37">
                  <c:v>0.15292511088750455</c:v>
                </c:pt>
                <c:pt idx="38">
                  <c:v>0.1560051015044976</c:v>
                </c:pt>
                <c:pt idx="39">
                  <c:v>0.16048668967272933</c:v>
                </c:pt>
                <c:pt idx="40">
                  <c:v>0.15658369087474108</c:v>
                </c:pt>
                <c:pt idx="41">
                  <c:v>0.14268092509330382</c:v>
                </c:pt>
                <c:pt idx="42">
                  <c:v>0.13749513566991556</c:v>
                </c:pt>
                <c:pt idx="43">
                  <c:v>0.14290726679912086</c:v>
                </c:pt>
                <c:pt idx="44">
                  <c:v>0.1454234414319338</c:v>
                </c:pt>
                <c:pt idx="45">
                  <c:v>0.15485290361193388</c:v>
                </c:pt>
                <c:pt idx="46">
                  <c:v>0.15952405569978093</c:v>
                </c:pt>
                <c:pt idx="47">
                  <c:v>0.15952922196121416</c:v>
                </c:pt>
                <c:pt idx="48">
                  <c:v>0.15999321585574497</c:v>
                </c:pt>
                <c:pt idx="49">
                  <c:v>0.1419576985474943</c:v>
                </c:pt>
                <c:pt idx="50">
                  <c:v>0.16909086319057778</c:v>
                </c:pt>
                <c:pt idx="51">
                  <c:v>0.16682117860784193</c:v>
                </c:pt>
                <c:pt idx="52">
                  <c:v>0.18251356177135836</c:v>
                </c:pt>
                <c:pt idx="53">
                  <c:v>0.22176602527879116</c:v>
                </c:pt>
                <c:pt idx="54">
                  <c:v>0.143904314266922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001440230436873"/>
          <c:min val="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5.2469</c:v>
                </c:pt>
                <c:pt idx="1">
                  <c:v>927.8379</c:v>
                </c:pt>
                <c:pt idx="2">
                  <c:v>1006.9917</c:v>
                </c:pt>
                <c:pt idx="3">
                  <c:v>1029.135</c:v>
                </c:pt>
                <c:pt idx="4">
                  <c:v>1044.8741</c:v>
                </c:pt>
                <c:pt idx="5">
                  <c:v>1018.5227</c:v>
                </c:pt>
                <c:pt idx="6">
                  <c:v>966.3155</c:v>
                </c:pt>
                <c:pt idx="7">
                  <c:v>992.4706</c:v>
                </c:pt>
                <c:pt idx="8">
                  <c:v>989.4482</c:v>
                </c:pt>
                <c:pt idx="9">
                  <c:v>969.575</c:v>
                </c:pt>
                <c:pt idx="10">
                  <c:v>943.6241</c:v>
                </c:pt>
                <c:pt idx="11">
                  <c:v>1001.8262</c:v>
                </c:pt>
                <c:pt idx="12">
                  <c:v>983.9427</c:v>
                </c:pt>
                <c:pt idx="13">
                  <c:v>983.237</c:v>
                </c:pt>
                <c:pt idx="14">
                  <c:v>968.588</c:v>
                </c:pt>
                <c:pt idx="15">
                  <c:v>963.1964</c:v>
                </c:pt>
                <c:pt idx="16">
                  <c:v>976.0468</c:v>
                </c:pt>
                <c:pt idx="17">
                  <c:v>975.4484</c:v>
                </c:pt>
                <c:pt idx="18">
                  <c:v>1041.3994</c:v>
                </c:pt>
                <c:pt idx="19">
                  <c:v>1035.6774</c:v>
                </c:pt>
                <c:pt idx="20">
                  <c:v>1013.5558</c:v>
                </c:pt>
                <c:pt idx="21">
                  <c:v>1018.9288</c:v>
                </c:pt>
                <c:pt idx="22">
                  <c:v>990.1288</c:v>
                </c:pt>
                <c:pt idx="23">
                  <c:v>993.8163</c:v>
                </c:pt>
                <c:pt idx="24">
                  <c:v>985.6446</c:v>
                </c:pt>
                <c:pt idx="25">
                  <c:v>977.3116</c:v>
                </c:pt>
                <c:pt idx="26">
                  <c:v>977.5879</c:v>
                </c:pt>
                <c:pt idx="27">
                  <c:v>999.3037</c:v>
                </c:pt>
                <c:pt idx="28">
                  <c:v>979.7914</c:v>
                </c:pt>
                <c:pt idx="29">
                  <c:v>870.8802</c:v>
                </c:pt>
                <c:pt idx="30">
                  <c:v>880.8746</c:v>
                </c:pt>
                <c:pt idx="31">
                  <c:v>937.6054</c:v>
                </c:pt>
                <c:pt idx="32">
                  <c:v>925.3144</c:v>
                </c:pt>
                <c:pt idx="33">
                  <c:v>908.1625</c:v>
                </c:pt>
                <c:pt idx="34">
                  <c:v>975.3121</c:v>
                </c:pt>
                <c:pt idx="35">
                  <c:v>1026.6262</c:v>
                </c:pt>
                <c:pt idx="36">
                  <c:v>1105.2765</c:v>
                </c:pt>
                <c:pt idx="37">
                  <c:v>1117.5358</c:v>
                </c:pt>
                <c:pt idx="38">
                  <c:v>1160.3182</c:v>
                </c:pt>
                <c:pt idx="39">
                  <c:v>1159.413</c:v>
                </c:pt>
                <c:pt idx="40">
                  <c:v>1194.9024</c:v>
                </c:pt>
                <c:pt idx="41">
                  <c:v>1263.3852</c:v>
                </c:pt>
                <c:pt idx="42">
                  <c:v>1314.0694</c:v>
                </c:pt>
                <c:pt idx="43">
                  <c:v>1330.5719</c:v>
                </c:pt>
                <c:pt idx="44">
                  <c:v>1138.7336</c:v>
                </c:pt>
                <c:pt idx="45">
                  <c:v>1041.5807</c:v>
                </c:pt>
                <c:pt idx="46">
                  <c:v>1030.0525</c:v>
                </c:pt>
                <c:pt idx="47">
                  <c:v>1015.8908</c:v>
                </c:pt>
                <c:pt idx="48">
                  <c:v>1011.0329</c:v>
                </c:pt>
                <c:pt idx="49">
                  <c:v>995.8339</c:v>
                </c:pt>
                <c:pt idx="50">
                  <c:v>1000.6</c:v>
                </c:pt>
                <c:pt idx="51">
                  <c:v>1005.503</c:v>
                </c:pt>
                <c:pt idx="52">
                  <c:v>1042.0279</c:v>
                </c:pt>
                <c:pt idx="53">
                  <c:v>1107.5747</c:v>
                </c:pt>
                <c:pt idx="54">
                  <c:v>1071.1166</c:v>
                </c:pt>
                <c:pt idx="55">
                  <c:v>1080.9059</c:v>
                </c:pt>
                <c:pt idx="56">
                  <c:v>1111.8664</c:v>
                </c:pt>
                <c:pt idx="57">
                  <c:v>1114.3189</c:v>
                </c:pt>
                <c:pt idx="58">
                  <c:v>1103.5746</c:v>
                </c:pt>
                <c:pt idx="59">
                  <c:v>1085.0414</c:v>
                </c:pt>
                <c:pt idx="60">
                  <c:v>1137.2118</c:v>
                </c:pt>
                <c:pt idx="61">
                  <c:v>1126.4659</c:v>
                </c:pt>
                <c:pt idx="62">
                  <c:v>1106.0941</c:v>
                </c:pt>
                <c:pt idx="63">
                  <c:v>1114.6389</c:v>
                </c:pt>
                <c:pt idx="64">
                  <c:v>1119.7055</c:v>
                </c:pt>
                <c:pt idx="65">
                  <c:v>1116.8905</c:v>
                </c:pt>
                <c:pt idx="66">
                  <c:v>1026.3119</c:v>
                </c:pt>
                <c:pt idx="67">
                  <c:v>1009.8626</c:v>
                </c:pt>
                <c:pt idx="68">
                  <c:v>944.9733</c:v>
                </c:pt>
                <c:pt idx="69">
                  <c:v>961.4973</c:v>
                </c:pt>
                <c:pt idx="70">
                  <c:v>936.0779</c:v>
                </c:pt>
                <c:pt idx="71">
                  <c:v>990.8127</c:v>
                </c:pt>
                <c:pt idx="72">
                  <c:v>990.1404</c:v>
                </c:pt>
                <c:pt idx="73">
                  <c:v>1032.0249</c:v>
                </c:pt>
                <c:pt idx="74">
                  <c:v>1038.6039</c:v>
                </c:pt>
                <c:pt idx="75">
                  <c:v>979.8496</c:v>
                </c:pt>
                <c:pt idx="76">
                  <c:v>1010.4217</c:v>
                </c:pt>
                <c:pt idx="77">
                  <c:v>1031.1715</c:v>
                </c:pt>
                <c:pt idx="78">
                  <c:v>1093.0854</c:v>
                </c:pt>
                <c:pt idx="79">
                  <c:v>532.2585</c:v>
                </c:pt>
                <c:pt idx="80">
                  <c:v>529.6729</c:v>
                </c:pt>
                <c:pt idx="81">
                  <c:v>767.2538</c:v>
                </c:pt>
                <c:pt idx="82">
                  <c:v>668.2044</c:v>
                </c:pt>
                <c:pt idx="83">
                  <c:v>814.186</c:v>
                </c:pt>
                <c:pt idx="84">
                  <c:v>850.9328</c:v>
                </c:pt>
                <c:pt idx="85">
                  <c:v>895.8567</c:v>
                </c:pt>
                <c:pt idx="86">
                  <c:v>1124.5444</c:v>
                </c:pt>
                <c:pt idx="87">
                  <c:v>1204.5255</c:v>
                </c:pt>
                <c:pt idx="88">
                  <c:v>1094.5874</c:v>
                </c:pt>
                <c:pt idx="89">
                  <c:v>946.1328</c:v>
                </c:pt>
                <c:pt idx="90">
                  <c:v>1128.5982</c:v>
                </c:pt>
                <c:pt idx="91">
                  <c:v>998.4762</c:v>
                </c:pt>
                <c:pt idx="92">
                  <c:v>1139.9105</c:v>
                </c:pt>
                <c:pt idx="93">
                  <c:v>1205.4564</c:v>
                </c:pt>
                <c:pt idx="94">
                  <c:v>1127.4786</c:v>
                </c:pt>
                <c:pt idx="95">
                  <c:v>1251.8558</c:v>
                </c:pt>
                <c:pt idx="96">
                  <c:v>1195.2225</c:v>
                </c:pt>
                <c:pt idx="97">
                  <c:v>1194.7032</c:v>
                </c:pt>
                <c:pt idx="98">
                  <c:v>1204.2016</c:v>
                </c:pt>
                <c:pt idx="99">
                  <c:v>1123.3243</c:v>
                </c:pt>
                <c:pt idx="100">
                  <c:v>1161.127</c:v>
                </c:pt>
                <c:pt idx="101">
                  <c:v>1140.9858</c:v>
                </c:pt>
                <c:pt idx="102">
                  <c:v>1143.8896</c:v>
                </c:pt>
                <c:pt idx="103">
                  <c:v>1048.2248</c:v>
                </c:pt>
                <c:pt idx="104">
                  <c:v>1162.8448</c:v>
                </c:pt>
              </c:numCache>
            </c:numRef>
          </c:xVal>
          <c:yVal>
            <c:numRef>
              <c:f>Sheet1!$B$2:$B$106</c:f>
              <c:numCache>
                <c:formatCode>General</c:formatCode>
                <c:ptCount val="105"/>
                <c:pt idx="0">
                  <c:v>0.2252832131822863</c:v>
                </c:pt>
                <c:pt idx="1">
                  <c:v>0.21076377699000967</c:v>
                </c:pt>
                <c:pt idx="2">
                  <c:v>0.19223424570337364</c:v>
                </c:pt>
                <c:pt idx="3">
                  <c:v>0.1946787800129786</c:v>
                </c:pt>
                <c:pt idx="4">
                  <c:v>0.2089210827296988</c:v>
                </c:pt>
                <c:pt idx="5">
                  <c:v>0.19696969696969696</c:v>
                </c:pt>
                <c:pt idx="6">
                  <c:v>0.20828355236957388</c:v>
                </c:pt>
                <c:pt idx="7">
                  <c:v>0.22232601588042972</c:v>
                </c:pt>
                <c:pt idx="8">
                  <c:v>0.20831084727468968</c:v>
                </c:pt>
                <c:pt idx="9">
                  <c:v>0.20292645360030806</c:v>
                </c:pt>
                <c:pt idx="10">
                  <c:v>0.21327367636092467</c:v>
                </c:pt>
                <c:pt idx="11">
                  <c:v>0.21066978193146418</c:v>
                </c:pt>
                <c:pt idx="12">
                  <c:v>0.21751512993948025</c:v>
                </c:pt>
                <c:pt idx="13">
                  <c:v>0.21278065630397236</c:v>
                </c:pt>
                <c:pt idx="14">
                  <c:v>0.21115398105927743</c:v>
                </c:pt>
                <c:pt idx="15">
                  <c:v>0.2148664343786295</c:v>
                </c:pt>
                <c:pt idx="16">
                  <c:v>0.2176933765632237</c:v>
                </c:pt>
                <c:pt idx="17">
                  <c:v>0.1866478608368594</c:v>
                </c:pt>
                <c:pt idx="18">
                  <c:v>0.17182662538699692</c:v>
                </c:pt>
                <c:pt idx="19">
                  <c:v>0.18044237485448195</c:v>
                </c:pt>
                <c:pt idx="20">
                  <c:v>0.20263901979264845</c:v>
                </c:pt>
                <c:pt idx="21">
                  <c:v>0.2169993560849968</c:v>
                </c:pt>
                <c:pt idx="22">
                  <c:v>0.21382542472173405</c:v>
                </c:pt>
                <c:pt idx="23">
                  <c:v>0.2109471094710947</c:v>
                </c:pt>
                <c:pt idx="24">
                  <c:v>0.20966084275436794</c:v>
                </c:pt>
                <c:pt idx="25">
                  <c:v>0.21213942307692307</c:v>
                </c:pt>
                <c:pt idx="26">
                  <c:v>0.20507042253521127</c:v>
                </c:pt>
                <c:pt idx="27">
                  <c:v>0.18563829787234043</c:v>
                </c:pt>
                <c:pt idx="28">
                  <c:v>0.19498607242339833</c:v>
                </c:pt>
                <c:pt idx="29">
                  <c:v>0.20945945945945946</c:v>
                </c:pt>
                <c:pt idx="30">
                  <c:v>0.21869158878504674</c:v>
                </c:pt>
                <c:pt idx="31">
                  <c:v>0.19415204678362574</c:v>
                </c:pt>
                <c:pt idx="32">
                  <c:v>0.19964136282127914</c:v>
                </c:pt>
                <c:pt idx="33">
                  <c:v>0.21741293532338307</c:v>
                </c:pt>
                <c:pt idx="34">
                  <c:v>0.2086271256739942</c:v>
                </c:pt>
                <c:pt idx="35">
                  <c:v>0.20865834633385336</c:v>
                </c:pt>
                <c:pt idx="36">
                  <c:v>0.18201284796573874</c:v>
                </c:pt>
                <c:pt idx="37">
                  <c:v>0.15424912689173456</c:v>
                </c:pt>
                <c:pt idx="38">
                  <c:v>0.14057507987220447</c:v>
                </c:pt>
                <c:pt idx="39">
                  <c:v>0.14330218068535824</c:v>
                </c:pt>
                <c:pt idx="40">
                  <c:v>0.14299470389985555</c:v>
                </c:pt>
                <c:pt idx="41">
                  <c:v>0.1412133891213389</c:v>
                </c:pt>
                <c:pt idx="42">
                  <c:v>0.13204951856946354</c:v>
                </c:pt>
                <c:pt idx="43">
                  <c:v>0.13088301210219633</c:v>
                </c:pt>
                <c:pt idx="44">
                  <c:v>0.15768025078369907</c:v>
                </c:pt>
                <c:pt idx="45">
                  <c:v>0.19207317073170732</c:v>
                </c:pt>
                <c:pt idx="46">
                  <c:v>0.20964671038713772</c:v>
                </c:pt>
                <c:pt idx="47">
                  <c:v>0.20133185349611543</c:v>
                </c:pt>
                <c:pt idx="48">
                  <c:v>0.2203778915769027</c:v>
                </c:pt>
                <c:pt idx="49">
                  <c:v>0.24030811971208485</c:v>
                </c:pt>
                <c:pt idx="50">
                  <c:v>0.21067094114953058</c:v>
                </c:pt>
                <c:pt idx="51">
                  <c:v>0.18877408545099134</c:v>
                </c:pt>
                <c:pt idx="52">
                  <c:v>0.1909344137756394</c:v>
                </c:pt>
                <c:pt idx="53">
                  <c:v>0.19433198380566802</c:v>
                </c:pt>
                <c:pt idx="54">
                  <c:v>0.18800386971944533</c:v>
                </c:pt>
                <c:pt idx="55">
                  <c:v>0.1860624785444559</c:v>
                </c:pt>
                <c:pt idx="56">
                  <c:v>0.18496293681609602</c:v>
                </c:pt>
                <c:pt idx="57">
                  <c:v>0.17580743449116393</c:v>
                </c:pt>
                <c:pt idx="58">
                  <c:v>0.19775678866587956</c:v>
                </c:pt>
                <c:pt idx="59">
                  <c:v>0.19247787610619468</c:v>
                </c:pt>
                <c:pt idx="60">
                  <c:v>0.20515411824153612</c:v>
                </c:pt>
                <c:pt idx="61">
                  <c:v>0.2045968349660889</c:v>
                </c:pt>
                <c:pt idx="62">
                  <c:v>0.1836867862969005</c:v>
                </c:pt>
                <c:pt idx="63">
                  <c:v>0.22160026341784655</c:v>
                </c:pt>
                <c:pt idx="64">
                  <c:v>0.21749024707412223</c:v>
                </c:pt>
                <c:pt idx="65">
                  <c:v>0.206286836935167</c:v>
                </c:pt>
                <c:pt idx="66">
                  <c:v>0.21261378413524057</c:v>
                </c:pt>
                <c:pt idx="67">
                  <c:v>0.21716987995634776</c:v>
                </c:pt>
                <c:pt idx="68">
                  <c:v>0.20107571369466282</c:v>
                </c:pt>
                <c:pt idx="69">
                  <c:v>0.19154355578196638</c:v>
                </c:pt>
                <c:pt idx="70">
                  <c:v>0.16666666666666666</c:v>
                </c:pt>
                <c:pt idx="71">
                  <c:v>0.18453427065026362</c:v>
                </c:pt>
                <c:pt idx="72">
                  <c:v>0.2089005235602094</c:v>
                </c:pt>
                <c:pt idx="73">
                  <c:v>0.2</c:v>
                </c:pt>
                <c:pt idx="74">
                  <c:v>0.20793085917641077</c:v>
                </c:pt>
                <c:pt idx="75">
                  <c:v>0.22150789012273525</c:v>
                </c:pt>
                <c:pt idx="76">
                  <c:v>0.2224334600760456</c:v>
                </c:pt>
                <c:pt idx="77">
                  <c:v>0.2038258575197889</c:v>
                </c:pt>
                <c:pt idx="78">
                  <c:v>0.1863395225464191</c:v>
                </c:pt>
                <c:pt idx="79">
                  <c:v>0.32501200192030727</c:v>
                </c:pt>
                <c:pt idx="80">
                  <c:v>0.314004914004914</c:v>
                </c:pt>
                <c:pt idx="81">
                  <c:v>0.22421908429610612</c:v>
                </c:pt>
                <c:pt idx="82">
                  <c:v>0.2544742729306488</c:v>
                </c:pt>
                <c:pt idx="83">
                  <c:v>0.18722786647314948</c:v>
                </c:pt>
                <c:pt idx="84">
                  <c:v>0.20583717357910905</c:v>
                </c:pt>
                <c:pt idx="85">
                  <c:v>0.20552147239263804</c:v>
                </c:pt>
                <c:pt idx="86">
                  <c:v>0.169995129079396</c:v>
                </c:pt>
                <c:pt idx="87">
                  <c:v>0.17639484978540773</c:v>
                </c:pt>
                <c:pt idx="88">
                  <c:v>0.1866840731070496</c:v>
                </c:pt>
                <c:pt idx="89">
                  <c:v>0.19306184012066366</c:v>
                </c:pt>
                <c:pt idx="90">
                  <c:v>0.15915697674418605</c:v>
                </c:pt>
                <c:pt idx="91">
                  <c:v>0.18596730245231607</c:v>
                </c:pt>
                <c:pt idx="92">
                  <c:v>0.17226197028068244</c:v>
                </c:pt>
                <c:pt idx="93">
                  <c:v>0.1582138919514884</c:v>
                </c:pt>
                <c:pt idx="94">
                  <c:v>0.17488789237668162</c:v>
                </c:pt>
                <c:pt idx="95">
                  <c:v>0.15980392156862744</c:v>
                </c:pt>
                <c:pt idx="96">
                  <c:v>0.14195478723404256</c:v>
                </c:pt>
                <c:pt idx="97">
                  <c:v>0.16513216513216514</c:v>
                </c:pt>
                <c:pt idx="98">
                  <c:v>0.17841930903928063</c:v>
                </c:pt>
                <c:pt idx="99">
                  <c:v>0.18142262580401058</c:v>
                </c:pt>
                <c:pt idx="100">
                  <c:v>0.19804007605675003</c:v>
                </c:pt>
                <c:pt idx="101">
                  <c:v>0.19300873907615482</c:v>
                </c:pt>
                <c:pt idx="102">
                  <c:v>0.16608996539792387</c:v>
                </c:pt>
                <c:pt idx="103">
                  <c:v>0.1751592356687898</c:v>
                </c:pt>
                <c:pt idx="104">
                  <c:v>0.1755130927105449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20.7725</c:v>
                </c:pt>
                <c:pt idx="1">
                  <c:v>1147.9413</c:v>
                </c:pt>
                <c:pt idx="2">
                  <c:v>1134.1611</c:v>
                </c:pt>
                <c:pt idx="3">
                  <c:v>1165.7333</c:v>
                </c:pt>
                <c:pt idx="4">
                  <c:v>1167.5458</c:v>
                </c:pt>
                <c:pt idx="5">
                  <c:v>1176.931</c:v>
                </c:pt>
                <c:pt idx="6">
                  <c:v>1128.1407</c:v>
                </c:pt>
                <c:pt idx="7">
                  <c:v>1197.9387</c:v>
                </c:pt>
                <c:pt idx="8">
                  <c:v>1296.2626</c:v>
                </c:pt>
                <c:pt idx="9">
                  <c:v>1228.7533</c:v>
                </c:pt>
                <c:pt idx="10">
                  <c:v>1279.9304</c:v>
                </c:pt>
                <c:pt idx="11">
                  <c:v>1102.5453</c:v>
                </c:pt>
                <c:pt idx="12">
                  <c:v>1150.8688</c:v>
                </c:pt>
                <c:pt idx="13">
                  <c:v>1201.572</c:v>
                </c:pt>
                <c:pt idx="14">
                  <c:v>1182.0044</c:v>
                </c:pt>
                <c:pt idx="15">
                  <c:v>1233.2391</c:v>
                </c:pt>
                <c:pt idx="16">
                  <c:v>1278.0143</c:v>
                </c:pt>
                <c:pt idx="17">
                  <c:v>1217.8735</c:v>
                </c:pt>
                <c:pt idx="18">
                  <c:v>1271.1563</c:v>
                </c:pt>
                <c:pt idx="19">
                  <c:v>1379.45</c:v>
                </c:pt>
                <c:pt idx="20">
                  <c:v>1381.8319</c:v>
                </c:pt>
                <c:pt idx="21">
                  <c:v>1366.8531</c:v>
                </c:pt>
                <c:pt idx="22">
                  <c:v>1353.5865</c:v>
                </c:pt>
                <c:pt idx="23">
                  <c:v>1302.53</c:v>
                </c:pt>
                <c:pt idx="24">
                  <c:v>1292.9583</c:v>
                </c:pt>
                <c:pt idx="25">
                  <c:v>1226.25</c:v>
                </c:pt>
                <c:pt idx="26">
                  <c:v>1282.9598</c:v>
                </c:pt>
                <c:pt idx="27">
                  <c:v>1316.6749</c:v>
                </c:pt>
                <c:pt idx="28">
                  <c:v>1299.4184</c:v>
                </c:pt>
                <c:pt idx="29">
                  <c:v>1305.6255</c:v>
                </c:pt>
                <c:pt idx="30">
                  <c:v>1274.9954</c:v>
                </c:pt>
                <c:pt idx="31">
                  <c:v>1231.1244</c:v>
                </c:pt>
                <c:pt idx="32">
                  <c:v>1248.5388</c:v>
                </c:pt>
                <c:pt idx="33">
                  <c:v>1282.5075</c:v>
                </c:pt>
                <c:pt idx="34">
                  <c:v>1306.0545</c:v>
                </c:pt>
                <c:pt idx="35">
                  <c:v>1279.5422</c:v>
                </c:pt>
                <c:pt idx="36">
                  <c:v>1299.858</c:v>
                </c:pt>
                <c:pt idx="37">
                  <c:v>1481.646</c:v>
                </c:pt>
                <c:pt idx="38">
                  <c:v>1435.6786</c:v>
                </c:pt>
                <c:pt idx="39">
                  <c:v>1367.5289</c:v>
                </c:pt>
                <c:pt idx="40">
                  <c:v>1428.8537</c:v>
                </c:pt>
                <c:pt idx="41">
                  <c:v>1507.1062</c:v>
                </c:pt>
                <c:pt idx="42">
                  <c:v>1488.4518</c:v>
                </c:pt>
                <c:pt idx="43">
                  <c:v>1419.5639</c:v>
                </c:pt>
                <c:pt idx="44">
                  <c:v>1364.8241</c:v>
                </c:pt>
                <c:pt idx="45">
                  <c:v>1291.7096</c:v>
                </c:pt>
                <c:pt idx="46">
                  <c:v>1281.3808</c:v>
                </c:pt>
                <c:pt idx="47">
                  <c:v>1238.2778</c:v>
                </c:pt>
                <c:pt idx="48">
                  <c:v>1260.2165</c:v>
                </c:pt>
                <c:pt idx="49">
                  <c:v>1313.872</c:v>
                </c:pt>
                <c:pt idx="50">
                  <c:v>1146.3962</c:v>
                </c:pt>
                <c:pt idx="51">
                  <c:v>1091.9028</c:v>
                </c:pt>
              </c:numCache>
            </c:numRef>
          </c:xVal>
          <c:yVal>
            <c:numRef>
              <c:f>Sheet1!$B$109:$B$160</c:f>
              <c:numCache>
                <c:formatCode>General</c:formatCode>
                <c:ptCount val="52"/>
                <c:pt idx="0">
                  <c:v>0.1684599865501009</c:v>
                </c:pt>
                <c:pt idx="1">
                  <c:v>0.19297583081570996</c:v>
                </c:pt>
                <c:pt idx="2">
                  <c:v>0.19219606578523057</c:v>
                </c:pt>
                <c:pt idx="3">
                  <c:v>0.19808517662594916</c:v>
                </c:pt>
                <c:pt idx="4">
                  <c:v>0.20783022319795097</c:v>
                </c:pt>
                <c:pt idx="5">
                  <c:v>0.1797872340425532</c:v>
                </c:pt>
                <c:pt idx="6">
                  <c:v>0.17739025856885146</c:v>
                </c:pt>
                <c:pt idx="7">
                  <c:v>0.16825396825396827</c:v>
                </c:pt>
                <c:pt idx="8">
                  <c:v>0.15764331210191082</c:v>
                </c:pt>
                <c:pt idx="9">
                  <c:v>0.17285648784961027</c:v>
                </c:pt>
                <c:pt idx="10">
                  <c:v>0.17847286108555657</c:v>
                </c:pt>
                <c:pt idx="11">
                  <c:v>0.18864097363083165</c:v>
                </c:pt>
                <c:pt idx="12">
                  <c:v>0.1973733583489681</c:v>
                </c:pt>
                <c:pt idx="13">
                  <c:v>0.19804088586030663</c:v>
                </c:pt>
                <c:pt idx="14">
                  <c:v>0.20276292335115864</c:v>
                </c:pt>
                <c:pt idx="15">
                  <c:v>0.18862121988723732</c:v>
                </c:pt>
                <c:pt idx="16">
                  <c:v>0.16676593210244192</c:v>
                </c:pt>
                <c:pt idx="17">
                  <c:v>0.1505056513979774</c:v>
                </c:pt>
                <c:pt idx="18">
                  <c:v>0.14204185161699429</c:v>
                </c:pt>
                <c:pt idx="19">
                  <c:v>0.15643802647412755</c:v>
                </c:pt>
                <c:pt idx="20">
                  <c:v>0.15035644847699287</c:v>
                </c:pt>
                <c:pt idx="21">
                  <c:v>0.15401459854014599</c:v>
                </c:pt>
                <c:pt idx="22">
                  <c:v>0.14606741573033707</c:v>
                </c:pt>
                <c:pt idx="23">
                  <c:v>0.14892032762472077</c:v>
                </c:pt>
                <c:pt idx="24">
                  <c:v>0.14971927635683094</c:v>
                </c:pt>
                <c:pt idx="25">
                  <c:v>0.15455140798952194</c:v>
                </c:pt>
                <c:pt idx="26">
                  <c:v>0.1382716049382716</c:v>
                </c:pt>
                <c:pt idx="27">
                  <c:v>0.13721061547148503</c:v>
                </c:pt>
                <c:pt idx="28">
                  <c:v>0.15376226826608505</c:v>
                </c:pt>
                <c:pt idx="29">
                  <c:v>0.16277561608300908</c:v>
                </c:pt>
                <c:pt idx="30">
                  <c:v>0.15</c:v>
                </c:pt>
                <c:pt idx="31">
                  <c:v>0.1557377049180328</c:v>
                </c:pt>
                <c:pt idx="32">
                  <c:v>0.1636017755231452</c:v>
                </c:pt>
                <c:pt idx="33">
                  <c:v>0.19598236158745713</c:v>
                </c:pt>
                <c:pt idx="34">
                  <c:v>0.21069306930693069</c:v>
                </c:pt>
                <c:pt idx="35">
                  <c:v>0.2084221748400853</c:v>
                </c:pt>
                <c:pt idx="36">
                  <c:v>0.1603415559772296</c:v>
                </c:pt>
                <c:pt idx="37">
                  <c:v>0.13327814569536423</c:v>
                </c:pt>
                <c:pt idx="38">
                  <c:v>0.14225232853513972</c:v>
                </c:pt>
                <c:pt idx="39">
                  <c:v>0.16263440860215053</c:v>
                </c:pt>
                <c:pt idx="40">
                  <c:v>0.13684913217623498</c:v>
                </c:pt>
                <c:pt idx="41">
                  <c:v>0.13933415536374846</c:v>
                </c:pt>
                <c:pt idx="42">
                  <c:v>0.13604972375690608</c:v>
                </c:pt>
                <c:pt idx="43">
                  <c:v>0.1276391554702495</c:v>
                </c:pt>
                <c:pt idx="44">
                  <c:v>0.125</c:v>
                </c:pt>
                <c:pt idx="45">
                  <c:v>0.14004591669399805</c:v>
                </c:pt>
                <c:pt idx="46">
                  <c:v>0.13586765223512848</c:v>
                </c:pt>
                <c:pt idx="47">
                  <c:v>0.13708609271523178</c:v>
                </c:pt>
                <c:pt idx="48">
                  <c:v>0.13293712855802314</c:v>
                </c:pt>
                <c:pt idx="49">
                  <c:v>0.1429318003658218</c:v>
                </c:pt>
                <c:pt idx="50">
                  <c:v>0.17663567795123664</c:v>
                </c:pt>
                <c:pt idx="51">
                  <c:v>0.1777452415812591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1.5134038556735</c:v>
                </c:pt>
              </c:numCache>
            </c:numRef>
          </c:xVal>
          <c:yVal>
            <c:numRef>
              <c:f>Sheet1!$B$163:$B$164</c:f>
              <c:numCache>
                <c:formatCode>General</c:formatCode>
                <c:ptCount val="2"/>
                <c:pt idx="0">
                  <c:v>0.22176602527879116</c:v>
                </c:pt>
                <c:pt idx="1">
                  <c:v>0.2217660252787911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1.5134038556735</c:v>
                </c:pt>
                <c:pt idx="1">
                  <c:v>901.5134038556735</c:v>
                </c:pt>
              </c:numCache>
            </c:numRef>
          </c:xVal>
          <c:yVal>
            <c:numRef>
              <c:f>Sheet1!$B$167:$B$168</c:f>
              <c:numCache>
                <c:formatCode>General</c:formatCode>
                <c:ptCount val="2"/>
                <c:pt idx="0">
                  <c:v>0.221766025278791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1.0231776015316</c:v>
                </c:pt>
              </c:numCache>
            </c:numRef>
          </c:xVal>
          <c:yVal>
            <c:numRef>
              <c:f>Sheet1!$B$171:$B$172</c:f>
              <c:numCache>
                <c:formatCode>General</c:formatCode>
                <c:ptCount val="2"/>
                <c:pt idx="0">
                  <c:v>0.18251356177135836</c:v>
                </c:pt>
                <c:pt idx="1">
                  <c:v>0.1825135617713583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1.0231776015316</c:v>
                </c:pt>
                <c:pt idx="1">
                  <c:v>1151.0231776015316</c:v>
                </c:pt>
              </c:numCache>
            </c:numRef>
          </c:xVal>
          <c:yVal>
            <c:numRef>
              <c:f>Sheet1!$B$175:$B$176</c:f>
              <c:numCache>
                <c:formatCode>General</c:formatCode>
                <c:ptCount val="2"/>
                <c:pt idx="0">
                  <c:v>0.1825135617713583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96.4443244170825</c:v>
                </c:pt>
              </c:numCache>
            </c:numRef>
          </c:xVal>
          <c:yVal>
            <c:numRef>
              <c:f>Sheet1!$B$179:$B$180</c:f>
              <c:numCache>
                <c:formatCode>General</c:formatCode>
                <c:ptCount val="2"/>
                <c:pt idx="0">
                  <c:v>0.14390431426692218</c:v>
                </c:pt>
                <c:pt idx="1">
                  <c:v>0.1439043142669221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96.4443244170825</c:v>
                </c:pt>
                <c:pt idx="1">
                  <c:v>1396.4443244170825</c:v>
                </c:pt>
              </c:numCache>
            </c:numRef>
          </c:xVal>
          <c:yVal>
            <c:numRef>
              <c:f>Sheet1!$B$183:$B$184</c:f>
              <c:numCache>
                <c:formatCode>General</c:formatCode>
                <c:ptCount val="2"/>
                <c:pt idx="0">
                  <c:v>0.1439043142669221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20.7725</c:v>
                </c:pt>
                <c:pt idx="1">
                  <c:v>1147.9413</c:v>
                </c:pt>
                <c:pt idx="2">
                  <c:v>1134.1611</c:v>
                </c:pt>
                <c:pt idx="3">
                  <c:v>1165.7333</c:v>
                </c:pt>
                <c:pt idx="4">
                  <c:v>1167.5458</c:v>
                </c:pt>
                <c:pt idx="5">
                  <c:v>1176.931</c:v>
                </c:pt>
                <c:pt idx="6">
                  <c:v>1128.1407</c:v>
                </c:pt>
                <c:pt idx="7">
                  <c:v>1197.9387</c:v>
                </c:pt>
                <c:pt idx="8">
                  <c:v>1296.2626</c:v>
                </c:pt>
                <c:pt idx="9">
                  <c:v>1228.7533</c:v>
                </c:pt>
                <c:pt idx="10">
                  <c:v>1279.9304</c:v>
                </c:pt>
                <c:pt idx="11">
                  <c:v>1102.5453</c:v>
                </c:pt>
                <c:pt idx="12">
                  <c:v>1150.8688</c:v>
                </c:pt>
                <c:pt idx="13">
                  <c:v>1201.572</c:v>
                </c:pt>
                <c:pt idx="14">
                  <c:v>1182.0044</c:v>
                </c:pt>
                <c:pt idx="15">
                  <c:v>1233.2391</c:v>
                </c:pt>
                <c:pt idx="16">
                  <c:v>1278.0143</c:v>
                </c:pt>
                <c:pt idx="17">
                  <c:v>1217.8735</c:v>
                </c:pt>
                <c:pt idx="18">
                  <c:v>1271.1563</c:v>
                </c:pt>
                <c:pt idx="19">
                  <c:v>1379.45</c:v>
                </c:pt>
                <c:pt idx="20">
                  <c:v>1381.8319</c:v>
                </c:pt>
                <c:pt idx="21">
                  <c:v>1366.8531</c:v>
                </c:pt>
                <c:pt idx="22">
                  <c:v>1353.5865</c:v>
                </c:pt>
                <c:pt idx="23">
                  <c:v>1302.53</c:v>
                </c:pt>
                <c:pt idx="24">
                  <c:v>1292.9583</c:v>
                </c:pt>
                <c:pt idx="25">
                  <c:v>1226.25</c:v>
                </c:pt>
                <c:pt idx="26">
                  <c:v>1282.9598</c:v>
                </c:pt>
                <c:pt idx="27">
                  <c:v>1316.6749</c:v>
                </c:pt>
                <c:pt idx="28">
                  <c:v>1299.4184</c:v>
                </c:pt>
                <c:pt idx="29">
                  <c:v>1305.6255</c:v>
                </c:pt>
                <c:pt idx="30">
                  <c:v>1274.9954</c:v>
                </c:pt>
                <c:pt idx="31">
                  <c:v>1231.1244</c:v>
                </c:pt>
                <c:pt idx="32">
                  <c:v>1248.5388</c:v>
                </c:pt>
                <c:pt idx="33">
                  <c:v>1282.5075</c:v>
                </c:pt>
                <c:pt idx="34">
                  <c:v>1306.0545</c:v>
                </c:pt>
                <c:pt idx="35">
                  <c:v>1279.5422</c:v>
                </c:pt>
                <c:pt idx="36">
                  <c:v>1299.858</c:v>
                </c:pt>
                <c:pt idx="37">
                  <c:v>1481.646</c:v>
                </c:pt>
                <c:pt idx="38">
                  <c:v>1435.6786</c:v>
                </c:pt>
                <c:pt idx="39">
                  <c:v>1367.5289</c:v>
                </c:pt>
                <c:pt idx="40">
                  <c:v>1428.8537</c:v>
                </c:pt>
                <c:pt idx="41">
                  <c:v>1507.1062</c:v>
                </c:pt>
                <c:pt idx="42">
                  <c:v>1488.4518</c:v>
                </c:pt>
                <c:pt idx="43">
                  <c:v>1419.5639</c:v>
                </c:pt>
                <c:pt idx="44">
                  <c:v>1364.8241</c:v>
                </c:pt>
                <c:pt idx="45">
                  <c:v>1291.7096</c:v>
                </c:pt>
                <c:pt idx="46">
                  <c:v>1281.3808</c:v>
                </c:pt>
                <c:pt idx="47">
                  <c:v>1238.2778</c:v>
                </c:pt>
                <c:pt idx="48">
                  <c:v>1260.2165</c:v>
                </c:pt>
                <c:pt idx="49">
                  <c:v>1313.872</c:v>
                </c:pt>
                <c:pt idx="50">
                  <c:v>1146.3962</c:v>
                </c:pt>
                <c:pt idx="51">
                  <c:v>1091.9028</c:v>
                </c:pt>
                <c:pt idx="52">
                  <c:v>1151.0231776015316</c:v>
                </c:pt>
                <c:pt idx="53">
                  <c:v>901.5134038556735</c:v>
                </c:pt>
                <c:pt idx="54">
                  <c:v>1396.4443244170825</c:v>
                </c:pt>
              </c:numCache>
            </c:numRef>
          </c:xVal>
          <c:yVal>
            <c:numRef>
              <c:f>Sheet1!$B$187:$B$241</c:f>
              <c:numCache>
                <c:formatCode>General</c:formatCode>
                <c:ptCount val="55"/>
                <c:pt idx="0">
                  <c:v>0.171540714130918</c:v>
                </c:pt>
                <c:pt idx="1">
                  <c:v>0.18299839764080095</c:v>
                </c:pt>
                <c:pt idx="2">
                  <c:v>0.18516627583452683</c:v>
                </c:pt>
                <c:pt idx="3">
                  <c:v>0.1801993897292488</c:v>
                </c:pt>
                <c:pt idx="4">
                  <c:v>0.17991425023735982</c:v>
                </c:pt>
                <c:pt idx="5">
                  <c:v>0.1784377861494833</c:v>
                </c:pt>
                <c:pt idx="6">
                  <c:v>0.1861133951707852</c:v>
                </c:pt>
                <c:pt idx="7">
                  <c:v>0.17513288965085955</c:v>
                </c:pt>
                <c:pt idx="8">
                  <c:v>0.15966473688587177</c:v>
                </c:pt>
                <c:pt idx="9">
                  <c:v>0.17028518792023256</c:v>
                </c:pt>
                <c:pt idx="10">
                  <c:v>0.1622340914841773</c:v>
                </c:pt>
                <c:pt idx="11">
                  <c:v>0.19014002101944424</c:v>
                </c:pt>
                <c:pt idx="12">
                  <c:v>0.18253784819941893</c:v>
                </c:pt>
                <c:pt idx="13">
                  <c:v>0.17456130492485672</c:v>
                </c:pt>
                <c:pt idx="14">
                  <c:v>0.1776396472815388</c:v>
                </c:pt>
                <c:pt idx="15">
                  <c:v>0.1695794893090792</c:v>
                </c:pt>
                <c:pt idx="16">
                  <c:v>0.16253552915612676</c:v>
                </c:pt>
                <c:pt idx="17">
                  <c:v>0.1719967799996</c:v>
                </c:pt>
                <c:pt idx="18">
                  <c:v>0.16361441833426438</c:v>
                </c:pt>
                <c:pt idx="19">
                  <c:v>0.14657783317963</c:v>
                </c:pt>
                <c:pt idx="20">
                  <c:v>0.14620311662474433</c:v>
                </c:pt>
                <c:pt idx="21">
                  <c:v>0.14855955658121675</c:v>
                </c:pt>
                <c:pt idx="22">
                  <c:v>0.1506466360753376</c:v>
                </c:pt>
                <c:pt idx="23">
                  <c:v>0.15867875991954636</c:v>
                </c:pt>
                <c:pt idx="24">
                  <c:v>0.16018456387789862</c:v>
                </c:pt>
                <c:pt idx="25">
                  <c:v>0.17067900292163707</c:v>
                </c:pt>
                <c:pt idx="26">
                  <c:v>0.16175751130391333</c:v>
                </c:pt>
                <c:pt idx="27">
                  <c:v>0.1564535077270939</c:v>
                </c:pt>
                <c:pt idx="28">
                  <c:v>0.15916827166738726</c:v>
                </c:pt>
                <c:pt idx="29">
                  <c:v>0.15819178099698508</c:v>
                </c:pt>
                <c:pt idx="30">
                  <c:v>0.163010457493817</c:v>
                </c:pt>
                <c:pt idx="31">
                  <c:v>0.1699121704034227</c:v>
                </c:pt>
                <c:pt idx="32">
                  <c:v>0.16717256589718765</c:v>
                </c:pt>
                <c:pt idx="33">
                  <c:v>0.1618286663892548</c:v>
                </c:pt>
                <c:pt idx="34">
                  <c:v>0.15812429142897386</c:v>
                </c:pt>
                <c:pt idx="35">
                  <c:v>0.16229516246390213</c:v>
                </c:pt>
                <c:pt idx="36">
                  <c:v>0.1590991145249683</c:v>
                </c:pt>
                <c:pt idx="37">
                  <c:v>0.13050052806896323</c:v>
                </c:pt>
                <c:pt idx="38">
                  <c:v>0.13773204314728393</c:v>
                </c:pt>
                <c:pt idx="39">
                  <c:v>0.1484532408468065</c:v>
                </c:pt>
                <c:pt idx="40">
                  <c:v>0.1388057250883559</c:v>
                </c:pt>
                <c:pt idx="41">
                  <c:v>0.12649517165991983</c:v>
                </c:pt>
                <c:pt idx="42">
                  <c:v>0.12942985090819198</c:v>
                </c:pt>
                <c:pt idx="43">
                  <c:v>0.14026718100656277</c:v>
                </c:pt>
                <c:pt idx="44">
                  <c:v>0.148878755493792</c:v>
                </c:pt>
                <c:pt idx="45">
                  <c:v>0.16038100728949684</c:v>
                </c:pt>
                <c:pt idx="46">
                  <c:v>0.16200591696333</c:v>
                </c:pt>
                <c:pt idx="47">
                  <c:v>0.16878680938754492</c:v>
                </c:pt>
                <c:pt idx="48">
                  <c:v>0.16533544951405296</c:v>
                </c:pt>
                <c:pt idx="49">
                  <c:v>0.15689445530326798</c:v>
                </c:pt>
                <c:pt idx="50">
                  <c:v>0.18324147020847967</c:v>
                </c:pt>
                <c:pt idx="51">
                  <c:v>0.191814281456646</c:v>
                </c:pt>
                <c:pt idx="52">
                  <c:v>0.18251356177135836</c:v>
                </c:pt>
                <c:pt idx="53">
                  <c:v>0.22176602527879116</c:v>
                </c:pt>
                <c:pt idx="54">
                  <c:v>0.143904314266922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9.0"/>
          <c:min val="42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001440230436873"/>
          <c:min val="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4.67755961924423</c:v>
                </c:pt>
                <c:pt idx="8">
                  <c:v>4.90589227199962</c:v>
                </c:pt>
                <c:pt idx="9">
                  <c:v>4.162407364451595</c:v>
                </c:pt>
                <c:pt idx="10">
                  <c:v>5.419516251854059</c:v>
                </c:pt>
                <c:pt idx="11">
                  <c:v>5.335936307375608</c:v>
                </c:pt>
                <c:pt idx="12">
                  <c:v>2.745377923168221</c:v>
                </c:pt>
                <c:pt idx="13">
                  <c:v>5.253227408142999</c:v>
                </c:pt>
                <c:pt idx="14">
                  <c:v>4.790146599245801</c:v>
                </c:pt>
                <c:pt idx="15">
                  <c:v>4.324575303489624</c:v>
                </c:pt>
                <c:pt idx="16">
                  <c:v>1.951910079660128</c:v>
                </c:pt>
                <c:pt idx="17">
                  <c:v>2.043189492189036</c:v>
                </c:pt>
                <c:pt idx="18">
                  <c:v>2.497142641431052</c:v>
                </c:pt>
                <c:pt idx="19">
                  <c:v>2.4872683049658257</c:v>
                </c:pt>
                <c:pt idx="20">
                  <c:v>1.104651049560136</c:v>
                </c:pt>
                <c:pt idx="21">
                  <c:v>0.8696588062184926</c:v>
                </c:pt>
                <c:pt idx="22">
                  <c:v>0.9881590981815983</c:v>
                </c:pt>
                <c:pt idx="23">
                  <c:v>5.617379489364687</c:v>
                </c:pt>
                <c:pt idx="24">
                  <c:v>5.051674501414422</c:v>
                </c:pt>
                <c:pt idx="25">
                  <c:v>5.214654926879675</c:v>
                </c:pt>
                <c:pt idx="26">
                  <c:v>3.018086118526718</c:v>
                </c:pt>
                <c:pt idx="27">
                  <c:v>3.0713731552376564</c:v>
                </c:pt>
                <c:pt idx="28">
                  <c:v>4.540780944228346</c:v>
                </c:pt>
                <c:pt idx="29">
                  <c:v>5.195875470209697</c:v>
                </c:pt>
                <c:pt idx="30">
                  <c:v>5.19615933174077</c:v>
                </c:pt>
                <c:pt idx="31">
                  <c:v>5.880994935954722</c:v>
                </c:pt>
                <c:pt idx="32">
                  <c:v>4.410858821001361</c:v>
                </c:pt>
                <c:pt idx="33">
                  <c:v>4.85778203425649</c:v>
                </c:pt>
                <c:pt idx="34">
                  <c:v>5.982460057218897</c:v>
                </c:pt>
                <c:pt idx="35">
                  <c:v>6.831966047271591</c:v>
                </c:pt>
                <c:pt idx="36">
                  <c:v>5.663189622826181</c:v>
                </c:pt>
                <c:pt idx="37">
                  <c:v>4.717243007048396</c:v>
                </c:pt>
                <c:pt idx="38">
                  <c:v>4.205856125139998</c:v>
                </c:pt>
                <c:pt idx="39">
                  <c:v>4.794893902090653</c:v>
                </c:pt>
                <c:pt idx="40">
                  <c:v>6.80820455213817</c:v>
                </c:pt>
                <c:pt idx="41">
                  <c:v>4.492627694126397</c:v>
                </c:pt>
                <c:pt idx="42">
                  <c:v>6.404925943594912</c:v>
                </c:pt>
                <c:pt idx="43">
                  <c:v>5.686647039413318</c:v>
                </c:pt>
                <c:pt idx="44">
                  <c:v>4.279668226666266</c:v>
                </c:pt>
                <c:pt idx="45">
                  <c:v>5.33887449396706</c:v>
                </c:pt>
                <c:pt idx="46">
                  <c:v>6.306128356649405</c:v>
                </c:pt>
                <c:pt idx="47">
                  <c:v>5.886956053913975</c:v>
                </c:pt>
                <c:pt idx="48">
                  <c:v>6.138205354461784</c:v>
                </c:pt>
                <c:pt idx="49">
                  <c:v>5.464940339829264</c:v>
                </c:pt>
                <c:pt idx="50">
                  <c:v>5.9116411204670625</c:v>
                </c:pt>
                <c:pt idx="51">
                  <c:v>4.69107354548428</c:v>
                </c:pt>
                <c:pt idx="52">
                  <c:v>7.402080701583908</c:v>
                </c:pt>
              </c:numCache>
            </c:numRef>
          </c:xVal>
          <c:yVal>
            <c:numRef>
              <c:f>Sheet1!$B$2:$B$54</c:f>
              <c:numCache>
                <c:formatCode>General</c:formatCode>
                <c:ptCount val="53"/>
                <c:pt idx="0">
                  <c:v>0.0</c:v>
                </c:pt>
                <c:pt idx="1">
                  <c:v>0.0</c:v>
                </c:pt>
                <c:pt idx="2">
                  <c:v>0.0</c:v>
                </c:pt>
                <c:pt idx="3">
                  <c:v>0.0</c:v>
                </c:pt>
                <c:pt idx="4">
                  <c:v>0.0</c:v>
                </c:pt>
                <c:pt idx="5">
                  <c:v>0.0</c:v>
                </c:pt>
                <c:pt idx="6">
                  <c:v>0.0</c:v>
                </c:pt>
                <c:pt idx="7">
                  <c:v>0.00022123893805309734</c:v>
                </c:pt>
                <c:pt idx="8">
                  <c:v>0.0005053057099545225</c:v>
                </c:pt>
                <c:pt idx="9">
                  <c:v>0.00037678975131876413</c:v>
                </c:pt>
                <c:pt idx="10">
                  <c:v>0.0003262642740619902</c:v>
                </c:pt>
                <c:pt idx="11">
                  <c:v>0.00032927230819888045</c:v>
                </c:pt>
                <c:pt idx="12">
                  <c:v>0.0006501950585175553</c:v>
                </c:pt>
                <c:pt idx="13">
                  <c:v>0.0003274394237066143</c:v>
                </c:pt>
                <c:pt idx="14">
                  <c:v>0.00032509752925877764</c:v>
                </c:pt>
                <c:pt idx="15">
                  <c:v>0.0003637686431429611</c:v>
                </c:pt>
                <c:pt idx="16">
                  <c:v>0.0012412081092263137</c:v>
                </c:pt>
                <c:pt idx="17">
                  <c:v>0.0010188487009679063</c:v>
                </c:pt>
                <c:pt idx="18">
                  <c:v>0.0005192107995846313</c:v>
                </c:pt>
                <c:pt idx="19">
                  <c:v>0.0005858230814294083</c:v>
                </c:pt>
                <c:pt idx="20">
                  <c:v>0.0015706806282722514</c:v>
                </c:pt>
                <c:pt idx="21">
                  <c:v>0.00110803324099723</c:v>
                </c:pt>
                <c:pt idx="22">
                  <c:v>0.0020335536349771225</c:v>
                </c:pt>
                <c:pt idx="23">
                  <c:v>0.0011689070718877848</c:v>
                </c:pt>
                <c:pt idx="24">
                  <c:v>0.0012674271229404308</c:v>
                </c:pt>
                <c:pt idx="25">
                  <c:v>0.002638522427440633</c:v>
                </c:pt>
                <c:pt idx="26">
                  <c:v>0.004641909814323607</c:v>
                </c:pt>
                <c:pt idx="27">
                  <c:v>0.0028804608737397984</c:v>
                </c:pt>
                <c:pt idx="28">
                  <c:v>0.0019656019656019656</c:v>
                </c:pt>
                <c:pt idx="29">
                  <c:v>0.002139495079161318</c:v>
                </c:pt>
                <c:pt idx="30">
                  <c:v>0.0022371364653243847</c:v>
                </c:pt>
                <c:pt idx="31">
                  <c:v>0.001451378809869376</c:v>
                </c:pt>
                <c:pt idx="32">
                  <c:v>0.002304147465437788</c:v>
                </c:pt>
                <c:pt idx="33">
                  <c:v>0.00245398773006135</c:v>
                </c:pt>
                <c:pt idx="34">
                  <c:v>0.0024354603019970775</c:v>
                </c:pt>
                <c:pt idx="35">
                  <c:v>0.002145922746781116</c:v>
                </c:pt>
                <c:pt idx="36">
                  <c:v>0.0032637075718015664</c:v>
                </c:pt>
                <c:pt idx="37">
                  <c:v>0.003770739064856712</c:v>
                </c:pt>
                <c:pt idx="38">
                  <c:v>0.003633720930232558</c:v>
                </c:pt>
                <c:pt idx="39">
                  <c:v>0.0034059945504087193</c:v>
                </c:pt>
                <c:pt idx="40">
                  <c:v>0.00275178866263071</c:v>
                </c:pt>
                <c:pt idx="41">
                  <c:v>0.004961411245865491</c:v>
                </c:pt>
                <c:pt idx="42">
                  <c:v>0.004484304932735426</c:v>
                </c:pt>
                <c:pt idx="43">
                  <c:v>0.00392156862745098</c:v>
                </c:pt>
                <c:pt idx="44">
                  <c:v>0.005319148936170213</c:v>
                </c:pt>
                <c:pt idx="45">
                  <c:v>0.004752004752004752</c:v>
                </c:pt>
                <c:pt idx="46">
                  <c:v>0.0040227165168007575</c:v>
                </c:pt>
                <c:pt idx="47">
                  <c:v>0.0037835792659856224</c:v>
                </c:pt>
                <c:pt idx="48">
                  <c:v>0.0035103115401491883</c:v>
                </c:pt>
                <c:pt idx="49">
                  <c:v>0.004744069912609238</c:v>
                </c:pt>
                <c:pt idx="50">
                  <c:v>0.0038062283737024223</c:v>
                </c:pt>
                <c:pt idx="51">
                  <c:v>0.0037637521713954833</c:v>
                </c:pt>
                <c:pt idx="52">
                  <c:v>0.0024769992922859165</c:v>
                </c:pt>
              </c:numCache>
            </c:numRef>
          </c:yVal>
          <c:smooth val="0"/>
          <c:extLst>
            <c:ext xmlns:c16="http://schemas.microsoft.com/office/drawing/2014/chart" uri="{C3380CC4-5D6E-409C-BE32-E72D297353CC}">
              <c16:uniqueId val="{00000000-096C-4121-9522-6AB7243CCAAE}"/>
            </c:ext>
          </c:extLst>
        </c:ser>
        <c:ser>
          <c:idx val="1"/>
          <c:order val="1"/>
          <c:tx>
            <c:strRef>
              <c:f>Sheet1!$B$5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7:$A$108</c:f>
              <c:numCache>
                <c:formatCode>General</c:formatCode>
                <c:ptCount val="52"/>
                <c:pt idx="0">
                  <c:v>5.7323118726424145</c:v>
                </c:pt>
                <c:pt idx="1">
                  <c:v>7.309766033778439</c:v>
                </c:pt>
                <c:pt idx="2">
                  <c:v>7.288839745822658</c:v>
                </c:pt>
                <c:pt idx="3">
                  <c:v>5.210877772101701</c:v>
                </c:pt>
                <c:pt idx="4">
                  <c:v>6.75032493750338</c:v>
                </c:pt>
                <c:pt idx="5">
                  <c:v>8.05114970626187</c:v>
                </c:pt>
                <c:pt idx="6">
                  <c:v>7.174863725672271</c:v>
                </c:pt>
                <c:pt idx="7">
                  <c:v>6.465104399463635</c:v>
                </c:pt>
                <c:pt idx="8">
                  <c:v>7.303005640748362</c:v>
                </c:pt>
                <c:pt idx="9">
                  <c:v>6.3592234644855665</c:v>
                </c:pt>
                <c:pt idx="10">
                  <c:v>6.426058861391732</c:v>
                </c:pt>
                <c:pt idx="11">
                  <c:v>7.106924483387539</c:v>
                </c:pt>
                <c:pt idx="12">
                  <c:v>5.8393091050872306</c:v>
                </c:pt>
                <c:pt idx="13">
                  <c:v>5.609616603450651</c:v>
                </c:pt>
                <c:pt idx="14">
                  <c:v>5.222147928699232</c:v>
                </c:pt>
                <c:pt idx="15">
                  <c:v>6.272714129377822</c:v>
                </c:pt>
                <c:pt idx="16">
                  <c:v>6.77472339762994</c:v>
                </c:pt>
                <c:pt idx="17">
                  <c:v>4.670579372882435</c:v>
                </c:pt>
                <c:pt idx="18">
                  <c:v>7.577183393038855</c:v>
                </c:pt>
                <c:pt idx="19">
                  <c:v>7.685897435897436</c:v>
                </c:pt>
                <c:pt idx="20">
                  <c:v>7.154112241673068</c:v>
                </c:pt>
                <c:pt idx="21">
                  <c:v>7.129418837323597</c:v>
                </c:pt>
                <c:pt idx="22">
                  <c:v>7.3149451536517835</c:v>
                </c:pt>
                <c:pt idx="23">
                  <c:v>6.494773856202463</c:v>
                </c:pt>
                <c:pt idx="24">
                  <c:v>7.020768890502043</c:v>
                </c:pt>
                <c:pt idx="25">
                  <c:v>6.439373744486225</c:v>
                </c:pt>
                <c:pt idx="26">
                  <c:v>6.013886501019598</c:v>
                </c:pt>
                <c:pt idx="27">
                  <c:v>6.733660055652224</c:v>
                </c:pt>
                <c:pt idx="28">
                  <c:v>7.165992817086071</c:v>
                </c:pt>
                <c:pt idx="29">
                  <c:v>7.64111345234927</c:v>
                </c:pt>
                <c:pt idx="30">
                  <c:v>7.415145619474941</c:v>
                </c:pt>
                <c:pt idx="31">
                  <c:v>7.437680596782578</c:v>
                </c:pt>
                <c:pt idx="32">
                  <c:v>6.7604530641244756</c:v>
                </c:pt>
                <c:pt idx="33">
                  <c:v>7.431611821178648</c:v>
                </c:pt>
                <c:pt idx="34">
                  <c:v>7.318196135217616</c:v>
                </c:pt>
                <c:pt idx="35">
                  <c:v>7.415258640065144</c:v>
                </c:pt>
                <c:pt idx="36">
                  <c:v>6.6660288774926295</c:v>
                </c:pt>
                <c:pt idx="37">
                  <c:v>6.049963733206655</c:v>
                </c:pt>
                <c:pt idx="38">
                  <c:v>5.170904620166827</c:v>
                </c:pt>
                <c:pt idx="39">
                  <c:v>6.155492863010549</c:v>
                </c:pt>
                <c:pt idx="40">
                  <c:v>5.720135324630449</c:v>
                </c:pt>
                <c:pt idx="41">
                  <c:v>5.71888167680647</c:v>
                </c:pt>
                <c:pt idx="42">
                  <c:v>8.729324102115362</c:v>
                </c:pt>
                <c:pt idx="43">
                  <c:v>7.87796052716152</c:v>
                </c:pt>
                <c:pt idx="44">
                  <c:v>7.088077743328302</c:v>
                </c:pt>
                <c:pt idx="45">
                  <c:v>7.899509705268709</c:v>
                </c:pt>
                <c:pt idx="46">
                  <c:v>6.960557335812466</c:v>
                </c:pt>
                <c:pt idx="47">
                  <c:v>6.193818000797523</c:v>
                </c:pt>
                <c:pt idx="48">
                  <c:v>6.209441731857129</c:v>
                </c:pt>
                <c:pt idx="49">
                  <c:v>7.331223997757219</c:v>
                </c:pt>
                <c:pt idx="50">
                  <c:v>7.631200460805066</c:v>
                </c:pt>
                <c:pt idx="51">
                  <c:v>6.736595797349251</c:v>
                </c:pt>
              </c:numCache>
            </c:numRef>
          </c:xVal>
          <c:yVal>
            <c:numRef>
              <c:f>Sheet1!$B$57:$B$108</c:f>
              <c:numCache>
                <c:formatCode>General</c:formatCode>
                <c:ptCount val="52"/>
                <c:pt idx="0">
                  <c:v>0.003698722259583053</c:v>
                </c:pt>
                <c:pt idx="1">
                  <c:v>0.0033987915407854984</c:v>
                </c:pt>
                <c:pt idx="2">
                  <c:v>0.0029022895840051595</c:v>
                </c:pt>
                <c:pt idx="3">
                  <c:v>0.003961703532518983</c:v>
                </c:pt>
                <c:pt idx="4">
                  <c:v>0.003658982802780827</c:v>
                </c:pt>
                <c:pt idx="5">
                  <c:v>0.0028368794326241137</c:v>
                </c:pt>
                <c:pt idx="6">
                  <c:v>0.003006614552014432</c:v>
                </c:pt>
                <c:pt idx="7">
                  <c:v>0.003968253968253968</c:v>
                </c:pt>
                <c:pt idx="8">
                  <c:v>0.004246284501061571</c:v>
                </c:pt>
                <c:pt idx="9">
                  <c:v>0.004585052728106373</c:v>
                </c:pt>
                <c:pt idx="10">
                  <c:v>0.005519779208831647</c:v>
                </c:pt>
                <c:pt idx="11">
                  <c:v>0.0037670240509997104</c:v>
                </c:pt>
                <c:pt idx="12">
                  <c:v>0.004878048780487805</c:v>
                </c:pt>
                <c:pt idx="13">
                  <c:v>0.007666098807495741</c:v>
                </c:pt>
                <c:pt idx="14">
                  <c:v>0.007575757575757576</c:v>
                </c:pt>
                <c:pt idx="15">
                  <c:v>0.007175807278318811</c:v>
                </c:pt>
                <c:pt idx="16">
                  <c:v>0.005955926146515783</c:v>
                </c:pt>
                <c:pt idx="17">
                  <c:v>0.009518143961927425</c:v>
                </c:pt>
                <c:pt idx="18">
                  <c:v>0.003804692454026633</c:v>
                </c:pt>
                <c:pt idx="19">
                  <c:v>0.00421179302045728</c:v>
                </c:pt>
                <c:pt idx="20">
                  <c:v>0.005184705119896306</c:v>
                </c:pt>
                <c:pt idx="21">
                  <c:v>0.0051094890510948905</c:v>
                </c:pt>
                <c:pt idx="22">
                  <c:v>0.004213483146067416</c:v>
                </c:pt>
                <c:pt idx="23">
                  <c:v>0.004467609828741623</c:v>
                </c:pt>
                <c:pt idx="24">
                  <c:v>0.0037429819089207735</c:v>
                </c:pt>
                <c:pt idx="25">
                  <c:v>0.0045841519318926</c:v>
                </c:pt>
                <c:pt idx="26">
                  <c:v>0.005555555555555556</c:v>
                </c:pt>
                <c:pt idx="27">
                  <c:v>0.003952569169960474</c:v>
                </c:pt>
                <c:pt idx="28">
                  <c:v>0.003816793893129771</c:v>
                </c:pt>
                <c:pt idx="29">
                  <c:v>0.0038910505836575876</c:v>
                </c:pt>
                <c:pt idx="30">
                  <c:v>0.004166666666666667</c:v>
                </c:pt>
                <c:pt idx="31">
                  <c:v>0.004470938897168405</c:v>
                </c:pt>
                <c:pt idx="32">
                  <c:v>0.003804692454026633</c:v>
                </c:pt>
                <c:pt idx="33">
                  <c:v>0.0039196472317491425</c:v>
                </c:pt>
                <c:pt idx="34">
                  <c:v>0.0035643564356435645</c:v>
                </c:pt>
                <c:pt idx="35">
                  <c:v>0.0042643923240938165</c:v>
                </c:pt>
                <c:pt idx="36">
                  <c:v>0.0056925996204933585</c:v>
                </c:pt>
                <c:pt idx="37">
                  <c:v>0.0074503311258278145</c:v>
                </c:pt>
                <c:pt idx="38">
                  <c:v>0.010160880609652836</c:v>
                </c:pt>
                <c:pt idx="39">
                  <c:v>0.005376344086021506</c:v>
                </c:pt>
                <c:pt idx="40">
                  <c:v>0.006008010680907877</c:v>
                </c:pt>
                <c:pt idx="41">
                  <c:v>0.005548705302096177</c:v>
                </c:pt>
                <c:pt idx="42">
                  <c:v>0.004143646408839779</c:v>
                </c:pt>
                <c:pt idx="43">
                  <c:v>0.003838771593090211</c:v>
                </c:pt>
                <c:pt idx="44">
                  <c:v>0.003017241379310345</c:v>
                </c:pt>
                <c:pt idx="45">
                  <c:v>0.0022958346999016072</c:v>
                </c:pt>
                <c:pt idx="46">
                  <c:v>0.0031678986272439284</c:v>
                </c:pt>
                <c:pt idx="47">
                  <c:v>0.002980132450331126</c:v>
                </c:pt>
                <c:pt idx="48">
                  <c:v>0.0031279324366593683</c:v>
                </c:pt>
                <c:pt idx="49">
                  <c:v>0.0023517115233864646</c:v>
                </c:pt>
                <c:pt idx="50">
                  <c:v>0.0017540782318891423</c:v>
                </c:pt>
                <c:pt idx="51">
                  <c:v>0.002928257686676427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5.8471237349955905</c:v>
                </c:pt>
              </c:numCache>
            </c:numRef>
          </c:xVal>
          <c:yVal>
            <c:numRef>
              <c:f>Sheet1!$B$111:$B$112</c:f>
              <c:numCache>
                <c:formatCode>General</c:formatCode>
                <c:ptCount val="2"/>
                <c:pt idx="0">
                  <c:v>0.005765562937224306</c:v>
                </c:pt>
                <c:pt idx="1">
                  <c:v>0.005765562937224306</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5.8471237349955905</c:v>
                </c:pt>
                <c:pt idx="1">
                  <c:v>5.8471237349955905</c:v>
                </c:pt>
              </c:numCache>
            </c:numRef>
          </c:xVal>
          <c:yVal>
            <c:numRef>
              <c:f>Sheet1!$B$115:$B$116</c:f>
              <c:numCache>
                <c:formatCode>General</c:formatCode>
                <c:ptCount val="2"/>
                <c:pt idx="0">
                  <c:v>0.0057655629372243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5.8471237349955905</c:v>
                </c:pt>
              </c:numCache>
            </c:numRef>
          </c:xVal>
          <c:yVal>
            <c:numRef>
              <c:f>Sheet1!$B$119:$B$120</c:f>
              <c:numCache>
                <c:formatCode>General</c:formatCode>
                <c:ptCount val="2"/>
                <c:pt idx="0">
                  <c:v>0.005765562937224306</c:v>
                </c:pt>
                <c:pt idx="1">
                  <c:v>0.005765562937224306</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5.8471237349955905</c:v>
                </c:pt>
                <c:pt idx="1">
                  <c:v>5.8471237349955905</c:v>
                </c:pt>
              </c:numCache>
            </c:numRef>
          </c:xVal>
          <c:yVal>
            <c:numRef>
              <c:f>Sheet1!$B$123:$B$124</c:f>
              <c:numCache>
                <c:formatCode>General</c:formatCode>
                <c:ptCount val="2"/>
                <c:pt idx="0">
                  <c:v>0.0057655629372243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7.456577784884314</c:v>
                </c:pt>
              </c:numCache>
            </c:numRef>
          </c:xVal>
          <c:yVal>
            <c:numRef>
              <c:f>Sheet1!$B$127:$B$128</c:f>
              <c:numCache>
                <c:formatCode>General</c:formatCode>
                <c:ptCount val="2"/>
                <c:pt idx="0">
                  <c:v>0.003579889623565689</c:v>
                </c:pt>
                <c:pt idx="1">
                  <c:v>0.003579889623565689</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7.456577784884314</c:v>
                </c:pt>
                <c:pt idx="1">
                  <c:v>7.456577784884314</c:v>
                </c:pt>
              </c:numCache>
            </c:numRef>
          </c:xVal>
          <c:yVal>
            <c:numRef>
              <c:f>Sheet1!$B$131:$B$132</c:f>
              <c:numCache>
                <c:formatCode>General</c:formatCode>
                <c:ptCount val="2"/>
                <c:pt idx="0">
                  <c:v>0.00357988962356568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9</c:f>
              <c:numCache>
                <c:formatCode>General</c:formatCode>
                <c:ptCount val="55"/>
                <c:pt idx="0">
                  <c:v>5.7323118726424145</c:v>
                </c:pt>
                <c:pt idx="1">
                  <c:v>7.309766033778439</c:v>
                </c:pt>
                <c:pt idx="2">
                  <c:v>7.288839745822658</c:v>
                </c:pt>
                <c:pt idx="3">
                  <c:v>5.210877772101701</c:v>
                </c:pt>
                <c:pt idx="4">
                  <c:v>6.75032493750338</c:v>
                </c:pt>
                <c:pt idx="5">
                  <c:v>8.05114970626187</c:v>
                </c:pt>
                <c:pt idx="6">
                  <c:v>7.174863725672271</c:v>
                </c:pt>
                <c:pt idx="7">
                  <c:v>6.465104399463635</c:v>
                </c:pt>
                <c:pt idx="8">
                  <c:v>7.303005640748362</c:v>
                </c:pt>
                <c:pt idx="9">
                  <c:v>6.3592234644855665</c:v>
                </c:pt>
                <c:pt idx="10">
                  <c:v>6.426058861391732</c:v>
                </c:pt>
                <c:pt idx="11">
                  <c:v>7.106924483387539</c:v>
                </c:pt>
                <c:pt idx="12">
                  <c:v>5.8393091050872306</c:v>
                </c:pt>
                <c:pt idx="13">
                  <c:v>5.609616603450651</c:v>
                </c:pt>
                <c:pt idx="14">
                  <c:v>5.222147928699232</c:v>
                </c:pt>
                <c:pt idx="15">
                  <c:v>6.272714129377822</c:v>
                </c:pt>
                <c:pt idx="16">
                  <c:v>6.77472339762994</c:v>
                </c:pt>
                <c:pt idx="17">
                  <c:v>4.670579372882435</c:v>
                </c:pt>
                <c:pt idx="18">
                  <c:v>7.577183393038855</c:v>
                </c:pt>
                <c:pt idx="19">
                  <c:v>7.685897435897436</c:v>
                </c:pt>
                <c:pt idx="20">
                  <c:v>7.154112241673068</c:v>
                </c:pt>
                <c:pt idx="21">
                  <c:v>7.129418837323597</c:v>
                </c:pt>
                <c:pt idx="22">
                  <c:v>7.3149451536517835</c:v>
                </c:pt>
                <c:pt idx="23">
                  <c:v>6.494773856202463</c:v>
                </c:pt>
                <c:pt idx="24">
                  <c:v>7.020768890502043</c:v>
                </c:pt>
                <c:pt idx="25">
                  <c:v>6.439373744486225</c:v>
                </c:pt>
                <c:pt idx="26">
                  <c:v>6.013886501019598</c:v>
                </c:pt>
                <c:pt idx="27">
                  <c:v>6.733660055652224</c:v>
                </c:pt>
                <c:pt idx="28">
                  <c:v>7.165992817086071</c:v>
                </c:pt>
                <c:pt idx="29">
                  <c:v>7.64111345234927</c:v>
                </c:pt>
                <c:pt idx="30">
                  <c:v>7.415145619474941</c:v>
                </c:pt>
                <c:pt idx="31">
                  <c:v>7.437680596782578</c:v>
                </c:pt>
                <c:pt idx="32">
                  <c:v>6.7604530641244756</c:v>
                </c:pt>
                <c:pt idx="33">
                  <c:v>7.431611821178648</c:v>
                </c:pt>
                <c:pt idx="34">
                  <c:v>7.318196135217616</c:v>
                </c:pt>
                <c:pt idx="35">
                  <c:v>7.415258640065144</c:v>
                </c:pt>
                <c:pt idx="36">
                  <c:v>6.6660288774926295</c:v>
                </c:pt>
                <c:pt idx="37">
                  <c:v>6.049963733206655</c:v>
                </c:pt>
                <c:pt idx="38">
                  <c:v>5.170904620166827</c:v>
                </c:pt>
                <c:pt idx="39">
                  <c:v>6.155492863010549</c:v>
                </c:pt>
                <c:pt idx="40">
                  <c:v>5.720135324630449</c:v>
                </c:pt>
                <c:pt idx="41">
                  <c:v>5.71888167680647</c:v>
                </c:pt>
                <c:pt idx="42">
                  <c:v>8.729324102115362</c:v>
                </c:pt>
                <c:pt idx="43">
                  <c:v>7.87796052716152</c:v>
                </c:pt>
                <c:pt idx="44">
                  <c:v>7.088077743328302</c:v>
                </c:pt>
                <c:pt idx="45">
                  <c:v>7.899509705268709</c:v>
                </c:pt>
                <c:pt idx="46">
                  <c:v>6.960557335812466</c:v>
                </c:pt>
                <c:pt idx="47">
                  <c:v>6.193818000797523</c:v>
                </c:pt>
                <c:pt idx="48">
                  <c:v>6.209441731857129</c:v>
                </c:pt>
                <c:pt idx="49">
                  <c:v>7.331223997757219</c:v>
                </c:pt>
                <c:pt idx="50">
                  <c:v>7.631200460805066</c:v>
                </c:pt>
                <c:pt idx="51">
                  <c:v>6.736595797349251</c:v>
                </c:pt>
                <c:pt idx="52">
                  <c:v>5.8471237349955905</c:v>
                </c:pt>
                <c:pt idx="53">
                  <c:v>5.8471237349955905</c:v>
                </c:pt>
                <c:pt idx="54">
                  <c:v>7.456577784884314</c:v>
                </c:pt>
              </c:numCache>
            </c:numRef>
          </c:xVal>
          <c:yVal>
            <c:numRef>
              <c:f>Sheet1!$B$135:$B$189</c:f>
              <c:numCache>
                <c:formatCode>General</c:formatCode>
                <c:ptCount val="55"/>
                <c:pt idx="0">
                  <c:v>0.005921479922648112</c:v>
                </c:pt>
                <c:pt idx="1">
                  <c:v>0.0037792631481132124</c:v>
                </c:pt>
                <c:pt idx="2">
                  <c:v>0.003807681498511007</c:v>
                </c:pt>
                <c:pt idx="3">
                  <c:v>0.00662959867786341</c:v>
                </c:pt>
                <c:pt idx="4">
                  <c:v>0.0045389962232990876</c:v>
                </c:pt>
                <c:pt idx="5">
                  <c:v>0.00277244813016269</c:v>
                </c:pt>
                <c:pt idx="6">
                  <c:v>0.003962463392195354</c:v>
                </c:pt>
                <c:pt idx="7">
                  <c:v>0.004926331865807132</c:v>
                </c:pt>
                <c:pt idx="8">
                  <c:v>0.003788443907661275</c:v>
                </c:pt>
                <c:pt idx="9">
                  <c:v>0.0050701204592266125</c:v>
                </c:pt>
                <c:pt idx="10">
                  <c:v>0.004979356548672169</c:v>
                </c:pt>
                <c:pt idx="11">
                  <c:v>0.004054726348582454</c:v>
                </c:pt>
                <c:pt idx="12">
                  <c:v>0.0057761753731916474</c:v>
                </c:pt>
                <c:pt idx="13">
                  <c:v>0.006088102744593938</c:v>
                </c:pt>
                <c:pt idx="14">
                  <c:v>0.0066142935621207885</c:v>
                </c:pt>
                <c:pt idx="15">
                  <c:v>0.005187602002201029</c:v>
                </c:pt>
                <c:pt idx="16">
                  <c:v>0.004505862588202967</c:v>
                </c:pt>
                <c:pt idx="17">
                  <c:v>0.007363335557563497</c:v>
                </c:pt>
                <c:pt idx="18">
                  <c:v>0.0034161046063797846</c:v>
                </c:pt>
                <c:pt idx="19">
                  <c:v>0.0032684685913519744</c:v>
                </c:pt>
                <c:pt idx="20">
                  <c:v>0.003990644355049812</c:v>
                </c:pt>
                <c:pt idx="21">
                  <c:v>0.004024178530762224</c:v>
                </c:pt>
                <c:pt idx="22">
                  <c:v>0.003772229791618077</c:v>
                </c:pt>
                <c:pt idx="23">
                  <c:v>0.0048860401036227505</c:v>
                </c:pt>
                <c:pt idx="24">
                  <c:v>0.004171727501989278</c:v>
                </c:pt>
                <c:pt idx="25">
                  <c:v>0.004961274650244481</c:v>
                </c:pt>
                <c:pt idx="26">
                  <c:v>0.0055390955040995355</c:v>
                </c:pt>
                <c:pt idx="27">
                  <c:v>0.004561627492293604</c:v>
                </c:pt>
                <c:pt idx="28">
                  <c:v>0.003974510277389811</c:v>
                </c:pt>
                <c:pt idx="29">
                  <c:v>0.0033292862069448648</c:v>
                </c:pt>
                <c:pt idx="30">
                  <c:v>0.0036361553978315753</c:v>
                </c:pt>
                <c:pt idx="31">
                  <c:v>0.003605552412596545</c:v>
                </c:pt>
                <c:pt idx="32">
                  <c:v>0.004525242008896622</c:v>
                </c:pt>
                <c:pt idx="33">
                  <c:v>0.0036137939407625778</c:v>
                </c:pt>
                <c:pt idx="34">
                  <c:v>0.003767814888532072</c:v>
                </c:pt>
                <c:pt idx="35">
                  <c:v>0.0036360019134323678</c:v>
                </c:pt>
                <c:pt idx="36">
                  <c:v>0.00465347209095421</c:v>
                </c:pt>
                <c:pt idx="37">
                  <c:v>0.00549010184464876</c:v>
                </c:pt>
                <c:pt idx="38">
                  <c:v>0.006683883080361832</c:v>
                </c:pt>
                <c:pt idx="39">
                  <c:v>0.005346791010243806</c:v>
                </c:pt>
                <c:pt idx="40">
                  <c:v>0.005938015937481264</c:v>
                </c:pt>
                <c:pt idx="41">
                  <c:v>0.005939718418265841</c:v>
                </c:pt>
                <c:pt idx="42">
                  <c:v>0.0018514726732206197</c:v>
                </c:pt>
                <c:pt idx="43">
                  <c:v>0.003007642770854824</c:v>
                </c:pt>
                <c:pt idx="44">
                  <c:v>0.004080320628083495</c:v>
                </c:pt>
                <c:pt idx="45">
                  <c:v>0.0029783785221964565</c:v>
                </c:pt>
                <c:pt idx="46">
                  <c:v>0.004253496091945608</c:v>
                </c:pt>
                <c:pt idx="47">
                  <c:v>0.005294744646503834</c:v>
                </c:pt>
                <c:pt idx="48">
                  <c:v>0.005273527282740564</c:v>
                </c:pt>
                <c:pt idx="49">
                  <c:v>0.0037501227702086</c:v>
                </c:pt>
                <c:pt idx="50">
                  <c:v>0.0033427482632727174</c:v>
                </c:pt>
                <c:pt idx="51">
                  <c:v>0.004557640691748766</c:v>
                </c:pt>
                <c:pt idx="52">
                  <c:v>0.005765562937224307</c:v>
                </c:pt>
                <c:pt idx="53">
                  <c:v>0.005765562937224307</c:v>
                </c:pt>
                <c:pt idx="54">
                  <c:v>0.003579889623565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9305673158340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4</c:f>
              <c:numCache>
                <c:formatCode>General</c:formatCode>
                <c:ptCount val="53"/>
                <c:pt idx="0">
                  <c:v>0.0</c:v>
                </c:pt>
                <c:pt idx="1">
                  <c:v>0.0</c:v>
                </c:pt>
                <c:pt idx="2">
                  <c:v>0.0</c:v>
                </c:pt>
                <c:pt idx="3">
                  <c:v>0.0</c:v>
                </c:pt>
                <c:pt idx="4">
                  <c:v>0.0</c:v>
                </c:pt>
                <c:pt idx="5">
                  <c:v>0.0</c:v>
                </c:pt>
                <c:pt idx="6">
                  <c:v>0.0</c:v>
                </c:pt>
                <c:pt idx="7">
                  <c:v>2322.0</c:v>
                </c:pt>
                <c:pt idx="8">
                  <c:v>2292.0</c:v>
                </c:pt>
                <c:pt idx="9">
                  <c:v>2130.0</c:v>
                </c:pt>
                <c:pt idx="10">
                  <c:v>2550.0</c:v>
                </c:pt>
                <c:pt idx="11">
                  <c:v>2660.0</c:v>
                </c:pt>
                <c:pt idx="12">
                  <c:v>1457.5</c:v>
                </c:pt>
                <c:pt idx="13">
                  <c:v>2645.0</c:v>
                </c:pt>
                <c:pt idx="14">
                  <c:v>2492.0</c:v>
                </c:pt>
                <c:pt idx="15">
                  <c:v>2403.0</c:v>
                </c:pt>
                <c:pt idx="16">
                  <c:v>1108.0</c:v>
                </c:pt>
                <c:pt idx="17">
                  <c:v>1127.5</c:v>
                </c:pt>
                <c:pt idx="18">
                  <c:v>1409.0</c:v>
                </c:pt>
                <c:pt idx="19">
                  <c:v>1619.0</c:v>
                </c:pt>
                <c:pt idx="20">
                  <c:v>714.6667</c:v>
                </c:pt>
                <c:pt idx="21">
                  <c:v>553.5</c:v>
                </c:pt>
                <c:pt idx="22">
                  <c:v>627.5</c:v>
                </c:pt>
                <c:pt idx="23">
                  <c:v>3620.0</c:v>
                </c:pt>
                <c:pt idx="24">
                  <c:v>3248.5</c:v>
                </c:pt>
                <c:pt idx="25">
                  <c:v>3396.25</c:v>
                </c:pt>
                <c:pt idx="26">
                  <c:v>2059.7143</c:v>
                </c:pt>
                <c:pt idx="27">
                  <c:v>2119.1667</c:v>
                </c:pt>
                <c:pt idx="28">
                  <c:v>3109.5</c:v>
                </c:pt>
                <c:pt idx="29">
                  <c:v>3508.0</c:v>
                </c:pt>
                <c:pt idx="30">
                  <c:v>3535.75</c:v>
                </c:pt>
                <c:pt idx="31">
                  <c:v>3948.5</c:v>
                </c:pt>
                <c:pt idx="32">
                  <c:v>3079.0</c:v>
                </c:pt>
                <c:pt idx="33">
                  <c:v>3279.75</c:v>
                </c:pt>
                <c:pt idx="34">
                  <c:v>4040.8</c:v>
                </c:pt>
                <c:pt idx="35">
                  <c:v>4565.6</c:v>
                </c:pt>
                <c:pt idx="36">
                  <c:v>3824.6</c:v>
                </c:pt>
                <c:pt idx="37">
                  <c:v>3245.8</c:v>
                </c:pt>
                <c:pt idx="38">
                  <c:v>2919.0</c:v>
                </c:pt>
                <c:pt idx="39">
                  <c:v>3326.8</c:v>
                </c:pt>
                <c:pt idx="40">
                  <c:v>4111.6</c:v>
                </c:pt>
                <c:pt idx="41">
                  <c:v>2943.0</c:v>
                </c:pt>
                <c:pt idx="42">
                  <c:v>4358.0</c:v>
                </c:pt>
                <c:pt idx="43">
                  <c:v>3898.25</c:v>
                </c:pt>
                <c:pt idx="44">
                  <c:v>2877.4375</c:v>
                </c:pt>
                <c:pt idx="45">
                  <c:v>3572.25</c:v>
                </c:pt>
                <c:pt idx="46">
                  <c:v>3984.4118</c:v>
                </c:pt>
                <c:pt idx="47">
                  <c:v>3632.85</c:v>
                </c:pt>
                <c:pt idx="48">
                  <c:v>3861.4167</c:v>
                </c:pt>
                <c:pt idx="49">
                  <c:v>3404.6316</c:v>
                </c:pt>
                <c:pt idx="50">
                  <c:v>3679.4545</c:v>
                </c:pt>
                <c:pt idx="51">
                  <c:v>2940.1538</c:v>
                </c:pt>
                <c:pt idx="52">
                  <c:v>4631.4286</c:v>
                </c:pt>
              </c:numCache>
            </c:numRef>
          </c:xVal>
          <c:yVal>
            <c:numRef>
              <c:f>Sheet1!$B$2:$B$54</c:f>
              <c:numCache>
                <c:formatCode>General</c:formatCode>
                <c:ptCount val="53"/>
                <c:pt idx="0">
                  <c:v>0.0</c:v>
                </c:pt>
                <c:pt idx="1">
                  <c:v>0.0</c:v>
                </c:pt>
                <c:pt idx="2">
                  <c:v>0.0</c:v>
                </c:pt>
                <c:pt idx="3">
                  <c:v>0.0</c:v>
                </c:pt>
                <c:pt idx="4">
                  <c:v>0.0</c:v>
                </c:pt>
                <c:pt idx="5">
                  <c:v>0.0</c:v>
                </c:pt>
                <c:pt idx="6">
                  <c:v>0.0</c:v>
                </c:pt>
                <c:pt idx="7">
                  <c:v>0.00022123893805309734</c:v>
                </c:pt>
                <c:pt idx="8">
                  <c:v>0.0005053057099545225</c:v>
                </c:pt>
                <c:pt idx="9">
                  <c:v>0.00037678975131876413</c:v>
                </c:pt>
                <c:pt idx="10">
                  <c:v>0.0003262642740619902</c:v>
                </c:pt>
                <c:pt idx="11">
                  <c:v>0.00032927230819888045</c:v>
                </c:pt>
                <c:pt idx="12">
                  <c:v>0.0006501950585175553</c:v>
                </c:pt>
                <c:pt idx="13">
                  <c:v>0.0003274394237066143</c:v>
                </c:pt>
                <c:pt idx="14">
                  <c:v>0.00032509752925877764</c:v>
                </c:pt>
                <c:pt idx="15">
                  <c:v>0.0003637686431429611</c:v>
                </c:pt>
                <c:pt idx="16">
                  <c:v>0.0012412081092263137</c:v>
                </c:pt>
                <c:pt idx="17">
                  <c:v>0.0010188487009679063</c:v>
                </c:pt>
                <c:pt idx="18">
                  <c:v>0.0005192107995846313</c:v>
                </c:pt>
                <c:pt idx="19">
                  <c:v>0.0005858230814294083</c:v>
                </c:pt>
                <c:pt idx="20">
                  <c:v>0.0015706806282722514</c:v>
                </c:pt>
                <c:pt idx="21">
                  <c:v>0.00110803324099723</c:v>
                </c:pt>
                <c:pt idx="22">
                  <c:v>0.0020335536349771225</c:v>
                </c:pt>
                <c:pt idx="23">
                  <c:v>0.0011689070718877848</c:v>
                </c:pt>
                <c:pt idx="24">
                  <c:v>0.0012674271229404308</c:v>
                </c:pt>
                <c:pt idx="25">
                  <c:v>0.002638522427440633</c:v>
                </c:pt>
                <c:pt idx="26">
                  <c:v>0.004641909814323607</c:v>
                </c:pt>
                <c:pt idx="27">
                  <c:v>0.0028804608737397984</c:v>
                </c:pt>
                <c:pt idx="28">
                  <c:v>0.0019656019656019656</c:v>
                </c:pt>
                <c:pt idx="29">
                  <c:v>0.002139495079161318</c:v>
                </c:pt>
                <c:pt idx="30">
                  <c:v>0.0022371364653243847</c:v>
                </c:pt>
                <c:pt idx="31">
                  <c:v>0.001451378809869376</c:v>
                </c:pt>
                <c:pt idx="32">
                  <c:v>0.002304147465437788</c:v>
                </c:pt>
                <c:pt idx="33">
                  <c:v>0.00245398773006135</c:v>
                </c:pt>
                <c:pt idx="34">
                  <c:v>0.0024354603019970775</c:v>
                </c:pt>
                <c:pt idx="35">
                  <c:v>0.002145922746781116</c:v>
                </c:pt>
                <c:pt idx="36">
                  <c:v>0.0032637075718015664</c:v>
                </c:pt>
                <c:pt idx="37">
                  <c:v>0.003770739064856712</c:v>
                </c:pt>
                <c:pt idx="38">
                  <c:v>0.003633720930232558</c:v>
                </c:pt>
                <c:pt idx="39">
                  <c:v>0.0034059945504087193</c:v>
                </c:pt>
                <c:pt idx="40">
                  <c:v>0.00275178866263071</c:v>
                </c:pt>
                <c:pt idx="41">
                  <c:v>0.004961411245865491</c:v>
                </c:pt>
                <c:pt idx="42">
                  <c:v>0.004484304932735426</c:v>
                </c:pt>
                <c:pt idx="43">
                  <c:v>0.00392156862745098</c:v>
                </c:pt>
                <c:pt idx="44">
                  <c:v>0.005319148936170213</c:v>
                </c:pt>
                <c:pt idx="45">
                  <c:v>0.004752004752004752</c:v>
                </c:pt>
                <c:pt idx="46">
                  <c:v>0.0040227165168007575</c:v>
                </c:pt>
                <c:pt idx="47">
                  <c:v>0.0037835792659856224</c:v>
                </c:pt>
                <c:pt idx="48">
                  <c:v>0.0035103115401491883</c:v>
                </c:pt>
                <c:pt idx="49">
                  <c:v>0.004744069912609238</c:v>
                </c:pt>
                <c:pt idx="50">
                  <c:v>0.0038062283737024223</c:v>
                </c:pt>
                <c:pt idx="51">
                  <c:v>0.0037637521713954833</c:v>
                </c:pt>
                <c:pt idx="52">
                  <c:v>0.0024769992922859165</c:v>
                </c:pt>
              </c:numCache>
            </c:numRef>
          </c:yVal>
          <c:smooth val="0"/>
          <c:extLst>
            <c:ext xmlns:c16="http://schemas.microsoft.com/office/drawing/2014/chart" uri="{C3380CC4-5D6E-409C-BE32-E72D297353CC}">
              <c16:uniqueId val="{00000000-F32D-48B7-BC20-E66FC6253BAD}"/>
            </c:ext>
          </c:extLst>
        </c:ser>
        <c:ser>
          <c:idx val="1"/>
          <c:order val="1"/>
          <c:tx>
            <c:strRef>
              <c:f>Sheet1!$B$5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7:$A$108</c:f>
              <c:numCache>
                <c:formatCode>General</c:formatCode>
                <c:ptCount val="52"/>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numCache>
            </c:numRef>
          </c:xVal>
          <c:yVal>
            <c:numRef>
              <c:f>Sheet1!$B$57:$B$108</c:f>
              <c:numCache>
                <c:formatCode>General</c:formatCode>
                <c:ptCount val="52"/>
                <c:pt idx="0">
                  <c:v>0.003698722259583053</c:v>
                </c:pt>
                <c:pt idx="1">
                  <c:v>0.0033987915407854984</c:v>
                </c:pt>
                <c:pt idx="2">
                  <c:v>0.0029022895840051595</c:v>
                </c:pt>
                <c:pt idx="3">
                  <c:v>0.003961703532518983</c:v>
                </c:pt>
                <c:pt idx="4">
                  <c:v>0.003658982802780827</c:v>
                </c:pt>
                <c:pt idx="5">
                  <c:v>0.0028368794326241137</c:v>
                </c:pt>
                <c:pt idx="6">
                  <c:v>0.003006614552014432</c:v>
                </c:pt>
                <c:pt idx="7">
                  <c:v>0.003968253968253968</c:v>
                </c:pt>
                <c:pt idx="8">
                  <c:v>0.004246284501061571</c:v>
                </c:pt>
                <c:pt idx="9">
                  <c:v>0.004585052728106373</c:v>
                </c:pt>
                <c:pt idx="10">
                  <c:v>0.005519779208831647</c:v>
                </c:pt>
                <c:pt idx="11">
                  <c:v>0.0037670240509997104</c:v>
                </c:pt>
                <c:pt idx="12">
                  <c:v>0.004878048780487805</c:v>
                </c:pt>
                <c:pt idx="13">
                  <c:v>0.007666098807495741</c:v>
                </c:pt>
                <c:pt idx="14">
                  <c:v>0.007575757575757576</c:v>
                </c:pt>
                <c:pt idx="15">
                  <c:v>0.007175807278318811</c:v>
                </c:pt>
                <c:pt idx="16">
                  <c:v>0.005955926146515783</c:v>
                </c:pt>
                <c:pt idx="17">
                  <c:v>0.009518143961927425</c:v>
                </c:pt>
                <c:pt idx="18">
                  <c:v>0.003804692454026633</c:v>
                </c:pt>
                <c:pt idx="19">
                  <c:v>0.00421179302045728</c:v>
                </c:pt>
                <c:pt idx="20">
                  <c:v>0.005184705119896306</c:v>
                </c:pt>
                <c:pt idx="21">
                  <c:v>0.0051094890510948905</c:v>
                </c:pt>
                <c:pt idx="22">
                  <c:v>0.004213483146067416</c:v>
                </c:pt>
                <c:pt idx="23">
                  <c:v>0.004467609828741623</c:v>
                </c:pt>
                <c:pt idx="24">
                  <c:v>0.0037429819089207735</c:v>
                </c:pt>
                <c:pt idx="25">
                  <c:v>0.0045841519318926</c:v>
                </c:pt>
                <c:pt idx="26">
                  <c:v>0.005555555555555556</c:v>
                </c:pt>
                <c:pt idx="27">
                  <c:v>0.003952569169960474</c:v>
                </c:pt>
                <c:pt idx="28">
                  <c:v>0.003816793893129771</c:v>
                </c:pt>
                <c:pt idx="29">
                  <c:v>0.0038910505836575876</c:v>
                </c:pt>
                <c:pt idx="30">
                  <c:v>0.004166666666666667</c:v>
                </c:pt>
                <c:pt idx="31">
                  <c:v>0.004470938897168405</c:v>
                </c:pt>
                <c:pt idx="32">
                  <c:v>0.003804692454026633</c:v>
                </c:pt>
                <c:pt idx="33">
                  <c:v>0.0039196472317491425</c:v>
                </c:pt>
                <c:pt idx="34">
                  <c:v>0.0035643564356435645</c:v>
                </c:pt>
                <c:pt idx="35">
                  <c:v>0.0042643923240938165</c:v>
                </c:pt>
                <c:pt idx="36">
                  <c:v>0.0056925996204933585</c:v>
                </c:pt>
                <c:pt idx="37">
                  <c:v>0.0074503311258278145</c:v>
                </c:pt>
                <c:pt idx="38">
                  <c:v>0.010160880609652836</c:v>
                </c:pt>
                <c:pt idx="39">
                  <c:v>0.005376344086021506</c:v>
                </c:pt>
                <c:pt idx="40">
                  <c:v>0.006008010680907877</c:v>
                </c:pt>
                <c:pt idx="41">
                  <c:v>0.005548705302096177</c:v>
                </c:pt>
                <c:pt idx="42">
                  <c:v>0.004143646408839779</c:v>
                </c:pt>
                <c:pt idx="43">
                  <c:v>0.003838771593090211</c:v>
                </c:pt>
                <c:pt idx="44">
                  <c:v>0.003017241379310345</c:v>
                </c:pt>
                <c:pt idx="45">
                  <c:v>0.0022958346999016072</c:v>
                </c:pt>
                <c:pt idx="46">
                  <c:v>0.0031678986272439284</c:v>
                </c:pt>
                <c:pt idx="47">
                  <c:v>0.002980132450331126</c:v>
                </c:pt>
                <c:pt idx="48">
                  <c:v>0.0031279324366593683</c:v>
                </c:pt>
                <c:pt idx="49">
                  <c:v>0.0023517115233864646</c:v>
                </c:pt>
                <c:pt idx="50">
                  <c:v>0.0017540782318891423</c:v>
                </c:pt>
                <c:pt idx="51">
                  <c:v>0.002928257686676427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3641.208014678556</c:v>
                </c:pt>
              </c:numCache>
            </c:numRef>
          </c:xVal>
          <c:yVal>
            <c:numRef>
              <c:f>Sheet1!$B$111:$B$112</c:f>
              <c:numCache>
                <c:formatCode>General</c:formatCode>
                <c:ptCount val="2"/>
                <c:pt idx="0">
                  <c:v>0.005765562937224306</c:v>
                </c:pt>
                <c:pt idx="1">
                  <c:v>0.005765562937224306</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3641.208014678556</c:v>
                </c:pt>
                <c:pt idx="1">
                  <c:v>3641.208014678556</c:v>
                </c:pt>
              </c:numCache>
            </c:numRef>
          </c:xVal>
          <c:yVal>
            <c:numRef>
              <c:f>Sheet1!$B$115:$B$116</c:f>
              <c:numCache>
                <c:formatCode>General</c:formatCode>
                <c:ptCount val="2"/>
                <c:pt idx="0">
                  <c:v>0.0057655629372243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3641.208014678556</c:v>
                </c:pt>
              </c:numCache>
            </c:numRef>
          </c:xVal>
          <c:yVal>
            <c:numRef>
              <c:f>Sheet1!$B$119:$B$120</c:f>
              <c:numCache>
                <c:formatCode>General</c:formatCode>
                <c:ptCount val="2"/>
                <c:pt idx="0">
                  <c:v>0.005765562937224306</c:v>
                </c:pt>
                <c:pt idx="1">
                  <c:v>0.005765562937224306</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3641.208014678556</c:v>
                </c:pt>
                <c:pt idx="1">
                  <c:v>3641.208014678556</c:v>
                </c:pt>
              </c:numCache>
            </c:numRef>
          </c:xVal>
          <c:yVal>
            <c:numRef>
              <c:f>Sheet1!$B$123:$B$124</c:f>
              <c:numCache>
                <c:formatCode>General</c:formatCode>
                <c:ptCount val="2"/>
                <c:pt idx="0">
                  <c:v>0.0057655629372243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4652.163772870239</c:v>
                </c:pt>
              </c:numCache>
            </c:numRef>
          </c:xVal>
          <c:yVal>
            <c:numRef>
              <c:f>Sheet1!$B$127:$B$128</c:f>
              <c:numCache>
                <c:formatCode>General</c:formatCode>
                <c:ptCount val="2"/>
                <c:pt idx="0">
                  <c:v>0.003579889623565689</c:v>
                </c:pt>
                <c:pt idx="1">
                  <c:v>0.003579889623565689</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4652.163772870239</c:v>
                </c:pt>
                <c:pt idx="1">
                  <c:v>4652.163772870239</c:v>
                </c:pt>
              </c:numCache>
            </c:numRef>
          </c:xVal>
          <c:yVal>
            <c:numRef>
              <c:f>Sheet1!$B$131:$B$132</c:f>
              <c:numCache>
                <c:formatCode>General</c:formatCode>
                <c:ptCount val="2"/>
                <c:pt idx="0">
                  <c:v>0.00357988962356568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9</c:f>
              <c:numCache>
                <c:formatCode>General</c:formatCode>
                <c:ptCount val="55"/>
                <c:pt idx="0">
                  <c:v>3586.3636</c:v>
                </c:pt>
                <c:pt idx="1">
                  <c:v>4566.8889</c:v>
                </c:pt>
                <c:pt idx="2">
                  <c:v>4567.8889</c:v>
                </c:pt>
                <c:pt idx="3">
                  <c:v>3269.25</c:v>
                </c:pt>
                <c:pt idx="4">
                  <c:v>4207.3</c:v>
                </c:pt>
                <c:pt idx="5">
                  <c:v>5022.75</c:v>
                </c:pt>
                <c:pt idx="6">
                  <c:v>4446.7</c:v>
                </c:pt>
                <c:pt idx="7">
                  <c:v>4050.0</c:v>
                </c:pt>
                <c:pt idx="8">
                  <c:v>4545.0</c:v>
                </c:pt>
                <c:pt idx="9">
                  <c:v>3964.6</c:v>
                </c:pt>
                <c:pt idx="10">
                  <c:v>4015.4167</c:v>
                </c:pt>
                <c:pt idx="11">
                  <c:v>4382.1538</c:v>
                </c:pt>
                <c:pt idx="12">
                  <c:v>3598.8462</c:v>
                </c:pt>
                <c:pt idx="13">
                  <c:v>3489.8889</c:v>
                </c:pt>
                <c:pt idx="14">
                  <c:v>3280.2353</c:v>
                </c:pt>
                <c:pt idx="15">
                  <c:v>3909.1429</c:v>
                </c:pt>
                <c:pt idx="16">
                  <c:v>4212.0</c:v>
                </c:pt>
                <c:pt idx="17">
                  <c:v>2905.375</c:v>
                </c:pt>
                <c:pt idx="18">
                  <c:v>4650.1667</c:v>
                </c:pt>
                <c:pt idx="19">
                  <c:v>4796.0</c:v>
                </c:pt>
                <c:pt idx="20">
                  <c:v>4468.5</c:v>
                </c:pt>
                <c:pt idx="21">
                  <c:v>4386.7143</c:v>
                </c:pt>
                <c:pt idx="22">
                  <c:v>4531.1667</c:v>
                </c:pt>
                <c:pt idx="23">
                  <c:v>4062.1667</c:v>
                </c:pt>
                <c:pt idx="24">
                  <c:v>4421.8333</c:v>
                </c:pt>
                <c:pt idx="25">
                  <c:v>4022.0</c:v>
                </c:pt>
                <c:pt idx="26">
                  <c:v>3770.7778</c:v>
                </c:pt>
                <c:pt idx="27">
                  <c:v>4221.2857</c:v>
                </c:pt>
                <c:pt idx="28">
                  <c:v>4464.8571</c:v>
                </c:pt>
                <c:pt idx="29">
                  <c:v>4769.0</c:v>
                </c:pt>
                <c:pt idx="30">
                  <c:v>4570.5</c:v>
                </c:pt>
                <c:pt idx="31">
                  <c:v>4644.0</c:v>
                </c:pt>
                <c:pt idx="32">
                  <c:v>4219.0</c:v>
                </c:pt>
                <c:pt idx="33">
                  <c:v>4690.25</c:v>
                </c:pt>
                <c:pt idx="34">
                  <c:v>4558.5556</c:v>
                </c:pt>
                <c:pt idx="35">
                  <c:v>4638.75</c:v>
                </c:pt>
                <c:pt idx="36">
                  <c:v>4229.8333</c:v>
                </c:pt>
                <c:pt idx="37">
                  <c:v>3790.1111</c:v>
                </c:pt>
                <c:pt idx="38">
                  <c:v>3201.9167</c:v>
                </c:pt>
                <c:pt idx="39">
                  <c:v>3858.25</c:v>
                </c:pt>
                <c:pt idx="40">
                  <c:v>3559.1111</c:v>
                </c:pt>
                <c:pt idx="41">
                  <c:v>3541.0</c:v>
                </c:pt>
                <c:pt idx="42">
                  <c:v>5514.6667</c:v>
                </c:pt>
                <c:pt idx="43">
                  <c:v>4902.625</c:v>
                </c:pt>
                <c:pt idx="44">
                  <c:v>4420.7143</c:v>
                </c:pt>
                <c:pt idx="45">
                  <c:v>4886.8571</c:v>
                </c:pt>
                <c:pt idx="46">
                  <c:v>4332.7778</c:v>
                </c:pt>
                <c:pt idx="47">
                  <c:v>3839.6667</c:v>
                </c:pt>
                <c:pt idx="48">
                  <c:v>3864.8</c:v>
                </c:pt>
                <c:pt idx="49">
                  <c:v>4576.3333</c:v>
                </c:pt>
                <c:pt idx="50">
                  <c:v>4750.9</c:v>
                </c:pt>
                <c:pt idx="51">
                  <c:v>4196.4</c:v>
                </c:pt>
                <c:pt idx="52">
                  <c:v>3641.208014678556</c:v>
                </c:pt>
                <c:pt idx="53">
                  <c:v>3641.208014678556</c:v>
                </c:pt>
                <c:pt idx="54">
                  <c:v>4652.163772870239</c:v>
                </c:pt>
              </c:numCache>
            </c:numRef>
          </c:xVal>
          <c:yVal>
            <c:numRef>
              <c:f>Sheet1!$B$135:$B$189</c:f>
              <c:numCache>
                <c:formatCode>General</c:formatCode>
                <c:ptCount val="55"/>
                <c:pt idx="0">
                  <c:v>0.005884135854579824</c:v>
                </c:pt>
                <c:pt idx="1">
                  <c:v>0.00376425279915262</c:v>
                </c:pt>
                <c:pt idx="2">
                  <c:v>0.0037620908120469046</c:v>
                </c:pt>
                <c:pt idx="3">
                  <c:v>0.006569731368826648</c:v>
                </c:pt>
                <c:pt idx="4">
                  <c:v>0.004541679364310812</c:v>
                </c:pt>
                <c:pt idx="5">
                  <c:v>0.002778686978955622</c:v>
                </c:pt>
                <c:pt idx="6">
                  <c:v>0.004024099651202673</c:v>
                </c:pt>
                <c:pt idx="7">
                  <c:v>0.0048817599360397625</c:v>
                </c:pt>
                <c:pt idx="8">
                  <c:v>0.003811576318710902</c:v>
                </c:pt>
                <c:pt idx="9">
                  <c:v>0.005066393634867812</c:v>
                </c:pt>
                <c:pt idx="10">
                  <c:v>0.00495652858471283</c:v>
                </c:pt>
                <c:pt idx="11">
                  <c:v>0.004163647703325566</c:v>
                </c:pt>
                <c:pt idx="12">
                  <c:v>0.005857148634334028</c:v>
                </c:pt>
                <c:pt idx="13">
                  <c:v>0.006092712912007535</c:v>
                </c:pt>
                <c:pt idx="14">
                  <c:v>0.0065459812918742385</c:v>
                </c:pt>
                <c:pt idx="15">
                  <c:v>0.005186291169988153</c:v>
                </c:pt>
                <c:pt idx="16">
                  <c:v>0.004531518024913953</c:v>
                </c:pt>
                <c:pt idx="17">
                  <c:v>0.007356424426918646</c:v>
                </c:pt>
                <c:pt idx="18">
                  <c:v>0.0035842072693603177</c:v>
                </c:pt>
                <c:pt idx="19">
                  <c:v>0.0032689175551764687</c:v>
                </c:pt>
                <c:pt idx="20">
                  <c:v>0.003976968332298089</c:v>
                </c:pt>
                <c:pt idx="21">
                  <c:v>0.004153787961129954</c:v>
                </c:pt>
                <c:pt idx="22">
                  <c:v>0.0038414837349403878</c:v>
                </c:pt>
                <c:pt idx="23">
                  <c:v>0.00485545568752066</c:v>
                </c:pt>
                <c:pt idx="24">
                  <c:v>0.004077861135964353</c:v>
                </c:pt>
                <c:pt idx="25">
                  <c:v>0.004942295574999778</c:v>
                </c:pt>
                <c:pt idx="26">
                  <c:v>0.005485434732069101</c:v>
                </c:pt>
                <c:pt idx="27">
                  <c:v>0.004511442461246415</c:v>
                </c:pt>
                <c:pt idx="28">
                  <c:v>0.003984844235125497</c:v>
                </c:pt>
                <c:pt idx="29">
                  <c:v>0.0033272912070307706</c:v>
                </c:pt>
                <c:pt idx="30">
                  <c:v>0.0037564456475151723</c:v>
                </c:pt>
                <c:pt idx="31">
                  <c:v>0.0035975395952451295</c:v>
                </c:pt>
                <c:pt idx="32">
                  <c:v>0.0045163841151739485</c:v>
                </c:pt>
                <c:pt idx="33">
                  <c:v>0.003497547691605816</c:v>
                </c:pt>
                <c:pt idx="34">
                  <c:v>0.0037822692863006737</c:v>
                </c:pt>
                <c:pt idx="35">
                  <c:v>0.0036088900275501323</c:v>
                </c:pt>
                <c:pt idx="36">
                  <c:v>0.004492962660261607</c:v>
                </c:pt>
                <c:pt idx="37">
                  <c:v>0.0054436363867581845</c:v>
                </c:pt>
                <c:pt idx="38">
                  <c:v>0.006715305095211878</c:v>
                </c:pt>
                <c:pt idx="39">
                  <c:v>0.005296320963560589</c:v>
                </c:pt>
                <c:pt idx="40">
                  <c:v>0.0059430554081783184</c:v>
                </c:pt>
                <c:pt idx="41">
                  <c:v>0.005982211372848632</c:v>
                </c:pt>
                <c:pt idx="42">
                  <c:v>0.0017151694164698125</c:v>
                </c:pt>
                <c:pt idx="43">
                  <c:v>0.0030383956800296204</c:v>
                </c:pt>
                <c:pt idx="44">
                  <c:v>0.00408028039953565</c:v>
                </c:pt>
                <c:pt idx="45">
                  <c:v>0.003072485676513822</c:v>
                </c:pt>
                <c:pt idx="46">
                  <c:v>0.004270397978657345</c:v>
                </c:pt>
                <c:pt idx="47">
                  <c:v>0.005336497818542219</c:v>
                </c:pt>
                <c:pt idx="48">
                  <c:v>0.005282159948018157</c:v>
                </c:pt>
                <c:pt idx="49">
                  <c:v>0.0037438341281314062</c:v>
                </c:pt>
                <c:pt idx="50">
                  <c:v>0.0033664231736442105</c:v>
                </c:pt>
                <c:pt idx="51">
                  <c:v>0.004565245023763107</c:v>
                </c:pt>
                <c:pt idx="52">
                  <c:v>0.005765562937224307</c:v>
                </c:pt>
                <c:pt idx="53">
                  <c:v>0.005765562937224307</c:v>
                </c:pt>
                <c:pt idx="54">
                  <c:v>0.003579889623565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61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9305673158340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656571874356803</c:v>
                </c:pt>
                <c:pt idx="1">
                  <c:v>1.9625476468817513</c:v>
                </c:pt>
                <c:pt idx="2">
                  <c:v>2.2163651448804496</c:v>
                </c:pt>
                <c:pt idx="3">
                  <c:v>2.26516387409686</c:v>
                </c:pt>
                <c:pt idx="4">
                  <c:v>2.3450950230291103</c:v>
                </c:pt>
                <c:pt idx="5">
                  <c:v>1.858772112832695</c:v>
                </c:pt>
                <c:pt idx="6">
                  <c:v>1.5247370004701457</c:v>
                </c:pt>
                <c:pt idx="7">
                  <c:v>1.5935551744164531</c:v>
                </c:pt>
                <c:pt idx="8">
                  <c:v>1.6509324817583142</c:v>
                </c:pt>
                <c:pt idx="9">
                  <c:v>1.8279889216633516</c:v>
                </c:pt>
                <c:pt idx="10">
                  <c:v>1.686771494406297</c:v>
                </c:pt>
                <c:pt idx="11">
                  <c:v>1.780217403619948</c:v>
                </c:pt>
                <c:pt idx="12">
                  <c:v>1.8013912369053224</c:v>
                </c:pt>
                <c:pt idx="13">
                  <c:v>1.7759545266661698</c:v>
                </c:pt>
                <c:pt idx="14">
                  <c:v>1.7956626314295634</c:v>
                </c:pt>
                <c:pt idx="15">
                  <c:v>1.764645160784452</c:v>
                </c:pt>
                <c:pt idx="16">
                  <c:v>1.7930318858698822</c:v>
                </c:pt>
                <c:pt idx="17">
                  <c:v>2.122902409117698</c:v>
                </c:pt>
                <c:pt idx="18">
                  <c:v>2.2249742991385477</c:v>
                </c:pt>
                <c:pt idx="19">
                  <c:v>2.560873059962942</c:v>
                </c:pt>
                <c:pt idx="20">
                  <c:v>2.748150152110888</c:v>
                </c:pt>
                <c:pt idx="21">
                  <c:v>2.643615453686406</c:v>
                </c:pt>
                <c:pt idx="22">
                  <c:v>2.7606213054830833</c:v>
                </c:pt>
                <c:pt idx="23">
                  <c:v>2.757424409313376</c:v>
                </c:pt>
                <c:pt idx="24">
                  <c:v>2.8070686486486482</c:v>
                </c:pt>
                <c:pt idx="25">
                  <c:v>2.7793555559515077</c:v>
                </c:pt>
                <c:pt idx="26">
                  <c:v>2.0267428416966933</c:v>
                </c:pt>
                <c:pt idx="27">
                  <c:v>1.916880905190539</c:v>
                </c:pt>
                <c:pt idx="28">
                  <c:v>1.874618716214499</c:v>
                </c:pt>
                <c:pt idx="29">
                  <c:v>1.8349550616630779</c:v>
                </c:pt>
                <c:pt idx="30">
                  <c:v>1.8540997083485233</c:v>
                </c:pt>
                <c:pt idx="31">
                  <c:v>1.8414887713546053</c:v>
                </c:pt>
                <c:pt idx="32">
                  <c:v>1.8944936460863704</c:v>
                </c:pt>
                <c:pt idx="33">
                  <c:v>1.7665314545289548</c:v>
                </c:pt>
                <c:pt idx="34">
                  <c:v>1.7842700153659468</c:v>
                </c:pt>
                <c:pt idx="35">
                  <c:v>1.847457623951565</c:v>
                </c:pt>
                <c:pt idx="36">
                  <c:v>1.97722681688725</c:v>
                </c:pt>
                <c:pt idx="37">
                  <c:v>1.939396208472941</c:v>
                </c:pt>
                <c:pt idx="38">
                  <c:v>2.083353221934963</c:v>
                </c:pt>
                <c:pt idx="39">
                  <c:v>2.2278638782559987</c:v>
                </c:pt>
                <c:pt idx="40">
                  <c:v>2.159971882743214</c:v>
                </c:pt>
                <c:pt idx="41">
                  <c:v>2.209680656223946</c:v>
                </c:pt>
                <c:pt idx="42">
                  <c:v>2.1440269438009336</c:v>
                </c:pt>
                <c:pt idx="43">
                  <c:v>2.152222040882565</c:v>
                </c:pt>
                <c:pt idx="44">
                  <c:v>1.9820351520849508</c:v>
                </c:pt>
                <c:pt idx="45">
                  <c:v>1.9201301767996115</c:v>
                </c:pt>
                <c:pt idx="46">
                  <c:v>1.9953639311210445</c:v>
                </c:pt>
                <c:pt idx="47">
                  <c:v>2.006249698172394</c:v>
                </c:pt>
                <c:pt idx="48">
                  <c:v>1.952388420107686</c:v>
                </c:pt>
                <c:pt idx="49">
                  <c:v>1.8781387583309999</c:v>
                </c:pt>
                <c:pt idx="50">
                  <c:v>1.7908780352177944</c:v>
                </c:pt>
                <c:pt idx="51">
                  <c:v>1.7932917439893623</c:v>
                </c:pt>
                <c:pt idx="52">
                  <c:v>1.7927106097362657</c:v>
                </c:pt>
                <c:pt idx="53">
                  <c:v>1.9843770938595156</c:v>
                </c:pt>
                <c:pt idx="54">
                  <c:v>2.0206284480690813</c:v>
                </c:pt>
                <c:pt idx="55">
                  <c:v>2.104855583647324</c:v>
                </c:pt>
                <c:pt idx="56">
                  <c:v>2.1764296463469854</c:v>
                </c:pt>
                <c:pt idx="57">
                  <c:v>2.0649077956363073</c:v>
                </c:pt>
                <c:pt idx="58">
                  <c:v>1.96748359083499</c:v>
                </c:pt>
                <c:pt idx="59">
                  <c:v>2.0240565188497524</c:v>
                </c:pt>
                <c:pt idx="60">
                  <c:v>2.0370913274278633</c:v>
                </c:pt>
                <c:pt idx="61">
                  <c:v>2.1103790747223328</c:v>
                </c:pt>
                <c:pt idx="62">
                  <c:v>1.988712577209555</c:v>
                </c:pt>
                <c:pt idx="63">
                  <c:v>2.115818044866283</c:v>
                </c:pt>
                <c:pt idx="64">
                  <c:v>2.0734860749628288</c:v>
                </c:pt>
                <c:pt idx="65">
                  <c:v>2.056131873766448</c:v>
                </c:pt>
                <c:pt idx="66">
                  <c:v>1.9952871080097978</c:v>
                </c:pt>
                <c:pt idx="67">
                  <c:v>2.1688749446292324</c:v>
                </c:pt>
                <c:pt idx="68">
                  <c:v>2.2774292523020154</c:v>
                </c:pt>
                <c:pt idx="69">
                  <c:v>2.1878859833764426</c:v>
                </c:pt>
                <c:pt idx="70">
                  <c:v>2.219063907463229</c:v>
                </c:pt>
                <c:pt idx="71">
                  <c:v>2.320644211580427</c:v>
                </c:pt>
                <c:pt idx="72">
                  <c:v>2.427525557643205</c:v>
                </c:pt>
                <c:pt idx="73">
                  <c:v>2.463380784321684</c:v>
                </c:pt>
                <c:pt idx="74">
                  <c:v>2.3752259147232233</c:v>
                </c:pt>
                <c:pt idx="75">
                  <c:v>2.2480838542447383</c:v>
                </c:pt>
                <c:pt idx="76">
                  <c:v>2.255833274584352</c:v>
                </c:pt>
                <c:pt idx="77">
                  <c:v>2.4519916360669116</c:v>
                </c:pt>
                <c:pt idx="78">
                  <c:v>2.4927082217518435</c:v>
                </c:pt>
                <c:pt idx="79">
                  <c:v>2.5370482758392905</c:v>
                </c:pt>
                <c:pt idx="80">
                  <c:v>2.43220987149683</c:v>
                </c:pt>
                <c:pt idx="81">
                  <c:v>2.4152326645947477</c:v>
                </c:pt>
                <c:pt idx="82">
                  <c:v>2.3103870412281444</c:v>
                </c:pt>
                <c:pt idx="83">
                  <c:v>2.2157160126950366</c:v>
                </c:pt>
                <c:pt idx="84">
                  <c:v>2.2913011204481792</c:v>
                </c:pt>
                <c:pt idx="85">
                  <c:v>2.1668133867598676</c:v>
                </c:pt>
                <c:pt idx="86">
                  <c:v>2.1885389133775273</c:v>
                </c:pt>
                <c:pt idx="87">
                  <c:v>2.188038965107035</c:v>
                </c:pt>
                <c:pt idx="88">
                  <c:v>2.3570046462617897</c:v>
                </c:pt>
                <c:pt idx="89">
                  <c:v>2.24594141965265</c:v>
                </c:pt>
                <c:pt idx="90">
                  <c:v>2.498861699175989</c:v>
                </c:pt>
                <c:pt idx="91">
                  <c:v>2.6058814480200416</c:v>
                </c:pt>
                <c:pt idx="92">
                  <c:v>2.2541110016672765</c:v>
                </c:pt>
                <c:pt idx="93">
                  <c:v>1.9684275855517432</c:v>
                </c:pt>
                <c:pt idx="94">
                  <c:v>2.0180914453281735</c:v>
                </c:pt>
                <c:pt idx="95">
                  <c:v>1.9085863396815042</c:v>
                </c:pt>
                <c:pt idx="96">
                  <c:v>1.7444791238072546</c:v>
                </c:pt>
                <c:pt idx="97">
                  <c:v>1.6466104565954618</c:v>
                </c:pt>
                <c:pt idx="98">
                  <c:v>1.6194609438782384</c:v>
                </c:pt>
                <c:pt idx="99">
                  <c:v>1.5703677230908417</c:v>
                </c:pt>
                <c:pt idx="100">
                  <c:v>1.503805709560248</c:v>
                </c:pt>
                <c:pt idx="101">
                  <c:v>1.569745845478972</c:v>
                </c:pt>
                <c:pt idx="102">
                  <c:v>1.5590593985627552</c:v>
                </c:pt>
                <c:pt idx="103">
                  <c:v>1.5210939300903386</c:v>
                </c:pt>
                <c:pt idx="104">
                  <c:v>1.6032431076103464</c:v>
                </c:pt>
              </c:numCache>
            </c:numRef>
          </c:xVal>
          <c:yVal>
            <c:numRef>
              <c:f>Sheet1!$B$2:$B$106</c:f>
              <c:numCache>
                <c:formatCode>General</c:formatCode>
                <c:ptCount val="105"/>
                <c:pt idx="0">
                  <c:v>0.3624823695345557</c:v>
                </c:pt>
                <c:pt idx="1">
                  <c:v>0.3287904599659284</c:v>
                </c:pt>
                <c:pt idx="2">
                  <c:v>0.32450331125827814</c:v>
                </c:pt>
                <c:pt idx="3">
                  <c:v>0.32275132275132273</c:v>
                </c:pt>
                <c:pt idx="4">
                  <c:v>0.37335834896810505</c:v>
                </c:pt>
                <c:pt idx="5">
                  <c:v>0.3638297872340426</c:v>
                </c:pt>
                <c:pt idx="6">
                  <c:v>0.37328094302554027</c:v>
                </c:pt>
                <c:pt idx="7">
                  <c:v>0.39555555555555555</c:v>
                </c:pt>
                <c:pt idx="8">
                  <c:v>0.3701657458563536</c:v>
                </c:pt>
                <c:pt idx="9">
                  <c:v>0.36363636363636365</c:v>
                </c:pt>
                <c:pt idx="10">
                  <c:v>0.3711967545638945</c:v>
                </c:pt>
                <c:pt idx="11">
                  <c:v>0.32107843137254904</c:v>
                </c:pt>
                <c:pt idx="12">
                  <c:v>0.26258205689277897</c:v>
                </c:pt>
                <c:pt idx="13">
                  <c:v>0.23043478260869565</c:v>
                </c:pt>
                <c:pt idx="14">
                  <c:v>0.22797927461139897</c:v>
                </c:pt>
                <c:pt idx="15">
                  <c:v>0.22965116279069767</c:v>
                </c:pt>
                <c:pt idx="16">
                  <c:v>0.23717948717948717</c:v>
                </c:pt>
                <c:pt idx="17">
                  <c:v>0.20833333333333334</c:v>
                </c:pt>
                <c:pt idx="18">
                  <c:v>0.2664359861591695</c:v>
                </c:pt>
                <c:pt idx="19">
                  <c:v>0.272</c:v>
                </c:pt>
                <c:pt idx="20">
                  <c:v>0.2598187311178248</c:v>
                </c:pt>
                <c:pt idx="21">
                  <c:v>0.2553191489361702</c:v>
                </c:pt>
                <c:pt idx="22">
                  <c:v>0.27639751552795033</c:v>
                </c:pt>
                <c:pt idx="23">
                  <c:v>0.3088235294117647</c:v>
                </c:pt>
                <c:pt idx="24">
                  <c:v>0.2867647058823529</c:v>
                </c:pt>
                <c:pt idx="25">
                  <c:v>0.28353658536585363</c:v>
                </c:pt>
                <c:pt idx="26">
                  <c:v>0.31210191082802546</c:v>
                </c:pt>
                <c:pt idx="27">
                  <c:v>0.3146417445482866</c:v>
                </c:pt>
                <c:pt idx="28">
                  <c:v>0.31208053691275167</c:v>
                </c:pt>
                <c:pt idx="29">
                  <c:v>0.3106060606060606</c:v>
                </c:pt>
                <c:pt idx="30">
                  <c:v>0.3308270676691729</c:v>
                </c:pt>
                <c:pt idx="31">
                  <c:v>0.30927835051546393</c:v>
                </c:pt>
                <c:pt idx="32">
                  <c:v>0.25770308123249297</c:v>
                </c:pt>
                <c:pt idx="33">
                  <c:v>0.25055432372505543</c:v>
                </c:pt>
                <c:pt idx="34">
                  <c:v>0.2800751879699248</c:v>
                </c:pt>
                <c:pt idx="35">
                  <c:v>0.3127147766323024</c:v>
                </c:pt>
                <c:pt idx="36">
                  <c:v>0.33055555555555555</c:v>
                </c:pt>
                <c:pt idx="37">
                  <c:v>0.36507936507936506</c:v>
                </c:pt>
                <c:pt idx="38">
                  <c:v>0.3081967213114754</c:v>
                </c:pt>
                <c:pt idx="39">
                  <c:v>0.2721311475409836</c:v>
                </c:pt>
                <c:pt idx="40">
                  <c:v>0.29649595687331537</c:v>
                </c:pt>
                <c:pt idx="41">
                  <c:v>0.3449367088607595</c:v>
                </c:pt>
                <c:pt idx="42">
                  <c:v>0.25770308123249297</c:v>
                </c:pt>
                <c:pt idx="43">
                  <c:v>0.2685589519650655</c:v>
                </c:pt>
                <c:pt idx="44">
                  <c:v>0.2540453074433657</c:v>
                </c:pt>
                <c:pt idx="45">
                  <c:v>0.30238393977415307</c:v>
                </c:pt>
                <c:pt idx="46">
                  <c:v>0.28369565217391307</c:v>
                </c:pt>
                <c:pt idx="47">
                  <c:v>0.28399122807017546</c:v>
                </c:pt>
                <c:pt idx="48">
                  <c:v>0.3008057296329454</c:v>
                </c:pt>
                <c:pt idx="49">
                  <c:v>0.28587830080367393</c:v>
                </c:pt>
                <c:pt idx="50">
                  <c:v>0.2797872340425532</c:v>
                </c:pt>
                <c:pt idx="51">
                  <c:v>0.25925925925925924</c:v>
                </c:pt>
                <c:pt idx="52">
                  <c:v>0.27202072538860106</c:v>
                </c:pt>
                <c:pt idx="53">
                  <c:v>0.28078817733990147</c:v>
                </c:pt>
                <c:pt idx="54">
                  <c:v>0.2987012987012987</c:v>
                </c:pt>
                <c:pt idx="55">
                  <c:v>0.28888888888888886</c:v>
                </c:pt>
                <c:pt idx="56">
                  <c:v>0.2568027210884354</c:v>
                </c:pt>
                <c:pt idx="57">
                  <c:v>0.2695035460992908</c:v>
                </c:pt>
                <c:pt idx="58">
                  <c:v>0.29395604395604397</c:v>
                </c:pt>
                <c:pt idx="59">
                  <c:v>0.3011542497376705</c:v>
                </c:pt>
                <c:pt idx="60">
                  <c:v>0.27387802071346373</c:v>
                </c:pt>
                <c:pt idx="61">
                  <c:v>0.27806563039723664</c:v>
                </c:pt>
                <c:pt idx="62">
                  <c:v>0.28592814371257486</c:v>
                </c:pt>
                <c:pt idx="63">
                  <c:v>0.27671232876712326</c:v>
                </c:pt>
                <c:pt idx="64">
                  <c:v>0.2689655172413793</c:v>
                </c:pt>
                <c:pt idx="65">
                  <c:v>0.26194398682042835</c:v>
                </c:pt>
                <c:pt idx="66">
                  <c:v>0.31456953642384106</c:v>
                </c:pt>
                <c:pt idx="67">
                  <c:v>0.27944111776447106</c:v>
                </c:pt>
                <c:pt idx="68">
                  <c:v>0.29245283018867924</c:v>
                </c:pt>
                <c:pt idx="69">
                  <c:v>0.26744186046511625</c:v>
                </c:pt>
                <c:pt idx="70">
                  <c:v>0.25443786982248523</c:v>
                </c:pt>
                <c:pt idx="71">
                  <c:v>0.27596439169139464</c:v>
                </c:pt>
                <c:pt idx="72">
                  <c:v>0.29508196721311475</c:v>
                </c:pt>
                <c:pt idx="73">
                  <c:v>0.2905982905982906</c:v>
                </c:pt>
                <c:pt idx="74">
                  <c:v>0.272108843537415</c:v>
                </c:pt>
                <c:pt idx="75">
                  <c:v>0.3087431693989071</c:v>
                </c:pt>
                <c:pt idx="76">
                  <c:v>0.30030959752321984</c:v>
                </c:pt>
                <c:pt idx="77">
                  <c:v>0.3037542662116041</c:v>
                </c:pt>
                <c:pt idx="78">
                  <c:v>0.3006993006993007</c:v>
                </c:pt>
                <c:pt idx="79">
                  <c:v>0.31384615384615383</c:v>
                </c:pt>
                <c:pt idx="80">
                  <c:v>0.2964071856287425</c:v>
                </c:pt>
                <c:pt idx="81">
                  <c:v>0.30434782608695654</c:v>
                </c:pt>
                <c:pt idx="82">
                  <c:v>0.31210191082802546</c:v>
                </c:pt>
                <c:pt idx="83">
                  <c:v>0.3181818181818182</c:v>
                </c:pt>
                <c:pt idx="84">
                  <c:v>0.30708661417322836</c:v>
                </c:pt>
                <c:pt idx="85">
                  <c:v>0.34593023255813954</c:v>
                </c:pt>
                <c:pt idx="86">
                  <c:v>0.32432432432432434</c:v>
                </c:pt>
                <c:pt idx="87">
                  <c:v>0.2804642166344294</c:v>
                </c:pt>
                <c:pt idx="88">
                  <c:v>0.3170028818443804</c:v>
                </c:pt>
                <c:pt idx="89">
                  <c:v>0.29</c:v>
                </c:pt>
                <c:pt idx="90">
                  <c:v>0.25704225352112675</c:v>
                </c:pt>
                <c:pt idx="91">
                  <c:v>0.3177257525083612</c:v>
                </c:pt>
                <c:pt idx="92">
                  <c:v>0.3131868131868132</c:v>
                </c:pt>
                <c:pt idx="93">
                  <c:v>0.3215258855585831</c:v>
                </c:pt>
                <c:pt idx="94">
                  <c:v>0.2939189189189189</c:v>
                </c:pt>
                <c:pt idx="95">
                  <c:v>0.26218097447795824</c:v>
                </c:pt>
                <c:pt idx="96">
                  <c:v>0.3005008347245409</c:v>
                </c:pt>
                <c:pt idx="97">
                  <c:v>0.3400286944045911</c:v>
                </c:pt>
                <c:pt idx="98">
                  <c:v>0.32788671023965144</c:v>
                </c:pt>
                <c:pt idx="99">
                  <c:v>0.34615384615384615</c:v>
                </c:pt>
                <c:pt idx="100">
                  <c:v>0.32766825288919105</c:v>
                </c:pt>
                <c:pt idx="101">
                  <c:v>0.32998885172798215</c:v>
                </c:pt>
                <c:pt idx="102">
                  <c:v>0.3209677419354839</c:v>
                </c:pt>
                <c:pt idx="103">
                  <c:v>0.3277310924369748</c:v>
                </c:pt>
                <c:pt idx="104">
                  <c:v>0.316993464052287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776464982922288</c:v>
                </c:pt>
                <c:pt idx="1">
                  <c:v>1.721643602749849</c:v>
                </c:pt>
                <c:pt idx="2">
                  <c:v>1.7290254758319856</c:v>
                </c:pt>
                <c:pt idx="3">
                  <c:v>1.78978388522051</c:v>
                </c:pt>
                <c:pt idx="4">
                  <c:v>1.8857676370746053</c:v>
                </c:pt>
                <c:pt idx="5">
                  <c:v>1.8255193834497936</c:v>
                </c:pt>
                <c:pt idx="6">
                  <c:v>1.678422198010538</c:v>
                </c:pt>
                <c:pt idx="7">
                  <c:v>1.723488484282602</c:v>
                </c:pt>
                <c:pt idx="8">
                  <c:v>1.9729398248115704</c:v>
                </c:pt>
                <c:pt idx="9">
                  <c:v>1.867516884309857</c:v>
                </c:pt>
                <c:pt idx="10">
                  <c:v>1.8508703310141834</c:v>
                </c:pt>
                <c:pt idx="11">
                  <c:v>1.6283556973503106</c:v>
                </c:pt>
                <c:pt idx="12">
                  <c:v>1.6593307448899863</c:v>
                </c:pt>
                <c:pt idx="13">
                  <c:v>1.781112085219127</c:v>
                </c:pt>
                <c:pt idx="14">
                  <c:v>1.7912734196925333</c:v>
                </c:pt>
                <c:pt idx="15">
                  <c:v>1.8347574223645025</c:v>
                </c:pt>
                <c:pt idx="16">
                  <c:v>1.8390455288184535</c:v>
                </c:pt>
                <c:pt idx="17">
                  <c:v>1.8048684029520041</c:v>
                </c:pt>
                <c:pt idx="18">
                  <c:v>1.8633064788837241</c:v>
                </c:pt>
                <c:pt idx="19">
                  <c:v>2.051829507192774</c:v>
                </c:pt>
                <c:pt idx="20">
                  <c:v>2.059584085985209</c:v>
                </c:pt>
                <c:pt idx="21">
                  <c:v>1.9174063206711331</c:v>
                </c:pt>
                <c:pt idx="22">
                  <c:v>1.9748038686962472</c:v>
                </c:pt>
                <c:pt idx="23">
                  <c:v>1.9014424324454138</c:v>
                </c:pt>
                <c:pt idx="24">
                  <c:v>1.9876351227375333</c:v>
                </c:pt>
                <c:pt idx="25">
                  <c:v>1.8374411244683364</c:v>
                </c:pt>
                <c:pt idx="26">
                  <c:v>1.8917468590156277</c:v>
                </c:pt>
                <c:pt idx="27">
                  <c:v>1.8256361697546526</c:v>
                </c:pt>
                <c:pt idx="28">
                  <c:v>1.9062609769265288</c:v>
                </c:pt>
                <c:pt idx="29">
                  <c:v>1.9697387214631052</c:v>
                </c:pt>
                <c:pt idx="30">
                  <c:v>1.9185417699742258</c:v>
                </c:pt>
                <c:pt idx="31">
                  <c:v>1.952787900601255</c:v>
                </c:pt>
                <c:pt idx="32">
                  <c:v>1.9683881588431364</c:v>
                </c:pt>
                <c:pt idx="33">
                  <c:v>2.005416327857548</c:v>
                </c:pt>
                <c:pt idx="34">
                  <c:v>1.9646098514378558</c:v>
                </c:pt>
                <c:pt idx="35">
                  <c:v>1.9744422577491294</c:v>
                </c:pt>
                <c:pt idx="36">
                  <c:v>2.055379986943053</c:v>
                </c:pt>
                <c:pt idx="37">
                  <c:v>2.0864434065135504</c:v>
                </c:pt>
                <c:pt idx="38">
                  <c:v>2.062034010122064</c:v>
                </c:pt>
                <c:pt idx="39">
                  <c:v>2.054011399132201</c:v>
                </c:pt>
                <c:pt idx="40">
                  <c:v>2.039360723563638</c:v>
                </c:pt>
                <c:pt idx="41">
                  <c:v>2.181788535961867</c:v>
                </c:pt>
                <c:pt idx="42">
                  <c:v>2.2430372335099205</c:v>
                </c:pt>
                <c:pt idx="43">
                  <c:v>2.193409195134956</c:v>
                </c:pt>
                <c:pt idx="44">
                  <c:v>2.032795585170214</c:v>
                </c:pt>
                <c:pt idx="45">
                  <c:v>1.9111773552576279</c:v>
                </c:pt>
                <c:pt idx="46">
                  <c:v>1.8989054263575649</c:v>
                </c:pt>
                <c:pt idx="47">
                  <c:v>1.8938981114477407</c:v>
                </c:pt>
                <c:pt idx="48">
                  <c:v>1.8382622372774038</c:v>
                </c:pt>
                <c:pt idx="49">
                  <c:v>1.8231036588665477</c:v>
                </c:pt>
                <c:pt idx="50">
                  <c:v>1.73410844261338</c:v>
                </c:pt>
                <c:pt idx="51">
                  <c:v>1.7185361899314016</c:v>
                </c:pt>
              </c:numCache>
            </c:numRef>
          </c:xVal>
          <c:yVal>
            <c:numRef>
              <c:f>Sheet1!$B$109:$B$160</c:f>
              <c:numCache>
                <c:formatCode>General</c:formatCode>
                <c:ptCount val="52"/>
                <c:pt idx="0">
                  <c:v>0.29652996845425866</c:v>
                </c:pt>
                <c:pt idx="1">
                  <c:v>0.31190926275992437</c:v>
                </c:pt>
                <c:pt idx="2">
                  <c:v>0.31191222570532917</c:v>
                </c:pt>
                <c:pt idx="3">
                  <c:v>0.3080495356037152</c:v>
                </c:pt>
                <c:pt idx="4">
                  <c:v>0.2842809364548495</c:v>
                </c:pt>
                <c:pt idx="5">
                  <c:v>0.29187396351575456</c:v>
                </c:pt>
                <c:pt idx="6">
                  <c:v>0.29342105263157897</c:v>
                </c:pt>
                <c:pt idx="7">
                  <c:v>0.3327272727272727</c:v>
                </c:pt>
                <c:pt idx="8">
                  <c:v>0.2897196261682243</c:v>
                </c:pt>
                <c:pt idx="9">
                  <c:v>0.30677290836653387</c:v>
                </c:pt>
                <c:pt idx="10">
                  <c:v>0.2975206611570248</c:v>
                </c:pt>
                <c:pt idx="11">
                  <c:v>0.3095823095823096</c:v>
                </c:pt>
                <c:pt idx="12">
                  <c:v>0.3068362480127186</c:v>
                </c:pt>
                <c:pt idx="13">
                  <c:v>0.27355072463768115</c:v>
                </c:pt>
                <c:pt idx="14">
                  <c:v>0.2779783393501805</c:v>
                </c:pt>
                <c:pt idx="15">
                  <c:v>0.30337078651685395</c:v>
                </c:pt>
                <c:pt idx="16">
                  <c:v>0.36666666666666664</c:v>
                </c:pt>
                <c:pt idx="17">
                  <c:v>0.34794520547945207</c:v>
                </c:pt>
                <c:pt idx="18">
                  <c:v>0.3122923588039867</c:v>
                </c:pt>
                <c:pt idx="19">
                  <c:v>0.30057803468208094</c:v>
                </c:pt>
                <c:pt idx="20">
                  <c:v>0.29605263157894735</c:v>
                </c:pt>
                <c:pt idx="21">
                  <c:v>0.31666666666666665</c:v>
                </c:pt>
                <c:pt idx="22">
                  <c:v>0.29411764705882354</c:v>
                </c:pt>
                <c:pt idx="23">
                  <c:v>0.2905405405405405</c:v>
                </c:pt>
                <c:pt idx="24">
                  <c:v>0.2905982905982906</c:v>
                </c:pt>
                <c:pt idx="25">
                  <c:v>0.30662983425414364</c:v>
                </c:pt>
                <c:pt idx="26">
                  <c:v>0.29201101928374656</c:v>
                </c:pt>
                <c:pt idx="27">
                  <c:v>0.29508196721311475</c:v>
                </c:pt>
                <c:pt idx="28">
                  <c:v>0.2691415313225058</c:v>
                </c:pt>
                <c:pt idx="29">
                  <c:v>0.2640449438202247</c:v>
                </c:pt>
                <c:pt idx="30">
                  <c:v>0.2553846153846154</c:v>
                </c:pt>
                <c:pt idx="31">
                  <c:v>0.27177700348432055</c:v>
                </c:pt>
                <c:pt idx="32">
                  <c:v>0.23728813559322035</c:v>
                </c:pt>
                <c:pt idx="33">
                  <c:v>0.25225225225225223</c:v>
                </c:pt>
                <c:pt idx="34">
                  <c:v>0.2568659127625202</c:v>
                </c:pt>
                <c:pt idx="35">
                  <c:v>0.25925925925925924</c:v>
                </c:pt>
                <c:pt idx="36">
                  <c:v>0.26639344262295084</c:v>
                </c:pt>
                <c:pt idx="37">
                  <c:v>0.2623574144486692</c:v>
                </c:pt>
                <c:pt idx="38">
                  <c:v>0.2779783393501805</c:v>
                </c:pt>
                <c:pt idx="39">
                  <c:v>0.25513196480938416</c:v>
                </c:pt>
                <c:pt idx="40">
                  <c:v>0.2785923753665689</c:v>
                </c:pt>
                <c:pt idx="41">
                  <c:v>0.26737967914438504</c:v>
                </c:pt>
                <c:pt idx="42">
                  <c:v>0.27246376811594203</c:v>
                </c:pt>
                <c:pt idx="43">
                  <c:v>0.24604966139954854</c:v>
                </c:pt>
                <c:pt idx="44">
                  <c:v>0.28778467908902694</c:v>
                </c:pt>
                <c:pt idx="45">
                  <c:v>0.3169984686064318</c:v>
                </c:pt>
                <c:pt idx="46">
                  <c:v>0.3228228228228228</c:v>
                </c:pt>
                <c:pt idx="47">
                  <c:v>0.31345353675450766</c:v>
                </c:pt>
                <c:pt idx="48">
                  <c:v>0.31075110456553756</c:v>
                </c:pt>
                <c:pt idx="49">
                  <c:v>0.3341614906832298</c:v>
                </c:pt>
                <c:pt idx="50">
                  <c:v>0.3099315068493151</c:v>
                </c:pt>
                <c:pt idx="51">
                  <c:v>0.321187584345479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073360660536024</c:v>
                </c:pt>
              </c:numCache>
            </c:numRef>
          </c:xVal>
          <c:yVal>
            <c:numRef>
              <c:f>Sheet1!$B$163:$B$164</c:f>
              <c:numCache>
                <c:formatCode>General</c:formatCode>
                <c:ptCount val="2"/>
                <c:pt idx="0">
                  <c:v>0.3571908715721869</c:v>
                </c:pt>
                <c:pt idx="1">
                  <c:v>0.35719087157218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073360660536024</c:v>
                </c:pt>
                <c:pt idx="1">
                  <c:v>1.3073360660536024</c:v>
                </c:pt>
              </c:numCache>
            </c:numRef>
          </c:xVal>
          <c:yVal>
            <c:numRef>
              <c:f>Sheet1!$B$167:$B$168</c:f>
              <c:numCache>
                <c:formatCode>General</c:formatCode>
                <c:ptCount val="2"/>
                <c:pt idx="0">
                  <c:v>0.35719087157218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576189068922411</c:v>
                </c:pt>
              </c:numCache>
            </c:numRef>
          </c:xVal>
          <c:yVal>
            <c:numRef>
              <c:f>Sheet1!$B$171:$B$172</c:f>
              <c:numCache>
                <c:formatCode>General</c:formatCode>
                <c:ptCount val="2"/>
                <c:pt idx="0">
                  <c:v>0.31900792161089037</c:v>
                </c:pt>
                <c:pt idx="1">
                  <c:v>0.3190079216108903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576189068922411</c:v>
                </c:pt>
                <c:pt idx="1">
                  <c:v>1.6576189068922411</c:v>
                </c:pt>
              </c:numCache>
            </c:numRef>
          </c:xVal>
          <c:yVal>
            <c:numRef>
              <c:f>Sheet1!$B$175:$B$176</c:f>
              <c:numCache>
                <c:formatCode>General</c:formatCode>
                <c:ptCount val="2"/>
                <c:pt idx="0">
                  <c:v>0.319007921610890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766570876297268</c:v>
                </c:pt>
              </c:numCache>
            </c:numRef>
          </c:xVal>
          <c:yVal>
            <c:numRef>
              <c:f>Sheet1!$B$179:$B$180</c:f>
              <c:numCache>
                <c:formatCode>General</c:formatCode>
                <c:ptCount val="2"/>
                <c:pt idx="0">
                  <c:v>0.2951314340424754</c:v>
                </c:pt>
                <c:pt idx="1">
                  <c:v>0.29513143404247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766570876297268</c:v>
                </c:pt>
                <c:pt idx="1">
                  <c:v>1.8766570876297268</c:v>
                </c:pt>
              </c:numCache>
            </c:numRef>
          </c:xVal>
          <c:yVal>
            <c:numRef>
              <c:f>Sheet1!$B$183:$B$184</c:f>
              <c:numCache>
                <c:formatCode>General</c:formatCode>
                <c:ptCount val="2"/>
                <c:pt idx="0">
                  <c:v>0.29513143404247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776464982922288</c:v>
                </c:pt>
                <c:pt idx="1">
                  <c:v>1.721643602749849</c:v>
                </c:pt>
                <c:pt idx="2">
                  <c:v>1.7290254758319856</c:v>
                </c:pt>
                <c:pt idx="3">
                  <c:v>1.78978388522051</c:v>
                </c:pt>
                <c:pt idx="4">
                  <c:v>1.8857676370746053</c:v>
                </c:pt>
                <c:pt idx="5">
                  <c:v>1.8255193834497936</c:v>
                </c:pt>
                <c:pt idx="6">
                  <c:v>1.678422198010538</c:v>
                </c:pt>
                <c:pt idx="7">
                  <c:v>1.723488484282602</c:v>
                </c:pt>
                <c:pt idx="8">
                  <c:v>1.9729398248115704</c:v>
                </c:pt>
                <c:pt idx="9">
                  <c:v>1.867516884309857</c:v>
                </c:pt>
                <c:pt idx="10">
                  <c:v>1.8508703310141834</c:v>
                </c:pt>
                <c:pt idx="11">
                  <c:v>1.6283556973503106</c:v>
                </c:pt>
                <c:pt idx="12">
                  <c:v>1.6593307448899863</c:v>
                </c:pt>
                <c:pt idx="13">
                  <c:v>1.781112085219127</c:v>
                </c:pt>
                <c:pt idx="14">
                  <c:v>1.7912734196925333</c:v>
                </c:pt>
                <c:pt idx="15">
                  <c:v>1.8347574223645025</c:v>
                </c:pt>
                <c:pt idx="16">
                  <c:v>1.8390455288184535</c:v>
                </c:pt>
                <c:pt idx="17">
                  <c:v>1.8048684029520041</c:v>
                </c:pt>
                <c:pt idx="18">
                  <c:v>1.8633064788837241</c:v>
                </c:pt>
                <c:pt idx="19">
                  <c:v>2.051829507192774</c:v>
                </c:pt>
                <c:pt idx="20">
                  <c:v>2.059584085985209</c:v>
                </c:pt>
                <c:pt idx="21">
                  <c:v>1.9174063206711331</c:v>
                </c:pt>
                <c:pt idx="22">
                  <c:v>1.9748038686962472</c:v>
                </c:pt>
                <c:pt idx="23">
                  <c:v>1.9014424324454138</c:v>
                </c:pt>
                <c:pt idx="24">
                  <c:v>1.9876351227375333</c:v>
                </c:pt>
                <c:pt idx="25">
                  <c:v>1.8374411244683364</c:v>
                </c:pt>
                <c:pt idx="26">
                  <c:v>1.8917468590156277</c:v>
                </c:pt>
                <c:pt idx="27">
                  <c:v>1.8256361697546526</c:v>
                </c:pt>
                <c:pt idx="28">
                  <c:v>1.9062609769265288</c:v>
                </c:pt>
                <c:pt idx="29">
                  <c:v>1.9697387214631052</c:v>
                </c:pt>
                <c:pt idx="30">
                  <c:v>1.9185417699742258</c:v>
                </c:pt>
                <c:pt idx="31">
                  <c:v>1.952787900601255</c:v>
                </c:pt>
                <c:pt idx="32">
                  <c:v>1.9683881588431364</c:v>
                </c:pt>
                <c:pt idx="33">
                  <c:v>2.005416327857548</c:v>
                </c:pt>
                <c:pt idx="34">
                  <c:v>1.9646098514378558</c:v>
                </c:pt>
                <c:pt idx="35">
                  <c:v>1.9744422577491294</c:v>
                </c:pt>
                <c:pt idx="36">
                  <c:v>2.055379986943053</c:v>
                </c:pt>
                <c:pt idx="37">
                  <c:v>2.0864434065135504</c:v>
                </c:pt>
                <c:pt idx="38">
                  <c:v>2.062034010122064</c:v>
                </c:pt>
                <c:pt idx="39">
                  <c:v>2.054011399132201</c:v>
                </c:pt>
                <c:pt idx="40">
                  <c:v>2.039360723563638</c:v>
                </c:pt>
                <c:pt idx="41">
                  <c:v>2.181788535961867</c:v>
                </c:pt>
                <c:pt idx="42">
                  <c:v>2.2430372335099205</c:v>
                </c:pt>
                <c:pt idx="43">
                  <c:v>2.193409195134956</c:v>
                </c:pt>
                <c:pt idx="44">
                  <c:v>2.032795585170214</c:v>
                </c:pt>
                <c:pt idx="45">
                  <c:v>1.9111773552576279</c:v>
                </c:pt>
                <c:pt idx="46">
                  <c:v>1.8989054263575649</c:v>
                </c:pt>
                <c:pt idx="47">
                  <c:v>1.8938981114477407</c:v>
                </c:pt>
                <c:pt idx="48">
                  <c:v>1.8382622372774038</c:v>
                </c:pt>
                <c:pt idx="49">
                  <c:v>1.8231036588665477</c:v>
                </c:pt>
                <c:pt idx="50">
                  <c:v>1.73410844261338</c:v>
                </c:pt>
                <c:pt idx="51">
                  <c:v>1.7185361899314016</c:v>
                </c:pt>
                <c:pt idx="52">
                  <c:v>1.6576189068922411</c:v>
                </c:pt>
                <c:pt idx="53">
                  <c:v>1.3073360660536024</c:v>
                </c:pt>
                <c:pt idx="54">
                  <c:v>1.8766570876297268</c:v>
                </c:pt>
              </c:numCache>
            </c:numRef>
          </c:xVal>
          <c:yVal>
            <c:numRef>
              <c:f>Sheet1!$B$187:$B$241</c:f>
              <c:numCache>
                <c:formatCode>General</c:formatCode>
                <c:ptCount val="55"/>
                <c:pt idx="0">
                  <c:v>0.31682479291854515</c:v>
                </c:pt>
                <c:pt idx="1">
                  <c:v>0.3120288422121812</c:v>
                </c:pt>
                <c:pt idx="2">
                  <c:v>0.3112241733627421</c:v>
                </c:pt>
                <c:pt idx="3">
                  <c:v>0.3046011389604413</c:v>
                </c:pt>
                <c:pt idx="4">
                  <c:v>0.29413832900558334</c:v>
                </c:pt>
                <c:pt idx="5">
                  <c:v>0.300705753341597</c:v>
                </c:pt>
                <c:pt idx="6">
                  <c:v>0.3167402369538331</c:v>
                </c:pt>
                <c:pt idx="7">
                  <c:v>0.31182773895779115</c:v>
                </c:pt>
                <c:pt idx="8">
                  <c:v>0.2846360328770938</c:v>
                </c:pt>
                <c:pt idx="9">
                  <c:v>0.2961277715312405</c:v>
                </c:pt>
                <c:pt idx="10">
                  <c:v>0.29794234660432994</c:v>
                </c:pt>
                <c:pt idx="11">
                  <c:v>0.32219778858516557</c:v>
                </c:pt>
                <c:pt idx="12">
                  <c:v>0.3188213209071469</c:v>
                </c:pt>
                <c:pt idx="13">
                  <c:v>0.305546417652182</c:v>
                </c:pt>
                <c:pt idx="14">
                  <c:v>0.30443877068663505</c:v>
                </c:pt>
                <c:pt idx="15">
                  <c:v>0.29969875118078226</c:v>
                </c:pt>
                <c:pt idx="16">
                  <c:v>0.29923132162080746</c:v>
                </c:pt>
                <c:pt idx="17">
                  <c:v>0.30295683521906197</c:v>
                </c:pt>
                <c:pt idx="18">
                  <c:v>0.29658673120884815</c:v>
                </c:pt>
                <c:pt idx="19">
                  <c:v>0.27603657996751874</c:v>
                </c:pt>
                <c:pt idx="20">
                  <c:v>0.2751912839396186</c:v>
                </c:pt>
                <c:pt idx="21">
                  <c:v>0.2906895209802881</c:v>
                </c:pt>
                <c:pt idx="22">
                  <c:v>0.2844328408103518</c:v>
                </c:pt>
                <c:pt idx="23">
                  <c:v>0.2924296814284876</c:v>
                </c:pt>
                <c:pt idx="24">
                  <c:v>0.28303415645051816</c:v>
                </c:pt>
                <c:pt idx="25">
                  <c:v>0.2994062114066489</c:v>
                </c:pt>
                <c:pt idx="26">
                  <c:v>0.2934865576209647</c:v>
                </c:pt>
                <c:pt idx="27">
                  <c:v>0.30069302292744393</c:v>
                </c:pt>
                <c:pt idx="28">
                  <c:v>0.2919044309127381</c:v>
                </c:pt>
                <c:pt idx="29">
                  <c:v>0.2849849725187924</c:v>
                </c:pt>
                <c:pt idx="30">
                  <c:v>0.2905657501332212</c:v>
                </c:pt>
                <c:pt idx="31">
                  <c:v>0.2868327145983683</c:v>
                </c:pt>
                <c:pt idx="32">
                  <c:v>0.285132192019509</c:v>
                </c:pt>
                <c:pt idx="33">
                  <c:v>0.281095897460373</c:v>
                </c:pt>
                <c:pt idx="34">
                  <c:v>0.28554405039729547</c:v>
                </c:pt>
                <c:pt idx="35">
                  <c:v>0.28447225859246816</c:v>
                </c:pt>
                <c:pt idx="36">
                  <c:v>0.2756495561831994</c:v>
                </c:pt>
                <c:pt idx="37">
                  <c:v>0.2722634554188932</c:v>
                </c:pt>
                <c:pt idx="38">
                  <c:v>0.2749242273789759</c:v>
                </c:pt>
                <c:pt idx="39">
                  <c:v>0.27579874053883124</c:v>
                </c:pt>
                <c:pt idx="40">
                  <c:v>0.2773957528583451</c:v>
                </c:pt>
                <c:pt idx="41">
                  <c:v>0.26187025917193385</c:v>
                </c:pt>
                <c:pt idx="42">
                  <c:v>0.25519378039246304</c:v>
                </c:pt>
                <c:pt idx="43">
                  <c:v>0.2606035369806297</c:v>
                </c:pt>
                <c:pt idx="44">
                  <c:v>0.27811139268290785</c:v>
                </c:pt>
                <c:pt idx="45">
                  <c:v>0.2913685159151387</c:v>
                </c:pt>
                <c:pt idx="46">
                  <c:v>0.29270623044890753</c:v>
                </c:pt>
                <c:pt idx="47">
                  <c:v>0.29325205808403954</c:v>
                </c:pt>
                <c:pt idx="48">
                  <c:v>0.2993167051401526</c:v>
                </c:pt>
                <c:pt idx="49">
                  <c:v>0.3009690819438817</c:v>
                </c:pt>
                <c:pt idx="50">
                  <c:v>0.3106700992156779</c:v>
                </c:pt>
                <c:pt idx="51">
                  <c:v>0.3123675690189862</c:v>
                </c:pt>
                <c:pt idx="52">
                  <c:v>0.31900792161089037</c:v>
                </c:pt>
                <c:pt idx="53">
                  <c:v>0.3571908715721869</c:v>
                </c:pt>
                <c:pt idx="54">
                  <c:v>0.29513143404247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6666666666666"/>
          <c:min val="0.1666666666666666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8.3969</c:v>
                </c:pt>
                <c:pt idx="1">
                  <c:v>811.6891</c:v>
                </c:pt>
                <c:pt idx="2">
                  <c:v>867.3827</c:v>
                </c:pt>
                <c:pt idx="3">
                  <c:v>895.5792</c:v>
                </c:pt>
                <c:pt idx="4">
                  <c:v>917.7588</c:v>
                </c:pt>
                <c:pt idx="5">
                  <c:v>894.5088</c:v>
                </c:pt>
                <c:pt idx="6">
                  <c:v>810.7789</c:v>
                </c:pt>
                <c:pt idx="7">
                  <c:v>844.0112</c:v>
                </c:pt>
                <c:pt idx="8">
                  <c:v>882.0224</c:v>
                </c:pt>
                <c:pt idx="9">
                  <c:v>822.0585</c:v>
                </c:pt>
                <c:pt idx="10">
                  <c:v>804.7268</c:v>
                </c:pt>
                <c:pt idx="11">
                  <c:v>895.5802</c:v>
                </c:pt>
                <c:pt idx="12">
                  <c:v>918.825</c:v>
                </c:pt>
                <c:pt idx="13">
                  <c:v>910.0094</c:v>
                </c:pt>
                <c:pt idx="14">
                  <c:v>907.2273</c:v>
                </c:pt>
                <c:pt idx="15">
                  <c:v>900.2152</c:v>
                </c:pt>
                <c:pt idx="16">
                  <c:v>947.7027</c:v>
                </c:pt>
                <c:pt idx="17">
                  <c:v>984.0833</c:v>
                </c:pt>
                <c:pt idx="18">
                  <c:v>1016.5714</c:v>
                </c:pt>
                <c:pt idx="19">
                  <c:v>1050.1029</c:v>
                </c:pt>
                <c:pt idx="20">
                  <c:v>1056.4535</c:v>
                </c:pt>
                <c:pt idx="21">
                  <c:v>1034.2778</c:v>
                </c:pt>
                <c:pt idx="22">
                  <c:v>1061.7079</c:v>
                </c:pt>
                <c:pt idx="23">
                  <c:v>1037.1619</c:v>
                </c:pt>
                <c:pt idx="24">
                  <c:v>1038.6154</c:v>
                </c:pt>
                <c:pt idx="25">
                  <c:v>1029.5161</c:v>
                </c:pt>
                <c:pt idx="26">
                  <c:v>1022.7143</c:v>
                </c:pt>
                <c:pt idx="27">
                  <c:v>1042.9703</c:v>
                </c:pt>
                <c:pt idx="28">
                  <c:v>1032.7312</c:v>
                </c:pt>
                <c:pt idx="29">
                  <c:v>987.7642</c:v>
                </c:pt>
                <c:pt idx="30">
                  <c:v>1017.1591</c:v>
                </c:pt>
                <c:pt idx="31">
                  <c:v>1014.7778</c:v>
                </c:pt>
                <c:pt idx="32">
                  <c:v>1020.6522</c:v>
                </c:pt>
                <c:pt idx="33">
                  <c:v>957.7434</c:v>
                </c:pt>
                <c:pt idx="34">
                  <c:v>943.1141</c:v>
                </c:pt>
                <c:pt idx="35">
                  <c:v>988.6978</c:v>
                </c:pt>
                <c:pt idx="36">
                  <c:v>1057.395</c:v>
                </c:pt>
                <c:pt idx="37">
                  <c:v>1051.5478</c:v>
                </c:pt>
                <c:pt idx="38">
                  <c:v>1126.0745</c:v>
                </c:pt>
                <c:pt idx="39">
                  <c:v>1193.1325</c:v>
                </c:pt>
                <c:pt idx="40">
                  <c:v>1137.2455</c:v>
                </c:pt>
                <c:pt idx="41">
                  <c:v>1169.3303</c:v>
                </c:pt>
                <c:pt idx="42">
                  <c:v>1160.3804</c:v>
                </c:pt>
                <c:pt idx="43">
                  <c:v>1167.065</c:v>
                </c:pt>
                <c:pt idx="44">
                  <c:v>1070.5287</c:v>
                </c:pt>
                <c:pt idx="45">
                  <c:v>1029.444</c:v>
                </c:pt>
                <c:pt idx="46">
                  <c:v>1046.6897</c:v>
                </c:pt>
                <c:pt idx="47">
                  <c:v>1034.4402</c:v>
                </c:pt>
                <c:pt idx="48">
                  <c:v>1029.5893</c:v>
                </c:pt>
                <c:pt idx="49">
                  <c:v>983.8474</c:v>
                </c:pt>
                <c:pt idx="50">
                  <c:v>966.1787</c:v>
                </c:pt>
                <c:pt idx="51">
                  <c:v>965.0899</c:v>
                </c:pt>
                <c:pt idx="52">
                  <c:v>965.6952</c:v>
                </c:pt>
                <c:pt idx="53">
                  <c:v>1064.6959</c:v>
                </c:pt>
                <c:pt idx="54">
                  <c:v>1053.0</c:v>
                </c:pt>
                <c:pt idx="55">
                  <c:v>1095.1953</c:v>
                </c:pt>
                <c:pt idx="56">
                  <c:v>1120.404</c:v>
                </c:pt>
                <c:pt idx="57">
                  <c:v>1063.7579</c:v>
                </c:pt>
                <c:pt idx="58">
                  <c:v>1011.3692</c:v>
                </c:pt>
                <c:pt idx="59">
                  <c:v>1008.439</c:v>
                </c:pt>
                <c:pt idx="60">
                  <c:v>1025.605</c:v>
                </c:pt>
                <c:pt idx="61">
                  <c:v>1085.6957</c:v>
                </c:pt>
                <c:pt idx="62">
                  <c:v>986.7958</c:v>
                </c:pt>
                <c:pt idx="63">
                  <c:v>1051.9604</c:v>
                </c:pt>
                <c:pt idx="64">
                  <c:v>1067.3846</c:v>
                </c:pt>
                <c:pt idx="65">
                  <c:v>1050.6289</c:v>
                </c:pt>
                <c:pt idx="66">
                  <c:v>1007.6579</c:v>
                </c:pt>
                <c:pt idx="67">
                  <c:v>1075.7071</c:v>
                </c:pt>
                <c:pt idx="68">
                  <c:v>1131.8065</c:v>
                </c:pt>
                <c:pt idx="69">
                  <c:v>1117.4783</c:v>
                </c:pt>
                <c:pt idx="70">
                  <c:v>1147.1047</c:v>
                </c:pt>
                <c:pt idx="71">
                  <c:v>1196.6989</c:v>
                </c:pt>
                <c:pt idx="72">
                  <c:v>1259.7037</c:v>
                </c:pt>
                <c:pt idx="73">
                  <c:v>1286.6765</c:v>
                </c:pt>
                <c:pt idx="74">
                  <c:v>1238.1333</c:v>
                </c:pt>
                <c:pt idx="75">
                  <c:v>1180.3009</c:v>
                </c:pt>
                <c:pt idx="76">
                  <c:v>1129.5361</c:v>
                </c:pt>
                <c:pt idx="77">
                  <c:v>1201.9663</c:v>
                </c:pt>
                <c:pt idx="78">
                  <c:v>1224.0349</c:v>
                </c:pt>
                <c:pt idx="79">
                  <c:v>1229.0294</c:v>
                </c:pt>
                <c:pt idx="80">
                  <c:v>1191.2424</c:v>
                </c:pt>
                <c:pt idx="81">
                  <c:v>1189.7895</c:v>
                </c:pt>
                <c:pt idx="82">
                  <c:v>1130.2857</c:v>
                </c:pt>
                <c:pt idx="83">
                  <c:v>1090.0</c:v>
                </c:pt>
                <c:pt idx="84">
                  <c:v>1145.1923</c:v>
                </c:pt>
                <c:pt idx="85">
                  <c:v>1089.4118</c:v>
                </c:pt>
                <c:pt idx="86">
                  <c:v>1083.8542</c:v>
                </c:pt>
                <c:pt idx="87">
                  <c:v>1094.5724</c:v>
                </c:pt>
                <c:pt idx="88">
                  <c:v>1150.6364</c:v>
                </c:pt>
                <c:pt idx="89">
                  <c:v>1130.931</c:v>
                </c:pt>
                <c:pt idx="90">
                  <c:v>1237.4658</c:v>
                </c:pt>
                <c:pt idx="91">
                  <c:v>1278.9158</c:v>
                </c:pt>
                <c:pt idx="92">
                  <c:v>1243.5439</c:v>
                </c:pt>
                <c:pt idx="93">
                  <c:v>1251.5424</c:v>
                </c:pt>
                <c:pt idx="94">
                  <c:v>1291.6092</c:v>
                </c:pt>
                <c:pt idx="95">
                  <c:v>1249.2566</c:v>
                </c:pt>
                <c:pt idx="96">
                  <c:v>1145.1778</c:v>
                </c:pt>
                <c:pt idx="97">
                  <c:v>1107.6793</c:v>
                </c:pt>
                <c:pt idx="98">
                  <c:v>1106.0698</c:v>
                </c:pt>
                <c:pt idx="99">
                  <c:v>1038.3207</c:v>
                </c:pt>
                <c:pt idx="100">
                  <c:v>1064.5394</c:v>
                </c:pt>
                <c:pt idx="101">
                  <c:v>1046.3345</c:v>
                </c:pt>
                <c:pt idx="102">
                  <c:v>1045.0754</c:v>
                </c:pt>
                <c:pt idx="103">
                  <c:v>1043.2479</c:v>
                </c:pt>
                <c:pt idx="104">
                  <c:v>1081.0928</c:v>
                </c:pt>
              </c:numCache>
            </c:numRef>
          </c:xVal>
          <c:yVal>
            <c:numRef>
              <c:f>Sheet1!$B$2:$B$106</c:f>
              <c:numCache>
                <c:formatCode>General</c:formatCode>
                <c:ptCount val="105"/>
                <c:pt idx="0">
                  <c:v>0.3624823695345557</c:v>
                </c:pt>
                <c:pt idx="1">
                  <c:v>0.3287904599659284</c:v>
                </c:pt>
                <c:pt idx="2">
                  <c:v>0.32450331125827814</c:v>
                </c:pt>
                <c:pt idx="3">
                  <c:v>0.32275132275132273</c:v>
                </c:pt>
                <c:pt idx="4">
                  <c:v>0.37335834896810505</c:v>
                </c:pt>
                <c:pt idx="5">
                  <c:v>0.3638297872340426</c:v>
                </c:pt>
                <c:pt idx="6">
                  <c:v>0.37328094302554027</c:v>
                </c:pt>
                <c:pt idx="7">
                  <c:v>0.39555555555555555</c:v>
                </c:pt>
                <c:pt idx="8">
                  <c:v>0.3701657458563536</c:v>
                </c:pt>
                <c:pt idx="9">
                  <c:v>0.36363636363636365</c:v>
                </c:pt>
                <c:pt idx="10">
                  <c:v>0.3711967545638945</c:v>
                </c:pt>
                <c:pt idx="11">
                  <c:v>0.32107843137254904</c:v>
                </c:pt>
                <c:pt idx="12">
                  <c:v>0.26258205689277897</c:v>
                </c:pt>
                <c:pt idx="13">
                  <c:v>0.23043478260869565</c:v>
                </c:pt>
                <c:pt idx="14">
                  <c:v>0.22797927461139897</c:v>
                </c:pt>
                <c:pt idx="15">
                  <c:v>0.22965116279069767</c:v>
                </c:pt>
                <c:pt idx="16">
                  <c:v>0.23717948717948717</c:v>
                </c:pt>
                <c:pt idx="17">
                  <c:v>0.20833333333333334</c:v>
                </c:pt>
                <c:pt idx="18">
                  <c:v>0.2664359861591695</c:v>
                </c:pt>
                <c:pt idx="19">
                  <c:v>0.272</c:v>
                </c:pt>
                <c:pt idx="20">
                  <c:v>0.2598187311178248</c:v>
                </c:pt>
                <c:pt idx="21">
                  <c:v>0.2553191489361702</c:v>
                </c:pt>
                <c:pt idx="22">
                  <c:v>0.27639751552795033</c:v>
                </c:pt>
                <c:pt idx="23">
                  <c:v>0.3088235294117647</c:v>
                </c:pt>
                <c:pt idx="24">
                  <c:v>0.2867647058823529</c:v>
                </c:pt>
                <c:pt idx="25">
                  <c:v>0.28353658536585363</c:v>
                </c:pt>
                <c:pt idx="26">
                  <c:v>0.31210191082802546</c:v>
                </c:pt>
                <c:pt idx="27">
                  <c:v>0.3146417445482866</c:v>
                </c:pt>
                <c:pt idx="28">
                  <c:v>0.31208053691275167</c:v>
                </c:pt>
                <c:pt idx="29">
                  <c:v>0.3106060606060606</c:v>
                </c:pt>
                <c:pt idx="30">
                  <c:v>0.3308270676691729</c:v>
                </c:pt>
                <c:pt idx="31">
                  <c:v>0.30927835051546393</c:v>
                </c:pt>
                <c:pt idx="32">
                  <c:v>0.25770308123249297</c:v>
                </c:pt>
                <c:pt idx="33">
                  <c:v>0.25055432372505543</c:v>
                </c:pt>
                <c:pt idx="34">
                  <c:v>0.2800751879699248</c:v>
                </c:pt>
                <c:pt idx="35">
                  <c:v>0.3127147766323024</c:v>
                </c:pt>
                <c:pt idx="36">
                  <c:v>0.33055555555555555</c:v>
                </c:pt>
                <c:pt idx="37">
                  <c:v>0.36507936507936506</c:v>
                </c:pt>
                <c:pt idx="38">
                  <c:v>0.3081967213114754</c:v>
                </c:pt>
                <c:pt idx="39">
                  <c:v>0.2721311475409836</c:v>
                </c:pt>
                <c:pt idx="40">
                  <c:v>0.29649595687331537</c:v>
                </c:pt>
                <c:pt idx="41">
                  <c:v>0.3449367088607595</c:v>
                </c:pt>
                <c:pt idx="42">
                  <c:v>0.25770308123249297</c:v>
                </c:pt>
                <c:pt idx="43">
                  <c:v>0.2685589519650655</c:v>
                </c:pt>
                <c:pt idx="44">
                  <c:v>0.2540453074433657</c:v>
                </c:pt>
                <c:pt idx="45">
                  <c:v>0.30238393977415307</c:v>
                </c:pt>
                <c:pt idx="46">
                  <c:v>0.28369565217391307</c:v>
                </c:pt>
                <c:pt idx="47">
                  <c:v>0.28399122807017546</c:v>
                </c:pt>
                <c:pt idx="48">
                  <c:v>0.3008057296329454</c:v>
                </c:pt>
                <c:pt idx="49">
                  <c:v>0.28587830080367393</c:v>
                </c:pt>
                <c:pt idx="50">
                  <c:v>0.2797872340425532</c:v>
                </c:pt>
                <c:pt idx="51">
                  <c:v>0.25925925925925924</c:v>
                </c:pt>
                <c:pt idx="52">
                  <c:v>0.27202072538860106</c:v>
                </c:pt>
                <c:pt idx="53">
                  <c:v>0.28078817733990147</c:v>
                </c:pt>
                <c:pt idx="54">
                  <c:v>0.2987012987012987</c:v>
                </c:pt>
                <c:pt idx="55">
                  <c:v>0.28888888888888886</c:v>
                </c:pt>
                <c:pt idx="56">
                  <c:v>0.2568027210884354</c:v>
                </c:pt>
                <c:pt idx="57">
                  <c:v>0.2695035460992908</c:v>
                </c:pt>
                <c:pt idx="58">
                  <c:v>0.29395604395604397</c:v>
                </c:pt>
                <c:pt idx="59">
                  <c:v>0.3011542497376705</c:v>
                </c:pt>
                <c:pt idx="60">
                  <c:v>0.27387802071346373</c:v>
                </c:pt>
                <c:pt idx="61">
                  <c:v>0.27806563039723664</c:v>
                </c:pt>
                <c:pt idx="62">
                  <c:v>0.28592814371257486</c:v>
                </c:pt>
                <c:pt idx="63">
                  <c:v>0.27671232876712326</c:v>
                </c:pt>
                <c:pt idx="64">
                  <c:v>0.2689655172413793</c:v>
                </c:pt>
                <c:pt idx="65">
                  <c:v>0.26194398682042835</c:v>
                </c:pt>
                <c:pt idx="66">
                  <c:v>0.31456953642384106</c:v>
                </c:pt>
                <c:pt idx="67">
                  <c:v>0.27944111776447106</c:v>
                </c:pt>
                <c:pt idx="68">
                  <c:v>0.29245283018867924</c:v>
                </c:pt>
                <c:pt idx="69">
                  <c:v>0.26744186046511625</c:v>
                </c:pt>
                <c:pt idx="70">
                  <c:v>0.25443786982248523</c:v>
                </c:pt>
                <c:pt idx="71">
                  <c:v>0.27596439169139464</c:v>
                </c:pt>
                <c:pt idx="72">
                  <c:v>0.29508196721311475</c:v>
                </c:pt>
                <c:pt idx="73">
                  <c:v>0.2905982905982906</c:v>
                </c:pt>
                <c:pt idx="74">
                  <c:v>0.272108843537415</c:v>
                </c:pt>
                <c:pt idx="75">
                  <c:v>0.3087431693989071</c:v>
                </c:pt>
                <c:pt idx="76">
                  <c:v>0.30030959752321984</c:v>
                </c:pt>
                <c:pt idx="77">
                  <c:v>0.3037542662116041</c:v>
                </c:pt>
                <c:pt idx="78">
                  <c:v>0.3006993006993007</c:v>
                </c:pt>
                <c:pt idx="79">
                  <c:v>0.31384615384615383</c:v>
                </c:pt>
                <c:pt idx="80">
                  <c:v>0.2964071856287425</c:v>
                </c:pt>
                <c:pt idx="81">
                  <c:v>0.30434782608695654</c:v>
                </c:pt>
                <c:pt idx="82">
                  <c:v>0.31210191082802546</c:v>
                </c:pt>
                <c:pt idx="83">
                  <c:v>0.3181818181818182</c:v>
                </c:pt>
                <c:pt idx="84">
                  <c:v>0.30708661417322836</c:v>
                </c:pt>
                <c:pt idx="85">
                  <c:v>0.34593023255813954</c:v>
                </c:pt>
                <c:pt idx="86">
                  <c:v>0.32432432432432434</c:v>
                </c:pt>
                <c:pt idx="87">
                  <c:v>0.2804642166344294</c:v>
                </c:pt>
                <c:pt idx="88">
                  <c:v>0.3170028818443804</c:v>
                </c:pt>
                <c:pt idx="89">
                  <c:v>0.29</c:v>
                </c:pt>
                <c:pt idx="90">
                  <c:v>0.25704225352112675</c:v>
                </c:pt>
                <c:pt idx="91">
                  <c:v>0.3177257525083612</c:v>
                </c:pt>
                <c:pt idx="92">
                  <c:v>0.3131868131868132</c:v>
                </c:pt>
                <c:pt idx="93">
                  <c:v>0.3215258855585831</c:v>
                </c:pt>
                <c:pt idx="94">
                  <c:v>0.2939189189189189</c:v>
                </c:pt>
                <c:pt idx="95">
                  <c:v>0.26218097447795824</c:v>
                </c:pt>
                <c:pt idx="96">
                  <c:v>0.3005008347245409</c:v>
                </c:pt>
                <c:pt idx="97">
                  <c:v>0.3400286944045911</c:v>
                </c:pt>
                <c:pt idx="98">
                  <c:v>0.32788671023965144</c:v>
                </c:pt>
                <c:pt idx="99">
                  <c:v>0.34615384615384615</c:v>
                </c:pt>
                <c:pt idx="100">
                  <c:v>0.32766825288919105</c:v>
                </c:pt>
                <c:pt idx="101">
                  <c:v>0.32998885172798215</c:v>
                </c:pt>
                <c:pt idx="102">
                  <c:v>0.3209677419354839</c:v>
                </c:pt>
                <c:pt idx="103">
                  <c:v>0.3277310924369748</c:v>
                </c:pt>
                <c:pt idx="104">
                  <c:v>0.316993464052287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0.0</c:v>
                </c:pt>
                <c:pt idx="1">
                  <c:v>1165.097</c:v>
                </c:pt>
                <c:pt idx="2">
                  <c:v>1177.6332</c:v>
                </c:pt>
                <c:pt idx="3">
                  <c:v>1181.9799</c:v>
                </c:pt>
                <c:pt idx="4">
                  <c:v>1212.5765</c:v>
                </c:pt>
                <c:pt idx="5">
                  <c:v>1176.125</c:v>
                </c:pt>
                <c:pt idx="6">
                  <c:v>1066.9552</c:v>
                </c:pt>
                <c:pt idx="7">
                  <c:v>1107.5137</c:v>
                </c:pt>
                <c:pt idx="8">
                  <c:v>1210.6452</c:v>
                </c:pt>
                <c:pt idx="9">
                  <c:v>1145.0</c:v>
                </c:pt>
                <c:pt idx="10">
                  <c:v>1196.2708</c:v>
                </c:pt>
                <c:pt idx="11">
                  <c:v>985.369</c:v>
                </c:pt>
                <c:pt idx="12">
                  <c:v>1051.456</c:v>
                </c:pt>
                <c:pt idx="13">
                  <c:v>1148.0662</c:v>
                </c:pt>
                <c:pt idx="14">
                  <c:v>1120.0195</c:v>
                </c:pt>
                <c:pt idx="15">
                  <c:v>1157.2593</c:v>
                </c:pt>
                <c:pt idx="16">
                  <c:v>1167.5758</c:v>
                </c:pt>
                <c:pt idx="17">
                  <c:v>1142.7638</c:v>
                </c:pt>
                <c:pt idx="18">
                  <c:v>1231.5213</c:v>
                </c:pt>
                <c:pt idx="19">
                  <c:v>1361.6154</c:v>
                </c:pt>
                <c:pt idx="20">
                  <c:v>1349.6333</c:v>
                </c:pt>
                <c:pt idx="21">
                  <c:v>1224.4737</c:v>
                </c:pt>
                <c:pt idx="22">
                  <c:v>1297.0105</c:v>
                </c:pt>
                <c:pt idx="23">
                  <c:v>1278.686</c:v>
                </c:pt>
                <c:pt idx="24">
                  <c:v>1285.8431</c:v>
                </c:pt>
                <c:pt idx="25">
                  <c:v>1192.4144</c:v>
                </c:pt>
                <c:pt idx="26">
                  <c:v>1231.2075</c:v>
                </c:pt>
                <c:pt idx="27">
                  <c:v>1215.037</c:v>
                </c:pt>
                <c:pt idx="28">
                  <c:v>1255.2414</c:v>
                </c:pt>
                <c:pt idx="29">
                  <c:v>1275.3617</c:v>
                </c:pt>
                <c:pt idx="30">
                  <c:v>1236.5301</c:v>
                </c:pt>
                <c:pt idx="31">
                  <c:v>1262.5385</c:v>
                </c:pt>
                <c:pt idx="32">
                  <c:v>1256.2143</c:v>
                </c:pt>
                <c:pt idx="33">
                  <c:v>1273.8214</c:v>
                </c:pt>
                <c:pt idx="34">
                  <c:v>1287.9937</c:v>
                </c:pt>
                <c:pt idx="35">
                  <c:v>1329.019</c:v>
                </c:pt>
                <c:pt idx="36">
                  <c:v>1304.3538</c:v>
                </c:pt>
                <c:pt idx="37">
                  <c:v>1313.5507</c:v>
                </c:pt>
                <c:pt idx="38">
                  <c:v>1319.6364</c:v>
                </c:pt>
                <c:pt idx="39">
                  <c:v>1301.3333</c:v>
                </c:pt>
                <c:pt idx="40">
                  <c:v>1311.3895</c:v>
                </c:pt>
                <c:pt idx="41">
                  <c:v>1367.53</c:v>
                </c:pt>
                <c:pt idx="42">
                  <c:v>1408.9681</c:v>
                </c:pt>
                <c:pt idx="43">
                  <c:v>1399.4771</c:v>
                </c:pt>
                <c:pt idx="44">
                  <c:v>1287.4101</c:v>
                </c:pt>
                <c:pt idx="45">
                  <c:v>1229.6087</c:v>
                </c:pt>
                <c:pt idx="46">
                  <c:v>1206.8558</c:v>
                </c:pt>
                <c:pt idx="47">
                  <c:v>1180.9735</c:v>
                </c:pt>
                <c:pt idx="48">
                  <c:v>1170.6019</c:v>
                </c:pt>
                <c:pt idx="49">
                  <c:v>1179.1561</c:v>
                </c:pt>
                <c:pt idx="50">
                  <c:v>1121.3066</c:v>
                </c:pt>
                <c:pt idx="51">
                  <c:v>1073.1303</c:v>
                </c:pt>
              </c:numCache>
            </c:numRef>
          </c:xVal>
          <c:yVal>
            <c:numRef>
              <c:f>Sheet1!$B$109:$B$160</c:f>
              <c:numCache>
                <c:formatCode>General</c:formatCode>
                <c:ptCount val="52"/>
                <c:pt idx="0">
                  <c:v>0.29652996845425866</c:v>
                </c:pt>
                <c:pt idx="1">
                  <c:v>0.31190926275992437</c:v>
                </c:pt>
                <c:pt idx="2">
                  <c:v>0.31191222570532917</c:v>
                </c:pt>
                <c:pt idx="3">
                  <c:v>0.3080495356037152</c:v>
                </c:pt>
                <c:pt idx="4">
                  <c:v>0.2842809364548495</c:v>
                </c:pt>
                <c:pt idx="5">
                  <c:v>0.29187396351575456</c:v>
                </c:pt>
                <c:pt idx="6">
                  <c:v>0.29342105263157897</c:v>
                </c:pt>
                <c:pt idx="7">
                  <c:v>0.3327272727272727</c:v>
                </c:pt>
                <c:pt idx="8">
                  <c:v>0.2897196261682243</c:v>
                </c:pt>
                <c:pt idx="9">
                  <c:v>0.30677290836653387</c:v>
                </c:pt>
                <c:pt idx="10">
                  <c:v>0.2975206611570248</c:v>
                </c:pt>
                <c:pt idx="11">
                  <c:v>0.3095823095823096</c:v>
                </c:pt>
                <c:pt idx="12">
                  <c:v>0.3068362480127186</c:v>
                </c:pt>
                <c:pt idx="13">
                  <c:v>0.27355072463768115</c:v>
                </c:pt>
                <c:pt idx="14">
                  <c:v>0.2779783393501805</c:v>
                </c:pt>
                <c:pt idx="15">
                  <c:v>0.30337078651685395</c:v>
                </c:pt>
                <c:pt idx="16">
                  <c:v>0.36666666666666664</c:v>
                </c:pt>
                <c:pt idx="17">
                  <c:v>0.34794520547945207</c:v>
                </c:pt>
                <c:pt idx="18">
                  <c:v>0.3122923588039867</c:v>
                </c:pt>
                <c:pt idx="19">
                  <c:v>0.30057803468208094</c:v>
                </c:pt>
                <c:pt idx="20">
                  <c:v>0.29605263157894735</c:v>
                </c:pt>
                <c:pt idx="21">
                  <c:v>0.31666666666666665</c:v>
                </c:pt>
                <c:pt idx="22">
                  <c:v>0.29411764705882354</c:v>
                </c:pt>
                <c:pt idx="23">
                  <c:v>0.2905405405405405</c:v>
                </c:pt>
                <c:pt idx="24">
                  <c:v>0.2905982905982906</c:v>
                </c:pt>
                <c:pt idx="25">
                  <c:v>0.30662983425414364</c:v>
                </c:pt>
                <c:pt idx="26">
                  <c:v>0.29201101928374656</c:v>
                </c:pt>
                <c:pt idx="27">
                  <c:v>0.29508196721311475</c:v>
                </c:pt>
                <c:pt idx="28">
                  <c:v>0.2691415313225058</c:v>
                </c:pt>
                <c:pt idx="29">
                  <c:v>0.2640449438202247</c:v>
                </c:pt>
                <c:pt idx="30">
                  <c:v>0.2553846153846154</c:v>
                </c:pt>
                <c:pt idx="31">
                  <c:v>0.27177700348432055</c:v>
                </c:pt>
                <c:pt idx="32">
                  <c:v>0.23728813559322035</c:v>
                </c:pt>
                <c:pt idx="33">
                  <c:v>0.25225225225225223</c:v>
                </c:pt>
                <c:pt idx="34">
                  <c:v>0.2568659127625202</c:v>
                </c:pt>
                <c:pt idx="35">
                  <c:v>0.25925925925925924</c:v>
                </c:pt>
                <c:pt idx="36">
                  <c:v>0.26639344262295084</c:v>
                </c:pt>
                <c:pt idx="37">
                  <c:v>0.2623574144486692</c:v>
                </c:pt>
                <c:pt idx="38">
                  <c:v>0.2779783393501805</c:v>
                </c:pt>
                <c:pt idx="39">
                  <c:v>0.25513196480938416</c:v>
                </c:pt>
                <c:pt idx="40">
                  <c:v>0.2785923753665689</c:v>
                </c:pt>
                <c:pt idx="41">
                  <c:v>0.26737967914438504</c:v>
                </c:pt>
                <c:pt idx="42">
                  <c:v>0.27246376811594203</c:v>
                </c:pt>
                <c:pt idx="43">
                  <c:v>0.24604966139954854</c:v>
                </c:pt>
                <c:pt idx="44">
                  <c:v>0.28778467908902694</c:v>
                </c:pt>
                <c:pt idx="45">
                  <c:v>0.3169984686064318</c:v>
                </c:pt>
                <c:pt idx="46">
                  <c:v>0.3228228228228228</c:v>
                </c:pt>
                <c:pt idx="47">
                  <c:v>0.31345353675450766</c:v>
                </c:pt>
                <c:pt idx="48">
                  <c:v>0.31075110456553756</c:v>
                </c:pt>
                <c:pt idx="49">
                  <c:v>0.3341614906832298</c:v>
                </c:pt>
                <c:pt idx="50">
                  <c:v>0.3099315068493151</c:v>
                </c:pt>
                <c:pt idx="51">
                  <c:v>0.321187584345479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8.1975664604455</c:v>
                </c:pt>
              </c:numCache>
            </c:numRef>
          </c:xVal>
          <c:yVal>
            <c:numRef>
              <c:f>Sheet1!$B$163:$B$164</c:f>
              <c:numCache>
                <c:formatCode>General</c:formatCode>
                <c:ptCount val="2"/>
                <c:pt idx="0">
                  <c:v>0.3571908715721869</c:v>
                </c:pt>
                <c:pt idx="1">
                  <c:v>0.35719087157218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8.1975664604455</c:v>
                </c:pt>
                <c:pt idx="1">
                  <c:v>838.1975664604455</c:v>
                </c:pt>
              </c:numCache>
            </c:numRef>
          </c:xVal>
          <c:yVal>
            <c:numRef>
              <c:f>Sheet1!$B$167:$B$168</c:f>
              <c:numCache>
                <c:formatCode>General</c:formatCode>
                <c:ptCount val="2"/>
                <c:pt idx="0">
                  <c:v>0.35719087157218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4758779927413</c:v>
                </c:pt>
              </c:numCache>
            </c:numRef>
          </c:xVal>
          <c:yVal>
            <c:numRef>
              <c:f>Sheet1!$B$171:$B$172</c:f>
              <c:numCache>
                <c:formatCode>General</c:formatCode>
                <c:ptCount val="2"/>
                <c:pt idx="0">
                  <c:v>0.31900792161089037</c:v>
                </c:pt>
                <c:pt idx="1">
                  <c:v>0.3190079216108903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4758779927413</c:v>
                </c:pt>
                <c:pt idx="1">
                  <c:v>1065.4758779927413</c:v>
                </c:pt>
              </c:numCache>
            </c:numRef>
          </c:xVal>
          <c:yVal>
            <c:numRef>
              <c:f>Sheet1!$B$175:$B$176</c:f>
              <c:numCache>
                <c:formatCode>General</c:formatCode>
                <c:ptCount val="2"/>
                <c:pt idx="0">
                  <c:v>0.319007921610890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7.5971071112822</c:v>
                </c:pt>
              </c:numCache>
            </c:numRef>
          </c:xVal>
          <c:yVal>
            <c:numRef>
              <c:f>Sheet1!$B$179:$B$180</c:f>
              <c:numCache>
                <c:formatCode>General</c:formatCode>
                <c:ptCount val="2"/>
                <c:pt idx="0">
                  <c:v>0.2951314340424754</c:v>
                </c:pt>
                <c:pt idx="1">
                  <c:v>0.29513143404247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7.5971071112822</c:v>
                </c:pt>
                <c:pt idx="1">
                  <c:v>1207.5971071112822</c:v>
                </c:pt>
              </c:numCache>
            </c:numRef>
          </c:xVal>
          <c:yVal>
            <c:numRef>
              <c:f>Sheet1!$B$183:$B$184</c:f>
              <c:numCache>
                <c:formatCode>General</c:formatCode>
                <c:ptCount val="2"/>
                <c:pt idx="0">
                  <c:v>0.29513143404247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0.0</c:v>
                </c:pt>
                <c:pt idx="1">
                  <c:v>1165.097</c:v>
                </c:pt>
                <c:pt idx="2">
                  <c:v>1177.6332</c:v>
                </c:pt>
                <c:pt idx="3">
                  <c:v>1181.9799</c:v>
                </c:pt>
                <c:pt idx="4">
                  <c:v>1212.5765</c:v>
                </c:pt>
                <c:pt idx="5">
                  <c:v>1176.125</c:v>
                </c:pt>
                <c:pt idx="6">
                  <c:v>1066.9552</c:v>
                </c:pt>
                <c:pt idx="7">
                  <c:v>1107.5137</c:v>
                </c:pt>
                <c:pt idx="8">
                  <c:v>1210.6452</c:v>
                </c:pt>
                <c:pt idx="9">
                  <c:v>1145.0</c:v>
                </c:pt>
                <c:pt idx="10">
                  <c:v>1196.2708</c:v>
                </c:pt>
                <c:pt idx="11">
                  <c:v>985.369</c:v>
                </c:pt>
                <c:pt idx="12">
                  <c:v>1051.456</c:v>
                </c:pt>
                <c:pt idx="13">
                  <c:v>1148.0662</c:v>
                </c:pt>
                <c:pt idx="14">
                  <c:v>1120.0195</c:v>
                </c:pt>
                <c:pt idx="15">
                  <c:v>1157.2593</c:v>
                </c:pt>
                <c:pt idx="16">
                  <c:v>1167.5758</c:v>
                </c:pt>
                <c:pt idx="17">
                  <c:v>1142.7638</c:v>
                </c:pt>
                <c:pt idx="18">
                  <c:v>1231.5213</c:v>
                </c:pt>
                <c:pt idx="19">
                  <c:v>1361.6154</c:v>
                </c:pt>
                <c:pt idx="20">
                  <c:v>1349.6333</c:v>
                </c:pt>
                <c:pt idx="21">
                  <c:v>1224.4737</c:v>
                </c:pt>
                <c:pt idx="22">
                  <c:v>1297.0105</c:v>
                </c:pt>
                <c:pt idx="23">
                  <c:v>1278.686</c:v>
                </c:pt>
                <c:pt idx="24">
                  <c:v>1285.8431</c:v>
                </c:pt>
                <c:pt idx="25">
                  <c:v>1192.4144</c:v>
                </c:pt>
                <c:pt idx="26">
                  <c:v>1231.2075</c:v>
                </c:pt>
                <c:pt idx="27">
                  <c:v>1215.037</c:v>
                </c:pt>
                <c:pt idx="28">
                  <c:v>1255.2414</c:v>
                </c:pt>
                <c:pt idx="29">
                  <c:v>1275.3617</c:v>
                </c:pt>
                <c:pt idx="30">
                  <c:v>1236.5301</c:v>
                </c:pt>
                <c:pt idx="31">
                  <c:v>1262.5385</c:v>
                </c:pt>
                <c:pt idx="32">
                  <c:v>1256.2143</c:v>
                </c:pt>
                <c:pt idx="33">
                  <c:v>1273.8214</c:v>
                </c:pt>
                <c:pt idx="34">
                  <c:v>1287.9937</c:v>
                </c:pt>
                <c:pt idx="35">
                  <c:v>1329.019</c:v>
                </c:pt>
                <c:pt idx="36">
                  <c:v>1304.3538</c:v>
                </c:pt>
                <c:pt idx="37">
                  <c:v>1313.5507</c:v>
                </c:pt>
                <c:pt idx="38">
                  <c:v>1319.6364</c:v>
                </c:pt>
                <c:pt idx="39">
                  <c:v>1301.3333</c:v>
                </c:pt>
                <c:pt idx="40">
                  <c:v>1311.3895</c:v>
                </c:pt>
                <c:pt idx="41">
                  <c:v>1367.53</c:v>
                </c:pt>
                <c:pt idx="42">
                  <c:v>1408.9681</c:v>
                </c:pt>
                <c:pt idx="43">
                  <c:v>1399.4771</c:v>
                </c:pt>
                <c:pt idx="44">
                  <c:v>1287.4101</c:v>
                </c:pt>
                <c:pt idx="45">
                  <c:v>1229.6087</c:v>
                </c:pt>
                <c:pt idx="46">
                  <c:v>1206.8558</c:v>
                </c:pt>
                <c:pt idx="47">
                  <c:v>1180.9735</c:v>
                </c:pt>
                <c:pt idx="48">
                  <c:v>1170.6019</c:v>
                </c:pt>
                <c:pt idx="49">
                  <c:v>1179.1561</c:v>
                </c:pt>
                <c:pt idx="50">
                  <c:v>1121.3066</c:v>
                </c:pt>
                <c:pt idx="51">
                  <c:v>1073.1303</c:v>
                </c:pt>
                <c:pt idx="52">
                  <c:v>1065.4758779927413</c:v>
                </c:pt>
                <c:pt idx="53">
                  <c:v>838.1975664604455</c:v>
                </c:pt>
                <c:pt idx="54">
                  <c:v>1207.5971071112822</c:v>
                </c:pt>
              </c:numCache>
            </c:numRef>
          </c:xVal>
          <c:yVal>
            <c:numRef>
              <c:f>Sheet1!$B$187:$B$241</c:f>
              <c:numCache>
                <c:formatCode>General</c:formatCode>
                <c:ptCount val="55"/>
                <c:pt idx="0">
                  <c:v>0.3048077971055344</c:v>
                </c:pt>
                <c:pt idx="1">
                  <c:v>0.30227148824403627</c:v>
                </c:pt>
                <c:pt idx="2">
                  <c:v>0.3001653959641454</c:v>
                </c:pt>
                <c:pt idx="3">
                  <c:v>0.2994351466610869</c:v>
                </c:pt>
                <c:pt idx="4">
                  <c:v>0.29429489179510604</c:v>
                </c:pt>
                <c:pt idx="5">
                  <c:v>0.3004187748490173</c:v>
                </c:pt>
                <c:pt idx="6">
                  <c:v>0.31875939425340083</c:v>
                </c:pt>
                <c:pt idx="7">
                  <c:v>0.3119455317006372</c:v>
                </c:pt>
                <c:pt idx="8">
                  <c:v>0.294619351840427</c:v>
                </c:pt>
                <c:pt idx="9">
                  <c:v>0.3056478013651549</c:v>
                </c:pt>
                <c:pt idx="10">
                  <c:v>0.29703426328632476</c:v>
                </c:pt>
                <c:pt idx="11">
                  <c:v>0.33246594535865076</c:v>
                </c:pt>
                <c:pt idx="12">
                  <c:v>0.32136327305754286</c:v>
                </c:pt>
                <c:pt idx="13">
                  <c:v>0.3051326771529852</c:v>
                </c:pt>
                <c:pt idx="14">
                  <c:v>0.30984454664664485</c:v>
                </c:pt>
                <c:pt idx="15">
                  <c:v>0.3035882285211618</c:v>
                </c:pt>
                <c:pt idx="16">
                  <c:v>0.3018550477322868</c:v>
                </c:pt>
                <c:pt idx="17">
                  <c:v>0.30602348487022757</c:v>
                </c:pt>
                <c:pt idx="18">
                  <c:v>0.29111214925557427</c:v>
                </c:pt>
                <c:pt idx="19">
                  <c:v>0.2692562296252754</c:v>
                </c:pt>
                <c:pt idx="20">
                  <c:v>0.2712692326331151</c:v>
                </c:pt>
                <c:pt idx="21">
                  <c:v>0.2922961520595946</c:v>
                </c:pt>
                <c:pt idx="22">
                  <c:v>0.28010990786374657</c:v>
                </c:pt>
                <c:pt idx="23">
                  <c:v>0.28318843947482975</c:v>
                </c:pt>
                <c:pt idx="24">
                  <c:v>0.28198604057752374</c:v>
                </c:pt>
                <c:pt idx="25">
                  <c:v>0.2976821417716849</c:v>
                </c:pt>
                <c:pt idx="26">
                  <c:v>0.2911648679229081</c:v>
                </c:pt>
                <c:pt idx="27">
                  <c:v>0.29388152569894677</c:v>
                </c:pt>
                <c:pt idx="28">
                  <c:v>0.28712715224784946</c:v>
                </c:pt>
                <c:pt idx="29">
                  <c:v>0.283746924706881</c:v>
                </c:pt>
                <c:pt idx="30">
                  <c:v>0.2902706665884569</c:v>
                </c:pt>
                <c:pt idx="31">
                  <c:v>0.28590123323127414</c:v>
                </c:pt>
                <c:pt idx="32">
                  <c:v>0.2869637042190125</c:v>
                </c:pt>
                <c:pt idx="33">
                  <c:v>0.28400569641909973</c:v>
                </c:pt>
                <c:pt idx="34">
                  <c:v>0.2816247379453758</c:v>
                </c:pt>
                <c:pt idx="35">
                  <c:v>0.27473245259493406</c:v>
                </c:pt>
                <c:pt idx="36">
                  <c:v>0.27887622720781235</c:v>
                </c:pt>
                <c:pt idx="37">
                  <c:v>0.2773311401727516</c:v>
                </c:pt>
                <c:pt idx="38">
                  <c:v>0.2763087373881971</c:v>
                </c:pt>
                <c:pt idx="39">
                  <c:v>0.2793836737810491</c:v>
                </c:pt>
                <c:pt idx="40">
                  <c:v>0.27769422361393</c:v>
                </c:pt>
                <c:pt idx="41">
                  <c:v>0.26826257178648505</c:v>
                </c:pt>
                <c:pt idx="42">
                  <c:v>0.2613009356843691</c:v>
                </c:pt>
                <c:pt idx="43">
                  <c:v>0.26289543176998065</c:v>
                </c:pt>
                <c:pt idx="44">
                  <c:v>0.2817227832425587</c:v>
                </c:pt>
                <c:pt idx="45">
                  <c:v>0.29143346768496436</c:v>
                </c:pt>
                <c:pt idx="46">
                  <c:v>0.2952559742687082</c:v>
                </c:pt>
                <c:pt idx="47">
                  <c:v>0.2996042227184633</c:v>
                </c:pt>
                <c:pt idx="48">
                  <c:v>0.3013466603542793</c:v>
                </c:pt>
                <c:pt idx="49">
                  <c:v>0.29990954746675014</c:v>
                </c:pt>
                <c:pt idx="50">
                  <c:v>0.30962831275013336</c:v>
                </c:pt>
                <c:pt idx="51">
                  <c:v>0.3177219721926843</c:v>
                </c:pt>
                <c:pt idx="52">
                  <c:v>0.31900792161089037</c:v>
                </c:pt>
                <c:pt idx="53">
                  <c:v>0.3571908715721869</c:v>
                </c:pt>
                <c:pt idx="54">
                  <c:v>0.29513143404247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1.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6666666666666"/>
          <c:min val="0.1666666666666666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344874098345048</c:v>
                </c:pt>
                <c:pt idx="1">
                  <c:v>0.6101614863634182</c:v>
                </c:pt>
                <c:pt idx="2">
                  <c:v>0.6504828397794463</c:v>
                </c:pt>
                <c:pt idx="3">
                  <c:v>0.7813312287966505</c:v>
                </c:pt>
                <c:pt idx="4">
                  <c:v>0.7410843023255813</c:v>
                </c:pt>
                <c:pt idx="5">
                  <c:v>0.7504268456375839</c:v>
                </c:pt>
                <c:pt idx="6">
                  <c:v>0.5738808748584372</c:v>
                </c:pt>
                <c:pt idx="7">
                  <c:v>0.6224271386430679</c:v>
                </c:pt>
                <c:pt idx="8">
                  <c:v>0.6205307443365695</c:v>
                </c:pt>
                <c:pt idx="9">
                  <c:v>0.5464361207125764</c:v>
                </c:pt>
                <c:pt idx="10">
                  <c:v>0.5118313245349022</c:v>
                </c:pt>
                <c:pt idx="11">
                  <c:v>0.5527704031936961</c:v>
                </c:pt>
                <c:pt idx="12">
                  <c:v>0.5370732990413842</c:v>
                </c:pt>
                <c:pt idx="13">
                  <c:v>0.5686966239204954</c:v>
                </c:pt>
                <c:pt idx="14">
                  <c:v>0.618353251883375</c:v>
                </c:pt>
                <c:pt idx="15">
                  <c:v>0.5593135756446102</c:v>
                </c:pt>
                <c:pt idx="16">
                  <c:v>0.6762542457542458</c:v>
                </c:pt>
                <c:pt idx="17">
                  <c:v>0.8810056401074307</c:v>
                </c:pt>
                <c:pt idx="18">
                  <c:v>0.7405094696969697</c:v>
                </c:pt>
                <c:pt idx="19">
                  <c:v>0.7511465665236052</c:v>
                </c:pt>
                <c:pt idx="20">
                  <c:v>0.9145793745265665</c:v>
                </c:pt>
                <c:pt idx="21">
                  <c:v>0.7317140431552883</c:v>
                </c:pt>
                <c:pt idx="22">
                  <c:v>0.7958084137543334</c:v>
                </c:pt>
                <c:pt idx="23">
                  <c:v>0.8937748518090645</c:v>
                </c:pt>
                <c:pt idx="24">
                  <c:v>0.8780565293981833</c:v>
                </c:pt>
                <c:pt idx="25">
                  <c:v>0.6498103019105892</c:v>
                </c:pt>
                <c:pt idx="26">
                  <c:v>0.7436119666411044</c:v>
                </c:pt>
                <c:pt idx="27">
                  <c:v>0.6649052020910367</c:v>
                </c:pt>
                <c:pt idx="28">
                  <c:v>0.9497470513852166</c:v>
                </c:pt>
                <c:pt idx="29">
                  <c:v>0.7487113670678004</c:v>
                </c:pt>
                <c:pt idx="30">
                  <c:v>0.9158094863202435</c:v>
                </c:pt>
                <c:pt idx="31">
                  <c:v>1.0896942818791946</c:v>
                </c:pt>
                <c:pt idx="32">
                  <c:v>0.9428657736720554</c:v>
                </c:pt>
                <c:pt idx="33">
                  <c:v>1.067004679144385</c:v>
                </c:pt>
                <c:pt idx="34">
                  <c:v>1.002672868381884</c:v>
                </c:pt>
                <c:pt idx="35">
                  <c:v>1.007436111677196</c:v>
                </c:pt>
                <c:pt idx="36">
                  <c:v>1.0610328572543823</c:v>
                </c:pt>
                <c:pt idx="37">
                  <c:v>1.0794594920314053</c:v>
                </c:pt>
                <c:pt idx="38">
                  <c:v>1.1392902670983407</c:v>
                </c:pt>
                <c:pt idx="39">
                  <c:v>1.165396073451846</c:v>
                </c:pt>
                <c:pt idx="40">
                  <c:v>1.0732781238203097</c:v>
                </c:pt>
                <c:pt idx="41">
                  <c:v>1.0551617939000182</c:v>
                </c:pt>
                <c:pt idx="42">
                  <c:v>1.0318423534512793</c:v>
                </c:pt>
                <c:pt idx="43">
                  <c:v>1.0648403284671533</c:v>
                </c:pt>
                <c:pt idx="44">
                  <c:v>0.8757392456295607</c:v>
                </c:pt>
                <c:pt idx="45">
                  <c:v>0.8105858267716535</c:v>
                </c:pt>
                <c:pt idx="46">
                  <c:v>0.7975791668168444</c:v>
                </c:pt>
                <c:pt idx="47">
                  <c:v>0.7246516287215412</c:v>
                </c:pt>
                <c:pt idx="48">
                  <c:v>0.7229133909020659</c:v>
                </c:pt>
                <c:pt idx="49">
                  <c:v>0.653632341217114</c:v>
                </c:pt>
                <c:pt idx="50">
                  <c:v>0.7300572920972088</c:v>
                </c:pt>
                <c:pt idx="51">
                  <c:v>0.6872228266608789</c:v>
                </c:pt>
                <c:pt idx="52">
                  <c:v>0.7567296734558489</c:v>
                </c:pt>
                <c:pt idx="53">
                  <c:v>0.7303872233399918</c:v>
                </c:pt>
                <c:pt idx="54">
                  <c:v>0.6190476190476191</c:v>
                </c:pt>
                <c:pt idx="55">
                  <c:v>0.7301302000000001</c:v>
                </c:pt>
                <c:pt idx="56">
                  <c:v>0.9593673746556836</c:v>
                </c:pt>
                <c:pt idx="57">
                  <c:v>0.7952999486526019</c:v>
                </c:pt>
                <c:pt idx="58">
                  <c:v>0.8099592949824</c:v>
                </c:pt>
                <c:pt idx="59">
                  <c:v>0.7061897759103641</c:v>
                </c:pt>
                <c:pt idx="60">
                  <c:v>0.7990972800360278</c:v>
                </c:pt>
                <c:pt idx="61">
                  <c:v>0.6999972275951</c:v>
                </c:pt>
                <c:pt idx="62">
                  <c:v>0.7541427588842186</c:v>
                </c:pt>
                <c:pt idx="63">
                  <c:v>0.6298409771284875</c:v>
                </c:pt>
                <c:pt idx="64">
                  <c:v>0.7401085841076134</c:v>
                </c:pt>
                <c:pt idx="65">
                  <c:v>0.6284918518745393</c:v>
                </c:pt>
                <c:pt idx="66">
                  <c:v>0.5579501107419712</c:v>
                </c:pt>
                <c:pt idx="67">
                  <c:v>0.6404289017577118</c:v>
                </c:pt>
                <c:pt idx="68">
                  <c:v>0.7678470149253731</c:v>
                </c:pt>
                <c:pt idx="69">
                  <c:v>0.5906333509513741</c:v>
                </c:pt>
                <c:pt idx="70">
                  <c:v>0.3920385167464115</c:v>
                </c:pt>
                <c:pt idx="71">
                  <c:v>1.03655166738848</c:v>
                </c:pt>
                <c:pt idx="72">
                  <c:v>1.1638777999346412</c:v>
                </c:pt>
                <c:pt idx="73">
                  <c:v>0.6795228412991814</c:v>
                </c:pt>
                <c:pt idx="74">
                  <c:v>0.36415685294117645</c:v>
                </c:pt>
                <c:pt idx="75">
                  <c:v>0.621211</c:v>
                </c:pt>
                <c:pt idx="76">
                  <c:v>0.0</c:v>
                </c:pt>
                <c:pt idx="77">
                  <c:v>0.42638038311457965</c:v>
                </c:pt>
                <c:pt idx="78">
                  <c:v>0.6531669690501601</c:v>
                </c:pt>
                <c:pt idx="79">
                  <c:v>0.6160548370927318</c:v>
                </c:pt>
                <c:pt idx="80">
                  <c:v>0.581661328125</c:v>
                </c:pt>
                <c:pt idx="81">
                  <c:v>0.6754411013340903</c:v>
                </c:pt>
                <c:pt idx="82">
                  <c:v>0.36413843427835046</c:v>
                </c:pt>
                <c:pt idx="83">
                  <c:v>0.0</c:v>
                </c:pt>
                <c:pt idx="84">
                  <c:v>0.637990139275766</c:v>
                </c:pt>
                <c:pt idx="85">
                  <c:v>0.786578916967509</c:v>
                </c:pt>
                <c:pt idx="86">
                  <c:v>0.4535903745553463</c:v>
                </c:pt>
                <c:pt idx="87">
                  <c:v>0.4929396081963522</c:v>
                </c:pt>
                <c:pt idx="88">
                  <c:v>0.5561316578057033</c:v>
                </c:pt>
                <c:pt idx="89">
                  <c:v>0.44005097276264593</c:v>
                </c:pt>
                <c:pt idx="90">
                  <c:v>0.618578255436141</c:v>
                </c:pt>
                <c:pt idx="91">
                  <c:v>0.6256926614481408</c:v>
                </c:pt>
                <c:pt idx="92">
                  <c:v>0.6538085699263932</c:v>
                </c:pt>
                <c:pt idx="93">
                  <c:v>0.623744031896337</c:v>
                </c:pt>
                <c:pt idx="94">
                  <c:v>0.5067121224009415</c:v>
                </c:pt>
                <c:pt idx="95">
                  <c:v>1.0924850021862702</c:v>
                </c:pt>
                <c:pt idx="96">
                  <c:v>1.0141047597963249</c:v>
                </c:pt>
                <c:pt idx="97">
                  <c:v>0.9207163385110915</c:v>
                </c:pt>
                <c:pt idx="98">
                  <c:v>0.989505993916622</c:v>
                </c:pt>
                <c:pt idx="99">
                  <c:v>0.9361940947824652</c:v>
                </c:pt>
                <c:pt idx="100">
                  <c:v>0.9884302692664808</c:v>
                </c:pt>
                <c:pt idx="101">
                  <c:v>0.9824737089201877</c:v>
                </c:pt>
                <c:pt idx="102">
                  <c:v>0.8784196848642482</c:v>
                </c:pt>
                <c:pt idx="103">
                  <c:v>0.9331376565295171</c:v>
                </c:pt>
                <c:pt idx="104">
                  <c:v>0.9867794766392025</c:v>
                </c:pt>
              </c:numCache>
            </c:numRef>
          </c:xVal>
          <c:yVal>
            <c:numRef>
              <c:f>Sheet1!$B$2:$B$106</c:f>
              <c:numCache>
                <c:formatCode>General</c:formatCode>
                <c:ptCount val="105"/>
                <c:pt idx="0">
                  <c:v>0.3624823695345557</c:v>
                </c:pt>
                <c:pt idx="1">
                  <c:v>0.3287904599659284</c:v>
                </c:pt>
                <c:pt idx="2">
                  <c:v>0.32450331125827814</c:v>
                </c:pt>
                <c:pt idx="3">
                  <c:v>0.32275132275132273</c:v>
                </c:pt>
                <c:pt idx="4">
                  <c:v>0.37335834896810505</c:v>
                </c:pt>
                <c:pt idx="5">
                  <c:v>0.3638297872340426</c:v>
                </c:pt>
                <c:pt idx="6">
                  <c:v>0.37328094302554027</c:v>
                </c:pt>
                <c:pt idx="7">
                  <c:v>0.39555555555555555</c:v>
                </c:pt>
                <c:pt idx="8">
                  <c:v>0.3701657458563536</c:v>
                </c:pt>
                <c:pt idx="9">
                  <c:v>0.36363636363636365</c:v>
                </c:pt>
                <c:pt idx="10">
                  <c:v>0.3711967545638945</c:v>
                </c:pt>
                <c:pt idx="11">
                  <c:v>0.32107843137254904</c:v>
                </c:pt>
                <c:pt idx="12">
                  <c:v>0.26258205689277897</c:v>
                </c:pt>
                <c:pt idx="13">
                  <c:v>0.23043478260869565</c:v>
                </c:pt>
                <c:pt idx="14">
                  <c:v>0.22797927461139897</c:v>
                </c:pt>
                <c:pt idx="15">
                  <c:v>0.22965116279069767</c:v>
                </c:pt>
                <c:pt idx="16">
                  <c:v>0.23717948717948717</c:v>
                </c:pt>
                <c:pt idx="17">
                  <c:v>0.20833333333333334</c:v>
                </c:pt>
                <c:pt idx="18">
                  <c:v>0.2664359861591695</c:v>
                </c:pt>
                <c:pt idx="19">
                  <c:v>0.272</c:v>
                </c:pt>
                <c:pt idx="20">
                  <c:v>0.2598187311178248</c:v>
                </c:pt>
                <c:pt idx="21">
                  <c:v>0.2553191489361702</c:v>
                </c:pt>
                <c:pt idx="22">
                  <c:v>0.27639751552795033</c:v>
                </c:pt>
                <c:pt idx="23">
                  <c:v>0.3088235294117647</c:v>
                </c:pt>
                <c:pt idx="24">
                  <c:v>0.2867647058823529</c:v>
                </c:pt>
                <c:pt idx="25">
                  <c:v>0.28353658536585363</c:v>
                </c:pt>
                <c:pt idx="26">
                  <c:v>0.31210191082802546</c:v>
                </c:pt>
                <c:pt idx="27">
                  <c:v>0.3146417445482866</c:v>
                </c:pt>
                <c:pt idx="28">
                  <c:v>0.31208053691275167</c:v>
                </c:pt>
                <c:pt idx="29">
                  <c:v>0.3106060606060606</c:v>
                </c:pt>
                <c:pt idx="30">
                  <c:v>0.3308270676691729</c:v>
                </c:pt>
                <c:pt idx="31">
                  <c:v>0.30927835051546393</c:v>
                </c:pt>
                <c:pt idx="32">
                  <c:v>0.25770308123249297</c:v>
                </c:pt>
                <c:pt idx="33">
                  <c:v>0.25055432372505543</c:v>
                </c:pt>
                <c:pt idx="34">
                  <c:v>0.2800751879699248</c:v>
                </c:pt>
                <c:pt idx="35">
                  <c:v>0.3127147766323024</c:v>
                </c:pt>
                <c:pt idx="36">
                  <c:v>0.33055555555555555</c:v>
                </c:pt>
                <c:pt idx="37">
                  <c:v>0.36507936507936506</c:v>
                </c:pt>
                <c:pt idx="38">
                  <c:v>0.3081967213114754</c:v>
                </c:pt>
                <c:pt idx="39">
                  <c:v>0.2721311475409836</c:v>
                </c:pt>
                <c:pt idx="40">
                  <c:v>0.29649595687331537</c:v>
                </c:pt>
                <c:pt idx="41">
                  <c:v>0.3449367088607595</c:v>
                </c:pt>
                <c:pt idx="42">
                  <c:v>0.25770308123249297</c:v>
                </c:pt>
                <c:pt idx="43">
                  <c:v>0.2685589519650655</c:v>
                </c:pt>
                <c:pt idx="44">
                  <c:v>0.2540453074433657</c:v>
                </c:pt>
                <c:pt idx="45">
                  <c:v>0.30238393977415307</c:v>
                </c:pt>
                <c:pt idx="46">
                  <c:v>0.28369565217391307</c:v>
                </c:pt>
                <c:pt idx="47">
                  <c:v>0.28399122807017546</c:v>
                </c:pt>
                <c:pt idx="48">
                  <c:v>0.3008057296329454</c:v>
                </c:pt>
                <c:pt idx="49">
                  <c:v>0.28587830080367393</c:v>
                </c:pt>
                <c:pt idx="50">
                  <c:v>0.2797872340425532</c:v>
                </c:pt>
                <c:pt idx="51">
                  <c:v>0.25925925925925924</c:v>
                </c:pt>
                <c:pt idx="52">
                  <c:v>0.27202072538860106</c:v>
                </c:pt>
                <c:pt idx="53">
                  <c:v>0.28078817733990147</c:v>
                </c:pt>
                <c:pt idx="54">
                  <c:v>0.2987012987012987</c:v>
                </c:pt>
                <c:pt idx="55">
                  <c:v>0.28888888888888886</c:v>
                </c:pt>
                <c:pt idx="56">
                  <c:v>0.2568027210884354</c:v>
                </c:pt>
                <c:pt idx="57">
                  <c:v>0.2695035460992908</c:v>
                </c:pt>
                <c:pt idx="58">
                  <c:v>0.29395604395604397</c:v>
                </c:pt>
                <c:pt idx="59">
                  <c:v>0.3011542497376705</c:v>
                </c:pt>
                <c:pt idx="60">
                  <c:v>0.27387802071346373</c:v>
                </c:pt>
                <c:pt idx="61">
                  <c:v>0.27806563039723664</c:v>
                </c:pt>
                <c:pt idx="62">
                  <c:v>0.28592814371257486</c:v>
                </c:pt>
                <c:pt idx="63">
                  <c:v>0.27671232876712326</c:v>
                </c:pt>
                <c:pt idx="64">
                  <c:v>0.2689655172413793</c:v>
                </c:pt>
                <c:pt idx="65">
                  <c:v>0.26194398682042835</c:v>
                </c:pt>
                <c:pt idx="66">
                  <c:v>0.31456953642384106</c:v>
                </c:pt>
                <c:pt idx="67">
                  <c:v>0.27944111776447106</c:v>
                </c:pt>
                <c:pt idx="68">
                  <c:v>0.29245283018867924</c:v>
                </c:pt>
                <c:pt idx="69">
                  <c:v>0.26744186046511625</c:v>
                </c:pt>
                <c:pt idx="70">
                  <c:v>0.25443786982248523</c:v>
                </c:pt>
                <c:pt idx="71">
                  <c:v>0.27596439169139464</c:v>
                </c:pt>
                <c:pt idx="72">
                  <c:v>0.29508196721311475</c:v>
                </c:pt>
                <c:pt idx="73">
                  <c:v>0.2905982905982906</c:v>
                </c:pt>
                <c:pt idx="74">
                  <c:v>0.272108843537415</c:v>
                </c:pt>
                <c:pt idx="75">
                  <c:v>0.3087431693989071</c:v>
                </c:pt>
                <c:pt idx="76">
                  <c:v>0.30030959752321984</c:v>
                </c:pt>
                <c:pt idx="77">
                  <c:v>0.3037542662116041</c:v>
                </c:pt>
                <c:pt idx="78">
                  <c:v>0.3006993006993007</c:v>
                </c:pt>
                <c:pt idx="79">
                  <c:v>0.31384615384615383</c:v>
                </c:pt>
                <c:pt idx="80">
                  <c:v>0.2964071856287425</c:v>
                </c:pt>
                <c:pt idx="81">
                  <c:v>0.30434782608695654</c:v>
                </c:pt>
                <c:pt idx="82">
                  <c:v>0.31210191082802546</c:v>
                </c:pt>
                <c:pt idx="83">
                  <c:v>0.3181818181818182</c:v>
                </c:pt>
                <c:pt idx="84">
                  <c:v>0.30708661417322836</c:v>
                </c:pt>
                <c:pt idx="85">
                  <c:v>0.34593023255813954</c:v>
                </c:pt>
                <c:pt idx="86">
                  <c:v>0.32432432432432434</c:v>
                </c:pt>
                <c:pt idx="87">
                  <c:v>0.2804642166344294</c:v>
                </c:pt>
                <c:pt idx="88">
                  <c:v>0.3170028818443804</c:v>
                </c:pt>
                <c:pt idx="89">
                  <c:v>0.29</c:v>
                </c:pt>
                <c:pt idx="90">
                  <c:v>0.25704225352112675</c:v>
                </c:pt>
                <c:pt idx="91">
                  <c:v>0.3177257525083612</c:v>
                </c:pt>
                <c:pt idx="92">
                  <c:v>0.3131868131868132</c:v>
                </c:pt>
                <c:pt idx="93">
                  <c:v>0.3215258855585831</c:v>
                </c:pt>
                <c:pt idx="94">
                  <c:v>0.2939189189189189</c:v>
                </c:pt>
                <c:pt idx="95">
                  <c:v>0.26218097447795824</c:v>
                </c:pt>
                <c:pt idx="96">
                  <c:v>0.3005008347245409</c:v>
                </c:pt>
                <c:pt idx="97">
                  <c:v>0.3400286944045911</c:v>
                </c:pt>
                <c:pt idx="98">
                  <c:v>0.32788671023965144</c:v>
                </c:pt>
                <c:pt idx="99">
                  <c:v>0.34615384615384615</c:v>
                </c:pt>
                <c:pt idx="100">
                  <c:v>0.32766825288919105</c:v>
                </c:pt>
                <c:pt idx="101">
                  <c:v>0.32998885172798215</c:v>
                </c:pt>
                <c:pt idx="102">
                  <c:v>0.3209677419354839</c:v>
                </c:pt>
                <c:pt idx="103">
                  <c:v>0.3277310924369748</c:v>
                </c:pt>
                <c:pt idx="104">
                  <c:v>0.3169934640522875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081943649569284</c:v>
                </c:pt>
                <c:pt idx="1">
                  <c:v>1.0191297915996234</c:v>
                </c:pt>
                <c:pt idx="2">
                  <c:v>1.0599343770068408</c:v>
                </c:pt>
                <c:pt idx="3">
                  <c:v>1.0257867384347739</c:v>
                </c:pt>
                <c:pt idx="4">
                  <c:v>1.0994508170285617</c:v>
                </c:pt>
                <c:pt idx="5">
                  <c:v>1.3617448488733859</c:v>
                </c:pt>
                <c:pt idx="6">
                  <c:v>1.2373948300702584</c:v>
                </c:pt>
                <c:pt idx="7">
                  <c:v>1.4303049126975926</c:v>
                </c:pt>
                <c:pt idx="8">
                  <c:v>1.3767212922365644</c:v>
                </c:pt>
                <c:pt idx="9">
                  <c:v>1.235559199525977</c:v>
                </c:pt>
                <c:pt idx="10">
                  <c:v>1.3207302073043916</c:v>
                </c:pt>
                <c:pt idx="11">
                  <c:v>1.16062308598351</c:v>
                </c:pt>
                <c:pt idx="12">
                  <c:v>1.3326438529784537</c:v>
                </c:pt>
                <c:pt idx="13">
                  <c:v>1.4489382217454407</c:v>
                </c:pt>
                <c:pt idx="14">
                  <c:v>1.2923550452893326</c:v>
                </c:pt>
                <c:pt idx="15">
                  <c:v>1.41721752684456</c:v>
                </c:pt>
                <c:pt idx="16">
                  <c:v>1.2715227879117887</c:v>
                </c:pt>
                <c:pt idx="17">
                  <c:v>1.1877919227798537</c:v>
                </c:pt>
                <c:pt idx="18">
                  <c:v>2.248234167201104</c:v>
                </c:pt>
                <c:pt idx="19">
                  <c:v>2.545940657965641</c:v>
                </c:pt>
                <c:pt idx="20">
                  <c:v>2.467838166033357</c:v>
                </c:pt>
                <c:pt idx="21">
                  <c:v>2.077675864744044</c:v>
                </c:pt>
                <c:pt idx="22">
                  <c:v>2.5040601355695293</c:v>
                </c:pt>
                <c:pt idx="23">
                  <c:v>2.4653327464439108</c:v>
                </c:pt>
                <c:pt idx="24">
                  <c:v>2.1358154005101</c:v>
                </c:pt>
                <c:pt idx="25">
                  <c:v>2.0234420498896997</c:v>
                </c:pt>
                <c:pt idx="26">
                  <c:v>2.4196948042912765</c:v>
                </c:pt>
                <c:pt idx="27">
                  <c:v>2.259366228951809</c:v>
                </c:pt>
                <c:pt idx="28">
                  <c:v>2.3778708452567097</c:v>
                </c:pt>
                <c:pt idx="29">
                  <c:v>2.058695238095238</c:v>
                </c:pt>
                <c:pt idx="30">
                  <c:v>1.8079958112249754</c:v>
                </c:pt>
                <c:pt idx="31">
                  <c:v>2.103980459658634</c:v>
                </c:pt>
                <c:pt idx="32">
                  <c:v>2.3781699658461424</c:v>
                </c:pt>
                <c:pt idx="33">
                  <c:v>2.598120646798387</c:v>
                </c:pt>
                <c:pt idx="34">
                  <c:v>2.8584439691197767</c:v>
                </c:pt>
                <c:pt idx="35">
                  <c:v>2.6767754279959717</c:v>
                </c:pt>
                <c:pt idx="36">
                  <c:v>2.865811594556347</c:v>
                </c:pt>
                <c:pt idx="37">
                  <c:v>2.314918035502617</c:v>
                </c:pt>
                <c:pt idx="38">
                  <c:v>1.9298059045518239</c:v>
                </c:pt>
                <c:pt idx="39">
                  <c:v>2.0763749109868583</c:v>
                </c:pt>
                <c:pt idx="40">
                  <c:v>1.9760344014160538</c:v>
                </c:pt>
                <c:pt idx="41">
                  <c:v>1.7205569776837015</c:v>
                </c:pt>
                <c:pt idx="42">
                  <c:v>2.535635300801722</c:v>
                </c:pt>
                <c:pt idx="43">
                  <c:v>2.2815081512879036</c:v>
                </c:pt>
                <c:pt idx="44">
                  <c:v>2.0106116168835704</c:v>
                </c:pt>
                <c:pt idx="45">
                  <c:v>2.2315947368421054</c:v>
                </c:pt>
                <c:pt idx="46">
                  <c:v>2.305021096232473</c:v>
                </c:pt>
                <c:pt idx="47">
                  <c:v>2.23931749532122</c:v>
                </c:pt>
                <c:pt idx="48">
                  <c:v>1.7149882048969527</c:v>
                </c:pt>
                <c:pt idx="49">
                  <c:v>1.7385764550946372</c:v>
                </c:pt>
                <c:pt idx="50">
                  <c:v>1.3771360651058642</c:v>
                </c:pt>
                <c:pt idx="51">
                  <c:v>1.2917608185374663</c:v>
                </c:pt>
              </c:numCache>
            </c:numRef>
          </c:xVal>
          <c:yVal>
            <c:numRef>
              <c:f>Sheet1!$B$109:$B$160</c:f>
              <c:numCache>
                <c:formatCode>General</c:formatCode>
                <c:ptCount val="52"/>
                <c:pt idx="0">
                  <c:v>0.29652996845425866</c:v>
                </c:pt>
                <c:pt idx="1">
                  <c:v>0.31190926275992437</c:v>
                </c:pt>
                <c:pt idx="2">
                  <c:v>0.31191222570532917</c:v>
                </c:pt>
                <c:pt idx="3">
                  <c:v>0.3080495356037152</c:v>
                </c:pt>
                <c:pt idx="4">
                  <c:v>0.2842809364548495</c:v>
                </c:pt>
                <c:pt idx="5">
                  <c:v>0.29187396351575456</c:v>
                </c:pt>
                <c:pt idx="6">
                  <c:v>0.29342105263157897</c:v>
                </c:pt>
                <c:pt idx="7">
                  <c:v>0.3327272727272727</c:v>
                </c:pt>
                <c:pt idx="8">
                  <c:v>0.2897196261682243</c:v>
                </c:pt>
                <c:pt idx="9">
                  <c:v>0.30677290836653387</c:v>
                </c:pt>
                <c:pt idx="10">
                  <c:v>0.2975206611570248</c:v>
                </c:pt>
                <c:pt idx="11">
                  <c:v>0.3095823095823096</c:v>
                </c:pt>
                <c:pt idx="12">
                  <c:v>0.3068362480127186</c:v>
                </c:pt>
                <c:pt idx="13">
                  <c:v>0.27355072463768115</c:v>
                </c:pt>
                <c:pt idx="14">
                  <c:v>0.2779783393501805</c:v>
                </c:pt>
                <c:pt idx="15">
                  <c:v>0.30337078651685395</c:v>
                </c:pt>
                <c:pt idx="16">
                  <c:v>0.36666666666666664</c:v>
                </c:pt>
                <c:pt idx="17">
                  <c:v>0.34794520547945207</c:v>
                </c:pt>
                <c:pt idx="18">
                  <c:v>0.3122923588039867</c:v>
                </c:pt>
                <c:pt idx="19">
                  <c:v>0.30057803468208094</c:v>
                </c:pt>
                <c:pt idx="20">
                  <c:v>0.29605263157894735</c:v>
                </c:pt>
                <c:pt idx="21">
                  <c:v>0.31666666666666665</c:v>
                </c:pt>
                <c:pt idx="22">
                  <c:v>0.29411764705882354</c:v>
                </c:pt>
                <c:pt idx="23">
                  <c:v>0.2905405405405405</c:v>
                </c:pt>
                <c:pt idx="24">
                  <c:v>0.2905982905982906</c:v>
                </c:pt>
                <c:pt idx="25">
                  <c:v>0.30662983425414364</c:v>
                </c:pt>
                <c:pt idx="26">
                  <c:v>0.29201101928374656</c:v>
                </c:pt>
                <c:pt idx="27">
                  <c:v>0.29508196721311475</c:v>
                </c:pt>
                <c:pt idx="28">
                  <c:v>0.2691415313225058</c:v>
                </c:pt>
                <c:pt idx="29">
                  <c:v>0.2640449438202247</c:v>
                </c:pt>
                <c:pt idx="30">
                  <c:v>0.2553846153846154</c:v>
                </c:pt>
                <c:pt idx="31">
                  <c:v>0.27177700348432055</c:v>
                </c:pt>
                <c:pt idx="32">
                  <c:v>0.23728813559322035</c:v>
                </c:pt>
                <c:pt idx="33">
                  <c:v>0.25225225225225223</c:v>
                </c:pt>
                <c:pt idx="34">
                  <c:v>0.2568659127625202</c:v>
                </c:pt>
                <c:pt idx="35">
                  <c:v>0.25925925925925924</c:v>
                </c:pt>
                <c:pt idx="36">
                  <c:v>0.26639344262295084</c:v>
                </c:pt>
                <c:pt idx="37">
                  <c:v>0.2623574144486692</c:v>
                </c:pt>
                <c:pt idx="38">
                  <c:v>0.2779783393501805</c:v>
                </c:pt>
                <c:pt idx="39">
                  <c:v>0.25513196480938416</c:v>
                </c:pt>
                <c:pt idx="40">
                  <c:v>0.2785923753665689</c:v>
                </c:pt>
                <c:pt idx="41">
                  <c:v>0.26737967914438504</c:v>
                </c:pt>
                <c:pt idx="42">
                  <c:v>0.27246376811594203</c:v>
                </c:pt>
                <c:pt idx="43">
                  <c:v>0.24604966139954854</c:v>
                </c:pt>
                <c:pt idx="44">
                  <c:v>0.28778467908902694</c:v>
                </c:pt>
                <c:pt idx="45">
                  <c:v>0.3169984686064318</c:v>
                </c:pt>
                <c:pt idx="46">
                  <c:v>0.3228228228228228</c:v>
                </c:pt>
                <c:pt idx="47">
                  <c:v>0.31345353675450766</c:v>
                </c:pt>
                <c:pt idx="48">
                  <c:v>0.31075110456553756</c:v>
                </c:pt>
                <c:pt idx="49">
                  <c:v>0.3341614906832298</c:v>
                </c:pt>
                <c:pt idx="50">
                  <c:v>0.3099315068493151</c:v>
                </c:pt>
                <c:pt idx="51">
                  <c:v>0.321187584345479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031913158628688</c:v>
                </c:pt>
              </c:numCache>
            </c:numRef>
          </c:xVal>
          <c:yVal>
            <c:numRef>
              <c:f>Sheet1!$B$163:$B$164</c:f>
              <c:numCache>
                <c:formatCode>General</c:formatCode>
                <c:ptCount val="2"/>
                <c:pt idx="0">
                  <c:v>0.3571908715721869</c:v>
                </c:pt>
                <c:pt idx="1">
                  <c:v>0.35719087157218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031913158628688</c:v>
                </c:pt>
                <c:pt idx="1">
                  <c:v>-0.9031913158628688</c:v>
                </c:pt>
              </c:numCache>
            </c:numRef>
          </c:xVal>
          <c:yVal>
            <c:numRef>
              <c:f>Sheet1!$B$167:$B$168</c:f>
              <c:numCache>
                <c:formatCode>General</c:formatCode>
                <c:ptCount val="2"/>
                <c:pt idx="0">
                  <c:v>0.35719087157218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332314332987759</c:v>
                </c:pt>
              </c:numCache>
            </c:numRef>
          </c:xVal>
          <c:yVal>
            <c:numRef>
              <c:f>Sheet1!$B$171:$B$172</c:f>
              <c:numCache>
                <c:formatCode>General</c:formatCode>
                <c:ptCount val="2"/>
                <c:pt idx="0">
                  <c:v>0.31900792161089037</c:v>
                </c:pt>
                <c:pt idx="1">
                  <c:v>0.3190079216108903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332314332987759</c:v>
                </c:pt>
                <c:pt idx="1">
                  <c:v>0.7332314332987759</c:v>
                </c:pt>
              </c:numCache>
            </c:numRef>
          </c:xVal>
          <c:yVal>
            <c:numRef>
              <c:f>Sheet1!$B$175:$B$176</c:f>
              <c:numCache>
                <c:formatCode>General</c:formatCode>
                <c:ptCount val="2"/>
                <c:pt idx="0">
                  <c:v>0.319007921610890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565161052959415</c:v>
                </c:pt>
              </c:numCache>
            </c:numRef>
          </c:xVal>
          <c:yVal>
            <c:numRef>
              <c:f>Sheet1!$B$179:$B$180</c:f>
              <c:numCache>
                <c:formatCode>General</c:formatCode>
                <c:ptCount val="2"/>
                <c:pt idx="0">
                  <c:v>0.2951314340424754</c:v>
                </c:pt>
                <c:pt idx="1">
                  <c:v>0.29513143404247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565161052959415</c:v>
                </c:pt>
                <c:pt idx="1">
                  <c:v>1.7565161052959415</c:v>
                </c:pt>
              </c:numCache>
            </c:numRef>
          </c:xVal>
          <c:yVal>
            <c:numRef>
              <c:f>Sheet1!$B$183:$B$184</c:f>
              <c:numCache>
                <c:formatCode>General</c:formatCode>
                <c:ptCount val="2"/>
                <c:pt idx="0">
                  <c:v>0.29513143404247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081943649569284</c:v>
                </c:pt>
                <c:pt idx="1">
                  <c:v>1.0191297915996234</c:v>
                </c:pt>
                <c:pt idx="2">
                  <c:v>1.0599343770068408</c:v>
                </c:pt>
                <c:pt idx="3">
                  <c:v>1.0257867384347739</c:v>
                </c:pt>
                <c:pt idx="4">
                  <c:v>1.0994508170285617</c:v>
                </c:pt>
                <c:pt idx="5">
                  <c:v>1.3617448488733859</c:v>
                </c:pt>
                <c:pt idx="6">
                  <c:v>1.2373948300702584</c:v>
                </c:pt>
                <c:pt idx="7">
                  <c:v>1.4303049126975926</c:v>
                </c:pt>
                <c:pt idx="8">
                  <c:v>1.3767212922365644</c:v>
                </c:pt>
                <c:pt idx="9">
                  <c:v>1.235559199525977</c:v>
                </c:pt>
                <c:pt idx="10">
                  <c:v>1.3207302073043916</c:v>
                </c:pt>
                <c:pt idx="11">
                  <c:v>1.16062308598351</c:v>
                </c:pt>
                <c:pt idx="12">
                  <c:v>1.3326438529784537</c:v>
                </c:pt>
                <c:pt idx="13">
                  <c:v>1.4489382217454407</c:v>
                </c:pt>
                <c:pt idx="14">
                  <c:v>1.2923550452893326</c:v>
                </c:pt>
                <c:pt idx="15">
                  <c:v>1.41721752684456</c:v>
                </c:pt>
                <c:pt idx="16">
                  <c:v>1.2715227879117887</c:v>
                </c:pt>
                <c:pt idx="17">
                  <c:v>1.1877919227798537</c:v>
                </c:pt>
                <c:pt idx="18">
                  <c:v>2.248234167201104</c:v>
                </c:pt>
                <c:pt idx="19">
                  <c:v>2.545940657965641</c:v>
                </c:pt>
                <c:pt idx="20">
                  <c:v>2.467838166033357</c:v>
                </c:pt>
                <c:pt idx="21">
                  <c:v>2.077675864744044</c:v>
                </c:pt>
                <c:pt idx="22">
                  <c:v>2.5040601355695293</c:v>
                </c:pt>
                <c:pt idx="23">
                  <c:v>2.4653327464439108</c:v>
                </c:pt>
                <c:pt idx="24">
                  <c:v>2.1358154005101</c:v>
                </c:pt>
                <c:pt idx="25">
                  <c:v>2.0234420498896997</c:v>
                </c:pt>
                <c:pt idx="26">
                  <c:v>2.4196948042912765</c:v>
                </c:pt>
                <c:pt idx="27">
                  <c:v>2.259366228951809</c:v>
                </c:pt>
                <c:pt idx="28">
                  <c:v>2.3778708452567097</c:v>
                </c:pt>
                <c:pt idx="29">
                  <c:v>2.058695238095238</c:v>
                </c:pt>
                <c:pt idx="30">
                  <c:v>1.8079958112249754</c:v>
                </c:pt>
                <c:pt idx="31">
                  <c:v>2.103980459658634</c:v>
                </c:pt>
                <c:pt idx="32">
                  <c:v>2.3781699658461424</c:v>
                </c:pt>
                <c:pt idx="33">
                  <c:v>2.598120646798387</c:v>
                </c:pt>
                <c:pt idx="34">
                  <c:v>2.8584439691197767</c:v>
                </c:pt>
                <c:pt idx="35">
                  <c:v>2.6767754279959717</c:v>
                </c:pt>
                <c:pt idx="36">
                  <c:v>2.865811594556347</c:v>
                </c:pt>
                <c:pt idx="37">
                  <c:v>2.314918035502617</c:v>
                </c:pt>
                <c:pt idx="38">
                  <c:v>1.9298059045518239</c:v>
                </c:pt>
                <c:pt idx="39">
                  <c:v>2.0763749109868583</c:v>
                </c:pt>
                <c:pt idx="40">
                  <c:v>1.9760344014160538</c:v>
                </c:pt>
                <c:pt idx="41">
                  <c:v>1.7205569776837015</c:v>
                </c:pt>
                <c:pt idx="42">
                  <c:v>2.535635300801722</c:v>
                </c:pt>
                <c:pt idx="43">
                  <c:v>2.2815081512879036</c:v>
                </c:pt>
                <c:pt idx="44">
                  <c:v>2.0106116168835704</c:v>
                </c:pt>
                <c:pt idx="45">
                  <c:v>2.2315947368421054</c:v>
                </c:pt>
                <c:pt idx="46">
                  <c:v>2.305021096232473</c:v>
                </c:pt>
                <c:pt idx="47">
                  <c:v>2.23931749532122</c:v>
                </c:pt>
                <c:pt idx="48">
                  <c:v>1.7149882048969527</c:v>
                </c:pt>
                <c:pt idx="49">
                  <c:v>1.7385764550946372</c:v>
                </c:pt>
                <c:pt idx="50">
                  <c:v>1.3771360651058642</c:v>
                </c:pt>
                <c:pt idx="51">
                  <c:v>1.2917608185374663</c:v>
                </c:pt>
                <c:pt idx="52">
                  <c:v>0.7332314332987759</c:v>
                </c:pt>
                <c:pt idx="53">
                  <c:v>-0.9031913158628688</c:v>
                </c:pt>
                <c:pt idx="54">
                  <c:v>1.7565161052959415</c:v>
                </c:pt>
              </c:numCache>
            </c:numRef>
          </c:xVal>
          <c:yVal>
            <c:numRef>
              <c:f>Sheet1!$B$187:$B$241</c:f>
              <c:numCache>
                <c:formatCode>General</c:formatCode>
                <c:ptCount val="55"/>
                <c:pt idx="0">
                  <c:v>0.31025884325434766</c:v>
                </c:pt>
                <c:pt idx="1">
                  <c:v>0.31233700316111285</c:v>
                </c:pt>
                <c:pt idx="2">
                  <c:v>0.3113849023402257</c:v>
                </c:pt>
                <c:pt idx="3">
                  <c:v>0.3121816754085307</c:v>
                </c:pt>
                <c:pt idx="4">
                  <c:v>0.31046285805016005</c:v>
                </c:pt>
                <c:pt idx="5">
                  <c:v>0.30434270364738825</c:v>
                </c:pt>
                <c:pt idx="6">
                  <c:v>0.3072441852774124</c:v>
                </c:pt>
                <c:pt idx="7">
                  <c:v>0.30274297919496046</c:v>
                </c:pt>
                <c:pt idx="8">
                  <c:v>0.3039932555675278</c:v>
                </c:pt>
                <c:pt idx="9">
                  <c:v>0.30728701637912836</c:v>
                </c:pt>
                <c:pt idx="10">
                  <c:v>0.30529970574694454</c:v>
                </c:pt>
                <c:pt idx="11">
                  <c:v>0.309035514360565</c:v>
                </c:pt>
                <c:pt idx="12">
                  <c:v>0.3050217224832296</c:v>
                </c:pt>
                <c:pt idx="13">
                  <c:v>0.3023082048022481</c:v>
                </c:pt>
                <c:pt idx="14">
                  <c:v>0.30596178856870915</c:v>
                </c:pt>
                <c:pt idx="15">
                  <c:v>0.3030483495519825</c:v>
                </c:pt>
                <c:pt idx="16">
                  <c:v>0.30644787142317637</c:v>
                </c:pt>
                <c:pt idx="17">
                  <c:v>0.3084015789447729</c:v>
                </c:pt>
                <c:pt idx="18">
                  <c:v>0.2836580869734437</c:v>
                </c:pt>
                <c:pt idx="19">
                  <c:v>0.2767116472189004</c:v>
                </c:pt>
                <c:pt idx="20">
                  <c:v>0.2785340268838316</c:v>
                </c:pt>
                <c:pt idx="21">
                  <c:v>0.2876377548994353</c:v>
                </c:pt>
                <c:pt idx="22">
                  <c:v>0.2776888530734529</c:v>
                </c:pt>
                <c:pt idx="23">
                  <c:v>0.27859248629529165</c:v>
                </c:pt>
                <c:pt idx="24">
                  <c:v>0.28628117452552787</c:v>
                </c:pt>
                <c:pt idx="25">
                  <c:v>0.2889032023761674</c:v>
                </c:pt>
                <c:pt idx="26">
                  <c:v>0.27965736470916325</c:v>
                </c:pt>
                <c:pt idx="27">
                  <c:v>0.283398340549721</c:v>
                </c:pt>
                <c:pt idx="28">
                  <c:v>0.28063325076050194</c:v>
                </c:pt>
                <c:pt idx="29">
                  <c:v>0.28808063331696937</c:v>
                </c:pt>
                <c:pt idx="30">
                  <c:v>0.2939302486907577</c:v>
                </c:pt>
                <c:pt idx="31">
                  <c:v>0.28702398499682885</c:v>
                </c:pt>
                <c:pt idx="32">
                  <c:v>0.2806262713253257</c:v>
                </c:pt>
                <c:pt idx="33">
                  <c:v>0.2754941220386849</c:v>
                </c:pt>
                <c:pt idx="34">
                  <c:v>0.2694199505600444</c:v>
                </c:pt>
                <c:pt idx="35">
                  <c:v>0.27365885570776727</c:v>
                </c:pt>
                <c:pt idx="36">
                  <c:v>0.2692480404142571</c:v>
                </c:pt>
                <c:pt idx="37">
                  <c:v>0.2821021401327592</c:v>
                </c:pt>
                <c:pt idx="38">
                  <c:v>0.29108803160433383</c:v>
                </c:pt>
                <c:pt idx="39">
                  <c:v>0.28766811029032563</c:v>
                </c:pt>
                <c:pt idx="40">
                  <c:v>0.29000937366985013</c:v>
                </c:pt>
                <c:pt idx="41">
                  <c:v>0.29597047491438544</c:v>
                </c:pt>
                <c:pt idx="42">
                  <c:v>0.2769521039939757</c:v>
                </c:pt>
                <c:pt idx="43">
                  <c:v>0.2828816990443159</c:v>
                </c:pt>
                <c:pt idx="44">
                  <c:v>0.2892025772056275</c:v>
                </c:pt>
                <c:pt idx="45">
                  <c:v>0.28404633783166944</c:v>
                </c:pt>
                <c:pt idx="46">
                  <c:v>0.28233306721875545</c:v>
                </c:pt>
                <c:pt idx="47">
                  <c:v>0.28386614130193877</c:v>
                </c:pt>
                <c:pt idx="48">
                  <c:v>0.29610041210376464</c:v>
                </c:pt>
                <c:pt idx="49">
                  <c:v>0.2955500231670219</c:v>
                </c:pt>
                <c:pt idx="50">
                  <c:v>0.3039835775966478</c:v>
                </c:pt>
                <c:pt idx="51">
                  <c:v>0.30597565376970554</c:v>
                </c:pt>
                <c:pt idx="52">
                  <c:v>0.31900792161089037</c:v>
                </c:pt>
                <c:pt idx="53">
                  <c:v>0.3571908715721869</c:v>
                </c:pt>
                <c:pt idx="54">
                  <c:v>0.29513143404247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6666666666666"/>
          <c:min val="0.1666666666666666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698.3969</c:v>
                </c:pt>
                <c:pt idx="1">
                  <c:v>811.6891</c:v>
                </c:pt>
                <c:pt idx="2">
                  <c:v>867.3827</c:v>
                </c:pt>
                <c:pt idx="3">
                  <c:v>895.5792</c:v>
                </c:pt>
                <c:pt idx="4">
                  <c:v>917.7588</c:v>
                </c:pt>
                <c:pt idx="5">
                  <c:v>894.5088</c:v>
                </c:pt>
                <c:pt idx="6">
                  <c:v>810.7789</c:v>
                </c:pt>
                <c:pt idx="7">
                  <c:v>844.0112</c:v>
                </c:pt>
                <c:pt idx="8">
                  <c:v>882.0224</c:v>
                </c:pt>
                <c:pt idx="9">
                  <c:v>822.0585</c:v>
                </c:pt>
                <c:pt idx="10">
                  <c:v>804.7268</c:v>
                </c:pt>
                <c:pt idx="11">
                  <c:v>895.5802</c:v>
                </c:pt>
                <c:pt idx="12">
                  <c:v>918.825</c:v>
                </c:pt>
                <c:pt idx="13">
                  <c:v>910.0094</c:v>
                </c:pt>
                <c:pt idx="14">
                  <c:v>907.2273</c:v>
                </c:pt>
                <c:pt idx="15">
                  <c:v>900.2152</c:v>
                </c:pt>
                <c:pt idx="16">
                  <c:v>947.7027</c:v>
                </c:pt>
                <c:pt idx="17">
                  <c:v>984.0833</c:v>
                </c:pt>
                <c:pt idx="18">
                  <c:v>1016.5714</c:v>
                </c:pt>
                <c:pt idx="19">
                  <c:v>1050.1029</c:v>
                </c:pt>
                <c:pt idx="20">
                  <c:v>1056.4535</c:v>
                </c:pt>
                <c:pt idx="21">
                  <c:v>1034.2778</c:v>
                </c:pt>
                <c:pt idx="22">
                  <c:v>1061.7079</c:v>
                </c:pt>
                <c:pt idx="23">
                  <c:v>1037.1619</c:v>
                </c:pt>
                <c:pt idx="24">
                  <c:v>1038.6154</c:v>
                </c:pt>
                <c:pt idx="25">
                  <c:v>1029.5161</c:v>
                </c:pt>
                <c:pt idx="26">
                  <c:v>1022.7143</c:v>
                </c:pt>
                <c:pt idx="27">
                  <c:v>1042.9703</c:v>
                </c:pt>
                <c:pt idx="28">
                  <c:v>1032.7312</c:v>
                </c:pt>
                <c:pt idx="29">
                  <c:v>987.7642</c:v>
                </c:pt>
                <c:pt idx="30">
                  <c:v>1017.1591</c:v>
                </c:pt>
                <c:pt idx="31">
                  <c:v>1014.7778</c:v>
                </c:pt>
                <c:pt idx="32">
                  <c:v>1020.6522</c:v>
                </c:pt>
                <c:pt idx="33">
                  <c:v>957.7434</c:v>
                </c:pt>
                <c:pt idx="34">
                  <c:v>943.1141</c:v>
                </c:pt>
                <c:pt idx="35">
                  <c:v>988.6978</c:v>
                </c:pt>
                <c:pt idx="36">
                  <c:v>1057.395</c:v>
                </c:pt>
                <c:pt idx="37">
                  <c:v>1051.5478</c:v>
                </c:pt>
                <c:pt idx="38">
                  <c:v>1126.0745</c:v>
                </c:pt>
                <c:pt idx="39">
                  <c:v>1193.1325</c:v>
                </c:pt>
                <c:pt idx="40">
                  <c:v>1137.2455</c:v>
                </c:pt>
                <c:pt idx="41">
                  <c:v>1169.3303</c:v>
                </c:pt>
                <c:pt idx="42">
                  <c:v>1160.3804</c:v>
                </c:pt>
                <c:pt idx="43">
                  <c:v>1167.065</c:v>
                </c:pt>
                <c:pt idx="44">
                  <c:v>1070.5287</c:v>
                </c:pt>
                <c:pt idx="45">
                  <c:v>1029.444</c:v>
                </c:pt>
                <c:pt idx="46">
                  <c:v>1046.6897</c:v>
                </c:pt>
                <c:pt idx="47">
                  <c:v>1034.4402</c:v>
                </c:pt>
                <c:pt idx="48">
                  <c:v>1029.5893</c:v>
                </c:pt>
                <c:pt idx="49">
                  <c:v>983.8474</c:v>
                </c:pt>
                <c:pt idx="50">
                  <c:v>966.1787</c:v>
                </c:pt>
                <c:pt idx="51">
                  <c:v>965.0899</c:v>
                </c:pt>
                <c:pt idx="52">
                  <c:v>965.6952</c:v>
                </c:pt>
                <c:pt idx="53">
                  <c:v>1064.6959</c:v>
                </c:pt>
                <c:pt idx="54">
                  <c:v>1053.0</c:v>
                </c:pt>
                <c:pt idx="55">
                  <c:v>1095.1953</c:v>
                </c:pt>
                <c:pt idx="56">
                  <c:v>1120.404</c:v>
                </c:pt>
                <c:pt idx="57">
                  <c:v>1063.7579</c:v>
                </c:pt>
                <c:pt idx="58">
                  <c:v>1011.3692</c:v>
                </c:pt>
                <c:pt idx="59">
                  <c:v>1008.439</c:v>
                </c:pt>
                <c:pt idx="60">
                  <c:v>1025.605</c:v>
                </c:pt>
                <c:pt idx="61">
                  <c:v>1085.6957</c:v>
                </c:pt>
                <c:pt idx="62">
                  <c:v>986.7958</c:v>
                </c:pt>
                <c:pt idx="63">
                  <c:v>1051.9604</c:v>
                </c:pt>
                <c:pt idx="64">
                  <c:v>1067.3846</c:v>
                </c:pt>
                <c:pt idx="65">
                  <c:v>1050.6289</c:v>
                </c:pt>
                <c:pt idx="66">
                  <c:v>1007.6579</c:v>
                </c:pt>
                <c:pt idx="67">
                  <c:v>1075.7071</c:v>
                </c:pt>
                <c:pt idx="68">
                  <c:v>1131.8065</c:v>
                </c:pt>
                <c:pt idx="69">
                  <c:v>1117.4783</c:v>
                </c:pt>
                <c:pt idx="70">
                  <c:v>1147.1047</c:v>
                </c:pt>
                <c:pt idx="71">
                  <c:v>1196.6989</c:v>
                </c:pt>
                <c:pt idx="72">
                  <c:v>1259.7037</c:v>
                </c:pt>
                <c:pt idx="73">
                  <c:v>1286.6765</c:v>
                </c:pt>
                <c:pt idx="74">
                  <c:v>1238.1333</c:v>
                </c:pt>
                <c:pt idx="75">
                  <c:v>1180.3009</c:v>
                </c:pt>
                <c:pt idx="76">
                  <c:v>1129.5361</c:v>
                </c:pt>
                <c:pt idx="77">
                  <c:v>1201.9663</c:v>
                </c:pt>
                <c:pt idx="78">
                  <c:v>1224.0349</c:v>
                </c:pt>
                <c:pt idx="79">
                  <c:v>1229.0294</c:v>
                </c:pt>
                <c:pt idx="80">
                  <c:v>1191.2424</c:v>
                </c:pt>
                <c:pt idx="81">
                  <c:v>1189.7895</c:v>
                </c:pt>
                <c:pt idx="82">
                  <c:v>1130.2857</c:v>
                </c:pt>
                <c:pt idx="83">
                  <c:v>1090.0</c:v>
                </c:pt>
                <c:pt idx="84">
                  <c:v>1145.1923</c:v>
                </c:pt>
                <c:pt idx="85">
                  <c:v>1089.4118</c:v>
                </c:pt>
                <c:pt idx="86">
                  <c:v>1083.8542</c:v>
                </c:pt>
                <c:pt idx="87">
                  <c:v>1094.5724</c:v>
                </c:pt>
                <c:pt idx="88">
                  <c:v>1150.6364</c:v>
                </c:pt>
                <c:pt idx="89">
                  <c:v>1130.931</c:v>
                </c:pt>
                <c:pt idx="90">
                  <c:v>1237.4658</c:v>
                </c:pt>
                <c:pt idx="91">
                  <c:v>1278.9158</c:v>
                </c:pt>
                <c:pt idx="92">
                  <c:v>1243.5439</c:v>
                </c:pt>
                <c:pt idx="93">
                  <c:v>1251.5424</c:v>
                </c:pt>
                <c:pt idx="94">
                  <c:v>1291.6092</c:v>
                </c:pt>
                <c:pt idx="95">
                  <c:v>1249.2566</c:v>
                </c:pt>
                <c:pt idx="96">
                  <c:v>1145.1778</c:v>
                </c:pt>
                <c:pt idx="97">
                  <c:v>1107.6793</c:v>
                </c:pt>
                <c:pt idx="98">
                  <c:v>1106.0698</c:v>
                </c:pt>
                <c:pt idx="99">
                  <c:v>1038.3207</c:v>
                </c:pt>
                <c:pt idx="100">
                  <c:v>1064.5394</c:v>
                </c:pt>
                <c:pt idx="101">
                  <c:v>1046.3345</c:v>
                </c:pt>
                <c:pt idx="102">
                  <c:v>1045.0754</c:v>
                </c:pt>
                <c:pt idx="103">
                  <c:v>1043.2479</c:v>
                </c:pt>
                <c:pt idx="104">
                  <c:v>1081.0928</c:v>
                </c:pt>
              </c:numCache>
            </c:numRef>
          </c:xVal>
          <c:yVal>
            <c:numRef>
              <c:f>Sheet1!$B$2:$B$106</c:f>
              <c:numCache>
                <c:formatCode>General</c:formatCode>
                <c:ptCount val="105"/>
                <c:pt idx="0">
                  <c:v>0.3624823695345557</c:v>
                </c:pt>
                <c:pt idx="1">
                  <c:v>0.3287904599659284</c:v>
                </c:pt>
                <c:pt idx="2">
                  <c:v>0.32450331125827814</c:v>
                </c:pt>
                <c:pt idx="3">
                  <c:v>0.32275132275132273</c:v>
                </c:pt>
                <c:pt idx="4">
                  <c:v>0.37335834896810505</c:v>
                </c:pt>
                <c:pt idx="5">
                  <c:v>0.3638297872340426</c:v>
                </c:pt>
                <c:pt idx="6">
                  <c:v>0.37328094302554027</c:v>
                </c:pt>
                <c:pt idx="7">
                  <c:v>0.39555555555555555</c:v>
                </c:pt>
                <c:pt idx="8">
                  <c:v>0.3701657458563536</c:v>
                </c:pt>
                <c:pt idx="9">
                  <c:v>0.36363636363636365</c:v>
                </c:pt>
                <c:pt idx="10">
                  <c:v>0.3711967545638945</c:v>
                </c:pt>
                <c:pt idx="11">
                  <c:v>0.32107843137254904</c:v>
                </c:pt>
                <c:pt idx="12">
                  <c:v>0.26258205689277897</c:v>
                </c:pt>
                <c:pt idx="13">
                  <c:v>0.23043478260869565</c:v>
                </c:pt>
                <c:pt idx="14">
                  <c:v>0.22797927461139897</c:v>
                </c:pt>
                <c:pt idx="15">
                  <c:v>0.22965116279069767</c:v>
                </c:pt>
                <c:pt idx="16">
                  <c:v>0.23717948717948717</c:v>
                </c:pt>
                <c:pt idx="17">
                  <c:v>0.20833333333333334</c:v>
                </c:pt>
                <c:pt idx="18">
                  <c:v>0.2664359861591695</c:v>
                </c:pt>
                <c:pt idx="19">
                  <c:v>0.272</c:v>
                </c:pt>
                <c:pt idx="20">
                  <c:v>0.2598187311178248</c:v>
                </c:pt>
                <c:pt idx="21">
                  <c:v>0.2553191489361702</c:v>
                </c:pt>
                <c:pt idx="22">
                  <c:v>0.27639751552795033</c:v>
                </c:pt>
                <c:pt idx="23">
                  <c:v>0.3088235294117647</c:v>
                </c:pt>
                <c:pt idx="24">
                  <c:v>0.2867647058823529</c:v>
                </c:pt>
                <c:pt idx="25">
                  <c:v>0.28353658536585363</c:v>
                </c:pt>
                <c:pt idx="26">
                  <c:v>0.31210191082802546</c:v>
                </c:pt>
                <c:pt idx="27">
                  <c:v>0.3146417445482866</c:v>
                </c:pt>
                <c:pt idx="28">
                  <c:v>0.31208053691275167</c:v>
                </c:pt>
                <c:pt idx="29">
                  <c:v>0.3106060606060606</c:v>
                </c:pt>
                <c:pt idx="30">
                  <c:v>0.3308270676691729</c:v>
                </c:pt>
                <c:pt idx="31">
                  <c:v>0.30927835051546393</c:v>
                </c:pt>
                <c:pt idx="32">
                  <c:v>0.25770308123249297</c:v>
                </c:pt>
                <c:pt idx="33">
                  <c:v>0.25055432372505543</c:v>
                </c:pt>
                <c:pt idx="34">
                  <c:v>0.2800751879699248</c:v>
                </c:pt>
                <c:pt idx="35">
                  <c:v>0.3127147766323024</c:v>
                </c:pt>
                <c:pt idx="36">
                  <c:v>0.33055555555555555</c:v>
                </c:pt>
                <c:pt idx="37">
                  <c:v>0.36507936507936506</c:v>
                </c:pt>
                <c:pt idx="38">
                  <c:v>0.3081967213114754</c:v>
                </c:pt>
                <c:pt idx="39">
                  <c:v>0.2721311475409836</c:v>
                </c:pt>
                <c:pt idx="40">
                  <c:v>0.29649595687331537</c:v>
                </c:pt>
                <c:pt idx="41">
                  <c:v>0.3449367088607595</c:v>
                </c:pt>
                <c:pt idx="42">
                  <c:v>0.25770308123249297</c:v>
                </c:pt>
                <c:pt idx="43">
                  <c:v>0.2685589519650655</c:v>
                </c:pt>
                <c:pt idx="44">
                  <c:v>0.2540453074433657</c:v>
                </c:pt>
                <c:pt idx="45">
                  <c:v>0.30238393977415307</c:v>
                </c:pt>
                <c:pt idx="46">
                  <c:v>0.28369565217391307</c:v>
                </c:pt>
                <c:pt idx="47">
                  <c:v>0.28399122807017546</c:v>
                </c:pt>
                <c:pt idx="48">
                  <c:v>0.3008057296329454</c:v>
                </c:pt>
                <c:pt idx="49">
                  <c:v>0.28587830080367393</c:v>
                </c:pt>
                <c:pt idx="50">
                  <c:v>0.2797872340425532</c:v>
                </c:pt>
                <c:pt idx="51">
                  <c:v>0.25925925925925924</c:v>
                </c:pt>
                <c:pt idx="52">
                  <c:v>0.27202072538860106</c:v>
                </c:pt>
                <c:pt idx="53">
                  <c:v>0.28078817733990147</c:v>
                </c:pt>
                <c:pt idx="54">
                  <c:v>0.2987012987012987</c:v>
                </c:pt>
                <c:pt idx="55">
                  <c:v>0.28888888888888886</c:v>
                </c:pt>
                <c:pt idx="56">
                  <c:v>0.2568027210884354</c:v>
                </c:pt>
                <c:pt idx="57">
                  <c:v>0.2695035460992908</c:v>
                </c:pt>
                <c:pt idx="58">
                  <c:v>0.29395604395604397</c:v>
                </c:pt>
                <c:pt idx="59">
                  <c:v>0.3011542497376705</c:v>
                </c:pt>
                <c:pt idx="60">
                  <c:v>0.27387802071346373</c:v>
                </c:pt>
                <c:pt idx="61">
                  <c:v>0.27806563039723664</c:v>
                </c:pt>
                <c:pt idx="62">
                  <c:v>0.28592814371257486</c:v>
                </c:pt>
                <c:pt idx="63">
                  <c:v>0.27671232876712326</c:v>
                </c:pt>
                <c:pt idx="64">
                  <c:v>0.2689655172413793</c:v>
                </c:pt>
                <c:pt idx="65">
                  <c:v>0.26194398682042835</c:v>
                </c:pt>
                <c:pt idx="66">
                  <c:v>0.31456953642384106</c:v>
                </c:pt>
                <c:pt idx="67">
                  <c:v>0.27944111776447106</c:v>
                </c:pt>
                <c:pt idx="68">
                  <c:v>0.29245283018867924</c:v>
                </c:pt>
                <c:pt idx="69">
                  <c:v>0.26744186046511625</c:v>
                </c:pt>
                <c:pt idx="70">
                  <c:v>0.25443786982248523</c:v>
                </c:pt>
                <c:pt idx="71">
                  <c:v>0.27596439169139464</c:v>
                </c:pt>
                <c:pt idx="72">
                  <c:v>0.29508196721311475</c:v>
                </c:pt>
                <c:pt idx="73">
                  <c:v>0.2905982905982906</c:v>
                </c:pt>
                <c:pt idx="74">
                  <c:v>0.272108843537415</c:v>
                </c:pt>
                <c:pt idx="75">
                  <c:v>0.3087431693989071</c:v>
                </c:pt>
                <c:pt idx="76">
                  <c:v>0.30030959752321984</c:v>
                </c:pt>
                <c:pt idx="77">
                  <c:v>0.3037542662116041</c:v>
                </c:pt>
                <c:pt idx="78">
                  <c:v>0.3006993006993007</c:v>
                </c:pt>
                <c:pt idx="79">
                  <c:v>0.31384615384615383</c:v>
                </c:pt>
                <c:pt idx="80">
                  <c:v>0.2964071856287425</c:v>
                </c:pt>
                <c:pt idx="81">
                  <c:v>0.30434782608695654</c:v>
                </c:pt>
                <c:pt idx="82">
                  <c:v>0.31210191082802546</c:v>
                </c:pt>
                <c:pt idx="83">
                  <c:v>0.3181818181818182</c:v>
                </c:pt>
                <c:pt idx="84">
                  <c:v>0.30708661417322836</c:v>
                </c:pt>
                <c:pt idx="85">
                  <c:v>0.34593023255813954</c:v>
                </c:pt>
                <c:pt idx="86">
                  <c:v>0.32432432432432434</c:v>
                </c:pt>
                <c:pt idx="87">
                  <c:v>0.2804642166344294</c:v>
                </c:pt>
                <c:pt idx="88">
                  <c:v>0.3170028818443804</c:v>
                </c:pt>
                <c:pt idx="89">
                  <c:v>0.29</c:v>
                </c:pt>
                <c:pt idx="90">
                  <c:v>0.25704225352112675</c:v>
                </c:pt>
                <c:pt idx="91">
                  <c:v>0.3177257525083612</c:v>
                </c:pt>
                <c:pt idx="92">
                  <c:v>0.3131868131868132</c:v>
                </c:pt>
                <c:pt idx="93">
                  <c:v>0.3215258855585831</c:v>
                </c:pt>
                <c:pt idx="94">
                  <c:v>0.2939189189189189</c:v>
                </c:pt>
                <c:pt idx="95">
                  <c:v>0.26218097447795824</c:v>
                </c:pt>
                <c:pt idx="96">
                  <c:v>0.3005008347245409</c:v>
                </c:pt>
                <c:pt idx="97">
                  <c:v>0.3400286944045911</c:v>
                </c:pt>
                <c:pt idx="98">
                  <c:v>0.32788671023965144</c:v>
                </c:pt>
                <c:pt idx="99">
                  <c:v>0.34615384615384615</c:v>
                </c:pt>
                <c:pt idx="100">
                  <c:v>0.32766825288919105</c:v>
                </c:pt>
                <c:pt idx="101">
                  <c:v>0.32998885172798215</c:v>
                </c:pt>
                <c:pt idx="102">
                  <c:v>0.3209677419354839</c:v>
                </c:pt>
                <c:pt idx="103">
                  <c:v>0.3277310924369748</c:v>
                </c:pt>
                <c:pt idx="104">
                  <c:v>0.3169934640522875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0.0</c:v>
                </c:pt>
                <c:pt idx="1">
                  <c:v>1165.097</c:v>
                </c:pt>
                <c:pt idx="2">
                  <c:v>1177.6332</c:v>
                </c:pt>
                <c:pt idx="3">
                  <c:v>1181.9799</c:v>
                </c:pt>
                <c:pt idx="4">
                  <c:v>1212.5765</c:v>
                </c:pt>
                <c:pt idx="5">
                  <c:v>1176.125</c:v>
                </c:pt>
                <c:pt idx="6">
                  <c:v>1066.9552</c:v>
                </c:pt>
                <c:pt idx="7">
                  <c:v>1107.5137</c:v>
                </c:pt>
                <c:pt idx="8">
                  <c:v>1210.6452</c:v>
                </c:pt>
                <c:pt idx="9">
                  <c:v>1145.0</c:v>
                </c:pt>
                <c:pt idx="10">
                  <c:v>1196.2708</c:v>
                </c:pt>
                <c:pt idx="11">
                  <c:v>985.369</c:v>
                </c:pt>
                <c:pt idx="12">
                  <c:v>1051.456</c:v>
                </c:pt>
                <c:pt idx="13">
                  <c:v>1148.0662</c:v>
                </c:pt>
                <c:pt idx="14">
                  <c:v>1120.0195</c:v>
                </c:pt>
                <c:pt idx="15">
                  <c:v>1157.2593</c:v>
                </c:pt>
                <c:pt idx="16">
                  <c:v>1167.5758</c:v>
                </c:pt>
                <c:pt idx="17">
                  <c:v>1142.7638</c:v>
                </c:pt>
                <c:pt idx="18">
                  <c:v>1231.5213</c:v>
                </c:pt>
                <c:pt idx="19">
                  <c:v>1361.6154</c:v>
                </c:pt>
                <c:pt idx="20">
                  <c:v>1349.6333</c:v>
                </c:pt>
                <c:pt idx="21">
                  <c:v>1224.4737</c:v>
                </c:pt>
                <c:pt idx="22">
                  <c:v>1297.0105</c:v>
                </c:pt>
                <c:pt idx="23">
                  <c:v>1278.686</c:v>
                </c:pt>
                <c:pt idx="24">
                  <c:v>1285.8431</c:v>
                </c:pt>
                <c:pt idx="25">
                  <c:v>1192.4144</c:v>
                </c:pt>
                <c:pt idx="26">
                  <c:v>1231.2075</c:v>
                </c:pt>
                <c:pt idx="27">
                  <c:v>1215.037</c:v>
                </c:pt>
                <c:pt idx="28">
                  <c:v>1255.2414</c:v>
                </c:pt>
                <c:pt idx="29">
                  <c:v>1275.3617</c:v>
                </c:pt>
                <c:pt idx="30">
                  <c:v>1236.5301</c:v>
                </c:pt>
                <c:pt idx="31">
                  <c:v>1262.5385</c:v>
                </c:pt>
                <c:pt idx="32">
                  <c:v>1256.2143</c:v>
                </c:pt>
                <c:pt idx="33">
                  <c:v>1273.8214</c:v>
                </c:pt>
                <c:pt idx="34">
                  <c:v>1287.9937</c:v>
                </c:pt>
                <c:pt idx="35">
                  <c:v>1329.019</c:v>
                </c:pt>
                <c:pt idx="36">
                  <c:v>1304.3538</c:v>
                </c:pt>
                <c:pt idx="37">
                  <c:v>1313.5507</c:v>
                </c:pt>
                <c:pt idx="38">
                  <c:v>1319.6364</c:v>
                </c:pt>
                <c:pt idx="39">
                  <c:v>1301.3333</c:v>
                </c:pt>
                <c:pt idx="40">
                  <c:v>1311.3895</c:v>
                </c:pt>
                <c:pt idx="41">
                  <c:v>1367.53</c:v>
                </c:pt>
                <c:pt idx="42">
                  <c:v>1408.9681</c:v>
                </c:pt>
                <c:pt idx="43">
                  <c:v>1399.4771</c:v>
                </c:pt>
                <c:pt idx="44">
                  <c:v>1287.4101</c:v>
                </c:pt>
                <c:pt idx="45">
                  <c:v>1229.6087</c:v>
                </c:pt>
                <c:pt idx="46">
                  <c:v>1206.8558</c:v>
                </c:pt>
                <c:pt idx="47">
                  <c:v>1180.9735</c:v>
                </c:pt>
                <c:pt idx="48">
                  <c:v>1170.6019</c:v>
                </c:pt>
                <c:pt idx="49">
                  <c:v>1179.1561</c:v>
                </c:pt>
                <c:pt idx="50">
                  <c:v>1121.3066</c:v>
                </c:pt>
                <c:pt idx="51">
                  <c:v>1073.1303</c:v>
                </c:pt>
              </c:numCache>
            </c:numRef>
          </c:xVal>
          <c:yVal>
            <c:numRef>
              <c:f>Sheet1!$B$109:$B$160</c:f>
              <c:numCache>
                <c:formatCode>General</c:formatCode>
                <c:ptCount val="52"/>
                <c:pt idx="0">
                  <c:v>0.29652996845425866</c:v>
                </c:pt>
                <c:pt idx="1">
                  <c:v>0.31190926275992437</c:v>
                </c:pt>
                <c:pt idx="2">
                  <c:v>0.31191222570532917</c:v>
                </c:pt>
                <c:pt idx="3">
                  <c:v>0.3080495356037152</c:v>
                </c:pt>
                <c:pt idx="4">
                  <c:v>0.2842809364548495</c:v>
                </c:pt>
                <c:pt idx="5">
                  <c:v>0.29187396351575456</c:v>
                </c:pt>
                <c:pt idx="6">
                  <c:v>0.29342105263157897</c:v>
                </c:pt>
                <c:pt idx="7">
                  <c:v>0.3327272727272727</c:v>
                </c:pt>
                <c:pt idx="8">
                  <c:v>0.2897196261682243</c:v>
                </c:pt>
                <c:pt idx="9">
                  <c:v>0.30677290836653387</c:v>
                </c:pt>
                <c:pt idx="10">
                  <c:v>0.2975206611570248</c:v>
                </c:pt>
                <c:pt idx="11">
                  <c:v>0.3095823095823096</c:v>
                </c:pt>
                <c:pt idx="12">
                  <c:v>0.3068362480127186</c:v>
                </c:pt>
                <c:pt idx="13">
                  <c:v>0.27355072463768115</c:v>
                </c:pt>
                <c:pt idx="14">
                  <c:v>0.2779783393501805</c:v>
                </c:pt>
                <c:pt idx="15">
                  <c:v>0.30337078651685395</c:v>
                </c:pt>
                <c:pt idx="16">
                  <c:v>0.36666666666666664</c:v>
                </c:pt>
                <c:pt idx="17">
                  <c:v>0.34794520547945207</c:v>
                </c:pt>
                <c:pt idx="18">
                  <c:v>0.3122923588039867</c:v>
                </c:pt>
                <c:pt idx="19">
                  <c:v>0.30057803468208094</c:v>
                </c:pt>
                <c:pt idx="20">
                  <c:v>0.29605263157894735</c:v>
                </c:pt>
                <c:pt idx="21">
                  <c:v>0.31666666666666665</c:v>
                </c:pt>
                <c:pt idx="22">
                  <c:v>0.29411764705882354</c:v>
                </c:pt>
                <c:pt idx="23">
                  <c:v>0.2905405405405405</c:v>
                </c:pt>
                <c:pt idx="24">
                  <c:v>0.2905982905982906</c:v>
                </c:pt>
                <c:pt idx="25">
                  <c:v>0.30662983425414364</c:v>
                </c:pt>
                <c:pt idx="26">
                  <c:v>0.29201101928374656</c:v>
                </c:pt>
                <c:pt idx="27">
                  <c:v>0.29508196721311475</c:v>
                </c:pt>
                <c:pt idx="28">
                  <c:v>0.2691415313225058</c:v>
                </c:pt>
                <c:pt idx="29">
                  <c:v>0.2640449438202247</c:v>
                </c:pt>
                <c:pt idx="30">
                  <c:v>0.2553846153846154</c:v>
                </c:pt>
                <c:pt idx="31">
                  <c:v>0.27177700348432055</c:v>
                </c:pt>
                <c:pt idx="32">
                  <c:v>0.23728813559322035</c:v>
                </c:pt>
                <c:pt idx="33">
                  <c:v>0.25225225225225223</c:v>
                </c:pt>
                <c:pt idx="34">
                  <c:v>0.2568659127625202</c:v>
                </c:pt>
                <c:pt idx="35">
                  <c:v>0.25925925925925924</c:v>
                </c:pt>
                <c:pt idx="36">
                  <c:v>0.26639344262295084</c:v>
                </c:pt>
                <c:pt idx="37">
                  <c:v>0.2623574144486692</c:v>
                </c:pt>
                <c:pt idx="38">
                  <c:v>0.2779783393501805</c:v>
                </c:pt>
                <c:pt idx="39">
                  <c:v>0.25513196480938416</c:v>
                </c:pt>
                <c:pt idx="40">
                  <c:v>0.2785923753665689</c:v>
                </c:pt>
                <c:pt idx="41">
                  <c:v>0.26737967914438504</c:v>
                </c:pt>
                <c:pt idx="42">
                  <c:v>0.27246376811594203</c:v>
                </c:pt>
                <c:pt idx="43">
                  <c:v>0.24604966139954854</c:v>
                </c:pt>
                <c:pt idx="44">
                  <c:v>0.28778467908902694</c:v>
                </c:pt>
                <c:pt idx="45">
                  <c:v>0.3169984686064318</c:v>
                </c:pt>
                <c:pt idx="46">
                  <c:v>0.3228228228228228</c:v>
                </c:pt>
                <c:pt idx="47">
                  <c:v>0.31345353675450766</c:v>
                </c:pt>
                <c:pt idx="48">
                  <c:v>0.31075110456553756</c:v>
                </c:pt>
                <c:pt idx="49">
                  <c:v>0.3341614906832298</c:v>
                </c:pt>
                <c:pt idx="50">
                  <c:v>0.3099315068493151</c:v>
                </c:pt>
                <c:pt idx="51">
                  <c:v>0.321187584345479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38.1975664604455</c:v>
                </c:pt>
              </c:numCache>
            </c:numRef>
          </c:xVal>
          <c:yVal>
            <c:numRef>
              <c:f>Sheet1!$B$163:$B$164</c:f>
              <c:numCache>
                <c:formatCode>General</c:formatCode>
                <c:ptCount val="2"/>
                <c:pt idx="0">
                  <c:v>0.3571908715721869</c:v>
                </c:pt>
                <c:pt idx="1">
                  <c:v>0.35719087157218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38.1975664604455</c:v>
                </c:pt>
                <c:pt idx="1">
                  <c:v>838.1975664604455</c:v>
                </c:pt>
              </c:numCache>
            </c:numRef>
          </c:xVal>
          <c:yVal>
            <c:numRef>
              <c:f>Sheet1!$B$167:$B$168</c:f>
              <c:numCache>
                <c:formatCode>General</c:formatCode>
                <c:ptCount val="2"/>
                <c:pt idx="0">
                  <c:v>0.35719087157218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5.4758779927413</c:v>
                </c:pt>
              </c:numCache>
            </c:numRef>
          </c:xVal>
          <c:yVal>
            <c:numRef>
              <c:f>Sheet1!$B$171:$B$172</c:f>
              <c:numCache>
                <c:formatCode>General</c:formatCode>
                <c:ptCount val="2"/>
                <c:pt idx="0">
                  <c:v>0.31900792161089037</c:v>
                </c:pt>
                <c:pt idx="1">
                  <c:v>0.3190079216108903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5.4758779927413</c:v>
                </c:pt>
                <c:pt idx="1">
                  <c:v>1065.4758779927413</c:v>
                </c:pt>
              </c:numCache>
            </c:numRef>
          </c:xVal>
          <c:yVal>
            <c:numRef>
              <c:f>Sheet1!$B$175:$B$176</c:f>
              <c:numCache>
                <c:formatCode>General</c:formatCode>
                <c:ptCount val="2"/>
                <c:pt idx="0">
                  <c:v>0.319007921610890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7.5971071112822</c:v>
                </c:pt>
              </c:numCache>
            </c:numRef>
          </c:xVal>
          <c:yVal>
            <c:numRef>
              <c:f>Sheet1!$B$179:$B$180</c:f>
              <c:numCache>
                <c:formatCode>General</c:formatCode>
                <c:ptCount val="2"/>
                <c:pt idx="0">
                  <c:v>0.2951314340424754</c:v>
                </c:pt>
                <c:pt idx="1">
                  <c:v>0.29513143404247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7.5971071112822</c:v>
                </c:pt>
                <c:pt idx="1">
                  <c:v>1207.5971071112822</c:v>
                </c:pt>
              </c:numCache>
            </c:numRef>
          </c:xVal>
          <c:yVal>
            <c:numRef>
              <c:f>Sheet1!$B$183:$B$184</c:f>
              <c:numCache>
                <c:formatCode>General</c:formatCode>
                <c:ptCount val="2"/>
                <c:pt idx="0">
                  <c:v>0.29513143404247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0.0</c:v>
                </c:pt>
                <c:pt idx="1">
                  <c:v>1165.097</c:v>
                </c:pt>
                <c:pt idx="2">
                  <c:v>1177.6332</c:v>
                </c:pt>
                <c:pt idx="3">
                  <c:v>1181.9799</c:v>
                </c:pt>
                <c:pt idx="4">
                  <c:v>1212.5765</c:v>
                </c:pt>
                <c:pt idx="5">
                  <c:v>1176.125</c:v>
                </c:pt>
                <c:pt idx="6">
                  <c:v>1066.9552</c:v>
                </c:pt>
                <c:pt idx="7">
                  <c:v>1107.5137</c:v>
                </c:pt>
                <c:pt idx="8">
                  <c:v>1210.6452</c:v>
                </c:pt>
                <c:pt idx="9">
                  <c:v>1145.0</c:v>
                </c:pt>
                <c:pt idx="10">
                  <c:v>1196.2708</c:v>
                </c:pt>
                <c:pt idx="11">
                  <c:v>985.369</c:v>
                </c:pt>
                <c:pt idx="12">
                  <c:v>1051.456</c:v>
                </c:pt>
                <c:pt idx="13">
                  <c:v>1148.0662</c:v>
                </c:pt>
                <c:pt idx="14">
                  <c:v>1120.0195</c:v>
                </c:pt>
                <c:pt idx="15">
                  <c:v>1157.2593</c:v>
                </c:pt>
                <c:pt idx="16">
                  <c:v>1167.5758</c:v>
                </c:pt>
                <c:pt idx="17">
                  <c:v>1142.7638</c:v>
                </c:pt>
                <c:pt idx="18">
                  <c:v>1231.5213</c:v>
                </c:pt>
                <c:pt idx="19">
                  <c:v>1361.6154</c:v>
                </c:pt>
                <c:pt idx="20">
                  <c:v>1349.6333</c:v>
                </c:pt>
                <c:pt idx="21">
                  <c:v>1224.4737</c:v>
                </c:pt>
                <c:pt idx="22">
                  <c:v>1297.0105</c:v>
                </c:pt>
                <c:pt idx="23">
                  <c:v>1278.686</c:v>
                </c:pt>
                <c:pt idx="24">
                  <c:v>1285.8431</c:v>
                </c:pt>
                <c:pt idx="25">
                  <c:v>1192.4144</c:v>
                </c:pt>
                <c:pt idx="26">
                  <c:v>1231.2075</c:v>
                </c:pt>
                <c:pt idx="27">
                  <c:v>1215.037</c:v>
                </c:pt>
                <c:pt idx="28">
                  <c:v>1255.2414</c:v>
                </c:pt>
                <c:pt idx="29">
                  <c:v>1275.3617</c:v>
                </c:pt>
                <c:pt idx="30">
                  <c:v>1236.5301</c:v>
                </c:pt>
                <c:pt idx="31">
                  <c:v>1262.5385</c:v>
                </c:pt>
                <c:pt idx="32">
                  <c:v>1256.2143</c:v>
                </c:pt>
                <c:pt idx="33">
                  <c:v>1273.8214</c:v>
                </c:pt>
                <c:pt idx="34">
                  <c:v>1287.9937</c:v>
                </c:pt>
                <c:pt idx="35">
                  <c:v>1329.019</c:v>
                </c:pt>
                <c:pt idx="36">
                  <c:v>1304.3538</c:v>
                </c:pt>
                <c:pt idx="37">
                  <c:v>1313.5507</c:v>
                </c:pt>
                <c:pt idx="38">
                  <c:v>1319.6364</c:v>
                </c:pt>
                <c:pt idx="39">
                  <c:v>1301.3333</c:v>
                </c:pt>
                <c:pt idx="40">
                  <c:v>1311.3895</c:v>
                </c:pt>
                <c:pt idx="41">
                  <c:v>1367.53</c:v>
                </c:pt>
                <c:pt idx="42">
                  <c:v>1408.9681</c:v>
                </c:pt>
                <c:pt idx="43">
                  <c:v>1399.4771</c:v>
                </c:pt>
                <c:pt idx="44">
                  <c:v>1287.4101</c:v>
                </c:pt>
                <c:pt idx="45">
                  <c:v>1229.6087</c:v>
                </c:pt>
                <c:pt idx="46">
                  <c:v>1206.8558</c:v>
                </c:pt>
                <c:pt idx="47">
                  <c:v>1180.9735</c:v>
                </c:pt>
                <c:pt idx="48">
                  <c:v>1170.6019</c:v>
                </c:pt>
                <c:pt idx="49">
                  <c:v>1179.1561</c:v>
                </c:pt>
                <c:pt idx="50">
                  <c:v>1121.3066</c:v>
                </c:pt>
                <c:pt idx="51">
                  <c:v>1073.1303</c:v>
                </c:pt>
                <c:pt idx="52">
                  <c:v>1065.4758779927413</c:v>
                </c:pt>
                <c:pt idx="53">
                  <c:v>838.1975664604455</c:v>
                </c:pt>
                <c:pt idx="54">
                  <c:v>1207.5971071112822</c:v>
                </c:pt>
              </c:numCache>
            </c:numRef>
          </c:xVal>
          <c:yVal>
            <c:numRef>
              <c:f>Sheet1!$B$187:$B$241</c:f>
              <c:numCache>
                <c:formatCode>General</c:formatCode>
                <c:ptCount val="55"/>
                <c:pt idx="0">
                  <c:v>0.3048077971055344</c:v>
                </c:pt>
                <c:pt idx="1">
                  <c:v>0.30227148824403627</c:v>
                </c:pt>
                <c:pt idx="2">
                  <c:v>0.3001653959641454</c:v>
                </c:pt>
                <c:pt idx="3">
                  <c:v>0.2994351466610869</c:v>
                </c:pt>
                <c:pt idx="4">
                  <c:v>0.29429489179510604</c:v>
                </c:pt>
                <c:pt idx="5">
                  <c:v>0.3004187748490173</c:v>
                </c:pt>
                <c:pt idx="6">
                  <c:v>0.31875939425340083</c:v>
                </c:pt>
                <c:pt idx="7">
                  <c:v>0.3119455317006372</c:v>
                </c:pt>
                <c:pt idx="8">
                  <c:v>0.294619351840427</c:v>
                </c:pt>
                <c:pt idx="9">
                  <c:v>0.3056478013651549</c:v>
                </c:pt>
                <c:pt idx="10">
                  <c:v>0.29703426328632476</c:v>
                </c:pt>
                <c:pt idx="11">
                  <c:v>0.33246594535865076</c:v>
                </c:pt>
                <c:pt idx="12">
                  <c:v>0.32136327305754286</c:v>
                </c:pt>
                <c:pt idx="13">
                  <c:v>0.3051326771529852</c:v>
                </c:pt>
                <c:pt idx="14">
                  <c:v>0.30984454664664485</c:v>
                </c:pt>
                <c:pt idx="15">
                  <c:v>0.3035882285211618</c:v>
                </c:pt>
                <c:pt idx="16">
                  <c:v>0.3018550477322868</c:v>
                </c:pt>
                <c:pt idx="17">
                  <c:v>0.30602348487022757</c:v>
                </c:pt>
                <c:pt idx="18">
                  <c:v>0.29111214925557427</c:v>
                </c:pt>
                <c:pt idx="19">
                  <c:v>0.2692562296252754</c:v>
                </c:pt>
                <c:pt idx="20">
                  <c:v>0.2712692326331151</c:v>
                </c:pt>
                <c:pt idx="21">
                  <c:v>0.2922961520595946</c:v>
                </c:pt>
                <c:pt idx="22">
                  <c:v>0.28010990786374657</c:v>
                </c:pt>
                <c:pt idx="23">
                  <c:v>0.28318843947482975</c:v>
                </c:pt>
                <c:pt idx="24">
                  <c:v>0.28198604057752374</c:v>
                </c:pt>
                <c:pt idx="25">
                  <c:v>0.2976821417716849</c:v>
                </c:pt>
                <c:pt idx="26">
                  <c:v>0.2911648679229081</c:v>
                </c:pt>
                <c:pt idx="27">
                  <c:v>0.29388152569894677</c:v>
                </c:pt>
                <c:pt idx="28">
                  <c:v>0.28712715224784946</c:v>
                </c:pt>
                <c:pt idx="29">
                  <c:v>0.283746924706881</c:v>
                </c:pt>
                <c:pt idx="30">
                  <c:v>0.2902706665884569</c:v>
                </c:pt>
                <c:pt idx="31">
                  <c:v>0.28590123323127414</c:v>
                </c:pt>
                <c:pt idx="32">
                  <c:v>0.2869637042190125</c:v>
                </c:pt>
                <c:pt idx="33">
                  <c:v>0.28400569641909973</c:v>
                </c:pt>
                <c:pt idx="34">
                  <c:v>0.2816247379453758</c:v>
                </c:pt>
                <c:pt idx="35">
                  <c:v>0.27473245259493406</c:v>
                </c:pt>
                <c:pt idx="36">
                  <c:v>0.27887622720781235</c:v>
                </c:pt>
                <c:pt idx="37">
                  <c:v>0.2773311401727516</c:v>
                </c:pt>
                <c:pt idx="38">
                  <c:v>0.2763087373881971</c:v>
                </c:pt>
                <c:pt idx="39">
                  <c:v>0.2793836737810491</c:v>
                </c:pt>
                <c:pt idx="40">
                  <c:v>0.27769422361393</c:v>
                </c:pt>
                <c:pt idx="41">
                  <c:v>0.26826257178648505</c:v>
                </c:pt>
                <c:pt idx="42">
                  <c:v>0.2613009356843691</c:v>
                </c:pt>
                <c:pt idx="43">
                  <c:v>0.26289543176998065</c:v>
                </c:pt>
                <c:pt idx="44">
                  <c:v>0.2817227832425587</c:v>
                </c:pt>
                <c:pt idx="45">
                  <c:v>0.29143346768496436</c:v>
                </c:pt>
                <c:pt idx="46">
                  <c:v>0.2952559742687082</c:v>
                </c:pt>
                <c:pt idx="47">
                  <c:v>0.2996042227184633</c:v>
                </c:pt>
                <c:pt idx="48">
                  <c:v>0.3013466603542793</c:v>
                </c:pt>
                <c:pt idx="49">
                  <c:v>0.29990954746675014</c:v>
                </c:pt>
                <c:pt idx="50">
                  <c:v>0.30962831275013336</c:v>
                </c:pt>
                <c:pt idx="51">
                  <c:v>0.3177219721926843</c:v>
                </c:pt>
                <c:pt idx="52">
                  <c:v>0.31900792161089037</c:v>
                </c:pt>
                <c:pt idx="53">
                  <c:v>0.3571908715721869</c:v>
                </c:pt>
                <c:pt idx="54">
                  <c:v>0.29513143404247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91.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746666666666666"/>
          <c:min val="0.1666666666666666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649752523360207</c:v>
                </c:pt>
                <c:pt idx="1">
                  <c:v>2.2685474365282485</c:v>
                </c:pt>
                <c:pt idx="2">
                  <c:v>2.6490642607952855</c:v>
                </c:pt>
                <c:pt idx="3">
                  <c:v>2.7059164237300393</c:v>
                </c:pt>
                <c:pt idx="4">
                  <c:v>2.7882004075609585</c:v>
                </c:pt>
                <c:pt idx="5">
                  <c:v>2.302679722481508</c:v>
                </c:pt>
                <c:pt idx="6">
                  <c:v>1.8862247296661965</c:v>
                </c:pt>
                <c:pt idx="7">
                  <c:v>1.9714900902574655</c:v>
                </c:pt>
                <c:pt idx="8">
                  <c:v>2.025621372182045</c:v>
                </c:pt>
                <c:pt idx="9">
                  <c:v>2.165106130331672</c:v>
                </c:pt>
                <c:pt idx="10">
                  <c:v>2.07050017282177</c:v>
                </c:pt>
                <c:pt idx="11">
                  <c:v>2.0447216957363086</c:v>
                </c:pt>
                <c:pt idx="12">
                  <c:v>2.0481061105849245</c:v>
                </c:pt>
                <c:pt idx="13">
                  <c:v>1.9625671684434485</c:v>
                </c:pt>
                <c:pt idx="14">
                  <c:v>1.9922352595616355</c:v>
                </c:pt>
                <c:pt idx="15">
                  <c:v>1.9933818102695438</c:v>
                </c:pt>
                <c:pt idx="16">
                  <c:v>1.9307776631660043</c:v>
                </c:pt>
                <c:pt idx="17">
                  <c:v>2.2379936732508465</c:v>
                </c:pt>
                <c:pt idx="18">
                  <c:v>2.29472743298023</c:v>
                </c:pt>
                <c:pt idx="19">
                  <c:v>2.6532724994549532</c:v>
                </c:pt>
                <c:pt idx="20">
                  <c:v>2.9224381443902363</c:v>
                </c:pt>
                <c:pt idx="21">
                  <c:v>2.874776637431975</c:v>
                </c:pt>
                <c:pt idx="22">
                  <c:v>2.792281498592528</c:v>
                </c:pt>
                <c:pt idx="23">
                  <c:v>2.8175808481172817</c:v>
                </c:pt>
                <c:pt idx="24">
                  <c:v>2.8484675675675675</c:v>
                </c:pt>
                <c:pt idx="25">
                  <c:v>2.7382106683469427</c:v>
                </c:pt>
                <c:pt idx="26">
                  <c:v>2.088883331239306</c:v>
                </c:pt>
                <c:pt idx="27">
                  <c:v>2.0638411196814688</c:v>
                </c:pt>
                <c:pt idx="28">
                  <c:v>2.0342727018598588</c:v>
                </c:pt>
                <c:pt idx="29">
                  <c:v>1.910153234889634</c:v>
                </c:pt>
                <c:pt idx="30">
                  <c:v>2.015921254101349</c:v>
                </c:pt>
                <c:pt idx="31">
                  <c:v>2.0056964366013514</c:v>
                </c:pt>
                <c:pt idx="32">
                  <c:v>1.9311186500075082</c:v>
                </c:pt>
                <c:pt idx="33">
                  <c:v>1.8253859927799967</c:v>
                </c:pt>
                <c:pt idx="34">
                  <c:v>1.8802095610924086</c:v>
                </c:pt>
                <c:pt idx="35">
                  <c:v>2.059171469375804</c:v>
                </c:pt>
                <c:pt idx="36">
                  <c:v>2.1691640165456563</c:v>
                </c:pt>
                <c:pt idx="37">
                  <c:v>2.1338976476921863</c:v>
                </c:pt>
                <c:pt idx="38">
                  <c:v>2.150680116171635</c:v>
                </c:pt>
                <c:pt idx="39">
                  <c:v>2.1969072915694148</c:v>
                </c:pt>
                <c:pt idx="40">
                  <c:v>2.2686172364633945</c:v>
                </c:pt>
                <c:pt idx="41">
                  <c:v>2.3837769839368144</c:v>
                </c:pt>
                <c:pt idx="42">
                  <c:v>2.456072388184076</c:v>
                </c:pt>
                <c:pt idx="43">
                  <c:v>2.3820565945703223</c:v>
                </c:pt>
                <c:pt idx="44">
                  <c:v>2.2760000214768716</c:v>
                </c:pt>
                <c:pt idx="45">
                  <c:v>2.198974917389809</c:v>
                </c:pt>
                <c:pt idx="46">
                  <c:v>2.278108657757118</c:v>
                </c:pt>
                <c:pt idx="47">
                  <c:v>2.2303063426562266</c:v>
                </c:pt>
                <c:pt idx="48">
                  <c:v>2.225108590408697</c:v>
                </c:pt>
                <c:pt idx="49">
                  <c:v>2.0762507070361145</c:v>
                </c:pt>
                <c:pt idx="50">
                  <c:v>1.9755436515291938</c:v>
                </c:pt>
                <c:pt idx="51">
                  <c:v>2.0086759362851696</c:v>
                </c:pt>
                <c:pt idx="52">
                  <c:v>2.045003441754158</c:v>
                </c:pt>
                <c:pt idx="53">
                  <c:v>2.2226795773131913</c:v>
                </c:pt>
                <c:pt idx="54">
                  <c:v>2.3006380426960904</c:v>
                </c:pt>
                <c:pt idx="55">
                  <c:v>2.3648102075940027</c:v>
                </c:pt>
                <c:pt idx="56">
                  <c:v>2.3812679697095844</c:v>
                </c:pt>
                <c:pt idx="57">
                  <c:v>2.331227385666589</c:v>
                </c:pt>
                <c:pt idx="58">
                  <c:v>2.243904778208784</c:v>
                </c:pt>
                <c:pt idx="59">
                  <c:v>2.2795693205522705</c:v>
                </c:pt>
                <c:pt idx="60">
                  <c:v>2.3161726704556065</c:v>
                </c:pt>
                <c:pt idx="61">
                  <c:v>2.342356857826132</c:v>
                </c:pt>
                <c:pt idx="62">
                  <c:v>2.2828332946727143</c:v>
                </c:pt>
                <c:pt idx="63">
                  <c:v>2.352846053358032</c:v>
                </c:pt>
                <c:pt idx="64">
                  <c:v>2.226198371413841</c:v>
                </c:pt>
                <c:pt idx="65">
                  <c:v>2.225535766531924</c:v>
                </c:pt>
                <c:pt idx="66">
                  <c:v>2.2649904261027802</c:v>
                </c:pt>
                <c:pt idx="67">
                  <c:v>2.3007806648202016</c:v>
                </c:pt>
                <c:pt idx="68">
                  <c:v>2.3622375503227886</c:v>
                </c:pt>
                <c:pt idx="69">
                  <c:v>2.249634121581472</c:v>
                </c:pt>
                <c:pt idx="70">
                  <c:v>2.2121558395130654</c:v>
                </c:pt>
                <c:pt idx="71">
                  <c:v>2.359213055191901</c:v>
                </c:pt>
                <c:pt idx="72">
                  <c:v>2.4555269065857304</c:v>
                </c:pt>
                <c:pt idx="73">
                  <c:v>2.5141087460709057</c:v>
                </c:pt>
                <c:pt idx="74">
                  <c:v>1.978851254926193</c:v>
                </c:pt>
                <c:pt idx="75">
                  <c:v>2.421232081577783</c:v>
                </c:pt>
                <c:pt idx="76">
                  <c:v>2.6777878322304836</c:v>
                </c:pt>
                <c:pt idx="77">
                  <c:v>2.560061199510404</c:v>
                </c:pt>
                <c:pt idx="78">
                  <c:v>2.691603152615782</c:v>
                </c:pt>
                <c:pt idx="79">
                  <c:v>2.7299431417525817</c:v>
                </c:pt>
                <c:pt idx="80">
                  <c:v>2.6933803451279332</c:v>
                </c:pt>
                <c:pt idx="81">
                  <c:v>2.69860845805785</c:v>
                </c:pt>
                <c:pt idx="82">
                  <c:v>2.7845462729181523</c:v>
                </c:pt>
                <c:pt idx="83">
                  <c:v>2.6492529682971697</c:v>
                </c:pt>
                <c:pt idx="84">
                  <c:v>2.5363363345338135</c:v>
                </c:pt>
                <c:pt idx="85">
                  <c:v>2.515679491713331</c:v>
                </c:pt>
                <c:pt idx="86">
                  <c:v>2.605769110392718</c:v>
                </c:pt>
                <c:pt idx="87">
                  <c:v>2.5894798768702296</c:v>
                </c:pt>
                <c:pt idx="88">
                  <c:v>2.7190982212613695</c:v>
                </c:pt>
                <c:pt idx="89">
                  <c:v>2.651326209034637</c:v>
                </c:pt>
                <c:pt idx="90">
                  <c:v>2.8705541750014847</c:v>
                </c:pt>
                <c:pt idx="91">
                  <c:v>2.8876251195799343</c:v>
                </c:pt>
                <c:pt idx="92">
                  <c:v>2.501852347981124</c:v>
                </c:pt>
                <c:pt idx="93">
                  <c:v>2.199806797081258</c:v>
                </c:pt>
                <c:pt idx="94">
                  <c:v>2.13478648632095</c:v>
                </c:pt>
                <c:pt idx="95">
                  <c:v>1.9642773497029622</c:v>
                </c:pt>
                <c:pt idx="96">
                  <c:v>1.907252143814771</c:v>
                </c:pt>
                <c:pt idx="97">
                  <c:v>1.8373331934002939</c:v>
                </c:pt>
                <c:pt idx="98">
                  <c:v>1.7773869289344562</c:v>
                </c:pt>
                <c:pt idx="99">
                  <c:v>1.7193754528725904</c:v>
                </c:pt>
                <c:pt idx="100">
                  <c:v>1.6756736750789556</c:v>
                </c:pt>
                <c:pt idx="101">
                  <c:v>1.7501688512563705</c:v>
                </c:pt>
                <c:pt idx="102">
                  <c:v>1.7585385163569334</c:v>
                </c:pt>
                <c:pt idx="103">
                  <c:v>1.6979447657714757</c:v>
                </c:pt>
                <c:pt idx="104">
                  <c:v>1.7885862745103855</c:v>
                </c:pt>
              </c:numCache>
            </c:numRef>
          </c:xVal>
          <c:yVal>
            <c:numRef>
              <c:f>Sheet1!$B$2:$B$106</c:f>
              <c:numCache>
                <c:formatCode>General</c:formatCode>
                <c:ptCount val="105"/>
                <c:pt idx="0">
                  <c:v>0.5007052186177715</c:v>
                </c:pt>
                <c:pt idx="1">
                  <c:v>0.4957410562180579</c:v>
                </c:pt>
                <c:pt idx="2">
                  <c:v>0.4155629139072848</c:v>
                </c:pt>
                <c:pt idx="3">
                  <c:v>0.4074074074074074</c:v>
                </c:pt>
                <c:pt idx="4">
                  <c:v>0.3771106941838649</c:v>
                </c:pt>
                <c:pt idx="5">
                  <c:v>0.3829787234042553</c:v>
                </c:pt>
                <c:pt idx="6">
                  <c:v>0.4027504911591356</c:v>
                </c:pt>
                <c:pt idx="7">
                  <c:v>0.3933333333333333</c:v>
                </c:pt>
                <c:pt idx="8">
                  <c:v>0.42265193370165743</c:v>
                </c:pt>
                <c:pt idx="9">
                  <c:v>0.44680851063829785</c:v>
                </c:pt>
                <c:pt idx="10">
                  <c:v>0.4685598377281947</c:v>
                </c:pt>
                <c:pt idx="11">
                  <c:v>0.49754901960784315</c:v>
                </c:pt>
                <c:pt idx="12">
                  <c:v>0.5557986870897156</c:v>
                </c:pt>
                <c:pt idx="13">
                  <c:v>0.6065217391304348</c:v>
                </c:pt>
                <c:pt idx="14">
                  <c:v>0.6450777202072538</c:v>
                </c:pt>
                <c:pt idx="15">
                  <c:v>0.627906976744186</c:v>
                </c:pt>
                <c:pt idx="16">
                  <c:v>0.6121794871794872</c:v>
                </c:pt>
                <c:pt idx="17">
                  <c:v>0.5833333333333334</c:v>
                </c:pt>
                <c:pt idx="18">
                  <c:v>0.5570934256055363</c:v>
                </c:pt>
                <c:pt idx="19">
                  <c:v>0.492</c:v>
                </c:pt>
                <c:pt idx="20">
                  <c:v>0.459214501510574</c:v>
                </c:pt>
                <c:pt idx="21">
                  <c:v>0.475177304964539</c:v>
                </c:pt>
                <c:pt idx="22">
                  <c:v>0.5093167701863354</c:v>
                </c:pt>
                <c:pt idx="23">
                  <c:v>0.47352941176470587</c:v>
                </c:pt>
                <c:pt idx="24">
                  <c:v>0.5122549019607843</c:v>
                </c:pt>
                <c:pt idx="25">
                  <c:v>0.5091463414634146</c:v>
                </c:pt>
                <c:pt idx="26">
                  <c:v>0.5382165605095541</c:v>
                </c:pt>
                <c:pt idx="27">
                  <c:v>0.5420560747663551</c:v>
                </c:pt>
                <c:pt idx="28">
                  <c:v>0.4899328859060403</c:v>
                </c:pt>
                <c:pt idx="29">
                  <c:v>0.49747474747474746</c:v>
                </c:pt>
                <c:pt idx="30">
                  <c:v>0.45864661654135336</c:v>
                </c:pt>
                <c:pt idx="31">
                  <c:v>0.5154639175257731</c:v>
                </c:pt>
                <c:pt idx="32">
                  <c:v>0.5182072829131653</c:v>
                </c:pt>
                <c:pt idx="33">
                  <c:v>0.5033259423503326</c:v>
                </c:pt>
                <c:pt idx="34">
                  <c:v>0.5263157894736842</c:v>
                </c:pt>
                <c:pt idx="35">
                  <c:v>0.5240549828178694</c:v>
                </c:pt>
                <c:pt idx="36">
                  <c:v>0.48055555555555557</c:v>
                </c:pt>
                <c:pt idx="37">
                  <c:v>0.44126984126984126</c:v>
                </c:pt>
                <c:pt idx="38">
                  <c:v>0.521311475409836</c:v>
                </c:pt>
                <c:pt idx="39">
                  <c:v>0.580327868852459</c:v>
                </c:pt>
                <c:pt idx="40">
                  <c:v>0.5471698113207547</c:v>
                </c:pt>
                <c:pt idx="41">
                  <c:v>0.46835443037974683</c:v>
                </c:pt>
                <c:pt idx="42">
                  <c:v>0.5406162464985994</c:v>
                </c:pt>
                <c:pt idx="43">
                  <c:v>0.4585152838427948</c:v>
                </c:pt>
                <c:pt idx="44">
                  <c:v>0.511326860841424</c:v>
                </c:pt>
                <c:pt idx="45">
                  <c:v>0.5169385194479298</c:v>
                </c:pt>
                <c:pt idx="46">
                  <c:v>0.5</c:v>
                </c:pt>
                <c:pt idx="47">
                  <c:v>0.5131578947368421</c:v>
                </c:pt>
                <c:pt idx="48">
                  <c:v>0.4959713518352731</c:v>
                </c:pt>
                <c:pt idx="49">
                  <c:v>0.5597014925373134</c:v>
                </c:pt>
                <c:pt idx="50">
                  <c:v>0.5531914893617021</c:v>
                </c:pt>
                <c:pt idx="51">
                  <c:v>0.5432098765432098</c:v>
                </c:pt>
                <c:pt idx="52">
                  <c:v>0.5051813471502591</c:v>
                </c:pt>
                <c:pt idx="53">
                  <c:v>0.4975369458128079</c:v>
                </c:pt>
                <c:pt idx="54">
                  <c:v>0.487012987012987</c:v>
                </c:pt>
                <c:pt idx="55">
                  <c:v>0.4700854700854701</c:v>
                </c:pt>
                <c:pt idx="56">
                  <c:v>0.4965986394557823</c:v>
                </c:pt>
                <c:pt idx="57">
                  <c:v>0.5049645390070922</c:v>
                </c:pt>
                <c:pt idx="58">
                  <c:v>0.49725274725274726</c:v>
                </c:pt>
                <c:pt idx="59">
                  <c:v>0.5089192025183631</c:v>
                </c:pt>
                <c:pt idx="60">
                  <c:v>0.5304948216340621</c:v>
                </c:pt>
                <c:pt idx="61">
                  <c:v>0.5008635578583766</c:v>
                </c:pt>
                <c:pt idx="62">
                  <c:v>0.531437125748503</c:v>
                </c:pt>
                <c:pt idx="63">
                  <c:v>0.5493150684931507</c:v>
                </c:pt>
                <c:pt idx="64">
                  <c:v>0.5627586206896552</c:v>
                </c:pt>
                <c:pt idx="65">
                  <c:v>0.5469522240527183</c:v>
                </c:pt>
                <c:pt idx="66">
                  <c:v>0.5082781456953642</c:v>
                </c:pt>
                <c:pt idx="67">
                  <c:v>0.5568862275449101</c:v>
                </c:pt>
                <c:pt idx="68">
                  <c:v>0.5566037735849056</c:v>
                </c:pt>
                <c:pt idx="69">
                  <c:v>0.5261627906976745</c:v>
                </c:pt>
                <c:pt idx="70">
                  <c:v>0.4822485207100592</c:v>
                </c:pt>
                <c:pt idx="71">
                  <c:v>0.4896142433234421</c:v>
                </c:pt>
                <c:pt idx="72">
                  <c:v>0.4781420765027322</c:v>
                </c:pt>
                <c:pt idx="73">
                  <c:v>0.46153846153846156</c:v>
                </c:pt>
                <c:pt idx="74">
                  <c:v>0.5238095238095238</c:v>
                </c:pt>
                <c:pt idx="75">
                  <c:v>0.4726775956284153</c:v>
                </c:pt>
                <c:pt idx="76">
                  <c:v>0.4551083591331269</c:v>
                </c:pt>
                <c:pt idx="77">
                  <c:v>0.4709897610921502</c:v>
                </c:pt>
                <c:pt idx="78">
                  <c:v>0.46853146853146854</c:v>
                </c:pt>
                <c:pt idx="79">
                  <c:v>0.47384615384615386</c:v>
                </c:pt>
                <c:pt idx="80">
                  <c:v>0.4550898203592814</c:v>
                </c:pt>
                <c:pt idx="81">
                  <c:v>0.45080091533180777</c:v>
                </c:pt>
                <c:pt idx="82">
                  <c:v>0.45222929936305734</c:v>
                </c:pt>
                <c:pt idx="83">
                  <c:v>0.42803030303030304</c:v>
                </c:pt>
                <c:pt idx="84">
                  <c:v>0.452755905511811</c:v>
                </c:pt>
                <c:pt idx="85">
                  <c:v>0.4476744186046512</c:v>
                </c:pt>
                <c:pt idx="86">
                  <c:v>0.48423423423423423</c:v>
                </c:pt>
                <c:pt idx="87">
                  <c:v>0.539651837524178</c:v>
                </c:pt>
                <c:pt idx="88">
                  <c:v>0.5014409221902018</c:v>
                </c:pt>
                <c:pt idx="89">
                  <c:v>0.44333333333333336</c:v>
                </c:pt>
                <c:pt idx="90">
                  <c:v>0.43661971830985913</c:v>
                </c:pt>
                <c:pt idx="91">
                  <c:v>0.40468227424749165</c:v>
                </c:pt>
                <c:pt idx="92">
                  <c:v>0.4423076923076923</c:v>
                </c:pt>
                <c:pt idx="93">
                  <c:v>0.47411444141689374</c:v>
                </c:pt>
                <c:pt idx="94">
                  <c:v>0.4797297297297297</c:v>
                </c:pt>
                <c:pt idx="95">
                  <c:v>0.494199535962877</c:v>
                </c:pt>
                <c:pt idx="96">
                  <c:v>0.4774624373956594</c:v>
                </c:pt>
                <c:pt idx="97">
                  <c:v>0.47776183644189385</c:v>
                </c:pt>
                <c:pt idx="98">
                  <c:v>0.49019607843137253</c:v>
                </c:pt>
                <c:pt idx="99">
                  <c:v>0.5043706293706294</c:v>
                </c:pt>
                <c:pt idx="100">
                  <c:v>0.512576478585996</c:v>
                </c:pt>
                <c:pt idx="101">
                  <c:v>0.5072463768115942</c:v>
                </c:pt>
                <c:pt idx="102">
                  <c:v>0.47096774193548385</c:v>
                </c:pt>
                <c:pt idx="103">
                  <c:v>0.47058823529411764</c:v>
                </c:pt>
                <c:pt idx="104">
                  <c:v>0.449346405228758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39304514867668</c:v>
                </c:pt>
                <c:pt idx="1">
                  <c:v>1.9070295283842884</c:v>
                </c:pt>
                <c:pt idx="2">
                  <c:v>1.8954632713572894</c:v>
                </c:pt>
                <c:pt idx="3">
                  <c:v>1.9828828942054688</c:v>
                </c:pt>
                <c:pt idx="4">
                  <c:v>2.0471197552529117</c:v>
                </c:pt>
                <c:pt idx="5">
                  <c:v>2.0536498203311755</c:v>
                </c:pt>
                <c:pt idx="6">
                  <c:v>1.9011644680562552</c:v>
                </c:pt>
                <c:pt idx="7">
                  <c:v>2.0003124805477746</c:v>
                </c:pt>
                <c:pt idx="8">
                  <c:v>2.1633279282949682</c:v>
                </c:pt>
                <c:pt idx="9">
                  <c:v>2.09689998721281</c:v>
                </c:pt>
                <c:pt idx="10">
                  <c:v>2.0021759822554714</c:v>
                </c:pt>
                <c:pt idx="11">
                  <c:v>1.753680895369319</c:v>
                </c:pt>
                <c:pt idx="12">
                  <c:v>1.8162408802033005</c:v>
                </c:pt>
                <c:pt idx="13">
                  <c:v>1.8595377784204028</c:v>
                </c:pt>
                <c:pt idx="14">
                  <c:v>1.9130419067517674</c:v>
                </c:pt>
                <c:pt idx="15">
                  <c:v>1.990514986783828</c:v>
                </c:pt>
                <c:pt idx="16">
                  <c:v>2.0023599683342432</c:v>
                </c:pt>
                <c:pt idx="17">
                  <c:v>2.0082074520935826</c:v>
                </c:pt>
                <c:pt idx="18">
                  <c:v>2.110905896253071</c:v>
                </c:pt>
                <c:pt idx="19">
                  <c:v>2.243006589408484</c:v>
                </c:pt>
                <c:pt idx="20">
                  <c:v>2.242010877253435</c:v>
                </c:pt>
                <c:pt idx="21">
                  <c:v>2.217755798771518</c:v>
                </c:pt>
                <c:pt idx="22">
                  <c:v>2.1787221097373033</c:v>
                </c:pt>
                <c:pt idx="23">
                  <c:v>2.053689161391805</c:v>
                </c:pt>
                <c:pt idx="24">
                  <c:v>2.085567003456836</c:v>
                </c:pt>
                <c:pt idx="25">
                  <c:v>1.904696759615245</c:v>
                </c:pt>
                <c:pt idx="26">
                  <c:v>2.0594641312414437</c:v>
                </c:pt>
                <c:pt idx="27">
                  <c:v>2.097066945617382</c:v>
                </c:pt>
                <c:pt idx="28">
                  <c:v>1.9835751389366625</c:v>
                </c:pt>
                <c:pt idx="29">
                  <c:v>2.030802918896345</c:v>
                </c:pt>
                <c:pt idx="30">
                  <c:v>2.1073190470486676</c:v>
                </c:pt>
                <c:pt idx="31">
                  <c:v>2.029066496857925</c:v>
                </c:pt>
                <c:pt idx="32">
                  <c:v>1.9862230066575326</c:v>
                </c:pt>
                <c:pt idx="33">
                  <c:v>2.1672918596861885</c:v>
                </c:pt>
                <c:pt idx="34">
                  <c:v>2.112126384824108</c:v>
                </c:pt>
                <c:pt idx="35">
                  <c:v>2.0327550682197932</c:v>
                </c:pt>
                <c:pt idx="36">
                  <c:v>2.1715798827206925</c:v>
                </c:pt>
                <c:pt idx="37">
                  <c:v>2.2060986602643573</c:v>
                </c:pt>
                <c:pt idx="38">
                  <c:v>2.245171674909523</c:v>
                </c:pt>
                <c:pt idx="39">
                  <c:v>2.165141415847351</c:v>
                </c:pt>
                <c:pt idx="40">
                  <c:v>2.322915932847049</c:v>
                </c:pt>
                <c:pt idx="41">
                  <c:v>2.3741181898779677</c:v>
                </c:pt>
                <c:pt idx="42">
                  <c:v>2.4046578542546797</c:v>
                </c:pt>
                <c:pt idx="43">
                  <c:v>2.3266507574634336</c:v>
                </c:pt>
                <c:pt idx="44">
                  <c:v>2.1877753742184045</c:v>
                </c:pt>
                <c:pt idx="45">
                  <c:v>2.021281903504256</c:v>
                </c:pt>
                <c:pt idx="46">
                  <c:v>2.030101955240897</c:v>
                </c:pt>
                <c:pt idx="47">
                  <c:v>1.9660303068985625</c:v>
                </c:pt>
                <c:pt idx="48">
                  <c:v>1.883825815435065</c:v>
                </c:pt>
                <c:pt idx="49">
                  <c:v>1.9436469615096206</c:v>
                </c:pt>
                <c:pt idx="50">
                  <c:v>1.7502032496750402</c:v>
                </c:pt>
                <c:pt idx="51">
                  <c:v>1.7457900174939514</c:v>
                </c:pt>
              </c:numCache>
            </c:numRef>
          </c:xVal>
          <c:yVal>
            <c:numRef>
              <c:f>Sheet1!$B$109:$B$160</c:f>
              <c:numCache>
                <c:formatCode>General</c:formatCode>
                <c:ptCount val="52"/>
                <c:pt idx="0">
                  <c:v>0.44952681388012616</c:v>
                </c:pt>
                <c:pt idx="1">
                  <c:v>0.45368620037807184</c:v>
                </c:pt>
                <c:pt idx="2">
                  <c:v>0.47335423197492166</c:v>
                </c:pt>
                <c:pt idx="3">
                  <c:v>0.47678018575851394</c:v>
                </c:pt>
                <c:pt idx="4">
                  <c:v>0.4431438127090301</c:v>
                </c:pt>
                <c:pt idx="5">
                  <c:v>0.43781094527363185</c:v>
                </c:pt>
                <c:pt idx="6">
                  <c:v>0.45921052631578946</c:v>
                </c:pt>
                <c:pt idx="7">
                  <c:v>0.4490909090909091</c:v>
                </c:pt>
                <c:pt idx="8">
                  <c:v>0.4602803738317757</c:v>
                </c:pt>
                <c:pt idx="9">
                  <c:v>0.48406374501992033</c:v>
                </c:pt>
                <c:pt idx="10">
                  <c:v>0.5165289256198347</c:v>
                </c:pt>
                <c:pt idx="11">
                  <c:v>0.5454545454545454</c:v>
                </c:pt>
                <c:pt idx="12">
                  <c:v>0.5214626391096979</c:v>
                </c:pt>
                <c:pt idx="13">
                  <c:v>0.5307971014492754</c:v>
                </c:pt>
                <c:pt idx="14">
                  <c:v>0.5288808664259927</c:v>
                </c:pt>
                <c:pt idx="15">
                  <c:v>0.501123595505618</c:v>
                </c:pt>
                <c:pt idx="16">
                  <c:v>0.4361111111111111</c:v>
                </c:pt>
                <c:pt idx="17">
                  <c:v>0.4465753424657534</c:v>
                </c:pt>
                <c:pt idx="18">
                  <c:v>0.4152823920265781</c:v>
                </c:pt>
                <c:pt idx="19">
                  <c:v>0.41329479768786126</c:v>
                </c:pt>
                <c:pt idx="20">
                  <c:v>0.39144736842105265</c:v>
                </c:pt>
                <c:pt idx="21">
                  <c:v>0.3933333333333333</c:v>
                </c:pt>
                <c:pt idx="22">
                  <c:v>0.4117647058823529</c:v>
                </c:pt>
                <c:pt idx="23">
                  <c:v>0.4391891891891892</c:v>
                </c:pt>
                <c:pt idx="24">
                  <c:v>0.4188034188034188</c:v>
                </c:pt>
                <c:pt idx="25">
                  <c:v>0.4585635359116022</c:v>
                </c:pt>
                <c:pt idx="26">
                  <c:v>0.4325068870523416</c:v>
                </c:pt>
                <c:pt idx="27">
                  <c:v>0.4344262295081967</c:v>
                </c:pt>
                <c:pt idx="28">
                  <c:v>0.4593967517401392</c:v>
                </c:pt>
                <c:pt idx="29">
                  <c:v>0.5028089887640449</c:v>
                </c:pt>
                <c:pt idx="30">
                  <c:v>0.5076923076923077</c:v>
                </c:pt>
                <c:pt idx="31">
                  <c:v>0.4564459930313589</c:v>
                </c:pt>
                <c:pt idx="32">
                  <c:v>0.4689265536723164</c:v>
                </c:pt>
                <c:pt idx="33">
                  <c:v>0.5112612612612613</c:v>
                </c:pt>
                <c:pt idx="34">
                  <c:v>0.5589660743134087</c:v>
                </c:pt>
                <c:pt idx="35">
                  <c:v>0.5851851851851851</c:v>
                </c:pt>
                <c:pt idx="36">
                  <c:v>0.47540983606557374</c:v>
                </c:pt>
                <c:pt idx="37">
                  <c:v>0.44866920152091255</c:v>
                </c:pt>
                <c:pt idx="38">
                  <c:v>0.44765342960288806</c:v>
                </c:pt>
                <c:pt idx="39">
                  <c:v>0.4633431085043988</c:v>
                </c:pt>
                <c:pt idx="40">
                  <c:v>0.4398826979472141</c:v>
                </c:pt>
                <c:pt idx="41">
                  <c:v>0.4625668449197861</c:v>
                </c:pt>
                <c:pt idx="42">
                  <c:v>0.45507246376811594</c:v>
                </c:pt>
                <c:pt idx="43">
                  <c:v>0.4604966139954853</c:v>
                </c:pt>
                <c:pt idx="44">
                  <c:v>0.46790890269151136</c:v>
                </c:pt>
                <c:pt idx="45">
                  <c:v>0.49617151607963245</c:v>
                </c:pt>
                <c:pt idx="46">
                  <c:v>0.47897897897897895</c:v>
                </c:pt>
                <c:pt idx="47">
                  <c:v>0.49930651872399445</c:v>
                </c:pt>
                <c:pt idx="48">
                  <c:v>0.5110456553755522</c:v>
                </c:pt>
                <c:pt idx="49">
                  <c:v>0.5105590062111801</c:v>
                </c:pt>
                <c:pt idx="50">
                  <c:v>0.526541095890411</c:v>
                </c:pt>
                <c:pt idx="51">
                  <c:v>0.516869095816464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217849612944034</c:v>
                </c:pt>
              </c:numCache>
            </c:numRef>
          </c:xVal>
          <c:yVal>
            <c:numRef>
              <c:f>Sheet1!$B$163:$B$164</c:f>
              <c:numCache>
                <c:formatCode>General</c:formatCode>
                <c:ptCount val="2"/>
                <c:pt idx="0">
                  <c:v>0.540555426441492</c:v>
                </c:pt>
                <c:pt idx="1">
                  <c:v>0.54055542644149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217849612944034</c:v>
                </c:pt>
                <c:pt idx="1">
                  <c:v>1.5217849612944034</c:v>
                </c:pt>
              </c:numCache>
            </c:numRef>
          </c:xVal>
          <c:yVal>
            <c:numRef>
              <c:f>Sheet1!$B$167:$B$168</c:f>
              <c:numCache>
                <c:formatCode>General</c:formatCode>
                <c:ptCount val="2"/>
                <c:pt idx="0">
                  <c:v>0.54055542644149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08621701858535</c:v>
                </c:pt>
              </c:numCache>
            </c:numRef>
          </c:xVal>
          <c:yVal>
            <c:numRef>
              <c:f>Sheet1!$B$171:$B$172</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08621701858535</c:v>
                </c:pt>
                <c:pt idx="1">
                  <c:v>1.708621701858535</c:v>
                </c:pt>
              </c:numCache>
            </c:numRef>
          </c:xVal>
          <c:yVal>
            <c:numRef>
              <c:f>Sheet1!$B$175:$B$176</c:f>
              <c:numCache>
                <c:formatCode>General</c:formatCode>
                <c:ptCount val="2"/>
                <c:pt idx="0">
                  <c:v>0.51625371332340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585216011068711</c:v>
                </c:pt>
              </c:numCache>
            </c:numRef>
          </c:xVal>
          <c:yVal>
            <c:numRef>
              <c:f>Sheet1!$B$179:$B$180</c:f>
              <c:numCache>
                <c:formatCode>General</c:formatCode>
                <c:ptCount val="2"/>
                <c:pt idx="0">
                  <c:v>0.4837494229925173</c:v>
                </c:pt>
                <c:pt idx="1">
                  <c:v>0.483749422992517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585216011068711</c:v>
                </c:pt>
                <c:pt idx="1">
                  <c:v>1.9585216011068711</c:v>
                </c:pt>
              </c:numCache>
            </c:numRef>
          </c:xVal>
          <c:yVal>
            <c:numRef>
              <c:f>Sheet1!$B$183:$B$184</c:f>
              <c:numCache>
                <c:formatCode>General</c:formatCode>
                <c:ptCount val="2"/>
                <c:pt idx="0">
                  <c:v>0.48374942299251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39304514867668</c:v>
                </c:pt>
                <c:pt idx="1">
                  <c:v>1.9070295283842884</c:v>
                </c:pt>
                <c:pt idx="2">
                  <c:v>1.8954632713572894</c:v>
                </c:pt>
                <c:pt idx="3">
                  <c:v>1.9828828942054688</c:v>
                </c:pt>
                <c:pt idx="4">
                  <c:v>2.0471197552529117</c:v>
                </c:pt>
                <c:pt idx="5">
                  <c:v>2.0536498203311755</c:v>
                </c:pt>
                <c:pt idx="6">
                  <c:v>1.9011644680562552</c:v>
                </c:pt>
                <c:pt idx="7">
                  <c:v>2.0003124805477746</c:v>
                </c:pt>
                <c:pt idx="8">
                  <c:v>2.1633279282949682</c:v>
                </c:pt>
                <c:pt idx="9">
                  <c:v>2.09689998721281</c:v>
                </c:pt>
                <c:pt idx="10">
                  <c:v>2.0021759822554714</c:v>
                </c:pt>
                <c:pt idx="11">
                  <c:v>1.753680895369319</c:v>
                </c:pt>
                <c:pt idx="12">
                  <c:v>1.8162408802033005</c:v>
                </c:pt>
                <c:pt idx="13">
                  <c:v>1.8595377784204028</c:v>
                </c:pt>
                <c:pt idx="14">
                  <c:v>1.9130419067517674</c:v>
                </c:pt>
                <c:pt idx="15">
                  <c:v>1.990514986783828</c:v>
                </c:pt>
                <c:pt idx="16">
                  <c:v>2.0023599683342432</c:v>
                </c:pt>
                <c:pt idx="17">
                  <c:v>2.0082074520935826</c:v>
                </c:pt>
                <c:pt idx="18">
                  <c:v>2.110905896253071</c:v>
                </c:pt>
                <c:pt idx="19">
                  <c:v>2.243006589408484</c:v>
                </c:pt>
                <c:pt idx="20">
                  <c:v>2.242010877253435</c:v>
                </c:pt>
                <c:pt idx="21">
                  <c:v>2.217755798771518</c:v>
                </c:pt>
                <c:pt idx="22">
                  <c:v>2.1787221097373033</c:v>
                </c:pt>
                <c:pt idx="23">
                  <c:v>2.053689161391805</c:v>
                </c:pt>
                <c:pt idx="24">
                  <c:v>2.085567003456836</c:v>
                </c:pt>
                <c:pt idx="25">
                  <c:v>1.904696759615245</c:v>
                </c:pt>
                <c:pt idx="26">
                  <c:v>2.0594641312414437</c:v>
                </c:pt>
                <c:pt idx="27">
                  <c:v>2.097066945617382</c:v>
                </c:pt>
                <c:pt idx="28">
                  <c:v>1.9835751389366625</c:v>
                </c:pt>
                <c:pt idx="29">
                  <c:v>2.030802918896345</c:v>
                </c:pt>
                <c:pt idx="30">
                  <c:v>2.1073190470486676</c:v>
                </c:pt>
                <c:pt idx="31">
                  <c:v>2.029066496857925</c:v>
                </c:pt>
                <c:pt idx="32">
                  <c:v>1.9862230066575326</c:v>
                </c:pt>
                <c:pt idx="33">
                  <c:v>2.1672918596861885</c:v>
                </c:pt>
                <c:pt idx="34">
                  <c:v>2.112126384824108</c:v>
                </c:pt>
                <c:pt idx="35">
                  <c:v>2.0327550682197932</c:v>
                </c:pt>
                <c:pt idx="36">
                  <c:v>2.1715798827206925</c:v>
                </c:pt>
                <c:pt idx="37">
                  <c:v>2.2060986602643573</c:v>
                </c:pt>
                <c:pt idx="38">
                  <c:v>2.245171674909523</c:v>
                </c:pt>
                <c:pt idx="39">
                  <c:v>2.165141415847351</c:v>
                </c:pt>
                <c:pt idx="40">
                  <c:v>2.322915932847049</c:v>
                </c:pt>
                <c:pt idx="41">
                  <c:v>2.3741181898779677</c:v>
                </c:pt>
                <c:pt idx="42">
                  <c:v>2.4046578542546797</c:v>
                </c:pt>
                <c:pt idx="43">
                  <c:v>2.3266507574634336</c:v>
                </c:pt>
                <c:pt idx="44">
                  <c:v>2.1877753742184045</c:v>
                </c:pt>
                <c:pt idx="45">
                  <c:v>2.021281903504256</c:v>
                </c:pt>
                <c:pt idx="46">
                  <c:v>2.030101955240897</c:v>
                </c:pt>
                <c:pt idx="47">
                  <c:v>1.9660303068985625</c:v>
                </c:pt>
                <c:pt idx="48">
                  <c:v>1.883825815435065</c:v>
                </c:pt>
                <c:pt idx="49">
                  <c:v>1.9436469615096206</c:v>
                </c:pt>
                <c:pt idx="50">
                  <c:v>1.7502032496750402</c:v>
                </c:pt>
                <c:pt idx="51">
                  <c:v>1.7457900174939514</c:v>
                </c:pt>
                <c:pt idx="52">
                  <c:v>1.708621701858535</c:v>
                </c:pt>
                <c:pt idx="53">
                  <c:v>1.5217849612944034</c:v>
                </c:pt>
                <c:pt idx="54">
                  <c:v>1.9585216011068711</c:v>
                </c:pt>
              </c:numCache>
            </c:numRef>
          </c:xVal>
          <c:yVal>
            <c:numRef>
              <c:f>Sheet1!$B$187:$B$241</c:f>
              <c:numCache>
                <c:formatCode>General</c:formatCode>
                <c:ptCount val="55"/>
                <c:pt idx="0">
                  <c:v>0.49925589896620437</c:v>
                </c:pt>
                <c:pt idx="1">
                  <c:v>0.4904469578316595</c:v>
                </c:pt>
                <c:pt idx="2">
                  <c:v>0.4919513721094484</c:v>
                </c:pt>
                <c:pt idx="3">
                  <c:v>0.48058076807871236</c:v>
                </c:pt>
                <c:pt idx="4">
                  <c:v>0.4722255282898565</c:v>
                </c:pt>
                <c:pt idx="5">
                  <c:v>0.47137616767858015</c:v>
                </c:pt>
                <c:pt idx="6">
                  <c:v>0.49120982177952</c:v>
                </c:pt>
                <c:pt idx="7">
                  <c:v>0.4783137150045751</c:v>
                </c:pt>
                <c:pt idx="8">
                  <c:v>0.4571104193732776</c:v>
                </c:pt>
                <c:pt idx="9">
                  <c:v>0.46575065128018084</c:v>
                </c:pt>
                <c:pt idx="10">
                  <c:v>0.4780713307510349</c:v>
                </c:pt>
                <c:pt idx="11">
                  <c:v>0.5103928982036063</c:v>
                </c:pt>
                <c:pt idx="12">
                  <c:v>0.5022557684318223</c:v>
                </c:pt>
                <c:pt idx="13">
                  <c:v>0.4966241737240672</c:v>
                </c:pt>
                <c:pt idx="14">
                  <c:v>0.4896649323381579</c:v>
                </c:pt>
                <c:pt idx="15">
                  <c:v>0.47958806758645384</c:v>
                </c:pt>
                <c:pt idx="16">
                  <c:v>0.47804739982133376</c:v>
                </c:pt>
                <c:pt idx="17">
                  <c:v>0.4772868220444303</c:v>
                </c:pt>
                <c:pt idx="18">
                  <c:v>0.463928913315652</c:v>
                </c:pt>
                <c:pt idx="19">
                  <c:v>0.4467466763633767</c:v>
                </c:pt>
                <c:pt idx="20">
                  <c:v>0.4468761878880754</c:v>
                </c:pt>
                <c:pt idx="21">
                  <c:v>0.45003102754725893</c:v>
                </c:pt>
                <c:pt idx="22">
                  <c:v>0.45510810987050054</c:v>
                </c:pt>
                <c:pt idx="23">
                  <c:v>0.4713710506166666</c:v>
                </c:pt>
                <c:pt idx="24">
                  <c:v>0.4672247238805595</c:v>
                </c:pt>
                <c:pt idx="25">
                  <c:v>0.49075037929590126</c:v>
                </c:pt>
                <c:pt idx="26">
                  <c:v>0.47061990466899173</c:v>
                </c:pt>
                <c:pt idx="27">
                  <c:v>0.46572893512714625</c:v>
                </c:pt>
                <c:pt idx="28">
                  <c:v>0.4804907283316359</c:v>
                </c:pt>
                <c:pt idx="29">
                  <c:v>0.4743478468174375</c:v>
                </c:pt>
                <c:pt idx="30">
                  <c:v>0.46439545207082444</c:v>
                </c:pt>
                <c:pt idx="31">
                  <c:v>0.4745737019147926</c:v>
                </c:pt>
                <c:pt idx="32">
                  <c:v>0.4801463221857518</c:v>
                </c:pt>
                <c:pt idx="33">
                  <c:v>0.4565948338241058</c:v>
                </c:pt>
                <c:pt idx="34">
                  <c:v>0.46377016529303244</c:v>
                </c:pt>
                <c:pt idx="35">
                  <c:v>0.47409393223576113</c:v>
                </c:pt>
                <c:pt idx="36">
                  <c:v>0.45603709392073544</c:v>
                </c:pt>
                <c:pt idx="37">
                  <c:v>0.4515472627102333</c:v>
                </c:pt>
                <c:pt idx="38">
                  <c:v>0.4464650653346062</c:v>
                </c:pt>
                <c:pt idx="39">
                  <c:v>0.4568745404229803</c:v>
                </c:pt>
                <c:pt idx="40">
                  <c:v>0.43635292867844333</c:v>
                </c:pt>
                <c:pt idx="41">
                  <c:v>0.42969308994647293</c:v>
                </c:pt>
                <c:pt idx="42">
                  <c:v>0.42572081896719594</c:v>
                </c:pt>
                <c:pt idx="43">
                  <c:v>0.4358671428736829</c:v>
                </c:pt>
                <c:pt idx="44">
                  <c:v>0.45393055862689813</c:v>
                </c:pt>
                <c:pt idx="45">
                  <c:v>0.47558623806721445</c:v>
                </c:pt>
                <c:pt idx="46">
                  <c:v>0.47443902062837784</c:v>
                </c:pt>
                <c:pt idx="47">
                  <c:v>0.4827727713260042</c:v>
                </c:pt>
                <c:pt idx="48">
                  <c:v>0.49346504717353057</c:v>
                </c:pt>
                <c:pt idx="49">
                  <c:v>0.4856841560816084</c:v>
                </c:pt>
                <c:pt idx="50">
                  <c:v>0.5108452329410543</c:v>
                </c:pt>
                <c:pt idx="51">
                  <c:v>0.5114192587031423</c:v>
                </c:pt>
                <c:pt idx="52">
                  <c:v>0.5162537133234019</c:v>
                </c:pt>
                <c:pt idx="53">
                  <c:v>0.540555426441492</c:v>
                </c:pt>
                <c:pt idx="54">
                  <c:v>0.48374942299251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40932642487046"/>
          <c:min val="0.3016885553470919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402543530900202</c:v>
                </c:pt>
                <c:pt idx="1">
                  <c:v>0.6331262462005408</c:v>
                </c:pt>
                <c:pt idx="2">
                  <c:v>0.6455578861431519</c:v>
                </c:pt>
                <c:pt idx="3">
                  <c:v>0.6364068901178808</c:v>
                </c:pt>
                <c:pt idx="4">
                  <c:v>0.6461022436723378</c:v>
                </c:pt>
                <c:pt idx="5">
                  <c:v>0.654088461519854</c:v>
                </c:pt>
                <c:pt idx="6">
                  <c:v>0.6129513267137836</c:v>
                </c:pt>
                <c:pt idx="7">
                  <c:v>0.622875786706516</c:v>
                </c:pt>
                <c:pt idx="8">
                  <c:v>0.6390607714565272</c:v>
                </c:pt>
                <c:pt idx="9">
                  <c:v>0.6675936677436585</c:v>
                </c:pt>
                <c:pt idx="10">
                  <c:v>0.6609028894799872</c:v>
                </c:pt>
                <c:pt idx="11">
                  <c:v>0.7010862330649104</c:v>
                </c:pt>
                <c:pt idx="12">
                  <c:v>0.7124585479627491</c:v>
                </c:pt>
                <c:pt idx="13">
                  <c:v>0.7104775745949763</c:v>
                </c:pt>
                <c:pt idx="14">
                  <c:v>0.6846255907855385</c:v>
                </c:pt>
                <c:pt idx="15">
                  <c:v>0.6696101895814041</c:v>
                </c:pt>
                <c:pt idx="16">
                  <c:v>0.6672220685171047</c:v>
                </c:pt>
                <c:pt idx="17">
                  <c:v>0.6752165431175372</c:v>
                </c:pt>
                <c:pt idx="18">
                  <c:v>0.7004292060663011</c:v>
                </c:pt>
                <c:pt idx="19">
                  <c:v>0.7143122870764143</c:v>
                </c:pt>
                <c:pt idx="20">
                  <c:v>0.7066161450148627</c:v>
                </c:pt>
                <c:pt idx="21">
                  <c:v>0.6120748943210621</c:v>
                </c:pt>
                <c:pt idx="22">
                  <c:v>0.5625759221729082</c:v>
                </c:pt>
                <c:pt idx="23">
                  <c:v>0.5658926209832823</c:v>
                </c:pt>
                <c:pt idx="24">
                  <c:v>0.5610131622385612</c:v>
                </c:pt>
                <c:pt idx="25">
                  <c:v>0.5422211182703911</c:v>
                </c:pt>
                <c:pt idx="26">
                  <c:v>0.5497968686651222</c:v>
                </c:pt>
                <c:pt idx="27">
                  <c:v>0.5776225699318426</c:v>
                </c:pt>
                <c:pt idx="28">
                  <c:v>0.5825610343654106</c:v>
                </c:pt>
                <c:pt idx="29">
                  <c:v>0.5188306607430876</c:v>
                </c:pt>
                <c:pt idx="30">
                  <c:v>0.5094397627274636</c:v>
                </c:pt>
                <c:pt idx="31">
                  <c:v>0.5892224376002674</c:v>
                </c:pt>
                <c:pt idx="32">
                  <c:v>0.509640920429729</c:v>
                </c:pt>
                <c:pt idx="33">
                  <c:v>0.5145302277128101</c:v>
                </c:pt>
                <c:pt idx="34">
                  <c:v>0.5743490368784893</c:v>
                </c:pt>
                <c:pt idx="35">
                  <c:v>0.6451563753189273</c:v>
                </c:pt>
                <c:pt idx="36">
                  <c:v>0.6450388088934138</c:v>
                </c:pt>
                <c:pt idx="37">
                  <c:v>0.6237149250771212</c:v>
                </c:pt>
                <c:pt idx="38">
                  <c:v>0.6529422914182231</c:v>
                </c:pt>
                <c:pt idx="39">
                  <c:v>0.6350123039370287</c:v>
                </c:pt>
                <c:pt idx="40">
                  <c:v>0.6565894582188129</c:v>
                </c:pt>
                <c:pt idx="41">
                  <c:v>0.6492478815726554</c:v>
                </c:pt>
                <c:pt idx="42">
                  <c:v>0.6884311661243266</c:v>
                </c:pt>
                <c:pt idx="43">
                  <c:v>0.6925298333456126</c:v>
                </c:pt>
                <c:pt idx="44">
                  <c:v>0.6559059644051105</c:v>
                </c:pt>
                <c:pt idx="45">
                  <c:v>0.6528172557652427</c:v>
                </c:pt>
                <c:pt idx="46">
                  <c:v>0.6727905095702353</c:v>
                </c:pt>
                <c:pt idx="47">
                  <c:v>0.6766410020849488</c:v>
                </c:pt>
                <c:pt idx="48">
                  <c:v>0.6803604641428849</c:v>
                </c:pt>
                <c:pt idx="49">
                  <c:v>0.6761374391296412</c:v>
                </c:pt>
                <c:pt idx="50">
                  <c:v>0.6508624766918765</c:v>
                </c:pt>
                <c:pt idx="51">
                  <c:v>0.6478384033241338</c:v>
                </c:pt>
                <c:pt idx="52">
                  <c:v>0.6720046060954399</c:v>
                </c:pt>
                <c:pt idx="53">
                  <c:v>0.6223482889153611</c:v>
                </c:pt>
                <c:pt idx="54">
                  <c:v>0.6134077475599639</c:v>
                </c:pt>
                <c:pt idx="55">
                  <c:v>0.6172929457833637</c:v>
                </c:pt>
                <c:pt idx="56">
                  <c:v>0.6253231548203355</c:v>
                </c:pt>
                <c:pt idx="57">
                  <c:v>0.6332131468830479</c:v>
                </c:pt>
                <c:pt idx="58">
                  <c:v>0.61371915779468</c:v>
                </c:pt>
                <c:pt idx="59">
                  <c:v>0.6193712686512517</c:v>
                </c:pt>
                <c:pt idx="60">
                  <c:v>0.646250608512872</c:v>
                </c:pt>
                <c:pt idx="61">
                  <c:v>0.6764302467749582</c:v>
                </c:pt>
                <c:pt idx="62">
                  <c:v>0.6970555188358541</c:v>
                </c:pt>
                <c:pt idx="63">
                  <c:v>0.7134597355080082</c:v>
                </c:pt>
                <c:pt idx="64">
                  <c:v>0.7223586832691138</c:v>
                </c:pt>
                <c:pt idx="65">
                  <c:v>0.7337261554011315</c:v>
                </c:pt>
                <c:pt idx="66">
                  <c:v>0.6968405759297542</c:v>
                </c:pt>
                <c:pt idx="67">
                  <c:v>0.6832044915538921</c:v>
                </c:pt>
                <c:pt idx="68">
                  <c:v>0.6513577403201697</c:v>
                </c:pt>
                <c:pt idx="69">
                  <c:v>0.6432838614629455</c:v>
                </c:pt>
                <c:pt idx="70">
                  <c:v>0.6212638732094995</c:v>
                </c:pt>
                <c:pt idx="71">
                  <c:v>0.5861939316222692</c:v>
                </c:pt>
                <c:pt idx="72">
                  <c:v>0.5682228596576485</c:v>
                </c:pt>
                <c:pt idx="73">
                  <c:v>0.5930090177399485</c:v>
                </c:pt>
                <c:pt idx="74">
                  <c:v>0.5713157614490517</c:v>
                </c:pt>
                <c:pt idx="75">
                  <c:v>0.5879980797866593</c:v>
                </c:pt>
                <c:pt idx="76">
                  <c:v>0.5964559126369637</c:v>
                </c:pt>
                <c:pt idx="77">
                  <c:v>0.6072622451206435</c:v>
                </c:pt>
                <c:pt idx="78">
                  <c:v>0.6353349054822294</c:v>
                </c:pt>
                <c:pt idx="79">
                  <c:v>0.38712328320866946</c:v>
                </c:pt>
                <c:pt idx="80">
                  <c:v>0.409164157122445</c:v>
                </c:pt>
                <c:pt idx="81">
                  <c:v>0.5399647326423105</c:v>
                </c:pt>
                <c:pt idx="82">
                  <c:v>0.46692843692466757</c:v>
                </c:pt>
                <c:pt idx="83">
                  <c:v>0.5252445222042145</c:v>
                </c:pt>
                <c:pt idx="84">
                  <c:v>0.5474135788993286</c:v>
                </c:pt>
                <c:pt idx="85">
                  <c:v>0.5690501637404869</c:v>
                </c:pt>
                <c:pt idx="86">
                  <c:v>0.6661182085196076</c:v>
                </c:pt>
                <c:pt idx="87">
                  <c:v>0.7509613236710451</c:v>
                </c:pt>
                <c:pt idx="88">
                  <c:v>0.6110222522077781</c:v>
                </c:pt>
                <c:pt idx="89">
                  <c:v>0.5370174381592117</c:v>
                </c:pt>
                <c:pt idx="90">
                  <c:v>0.6121068675467662</c:v>
                </c:pt>
                <c:pt idx="91">
                  <c:v>0.5786501340974286</c:v>
                </c:pt>
                <c:pt idx="92">
                  <c:v>0.6633052449243052</c:v>
                </c:pt>
                <c:pt idx="93">
                  <c:v>0.6781022236456618</c:v>
                </c:pt>
                <c:pt idx="94">
                  <c:v>0.6184678170270705</c:v>
                </c:pt>
                <c:pt idx="95">
                  <c:v>0.6903595894359165</c:v>
                </c:pt>
                <c:pt idx="96">
                  <c:v>0.7102867108906701</c:v>
                </c:pt>
                <c:pt idx="97">
                  <c:v>0.7469846815844857</c:v>
                </c:pt>
                <c:pt idx="98">
                  <c:v>0.77306623429439</c:v>
                </c:pt>
                <c:pt idx="99">
                  <c:v>0.7487780875127694</c:v>
                </c:pt>
                <c:pt idx="100">
                  <c:v>0.7627835566916459</c:v>
                </c:pt>
                <c:pt idx="101">
                  <c:v>0.698661557506146</c:v>
                </c:pt>
                <c:pt idx="102">
                  <c:v>0.6837847650181607</c:v>
                </c:pt>
                <c:pt idx="103">
                  <c:v>0.669719400248546</c:v>
                </c:pt>
                <c:pt idx="104">
                  <c:v>0.6915735313990561</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798860569584683</c:v>
                </c:pt>
                <c:pt idx="1">
                  <c:v>0.6200991847242264</c:v>
                </c:pt>
                <c:pt idx="2">
                  <c:v>0.6343639207466417</c:v>
                </c:pt>
                <c:pt idx="3">
                  <c:v>0.6332527993451565</c:v>
                </c:pt>
                <c:pt idx="4">
                  <c:v>0.6260830860550396</c:v>
                </c:pt>
                <c:pt idx="5">
                  <c:v>0.6579895616756106</c:v>
                </c:pt>
                <c:pt idx="6">
                  <c:v>0.6814797421353993</c:v>
                </c:pt>
                <c:pt idx="7">
                  <c:v>0.6874391803130886</c:v>
                </c:pt>
                <c:pt idx="8">
                  <c:v>0.7123463076164005</c:v>
                </c:pt>
                <c:pt idx="9">
                  <c:v>0.7138947627249702</c:v>
                </c:pt>
                <c:pt idx="10">
                  <c:v>0.7231409715786665</c:v>
                </c:pt>
                <c:pt idx="11">
                  <c:v>0.7239984966919096</c:v>
                </c:pt>
                <c:pt idx="12">
                  <c:v>0.7246718181224456</c:v>
                </c:pt>
                <c:pt idx="13">
                  <c:v>0.6911760349120339</c:v>
                </c:pt>
                <c:pt idx="14">
                  <c:v>0.6932807259070798</c:v>
                </c:pt>
                <c:pt idx="15">
                  <c:v>0.7035276863096367</c:v>
                </c:pt>
                <c:pt idx="16">
                  <c:v>0.7041931601399192</c:v>
                </c:pt>
                <c:pt idx="17">
                  <c:v>0.688392174591281</c:v>
                </c:pt>
                <c:pt idx="18">
                  <c:v>0.7274455829564516</c:v>
                </c:pt>
                <c:pt idx="19">
                  <c:v>0.7417587622175146</c:v>
                </c:pt>
                <c:pt idx="20">
                  <c:v>0.6843338779973717</c:v>
                </c:pt>
                <c:pt idx="21">
                  <c:v>0.7042248586066497</c:v>
                </c:pt>
                <c:pt idx="22">
                  <c:v>0.7110276473317912</c:v>
                </c:pt>
                <c:pt idx="23">
                  <c:v>0.6821193522704041</c:v>
                </c:pt>
                <c:pt idx="24">
                  <c:v>0.678302995317231</c:v>
                </c:pt>
                <c:pt idx="25">
                  <c:v>0.7161534810600528</c:v>
                </c:pt>
                <c:pt idx="26">
                  <c:v>0.7312765644265896</c:v>
                </c:pt>
                <c:pt idx="27">
                  <c:v>0.7507198836409921</c:v>
                </c:pt>
                <c:pt idx="28">
                  <c:v>0.719192340733003</c:v>
                </c:pt>
                <c:pt idx="29">
                  <c:v>0.669355486660953</c:v>
                </c:pt>
                <c:pt idx="30">
                  <c:v>0.6943568799080995</c:v>
                </c:pt>
                <c:pt idx="31">
                  <c:v>0.6722441106364951</c:v>
                </c:pt>
                <c:pt idx="32">
                  <c:v>0.6615352985733034</c:v>
                </c:pt>
                <c:pt idx="33">
                  <c:v>0.7051580072946793</c:v>
                </c:pt>
                <c:pt idx="34">
                  <c:v>0.7393738180002213</c:v>
                </c:pt>
                <c:pt idx="35">
                  <c:v>0.7063857437902515</c:v>
                </c:pt>
                <c:pt idx="36">
                  <c:v>0.6358131874610368</c:v>
                </c:pt>
                <c:pt idx="37">
                  <c:v>0.6870326458500325</c:v>
                </c:pt>
                <c:pt idx="38">
                  <c:v>0.6806879258698383</c:v>
                </c:pt>
                <c:pt idx="39">
                  <c:v>0.6967253798861647</c:v>
                </c:pt>
                <c:pt idx="40">
                  <c:v>0.7372163902230046</c:v>
                </c:pt>
                <c:pt idx="41">
                  <c:v>0.7752604986160394</c:v>
                </c:pt>
                <c:pt idx="42">
                  <c:v>0.7326662345500841</c:v>
                </c:pt>
                <c:pt idx="43">
                  <c:v>0.7946716251117966</c:v>
                </c:pt>
                <c:pt idx="44">
                  <c:v>0.7932466570389455</c:v>
                </c:pt>
                <c:pt idx="45">
                  <c:v>0.7930747845176852</c:v>
                </c:pt>
                <c:pt idx="46">
                  <c:v>0.7398023139524676</c:v>
                </c:pt>
                <c:pt idx="47">
                  <c:v>0.7518392004342958</c:v>
                </c:pt>
                <c:pt idx="48">
                  <c:v>0.7829448263316149</c:v>
                </c:pt>
                <c:pt idx="49">
                  <c:v>0.842328149092238</c:v>
                </c:pt>
                <c:pt idx="50">
                  <c:v>0.7692357942889765</c:v>
                </c:pt>
                <c:pt idx="51">
                  <c:v>0.7410534134879897</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237615987606513</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237615987606513</c:v>
                </c:pt>
                <c:pt idx="1">
                  <c:v>0.4237615987606513</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67350823219857</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67350823219857</c:v>
                </c:pt>
                <c:pt idx="1">
                  <c:v>0.6267350823219857</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838078751329278</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838078751329278</c:v>
                </c:pt>
                <c:pt idx="1">
                  <c:v>0.7838078751329278</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798860569584683</c:v>
                </c:pt>
                <c:pt idx="1">
                  <c:v>0.6200991847242264</c:v>
                </c:pt>
                <c:pt idx="2">
                  <c:v>0.6343639207466417</c:v>
                </c:pt>
                <c:pt idx="3">
                  <c:v>0.6332527993451565</c:v>
                </c:pt>
                <c:pt idx="4">
                  <c:v>0.6260830860550396</c:v>
                </c:pt>
                <c:pt idx="5">
                  <c:v>0.6579895616756106</c:v>
                </c:pt>
                <c:pt idx="6">
                  <c:v>0.6814797421353993</c:v>
                </c:pt>
                <c:pt idx="7">
                  <c:v>0.6874391803130886</c:v>
                </c:pt>
                <c:pt idx="8">
                  <c:v>0.7123463076164005</c:v>
                </c:pt>
                <c:pt idx="9">
                  <c:v>0.7138947627249702</c:v>
                </c:pt>
                <c:pt idx="10">
                  <c:v>0.7231409715786665</c:v>
                </c:pt>
                <c:pt idx="11">
                  <c:v>0.7239984966919096</c:v>
                </c:pt>
                <c:pt idx="12">
                  <c:v>0.7246718181224456</c:v>
                </c:pt>
                <c:pt idx="13">
                  <c:v>0.6911760349120339</c:v>
                </c:pt>
                <c:pt idx="14">
                  <c:v>0.6932807259070798</c:v>
                </c:pt>
                <c:pt idx="15">
                  <c:v>0.7035276863096367</c:v>
                </c:pt>
                <c:pt idx="16">
                  <c:v>0.7041931601399192</c:v>
                </c:pt>
                <c:pt idx="17">
                  <c:v>0.688392174591281</c:v>
                </c:pt>
                <c:pt idx="18">
                  <c:v>0.7274455829564516</c:v>
                </c:pt>
                <c:pt idx="19">
                  <c:v>0.7417587622175146</c:v>
                </c:pt>
                <c:pt idx="20">
                  <c:v>0.6843338779973717</c:v>
                </c:pt>
                <c:pt idx="21">
                  <c:v>0.7042248586066497</c:v>
                </c:pt>
                <c:pt idx="22">
                  <c:v>0.7110276473317912</c:v>
                </c:pt>
                <c:pt idx="23">
                  <c:v>0.6821193522704041</c:v>
                </c:pt>
                <c:pt idx="24">
                  <c:v>0.678302995317231</c:v>
                </c:pt>
                <c:pt idx="25">
                  <c:v>0.7161534810600528</c:v>
                </c:pt>
                <c:pt idx="26">
                  <c:v>0.7312765644265896</c:v>
                </c:pt>
                <c:pt idx="27">
                  <c:v>0.7507198836409921</c:v>
                </c:pt>
                <c:pt idx="28">
                  <c:v>0.719192340733003</c:v>
                </c:pt>
                <c:pt idx="29">
                  <c:v>0.669355486660953</c:v>
                </c:pt>
                <c:pt idx="30">
                  <c:v>0.6943568799080995</c:v>
                </c:pt>
                <c:pt idx="31">
                  <c:v>0.6722441106364951</c:v>
                </c:pt>
                <c:pt idx="32">
                  <c:v>0.6615352985733034</c:v>
                </c:pt>
                <c:pt idx="33">
                  <c:v>0.7051580072946793</c:v>
                </c:pt>
                <c:pt idx="34">
                  <c:v>0.7393738180002213</c:v>
                </c:pt>
                <c:pt idx="35">
                  <c:v>0.7063857437902515</c:v>
                </c:pt>
                <c:pt idx="36">
                  <c:v>0.6358131874610368</c:v>
                </c:pt>
                <c:pt idx="37">
                  <c:v>0.6870326458500325</c:v>
                </c:pt>
                <c:pt idx="38">
                  <c:v>0.6806879258698383</c:v>
                </c:pt>
                <c:pt idx="39">
                  <c:v>0.6967253798861647</c:v>
                </c:pt>
                <c:pt idx="40">
                  <c:v>0.7372163902230046</c:v>
                </c:pt>
                <c:pt idx="41">
                  <c:v>0.7752604986160394</c:v>
                </c:pt>
                <c:pt idx="42">
                  <c:v>0.7326662345500841</c:v>
                </c:pt>
                <c:pt idx="43">
                  <c:v>0.7946716251117966</c:v>
                </c:pt>
                <c:pt idx="44">
                  <c:v>0.7932466570389455</c:v>
                </c:pt>
                <c:pt idx="45">
                  <c:v>0.7930747845176852</c:v>
                </c:pt>
                <c:pt idx="46">
                  <c:v>0.7398023139524676</c:v>
                </c:pt>
                <c:pt idx="47">
                  <c:v>0.7518392004342958</c:v>
                </c:pt>
                <c:pt idx="48">
                  <c:v>0.7829448263316149</c:v>
                </c:pt>
                <c:pt idx="49">
                  <c:v>0.842328149092238</c:v>
                </c:pt>
                <c:pt idx="50">
                  <c:v>0.7692357942889765</c:v>
                </c:pt>
                <c:pt idx="51">
                  <c:v>0.7410534134879897</c:v>
                </c:pt>
                <c:pt idx="52">
                  <c:v>0.6267350823219857</c:v>
                </c:pt>
                <c:pt idx="53">
                  <c:v>0.4237615987606513</c:v>
                </c:pt>
                <c:pt idx="54">
                  <c:v>0.7838078751329278</c:v>
                </c:pt>
              </c:numCache>
            </c:numRef>
          </c:xVal>
          <c:yVal>
            <c:numRef>
              <c:f>Sheet1!$B$187:$B$241</c:f>
              <c:numCache>
                <c:formatCode>General</c:formatCode>
                <c:ptCount val="55"/>
                <c:pt idx="0">
                  <c:v>0.21063391749792337</c:v>
                </c:pt>
                <c:pt idx="1">
                  <c:v>0.21763828225715304</c:v>
                </c:pt>
                <c:pt idx="2">
                  <c:v>0.21596708905768852</c:v>
                </c:pt>
                <c:pt idx="3">
                  <c:v>0.2160972631125763</c:v>
                </c:pt>
                <c:pt idx="4">
                  <c:v>0.21693723491953618</c:v>
                </c:pt>
                <c:pt idx="5">
                  <c:v>0.2131992137607716</c:v>
                </c:pt>
                <c:pt idx="6">
                  <c:v>0.210447208411573</c:v>
                </c:pt>
                <c:pt idx="7">
                  <c:v>0.2097490270684669</c:v>
                </c:pt>
                <c:pt idx="8">
                  <c:v>0.20683101851211616</c:v>
                </c:pt>
                <c:pt idx="9">
                  <c:v>0.2066496083799517</c:v>
                </c:pt>
                <c:pt idx="10">
                  <c:v>0.2055663635633042</c:v>
                </c:pt>
                <c:pt idx="11">
                  <c:v>0.2054658997246906</c:v>
                </c:pt>
                <c:pt idx="12">
                  <c:v>0.20538701637248574</c:v>
                </c:pt>
                <c:pt idx="13">
                  <c:v>0.20931123375891444</c:v>
                </c:pt>
                <c:pt idx="14">
                  <c:v>0.20906465749754038</c:v>
                </c:pt>
                <c:pt idx="15">
                  <c:v>0.20786416906838012</c:v>
                </c:pt>
                <c:pt idx="16">
                  <c:v>0.207786205106212</c:v>
                </c:pt>
                <c:pt idx="17">
                  <c:v>0.20963737848595257</c:v>
                </c:pt>
                <c:pt idx="18">
                  <c:v>0.20506205438789515</c:v>
                </c:pt>
                <c:pt idx="19">
                  <c:v>0.20338518579346637</c:v>
                </c:pt>
                <c:pt idx="20">
                  <c:v>0.21011283051384105</c:v>
                </c:pt>
                <c:pt idx="21">
                  <c:v>0.20778249145445216</c:v>
                </c:pt>
                <c:pt idx="22">
                  <c:v>0.20698550690198753</c:v>
                </c:pt>
                <c:pt idx="23">
                  <c:v>0.2103722745252221</c:v>
                </c:pt>
                <c:pt idx="24">
                  <c:v>0.2108193819779538</c:v>
                </c:pt>
                <c:pt idx="25">
                  <c:v>0.2063849869586254</c:v>
                </c:pt>
                <c:pt idx="26">
                  <c:v>0.20461323359162464</c:v>
                </c:pt>
                <c:pt idx="27">
                  <c:v>0.20233534055560434</c:v>
                </c:pt>
                <c:pt idx="28">
                  <c:v>0.2060289676385636</c:v>
                </c:pt>
                <c:pt idx="29">
                  <c:v>0.21186763240439177</c:v>
                </c:pt>
                <c:pt idx="30">
                  <c:v>0.20893858006818913</c:v>
                </c:pt>
                <c:pt idx="31">
                  <c:v>0.2115292140322501</c:v>
                </c:pt>
                <c:pt idx="32">
                  <c:v>0.2127838109533728</c:v>
                </c:pt>
                <c:pt idx="33">
                  <c:v>0.20767316789325385</c:v>
                </c:pt>
                <c:pt idx="34">
                  <c:v>0.20366459527926267</c:v>
                </c:pt>
                <c:pt idx="35">
                  <c:v>0.20752933173120286</c:v>
                </c:pt>
                <c:pt idx="36">
                  <c:v>0.21579729939782372</c:v>
                </c:pt>
                <c:pt idx="37">
                  <c:v>0.20979665484292692</c:v>
                </c:pt>
                <c:pt idx="38">
                  <c:v>0.21053997409305153</c:v>
                </c:pt>
                <c:pt idx="39">
                  <c:v>0.20866109711652042</c:v>
                </c:pt>
                <c:pt idx="40">
                  <c:v>0.2039173499481156</c:v>
                </c:pt>
                <c:pt idx="41">
                  <c:v>0.19946027095792437</c:v>
                </c:pt>
                <c:pt idx="42">
                  <c:v>0.204450426004002</c:v>
                </c:pt>
                <c:pt idx="43">
                  <c:v>0.19718614947802598</c:v>
                </c:pt>
                <c:pt idx="44">
                  <c:v>0.197353092416827</c:v>
                </c:pt>
                <c:pt idx="45">
                  <c:v>0.19737322823905698</c:v>
                </c:pt>
                <c:pt idx="46">
                  <c:v>0.20361439459414188</c:v>
                </c:pt>
                <c:pt idx="47">
                  <c:v>0.20220420636496272</c:v>
                </c:pt>
                <c:pt idx="48">
                  <c:v>0.19856000920751082</c:v>
                </c:pt>
                <c:pt idx="49">
                  <c:v>0.19160292251461897</c:v>
                </c:pt>
                <c:pt idx="50">
                  <c:v>0.20016609859359535</c:v>
                </c:pt>
                <c:pt idx="51">
                  <c:v>0.2034678213219599</c:v>
                </c:pt>
                <c:pt idx="52">
                  <c:v>0.21686084992890722</c:v>
                </c:pt>
                <c:pt idx="53">
                  <c:v>0.24064032295009066</c:v>
                </c:pt>
                <c:pt idx="54">
                  <c:v>0.19845889823810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3.8986</c:v>
                </c:pt>
                <c:pt idx="1">
                  <c:v>938.2474</c:v>
                </c:pt>
                <c:pt idx="2">
                  <c:v>1036.7211</c:v>
                </c:pt>
                <c:pt idx="3">
                  <c:v>1069.8398</c:v>
                </c:pt>
                <c:pt idx="4">
                  <c:v>1091.1692</c:v>
                </c:pt>
                <c:pt idx="5">
                  <c:v>1108.1333</c:v>
                </c:pt>
                <c:pt idx="6">
                  <c:v>1003.0</c:v>
                </c:pt>
                <c:pt idx="7">
                  <c:v>1044.1808</c:v>
                </c:pt>
                <c:pt idx="8">
                  <c:v>1082.2026</c:v>
                </c:pt>
                <c:pt idx="9">
                  <c:v>973.6623</c:v>
                </c:pt>
                <c:pt idx="10">
                  <c:v>987.7965</c:v>
                </c:pt>
                <c:pt idx="11">
                  <c:v>1028.6453</c:v>
                </c:pt>
                <c:pt idx="12">
                  <c:v>1044.6654</c:v>
                </c:pt>
                <c:pt idx="13">
                  <c:v>1005.6308</c:v>
                </c:pt>
                <c:pt idx="14">
                  <c:v>1006.5422</c:v>
                </c:pt>
                <c:pt idx="15">
                  <c:v>1016.9028</c:v>
                </c:pt>
                <c:pt idx="16">
                  <c:v>1020.5079</c:v>
                </c:pt>
                <c:pt idx="17">
                  <c:v>1037.4345</c:v>
                </c:pt>
                <c:pt idx="18">
                  <c:v>1048.441</c:v>
                </c:pt>
                <c:pt idx="19">
                  <c:v>1087.9919</c:v>
                </c:pt>
                <c:pt idx="20">
                  <c:v>1123.4539</c:v>
                </c:pt>
                <c:pt idx="21">
                  <c:v>1124.7164</c:v>
                </c:pt>
                <c:pt idx="22">
                  <c:v>1073.8841</c:v>
                </c:pt>
                <c:pt idx="23">
                  <c:v>1059.7888</c:v>
                </c:pt>
                <c:pt idx="24">
                  <c:v>1053.933</c:v>
                </c:pt>
                <c:pt idx="25">
                  <c:v>1014.2754</c:v>
                </c:pt>
                <c:pt idx="26">
                  <c:v>1054.071</c:v>
                </c:pt>
                <c:pt idx="27">
                  <c:v>1122.931</c:v>
                </c:pt>
                <c:pt idx="28">
                  <c:v>1120.6849</c:v>
                </c:pt>
                <c:pt idx="29">
                  <c:v>1028.2437</c:v>
                </c:pt>
                <c:pt idx="30">
                  <c:v>1105.9344</c:v>
                </c:pt>
                <c:pt idx="31">
                  <c:v>1105.2667</c:v>
                </c:pt>
                <c:pt idx="32">
                  <c:v>1040.3838</c:v>
                </c:pt>
                <c:pt idx="33">
                  <c:v>989.652</c:v>
                </c:pt>
                <c:pt idx="34">
                  <c:v>993.825</c:v>
                </c:pt>
                <c:pt idx="35">
                  <c:v>1102.0</c:v>
                </c:pt>
                <c:pt idx="36">
                  <c:v>1160.0405</c:v>
                </c:pt>
                <c:pt idx="37">
                  <c:v>1157.0072</c:v>
                </c:pt>
                <c:pt idx="38">
                  <c:v>1162.4654</c:v>
                </c:pt>
                <c:pt idx="39">
                  <c:v>1176.5537</c:v>
                </c:pt>
                <c:pt idx="40">
                  <c:v>1194.4483</c:v>
                </c:pt>
                <c:pt idx="41">
                  <c:v>1261.4595</c:v>
                </c:pt>
                <c:pt idx="42">
                  <c:v>1329.2642</c:v>
                </c:pt>
                <c:pt idx="43">
                  <c:v>1291.6952</c:v>
                </c:pt>
                <c:pt idx="44">
                  <c:v>1229.3038</c:v>
                </c:pt>
                <c:pt idx="45">
                  <c:v>1178.9417</c:v>
                </c:pt>
                <c:pt idx="46">
                  <c:v>1195.0065</c:v>
                </c:pt>
                <c:pt idx="47">
                  <c:v>1149.9658</c:v>
                </c:pt>
                <c:pt idx="48">
                  <c:v>1173.4079</c:v>
                </c:pt>
                <c:pt idx="49">
                  <c:v>1087.6267</c:v>
                </c:pt>
                <c:pt idx="50">
                  <c:v>1065.8058</c:v>
                </c:pt>
                <c:pt idx="51">
                  <c:v>1081.0025</c:v>
                </c:pt>
                <c:pt idx="52">
                  <c:v>1101.6</c:v>
                </c:pt>
                <c:pt idx="53">
                  <c:v>1192.5545</c:v>
                </c:pt>
                <c:pt idx="54">
                  <c:v>1198.92</c:v>
                </c:pt>
                <c:pt idx="55">
                  <c:v>1230.4545</c:v>
                </c:pt>
                <c:pt idx="56">
                  <c:v>1225.8527</c:v>
                </c:pt>
                <c:pt idx="57">
                  <c:v>1200.9551</c:v>
                </c:pt>
                <c:pt idx="58">
                  <c:v>1153.4613</c:v>
                </c:pt>
                <c:pt idx="59">
                  <c:v>1135.7423</c:v>
                </c:pt>
                <c:pt idx="60">
                  <c:v>1166.1128</c:v>
                </c:pt>
                <c:pt idx="61">
                  <c:v>1205.0379</c:v>
                </c:pt>
                <c:pt idx="62">
                  <c:v>1132.738</c:v>
                </c:pt>
                <c:pt idx="63">
                  <c:v>1169.808</c:v>
                </c:pt>
                <c:pt idx="64">
                  <c:v>1145.9975</c:v>
                </c:pt>
                <c:pt idx="65">
                  <c:v>1137.1898</c:v>
                </c:pt>
                <c:pt idx="66">
                  <c:v>1143.8632</c:v>
                </c:pt>
                <c:pt idx="67">
                  <c:v>1141.129</c:v>
                </c:pt>
                <c:pt idx="68">
                  <c:v>1173.9534</c:v>
                </c:pt>
                <c:pt idx="69">
                  <c:v>1149.0166</c:v>
                </c:pt>
                <c:pt idx="70">
                  <c:v>1143.5337</c:v>
                </c:pt>
                <c:pt idx="71">
                  <c:v>1216.5879</c:v>
                </c:pt>
                <c:pt idx="72">
                  <c:v>1274.2343</c:v>
                </c:pt>
                <c:pt idx="73">
                  <c:v>1313.1728</c:v>
                </c:pt>
                <c:pt idx="74">
                  <c:v>1031.5152</c:v>
                </c:pt>
                <c:pt idx="75">
                  <c:v>1271.2081</c:v>
                </c:pt>
                <c:pt idx="76">
                  <c:v>1340.8163</c:v>
                </c:pt>
                <c:pt idx="77">
                  <c:v>1254.942</c:v>
                </c:pt>
                <c:pt idx="78">
                  <c:v>1321.7015</c:v>
                </c:pt>
                <c:pt idx="79">
                  <c:v>1322.474</c:v>
                </c:pt>
                <c:pt idx="80">
                  <c:v>1319.1579</c:v>
                </c:pt>
                <c:pt idx="81">
                  <c:v>1329.3858</c:v>
                </c:pt>
                <c:pt idx="82">
                  <c:v>1362.2535</c:v>
                </c:pt>
                <c:pt idx="83">
                  <c:v>1303.2743</c:v>
                </c:pt>
                <c:pt idx="84">
                  <c:v>1267.6609</c:v>
                </c:pt>
                <c:pt idx="85">
                  <c:v>1264.8117</c:v>
                </c:pt>
                <c:pt idx="86">
                  <c:v>1290.4837</c:v>
                </c:pt>
                <c:pt idx="87">
                  <c:v>1295.3943</c:v>
                </c:pt>
                <c:pt idx="88">
                  <c:v>1327.4023</c:v>
                </c:pt>
                <c:pt idx="89">
                  <c:v>1335.0602</c:v>
                </c:pt>
                <c:pt idx="90">
                  <c:v>1421.5323</c:v>
                </c:pt>
                <c:pt idx="91">
                  <c:v>1417.1901</c:v>
                </c:pt>
                <c:pt idx="92">
                  <c:v>1380.2174</c:v>
                </c:pt>
                <c:pt idx="93">
                  <c:v>1398.6552</c:v>
                </c:pt>
                <c:pt idx="94">
                  <c:v>1366.2958</c:v>
                </c:pt>
                <c:pt idx="95">
                  <c:v>1285.7089</c:v>
                </c:pt>
                <c:pt idx="96">
                  <c:v>1252.0315</c:v>
                </c:pt>
                <c:pt idx="97">
                  <c:v>1235.979</c:v>
                </c:pt>
                <c:pt idx="98">
                  <c:v>1213.9311</c:v>
                </c:pt>
                <c:pt idx="99">
                  <c:v>1136.844</c:v>
                </c:pt>
                <c:pt idx="100">
                  <c:v>1186.2042</c:v>
                </c:pt>
                <c:pt idx="101">
                  <c:v>1166.5978</c:v>
                </c:pt>
                <c:pt idx="102">
                  <c:v>1178.7911</c:v>
                </c:pt>
                <c:pt idx="103">
                  <c:v>1164.5417</c:v>
                </c:pt>
                <c:pt idx="104">
                  <c:v>1206.0727</c:v>
                </c:pt>
              </c:numCache>
            </c:numRef>
          </c:xVal>
          <c:yVal>
            <c:numRef>
              <c:f>Sheet1!$B$2:$B$106</c:f>
              <c:numCache>
                <c:formatCode>General</c:formatCode>
                <c:ptCount val="105"/>
                <c:pt idx="0">
                  <c:v>0.5007052186177715</c:v>
                </c:pt>
                <c:pt idx="1">
                  <c:v>0.4957410562180579</c:v>
                </c:pt>
                <c:pt idx="2">
                  <c:v>0.4155629139072848</c:v>
                </c:pt>
                <c:pt idx="3">
                  <c:v>0.4074074074074074</c:v>
                </c:pt>
                <c:pt idx="4">
                  <c:v>0.3771106941838649</c:v>
                </c:pt>
                <c:pt idx="5">
                  <c:v>0.3829787234042553</c:v>
                </c:pt>
                <c:pt idx="6">
                  <c:v>0.4027504911591356</c:v>
                </c:pt>
                <c:pt idx="7">
                  <c:v>0.3933333333333333</c:v>
                </c:pt>
                <c:pt idx="8">
                  <c:v>0.42265193370165743</c:v>
                </c:pt>
                <c:pt idx="9">
                  <c:v>0.44680851063829785</c:v>
                </c:pt>
                <c:pt idx="10">
                  <c:v>0.4685598377281947</c:v>
                </c:pt>
                <c:pt idx="11">
                  <c:v>0.49754901960784315</c:v>
                </c:pt>
                <c:pt idx="12">
                  <c:v>0.5557986870897156</c:v>
                </c:pt>
                <c:pt idx="13">
                  <c:v>0.6065217391304348</c:v>
                </c:pt>
                <c:pt idx="14">
                  <c:v>0.6450777202072538</c:v>
                </c:pt>
                <c:pt idx="15">
                  <c:v>0.627906976744186</c:v>
                </c:pt>
                <c:pt idx="16">
                  <c:v>0.6121794871794872</c:v>
                </c:pt>
                <c:pt idx="17">
                  <c:v>0.5833333333333334</c:v>
                </c:pt>
                <c:pt idx="18">
                  <c:v>0.5570934256055363</c:v>
                </c:pt>
                <c:pt idx="19">
                  <c:v>0.492</c:v>
                </c:pt>
                <c:pt idx="20">
                  <c:v>0.459214501510574</c:v>
                </c:pt>
                <c:pt idx="21">
                  <c:v>0.475177304964539</c:v>
                </c:pt>
                <c:pt idx="22">
                  <c:v>0.5093167701863354</c:v>
                </c:pt>
                <c:pt idx="23">
                  <c:v>0.47352941176470587</c:v>
                </c:pt>
                <c:pt idx="24">
                  <c:v>0.5122549019607843</c:v>
                </c:pt>
                <c:pt idx="25">
                  <c:v>0.5091463414634146</c:v>
                </c:pt>
                <c:pt idx="26">
                  <c:v>0.5382165605095541</c:v>
                </c:pt>
                <c:pt idx="27">
                  <c:v>0.5420560747663551</c:v>
                </c:pt>
                <c:pt idx="28">
                  <c:v>0.4899328859060403</c:v>
                </c:pt>
                <c:pt idx="29">
                  <c:v>0.49747474747474746</c:v>
                </c:pt>
                <c:pt idx="30">
                  <c:v>0.45864661654135336</c:v>
                </c:pt>
                <c:pt idx="31">
                  <c:v>0.5154639175257731</c:v>
                </c:pt>
                <c:pt idx="32">
                  <c:v>0.5182072829131653</c:v>
                </c:pt>
                <c:pt idx="33">
                  <c:v>0.5033259423503326</c:v>
                </c:pt>
                <c:pt idx="34">
                  <c:v>0.5263157894736842</c:v>
                </c:pt>
                <c:pt idx="35">
                  <c:v>0.5240549828178694</c:v>
                </c:pt>
                <c:pt idx="36">
                  <c:v>0.48055555555555557</c:v>
                </c:pt>
                <c:pt idx="37">
                  <c:v>0.44126984126984126</c:v>
                </c:pt>
                <c:pt idx="38">
                  <c:v>0.521311475409836</c:v>
                </c:pt>
                <c:pt idx="39">
                  <c:v>0.580327868852459</c:v>
                </c:pt>
                <c:pt idx="40">
                  <c:v>0.5471698113207547</c:v>
                </c:pt>
                <c:pt idx="41">
                  <c:v>0.46835443037974683</c:v>
                </c:pt>
                <c:pt idx="42">
                  <c:v>0.5406162464985994</c:v>
                </c:pt>
                <c:pt idx="43">
                  <c:v>0.4585152838427948</c:v>
                </c:pt>
                <c:pt idx="44">
                  <c:v>0.511326860841424</c:v>
                </c:pt>
                <c:pt idx="45">
                  <c:v>0.5169385194479298</c:v>
                </c:pt>
                <c:pt idx="46">
                  <c:v>0.5</c:v>
                </c:pt>
                <c:pt idx="47">
                  <c:v>0.5131578947368421</c:v>
                </c:pt>
                <c:pt idx="48">
                  <c:v>0.4959713518352731</c:v>
                </c:pt>
                <c:pt idx="49">
                  <c:v>0.5597014925373134</c:v>
                </c:pt>
                <c:pt idx="50">
                  <c:v>0.5531914893617021</c:v>
                </c:pt>
                <c:pt idx="51">
                  <c:v>0.5432098765432098</c:v>
                </c:pt>
                <c:pt idx="52">
                  <c:v>0.5051813471502591</c:v>
                </c:pt>
                <c:pt idx="53">
                  <c:v>0.4975369458128079</c:v>
                </c:pt>
                <c:pt idx="54">
                  <c:v>0.487012987012987</c:v>
                </c:pt>
                <c:pt idx="55">
                  <c:v>0.4700854700854701</c:v>
                </c:pt>
                <c:pt idx="56">
                  <c:v>0.4965986394557823</c:v>
                </c:pt>
                <c:pt idx="57">
                  <c:v>0.5049645390070922</c:v>
                </c:pt>
                <c:pt idx="58">
                  <c:v>0.49725274725274726</c:v>
                </c:pt>
                <c:pt idx="59">
                  <c:v>0.5089192025183631</c:v>
                </c:pt>
                <c:pt idx="60">
                  <c:v>0.5304948216340621</c:v>
                </c:pt>
                <c:pt idx="61">
                  <c:v>0.5008635578583766</c:v>
                </c:pt>
                <c:pt idx="62">
                  <c:v>0.531437125748503</c:v>
                </c:pt>
                <c:pt idx="63">
                  <c:v>0.5493150684931507</c:v>
                </c:pt>
                <c:pt idx="64">
                  <c:v>0.5627586206896552</c:v>
                </c:pt>
                <c:pt idx="65">
                  <c:v>0.5469522240527183</c:v>
                </c:pt>
                <c:pt idx="66">
                  <c:v>0.5082781456953642</c:v>
                </c:pt>
                <c:pt idx="67">
                  <c:v>0.5568862275449101</c:v>
                </c:pt>
                <c:pt idx="68">
                  <c:v>0.5566037735849056</c:v>
                </c:pt>
                <c:pt idx="69">
                  <c:v>0.5261627906976745</c:v>
                </c:pt>
                <c:pt idx="70">
                  <c:v>0.4822485207100592</c:v>
                </c:pt>
                <c:pt idx="71">
                  <c:v>0.4896142433234421</c:v>
                </c:pt>
                <c:pt idx="72">
                  <c:v>0.4781420765027322</c:v>
                </c:pt>
                <c:pt idx="73">
                  <c:v>0.46153846153846156</c:v>
                </c:pt>
                <c:pt idx="74">
                  <c:v>0.5238095238095238</c:v>
                </c:pt>
                <c:pt idx="75">
                  <c:v>0.4726775956284153</c:v>
                </c:pt>
                <c:pt idx="76">
                  <c:v>0.4551083591331269</c:v>
                </c:pt>
                <c:pt idx="77">
                  <c:v>0.4709897610921502</c:v>
                </c:pt>
                <c:pt idx="78">
                  <c:v>0.46853146853146854</c:v>
                </c:pt>
                <c:pt idx="79">
                  <c:v>0.47384615384615386</c:v>
                </c:pt>
                <c:pt idx="80">
                  <c:v>0.4550898203592814</c:v>
                </c:pt>
                <c:pt idx="81">
                  <c:v>0.45080091533180777</c:v>
                </c:pt>
                <c:pt idx="82">
                  <c:v>0.45222929936305734</c:v>
                </c:pt>
                <c:pt idx="83">
                  <c:v>0.42803030303030304</c:v>
                </c:pt>
                <c:pt idx="84">
                  <c:v>0.452755905511811</c:v>
                </c:pt>
                <c:pt idx="85">
                  <c:v>0.4476744186046512</c:v>
                </c:pt>
                <c:pt idx="86">
                  <c:v>0.48423423423423423</c:v>
                </c:pt>
                <c:pt idx="87">
                  <c:v>0.539651837524178</c:v>
                </c:pt>
                <c:pt idx="88">
                  <c:v>0.5014409221902018</c:v>
                </c:pt>
                <c:pt idx="89">
                  <c:v>0.44333333333333336</c:v>
                </c:pt>
                <c:pt idx="90">
                  <c:v>0.43661971830985913</c:v>
                </c:pt>
                <c:pt idx="91">
                  <c:v>0.40468227424749165</c:v>
                </c:pt>
                <c:pt idx="92">
                  <c:v>0.4423076923076923</c:v>
                </c:pt>
                <c:pt idx="93">
                  <c:v>0.47411444141689374</c:v>
                </c:pt>
                <c:pt idx="94">
                  <c:v>0.4797297297297297</c:v>
                </c:pt>
                <c:pt idx="95">
                  <c:v>0.494199535962877</c:v>
                </c:pt>
                <c:pt idx="96">
                  <c:v>0.4774624373956594</c:v>
                </c:pt>
                <c:pt idx="97">
                  <c:v>0.47776183644189385</c:v>
                </c:pt>
                <c:pt idx="98">
                  <c:v>0.49019607843137253</c:v>
                </c:pt>
                <c:pt idx="99">
                  <c:v>0.5043706293706294</c:v>
                </c:pt>
                <c:pt idx="100">
                  <c:v>0.512576478585996</c:v>
                </c:pt>
                <c:pt idx="101">
                  <c:v>0.5072463768115942</c:v>
                </c:pt>
                <c:pt idx="102">
                  <c:v>0.47096774193548385</c:v>
                </c:pt>
                <c:pt idx="103">
                  <c:v>0.47058823529411764</c:v>
                </c:pt>
                <c:pt idx="104">
                  <c:v>0.449346405228758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0.814</c:v>
                </c:pt>
                <c:pt idx="1">
                  <c:v>1290.5542</c:v>
                </c:pt>
                <c:pt idx="2">
                  <c:v>1290.9934</c:v>
                </c:pt>
                <c:pt idx="3">
                  <c:v>1309.5032</c:v>
                </c:pt>
                <c:pt idx="4">
                  <c:v>1316.3283</c:v>
                </c:pt>
                <c:pt idx="5">
                  <c:v>1323.1023</c:v>
                </c:pt>
                <c:pt idx="6">
                  <c:v>1208.5501</c:v>
                </c:pt>
                <c:pt idx="7">
                  <c:v>1285.4008</c:v>
                </c:pt>
                <c:pt idx="8">
                  <c:v>1327.4721</c:v>
                </c:pt>
                <c:pt idx="9">
                  <c:v>1285.6379</c:v>
                </c:pt>
                <c:pt idx="10">
                  <c:v>1294.064</c:v>
                </c:pt>
                <c:pt idx="11">
                  <c:v>1061.2072</c:v>
                </c:pt>
                <c:pt idx="12">
                  <c:v>1150.8841</c:v>
                </c:pt>
                <c:pt idx="13">
                  <c:v>1198.6177</c:v>
                </c:pt>
                <c:pt idx="14">
                  <c:v>1196.157</c:v>
                </c:pt>
                <c:pt idx="15">
                  <c:v>1255.5022</c:v>
                </c:pt>
                <c:pt idx="16">
                  <c:v>1271.2611</c:v>
                </c:pt>
                <c:pt idx="17">
                  <c:v>1271.5092</c:v>
                </c:pt>
                <c:pt idx="18">
                  <c:v>1395.168</c:v>
                </c:pt>
                <c:pt idx="19">
                  <c:v>1488.4825</c:v>
                </c:pt>
                <c:pt idx="20">
                  <c:v>1469.1765</c:v>
                </c:pt>
                <c:pt idx="21">
                  <c:v>1416.2797</c:v>
                </c:pt>
                <c:pt idx="22">
                  <c:v>1430.9398</c:v>
                </c:pt>
                <c:pt idx="23">
                  <c:v>1381.0692</c:v>
                </c:pt>
                <c:pt idx="24">
                  <c:v>1349.1973</c:v>
                </c:pt>
                <c:pt idx="25">
                  <c:v>1236.0602</c:v>
                </c:pt>
                <c:pt idx="26">
                  <c:v>1340.3631</c:v>
                </c:pt>
                <c:pt idx="27">
                  <c:v>1395.6855</c:v>
                </c:pt>
                <c:pt idx="28">
                  <c:v>1306.1515</c:v>
                </c:pt>
                <c:pt idx="29">
                  <c:v>1314.8994</c:v>
                </c:pt>
                <c:pt idx="30">
                  <c:v>1358.2</c:v>
                </c:pt>
                <c:pt idx="31">
                  <c:v>1311.855</c:v>
                </c:pt>
                <c:pt idx="32">
                  <c:v>1267.5964</c:v>
                </c:pt>
                <c:pt idx="33">
                  <c:v>1376.6432</c:v>
                </c:pt>
                <c:pt idx="34">
                  <c:v>1384.7052</c:v>
                </c:pt>
                <c:pt idx="35">
                  <c:v>1368.27</c:v>
                </c:pt>
                <c:pt idx="36">
                  <c:v>1378.0948</c:v>
                </c:pt>
                <c:pt idx="37">
                  <c:v>1388.8814</c:v>
                </c:pt>
                <c:pt idx="38">
                  <c:v>1436.8387</c:v>
                </c:pt>
                <c:pt idx="39">
                  <c:v>1371.7405</c:v>
                </c:pt>
                <c:pt idx="40">
                  <c:v>1493.7267</c:v>
                </c:pt>
                <c:pt idx="41">
                  <c:v>1488.0809</c:v>
                </c:pt>
                <c:pt idx="42">
                  <c:v>1510.4904</c:v>
                </c:pt>
                <c:pt idx="43">
                  <c:v>1484.4902</c:v>
                </c:pt>
                <c:pt idx="44">
                  <c:v>1385.5619</c:v>
                </c:pt>
                <c:pt idx="45">
                  <c:v>1300.4475</c:v>
                </c:pt>
                <c:pt idx="46">
                  <c:v>1290.2382</c:v>
                </c:pt>
                <c:pt idx="47">
                  <c:v>1225.9528</c:v>
                </c:pt>
                <c:pt idx="48">
                  <c:v>1199.6167</c:v>
                </c:pt>
                <c:pt idx="49">
                  <c:v>1257.1217</c:v>
                </c:pt>
                <c:pt idx="50">
                  <c:v>1131.7138</c:v>
                </c:pt>
                <c:pt idx="51">
                  <c:v>1090.1488</c:v>
                </c:pt>
              </c:numCache>
            </c:numRef>
          </c:xVal>
          <c:yVal>
            <c:numRef>
              <c:f>Sheet1!$B$109:$B$160</c:f>
              <c:numCache>
                <c:formatCode>General</c:formatCode>
                <c:ptCount val="52"/>
                <c:pt idx="0">
                  <c:v>0.44952681388012616</c:v>
                </c:pt>
                <c:pt idx="1">
                  <c:v>0.45368620037807184</c:v>
                </c:pt>
                <c:pt idx="2">
                  <c:v>0.47335423197492166</c:v>
                </c:pt>
                <c:pt idx="3">
                  <c:v>0.47678018575851394</c:v>
                </c:pt>
                <c:pt idx="4">
                  <c:v>0.4431438127090301</c:v>
                </c:pt>
                <c:pt idx="5">
                  <c:v>0.43781094527363185</c:v>
                </c:pt>
                <c:pt idx="6">
                  <c:v>0.45921052631578946</c:v>
                </c:pt>
                <c:pt idx="7">
                  <c:v>0.4490909090909091</c:v>
                </c:pt>
                <c:pt idx="8">
                  <c:v>0.4602803738317757</c:v>
                </c:pt>
                <c:pt idx="9">
                  <c:v>0.48406374501992033</c:v>
                </c:pt>
                <c:pt idx="10">
                  <c:v>0.5165289256198347</c:v>
                </c:pt>
                <c:pt idx="11">
                  <c:v>0.5454545454545454</c:v>
                </c:pt>
                <c:pt idx="12">
                  <c:v>0.5214626391096979</c:v>
                </c:pt>
                <c:pt idx="13">
                  <c:v>0.5307971014492754</c:v>
                </c:pt>
                <c:pt idx="14">
                  <c:v>0.5288808664259927</c:v>
                </c:pt>
                <c:pt idx="15">
                  <c:v>0.501123595505618</c:v>
                </c:pt>
                <c:pt idx="16">
                  <c:v>0.4361111111111111</c:v>
                </c:pt>
                <c:pt idx="17">
                  <c:v>0.4465753424657534</c:v>
                </c:pt>
                <c:pt idx="18">
                  <c:v>0.4152823920265781</c:v>
                </c:pt>
                <c:pt idx="19">
                  <c:v>0.41329479768786126</c:v>
                </c:pt>
                <c:pt idx="20">
                  <c:v>0.39144736842105265</c:v>
                </c:pt>
                <c:pt idx="21">
                  <c:v>0.3933333333333333</c:v>
                </c:pt>
                <c:pt idx="22">
                  <c:v>0.4117647058823529</c:v>
                </c:pt>
                <c:pt idx="23">
                  <c:v>0.4391891891891892</c:v>
                </c:pt>
                <c:pt idx="24">
                  <c:v>0.4188034188034188</c:v>
                </c:pt>
                <c:pt idx="25">
                  <c:v>0.4585635359116022</c:v>
                </c:pt>
                <c:pt idx="26">
                  <c:v>0.4325068870523416</c:v>
                </c:pt>
                <c:pt idx="27">
                  <c:v>0.4344262295081967</c:v>
                </c:pt>
                <c:pt idx="28">
                  <c:v>0.4593967517401392</c:v>
                </c:pt>
                <c:pt idx="29">
                  <c:v>0.5028089887640449</c:v>
                </c:pt>
                <c:pt idx="30">
                  <c:v>0.5076923076923077</c:v>
                </c:pt>
                <c:pt idx="31">
                  <c:v>0.4564459930313589</c:v>
                </c:pt>
                <c:pt idx="32">
                  <c:v>0.4689265536723164</c:v>
                </c:pt>
                <c:pt idx="33">
                  <c:v>0.5112612612612613</c:v>
                </c:pt>
                <c:pt idx="34">
                  <c:v>0.5589660743134087</c:v>
                </c:pt>
                <c:pt idx="35">
                  <c:v>0.5851851851851851</c:v>
                </c:pt>
                <c:pt idx="36">
                  <c:v>0.47540983606557374</c:v>
                </c:pt>
                <c:pt idx="37">
                  <c:v>0.44866920152091255</c:v>
                </c:pt>
                <c:pt idx="38">
                  <c:v>0.44765342960288806</c:v>
                </c:pt>
                <c:pt idx="39">
                  <c:v>0.4633431085043988</c:v>
                </c:pt>
                <c:pt idx="40">
                  <c:v>0.4398826979472141</c:v>
                </c:pt>
                <c:pt idx="41">
                  <c:v>0.4625668449197861</c:v>
                </c:pt>
                <c:pt idx="42">
                  <c:v>0.45507246376811594</c:v>
                </c:pt>
                <c:pt idx="43">
                  <c:v>0.4604966139954853</c:v>
                </c:pt>
                <c:pt idx="44">
                  <c:v>0.46790890269151136</c:v>
                </c:pt>
                <c:pt idx="45">
                  <c:v>0.49617151607963245</c:v>
                </c:pt>
                <c:pt idx="46">
                  <c:v>0.47897897897897895</c:v>
                </c:pt>
                <c:pt idx="47">
                  <c:v>0.49930651872399445</c:v>
                </c:pt>
                <c:pt idx="48">
                  <c:v>0.5110456553755522</c:v>
                </c:pt>
                <c:pt idx="49">
                  <c:v>0.5105590062111801</c:v>
                </c:pt>
                <c:pt idx="50">
                  <c:v>0.526541095890411</c:v>
                </c:pt>
                <c:pt idx="51">
                  <c:v>0.516869095816464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8.8959206851017</c:v>
                </c:pt>
              </c:numCache>
            </c:numRef>
          </c:xVal>
          <c:yVal>
            <c:numRef>
              <c:f>Sheet1!$B$163:$B$164</c:f>
              <c:numCache>
                <c:formatCode>General</c:formatCode>
                <c:ptCount val="2"/>
                <c:pt idx="0">
                  <c:v>0.540555426441492</c:v>
                </c:pt>
                <c:pt idx="1">
                  <c:v>0.54055542644149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8.8959206851017</c:v>
                </c:pt>
                <c:pt idx="1">
                  <c:v>1008.8959206851017</c:v>
                </c:pt>
              </c:numCache>
            </c:numRef>
          </c:xVal>
          <c:yVal>
            <c:numRef>
              <c:f>Sheet1!$B$167:$B$168</c:f>
              <c:numCache>
                <c:formatCode>General</c:formatCode>
                <c:ptCount val="2"/>
                <c:pt idx="0">
                  <c:v>0.54055542644149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8.7316240561138</c:v>
                </c:pt>
              </c:numCache>
            </c:numRef>
          </c:xVal>
          <c:yVal>
            <c:numRef>
              <c:f>Sheet1!$B$171:$B$172</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8.7316240561138</c:v>
                </c:pt>
                <c:pt idx="1">
                  <c:v>1118.7316240561138</c:v>
                </c:pt>
              </c:numCache>
            </c:numRef>
          </c:xVal>
          <c:yVal>
            <c:numRef>
              <c:f>Sheet1!$B$175:$B$176</c:f>
              <c:numCache>
                <c:formatCode>General</c:formatCode>
                <c:ptCount val="2"/>
                <c:pt idx="0">
                  <c:v>0.51625371332340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5.6402627072175</c:v>
                </c:pt>
              </c:numCache>
            </c:numRef>
          </c:xVal>
          <c:yVal>
            <c:numRef>
              <c:f>Sheet1!$B$179:$B$180</c:f>
              <c:numCache>
                <c:formatCode>General</c:formatCode>
                <c:ptCount val="2"/>
                <c:pt idx="0">
                  <c:v>0.4837494229925173</c:v>
                </c:pt>
                <c:pt idx="1">
                  <c:v>0.483749422992517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5.6402627072175</c:v>
                </c:pt>
                <c:pt idx="1">
                  <c:v>1265.6402627072175</c:v>
                </c:pt>
              </c:numCache>
            </c:numRef>
          </c:xVal>
          <c:yVal>
            <c:numRef>
              <c:f>Sheet1!$B$183:$B$184</c:f>
              <c:numCache>
                <c:formatCode>General</c:formatCode>
                <c:ptCount val="2"/>
                <c:pt idx="0">
                  <c:v>0.48374942299251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0.814</c:v>
                </c:pt>
                <c:pt idx="1">
                  <c:v>1290.5542</c:v>
                </c:pt>
                <c:pt idx="2">
                  <c:v>1290.9934</c:v>
                </c:pt>
                <c:pt idx="3">
                  <c:v>1309.5032</c:v>
                </c:pt>
                <c:pt idx="4">
                  <c:v>1316.3283</c:v>
                </c:pt>
                <c:pt idx="5">
                  <c:v>1323.1023</c:v>
                </c:pt>
                <c:pt idx="6">
                  <c:v>1208.5501</c:v>
                </c:pt>
                <c:pt idx="7">
                  <c:v>1285.4008</c:v>
                </c:pt>
                <c:pt idx="8">
                  <c:v>1327.4721</c:v>
                </c:pt>
                <c:pt idx="9">
                  <c:v>1285.6379</c:v>
                </c:pt>
                <c:pt idx="10">
                  <c:v>1294.064</c:v>
                </c:pt>
                <c:pt idx="11">
                  <c:v>1061.2072</c:v>
                </c:pt>
                <c:pt idx="12">
                  <c:v>1150.8841</c:v>
                </c:pt>
                <c:pt idx="13">
                  <c:v>1198.6177</c:v>
                </c:pt>
                <c:pt idx="14">
                  <c:v>1196.157</c:v>
                </c:pt>
                <c:pt idx="15">
                  <c:v>1255.5022</c:v>
                </c:pt>
                <c:pt idx="16">
                  <c:v>1271.2611</c:v>
                </c:pt>
                <c:pt idx="17">
                  <c:v>1271.5092</c:v>
                </c:pt>
                <c:pt idx="18">
                  <c:v>1395.168</c:v>
                </c:pt>
                <c:pt idx="19">
                  <c:v>1488.4825</c:v>
                </c:pt>
                <c:pt idx="20">
                  <c:v>1469.1765</c:v>
                </c:pt>
                <c:pt idx="21">
                  <c:v>1416.2797</c:v>
                </c:pt>
                <c:pt idx="22">
                  <c:v>1430.9398</c:v>
                </c:pt>
                <c:pt idx="23">
                  <c:v>1381.0692</c:v>
                </c:pt>
                <c:pt idx="24">
                  <c:v>1349.1973</c:v>
                </c:pt>
                <c:pt idx="25">
                  <c:v>1236.0602</c:v>
                </c:pt>
                <c:pt idx="26">
                  <c:v>1340.3631</c:v>
                </c:pt>
                <c:pt idx="27">
                  <c:v>1395.6855</c:v>
                </c:pt>
                <c:pt idx="28">
                  <c:v>1306.1515</c:v>
                </c:pt>
                <c:pt idx="29">
                  <c:v>1314.8994</c:v>
                </c:pt>
                <c:pt idx="30">
                  <c:v>1358.2</c:v>
                </c:pt>
                <c:pt idx="31">
                  <c:v>1311.855</c:v>
                </c:pt>
                <c:pt idx="32">
                  <c:v>1267.5964</c:v>
                </c:pt>
                <c:pt idx="33">
                  <c:v>1376.6432</c:v>
                </c:pt>
                <c:pt idx="34">
                  <c:v>1384.7052</c:v>
                </c:pt>
                <c:pt idx="35">
                  <c:v>1368.27</c:v>
                </c:pt>
                <c:pt idx="36">
                  <c:v>1378.0948</c:v>
                </c:pt>
                <c:pt idx="37">
                  <c:v>1388.8814</c:v>
                </c:pt>
                <c:pt idx="38">
                  <c:v>1436.8387</c:v>
                </c:pt>
                <c:pt idx="39">
                  <c:v>1371.7405</c:v>
                </c:pt>
                <c:pt idx="40">
                  <c:v>1493.7267</c:v>
                </c:pt>
                <c:pt idx="41">
                  <c:v>1488.0809</c:v>
                </c:pt>
                <c:pt idx="42">
                  <c:v>1510.4904</c:v>
                </c:pt>
                <c:pt idx="43">
                  <c:v>1484.4902</c:v>
                </c:pt>
                <c:pt idx="44">
                  <c:v>1385.5619</c:v>
                </c:pt>
                <c:pt idx="45">
                  <c:v>1300.4475</c:v>
                </c:pt>
                <c:pt idx="46">
                  <c:v>1290.2382</c:v>
                </c:pt>
                <c:pt idx="47">
                  <c:v>1225.9528</c:v>
                </c:pt>
                <c:pt idx="48">
                  <c:v>1199.6167</c:v>
                </c:pt>
                <c:pt idx="49">
                  <c:v>1257.1217</c:v>
                </c:pt>
                <c:pt idx="50">
                  <c:v>1131.7138</c:v>
                </c:pt>
                <c:pt idx="51">
                  <c:v>1090.1488</c:v>
                </c:pt>
                <c:pt idx="52">
                  <c:v>1118.7316240561138</c:v>
                </c:pt>
                <c:pt idx="53">
                  <c:v>1008.8959206851017</c:v>
                </c:pt>
                <c:pt idx="54">
                  <c:v>1265.6402627072175</c:v>
                </c:pt>
              </c:numCache>
            </c:numRef>
          </c:xVal>
          <c:yVal>
            <c:numRef>
              <c:f>Sheet1!$B$187:$B$241</c:f>
              <c:numCache>
                <c:formatCode>General</c:formatCode>
                <c:ptCount val="55"/>
                <c:pt idx="0">
                  <c:v>0.4848172583879638</c:v>
                </c:pt>
                <c:pt idx="1">
                  <c:v>0.4782370864921887</c:v>
                </c:pt>
                <c:pt idx="2">
                  <c:v>0.4781399112379327</c:v>
                </c:pt>
                <c:pt idx="3">
                  <c:v>0.47404452298377103</c:v>
                </c:pt>
                <c:pt idx="4">
                  <c:v>0.47253443457798183</c:v>
                </c:pt>
                <c:pt idx="5">
                  <c:v>0.4710356523094705</c:v>
                </c:pt>
                <c:pt idx="6">
                  <c:v>0.49638091451480904</c:v>
                </c:pt>
                <c:pt idx="7">
                  <c:v>0.4793773026927418</c:v>
                </c:pt>
                <c:pt idx="8">
                  <c:v>0.47006881163085507</c:v>
                </c:pt>
                <c:pt idx="9">
                  <c:v>0.47932484310079254</c:v>
                </c:pt>
                <c:pt idx="10">
                  <c:v>0.4774605252276447</c:v>
                </c:pt>
                <c:pt idx="11">
                  <c:v>0.5289812873980446</c:v>
                </c:pt>
                <c:pt idx="12">
                  <c:v>0.509139812993695</c:v>
                </c:pt>
                <c:pt idx="13">
                  <c:v>0.4985785089942542</c:v>
                </c:pt>
                <c:pt idx="14">
                  <c:v>0.4991229514991444</c:v>
                </c:pt>
                <c:pt idx="15">
                  <c:v>0.48599252140152727</c:v>
                </c:pt>
                <c:pt idx="16">
                  <c:v>0.4825057838917482</c:v>
                </c:pt>
                <c:pt idx="17">
                  <c:v>0.48245089049333995</c:v>
                </c:pt>
                <c:pt idx="18">
                  <c:v>0.4550907462970913</c:v>
                </c:pt>
                <c:pt idx="19">
                  <c:v>0.43444443422224616</c:v>
                </c:pt>
                <c:pt idx="20">
                  <c:v>0.43871598581301674</c:v>
                </c:pt>
                <c:pt idx="21">
                  <c:v>0.45041967431331054</c:v>
                </c:pt>
                <c:pt idx="22">
                  <c:v>0.4471760519432776</c:v>
                </c:pt>
                <c:pt idx="23">
                  <c:v>0.45821017816117265</c:v>
                </c:pt>
                <c:pt idx="24">
                  <c:v>0.465261999623199</c:v>
                </c:pt>
                <c:pt idx="25">
                  <c:v>0.490294163690337</c:v>
                </c:pt>
                <c:pt idx="26">
                  <c:v>0.4672166117159776</c:v>
                </c:pt>
                <c:pt idx="27">
                  <c:v>0.45497624676594944</c:v>
                </c:pt>
                <c:pt idx="28">
                  <c:v>0.4747861038118445</c:v>
                </c:pt>
                <c:pt idx="29">
                  <c:v>0.47285058603701274</c:v>
                </c:pt>
                <c:pt idx="30">
                  <c:v>0.46327010604057023</c:v>
                </c:pt>
                <c:pt idx="31">
                  <c:v>0.4735241751628256</c:v>
                </c:pt>
                <c:pt idx="32">
                  <c:v>0.48331661757633837</c:v>
                </c:pt>
                <c:pt idx="33">
                  <c:v>0.4591894533782425</c:v>
                </c:pt>
                <c:pt idx="34">
                  <c:v>0.4574056944988893</c:v>
                </c:pt>
                <c:pt idx="35">
                  <c:v>0.4610420668548736</c:v>
                </c:pt>
                <c:pt idx="36">
                  <c:v>0.45886827942770053</c:v>
                </c:pt>
                <c:pt idx="37">
                  <c:v>0.4564816888139533</c:v>
                </c:pt>
                <c:pt idx="38">
                  <c:v>0.44587089004134056</c:v>
                </c:pt>
                <c:pt idx="39">
                  <c:v>0.46027420091704235</c:v>
                </c:pt>
                <c:pt idx="40">
                  <c:v>0.43328412805564936</c:v>
                </c:pt>
                <c:pt idx="41">
                  <c:v>0.4345332902835149</c:v>
                </c:pt>
                <c:pt idx="42">
                  <c:v>0.42957507338859247</c:v>
                </c:pt>
                <c:pt idx="43">
                  <c:v>0.4353277510882896</c:v>
                </c:pt>
                <c:pt idx="44">
                  <c:v>0.4572161452267557</c:v>
                </c:pt>
                <c:pt idx="45">
                  <c:v>0.4760481430884298</c:v>
                </c:pt>
                <c:pt idx="46">
                  <c:v>0.47830700311410335</c:v>
                </c:pt>
                <c:pt idx="47">
                  <c:v>0.4925304778179944</c:v>
                </c:pt>
                <c:pt idx="48">
                  <c:v>0.49835747511674566</c:v>
                </c:pt>
                <c:pt idx="49">
                  <c:v>0.48563419871421487</c:v>
                </c:pt>
                <c:pt idx="50">
                  <c:v>0.5133813402629662</c:v>
                </c:pt>
                <c:pt idx="51">
                  <c:v>0.5225778098511967</c:v>
                </c:pt>
                <c:pt idx="52">
                  <c:v>0.5162537133234019</c:v>
                </c:pt>
                <c:pt idx="53">
                  <c:v>0.540555426441492</c:v>
                </c:pt>
                <c:pt idx="54">
                  <c:v>0.48374942299251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3.0"/>
          <c:min val="6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740932642487046"/>
          <c:min val="0.3016885553470919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44866920152091255</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18</c:f>
              <c:numCache>
                <c:formatCode>General</c:formatCode>
                <c:ptCount val="14"/>
                <c:pt idx="0">
                  <c:v>0.5840807723577236</c:v>
                </c:pt>
                <c:pt idx="1">
                  <c:v>0.6910531486146096</c:v>
                </c:pt>
                <c:pt idx="2">
                  <c:v>0.5702335178469173</c:v>
                </c:pt>
                <c:pt idx="3">
                  <c:v>0.662842271714922</c:v>
                </c:pt>
                <c:pt idx="4">
                  <c:v>1.0588786540483701</c:v>
                </c:pt>
                <c:pt idx="5">
                  <c:v>0.9435319267697442</c:v>
                </c:pt>
                <c:pt idx="6">
                  <c:v>1.0276108288655335</c:v>
                </c:pt>
                <c:pt idx="7">
                  <c:v>0.9330565022421524</c:v>
                </c:pt>
                <c:pt idx="8">
                  <c:v>0.5567370873786408</c:v>
                </c:pt>
                <c:pt idx="9">
                  <c:v>1.1441463369108726</c:v>
                </c:pt>
                <c:pt idx="10">
                  <c:v>0.7166169056152928</c:v>
                </c:pt>
                <c:pt idx="11">
                  <c:v>0.6978194282542325</c:v>
                </c:pt>
                <c:pt idx="12">
                  <c:v>0.6321540566959922</c:v>
                </c:pt>
                <c:pt idx="13">
                  <c:v>0.6859157861978982</c:v>
                </c:pt>
              </c:numCache>
            </c:numRef>
          </c:xVal>
          <c:yVal>
            <c:numRef>
              <c:f>Sheet1!$B$5:$B$18</c:f>
              <c:numCache>
                <c:formatCode>General</c:formatCode>
                <c:ptCount val="14"/>
                <c:pt idx="0">
                  <c:v>0.44765342960288806</c:v>
                </c:pt>
                <c:pt idx="1">
                  <c:v>0.4633431085043988</c:v>
                </c:pt>
                <c:pt idx="2">
                  <c:v>0.4398826979472141</c:v>
                </c:pt>
                <c:pt idx="3">
                  <c:v>0.4625668449197861</c:v>
                </c:pt>
                <c:pt idx="4">
                  <c:v>0.45507246376811594</c:v>
                </c:pt>
                <c:pt idx="5">
                  <c:v>0.4604966139954853</c:v>
                </c:pt>
                <c:pt idx="6">
                  <c:v>0.46790890269151136</c:v>
                </c:pt>
                <c:pt idx="7">
                  <c:v>0.49617151607963245</c:v>
                </c:pt>
                <c:pt idx="8">
                  <c:v>0.47897897897897895</c:v>
                </c:pt>
                <c:pt idx="9">
                  <c:v>0.49930651872399445</c:v>
                </c:pt>
                <c:pt idx="10">
                  <c:v>0.5110456553755522</c:v>
                </c:pt>
                <c:pt idx="11">
                  <c:v>0.5105590062111801</c:v>
                </c:pt>
                <c:pt idx="12">
                  <c:v>0.526541095890411</c:v>
                </c:pt>
                <c:pt idx="13">
                  <c:v>0.5168690958164642</c:v>
                </c:pt>
              </c:numCache>
            </c:numRef>
          </c:yVal>
          <c:smooth val="0"/>
          <c:extLst>
            <c:ext xmlns:c16="http://schemas.microsoft.com/office/drawing/2014/chart" uri="{C3380CC4-5D6E-409C-BE32-E72D297353CC}">
              <c16:uniqueId val="{00000002-096C-4121-9522-6AB7243CCAAE}"/>
            </c:ext>
          </c:extLst>
        </c:ser>
        <c:ser>
          <c:idx val="2"/>
          <c:order val="2"/>
          <c:tx>
            <c:strRef>
              <c:f>Sheet1!$B$2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1:$A$22</c:f>
              <c:numCache>
                <c:formatCode>General</c:formatCode>
                <c:ptCount val="2"/>
                <c:pt idx="0">
                  <c:v>0</c:v>
                </c:pt>
                <c:pt idx="1">
                  <c:v>283.69609012134214</c:v>
                </c:pt>
              </c:numCache>
            </c:numRef>
          </c:xVal>
          <c:yVal>
            <c:numRef>
              <c:f>Sheet1!$B$21:$B$22</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5-096C-4121-9522-6AB7243CCAAE}"/>
            </c:ext>
          </c:extLst>
        </c:ser>
        <c:ser>
          <c:idx val="3"/>
          <c:order val="3"/>
          <c:tx>
            <c:strRef>
              <c:f>Sheet1!$B$2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283.69609012134214</c:v>
                </c:pt>
                <c:pt idx="1">
                  <c:v>283.69609012134214</c:v>
                </c:pt>
              </c:numCache>
            </c:numRef>
          </c:xVal>
          <c:yVal>
            <c:numRef>
              <c:f>Sheet1!$B$25:$B$26</c:f>
              <c:numCache>
                <c:formatCode>General</c:formatCode>
                <c:ptCount val="2"/>
                <c:pt idx="0">
                  <c:v>0.516253713323401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9:$A$30</c:f>
              <c:numCache>
                <c:formatCode>General</c:formatCode>
                <c:ptCount val="2"/>
                <c:pt idx="0">
                  <c:v>0</c:v>
                </c:pt>
                <c:pt idx="1">
                  <c:v>283.69609012134214</c:v>
                </c:pt>
              </c:numCache>
            </c:numRef>
          </c:xVal>
          <c:yVal>
            <c:numRef>
              <c:f>Sheet1!$B$29:$B$30</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D-096C-4121-9522-6AB7243CCAAE}"/>
            </c:ext>
          </c:extLst>
        </c:ser>
        <c:ser>
          <c:idx val="5"/>
          <c:order val="5"/>
          <c:tx>
            <c:strRef>
              <c:f>Sheet1!$B$3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283.69609012134214</c:v>
                </c:pt>
                <c:pt idx="1">
                  <c:v>283.69609012134214</c:v>
                </c:pt>
              </c:numCache>
            </c:numRef>
          </c:xVal>
          <c:yVal>
            <c:numRef>
              <c:f>Sheet1!$B$33:$B$34</c:f>
              <c:numCache>
                <c:formatCode>General</c:formatCode>
                <c:ptCount val="2"/>
                <c:pt idx="0">
                  <c:v>0.51625371332340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7:$A$38</c:f>
              <c:numCache>
                <c:formatCode>General</c:formatCode>
                <c:ptCount val="2"/>
                <c:pt idx="0">
                  <c:v>0</c:v>
                </c:pt>
                <c:pt idx="1">
                  <c:v>21.571027813009497</c:v>
                </c:pt>
              </c:numCache>
            </c:numRef>
          </c:xVal>
          <c:yVal>
            <c:numRef>
              <c:f>Sheet1!$B$37:$B$38</c:f>
              <c:numCache>
                <c:formatCode>General</c:formatCode>
                <c:ptCount val="2"/>
                <c:pt idx="0">
                  <c:v>0.4837494229925173</c:v>
                </c:pt>
                <c:pt idx="1">
                  <c:v>0.4837494229925173</c:v>
                </c:pt>
              </c:numCache>
            </c:numRef>
          </c:yVal>
          <c:smooth val="0"/>
          <c:extLst>
            <c:ext xmlns:c16="http://schemas.microsoft.com/office/drawing/2014/chart" uri="{C3380CC4-5D6E-409C-BE32-E72D297353CC}">
              <c16:uniqueId val="{00000015-096C-4121-9522-6AB7243CCAAE}"/>
            </c:ext>
          </c:extLst>
        </c:ser>
        <c:ser>
          <c:idx val="7"/>
          <c:order val="7"/>
          <c:tx>
            <c:strRef>
              <c:f>Sheet1!$B$4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1:$A$42</c:f>
              <c:numCache>
                <c:formatCode>General</c:formatCode>
                <c:ptCount val="2"/>
                <c:pt idx="0">
                  <c:v>21.571027813009497</c:v>
                </c:pt>
                <c:pt idx="1">
                  <c:v>21.571027813009497</c:v>
                </c:pt>
              </c:numCache>
            </c:numRef>
          </c:xVal>
          <c:yVal>
            <c:numRef>
              <c:f>Sheet1!$B$41:$B$42</c:f>
              <c:numCache>
                <c:formatCode>General</c:formatCode>
                <c:ptCount val="2"/>
                <c:pt idx="0">
                  <c:v>0.483749422992517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5:$A$61</c:f>
              <c:numCache>
                <c:formatCode>General</c:formatCode>
                <c:ptCount val="17"/>
                <c:pt idx="0">
                  <c:v>0.5840807723577236</c:v>
                </c:pt>
                <c:pt idx="1">
                  <c:v>0.6910531486146096</c:v>
                </c:pt>
                <c:pt idx="2">
                  <c:v>0.5702335178469173</c:v>
                </c:pt>
                <c:pt idx="3">
                  <c:v>0.662842271714922</c:v>
                </c:pt>
                <c:pt idx="4">
                  <c:v>1.0588786540483701</c:v>
                </c:pt>
                <c:pt idx="5">
                  <c:v>0.9435319267697442</c:v>
                </c:pt>
                <c:pt idx="6">
                  <c:v>1.0276108288655335</c:v>
                </c:pt>
                <c:pt idx="7">
                  <c:v>0.9330565022421524</c:v>
                </c:pt>
                <c:pt idx="8">
                  <c:v>0.5567370873786408</c:v>
                </c:pt>
                <c:pt idx="9">
                  <c:v>1.1441463369108726</c:v>
                </c:pt>
                <c:pt idx="10">
                  <c:v>0.7166169056152928</c:v>
                </c:pt>
                <c:pt idx="11">
                  <c:v>0.6978194282542325</c:v>
                </c:pt>
                <c:pt idx="12">
                  <c:v>0.6321540566959922</c:v>
                </c:pt>
                <c:pt idx="13">
                  <c:v>0.6859157861978982</c:v>
                </c:pt>
                <c:pt idx="14">
                  <c:v>283.69609012134214</c:v>
                </c:pt>
                <c:pt idx="15">
                  <c:v>283.69609012134214</c:v>
                </c:pt>
                <c:pt idx="16">
                  <c:v>21.571027813009497</c:v>
                </c:pt>
              </c:numCache>
            </c:numRef>
          </c:xVal>
          <c:yVal>
            <c:numRef>
              <c:f>Sheet1!$B$45:$B$61</c:f>
              <c:numCache>
                <c:formatCode>General</c:formatCode>
                <c:ptCount val="17"/>
                <c:pt idx="0">
                  <c:v>0.4811469789005219</c:v>
                </c:pt>
                <c:pt idx="1">
                  <c:v>0.48116024379455613</c:v>
                </c:pt>
                <c:pt idx="2">
                  <c:v>0.48114526179961997</c:v>
                </c:pt>
                <c:pt idx="3">
                  <c:v>0.4811567455615937</c:v>
                </c:pt>
                <c:pt idx="4">
                  <c:v>0.4812058552554154</c:v>
                </c:pt>
                <c:pt idx="5">
                  <c:v>0.4811915519168519</c:v>
                </c:pt>
                <c:pt idx="6">
                  <c:v>0.4812019779517391</c:v>
                </c:pt>
                <c:pt idx="7">
                  <c:v>0.4811902529329349</c:v>
                </c:pt>
                <c:pt idx="8">
                  <c:v>0.48114358820194675</c:v>
                </c:pt>
                <c:pt idx="9">
                  <c:v>0.4812164287026669</c:v>
                </c:pt>
                <c:pt idx="10">
                  <c:v>0.48116341377674776</c:v>
                </c:pt>
                <c:pt idx="11">
                  <c:v>0.48116108283343295</c:v>
                </c:pt>
                <c:pt idx="12">
                  <c:v>0.48115294013130816</c:v>
                </c:pt>
                <c:pt idx="13">
                  <c:v>0.4811596067462783</c:v>
                </c:pt>
                <c:pt idx="14">
                  <c:v>0.5162537133234019</c:v>
                </c:pt>
                <c:pt idx="15">
                  <c:v>0.5162537133234019</c:v>
                </c:pt>
                <c:pt idx="16">
                  <c:v>0.48374942299251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4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18493150684932"/>
          <c:min val="0.35190615835777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8</c:f>
              <c:numCache>
                <c:formatCode>General</c:formatCode>
                <c:ptCount val="15"/>
                <c:pt idx="0">
                  <c:v>1388.8814</c:v>
                </c:pt>
                <c:pt idx="1">
                  <c:v>1436.8387</c:v>
                </c:pt>
                <c:pt idx="2">
                  <c:v>1371.7405</c:v>
                </c:pt>
                <c:pt idx="3">
                  <c:v>1493.7267</c:v>
                </c:pt>
                <c:pt idx="4">
                  <c:v>1488.0809</c:v>
                </c:pt>
                <c:pt idx="5">
                  <c:v>1510.4904</c:v>
                </c:pt>
                <c:pt idx="6">
                  <c:v>1484.4902</c:v>
                </c:pt>
                <c:pt idx="7">
                  <c:v>1385.5619</c:v>
                </c:pt>
                <c:pt idx="8">
                  <c:v>1300.4475</c:v>
                </c:pt>
                <c:pt idx="9">
                  <c:v>1290.2382</c:v>
                </c:pt>
                <c:pt idx="10">
                  <c:v>1225.9528</c:v>
                </c:pt>
                <c:pt idx="11">
                  <c:v>1199.6167</c:v>
                </c:pt>
                <c:pt idx="12">
                  <c:v>1257.1217</c:v>
                </c:pt>
                <c:pt idx="13">
                  <c:v>1131.7138</c:v>
                </c:pt>
                <c:pt idx="14">
                  <c:v>1090.1488</c:v>
                </c:pt>
              </c:numCache>
            </c:numRef>
          </c:xVal>
          <c:yVal>
            <c:numRef>
              <c:f>Sheet1!$B$4:$B$18</c:f>
              <c:numCache>
                <c:formatCode>General</c:formatCode>
                <c:ptCount val="15"/>
                <c:pt idx="0">
                  <c:v>0.44866920152091255</c:v>
                </c:pt>
                <c:pt idx="1">
                  <c:v>0.44765342960288806</c:v>
                </c:pt>
                <c:pt idx="2">
                  <c:v>0.4633431085043988</c:v>
                </c:pt>
                <c:pt idx="3">
                  <c:v>0.4398826979472141</c:v>
                </c:pt>
                <c:pt idx="4">
                  <c:v>0.4625668449197861</c:v>
                </c:pt>
                <c:pt idx="5">
                  <c:v>0.45507246376811594</c:v>
                </c:pt>
                <c:pt idx="6">
                  <c:v>0.4604966139954853</c:v>
                </c:pt>
                <c:pt idx="7">
                  <c:v>0.46790890269151136</c:v>
                </c:pt>
                <c:pt idx="8">
                  <c:v>0.49617151607963245</c:v>
                </c:pt>
                <c:pt idx="9">
                  <c:v>0.47897897897897895</c:v>
                </c:pt>
                <c:pt idx="10">
                  <c:v>0.49930651872399445</c:v>
                </c:pt>
                <c:pt idx="11">
                  <c:v>0.5110456553755522</c:v>
                </c:pt>
                <c:pt idx="12">
                  <c:v>0.5105590062111801</c:v>
                </c:pt>
                <c:pt idx="13">
                  <c:v>0.526541095890411</c:v>
                </c:pt>
                <c:pt idx="14">
                  <c:v>0.5168690958164642</c:v>
                </c:pt>
              </c:numCache>
            </c:numRef>
          </c:yVal>
          <c:smooth val="0"/>
          <c:extLst>
            <c:ext xmlns:c16="http://schemas.microsoft.com/office/drawing/2014/chart" uri="{C3380CC4-5D6E-409C-BE32-E72D297353CC}">
              <c16:uniqueId val="{00000002-F32D-48B7-BC20-E66FC6253BAD}"/>
            </c:ext>
          </c:extLst>
        </c:ser>
        <c:ser>
          <c:idx val="2"/>
          <c:order val="2"/>
          <c:tx>
            <c:strRef>
              <c:f>Sheet1!$B$20</c:f>
              <c:strCache>
                <c:ptCount val="1"/>
                <c:pt idx="0">
                  <c:v>Custom Linep3yQ</c:v>
                </c:pt>
              </c:strCache>
            </c:strRef>
          </c:tx>
          <c:spPr>
            <a:ln w="19050" cap="rnd">
              <a:solidFill>
                <a:srgbClr val="C00000"/>
              </a:solidFill>
              <a:prstDash val="sysDot"/>
              <a:round/>
            </a:ln>
            <a:effectLst/>
          </c:spPr>
          <c:marker>
            <c:symbol val="none"/>
          </c:marker>
          <c:xVal>
            <c:numRef>
              <c:f>Sheet1!$A$21:$A$22</c:f>
              <c:numCache>
                <c:formatCode>General</c:formatCode>
                <c:ptCount val="2"/>
                <c:pt idx="0">
                  <c:v>0</c:v>
                </c:pt>
                <c:pt idx="1">
                  <c:v>1144.305895358022</c:v>
                </c:pt>
              </c:numCache>
            </c:numRef>
          </c:xVal>
          <c:yVal>
            <c:numRef>
              <c:f>Sheet1!$B$21:$B$22</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3-F32D-48B7-BC20-E66FC6253BAD}"/>
            </c:ext>
          </c:extLst>
        </c:ser>
        <c:ser>
          <c:idx val="3"/>
          <c:order val="3"/>
          <c:tx>
            <c:strRef>
              <c:f>Sheet1!$B$2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1144.305895358022</c:v>
                </c:pt>
                <c:pt idx="1">
                  <c:v>1144.305895358022</c:v>
                </c:pt>
              </c:numCache>
            </c:numRef>
          </c:xVal>
          <c:yVal>
            <c:numRef>
              <c:f>Sheet1!$B$25:$B$26</c:f>
              <c:numCache>
                <c:formatCode>General</c:formatCode>
                <c:ptCount val="2"/>
                <c:pt idx="0">
                  <c:v>0.516253713323401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9:$A$30</c:f>
              <c:numCache>
                <c:formatCode>General</c:formatCode>
                <c:ptCount val="2"/>
                <c:pt idx="0">
                  <c:v>0</c:v>
                </c:pt>
                <c:pt idx="1">
                  <c:v>1144.305895358022</c:v>
                </c:pt>
              </c:numCache>
            </c:numRef>
          </c:xVal>
          <c:yVal>
            <c:numRef>
              <c:f>Sheet1!$B$29:$B$30</c:f>
              <c:numCache>
                <c:formatCode>General</c:formatCode>
                <c:ptCount val="2"/>
                <c:pt idx="0">
                  <c:v>0.5162537133234019</c:v>
                </c:pt>
                <c:pt idx="1">
                  <c:v>0.5162537133234019</c:v>
                </c:pt>
              </c:numCache>
            </c:numRef>
          </c:yVal>
          <c:smooth val="0"/>
          <c:extLst>
            <c:ext xmlns:c16="http://schemas.microsoft.com/office/drawing/2014/chart" uri="{C3380CC4-5D6E-409C-BE32-E72D297353CC}">
              <c16:uniqueId val="{0000000A-F32D-48B7-BC20-E66FC6253BAD}"/>
            </c:ext>
          </c:extLst>
        </c:ser>
        <c:ser>
          <c:idx val="5"/>
          <c:order val="5"/>
          <c:tx>
            <c:strRef>
              <c:f>Sheet1!$B$3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1144.305895358022</c:v>
                </c:pt>
                <c:pt idx="1">
                  <c:v>1144.305895358022</c:v>
                </c:pt>
              </c:numCache>
            </c:numRef>
          </c:xVal>
          <c:yVal>
            <c:numRef>
              <c:f>Sheet1!$B$33:$B$34</c:f>
              <c:numCache>
                <c:formatCode>General</c:formatCode>
                <c:ptCount val="2"/>
                <c:pt idx="0">
                  <c:v>0.51625371332340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7:$A$38</c:f>
              <c:numCache>
                <c:formatCode>General</c:formatCode>
                <c:ptCount val="2"/>
                <c:pt idx="0">
                  <c:v>0</c:v>
                </c:pt>
                <c:pt idx="1">
                  <c:v>1312.4562206151893</c:v>
                </c:pt>
              </c:numCache>
            </c:numRef>
          </c:xVal>
          <c:yVal>
            <c:numRef>
              <c:f>Sheet1!$B$37:$B$38</c:f>
              <c:numCache>
                <c:formatCode>General</c:formatCode>
                <c:ptCount val="2"/>
                <c:pt idx="0">
                  <c:v>0.4837494229925173</c:v>
                </c:pt>
                <c:pt idx="1">
                  <c:v>0.4837494229925173</c:v>
                </c:pt>
              </c:numCache>
            </c:numRef>
          </c:yVal>
          <c:smooth val="0"/>
          <c:extLst>
            <c:ext xmlns:c16="http://schemas.microsoft.com/office/drawing/2014/chart" uri="{C3380CC4-5D6E-409C-BE32-E72D297353CC}">
              <c16:uniqueId val="{00000011-F32D-48B7-BC20-E66FC6253BAD}"/>
            </c:ext>
          </c:extLst>
        </c:ser>
        <c:ser>
          <c:idx val="7"/>
          <c:order val="7"/>
          <c:tx>
            <c:strRef>
              <c:f>Sheet1!$B$4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1:$A$42</c:f>
              <c:numCache>
                <c:formatCode>General</c:formatCode>
                <c:ptCount val="2"/>
                <c:pt idx="0">
                  <c:v>1312.4562206151893</c:v>
                </c:pt>
                <c:pt idx="1">
                  <c:v>1312.4562206151893</c:v>
                </c:pt>
              </c:numCache>
            </c:numRef>
          </c:xVal>
          <c:yVal>
            <c:numRef>
              <c:f>Sheet1!$B$41:$B$42</c:f>
              <c:numCache>
                <c:formatCode>General</c:formatCode>
                <c:ptCount val="2"/>
                <c:pt idx="0">
                  <c:v>0.483749422992517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5:$A$62</c:f>
              <c:numCache>
                <c:formatCode>General</c:formatCode>
                <c:ptCount val="18"/>
                <c:pt idx="0">
                  <c:v>1388.8814</c:v>
                </c:pt>
                <c:pt idx="1">
                  <c:v>1436.8387</c:v>
                </c:pt>
                <c:pt idx="2">
                  <c:v>1371.7405</c:v>
                </c:pt>
                <c:pt idx="3">
                  <c:v>1493.7267</c:v>
                </c:pt>
                <c:pt idx="4">
                  <c:v>1488.0809</c:v>
                </c:pt>
                <c:pt idx="5">
                  <c:v>1510.4904</c:v>
                </c:pt>
                <c:pt idx="6">
                  <c:v>1484.4902</c:v>
                </c:pt>
                <c:pt idx="7">
                  <c:v>1385.5619</c:v>
                </c:pt>
                <c:pt idx="8">
                  <c:v>1300.4475</c:v>
                </c:pt>
                <c:pt idx="9">
                  <c:v>1290.2382</c:v>
                </c:pt>
                <c:pt idx="10">
                  <c:v>1225.9528</c:v>
                </c:pt>
                <c:pt idx="11">
                  <c:v>1199.6167</c:v>
                </c:pt>
                <c:pt idx="12">
                  <c:v>1257.1217</c:v>
                </c:pt>
                <c:pt idx="13">
                  <c:v>1131.7138</c:v>
                </c:pt>
                <c:pt idx="14">
                  <c:v>1090.1488</c:v>
                </c:pt>
                <c:pt idx="15">
                  <c:v>1144.305895358022</c:v>
                </c:pt>
                <c:pt idx="16">
                  <c:v>1144.305895358022</c:v>
                </c:pt>
                <c:pt idx="17">
                  <c:v>1312.4562206151893</c:v>
                </c:pt>
              </c:numCache>
            </c:numRef>
          </c:xVal>
          <c:yVal>
            <c:numRef>
              <c:f>Sheet1!$B$45:$B$62</c:f>
              <c:numCache>
                <c:formatCode>General</c:formatCode>
                <c:ptCount val="18"/>
                <c:pt idx="0">
                  <c:v>0.46897605746072546</c:v>
                </c:pt>
                <c:pt idx="1">
                  <c:v>0.4597056739494162</c:v>
                </c:pt>
                <c:pt idx="2">
                  <c:v>0.47228947828985884</c:v>
                </c:pt>
                <c:pt idx="3">
                  <c:v>0.4487089419150573</c:v>
                </c:pt>
                <c:pt idx="4">
                  <c:v>0.44980030300561386</c:v>
                </c:pt>
                <c:pt idx="5">
                  <c:v>0.44546843571332084</c:v>
                </c:pt>
                <c:pt idx="6">
                  <c:v>0.45049440309202526</c:v>
                </c:pt>
                <c:pt idx="7">
                  <c:v>0.4696177332445121</c:v>
                </c:pt>
                <c:pt idx="8">
                  <c:v>0.4860707681387822</c:v>
                </c:pt>
                <c:pt idx="9">
                  <c:v>0.488044276371773</c:v>
                </c:pt>
                <c:pt idx="10">
                  <c:v>0.5004709624483019</c:v>
                </c:pt>
                <c:pt idx="11">
                  <c:v>0.5055618609599402</c:v>
                </c:pt>
                <c:pt idx="12">
                  <c:v>0.49444585977101096</c:v>
                </c:pt>
                <c:pt idx="13">
                  <c:v>0.5186878276955589</c:v>
                </c:pt>
                <c:pt idx="14">
                  <c:v>0.5267225479706279</c:v>
                </c:pt>
                <c:pt idx="15">
                  <c:v>0.5162537133234019</c:v>
                </c:pt>
                <c:pt idx="16">
                  <c:v>0.5162537133234019</c:v>
                </c:pt>
                <c:pt idx="17">
                  <c:v>0.483749422992517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3.0"/>
          <c:min val="87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18493150684932"/>
          <c:min val="0.35190615835777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45905462341894</c:v>
                </c:pt>
                <c:pt idx="1">
                  <c:v>0.7033646003438568</c:v>
                </c:pt>
                <c:pt idx="2">
                  <c:v>0.6662683484122308</c:v>
                </c:pt>
                <c:pt idx="3">
                  <c:v>0.6109722476886452</c:v>
                </c:pt>
                <c:pt idx="4">
                  <c:v>0.6353826813143837</c:v>
                </c:pt>
                <c:pt idx="5">
                  <c:v>0.6349742811463157</c:v>
                </c:pt>
                <c:pt idx="6">
                  <c:v>0.6142007422340634</c:v>
                </c:pt>
                <c:pt idx="7">
                  <c:v>0.5933765462473904</c:v>
                </c:pt>
                <c:pt idx="8">
                  <c:v>0.605369454744389</c:v>
                </c:pt>
                <c:pt idx="9">
                  <c:v>0.6633852259391183</c:v>
                </c:pt>
                <c:pt idx="10">
                  <c:v>0.6563309774449344</c:v>
                </c:pt>
                <c:pt idx="11">
                  <c:v>0.7070272571689855</c:v>
                </c:pt>
                <c:pt idx="12">
                  <c:v>0.7278250687436684</c:v>
                </c:pt>
                <c:pt idx="13">
                  <c:v>0.7143265319281304</c:v>
                </c:pt>
                <c:pt idx="14">
                  <c:v>0.7127954845441821</c:v>
                </c:pt>
                <c:pt idx="15">
                  <c:v>0.6830139851504305</c:v>
                </c:pt>
                <c:pt idx="16">
                  <c:v>0.6954117494323969</c:v>
                </c:pt>
                <c:pt idx="17">
                  <c:v>0.7248343403503221</c:v>
                </c:pt>
                <c:pt idx="18">
                  <c:v>0.7652454605322998</c:v>
                </c:pt>
                <c:pt idx="19">
                  <c:v>0.7396107480970135</c:v>
                </c:pt>
                <c:pt idx="20">
                  <c:v>0.7674845631594425</c:v>
                </c:pt>
                <c:pt idx="21">
                  <c:v>0.7156515107063787</c:v>
                </c:pt>
                <c:pt idx="22">
                  <c:v>0.646921131560885</c:v>
                </c:pt>
                <c:pt idx="23">
                  <c:v>0.5940513041555767</c:v>
                </c:pt>
                <c:pt idx="24">
                  <c:v>0.5689684635446068</c:v>
                </c:pt>
                <c:pt idx="25">
                  <c:v>0.581649925269408</c:v>
                </c:pt>
                <c:pt idx="26">
                  <c:v>0.5700213925873011</c:v>
                </c:pt>
                <c:pt idx="27">
                  <c:v>0.5798734951352065</c:v>
                </c:pt>
                <c:pt idx="28">
                  <c:v>0.5716723404102442</c:v>
                </c:pt>
                <c:pt idx="29">
                  <c:v>0.5266566374061445</c:v>
                </c:pt>
                <c:pt idx="30">
                  <c:v>0.5508425517115868</c:v>
                </c:pt>
                <c:pt idx="31">
                  <c:v>0.529645480428153</c:v>
                </c:pt>
                <c:pt idx="32">
                  <c:v>0.5280390026331264</c:v>
                </c:pt>
                <c:pt idx="33">
                  <c:v>0.46353420811310675</c:v>
                </c:pt>
                <c:pt idx="34">
                  <c:v>0.5192054195974198</c:v>
                </c:pt>
                <c:pt idx="35">
                  <c:v>0.602908830371108</c:v>
                </c:pt>
                <c:pt idx="36">
                  <c:v>0.6606867348685358</c:v>
                </c:pt>
                <c:pt idx="37">
                  <c:v>0.623195039559362</c:v>
                </c:pt>
                <c:pt idx="38">
                  <c:v>0.636714284399801</c:v>
                </c:pt>
                <c:pt idx="39">
                  <c:v>0.6458746364260609</c:v>
                </c:pt>
                <c:pt idx="40">
                  <c:v>0.6602542300166352</c:v>
                </c:pt>
                <c:pt idx="41">
                  <c:v>0.6274491860063295</c:v>
                </c:pt>
                <c:pt idx="42">
                  <c:v>0.6740452135566608</c:v>
                </c:pt>
                <c:pt idx="43">
                  <c:v>0.6975122454912648</c:v>
                </c:pt>
                <c:pt idx="44">
                  <c:v>0.6584761793581239</c:v>
                </c:pt>
                <c:pt idx="45">
                  <c:v>0.7016920373813796</c:v>
                </c:pt>
                <c:pt idx="46">
                  <c:v>0.6892748110203639</c:v>
                </c:pt>
                <c:pt idx="47">
                  <c:v>0.7251092972902123</c:v>
                </c:pt>
                <c:pt idx="48">
                  <c:v>0.7267249455964838</c:v>
                </c:pt>
                <c:pt idx="49">
                  <c:v>0.753587244623183</c:v>
                </c:pt>
                <c:pt idx="50">
                  <c:v>0.6665589040182988</c:v>
                </c:pt>
                <c:pt idx="51">
                  <c:v>0.678238655636363</c:v>
                </c:pt>
                <c:pt idx="52">
                  <c:v>0.6824335434331876</c:v>
                </c:pt>
                <c:pt idx="53">
                  <c:v>0.665630022530196</c:v>
                </c:pt>
                <c:pt idx="54">
                  <c:v>0.6278454755843702</c:v>
                </c:pt>
                <c:pt idx="55">
                  <c:v>0.6500673486111452</c:v>
                </c:pt>
                <c:pt idx="56">
                  <c:v>0.6522019821945281</c:v>
                </c:pt>
                <c:pt idx="57">
                  <c:v>0.6661790339277093</c:v>
                </c:pt>
                <c:pt idx="58">
                  <c:v>0.6357775633144838</c:v>
                </c:pt>
                <c:pt idx="59">
                  <c:v>0.6538522612140042</c:v>
                </c:pt>
                <c:pt idx="60">
                  <c:v>0.6605578228053364</c:v>
                </c:pt>
                <c:pt idx="61">
                  <c:v>0.6914424240681613</c:v>
                </c:pt>
                <c:pt idx="62">
                  <c:v>0.6835872365637102</c:v>
                </c:pt>
                <c:pt idx="63">
                  <c:v>0.7046692745518556</c:v>
                </c:pt>
                <c:pt idx="64">
                  <c:v>0.7672092913103358</c:v>
                </c:pt>
                <c:pt idx="65">
                  <c:v>0.7985417892488025</c:v>
                </c:pt>
                <c:pt idx="66">
                  <c:v>0.7872246161183692</c:v>
                </c:pt>
                <c:pt idx="67">
                  <c:v>0.796138879005777</c:v>
                </c:pt>
                <c:pt idx="68">
                  <c:v>0.790345650431538</c:v>
                </c:pt>
                <c:pt idx="69">
                  <c:v>0.8196289600678881</c:v>
                </c:pt>
                <c:pt idx="70">
                  <c:v>0.7848175037056465</c:v>
                </c:pt>
                <c:pt idx="71">
                  <c:v>0.7536002325665139</c:v>
                </c:pt>
                <c:pt idx="72">
                  <c:v>0.8527844646866707</c:v>
                </c:pt>
                <c:pt idx="73">
                  <c:v>0.8038683592406078</c:v>
                </c:pt>
                <c:pt idx="74">
                  <c:v>0.7483534495949443</c:v>
                </c:pt>
                <c:pt idx="75">
                  <c:v>0.6809148431072115</c:v>
                </c:pt>
                <c:pt idx="76">
                  <c:v>0.7098623010429924</c:v>
                </c:pt>
                <c:pt idx="77">
                  <c:v>0.7334868135348299</c:v>
                </c:pt>
                <c:pt idx="78">
                  <c:v>0.7425984385703783</c:v>
                </c:pt>
                <c:pt idx="79">
                  <c:v>0.7502715699162803</c:v>
                </c:pt>
                <c:pt idx="80">
                  <c:v>0.7796077992361531</c:v>
                </c:pt>
                <c:pt idx="81">
                  <c:v>0.7819822167665627</c:v>
                </c:pt>
                <c:pt idx="82">
                  <c:v>0.7494198385777627</c:v>
                </c:pt>
                <c:pt idx="83">
                  <c:v>0.6846317676447821</c:v>
                </c:pt>
                <c:pt idx="84">
                  <c:v>0.7097192389467372</c:v>
                </c:pt>
                <c:pt idx="85">
                  <c:v>0.7267049900588044</c:v>
                </c:pt>
                <c:pt idx="86">
                  <c:v>0.7268771323512208</c:v>
                </c:pt>
                <c:pt idx="87">
                  <c:v>0.7393665816803819</c:v>
                </c:pt>
                <c:pt idx="88">
                  <c:v>0.716478858851288</c:v>
                </c:pt>
                <c:pt idx="89">
                  <c:v>0.6663161170554914</c:v>
                </c:pt>
                <c:pt idx="90">
                  <c:v>0.6807659454336551</c:v>
                </c:pt>
                <c:pt idx="91">
                  <c:v>0.6943469726894841</c:v>
                </c:pt>
                <c:pt idx="92">
                  <c:v>0.7125329530929024</c:v>
                </c:pt>
                <c:pt idx="93">
                  <c:v>0.7503258842776286</c:v>
                </c:pt>
                <c:pt idx="94">
                  <c:v>0.7019952564525096</c:v>
                </c:pt>
                <c:pt idx="95">
                  <c:v>0.6838488047214113</c:v>
                </c:pt>
                <c:pt idx="96">
                  <c:v>0.7854340499351745</c:v>
                </c:pt>
                <c:pt idx="97">
                  <c:v>0.7904802692475928</c:v>
                </c:pt>
                <c:pt idx="98">
                  <c:v>0.785447782319889</c:v>
                </c:pt>
                <c:pt idx="99">
                  <c:v>0.8018505912039308</c:v>
                </c:pt>
                <c:pt idx="100">
                  <c:v>0.8000295264567233</c:v>
                </c:pt>
                <c:pt idx="101">
                  <c:v>0.7628407076499764</c:v>
                </c:pt>
                <c:pt idx="102">
                  <c:v>0.7664638969704728</c:v>
                </c:pt>
                <c:pt idx="103">
                  <c:v>0.7577918010561785</c:v>
                </c:pt>
                <c:pt idx="104">
                  <c:v>0.7735466831098347</c:v>
                </c:pt>
              </c:numCache>
            </c:numRef>
          </c:xVal>
          <c:yVal>
            <c:numRef>
              <c:f>Sheet1!$B$2:$B$106</c:f>
              <c:numCache>
                <c:formatCode>General</c:formatCode>
                <c:ptCount val="105"/>
                <c:pt idx="0">
                  <c:v>0.25414141414141417</c:v>
                </c:pt>
                <c:pt idx="1">
                  <c:v>0.24475166410650281</c:v>
                </c:pt>
                <c:pt idx="2">
                  <c:v>0.24769752787203103</c:v>
                </c:pt>
                <c:pt idx="3">
                  <c:v>0.25133689839572193</c:v>
                </c:pt>
                <c:pt idx="4">
                  <c:v>0.2602040816326531</c:v>
                </c:pt>
                <c:pt idx="5">
                  <c:v>0.26145833333333335</c:v>
                </c:pt>
                <c:pt idx="6">
                  <c:v>0.2624113475177305</c:v>
                </c:pt>
                <c:pt idx="7">
                  <c:v>0.2926587301587302</c:v>
                </c:pt>
                <c:pt idx="8">
                  <c:v>0.26443629697525206</c:v>
                </c:pt>
                <c:pt idx="9">
                  <c:v>0.2497324295397788</c:v>
                </c:pt>
                <c:pt idx="10">
                  <c:v>0.2683982683982684</c:v>
                </c:pt>
                <c:pt idx="11">
                  <c:v>0.24558032282859338</c:v>
                </c:pt>
                <c:pt idx="12">
                  <c:v>0.23796892762410005</c:v>
                </c:pt>
                <c:pt idx="13">
                  <c:v>0.23195458231954583</c:v>
                </c:pt>
                <c:pt idx="14">
                  <c:v>0.21195421788893598</c:v>
                </c:pt>
                <c:pt idx="15">
                  <c:v>0.1973026973026973</c:v>
                </c:pt>
                <c:pt idx="16">
                  <c:v>0.17173524150268335</c:v>
                </c:pt>
                <c:pt idx="17">
                  <c:v>0.17463352453792225</c:v>
                </c:pt>
                <c:pt idx="18">
                  <c:v>0.1527599486521181</c:v>
                </c:pt>
                <c:pt idx="19">
                  <c:v>0.1704745166959578</c:v>
                </c:pt>
                <c:pt idx="20">
                  <c:v>0.14990006662225183</c:v>
                </c:pt>
                <c:pt idx="21">
                  <c:v>0.15524360033030554</c:v>
                </c:pt>
                <c:pt idx="22">
                  <c:v>0.20126282557221783</c:v>
                </c:pt>
                <c:pt idx="23">
                  <c:v>0.2377560106856634</c:v>
                </c:pt>
                <c:pt idx="24">
                  <c:v>0.2436893203883495</c:v>
                </c:pt>
                <c:pt idx="25">
                  <c:v>0.22643442622950818</c:v>
                </c:pt>
                <c:pt idx="26">
                  <c:v>0.2606263982102908</c:v>
                </c:pt>
                <c:pt idx="27">
                  <c:v>0.24379232505643342</c:v>
                </c:pt>
                <c:pt idx="28">
                  <c:v>0.2777085927770859</c:v>
                </c:pt>
                <c:pt idx="29">
                  <c:v>0.2819634703196347</c:v>
                </c:pt>
                <c:pt idx="30">
                  <c:v>0.27417218543046357</c:v>
                </c:pt>
                <c:pt idx="31">
                  <c:v>0.30193905817174516</c:v>
                </c:pt>
                <c:pt idx="32">
                  <c:v>0.3047091412742382</c:v>
                </c:pt>
                <c:pt idx="33">
                  <c:v>0.28839390386869873</c:v>
                </c:pt>
                <c:pt idx="34">
                  <c:v>0.2748768472906404</c:v>
                </c:pt>
                <c:pt idx="35">
                  <c:v>0.2684391080617496</c:v>
                </c:pt>
                <c:pt idx="36">
                  <c:v>0.2525458248472505</c:v>
                </c:pt>
                <c:pt idx="37">
                  <c:v>0.2523461939520334</c:v>
                </c:pt>
                <c:pt idx="38">
                  <c:v>0.2619047619047619</c:v>
                </c:pt>
                <c:pt idx="39">
                  <c:v>0.2445945945945946</c:v>
                </c:pt>
                <c:pt idx="40">
                  <c:v>0.23329907502569372</c:v>
                </c:pt>
                <c:pt idx="41">
                  <c:v>0.24514811031664965</c:v>
                </c:pt>
                <c:pt idx="42">
                  <c:v>0.2484725050916497</c:v>
                </c:pt>
                <c:pt idx="43">
                  <c:v>0.234375</c:v>
                </c:pt>
                <c:pt idx="44">
                  <c:v>0.22768974145120935</c:v>
                </c:pt>
                <c:pt idx="45">
                  <c:v>0.22920110192837465</c:v>
                </c:pt>
                <c:pt idx="46">
                  <c:v>0.23298327499027616</c:v>
                </c:pt>
                <c:pt idx="47">
                  <c:v>0.2323943661971831</c:v>
                </c:pt>
                <c:pt idx="48">
                  <c:v>0.22863520408163265</c:v>
                </c:pt>
                <c:pt idx="49">
                  <c:v>0.21374700034281796</c:v>
                </c:pt>
                <c:pt idx="50">
                  <c:v>0.23048464668886423</c:v>
                </c:pt>
                <c:pt idx="51">
                  <c:v>0.21645021645021645</c:v>
                </c:pt>
                <c:pt idx="52">
                  <c:v>0.22088040514218932</c:v>
                </c:pt>
                <c:pt idx="53">
                  <c:v>0.2202572347266881</c:v>
                </c:pt>
                <c:pt idx="54">
                  <c:v>0.2110337439742903</c:v>
                </c:pt>
                <c:pt idx="55">
                  <c:v>0.19718309859154928</c:v>
                </c:pt>
                <c:pt idx="56">
                  <c:v>0.2140641158221303</c:v>
                </c:pt>
                <c:pt idx="57">
                  <c:v>0.2019559902200489</c:v>
                </c:pt>
                <c:pt idx="58">
                  <c:v>0.2375</c:v>
                </c:pt>
                <c:pt idx="59">
                  <c:v>0.221107544141252</c:v>
                </c:pt>
                <c:pt idx="60">
                  <c:v>0.21800073773515308</c:v>
                </c:pt>
                <c:pt idx="61">
                  <c:v>0.2236271676300578</c:v>
                </c:pt>
                <c:pt idx="62">
                  <c:v>0.24253075571177504</c:v>
                </c:pt>
                <c:pt idx="63">
                  <c:v>0.2346350832266325</c:v>
                </c:pt>
                <c:pt idx="64">
                  <c:v>0.22588597842835131</c:v>
                </c:pt>
                <c:pt idx="65">
                  <c:v>0.20267188009123493</c:v>
                </c:pt>
                <c:pt idx="66">
                  <c:v>0.20549782098558497</c:v>
                </c:pt>
                <c:pt idx="67">
                  <c:v>0.20330578512396694</c:v>
                </c:pt>
                <c:pt idx="68">
                  <c:v>0.1814872594903796</c:v>
                </c:pt>
                <c:pt idx="69">
                  <c:v>0.18599679315873865</c:v>
                </c:pt>
                <c:pt idx="70">
                  <c:v>0.18641212801796744</c:v>
                </c:pt>
                <c:pt idx="71">
                  <c:v>0.1894093686354379</c:v>
                </c:pt>
                <c:pt idx="72">
                  <c:v>0.1677336747759283</c:v>
                </c:pt>
                <c:pt idx="73">
                  <c:v>0.187402799377916</c:v>
                </c:pt>
                <c:pt idx="74">
                  <c:v>0.19684447783621337</c:v>
                </c:pt>
                <c:pt idx="75">
                  <c:v>0.22964867180805484</c:v>
                </c:pt>
                <c:pt idx="76">
                  <c:v>0.23031329381879762</c:v>
                </c:pt>
                <c:pt idx="77">
                  <c:v>0.19032921810699588</c:v>
                </c:pt>
                <c:pt idx="78">
                  <c:v>0.22127659574468084</c:v>
                </c:pt>
                <c:pt idx="79">
                  <c:v>0.1922723091076357</c:v>
                </c:pt>
                <c:pt idx="80">
                  <c:v>0.17337164750957854</c:v>
                </c:pt>
                <c:pt idx="81">
                  <c:v>0.19735755573905864</c:v>
                </c:pt>
                <c:pt idx="82">
                  <c:v>0.21147715196599362</c:v>
                </c:pt>
                <c:pt idx="83">
                  <c:v>0.21313506815365552</c:v>
                </c:pt>
                <c:pt idx="84">
                  <c:v>0.21696969696969698</c:v>
                </c:pt>
                <c:pt idx="85">
                  <c:v>0.20935412026726058</c:v>
                </c:pt>
                <c:pt idx="86">
                  <c:v>0.21550094517958412</c:v>
                </c:pt>
                <c:pt idx="87">
                  <c:v>0.24603836530442036</c:v>
                </c:pt>
                <c:pt idx="88">
                  <c:v>0.23140495867768596</c:v>
                </c:pt>
                <c:pt idx="89">
                  <c:v>0.2822164948453608</c:v>
                </c:pt>
                <c:pt idx="90">
                  <c:v>0.2686375321336761</c:v>
                </c:pt>
                <c:pt idx="91">
                  <c:v>0.24169986719787517</c:v>
                </c:pt>
                <c:pt idx="92">
                  <c:v>0.24380165289256198</c:v>
                </c:pt>
                <c:pt idx="93">
                  <c:v>0.2279495990836197</c:v>
                </c:pt>
                <c:pt idx="94">
                  <c:v>0.2411111111111111</c:v>
                </c:pt>
                <c:pt idx="95">
                  <c:v>0.2622187742435997</c:v>
                </c:pt>
                <c:pt idx="96">
                  <c:v>0.2210242587601078</c:v>
                </c:pt>
                <c:pt idx="97">
                  <c:v>0.23309178743961353</c:v>
                </c:pt>
                <c:pt idx="98">
                  <c:v>0.23214285714285715</c:v>
                </c:pt>
                <c:pt idx="99">
                  <c:v>0.22750598699965788</c:v>
                </c:pt>
                <c:pt idx="100">
                  <c:v>0.22814007129377228</c:v>
                </c:pt>
                <c:pt idx="101">
                  <c:v>0.23004904146232724</c:v>
                </c:pt>
                <c:pt idx="102">
                  <c:v>0.21424627277747102</c:v>
                </c:pt>
                <c:pt idx="103">
                  <c:v>0.2182904411764706</c:v>
                </c:pt>
                <c:pt idx="104">
                  <c:v>0.205641025641025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83850239320552</c:v>
                </c:pt>
                <c:pt idx="1">
                  <c:v>0.7400610449763941</c:v>
                </c:pt>
                <c:pt idx="2">
                  <c:v>0.7442488120783495</c:v>
                </c:pt>
                <c:pt idx="3">
                  <c:v>0.6584657523015549</c:v>
                </c:pt>
                <c:pt idx="4">
                  <c:v>0.7003633261475604</c:v>
                </c:pt>
                <c:pt idx="5">
                  <c:v>0.7617537565826209</c:v>
                </c:pt>
                <c:pt idx="6">
                  <c:v>0.7478136634677145</c:v>
                </c:pt>
                <c:pt idx="7">
                  <c:v>0.7293572022014595</c:v>
                </c:pt>
                <c:pt idx="8">
                  <c:v>0.7334450588561133</c:v>
                </c:pt>
                <c:pt idx="9">
                  <c:v>0.7420755308971699</c:v>
                </c:pt>
                <c:pt idx="10">
                  <c:v>0.7702738208800585</c:v>
                </c:pt>
                <c:pt idx="11">
                  <c:v>0.737695784695201</c:v>
                </c:pt>
                <c:pt idx="12">
                  <c:v>0.7400335691977332</c:v>
                </c:pt>
                <c:pt idx="13">
                  <c:v>0.7403595870022233</c:v>
                </c:pt>
                <c:pt idx="14">
                  <c:v>0.7419207465938574</c:v>
                </c:pt>
                <c:pt idx="15">
                  <c:v>0.715069900999453</c:v>
                </c:pt>
                <c:pt idx="16">
                  <c:v>0.7209083109296827</c:v>
                </c:pt>
                <c:pt idx="17">
                  <c:v>0.6528806125491772</c:v>
                </c:pt>
                <c:pt idx="18">
                  <c:v>0.6979391462894178</c:v>
                </c:pt>
                <c:pt idx="19">
                  <c:v>0.6946878663343982</c:v>
                </c:pt>
                <c:pt idx="20">
                  <c:v>0.6763230181073022</c:v>
                </c:pt>
                <c:pt idx="21">
                  <c:v>0.6621711205657913</c:v>
                </c:pt>
                <c:pt idx="22">
                  <c:v>0.6909159670878472</c:v>
                </c:pt>
                <c:pt idx="23">
                  <c:v>0.696275629614405</c:v>
                </c:pt>
                <c:pt idx="24">
                  <c:v>0.6844399324215726</c:v>
                </c:pt>
                <c:pt idx="25">
                  <c:v>0.7299911302288002</c:v>
                </c:pt>
                <c:pt idx="26">
                  <c:v>0.6701250388929747</c:v>
                </c:pt>
                <c:pt idx="27">
                  <c:v>0.6894775833115029</c:v>
                </c:pt>
                <c:pt idx="28">
                  <c:v>0.7271884620030745</c:v>
                </c:pt>
                <c:pt idx="29">
                  <c:v>0.7063342527730145</c:v>
                </c:pt>
                <c:pt idx="30">
                  <c:v>0.6845370226646489</c:v>
                </c:pt>
                <c:pt idx="31">
                  <c:v>0.6616669259872593</c:v>
                </c:pt>
                <c:pt idx="32">
                  <c:v>0.6546191959782298</c:v>
                </c:pt>
                <c:pt idx="33">
                  <c:v>0.67891323150794</c:v>
                </c:pt>
                <c:pt idx="34">
                  <c:v>0.7171638544706871</c:v>
                </c:pt>
                <c:pt idx="35">
                  <c:v>0.7182457239699932</c:v>
                </c:pt>
                <c:pt idx="36">
                  <c:v>0.6415960034271815</c:v>
                </c:pt>
                <c:pt idx="37">
                  <c:v>0.616104858397988</c:v>
                </c:pt>
                <c:pt idx="38">
                  <c:v>0.6469058521044424</c:v>
                </c:pt>
                <c:pt idx="39">
                  <c:v>0.6821235303411644</c:v>
                </c:pt>
                <c:pt idx="40">
                  <c:v>0.7182546335107769</c:v>
                </c:pt>
                <c:pt idx="41">
                  <c:v>0.7379484706102789</c:v>
                </c:pt>
                <c:pt idx="42">
                  <c:v>0.7107740484850114</c:v>
                </c:pt>
                <c:pt idx="43">
                  <c:v>0.7434695791989497</c:v>
                </c:pt>
                <c:pt idx="44">
                  <c:v>0.7754774980271096</c:v>
                </c:pt>
                <c:pt idx="45">
                  <c:v>0.7887812475644326</c:v>
                </c:pt>
                <c:pt idx="46">
                  <c:v>0.761461941547162</c:v>
                </c:pt>
                <c:pt idx="47">
                  <c:v>0.7747321721342326</c:v>
                </c:pt>
                <c:pt idx="48">
                  <c:v>0.7984212639757713</c:v>
                </c:pt>
                <c:pt idx="49">
                  <c:v>0.868491553631014</c:v>
                </c:pt>
                <c:pt idx="50">
                  <c:v>0.8844979740994823</c:v>
                </c:pt>
                <c:pt idx="51">
                  <c:v>0.8093236419913943</c:v>
                </c:pt>
              </c:numCache>
            </c:numRef>
          </c:xVal>
          <c:yVal>
            <c:numRef>
              <c:f>Sheet1!$B$109:$B$160</c:f>
              <c:numCache>
                <c:formatCode>General</c:formatCode>
                <c:ptCount val="52"/>
                <c:pt idx="0">
                  <c:v>0.2110831234256927</c:v>
                </c:pt>
                <c:pt idx="1">
                  <c:v>0.20993494973388527</c:v>
                </c:pt>
                <c:pt idx="2">
                  <c:v>0.22904761904761906</c:v>
                </c:pt>
                <c:pt idx="3">
                  <c:v>0.2525647288715193</c:v>
                </c:pt>
                <c:pt idx="4">
                  <c:v>0.24019607843137256</c:v>
                </c:pt>
                <c:pt idx="5">
                  <c:v>0.22058165548098435</c:v>
                </c:pt>
                <c:pt idx="6">
                  <c:v>0.22094406981356604</c:v>
                </c:pt>
                <c:pt idx="7">
                  <c:v>0.23276529821843533</c:v>
                </c:pt>
                <c:pt idx="8">
                  <c:v>0.22063789868667918</c:v>
                </c:pt>
                <c:pt idx="9">
                  <c:v>0.22526041666666666</c:v>
                </c:pt>
                <c:pt idx="10">
                  <c:v>0.22443977591036415</c:v>
                </c:pt>
                <c:pt idx="11">
                  <c:v>0.22077168552364373</c:v>
                </c:pt>
                <c:pt idx="12">
                  <c:v>0.22025875670558537</c:v>
                </c:pt>
                <c:pt idx="13">
                  <c:v>0.2258181818181818</c:v>
                </c:pt>
                <c:pt idx="14">
                  <c:v>0.2271615008156607</c:v>
                </c:pt>
                <c:pt idx="15">
                  <c:v>0.21217712177121772</c:v>
                </c:pt>
                <c:pt idx="16">
                  <c:v>0.20708446866485014</c:v>
                </c:pt>
                <c:pt idx="17">
                  <c:v>0.2433574879227053</c:v>
                </c:pt>
                <c:pt idx="18">
                  <c:v>0.21428571428571427</c:v>
                </c:pt>
                <c:pt idx="19">
                  <c:v>0.21604938271604937</c:v>
                </c:pt>
                <c:pt idx="20">
                  <c:v>0.22695738354806738</c:v>
                </c:pt>
                <c:pt idx="21">
                  <c:v>0.22672811059907835</c:v>
                </c:pt>
                <c:pt idx="22">
                  <c:v>0.21875</c:v>
                </c:pt>
                <c:pt idx="23">
                  <c:v>0.2440318302387268</c:v>
                </c:pt>
                <c:pt idx="24">
                  <c:v>0.23996431757359502</c:v>
                </c:pt>
                <c:pt idx="25">
                  <c:v>0.2384406165004533</c:v>
                </c:pt>
                <c:pt idx="26">
                  <c:v>0.26158301158301156</c:v>
                </c:pt>
                <c:pt idx="27">
                  <c:v>0.2606741573033708</c:v>
                </c:pt>
                <c:pt idx="28">
                  <c:v>0.2205071664829107</c:v>
                </c:pt>
                <c:pt idx="29">
                  <c:v>0.23573200992555832</c:v>
                </c:pt>
                <c:pt idx="30">
                  <c:v>0.24659231722428748</c:v>
                </c:pt>
                <c:pt idx="31">
                  <c:v>0.22076023391812866</c:v>
                </c:pt>
                <c:pt idx="32">
                  <c:v>0.21248339973439576</c:v>
                </c:pt>
                <c:pt idx="33">
                  <c:v>0.2188679245283019</c:v>
                </c:pt>
                <c:pt idx="34">
                  <c:v>0.26416666666666666</c:v>
                </c:pt>
                <c:pt idx="35">
                  <c:v>0.24179943767572634</c:v>
                </c:pt>
                <c:pt idx="36">
                  <c:v>0.2506361323155216</c:v>
                </c:pt>
                <c:pt idx="37">
                  <c:v>0.2483221476510067</c:v>
                </c:pt>
                <c:pt idx="38">
                  <c:v>0.26613965744400525</c:v>
                </c:pt>
                <c:pt idx="39">
                  <c:v>0.2459396751740139</c:v>
                </c:pt>
                <c:pt idx="40">
                  <c:v>0.2423038728897716</c:v>
                </c:pt>
                <c:pt idx="41">
                  <c:v>0.2436289500509684</c:v>
                </c:pt>
                <c:pt idx="42">
                  <c:v>0.2161671207992734</c:v>
                </c:pt>
                <c:pt idx="43">
                  <c:v>0.21345707656612528</c:v>
                </c:pt>
                <c:pt idx="44">
                  <c:v>0.2190247801758593</c:v>
                </c:pt>
                <c:pt idx="45">
                  <c:v>0.24509803921568626</c:v>
                </c:pt>
                <c:pt idx="46">
                  <c:v>0.25263157894736843</c:v>
                </c:pt>
                <c:pt idx="47">
                  <c:v>0.24539877300613497</c:v>
                </c:pt>
                <c:pt idx="48">
                  <c:v>0.24047501237011382</c:v>
                </c:pt>
                <c:pt idx="49">
                  <c:v>0.218014329580348</c:v>
                </c:pt>
                <c:pt idx="50">
                  <c:v>0.19707317073170733</c:v>
                </c:pt>
                <c:pt idx="51">
                  <c:v>0.217925386715195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05647164228404</c:v>
                </c:pt>
              </c:numCache>
            </c:numRef>
          </c:xVal>
          <c:yVal>
            <c:numRef>
              <c:f>Sheet1!$B$163:$B$164</c:f>
              <c:numCache>
                <c:formatCode>General</c:formatCode>
                <c:ptCount val="2"/>
                <c:pt idx="0">
                  <c:v>0.2628711157903823</c:v>
                </c:pt>
                <c:pt idx="1">
                  <c:v>0.26287111579038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05647164228404</c:v>
                </c:pt>
                <c:pt idx="1">
                  <c:v>0.4705647164228404</c:v>
                </c:pt>
              </c:numCache>
            </c:numRef>
          </c:xVal>
          <c:yVal>
            <c:numRef>
              <c:f>Sheet1!$B$167:$B$168</c:f>
              <c:numCache>
                <c:formatCode>General</c:formatCode>
                <c:ptCount val="2"/>
                <c:pt idx="0">
                  <c:v>0.26287111579038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50204461034528</c:v>
                </c:pt>
              </c:numCache>
            </c:numRef>
          </c:xVal>
          <c:yVal>
            <c:numRef>
              <c:f>Sheet1!$B$171:$B$172</c:f>
              <c:numCache>
                <c:formatCode>General</c:formatCode>
                <c:ptCount val="2"/>
                <c:pt idx="0">
                  <c:v>0.24081132630088165</c:v>
                </c:pt>
                <c:pt idx="1">
                  <c:v>0.2408113263008816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50204461034528</c:v>
                </c:pt>
                <c:pt idx="1">
                  <c:v>0.6450204461034528</c:v>
                </c:pt>
              </c:numCache>
            </c:numRef>
          </c:xVal>
          <c:yVal>
            <c:numRef>
              <c:f>Sheet1!$B$175:$B$176</c:f>
              <c:numCache>
                <c:formatCode>General</c:formatCode>
                <c:ptCount val="2"/>
                <c:pt idx="0">
                  <c:v>0.2408113263008816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261776729862297</c:v>
                </c:pt>
              </c:numCache>
            </c:numRef>
          </c:xVal>
          <c:yVal>
            <c:numRef>
              <c:f>Sheet1!$B$179:$B$180</c:f>
              <c:numCache>
                <c:formatCode>General</c:formatCode>
                <c:ptCount val="2"/>
                <c:pt idx="0">
                  <c:v>0.2305490589401974</c:v>
                </c:pt>
                <c:pt idx="1">
                  <c:v>0.23054905894019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261776729862297</c:v>
                </c:pt>
                <c:pt idx="1">
                  <c:v>0.7261776729862297</c:v>
                </c:pt>
              </c:numCache>
            </c:numRef>
          </c:xVal>
          <c:yVal>
            <c:numRef>
              <c:f>Sheet1!$B$183:$B$184</c:f>
              <c:numCache>
                <c:formatCode>General</c:formatCode>
                <c:ptCount val="2"/>
                <c:pt idx="0">
                  <c:v>0.23054905894019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83850239320552</c:v>
                </c:pt>
                <c:pt idx="1">
                  <c:v>0.7400610449763941</c:v>
                </c:pt>
                <c:pt idx="2">
                  <c:v>0.7442488120783495</c:v>
                </c:pt>
                <c:pt idx="3">
                  <c:v>0.6584657523015549</c:v>
                </c:pt>
                <c:pt idx="4">
                  <c:v>0.7003633261475604</c:v>
                </c:pt>
                <c:pt idx="5">
                  <c:v>0.7617537565826209</c:v>
                </c:pt>
                <c:pt idx="6">
                  <c:v>0.7478136634677145</c:v>
                </c:pt>
                <c:pt idx="7">
                  <c:v>0.7293572022014595</c:v>
                </c:pt>
                <c:pt idx="8">
                  <c:v>0.7334450588561133</c:v>
                </c:pt>
                <c:pt idx="9">
                  <c:v>0.7420755308971699</c:v>
                </c:pt>
                <c:pt idx="10">
                  <c:v>0.7702738208800585</c:v>
                </c:pt>
                <c:pt idx="11">
                  <c:v>0.737695784695201</c:v>
                </c:pt>
                <c:pt idx="12">
                  <c:v>0.7400335691977332</c:v>
                </c:pt>
                <c:pt idx="13">
                  <c:v>0.7403595870022233</c:v>
                </c:pt>
                <c:pt idx="14">
                  <c:v>0.7419207465938574</c:v>
                </c:pt>
                <c:pt idx="15">
                  <c:v>0.715069900999453</c:v>
                </c:pt>
                <c:pt idx="16">
                  <c:v>0.7209083109296827</c:v>
                </c:pt>
                <c:pt idx="17">
                  <c:v>0.6528806125491772</c:v>
                </c:pt>
                <c:pt idx="18">
                  <c:v>0.6979391462894178</c:v>
                </c:pt>
                <c:pt idx="19">
                  <c:v>0.6946878663343982</c:v>
                </c:pt>
                <c:pt idx="20">
                  <c:v>0.6763230181073022</c:v>
                </c:pt>
                <c:pt idx="21">
                  <c:v>0.6621711205657913</c:v>
                </c:pt>
                <c:pt idx="22">
                  <c:v>0.6909159670878472</c:v>
                </c:pt>
                <c:pt idx="23">
                  <c:v>0.696275629614405</c:v>
                </c:pt>
                <c:pt idx="24">
                  <c:v>0.6844399324215726</c:v>
                </c:pt>
                <c:pt idx="25">
                  <c:v>0.7299911302288002</c:v>
                </c:pt>
                <c:pt idx="26">
                  <c:v>0.6701250388929747</c:v>
                </c:pt>
                <c:pt idx="27">
                  <c:v>0.6894775833115029</c:v>
                </c:pt>
                <c:pt idx="28">
                  <c:v>0.7271884620030745</c:v>
                </c:pt>
                <c:pt idx="29">
                  <c:v>0.7063342527730145</c:v>
                </c:pt>
                <c:pt idx="30">
                  <c:v>0.6845370226646489</c:v>
                </c:pt>
                <c:pt idx="31">
                  <c:v>0.6616669259872593</c:v>
                </c:pt>
                <c:pt idx="32">
                  <c:v>0.6546191959782298</c:v>
                </c:pt>
                <c:pt idx="33">
                  <c:v>0.67891323150794</c:v>
                </c:pt>
                <c:pt idx="34">
                  <c:v>0.7171638544706871</c:v>
                </c:pt>
                <c:pt idx="35">
                  <c:v>0.7182457239699932</c:v>
                </c:pt>
                <c:pt idx="36">
                  <c:v>0.6415960034271815</c:v>
                </c:pt>
                <c:pt idx="37">
                  <c:v>0.616104858397988</c:v>
                </c:pt>
                <c:pt idx="38">
                  <c:v>0.6469058521044424</c:v>
                </c:pt>
                <c:pt idx="39">
                  <c:v>0.6821235303411644</c:v>
                </c:pt>
                <c:pt idx="40">
                  <c:v>0.7182546335107769</c:v>
                </c:pt>
                <c:pt idx="41">
                  <c:v>0.7379484706102789</c:v>
                </c:pt>
                <c:pt idx="42">
                  <c:v>0.7107740484850114</c:v>
                </c:pt>
                <c:pt idx="43">
                  <c:v>0.7434695791989497</c:v>
                </c:pt>
                <c:pt idx="44">
                  <c:v>0.7754774980271096</c:v>
                </c:pt>
                <c:pt idx="45">
                  <c:v>0.7887812475644326</c:v>
                </c:pt>
                <c:pt idx="46">
                  <c:v>0.761461941547162</c:v>
                </c:pt>
                <c:pt idx="47">
                  <c:v>0.7747321721342326</c:v>
                </c:pt>
                <c:pt idx="48">
                  <c:v>0.7984212639757713</c:v>
                </c:pt>
                <c:pt idx="49">
                  <c:v>0.868491553631014</c:v>
                </c:pt>
                <c:pt idx="50">
                  <c:v>0.8844979740994823</c:v>
                </c:pt>
                <c:pt idx="51">
                  <c:v>0.8093236419913943</c:v>
                </c:pt>
                <c:pt idx="52">
                  <c:v>0.6450204461034528</c:v>
                </c:pt>
                <c:pt idx="53">
                  <c:v>0.4705647164228404</c:v>
                </c:pt>
                <c:pt idx="54">
                  <c:v>0.7261776729862297</c:v>
                </c:pt>
              </c:numCache>
            </c:numRef>
          </c:xVal>
          <c:yVal>
            <c:numRef>
              <c:f>Sheet1!$B$187:$B$241</c:f>
              <c:numCache>
                <c:formatCode>General</c:formatCode>
                <c:ptCount val="55"/>
                <c:pt idx="0">
                  <c:v>0.223947480569697</c:v>
                </c:pt>
                <c:pt idx="1">
                  <c:v>0.22879351749671395</c:v>
                </c:pt>
                <c:pt idx="2">
                  <c:v>0.22826397764801243</c:v>
                </c:pt>
                <c:pt idx="3">
                  <c:v>0.23911117793146427</c:v>
                </c:pt>
                <c:pt idx="4">
                  <c:v>0.23381326274773384</c:v>
                </c:pt>
                <c:pt idx="5">
                  <c:v>0.2260504912151129</c:v>
                </c:pt>
                <c:pt idx="6">
                  <c:v>0.22781320500010502</c:v>
                </c:pt>
                <c:pt idx="7">
                  <c:v>0.23014700997744852</c:v>
                </c:pt>
                <c:pt idx="8">
                  <c:v>0.2296301037260459</c:v>
                </c:pt>
                <c:pt idx="9">
                  <c:v>0.2285387873401107</c:v>
                </c:pt>
                <c:pt idx="10">
                  <c:v>0.22497313580132067</c:v>
                </c:pt>
                <c:pt idx="11">
                  <c:v>0.22909260279466617</c:v>
                </c:pt>
                <c:pt idx="12">
                  <c:v>0.22879699178726565</c:v>
                </c:pt>
                <c:pt idx="13">
                  <c:v>0.22875576709289738</c:v>
                </c:pt>
                <c:pt idx="14">
                  <c:v>0.22855835969324353</c:v>
                </c:pt>
                <c:pt idx="15">
                  <c:v>0.23195362795134006</c:v>
                </c:pt>
                <c:pt idx="16">
                  <c:v>0.2312153656182538</c:v>
                </c:pt>
                <c:pt idx="17">
                  <c:v>0.23981741445022153</c:v>
                </c:pt>
                <c:pt idx="18">
                  <c:v>0.23411979837974328</c:v>
                </c:pt>
                <c:pt idx="19">
                  <c:v>0.23453092016697533</c:v>
                </c:pt>
                <c:pt idx="20">
                  <c:v>0.23685314074773844</c:v>
                </c:pt>
                <c:pt idx="21">
                  <c:v>0.23864263703550298</c:v>
                </c:pt>
                <c:pt idx="22">
                  <c:v>0.23500787385320193</c:v>
                </c:pt>
                <c:pt idx="23">
                  <c:v>0.23433014875189923</c:v>
                </c:pt>
                <c:pt idx="24">
                  <c:v>0.23582676333150263</c:v>
                </c:pt>
                <c:pt idx="25">
                  <c:v>0.2300668502781355</c:v>
                </c:pt>
                <c:pt idx="26">
                  <c:v>0.2376368703333398</c:v>
                </c:pt>
                <c:pt idx="27">
                  <c:v>0.23518975634780018</c:v>
                </c:pt>
                <c:pt idx="28">
                  <c:v>0.23042124546585224</c:v>
                </c:pt>
                <c:pt idx="29">
                  <c:v>0.23305824378300327</c:v>
                </c:pt>
                <c:pt idx="30">
                  <c:v>0.23581448634680474</c:v>
                </c:pt>
                <c:pt idx="31">
                  <c:v>0.23870639204248686</c:v>
                </c:pt>
                <c:pt idx="32">
                  <c:v>0.23959757194619458</c:v>
                </c:pt>
                <c:pt idx="33">
                  <c:v>0.23652561030516964</c:v>
                </c:pt>
                <c:pt idx="34">
                  <c:v>0.23168884918562796</c:v>
                </c:pt>
                <c:pt idx="35">
                  <c:v>0.23155204764031043</c:v>
                </c:pt>
                <c:pt idx="36">
                  <c:v>0.2412443443777067</c:v>
                </c:pt>
                <c:pt idx="37">
                  <c:v>0.24446767957122445</c:v>
                </c:pt>
                <c:pt idx="38">
                  <c:v>0.24057291819837784</c:v>
                </c:pt>
                <c:pt idx="39">
                  <c:v>0.23611967054848199</c:v>
                </c:pt>
                <c:pt idx="40">
                  <c:v>0.23155092103590197</c:v>
                </c:pt>
                <c:pt idx="41">
                  <c:v>0.22906065085990435</c:v>
                </c:pt>
                <c:pt idx="42">
                  <c:v>0.23249683511524355</c:v>
                </c:pt>
                <c:pt idx="43">
                  <c:v>0.22836251103132016</c:v>
                </c:pt>
                <c:pt idx="44">
                  <c:v>0.2243151349282887</c:v>
                </c:pt>
                <c:pt idx="45">
                  <c:v>0.22263288628703354</c:v>
                </c:pt>
                <c:pt idx="46">
                  <c:v>0.22608739099630026</c:v>
                </c:pt>
                <c:pt idx="47">
                  <c:v>0.22440938079988054</c:v>
                </c:pt>
                <c:pt idx="48">
                  <c:v>0.22141391381132988</c:v>
                </c:pt>
                <c:pt idx="49">
                  <c:v>0.21255358092290672</c:v>
                </c:pt>
                <c:pt idx="50">
                  <c:v>0.21052958167300367</c:v>
                </c:pt>
                <c:pt idx="51">
                  <c:v>0.22003531670592147</c:v>
                </c:pt>
                <c:pt idx="52">
                  <c:v>0.24081132630088165</c:v>
                </c:pt>
                <c:pt idx="53">
                  <c:v>0.2628711157903823</c:v>
                </c:pt>
                <c:pt idx="54">
                  <c:v>0.23054905894019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56509695290858"/>
          <c:min val="0.1199200532978014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9.6296</c:v>
                </c:pt>
                <c:pt idx="1">
                  <c:v>896.795</c:v>
                </c:pt>
                <c:pt idx="2">
                  <c:v>972.6771</c:v>
                </c:pt>
                <c:pt idx="3">
                  <c:v>974.3128</c:v>
                </c:pt>
                <c:pt idx="4">
                  <c:v>985.2092</c:v>
                </c:pt>
                <c:pt idx="5">
                  <c:v>978.9582</c:v>
                </c:pt>
                <c:pt idx="6">
                  <c:v>956.527</c:v>
                </c:pt>
                <c:pt idx="7">
                  <c:v>934.7831</c:v>
                </c:pt>
                <c:pt idx="8">
                  <c:v>942.1317</c:v>
                </c:pt>
                <c:pt idx="9">
                  <c:v>939.3629</c:v>
                </c:pt>
                <c:pt idx="10">
                  <c:v>923.4758</c:v>
                </c:pt>
                <c:pt idx="11">
                  <c:v>972.4554</c:v>
                </c:pt>
                <c:pt idx="12">
                  <c:v>995.7564</c:v>
                </c:pt>
                <c:pt idx="13">
                  <c:v>983.7745</c:v>
                </c:pt>
                <c:pt idx="14">
                  <c:v>997.794</c:v>
                </c:pt>
                <c:pt idx="15">
                  <c:v>1001.6633</c:v>
                </c:pt>
                <c:pt idx="16">
                  <c:v>1053.0972</c:v>
                </c:pt>
                <c:pt idx="17">
                  <c:v>1073.8212</c:v>
                </c:pt>
                <c:pt idx="18">
                  <c:v>1120.6429</c:v>
                </c:pt>
                <c:pt idx="19">
                  <c:v>1118.6546</c:v>
                </c:pt>
                <c:pt idx="20">
                  <c:v>1162.7111</c:v>
                </c:pt>
                <c:pt idx="21">
                  <c:v>1171.1277</c:v>
                </c:pt>
                <c:pt idx="22">
                  <c:v>1104.7412</c:v>
                </c:pt>
                <c:pt idx="23">
                  <c:v>1077.2022</c:v>
                </c:pt>
                <c:pt idx="24">
                  <c:v>1097.0797</c:v>
                </c:pt>
                <c:pt idx="25">
                  <c:v>1102.4253</c:v>
                </c:pt>
                <c:pt idx="26">
                  <c:v>1112.6996</c:v>
                </c:pt>
                <c:pt idx="27">
                  <c:v>1117.8981</c:v>
                </c:pt>
                <c:pt idx="28">
                  <c:v>1113.8744</c:v>
                </c:pt>
                <c:pt idx="29">
                  <c:v>1044.919</c:v>
                </c:pt>
                <c:pt idx="30">
                  <c:v>1080.8502</c:v>
                </c:pt>
                <c:pt idx="31">
                  <c:v>1062.7523</c:v>
                </c:pt>
                <c:pt idx="32">
                  <c:v>1047.5045</c:v>
                </c:pt>
                <c:pt idx="33">
                  <c:v>944.4878</c:v>
                </c:pt>
                <c:pt idx="34">
                  <c:v>1001.1254</c:v>
                </c:pt>
                <c:pt idx="35">
                  <c:v>1075.9265</c:v>
                </c:pt>
                <c:pt idx="36">
                  <c:v>1175.3508</c:v>
                </c:pt>
                <c:pt idx="37">
                  <c:v>1146.376</c:v>
                </c:pt>
                <c:pt idx="38">
                  <c:v>1204.0383</c:v>
                </c:pt>
                <c:pt idx="39">
                  <c:v>1240.6354</c:v>
                </c:pt>
                <c:pt idx="40">
                  <c:v>1215.0308</c:v>
                </c:pt>
                <c:pt idx="41">
                  <c:v>1240.3125</c:v>
                </c:pt>
                <c:pt idx="42">
                  <c:v>1274.1598</c:v>
                </c:pt>
                <c:pt idx="43">
                  <c:v>1311.4356</c:v>
                </c:pt>
                <c:pt idx="44">
                  <c:v>1261.2271</c:v>
                </c:pt>
                <c:pt idx="45">
                  <c:v>1213.9087</c:v>
                </c:pt>
                <c:pt idx="46">
                  <c:v>1155.5442</c:v>
                </c:pt>
                <c:pt idx="47">
                  <c:v>1145.1604</c:v>
                </c:pt>
                <c:pt idx="48">
                  <c:v>1140.477</c:v>
                </c:pt>
                <c:pt idx="49">
                  <c:v>1083.8669</c:v>
                </c:pt>
                <c:pt idx="50">
                  <c:v>1068.2247</c:v>
                </c:pt>
                <c:pt idx="51">
                  <c:v>1109.936</c:v>
                </c:pt>
                <c:pt idx="52">
                  <c:v>1109.8025</c:v>
                </c:pt>
                <c:pt idx="53">
                  <c:v>1219.3066</c:v>
                </c:pt>
                <c:pt idx="54">
                  <c:v>1178.8173</c:v>
                </c:pt>
                <c:pt idx="55">
                  <c:v>1215.0767</c:v>
                </c:pt>
                <c:pt idx="56">
                  <c:v>1218.4517</c:v>
                </c:pt>
                <c:pt idx="57">
                  <c:v>1214.5521</c:v>
                </c:pt>
                <c:pt idx="58">
                  <c:v>1170.9137</c:v>
                </c:pt>
                <c:pt idx="59">
                  <c:v>1181.7731</c:v>
                </c:pt>
                <c:pt idx="60">
                  <c:v>1198.6041</c:v>
                </c:pt>
                <c:pt idx="61">
                  <c:v>1192.748</c:v>
                </c:pt>
                <c:pt idx="62">
                  <c:v>1163.5957</c:v>
                </c:pt>
                <c:pt idx="63">
                  <c:v>1185.7231</c:v>
                </c:pt>
                <c:pt idx="64">
                  <c:v>1185.6658</c:v>
                </c:pt>
                <c:pt idx="65">
                  <c:v>1192.6672</c:v>
                </c:pt>
                <c:pt idx="66">
                  <c:v>1193.6949</c:v>
                </c:pt>
                <c:pt idx="67">
                  <c:v>1187.7459</c:v>
                </c:pt>
                <c:pt idx="68">
                  <c:v>1209.8367</c:v>
                </c:pt>
                <c:pt idx="69">
                  <c:v>1241.1293</c:v>
                </c:pt>
                <c:pt idx="70">
                  <c:v>1263.6958</c:v>
                </c:pt>
                <c:pt idx="71">
                  <c:v>1316.3656</c:v>
                </c:pt>
                <c:pt idx="72">
                  <c:v>1412.4351</c:v>
                </c:pt>
                <c:pt idx="73">
                  <c:v>1365.7012</c:v>
                </c:pt>
                <c:pt idx="74">
                  <c:v>1356.6985</c:v>
                </c:pt>
                <c:pt idx="75">
                  <c:v>1255.7836</c:v>
                </c:pt>
                <c:pt idx="76">
                  <c:v>1301.0993</c:v>
                </c:pt>
                <c:pt idx="77">
                  <c:v>1353.7405</c:v>
                </c:pt>
                <c:pt idx="78">
                  <c:v>1349.7115</c:v>
                </c:pt>
                <c:pt idx="79">
                  <c:v>1387.9904</c:v>
                </c:pt>
                <c:pt idx="80">
                  <c:v>1366.3425</c:v>
                </c:pt>
                <c:pt idx="81">
                  <c:v>1356.2594</c:v>
                </c:pt>
                <c:pt idx="82">
                  <c:v>1356.0402</c:v>
                </c:pt>
                <c:pt idx="83">
                  <c:v>1270.0988</c:v>
                </c:pt>
                <c:pt idx="84">
                  <c:v>1301.838</c:v>
                </c:pt>
                <c:pt idx="85">
                  <c:v>1305.4628</c:v>
                </c:pt>
                <c:pt idx="86">
                  <c:v>1298.6272</c:v>
                </c:pt>
                <c:pt idx="87">
                  <c:v>1264.1729</c:v>
                </c:pt>
                <c:pt idx="88">
                  <c:v>1331.1786</c:v>
                </c:pt>
                <c:pt idx="89">
                  <c:v>1330.4795</c:v>
                </c:pt>
                <c:pt idx="90">
                  <c:v>1397.177</c:v>
                </c:pt>
                <c:pt idx="91">
                  <c:v>1360.8791</c:v>
                </c:pt>
                <c:pt idx="92">
                  <c:v>1322.2246</c:v>
                </c:pt>
                <c:pt idx="93">
                  <c:v>1351.9296</c:v>
                </c:pt>
                <c:pt idx="94">
                  <c:v>1275.0184</c:v>
                </c:pt>
                <c:pt idx="95">
                  <c:v>1195.358</c:v>
                </c:pt>
                <c:pt idx="96">
                  <c:v>1311.5122</c:v>
                </c:pt>
                <c:pt idx="97">
                  <c:v>1261.9378</c:v>
                </c:pt>
                <c:pt idx="98">
                  <c:v>1200.0083</c:v>
                </c:pt>
                <c:pt idx="99">
                  <c:v>1174.7128</c:v>
                </c:pt>
                <c:pt idx="100">
                  <c:v>1147.2169</c:v>
                </c:pt>
                <c:pt idx="101">
                  <c:v>1216.5911</c:v>
                </c:pt>
                <c:pt idx="102">
                  <c:v>1214.2784</c:v>
                </c:pt>
                <c:pt idx="103">
                  <c:v>1172.1832</c:v>
                </c:pt>
                <c:pt idx="104">
                  <c:v>1253.4938</c:v>
                </c:pt>
              </c:numCache>
            </c:numRef>
          </c:xVal>
          <c:yVal>
            <c:numRef>
              <c:f>Sheet1!$B$2:$B$106</c:f>
              <c:numCache>
                <c:formatCode>General</c:formatCode>
                <c:ptCount val="105"/>
                <c:pt idx="0">
                  <c:v>0.25414141414141417</c:v>
                </c:pt>
                <c:pt idx="1">
                  <c:v>0.24475166410650281</c:v>
                </c:pt>
                <c:pt idx="2">
                  <c:v>0.24769752787203103</c:v>
                </c:pt>
                <c:pt idx="3">
                  <c:v>0.25133689839572193</c:v>
                </c:pt>
                <c:pt idx="4">
                  <c:v>0.2602040816326531</c:v>
                </c:pt>
                <c:pt idx="5">
                  <c:v>0.26145833333333335</c:v>
                </c:pt>
                <c:pt idx="6">
                  <c:v>0.2624113475177305</c:v>
                </c:pt>
                <c:pt idx="7">
                  <c:v>0.2926587301587302</c:v>
                </c:pt>
                <c:pt idx="8">
                  <c:v>0.26443629697525206</c:v>
                </c:pt>
                <c:pt idx="9">
                  <c:v>0.2497324295397788</c:v>
                </c:pt>
                <c:pt idx="10">
                  <c:v>0.2683982683982684</c:v>
                </c:pt>
                <c:pt idx="11">
                  <c:v>0.24558032282859338</c:v>
                </c:pt>
                <c:pt idx="12">
                  <c:v>0.23796892762410005</c:v>
                </c:pt>
                <c:pt idx="13">
                  <c:v>0.23195458231954583</c:v>
                </c:pt>
                <c:pt idx="14">
                  <c:v>0.21195421788893598</c:v>
                </c:pt>
                <c:pt idx="15">
                  <c:v>0.1973026973026973</c:v>
                </c:pt>
                <c:pt idx="16">
                  <c:v>0.17173524150268335</c:v>
                </c:pt>
                <c:pt idx="17">
                  <c:v>0.17463352453792225</c:v>
                </c:pt>
                <c:pt idx="18">
                  <c:v>0.1527599486521181</c:v>
                </c:pt>
                <c:pt idx="19">
                  <c:v>0.1704745166959578</c:v>
                </c:pt>
                <c:pt idx="20">
                  <c:v>0.14990006662225183</c:v>
                </c:pt>
                <c:pt idx="21">
                  <c:v>0.15524360033030554</c:v>
                </c:pt>
                <c:pt idx="22">
                  <c:v>0.20126282557221783</c:v>
                </c:pt>
                <c:pt idx="23">
                  <c:v>0.2377560106856634</c:v>
                </c:pt>
                <c:pt idx="24">
                  <c:v>0.2436893203883495</c:v>
                </c:pt>
                <c:pt idx="25">
                  <c:v>0.22643442622950818</c:v>
                </c:pt>
                <c:pt idx="26">
                  <c:v>0.2606263982102908</c:v>
                </c:pt>
                <c:pt idx="27">
                  <c:v>0.24379232505643342</c:v>
                </c:pt>
                <c:pt idx="28">
                  <c:v>0.2777085927770859</c:v>
                </c:pt>
                <c:pt idx="29">
                  <c:v>0.2819634703196347</c:v>
                </c:pt>
                <c:pt idx="30">
                  <c:v>0.27417218543046357</c:v>
                </c:pt>
                <c:pt idx="31">
                  <c:v>0.30193905817174516</c:v>
                </c:pt>
                <c:pt idx="32">
                  <c:v>0.3047091412742382</c:v>
                </c:pt>
                <c:pt idx="33">
                  <c:v>0.28839390386869873</c:v>
                </c:pt>
                <c:pt idx="34">
                  <c:v>0.2748768472906404</c:v>
                </c:pt>
                <c:pt idx="35">
                  <c:v>0.2684391080617496</c:v>
                </c:pt>
                <c:pt idx="36">
                  <c:v>0.2525458248472505</c:v>
                </c:pt>
                <c:pt idx="37">
                  <c:v>0.2523461939520334</c:v>
                </c:pt>
                <c:pt idx="38">
                  <c:v>0.2619047619047619</c:v>
                </c:pt>
                <c:pt idx="39">
                  <c:v>0.2445945945945946</c:v>
                </c:pt>
                <c:pt idx="40">
                  <c:v>0.23329907502569372</c:v>
                </c:pt>
                <c:pt idx="41">
                  <c:v>0.24514811031664965</c:v>
                </c:pt>
                <c:pt idx="42">
                  <c:v>0.2484725050916497</c:v>
                </c:pt>
                <c:pt idx="43">
                  <c:v>0.234375</c:v>
                </c:pt>
                <c:pt idx="44">
                  <c:v>0.22768974145120935</c:v>
                </c:pt>
                <c:pt idx="45">
                  <c:v>0.22920110192837465</c:v>
                </c:pt>
                <c:pt idx="46">
                  <c:v>0.23298327499027616</c:v>
                </c:pt>
                <c:pt idx="47">
                  <c:v>0.2323943661971831</c:v>
                </c:pt>
                <c:pt idx="48">
                  <c:v>0.22863520408163265</c:v>
                </c:pt>
                <c:pt idx="49">
                  <c:v>0.21374700034281796</c:v>
                </c:pt>
                <c:pt idx="50">
                  <c:v>0.23048464668886423</c:v>
                </c:pt>
                <c:pt idx="51">
                  <c:v>0.21645021645021645</c:v>
                </c:pt>
                <c:pt idx="52">
                  <c:v>0.22088040514218932</c:v>
                </c:pt>
                <c:pt idx="53">
                  <c:v>0.2202572347266881</c:v>
                </c:pt>
                <c:pt idx="54">
                  <c:v>0.2110337439742903</c:v>
                </c:pt>
                <c:pt idx="55">
                  <c:v>0.19718309859154928</c:v>
                </c:pt>
                <c:pt idx="56">
                  <c:v>0.2140641158221303</c:v>
                </c:pt>
                <c:pt idx="57">
                  <c:v>0.2019559902200489</c:v>
                </c:pt>
                <c:pt idx="58">
                  <c:v>0.2375</c:v>
                </c:pt>
                <c:pt idx="59">
                  <c:v>0.221107544141252</c:v>
                </c:pt>
                <c:pt idx="60">
                  <c:v>0.21800073773515308</c:v>
                </c:pt>
                <c:pt idx="61">
                  <c:v>0.2236271676300578</c:v>
                </c:pt>
                <c:pt idx="62">
                  <c:v>0.24253075571177504</c:v>
                </c:pt>
                <c:pt idx="63">
                  <c:v>0.2346350832266325</c:v>
                </c:pt>
                <c:pt idx="64">
                  <c:v>0.22588597842835131</c:v>
                </c:pt>
                <c:pt idx="65">
                  <c:v>0.20267188009123493</c:v>
                </c:pt>
                <c:pt idx="66">
                  <c:v>0.20549782098558497</c:v>
                </c:pt>
                <c:pt idx="67">
                  <c:v>0.20330578512396694</c:v>
                </c:pt>
                <c:pt idx="68">
                  <c:v>0.1814872594903796</c:v>
                </c:pt>
                <c:pt idx="69">
                  <c:v>0.18599679315873865</c:v>
                </c:pt>
                <c:pt idx="70">
                  <c:v>0.18641212801796744</c:v>
                </c:pt>
                <c:pt idx="71">
                  <c:v>0.1894093686354379</c:v>
                </c:pt>
                <c:pt idx="72">
                  <c:v>0.1677336747759283</c:v>
                </c:pt>
                <c:pt idx="73">
                  <c:v>0.187402799377916</c:v>
                </c:pt>
                <c:pt idx="74">
                  <c:v>0.19684447783621337</c:v>
                </c:pt>
                <c:pt idx="75">
                  <c:v>0.22964867180805484</c:v>
                </c:pt>
                <c:pt idx="76">
                  <c:v>0.23031329381879762</c:v>
                </c:pt>
                <c:pt idx="77">
                  <c:v>0.19032921810699588</c:v>
                </c:pt>
                <c:pt idx="78">
                  <c:v>0.22127659574468084</c:v>
                </c:pt>
                <c:pt idx="79">
                  <c:v>0.1922723091076357</c:v>
                </c:pt>
                <c:pt idx="80">
                  <c:v>0.17337164750957854</c:v>
                </c:pt>
                <c:pt idx="81">
                  <c:v>0.19735755573905864</c:v>
                </c:pt>
                <c:pt idx="82">
                  <c:v>0.21147715196599362</c:v>
                </c:pt>
                <c:pt idx="83">
                  <c:v>0.21313506815365552</c:v>
                </c:pt>
                <c:pt idx="84">
                  <c:v>0.21696969696969698</c:v>
                </c:pt>
                <c:pt idx="85">
                  <c:v>0.20935412026726058</c:v>
                </c:pt>
                <c:pt idx="86">
                  <c:v>0.21550094517958412</c:v>
                </c:pt>
                <c:pt idx="87">
                  <c:v>0.24603836530442036</c:v>
                </c:pt>
                <c:pt idx="88">
                  <c:v>0.23140495867768596</c:v>
                </c:pt>
                <c:pt idx="89">
                  <c:v>0.2822164948453608</c:v>
                </c:pt>
                <c:pt idx="90">
                  <c:v>0.2686375321336761</c:v>
                </c:pt>
                <c:pt idx="91">
                  <c:v>0.24169986719787517</c:v>
                </c:pt>
                <c:pt idx="92">
                  <c:v>0.24380165289256198</c:v>
                </c:pt>
                <c:pt idx="93">
                  <c:v>0.2279495990836197</c:v>
                </c:pt>
                <c:pt idx="94">
                  <c:v>0.2411111111111111</c:v>
                </c:pt>
                <c:pt idx="95">
                  <c:v>0.2622187742435997</c:v>
                </c:pt>
                <c:pt idx="96">
                  <c:v>0.2210242587601078</c:v>
                </c:pt>
                <c:pt idx="97">
                  <c:v>0.23309178743961353</c:v>
                </c:pt>
                <c:pt idx="98">
                  <c:v>0.23214285714285715</c:v>
                </c:pt>
                <c:pt idx="99">
                  <c:v>0.22750598699965788</c:v>
                </c:pt>
                <c:pt idx="100">
                  <c:v>0.22814007129377228</c:v>
                </c:pt>
                <c:pt idx="101">
                  <c:v>0.23004904146232724</c:v>
                </c:pt>
                <c:pt idx="102">
                  <c:v>0.21424627277747102</c:v>
                </c:pt>
                <c:pt idx="103">
                  <c:v>0.2182904411764706</c:v>
                </c:pt>
                <c:pt idx="104">
                  <c:v>0.205641025641025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3.4105</c:v>
                </c:pt>
                <c:pt idx="1">
                  <c:v>1298.7352</c:v>
                </c:pt>
                <c:pt idx="2">
                  <c:v>1294.9875</c:v>
                </c:pt>
                <c:pt idx="3">
                  <c:v>1220.7718</c:v>
                </c:pt>
                <c:pt idx="4">
                  <c:v>1288.2635</c:v>
                </c:pt>
                <c:pt idx="5">
                  <c:v>1303.5355</c:v>
                </c:pt>
                <c:pt idx="6">
                  <c:v>1223.1849</c:v>
                </c:pt>
                <c:pt idx="7">
                  <c:v>1222.7055</c:v>
                </c:pt>
                <c:pt idx="8">
                  <c:v>1252.852</c:v>
                </c:pt>
                <c:pt idx="9">
                  <c:v>1205.0405</c:v>
                </c:pt>
                <c:pt idx="10">
                  <c:v>1241.2559</c:v>
                </c:pt>
                <c:pt idx="11">
                  <c:v>1137.5269</c:v>
                </c:pt>
                <c:pt idx="12">
                  <c:v>1173.9413</c:v>
                </c:pt>
                <c:pt idx="13">
                  <c:v>1213.723</c:v>
                </c:pt>
                <c:pt idx="14">
                  <c:v>1182.9013</c:v>
                </c:pt>
                <c:pt idx="15">
                  <c:v>1194.3696</c:v>
                </c:pt>
                <c:pt idx="16">
                  <c:v>1233.9789</c:v>
                </c:pt>
                <c:pt idx="17">
                  <c:v>1132.3846</c:v>
                </c:pt>
                <c:pt idx="18">
                  <c:v>1224.2471</c:v>
                </c:pt>
                <c:pt idx="19">
                  <c:v>1321.3214</c:v>
                </c:pt>
                <c:pt idx="20">
                  <c:v>1306.7118</c:v>
                </c:pt>
                <c:pt idx="21">
                  <c:v>1261.3699</c:v>
                </c:pt>
                <c:pt idx="22">
                  <c:v>1304.7738</c:v>
                </c:pt>
                <c:pt idx="23">
                  <c:v>1289.6812</c:v>
                </c:pt>
                <c:pt idx="24">
                  <c:v>1316.2862</c:v>
                </c:pt>
                <c:pt idx="25">
                  <c:v>1311.6312</c:v>
                </c:pt>
                <c:pt idx="26">
                  <c:v>1264.4649</c:v>
                </c:pt>
                <c:pt idx="27">
                  <c:v>1312.5431</c:v>
                </c:pt>
                <c:pt idx="28">
                  <c:v>1381.545</c:v>
                </c:pt>
                <c:pt idx="29">
                  <c:v>1401.0842</c:v>
                </c:pt>
                <c:pt idx="30">
                  <c:v>1358.7387</c:v>
                </c:pt>
                <c:pt idx="31">
                  <c:v>1334.8808</c:v>
                </c:pt>
                <c:pt idx="32">
                  <c:v>1355.4875</c:v>
                </c:pt>
                <c:pt idx="33">
                  <c:v>1343.7974</c:v>
                </c:pt>
                <c:pt idx="34">
                  <c:v>1372.3091</c:v>
                </c:pt>
                <c:pt idx="35">
                  <c:v>1421.0659</c:v>
                </c:pt>
                <c:pt idx="36">
                  <c:v>1397.6954</c:v>
                </c:pt>
                <c:pt idx="37">
                  <c:v>1338.5297</c:v>
                </c:pt>
                <c:pt idx="38">
                  <c:v>1369.005</c:v>
                </c:pt>
                <c:pt idx="39">
                  <c:v>1361.6745</c:v>
                </c:pt>
                <c:pt idx="40">
                  <c:v>1378.2869</c:v>
                </c:pt>
                <c:pt idx="41">
                  <c:v>1456.4351</c:v>
                </c:pt>
                <c:pt idx="42">
                  <c:v>1432.8445</c:v>
                </c:pt>
                <c:pt idx="43">
                  <c:v>1407.0109</c:v>
                </c:pt>
                <c:pt idx="44">
                  <c:v>1350.7737</c:v>
                </c:pt>
                <c:pt idx="45">
                  <c:v>1318.7147</c:v>
                </c:pt>
                <c:pt idx="46">
                  <c:v>1263.7961</c:v>
                </c:pt>
                <c:pt idx="47">
                  <c:v>1240.1729</c:v>
                </c:pt>
                <c:pt idx="48">
                  <c:v>1237.7346</c:v>
                </c:pt>
                <c:pt idx="49">
                  <c:v>1251.2066</c:v>
                </c:pt>
                <c:pt idx="50">
                  <c:v>1225.3911</c:v>
                </c:pt>
                <c:pt idx="51">
                  <c:v>1181.4322</c:v>
                </c:pt>
              </c:numCache>
            </c:numRef>
          </c:xVal>
          <c:yVal>
            <c:numRef>
              <c:f>Sheet1!$B$109:$B$160</c:f>
              <c:numCache>
                <c:formatCode>General</c:formatCode>
                <c:ptCount val="52"/>
                <c:pt idx="0">
                  <c:v>0.2110831234256927</c:v>
                </c:pt>
                <c:pt idx="1">
                  <c:v>0.20993494973388527</c:v>
                </c:pt>
                <c:pt idx="2">
                  <c:v>0.22904761904761906</c:v>
                </c:pt>
                <c:pt idx="3">
                  <c:v>0.2525647288715193</c:v>
                </c:pt>
                <c:pt idx="4">
                  <c:v>0.24019607843137256</c:v>
                </c:pt>
                <c:pt idx="5">
                  <c:v>0.22058165548098435</c:v>
                </c:pt>
                <c:pt idx="6">
                  <c:v>0.22094406981356604</c:v>
                </c:pt>
                <c:pt idx="7">
                  <c:v>0.23276529821843533</c:v>
                </c:pt>
                <c:pt idx="8">
                  <c:v>0.22063789868667918</c:v>
                </c:pt>
                <c:pt idx="9">
                  <c:v>0.22526041666666666</c:v>
                </c:pt>
                <c:pt idx="10">
                  <c:v>0.22443977591036415</c:v>
                </c:pt>
                <c:pt idx="11">
                  <c:v>0.22077168552364373</c:v>
                </c:pt>
                <c:pt idx="12">
                  <c:v>0.22025875670558537</c:v>
                </c:pt>
                <c:pt idx="13">
                  <c:v>0.2258181818181818</c:v>
                </c:pt>
                <c:pt idx="14">
                  <c:v>0.2271615008156607</c:v>
                </c:pt>
                <c:pt idx="15">
                  <c:v>0.21217712177121772</c:v>
                </c:pt>
                <c:pt idx="16">
                  <c:v>0.20708446866485014</c:v>
                </c:pt>
                <c:pt idx="17">
                  <c:v>0.2433574879227053</c:v>
                </c:pt>
                <c:pt idx="18">
                  <c:v>0.21428571428571427</c:v>
                </c:pt>
                <c:pt idx="19">
                  <c:v>0.21604938271604937</c:v>
                </c:pt>
                <c:pt idx="20">
                  <c:v>0.22695738354806738</c:v>
                </c:pt>
                <c:pt idx="21">
                  <c:v>0.22672811059907835</c:v>
                </c:pt>
                <c:pt idx="22">
                  <c:v>0.21875</c:v>
                </c:pt>
                <c:pt idx="23">
                  <c:v>0.2440318302387268</c:v>
                </c:pt>
                <c:pt idx="24">
                  <c:v>0.23996431757359502</c:v>
                </c:pt>
                <c:pt idx="25">
                  <c:v>0.2384406165004533</c:v>
                </c:pt>
                <c:pt idx="26">
                  <c:v>0.26158301158301156</c:v>
                </c:pt>
                <c:pt idx="27">
                  <c:v>0.2606741573033708</c:v>
                </c:pt>
                <c:pt idx="28">
                  <c:v>0.2205071664829107</c:v>
                </c:pt>
                <c:pt idx="29">
                  <c:v>0.23573200992555832</c:v>
                </c:pt>
                <c:pt idx="30">
                  <c:v>0.24659231722428748</c:v>
                </c:pt>
                <c:pt idx="31">
                  <c:v>0.22076023391812866</c:v>
                </c:pt>
                <c:pt idx="32">
                  <c:v>0.21248339973439576</c:v>
                </c:pt>
                <c:pt idx="33">
                  <c:v>0.2188679245283019</c:v>
                </c:pt>
                <c:pt idx="34">
                  <c:v>0.26416666666666666</c:v>
                </c:pt>
                <c:pt idx="35">
                  <c:v>0.24179943767572634</c:v>
                </c:pt>
                <c:pt idx="36">
                  <c:v>0.2506361323155216</c:v>
                </c:pt>
                <c:pt idx="37">
                  <c:v>0.2483221476510067</c:v>
                </c:pt>
                <c:pt idx="38">
                  <c:v>0.26613965744400525</c:v>
                </c:pt>
                <c:pt idx="39">
                  <c:v>0.2459396751740139</c:v>
                </c:pt>
                <c:pt idx="40">
                  <c:v>0.2423038728897716</c:v>
                </c:pt>
                <c:pt idx="41">
                  <c:v>0.2436289500509684</c:v>
                </c:pt>
                <c:pt idx="42">
                  <c:v>0.2161671207992734</c:v>
                </c:pt>
                <c:pt idx="43">
                  <c:v>0.21345707656612528</c:v>
                </c:pt>
                <c:pt idx="44">
                  <c:v>0.2190247801758593</c:v>
                </c:pt>
                <c:pt idx="45">
                  <c:v>0.24509803921568626</c:v>
                </c:pt>
                <c:pt idx="46">
                  <c:v>0.25263157894736843</c:v>
                </c:pt>
                <c:pt idx="47">
                  <c:v>0.24539877300613497</c:v>
                </c:pt>
                <c:pt idx="48">
                  <c:v>0.24047501237011382</c:v>
                </c:pt>
                <c:pt idx="49">
                  <c:v>0.218014329580348</c:v>
                </c:pt>
                <c:pt idx="50">
                  <c:v>0.19707317073170733</c:v>
                </c:pt>
                <c:pt idx="51">
                  <c:v>0.217925386715195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901.092509085404</c:v>
                </c:pt>
              </c:numCache>
            </c:numRef>
          </c:xVal>
          <c:yVal>
            <c:numRef>
              <c:f>Sheet1!$B$163:$B$164</c:f>
              <c:numCache>
                <c:formatCode>General</c:formatCode>
                <c:ptCount val="2"/>
                <c:pt idx="0">
                  <c:v>0.2628711157903823</c:v>
                </c:pt>
                <c:pt idx="1">
                  <c:v>0.26287111579038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901.092509085404</c:v>
                </c:pt>
                <c:pt idx="1">
                  <c:v>1901.092509085404</c:v>
                </c:pt>
              </c:numCache>
            </c:numRef>
          </c:xVal>
          <c:yVal>
            <c:numRef>
              <c:f>Sheet1!$B$167:$B$168</c:f>
              <c:numCache>
                <c:formatCode>General</c:formatCode>
                <c:ptCount val="2"/>
                <c:pt idx="0">
                  <c:v>0.26287111579038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78.84838144345</c:v>
                </c:pt>
              </c:numCache>
            </c:numRef>
          </c:xVal>
          <c:yVal>
            <c:numRef>
              <c:f>Sheet1!$B$171:$B$172</c:f>
              <c:numCache>
                <c:formatCode>General</c:formatCode>
                <c:ptCount val="2"/>
                <c:pt idx="0">
                  <c:v>0.24081132630088165</c:v>
                </c:pt>
                <c:pt idx="1">
                  <c:v>0.2408113263008816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78.84838144345</c:v>
                </c:pt>
                <c:pt idx="1">
                  <c:v>1478.84838144345</c:v>
                </c:pt>
              </c:numCache>
            </c:numRef>
          </c:xVal>
          <c:yVal>
            <c:numRef>
              <c:f>Sheet1!$B$175:$B$176</c:f>
              <c:numCache>
                <c:formatCode>General</c:formatCode>
                <c:ptCount val="2"/>
                <c:pt idx="0">
                  <c:v>0.2408113263008816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2.4193932428607</c:v>
                </c:pt>
              </c:numCache>
            </c:numRef>
          </c:xVal>
          <c:yVal>
            <c:numRef>
              <c:f>Sheet1!$B$179:$B$180</c:f>
              <c:numCache>
                <c:formatCode>General</c:formatCode>
                <c:ptCount val="2"/>
                <c:pt idx="0">
                  <c:v>0.2305490589401974</c:v>
                </c:pt>
                <c:pt idx="1">
                  <c:v>0.23054905894019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2.4193932428607</c:v>
                </c:pt>
                <c:pt idx="1">
                  <c:v>1282.4193932428607</c:v>
                </c:pt>
              </c:numCache>
            </c:numRef>
          </c:xVal>
          <c:yVal>
            <c:numRef>
              <c:f>Sheet1!$B$183:$B$184</c:f>
              <c:numCache>
                <c:formatCode>General</c:formatCode>
                <c:ptCount val="2"/>
                <c:pt idx="0">
                  <c:v>0.23054905894019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3.4105</c:v>
                </c:pt>
                <c:pt idx="1">
                  <c:v>1298.7352</c:v>
                </c:pt>
                <c:pt idx="2">
                  <c:v>1294.9875</c:v>
                </c:pt>
                <c:pt idx="3">
                  <c:v>1220.7718</c:v>
                </c:pt>
                <c:pt idx="4">
                  <c:v>1288.2635</c:v>
                </c:pt>
                <c:pt idx="5">
                  <c:v>1303.5355</c:v>
                </c:pt>
                <c:pt idx="6">
                  <c:v>1223.1849</c:v>
                </c:pt>
                <c:pt idx="7">
                  <c:v>1222.7055</c:v>
                </c:pt>
                <c:pt idx="8">
                  <c:v>1252.852</c:v>
                </c:pt>
                <c:pt idx="9">
                  <c:v>1205.0405</c:v>
                </c:pt>
                <c:pt idx="10">
                  <c:v>1241.2559</c:v>
                </c:pt>
                <c:pt idx="11">
                  <c:v>1137.5269</c:v>
                </c:pt>
                <c:pt idx="12">
                  <c:v>1173.9413</c:v>
                </c:pt>
                <c:pt idx="13">
                  <c:v>1213.723</c:v>
                </c:pt>
                <c:pt idx="14">
                  <c:v>1182.9013</c:v>
                </c:pt>
                <c:pt idx="15">
                  <c:v>1194.3696</c:v>
                </c:pt>
                <c:pt idx="16">
                  <c:v>1233.9789</c:v>
                </c:pt>
                <c:pt idx="17">
                  <c:v>1132.3846</c:v>
                </c:pt>
                <c:pt idx="18">
                  <c:v>1224.2471</c:v>
                </c:pt>
                <c:pt idx="19">
                  <c:v>1321.3214</c:v>
                </c:pt>
                <c:pt idx="20">
                  <c:v>1306.7118</c:v>
                </c:pt>
                <c:pt idx="21">
                  <c:v>1261.3699</c:v>
                </c:pt>
                <c:pt idx="22">
                  <c:v>1304.7738</c:v>
                </c:pt>
                <c:pt idx="23">
                  <c:v>1289.6812</c:v>
                </c:pt>
                <c:pt idx="24">
                  <c:v>1316.2862</c:v>
                </c:pt>
                <c:pt idx="25">
                  <c:v>1311.6312</c:v>
                </c:pt>
                <c:pt idx="26">
                  <c:v>1264.4649</c:v>
                </c:pt>
                <c:pt idx="27">
                  <c:v>1312.5431</c:v>
                </c:pt>
                <c:pt idx="28">
                  <c:v>1381.545</c:v>
                </c:pt>
                <c:pt idx="29">
                  <c:v>1401.0842</c:v>
                </c:pt>
                <c:pt idx="30">
                  <c:v>1358.7387</c:v>
                </c:pt>
                <c:pt idx="31">
                  <c:v>1334.8808</c:v>
                </c:pt>
                <c:pt idx="32">
                  <c:v>1355.4875</c:v>
                </c:pt>
                <c:pt idx="33">
                  <c:v>1343.7974</c:v>
                </c:pt>
                <c:pt idx="34">
                  <c:v>1372.3091</c:v>
                </c:pt>
                <c:pt idx="35">
                  <c:v>1421.0659</c:v>
                </c:pt>
                <c:pt idx="36">
                  <c:v>1397.6954</c:v>
                </c:pt>
                <c:pt idx="37">
                  <c:v>1338.5297</c:v>
                </c:pt>
                <c:pt idx="38">
                  <c:v>1369.005</c:v>
                </c:pt>
                <c:pt idx="39">
                  <c:v>1361.6745</c:v>
                </c:pt>
                <c:pt idx="40">
                  <c:v>1378.2869</c:v>
                </c:pt>
                <c:pt idx="41">
                  <c:v>1456.4351</c:v>
                </c:pt>
                <c:pt idx="42">
                  <c:v>1432.8445</c:v>
                </c:pt>
                <c:pt idx="43">
                  <c:v>1407.0109</c:v>
                </c:pt>
                <c:pt idx="44">
                  <c:v>1350.7737</c:v>
                </c:pt>
                <c:pt idx="45">
                  <c:v>1318.7147</c:v>
                </c:pt>
                <c:pt idx="46">
                  <c:v>1263.7961</c:v>
                </c:pt>
                <c:pt idx="47">
                  <c:v>1240.1729</c:v>
                </c:pt>
                <c:pt idx="48">
                  <c:v>1237.7346</c:v>
                </c:pt>
                <c:pt idx="49">
                  <c:v>1251.2066</c:v>
                </c:pt>
                <c:pt idx="50">
                  <c:v>1225.3911</c:v>
                </c:pt>
                <c:pt idx="51">
                  <c:v>1181.4322</c:v>
                </c:pt>
                <c:pt idx="52">
                  <c:v>1478.84838144345</c:v>
                </c:pt>
                <c:pt idx="53">
                  <c:v>1901.092509085404</c:v>
                </c:pt>
                <c:pt idx="54">
                  <c:v>1282.4193932428607</c:v>
                </c:pt>
              </c:numCache>
            </c:numRef>
          </c:xVal>
          <c:yVal>
            <c:numRef>
              <c:f>Sheet1!$B$187:$B$241</c:f>
              <c:numCache>
                <c:formatCode>General</c:formatCode>
                <c:ptCount val="55"/>
                <c:pt idx="0">
                  <c:v>0.2300783968860423</c:v>
                </c:pt>
                <c:pt idx="1">
                  <c:v>0.23140146454835558</c:v>
                </c:pt>
                <c:pt idx="2">
                  <c:v>0.2312056691123563</c:v>
                </c:pt>
                <c:pt idx="3">
                  <c:v>0.22732833225521898</c:v>
                </c:pt>
                <c:pt idx="4">
                  <c:v>0.23085437938488096</c:v>
                </c:pt>
                <c:pt idx="5">
                  <c:v>0.23165225218648763</c:v>
                </c:pt>
                <c:pt idx="6">
                  <c:v>0.2274544026361486</c:v>
                </c:pt>
                <c:pt idx="7">
                  <c:v>0.22742935678615578</c:v>
                </c:pt>
                <c:pt idx="8">
                  <c:v>0.22900433533602718</c:v>
                </c:pt>
                <c:pt idx="9">
                  <c:v>0.22650646371122246</c:v>
                </c:pt>
                <c:pt idx="10">
                  <c:v>0.22839850683977841</c:v>
                </c:pt>
                <c:pt idx="11">
                  <c:v>0.2229792724344707</c:v>
                </c:pt>
                <c:pt idx="12">
                  <c:v>0.2248817121507375</c:v>
                </c:pt>
                <c:pt idx="13">
                  <c:v>0.22696007362478648</c:v>
                </c:pt>
                <c:pt idx="14">
                  <c:v>0.2253498198185214</c:v>
                </c:pt>
                <c:pt idx="15">
                  <c:v>0.2259489715112051</c:v>
                </c:pt>
                <c:pt idx="16">
                  <c:v>0.22801832609218203</c:v>
                </c:pt>
                <c:pt idx="17">
                  <c:v>0.22271061729384067</c:v>
                </c:pt>
                <c:pt idx="18">
                  <c:v>0.2275098963822111</c:v>
                </c:pt>
                <c:pt idx="19">
                  <c:v>0.2325814615802865</c:v>
                </c:pt>
                <c:pt idx="20">
                  <c:v>0.23181819530983383</c:v>
                </c:pt>
                <c:pt idx="21">
                  <c:v>0.22944934586096205</c:v>
                </c:pt>
                <c:pt idx="22">
                  <c:v>0.23171694612901184</c:v>
                </c:pt>
                <c:pt idx="23">
                  <c:v>0.23092844592959272</c:v>
                </c:pt>
                <c:pt idx="24">
                  <c:v>0.23231840178912294</c:v>
                </c:pt>
                <c:pt idx="25">
                  <c:v>0.2320752052273446</c:v>
                </c:pt>
                <c:pt idx="26">
                  <c:v>0.22961104153415304</c:v>
                </c:pt>
                <c:pt idx="27">
                  <c:v>0.23212284667625666</c:v>
                </c:pt>
                <c:pt idx="28">
                  <c:v>0.23572779293537033</c:v>
                </c:pt>
                <c:pt idx="29">
                  <c:v>0.23674860201375908</c:v>
                </c:pt>
                <c:pt idx="30">
                  <c:v>0.23453629696396627</c:v>
                </c:pt>
                <c:pt idx="31">
                  <c:v>0.23328986103458885</c:v>
                </c:pt>
                <c:pt idx="32">
                  <c:v>0.2343664407530847</c:v>
                </c:pt>
                <c:pt idx="33">
                  <c:v>0.23375570130585693</c:v>
                </c:pt>
                <c:pt idx="34">
                  <c:v>0.2352452711040215</c:v>
                </c:pt>
                <c:pt idx="35">
                  <c:v>0.23779252913266063</c:v>
                </c:pt>
                <c:pt idx="36">
                  <c:v>0.2365715570065508</c:v>
                </c:pt>
                <c:pt idx="37">
                  <c:v>0.2334804947476443</c:v>
                </c:pt>
                <c:pt idx="38">
                  <c:v>0.23507265117711024</c:v>
                </c:pt>
                <c:pt idx="39">
                  <c:v>0.2346896753669886</c:v>
                </c:pt>
                <c:pt idx="40">
                  <c:v>0.2355575762397892</c:v>
                </c:pt>
                <c:pt idx="41">
                  <c:v>0.23964036325357385</c:v>
                </c:pt>
                <c:pt idx="42">
                  <c:v>0.2384078921879909</c:v>
                </c:pt>
                <c:pt idx="43">
                  <c:v>0.23705823747298396</c:v>
                </c:pt>
                <c:pt idx="44">
                  <c:v>0.2341201722347365</c:v>
                </c:pt>
                <c:pt idx="45">
                  <c:v>0.23244527673010656</c:v>
                </c:pt>
                <c:pt idx="46">
                  <c:v>0.22957610064037917</c:v>
                </c:pt>
                <c:pt idx="47">
                  <c:v>0.2283419264152014</c:v>
                </c:pt>
                <c:pt idx="48">
                  <c:v>0.22821453948145615</c:v>
                </c:pt>
                <c:pt idx="49">
                  <c:v>0.22891837279623123</c:v>
                </c:pt>
                <c:pt idx="50">
                  <c:v>0.22756966370050852</c:v>
                </c:pt>
                <c:pt idx="51">
                  <c:v>0.22527306792401902</c:v>
                </c:pt>
                <c:pt idx="52">
                  <c:v>0.24081132630088165</c:v>
                </c:pt>
                <c:pt idx="53">
                  <c:v>0.2628711157903823</c:v>
                </c:pt>
                <c:pt idx="54">
                  <c:v>0.23054905894019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81.0"/>
          <c:min val="66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56509695290858"/>
          <c:min val="0.1199200532978014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42918365187147</c:v>
                </c:pt>
                <c:pt idx="1">
                  <c:v>0.845327569087156</c:v>
                </c:pt>
                <c:pt idx="2">
                  <c:v>0.9079613384376517</c:v>
                </c:pt>
                <c:pt idx="3">
                  <c:v>0.813792273961161</c:v>
                </c:pt>
                <c:pt idx="4">
                  <c:v>0.9598271469940309</c:v>
                </c:pt>
                <c:pt idx="5">
                  <c:v>0.9072155910590504</c:v>
                </c:pt>
                <c:pt idx="6">
                  <c:v>0.9970638263362936</c:v>
                </c:pt>
                <c:pt idx="7">
                  <c:v>0.9749510846891949</c:v>
                </c:pt>
                <c:pt idx="8">
                  <c:v>1.0383014660486514</c:v>
                </c:pt>
                <c:pt idx="9">
                  <c:v>1.0445962582761168</c:v>
                </c:pt>
                <c:pt idx="10">
                  <c:v>1.0847156331998165</c:v>
                </c:pt>
                <c:pt idx="11">
                  <c:v>1.1153958294096746</c:v>
                </c:pt>
                <c:pt idx="12">
                  <c:v>1.0812731000853393</c:v>
                </c:pt>
                <c:pt idx="13">
                  <c:v>1.137092423922465</c:v>
                </c:pt>
                <c:pt idx="14">
                  <c:v>1.1716927750931705</c:v>
                </c:pt>
                <c:pt idx="15">
                  <c:v>1.0687575475698292</c:v>
                </c:pt>
                <c:pt idx="16">
                  <c:v>1.1832922421621708</c:v>
                </c:pt>
                <c:pt idx="17">
                  <c:v>1.1674661082190796</c:v>
                </c:pt>
                <c:pt idx="18">
                  <c:v>1.304438249330695</c:v>
                </c:pt>
                <c:pt idx="19">
                  <c:v>1.2202697574294996</c:v>
                </c:pt>
                <c:pt idx="20">
                  <c:v>0.951113385915787</c:v>
                </c:pt>
                <c:pt idx="21">
                  <c:v>1.250172747348423</c:v>
                </c:pt>
                <c:pt idx="22">
                  <c:v>1.11114349771951</c:v>
                </c:pt>
                <c:pt idx="23">
                  <c:v>1.0057463365773844</c:v>
                </c:pt>
                <c:pt idx="24">
                  <c:v>1.0284743901763365</c:v>
                </c:pt>
                <c:pt idx="25">
                  <c:v>1.0243208362369338</c:v>
                </c:pt>
                <c:pt idx="26">
                  <c:v>1.002913922517909</c:v>
                </c:pt>
                <c:pt idx="27">
                  <c:v>0.9610422602266839</c:v>
                </c:pt>
                <c:pt idx="28">
                  <c:v>0.9781553457738748</c:v>
                </c:pt>
                <c:pt idx="29">
                  <c:v>0.8935097517688804</c:v>
                </c:pt>
                <c:pt idx="30">
                  <c:v>0.6474976796781018</c:v>
                </c:pt>
                <c:pt idx="31">
                  <c:v>0.8979993268927635</c:v>
                </c:pt>
                <c:pt idx="32">
                  <c:v>0.4585468832078445</c:v>
                </c:pt>
                <c:pt idx="33">
                  <c:v>0.583257196032466</c:v>
                </c:pt>
                <c:pt idx="34">
                  <c:v>0.8304648693488179</c:v>
                </c:pt>
                <c:pt idx="35">
                  <c:v>0.8889505890650121</c:v>
                </c:pt>
                <c:pt idx="36">
                  <c:v>0.5793982898506801</c:v>
                </c:pt>
                <c:pt idx="37">
                  <c:v>0.8053220934316825</c:v>
                </c:pt>
                <c:pt idx="38">
                  <c:v>0.9765111922141119</c:v>
                </c:pt>
                <c:pt idx="39">
                  <c:v>0.591294962406943</c:v>
                </c:pt>
                <c:pt idx="40">
                  <c:v>0.837952275862069</c:v>
                </c:pt>
                <c:pt idx="41">
                  <c:v>0.9181222084365869</c:v>
                </c:pt>
                <c:pt idx="42">
                  <c:v>0.8868347311640855</c:v>
                </c:pt>
                <c:pt idx="43">
                  <c:v>1.0033297801295449</c:v>
                </c:pt>
                <c:pt idx="44">
                  <c:v>0.9581365904820611</c:v>
                </c:pt>
                <c:pt idx="45">
                  <c:v>0.9796557647151488</c:v>
                </c:pt>
                <c:pt idx="46">
                  <c:v>0.9724395669388579</c:v>
                </c:pt>
                <c:pt idx="47">
                  <c:v>0.8840804053075995</c:v>
                </c:pt>
                <c:pt idx="48">
                  <c:v>0.9978549841171181</c:v>
                </c:pt>
                <c:pt idx="49">
                  <c:v>1.0064667860460572</c:v>
                </c:pt>
                <c:pt idx="50">
                  <c:v>0.9506194768545705</c:v>
                </c:pt>
                <c:pt idx="51">
                  <c:v>0.9958602126418734</c:v>
                </c:pt>
                <c:pt idx="52">
                  <c:v>0.9219420551834825</c:v>
                </c:pt>
                <c:pt idx="53">
                  <c:v>1.0432378821042334</c:v>
                </c:pt>
                <c:pt idx="54">
                  <c:v>0.9986427705271532</c:v>
                </c:pt>
                <c:pt idx="55">
                  <c:v>1.0998302204671913</c:v>
                </c:pt>
                <c:pt idx="56">
                  <c:v>0.980312990100498</c:v>
                </c:pt>
                <c:pt idx="57">
                  <c:v>0.9201702283568314</c:v>
                </c:pt>
                <c:pt idx="58">
                  <c:v>0.8940133568262646</c:v>
                </c:pt>
                <c:pt idx="59">
                  <c:v>0.9311802130810711</c:v>
                </c:pt>
                <c:pt idx="60">
                  <c:v>1.0495522518230282</c:v>
                </c:pt>
                <c:pt idx="61">
                  <c:v>0.9923864631852918</c:v>
                </c:pt>
                <c:pt idx="62">
                  <c:v>0.9343540013480572</c:v>
                </c:pt>
                <c:pt idx="63">
                  <c:v>0.9940378174684679</c:v>
                </c:pt>
                <c:pt idx="64">
                  <c:v>1.0615711096777751</c:v>
                </c:pt>
                <c:pt idx="65">
                  <c:v>0.9826576384143935</c:v>
                </c:pt>
                <c:pt idx="66">
                  <c:v>1.044842554762562</c:v>
                </c:pt>
                <c:pt idx="67">
                  <c:v>0.9808446631502303</c:v>
                </c:pt>
                <c:pt idx="68">
                  <c:v>1.018589579954415</c:v>
                </c:pt>
                <c:pt idx="69">
                  <c:v>0.9057631551311391</c:v>
                </c:pt>
                <c:pt idx="70">
                  <c:v>1.0159301463500596</c:v>
                </c:pt>
                <c:pt idx="71">
                  <c:v>1.0314287628368795</c:v>
                </c:pt>
                <c:pt idx="72">
                  <c:v>1.0942788781456538</c:v>
                </c:pt>
                <c:pt idx="73">
                  <c:v>0.9004953214439746</c:v>
                </c:pt>
                <c:pt idx="74">
                  <c:v>0.9257209604964332</c:v>
                </c:pt>
                <c:pt idx="75">
                  <c:v>0.8494638188490352</c:v>
                </c:pt>
                <c:pt idx="76">
                  <c:v>0.9069388632538861</c:v>
                </c:pt>
                <c:pt idx="77">
                  <c:v>0.9764010416460056</c:v>
                </c:pt>
                <c:pt idx="78">
                  <c:v>0.8927647644750251</c:v>
                </c:pt>
                <c:pt idx="79">
                  <c:v>1.1265601708227662</c:v>
                </c:pt>
                <c:pt idx="80">
                  <c:v>0.8440967299945011</c:v>
                </c:pt>
                <c:pt idx="81">
                  <c:v>0.9085760138398697</c:v>
                </c:pt>
                <c:pt idx="82">
                  <c:v>0.8570697754202455</c:v>
                </c:pt>
                <c:pt idx="83">
                  <c:v>0.7964578817548954</c:v>
                </c:pt>
                <c:pt idx="84">
                  <c:v>0.5934304273504273</c:v>
                </c:pt>
                <c:pt idx="85">
                  <c:v>0.7631774927838065</c:v>
                </c:pt>
                <c:pt idx="86">
                  <c:v>0.545805491118616</c:v>
                </c:pt>
                <c:pt idx="87">
                  <c:v>0.6183553137386508</c:v>
                </c:pt>
                <c:pt idx="88">
                  <c:v>0.5778222340732474</c:v>
                </c:pt>
                <c:pt idx="89">
                  <c:v>0.5369333293676466</c:v>
                </c:pt>
                <c:pt idx="90">
                  <c:v>0.5903897485828743</c:v>
                </c:pt>
                <c:pt idx="91">
                  <c:v>0.5189513384032634</c:v>
                </c:pt>
                <c:pt idx="92">
                  <c:v>0.6232988470034388</c:v>
                </c:pt>
                <c:pt idx="93">
                  <c:v>0.6744683234074397</c:v>
                </c:pt>
                <c:pt idx="94">
                  <c:v>0.705833923826395</c:v>
                </c:pt>
                <c:pt idx="95">
                  <c:v>0.6875648712985073</c:v>
                </c:pt>
                <c:pt idx="96">
                  <c:v>0.9570333599096434</c:v>
                </c:pt>
                <c:pt idx="97">
                  <c:v>0.9000982881597717</c:v>
                </c:pt>
                <c:pt idx="98">
                  <c:v>0.9536894014050926</c:v>
                </c:pt>
                <c:pt idx="99">
                  <c:v>0.9615888447413974</c:v>
                </c:pt>
                <c:pt idx="100">
                  <c:v>1.0116931200413701</c:v>
                </c:pt>
                <c:pt idx="101">
                  <c:v>0.9860708969574312</c:v>
                </c:pt>
                <c:pt idx="102">
                  <c:v>0.9240753887855905</c:v>
                </c:pt>
                <c:pt idx="103">
                  <c:v>0.9286905639820083</c:v>
                </c:pt>
                <c:pt idx="104">
                  <c:v>0.9627806440730976</c:v>
                </c:pt>
              </c:numCache>
            </c:numRef>
          </c:xVal>
          <c:yVal>
            <c:numRef>
              <c:f>Sheet1!$B$2:$B$106</c:f>
              <c:numCache>
                <c:formatCode>General</c:formatCode>
                <c:ptCount val="105"/>
                <c:pt idx="0">
                  <c:v>0.25414141414141417</c:v>
                </c:pt>
                <c:pt idx="1">
                  <c:v>0.24475166410650281</c:v>
                </c:pt>
                <c:pt idx="2">
                  <c:v>0.24769752787203103</c:v>
                </c:pt>
                <c:pt idx="3">
                  <c:v>0.25133689839572193</c:v>
                </c:pt>
                <c:pt idx="4">
                  <c:v>0.2602040816326531</c:v>
                </c:pt>
                <c:pt idx="5">
                  <c:v>0.26145833333333335</c:v>
                </c:pt>
                <c:pt idx="6">
                  <c:v>0.2624113475177305</c:v>
                </c:pt>
                <c:pt idx="7">
                  <c:v>0.2926587301587302</c:v>
                </c:pt>
                <c:pt idx="8">
                  <c:v>0.26443629697525206</c:v>
                </c:pt>
                <c:pt idx="9">
                  <c:v>0.2497324295397788</c:v>
                </c:pt>
                <c:pt idx="10">
                  <c:v>0.2683982683982684</c:v>
                </c:pt>
                <c:pt idx="11">
                  <c:v>0.24558032282859338</c:v>
                </c:pt>
                <c:pt idx="12">
                  <c:v>0.23796892762410005</c:v>
                </c:pt>
                <c:pt idx="13">
                  <c:v>0.23195458231954583</c:v>
                </c:pt>
                <c:pt idx="14">
                  <c:v>0.21195421788893598</c:v>
                </c:pt>
                <c:pt idx="15">
                  <c:v>0.1973026973026973</c:v>
                </c:pt>
                <c:pt idx="16">
                  <c:v>0.17173524150268335</c:v>
                </c:pt>
                <c:pt idx="17">
                  <c:v>0.17463352453792225</c:v>
                </c:pt>
                <c:pt idx="18">
                  <c:v>0.1527599486521181</c:v>
                </c:pt>
                <c:pt idx="19">
                  <c:v>0.1704745166959578</c:v>
                </c:pt>
                <c:pt idx="20">
                  <c:v>0.14990006662225183</c:v>
                </c:pt>
                <c:pt idx="21">
                  <c:v>0.15524360033030554</c:v>
                </c:pt>
                <c:pt idx="22">
                  <c:v>0.20126282557221783</c:v>
                </c:pt>
                <c:pt idx="23">
                  <c:v>0.2377560106856634</c:v>
                </c:pt>
                <c:pt idx="24">
                  <c:v>0.2436893203883495</c:v>
                </c:pt>
                <c:pt idx="25">
                  <c:v>0.22643442622950818</c:v>
                </c:pt>
                <c:pt idx="26">
                  <c:v>0.2606263982102908</c:v>
                </c:pt>
                <c:pt idx="27">
                  <c:v>0.24379232505643342</c:v>
                </c:pt>
                <c:pt idx="28">
                  <c:v>0.2777085927770859</c:v>
                </c:pt>
                <c:pt idx="29">
                  <c:v>0.2819634703196347</c:v>
                </c:pt>
                <c:pt idx="30">
                  <c:v>0.27417218543046357</c:v>
                </c:pt>
                <c:pt idx="31">
                  <c:v>0.30193905817174516</c:v>
                </c:pt>
                <c:pt idx="32">
                  <c:v>0.3047091412742382</c:v>
                </c:pt>
                <c:pt idx="33">
                  <c:v>0.28839390386869873</c:v>
                </c:pt>
                <c:pt idx="34">
                  <c:v>0.2748768472906404</c:v>
                </c:pt>
                <c:pt idx="35">
                  <c:v>0.2684391080617496</c:v>
                </c:pt>
                <c:pt idx="36">
                  <c:v>0.2525458248472505</c:v>
                </c:pt>
                <c:pt idx="37">
                  <c:v>0.2523461939520334</c:v>
                </c:pt>
                <c:pt idx="38">
                  <c:v>0.2619047619047619</c:v>
                </c:pt>
                <c:pt idx="39">
                  <c:v>0.2445945945945946</c:v>
                </c:pt>
                <c:pt idx="40">
                  <c:v>0.23329907502569372</c:v>
                </c:pt>
                <c:pt idx="41">
                  <c:v>0.24514811031664965</c:v>
                </c:pt>
                <c:pt idx="42">
                  <c:v>0.2484725050916497</c:v>
                </c:pt>
                <c:pt idx="43">
                  <c:v>0.234375</c:v>
                </c:pt>
                <c:pt idx="44">
                  <c:v>0.22768974145120935</c:v>
                </c:pt>
                <c:pt idx="45">
                  <c:v>0.22920110192837465</c:v>
                </c:pt>
                <c:pt idx="46">
                  <c:v>0.23298327499027616</c:v>
                </c:pt>
                <c:pt idx="47">
                  <c:v>0.2323943661971831</c:v>
                </c:pt>
                <c:pt idx="48">
                  <c:v>0.22863520408163265</c:v>
                </c:pt>
                <c:pt idx="49">
                  <c:v>0.21374700034281796</c:v>
                </c:pt>
                <c:pt idx="50">
                  <c:v>0.23048464668886423</c:v>
                </c:pt>
                <c:pt idx="51">
                  <c:v>0.21645021645021645</c:v>
                </c:pt>
                <c:pt idx="52">
                  <c:v>0.22088040514218932</c:v>
                </c:pt>
                <c:pt idx="53">
                  <c:v>0.2202572347266881</c:v>
                </c:pt>
                <c:pt idx="54">
                  <c:v>0.2110337439742903</c:v>
                </c:pt>
                <c:pt idx="55">
                  <c:v>0.19718309859154928</c:v>
                </c:pt>
                <c:pt idx="56">
                  <c:v>0.2140641158221303</c:v>
                </c:pt>
                <c:pt idx="57">
                  <c:v>0.2019559902200489</c:v>
                </c:pt>
                <c:pt idx="58">
                  <c:v>0.2375</c:v>
                </c:pt>
                <c:pt idx="59">
                  <c:v>0.221107544141252</c:v>
                </c:pt>
                <c:pt idx="60">
                  <c:v>0.21800073773515308</c:v>
                </c:pt>
                <c:pt idx="61">
                  <c:v>0.2236271676300578</c:v>
                </c:pt>
                <c:pt idx="62">
                  <c:v>0.24253075571177504</c:v>
                </c:pt>
                <c:pt idx="63">
                  <c:v>0.2346350832266325</c:v>
                </c:pt>
                <c:pt idx="64">
                  <c:v>0.22588597842835131</c:v>
                </c:pt>
                <c:pt idx="65">
                  <c:v>0.20267188009123493</c:v>
                </c:pt>
                <c:pt idx="66">
                  <c:v>0.20549782098558497</c:v>
                </c:pt>
                <c:pt idx="67">
                  <c:v>0.20330578512396694</c:v>
                </c:pt>
                <c:pt idx="68">
                  <c:v>0.1814872594903796</c:v>
                </c:pt>
                <c:pt idx="69">
                  <c:v>0.18599679315873865</c:v>
                </c:pt>
                <c:pt idx="70">
                  <c:v>0.18641212801796744</c:v>
                </c:pt>
                <c:pt idx="71">
                  <c:v>0.1894093686354379</c:v>
                </c:pt>
                <c:pt idx="72">
                  <c:v>0.1677336747759283</c:v>
                </c:pt>
                <c:pt idx="73">
                  <c:v>0.187402799377916</c:v>
                </c:pt>
                <c:pt idx="74">
                  <c:v>0.19684447783621337</c:v>
                </c:pt>
                <c:pt idx="75">
                  <c:v>0.22964867180805484</c:v>
                </c:pt>
                <c:pt idx="76">
                  <c:v>0.23031329381879762</c:v>
                </c:pt>
                <c:pt idx="77">
                  <c:v>0.19032921810699588</c:v>
                </c:pt>
                <c:pt idx="78">
                  <c:v>0.22127659574468084</c:v>
                </c:pt>
                <c:pt idx="79">
                  <c:v>0.1922723091076357</c:v>
                </c:pt>
                <c:pt idx="80">
                  <c:v>0.17337164750957854</c:v>
                </c:pt>
                <c:pt idx="81">
                  <c:v>0.19735755573905864</c:v>
                </c:pt>
                <c:pt idx="82">
                  <c:v>0.21147715196599362</c:v>
                </c:pt>
                <c:pt idx="83">
                  <c:v>0.21313506815365552</c:v>
                </c:pt>
                <c:pt idx="84">
                  <c:v>0.21696969696969698</c:v>
                </c:pt>
                <c:pt idx="85">
                  <c:v>0.20935412026726058</c:v>
                </c:pt>
                <c:pt idx="86">
                  <c:v>0.21550094517958412</c:v>
                </c:pt>
                <c:pt idx="87">
                  <c:v>0.24603836530442036</c:v>
                </c:pt>
                <c:pt idx="88">
                  <c:v>0.23140495867768596</c:v>
                </c:pt>
                <c:pt idx="89">
                  <c:v>0.2822164948453608</c:v>
                </c:pt>
                <c:pt idx="90">
                  <c:v>0.2686375321336761</c:v>
                </c:pt>
                <c:pt idx="91">
                  <c:v>0.24169986719787517</c:v>
                </c:pt>
                <c:pt idx="92">
                  <c:v>0.24380165289256198</c:v>
                </c:pt>
                <c:pt idx="93">
                  <c:v>0.2279495990836197</c:v>
                </c:pt>
                <c:pt idx="94">
                  <c:v>0.2411111111111111</c:v>
                </c:pt>
                <c:pt idx="95">
                  <c:v>0.2622187742435997</c:v>
                </c:pt>
                <c:pt idx="96">
                  <c:v>0.2210242587601078</c:v>
                </c:pt>
                <c:pt idx="97">
                  <c:v>0.23309178743961353</c:v>
                </c:pt>
                <c:pt idx="98">
                  <c:v>0.23214285714285715</c:v>
                </c:pt>
                <c:pt idx="99">
                  <c:v>0.22750598699965788</c:v>
                </c:pt>
                <c:pt idx="100">
                  <c:v>0.22814007129377228</c:v>
                </c:pt>
                <c:pt idx="101">
                  <c:v>0.23004904146232724</c:v>
                </c:pt>
                <c:pt idx="102">
                  <c:v>0.21424627277747102</c:v>
                </c:pt>
                <c:pt idx="103">
                  <c:v>0.2182904411764706</c:v>
                </c:pt>
                <c:pt idx="104">
                  <c:v>0.2056410256410256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279608867901817</c:v>
                </c:pt>
                <c:pt idx="1">
                  <c:v>1.01838604732093</c:v>
                </c:pt>
                <c:pt idx="2">
                  <c:v>1.081733299296691</c:v>
                </c:pt>
                <c:pt idx="3">
                  <c:v>1.0672289330628832</c:v>
                </c:pt>
                <c:pt idx="4">
                  <c:v>1.0667624403526021</c:v>
                </c:pt>
                <c:pt idx="5">
                  <c:v>1.2602172947956136</c:v>
                </c:pt>
                <c:pt idx="6">
                  <c:v>1.3028845636630255</c:v>
                </c:pt>
                <c:pt idx="7">
                  <c:v>1.389480699976022</c:v>
                </c:pt>
                <c:pt idx="8">
                  <c:v>1.4312161702436828</c:v>
                </c:pt>
                <c:pt idx="9">
                  <c:v>1.2863022593433378</c:v>
                </c:pt>
                <c:pt idx="10">
                  <c:v>1.363707116764965</c:v>
                </c:pt>
                <c:pt idx="11">
                  <c:v>1.331229591708959</c:v>
                </c:pt>
                <c:pt idx="12">
                  <c:v>1.2715585993612428</c:v>
                </c:pt>
                <c:pt idx="13">
                  <c:v>1.3904629362212684</c:v>
                </c:pt>
                <c:pt idx="14">
                  <c:v>1.2789175713718255</c:v>
                </c:pt>
                <c:pt idx="15">
                  <c:v>1.2392136437325725</c:v>
                </c:pt>
                <c:pt idx="16">
                  <c:v>1.255211684287909</c:v>
                </c:pt>
                <c:pt idx="17">
                  <c:v>1.0265963137039598</c:v>
                </c:pt>
                <c:pt idx="18">
                  <c:v>1.557698471358829</c:v>
                </c:pt>
                <c:pt idx="19">
                  <c:v>1.7653066023241335</c:v>
                </c:pt>
                <c:pt idx="20">
                  <c:v>1.524811541553394</c:v>
                </c:pt>
                <c:pt idx="21">
                  <c:v>1.8448073955521442</c:v>
                </c:pt>
                <c:pt idx="22">
                  <c:v>1.6937477023347394</c:v>
                </c:pt>
                <c:pt idx="23">
                  <c:v>1.5687397679807724</c:v>
                </c:pt>
                <c:pt idx="24">
                  <c:v>1.8105032572344553</c:v>
                </c:pt>
                <c:pt idx="25">
                  <c:v>1.5848298801232068</c:v>
                </c:pt>
                <c:pt idx="26">
                  <c:v>1.36574455558281</c:v>
                </c:pt>
                <c:pt idx="27">
                  <c:v>1.4436486275724425</c:v>
                </c:pt>
                <c:pt idx="28">
                  <c:v>1.3238825032418016</c:v>
                </c:pt>
                <c:pt idx="29">
                  <c:v>1.6019047457892217</c:v>
                </c:pt>
                <c:pt idx="30">
                  <c:v>1.3371259312968897</c:v>
                </c:pt>
                <c:pt idx="31">
                  <c:v>1.4222744444217144</c:v>
                </c:pt>
                <c:pt idx="32">
                  <c:v>1.44611047105656</c:v>
                </c:pt>
                <c:pt idx="33">
                  <c:v>1.480182283732481</c:v>
                </c:pt>
                <c:pt idx="34">
                  <c:v>1.3654816915422885</c:v>
                </c:pt>
                <c:pt idx="35">
                  <c:v>1.713159614225437</c:v>
                </c:pt>
                <c:pt idx="36">
                  <c:v>1.5557317667848338</c:v>
                </c:pt>
                <c:pt idx="37">
                  <c:v>1.4963711150551382</c:v>
                </c:pt>
                <c:pt idx="38">
                  <c:v>1.8184799661755993</c:v>
                </c:pt>
                <c:pt idx="39">
                  <c:v>1.7322776296268403</c:v>
                </c:pt>
                <c:pt idx="40">
                  <c:v>1.5396667639277326</c:v>
                </c:pt>
                <c:pt idx="41">
                  <c:v>1.6057458605687427</c:v>
                </c:pt>
                <c:pt idx="42">
                  <c:v>1.7759221047840825</c:v>
                </c:pt>
                <c:pt idx="43">
                  <c:v>1.9583918039362953</c:v>
                </c:pt>
                <c:pt idx="44">
                  <c:v>1.6889708605591618</c:v>
                </c:pt>
                <c:pt idx="45">
                  <c:v>1.609700402780709</c:v>
                </c:pt>
                <c:pt idx="46">
                  <c:v>1.8176811822241794</c:v>
                </c:pt>
                <c:pt idx="47">
                  <c:v>1.2783206733666757</c:v>
                </c:pt>
                <c:pt idx="48">
                  <c:v>1.5257697112422552</c:v>
                </c:pt>
                <c:pt idx="49">
                  <c:v>1.4136980426057326</c:v>
                </c:pt>
                <c:pt idx="50">
                  <c:v>1.509904895262063</c:v>
                </c:pt>
                <c:pt idx="51">
                  <c:v>1.273617116326563</c:v>
                </c:pt>
              </c:numCache>
            </c:numRef>
          </c:xVal>
          <c:yVal>
            <c:numRef>
              <c:f>Sheet1!$B$109:$B$160</c:f>
              <c:numCache>
                <c:formatCode>General</c:formatCode>
                <c:ptCount val="52"/>
                <c:pt idx="0">
                  <c:v>0.2110831234256927</c:v>
                </c:pt>
                <c:pt idx="1">
                  <c:v>0.20993494973388527</c:v>
                </c:pt>
                <c:pt idx="2">
                  <c:v>0.22904761904761906</c:v>
                </c:pt>
                <c:pt idx="3">
                  <c:v>0.2525647288715193</c:v>
                </c:pt>
                <c:pt idx="4">
                  <c:v>0.24019607843137256</c:v>
                </c:pt>
                <c:pt idx="5">
                  <c:v>0.22058165548098435</c:v>
                </c:pt>
                <c:pt idx="6">
                  <c:v>0.22094406981356604</c:v>
                </c:pt>
                <c:pt idx="7">
                  <c:v>0.23276529821843533</c:v>
                </c:pt>
                <c:pt idx="8">
                  <c:v>0.22063789868667918</c:v>
                </c:pt>
                <c:pt idx="9">
                  <c:v>0.22526041666666666</c:v>
                </c:pt>
                <c:pt idx="10">
                  <c:v>0.22443977591036415</c:v>
                </c:pt>
                <c:pt idx="11">
                  <c:v>0.22077168552364373</c:v>
                </c:pt>
                <c:pt idx="12">
                  <c:v>0.22025875670558537</c:v>
                </c:pt>
                <c:pt idx="13">
                  <c:v>0.2258181818181818</c:v>
                </c:pt>
                <c:pt idx="14">
                  <c:v>0.2271615008156607</c:v>
                </c:pt>
                <c:pt idx="15">
                  <c:v>0.21217712177121772</c:v>
                </c:pt>
                <c:pt idx="16">
                  <c:v>0.20708446866485014</c:v>
                </c:pt>
                <c:pt idx="17">
                  <c:v>0.2433574879227053</c:v>
                </c:pt>
                <c:pt idx="18">
                  <c:v>0.21428571428571427</c:v>
                </c:pt>
                <c:pt idx="19">
                  <c:v>0.21604938271604937</c:v>
                </c:pt>
                <c:pt idx="20">
                  <c:v>0.22695738354806738</c:v>
                </c:pt>
                <c:pt idx="21">
                  <c:v>0.22672811059907835</c:v>
                </c:pt>
                <c:pt idx="22">
                  <c:v>0.21875</c:v>
                </c:pt>
                <c:pt idx="23">
                  <c:v>0.2440318302387268</c:v>
                </c:pt>
                <c:pt idx="24">
                  <c:v>0.23996431757359502</c:v>
                </c:pt>
                <c:pt idx="25">
                  <c:v>0.2384406165004533</c:v>
                </c:pt>
                <c:pt idx="26">
                  <c:v>0.26158301158301156</c:v>
                </c:pt>
                <c:pt idx="27">
                  <c:v>0.2606741573033708</c:v>
                </c:pt>
                <c:pt idx="28">
                  <c:v>0.2205071664829107</c:v>
                </c:pt>
                <c:pt idx="29">
                  <c:v>0.23573200992555832</c:v>
                </c:pt>
                <c:pt idx="30">
                  <c:v>0.24659231722428748</c:v>
                </c:pt>
                <c:pt idx="31">
                  <c:v>0.22076023391812866</c:v>
                </c:pt>
                <c:pt idx="32">
                  <c:v>0.21248339973439576</c:v>
                </c:pt>
                <c:pt idx="33">
                  <c:v>0.2188679245283019</c:v>
                </c:pt>
                <c:pt idx="34">
                  <c:v>0.26416666666666666</c:v>
                </c:pt>
                <c:pt idx="35">
                  <c:v>0.24179943767572634</c:v>
                </c:pt>
                <c:pt idx="36">
                  <c:v>0.2506361323155216</c:v>
                </c:pt>
                <c:pt idx="37">
                  <c:v>0.2483221476510067</c:v>
                </c:pt>
                <c:pt idx="38">
                  <c:v>0.26613965744400525</c:v>
                </c:pt>
                <c:pt idx="39">
                  <c:v>0.2459396751740139</c:v>
                </c:pt>
                <c:pt idx="40">
                  <c:v>0.2423038728897716</c:v>
                </c:pt>
                <c:pt idx="41">
                  <c:v>0.2436289500509684</c:v>
                </c:pt>
                <c:pt idx="42">
                  <c:v>0.2161671207992734</c:v>
                </c:pt>
                <c:pt idx="43">
                  <c:v>0.21345707656612528</c:v>
                </c:pt>
                <c:pt idx="44">
                  <c:v>0.2190247801758593</c:v>
                </c:pt>
                <c:pt idx="45">
                  <c:v>0.24509803921568626</c:v>
                </c:pt>
                <c:pt idx="46">
                  <c:v>0.25263157894736843</c:v>
                </c:pt>
                <c:pt idx="47">
                  <c:v>0.24539877300613497</c:v>
                </c:pt>
                <c:pt idx="48">
                  <c:v>0.24047501237011382</c:v>
                </c:pt>
                <c:pt idx="49">
                  <c:v>0.218014329580348</c:v>
                </c:pt>
                <c:pt idx="50">
                  <c:v>0.19707317073170733</c:v>
                </c:pt>
                <c:pt idx="51">
                  <c:v>0.217925386715195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7955138389012255</c:v>
                </c:pt>
              </c:numCache>
            </c:numRef>
          </c:xVal>
          <c:yVal>
            <c:numRef>
              <c:f>Sheet1!$B$163:$B$164</c:f>
              <c:numCache>
                <c:formatCode>General</c:formatCode>
                <c:ptCount val="2"/>
                <c:pt idx="0">
                  <c:v>0.2628711157903823</c:v>
                </c:pt>
                <c:pt idx="1">
                  <c:v>0.262871115790382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7955138389012255</c:v>
                </c:pt>
                <c:pt idx="1">
                  <c:v>4.7955138389012255</c:v>
                </c:pt>
              </c:numCache>
            </c:numRef>
          </c:xVal>
          <c:yVal>
            <c:numRef>
              <c:f>Sheet1!$B$167:$B$168</c:f>
              <c:numCache>
                <c:formatCode>General</c:formatCode>
                <c:ptCount val="2"/>
                <c:pt idx="0">
                  <c:v>0.26287111579038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477982177861684</c:v>
                </c:pt>
              </c:numCache>
            </c:numRef>
          </c:xVal>
          <c:yVal>
            <c:numRef>
              <c:f>Sheet1!$B$171:$B$172</c:f>
              <c:numCache>
                <c:formatCode>General</c:formatCode>
                <c:ptCount val="2"/>
                <c:pt idx="0">
                  <c:v>0.24081132630088165</c:v>
                </c:pt>
                <c:pt idx="1">
                  <c:v>0.2408113263008816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477982177861684</c:v>
                </c:pt>
                <c:pt idx="1">
                  <c:v>2.477982177861684</c:v>
                </c:pt>
              </c:numCache>
            </c:numRef>
          </c:xVal>
          <c:yVal>
            <c:numRef>
              <c:f>Sheet1!$B$175:$B$176</c:f>
              <c:numCache>
                <c:formatCode>General</c:formatCode>
                <c:ptCount val="2"/>
                <c:pt idx="0">
                  <c:v>0.2408113263008816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3998608506496537</c:v>
                </c:pt>
              </c:numCache>
            </c:numRef>
          </c:xVal>
          <c:yVal>
            <c:numRef>
              <c:f>Sheet1!$B$179:$B$180</c:f>
              <c:numCache>
                <c:formatCode>General</c:formatCode>
                <c:ptCount val="2"/>
                <c:pt idx="0">
                  <c:v>0.2305490589401974</c:v>
                </c:pt>
                <c:pt idx="1">
                  <c:v>0.23054905894019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3998608506496537</c:v>
                </c:pt>
                <c:pt idx="1">
                  <c:v>1.3998608506496537</c:v>
                </c:pt>
              </c:numCache>
            </c:numRef>
          </c:xVal>
          <c:yVal>
            <c:numRef>
              <c:f>Sheet1!$B$183:$B$184</c:f>
              <c:numCache>
                <c:formatCode>General</c:formatCode>
                <c:ptCount val="2"/>
                <c:pt idx="0">
                  <c:v>0.23054905894019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279608867901817</c:v>
                </c:pt>
                <c:pt idx="1">
                  <c:v>1.01838604732093</c:v>
                </c:pt>
                <c:pt idx="2">
                  <c:v>1.081733299296691</c:v>
                </c:pt>
                <c:pt idx="3">
                  <c:v>1.0672289330628832</c:v>
                </c:pt>
                <c:pt idx="4">
                  <c:v>1.0667624403526021</c:v>
                </c:pt>
                <c:pt idx="5">
                  <c:v>1.2602172947956136</c:v>
                </c:pt>
                <c:pt idx="6">
                  <c:v>1.3028845636630255</c:v>
                </c:pt>
                <c:pt idx="7">
                  <c:v>1.389480699976022</c:v>
                </c:pt>
                <c:pt idx="8">
                  <c:v>1.4312161702436828</c:v>
                </c:pt>
                <c:pt idx="9">
                  <c:v>1.2863022593433378</c:v>
                </c:pt>
                <c:pt idx="10">
                  <c:v>1.363707116764965</c:v>
                </c:pt>
                <c:pt idx="11">
                  <c:v>1.331229591708959</c:v>
                </c:pt>
                <c:pt idx="12">
                  <c:v>1.2715585993612428</c:v>
                </c:pt>
                <c:pt idx="13">
                  <c:v>1.3904629362212684</c:v>
                </c:pt>
                <c:pt idx="14">
                  <c:v>1.2789175713718255</c:v>
                </c:pt>
                <c:pt idx="15">
                  <c:v>1.2392136437325725</c:v>
                </c:pt>
                <c:pt idx="16">
                  <c:v>1.255211684287909</c:v>
                </c:pt>
                <c:pt idx="17">
                  <c:v>1.0265963137039598</c:v>
                </c:pt>
                <c:pt idx="18">
                  <c:v>1.557698471358829</c:v>
                </c:pt>
                <c:pt idx="19">
                  <c:v>1.7653066023241335</c:v>
                </c:pt>
                <c:pt idx="20">
                  <c:v>1.524811541553394</c:v>
                </c:pt>
                <c:pt idx="21">
                  <c:v>1.8448073955521442</c:v>
                </c:pt>
                <c:pt idx="22">
                  <c:v>1.6937477023347394</c:v>
                </c:pt>
                <c:pt idx="23">
                  <c:v>1.5687397679807724</c:v>
                </c:pt>
                <c:pt idx="24">
                  <c:v>1.8105032572344553</c:v>
                </c:pt>
                <c:pt idx="25">
                  <c:v>1.5848298801232068</c:v>
                </c:pt>
                <c:pt idx="26">
                  <c:v>1.36574455558281</c:v>
                </c:pt>
                <c:pt idx="27">
                  <c:v>1.4436486275724425</c:v>
                </c:pt>
                <c:pt idx="28">
                  <c:v>1.3238825032418016</c:v>
                </c:pt>
                <c:pt idx="29">
                  <c:v>1.6019047457892217</c:v>
                </c:pt>
                <c:pt idx="30">
                  <c:v>1.3371259312968897</c:v>
                </c:pt>
                <c:pt idx="31">
                  <c:v>1.4222744444217144</c:v>
                </c:pt>
                <c:pt idx="32">
                  <c:v>1.44611047105656</c:v>
                </c:pt>
                <c:pt idx="33">
                  <c:v>1.480182283732481</c:v>
                </c:pt>
                <c:pt idx="34">
                  <c:v>1.3654816915422885</c:v>
                </c:pt>
                <c:pt idx="35">
                  <c:v>1.713159614225437</c:v>
                </c:pt>
                <c:pt idx="36">
                  <c:v>1.5557317667848338</c:v>
                </c:pt>
                <c:pt idx="37">
                  <c:v>1.4963711150551382</c:v>
                </c:pt>
                <c:pt idx="38">
                  <c:v>1.8184799661755993</c:v>
                </c:pt>
                <c:pt idx="39">
                  <c:v>1.7322776296268403</c:v>
                </c:pt>
                <c:pt idx="40">
                  <c:v>1.5396667639277326</c:v>
                </c:pt>
                <c:pt idx="41">
                  <c:v>1.6057458605687427</c:v>
                </c:pt>
                <c:pt idx="42">
                  <c:v>1.7759221047840825</c:v>
                </c:pt>
                <c:pt idx="43">
                  <c:v>1.9583918039362953</c:v>
                </c:pt>
                <c:pt idx="44">
                  <c:v>1.6889708605591618</c:v>
                </c:pt>
                <c:pt idx="45">
                  <c:v>1.609700402780709</c:v>
                </c:pt>
                <c:pt idx="46">
                  <c:v>1.8176811822241794</c:v>
                </c:pt>
                <c:pt idx="47">
                  <c:v>1.2783206733666757</c:v>
                </c:pt>
                <c:pt idx="48">
                  <c:v>1.5257697112422552</c:v>
                </c:pt>
                <c:pt idx="49">
                  <c:v>1.4136980426057326</c:v>
                </c:pt>
                <c:pt idx="50">
                  <c:v>1.509904895262063</c:v>
                </c:pt>
                <c:pt idx="51">
                  <c:v>1.273617116326563</c:v>
                </c:pt>
                <c:pt idx="52">
                  <c:v>2.477982177861684</c:v>
                </c:pt>
                <c:pt idx="53">
                  <c:v>4.7955138389012255</c:v>
                </c:pt>
                <c:pt idx="54">
                  <c:v>1.3998608506496537</c:v>
                </c:pt>
              </c:numCache>
            </c:numRef>
          </c:xVal>
          <c:yVal>
            <c:numRef>
              <c:f>Sheet1!$B$187:$B$241</c:f>
              <c:numCache>
                <c:formatCode>General</c:formatCode>
                <c:ptCount val="55"/>
                <c:pt idx="0">
                  <c:v>0.22700907066223233</c:v>
                </c:pt>
                <c:pt idx="1">
                  <c:v>0.2269179310473402</c:v>
                </c:pt>
                <c:pt idx="2">
                  <c:v>0.22752091182504264</c:v>
                </c:pt>
                <c:pt idx="3">
                  <c:v>0.2273828497345973</c:v>
                </c:pt>
                <c:pt idx="4">
                  <c:v>0.22737840935039016</c:v>
                </c:pt>
                <c:pt idx="5">
                  <c:v>0.22921983979834382</c:v>
                </c:pt>
                <c:pt idx="6">
                  <c:v>0.22962597490541928</c:v>
                </c:pt>
                <c:pt idx="7">
                  <c:v>0.23045025384399132</c:v>
                </c:pt>
                <c:pt idx="8">
                  <c:v>0.230847519479593</c:v>
                </c:pt>
                <c:pt idx="9">
                  <c:v>0.22946813363459967</c:v>
                </c:pt>
                <c:pt idx="10">
                  <c:v>0.2302049239399455</c:v>
                </c:pt>
                <c:pt idx="11">
                  <c:v>0.2298957815114213</c:v>
                </c:pt>
                <c:pt idx="12">
                  <c:v>0.2293277937889883</c:v>
                </c:pt>
                <c:pt idx="13">
                  <c:v>0.2304596034141238</c:v>
                </c:pt>
                <c:pt idx="14">
                  <c:v>0.22939784132108532</c:v>
                </c:pt>
                <c:pt idx="15">
                  <c:v>0.2290199132434014</c:v>
                </c:pt>
                <c:pt idx="16">
                  <c:v>0.22917219310771916</c:v>
                </c:pt>
                <c:pt idx="17">
                  <c:v>0.22699608175876615</c:v>
                </c:pt>
                <c:pt idx="18">
                  <c:v>0.23205146114893627</c:v>
                </c:pt>
                <c:pt idx="19">
                  <c:v>0.23402761178471615</c:v>
                </c:pt>
                <c:pt idx="20">
                  <c:v>0.23173842173693596</c:v>
                </c:pt>
                <c:pt idx="21">
                  <c:v>0.2347843525845685</c:v>
                </c:pt>
                <c:pt idx="22">
                  <c:v>0.23334646714431964</c:v>
                </c:pt>
                <c:pt idx="23">
                  <c:v>0.2321565594668</c:v>
                </c:pt>
                <c:pt idx="24">
                  <c:v>0.23445782325052372</c:v>
                </c:pt>
                <c:pt idx="25">
                  <c:v>0.2323097157289955</c:v>
                </c:pt>
                <c:pt idx="26">
                  <c:v>0.23022431762166945</c:v>
                </c:pt>
                <c:pt idx="27">
                  <c:v>0.23096585977936981</c:v>
                </c:pt>
                <c:pt idx="28">
                  <c:v>0.22982584709470072</c:v>
                </c:pt>
                <c:pt idx="29">
                  <c:v>0.23247224552243306</c:v>
                </c:pt>
                <c:pt idx="30">
                  <c:v>0.22995190674684093</c:v>
                </c:pt>
                <c:pt idx="31">
                  <c:v>0.23076240625649386</c:v>
                </c:pt>
                <c:pt idx="32">
                  <c:v>0.2309892932236367</c:v>
                </c:pt>
                <c:pt idx="33">
                  <c:v>0.23131361112953291</c:v>
                </c:pt>
                <c:pt idx="34">
                  <c:v>0.23022181550897095</c:v>
                </c:pt>
                <c:pt idx="35">
                  <c:v>0.23353124247968893</c:v>
                </c:pt>
                <c:pt idx="36">
                  <c:v>0.23203274076223357</c:v>
                </c:pt>
                <c:pt idx="37">
                  <c:v>0.2314677070657665</c:v>
                </c:pt>
                <c:pt idx="38">
                  <c:v>0.234533750808718</c:v>
                </c:pt>
                <c:pt idx="39">
                  <c:v>0.23371322031511702</c:v>
                </c:pt>
                <c:pt idx="40">
                  <c:v>0.23187982350671832</c:v>
                </c:pt>
                <c:pt idx="41">
                  <c:v>0.23250880777738117</c:v>
                </c:pt>
                <c:pt idx="42">
                  <c:v>0.23412865711390346</c:v>
                </c:pt>
                <c:pt idx="43">
                  <c:v>0.2358655236340807</c:v>
                </c:pt>
                <c:pt idx="44">
                  <c:v>0.23330099802483992</c:v>
                </c:pt>
                <c:pt idx="45">
                  <c:v>0.23254644970917865</c:v>
                </c:pt>
                <c:pt idx="46">
                  <c:v>0.2345261474580876</c:v>
                </c:pt>
                <c:pt idx="47">
                  <c:v>0.229392159653576</c:v>
                </c:pt>
                <c:pt idx="48">
                  <c:v>0.2317475422257676</c:v>
                </c:pt>
                <c:pt idx="49">
                  <c:v>0.23068077042738372</c:v>
                </c:pt>
                <c:pt idx="50">
                  <c:v>0.2315965304805146</c:v>
                </c:pt>
                <c:pt idx="51">
                  <c:v>0.229347388106373</c:v>
                </c:pt>
                <c:pt idx="52">
                  <c:v>0.24081132630088165</c:v>
                </c:pt>
                <c:pt idx="53">
                  <c:v>0.2628711157903823</c:v>
                </c:pt>
                <c:pt idx="54">
                  <c:v>0.23054905894019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56509695290858"/>
          <c:min val="0.1199200532978014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4.6747</c:v>
                </c:pt>
                <c:pt idx="1">
                  <c:v>873.2345</c:v>
                </c:pt>
                <c:pt idx="2">
                  <c:v>944.4559</c:v>
                </c:pt>
                <c:pt idx="3">
                  <c:v>964.3921</c:v>
                </c:pt>
                <c:pt idx="4">
                  <c:v>983.3419</c:v>
                </c:pt>
                <c:pt idx="5">
                  <c:v>946.3934</c:v>
                </c:pt>
                <c:pt idx="6">
                  <c:v>884.2841</c:v>
                </c:pt>
                <c:pt idx="7">
                  <c:v>920.7571</c:v>
                </c:pt>
                <c:pt idx="8">
                  <c:v>927.9735</c:v>
                </c:pt>
                <c:pt idx="9">
                  <c:v>897.3015</c:v>
                </c:pt>
                <c:pt idx="10">
                  <c:v>872.3361</c:v>
                </c:pt>
                <c:pt idx="11">
                  <c:v>927.9977</c:v>
                </c:pt>
                <c:pt idx="12">
                  <c:v>922.6916</c:v>
                </c:pt>
                <c:pt idx="13">
                  <c:v>914.3705</c:v>
                </c:pt>
                <c:pt idx="14">
                  <c:v>906.8643</c:v>
                </c:pt>
                <c:pt idx="15">
                  <c:v>908.7989</c:v>
                </c:pt>
                <c:pt idx="16">
                  <c:v>916.1759</c:v>
                </c:pt>
                <c:pt idx="17">
                  <c:v>922.4381</c:v>
                </c:pt>
                <c:pt idx="18">
                  <c:v>969.5879</c:v>
                </c:pt>
                <c:pt idx="19">
                  <c:v>981.169</c:v>
                </c:pt>
                <c:pt idx="20">
                  <c:v>976.6052</c:v>
                </c:pt>
                <c:pt idx="21">
                  <c:v>987.6091</c:v>
                </c:pt>
                <c:pt idx="22">
                  <c:v>956.8037</c:v>
                </c:pt>
                <c:pt idx="23">
                  <c:v>946.0401</c:v>
                </c:pt>
                <c:pt idx="24">
                  <c:v>937.031</c:v>
                </c:pt>
                <c:pt idx="25">
                  <c:v>925.3525</c:v>
                </c:pt>
                <c:pt idx="26">
                  <c:v>946.6767</c:v>
                </c:pt>
                <c:pt idx="27">
                  <c:v>958.2145</c:v>
                </c:pt>
                <c:pt idx="28">
                  <c:v>960.181</c:v>
                </c:pt>
                <c:pt idx="29">
                  <c:v>875.6634</c:v>
                </c:pt>
                <c:pt idx="30">
                  <c:v>877.4457</c:v>
                </c:pt>
                <c:pt idx="31">
                  <c:v>942.4082</c:v>
                </c:pt>
                <c:pt idx="32">
                  <c:v>908.0839</c:v>
                </c:pt>
                <c:pt idx="33">
                  <c:v>885.4845</c:v>
                </c:pt>
                <c:pt idx="34">
                  <c:v>925.6587</c:v>
                </c:pt>
                <c:pt idx="35">
                  <c:v>994.6321</c:v>
                </c:pt>
                <c:pt idx="36">
                  <c:v>1044.3993</c:v>
                </c:pt>
                <c:pt idx="37">
                  <c:v>1044.0913</c:v>
                </c:pt>
                <c:pt idx="38">
                  <c:v>1074.7959</c:v>
                </c:pt>
                <c:pt idx="39">
                  <c:v>1071.3565</c:v>
                </c:pt>
                <c:pt idx="40">
                  <c:v>1097.5835</c:v>
                </c:pt>
                <c:pt idx="41">
                  <c:v>1139.2722</c:v>
                </c:pt>
                <c:pt idx="42">
                  <c:v>1197.9273</c:v>
                </c:pt>
                <c:pt idx="43">
                  <c:v>1189.0713</c:v>
                </c:pt>
                <c:pt idx="44">
                  <c:v>1071.2777</c:v>
                </c:pt>
                <c:pt idx="45">
                  <c:v>1013.3726</c:v>
                </c:pt>
                <c:pt idx="46">
                  <c:v>1009.8745</c:v>
                </c:pt>
                <c:pt idx="47">
                  <c:v>992.1066</c:v>
                </c:pt>
                <c:pt idx="48">
                  <c:v>987.4796</c:v>
                </c:pt>
                <c:pt idx="49">
                  <c:v>960.1606</c:v>
                </c:pt>
                <c:pt idx="50">
                  <c:v>961.9215</c:v>
                </c:pt>
                <c:pt idx="51">
                  <c:v>968.5223</c:v>
                </c:pt>
                <c:pt idx="52">
                  <c:v>1003.1715</c:v>
                </c:pt>
                <c:pt idx="53">
                  <c:v>1057.0923</c:v>
                </c:pt>
                <c:pt idx="54">
                  <c:v>1044.77</c:v>
                </c:pt>
                <c:pt idx="55">
                  <c:v>1050.555</c:v>
                </c:pt>
                <c:pt idx="56">
                  <c:v>1073.7634</c:v>
                </c:pt>
                <c:pt idx="57">
                  <c:v>1063.2893</c:v>
                </c:pt>
                <c:pt idx="58">
                  <c:v>1029.9457</c:v>
                </c:pt>
                <c:pt idx="59">
                  <c:v>1036.1278</c:v>
                </c:pt>
                <c:pt idx="60">
                  <c:v>1085.9117</c:v>
                </c:pt>
                <c:pt idx="61">
                  <c:v>1084.3718</c:v>
                </c:pt>
                <c:pt idx="62">
                  <c:v>1030.574</c:v>
                </c:pt>
                <c:pt idx="63">
                  <c:v>1062.6529</c:v>
                </c:pt>
                <c:pt idx="64">
                  <c:v>1053.3802</c:v>
                </c:pt>
                <c:pt idx="65">
                  <c:v>1052.3124</c:v>
                </c:pt>
                <c:pt idx="66">
                  <c:v>987.3693</c:v>
                </c:pt>
                <c:pt idx="67">
                  <c:v>976.83</c:v>
                </c:pt>
                <c:pt idx="68">
                  <c:v>954.779</c:v>
                </c:pt>
                <c:pt idx="69">
                  <c:v>954.3742</c:v>
                </c:pt>
                <c:pt idx="70">
                  <c:v>937.7985</c:v>
                </c:pt>
                <c:pt idx="71">
                  <c:v>1003.5908</c:v>
                </c:pt>
                <c:pt idx="72">
                  <c:v>990.9622</c:v>
                </c:pt>
                <c:pt idx="73">
                  <c:v>1044.6282</c:v>
                </c:pt>
                <c:pt idx="74">
                  <c:v>996.2414</c:v>
                </c:pt>
                <c:pt idx="75">
                  <c:v>1022.0231</c:v>
                </c:pt>
                <c:pt idx="76">
                  <c:v>1055.5865</c:v>
                </c:pt>
                <c:pt idx="77">
                  <c:v>1048.2287</c:v>
                </c:pt>
                <c:pt idx="78">
                  <c:v>1106.9083</c:v>
                </c:pt>
                <c:pt idx="79">
                  <c:v>667.8491</c:v>
                </c:pt>
                <c:pt idx="80">
                  <c:v>672.2</c:v>
                </c:pt>
                <c:pt idx="81">
                  <c:v>889.1177</c:v>
                </c:pt>
                <c:pt idx="82">
                  <c:v>807.2941</c:v>
                </c:pt>
                <c:pt idx="83">
                  <c:v>916.839</c:v>
                </c:pt>
                <c:pt idx="84">
                  <c:v>936.3079</c:v>
                </c:pt>
                <c:pt idx="85">
                  <c:v>973.6623</c:v>
                </c:pt>
                <c:pt idx="86">
                  <c:v>1114.4921</c:v>
                </c:pt>
                <c:pt idx="87">
                  <c:v>1168.8906</c:v>
                </c:pt>
                <c:pt idx="88">
                  <c:v>1108.883</c:v>
                </c:pt>
                <c:pt idx="89">
                  <c:v>1026.0949</c:v>
                </c:pt>
                <c:pt idx="90">
                  <c:v>1151.4884</c:v>
                </c:pt>
                <c:pt idx="91">
                  <c:v>1052.1839</c:v>
                </c:pt>
                <c:pt idx="92">
                  <c:v>1154.6825</c:v>
                </c:pt>
                <c:pt idx="93">
                  <c:v>1208.7421</c:v>
                </c:pt>
                <c:pt idx="94">
                  <c:v>1147.6851</c:v>
                </c:pt>
                <c:pt idx="95">
                  <c:v>1182.6595</c:v>
                </c:pt>
                <c:pt idx="96">
                  <c:v>1163.5848</c:v>
                </c:pt>
                <c:pt idx="97">
                  <c:v>1146.7791</c:v>
                </c:pt>
                <c:pt idx="98">
                  <c:v>1146.8242</c:v>
                </c:pt>
                <c:pt idx="99">
                  <c:v>1068.0963</c:v>
                </c:pt>
                <c:pt idx="100">
                  <c:v>1103.9488</c:v>
                </c:pt>
                <c:pt idx="101">
                  <c:v>1081.941</c:v>
                </c:pt>
                <c:pt idx="102">
                  <c:v>1097.0865</c:v>
                </c:pt>
                <c:pt idx="103">
                  <c:v>1022.4734</c:v>
                </c:pt>
                <c:pt idx="104">
                  <c:v>1105.4056</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3.9756561239888</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3.9756561239888</c:v>
                </c:pt>
                <c:pt idx="1">
                  <c:v>963.9756561239888</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7200323217953</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7200323217953</c:v>
                </c:pt>
                <c:pt idx="1">
                  <c:v>1134.7200323217953</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6.8520505321808</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6.8520505321808</c:v>
                </c:pt>
                <c:pt idx="1">
                  <c:v>1266.8520505321808</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6.3602</c:v>
                </c:pt>
                <c:pt idx="1">
                  <c:v>1124.1904</c:v>
                </c:pt>
                <c:pt idx="2">
                  <c:v>1118.335</c:v>
                </c:pt>
                <c:pt idx="3">
                  <c:v>1138.9284</c:v>
                </c:pt>
                <c:pt idx="4">
                  <c:v>1141.7377</c:v>
                </c:pt>
                <c:pt idx="5">
                  <c:v>1154.8688</c:v>
                </c:pt>
                <c:pt idx="6">
                  <c:v>1091.5321</c:v>
                </c:pt>
                <c:pt idx="7">
                  <c:v>1136.0833</c:v>
                </c:pt>
                <c:pt idx="8">
                  <c:v>1210.4462</c:v>
                </c:pt>
                <c:pt idx="9">
                  <c:v>1163.6596</c:v>
                </c:pt>
                <c:pt idx="10">
                  <c:v>1183.4377</c:v>
                </c:pt>
                <c:pt idx="11">
                  <c:v>1042.3827</c:v>
                </c:pt>
                <c:pt idx="12">
                  <c:v>1096.2757</c:v>
                </c:pt>
                <c:pt idx="13">
                  <c:v>1138.5071</c:v>
                </c:pt>
                <c:pt idx="14">
                  <c:v>1140.1057</c:v>
                </c:pt>
                <c:pt idx="15">
                  <c:v>1182.5262</c:v>
                </c:pt>
                <c:pt idx="16">
                  <c:v>1210.7243</c:v>
                </c:pt>
                <c:pt idx="17">
                  <c:v>1162.452</c:v>
                </c:pt>
                <c:pt idx="18">
                  <c:v>1205.7444</c:v>
                </c:pt>
                <c:pt idx="19">
                  <c:v>1298.3419</c:v>
                </c:pt>
                <c:pt idx="20">
                  <c:v>1271.9709</c:v>
                </c:pt>
                <c:pt idx="21">
                  <c:v>1280.2653</c:v>
                </c:pt>
                <c:pt idx="22">
                  <c:v>1269.7659</c:v>
                </c:pt>
                <c:pt idx="23">
                  <c:v>1232.5145</c:v>
                </c:pt>
                <c:pt idx="24">
                  <c:v>1214.0383</c:v>
                </c:pt>
                <c:pt idx="25">
                  <c:v>1159.5839</c:v>
                </c:pt>
                <c:pt idx="26">
                  <c:v>1235.5613</c:v>
                </c:pt>
                <c:pt idx="27">
                  <c:v>1249.4728</c:v>
                </c:pt>
                <c:pt idx="28">
                  <c:v>1222.8792</c:v>
                </c:pt>
                <c:pt idx="29">
                  <c:v>1220.4793</c:v>
                </c:pt>
                <c:pt idx="30">
                  <c:v>1249.1415</c:v>
                </c:pt>
                <c:pt idx="31">
                  <c:v>1192.3378</c:v>
                </c:pt>
                <c:pt idx="32">
                  <c:v>1187.3305</c:v>
                </c:pt>
                <c:pt idx="33">
                  <c:v>1236.8793</c:v>
                </c:pt>
                <c:pt idx="34">
                  <c:v>1274.1612</c:v>
                </c:pt>
                <c:pt idx="35">
                  <c:v>1253.2058</c:v>
                </c:pt>
                <c:pt idx="36">
                  <c:v>1267.2186</c:v>
                </c:pt>
                <c:pt idx="37">
                  <c:v>1347.4728</c:v>
                </c:pt>
                <c:pt idx="38">
                  <c:v>1308.6369</c:v>
                </c:pt>
                <c:pt idx="39">
                  <c:v>1267.549</c:v>
                </c:pt>
                <c:pt idx="40">
                  <c:v>1346.3808</c:v>
                </c:pt>
                <c:pt idx="41">
                  <c:v>1382.8206</c:v>
                </c:pt>
                <c:pt idx="42">
                  <c:v>1379.5955</c:v>
                </c:pt>
                <c:pt idx="43">
                  <c:v>1350.4679</c:v>
                </c:pt>
                <c:pt idx="44">
                  <c:v>1262.684</c:v>
                </c:pt>
                <c:pt idx="45">
                  <c:v>1199.9415</c:v>
                </c:pt>
                <c:pt idx="46">
                  <c:v>1166.4179</c:v>
                </c:pt>
                <c:pt idx="47">
                  <c:v>1146.7262</c:v>
                </c:pt>
                <c:pt idx="48">
                  <c:v>1125.0355</c:v>
                </c:pt>
                <c:pt idx="49">
                  <c:v>1181.3547</c:v>
                </c:pt>
                <c:pt idx="50">
                  <c:v>1070.3823</c:v>
                </c:pt>
                <c:pt idx="51">
                  <c:v>1022.1721</c:v>
                </c:pt>
                <c:pt idx="52">
                  <c:v>1134.7200323217953</c:v>
                </c:pt>
                <c:pt idx="53">
                  <c:v>963.9756561239888</c:v>
                </c:pt>
                <c:pt idx="54">
                  <c:v>1266.8520505321808</c:v>
                </c:pt>
              </c:numCache>
            </c:numRef>
          </c:xVal>
          <c:yVal>
            <c:numRef>
              <c:f>Sheet1!$B$187:$B$241</c:f>
              <c:numCache>
                <c:formatCode>General</c:formatCode>
                <c:ptCount val="55"/>
                <c:pt idx="0">
                  <c:v>0.21384703597534188</c:v>
                </c:pt>
                <c:pt idx="1">
                  <c:v>0.21832730588660762</c:v>
                </c:pt>
                <c:pt idx="2">
                  <c:v>0.21914278414380614</c:v>
                </c:pt>
                <c:pt idx="3">
                  <c:v>0.21627475293470136</c:v>
                </c:pt>
                <c:pt idx="4">
                  <c:v>0.21588350330735775</c:v>
                </c:pt>
                <c:pt idx="5">
                  <c:v>0.21405474241261108</c:v>
                </c:pt>
                <c:pt idx="6">
                  <c:v>0.22287560891749653</c:v>
                </c:pt>
                <c:pt idx="7">
                  <c:v>0.21667098840786383</c:v>
                </c:pt>
                <c:pt idx="8">
                  <c:v>0.20631450924465916</c:v>
                </c:pt>
                <c:pt idx="9">
                  <c:v>0.21283045265215392</c:v>
                </c:pt>
                <c:pt idx="10">
                  <c:v>0.21007596781444884</c:v>
                </c:pt>
                <c:pt idx="11">
                  <c:v>0.2297206181490355</c:v>
                </c:pt>
                <c:pt idx="12">
                  <c:v>0.22221497041955496</c:v>
                </c:pt>
                <c:pt idx="13">
                  <c:v>0.21633342714820644</c:v>
                </c:pt>
                <c:pt idx="14">
                  <c:v>0.21611079102736797</c:v>
                </c:pt>
                <c:pt idx="15">
                  <c:v>0.21020291190561877</c:v>
                </c:pt>
                <c:pt idx="16">
                  <c:v>0.20627577841442946</c:v>
                </c:pt>
                <c:pt idx="17">
                  <c:v>0.21299863442340658</c:v>
                </c:pt>
                <c:pt idx="18">
                  <c:v>0.20696932628016418</c:v>
                </c:pt>
                <c:pt idx="19">
                  <c:v>0.19407332465415386</c:v>
                </c:pt>
                <c:pt idx="20">
                  <c:v>0.19774599895831452</c:v>
                </c:pt>
                <c:pt idx="21">
                  <c:v>0.19659084254602713</c:v>
                </c:pt>
                <c:pt idx="22">
                  <c:v>0.19805308806531363</c:v>
                </c:pt>
                <c:pt idx="23">
                  <c:v>0.20324106954398383</c:v>
                </c:pt>
                <c:pt idx="24">
                  <c:v>0.20581423950259495</c:v>
                </c:pt>
                <c:pt idx="25">
                  <c:v>0.2133980730936035</c:v>
                </c:pt>
                <c:pt idx="26">
                  <c:v>0.2028167434255235</c:v>
                </c:pt>
                <c:pt idx="27">
                  <c:v>0.20087929666270332</c:v>
                </c:pt>
                <c:pt idx="28">
                  <c:v>0.2045829723433801</c:v>
                </c:pt>
                <c:pt idx="29">
                  <c:v>0.20491720506351038</c:v>
                </c:pt>
                <c:pt idx="30">
                  <c:v>0.20092543662694315</c:v>
                </c:pt>
                <c:pt idx="31">
                  <c:v>0.2088364559046062</c:v>
                </c:pt>
                <c:pt idx="32">
                  <c:v>0.20953381975289498</c:v>
                </c:pt>
                <c:pt idx="33">
                  <c:v>0.20263318630850544</c:v>
                </c:pt>
                <c:pt idx="34">
                  <c:v>0.1974409571120287</c:v>
                </c:pt>
                <c:pt idx="35">
                  <c:v>0.20035940385706716</c:v>
                </c:pt>
                <c:pt idx="36">
                  <c:v>0.19840784910035172</c:v>
                </c:pt>
                <c:pt idx="37">
                  <c:v>0.18723089190718603</c:v>
                </c:pt>
                <c:pt idx="38">
                  <c:v>0.19263954580764311</c:v>
                </c:pt>
                <c:pt idx="39">
                  <c:v>0.19836183447860453</c:v>
                </c:pt>
                <c:pt idx="40">
                  <c:v>0.18738297413160465</c:v>
                </c:pt>
                <c:pt idx="41">
                  <c:v>0.18230802372741997</c:v>
                </c:pt>
                <c:pt idx="42">
                  <c:v>0.18275718158636914</c:v>
                </c:pt>
                <c:pt idx="43">
                  <c:v>0.18681376601858143</c:v>
                </c:pt>
                <c:pt idx="44">
                  <c:v>0.19903938028611057</c:v>
                </c:pt>
                <c:pt idx="45">
                  <c:v>0.207777492891958</c:v>
                </c:pt>
                <c:pt idx="46">
                  <c:v>0.21244630576606063</c:v>
                </c:pt>
                <c:pt idx="47">
                  <c:v>0.21518875772447102</c:v>
                </c:pt>
                <c:pt idx="48">
                  <c:v>0.21820960928600674</c:v>
                </c:pt>
                <c:pt idx="49">
                  <c:v>0.2103660660502217</c:v>
                </c:pt>
                <c:pt idx="50">
                  <c:v>0.22582112964094794</c:v>
                </c:pt>
                <c:pt idx="51">
                  <c:v>0.23253533701793203</c:v>
                </c:pt>
                <c:pt idx="52">
                  <c:v>0.21686084992890722</c:v>
                </c:pt>
                <c:pt idx="53">
                  <c:v>0.24064032295009066</c:v>
                </c:pt>
                <c:pt idx="54">
                  <c:v>0.198458898238103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53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9.6296</c:v>
                </c:pt>
                <c:pt idx="1">
                  <c:v>896.795</c:v>
                </c:pt>
                <c:pt idx="2">
                  <c:v>972.6771</c:v>
                </c:pt>
                <c:pt idx="3">
                  <c:v>974.3128</c:v>
                </c:pt>
                <c:pt idx="4">
                  <c:v>985.2092</c:v>
                </c:pt>
                <c:pt idx="5">
                  <c:v>978.9582</c:v>
                </c:pt>
                <c:pt idx="6">
                  <c:v>956.527</c:v>
                </c:pt>
                <c:pt idx="7">
                  <c:v>934.7831</c:v>
                </c:pt>
                <c:pt idx="8">
                  <c:v>942.1317</c:v>
                </c:pt>
                <c:pt idx="9">
                  <c:v>939.3629</c:v>
                </c:pt>
                <c:pt idx="10">
                  <c:v>923.4758</c:v>
                </c:pt>
                <c:pt idx="11">
                  <c:v>972.4554</c:v>
                </c:pt>
                <c:pt idx="12">
                  <c:v>995.7564</c:v>
                </c:pt>
                <c:pt idx="13">
                  <c:v>983.7745</c:v>
                </c:pt>
                <c:pt idx="14">
                  <c:v>997.794</c:v>
                </c:pt>
                <c:pt idx="15">
                  <c:v>1001.6633</c:v>
                </c:pt>
                <c:pt idx="16">
                  <c:v>1053.0972</c:v>
                </c:pt>
                <c:pt idx="17">
                  <c:v>1073.8212</c:v>
                </c:pt>
                <c:pt idx="18">
                  <c:v>1120.6429</c:v>
                </c:pt>
                <c:pt idx="19">
                  <c:v>1118.6546</c:v>
                </c:pt>
                <c:pt idx="20">
                  <c:v>1162.7111</c:v>
                </c:pt>
                <c:pt idx="21">
                  <c:v>1171.1277</c:v>
                </c:pt>
                <c:pt idx="22">
                  <c:v>1104.7412</c:v>
                </c:pt>
                <c:pt idx="23">
                  <c:v>1077.2022</c:v>
                </c:pt>
                <c:pt idx="24">
                  <c:v>1097.0797</c:v>
                </c:pt>
                <c:pt idx="25">
                  <c:v>1102.4253</c:v>
                </c:pt>
                <c:pt idx="26">
                  <c:v>1112.6996</c:v>
                </c:pt>
                <c:pt idx="27">
                  <c:v>1117.8981</c:v>
                </c:pt>
                <c:pt idx="28">
                  <c:v>1113.8744</c:v>
                </c:pt>
                <c:pt idx="29">
                  <c:v>1044.919</c:v>
                </c:pt>
                <c:pt idx="30">
                  <c:v>1080.8502</c:v>
                </c:pt>
                <c:pt idx="31">
                  <c:v>1062.7523</c:v>
                </c:pt>
                <c:pt idx="32">
                  <c:v>1047.5045</c:v>
                </c:pt>
                <c:pt idx="33">
                  <c:v>944.4878</c:v>
                </c:pt>
                <c:pt idx="34">
                  <c:v>1001.1254</c:v>
                </c:pt>
                <c:pt idx="35">
                  <c:v>1075.9265</c:v>
                </c:pt>
                <c:pt idx="36">
                  <c:v>1175.3508</c:v>
                </c:pt>
                <c:pt idx="37">
                  <c:v>1146.376</c:v>
                </c:pt>
                <c:pt idx="38">
                  <c:v>1204.0383</c:v>
                </c:pt>
                <c:pt idx="39">
                  <c:v>1240.6354</c:v>
                </c:pt>
                <c:pt idx="40">
                  <c:v>1215.0308</c:v>
                </c:pt>
                <c:pt idx="41">
                  <c:v>1240.3125</c:v>
                </c:pt>
                <c:pt idx="42">
                  <c:v>1274.1598</c:v>
                </c:pt>
                <c:pt idx="43">
                  <c:v>1311.4356</c:v>
                </c:pt>
                <c:pt idx="44">
                  <c:v>1261.2271</c:v>
                </c:pt>
                <c:pt idx="45">
                  <c:v>1213.9087</c:v>
                </c:pt>
                <c:pt idx="46">
                  <c:v>1155.5442</c:v>
                </c:pt>
                <c:pt idx="47">
                  <c:v>1145.1604</c:v>
                </c:pt>
                <c:pt idx="48">
                  <c:v>1140.477</c:v>
                </c:pt>
                <c:pt idx="49">
                  <c:v>1083.8669</c:v>
                </c:pt>
                <c:pt idx="50">
                  <c:v>1068.2247</c:v>
                </c:pt>
                <c:pt idx="51">
                  <c:v>1109.936</c:v>
                </c:pt>
                <c:pt idx="52">
                  <c:v>1109.8025</c:v>
                </c:pt>
                <c:pt idx="53">
                  <c:v>1219.3066</c:v>
                </c:pt>
                <c:pt idx="54">
                  <c:v>1178.8173</c:v>
                </c:pt>
                <c:pt idx="55">
                  <c:v>1215.0767</c:v>
                </c:pt>
                <c:pt idx="56">
                  <c:v>1218.4517</c:v>
                </c:pt>
                <c:pt idx="57">
                  <c:v>1214.5521</c:v>
                </c:pt>
                <c:pt idx="58">
                  <c:v>1170.9137</c:v>
                </c:pt>
                <c:pt idx="59">
                  <c:v>1181.7731</c:v>
                </c:pt>
                <c:pt idx="60">
                  <c:v>1198.6041</c:v>
                </c:pt>
                <c:pt idx="61">
                  <c:v>1192.748</c:v>
                </c:pt>
                <c:pt idx="62">
                  <c:v>1163.5957</c:v>
                </c:pt>
                <c:pt idx="63">
                  <c:v>1185.7231</c:v>
                </c:pt>
                <c:pt idx="64">
                  <c:v>1185.6658</c:v>
                </c:pt>
                <c:pt idx="65">
                  <c:v>1192.6672</c:v>
                </c:pt>
                <c:pt idx="66">
                  <c:v>1193.6949</c:v>
                </c:pt>
                <c:pt idx="67">
                  <c:v>1187.7459</c:v>
                </c:pt>
                <c:pt idx="68">
                  <c:v>1209.8367</c:v>
                </c:pt>
                <c:pt idx="69">
                  <c:v>1241.1293</c:v>
                </c:pt>
                <c:pt idx="70">
                  <c:v>1263.6958</c:v>
                </c:pt>
                <c:pt idx="71">
                  <c:v>1316.3656</c:v>
                </c:pt>
                <c:pt idx="72">
                  <c:v>1412.4351</c:v>
                </c:pt>
                <c:pt idx="73">
                  <c:v>1365.7012</c:v>
                </c:pt>
                <c:pt idx="74">
                  <c:v>1356.6985</c:v>
                </c:pt>
                <c:pt idx="75">
                  <c:v>1255.7836</c:v>
                </c:pt>
                <c:pt idx="76">
                  <c:v>1301.0993</c:v>
                </c:pt>
                <c:pt idx="77">
                  <c:v>1353.7405</c:v>
                </c:pt>
                <c:pt idx="78">
                  <c:v>1349.7115</c:v>
                </c:pt>
                <c:pt idx="79">
                  <c:v>1387.9904</c:v>
                </c:pt>
                <c:pt idx="80">
                  <c:v>1366.3425</c:v>
                </c:pt>
                <c:pt idx="81">
                  <c:v>1356.2594</c:v>
                </c:pt>
                <c:pt idx="82">
                  <c:v>1356.0402</c:v>
                </c:pt>
                <c:pt idx="83">
                  <c:v>1270.0988</c:v>
                </c:pt>
                <c:pt idx="84">
                  <c:v>1301.838</c:v>
                </c:pt>
                <c:pt idx="85">
                  <c:v>1305.4628</c:v>
                </c:pt>
                <c:pt idx="86">
                  <c:v>1298.6272</c:v>
                </c:pt>
                <c:pt idx="87">
                  <c:v>1264.1729</c:v>
                </c:pt>
                <c:pt idx="88">
                  <c:v>1331.1786</c:v>
                </c:pt>
                <c:pt idx="89">
                  <c:v>1330.4795</c:v>
                </c:pt>
                <c:pt idx="90">
                  <c:v>1397.177</c:v>
                </c:pt>
                <c:pt idx="91">
                  <c:v>1360.8791</c:v>
                </c:pt>
                <c:pt idx="92">
                  <c:v>1322.2246</c:v>
                </c:pt>
                <c:pt idx="93">
                  <c:v>1351.9296</c:v>
                </c:pt>
                <c:pt idx="94">
                  <c:v>1275.0184</c:v>
                </c:pt>
                <c:pt idx="95">
                  <c:v>1195.358</c:v>
                </c:pt>
                <c:pt idx="96">
                  <c:v>1311.5122</c:v>
                </c:pt>
                <c:pt idx="97">
                  <c:v>1261.9378</c:v>
                </c:pt>
                <c:pt idx="98">
                  <c:v>1200.0083</c:v>
                </c:pt>
                <c:pt idx="99">
                  <c:v>1174.7128</c:v>
                </c:pt>
                <c:pt idx="100">
                  <c:v>1147.2169</c:v>
                </c:pt>
                <c:pt idx="101">
                  <c:v>1216.5911</c:v>
                </c:pt>
                <c:pt idx="102">
                  <c:v>1214.2784</c:v>
                </c:pt>
                <c:pt idx="103">
                  <c:v>1172.1832</c:v>
                </c:pt>
                <c:pt idx="104">
                  <c:v>1253.4938</c:v>
                </c:pt>
              </c:numCache>
            </c:numRef>
          </c:xVal>
          <c:yVal>
            <c:numRef>
              <c:f>Sheet1!$B$2:$B$106</c:f>
              <c:numCache>
                <c:formatCode>General</c:formatCode>
                <c:ptCount val="105"/>
                <c:pt idx="0">
                  <c:v>0.25414141414141417</c:v>
                </c:pt>
                <c:pt idx="1">
                  <c:v>0.24475166410650281</c:v>
                </c:pt>
                <c:pt idx="2">
                  <c:v>0.24769752787203103</c:v>
                </c:pt>
                <c:pt idx="3">
                  <c:v>0.25133689839572193</c:v>
                </c:pt>
                <c:pt idx="4">
                  <c:v>0.2602040816326531</c:v>
                </c:pt>
                <c:pt idx="5">
                  <c:v>0.26145833333333335</c:v>
                </c:pt>
                <c:pt idx="6">
                  <c:v>0.2624113475177305</c:v>
                </c:pt>
                <c:pt idx="7">
                  <c:v>0.2926587301587302</c:v>
                </c:pt>
                <c:pt idx="8">
                  <c:v>0.26443629697525206</c:v>
                </c:pt>
                <c:pt idx="9">
                  <c:v>0.2497324295397788</c:v>
                </c:pt>
                <c:pt idx="10">
                  <c:v>0.2683982683982684</c:v>
                </c:pt>
                <c:pt idx="11">
                  <c:v>0.24558032282859338</c:v>
                </c:pt>
                <c:pt idx="12">
                  <c:v>0.23796892762410005</c:v>
                </c:pt>
                <c:pt idx="13">
                  <c:v>0.23195458231954583</c:v>
                </c:pt>
                <c:pt idx="14">
                  <c:v>0.21195421788893598</c:v>
                </c:pt>
                <c:pt idx="15">
                  <c:v>0.1973026973026973</c:v>
                </c:pt>
                <c:pt idx="16">
                  <c:v>0.17173524150268335</c:v>
                </c:pt>
                <c:pt idx="17">
                  <c:v>0.17463352453792225</c:v>
                </c:pt>
                <c:pt idx="18">
                  <c:v>0.1527599486521181</c:v>
                </c:pt>
                <c:pt idx="19">
                  <c:v>0.1704745166959578</c:v>
                </c:pt>
                <c:pt idx="20">
                  <c:v>0.14990006662225183</c:v>
                </c:pt>
                <c:pt idx="21">
                  <c:v>0.15524360033030554</c:v>
                </c:pt>
                <c:pt idx="22">
                  <c:v>0.20126282557221783</c:v>
                </c:pt>
                <c:pt idx="23">
                  <c:v>0.2377560106856634</c:v>
                </c:pt>
                <c:pt idx="24">
                  <c:v>0.2436893203883495</c:v>
                </c:pt>
                <c:pt idx="25">
                  <c:v>0.22643442622950818</c:v>
                </c:pt>
                <c:pt idx="26">
                  <c:v>0.2606263982102908</c:v>
                </c:pt>
                <c:pt idx="27">
                  <c:v>0.24379232505643342</c:v>
                </c:pt>
                <c:pt idx="28">
                  <c:v>0.2777085927770859</c:v>
                </c:pt>
                <c:pt idx="29">
                  <c:v>0.2819634703196347</c:v>
                </c:pt>
                <c:pt idx="30">
                  <c:v>0.27417218543046357</c:v>
                </c:pt>
                <c:pt idx="31">
                  <c:v>0.30193905817174516</c:v>
                </c:pt>
                <c:pt idx="32">
                  <c:v>0.3047091412742382</c:v>
                </c:pt>
                <c:pt idx="33">
                  <c:v>0.28839390386869873</c:v>
                </c:pt>
                <c:pt idx="34">
                  <c:v>0.2748768472906404</c:v>
                </c:pt>
                <c:pt idx="35">
                  <c:v>0.2684391080617496</c:v>
                </c:pt>
                <c:pt idx="36">
                  <c:v>0.2525458248472505</c:v>
                </c:pt>
                <c:pt idx="37">
                  <c:v>0.2523461939520334</c:v>
                </c:pt>
                <c:pt idx="38">
                  <c:v>0.2619047619047619</c:v>
                </c:pt>
                <c:pt idx="39">
                  <c:v>0.2445945945945946</c:v>
                </c:pt>
                <c:pt idx="40">
                  <c:v>0.23329907502569372</c:v>
                </c:pt>
                <c:pt idx="41">
                  <c:v>0.24514811031664965</c:v>
                </c:pt>
                <c:pt idx="42">
                  <c:v>0.2484725050916497</c:v>
                </c:pt>
                <c:pt idx="43">
                  <c:v>0.234375</c:v>
                </c:pt>
                <c:pt idx="44">
                  <c:v>0.22768974145120935</c:v>
                </c:pt>
                <c:pt idx="45">
                  <c:v>0.22920110192837465</c:v>
                </c:pt>
                <c:pt idx="46">
                  <c:v>0.23298327499027616</c:v>
                </c:pt>
                <c:pt idx="47">
                  <c:v>0.2323943661971831</c:v>
                </c:pt>
                <c:pt idx="48">
                  <c:v>0.22863520408163265</c:v>
                </c:pt>
                <c:pt idx="49">
                  <c:v>0.21374700034281796</c:v>
                </c:pt>
                <c:pt idx="50">
                  <c:v>0.23048464668886423</c:v>
                </c:pt>
                <c:pt idx="51">
                  <c:v>0.21645021645021645</c:v>
                </c:pt>
                <c:pt idx="52">
                  <c:v>0.22088040514218932</c:v>
                </c:pt>
                <c:pt idx="53">
                  <c:v>0.2202572347266881</c:v>
                </c:pt>
                <c:pt idx="54">
                  <c:v>0.2110337439742903</c:v>
                </c:pt>
                <c:pt idx="55">
                  <c:v>0.19718309859154928</c:v>
                </c:pt>
                <c:pt idx="56">
                  <c:v>0.2140641158221303</c:v>
                </c:pt>
                <c:pt idx="57">
                  <c:v>0.2019559902200489</c:v>
                </c:pt>
                <c:pt idx="58">
                  <c:v>0.2375</c:v>
                </c:pt>
                <c:pt idx="59">
                  <c:v>0.221107544141252</c:v>
                </c:pt>
                <c:pt idx="60">
                  <c:v>0.21800073773515308</c:v>
                </c:pt>
                <c:pt idx="61">
                  <c:v>0.2236271676300578</c:v>
                </c:pt>
                <c:pt idx="62">
                  <c:v>0.24253075571177504</c:v>
                </c:pt>
                <c:pt idx="63">
                  <c:v>0.2346350832266325</c:v>
                </c:pt>
                <c:pt idx="64">
                  <c:v>0.22588597842835131</c:v>
                </c:pt>
                <c:pt idx="65">
                  <c:v>0.20267188009123493</c:v>
                </c:pt>
                <c:pt idx="66">
                  <c:v>0.20549782098558497</c:v>
                </c:pt>
                <c:pt idx="67">
                  <c:v>0.20330578512396694</c:v>
                </c:pt>
                <c:pt idx="68">
                  <c:v>0.1814872594903796</c:v>
                </c:pt>
                <c:pt idx="69">
                  <c:v>0.18599679315873865</c:v>
                </c:pt>
                <c:pt idx="70">
                  <c:v>0.18641212801796744</c:v>
                </c:pt>
                <c:pt idx="71">
                  <c:v>0.1894093686354379</c:v>
                </c:pt>
                <c:pt idx="72">
                  <c:v>0.1677336747759283</c:v>
                </c:pt>
                <c:pt idx="73">
                  <c:v>0.187402799377916</c:v>
                </c:pt>
                <c:pt idx="74">
                  <c:v>0.19684447783621337</c:v>
                </c:pt>
                <c:pt idx="75">
                  <c:v>0.22964867180805484</c:v>
                </c:pt>
                <c:pt idx="76">
                  <c:v>0.23031329381879762</c:v>
                </c:pt>
                <c:pt idx="77">
                  <c:v>0.19032921810699588</c:v>
                </c:pt>
                <c:pt idx="78">
                  <c:v>0.22127659574468084</c:v>
                </c:pt>
                <c:pt idx="79">
                  <c:v>0.1922723091076357</c:v>
                </c:pt>
                <c:pt idx="80">
                  <c:v>0.17337164750957854</c:v>
                </c:pt>
                <c:pt idx="81">
                  <c:v>0.19735755573905864</c:v>
                </c:pt>
                <c:pt idx="82">
                  <c:v>0.21147715196599362</c:v>
                </c:pt>
                <c:pt idx="83">
                  <c:v>0.21313506815365552</c:v>
                </c:pt>
                <c:pt idx="84">
                  <c:v>0.21696969696969698</c:v>
                </c:pt>
                <c:pt idx="85">
                  <c:v>0.20935412026726058</c:v>
                </c:pt>
                <c:pt idx="86">
                  <c:v>0.21550094517958412</c:v>
                </c:pt>
                <c:pt idx="87">
                  <c:v>0.24603836530442036</c:v>
                </c:pt>
                <c:pt idx="88">
                  <c:v>0.23140495867768596</c:v>
                </c:pt>
                <c:pt idx="89">
                  <c:v>0.2822164948453608</c:v>
                </c:pt>
                <c:pt idx="90">
                  <c:v>0.2686375321336761</c:v>
                </c:pt>
                <c:pt idx="91">
                  <c:v>0.24169986719787517</c:v>
                </c:pt>
                <c:pt idx="92">
                  <c:v>0.24380165289256198</c:v>
                </c:pt>
                <c:pt idx="93">
                  <c:v>0.2279495990836197</c:v>
                </c:pt>
                <c:pt idx="94">
                  <c:v>0.2411111111111111</c:v>
                </c:pt>
                <c:pt idx="95">
                  <c:v>0.2622187742435997</c:v>
                </c:pt>
                <c:pt idx="96">
                  <c:v>0.2210242587601078</c:v>
                </c:pt>
                <c:pt idx="97">
                  <c:v>0.23309178743961353</c:v>
                </c:pt>
                <c:pt idx="98">
                  <c:v>0.23214285714285715</c:v>
                </c:pt>
                <c:pt idx="99">
                  <c:v>0.22750598699965788</c:v>
                </c:pt>
                <c:pt idx="100">
                  <c:v>0.22814007129377228</c:v>
                </c:pt>
                <c:pt idx="101">
                  <c:v>0.23004904146232724</c:v>
                </c:pt>
                <c:pt idx="102">
                  <c:v>0.21424627277747102</c:v>
                </c:pt>
                <c:pt idx="103">
                  <c:v>0.2182904411764706</c:v>
                </c:pt>
                <c:pt idx="104">
                  <c:v>0.2056410256410256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3.4105</c:v>
                </c:pt>
                <c:pt idx="1">
                  <c:v>1298.7352</c:v>
                </c:pt>
                <c:pt idx="2">
                  <c:v>1294.9875</c:v>
                </c:pt>
                <c:pt idx="3">
                  <c:v>1220.7718</c:v>
                </c:pt>
                <c:pt idx="4">
                  <c:v>1288.2635</c:v>
                </c:pt>
                <c:pt idx="5">
                  <c:v>1303.5355</c:v>
                </c:pt>
                <c:pt idx="6">
                  <c:v>1223.1849</c:v>
                </c:pt>
                <c:pt idx="7">
                  <c:v>1222.7055</c:v>
                </c:pt>
                <c:pt idx="8">
                  <c:v>1252.852</c:v>
                </c:pt>
                <c:pt idx="9">
                  <c:v>1205.0405</c:v>
                </c:pt>
                <c:pt idx="10">
                  <c:v>1241.2559</c:v>
                </c:pt>
                <c:pt idx="11">
                  <c:v>1137.5269</c:v>
                </c:pt>
                <c:pt idx="12">
                  <c:v>1173.9413</c:v>
                </c:pt>
                <c:pt idx="13">
                  <c:v>1213.723</c:v>
                </c:pt>
                <c:pt idx="14">
                  <c:v>1182.9013</c:v>
                </c:pt>
                <c:pt idx="15">
                  <c:v>1194.3696</c:v>
                </c:pt>
                <c:pt idx="16">
                  <c:v>1233.9789</c:v>
                </c:pt>
                <c:pt idx="17">
                  <c:v>1132.3846</c:v>
                </c:pt>
                <c:pt idx="18">
                  <c:v>1224.2471</c:v>
                </c:pt>
                <c:pt idx="19">
                  <c:v>1321.3214</c:v>
                </c:pt>
                <c:pt idx="20">
                  <c:v>1306.7118</c:v>
                </c:pt>
                <c:pt idx="21">
                  <c:v>1261.3699</c:v>
                </c:pt>
                <c:pt idx="22">
                  <c:v>1304.7738</c:v>
                </c:pt>
                <c:pt idx="23">
                  <c:v>1289.6812</c:v>
                </c:pt>
                <c:pt idx="24">
                  <c:v>1316.2862</c:v>
                </c:pt>
                <c:pt idx="25">
                  <c:v>1311.6312</c:v>
                </c:pt>
                <c:pt idx="26">
                  <c:v>1264.4649</c:v>
                </c:pt>
                <c:pt idx="27">
                  <c:v>1312.5431</c:v>
                </c:pt>
                <c:pt idx="28">
                  <c:v>1381.545</c:v>
                </c:pt>
                <c:pt idx="29">
                  <c:v>1401.0842</c:v>
                </c:pt>
                <c:pt idx="30">
                  <c:v>1358.7387</c:v>
                </c:pt>
                <c:pt idx="31">
                  <c:v>1334.8808</c:v>
                </c:pt>
                <c:pt idx="32">
                  <c:v>1355.4875</c:v>
                </c:pt>
                <c:pt idx="33">
                  <c:v>1343.7974</c:v>
                </c:pt>
                <c:pt idx="34">
                  <c:v>1372.3091</c:v>
                </c:pt>
                <c:pt idx="35">
                  <c:v>1421.0659</c:v>
                </c:pt>
                <c:pt idx="36">
                  <c:v>1397.6954</c:v>
                </c:pt>
                <c:pt idx="37">
                  <c:v>1338.5297</c:v>
                </c:pt>
                <c:pt idx="38">
                  <c:v>1369.005</c:v>
                </c:pt>
                <c:pt idx="39">
                  <c:v>1361.6745</c:v>
                </c:pt>
                <c:pt idx="40">
                  <c:v>1378.2869</c:v>
                </c:pt>
                <c:pt idx="41">
                  <c:v>1456.4351</c:v>
                </c:pt>
                <c:pt idx="42">
                  <c:v>1432.8445</c:v>
                </c:pt>
                <c:pt idx="43">
                  <c:v>1407.0109</c:v>
                </c:pt>
                <c:pt idx="44">
                  <c:v>1350.7737</c:v>
                </c:pt>
                <c:pt idx="45">
                  <c:v>1318.7147</c:v>
                </c:pt>
                <c:pt idx="46">
                  <c:v>1263.7961</c:v>
                </c:pt>
                <c:pt idx="47">
                  <c:v>1240.1729</c:v>
                </c:pt>
                <c:pt idx="48">
                  <c:v>1237.7346</c:v>
                </c:pt>
                <c:pt idx="49">
                  <c:v>1251.2066</c:v>
                </c:pt>
                <c:pt idx="50">
                  <c:v>1225.3911</c:v>
                </c:pt>
                <c:pt idx="51">
                  <c:v>1181.4322</c:v>
                </c:pt>
              </c:numCache>
            </c:numRef>
          </c:xVal>
          <c:yVal>
            <c:numRef>
              <c:f>Sheet1!$B$109:$B$160</c:f>
              <c:numCache>
                <c:formatCode>General</c:formatCode>
                <c:ptCount val="52"/>
                <c:pt idx="0">
                  <c:v>0.2110831234256927</c:v>
                </c:pt>
                <c:pt idx="1">
                  <c:v>0.20993494973388527</c:v>
                </c:pt>
                <c:pt idx="2">
                  <c:v>0.22904761904761906</c:v>
                </c:pt>
                <c:pt idx="3">
                  <c:v>0.2525647288715193</c:v>
                </c:pt>
                <c:pt idx="4">
                  <c:v>0.24019607843137256</c:v>
                </c:pt>
                <c:pt idx="5">
                  <c:v>0.22058165548098435</c:v>
                </c:pt>
                <c:pt idx="6">
                  <c:v>0.22094406981356604</c:v>
                </c:pt>
                <c:pt idx="7">
                  <c:v>0.23276529821843533</c:v>
                </c:pt>
                <c:pt idx="8">
                  <c:v>0.22063789868667918</c:v>
                </c:pt>
                <c:pt idx="9">
                  <c:v>0.22526041666666666</c:v>
                </c:pt>
                <c:pt idx="10">
                  <c:v>0.22443977591036415</c:v>
                </c:pt>
                <c:pt idx="11">
                  <c:v>0.22077168552364373</c:v>
                </c:pt>
                <c:pt idx="12">
                  <c:v>0.22025875670558537</c:v>
                </c:pt>
                <c:pt idx="13">
                  <c:v>0.2258181818181818</c:v>
                </c:pt>
                <c:pt idx="14">
                  <c:v>0.2271615008156607</c:v>
                </c:pt>
                <c:pt idx="15">
                  <c:v>0.21217712177121772</c:v>
                </c:pt>
                <c:pt idx="16">
                  <c:v>0.20708446866485014</c:v>
                </c:pt>
                <c:pt idx="17">
                  <c:v>0.2433574879227053</c:v>
                </c:pt>
                <c:pt idx="18">
                  <c:v>0.21428571428571427</c:v>
                </c:pt>
                <c:pt idx="19">
                  <c:v>0.21604938271604937</c:v>
                </c:pt>
                <c:pt idx="20">
                  <c:v>0.22695738354806738</c:v>
                </c:pt>
                <c:pt idx="21">
                  <c:v>0.22672811059907835</c:v>
                </c:pt>
                <c:pt idx="22">
                  <c:v>0.21875</c:v>
                </c:pt>
                <c:pt idx="23">
                  <c:v>0.2440318302387268</c:v>
                </c:pt>
                <c:pt idx="24">
                  <c:v>0.23996431757359502</c:v>
                </c:pt>
                <c:pt idx="25">
                  <c:v>0.2384406165004533</c:v>
                </c:pt>
                <c:pt idx="26">
                  <c:v>0.26158301158301156</c:v>
                </c:pt>
                <c:pt idx="27">
                  <c:v>0.2606741573033708</c:v>
                </c:pt>
                <c:pt idx="28">
                  <c:v>0.2205071664829107</c:v>
                </c:pt>
                <c:pt idx="29">
                  <c:v>0.23573200992555832</c:v>
                </c:pt>
                <c:pt idx="30">
                  <c:v>0.24659231722428748</c:v>
                </c:pt>
                <c:pt idx="31">
                  <c:v>0.22076023391812866</c:v>
                </c:pt>
                <c:pt idx="32">
                  <c:v>0.21248339973439576</c:v>
                </c:pt>
                <c:pt idx="33">
                  <c:v>0.2188679245283019</c:v>
                </c:pt>
                <c:pt idx="34">
                  <c:v>0.26416666666666666</c:v>
                </c:pt>
                <c:pt idx="35">
                  <c:v>0.24179943767572634</c:v>
                </c:pt>
                <c:pt idx="36">
                  <c:v>0.2506361323155216</c:v>
                </c:pt>
                <c:pt idx="37">
                  <c:v>0.2483221476510067</c:v>
                </c:pt>
                <c:pt idx="38">
                  <c:v>0.26613965744400525</c:v>
                </c:pt>
                <c:pt idx="39">
                  <c:v>0.2459396751740139</c:v>
                </c:pt>
                <c:pt idx="40">
                  <c:v>0.2423038728897716</c:v>
                </c:pt>
                <c:pt idx="41">
                  <c:v>0.2436289500509684</c:v>
                </c:pt>
                <c:pt idx="42">
                  <c:v>0.2161671207992734</c:v>
                </c:pt>
                <c:pt idx="43">
                  <c:v>0.21345707656612528</c:v>
                </c:pt>
                <c:pt idx="44">
                  <c:v>0.2190247801758593</c:v>
                </c:pt>
                <c:pt idx="45">
                  <c:v>0.24509803921568626</c:v>
                </c:pt>
                <c:pt idx="46">
                  <c:v>0.25263157894736843</c:v>
                </c:pt>
                <c:pt idx="47">
                  <c:v>0.24539877300613497</c:v>
                </c:pt>
                <c:pt idx="48">
                  <c:v>0.24047501237011382</c:v>
                </c:pt>
                <c:pt idx="49">
                  <c:v>0.218014329580348</c:v>
                </c:pt>
                <c:pt idx="50">
                  <c:v>0.19707317073170733</c:v>
                </c:pt>
                <c:pt idx="51">
                  <c:v>0.217925386715195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901.092509085404</c:v>
                </c:pt>
              </c:numCache>
            </c:numRef>
          </c:xVal>
          <c:yVal>
            <c:numRef>
              <c:f>Sheet1!$B$163:$B$164</c:f>
              <c:numCache>
                <c:formatCode>General</c:formatCode>
                <c:ptCount val="2"/>
                <c:pt idx="0">
                  <c:v>0.2628711157903823</c:v>
                </c:pt>
                <c:pt idx="1">
                  <c:v>0.262871115790382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901.092509085404</c:v>
                </c:pt>
                <c:pt idx="1">
                  <c:v>1901.092509085404</c:v>
                </c:pt>
              </c:numCache>
            </c:numRef>
          </c:xVal>
          <c:yVal>
            <c:numRef>
              <c:f>Sheet1!$B$167:$B$168</c:f>
              <c:numCache>
                <c:formatCode>General</c:formatCode>
                <c:ptCount val="2"/>
                <c:pt idx="0">
                  <c:v>0.26287111579038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478.84838144345</c:v>
                </c:pt>
              </c:numCache>
            </c:numRef>
          </c:xVal>
          <c:yVal>
            <c:numRef>
              <c:f>Sheet1!$B$171:$B$172</c:f>
              <c:numCache>
                <c:formatCode>General</c:formatCode>
                <c:ptCount val="2"/>
                <c:pt idx="0">
                  <c:v>0.24081132630088165</c:v>
                </c:pt>
                <c:pt idx="1">
                  <c:v>0.2408113263008816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478.84838144345</c:v>
                </c:pt>
                <c:pt idx="1">
                  <c:v>1478.84838144345</c:v>
                </c:pt>
              </c:numCache>
            </c:numRef>
          </c:xVal>
          <c:yVal>
            <c:numRef>
              <c:f>Sheet1!$B$175:$B$176</c:f>
              <c:numCache>
                <c:formatCode>General</c:formatCode>
                <c:ptCount val="2"/>
                <c:pt idx="0">
                  <c:v>0.2408113263008816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2.4193932428607</c:v>
                </c:pt>
              </c:numCache>
            </c:numRef>
          </c:xVal>
          <c:yVal>
            <c:numRef>
              <c:f>Sheet1!$B$179:$B$180</c:f>
              <c:numCache>
                <c:formatCode>General</c:formatCode>
                <c:ptCount val="2"/>
                <c:pt idx="0">
                  <c:v>0.2305490589401974</c:v>
                </c:pt>
                <c:pt idx="1">
                  <c:v>0.23054905894019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2.4193932428607</c:v>
                </c:pt>
                <c:pt idx="1">
                  <c:v>1282.4193932428607</c:v>
                </c:pt>
              </c:numCache>
            </c:numRef>
          </c:xVal>
          <c:yVal>
            <c:numRef>
              <c:f>Sheet1!$B$183:$B$184</c:f>
              <c:numCache>
                <c:formatCode>General</c:formatCode>
                <c:ptCount val="2"/>
                <c:pt idx="0">
                  <c:v>0.23054905894019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3.4105</c:v>
                </c:pt>
                <c:pt idx="1">
                  <c:v>1298.7352</c:v>
                </c:pt>
                <c:pt idx="2">
                  <c:v>1294.9875</c:v>
                </c:pt>
                <c:pt idx="3">
                  <c:v>1220.7718</c:v>
                </c:pt>
                <c:pt idx="4">
                  <c:v>1288.2635</c:v>
                </c:pt>
                <c:pt idx="5">
                  <c:v>1303.5355</c:v>
                </c:pt>
                <c:pt idx="6">
                  <c:v>1223.1849</c:v>
                </c:pt>
                <c:pt idx="7">
                  <c:v>1222.7055</c:v>
                </c:pt>
                <c:pt idx="8">
                  <c:v>1252.852</c:v>
                </c:pt>
                <c:pt idx="9">
                  <c:v>1205.0405</c:v>
                </c:pt>
                <c:pt idx="10">
                  <c:v>1241.2559</c:v>
                </c:pt>
                <c:pt idx="11">
                  <c:v>1137.5269</c:v>
                </c:pt>
                <c:pt idx="12">
                  <c:v>1173.9413</c:v>
                </c:pt>
                <c:pt idx="13">
                  <c:v>1213.723</c:v>
                </c:pt>
                <c:pt idx="14">
                  <c:v>1182.9013</c:v>
                </c:pt>
                <c:pt idx="15">
                  <c:v>1194.3696</c:v>
                </c:pt>
                <c:pt idx="16">
                  <c:v>1233.9789</c:v>
                </c:pt>
                <c:pt idx="17">
                  <c:v>1132.3846</c:v>
                </c:pt>
                <c:pt idx="18">
                  <c:v>1224.2471</c:v>
                </c:pt>
                <c:pt idx="19">
                  <c:v>1321.3214</c:v>
                </c:pt>
                <c:pt idx="20">
                  <c:v>1306.7118</c:v>
                </c:pt>
                <c:pt idx="21">
                  <c:v>1261.3699</c:v>
                </c:pt>
                <c:pt idx="22">
                  <c:v>1304.7738</c:v>
                </c:pt>
                <c:pt idx="23">
                  <c:v>1289.6812</c:v>
                </c:pt>
                <c:pt idx="24">
                  <c:v>1316.2862</c:v>
                </c:pt>
                <c:pt idx="25">
                  <c:v>1311.6312</c:v>
                </c:pt>
                <c:pt idx="26">
                  <c:v>1264.4649</c:v>
                </c:pt>
                <c:pt idx="27">
                  <c:v>1312.5431</c:v>
                </c:pt>
                <c:pt idx="28">
                  <c:v>1381.545</c:v>
                </c:pt>
                <c:pt idx="29">
                  <c:v>1401.0842</c:v>
                </c:pt>
                <c:pt idx="30">
                  <c:v>1358.7387</c:v>
                </c:pt>
                <c:pt idx="31">
                  <c:v>1334.8808</c:v>
                </c:pt>
                <c:pt idx="32">
                  <c:v>1355.4875</c:v>
                </c:pt>
                <c:pt idx="33">
                  <c:v>1343.7974</c:v>
                </c:pt>
                <c:pt idx="34">
                  <c:v>1372.3091</c:v>
                </c:pt>
                <c:pt idx="35">
                  <c:v>1421.0659</c:v>
                </c:pt>
                <c:pt idx="36">
                  <c:v>1397.6954</c:v>
                </c:pt>
                <c:pt idx="37">
                  <c:v>1338.5297</c:v>
                </c:pt>
                <c:pt idx="38">
                  <c:v>1369.005</c:v>
                </c:pt>
                <c:pt idx="39">
                  <c:v>1361.6745</c:v>
                </c:pt>
                <c:pt idx="40">
                  <c:v>1378.2869</c:v>
                </c:pt>
                <c:pt idx="41">
                  <c:v>1456.4351</c:v>
                </c:pt>
                <c:pt idx="42">
                  <c:v>1432.8445</c:v>
                </c:pt>
                <c:pt idx="43">
                  <c:v>1407.0109</c:v>
                </c:pt>
                <c:pt idx="44">
                  <c:v>1350.7737</c:v>
                </c:pt>
                <c:pt idx="45">
                  <c:v>1318.7147</c:v>
                </c:pt>
                <c:pt idx="46">
                  <c:v>1263.7961</c:v>
                </c:pt>
                <c:pt idx="47">
                  <c:v>1240.1729</c:v>
                </c:pt>
                <c:pt idx="48">
                  <c:v>1237.7346</c:v>
                </c:pt>
                <c:pt idx="49">
                  <c:v>1251.2066</c:v>
                </c:pt>
                <c:pt idx="50">
                  <c:v>1225.3911</c:v>
                </c:pt>
                <c:pt idx="51">
                  <c:v>1181.4322</c:v>
                </c:pt>
                <c:pt idx="52">
                  <c:v>1478.84838144345</c:v>
                </c:pt>
                <c:pt idx="53">
                  <c:v>1901.092509085404</c:v>
                </c:pt>
                <c:pt idx="54">
                  <c:v>1282.4193932428607</c:v>
                </c:pt>
              </c:numCache>
            </c:numRef>
          </c:xVal>
          <c:yVal>
            <c:numRef>
              <c:f>Sheet1!$B$187:$B$241</c:f>
              <c:numCache>
                <c:formatCode>General</c:formatCode>
                <c:ptCount val="55"/>
                <c:pt idx="0">
                  <c:v>0.2300783968860423</c:v>
                </c:pt>
                <c:pt idx="1">
                  <c:v>0.23140146454835558</c:v>
                </c:pt>
                <c:pt idx="2">
                  <c:v>0.2312056691123563</c:v>
                </c:pt>
                <c:pt idx="3">
                  <c:v>0.22732833225521898</c:v>
                </c:pt>
                <c:pt idx="4">
                  <c:v>0.23085437938488096</c:v>
                </c:pt>
                <c:pt idx="5">
                  <c:v>0.23165225218648763</c:v>
                </c:pt>
                <c:pt idx="6">
                  <c:v>0.2274544026361486</c:v>
                </c:pt>
                <c:pt idx="7">
                  <c:v>0.22742935678615578</c:v>
                </c:pt>
                <c:pt idx="8">
                  <c:v>0.22900433533602718</c:v>
                </c:pt>
                <c:pt idx="9">
                  <c:v>0.22650646371122246</c:v>
                </c:pt>
                <c:pt idx="10">
                  <c:v>0.22839850683977841</c:v>
                </c:pt>
                <c:pt idx="11">
                  <c:v>0.2229792724344707</c:v>
                </c:pt>
                <c:pt idx="12">
                  <c:v>0.2248817121507375</c:v>
                </c:pt>
                <c:pt idx="13">
                  <c:v>0.22696007362478648</c:v>
                </c:pt>
                <c:pt idx="14">
                  <c:v>0.2253498198185214</c:v>
                </c:pt>
                <c:pt idx="15">
                  <c:v>0.2259489715112051</c:v>
                </c:pt>
                <c:pt idx="16">
                  <c:v>0.22801832609218203</c:v>
                </c:pt>
                <c:pt idx="17">
                  <c:v>0.22271061729384067</c:v>
                </c:pt>
                <c:pt idx="18">
                  <c:v>0.2275098963822111</c:v>
                </c:pt>
                <c:pt idx="19">
                  <c:v>0.2325814615802865</c:v>
                </c:pt>
                <c:pt idx="20">
                  <c:v>0.23181819530983383</c:v>
                </c:pt>
                <c:pt idx="21">
                  <c:v>0.22944934586096205</c:v>
                </c:pt>
                <c:pt idx="22">
                  <c:v>0.23171694612901184</c:v>
                </c:pt>
                <c:pt idx="23">
                  <c:v>0.23092844592959272</c:v>
                </c:pt>
                <c:pt idx="24">
                  <c:v>0.23231840178912294</c:v>
                </c:pt>
                <c:pt idx="25">
                  <c:v>0.2320752052273446</c:v>
                </c:pt>
                <c:pt idx="26">
                  <c:v>0.22961104153415304</c:v>
                </c:pt>
                <c:pt idx="27">
                  <c:v>0.23212284667625666</c:v>
                </c:pt>
                <c:pt idx="28">
                  <c:v>0.23572779293537033</c:v>
                </c:pt>
                <c:pt idx="29">
                  <c:v>0.23674860201375908</c:v>
                </c:pt>
                <c:pt idx="30">
                  <c:v>0.23453629696396627</c:v>
                </c:pt>
                <c:pt idx="31">
                  <c:v>0.23328986103458885</c:v>
                </c:pt>
                <c:pt idx="32">
                  <c:v>0.2343664407530847</c:v>
                </c:pt>
                <c:pt idx="33">
                  <c:v>0.23375570130585693</c:v>
                </c:pt>
                <c:pt idx="34">
                  <c:v>0.2352452711040215</c:v>
                </c:pt>
                <c:pt idx="35">
                  <c:v>0.23779252913266063</c:v>
                </c:pt>
                <c:pt idx="36">
                  <c:v>0.2365715570065508</c:v>
                </c:pt>
                <c:pt idx="37">
                  <c:v>0.2334804947476443</c:v>
                </c:pt>
                <c:pt idx="38">
                  <c:v>0.23507265117711024</c:v>
                </c:pt>
                <c:pt idx="39">
                  <c:v>0.2346896753669886</c:v>
                </c:pt>
                <c:pt idx="40">
                  <c:v>0.2355575762397892</c:v>
                </c:pt>
                <c:pt idx="41">
                  <c:v>0.23964036325357385</c:v>
                </c:pt>
                <c:pt idx="42">
                  <c:v>0.2384078921879909</c:v>
                </c:pt>
                <c:pt idx="43">
                  <c:v>0.23705823747298396</c:v>
                </c:pt>
                <c:pt idx="44">
                  <c:v>0.2341201722347365</c:v>
                </c:pt>
                <c:pt idx="45">
                  <c:v>0.23244527673010656</c:v>
                </c:pt>
                <c:pt idx="46">
                  <c:v>0.22957610064037917</c:v>
                </c:pt>
                <c:pt idx="47">
                  <c:v>0.2283419264152014</c:v>
                </c:pt>
                <c:pt idx="48">
                  <c:v>0.22821453948145615</c:v>
                </c:pt>
                <c:pt idx="49">
                  <c:v>0.22891837279623123</c:v>
                </c:pt>
                <c:pt idx="50">
                  <c:v>0.22756966370050852</c:v>
                </c:pt>
                <c:pt idx="51">
                  <c:v>0.22527306792401902</c:v>
                </c:pt>
                <c:pt idx="52">
                  <c:v>0.24081132630088165</c:v>
                </c:pt>
                <c:pt idx="53">
                  <c:v>0.2628711157903823</c:v>
                </c:pt>
                <c:pt idx="54">
                  <c:v>0.23054905894019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81.0"/>
          <c:min val="66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656509695290858"/>
          <c:min val="0.1199200532978014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27194767037217</c:v>
                </c:pt>
                <c:pt idx="1">
                  <c:v>2.3577387443442595</c:v>
                </c:pt>
                <c:pt idx="2">
                  <c:v>2.5366463321604322</c:v>
                </c:pt>
                <c:pt idx="3">
                  <c:v>2.5199022363901467</c:v>
                </c:pt>
                <c:pt idx="4">
                  <c:v>2.5455105017658783</c:v>
                </c:pt>
                <c:pt idx="5">
                  <c:v>2.136711108943075</c:v>
                </c:pt>
                <c:pt idx="6">
                  <c:v>1.8911981778717026</c:v>
                </c:pt>
                <c:pt idx="7">
                  <c:v>1.8995421243074653</c:v>
                </c:pt>
                <c:pt idx="8">
                  <c:v>1.9098589568391566</c:v>
                </c:pt>
                <c:pt idx="9">
                  <c:v>1.8856874638502106</c:v>
                </c:pt>
                <c:pt idx="10">
                  <c:v>1.9619547582354602</c:v>
                </c:pt>
                <c:pt idx="11">
                  <c:v>2.0251969445670737</c:v>
                </c:pt>
                <c:pt idx="12">
                  <c:v>2.0103307657453553</c:v>
                </c:pt>
                <c:pt idx="13">
                  <c:v>1.997530057597698</c:v>
                </c:pt>
                <c:pt idx="14">
                  <c:v>2.0313325531433124</c:v>
                </c:pt>
                <c:pt idx="15">
                  <c:v>1.9600677105882585</c:v>
                </c:pt>
                <c:pt idx="16">
                  <c:v>1.9344053366135574</c:v>
                </c:pt>
                <c:pt idx="17">
                  <c:v>2.2697685491080106</c:v>
                </c:pt>
                <c:pt idx="18">
                  <c:v>2.2869740040640547</c:v>
                </c:pt>
                <c:pt idx="19">
                  <c:v>2.5007038941559805</c:v>
                </c:pt>
                <c:pt idx="20">
                  <c:v>2.465431666597292</c:v>
                </c:pt>
                <c:pt idx="21">
                  <c:v>2.643515182205948</c:v>
                </c:pt>
                <c:pt idx="22">
                  <c:v>2.6251246008905187</c:v>
                </c:pt>
                <c:pt idx="23">
                  <c:v>2.5940528804247833</c:v>
                </c:pt>
                <c:pt idx="24">
                  <c:v>2.628248573531105</c:v>
                </c:pt>
                <c:pt idx="25">
                  <c:v>2.7222599806414127</c:v>
                </c:pt>
                <c:pt idx="26">
                  <c:v>2.3725930304212732</c:v>
                </c:pt>
                <c:pt idx="27">
                  <c:v>2.4283913724690795</c:v>
                </c:pt>
                <c:pt idx="28">
                  <c:v>2.3386207869175935</c:v>
                </c:pt>
                <c:pt idx="29">
                  <c:v>2.0876937130853483</c:v>
                </c:pt>
                <c:pt idx="30">
                  <c:v>2.087965198768361</c:v>
                </c:pt>
                <c:pt idx="31">
                  <c:v>2.095694782698902</c:v>
                </c:pt>
                <c:pt idx="32">
                  <c:v>1.8591175513612612</c:v>
                </c:pt>
                <c:pt idx="33">
                  <c:v>1.5381120683265905</c:v>
                </c:pt>
                <c:pt idx="34">
                  <c:v>2.1429753691383087</c:v>
                </c:pt>
                <c:pt idx="35">
                  <c:v>2.2925247275781837</c:v>
                </c:pt>
                <c:pt idx="36">
                  <c:v>2.507805784993258</c:v>
                </c:pt>
                <c:pt idx="37">
                  <c:v>2.594108272635205</c:v>
                </c:pt>
                <c:pt idx="38">
                  <c:v>2.5797111138478863</c:v>
                </c:pt>
                <c:pt idx="39">
                  <c:v>2.5974136196200925</c:v>
                </c:pt>
                <c:pt idx="40">
                  <c:v>2.585955646381018</c:v>
                </c:pt>
                <c:pt idx="41">
                  <c:v>2.590914019299577</c:v>
                </c:pt>
                <c:pt idx="42">
                  <c:v>2.7302410558687753</c:v>
                </c:pt>
                <c:pt idx="43">
                  <c:v>2.8367788482521274</c:v>
                </c:pt>
                <c:pt idx="44">
                  <c:v>2.603410940270592</c:v>
                </c:pt>
                <c:pt idx="45">
                  <c:v>2.3385802954835366</c:v>
                </c:pt>
                <c:pt idx="46">
                  <c:v>2.2796608724805516</c:v>
                </c:pt>
                <c:pt idx="47">
                  <c:v>2.20321978021978</c:v>
                </c:pt>
                <c:pt idx="48">
                  <c:v>2.187550154225837</c:v>
                </c:pt>
                <c:pt idx="49">
                  <c:v>2.138840718558965</c:v>
                </c:pt>
                <c:pt idx="50">
                  <c:v>2.208867329562986</c:v>
                </c:pt>
                <c:pt idx="51">
                  <c:v>2.302099314220709</c:v>
                </c:pt>
                <c:pt idx="52">
                  <c:v>2.3352922443038544</c:v>
                </c:pt>
                <c:pt idx="53">
                  <c:v>2.5284817962551034</c:v>
                </c:pt>
                <c:pt idx="54">
                  <c:v>2.657676220379372</c:v>
                </c:pt>
                <c:pt idx="55">
                  <c:v>2.6805185190681953</c:v>
                </c:pt>
                <c:pt idx="56">
                  <c:v>2.623730042692057</c:v>
                </c:pt>
                <c:pt idx="57">
                  <c:v>2.7339377370046747</c:v>
                </c:pt>
                <c:pt idx="58">
                  <c:v>2.5098799907198446</c:v>
                </c:pt>
                <c:pt idx="59">
                  <c:v>2.6037086830476426</c:v>
                </c:pt>
                <c:pt idx="60">
                  <c:v>2.6338031717599177</c:v>
                </c:pt>
                <c:pt idx="61">
                  <c:v>2.303598941645602</c:v>
                </c:pt>
                <c:pt idx="62">
                  <c:v>2.3818723085759133</c:v>
                </c:pt>
                <c:pt idx="63">
                  <c:v>2.654143912649515</c:v>
                </c:pt>
                <c:pt idx="64">
                  <c:v>2.5092558332944375</c:v>
                </c:pt>
                <c:pt idx="65">
                  <c:v>2.4596748167775373</c:v>
                </c:pt>
                <c:pt idx="66">
                  <c:v>2.4111116918059325</c:v>
                </c:pt>
                <c:pt idx="67">
                  <c:v>2.3773015788873955</c:v>
                </c:pt>
                <c:pt idx="68">
                  <c:v>2.3805784943042205</c:v>
                </c:pt>
                <c:pt idx="69">
                  <c:v>2.53933851930291</c:v>
                </c:pt>
                <c:pt idx="70">
                  <c:v>2.4552457461683064</c:v>
                </c:pt>
                <c:pt idx="71">
                  <c:v>2.5642619747954507</c:v>
                </c:pt>
                <c:pt idx="72">
                  <c:v>2.6970818234157496</c:v>
                </c:pt>
                <c:pt idx="73">
                  <c:v>2.6582744922474184</c:v>
                </c:pt>
                <c:pt idx="74">
                  <c:v>2.1959360258734666</c:v>
                </c:pt>
                <c:pt idx="75">
                  <c:v>2.593317099595782</c:v>
                </c:pt>
                <c:pt idx="76">
                  <c:v>2.4585711318067496</c:v>
                </c:pt>
                <c:pt idx="77">
                  <c:v>2.68958557145761</c:v>
                </c:pt>
                <c:pt idx="78">
                  <c:v>2.759304612200013</c:v>
                </c:pt>
                <c:pt idx="79">
                  <c:v>2.215855599054491</c:v>
                </c:pt>
                <c:pt idx="80">
                  <c:v>1.842741284785933</c:v>
                </c:pt>
                <c:pt idx="81">
                  <c:v>2.4478764227890015</c:v>
                </c:pt>
                <c:pt idx="82">
                  <c:v>2.304161819255249</c:v>
                </c:pt>
                <c:pt idx="83">
                  <c:v>2.0254989121973863</c:v>
                </c:pt>
                <c:pt idx="84">
                  <c:v>2.628659198147787</c:v>
                </c:pt>
                <c:pt idx="85">
                  <c:v>2.745215293138111</c:v>
                </c:pt>
                <c:pt idx="86">
                  <c:v>2.688130224400124</c:v>
                </c:pt>
                <c:pt idx="87">
                  <c:v>2.7717204217995386</c:v>
                </c:pt>
                <c:pt idx="88">
                  <c:v>2.713700928284472</c:v>
                </c:pt>
                <c:pt idx="89">
                  <c:v>2.688760514600029</c:v>
                </c:pt>
                <c:pt idx="90">
                  <c:v>2.660192199286307</c:v>
                </c:pt>
                <c:pt idx="91">
                  <c:v>2.4966834942371956</c:v>
                </c:pt>
                <c:pt idx="92">
                  <c:v>2.388474994607829</c:v>
                </c:pt>
                <c:pt idx="93">
                  <c:v>2.505968268353281</c:v>
                </c:pt>
                <c:pt idx="94">
                  <c:v>2.2922646135559055</c:v>
                </c:pt>
                <c:pt idx="95">
                  <c:v>2.1754070425120795</c:v>
                </c:pt>
                <c:pt idx="96">
                  <c:v>2.3453158966437426</c:v>
                </c:pt>
                <c:pt idx="97">
                  <c:v>2.141413862803294</c:v>
                </c:pt>
                <c:pt idx="98">
                  <c:v>2.404188163350687</c:v>
                </c:pt>
                <c:pt idx="99">
                  <c:v>2.7943281521733034</c:v>
                </c:pt>
                <c:pt idx="100">
                  <c:v>2.4330917599299964</c:v>
                </c:pt>
                <c:pt idx="101">
                  <c:v>2.07055205303431</c:v>
                </c:pt>
                <c:pt idx="102">
                  <c:v>2.1183652714129084</c:v>
                </c:pt>
                <c:pt idx="103">
                  <c:v>1.4912632516067108</c:v>
                </c:pt>
                <c:pt idx="104">
                  <c:v>1.677763919177657</c:v>
                </c:pt>
              </c:numCache>
            </c:numRef>
          </c:xVal>
          <c:yVal>
            <c:numRef>
              <c:f>Sheet1!$B$2:$B$106</c:f>
              <c:numCache>
                <c:formatCode>General</c:formatCode>
                <c:ptCount val="105"/>
                <c:pt idx="0">
                  <c:v>0.19555555555555557</c:v>
                </c:pt>
                <c:pt idx="1">
                  <c:v>0.19047619047619047</c:v>
                </c:pt>
                <c:pt idx="2">
                  <c:v>0.1909840038778478</c:v>
                </c:pt>
                <c:pt idx="3">
                  <c:v>0.1893048128342246</c:v>
                </c:pt>
                <c:pt idx="4">
                  <c:v>0.19047619047619047</c:v>
                </c:pt>
                <c:pt idx="5">
                  <c:v>0.190625</c:v>
                </c:pt>
                <c:pt idx="6">
                  <c:v>0.22137791286727457</c:v>
                </c:pt>
                <c:pt idx="7">
                  <c:v>0.22321428571428573</c:v>
                </c:pt>
                <c:pt idx="8">
                  <c:v>0.24014665444546288</c:v>
                </c:pt>
                <c:pt idx="9">
                  <c:v>0.23332144131287905</c:v>
                </c:pt>
                <c:pt idx="10">
                  <c:v>0.23737373737373738</c:v>
                </c:pt>
                <c:pt idx="11">
                  <c:v>0.2167563412759416</c:v>
                </c:pt>
                <c:pt idx="12">
                  <c:v>0.211443728685108</c:v>
                </c:pt>
                <c:pt idx="13">
                  <c:v>0.19586374695863748</c:v>
                </c:pt>
                <c:pt idx="14">
                  <c:v>0.18779143704959728</c:v>
                </c:pt>
                <c:pt idx="15">
                  <c:v>0.1993006993006993</c:v>
                </c:pt>
                <c:pt idx="16">
                  <c:v>0.1872391174716756</c:v>
                </c:pt>
                <c:pt idx="17">
                  <c:v>0.1701720841300191</c:v>
                </c:pt>
                <c:pt idx="18">
                  <c:v>0.1925545571245186</c:v>
                </c:pt>
                <c:pt idx="19">
                  <c:v>0.14938488576449913</c:v>
                </c:pt>
                <c:pt idx="20">
                  <c:v>0.15056628914057296</c:v>
                </c:pt>
                <c:pt idx="21">
                  <c:v>0.16019818331957061</c:v>
                </c:pt>
                <c:pt idx="22">
                  <c:v>0.15785319652722968</c:v>
                </c:pt>
                <c:pt idx="23">
                  <c:v>0.14425645592163847</c:v>
                </c:pt>
                <c:pt idx="24">
                  <c:v>0.16407766990291262</c:v>
                </c:pt>
                <c:pt idx="25">
                  <c:v>0.16290983606557377</c:v>
                </c:pt>
                <c:pt idx="26">
                  <c:v>0.14988814317673377</c:v>
                </c:pt>
                <c:pt idx="27">
                  <c:v>0.14108352144469527</c:v>
                </c:pt>
                <c:pt idx="28">
                  <c:v>0.1656288916562889</c:v>
                </c:pt>
                <c:pt idx="29">
                  <c:v>0.1541095890410959</c:v>
                </c:pt>
                <c:pt idx="30">
                  <c:v>0.14834437086092717</c:v>
                </c:pt>
                <c:pt idx="31">
                  <c:v>0.12742382271468145</c:v>
                </c:pt>
                <c:pt idx="32">
                  <c:v>0.1440443213296399</c:v>
                </c:pt>
                <c:pt idx="33">
                  <c:v>0.1910902696365768</c:v>
                </c:pt>
                <c:pt idx="34">
                  <c:v>0.1665024630541872</c:v>
                </c:pt>
                <c:pt idx="35">
                  <c:v>0.17753001715265868</c:v>
                </c:pt>
                <c:pt idx="36">
                  <c:v>0.12932790224032586</c:v>
                </c:pt>
                <c:pt idx="37">
                  <c:v>0.12200208550573514</c:v>
                </c:pt>
                <c:pt idx="38">
                  <c:v>0.09774436090225563</c:v>
                </c:pt>
                <c:pt idx="39">
                  <c:v>0.09324324324324325</c:v>
                </c:pt>
                <c:pt idx="40">
                  <c:v>0.10380267214799589</c:v>
                </c:pt>
                <c:pt idx="41">
                  <c:v>0.09908069458631256</c:v>
                </c:pt>
                <c:pt idx="42">
                  <c:v>0.10590631364562118</c:v>
                </c:pt>
                <c:pt idx="43">
                  <c:v>0.10625</c:v>
                </c:pt>
                <c:pt idx="44">
                  <c:v>0.14261884904086738</c:v>
                </c:pt>
                <c:pt idx="45">
                  <c:v>0.15592286501377411</c:v>
                </c:pt>
                <c:pt idx="46">
                  <c:v>0.16841695838195256</c:v>
                </c:pt>
                <c:pt idx="47">
                  <c:v>0.15575807787903895</c:v>
                </c:pt>
                <c:pt idx="48">
                  <c:v>0.18781887755102042</c:v>
                </c:pt>
                <c:pt idx="49">
                  <c:v>0.210318820706205</c:v>
                </c:pt>
                <c:pt idx="50">
                  <c:v>0.1605623381428043</c:v>
                </c:pt>
                <c:pt idx="51">
                  <c:v>0.15151515151515152</c:v>
                </c:pt>
                <c:pt idx="52">
                  <c:v>0.1601090767432801</c:v>
                </c:pt>
                <c:pt idx="53">
                  <c:v>0.14040728831725616</c:v>
                </c:pt>
                <c:pt idx="54">
                  <c:v>0.14408141403320834</c:v>
                </c:pt>
                <c:pt idx="55">
                  <c:v>0.14241001564945227</c:v>
                </c:pt>
                <c:pt idx="56">
                  <c:v>0.1499482936918304</c:v>
                </c:pt>
                <c:pt idx="57">
                  <c:v>0.1388753056234719</c:v>
                </c:pt>
                <c:pt idx="58">
                  <c:v>0.1595</c:v>
                </c:pt>
                <c:pt idx="59">
                  <c:v>0.15569823434991975</c:v>
                </c:pt>
                <c:pt idx="60">
                  <c:v>0.1752120988565105</c:v>
                </c:pt>
                <c:pt idx="61">
                  <c:v>0.203757225433526</c:v>
                </c:pt>
                <c:pt idx="62">
                  <c:v>0.20456942003514939</c:v>
                </c:pt>
                <c:pt idx="63">
                  <c:v>0.21350832266325223</c:v>
                </c:pt>
                <c:pt idx="64">
                  <c:v>0.2036979969183359</c:v>
                </c:pt>
                <c:pt idx="65">
                  <c:v>0.187683284457478</c:v>
                </c:pt>
                <c:pt idx="66">
                  <c:v>0.18203151190077105</c:v>
                </c:pt>
                <c:pt idx="67">
                  <c:v>0.1793388429752066</c:v>
                </c:pt>
                <c:pt idx="68">
                  <c:v>0.13468538741549663</c:v>
                </c:pt>
                <c:pt idx="69">
                  <c:v>0.11972207375734902</c:v>
                </c:pt>
                <c:pt idx="70">
                  <c:v>0.11903425042111174</c:v>
                </c:pt>
                <c:pt idx="71">
                  <c:v>0.13985064494229463</c:v>
                </c:pt>
                <c:pt idx="72">
                  <c:v>0.13252240717029448</c:v>
                </c:pt>
                <c:pt idx="73">
                  <c:v>0.12830482115085537</c:v>
                </c:pt>
                <c:pt idx="74">
                  <c:v>0.15477084898572502</c:v>
                </c:pt>
                <c:pt idx="75">
                  <c:v>0.1268209083119109</c:v>
                </c:pt>
                <c:pt idx="76">
                  <c:v>0.12701100762066045</c:v>
                </c:pt>
                <c:pt idx="77">
                  <c:v>0.11213991769547325</c:v>
                </c:pt>
                <c:pt idx="78">
                  <c:v>0.11063829787234042</c:v>
                </c:pt>
                <c:pt idx="79">
                  <c:v>0.12787488500459981</c:v>
                </c:pt>
                <c:pt idx="80">
                  <c:v>0.13697318007662834</c:v>
                </c:pt>
                <c:pt idx="81">
                  <c:v>0.1337737407101569</c:v>
                </c:pt>
                <c:pt idx="82">
                  <c:v>0.13708820403825717</c:v>
                </c:pt>
                <c:pt idx="83">
                  <c:v>0.11524163568773234</c:v>
                </c:pt>
                <c:pt idx="84">
                  <c:v>0.09696969696969697</c:v>
                </c:pt>
                <c:pt idx="85">
                  <c:v>0.10244988864142539</c:v>
                </c:pt>
                <c:pt idx="86">
                  <c:v>0.12381852551984877</c:v>
                </c:pt>
                <c:pt idx="87">
                  <c:v>0.11843202668890743</c:v>
                </c:pt>
                <c:pt idx="88">
                  <c:v>0.1038961038961039</c:v>
                </c:pt>
                <c:pt idx="89">
                  <c:v>0.0979381443298969</c:v>
                </c:pt>
                <c:pt idx="90">
                  <c:v>0.10282776349614396</c:v>
                </c:pt>
                <c:pt idx="91">
                  <c:v>0.1049136786188579</c:v>
                </c:pt>
                <c:pt idx="92">
                  <c:v>0.11363636363636363</c:v>
                </c:pt>
                <c:pt idx="93">
                  <c:v>0.09621993127147767</c:v>
                </c:pt>
                <c:pt idx="94">
                  <c:v>0.10555555555555556</c:v>
                </c:pt>
                <c:pt idx="95">
                  <c:v>0.1287820015515904</c:v>
                </c:pt>
                <c:pt idx="96">
                  <c:v>0.11725067385444744</c:v>
                </c:pt>
                <c:pt idx="97">
                  <c:v>0.1280193236714976</c:v>
                </c:pt>
                <c:pt idx="98">
                  <c:v>0.13851351351351351</c:v>
                </c:pt>
                <c:pt idx="99">
                  <c:v>0.14471433458775232</c:v>
                </c:pt>
                <c:pt idx="100">
                  <c:v>0.1612497378905431</c:v>
                </c:pt>
                <c:pt idx="101">
                  <c:v>0.14667855550601872</c:v>
                </c:pt>
                <c:pt idx="102">
                  <c:v>0.11319712865819989</c:v>
                </c:pt>
                <c:pt idx="103">
                  <c:v>0.15762867647058823</c:v>
                </c:pt>
                <c:pt idx="104">
                  <c:v>0.154871794871794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583294414506691</c:v>
                </c:pt>
                <c:pt idx="1">
                  <c:v>1.912510166358595</c:v>
                </c:pt>
                <c:pt idx="2">
                  <c:v>1.6801473563540708</c:v>
                </c:pt>
                <c:pt idx="3">
                  <c:v>1.8189783202203225</c:v>
                </c:pt>
                <c:pt idx="4">
                  <c:v>1.7550148892958675</c:v>
                </c:pt>
                <c:pt idx="5">
                  <c:v>1.8374197028356887</c:v>
                </c:pt>
                <c:pt idx="6">
                  <c:v>1.9254868959411275</c:v>
                </c:pt>
                <c:pt idx="7">
                  <c:v>1.837570408079603</c:v>
                </c:pt>
                <c:pt idx="8">
                  <c:v>1.9866868300655305</c:v>
                </c:pt>
                <c:pt idx="9">
                  <c:v>1.9747356809359802</c:v>
                </c:pt>
                <c:pt idx="10">
                  <c:v>1.9138937649201233</c:v>
                </c:pt>
                <c:pt idx="11">
                  <c:v>2.0305147328121156</c:v>
                </c:pt>
                <c:pt idx="12">
                  <c:v>1.9557079663321195</c:v>
                </c:pt>
                <c:pt idx="13">
                  <c:v>1.8323177969688147</c:v>
                </c:pt>
                <c:pt idx="14">
                  <c:v>1.850485989179632</c:v>
                </c:pt>
                <c:pt idx="15">
                  <c:v>1.872784330073941</c:v>
                </c:pt>
                <c:pt idx="16">
                  <c:v>1.8586780449259037</c:v>
                </c:pt>
                <c:pt idx="17">
                  <c:v>1.921339783077902</c:v>
                </c:pt>
                <c:pt idx="18">
                  <c:v>1.9378395906279697</c:v>
                </c:pt>
                <c:pt idx="19">
                  <c:v>2.220677710107565</c:v>
                </c:pt>
                <c:pt idx="20">
                  <c:v>2.1072481873646876</c:v>
                </c:pt>
                <c:pt idx="21">
                  <c:v>2.085799425287356</c:v>
                </c:pt>
                <c:pt idx="22">
                  <c:v>2.089789891639473</c:v>
                </c:pt>
                <c:pt idx="23">
                  <c:v>2.065273420287521</c:v>
                </c:pt>
                <c:pt idx="24">
                  <c:v>1.9129519307798826</c:v>
                </c:pt>
                <c:pt idx="25">
                  <c:v>1.815291854364227</c:v>
                </c:pt>
                <c:pt idx="26">
                  <c:v>2.083559436948251</c:v>
                </c:pt>
                <c:pt idx="27">
                  <c:v>2.073767763348255</c:v>
                </c:pt>
                <c:pt idx="28">
                  <c:v>2.1095868426174946</c:v>
                </c:pt>
                <c:pt idx="29">
                  <c:v>2.260894647074435</c:v>
                </c:pt>
                <c:pt idx="30">
                  <c:v>2.2086340827068356</c:v>
                </c:pt>
                <c:pt idx="31">
                  <c:v>1.8095786021242217</c:v>
                </c:pt>
                <c:pt idx="32">
                  <c:v>1.647033806740237</c:v>
                </c:pt>
                <c:pt idx="33">
                  <c:v>1.8663247204699411</c:v>
                </c:pt>
                <c:pt idx="34">
                  <c:v>2.0990419148744714</c:v>
                </c:pt>
                <c:pt idx="35">
                  <c:v>1.9003308133325432</c:v>
                </c:pt>
                <c:pt idx="36">
                  <c:v>1.8631172324157899</c:v>
                </c:pt>
                <c:pt idx="37">
                  <c:v>1.8462974231160962</c:v>
                </c:pt>
                <c:pt idx="38">
                  <c:v>1.9085333407911724</c:v>
                </c:pt>
                <c:pt idx="39">
                  <c:v>1.8270606188062466</c:v>
                </c:pt>
                <c:pt idx="40">
                  <c:v>1.7995436364679154</c:v>
                </c:pt>
                <c:pt idx="41">
                  <c:v>1.9076367340673088</c:v>
                </c:pt>
                <c:pt idx="42">
                  <c:v>2.1577211265154337</c:v>
                </c:pt>
                <c:pt idx="43">
                  <c:v>1.937558564009796</c:v>
                </c:pt>
                <c:pt idx="44">
                  <c:v>1.8153473294762472</c:v>
                </c:pt>
                <c:pt idx="45">
                  <c:v>2.018051155125818</c:v>
                </c:pt>
                <c:pt idx="46">
                  <c:v>1.9212335763445254</c:v>
                </c:pt>
                <c:pt idx="47">
                  <c:v>2.025842958849516</c:v>
                </c:pt>
                <c:pt idx="48">
                  <c:v>2.0687467143778364</c:v>
                </c:pt>
                <c:pt idx="49">
                  <c:v>2.0685817269414537</c:v>
                </c:pt>
                <c:pt idx="50">
                  <c:v>1.8249449858683782</c:v>
                </c:pt>
                <c:pt idx="51">
                  <c:v>1.8227971885369851</c:v>
                </c:pt>
              </c:numCache>
            </c:numRef>
          </c:xVal>
          <c:yVal>
            <c:numRef>
              <c:f>Sheet1!$B$109:$B$160</c:f>
              <c:numCache>
                <c:formatCode>General</c:formatCode>
                <c:ptCount val="52"/>
                <c:pt idx="0">
                  <c:v>0.12141057934508816</c:v>
                </c:pt>
                <c:pt idx="1">
                  <c:v>0.14547604967474867</c:v>
                </c:pt>
                <c:pt idx="2">
                  <c:v>0.15619047619047619</c:v>
                </c:pt>
                <c:pt idx="3">
                  <c:v>0.17635564240351734</c:v>
                </c:pt>
                <c:pt idx="4">
                  <c:v>0.17424242424242425</c:v>
                </c:pt>
                <c:pt idx="5">
                  <c:v>0.15167785234899328</c:v>
                </c:pt>
                <c:pt idx="6">
                  <c:v>0.1491471638238794</c:v>
                </c:pt>
                <c:pt idx="7">
                  <c:v>0.15027110766847404</c:v>
                </c:pt>
                <c:pt idx="8">
                  <c:v>0.1669793621013133</c:v>
                </c:pt>
                <c:pt idx="9">
                  <c:v>0.17220052083333334</c:v>
                </c:pt>
                <c:pt idx="10">
                  <c:v>0.17857142857142858</c:v>
                </c:pt>
                <c:pt idx="11">
                  <c:v>0.18160719466202496</c:v>
                </c:pt>
                <c:pt idx="12">
                  <c:v>0.18838750394446196</c:v>
                </c:pt>
                <c:pt idx="13">
                  <c:v>0.18254545454545454</c:v>
                </c:pt>
                <c:pt idx="14">
                  <c:v>0.17781402936378465</c:v>
                </c:pt>
                <c:pt idx="15">
                  <c:v>0.1702029520295203</c:v>
                </c:pt>
                <c:pt idx="16">
                  <c:v>0.155858310626703</c:v>
                </c:pt>
                <c:pt idx="17">
                  <c:v>0.12983091787439613</c:v>
                </c:pt>
                <c:pt idx="18">
                  <c:v>0.1330049261083744</c:v>
                </c:pt>
                <c:pt idx="19">
                  <c:v>0.1257716049382716</c:v>
                </c:pt>
                <c:pt idx="20">
                  <c:v>0.1278493557978196</c:v>
                </c:pt>
                <c:pt idx="21">
                  <c:v>0.12350230414746544</c:v>
                </c:pt>
                <c:pt idx="22">
                  <c:v>0.1284722222222222</c:v>
                </c:pt>
                <c:pt idx="23">
                  <c:v>0.14235190097259062</c:v>
                </c:pt>
                <c:pt idx="24">
                  <c:v>0.12042818911685994</c:v>
                </c:pt>
                <c:pt idx="25">
                  <c:v>0.13327289211242066</c:v>
                </c:pt>
                <c:pt idx="26">
                  <c:v>0.11003861003861004</c:v>
                </c:pt>
                <c:pt idx="27">
                  <c:v>0.09775280898876404</c:v>
                </c:pt>
                <c:pt idx="28">
                  <c:v>0.10915104740904079</c:v>
                </c:pt>
                <c:pt idx="29">
                  <c:v>0.12903225806451613</c:v>
                </c:pt>
                <c:pt idx="30">
                  <c:v>0.1251548946716233</c:v>
                </c:pt>
                <c:pt idx="31">
                  <c:v>0.1154970760233918</c:v>
                </c:pt>
                <c:pt idx="32">
                  <c:v>0.11288180610889774</c:v>
                </c:pt>
                <c:pt idx="33">
                  <c:v>0.13679245283018868</c:v>
                </c:pt>
                <c:pt idx="34">
                  <c:v>0.16833333333333333</c:v>
                </c:pt>
                <c:pt idx="35">
                  <c:v>0.17432052483598875</c:v>
                </c:pt>
                <c:pt idx="36">
                  <c:v>0.1272264631043257</c:v>
                </c:pt>
                <c:pt idx="37">
                  <c:v>0.11140939597315436</c:v>
                </c:pt>
                <c:pt idx="38">
                  <c:v>0.09881422924901186</c:v>
                </c:pt>
                <c:pt idx="39">
                  <c:v>0.11600928074245939</c:v>
                </c:pt>
                <c:pt idx="40">
                  <c:v>0.1211519364448858</c:v>
                </c:pt>
                <c:pt idx="41">
                  <c:v>0.12130479102956167</c:v>
                </c:pt>
                <c:pt idx="42">
                  <c:v>0.11807447774750227</c:v>
                </c:pt>
                <c:pt idx="43">
                  <c:v>0.10595514307811292</c:v>
                </c:pt>
                <c:pt idx="44">
                  <c:v>0.10871302957633892</c:v>
                </c:pt>
                <c:pt idx="45">
                  <c:v>0.10980392156862745</c:v>
                </c:pt>
                <c:pt idx="46">
                  <c:v>0.11024930747922437</c:v>
                </c:pt>
                <c:pt idx="47">
                  <c:v>0.11247443762781185</c:v>
                </c:pt>
                <c:pt idx="48">
                  <c:v>0.10390895596239486</c:v>
                </c:pt>
                <c:pt idx="49">
                  <c:v>0.11838962811327192</c:v>
                </c:pt>
                <c:pt idx="50">
                  <c:v>0.16117073170731708</c:v>
                </c:pt>
                <c:pt idx="51">
                  <c:v>0.14058234758871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14077854865942</c:v>
                </c:pt>
              </c:numCache>
            </c:numRef>
          </c:xVal>
          <c:yVal>
            <c:numRef>
              <c:f>Sheet1!$B$163:$B$164</c:f>
              <c:numCache>
                <c:formatCode>General</c:formatCode>
                <c:ptCount val="2"/>
                <c:pt idx="0">
                  <c:v>0.20357340069411467</c:v>
                </c:pt>
                <c:pt idx="1">
                  <c:v>0.203573400694114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14077854865942</c:v>
                </c:pt>
                <c:pt idx="1">
                  <c:v>0.514077854865942</c:v>
                </c:pt>
              </c:numCache>
            </c:numRef>
          </c:xVal>
          <c:yVal>
            <c:numRef>
              <c:f>Sheet1!$B$167:$B$168</c:f>
              <c:numCache>
                <c:formatCode>General</c:formatCode>
                <c:ptCount val="2"/>
                <c:pt idx="0">
                  <c:v>0.203573400694114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045188506147285</c:v>
                </c:pt>
              </c:numCache>
            </c:numRef>
          </c:xVal>
          <c:yVal>
            <c:numRef>
              <c:f>Sheet1!$B$171:$B$172</c:f>
              <c:numCache>
                <c:formatCode>General</c:formatCode>
                <c:ptCount val="2"/>
                <c:pt idx="0">
                  <c:v>0.15747280795715682</c:v>
                </c:pt>
                <c:pt idx="1">
                  <c:v>0.157472807957156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045188506147285</c:v>
                </c:pt>
                <c:pt idx="1">
                  <c:v>1.5045188506147285</c:v>
                </c:pt>
              </c:numCache>
            </c:numRef>
          </c:xVal>
          <c:yVal>
            <c:numRef>
              <c:f>Sheet1!$B$175:$B$176</c:f>
              <c:numCache>
                <c:formatCode>General</c:formatCode>
                <c:ptCount val="2"/>
                <c:pt idx="0">
                  <c:v>0.157472807957156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3297796306878924</c:v>
                </c:pt>
              </c:numCache>
            </c:numRef>
          </c:xVal>
          <c:yVal>
            <c:numRef>
              <c:f>Sheet1!$B$179:$B$180</c:f>
              <c:numCache>
                <c:formatCode>General</c:formatCode>
                <c:ptCount val="2"/>
                <c:pt idx="0">
                  <c:v>0.11906061451278657</c:v>
                </c:pt>
                <c:pt idx="1">
                  <c:v>0.119060614512786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3297796306878924</c:v>
                </c:pt>
                <c:pt idx="1">
                  <c:v>2.3297796306878924</c:v>
                </c:pt>
              </c:numCache>
            </c:numRef>
          </c:xVal>
          <c:yVal>
            <c:numRef>
              <c:f>Sheet1!$B$183:$B$184</c:f>
              <c:numCache>
                <c:formatCode>General</c:formatCode>
                <c:ptCount val="2"/>
                <c:pt idx="0">
                  <c:v>0.119060614512786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583294414506691</c:v>
                </c:pt>
                <c:pt idx="1">
                  <c:v>1.912510166358595</c:v>
                </c:pt>
                <c:pt idx="2">
                  <c:v>1.6801473563540708</c:v>
                </c:pt>
                <c:pt idx="3">
                  <c:v>1.8189783202203225</c:v>
                </c:pt>
                <c:pt idx="4">
                  <c:v>1.7550148892958675</c:v>
                </c:pt>
                <c:pt idx="5">
                  <c:v>1.8374197028356887</c:v>
                </c:pt>
                <c:pt idx="6">
                  <c:v>1.9254868959411275</c:v>
                </c:pt>
                <c:pt idx="7">
                  <c:v>1.837570408079603</c:v>
                </c:pt>
                <c:pt idx="8">
                  <c:v>1.9866868300655305</c:v>
                </c:pt>
                <c:pt idx="9">
                  <c:v>1.9747356809359802</c:v>
                </c:pt>
                <c:pt idx="10">
                  <c:v>1.9138937649201233</c:v>
                </c:pt>
                <c:pt idx="11">
                  <c:v>2.0305147328121156</c:v>
                </c:pt>
                <c:pt idx="12">
                  <c:v>1.9557079663321195</c:v>
                </c:pt>
                <c:pt idx="13">
                  <c:v>1.8323177969688147</c:v>
                </c:pt>
                <c:pt idx="14">
                  <c:v>1.850485989179632</c:v>
                </c:pt>
                <c:pt idx="15">
                  <c:v>1.872784330073941</c:v>
                </c:pt>
                <c:pt idx="16">
                  <c:v>1.8586780449259037</c:v>
                </c:pt>
                <c:pt idx="17">
                  <c:v>1.921339783077902</c:v>
                </c:pt>
                <c:pt idx="18">
                  <c:v>1.9378395906279697</c:v>
                </c:pt>
                <c:pt idx="19">
                  <c:v>2.220677710107565</c:v>
                </c:pt>
                <c:pt idx="20">
                  <c:v>2.1072481873646876</c:v>
                </c:pt>
                <c:pt idx="21">
                  <c:v>2.085799425287356</c:v>
                </c:pt>
                <c:pt idx="22">
                  <c:v>2.089789891639473</c:v>
                </c:pt>
                <c:pt idx="23">
                  <c:v>2.065273420287521</c:v>
                </c:pt>
                <c:pt idx="24">
                  <c:v>1.9129519307798826</c:v>
                </c:pt>
                <c:pt idx="25">
                  <c:v>1.815291854364227</c:v>
                </c:pt>
                <c:pt idx="26">
                  <c:v>2.083559436948251</c:v>
                </c:pt>
                <c:pt idx="27">
                  <c:v>2.073767763348255</c:v>
                </c:pt>
                <c:pt idx="28">
                  <c:v>2.1095868426174946</c:v>
                </c:pt>
                <c:pt idx="29">
                  <c:v>2.260894647074435</c:v>
                </c:pt>
                <c:pt idx="30">
                  <c:v>2.2086340827068356</c:v>
                </c:pt>
                <c:pt idx="31">
                  <c:v>1.8095786021242217</c:v>
                </c:pt>
                <c:pt idx="32">
                  <c:v>1.647033806740237</c:v>
                </c:pt>
                <c:pt idx="33">
                  <c:v>1.8663247204699411</c:v>
                </c:pt>
                <c:pt idx="34">
                  <c:v>2.0990419148744714</c:v>
                </c:pt>
                <c:pt idx="35">
                  <c:v>1.9003308133325432</c:v>
                </c:pt>
                <c:pt idx="36">
                  <c:v>1.8631172324157899</c:v>
                </c:pt>
                <c:pt idx="37">
                  <c:v>1.8462974231160962</c:v>
                </c:pt>
                <c:pt idx="38">
                  <c:v>1.9085333407911724</c:v>
                </c:pt>
                <c:pt idx="39">
                  <c:v>1.8270606188062466</c:v>
                </c:pt>
                <c:pt idx="40">
                  <c:v>1.7995436364679154</c:v>
                </c:pt>
                <c:pt idx="41">
                  <c:v>1.9076367340673088</c:v>
                </c:pt>
                <c:pt idx="42">
                  <c:v>2.1577211265154337</c:v>
                </c:pt>
                <c:pt idx="43">
                  <c:v>1.937558564009796</c:v>
                </c:pt>
                <c:pt idx="44">
                  <c:v>1.8153473294762472</c:v>
                </c:pt>
                <c:pt idx="45">
                  <c:v>2.018051155125818</c:v>
                </c:pt>
                <c:pt idx="46">
                  <c:v>1.9212335763445254</c:v>
                </c:pt>
                <c:pt idx="47">
                  <c:v>2.025842958849516</c:v>
                </c:pt>
                <c:pt idx="48">
                  <c:v>2.0687467143778364</c:v>
                </c:pt>
                <c:pt idx="49">
                  <c:v>2.0685817269414537</c:v>
                </c:pt>
                <c:pt idx="50">
                  <c:v>1.8249449858683782</c:v>
                </c:pt>
                <c:pt idx="51">
                  <c:v>1.8227971885369851</c:v>
                </c:pt>
                <c:pt idx="52">
                  <c:v>1.5045188506147285</c:v>
                </c:pt>
                <c:pt idx="53">
                  <c:v>0.514077854865942</c:v>
                </c:pt>
                <c:pt idx="54">
                  <c:v>2.3297796306878924</c:v>
                </c:pt>
              </c:numCache>
            </c:numRef>
          </c:xVal>
          <c:yVal>
            <c:numRef>
              <c:f>Sheet1!$B$187:$B$241</c:f>
              <c:numCache>
                <c:formatCode>General</c:formatCode>
                <c:ptCount val="55"/>
                <c:pt idx="0">
                  <c:v>0.13634995731017868</c:v>
                </c:pt>
                <c:pt idx="1">
                  <c:v>0.13848263936755395</c:v>
                </c:pt>
                <c:pt idx="2">
                  <c:v>0.1492980875539805</c:v>
                </c:pt>
                <c:pt idx="3">
                  <c:v>0.14283612792998618</c:v>
                </c:pt>
                <c:pt idx="4">
                  <c:v>0.14581333918412812</c:v>
                </c:pt>
                <c:pt idx="5">
                  <c:v>0.14197776415757923</c:v>
                </c:pt>
                <c:pt idx="6">
                  <c:v>0.13787863072078982</c:v>
                </c:pt>
                <c:pt idx="7">
                  <c:v>0.14197074950339705</c:v>
                </c:pt>
                <c:pt idx="8">
                  <c:v>0.13503004786657874</c:v>
                </c:pt>
                <c:pt idx="9">
                  <c:v>0.1355863203362411</c:v>
                </c:pt>
                <c:pt idx="10">
                  <c:v>0.13841823905085643</c:v>
                </c:pt>
                <c:pt idx="11">
                  <c:v>0.1329900552736754</c:v>
                </c:pt>
                <c:pt idx="12">
                  <c:v>0.13647197523686896</c:v>
                </c:pt>
                <c:pt idx="13">
                  <c:v>0.14221523502718236</c:v>
                </c:pt>
                <c:pt idx="14">
                  <c:v>0.14136958704464458</c:v>
                </c:pt>
                <c:pt idx="15">
                  <c:v>0.14033169913744903</c:v>
                </c:pt>
                <c:pt idx="16">
                  <c:v>0.1409882835371582</c:v>
                </c:pt>
                <c:pt idx="17">
                  <c:v>0.13807166025204143</c:v>
                </c:pt>
                <c:pt idx="18">
                  <c:v>0.1373036681037269</c:v>
                </c:pt>
                <c:pt idx="19">
                  <c:v>0.12413882031109472</c:v>
                </c:pt>
                <c:pt idx="20">
                  <c:v>0.12941845660923035</c:v>
                </c:pt>
                <c:pt idx="21">
                  <c:v>0.13041680042727014</c:v>
                </c:pt>
                <c:pt idx="22">
                  <c:v>0.13023106208958107</c:v>
                </c:pt>
                <c:pt idx="23">
                  <c:v>0.13137219403585026</c:v>
                </c:pt>
                <c:pt idx="24">
                  <c:v>0.1384620772121516</c:v>
                </c:pt>
                <c:pt idx="25">
                  <c:v>0.14300771640602866</c:v>
                </c:pt>
                <c:pt idx="26">
                  <c:v>0.13052106185283696</c:v>
                </c:pt>
                <c:pt idx="27">
                  <c:v>0.13097682040764658</c:v>
                </c:pt>
                <c:pt idx="28">
                  <c:v>0.129309602680703</c:v>
                </c:pt>
                <c:pt idx="29">
                  <c:v>0.12226690200379979</c:v>
                </c:pt>
                <c:pt idx="30">
                  <c:v>0.12469939723012355</c:v>
                </c:pt>
                <c:pt idx="31">
                  <c:v>0.14327364271143253</c:v>
                </c:pt>
                <c:pt idx="32">
                  <c:v>0.15083937499197503</c:v>
                </c:pt>
                <c:pt idx="33">
                  <c:v>0.1406323650356418</c:v>
                </c:pt>
                <c:pt idx="34">
                  <c:v>0.12980042184247875</c:v>
                </c:pt>
                <c:pt idx="35">
                  <c:v>0.13904953370660458</c:v>
                </c:pt>
                <c:pt idx="36">
                  <c:v>0.1407816592400697</c:v>
                </c:pt>
                <c:pt idx="37">
                  <c:v>0.1415645460367256</c:v>
                </c:pt>
                <c:pt idx="38">
                  <c:v>0.13866774278780472</c:v>
                </c:pt>
                <c:pt idx="39">
                  <c:v>0.1424599331267748</c:v>
                </c:pt>
                <c:pt idx="40">
                  <c:v>0.14374072542189828</c:v>
                </c:pt>
                <c:pt idx="41">
                  <c:v>0.13870947581541512</c:v>
                </c:pt>
                <c:pt idx="42">
                  <c:v>0.12706916733100668</c:v>
                </c:pt>
                <c:pt idx="43">
                  <c:v>0.13731674863424642</c:v>
                </c:pt>
                <c:pt idx="44">
                  <c:v>0.14300513428800524</c:v>
                </c:pt>
                <c:pt idx="45">
                  <c:v>0.1335701789977818</c:v>
                </c:pt>
                <c:pt idx="46">
                  <c:v>0.13807660369984126</c:v>
                </c:pt>
                <c:pt idx="47">
                  <c:v>0.13320750542944776</c:v>
                </c:pt>
                <c:pt idx="48">
                  <c:v>0.1312105277508312</c:v>
                </c:pt>
                <c:pt idx="49">
                  <c:v>0.13121820717711105</c:v>
                </c:pt>
                <c:pt idx="50">
                  <c:v>0.14255840636533035</c:v>
                </c:pt>
                <c:pt idx="51">
                  <c:v>0.14265837671235868</c:v>
                </c:pt>
                <c:pt idx="52">
                  <c:v>0.15747280795715682</c:v>
                </c:pt>
                <c:pt idx="53">
                  <c:v>0.20357340069411467</c:v>
                </c:pt>
                <c:pt idx="54">
                  <c:v>0.119060614512786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17598533455546"/>
          <c:min val="0.07459459459459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4.657</c:v>
                </c:pt>
                <c:pt idx="1">
                  <c:v>870.0188</c:v>
                </c:pt>
                <c:pt idx="2">
                  <c:v>949.3579</c:v>
                </c:pt>
                <c:pt idx="3">
                  <c:v>953.4859</c:v>
                </c:pt>
                <c:pt idx="4">
                  <c:v>952.8304</c:v>
                </c:pt>
                <c:pt idx="5">
                  <c:v>963.6503</c:v>
                </c:pt>
                <c:pt idx="6">
                  <c:v>944.7437</c:v>
                </c:pt>
                <c:pt idx="7">
                  <c:v>963.6778</c:v>
                </c:pt>
                <c:pt idx="8">
                  <c:v>947.8397</c:v>
                </c:pt>
                <c:pt idx="9">
                  <c:v>939.263</c:v>
                </c:pt>
                <c:pt idx="10">
                  <c:v>1003.6976</c:v>
                </c:pt>
                <c:pt idx="11">
                  <c:v>1036.3032</c:v>
                </c:pt>
                <c:pt idx="12">
                  <c:v>1035.9928</c:v>
                </c:pt>
                <c:pt idx="13">
                  <c:v>1029.1159</c:v>
                </c:pt>
                <c:pt idx="14">
                  <c:v>1044.2325</c:v>
                </c:pt>
                <c:pt idx="15">
                  <c:v>1044.8972</c:v>
                </c:pt>
                <c:pt idx="16">
                  <c:v>1011.1688</c:v>
                </c:pt>
                <c:pt idx="17">
                  <c:v>1027.8202</c:v>
                </c:pt>
                <c:pt idx="18">
                  <c:v>1060.75</c:v>
                </c:pt>
                <c:pt idx="19">
                  <c:v>1126.7294</c:v>
                </c:pt>
                <c:pt idx="20">
                  <c:v>1083.9115</c:v>
                </c:pt>
                <c:pt idx="21">
                  <c:v>1126.5258</c:v>
                </c:pt>
                <c:pt idx="22">
                  <c:v>1120.305</c:v>
                </c:pt>
                <c:pt idx="23">
                  <c:v>1116.6111</c:v>
                </c:pt>
                <c:pt idx="24">
                  <c:v>1121.1065</c:v>
                </c:pt>
                <c:pt idx="25">
                  <c:v>1114.2956</c:v>
                </c:pt>
                <c:pt idx="26">
                  <c:v>1131.5672</c:v>
                </c:pt>
                <c:pt idx="27">
                  <c:v>1165.072</c:v>
                </c:pt>
                <c:pt idx="28">
                  <c:v>1145.8421</c:v>
                </c:pt>
                <c:pt idx="29">
                  <c:v>1039.1556</c:v>
                </c:pt>
                <c:pt idx="30">
                  <c:v>1058.3929</c:v>
                </c:pt>
                <c:pt idx="31">
                  <c:v>1092.9239</c:v>
                </c:pt>
                <c:pt idx="32">
                  <c:v>1008.4904</c:v>
                </c:pt>
                <c:pt idx="33">
                  <c:v>815.589</c:v>
                </c:pt>
                <c:pt idx="34">
                  <c:v>1135.4675</c:v>
                </c:pt>
                <c:pt idx="35">
                  <c:v>1186.1014</c:v>
                </c:pt>
                <c:pt idx="36">
                  <c:v>1284.3622</c:v>
                </c:pt>
                <c:pt idx="37">
                  <c:v>1317.359</c:v>
                </c:pt>
                <c:pt idx="38">
                  <c:v>1319.6538</c:v>
                </c:pt>
                <c:pt idx="39">
                  <c:v>1306.1884</c:v>
                </c:pt>
                <c:pt idx="40">
                  <c:v>1330.198</c:v>
                </c:pt>
                <c:pt idx="41">
                  <c:v>1304.7216</c:v>
                </c:pt>
                <c:pt idx="42">
                  <c:v>1398.8846</c:v>
                </c:pt>
                <c:pt idx="43">
                  <c:v>1429.951</c:v>
                </c:pt>
                <c:pt idx="44">
                  <c:v>1286.1579</c:v>
                </c:pt>
                <c:pt idx="45">
                  <c:v>1163.5936</c:v>
                </c:pt>
                <c:pt idx="46">
                  <c:v>1123.2956</c:v>
                </c:pt>
                <c:pt idx="47">
                  <c:v>1082.6622</c:v>
                </c:pt>
                <c:pt idx="48">
                  <c:v>1073.2377</c:v>
                </c:pt>
                <c:pt idx="49">
                  <c:v>1048.3716</c:v>
                </c:pt>
                <c:pt idx="50">
                  <c:v>1084.5691</c:v>
                </c:pt>
                <c:pt idx="51">
                  <c:v>1112.2114</c:v>
                </c:pt>
                <c:pt idx="52">
                  <c:v>1118.2652</c:v>
                </c:pt>
                <c:pt idx="53">
                  <c:v>1224.3321</c:v>
                </c:pt>
                <c:pt idx="54">
                  <c:v>1230.3829</c:v>
                </c:pt>
                <c:pt idx="55">
                  <c:v>1228.1648</c:v>
                </c:pt>
                <c:pt idx="56">
                  <c:v>1233.0138</c:v>
                </c:pt>
                <c:pt idx="57">
                  <c:v>1261.8979</c:v>
                </c:pt>
                <c:pt idx="58">
                  <c:v>1190.0094</c:v>
                </c:pt>
                <c:pt idx="59">
                  <c:v>1185.4381</c:v>
                </c:pt>
                <c:pt idx="60">
                  <c:v>1202.1747</c:v>
                </c:pt>
                <c:pt idx="61">
                  <c:v>1073.0567</c:v>
                </c:pt>
                <c:pt idx="62">
                  <c:v>1099.8162</c:v>
                </c:pt>
                <c:pt idx="63">
                  <c:v>1191.8696</c:v>
                </c:pt>
                <c:pt idx="64">
                  <c:v>1182.7277</c:v>
                </c:pt>
                <c:pt idx="65">
                  <c:v>1166.1215</c:v>
                </c:pt>
                <c:pt idx="66">
                  <c:v>1139.5249</c:v>
                </c:pt>
                <c:pt idx="67">
                  <c:v>1139.1083</c:v>
                </c:pt>
                <c:pt idx="68">
                  <c:v>1163.5444</c:v>
                </c:pt>
                <c:pt idx="69">
                  <c:v>1205.7277</c:v>
                </c:pt>
                <c:pt idx="70">
                  <c:v>1174.5849</c:v>
                </c:pt>
                <c:pt idx="71">
                  <c:v>1236.0971</c:v>
                </c:pt>
                <c:pt idx="72">
                  <c:v>1278.43</c:v>
                </c:pt>
                <c:pt idx="73">
                  <c:v>1288.4909</c:v>
                </c:pt>
                <c:pt idx="74">
                  <c:v>1064.6359</c:v>
                </c:pt>
                <c:pt idx="75">
                  <c:v>1223.1419</c:v>
                </c:pt>
                <c:pt idx="76">
                  <c:v>1150.3733</c:v>
                </c:pt>
                <c:pt idx="77">
                  <c:v>1225.2477</c:v>
                </c:pt>
                <c:pt idx="78">
                  <c:v>1279.6827</c:v>
                </c:pt>
                <c:pt idx="79">
                  <c:v>1027.9784</c:v>
                </c:pt>
                <c:pt idx="80">
                  <c:v>863.2867</c:v>
                </c:pt>
                <c:pt idx="81">
                  <c:v>1092.5247</c:v>
                </c:pt>
                <c:pt idx="82">
                  <c:v>1099.4186</c:v>
                </c:pt>
                <c:pt idx="83">
                  <c:v>969.5484</c:v>
                </c:pt>
                <c:pt idx="84">
                  <c:v>1237.0875</c:v>
                </c:pt>
                <c:pt idx="85">
                  <c:v>1286.5435</c:v>
                </c:pt>
                <c:pt idx="86">
                  <c:v>1224.2366</c:v>
                </c:pt>
                <c:pt idx="87">
                  <c:v>1309.3732</c:v>
                </c:pt>
                <c:pt idx="88">
                  <c:v>1301.3295</c:v>
                </c:pt>
                <c:pt idx="89">
                  <c:v>1211.3947</c:v>
                </c:pt>
                <c:pt idx="90">
                  <c:v>1247.25</c:v>
                </c:pt>
                <c:pt idx="91">
                  <c:v>1212.4684</c:v>
                </c:pt>
                <c:pt idx="92">
                  <c:v>1153.8909</c:v>
                </c:pt>
                <c:pt idx="93">
                  <c:v>1306.2738</c:v>
                </c:pt>
                <c:pt idx="94">
                  <c:v>1233.4316</c:v>
                </c:pt>
                <c:pt idx="95">
                  <c:v>1199.2349</c:v>
                </c:pt>
                <c:pt idx="96">
                  <c:v>1261.0977</c:v>
                </c:pt>
                <c:pt idx="97">
                  <c:v>1156.7877</c:v>
                </c:pt>
                <c:pt idx="98">
                  <c:v>1229.7735</c:v>
                </c:pt>
                <c:pt idx="99">
                  <c:v>1196.7258</c:v>
                </c:pt>
                <c:pt idx="100">
                  <c:v>1200.632</c:v>
                </c:pt>
                <c:pt idx="101">
                  <c:v>1267.5137</c:v>
                </c:pt>
                <c:pt idx="102">
                  <c:v>1304.3366</c:v>
                </c:pt>
                <c:pt idx="103">
                  <c:v>945.2478</c:v>
                </c:pt>
                <c:pt idx="104">
                  <c:v>1060.3775</c:v>
                </c:pt>
              </c:numCache>
            </c:numRef>
          </c:xVal>
          <c:yVal>
            <c:numRef>
              <c:f>Sheet1!$B$2:$B$106</c:f>
              <c:numCache>
                <c:formatCode>General</c:formatCode>
                <c:ptCount val="105"/>
                <c:pt idx="0">
                  <c:v>0.19555555555555557</c:v>
                </c:pt>
                <c:pt idx="1">
                  <c:v>0.19047619047619047</c:v>
                </c:pt>
                <c:pt idx="2">
                  <c:v>0.1909840038778478</c:v>
                </c:pt>
                <c:pt idx="3">
                  <c:v>0.1893048128342246</c:v>
                </c:pt>
                <c:pt idx="4">
                  <c:v>0.19047619047619047</c:v>
                </c:pt>
                <c:pt idx="5">
                  <c:v>0.190625</c:v>
                </c:pt>
                <c:pt idx="6">
                  <c:v>0.22137791286727457</c:v>
                </c:pt>
                <c:pt idx="7">
                  <c:v>0.22321428571428573</c:v>
                </c:pt>
                <c:pt idx="8">
                  <c:v>0.24014665444546288</c:v>
                </c:pt>
                <c:pt idx="9">
                  <c:v>0.23332144131287905</c:v>
                </c:pt>
                <c:pt idx="10">
                  <c:v>0.23737373737373738</c:v>
                </c:pt>
                <c:pt idx="11">
                  <c:v>0.2167563412759416</c:v>
                </c:pt>
                <c:pt idx="12">
                  <c:v>0.211443728685108</c:v>
                </c:pt>
                <c:pt idx="13">
                  <c:v>0.19586374695863748</c:v>
                </c:pt>
                <c:pt idx="14">
                  <c:v>0.18779143704959728</c:v>
                </c:pt>
                <c:pt idx="15">
                  <c:v>0.1993006993006993</c:v>
                </c:pt>
                <c:pt idx="16">
                  <c:v>0.1872391174716756</c:v>
                </c:pt>
                <c:pt idx="17">
                  <c:v>0.1701720841300191</c:v>
                </c:pt>
                <c:pt idx="18">
                  <c:v>0.1925545571245186</c:v>
                </c:pt>
                <c:pt idx="19">
                  <c:v>0.14938488576449913</c:v>
                </c:pt>
                <c:pt idx="20">
                  <c:v>0.15056628914057296</c:v>
                </c:pt>
                <c:pt idx="21">
                  <c:v>0.16019818331957061</c:v>
                </c:pt>
                <c:pt idx="22">
                  <c:v>0.15785319652722968</c:v>
                </c:pt>
                <c:pt idx="23">
                  <c:v>0.14425645592163847</c:v>
                </c:pt>
                <c:pt idx="24">
                  <c:v>0.16407766990291262</c:v>
                </c:pt>
                <c:pt idx="25">
                  <c:v>0.16290983606557377</c:v>
                </c:pt>
                <c:pt idx="26">
                  <c:v>0.14988814317673377</c:v>
                </c:pt>
                <c:pt idx="27">
                  <c:v>0.14108352144469527</c:v>
                </c:pt>
                <c:pt idx="28">
                  <c:v>0.1656288916562889</c:v>
                </c:pt>
                <c:pt idx="29">
                  <c:v>0.1541095890410959</c:v>
                </c:pt>
                <c:pt idx="30">
                  <c:v>0.14834437086092717</c:v>
                </c:pt>
                <c:pt idx="31">
                  <c:v>0.12742382271468145</c:v>
                </c:pt>
                <c:pt idx="32">
                  <c:v>0.1440443213296399</c:v>
                </c:pt>
                <c:pt idx="33">
                  <c:v>0.1910902696365768</c:v>
                </c:pt>
                <c:pt idx="34">
                  <c:v>0.1665024630541872</c:v>
                </c:pt>
                <c:pt idx="35">
                  <c:v>0.17753001715265868</c:v>
                </c:pt>
                <c:pt idx="36">
                  <c:v>0.12932790224032586</c:v>
                </c:pt>
                <c:pt idx="37">
                  <c:v>0.12200208550573514</c:v>
                </c:pt>
                <c:pt idx="38">
                  <c:v>0.09774436090225563</c:v>
                </c:pt>
                <c:pt idx="39">
                  <c:v>0.09324324324324325</c:v>
                </c:pt>
                <c:pt idx="40">
                  <c:v>0.10380267214799589</c:v>
                </c:pt>
                <c:pt idx="41">
                  <c:v>0.09908069458631256</c:v>
                </c:pt>
                <c:pt idx="42">
                  <c:v>0.10590631364562118</c:v>
                </c:pt>
                <c:pt idx="43">
                  <c:v>0.10625</c:v>
                </c:pt>
                <c:pt idx="44">
                  <c:v>0.14261884904086738</c:v>
                </c:pt>
                <c:pt idx="45">
                  <c:v>0.15592286501377411</c:v>
                </c:pt>
                <c:pt idx="46">
                  <c:v>0.16841695838195256</c:v>
                </c:pt>
                <c:pt idx="47">
                  <c:v>0.15575807787903895</c:v>
                </c:pt>
                <c:pt idx="48">
                  <c:v>0.18781887755102042</c:v>
                </c:pt>
                <c:pt idx="49">
                  <c:v>0.210318820706205</c:v>
                </c:pt>
                <c:pt idx="50">
                  <c:v>0.1605623381428043</c:v>
                </c:pt>
                <c:pt idx="51">
                  <c:v>0.15151515151515152</c:v>
                </c:pt>
                <c:pt idx="52">
                  <c:v>0.1601090767432801</c:v>
                </c:pt>
                <c:pt idx="53">
                  <c:v>0.14040728831725616</c:v>
                </c:pt>
                <c:pt idx="54">
                  <c:v>0.14408141403320834</c:v>
                </c:pt>
                <c:pt idx="55">
                  <c:v>0.14241001564945227</c:v>
                </c:pt>
                <c:pt idx="56">
                  <c:v>0.1499482936918304</c:v>
                </c:pt>
                <c:pt idx="57">
                  <c:v>0.1388753056234719</c:v>
                </c:pt>
                <c:pt idx="58">
                  <c:v>0.1595</c:v>
                </c:pt>
                <c:pt idx="59">
                  <c:v>0.15569823434991975</c:v>
                </c:pt>
                <c:pt idx="60">
                  <c:v>0.1752120988565105</c:v>
                </c:pt>
                <c:pt idx="61">
                  <c:v>0.203757225433526</c:v>
                </c:pt>
                <c:pt idx="62">
                  <c:v>0.20456942003514939</c:v>
                </c:pt>
                <c:pt idx="63">
                  <c:v>0.21350832266325223</c:v>
                </c:pt>
                <c:pt idx="64">
                  <c:v>0.2036979969183359</c:v>
                </c:pt>
                <c:pt idx="65">
                  <c:v>0.187683284457478</c:v>
                </c:pt>
                <c:pt idx="66">
                  <c:v>0.18203151190077105</c:v>
                </c:pt>
                <c:pt idx="67">
                  <c:v>0.1793388429752066</c:v>
                </c:pt>
                <c:pt idx="68">
                  <c:v>0.13468538741549663</c:v>
                </c:pt>
                <c:pt idx="69">
                  <c:v>0.11972207375734902</c:v>
                </c:pt>
                <c:pt idx="70">
                  <c:v>0.11903425042111174</c:v>
                </c:pt>
                <c:pt idx="71">
                  <c:v>0.13985064494229463</c:v>
                </c:pt>
                <c:pt idx="72">
                  <c:v>0.13252240717029448</c:v>
                </c:pt>
                <c:pt idx="73">
                  <c:v>0.12830482115085537</c:v>
                </c:pt>
                <c:pt idx="74">
                  <c:v>0.15477084898572502</c:v>
                </c:pt>
                <c:pt idx="75">
                  <c:v>0.1268209083119109</c:v>
                </c:pt>
                <c:pt idx="76">
                  <c:v>0.12701100762066045</c:v>
                </c:pt>
                <c:pt idx="77">
                  <c:v>0.11213991769547325</c:v>
                </c:pt>
                <c:pt idx="78">
                  <c:v>0.11063829787234042</c:v>
                </c:pt>
                <c:pt idx="79">
                  <c:v>0.12787488500459981</c:v>
                </c:pt>
                <c:pt idx="80">
                  <c:v>0.13697318007662834</c:v>
                </c:pt>
                <c:pt idx="81">
                  <c:v>0.1337737407101569</c:v>
                </c:pt>
                <c:pt idx="82">
                  <c:v>0.13708820403825717</c:v>
                </c:pt>
                <c:pt idx="83">
                  <c:v>0.11524163568773234</c:v>
                </c:pt>
                <c:pt idx="84">
                  <c:v>0.09696969696969697</c:v>
                </c:pt>
                <c:pt idx="85">
                  <c:v>0.10244988864142539</c:v>
                </c:pt>
                <c:pt idx="86">
                  <c:v>0.12381852551984877</c:v>
                </c:pt>
                <c:pt idx="87">
                  <c:v>0.11843202668890743</c:v>
                </c:pt>
                <c:pt idx="88">
                  <c:v>0.1038961038961039</c:v>
                </c:pt>
                <c:pt idx="89">
                  <c:v>0.0979381443298969</c:v>
                </c:pt>
                <c:pt idx="90">
                  <c:v>0.10282776349614396</c:v>
                </c:pt>
                <c:pt idx="91">
                  <c:v>0.1049136786188579</c:v>
                </c:pt>
                <c:pt idx="92">
                  <c:v>0.11363636363636363</c:v>
                </c:pt>
                <c:pt idx="93">
                  <c:v>0.09621993127147767</c:v>
                </c:pt>
                <c:pt idx="94">
                  <c:v>0.10555555555555556</c:v>
                </c:pt>
                <c:pt idx="95">
                  <c:v>0.1287820015515904</c:v>
                </c:pt>
                <c:pt idx="96">
                  <c:v>0.11725067385444744</c:v>
                </c:pt>
                <c:pt idx="97">
                  <c:v>0.1280193236714976</c:v>
                </c:pt>
                <c:pt idx="98">
                  <c:v>0.13851351351351351</c:v>
                </c:pt>
                <c:pt idx="99">
                  <c:v>0.14471433458775232</c:v>
                </c:pt>
                <c:pt idx="100">
                  <c:v>0.1612497378905431</c:v>
                </c:pt>
                <c:pt idx="101">
                  <c:v>0.14667855550601872</c:v>
                </c:pt>
                <c:pt idx="102">
                  <c:v>0.11319712865819989</c:v>
                </c:pt>
                <c:pt idx="103">
                  <c:v>0.15762867647058823</c:v>
                </c:pt>
                <c:pt idx="104">
                  <c:v>0.154871794871794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9.4066</c:v>
                </c:pt>
                <c:pt idx="1">
                  <c:v>1241.6016</c:v>
                </c:pt>
                <c:pt idx="2">
                  <c:v>1156.3841</c:v>
                </c:pt>
                <c:pt idx="3">
                  <c:v>1217.9224</c:v>
                </c:pt>
                <c:pt idx="4">
                  <c:v>1189.1407</c:v>
                </c:pt>
                <c:pt idx="5">
                  <c:v>1279.4602</c:v>
                </c:pt>
                <c:pt idx="6">
                  <c:v>1230.0638</c:v>
                </c:pt>
                <c:pt idx="7">
                  <c:v>1239.4021</c:v>
                </c:pt>
                <c:pt idx="8">
                  <c:v>1290.4719</c:v>
                </c:pt>
                <c:pt idx="9">
                  <c:v>1281.7486</c:v>
                </c:pt>
                <c:pt idx="10">
                  <c:v>1258.8686</c:v>
                </c:pt>
                <c:pt idx="11">
                  <c:v>1194.7636</c:v>
                </c:pt>
                <c:pt idx="12">
                  <c:v>1190.2513</c:v>
                </c:pt>
                <c:pt idx="13">
                  <c:v>1242.6116</c:v>
                </c:pt>
                <c:pt idx="14">
                  <c:v>1221.1766</c:v>
                </c:pt>
                <c:pt idx="15">
                  <c:v>1236.2873</c:v>
                </c:pt>
                <c:pt idx="16">
                  <c:v>1256.7762</c:v>
                </c:pt>
                <c:pt idx="17">
                  <c:v>1293.5349</c:v>
                </c:pt>
                <c:pt idx="18">
                  <c:v>1313.5417</c:v>
                </c:pt>
                <c:pt idx="19">
                  <c:v>1472.6442</c:v>
                </c:pt>
                <c:pt idx="20">
                  <c:v>1468.1628</c:v>
                </c:pt>
                <c:pt idx="21">
                  <c:v>1451.7164</c:v>
                </c:pt>
                <c:pt idx="22">
                  <c:v>1483.1149</c:v>
                </c:pt>
                <c:pt idx="23">
                  <c:v>1444.0621</c:v>
                </c:pt>
                <c:pt idx="24">
                  <c:v>1389.7481</c:v>
                </c:pt>
                <c:pt idx="25">
                  <c:v>1294.1497</c:v>
                </c:pt>
                <c:pt idx="26">
                  <c:v>1482.7807</c:v>
                </c:pt>
                <c:pt idx="27">
                  <c:v>1448.4598</c:v>
                </c:pt>
                <c:pt idx="28">
                  <c:v>1432.7778</c:v>
                </c:pt>
                <c:pt idx="29">
                  <c:v>1515.5385</c:v>
                </c:pt>
                <c:pt idx="30">
                  <c:v>1554.9208</c:v>
                </c:pt>
                <c:pt idx="31">
                  <c:v>1293.2025</c:v>
                </c:pt>
                <c:pt idx="32">
                  <c:v>1288.8588</c:v>
                </c:pt>
                <c:pt idx="33">
                  <c:v>1379.6966</c:v>
                </c:pt>
                <c:pt idx="34">
                  <c:v>1457.9158</c:v>
                </c:pt>
                <c:pt idx="35">
                  <c:v>1314.8978</c:v>
                </c:pt>
                <c:pt idx="36">
                  <c:v>1342.89</c:v>
                </c:pt>
                <c:pt idx="37">
                  <c:v>1466.1566</c:v>
                </c:pt>
                <c:pt idx="38">
                  <c:v>1549.1067</c:v>
                </c:pt>
                <c:pt idx="39">
                  <c:v>1365.28</c:v>
                </c:pt>
                <c:pt idx="40">
                  <c:v>1358.5984</c:v>
                </c:pt>
                <c:pt idx="41">
                  <c:v>1485.0084</c:v>
                </c:pt>
                <c:pt idx="42">
                  <c:v>1472.8462</c:v>
                </c:pt>
                <c:pt idx="43">
                  <c:v>1417.2555</c:v>
                </c:pt>
                <c:pt idx="44">
                  <c:v>1349.2353</c:v>
                </c:pt>
                <c:pt idx="45">
                  <c:v>1357.0833</c:v>
                </c:pt>
                <c:pt idx="46">
                  <c:v>1313.7839</c:v>
                </c:pt>
                <c:pt idx="47">
                  <c:v>1354.1727</c:v>
                </c:pt>
                <c:pt idx="48">
                  <c:v>1340.3381</c:v>
                </c:pt>
                <c:pt idx="49">
                  <c:v>1348.4352</c:v>
                </c:pt>
                <c:pt idx="50">
                  <c:v>1157.2155</c:v>
                </c:pt>
                <c:pt idx="51">
                  <c:v>1101.2524</c:v>
                </c:pt>
              </c:numCache>
            </c:numRef>
          </c:xVal>
          <c:yVal>
            <c:numRef>
              <c:f>Sheet1!$B$109:$B$160</c:f>
              <c:numCache>
                <c:formatCode>General</c:formatCode>
                <c:ptCount val="52"/>
                <c:pt idx="0">
                  <c:v>0.12141057934508816</c:v>
                </c:pt>
                <c:pt idx="1">
                  <c:v>0.14547604967474867</c:v>
                </c:pt>
                <c:pt idx="2">
                  <c:v>0.15619047619047619</c:v>
                </c:pt>
                <c:pt idx="3">
                  <c:v>0.17635564240351734</c:v>
                </c:pt>
                <c:pt idx="4">
                  <c:v>0.17424242424242425</c:v>
                </c:pt>
                <c:pt idx="5">
                  <c:v>0.15167785234899328</c:v>
                </c:pt>
                <c:pt idx="6">
                  <c:v>0.1491471638238794</c:v>
                </c:pt>
                <c:pt idx="7">
                  <c:v>0.15027110766847404</c:v>
                </c:pt>
                <c:pt idx="8">
                  <c:v>0.1669793621013133</c:v>
                </c:pt>
                <c:pt idx="9">
                  <c:v>0.17220052083333334</c:v>
                </c:pt>
                <c:pt idx="10">
                  <c:v>0.17857142857142858</c:v>
                </c:pt>
                <c:pt idx="11">
                  <c:v>0.18160719466202496</c:v>
                </c:pt>
                <c:pt idx="12">
                  <c:v>0.18838750394446196</c:v>
                </c:pt>
                <c:pt idx="13">
                  <c:v>0.18254545454545454</c:v>
                </c:pt>
                <c:pt idx="14">
                  <c:v>0.17781402936378465</c:v>
                </c:pt>
                <c:pt idx="15">
                  <c:v>0.1702029520295203</c:v>
                </c:pt>
                <c:pt idx="16">
                  <c:v>0.155858310626703</c:v>
                </c:pt>
                <c:pt idx="17">
                  <c:v>0.12983091787439613</c:v>
                </c:pt>
                <c:pt idx="18">
                  <c:v>0.1330049261083744</c:v>
                </c:pt>
                <c:pt idx="19">
                  <c:v>0.1257716049382716</c:v>
                </c:pt>
                <c:pt idx="20">
                  <c:v>0.1278493557978196</c:v>
                </c:pt>
                <c:pt idx="21">
                  <c:v>0.12350230414746544</c:v>
                </c:pt>
                <c:pt idx="22">
                  <c:v>0.1284722222222222</c:v>
                </c:pt>
                <c:pt idx="23">
                  <c:v>0.14235190097259062</c:v>
                </c:pt>
                <c:pt idx="24">
                  <c:v>0.12042818911685994</c:v>
                </c:pt>
                <c:pt idx="25">
                  <c:v>0.13327289211242066</c:v>
                </c:pt>
                <c:pt idx="26">
                  <c:v>0.11003861003861004</c:v>
                </c:pt>
                <c:pt idx="27">
                  <c:v>0.09775280898876404</c:v>
                </c:pt>
                <c:pt idx="28">
                  <c:v>0.10915104740904079</c:v>
                </c:pt>
                <c:pt idx="29">
                  <c:v>0.12903225806451613</c:v>
                </c:pt>
                <c:pt idx="30">
                  <c:v>0.1251548946716233</c:v>
                </c:pt>
                <c:pt idx="31">
                  <c:v>0.1154970760233918</c:v>
                </c:pt>
                <c:pt idx="32">
                  <c:v>0.11288180610889774</c:v>
                </c:pt>
                <c:pt idx="33">
                  <c:v>0.13679245283018868</c:v>
                </c:pt>
                <c:pt idx="34">
                  <c:v>0.16833333333333333</c:v>
                </c:pt>
                <c:pt idx="35">
                  <c:v>0.17432052483598875</c:v>
                </c:pt>
                <c:pt idx="36">
                  <c:v>0.1272264631043257</c:v>
                </c:pt>
                <c:pt idx="37">
                  <c:v>0.11140939597315436</c:v>
                </c:pt>
                <c:pt idx="38">
                  <c:v>0.09881422924901186</c:v>
                </c:pt>
                <c:pt idx="39">
                  <c:v>0.11600928074245939</c:v>
                </c:pt>
                <c:pt idx="40">
                  <c:v>0.1211519364448858</c:v>
                </c:pt>
                <c:pt idx="41">
                  <c:v>0.12130479102956167</c:v>
                </c:pt>
                <c:pt idx="42">
                  <c:v>0.11807447774750227</c:v>
                </c:pt>
                <c:pt idx="43">
                  <c:v>0.10595514307811292</c:v>
                </c:pt>
                <c:pt idx="44">
                  <c:v>0.10871302957633892</c:v>
                </c:pt>
                <c:pt idx="45">
                  <c:v>0.10980392156862745</c:v>
                </c:pt>
                <c:pt idx="46">
                  <c:v>0.11024930747922437</c:v>
                </c:pt>
                <c:pt idx="47">
                  <c:v>0.11247443762781185</c:v>
                </c:pt>
                <c:pt idx="48">
                  <c:v>0.10390895596239486</c:v>
                </c:pt>
                <c:pt idx="49">
                  <c:v>0.11838962811327192</c:v>
                </c:pt>
                <c:pt idx="50">
                  <c:v>0.16117073170731708</c:v>
                </c:pt>
                <c:pt idx="51">
                  <c:v>0.14058234758871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7.7624466659377</c:v>
                </c:pt>
              </c:numCache>
            </c:numRef>
          </c:xVal>
          <c:yVal>
            <c:numRef>
              <c:f>Sheet1!$B$163:$B$164</c:f>
              <c:numCache>
                <c:formatCode>General</c:formatCode>
                <c:ptCount val="2"/>
                <c:pt idx="0">
                  <c:v>0.20357340069411467</c:v>
                </c:pt>
                <c:pt idx="1">
                  <c:v>0.203573400694114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7.7624466659377</c:v>
                </c:pt>
                <c:pt idx="1">
                  <c:v>887.7624466659377</c:v>
                </c:pt>
              </c:numCache>
            </c:numRef>
          </c:xVal>
          <c:yVal>
            <c:numRef>
              <c:f>Sheet1!$B$167:$B$168</c:f>
              <c:numCache>
                <c:formatCode>General</c:formatCode>
                <c:ptCount val="2"/>
                <c:pt idx="0">
                  <c:v>0.203573400694114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9.8507601635938</c:v>
                </c:pt>
              </c:numCache>
            </c:numRef>
          </c:xVal>
          <c:yVal>
            <c:numRef>
              <c:f>Sheet1!$B$171:$B$172</c:f>
              <c:numCache>
                <c:formatCode>General</c:formatCode>
                <c:ptCount val="2"/>
                <c:pt idx="0">
                  <c:v>0.15747280795715682</c:v>
                </c:pt>
                <c:pt idx="1">
                  <c:v>0.157472807957156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9.8507601635938</c:v>
                </c:pt>
                <c:pt idx="1">
                  <c:v>1199.8507601635938</c:v>
                </c:pt>
              </c:numCache>
            </c:numRef>
          </c:xVal>
          <c:yVal>
            <c:numRef>
              <c:f>Sheet1!$B$175:$B$176</c:f>
              <c:numCache>
                <c:formatCode>General</c:formatCode>
                <c:ptCount val="2"/>
                <c:pt idx="0">
                  <c:v>0.157472807957156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59.8907283739964</c:v>
                </c:pt>
              </c:numCache>
            </c:numRef>
          </c:xVal>
          <c:yVal>
            <c:numRef>
              <c:f>Sheet1!$B$179:$B$180</c:f>
              <c:numCache>
                <c:formatCode>General</c:formatCode>
                <c:ptCount val="2"/>
                <c:pt idx="0">
                  <c:v>0.11906061451278657</c:v>
                </c:pt>
                <c:pt idx="1">
                  <c:v>0.119060614512786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59.8907283739964</c:v>
                </c:pt>
                <c:pt idx="1">
                  <c:v>1459.8907283739964</c:v>
                </c:pt>
              </c:numCache>
            </c:numRef>
          </c:xVal>
          <c:yVal>
            <c:numRef>
              <c:f>Sheet1!$B$183:$B$184</c:f>
              <c:numCache>
                <c:formatCode>General</c:formatCode>
                <c:ptCount val="2"/>
                <c:pt idx="0">
                  <c:v>0.119060614512786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9.4066</c:v>
                </c:pt>
                <c:pt idx="1">
                  <c:v>1241.6016</c:v>
                </c:pt>
                <c:pt idx="2">
                  <c:v>1156.3841</c:v>
                </c:pt>
                <c:pt idx="3">
                  <c:v>1217.9224</c:v>
                </c:pt>
                <c:pt idx="4">
                  <c:v>1189.1407</c:v>
                </c:pt>
                <c:pt idx="5">
                  <c:v>1279.4602</c:v>
                </c:pt>
                <c:pt idx="6">
                  <c:v>1230.0638</c:v>
                </c:pt>
                <c:pt idx="7">
                  <c:v>1239.4021</c:v>
                </c:pt>
                <c:pt idx="8">
                  <c:v>1290.4719</c:v>
                </c:pt>
                <c:pt idx="9">
                  <c:v>1281.7486</c:v>
                </c:pt>
                <c:pt idx="10">
                  <c:v>1258.8686</c:v>
                </c:pt>
                <c:pt idx="11">
                  <c:v>1194.7636</c:v>
                </c:pt>
                <c:pt idx="12">
                  <c:v>1190.2513</c:v>
                </c:pt>
                <c:pt idx="13">
                  <c:v>1242.6116</c:v>
                </c:pt>
                <c:pt idx="14">
                  <c:v>1221.1766</c:v>
                </c:pt>
                <c:pt idx="15">
                  <c:v>1236.2873</c:v>
                </c:pt>
                <c:pt idx="16">
                  <c:v>1256.7762</c:v>
                </c:pt>
                <c:pt idx="17">
                  <c:v>1293.5349</c:v>
                </c:pt>
                <c:pt idx="18">
                  <c:v>1313.5417</c:v>
                </c:pt>
                <c:pt idx="19">
                  <c:v>1472.6442</c:v>
                </c:pt>
                <c:pt idx="20">
                  <c:v>1468.1628</c:v>
                </c:pt>
                <c:pt idx="21">
                  <c:v>1451.7164</c:v>
                </c:pt>
                <c:pt idx="22">
                  <c:v>1483.1149</c:v>
                </c:pt>
                <c:pt idx="23">
                  <c:v>1444.0621</c:v>
                </c:pt>
                <c:pt idx="24">
                  <c:v>1389.7481</c:v>
                </c:pt>
                <c:pt idx="25">
                  <c:v>1294.1497</c:v>
                </c:pt>
                <c:pt idx="26">
                  <c:v>1482.7807</c:v>
                </c:pt>
                <c:pt idx="27">
                  <c:v>1448.4598</c:v>
                </c:pt>
                <c:pt idx="28">
                  <c:v>1432.7778</c:v>
                </c:pt>
                <c:pt idx="29">
                  <c:v>1515.5385</c:v>
                </c:pt>
                <c:pt idx="30">
                  <c:v>1554.9208</c:v>
                </c:pt>
                <c:pt idx="31">
                  <c:v>1293.2025</c:v>
                </c:pt>
                <c:pt idx="32">
                  <c:v>1288.8588</c:v>
                </c:pt>
                <c:pt idx="33">
                  <c:v>1379.6966</c:v>
                </c:pt>
                <c:pt idx="34">
                  <c:v>1457.9158</c:v>
                </c:pt>
                <c:pt idx="35">
                  <c:v>1314.8978</c:v>
                </c:pt>
                <c:pt idx="36">
                  <c:v>1342.89</c:v>
                </c:pt>
                <c:pt idx="37">
                  <c:v>1466.1566</c:v>
                </c:pt>
                <c:pt idx="38">
                  <c:v>1549.1067</c:v>
                </c:pt>
                <c:pt idx="39">
                  <c:v>1365.28</c:v>
                </c:pt>
                <c:pt idx="40">
                  <c:v>1358.5984</c:v>
                </c:pt>
                <c:pt idx="41">
                  <c:v>1485.0084</c:v>
                </c:pt>
                <c:pt idx="42">
                  <c:v>1472.8462</c:v>
                </c:pt>
                <c:pt idx="43">
                  <c:v>1417.2555</c:v>
                </c:pt>
                <c:pt idx="44">
                  <c:v>1349.2353</c:v>
                </c:pt>
                <c:pt idx="45">
                  <c:v>1357.0833</c:v>
                </c:pt>
                <c:pt idx="46">
                  <c:v>1313.7839</c:v>
                </c:pt>
                <c:pt idx="47">
                  <c:v>1354.1727</c:v>
                </c:pt>
                <c:pt idx="48">
                  <c:v>1340.3381</c:v>
                </c:pt>
                <c:pt idx="49">
                  <c:v>1348.4352</c:v>
                </c:pt>
                <c:pt idx="50">
                  <c:v>1157.2155</c:v>
                </c:pt>
                <c:pt idx="51">
                  <c:v>1101.2524</c:v>
                </c:pt>
                <c:pt idx="52">
                  <c:v>1199.8507601635938</c:v>
                </c:pt>
                <c:pt idx="53">
                  <c:v>887.7624466659377</c:v>
                </c:pt>
                <c:pt idx="54">
                  <c:v>1459.8907283739964</c:v>
                </c:pt>
              </c:numCache>
            </c:numRef>
          </c:xVal>
          <c:yVal>
            <c:numRef>
              <c:f>Sheet1!$B$187:$B$241</c:f>
              <c:numCache>
                <c:formatCode>General</c:formatCode>
                <c:ptCount val="55"/>
                <c:pt idx="0">
                  <c:v>0.1442439329209713</c:v>
                </c:pt>
                <c:pt idx="1">
                  <c:v>0.15130552010791612</c:v>
                </c:pt>
                <c:pt idx="2">
                  <c:v>0.16389355077632886</c:v>
                </c:pt>
                <c:pt idx="3">
                  <c:v>0.15480332860738488</c:v>
                </c:pt>
                <c:pt idx="4">
                  <c:v>0.15905486053790452</c:v>
                </c:pt>
                <c:pt idx="5">
                  <c:v>0.1457131802966899</c:v>
                </c:pt>
                <c:pt idx="6">
                  <c:v>0.15300984351855376</c:v>
                </c:pt>
                <c:pt idx="7">
                  <c:v>0.15163042254526965</c:v>
                </c:pt>
                <c:pt idx="8">
                  <c:v>0.14408657053565066</c:v>
                </c:pt>
                <c:pt idx="9">
                  <c:v>0.1453751458626641</c:v>
                </c:pt>
                <c:pt idx="10">
                  <c:v>0.1487548993369303</c:v>
                </c:pt>
                <c:pt idx="11">
                  <c:v>0.15822426544129384</c:v>
                </c:pt>
                <c:pt idx="12">
                  <c:v>0.15889080659522445</c:v>
                </c:pt>
                <c:pt idx="13">
                  <c:v>0.15115632644493499</c:v>
                </c:pt>
                <c:pt idx="14">
                  <c:v>0.15432262957958956</c:v>
                </c:pt>
                <c:pt idx="15">
                  <c:v>0.15209052989324362</c:v>
                </c:pt>
                <c:pt idx="16">
                  <c:v>0.1490639813373479</c:v>
                </c:pt>
                <c:pt idx="17">
                  <c:v>0.14363411490227315</c:v>
                </c:pt>
                <c:pt idx="18">
                  <c:v>0.14067878047006382</c:v>
                </c:pt>
                <c:pt idx="19">
                  <c:v>0.11717671634683632</c:v>
                </c:pt>
                <c:pt idx="20">
                  <c:v>0.11783869306097866</c:v>
                </c:pt>
                <c:pt idx="21">
                  <c:v>0.12026809767370472</c:v>
                </c:pt>
                <c:pt idx="22">
                  <c:v>0.11563002121121571</c:v>
                </c:pt>
                <c:pt idx="23">
                  <c:v>0.1213987640643549</c:v>
                </c:pt>
                <c:pt idx="24">
                  <c:v>0.1294218379367892</c:v>
                </c:pt>
                <c:pt idx="25">
                  <c:v>0.14354329879930205</c:v>
                </c:pt>
                <c:pt idx="26">
                  <c:v>0.1156793880648477</c:v>
                </c:pt>
                <c:pt idx="27">
                  <c:v>0.12074915122109525</c:v>
                </c:pt>
                <c:pt idx="28">
                  <c:v>0.12306564134274925</c:v>
                </c:pt>
                <c:pt idx="29">
                  <c:v>0.11084052056662572</c:v>
                </c:pt>
                <c:pt idx="30">
                  <c:v>0.10502310512739516</c:v>
                </c:pt>
                <c:pt idx="31">
                  <c:v>0.14368321586620872</c:v>
                </c:pt>
                <c:pt idx="32">
                  <c:v>0.14432485201857634</c:v>
                </c:pt>
                <c:pt idx="33">
                  <c:v>0.13090661031644774</c:v>
                </c:pt>
                <c:pt idx="34">
                  <c:v>0.11935234401599643</c:v>
                </c:pt>
                <c:pt idx="35">
                  <c:v>0.14047846212712448</c:v>
                </c:pt>
                <c:pt idx="36">
                  <c:v>0.13634355237177673</c:v>
                </c:pt>
                <c:pt idx="37">
                  <c:v>0.11813504189926857</c:v>
                </c:pt>
                <c:pt idx="38">
                  <c:v>0.10588194361842362</c:v>
                </c:pt>
                <c:pt idx="39">
                  <c:v>0.13303617998153108</c:v>
                </c:pt>
                <c:pt idx="40">
                  <c:v>0.13402316253457552</c:v>
                </c:pt>
                <c:pt idx="41">
                  <c:v>0.11535032002225057</c:v>
                </c:pt>
                <c:pt idx="42">
                  <c:v>0.11714687761424011</c:v>
                </c:pt>
                <c:pt idx="43">
                  <c:v>0.12535854113967246</c:v>
                </c:pt>
                <c:pt idx="44">
                  <c:v>0.13540624687701006</c:v>
                </c:pt>
                <c:pt idx="45">
                  <c:v>0.13424696780069706</c:v>
                </c:pt>
                <c:pt idx="46">
                  <c:v>0.14064300353424794</c:v>
                </c:pt>
                <c:pt idx="47">
                  <c:v>0.1346769114397792</c:v>
                </c:pt>
                <c:pt idx="48">
                  <c:v>0.13672051010302588</c:v>
                </c:pt>
                <c:pt idx="49">
                  <c:v>0.1355244348470608</c:v>
                </c:pt>
                <c:pt idx="50">
                  <c:v>0.16377073927989072</c:v>
                </c:pt>
                <c:pt idx="51">
                  <c:v>0.1720374124291787</c:v>
                </c:pt>
                <c:pt idx="52">
                  <c:v>0.15747280795715682</c:v>
                </c:pt>
                <c:pt idx="53">
                  <c:v>0.20357340069411467</c:v>
                </c:pt>
                <c:pt idx="54">
                  <c:v>0.119060614512786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6.0"/>
          <c:min val="63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17598533455546"/>
          <c:min val="0.07459459459459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2495060364833</c:v>
                </c:pt>
                <c:pt idx="1">
                  <c:v>0.8200880661289645</c:v>
                </c:pt>
                <c:pt idx="2">
                  <c:v>0.8861936500205034</c:v>
                </c:pt>
                <c:pt idx="3">
                  <c:v>0.7963966590102318</c:v>
                </c:pt>
                <c:pt idx="4">
                  <c:v>0.928282525580538</c:v>
                </c:pt>
                <c:pt idx="5">
                  <c:v>0.8930295251510547</c:v>
                </c:pt>
                <c:pt idx="6">
                  <c:v>0.9847811597885971</c:v>
                </c:pt>
                <c:pt idx="7">
                  <c:v>1.0050874009178141</c:v>
                </c:pt>
                <c:pt idx="8">
                  <c:v>1.0445921202833042</c:v>
                </c:pt>
                <c:pt idx="9">
                  <c:v>1.0444851668478714</c:v>
                </c:pt>
                <c:pt idx="10">
                  <c:v>1.1789442427458696</c:v>
                </c:pt>
                <c:pt idx="11">
                  <c:v>1.1886285656739628</c:v>
                </c:pt>
                <c:pt idx="12">
                  <c:v>1.1249650482006353</c:v>
                </c:pt>
                <c:pt idx="13">
                  <c:v>1.1895001275476738</c:v>
                </c:pt>
                <c:pt idx="14">
                  <c:v>1.2262247275163805</c:v>
                </c:pt>
                <c:pt idx="15">
                  <c:v>1.1148873767608152</c:v>
                </c:pt>
                <c:pt idx="16">
                  <c:v>1.1361802087750605</c:v>
                </c:pt>
                <c:pt idx="17">
                  <c:v>1.1174534911798688</c:v>
                </c:pt>
                <c:pt idx="18">
                  <c:v>1.2347223838901176</c:v>
                </c:pt>
                <c:pt idx="19">
                  <c:v>1.2290780475284198</c:v>
                </c:pt>
                <c:pt idx="20">
                  <c:v>0.8866542486762701</c:v>
                </c:pt>
                <c:pt idx="21">
                  <c:v>1.2025604503632523</c:v>
                </c:pt>
                <c:pt idx="22">
                  <c:v>1.1267974944834642</c:v>
                </c:pt>
                <c:pt idx="23">
                  <c:v>1.0425410597997697</c:v>
                </c:pt>
                <c:pt idx="24">
                  <c:v>1.0509986867045549</c:v>
                </c:pt>
                <c:pt idx="25">
                  <c:v>1.035350150987224</c:v>
                </c:pt>
                <c:pt idx="26">
                  <c:v>1.0199199309001343</c:v>
                </c:pt>
                <c:pt idx="27">
                  <c:v>1.0015970402014485</c:v>
                </c:pt>
                <c:pt idx="28">
                  <c:v>1.0062279692645446</c:v>
                </c:pt>
                <c:pt idx="29">
                  <c:v>0.8885814711046902</c:v>
                </c:pt>
                <c:pt idx="30">
                  <c:v>0.6340443355959755</c:v>
                </c:pt>
                <c:pt idx="31">
                  <c:v>0.9234935803432408</c:v>
                </c:pt>
                <c:pt idx="32">
                  <c:v>0.44146839432673785</c:v>
                </c:pt>
                <c:pt idx="33">
                  <c:v>0.5036572767323442</c:v>
                </c:pt>
                <c:pt idx="34">
                  <c:v>0.9419058481957694</c:v>
                </c:pt>
                <c:pt idx="35">
                  <c:v>0.9799791511974429</c:v>
                </c:pt>
                <c:pt idx="36">
                  <c:v>0.6331363046920606</c:v>
                </c:pt>
                <c:pt idx="37">
                  <c:v>0.9254365999297506</c:v>
                </c:pt>
                <c:pt idx="38">
                  <c:v>1.0702788321167884</c:v>
                </c:pt>
                <c:pt idx="39">
                  <c:v>0.6225379518224171</c:v>
                </c:pt>
                <c:pt idx="40">
                  <c:v>0.9173779310344828</c:v>
                </c:pt>
                <c:pt idx="41">
                  <c:v>0.9658000518312257</c:v>
                </c:pt>
                <c:pt idx="42">
                  <c:v>0.9736451017922395</c:v>
                </c:pt>
                <c:pt idx="43">
                  <c:v>1.0940014305132657</c:v>
                </c:pt>
                <c:pt idx="44">
                  <c:v>0.9770761706020807</c:v>
                </c:pt>
                <c:pt idx="45">
                  <c:v>0.9390501757056795</c:v>
                </c:pt>
                <c:pt idx="46">
                  <c:v>0.9453009991381762</c:v>
                </c:pt>
                <c:pt idx="47">
                  <c:v>0.8358308902291918</c:v>
                </c:pt>
                <c:pt idx="48">
                  <c:v>0.9390242750072051</c:v>
                </c:pt>
                <c:pt idx="49">
                  <c:v>0.9735062440175658</c:v>
                </c:pt>
                <c:pt idx="50">
                  <c:v>0.96516445505766</c:v>
                </c:pt>
                <c:pt idx="51">
                  <c:v>0.9979017540711498</c:v>
                </c:pt>
                <c:pt idx="52">
                  <c:v>0.9289722421135005</c:v>
                </c:pt>
                <c:pt idx="53">
                  <c:v>1.047537696422072</c:v>
                </c:pt>
                <c:pt idx="54">
                  <c:v>1.042326905166079</c:v>
                </c:pt>
                <c:pt idx="55">
                  <c:v>1.1116769523718493</c:v>
                </c:pt>
                <c:pt idx="56">
                  <c:v>0.9920290193802325</c:v>
                </c:pt>
                <c:pt idx="57">
                  <c:v>0.9560404027180108</c:v>
                </c:pt>
                <c:pt idx="58">
                  <c:v>0.9085932621241077</c:v>
                </c:pt>
                <c:pt idx="59">
                  <c:v>0.9340680563404431</c:v>
                </c:pt>
                <c:pt idx="60">
                  <c:v>1.052678831542186</c:v>
                </c:pt>
                <c:pt idx="61">
                  <c:v>0.8928012818384778</c:v>
                </c:pt>
                <c:pt idx="62">
                  <c:v>0.8831397943610612</c:v>
                </c:pt>
                <c:pt idx="63">
                  <c:v>0.9991906676111951</c:v>
                </c:pt>
                <c:pt idx="64">
                  <c:v>1.0589405184290908</c:v>
                </c:pt>
                <c:pt idx="65">
                  <c:v>0.9607862103479077</c:v>
                </c:pt>
                <c:pt idx="66">
                  <c:v>0.9974274898314073</c:v>
                </c:pt>
                <c:pt idx="67">
                  <c:v>0.9406795652210895</c:v>
                </c:pt>
                <c:pt idx="68">
                  <c:v>0.979615018832138</c:v>
                </c:pt>
                <c:pt idx="69">
                  <c:v>0.8799274384876834</c:v>
                </c:pt>
                <c:pt idx="70">
                  <c:v>0.9442907140765763</c:v>
                </c:pt>
                <c:pt idx="71">
                  <c:v>0.9685349591323673</c:v>
                </c:pt>
                <c:pt idx="72">
                  <c:v>0.9904589217499257</c:v>
                </c:pt>
                <c:pt idx="73">
                  <c:v>0.8495855661349174</c:v>
                </c:pt>
                <c:pt idx="74">
                  <c:v>0.7264368376076074</c:v>
                </c:pt>
                <c:pt idx="75">
                  <c:v>0.8273836267397223</c:v>
                </c:pt>
                <c:pt idx="76">
                  <c:v>0.8018744249724994</c:v>
                </c:pt>
                <c:pt idx="77">
                  <c:v>0.8837241188797798</c:v>
                </c:pt>
                <c:pt idx="78">
                  <c:v>0.8464443136687094</c:v>
                </c:pt>
                <c:pt idx="79">
                  <c:v>0.834357011335319</c:v>
                </c:pt>
                <c:pt idx="80">
                  <c:v>0.5333197792777022</c:v>
                </c:pt>
                <c:pt idx="81">
                  <c:v>0.7318966688434377</c:v>
                </c:pt>
                <c:pt idx="82">
                  <c:v>0.694875013731039</c:v>
                </c:pt>
                <c:pt idx="83">
                  <c:v>0.6079877131785717</c:v>
                </c:pt>
                <c:pt idx="84">
                  <c:v>0.56391452991453</c:v>
                </c:pt>
                <c:pt idx="85">
                  <c:v>0.7521172129051116</c:v>
                </c:pt>
                <c:pt idx="86">
                  <c:v>0.5145395527741793</c:v>
                </c:pt>
                <c:pt idx="87">
                  <c:v>0.6404645091561298</c:v>
                </c:pt>
                <c:pt idx="88">
                  <c:v>0.5648656904155626</c:v>
                </c:pt>
                <c:pt idx="89">
                  <c:v>0.48887501795354343</c:v>
                </c:pt>
                <c:pt idx="90">
                  <c:v>0.5270367418873844</c:v>
                </c:pt>
                <c:pt idx="91">
                  <c:v>0.46235708884915877</c:v>
                </c:pt>
                <c:pt idx="92">
                  <c:v>0.5439460644868962</c:v>
                </c:pt>
                <c:pt idx="93">
                  <c:v>0.651690960680989</c:v>
                </c:pt>
                <c:pt idx="94">
                  <c:v>0.682812001771479</c:v>
                </c:pt>
                <c:pt idx="95">
                  <c:v>0.6897948477988839</c:v>
                </c:pt>
                <c:pt idx="96">
                  <c:v>0.9202450186931724</c:v>
                </c:pt>
                <c:pt idx="97">
                  <c:v>0.8250982168330956</c:v>
                </c:pt>
                <c:pt idx="98">
                  <c:v>0.9773448675970372</c:v>
                </c:pt>
                <c:pt idx="99">
                  <c:v>0.9796081046313827</c:v>
                </c:pt>
                <c:pt idx="100">
                  <c:v>1.0587981523820913</c:v>
                </c:pt>
                <c:pt idx="101">
                  <c:v>1.0273446608846903</c:v>
                </c:pt>
                <c:pt idx="102">
                  <c:v>0.9926103855197254</c:v>
                </c:pt>
                <c:pt idx="103">
                  <c:v>0.74889549047005</c:v>
                </c:pt>
                <c:pt idx="104">
                  <c:v>0.8144523191184679</c:v>
                </c:pt>
              </c:numCache>
            </c:numRef>
          </c:xVal>
          <c:yVal>
            <c:numRef>
              <c:f>Sheet1!$B$2:$B$106</c:f>
              <c:numCache>
                <c:formatCode>General</c:formatCode>
                <c:ptCount val="105"/>
                <c:pt idx="0">
                  <c:v>0.19555555555555557</c:v>
                </c:pt>
                <c:pt idx="1">
                  <c:v>0.19047619047619047</c:v>
                </c:pt>
                <c:pt idx="2">
                  <c:v>0.1909840038778478</c:v>
                </c:pt>
                <c:pt idx="3">
                  <c:v>0.1893048128342246</c:v>
                </c:pt>
                <c:pt idx="4">
                  <c:v>0.19047619047619047</c:v>
                </c:pt>
                <c:pt idx="5">
                  <c:v>0.190625</c:v>
                </c:pt>
                <c:pt idx="6">
                  <c:v>0.22137791286727457</c:v>
                </c:pt>
                <c:pt idx="7">
                  <c:v>0.22321428571428573</c:v>
                </c:pt>
                <c:pt idx="8">
                  <c:v>0.24014665444546288</c:v>
                </c:pt>
                <c:pt idx="9">
                  <c:v>0.23332144131287905</c:v>
                </c:pt>
                <c:pt idx="10">
                  <c:v>0.23737373737373738</c:v>
                </c:pt>
                <c:pt idx="11">
                  <c:v>0.2167563412759416</c:v>
                </c:pt>
                <c:pt idx="12">
                  <c:v>0.211443728685108</c:v>
                </c:pt>
                <c:pt idx="13">
                  <c:v>0.19586374695863748</c:v>
                </c:pt>
                <c:pt idx="14">
                  <c:v>0.18779143704959728</c:v>
                </c:pt>
                <c:pt idx="15">
                  <c:v>0.1993006993006993</c:v>
                </c:pt>
                <c:pt idx="16">
                  <c:v>0.1872391174716756</c:v>
                </c:pt>
                <c:pt idx="17">
                  <c:v>0.1701720841300191</c:v>
                </c:pt>
                <c:pt idx="18">
                  <c:v>0.1925545571245186</c:v>
                </c:pt>
                <c:pt idx="19">
                  <c:v>0.14938488576449913</c:v>
                </c:pt>
                <c:pt idx="20">
                  <c:v>0.15056628914057296</c:v>
                </c:pt>
                <c:pt idx="21">
                  <c:v>0.16019818331957061</c:v>
                </c:pt>
                <c:pt idx="22">
                  <c:v>0.15785319652722968</c:v>
                </c:pt>
                <c:pt idx="23">
                  <c:v>0.14425645592163847</c:v>
                </c:pt>
                <c:pt idx="24">
                  <c:v>0.16407766990291262</c:v>
                </c:pt>
                <c:pt idx="25">
                  <c:v>0.16290983606557377</c:v>
                </c:pt>
                <c:pt idx="26">
                  <c:v>0.14988814317673377</c:v>
                </c:pt>
                <c:pt idx="27">
                  <c:v>0.14108352144469527</c:v>
                </c:pt>
                <c:pt idx="28">
                  <c:v>0.1656288916562889</c:v>
                </c:pt>
                <c:pt idx="29">
                  <c:v>0.1541095890410959</c:v>
                </c:pt>
                <c:pt idx="30">
                  <c:v>0.14834437086092717</c:v>
                </c:pt>
                <c:pt idx="31">
                  <c:v>0.12742382271468145</c:v>
                </c:pt>
                <c:pt idx="32">
                  <c:v>0.1440443213296399</c:v>
                </c:pt>
                <c:pt idx="33">
                  <c:v>0.1910902696365768</c:v>
                </c:pt>
                <c:pt idx="34">
                  <c:v>0.1665024630541872</c:v>
                </c:pt>
                <c:pt idx="35">
                  <c:v>0.17753001715265868</c:v>
                </c:pt>
                <c:pt idx="36">
                  <c:v>0.12932790224032586</c:v>
                </c:pt>
                <c:pt idx="37">
                  <c:v>0.12200208550573514</c:v>
                </c:pt>
                <c:pt idx="38">
                  <c:v>0.09774436090225563</c:v>
                </c:pt>
                <c:pt idx="39">
                  <c:v>0.09324324324324325</c:v>
                </c:pt>
                <c:pt idx="40">
                  <c:v>0.10380267214799589</c:v>
                </c:pt>
                <c:pt idx="41">
                  <c:v>0.09908069458631256</c:v>
                </c:pt>
                <c:pt idx="42">
                  <c:v>0.10590631364562118</c:v>
                </c:pt>
                <c:pt idx="43">
                  <c:v>0.10625</c:v>
                </c:pt>
                <c:pt idx="44">
                  <c:v>0.14261884904086738</c:v>
                </c:pt>
                <c:pt idx="45">
                  <c:v>0.15592286501377411</c:v>
                </c:pt>
                <c:pt idx="46">
                  <c:v>0.16841695838195256</c:v>
                </c:pt>
                <c:pt idx="47">
                  <c:v>0.15575807787903895</c:v>
                </c:pt>
                <c:pt idx="48">
                  <c:v>0.18781887755102042</c:v>
                </c:pt>
                <c:pt idx="49">
                  <c:v>0.210318820706205</c:v>
                </c:pt>
                <c:pt idx="50">
                  <c:v>0.1605623381428043</c:v>
                </c:pt>
                <c:pt idx="51">
                  <c:v>0.15151515151515152</c:v>
                </c:pt>
                <c:pt idx="52">
                  <c:v>0.1601090767432801</c:v>
                </c:pt>
                <c:pt idx="53">
                  <c:v>0.14040728831725616</c:v>
                </c:pt>
                <c:pt idx="54">
                  <c:v>0.14408141403320834</c:v>
                </c:pt>
                <c:pt idx="55">
                  <c:v>0.14241001564945227</c:v>
                </c:pt>
                <c:pt idx="56">
                  <c:v>0.1499482936918304</c:v>
                </c:pt>
                <c:pt idx="57">
                  <c:v>0.1388753056234719</c:v>
                </c:pt>
                <c:pt idx="58">
                  <c:v>0.1595</c:v>
                </c:pt>
                <c:pt idx="59">
                  <c:v>0.15569823434991975</c:v>
                </c:pt>
                <c:pt idx="60">
                  <c:v>0.1752120988565105</c:v>
                </c:pt>
                <c:pt idx="61">
                  <c:v>0.203757225433526</c:v>
                </c:pt>
                <c:pt idx="62">
                  <c:v>0.20456942003514939</c:v>
                </c:pt>
                <c:pt idx="63">
                  <c:v>0.21350832266325223</c:v>
                </c:pt>
                <c:pt idx="64">
                  <c:v>0.2036979969183359</c:v>
                </c:pt>
                <c:pt idx="65">
                  <c:v>0.187683284457478</c:v>
                </c:pt>
                <c:pt idx="66">
                  <c:v>0.18203151190077105</c:v>
                </c:pt>
                <c:pt idx="67">
                  <c:v>0.1793388429752066</c:v>
                </c:pt>
                <c:pt idx="68">
                  <c:v>0.13468538741549663</c:v>
                </c:pt>
                <c:pt idx="69">
                  <c:v>0.11972207375734902</c:v>
                </c:pt>
                <c:pt idx="70">
                  <c:v>0.11903425042111174</c:v>
                </c:pt>
                <c:pt idx="71">
                  <c:v>0.13985064494229463</c:v>
                </c:pt>
                <c:pt idx="72">
                  <c:v>0.13252240717029448</c:v>
                </c:pt>
                <c:pt idx="73">
                  <c:v>0.12830482115085537</c:v>
                </c:pt>
                <c:pt idx="74">
                  <c:v>0.15477084898572502</c:v>
                </c:pt>
                <c:pt idx="75">
                  <c:v>0.1268209083119109</c:v>
                </c:pt>
                <c:pt idx="76">
                  <c:v>0.12701100762066045</c:v>
                </c:pt>
                <c:pt idx="77">
                  <c:v>0.11213991769547325</c:v>
                </c:pt>
                <c:pt idx="78">
                  <c:v>0.11063829787234042</c:v>
                </c:pt>
                <c:pt idx="79">
                  <c:v>0.12787488500459981</c:v>
                </c:pt>
                <c:pt idx="80">
                  <c:v>0.13697318007662834</c:v>
                </c:pt>
                <c:pt idx="81">
                  <c:v>0.1337737407101569</c:v>
                </c:pt>
                <c:pt idx="82">
                  <c:v>0.13708820403825717</c:v>
                </c:pt>
                <c:pt idx="83">
                  <c:v>0.11524163568773234</c:v>
                </c:pt>
                <c:pt idx="84">
                  <c:v>0.09696969696969697</c:v>
                </c:pt>
                <c:pt idx="85">
                  <c:v>0.10244988864142539</c:v>
                </c:pt>
                <c:pt idx="86">
                  <c:v>0.12381852551984877</c:v>
                </c:pt>
                <c:pt idx="87">
                  <c:v>0.11843202668890743</c:v>
                </c:pt>
                <c:pt idx="88">
                  <c:v>0.1038961038961039</c:v>
                </c:pt>
                <c:pt idx="89">
                  <c:v>0.0979381443298969</c:v>
                </c:pt>
                <c:pt idx="90">
                  <c:v>0.10282776349614396</c:v>
                </c:pt>
                <c:pt idx="91">
                  <c:v>0.1049136786188579</c:v>
                </c:pt>
                <c:pt idx="92">
                  <c:v>0.11363636363636363</c:v>
                </c:pt>
                <c:pt idx="93">
                  <c:v>0.09621993127147767</c:v>
                </c:pt>
                <c:pt idx="94">
                  <c:v>0.10555555555555556</c:v>
                </c:pt>
                <c:pt idx="95">
                  <c:v>0.1287820015515904</c:v>
                </c:pt>
                <c:pt idx="96">
                  <c:v>0.11725067385444744</c:v>
                </c:pt>
                <c:pt idx="97">
                  <c:v>0.1280193236714976</c:v>
                </c:pt>
                <c:pt idx="98">
                  <c:v>0.13851351351351351</c:v>
                </c:pt>
                <c:pt idx="99">
                  <c:v>0.14471433458775232</c:v>
                </c:pt>
                <c:pt idx="100">
                  <c:v>0.1612497378905431</c:v>
                </c:pt>
                <c:pt idx="101">
                  <c:v>0.14667855550601872</c:v>
                </c:pt>
                <c:pt idx="102">
                  <c:v>0.11319712865819989</c:v>
                </c:pt>
                <c:pt idx="103">
                  <c:v>0.15762867647058823</c:v>
                </c:pt>
                <c:pt idx="104">
                  <c:v>0.1548717948717948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40873741789559</c:v>
                </c:pt>
                <c:pt idx="1">
                  <c:v>0.9735854897683086</c:v>
                </c:pt>
                <c:pt idx="2">
                  <c:v>0.9659546426102451</c:v>
                </c:pt>
                <c:pt idx="3">
                  <c:v>1.0647379170336224</c:v>
                </c:pt>
                <c:pt idx="4">
                  <c:v>0.9846825863300493</c:v>
                </c:pt>
                <c:pt idx="5">
                  <c:v>1.2369420487916554</c:v>
                </c:pt>
                <c:pt idx="6">
                  <c:v>1.310211675553453</c:v>
                </c:pt>
                <c:pt idx="7">
                  <c:v>1.4084546912234808</c:v>
                </c:pt>
                <c:pt idx="8">
                  <c:v>1.4741918842170414</c:v>
                </c:pt>
                <c:pt idx="9">
                  <c:v>1.3681831607237762</c:v>
                </c:pt>
                <c:pt idx="10">
                  <c:v>1.3830573283816399</c:v>
                </c:pt>
                <c:pt idx="11">
                  <c:v>1.3982127890045728</c:v>
                </c:pt>
                <c:pt idx="12">
                  <c:v>1.2892248325498883</c:v>
                </c:pt>
                <c:pt idx="13">
                  <c:v>1.4235582368617947</c:v>
                </c:pt>
                <c:pt idx="14">
                  <c:v>1.3202996830657834</c:v>
                </c:pt>
                <c:pt idx="15">
                  <c:v>1.28270519421568</c:v>
                </c:pt>
                <c:pt idx="16">
                  <c:v>1.2784012520594623</c:v>
                </c:pt>
                <c:pt idx="17">
                  <c:v>1.1726918221842828</c:v>
                </c:pt>
                <c:pt idx="18">
                  <c:v>1.6713144741417623</c:v>
                </c:pt>
                <c:pt idx="19">
                  <c:v>1.9674762923951292</c:v>
                </c:pt>
                <c:pt idx="20">
                  <c:v>1.7132098924333181</c:v>
                </c:pt>
                <c:pt idx="21">
                  <c:v>2.123197288094741</c:v>
                </c:pt>
                <c:pt idx="22">
                  <c:v>1.9252551317120383</c:v>
                </c:pt>
                <c:pt idx="23">
                  <c:v>1.7565252898963148</c:v>
                </c:pt>
                <c:pt idx="24">
                  <c:v>1.9115473988752563</c:v>
                </c:pt>
                <c:pt idx="25">
                  <c:v>1.5637071715833566</c:v>
                </c:pt>
                <c:pt idx="26">
                  <c:v>1.6015467634951892</c:v>
                </c:pt>
                <c:pt idx="27">
                  <c:v>1.5931415908276494</c:v>
                </c:pt>
                <c:pt idx="28">
                  <c:v>1.3729769645239795</c:v>
                </c:pt>
                <c:pt idx="29">
                  <c:v>1.7327640377189883</c:v>
                </c:pt>
                <c:pt idx="30">
                  <c:v>1.5301874619401838</c:v>
                </c:pt>
                <c:pt idx="31">
                  <c:v>1.3778674973917315</c:v>
                </c:pt>
                <c:pt idx="32">
                  <c:v>1.3750272181730874</c:v>
                </c:pt>
                <c:pt idx="33">
                  <c:v>1.5197249706287117</c:v>
                </c:pt>
                <c:pt idx="34">
                  <c:v>1.450662487562189</c:v>
                </c:pt>
                <c:pt idx="35">
                  <c:v>1.5851691380349608</c:v>
                </c:pt>
                <c:pt idx="36">
                  <c:v>1.4947295614607343</c:v>
                </c:pt>
                <c:pt idx="37">
                  <c:v>1.639047969116748</c:v>
                </c:pt>
                <c:pt idx="38">
                  <c:v>2.0577130831650683</c:v>
                </c:pt>
                <c:pt idx="39">
                  <c:v>1.7368644284496275</c:v>
                </c:pt>
                <c:pt idx="40">
                  <c:v>1.5176729910190652</c:v>
                </c:pt>
                <c:pt idx="41">
                  <c:v>1.6372484370980978</c:v>
                </c:pt>
                <c:pt idx="42">
                  <c:v>1.8255017369485926</c:v>
                </c:pt>
                <c:pt idx="43">
                  <c:v>1.9726510685053231</c:v>
                </c:pt>
                <c:pt idx="44">
                  <c:v>1.6870472868533042</c:v>
                </c:pt>
                <c:pt idx="45">
                  <c:v>1.6565353632722633</c:v>
                </c:pt>
                <c:pt idx="46">
                  <c:v>1.8895771814291031</c:v>
                </c:pt>
                <c:pt idx="47">
                  <c:v>1.3958271122669825</c:v>
                </c:pt>
                <c:pt idx="48">
                  <c:v>1.652250228606353</c:v>
                </c:pt>
                <c:pt idx="49">
                  <c:v>1.5235535065277546</c:v>
                </c:pt>
                <c:pt idx="50">
                  <c:v>1.4259001459396399</c:v>
                </c:pt>
                <c:pt idx="51">
                  <c:v>1.1871810384342893</c:v>
                </c:pt>
              </c:numCache>
            </c:numRef>
          </c:xVal>
          <c:yVal>
            <c:numRef>
              <c:f>Sheet1!$B$109:$B$160</c:f>
              <c:numCache>
                <c:formatCode>General</c:formatCode>
                <c:ptCount val="52"/>
                <c:pt idx="0">
                  <c:v>0.12141057934508816</c:v>
                </c:pt>
                <c:pt idx="1">
                  <c:v>0.14547604967474867</c:v>
                </c:pt>
                <c:pt idx="2">
                  <c:v>0.15619047619047619</c:v>
                </c:pt>
                <c:pt idx="3">
                  <c:v>0.17635564240351734</c:v>
                </c:pt>
                <c:pt idx="4">
                  <c:v>0.17424242424242425</c:v>
                </c:pt>
                <c:pt idx="5">
                  <c:v>0.15167785234899328</c:v>
                </c:pt>
                <c:pt idx="6">
                  <c:v>0.1491471638238794</c:v>
                </c:pt>
                <c:pt idx="7">
                  <c:v>0.15027110766847404</c:v>
                </c:pt>
                <c:pt idx="8">
                  <c:v>0.1669793621013133</c:v>
                </c:pt>
                <c:pt idx="9">
                  <c:v>0.17220052083333334</c:v>
                </c:pt>
                <c:pt idx="10">
                  <c:v>0.17857142857142858</c:v>
                </c:pt>
                <c:pt idx="11">
                  <c:v>0.18160719466202496</c:v>
                </c:pt>
                <c:pt idx="12">
                  <c:v>0.18838750394446196</c:v>
                </c:pt>
                <c:pt idx="13">
                  <c:v>0.18254545454545454</c:v>
                </c:pt>
                <c:pt idx="14">
                  <c:v>0.17781402936378465</c:v>
                </c:pt>
                <c:pt idx="15">
                  <c:v>0.1702029520295203</c:v>
                </c:pt>
                <c:pt idx="16">
                  <c:v>0.155858310626703</c:v>
                </c:pt>
                <c:pt idx="17">
                  <c:v>0.12983091787439613</c:v>
                </c:pt>
                <c:pt idx="18">
                  <c:v>0.1330049261083744</c:v>
                </c:pt>
                <c:pt idx="19">
                  <c:v>0.1257716049382716</c:v>
                </c:pt>
                <c:pt idx="20">
                  <c:v>0.1278493557978196</c:v>
                </c:pt>
                <c:pt idx="21">
                  <c:v>0.12350230414746544</c:v>
                </c:pt>
                <c:pt idx="22">
                  <c:v>0.1284722222222222</c:v>
                </c:pt>
                <c:pt idx="23">
                  <c:v>0.14235190097259062</c:v>
                </c:pt>
                <c:pt idx="24">
                  <c:v>0.12042818911685994</c:v>
                </c:pt>
                <c:pt idx="25">
                  <c:v>0.13327289211242066</c:v>
                </c:pt>
                <c:pt idx="26">
                  <c:v>0.11003861003861004</c:v>
                </c:pt>
                <c:pt idx="27">
                  <c:v>0.09775280898876404</c:v>
                </c:pt>
                <c:pt idx="28">
                  <c:v>0.10915104740904079</c:v>
                </c:pt>
                <c:pt idx="29">
                  <c:v>0.12903225806451613</c:v>
                </c:pt>
                <c:pt idx="30">
                  <c:v>0.1251548946716233</c:v>
                </c:pt>
                <c:pt idx="31">
                  <c:v>0.1154970760233918</c:v>
                </c:pt>
                <c:pt idx="32">
                  <c:v>0.11288180610889774</c:v>
                </c:pt>
                <c:pt idx="33">
                  <c:v>0.13679245283018868</c:v>
                </c:pt>
                <c:pt idx="34">
                  <c:v>0.16833333333333333</c:v>
                </c:pt>
                <c:pt idx="35">
                  <c:v>0.17432052483598875</c:v>
                </c:pt>
                <c:pt idx="36">
                  <c:v>0.1272264631043257</c:v>
                </c:pt>
                <c:pt idx="37">
                  <c:v>0.11140939597315436</c:v>
                </c:pt>
                <c:pt idx="38">
                  <c:v>0.09881422924901186</c:v>
                </c:pt>
                <c:pt idx="39">
                  <c:v>0.11600928074245939</c:v>
                </c:pt>
                <c:pt idx="40">
                  <c:v>0.1211519364448858</c:v>
                </c:pt>
                <c:pt idx="41">
                  <c:v>0.12130479102956167</c:v>
                </c:pt>
                <c:pt idx="42">
                  <c:v>0.11807447774750227</c:v>
                </c:pt>
                <c:pt idx="43">
                  <c:v>0.10595514307811292</c:v>
                </c:pt>
                <c:pt idx="44">
                  <c:v>0.10871302957633892</c:v>
                </c:pt>
                <c:pt idx="45">
                  <c:v>0.10980392156862745</c:v>
                </c:pt>
                <c:pt idx="46">
                  <c:v>0.11024930747922437</c:v>
                </c:pt>
                <c:pt idx="47">
                  <c:v>0.11247443762781185</c:v>
                </c:pt>
                <c:pt idx="48">
                  <c:v>0.10390895596239486</c:v>
                </c:pt>
                <c:pt idx="49">
                  <c:v>0.11838962811327192</c:v>
                </c:pt>
                <c:pt idx="50">
                  <c:v>0.16117073170731708</c:v>
                </c:pt>
                <c:pt idx="51">
                  <c:v>0.14058234758871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7790893674321448</c:v>
                </c:pt>
              </c:numCache>
            </c:numRef>
          </c:xVal>
          <c:yVal>
            <c:numRef>
              <c:f>Sheet1!$B$163:$B$164</c:f>
              <c:numCache>
                <c:formatCode>General</c:formatCode>
                <c:ptCount val="2"/>
                <c:pt idx="0">
                  <c:v>0.20357340069411467</c:v>
                </c:pt>
                <c:pt idx="1">
                  <c:v>0.2035734006941146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7790893674321448</c:v>
                </c:pt>
                <c:pt idx="1">
                  <c:v>0.17790893674321448</c:v>
                </c:pt>
              </c:numCache>
            </c:numRef>
          </c:xVal>
          <c:yVal>
            <c:numRef>
              <c:f>Sheet1!$B$167:$B$168</c:f>
              <c:numCache>
                <c:formatCode>General</c:formatCode>
                <c:ptCount val="2"/>
                <c:pt idx="0">
                  <c:v>0.2035734006941146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003377102662242</c:v>
                </c:pt>
              </c:numCache>
            </c:numRef>
          </c:xVal>
          <c:yVal>
            <c:numRef>
              <c:f>Sheet1!$B$171:$B$172</c:f>
              <c:numCache>
                <c:formatCode>General</c:formatCode>
                <c:ptCount val="2"/>
                <c:pt idx="0">
                  <c:v>0.15747280795715682</c:v>
                </c:pt>
                <c:pt idx="1">
                  <c:v>0.157472807957156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003377102662242</c:v>
                </c:pt>
                <c:pt idx="1">
                  <c:v>1.1003377102662242</c:v>
                </c:pt>
              </c:numCache>
            </c:numRef>
          </c:xVal>
          <c:yVal>
            <c:numRef>
              <c:f>Sheet1!$B$175:$B$176</c:f>
              <c:numCache>
                <c:formatCode>General</c:formatCode>
                <c:ptCount val="2"/>
                <c:pt idx="0">
                  <c:v>0.157472807957156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689289665520368</c:v>
                </c:pt>
              </c:numCache>
            </c:numRef>
          </c:xVal>
          <c:yVal>
            <c:numRef>
              <c:f>Sheet1!$B$179:$B$180</c:f>
              <c:numCache>
                <c:formatCode>General</c:formatCode>
                <c:ptCount val="2"/>
                <c:pt idx="0">
                  <c:v>0.11906061451278657</c:v>
                </c:pt>
                <c:pt idx="1">
                  <c:v>0.119060614512786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689289665520368</c:v>
                </c:pt>
                <c:pt idx="1">
                  <c:v>1.8689289665520368</c:v>
                </c:pt>
              </c:numCache>
            </c:numRef>
          </c:xVal>
          <c:yVal>
            <c:numRef>
              <c:f>Sheet1!$B$183:$B$184</c:f>
              <c:numCache>
                <c:formatCode>General</c:formatCode>
                <c:ptCount val="2"/>
                <c:pt idx="0">
                  <c:v>0.119060614512786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40873741789559</c:v>
                </c:pt>
                <c:pt idx="1">
                  <c:v>0.9735854897683086</c:v>
                </c:pt>
                <c:pt idx="2">
                  <c:v>0.9659546426102451</c:v>
                </c:pt>
                <c:pt idx="3">
                  <c:v>1.0647379170336224</c:v>
                </c:pt>
                <c:pt idx="4">
                  <c:v>0.9846825863300493</c:v>
                </c:pt>
                <c:pt idx="5">
                  <c:v>1.2369420487916554</c:v>
                </c:pt>
                <c:pt idx="6">
                  <c:v>1.310211675553453</c:v>
                </c:pt>
                <c:pt idx="7">
                  <c:v>1.4084546912234808</c:v>
                </c:pt>
                <c:pt idx="8">
                  <c:v>1.4741918842170414</c:v>
                </c:pt>
                <c:pt idx="9">
                  <c:v>1.3681831607237762</c:v>
                </c:pt>
                <c:pt idx="10">
                  <c:v>1.3830573283816399</c:v>
                </c:pt>
                <c:pt idx="11">
                  <c:v>1.3982127890045728</c:v>
                </c:pt>
                <c:pt idx="12">
                  <c:v>1.2892248325498883</c:v>
                </c:pt>
                <c:pt idx="13">
                  <c:v>1.4235582368617947</c:v>
                </c:pt>
                <c:pt idx="14">
                  <c:v>1.3202996830657834</c:v>
                </c:pt>
                <c:pt idx="15">
                  <c:v>1.28270519421568</c:v>
                </c:pt>
                <c:pt idx="16">
                  <c:v>1.2784012520594623</c:v>
                </c:pt>
                <c:pt idx="17">
                  <c:v>1.1726918221842828</c:v>
                </c:pt>
                <c:pt idx="18">
                  <c:v>1.6713144741417623</c:v>
                </c:pt>
                <c:pt idx="19">
                  <c:v>1.9674762923951292</c:v>
                </c:pt>
                <c:pt idx="20">
                  <c:v>1.7132098924333181</c:v>
                </c:pt>
                <c:pt idx="21">
                  <c:v>2.123197288094741</c:v>
                </c:pt>
                <c:pt idx="22">
                  <c:v>1.9252551317120383</c:v>
                </c:pt>
                <c:pt idx="23">
                  <c:v>1.7565252898963148</c:v>
                </c:pt>
                <c:pt idx="24">
                  <c:v>1.9115473988752563</c:v>
                </c:pt>
                <c:pt idx="25">
                  <c:v>1.5637071715833566</c:v>
                </c:pt>
                <c:pt idx="26">
                  <c:v>1.6015467634951892</c:v>
                </c:pt>
                <c:pt idx="27">
                  <c:v>1.5931415908276494</c:v>
                </c:pt>
                <c:pt idx="28">
                  <c:v>1.3729769645239795</c:v>
                </c:pt>
                <c:pt idx="29">
                  <c:v>1.7327640377189883</c:v>
                </c:pt>
                <c:pt idx="30">
                  <c:v>1.5301874619401838</c:v>
                </c:pt>
                <c:pt idx="31">
                  <c:v>1.3778674973917315</c:v>
                </c:pt>
                <c:pt idx="32">
                  <c:v>1.3750272181730874</c:v>
                </c:pt>
                <c:pt idx="33">
                  <c:v>1.5197249706287117</c:v>
                </c:pt>
                <c:pt idx="34">
                  <c:v>1.450662487562189</c:v>
                </c:pt>
                <c:pt idx="35">
                  <c:v>1.5851691380349608</c:v>
                </c:pt>
                <c:pt idx="36">
                  <c:v>1.4947295614607343</c:v>
                </c:pt>
                <c:pt idx="37">
                  <c:v>1.639047969116748</c:v>
                </c:pt>
                <c:pt idx="38">
                  <c:v>2.0577130831650683</c:v>
                </c:pt>
                <c:pt idx="39">
                  <c:v>1.7368644284496275</c:v>
                </c:pt>
                <c:pt idx="40">
                  <c:v>1.5176729910190652</c:v>
                </c:pt>
                <c:pt idx="41">
                  <c:v>1.6372484370980978</c:v>
                </c:pt>
                <c:pt idx="42">
                  <c:v>1.8255017369485926</c:v>
                </c:pt>
                <c:pt idx="43">
                  <c:v>1.9726510685053231</c:v>
                </c:pt>
                <c:pt idx="44">
                  <c:v>1.6870472868533042</c:v>
                </c:pt>
                <c:pt idx="45">
                  <c:v>1.6565353632722633</c:v>
                </c:pt>
                <c:pt idx="46">
                  <c:v>1.8895771814291031</c:v>
                </c:pt>
                <c:pt idx="47">
                  <c:v>1.3958271122669825</c:v>
                </c:pt>
                <c:pt idx="48">
                  <c:v>1.652250228606353</c:v>
                </c:pt>
                <c:pt idx="49">
                  <c:v>1.5235535065277546</c:v>
                </c:pt>
                <c:pt idx="50">
                  <c:v>1.4259001459396399</c:v>
                </c:pt>
                <c:pt idx="51">
                  <c:v>1.1871810384342893</c:v>
                </c:pt>
                <c:pt idx="52">
                  <c:v>1.1003377102662242</c:v>
                </c:pt>
                <c:pt idx="53">
                  <c:v>0.17790893674321448</c:v>
                </c:pt>
                <c:pt idx="54">
                  <c:v>1.8689289665520368</c:v>
                </c:pt>
              </c:numCache>
            </c:numRef>
          </c:xVal>
          <c:yVal>
            <c:numRef>
              <c:f>Sheet1!$B$187:$B$241</c:f>
              <c:numCache>
                <c:formatCode>General</c:formatCode>
                <c:ptCount val="55"/>
                <c:pt idx="0">
                  <c:v>0.16044466255661405</c:v>
                </c:pt>
                <c:pt idx="1">
                  <c:v>0.1638075545125598</c:v>
                </c:pt>
                <c:pt idx="2">
                  <c:v>0.16418892442118516</c:v>
                </c:pt>
                <c:pt idx="3">
                  <c:v>0.15925199310016575</c:v>
                </c:pt>
                <c:pt idx="4">
                  <c:v>0.16325295046741317</c:v>
                </c:pt>
                <c:pt idx="5">
                  <c:v>0.15064567814808724</c:v>
                </c:pt>
                <c:pt idx="6">
                  <c:v>0.14698385262801605</c:v>
                </c:pt>
                <c:pt idx="7">
                  <c:v>0.14207392203537333</c:v>
                </c:pt>
                <c:pt idx="8">
                  <c:v>0.13878854797847728</c:v>
                </c:pt>
                <c:pt idx="9">
                  <c:v>0.14408658846529204</c:v>
                </c:pt>
                <c:pt idx="10">
                  <c:v>0.14334321622325163</c:v>
                </c:pt>
                <c:pt idx="11">
                  <c:v>0.14258578568988872</c:v>
                </c:pt>
                <c:pt idx="12">
                  <c:v>0.1480327204971813</c:v>
                </c:pt>
                <c:pt idx="13">
                  <c:v>0.14131908607801624</c:v>
                </c:pt>
                <c:pt idx="14">
                  <c:v>0.14647968023096786</c:v>
                </c:pt>
                <c:pt idx="15">
                  <c:v>0.14835855507678758</c:v>
                </c:pt>
                <c:pt idx="16">
                  <c:v>0.1485736549199434</c:v>
                </c:pt>
                <c:pt idx="17">
                  <c:v>0.15385673748958106</c:v>
                </c:pt>
                <c:pt idx="18">
                  <c:v>0.12893687324952627</c:v>
                </c:pt>
                <c:pt idx="19">
                  <c:v>0.11413547528858678</c:v>
                </c:pt>
                <c:pt idx="20">
                  <c:v>0.12684304912820477</c:v>
                </c:pt>
                <c:pt idx="21">
                  <c:v>0.10635294463754968</c:v>
                </c:pt>
                <c:pt idx="22">
                  <c:v>0.11624557916804287</c:v>
                </c:pt>
                <c:pt idx="23">
                  <c:v>0.12467825813837635</c:v>
                </c:pt>
                <c:pt idx="24">
                  <c:v>0.1169306560292535</c:v>
                </c:pt>
                <c:pt idx="25">
                  <c:v>0.13431480656335942</c:v>
                </c:pt>
                <c:pt idx="26">
                  <c:v>0.13242368210352973</c:v>
                </c:pt>
                <c:pt idx="27">
                  <c:v>0.13284375078867078</c:v>
                </c:pt>
                <c:pt idx="28">
                  <c:v>0.14384700661030503</c:v>
                </c:pt>
                <c:pt idx="29">
                  <c:v>0.125865783767443</c:v>
                </c:pt>
                <c:pt idx="30">
                  <c:v>0.1359900345346413</c:v>
                </c:pt>
                <c:pt idx="31">
                  <c:v>0.14360259048791774</c:v>
                </c:pt>
                <c:pt idx="32">
                  <c:v>0.14374454026146816</c:v>
                </c:pt>
                <c:pt idx="33">
                  <c:v>0.13651292265869885</c:v>
                </c:pt>
                <c:pt idx="34">
                  <c:v>0.13996448607111597</c:v>
                </c:pt>
                <c:pt idx="35">
                  <c:v>0.13324219325909223</c:v>
                </c:pt>
                <c:pt idx="36">
                  <c:v>0.13776212824662254</c:v>
                </c:pt>
                <c:pt idx="37">
                  <c:v>0.13054946931103245</c:v>
                </c:pt>
                <c:pt idx="38">
                  <c:v>0.10962567500852073</c:v>
                </c:pt>
                <c:pt idx="39">
                  <c:v>0.12566085689551376</c:v>
                </c:pt>
                <c:pt idx="40">
                  <c:v>0.13661547526655773</c:v>
                </c:pt>
                <c:pt idx="41">
                  <c:v>0.1306394052443968</c:v>
                </c:pt>
                <c:pt idx="42">
                  <c:v>0.12123099458234626</c:v>
                </c:pt>
                <c:pt idx="43">
                  <c:v>0.11387685342768161</c:v>
                </c:pt>
                <c:pt idx="44">
                  <c:v>0.1281505881592948</c:v>
                </c:pt>
                <c:pt idx="45">
                  <c:v>0.12967549480033386</c:v>
                </c:pt>
                <c:pt idx="46">
                  <c:v>0.11802867039729971</c:v>
                </c:pt>
                <c:pt idx="47">
                  <c:v>0.14270501561293375</c:v>
                </c:pt>
                <c:pt idx="48">
                  <c:v>0.1298896546940042</c:v>
                </c:pt>
                <c:pt idx="49">
                  <c:v>0.13632158238471054</c:v>
                </c:pt>
                <c:pt idx="50">
                  <c:v>0.14120204354885446</c:v>
                </c:pt>
                <c:pt idx="51">
                  <c:v>0.15313260411842858</c:v>
                </c:pt>
                <c:pt idx="52">
                  <c:v>0.15747280795715682</c:v>
                </c:pt>
                <c:pt idx="53">
                  <c:v>0.20357340069411467</c:v>
                </c:pt>
                <c:pt idx="54">
                  <c:v>0.119060614512786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17598533455546"/>
          <c:min val="0.07459459459459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4.657</c:v>
                </c:pt>
                <c:pt idx="1">
                  <c:v>870.0188</c:v>
                </c:pt>
                <c:pt idx="2">
                  <c:v>949.3579</c:v>
                </c:pt>
                <c:pt idx="3">
                  <c:v>953.4859</c:v>
                </c:pt>
                <c:pt idx="4">
                  <c:v>952.8304</c:v>
                </c:pt>
                <c:pt idx="5">
                  <c:v>963.6503</c:v>
                </c:pt>
                <c:pt idx="6">
                  <c:v>944.7437</c:v>
                </c:pt>
                <c:pt idx="7">
                  <c:v>963.6778</c:v>
                </c:pt>
                <c:pt idx="8">
                  <c:v>947.8397</c:v>
                </c:pt>
                <c:pt idx="9">
                  <c:v>939.263</c:v>
                </c:pt>
                <c:pt idx="10">
                  <c:v>1003.6976</c:v>
                </c:pt>
                <c:pt idx="11">
                  <c:v>1036.3032</c:v>
                </c:pt>
                <c:pt idx="12">
                  <c:v>1035.9928</c:v>
                </c:pt>
                <c:pt idx="13">
                  <c:v>1029.1159</c:v>
                </c:pt>
                <c:pt idx="14">
                  <c:v>1044.2325</c:v>
                </c:pt>
                <c:pt idx="15">
                  <c:v>1044.8972</c:v>
                </c:pt>
                <c:pt idx="16">
                  <c:v>1011.1688</c:v>
                </c:pt>
                <c:pt idx="17">
                  <c:v>1027.8202</c:v>
                </c:pt>
                <c:pt idx="18">
                  <c:v>1060.75</c:v>
                </c:pt>
                <c:pt idx="19">
                  <c:v>1126.7294</c:v>
                </c:pt>
                <c:pt idx="20">
                  <c:v>1083.9115</c:v>
                </c:pt>
                <c:pt idx="21">
                  <c:v>1126.5258</c:v>
                </c:pt>
                <c:pt idx="22">
                  <c:v>1120.305</c:v>
                </c:pt>
                <c:pt idx="23">
                  <c:v>1116.6111</c:v>
                </c:pt>
                <c:pt idx="24">
                  <c:v>1121.1065</c:v>
                </c:pt>
                <c:pt idx="25">
                  <c:v>1114.2956</c:v>
                </c:pt>
                <c:pt idx="26">
                  <c:v>1131.5672</c:v>
                </c:pt>
                <c:pt idx="27">
                  <c:v>1165.072</c:v>
                </c:pt>
                <c:pt idx="28">
                  <c:v>1145.8421</c:v>
                </c:pt>
                <c:pt idx="29">
                  <c:v>1039.1556</c:v>
                </c:pt>
                <c:pt idx="30">
                  <c:v>1058.3929</c:v>
                </c:pt>
                <c:pt idx="31">
                  <c:v>1092.9239</c:v>
                </c:pt>
                <c:pt idx="32">
                  <c:v>1008.4904</c:v>
                </c:pt>
                <c:pt idx="33">
                  <c:v>815.589</c:v>
                </c:pt>
                <c:pt idx="34">
                  <c:v>1135.4675</c:v>
                </c:pt>
                <c:pt idx="35">
                  <c:v>1186.1014</c:v>
                </c:pt>
                <c:pt idx="36">
                  <c:v>1284.3622</c:v>
                </c:pt>
                <c:pt idx="37">
                  <c:v>1317.359</c:v>
                </c:pt>
                <c:pt idx="38">
                  <c:v>1319.6538</c:v>
                </c:pt>
                <c:pt idx="39">
                  <c:v>1306.1884</c:v>
                </c:pt>
                <c:pt idx="40">
                  <c:v>1330.198</c:v>
                </c:pt>
                <c:pt idx="41">
                  <c:v>1304.7216</c:v>
                </c:pt>
                <c:pt idx="42">
                  <c:v>1398.8846</c:v>
                </c:pt>
                <c:pt idx="43">
                  <c:v>1429.951</c:v>
                </c:pt>
                <c:pt idx="44">
                  <c:v>1286.1579</c:v>
                </c:pt>
                <c:pt idx="45">
                  <c:v>1163.5936</c:v>
                </c:pt>
                <c:pt idx="46">
                  <c:v>1123.2956</c:v>
                </c:pt>
                <c:pt idx="47">
                  <c:v>1082.6622</c:v>
                </c:pt>
                <c:pt idx="48">
                  <c:v>1073.2377</c:v>
                </c:pt>
                <c:pt idx="49">
                  <c:v>1048.3716</c:v>
                </c:pt>
                <c:pt idx="50">
                  <c:v>1084.5691</c:v>
                </c:pt>
                <c:pt idx="51">
                  <c:v>1112.2114</c:v>
                </c:pt>
                <c:pt idx="52">
                  <c:v>1118.2652</c:v>
                </c:pt>
                <c:pt idx="53">
                  <c:v>1224.3321</c:v>
                </c:pt>
                <c:pt idx="54">
                  <c:v>1230.3829</c:v>
                </c:pt>
                <c:pt idx="55">
                  <c:v>1228.1648</c:v>
                </c:pt>
                <c:pt idx="56">
                  <c:v>1233.0138</c:v>
                </c:pt>
                <c:pt idx="57">
                  <c:v>1261.8979</c:v>
                </c:pt>
                <c:pt idx="58">
                  <c:v>1190.0094</c:v>
                </c:pt>
                <c:pt idx="59">
                  <c:v>1185.4381</c:v>
                </c:pt>
                <c:pt idx="60">
                  <c:v>1202.1747</c:v>
                </c:pt>
                <c:pt idx="61">
                  <c:v>1073.0567</c:v>
                </c:pt>
                <c:pt idx="62">
                  <c:v>1099.8162</c:v>
                </c:pt>
                <c:pt idx="63">
                  <c:v>1191.8696</c:v>
                </c:pt>
                <c:pt idx="64">
                  <c:v>1182.7277</c:v>
                </c:pt>
                <c:pt idx="65">
                  <c:v>1166.1215</c:v>
                </c:pt>
                <c:pt idx="66">
                  <c:v>1139.5249</c:v>
                </c:pt>
                <c:pt idx="67">
                  <c:v>1139.1083</c:v>
                </c:pt>
                <c:pt idx="68">
                  <c:v>1163.5444</c:v>
                </c:pt>
                <c:pt idx="69">
                  <c:v>1205.7277</c:v>
                </c:pt>
                <c:pt idx="70">
                  <c:v>1174.5849</c:v>
                </c:pt>
                <c:pt idx="71">
                  <c:v>1236.0971</c:v>
                </c:pt>
                <c:pt idx="72">
                  <c:v>1278.43</c:v>
                </c:pt>
                <c:pt idx="73">
                  <c:v>1288.4909</c:v>
                </c:pt>
                <c:pt idx="74">
                  <c:v>1064.6359</c:v>
                </c:pt>
                <c:pt idx="75">
                  <c:v>1223.1419</c:v>
                </c:pt>
                <c:pt idx="76">
                  <c:v>1150.3733</c:v>
                </c:pt>
                <c:pt idx="77">
                  <c:v>1225.2477</c:v>
                </c:pt>
                <c:pt idx="78">
                  <c:v>1279.6827</c:v>
                </c:pt>
                <c:pt idx="79">
                  <c:v>1027.9784</c:v>
                </c:pt>
                <c:pt idx="80">
                  <c:v>863.2867</c:v>
                </c:pt>
                <c:pt idx="81">
                  <c:v>1092.5247</c:v>
                </c:pt>
                <c:pt idx="82">
                  <c:v>1099.4186</c:v>
                </c:pt>
                <c:pt idx="83">
                  <c:v>969.5484</c:v>
                </c:pt>
                <c:pt idx="84">
                  <c:v>1237.0875</c:v>
                </c:pt>
                <c:pt idx="85">
                  <c:v>1286.5435</c:v>
                </c:pt>
                <c:pt idx="86">
                  <c:v>1224.2366</c:v>
                </c:pt>
                <c:pt idx="87">
                  <c:v>1309.3732</c:v>
                </c:pt>
                <c:pt idx="88">
                  <c:v>1301.3295</c:v>
                </c:pt>
                <c:pt idx="89">
                  <c:v>1211.3947</c:v>
                </c:pt>
                <c:pt idx="90">
                  <c:v>1247.25</c:v>
                </c:pt>
                <c:pt idx="91">
                  <c:v>1212.4684</c:v>
                </c:pt>
                <c:pt idx="92">
                  <c:v>1153.8909</c:v>
                </c:pt>
                <c:pt idx="93">
                  <c:v>1306.2738</c:v>
                </c:pt>
                <c:pt idx="94">
                  <c:v>1233.4316</c:v>
                </c:pt>
                <c:pt idx="95">
                  <c:v>1199.2349</c:v>
                </c:pt>
                <c:pt idx="96">
                  <c:v>1261.0977</c:v>
                </c:pt>
                <c:pt idx="97">
                  <c:v>1156.7877</c:v>
                </c:pt>
                <c:pt idx="98">
                  <c:v>1229.7735</c:v>
                </c:pt>
                <c:pt idx="99">
                  <c:v>1196.7258</c:v>
                </c:pt>
                <c:pt idx="100">
                  <c:v>1200.632</c:v>
                </c:pt>
                <c:pt idx="101">
                  <c:v>1267.5137</c:v>
                </c:pt>
                <c:pt idx="102">
                  <c:v>1304.3366</c:v>
                </c:pt>
                <c:pt idx="103">
                  <c:v>945.2478</c:v>
                </c:pt>
                <c:pt idx="104">
                  <c:v>1060.3775</c:v>
                </c:pt>
              </c:numCache>
            </c:numRef>
          </c:xVal>
          <c:yVal>
            <c:numRef>
              <c:f>Sheet1!$B$2:$B$106</c:f>
              <c:numCache>
                <c:formatCode>General</c:formatCode>
                <c:ptCount val="105"/>
                <c:pt idx="0">
                  <c:v>0.19555555555555557</c:v>
                </c:pt>
                <c:pt idx="1">
                  <c:v>0.19047619047619047</c:v>
                </c:pt>
                <c:pt idx="2">
                  <c:v>0.1909840038778478</c:v>
                </c:pt>
                <c:pt idx="3">
                  <c:v>0.1893048128342246</c:v>
                </c:pt>
                <c:pt idx="4">
                  <c:v>0.19047619047619047</c:v>
                </c:pt>
                <c:pt idx="5">
                  <c:v>0.190625</c:v>
                </c:pt>
                <c:pt idx="6">
                  <c:v>0.22137791286727457</c:v>
                </c:pt>
                <c:pt idx="7">
                  <c:v>0.22321428571428573</c:v>
                </c:pt>
                <c:pt idx="8">
                  <c:v>0.24014665444546288</c:v>
                </c:pt>
                <c:pt idx="9">
                  <c:v>0.23332144131287905</c:v>
                </c:pt>
                <c:pt idx="10">
                  <c:v>0.23737373737373738</c:v>
                </c:pt>
                <c:pt idx="11">
                  <c:v>0.2167563412759416</c:v>
                </c:pt>
                <c:pt idx="12">
                  <c:v>0.211443728685108</c:v>
                </c:pt>
                <c:pt idx="13">
                  <c:v>0.19586374695863748</c:v>
                </c:pt>
                <c:pt idx="14">
                  <c:v>0.18779143704959728</c:v>
                </c:pt>
                <c:pt idx="15">
                  <c:v>0.1993006993006993</c:v>
                </c:pt>
                <c:pt idx="16">
                  <c:v>0.1872391174716756</c:v>
                </c:pt>
                <c:pt idx="17">
                  <c:v>0.1701720841300191</c:v>
                </c:pt>
                <c:pt idx="18">
                  <c:v>0.1925545571245186</c:v>
                </c:pt>
                <c:pt idx="19">
                  <c:v>0.14938488576449913</c:v>
                </c:pt>
                <c:pt idx="20">
                  <c:v>0.15056628914057296</c:v>
                </c:pt>
                <c:pt idx="21">
                  <c:v>0.16019818331957061</c:v>
                </c:pt>
                <c:pt idx="22">
                  <c:v>0.15785319652722968</c:v>
                </c:pt>
                <c:pt idx="23">
                  <c:v>0.14425645592163847</c:v>
                </c:pt>
                <c:pt idx="24">
                  <c:v>0.16407766990291262</c:v>
                </c:pt>
                <c:pt idx="25">
                  <c:v>0.16290983606557377</c:v>
                </c:pt>
                <c:pt idx="26">
                  <c:v>0.14988814317673377</c:v>
                </c:pt>
                <c:pt idx="27">
                  <c:v>0.14108352144469527</c:v>
                </c:pt>
                <c:pt idx="28">
                  <c:v>0.1656288916562889</c:v>
                </c:pt>
                <c:pt idx="29">
                  <c:v>0.1541095890410959</c:v>
                </c:pt>
                <c:pt idx="30">
                  <c:v>0.14834437086092717</c:v>
                </c:pt>
                <c:pt idx="31">
                  <c:v>0.12742382271468145</c:v>
                </c:pt>
                <c:pt idx="32">
                  <c:v>0.1440443213296399</c:v>
                </c:pt>
                <c:pt idx="33">
                  <c:v>0.1910902696365768</c:v>
                </c:pt>
                <c:pt idx="34">
                  <c:v>0.1665024630541872</c:v>
                </c:pt>
                <c:pt idx="35">
                  <c:v>0.17753001715265868</c:v>
                </c:pt>
                <c:pt idx="36">
                  <c:v>0.12932790224032586</c:v>
                </c:pt>
                <c:pt idx="37">
                  <c:v>0.12200208550573514</c:v>
                </c:pt>
                <c:pt idx="38">
                  <c:v>0.09774436090225563</c:v>
                </c:pt>
                <c:pt idx="39">
                  <c:v>0.09324324324324325</c:v>
                </c:pt>
                <c:pt idx="40">
                  <c:v>0.10380267214799589</c:v>
                </c:pt>
                <c:pt idx="41">
                  <c:v>0.09908069458631256</c:v>
                </c:pt>
                <c:pt idx="42">
                  <c:v>0.10590631364562118</c:v>
                </c:pt>
                <c:pt idx="43">
                  <c:v>0.10625</c:v>
                </c:pt>
                <c:pt idx="44">
                  <c:v>0.14261884904086738</c:v>
                </c:pt>
                <c:pt idx="45">
                  <c:v>0.15592286501377411</c:v>
                </c:pt>
                <c:pt idx="46">
                  <c:v>0.16841695838195256</c:v>
                </c:pt>
                <c:pt idx="47">
                  <c:v>0.15575807787903895</c:v>
                </c:pt>
                <c:pt idx="48">
                  <c:v>0.18781887755102042</c:v>
                </c:pt>
                <c:pt idx="49">
                  <c:v>0.210318820706205</c:v>
                </c:pt>
                <c:pt idx="50">
                  <c:v>0.1605623381428043</c:v>
                </c:pt>
                <c:pt idx="51">
                  <c:v>0.15151515151515152</c:v>
                </c:pt>
                <c:pt idx="52">
                  <c:v>0.1601090767432801</c:v>
                </c:pt>
                <c:pt idx="53">
                  <c:v>0.14040728831725616</c:v>
                </c:pt>
                <c:pt idx="54">
                  <c:v>0.14408141403320834</c:v>
                </c:pt>
                <c:pt idx="55">
                  <c:v>0.14241001564945227</c:v>
                </c:pt>
                <c:pt idx="56">
                  <c:v>0.1499482936918304</c:v>
                </c:pt>
                <c:pt idx="57">
                  <c:v>0.1388753056234719</c:v>
                </c:pt>
                <c:pt idx="58">
                  <c:v>0.1595</c:v>
                </c:pt>
                <c:pt idx="59">
                  <c:v>0.15569823434991975</c:v>
                </c:pt>
                <c:pt idx="60">
                  <c:v>0.1752120988565105</c:v>
                </c:pt>
                <c:pt idx="61">
                  <c:v>0.203757225433526</c:v>
                </c:pt>
                <c:pt idx="62">
                  <c:v>0.20456942003514939</c:v>
                </c:pt>
                <c:pt idx="63">
                  <c:v>0.21350832266325223</c:v>
                </c:pt>
                <c:pt idx="64">
                  <c:v>0.2036979969183359</c:v>
                </c:pt>
                <c:pt idx="65">
                  <c:v>0.187683284457478</c:v>
                </c:pt>
                <c:pt idx="66">
                  <c:v>0.18203151190077105</c:v>
                </c:pt>
                <c:pt idx="67">
                  <c:v>0.1793388429752066</c:v>
                </c:pt>
                <c:pt idx="68">
                  <c:v>0.13468538741549663</c:v>
                </c:pt>
                <c:pt idx="69">
                  <c:v>0.11972207375734902</c:v>
                </c:pt>
                <c:pt idx="70">
                  <c:v>0.11903425042111174</c:v>
                </c:pt>
                <c:pt idx="71">
                  <c:v>0.13985064494229463</c:v>
                </c:pt>
                <c:pt idx="72">
                  <c:v>0.13252240717029448</c:v>
                </c:pt>
                <c:pt idx="73">
                  <c:v>0.12830482115085537</c:v>
                </c:pt>
                <c:pt idx="74">
                  <c:v>0.15477084898572502</c:v>
                </c:pt>
                <c:pt idx="75">
                  <c:v>0.1268209083119109</c:v>
                </c:pt>
                <c:pt idx="76">
                  <c:v>0.12701100762066045</c:v>
                </c:pt>
                <c:pt idx="77">
                  <c:v>0.11213991769547325</c:v>
                </c:pt>
                <c:pt idx="78">
                  <c:v>0.11063829787234042</c:v>
                </c:pt>
                <c:pt idx="79">
                  <c:v>0.12787488500459981</c:v>
                </c:pt>
                <c:pt idx="80">
                  <c:v>0.13697318007662834</c:v>
                </c:pt>
                <c:pt idx="81">
                  <c:v>0.1337737407101569</c:v>
                </c:pt>
                <c:pt idx="82">
                  <c:v>0.13708820403825717</c:v>
                </c:pt>
                <c:pt idx="83">
                  <c:v>0.11524163568773234</c:v>
                </c:pt>
                <c:pt idx="84">
                  <c:v>0.09696969696969697</c:v>
                </c:pt>
                <c:pt idx="85">
                  <c:v>0.10244988864142539</c:v>
                </c:pt>
                <c:pt idx="86">
                  <c:v>0.12381852551984877</c:v>
                </c:pt>
                <c:pt idx="87">
                  <c:v>0.11843202668890743</c:v>
                </c:pt>
                <c:pt idx="88">
                  <c:v>0.1038961038961039</c:v>
                </c:pt>
                <c:pt idx="89">
                  <c:v>0.0979381443298969</c:v>
                </c:pt>
                <c:pt idx="90">
                  <c:v>0.10282776349614396</c:v>
                </c:pt>
                <c:pt idx="91">
                  <c:v>0.1049136786188579</c:v>
                </c:pt>
                <c:pt idx="92">
                  <c:v>0.11363636363636363</c:v>
                </c:pt>
                <c:pt idx="93">
                  <c:v>0.09621993127147767</c:v>
                </c:pt>
                <c:pt idx="94">
                  <c:v>0.10555555555555556</c:v>
                </c:pt>
                <c:pt idx="95">
                  <c:v>0.1287820015515904</c:v>
                </c:pt>
                <c:pt idx="96">
                  <c:v>0.11725067385444744</c:v>
                </c:pt>
                <c:pt idx="97">
                  <c:v>0.1280193236714976</c:v>
                </c:pt>
                <c:pt idx="98">
                  <c:v>0.13851351351351351</c:v>
                </c:pt>
                <c:pt idx="99">
                  <c:v>0.14471433458775232</c:v>
                </c:pt>
                <c:pt idx="100">
                  <c:v>0.1612497378905431</c:v>
                </c:pt>
                <c:pt idx="101">
                  <c:v>0.14667855550601872</c:v>
                </c:pt>
                <c:pt idx="102">
                  <c:v>0.11319712865819989</c:v>
                </c:pt>
                <c:pt idx="103">
                  <c:v>0.15762867647058823</c:v>
                </c:pt>
                <c:pt idx="104">
                  <c:v>0.1548717948717948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9.4066</c:v>
                </c:pt>
                <c:pt idx="1">
                  <c:v>1241.6016</c:v>
                </c:pt>
                <c:pt idx="2">
                  <c:v>1156.3841</c:v>
                </c:pt>
                <c:pt idx="3">
                  <c:v>1217.9224</c:v>
                </c:pt>
                <c:pt idx="4">
                  <c:v>1189.1407</c:v>
                </c:pt>
                <c:pt idx="5">
                  <c:v>1279.4602</c:v>
                </c:pt>
                <c:pt idx="6">
                  <c:v>1230.0638</c:v>
                </c:pt>
                <c:pt idx="7">
                  <c:v>1239.4021</c:v>
                </c:pt>
                <c:pt idx="8">
                  <c:v>1290.4719</c:v>
                </c:pt>
                <c:pt idx="9">
                  <c:v>1281.7486</c:v>
                </c:pt>
                <c:pt idx="10">
                  <c:v>1258.8686</c:v>
                </c:pt>
                <c:pt idx="11">
                  <c:v>1194.7636</c:v>
                </c:pt>
                <c:pt idx="12">
                  <c:v>1190.2513</c:v>
                </c:pt>
                <c:pt idx="13">
                  <c:v>1242.6116</c:v>
                </c:pt>
                <c:pt idx="14">
                  <c:v>1221.1766</c:v>
                </c:pt>
                <c:pt idx="15">
                  <c:v>1236.2873</c:v>
                </c:pt>
                <c:pt idx="16">
                  <c:v>1256.7762</c:v>
                </c:pt>
                <c:pt idx="17">
                  <c:v>1293.5349</c:v>
                </c:pt>
                <c:pt idx="18">
                  <c:v>1313.5417</c:v>
                </c:pt>
                <c:pt idx="19">
                  <c:v>1472.6442</c:v>
                </c:pt>
                <c:pt idx="20">
                  <c:v>1468.1628</c:v>
                </c:pt>
                <c:pt idx="21">
                  <c:v>1451.7164</c:v>
                </c:pt>
                <c:pt idx="22">
                  <c:v>1483.1149</c:v>
                </c:pt>
                <c:pt idx="23">
                  <c:v>1444.0621</c:v>
                </c:pt>
                <c:pt idx="24">
                  <c:v>1389.7481</c:v>
                </c:pt>
                <c:pt idx="25">
                  <c:v>1294.1497</c:v>
                </c:pt>
                <c:pt idx="26">
                  <c:v>1482.7807</c:v>
                </c:pt>
                <c:pt idx="27">
                  <c:v>1448.4598</c:v>
                </c:pt>
                <c:pt idx="28">
                  <c:v>1432.7778</c:v>
                </c:pt>
                <c:pt idx="29">
                  <c:v>1515.5385</c:v>
                </c:pt>
                <c:pt idx="30">
                  <c:v>1554.9208</c:v>
                </c:pt>
                <c:pt idx="31">
                  <c:v>1293.2025</c:v>
                </c:pt>
                <c:pt idx="32">
                  <c:v>1288.8588</c:v>
                </c:pt>
                <c:pt idx="33">
                  <c:v>1379.6966</c:v>
                </c:pt>
                <c:pt idx="34">
                  <c:v>1457.9158</c:v>
                </c:pt>
                <c:pt idx="35">
                  <c:v>1314.8978</c:v>
                </c:pt>
                <c:pt idx="36">
                  <c:v>1342.89</c:v>
                </c:pt>
                <c:pt idx="37">
                  <c:v>1466.1566</c:v>
                </c:pt>
                <c:pt idx="38">
                  <c:v>1549.1067</c:v>
                </c:pt>
                <c:pt idx="39">
                  <c:v>1365.28</c:v>
                </c:pt>
                <c:pt idx="40">
                  <c:v>1358.5984</c:v>
                </c:pt>
                <c:pt idx="41">
                  <c:v>1485.0084</c:v>
                </c:pt>
                <c:pt idx="42">
                  <c:v>1472.8462</c:v>
                </c:pt>
                <c:pt idx="43">
                  <c:v>1417.2555</c:v>
                </c:pt>
                <c:pt idx="44">
                  <c:v>1349.2353</c:v>
                </c:pt>
                <c:pt idx="45">
                  <c:v>1357.0833</c:v>
                </c:pt>
                <c:pt idx="46">
                  <c:v>1313.7839</c:v>
                </c:pt>
                <c:pt idx="47">
                  <c:v>1354.1727</c:v>
                </c:pt>
                <c:pt idx="48">
                  <c:v>1340.3381</c:v>
                </c:pt>
                <c:pt idx="49">
                  <c:v>1348.4352</c:v>
                </c:pt>
                <c:pt idx="50">
                  <c:v>1157.2155</c:v>
                </c:pt>
                <c:pt idx="51">
                  <c:v>1101.2524</c:v>
                </c:pt>
              </c:numCache>
            </c:numRef>
          </c:xVal>
          <c:yVal>
            <c:numRef>
              <c:f>Sheet1!$B$109:$B$160</c:f>
              <c:numCache>
                <c:formatCode>General</c:formatCode>
                <c:ptCount val="52"/>
                <c:pt idx="0">
                  <c:v>0.12141057934508816</c:v>
                </c:pt>
                <c:pt idx="1">
                  <c:v>0.14547604967474867</c:v>
                </c:pt>
                <c:pt idx="2">
                  <c:v>0.15619047619047619</c:v>
                </c:pt>
                <c:pt idx="3">
                  <c:v>0.17635564240351734</c:v>
                </c:pt>
                <c:pt idx="4">
                  <c:v>0.17424242424242425</c:v>
                </c:pt>
                <c:pt idx="5">
                  <c:v>0.15167785234899328</c:v>
                </c:pt>
                <c:pt idx="6">
                  <c:v>0.1491471638238794</c:v>
                </c:pt>
                <c:pt idx="7">
                  <c:v>0.15027110766847404</c:v>
                </c:pt>
                <c:pt idx="8">
                  <c:v>0.1669793621013133</c:v>
                </c:pt>
                <c:pt idx="9">
                  <c:v>0.17220052083333334</c:v>
                </c:pt>
                <c:pt idx="10">
                  <c:v>0.17857142857142858</c:v>
                </c:pt>
                <c:pt idx="11">
                  <c:v>0.18160719466202496</c:v>
                </c:pt>
                <c:pt idx="12">
                  <c:v>0.18838750394446196</c:v>
                </c:pt>
                <c:pt idx="13">
                  <c:v>0.18254545454545454</c:v>
                </c:pt>
                <c:pt idx="14">
                  <c:v>0.17781402936378465</c:v>
                </c:pt>
                <c:pt idx="15">
                  <c:v>0.1702029520295203</c:v>
                </c:pt>
                <c:pt idx="16">
                  <c:v>0.155858310626703</c:v>
                </c:pt>
                <c:pt idx="17">
                  <c:v>0.12983091787439613</c:v>
                </c:pt>
                <c:pt idx="18">
                  <c:v>0.1330049261083744</c:v>
                </c:pt>
                <c:pt idx="19">
                  <c:v>0.1257716049382716</c:v>
                </c:pt>
                <c:pt idx="20">
                  <c:v>0.1278493557978196</c:v>
                </c:pt>
                <c:pt idx="21">
                  <c:v>0.12350230414746544</c:v>
                </c:pt>
                <c:pt idx="22">
                  <c:v>0.1284722222222222</c:v>
                </c:pt>
                <c:pt idx="23">
                  <c:v>0.14235190097259062</c:v>
                </c:pt>
                <c:pt idx="24">
                  <c:v>0.12042818911685994</c:v>
                </c:pt>
                <c:pt idx="25">
                  <c:v>0.13327289211242066</c:v>
                </c:pt>
                <c:pt idx="26">
                  <c:v>0.11003861003861004</c:v>
                </c:pt>
                <c:pt idx="27">
                  <c:v>0.09775280898876404</c:v>
                </c:pt>
                <c:pt idx="28">
                  <c:v>0.10915104740904079</c:v>
                </c:pt>
                <c:pt idx="29">
                  <c:v>0.12903225806451613</c:v>
                </c:pt>
                <c:pt idx="30">
                  <c:v>0.1251548946716233</c:v>
                </c:pt>
                <c:pt idx="31">
                  <c:v>0.1154970760233918</c:v>
                </c:pt>
                <c:pt idx="32">
                  <c:v>0.11288180610889774</c:v>
                </c:pt>
                <c:pt idx="33">
                  <c:v>0.13679245283018868</c:v>
                </c:pt>
                <c:pt idx="34">
                  <c:v>0.16833333333333333</c:v>
                </c:pt>
                <c:pt idx="35">
                  <c:v>0.17432052483598875</c:v>
                </c:pt>
                <c:pt idx="36">
                  <c:v>0.1272264631043257</c:v>
                </c:pt>
                <c:pt idx="37">
                  <c:v>0.11140939597315436</c:v>
                </c:pt>
                <c:pt idx="38">
                  <c:v>0.09881422924901186</c:v>
                </c:pt>
                <c:pt idx="39">
                  <c:v>0.11600928074245939</c:v>
                </c:pt>
                <c:pt idx="40">
                  <c:v>0.1211519364448858</c:v>
                </c:pt>
                <c:pt idx="41">
                  <c:v>0.12130479102956167</c:v>
                </c:pt>
                <c:pt idx="42">
                  <c:v>0.11807447774750227</c:v>
                </c:pt>
                <c:pt idx="43">
                  <c:v>0.10595514307811292</c:v>
                </c:pt>
                <c:pt idx="44">
                  <c:v>0.10871302957633892</c:v>
                </c:pt>
                <c:pt idx="45">
                  <c:v>0.10980392156862745</c:v>
                </c:pt>
                <c:pt idx="46">
                  <c:v>0.11024930747922437</c:v>
                </c:pt>
                <c:pt idx="47">
                  <c:v>0.11247443762781185</c:v>
                </c:pt>
                <c:pt idx="48">
                  <c:v>0.10390895596239486</c:v>
                </c:pt>
                <c:pt idx="49">
                  <c:v>0.11838962811327192</c:v>
                </c:pt>
                <c:pt idx="50">
                  <c:v>0.16117073170731708</c:v>
                </c:pt>
                <c:pt idx="51">
                  <c:v>0.14058234758871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7.7624466659377</c:v>
                </c:pt>
              </c:numCache>
            </c:numRef>
          </c:xVal>
          <c:yVal>
            <c:numRef>
              <c:f>Sheet1!$B$163:$B$164</c:f>
              <c:numCache>
                <c:formatCode>General</c:formatCode>
                <c:ptCount val="2"/>
                <c:pt idx="0">
                  <c:v>0.20357340069411467</c:v>
                </c:pt>
                <c:pt idx="1">
                  <c:v>0.2035734006941146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7.7624466659377</c:v>
                </c:pt>
                <c:pt idx="1">
                  <c:v>887.7624466659377</c:v>
                </c:pt>
              </c:numCache>
            </c:numRef>
          </c:xVal>
          <c:yVal>
            <c:numRef>
              <c:f>Sheet1!$B$167:$B$168</c:f>
              <c:numCache>
                <c:formatCode>General</c:formatCode>
                <c:ptCount val="2"/>
                <c:pt idx="0">
                  <c:v>0.2035734006941146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9.8507601635938</c:v>
                </c:pt>
              </c:numCache>
            </c:numRef>
          </c:xVal>
          <c:yVal>
            <c:numRef>
              <c:f>Sheet1!$B$171:$B$172</c:f>
              <c:numCache>
                <c:formatCode>General</c:formatCode>
                <c:ptCount val="2"/>
                <c:pt idx="0">
                  <c:v>0.15747280795715682</c:v>
                </c:pt>
                <c:pt idx="1">
                  <c:v>0.157472807957156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9.8507601635938</c:v>
                </c:pt>
                <c:pt idx="1">
                  <c:v>1199.8507601635938</c:v>
                </c:pt>
              </c:numCache>
            </c:numRef>
          </c:xVal>
          <c:yVal>
            <c:numRef>
              <c:f>Sheet1!$B$175:$B$176</c:f>
              <c:numCache>
                <c:formatCode>General</c:formatCode>
                <c:ptCount val="2"/>
                <c:pt idx="0">
                  <c:v>0.157472807957156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59.8907283739964</c:v>
                </c:pt>
              </c:numCache>
            </c:numRef>
          </c:xVal>
          <c:yVal>
            <c:numRef>
              <c:f>Sheet1!$B$179:$B$180</c:f>
              <c:numCache>
                <c:formatCode>General</c:formatCode>
                <c:ptCount val="2"/>
                <c:pt idx="0">
                  <c:v>0.11906061451278657</c:v>
                </c:pt>
                <c:pt idx="1">
                  <c:v>0.119060614512786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59.8907283739964</c:v>
                </c:pt>
                <c:pt idx="1">
                  <c:v>1459.8907283739964</c:v>
                </c:pt>
              </c:numCache>
            </c:numRef>
          </c:xVal>
          <c:yVal>
            <c:numRef>
              <c:f>Sheet1!$B$183:$B$184</c:f>
              <c:numCache>
                <c:formatCode>General</c:formatCode>
                <c:ptCount val="2"/>
                <c:pt idx="0">
                  <c:v>0.119060614512786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9.4066</c:v>
                </c:pt>
                <c:pt idx="1">
                  <c:v>1241.6016</c:v>
                </c:pt>
                <c:pt idx="2">
                  <c:v>1156.3841</c:v>
                </c:pt>
                <c:pt idx="3">
                  <c:v>1217.9224</c:v>
                </c:pt>
                <c:pt idx="4">
                  <c:v>1189.1407</c:v>
                </c:pt>
                <c:pt idx="5">
                  <c:v>1279.4602</c:v>
                </c:pt>
                <c:pt idx="6">
                  <c:v>1230.0638</c:v>
                </c:pt>
                <c:pt idx="7">
                  <c:v>1239.4021</c:v>
                </c:pt>
                <c:pt idx="8">
                  <c:v>1290.4719</c:v>
                </c:pt>
                <c:pt idx="9">
                  <c:v>1281.7486</c:v>
                </c:pt>
                <c:pt idx="10">
                  <c:v>1258.8686</c:v>
                </c:pt>
                <c:pt idx="11">
                  <c:v>1194.7636</c:v>
                </c:pt>
                <c:pt idx="12">
                  <c:v>1190.2513</c:v>
                </c:pt>
                <c:pt idx="13">
                  <c:v>1242.6116</c:v>
                </c:pt>
                <c:pt idx="14">
                  <c:v>1221.1766</c:v>
                </c:pt>
                <c:pt idx="15">
                  <c:v>1236.2873</c:v>
                </c:pt>
                <c:pt idx="16">
                  <c:v>1256.7762</c:v>
                </c:pt>
                <c:pt idx="17">
                  <c:v>1293.5349</c:v>
                </c:pt>
                <c:pt idx="18">
                  <c:v>1313.5417</c:v>
                </c:pt>
                <c:pt idx="19">
                  <c:v>1472.6442</c:v>
                </c:pt>
                <c:pt idx="20">
                  <c:v>1468.1628</c:v>
                </c:pt>
                <c:pt idx="21">
                  <c:v>1451.7164</c:v>
                </c:pt>
                <c:pt idx="22">
                  <c:v>1483.1149</c:v>
                </c:pt>
                <c:pt idx="23">
                  <c:v>1444.0621</c:v>
                </c:pt>
                <c:pt idx="24">
                  <c:v>1389.7481</c:v>
                </c:pt>
                <c:pt idx="25">
                  <c:v>1294.1497</c:v>
                </c:pt>
                <c:pt idx="26">
                  <c:v>1482.7807</c:v>
                </c:pt>
                <c:pt idx="27">
                  <c:v>1448.4598</c:v>
                </c:pt>
                <c:pt idx="28">
                  <c:v>1432.7778</c:v>
                </c:pt>
                <c:pt idx="29">
                  <c:v>1515.5385</c:v>
                </c:pt>
                <c:pt idx="30">
                  <c:v>1554.9208</c:v>
                </c:pt>
                <c:pt idx="31">
                  <c:v>1293.2025</c:v>
                </c:pt>
                <c:pt idx="32">
                  <c:v>1288.8588</c:v>
                </c:pt>
                <c:pt idx="33">
                  <c:v>1379.6966</c:v>
                </c:pt>
                <c:pt idx="34">
                  <c:v>1457.9158</c:v>
                </c:pt>
                <c:pt idx="35">
                  <c:v>1314.8978</c:v>
                </c:pt>
                <c:pt idx="36">
                  <c:v>1342.89</c:v>
                </c:pt>
                <c:pt idx="37">
                  <c:v>1466.1566</c:v>
                </c:pt>
                <c:pt idx="38">
                  <c:v>1549.1067</c:v>
                </c:pt>
                <c:pt idx="39">
                  <c:v>1365.28</c:v>
                </c:pt>
                <c:pt idx="40">
                  <c:v>1358.5984</c:v>
                </c:pt>
                <c:pt idx="41">
                  <c:v>1485.0084</c:v>
                </c:pt>
                <c:pt idx="42">
                  <c:v>1472.8462</c:v>
                </c:pt>
                <c:pt idx="43">
                  <c:v>1417.2555</c:v>
                </c:pt>
                <c:pt idx="44">
                  <c:v>1349.2353</c:v>
                </c:pt>
                <c:pt idx="45">
                  <c:v>1357.0833</c:v>
                </c:pt>
                <c:pt idx="46">
                  <c:v>1313.7839</c:v>
                </c:pt>
                <c:pt idx="47">
                  <c:v>1354.1727</c:v>
                </c:pt>
                <c:pt idx="48">
                  <c:v>1340.3381</c:v>
                </c:pt>
                <c:pt idx="49">
                  <c:v>1348.4352</c:v>
                </c:pt>
                <c:pt idx="50">
                  <c:v>1157.2155</c:v>
                </c:pt>
                <c:pt idx="51">
                  <c:v>1101.2524</c:v>
                </c:pt>
                <c:pt idx="52">
                  <c:v>1199.8507601635938</c:v>
                </c:pt>
                <c:pt idx="53">
                  <c:v>887.7624466659377</c:v>
                </c:pt>
                <c:pt idx="54">
                  <c:v>1459.8907283739964</c:v>
                </c:pt>
              </c:numCache>
            </c:numRef>
          </c:xVal>
          <c:yVal>
            <c:numRef>
              <c:f>Sheet1!$B$187:$B$241</c:f>
              <c:numCache>
                <c:formatCode>General</c:formatCode>
                <c:ptCount val="55"/>
                <c:pt idx="0">
                  <c:v>0.1442439329209713</c:v>
                </c:pt>
                <c:pt idx="1">
                  <c:v>0.15130552010791612</c:v>
                </c:pt>
                <c:pt idx="2">
                  <c:v>0.16389355077632886</c:v>
                </c:pt>
                <c:pt idx="3">
                  <c:v>0.15480332860738488</c:v>
                </c:pt>
                <c:pt idx="4">
                  <c:v>0.15905486053790452</c:v>
                </c:pt>
                <c:pt idx="5">
                  <c:v>0.1457131802966899</c:v>
                </c:pt>
                <c:pt idx="6">
                  <c:v>0.15300984351855376</c:v>
                </c:pt>
                <c:pt idx="7">
                  <c:v>0.15163042254526965</c:v>
                </c:pt>
                <c:pt idx="8">
                  <c:v>0.14408657053565066</c:v>
                </c:pt>
                <c:pt idx="9">
                  <c:v>0.1453751458626641</c:v>
                </c:pt>
                <c:pt idx="10">
                  <c:v>0.1487548993369303</c:v>
                </c:pt>
                <c:pt idx="11">
                  <c:v>0.15822426544129384</c:v>
                </c:pt>
                <c:pt idx="12">
                  <c:v>0.15889080659522445</c:v>
                </c:pt>
                <c:pt idx="13">
                  <c:v>0.15115632644493499</c:v>
                </c:pt>
                <c:pt idx="14">
                  <c:v>0.15432262957958956</c:v>
                </c:pt>
                <c:pt idx="15">
                  <c:v>0.15209052989324362</c:v>
                </c:pt>
                <c:pt idx="16">
                  <c:v>0.1490639813373479</c:v>
                </c:pt>
                <c:pt idx="17">
                  <c:v>0.14363411490227315</c:v>
                </c:pt>
                <c:pt idx="18">
                  <c:v>0.14067878047006382</c:v>
                </c:pt>
                <c:pt idx="19">
                  <c:v>0.11717671634683632</c:v>
                </c:pt>
                <c:pt idx="20">
                  <c:v>0.11783869306097866</c:v>
                </c:pt>
                <c:pt idx="21">
                  <c:v>0.12026809767370472</c:v>
                </c:pt>
                <c:pt idx="22">
                  <c:v>0.11563002121121571</c:v>
                </c:pt>
                <c:pt idx="23">
                  <c:v>0.1213987640643549</c:v>
                </c:pt>
                <c:pt idx="24">
                  <c:v>0.1294218379367892</c:v>
                </c:pt>
                <c:pt idx="25">
                  <c:v>0.14354329879930205</c:v>
                </c:pt>
                <c:pt idx="26">
                  <c:v>0.1156793880648477</c:v>
                </c:pt>
                <c:pt idx="27">
                  <c:v>0.12074915122109525</c:v>
                </c:pt>
                <c:pt idx="28">
                  <c:v>0.12306564134274925</c:v>
                </c:pt>
                <c:pt idx="29">
                  <c:v>0.11084052056662572</c:v>
                </c:pt>
                <c:pt idx="30">
                  <c:v>0.10502310512739516</c:v>
                </c:pt>
                <c:pt idx="31">
                  <c:v>0.14368321586620872</c:v>
                </c:pt>
                <c:pt idx="32">
                  <c:v>0.14432485201857634</c:v>
                </c:pt>
                <c:pt idx="33">
                  <c:v>0.13090661031644774</c:v>
                </c:pt>
                <c:pt idx="34">
                  <c:v>0.11935234401599643</c:v>
                </c:pt>
                <c:pt idx="35">
                  <c:v>0.14047846212712448</c:v>
                </c:pt>
                <c:pt idx="36">
                  <c:v>0.13634355237177673</c:v>
                </c:pt>
                <c:pt idx="37">
                  <c:v>0.11813504189926857</c:v>
                </c:pt>
                <c:pt idx="38">
                  <c:v>0.10588194361842362</c:v>
                </c:pt>
                <c:pt idx="39">
                  <c:v>0.13303617998153108</c:v>
                </c:pt>
                <c:pt idx="40">
                  <c:v>0.13402316253457552</c:v>
                </c:pt>
                <c:pt idx="41">
                  <c:v>0.11535032002225057</c:v>
                </c:pt>
                <c:pt idx="42">
                  <c:v>0.11714687761424011</c:v>
                </c:pt>
                <c:pt idx="43">
                  <c:v>0.12535854113967246</c:v>
                </c:pt>
                <c:pt idx="44">
                  <c:v>0.13540624687701006</c:v>
                </c:pt>
                <c:pt idx="45">
                  <c:v>0.13424696780069706</c:v>
                </c:pt>
                <c:pt idx="46">
                  <c:v>0.14064300353424794</c:v>
                </c:pt>
                <c:pt idx="47">
                  <c:v>0.1346769114397792</c:v>
                </c:pt>
                <c:pt idx="48">
                  <c:v>0.13672051010302588</c:v>
                </c:pt>
                <c:pt idx="49">
                  <c:v>0.1355244348470608</c:v>
                </c:pt>
                <c:pt idx="50">
                  <c:v>0.16377073927989072</c:v>
                </c:pt>
                <c:pt idx="51">
                  <c:v>0.1720374124291787</c:v>
                </c:pt>
                <c:pt idx="52">
                  <c:v>0.15747280795715682</c:v>
                </c:pt>
                <c:pt idx="53">
                  <c:v>0.20357340069411467</c:v>
                </c:pt>
                <c:pt idx="54">
                  <c:v>0.119060614512786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6.0"/>
          <c:min val="63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17598533455546"/>
          <c:min val="0.07459459459459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0.7574509554578658</c:v>
                </c:pt>
                <c:pt idx="5">
                  <c:v>1.2874842149013104</c:v>
                </c:pt>
                <c:pt idx="6">
                  <c:v>0.0</c:v>
                </c:pt>
                <c:pt idx="7">
                  <c:v>1.2249174528534315</c:v>
                </c:pt>
                <c:pt idx="8">
                  <c:v>1.6666759684065915</c:v>
                </c:pt>
                <c:pt idx="9">
                  <c:v>0.8522189874746987</c:v>
                </c:pt>
                <c:pt idx="10">
                  <c:v>1.5193213939346724</c:v>
                </c:pt>
                <c:pt idx="11">
                  <c:v>1.5091495707828644</c:v>
                </c:pt>
                <c:pt idx="12">
                  <c:v>1.4627390956856252</c:v>
                </c:pt>
                <c:pt idx="13">
                  <c:v>0.9846617978302317</c:v>
                </c:pt>
                <c:pt idx="14">
                  <c:v>1.1922111571235663</c:v>
                </c:pt>
                <c:pt idx="15">
                  <c:v>0.5570386806735315</c:v>
                </c:pt>
                <c:pt idx="16">
                  <c:v>1.156393961189009</c:v>
                </c:pt>
                <c:pt idx="17">
                  <c:v>0.7717104682009774</c:v>
                </c:pt>
                <c:pt idx="18">
                  <c:v>0.7528998871978461</c:v>
                </c:pt>
                <c:pt idx="19">
                  <c:v>0.31117965826942723</c:v>
                </c:pt>
                <c:pt idx="20">
                  <c:v>0.04026672235609528</c:v>
                </c:pt>
                <c:pt idx="21">
                  <c:v>2.344572569346807</c:v>
                </c:pt>
                <c:pt idx="22">
                  <c:v>0.9883846256542332</c:v>
                </c:pt>
                <c:pt idx="23">
                  <c:v>3.3137852871942735</c:v>
                </c:pt>
                <c:pt idx="24">
                  <c:v>0.9700775598039186</c:v>
                </c:pt>
                <c:pt idx="25">
                  <c:v>4.788149519130976</c:v>
                </c:pt>
                <c:pt idx="26">
                  <c:v>1.4473714631453205</c:v>
                </c:pt>
                <c:pt idx="27">
                  <c:v>1.1735177251437323</c:v>
                </c:pt>
                <c:pt idx="28">
                  <c:v>2.6726304569452</c:v>
                </c:pt>
                <c:pt idx="29">
                  <c:v>1.707493347864366</c:v>
                </c:pt>
                <c:pt idx="30">
                  <c:v>1.120972578095186</c:v>
                </c:pt>
                <c:pt idx="31">
                  <c:v>1.055547505566229</c:v>
                </c:pt>
                <c:pt idx="32">
                  <c:v>1.9943084686408847</c:v>
                </c:pt>
                <c:pt idx="33">
                  <c:v>2.429906317403508</c:v>
                </c:pt>
                <c:pt idx="34">
                  <c:v>1.1188882622707856</c:v>
                </c:pt>
                <c:pt idx="35">
                  <c:v>1.5334771790350132</c:v>
                </c:pt>
                <c:pt idx="36">
                  <c:v>2.0793944903338852</c:v>
                </c:pt>
                <c:pt idx="37">
                  <c:v>0.8453060576823486</c:v>
                </c:pt>
                <c:pt idx="38">
                  <c:v>1.453492758402904</c:v>
                </c:pt>
                <c:pt idx="39">
                  <c:v>1.4421770263003473</c:v>
                </c:pt>
                <c:pt idx="40">
                  <c:v>1.1511454910697032</c:v>
                </c:pt>
                <c:pt idx="41">
                  <c:v>2.104822590664066</c:v>
                </c:pt>
                <c:pt idx="42">
                  <c:v>3.032831197210145</c:v>
                </c:pt>
                <c:pt idx="43">
                  <c:v>2.502413056821984</c:v>
                </c:pt>
                <c:pt idx="44">
                  <c:v>2.3233197506351444</c:v>
                </c:pt>
                <c:pt idx="45">
                  <c:v>2.640122973202564</c:v>
                </c:pt>
                <c:pt idx="46">
                  <c:v>2.755906581470914</c:v>
                </c:pt>
                <c:pt idx="47">
                  <c:v>2.043450259832368</c:v>
                </c:pt>
                <c:pt idx="48">
                  <c:v>2.243396981960794</c:v>
                </c:pt>
                <c:pt idx="49">
                  <c:v>2.3532553158188816</c:v>
                </c:pt>
                <c:pt idx="50">
                  <c:v>2.4716237173856817</c:v>
                </c:pt>
              </c:numCache>
            </c:numRef>
          </c:xVal>
          <c:yVal>
            <c:numRef>
              <c:f>Sheet1!$B$2:$B$52</c:f>
              <c:numCache>
                <c:formatCode>General</c:formatCode>
                <c:ptCount val="51"/>
                <c:pt idx="0">
                  <c:v>0.0</c:v>
                </c:pt>
                <c:pt idx="1">
                  <c:v>0.0</c:v>
                </c:pt>
                <c:pt idx="2">
                  <c:v>0.0</c:v>
                </c:pt>
                <c:pt idx="3">
                  <c:v>0.0</c:v>
                </c:pt>
                <c:pt idx="4">
                  <c:v>0.0005</c:v>
                </c:pt>
                <c:pt idx="5">
                  <c:v>0.0004012841091492777</c:v>
                </c:pt>
                <c:pt idx="6">
                  <c:v>0.0</c:v>
                </c:pt>
                <c:pt idx="7">
                  <c:v>0.000361271676300578</c:v>
                </c:pt>
                <c:pt idx="8">
                  <c:v>0.000351493848857645</c:v>
                </c:pt>
                <c:pt idx="9">
                  <c:v>0.0003201024327784891</c:v>
                </c:pt>
                <c:pt idx="10">
                  <c:v>0.0003081664098613251</c:v>
                </c:pt>
                <c:pt idx="11">
                  <c:v>0.00032583903551645487</c:v>
                </c:pt>
                <c:pt idx="12">
                  <c:v>0.00033523298692591353</c:v>
                </c:pt>
                <c:pt idx="13">
                  <c:v>0.0008264462809917355</c:v>
                </c:pt>
                <c:pt idx="14">
                  <c:v>0.0005200208008320333</c:v>
                </c:pt>
                <c:pt idx="15">
                  <c:v>0.0010689470871191875</c:v>
                </c:pt>
                <c:pt idx="16">
                  <c:v>0.0005614823133071309</c:v>
                </c:pt>
                <c:pt idx="17">
                  <c:v>0.0006788866259334691</c:v>
                </c:pt>
                <c:pt idx="18">
                  <c:v>0.0006402048655569782</c:v>
                </c:pt>
                <c:pt idx="19">
                  <c:v>0.0023328149300155523</c:v>
                </c:pt>
                <c:pt idx="20">
                  <c:v>0.0015026296018031556</c:v>
                </c:pt>
                <c:pt idx="21">
                  <c:v>0.000856898029134533</c:v>
                </c:pt>
                <c:pt idx="22">
                  <c:v>0.004233700254022015</c:v>
                </c:pt>
                <c:pt idx="23">
                  <c:v>0.00102880658436214</c:v>
                </c:pt>
                <c:pt idx="24">
                  <c:v>0.006382978723404255</c:v>
                </c:pt>
                <c:pt idx="25">
                  <c:v>0.0009199632014719411</c:v>
                </c:pt>
                <c:pt idx="26">
                  <c:v>0.0028735632183908046</c:v>
                </c:pt>
                <c:pt idx="27">
                  <c:v>0.00495458298926507</c:v>
                </c:pt>
                <c:pt idx="28">
                  <c:v>0.0021253985122210413</c:v>
                </c:pt>
                <c:pt idx="29">
                  <c:v>0.0037174721189591076</c:v>
                </c:pt>
                <c:pt idx="30">
                  <c:v>0.006060606060606061</c:v>
                </c:pt>
                <c:pt idx="31">
                  <c:v>0.005567928730512249</c:v>
                </c:pt>
                <c:pt idx="32">
                  <c:v>0.002835538752362949</c:v>
                </c:pt>
                <c:pt idx="33">
                  <c:v>0.0025020850708924102</c:v>
                </c:pt>
                <c:pt idx="34">
                  <c:v>0.0070838252656434475</c:v>
                </c:pt>
                <c:pt idx="35">
                  <c:v>0.005154639175257732</c:v>
                </c:pt>
                <c:pt idx="36">
                  <c:v>0.0038560411311053984</c:v>
                </c:pt>
                <c:pt idx="37">
                  <c:v>0.010624169986719787</c:v>
                </c:pt>
                <c:pt idx="38">
                  <c:v>0.005165289256198347</c:v>
                </c:pt>
                <c:pt idx="39">
                  <c:v>0.004581901489117984</c:v>
                </c:pt>
                <c:pt idx="40">
                  <c:v>0.005555555555555556</c:v>
                </c:pt>
                <c:pt idx="41">
                  <c:v>0.003878975950349108</c:v>
                </c:pt>
                <c:pt idx="42">
                  <c:v>0.0033692722371967657</c:v>
                </c:pt>
                <c:pt idx="43">
                  <c:v>0.006038647342995169</c:v>
                </c:pt>
                <c:pt idx="44">
                  <c:v>0.006756756756756757</c:v>
                </c:pt>
                <c:pt idx="45">
                  <c:v>0.004789599726308587</c:v>
                </c:pt>
                <c:pt idx="46">
                  <c:v>0.003564688613965192</c:v>
                </c:pt>
                <c:pt idx="47">
                  <c:v>0.006241640659830584</c:v>
                </c:pt>
                <c:pt idx="48">
                  <c:v>0.004417448923246825</c:v>
                </c:pt>
                <c:pt idx="49">
                  <c:v>0.004136029411764706</c:v>
                </c:pt>
                <c:pt idx="50">
                  <c:v>0.0035897435897435897</c:v>
                </c:pt>
              </c:numCache>
            </c:numRef>
          </c:yVal>
          <c:smooth val="0"/>
          <c:extLst>
            <c:ext xmlns:c16="http://schemas.microsoft.com/office/drawing/2014/chart" uri="{C3380CC4-5D6E-409C-BE32-E72D297353CC}">
              <c16:uniqueId val="{00000000-096C-4121-9522-6AB7243CCAAE}"/>
            </c:ext>
          </c:extLst>
        </c:ser>
        <c:ser>
          <c:idx val="1"/>
          <c:order val="1"/>
          <c:tx>
            <c:strRef>
              <c:f>Sheet1!$B$5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5:$A$106</c:f>
              <c:numCache>
                <c:formatCode>General</c:formatCode>
                <c:ptCount val="52"/>
                <c:pt idx="0">
                  <c:v>3.5102222248302657</c:v>
                </c:pt>
                <c:pt idx="1">
                  <c:v>1.530640329481496</c:v>
                </c:pt>
                <c:pt idx="2">
                  <c:v>2.1084140180588116</c:v>
                </c:pt>
                <c:pt idx="3">
                  <c:v>1.8295932391351721</c:v>
                </c:pt>
                <c:pt idx="4">
                  <c:v>2.806226163364279</c:v>
                </c:pt>
                <c:pt idx="5">
                  <c:v>2.8250642593527053</c:v>
                </c:pt>
                <c:pt idx="6">
                  <c:v>2.546186561759521</c:v>
                </c:pt>
                <c:pt idx="7">
                  <c:v>2.42826347553995</c:v>
                </c:pt>
                <c:pt idx="8">
                  <c:v>2.3944180052351802</c:v>
                </c:pt>
                <c:pt idx="9">
                  <c:v>2.4213634209702266</c:v>
                </c:pt>
                <c:pt idx="10">
                  <c:v>2.7716693983719978</c:v>
                </c:pt>
                <c:pt idx="11">
                  <c:v>2.597675356679637</c:v>
                </c:pt>
                <c:pt idx="12">
                  <c:v>2.3556917226573555</c:v>
                </c:pt>
                <c:pt idx="13">
                  <c:v>2.228539555692627</c:v>
                </c:pt>
                <c:pt idx="14">
                  <c:v>2.084325230753155</c:v>
                </c:pt>
                <c:pt idx="15">
                  <c:v>2.0223253690376075</c:v>
                </c:pt>
                <c:pt idx="16">
                  <c:v>3.076139501531869</c:v>
                </c:pt>
                <c:pt idx="17">
                  <c:v>2.591465066952883</c:v>
                </c:pt>
                <c:pt idx="18">
                  <c:v>2.811146483706695</c:v>
                </c:pt>
                <c:pt idx="19">
                  <c:v>2.369881412871186</c:v>
                </c:pt>
                <c:pt idx="20">
                  <c:v>2.2217478923259177</c:v>
                </c:pt>
                <c:pt idx="21">
                  <c:v>1.9268725994149194</c:v>
                </c:pt>
                <c:pt idx="22">
                  <c:v>2.691915188891577</c:v>
                </c:pt>
                <c:pt idx="23">
                  <c:v>2.0399980197129266</c:v>
                </c:pt>
                <c:pt idx="24">
                  <c:v>2.251608955082788</c:v>
                </c:pt>
                <c:pt idx="25">
                  <c:v>2.1407220896484143</c:v>
                </c:pt>
                <c:pt idx="26">
                  <c:v>2.381461023370021</c:v>
                </c:pt>
                <c:pt idx="27">
                  <c:v>2.2254817609094233</c:v>
                </c:pt>
                <c:pt idx="28">
                  <c:v>1.9658450994278744</c:v>
                </c:pt>
                <c:pt idx="29">
                  <c:v>1.7922805885099582</c:v>
                </c:pt>
                <c:pt idx="30">
                  <c:v>1.819989372773473</c:v>
                </c:pt>
                <c:pt idx="31">
                  <c:v>2.019255681661312</c:v>
                </c:pt>
                <c:pt idx="32">
                  <c:v>1.6975342626645231</c:v>
                </c:pt>
                <c:pt idx="33">
                  <c:v>2.126807525351936</c:v>
                </c:pt>
                <c:pt idx="34">
                  <c:v>2.4366059158753512</c:v>
                </c:pt>
                <c:pt idx="35">
                  <c:v>2.0729601718615087</c:v>
                </c:pt>
                <c:pt idx="36">
                  <c:v>1.7680633142625788</c:v>
                </c:pt>
                <c:pt idx="37">
                  <c:v>1.7658058574000903</c:v>
                </c:pt>
                <c:pt idx="38">
                  <c:v>1.9479560236047477</c:v>
                </c:pt>
                <c:pt idx="39">
                  <c:v>2.067565458184499</c:v>
                </c:pt>
                <c:pt idx="40">
                  <c:v>2.2809478424823384</c:v>
                </c:pt>
                <c:pt idx="41">
                  <c:v>1.4323881142491406</c:v>
                </c:pt>
                <c:pt idx="42">
                  <c:v>1.8956031448294555</c:v>
                </c:pt>
                <c:pt idx="43">
                  <c:v>2.009141328878962</c:v>
                </c:pt>
                <c:pt idx="44">
                  <c:v>3.2805438047108937</c:v>
                </c:pt>
                <c:pt idx="45">
                  <c:v>2.7831638980875124</c:v>
                </c:pt>
                <c:pt idx="46">
                  <c:v>2.4074675678753414</c:v>
                </c:pt>
                <c:pt idx="47">
                  <c:v>2.9824071608256566</c:v>
                </c:pt>
                <c:pt idx="48">
                  <c:v>2.712182566752299</c:v>
                </c:pt>
                <c:pt idx="49">
                  <c:v>2.7162033486725305</c:v>
                </c:pt>
                <c:pt idx="50">
                  <c:v>2.9806369037986338</c:v>
                </c:pt>
                <c:pt idx="51">
                  <c:v>3.071701626796199</c:v>
                </c:pt>
              </c:numCache>
            </c:numRef>
          </c:xVal>
          <c:yVal>
            <c:numRef>
              <c:f>Sheet1!$B$55:$B$106</c:f>
              <c:numCache>
                <c:formatCode>General</c:formatCode>
                <c:ptCount val="52"/>
                <c:pt idx="0">
                  <c:v>0.0025188916876574307</c:v>
                </c:pt>
                <c:pt idx="1">
                  <c:v>0.004730928444707274</c:v>
                </c:pt>
                <c:pt idx="2">
                  <c:v>0.0038095238095238095</c:v>
                </c:pt>
                <c:pt idx="3">
                  <c:v>0.0039081582804103565</c:v>
                </c:pt>
                <c:pt idx="4">
                  <c:v>0.00267379679144385</c:v>
                </c:pt>
                <c:pt idx="5">
                  <c:v>0.0026845637583892616</c:v>
                </c:pt>
                <c:pt idx="6">
                  <c:v>0.0031733439111463705</c:v>
                </c:pt>
                <c:pt idx="7">
                  <c:v>0.0034856700232378003</c:v>
                </c:pt>
                <c:pt idx="8">
                  <c:v>0.00450281425891182</c:v>
                </c:pt>
                <c:pt idx="9">
                  <c:v>0.00390625</c:v>
                </c:pt>
                <c:pt idx="10">
                  <c:v>0.0035014005602240898</c:v>
                </c:pt>
                <c:pt idx="11">
                  <c:v>0.0037713954163040323</c:v>
                </c:pt>
                <c:pt idx="12">
                  <c:v>0.003786683496371095</c:v>
                </c:pt>
                <c:pt idx="13">
                  <c:v>0.005454545454545455</c:v>
                </c:pt>
                <c:pt idx="14">
                  <c:v>0.006117455138662317</c:v>
                </c:pt>
                <c:pt idx="15">
                  <c:v>0.006457564575645757</c:v>
                </c:pt>
                <c:pt idx="16">
                  <c:v>0.0038147138964577656</c:v>
                </c:pt>
                <c:pt idx="17">
                  <c:v>0.004830917874396135</c:v>
                </c:pt>
                <c:pt idx="18">
                  <c:v>0.003694581280788177</c:v>
                </c:pt>
                <c:pt idx="19">
                  <c:v>0.0038580246913580245</c:v>
                </c:pt>
                <c:pt idx="20">
                  <c:v>0.004955401387512388</c:v>
                </c:pt>
                <c:pt idx="21">
                  <c:v>0.005529953917050691</c:v>
                </c:pt>
                <c:pt idx="22">
                  <c:v>0.004340277777777778</c:v>
                </c:pt>
                <c:pt idx="23">
                  <c:v>0.004420866489832007</c:v>
                </c:pt>
                <c:pt idx="24">
                  <c:v>0.0044603033006244425</c:v>
                </c:pt>
                <c:pt idx="25">
                  <c:v>0.004533091568449683</c:v>
                </c:pt>
                <c:pt idx="26">
                  <c:v>0.004826254826254826</c:v>
                </c:pt>
                <c:pt idx="27">
                  <c:v>0.0056179775280898875</c:v>
                </c:pt>
                <c:pt idx="28">
                  <c:v>0.005512679162072767</c:v>
                </c:pt>
                <c:pt idx="29">
                  <c:v>0.007444168734491315</c:v>
                </c:pt>
                <c:pt idx="30">
                  <c:v>0.004956629491945477</c:v>
                </c:pt>
                <c:pt idx="31">
                  <c:v>0.005847953216374269</c:v>
                </c:pt>
                <c:pt idx="32">
                  <c:v>0.006640106241699867</c:v>
                </c:pt>
                <c:pt idx="33">
                  <c:v>0.005660377358490566</c:v>
                </c:pt>
                <c:pt idx="34">
                  <c:v>0.005</c:v>
                </c:pt>
                <c:pt idx="35">
                  <c:v>0.004686035613870665</c:v>
                </c:pt>
                <c:pt idx="36">
                  <c:v>0.007633587786259542</c:v>
                </c:pt>
                <c:pt idx="37">
                  <c:v>0.008053691275167786</c:v>
                </c:pt>
                <c:pt idx="38">
                  <c:v>0.007905138339920948</c:v>
                </c:pt>
                <c:pt idx="39">
                  <c:v>0.0069605568445475635</c:v>
                </c:pt>
                <c:pt idx="40">
                  <c:v>0.004965243296921549</c:v>
                </c:pt>
                <c:pt idx="41">
                  <c:v>0.0061162079510703364</c:v>
                </c:pt>
                <c:pt idx="42">
                  <c:v>0.005449591280653951</c:v>
                </c:pt>
                <c:pt idx="43">
                  <c:v>0.005413766434648105</c:v>
                </c:pt>
                <c:pt idx="44">
                  <c:v>0.0031974420463629096</c:v>
                </c:pt>
                <c:pt idx="45">
                  <c:v>0.0032679738562091504</c:v>
                </c:pt>
                <c:pt idx="46">
                  <c:v>0.0033240997229916896</c:v>
                </c:pt>
                <c:pt idx="47">
                  <c:v>0.003067484662576687</c:v>
                </c:pt>
                <c:pt idx="48">
                  <c:v>0.0029688273132112814</c:v>
                </c:pt>
                <c:pt idx="49">
                  <c:v>0.002388263391334016</c:v>
                </c:pt>
                <c:pt idx="50">
                  <c:v>0.001951219512195122</c:v>
                </c:pt>
                <c:pt idx="51">
                  <c:v>0.00272975432211101</c:v>
                </c:pt>
              </c:numCache>
            </c:numRef>
          </c:yVal>
          <c:smooth val="0"/>
          <c:extLst>
            <c:ext xmlns:c16="http://schemas.microsoft.com/office/drawing/2014/chart" uri="{C3380CC4-5D6E-409C-BE32-E72D297353CC}">
              <c16:uniqueId val="{00000002-096C-4121-9522-6AB7243CCAAE}"/>
            </c:ext>
          </c:extLst>
        </c:ser>
        <c:ser>
          <c:idx val="2"/>
          <c:order val="2"/>
          <c:tx>
            <c:strRef>
              <c:f>Sheet1!$B$10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9:$A$110</c:f>
              <c:numCache>
                <c:formatCode>General</c:formatCode>
                <c:ptCount val="2"/>
                <c:pt idx="0">
                  <c:v>0</c:v>
                </c:pt>
                <c:pt idx="1">
                  <c:v>2.0156523146229706</c:v>
                </c:pt>
              </c:numCache>
            </c:numRef>
          </c:xVal>
          <c:yVal>
            <c:numRef>
              <c:f>Sheet1!$B$109:$B$110</c:f>
              <c:numCache>
                <c:formatCode>General</c:formatCode>
                <c:ptCount val="2"/>
                <c:pt idx="0">
                  <c:v>0.005416874037474603</c:v>
                </c:pt>
                <c:pt idx="1">
                  <c:v>0.005416874037474603</c:v>
                </c:pt>
              </c:numCache>
            </c:numRef>
          </c:yVal>
          <c:smooth val="0"/>
          <c:extLst>
            <c:ext xmlns:c16="http://schemas.microsoft.com/office/drawing/2014/chart" uri="{C3380CC4-5D6E-409C-BE32-E72D297353CC}">
              <c16:uniqueId val="{00000005-096C-4121-9522-6AB7243CCAAE}"/>
            </c:ext>
          </c:extLst>
        </c:ser>
        <c:ser>
          <c:idx val="3"/>
          <c:order val="3"/>
          <c:tx>
            <c:strRef>
              <c:f>Sheet1!$B$11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3:$A$114</c:f>
              <c:numCache>
                <c:formatCode>General</c:formatCode>
                <c:ptCount val="2"/>
                <c:pt idx="0">
                  <c:v>2.0156523146229706</c:v>
                </c:pt>
                <c:pt idx="1">
                  <c:v>2.0156523146229706</c:v>
                </c:pt>
              </c:numCache>
            </c:numRef>
          </c:xVal>
          <c:yVal>
            <c:numRef>
              <c:f>Sheet1!$B$113:$B$114</c:f>
              <c:numCache>
                <c:formatCode>General</c:formatCode>
                <c:ptCount val="2"/>
                <c:pt idx="0">
                  <c:v>0.0054168740374746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7:$A$118</c:f>
              <c:numCache>
                <c:formatCode>General</c:formatCode>
                <c:ptCount val="2"/>
                <c:pt idx="0">
                  <c:v>0</c:v>
                </c:pt>
                <c:pt idx="1">
                  <c:v>2.0272571369190393</c:v>
                </c:pt>
              </c:numCache>
            </c:numRef>
          </c:xVal>
          <c:yVal>
            <c:numRef>
              <c:f>Sheet1!$B$117:$B$118</c:f>
              <c:numCache>
                <c:formatCode>General</c:formatCode>
                <c:ptCount val="2"/>
                <c:pt idx="0">
                  <c:v>0.005387755316246222</c:v>
                </c:pt>
                <c:pt idx="1">
                  <c:v>0.005387755316246222</c:v>
                </c:pt>
              </c:numCache>
            </c:numRef>
          </c:yVal>
          <c:smooth val="0"/>
          <c:extLst>
            <c:ext xmlns:c16="http://schemas.microsoft.com/office/drawing/2014/chart" uri="{C3380CC4-5D6E-409C-BE32-E72D297353CC}">
              <c16:uniqueId val="{0000000D-096C-4121-9522-6AB7243CCAAE}"/>
            </c:ext>
          </c:extLst>
        </c:ser>
        <c:ser>
          <c:idx val="5"/>
          <c:order val="5"/>
          <c:tx>
            <c:strRef>
              <c:f>Sheet1!$B$12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1:$A$122</c:f>
              <c:numCache>
                <c:formatCode>General</c:formatCode>
                <c:ptCount val="2"/>
                <c:pt idx="0">
                  <c:v>2.0272571369190393</c:v>
                </c:pt>
                <c:pt idx="1">
                  <c:v>2.0272571369190393</c:v>
                </c:pt>
              </c:numCache>
            </c:numRef>
          </c:xVal>
          <c:yVal>
            <c:numRef>
              <c:f>Sheet1!$B$121:$B$122</c:f>
              <c:numCache>
                <c:formatCode>General</c:formatCode>
                <c:ptCount val="2"/>
                <c:pt idx="0">
                  <c:v>0.005387755316246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5:$A$126</c:f>
              <c:numCache>
                <c:formatCode>General</c:formatCode>
                <c:ptCount val="2"/>
                <c:pt idx="0">
                  <c:v>0</c:v>
                </c:pt>
                <c:pt idx="1">
                  <c:v>2.5864439575513685</c:v>
                </c:pt>
              </c:numCache>
            </c:numRef>
          </c:xVal>
          <c:yVal>
            <c:numRef>
              <c:f>Sheet1!$B$125:$B$126</c:f>
              <c:numCache>
                <c:formatCode>General</c:formatCode>
                <c:ptCount val="2"/>
                <c:pt idx="0">
                  <c:v>0.003984648510371799</c:v>
                </c:pt>
                <c:pt idx="1">
                  <c:v>0.003984648510371799</c:v>
                </c:pt>
              </c:numCache>
            </c:numRef>
          </c:yVal>
          <c:smooth val="0"/>
          <c:extLst>
            <c:ext xmlns:c16="http://schemas.microsoft.com/office/drawing/2014/chart" uri="{C3380CC4-5D6E-409C-BE32-E72D297353CC}">
              <c16:uniqueId val="{00000015-096C-4121-9522-6AB7243CCAAE}"/>
            </c:ext>
          </c:extLst>
        </c:ser>
        <c:ser>
          <c:idx val="7"/>
          <c:order val="7"/>
          <c:tx>
            <c:strRef>
              <c:f>Sheet1!$B$12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9:$A$130</c:f>
              <c:numCache>
                <c:formatCode>General</c:formatCode>
                <c:ptCount val="2"/>
                <c:pt idx="0">
                  <c:v>2.5864439575513685</c:v>
                </c:pt>
                <c:pt idx="1">
                  <c:v>2.5864439575513685</c:v>
                </c:pt>
              </c:numCache>
            </c:numRef>
          </c:xVal>
          <c:yVal>
            <c:numRef>
              <c:f>Sheet1!$B$129:$B$130</c:f>
              <c:numCache>
                <c:formatCode>General</c:formatCode>
                <c:ptCount val="2"/>
                <c:pt idx="0">
                  <c:v>0.0039846485103717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3:$A$187</c:f>
              <c:numCache>
                <c:formatCode>General</c:formatCode>
                <c:ptCount val="55"/>
                <c:pt idx="0">
                  <c:v>3.5102222248302657</c:v>
                </c:pt>
                <c:pt idx="1">
                  <c:v>1.530640329481496</c:v>
                </c:pt>
                <c:pt idx="2">
                  <c:v>2.1084140180588116</c:v>
                </c:pt>
                <c:pt idx="3">
                  <c:v>1.8295932391351721</c:v>
                </c:pt>
                <c:pt idx="4">
                  <c:v>2.806226163364279</c:v>
                </c:pt>
                <c:pt idx="5">
                  <c:v>2.8250642593527053</c:v>
                </c:pt>
                <c:pt idx="6">
                  <c:v>2.546186561759521</c:v>
                </c:pt>
                <c:pt idx="7">
                  <c:v>2.42826347553995</c:v>
                </c:pt>
                <c:pt idx="8">
                  <c:v>2.3944180052351802</c:v>
                </c:pt>
                <c:pt idx="9">
                  <c:v>2.4213634209702266</c:v>
                </c:pt>
                <c:pt idx="10">
                  <c:v>2.7716693983719978</c:v>
                </c:pt>
                <c:pt idx="11">
                  <c:v>2.597675356679637</c:v>
                </c:pt>
                <c:pt idx="12">
                  <c:v>2.3556917226573555</c:v>
                </c:pt>
                <c:pt idx="13">
                  <c:v>2.228539555692627</c:v>
                </c:pt>
                <c:pt idx="14">
                  <c:v>2.084325230753155</c:v>
                </c:pt>
                <c:pt idx="15">
                  <c:v>2.0223253690376075</c:v>
                </c:pt>
                <c:pt idx="16">
                  <c:v>3.076139501531869</c:v>
                </c:pt>
                <c:pt idx="17">
                  <c:v>2.591465066952883</c:v>
                </c:pt>
                <c:pt idx="18">
                  <c:v>2.811146483706695</c:v>
                </c:pt>
                <c:pt idx="19">
                  <c:v>2.369881412871186</c:v>
                </c:pt>
                <c:pt idx="20">
                  <c:v>2.2217478923259177</c:v>
                </c:pt>
                <c:pt idx="21">
                  <c:v>1.9268725994149194</c:v>
                </c:pt>
                <c:pt idx="22">
                  <c:v>2.691915188891577</c:v>
                </c:pt>
                <c:pt idx="23">
                  <c:v>2.0399980197129266</c:v>
                </c:pt>
                <c:pt idx="24">
                  <c:v>2.251608955082788</c:v>
                </c:pt>
                <c:pt idx="25">
                  <c:v>2.1407220896484143</c:v>
                </c:pt>
                <c:pt idx="26">
                  <c:v>2.381461023370021</c:v>
                </c:pt>
                <c:pt idx="27">
                  <c:v>2.2254817609094233</c:v>
                </c:pt>
                <c:pt idx="28">
                  <c:v>1.9658450994278744</c:v>
                </c:pt>
                <c:pt idx="29">
                  <c:v>1.7922805885099582</c:v>
                </c:pt>
                <c:pt idx="30">
                  <c:v>1.819989372773473</c:v>
                </c:pt>
                <c:pt idx="31">
                  <c:v>2.019255681661312</c:v>
                </c:pt>
                <c:pt idx="32">
                  <c:v>1.6975342626645231</c:v>
                </c:pt>
                <c:pt idx="33">
                  <c:v>2.126807525351936</c:v>
                </c:pt>
                <c:pt idx="34">
                  <c:v>2.4366059158753512</c:v>
                </c:pt>
                <c:pt idx="35">
                  <c:v>2.0729601718615087</c:v>
                </c:pt>
                <c:pt idx="36">
                  <c:v>1.7680633142625788</c:v>
                </c:pt>
                <c:pt idx="37">
                  <c:v>1.7658058574000903</c:v>
                </c:pt>
                <c:pt idx="38">
                  <c:v>1.9479560236047477</c:v>
                </c:pt>
                <c:pt idx="39">
                  <c:v>2.067565458184499</c:v>
                </c:pt>
                <c:pt idx="40">
                  <c:v>2.2809478424823384</c:v>
                </c:pt>
                <c:pt idx="41">
                  <c:v>1.4323881142491406</c:v>
                </c:pt>
                <c:pt idx="42">
                  <c:v>1.8956031448294555</c:v>
                </c:pt>
                <c:pt idx="43">
                  <c:v>2.009141328878962</c:v>
                </c:pt>
                <c:pt idx="44">
                  <c:v>3.2805438047108937</c:v>
                </c:pt>
                <c:pt idx="45">
                  <c:v>2.7831638980875124</c:v>
                </c:pt>
                <c:pt idx="46">
                  <c:v>2.4074675678753414</c:v>
                </c:pt>
                <c:pt idx="47">
                  <c:v>2.9824071608256566</c:v>
                </c:pt>
                <c:pt idx="48">
                  <c:v>2.712182566752299</c:v>
                </c:pt>
                <c:pt idx="49">
                  <c:v>2.7162033486725305</c:v>
                </c:pt>
                <c:pt idx="50">
                  <c:v>2.9806369037986338</c:v>
                </c:pt>
                <c:pt idx="51">
                  <c:v>3.071701626796199</c:v>
                </c:pt>
                <c:pt idx="52">
                  <c:v>2.0272571369190393</c:v>
                </c:pt>
                <c:pt idx="53">
                  <c:v>2.0156523146229706</c:v>
                </c:pt>
                <c:pt idx="54">
                  <c:v>2.5864439575513685</c:v>
                </c:pt>
              </c:numCache>
            </c:numRef>
          </c:xVal>
          <c:yVal>
            <c:numRef>
              <c:f>Sheet1!$B$133:$B$187</c:f>
              <c:numCache>
                <c:formatCode>General</c:formatCode>
                <c:ptCount val="55"/>
                <c:pt idx="0">
                  <c:v>0.0016667119530112285</c:v>
                </c:pt>
                <c:pt idx="1">
                  <c:v>0.006633861978129447</c:v>
                </c:pt>
                <c:pt idx="2">
                  <c:v>0.005184117161573711</c:v>
                </c:pt>
                <c:pt idx="3">
                  <c:v>0.005883731884403873</c:v>
                </c:pt>
                <c:pt idx="4">
                  <c:v>0.0034331728721629547</c:v>
                </c:pt>
                <c:pt idx="5">
                  <c:v>0.003385904482215589</c:v>
                </c:pt>
                <c:pt idx="6">
                  <c:v>0.004085662024886407</c:v>
                </c:pt>
                <c:pt idx="7">
                  <c:v>0.004381553628084951</c:v>
                </c:pt>
                <c:pt idx="8">
                  <c:v>0.004466478393799105</c:v>
                </c:pt>
                <c:pt idx="9">
                  <c:v>0.00439886718622056</c:v>
                </c:pt>
                <c:pt idx="10">
                  <c:v>0.0035198824124465468</c:v>
                </c:pt>
                <c:pt idx="11">
                  <c:v>0.003956466779374374</c:v>
                </c:pt>
                <c:pt idx="12">
                  <c:v>0.004563650052082677</c:v>
                </c:pt>
                <c:pt idx="13">
                  <c:v>0.004882699186052157</c:v>
                </c:pt>
                <c:pt idx="14">
                  <c:v>0.005244560541436649</c:v>
                </c:pt>
                <c:pt idx="15">
                  <c:v>0.005400130066194021</c:v>
                </c:pt>
                <c:pt idx="16">
                  <c:v>0.0027559086237835375</c:v>
                </c:pt>
                <c:pt idx="17">
                  <c:v>0.003972049585443027</c:v>
                </c:pt>
                <c:pt idx="18">
                  <c:v>0.0034208268462825172</c:v>
                </c:pt>
                <c:pt idx="19">
                  <c:v>0.004528045402298977</c:v>
                </c:pt>
                <c:pt idx="20">
                  <c:v>0.004899740769904692</c:v>
                </c:pt>
                <c:pt idx="21">
                  <c:v>0.005639639342442178</c:v>
                </c:pt>
                <c:pt idx="22">
                  <c:v>0.0037200009953426393</c:v>
                </c:pt>
                <c:pt idx="23">
                  <c:v>0.005355786001696326</c:v>
                </c:pt>
                <c:pt idx="24">
                  <c:v>0.00482481364566126</c:v>
                </c:pt>
                <c:pt idx="25">
                  <c:v>0.00510305002361651</c:v>
                </c:pt>
                <c:pt idx="26">
                  <c:v>0.0044989899422974025</c:v>
                </c:pt>
                <c:pt idx="27">
                  <c:v>0.004890371778668752</c:v>
                </c:pt>
                <c:pt idx="28">
                  <c:v>0.005541849877468231</c:v>
                </c:pt>
                <c:pt idx="29">
                  <c:v>0.005977356469436566</c:v>
                </c:pt>
                <c:pt idx="30">
                  <c:v>0.005907829824050539</c:v>
                </c:pt>
                <c:pt idx="31">
                  <c:v>0.005407832499603873</c:v>
                </c:pt>
                <c:pt idx="32">
                  <c:v>0.006215093142977973</c:v>
                </c:pt>
                <c:pt idx="33">
                  <c:v>0.0051379643297925544</c:v>
                </c:pt>
                <c:pt idx="34">
                  <c:v>0.004360620847875706</c:v>
                </c:pt>
                <c:pt idx="35">
                  <c:v>0.005273077650373516</c:v>
                </c:pt>
                <c:pt idx="36">
                  <c:v>0.006038122247638922</c:v>
                </c:pt>
                <c:pt idx="37">
                  <c:v>0.006043786639164001</c:v>
                </c:pt>
                <c:pt idx="38">
                  <c:v>0.0055867369941027915</c:v>
                </c:pt>
                <c:pt idx="39">
                  <c:v>0.005286614019967128</c:v>
                </c:pt>
                <c:pt idx="40">
                  <c:v>0.004751196759375309</c:v>
                </c:pt>
                <c:pt idx="41">
                  <c:v>0.0068803955994491805</c:v>
                </c:pt>
                <c:pt idx="42">
                  <c:v>0.005718100391461954</c:v>
                </c:pt>
                <c:pt idx="43">
                  <c:v>0.005433211347427722</c:v>
                </c:pt>
                <c:pt idx="44">
                  <c:v>0.0022430190878388358</c:v>
                </c:pt>
                <c:pt idx="45">
                  <c:v>0.0034910405116973077</c:v>
                </c:pt>
                <c:pt idx="46">
                  <c:v>0.004433734542408992</c:v>
                </c:pt>
                <c:pt idx="47">
                  <c:v>0.0029911010144530953</c:v>
                </c:pt>
                <c:pt idx="48">
                  <c:v>0.0036691462634992613</c:v>
                </c:pt>
                <c:pt idx="49">
                  <c:v>0.003659057351763405</c:v>
                </c:pt>
                <c:pt idx="50">
                  <c:v>0.0029955429283021274</c:v>
                </c:pt>
                <c:pt idx="51">
                  <c:v>0.002767044101258123</c:v>
                </c:pt>
                <c:pt idx="52">
                  <c:v>0.005387755316246222</c:v>
                </c:pt>
                <c:pt idx="53">
                  <c:v>0.005416874037474603</c:v>
                </c:pt>
                <c:pt idx="54">
                  <c:v>0.0039846485103717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74900398406374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2</c:f>
              <c:numCache>
                <c:formatCode>General</c:formatCode>
                <c:ptCount val="51"/>
                <c:pt idx="0">
                  <c:v>0.0</c:v>
                </c:pt>
                <c:pt idx="1">
                  <c:v>0.0</c:v>
                </c:pt>
                <c:pt idx="2">
                  <c:v>0.0</c:v>
                </c:pt>
                <c:pt idx="3">
                  <c:v>0.0</c:v>
                </c:pt>
                <c:pt idx="4">
                  <c:v>1395.0</c:v>
                </c:pt>
                <c:pt idx="5">
                  <c:v>2327.0</c:v>
                </c:pt>
                <c:pt idx="6">
                  <c:v>0.0</c:v>
                </c:pt>
                <c:pt idx="7">
                  <c:v>2113.0</c:v>
                </c:pt>
                <c:pt idx="8">
                  <c:v>2837.0</c:v>
                </c:pt>
                <c:pt idx="9">
                  <c:v>1434.0</c:v>
                </c:pt>
                <c:pt idx="10">
                  <c:v>2348.0</c:v>
                </c:pt>
                <c:pt idx="11">
                  <c:v>2254.0</c:v>
                </c:pt>
                <c:pt idx="12">
                  <c:v>2218.0</c:v>
                </c:pt>
                <c:pt idx="13">
                  <c:v>1469.0</c:v>
                </c:pt>
                <c:pt idx="14">
                  <c:v>1825.0</c:v>
                </c:pt>
                <c:pt idx="15">
                  <c:v>843.5</c:v>
                </c:pt>
                <c:pt idx="16">
                  <c:v>1862.0</c:v>
                </c:pt>
                <c:pt idx="17">
                  <c:v>1348.0</c:v>
                </c:pt>
                <c:pt idx="18">
                  <c:v>1247.0</c:v>
                </c:pt>
                <c:pt idx="19">
                  <c:v>528.6667</c:v>
                </c:pt>
                <c:pt idx="20">
                  <c:v>73.0</c:v>
                </c:pt>
                <c:pt idx="21">
                  <c:v>4324.0</c:v>
                </c:pt>
                <c:pt idx="22">
                  <c:v>1811.6</c:v>
                </c:pt>
                <c:pt idx="23">
                  <c:v>6116.0</c:v>
                </c:pt>
                <c:pt idx="24">
                  <c:v>1763.1667</c:v>
                </c:pt>
                <c:pt idx="25">
                  <c:v>8858.0</c:v>
                </c:pt>
                <c:pt idx="26">
                  <c:v>2536.6667</c:v>
                </c:pt>
                <c:pt idx="27">
                  <c:v>2035.3333</c:v>
                </c:pt>
                <c:pt idx="28">
                  <c:v>4836.0</c:v>
                </c:pt>
                <c:pt idx="29">
                  <c:v>3167.6667</c:v>
                </c:pt>
                <c:pt idx="30">
                  <c:v>2056.2</c:v>
                </c:pt>
                <c:pt idx="31">
                  <c:v>1896.2</c:v>
                </c:pt>
                <c:pt idx="32">
                  <c:v>3563.0</c:v>
                </c:pt>
                <c:pt idx="33">
                  <c:v>4154.6667</c:v>
                </c:pt>
                <c:pt idx="34">
                  <c:v>2078.8333</c:v>
                </c:pt>
                <c:pt idx="35">
                  <c:v>3062.0</c:v>
                </c:pt>
                <c:pt idx="36">
                  <c:v>4267.6667</c:v>
                </c:pt>
                <c:pt idx="37">
                  <c:v>1656.75</c:v>
                </c:pt>
                <c:pt idx="38">
                  <c:v>2697.2</c:v>
                </c:pt>
                <c:pt idx="39">
                  <c:v>2598.5</c:v>
                </c:pt>
                <c:pt idx="40">
                  <c:v>2090.8</c:v>
                </c:pt>
                <c:pt idx="41">
                  <c:v>3679.2</c:v>
                </c:pt>
                <c:pt idx="42">
                  <c:v>5064.2</c:v>
                </c:pt>
                <c:pt idx="43">
                  <c:v>3994.9</c:v>
                </c:pt>
                <c:pt idx="44">
                  <c:v>3549.5714</c:v>
                </c:pt>
                <c:pt idx="45">
                  <c:v>3867.7857</c:v>
                </c:pt>
                <c:pt idx="46">
                  <c:v>3951.8824</c:v>
                </c:pt>
                <c:pt idx="47">
                  <c:v>3258.9286</c:v>
                </c:pt>
                <c:pt idx="48">
                  <c:v>3554.125</c:v>
                </c:pt>
                <c:pt idx="49">
                  <c:v>3640.1111</c:v>
                </c:pt>
                <c:pt idx="50">
                  <c:v>4005.1429</c:v>
                </c:pt>
              </c:numCache>
            </c:numRef>
          </c:xVal>
          <c:yVal>
            <c:numRef>
              <c:f>Sheet1!$B$2:$B$52</c:f>
              <c:numCache>
                <c:formatCode>General</c:formatCode>
                <c:ptCount val="51"/>
                <c:pt idx="0">
                  <c:v>0.0</c:v>
                </c:pt>
                <c:pt idx="1">
                  <c:v>0.0</c:v>
                </c:pt>
                <c:pt idx="2">
                  <c:v>0.0</c:v>
                </c:pt>
                <c:pt idx="3">
                  <c:v>0.0</c:v>
                </c:pt>
                <c:pt idx="4">
                  <c:v>0.0005</c:v>
                </c:pt>
                <c:pt idx="5">
                  <c:v>0.0004012841091492777</c:v>
                </c:pt>
                <c:pt idx="6">
                  <c:v>0.0</c:v>
                </c:pt>
                <c:pt idx="7">
                  <c:v>0.000361271676300578</c:v>
                </c:pt>
                <c:pt idx="8">
                  <c:v>0.000351493848857645</c:v>
                </c:pt>
                <c:pt idx="9">
                  <c:v>0.0003201024327784891</c:v>
                </c:pt>
                <c:pt idx="10">
                  <c:v>0.0003081664098613251</c:v>
                </c:pt>
                <c:pt idx="11">
                  <c:v>0.00032583903551645487</c:v>
                </c:pt>
                <c:pt idx="12">
                  <c:v>0.00033523298692591353</c:v>
                </c:pt>
                <c:pt idx="13">
                  <c:v>0.0008264462809917355</c:v>
                </c:pt>
                <c:pt idx="14">
                  <c:v>0.0005200208008320333</c:v>
                </c:pt>
                <c:pt idx="15">
                  <c:v>0.0010689470871191875</c:v>
                </c:pt>
                <c:pt idx="16">
                  <c:v>0.0005614823133071309</c:v>
                </c:pt>
                <c:pt idx="17">
                  <c:v>0.0006788866259334691</c:v>
                </c:pt>
                <c:pt idx="18">
                  <c:v>0.0006402048655569782</c:v>
                </c:pt>
                <c:pt idx="19">
                  <c:v>0.0023328149300155523</c:v>
                </c:pt>
                <c:pt idx="20">
                  <c:v>0.0015026296018031556</c:v>
                </c:pt>
                <c:pt idx="21">
                  <c:v>0.000856898029134533</c:v>
                </c:pt>
                <c:pt idx="22">
                  <c:v>0.004233700254022015</c:v>
                </c:pt>
                <c:pt idx="23">
                  <c:v>0.00102880658436214</c:v>
                </c:pt>
                <c:pt idx="24">
                  <c:v>0.006382978723404255</c:v>
                </c:pt>
                <c:pt idx="25">
                  <c:v>0.0009199632014719411</c:v>
                </c:pt>
                <c:pt idx="26">
                  <c:v>0.0028735632183908046</c:v>
                </c:pt>
                <c:pt idx="27">
                  <c:v>0.00495458298926507</c:v>
                </c:pt>
                <c:pt idx="28">
                  <c:v>0.0021253985122210413</c:v>
                </c:pt>
                <c:pt idx="29">
                  <c:v>0.0037174721189591076</c:v>
                </c:pt>
                <c:pt idx="30">
                  <c:v>0.006060606060606061</c:v>
                </c:pt>
                <c:pt idx="31">
                  <c:v>0.005567928730512249</c:v>
                </c:pt>
                <c:pt idx="32">
                  <c:v>0.002835538752362949</c:v>
                </c:pt>
                <c:pt idx="33">
                  <c:v>0.0025020850708924102</c:v>
                </c:pt>
                <c:pt idx="34">
                  <c:v>0.0070838252656434475</c:v>
                </c:pt>
                <c:pt idx="35">
                  <c:v>0.005154639175257732</c:v>
                </c:pt>
                <c:pt idx="36">
                  <c:v>0.0038560411311053984</c:v>
                </c:pt>
                <c:pt idx="37">
                  <c:v>0.010624169986719787</c:v>
                </c:pt>
                <c:pt idx="38">
                  <c:v>0.005165289256198347</c:v>
                </c:pt>
                <c:pt idx="39">
                  <c:v>0.004581901489117984</c:v>
                </c:pt>
                <c:pt idx="40">
                  <c:v>0.005555555555555556</c:v>
                </c:pt>
                <c:pt idx="41">
                  <c:v>0.003878975950349108</c:v>
                </c:pt>
                <c:pt idx="42">
                  <c:v>0.0033692722371967657</c:v>
                </c:pt>
                <c:pt idx="43">
                  <c:v>0.006038647342995169</c:v>
                </c:pt>
                <c:pt idx="44">
                  <c:v>0.006756756756756757</c:v>
                </c:pt>
                <c:pt idx="45">
                  <c:v>0.004789599726308587</c:v>
                </c:pt>
                <c:pt idx="46">
                  <c:v>0.003564688613965192</c:v>
                </c:pt>
                <c:pt idx="47">
                  <c:v>0.006241640659830584</c:v>
                </c:pt>
                <c:pt idx="48">
                  <c:v>0.004417448923246825</c:v>
                </c:pt>
                <c:pt idx="49">
                  <c:v>0.004136029411764706</c:v>
                </c:pt>
                <c:pt idx="50">
                  <c:v>0.0035897435897435897</c:v>
                </c:pt>
              </c:numCache>
            </c:numRef>
          </c:yVal>
          <c:smooth val="0"/>
          <c:extLst>
            <c:ext xmlns:c16="http://schemas.microsoft.com/office/drawing/2014/chart" uri="{C3380CC4-5D6E-409C-BE32-E72D297353CC}">
              <c16:uniqueId val="{00000000-F32D-48B7-BC20-E66FC6253BAD}"/>
            </c:ext>
          </c:extLst>
        </c:ser>
        <c:ser>
          <c:idx val="1"/>
          <c:order val="1"/>
          <c:tx>
            <c:strRef>
              <c:f>Sheet1!$B$5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5:$A$106</c:f>
              <c:numCache>
                <c:formatCode>General</c:formatCode>
                <c:ptCount val="52"/>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numCache>
            </c:numRef>
          </c:xVal>
          <c:yVal>
            <c:numRef>
              <c:f>Sheet1!$B$55:$B$106</c:f>
              <c:numCache>
                <c:formatCode>General</c:formatCode>
                <c:ptCount val="52"/>
                <c:pt idx="0">
                  <c:v>0.0025188916876574307</c:v>
                </c:pt>
                <c:pt idx="1">
                  <c:v>0.004730928444707274</c:v>
                </c:pt>
                <c:pt idx="2">
                  <c:v>0.0038095238095238095</c:v>
                </c:pt>
                <c:pt idx="3">
                  <c:v>0.0039081582804103565</c:v>
                </c:pt>
                <c:pt idx="4">
                  <c:v>0.00267379679144385</c:v>
                </c:pt>
                <c:pt idx="5">
                  <c:v>0.0026845637583892616</c:v>
                </c:pt>
                <c:pt idx="6">
                  <c:v>0.0031733439111463705</c:v>
                </c:pt>
                <c:pt idx="7">
                  <c:v>0.0034856700232378003</c:v>
                </c:pt>
                <c:pt idx="8">
                  <c:v>0.00450281425891182</c:v>
                </c:pt>
                <c:pt idx="9">
                  <c:v>0.00390625</c:v>
                </c:pt>
                <c:pt idx="10">
                  <c:v>0.0035014005602240898</c:v>
                </c:pt>
                <c:pt idx="11">
                  <c:v>0.0037713954163040323</c:v>
                </c:pt>
                <c:pt idx="12">
                  <c:v>0.003786683496371095</c:v>
                </c:pt>
                <c:pt idx="13">
                  <c:v>0.005454545454545455</c:v>
                </c:pt>
                <c:pt idx="14">
                  <c:v>0.006117455138662317</c:v>
                </c:pt>
                <c:pt idx="15">
                  <c:v>0.006457564575645757</c:v>
                </c:pt>
                <c:pt idx="16">
                  <c:v>0.0038147138964577656</c:v>
                </c:pt>
                <c:pt idx="17">
                  <c:v>0.004830917874396135</c:v>
                </c:pt>
                <c:pt idx="18">
                  <c:v>0.003694581280788177</c:v>
                </c:pt>
                <c:pt idx="19">
                  <c:v>0.0038580246913580245</c:v>
                </c:pt>
                <c:pt idx="20">
                  <c:v>0.004955401387512388</c:v>
                </c:pt>
                <c:pt idx="21">
                  <c:v>0.005529953917050691</c:v>
                </c:pt>
                <c:pt idx="22">
                  <c:v>0.004340277777777778</c:v>
                </c:pt>
                <c:pt idx="23">
                  <c:v>0.004420866489832007</c:v>
                </c:pt>
                <c:pt idx="24">
                  <c:v>0.0044603033006244425</c:v>
                </c:pt>
                <c:pt idx="25">
                  <c:v>0.004533091568449683</c:v>
                </c:pt>
                <c:pt idx="26">
                  <c:v>0.004826254826254826</c:v>
                </c:pt>
                <c:pt idx="27">
                  <c:v>0.0056179775280898875</c:v>
                </c:pt>
                <c:pt idx="28">
                  <c:v>0.005512679162072767</c:v>
                </c:pt>
                <c:pt idx="29">
                  <c:v>0.007444168734491315</c:v>
                </c:pt>
                <c:pt idx="30">
                  <c:v>0.004956629491945477</c:v>
                </c:pt>
                <c:pt idx="31">
                  <c:v>0.005847953216374269</c:v>
                </c:pt>
                <c:pt idx="32">
                  <c:v>0.006640106241699867</c:v>
                </c:pt>
                <c:pt idx="33">
                  <c:v>0.005660377358490566</c:v>
                </c:pt>
                <c:pt idx="34">
                  <c:v>0.005</c:v>
                </c:pt>
                <c:pt idx="35">
                  <c:v>0.004686035613870665</c:v>
                </c:pt>
                <c:pt idx="36">
                  <c:v>0.007633587786259542</c:v>
                </c:pt>
                <c:pt idx="37">
                  <c:v>0.008053691275167786</c:v>
                </c:pt>
                <c:pt idx="38">
                  <c:v>0.007905138339920948</c:v>
                </c:pt>
                <c:pt idx="39">
                  <c:v>0.0069605568445475635</c:v>
                </c:pt>
                <c:pt idx="40">
                  <c:v>0.004965243296921549</c:v>
                </c:pt>
                <c:pt idx="41">
                  <c:v>0.0061162079510703364</c:v>
                </c:pt>
                <c:pt idx="42">
                  <c:v>0.005449591280653951</c:v>
                </c:pt>
                <c:pt idx="43">
                  <c:v>0.005413766434648105</c:v>
                </c:pt>
                <c:pt idx="44">
                  <c:v>0.0031974420463629096</c:v>
                </c:pt>
                <c:pt idx="45">
                  <c:v>0.0032679738562091504</c:v>
                </c:pt>
                <c:pt idx="46">
                  <c:v>0.0033240997229916896</c:v>
                </c:pt>
                <c:pt idx="47">
                  <c:v>0.003067484662576687</c:v>
                </c:pt>
                <c:pt idx="48">
                  <c:v>0.0029688273132112814</c:v>
                </c:pt>
                <c:pt idx="49">
                  <c:v>0.002388263391334016</c:v>
                </c:pt>
                <c:pt idx="50">
                  <c:v>0.001951219512195122</c:v>
                </c:pt>
                <c:pt idx="51">
                  <c:v>0.00272975432211101</c:v>
                </c:pt>
              </c:numCache>
            </c:numRef>
          </c:yVal>
          <c:smooth val="0"/>
          <c:extLst>
            <c:ext xmlns:c16="http://schemas.microsoft.com/office/drawing/2014/chart" uri="{C3380CC4-5D6E-409C-BE32-E72D297353CC}">
              <c16:uniqueId val="{00000002-F32D-48B7-BC20-E66FC6253BAD}"/>
            </c:ext>
          </c:extLst>
        </c:ser>
        <c:ser>
          <c:idx val="2"/>
          <c:order val="2"/>
          <c:tx>
            <c:strRef>
              <c:f>Sheet1!$B$108</c:f>
              <c:strCache>
                <c:ptCount val="1"/>
                <c:pt idx="0">
                  <c:v>Custom Linep3yQ</c:v>
                </c:pt>
              </c:strCache>
            </c:strRef>
          </c:tx>
          <c:spPr>
            <a:ln w="19050" cap="rnd">
              <a:solidFill>
                <a:srgbClr val="C00000"/>
              </a:solidFill>
              <a:prstDash val="sysDot"/>
              <a:round/>
            </a:ln>
            <a:effectLst/>
          </c:spPr>
          <c:marker>
            <c:symbol val="none"/>
          </c:marker>
          <c:xVal>
            <c:numRef>
              <c:f>Sheet1!$A$109:$A$110</c:f>
              <c:numCache>
                <c:formatCode>General</c:formatCode>
                <c:ptCount val="2"/>
                <c:pt idx="0">
                  <c:v>0</c:v>
                </c:pt>
                <c:pt idx="1">
                  <c:v>3458.6934205118446</c:v>
                </c:pt>
              </c:numCache>
            </c:numRef>
          </c:xVal>
          <c:yVal>
            <c:numRef>
              <c:f>Sheet1!$B$109:$B$110</c:f>
              <c:numCache>
                <c:formatCode>General</c:formatCode>
                <c:ptCount val="2"/>
                <c:pt idx="0">
                  <c:v>0.005416874037474603</c:v>
                </c:pt>
                <c:pt idx="1">
                  <c:v>0.005416874037474603</c:v>
                </c:pt>
              </c:numCache>
            </c:numRef>
          </c:yVal>
          <c:smooth val="0"/>
          <c:extLst>
            <c:ext xmlns:c16="http://schemas.microsoft.com/office/drawing/2014/chart" uri="{C3380CC4-5D6E-409C-BE32-E72D297353CC}">
              <c16:uniqueId val="{00000003-F32D-48B7-BC20-E66FC6253BAD}"/>
            </c:ext>
          </c:extLst>
        </c:ser>
        <c:ser>
          <c:idx val="3"/>
          <c:order val="3"/>
          <c:tx>
            <c:strRef>
              <c:f>Sheet1!$B$11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3:$A$114</c:f>
              <c:numCache>
                <c:formatCode>General</c:formatCode>
                <c:ptCount val="2"/>
                <c:pt idx="0">
                  <c:v>3458.6934205118446</c:v>
                </c:pt>
                <c:pt idx="1">
                  <c:v>3458.6934205118446</c:v>
                </c:pt>
              </c:numCache>
            </c:numRef>
          </c:xVal>
          <c:yVal>
            <c:numRef>
              <c:f>Sheet1!$B$113:$B$114</c:f>
              <c:numCache>
                <c:formatCode>General</c:formatCode>
                <c:ptCount val="2"/>
                <c:pt idx="0">
                  <c:v>0.0054168740374746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7:$A$118</c:f>
              <c:numCache>
                <c:formatCode>General</c:formatCode>
                <c:ptCount val="2"/>
                <c:pt idx="0">
                  <c:v>0</c:v>
                </c:pt>
                <c:pt idx="1">
                  <c:v>3483.7894231837004</c:v>
                </c:pt>
              </c:numCache>
            </c:numRef>
          </c:xVal>
          <c:yVal>
            <c:numRef>
              <c:f>Sheet1!$B$117:$B$118</c:f>
              <c:numCache>
                <c:formatCode>General</c:formatCode>
                <c:ptCount val="2"/>
                <c:pt idx="0">
                  <c:v>0.005387755316246222</c:v>
                </c:pt>
                <c:pt idx="1">
                  <c:v>0.005387755316246222</c:v>
                </c:pt>
              </c:numCache>
            </c:numRef>
          </c:yVal>
          <c:smooth val="0"/>
          <c:extLst>
            <c:ext xmlns:c16="http://schemas.microsoft.com/office/drawing/2014/chart" uri="{C3380CC4-5D6E-409C-BE32-E72D297353CC}">
              <c16:uniqueId val="{0000000A-F32D-48B7-BC20-E66FC6253BAD}"/>
            </c:ext>
          </c:extLst>
        </c:ser>
        <c:ser>
          <c:idx val="5"/>
          <c:order val="5"/>
          <c:tx>
            <c:strRef>
              <c:f>Sheet1!$B$12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1:$A$122</c:f>
              <c:numCache>
                <c:formatCode>General</c:formatCode>
                <c:ptCount val="2"/>
                <c:pt idx="0">
                  <c:v>3483.7894231837004</c:v>
                </c:pt>
                <c:pt idx="1">
                  <c:v>3483.7894231837004</c:v>
                </c:pt>
              </c:numCache>
            </c:numRef>
          </c:xVal>
          <c:yVal>
            <c:numRef>
              <c:f>Sheet1!$B$121:$B$122</c:f>
              <c:numCache>
                <c:formatCode>General</c:formatCode>
                <c:ptCount val="2"/>
                <c:pt idx="0">
                  <c:v>0.005387755316246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5:$A$126</c:f>
              <c:numCache>
                <c:formatCode>General</c:formatCode>
                <c:ptCount val="2"/>
                <c:pt idx="0">
                  <c:v>0</c:v>
                </c:pt>
                <c:pt idx="1">
                  <c:v>4693.058603411425</c:v>
                </c:pt>
              </c:numCache>
            </c:numRef>
          </c:xVal>
          <c:yVal>
            <c:numRef>
              <c:f>Sheet1!$B$125:$B$126</c:f>
              <c:numCache>
                <c:formatCode>General</c:formatCode>
                <c:ptCount val="2"/>
                <c:pt idx="0">
                  <c:v>0.003984648510371799</c:v>
                </c:pt>
                <c:pt idx="1">
                  <c:v>0.003984648510371799</c:v>
                </c:pt>
              </c:numCache>
            </c:numRef>
          </c:yVal>
          <c:smooth val="0"/>
          <c:extLst>
            <c:ext xmlns:c16="http://schemas.microsoft.com/office/drawing/2014/chart" uri="{C3380CC4-5D6E-409C-BE32-E72D297353CC}">
              <c16:uniqueId val="{00000011-F32D-48B7-BC20-E66FC6253BAD}"/>
            </c:ext>
          </c:extLst>
        </c:ser>
        <c:ser>
          <c:idx val="7"/>
          <c:order val="7"/>
          <c:tx>
            <c:strRef>
              <c:f>Sheet1!$B$12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9:$A$130</c:f>
              <c:numCache>
                <c:formatCode>General</c:formatCode>
                <c:ptCount val="2"/>
                <c:pt idx="0">
                  <c:v>4693.058603411425</c:v>
                </c:pt>
                <c:pt idx="1">
                  <c:v>4693.058603411425</c:v>
                </c:pt>
              </c:numCache>
            </c:numRef>
          </c:xVal>
          <c:yVal>
            <c:numRef>
              <c:f>Sheet1!$B$129:$B$130</c:f>
              <c:numCache>
                <c:formatCode>General</c:formatCode>
                <c:ptCount val="2"/>
                <c:pt idx="0">
                  <c:v>0.0039846485103717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3:$A$187</c:f>
              <c:numCache>
                <c:formatCode>General</c:formatCode>
                <c:ptCount val="55"/>
                <c:pt idx="0">
                  <c:v>5742.6</c:v>
                </c:pt>
                <c:pt idx="1">
                  <c:v>2686.125</c:v>
                </c:pt>
                <c:pt idx="2">
                  <c:v>3668.625</c:v>
                </c:pt>
                <c:pt idx="3">
                  <c:v>3392.0</c:v>
                </c:pt>
                <c:pt idx="4">
                  <c:v>5161.8333</c:v>
                </c:pt>
                <c:pt idx="5">
                  <c:v>4834.3333</c:v>
                </c:pt>
                <c:pt idx="6">
                  <c:v>4164.75</c:v>
                </c:pt>
                <c:pt idx="7">
                  <c:v>4070.7778</c:v>
                </c:pt>
                <c:pt idx="8">
                  <c:v>4090.0833</c:v>
                </c:pt>
                <c:pt idx="9">
                  <c:v>3932.0</c:v>
                </c:pt>
                <c:pt idx="10">
                  <c:v>4466.4</c:v>
                </c:pt>
                <c:pt idx="11">
                  <c:v>4005.6154</c:v>
                </c:pt>
                <c:pt idx="12">
                  <c:v>3736.9167</c:v>
                </c:pt>
                <c:pt idx="13">
                  <c:v>3653.4</c:v>
                </c:pt>
                <c:pt idx="14">
                  <c:v>3323.2</c:v>
                </c:pt>
                <c:pt idx="15">
                  <c:v>3377.8571</c:v>
                </c:pt>
                <c:pt idx="16">
                  <c:v>5265.4286</c:v>
                </c:pt>
                <c:pt idx="17">
                  <c:v>4494.75</c:v>
                </c:pt>
                <c:pt idx="18">
                  <c:v>4931.0</c:v>
                </c:pt>
                <c:pt idx="19">
                  <c:v>4507.6</c:v>
                </c:pt>
                <c:pt idx="20">
                  <c:v>4292.6</c:v>
                </c:pt>
                <c:pt idx="21">
                  <c:v>3670.5</c:v>
                </c:pt>
                <c:pt idx="22">
                  <c:v>5083.6</c:v>
                </c:pt>
                <c:pt idx="23">
                  <c:v>3778.6</c:v>
                </c:pt>
                <c:pt idx="24">
                  <c:v>4330.2</c:v>
                </c:pt>
                <c:pt idx="25">
                  <c:v>3846.4</c:v>
                </c:pt>
                <c:pt idx="26">
                  <c:v>4493.6</c:v>
                </c:pt>
                <c:pt idx="27">
                  <c:v>4236.6</c:v>
                </c:pt>
                <c:pt idx="28">
                  <c:v>3734.8</c:v>
                </c:pt>
                <c:pt idx="29">
                  <c:v>3555.1667</c:v>
                </c:pt>
                <c:pt idx="30">
                  <c:v>3612.5</c:v>
                </c:pt>
                <c:pt idx="31">
                  <c:v>4073.75</c:v>
                </c:pt>
                <c:pt idx="32">
                  <c:v>3515.0</c:v>
                </c:pt>
                <c:pt idx="33">
                  <c:v>4209.6667</c:v>
                </c:pt>
                <c:pt idx="34">
                  <c:v>4662.5</c:v>
                </c:pt>
                <c:pt idx="35">
                  <c:v>4101.4</c:v>
                </c:pt>
                <c:pt idx="36">
                  <c:v>3851.6667</c:v>
                </c:pt>
                <c:pt idx="37">
                  <c:v>3836.3333</c:v>
                </c:pt>
                <c:pt idx="38">
                  <c:v>4122.3333</c:v>
                </c:pt>
                <c:pt idx="39">
                  <c:v>4127.3333</c:v>
                </c:pt>
                <c:pt idx="40">
                  <c:v>4377.0</c:v>
                </c:pt>
                <c:pt idx="41">
                  <c:v>2827.0</c:v>
                </c:pt>
                <c:pt idx="42">
                  <c:v>3821.3333</c:v>
                </c:pt>
                <c:pt idx="43">
                  <c:v>3802.2857</c:v>
                </c:pt>
                <c:pt idx="44">
                  <c:v>5714.25</c:v>
                </c:pt>
                <c:pt idx="45">
                  <c:v>4653.0</c:v>
                </c:pt>
                <c:pt idx="46">
                  <c:v>3995.6667</c:v>
                </c:pt>
                <c:pt idx="47">
                  <c:v>4774.1667</c:v>
                </c:pt>
                <c:pt idx="48">
                  <c:v>4204.5</c:v>
                </c:pt>
                <c:pt idx="49">
                  <c:v>3913.1429</c:v>
                </c:pt>
                <c:pt idx="50">
                  <c:v>4129.4</c:v>
                </c:pt>
                <c:pt idx="51">
                  <c:v>4484.0</c:v>
                </c:pt>
                <c:pt idx="52">
                  <c:v>3483.7894231837004</c:v>
                </c:pt>
                <c:pt idx="53">
                  <c:v>3458.6934205118446</c:v>
                </c:pt>
                <c:pt idx="54">
                  <c:v>4693.058603411425</c:v>
                </c:pt>
              </c:numCache>
            </c:numRef>
          </c:xVal>
          <c:yVal>
            <c:numRef>
              <c:f>Sheet1!$B$133:$B$187</c:f>
              <c:numCache>
                <c:formatCode>General</c:formatCode>
                <c:ptCount val="55"/>
                <c:pt idx="0">
                  <c:v>0.002766872765584306</c:v>
                </c:pt>
                <c:pt idx="1">
                  <c:v>0.006313279921745704</c:v>
                </c:pt>
                <c:pt idx="2">
                  <c:v>0.005173291853487801</c:v>
                </c:pt>
                <c:pt idx="3">
                  <c:v>0.005494257959728861</c:v>
                </c:pt>
                <c:pt idx="4">
                  <c:v>0.0034407324179420848</c:v>
                </c:pt>
                <c:pt idx="5">
                  <c:v>0.0038207284406947184</c:v>
                </c:pt>
                <c:pt idx="6">
                  <c:v>0.004597641390012532</c:v>
                </c:pt>
                <c:pt idx="7">
                  <c:v>0.004706676694590593</c:v>
                </c:pt>
                <c:pt idx="8">
                  <c:v>0.0046842766542325755</c:v>
                </c:pt>
                <c:pt idx="9">
                  <c:v>0.004867699632136732</c:v>
                </c:pt>
                <c:pt idx="10">
                  <c:v>0.004247638946460373</c:v>
                </c:pt>
                <c:pt idx="11">
                  <c:v>0.0047822841841570546</c:v>
                </c:pt>
                <c:pt idx="12">
                  <c:v>0.0050940534584129425</c:v>
                </c:pt>
                <c:pt idx="13">
                  <c:v>0.005190957317446301</c:v>
                </c:pt>
                <c:pt idx="14">
                  <c:v>0.005574086131836896</c:v>
                </c:pt>
                <c:pt idx="15">
                  <c:v>0.005510667870416459</c:v>
                </c:pt>
                <c:pt idx="16">
                  <c:v>0.003320531495878372</c:v>
                </c:pt>
                <c:pt idx="17">
                  <c:v>0.004214744634261786</c:v>
                </c:pt>
                <c:pt idx="18">
                  <c:v>0.003708566726091293</c:v>
                </c:pt>
                <c:pt idx="19">
                  <c:v>0.004199834866651491</c:v>
                </c:pt>
                <c:pt idx="20">
                  <c:v>0.004449297904489099</c:v>
                </c:pt>
                <c:pt idx="21">
                  <c:v>0.005171116303739217</c:v>
                </c:pt>
                <c:pt idx="22">
                  <c:v>0.0035315059838865537</c:v>
                </c:pt>
                <c:pt idx="23">
                  <c:v>0.005045688608900867</c:v>
                </c:pt>
                <c:pt idx="24">
                  <c:v>0.0044056708801974995</c:v>
                </c:pt>
                <c:pt idx="25">
                  <c:v>0.004967020729992077</c:v>
                </c:pt>
                <c:pt idx="26">
                  <c:v>0.004216078971440917</c:v>
                </c:pt>
                <c:pt idx="27">
                  <c:v>0.004514274323646801</c:v>
                </c:pt>
                <c:pt idx="28">
                  <c:v>0.005096509451027784</c:v>
                </c:pt>
                <c:pt idx="29">
                  <c:v>0.005304936747375664</c:v>
                </c:pt>
                <c:pt idx="30">
                  <c:v>0.005238413309295409</c:v>
                </c:pt>
                <c:pt idx="31">
                  <c:v>0.004703228071143799</c:v>
                </c:pt>
                <c:pt idx="32">
                  <c:v>0.005351541896221766</c:v>
                </c:pt>
                <c:pt idx="33">
                  <c:v>0.004545524848470019</c:v>
                </c:pt>
                <c:pt idx="34">
                  <c:v>0.00402010545008849</c:v>
                </c:pt>
                <c:pt idx="35">
                  <c:v>0.004671145964184683</c:v>
                </c:pt>
                <c:pt idx="36">
                  <c:v>0.004960909813799615</c:v>
                </c:pt>
                <c:pt idx="37">
                  <c:v>0.004978701053540914</c:v>
                </c:pt>
                <c:pt idx="38">
                  <c:v>0.004646857198556934</c:v>
                </c:pt>
                <c:pt idx="39">
                  <c:v>0.00464105573256071</c:v>
                </c:pt>
                <c:pt idx="40">
                  <c:v>0.004351369158472848</c:v>
                </c:pt>
                <c:pt idx="41">
                  <c:v>0.006149823617302108</c:v>
                </c:pt>
                <c:pt idx="42">
                  <c:v>0.004996105451529584</c:v>
                </c:pt>
                <c:pt idx="43">
                  <c:v>0.005018206252271517</c:v>
                </c:pt>
                <c:pt idx="44">
                  <c:v>0.0027997670777828937</c:v>
                </c:pt>
                <c:pt idx="45">
                  <c:v>0.004031128235481315</c:v>
                </c:pt>
                <c:pt idx="46">
                  <c:v>0.004793827593108381</c:v>
                </c:pt>
                <c:pt idx="47">
                  <c:v>0.0038905393374963947</c:v>
                </c:pt>
                <c:pt idx="48">
                  <c:v>0.0045515197353425555</c:v>
                </c:pt>
                <c:pt idx="49">
                  <c:v>0.004889579397024209</c:v>
                </c:pt>
                <c:pt idx="50">
                  <c:v>0.004638657754605832</c:v>
                </c:pt>
                <c:pt idx="51">
                  <c:v>0.004227217786153667</c:v>
                </c:pt>
                <c:pt idx="52">
                  <c:v>0.005387755316246222</c:v>
                </c:pt>
                <c:pt idx="53">
                  <c:v>0.005416874037474603</c:v>
                </c:pt>
                <c:pt idx="54">
                  <c:v>0.0039846485103717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63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74900398406374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567272184757227</c:v>
                </c:pt>
                <c:pt idx="1">
                  <c:v>0.21124118670764855</c:v>
                </c:pt>
                <c:pt idx="2">
                  <c:v>0.2090562666518214</c:v>
                </c:pt>
                <c:pt idx="3">
                  <c:v>0.19718769279451578</c:v>
                </c:pt>
                <c:pt idx="4">
                  <c:v>0.1966952957842751</c:v>
                </c:pt>
                <c:pt idx="5">
                  <c:v>0.2096540608551296</c:v>
                </c:pt>
                <c:pt idx="6">
                  <c:v>0.20211323321504898</c:v>
                </c:pt>
                <c:pt idx="7">
                  <c:v>0.18432798777949397</c:v>
                </c:pt>
                <c:pt idx="8">
                  <c:v>0.17321590825984604</c:v>
                </c:pt>
                <c:pt idx="9">
                  <c:v>0.16761123180544174</c:v>
                </c:pt>
                <c:pt idx="10">
                  <c:v>0.18071077735770885</c:v>
                </c:pt>
                <c:pt idx="11">
                  <c:v>0.20177190525376643</c:v>
                </c:pt>
                <c:pt idx="12">
                  <c:v>0.2014772058029894</c:v>
                </c:pt>
                <c:pt idx="13">
                  <c:v>0.17779775712093368</c:v>
                </c:pt>
                <c:pt idx="14">
                  <c:v>0.18868187900427724</c:v>
                </c:pt>
                <c:pt idx="15">
                  <c:v>0.20417775420464465</c:v>
                </c:pt>
                <c:pt idx="16">
                  <c:v>0.19310818754514697</c:v>
                </c:pt>
                <c:pt idx="17">
                  <c:v>0.19907958415063054</c:v>
                </c:pt>
                <c:pt idx="18">
                  <c:v>0.17600801151414633</c:v>
                </c:pt>
                <c:pt idx="19">
                  <c:v>0.18361343532148067</c:v>
                </c:pt>
                <c:pt idx="20">
                  <c:v>0.16976688033723733</c:v>
                </c:pt>
                <c:pt idx="21">
                  <c:v>0.17783543711173133</c:v>
                </c:pt>
                <c:pt idx="22">
                  <c:v>0.16868791965211075</c:v>
                </c:pt>
                <c:pt idx="23">
                  <c:v>0.14352697274847814</c:v>
                </c:pt>
                <c:pt idx="24">
                  <c:v>0.17019156488400503</c:v>
                </c:pt>
                <c:pt idx="25">
                  <c:v>0.18106415500403833</c:v>
                </c:pt>
                <c:pt idx="26">
                  <c:v>0.17041884788478848</c:v>
                </c:pt>
                <c:pt idx="27">
                  <c:v>0.17397073367061458</c:v>
                </c:pt>
                <c:pt idx="28">
                  <c:v>0.14352052255537953</c:v>
                </c:pt>
                <c:pt idx="29">
                  <c:v>0.14907734681419782</c:v>
                </c:pt>
                <c:pt idx="30">
                  <c:v>0.15083827434461228</c:v>
                </c:pt>
                <c:pt idx="31">
                  <c:v>0.15740654134738558</c:v>
                </c:pt>
                <c:pt idx="32">
                  <c:v>0.14502697348302226</c:v>
                </c:pt>
                <c:pt idx="33">
                  <c:v>0.16329204366566535</c:v>
                </c:pt>
                <c:pt idx="34">
                  <c:v>0.17924374084764674</c:v>
                </c:pt>
                <c:pt idx="35">
                  <c:v>0.1884743845314253</c:v>
                </c:pt>
                <c:pt idx="36">
                  <c:v>0.16698322992565326</c:v>
                </c:pt>
                <c:pt idx="37">
                  <c:v>0.1678758782846811</c:v>
                </c:pt>
                <c:pt idx="38">
                  <c:v>0.1778909003591331</c:v>
                </c:pt>
                <c:pt idx="39">
                  <c:v>0.21472612859105902</c:v>
                </c:pt>
                <c:pt idx="40">
                  <c:v>0.22844591998528066</c:v>
                </c:pt>
                <c:pt idx="41">
                  <c:v>0.21132446299220115</c:v>
                </c:pt>
                <c:pt idx="42">
                  <c:v>0.19338016925827425</c:v>
                </c:pt>
                <c:pt idx="43">
                  <c:v>0.21289173557467017</c:v>
                </c:pt>
                <c:pt idx="44">
                  <c:v>0.20002384353265185</c:v>
                </c:pt>
                <c:pt idx="45">
                  <c:v>0.21322937401367703</c:v>
                </c:pt>
                <c:pt idx="46">
                  <c:v>0.22475064489195806</c:v>
                </c:pt>
                <c:pt idx="47">
                  <c:v>0.17661129767532052</c:v>
                </c:pt>
                <c:pt idx="48">
                  <c:v>0.2424491548452973</c:v>
                </c:pt>
                <c:pt idx="49">
                  <c:v>0.23363609696855556</c:v>
                </c:pt>
                <c:pt idx="50">
                  <c:v>0.2208762900446147</c:v>
                </c:pt>
                <c:pt idx="51">
                  <c:v>0.20110358371416165</c:v>
                </c:pt>
                <c:pt idx="52">
                  <c:v>0.2137728476221698</c:v>
                </c:pt>
                <c:pt idx="53">
                  <c:v>0.2351760687574315</c:v>
                </c:pt>
                <c:pt idx="54">
                  <c:v>0.2237693190774819</c:v>
                </c:pt>
                <c:pt idx="55">
                  <c:v>0.18826948097332286</c:v>
                </c:pt>
                <c:pt idx="56">
                  <c:v>0.2026106951487614</c:v>
                </c:pt>
                <c:pt idx="57">
                  <c:v>0.20382356380912023</c:v>
                </c:pt>
                <c:pt idx="58">
                  <c:v>0.2112306771678322</c:v>
                </c:pt>
                <c:pt idx="59">
                  <c:v>0.23768532408548662</c:v>
                </c:pt>
                <c:pt idx="60">
                  <c:v>0.23860947044605585</c:v>
                </c:pt>
                <c:pt idx="61">
                  <c:v>0.22919947949820324</c:v>
                </c:pt>
                <c:pt idx="62">
                  <c:v>0.23853529063119872</c:v>
                </c:pt>
                <c:pt idx="63">
                  <c:v>0.26354724371232036</c:v>
                </c:pt>
                <c:pt idx="64">
                  <c:v>0.2603445787301352</c:v>
                </c:pt>
                <c:pt idx="65">
                  <c:v>0.2312114663540526</c:v>
                </c:pt>
                <c:pt idx="66">
                  <c:v>0.22012539244077847</c:v>
                </c:pt>
                <c:pt idx="67">
                  <c:v>0.23458377116316262</c:v>
                </c:pt>
                <c:pt idx="68">
                  <c:v>0.19805594315627922</c:v>
                </c:pt>
                <c:pt idx="69">
                  <c:v>0.16248526224449528</c:v>
                </c:pt>
                <c:pt idx="70">
                  <c:v>0.14934880758052316</c:v>
                </c:pt>
                <c:pt idx="71">
                  <c:v>0.18659700612064611</c:v>
                </c:pt>
                <c:pt idx="72">
                  <c:v>0.19390709323940908</c:v>
                </c:pt>
                <c:pt idx="73">
                  <c:v>0.19259582517505727</c:v>
                </c:pt>
                <c:pt idx="74">
                  <c:v>0.1794221341737956</c:v>
                </c:pt>
                <c:pt idx="75">
                  <c:v>0.17674706897033565</c:v>
                </c:pt>
                <c:pt idx="76">
                  <c:v>0.1702284308982422</c:v>
                </c:pt>
                <c:pt idx="77">
                  <c:v>0.19352966905652585</c:v>
                </c:pt>
                <c:pt idx="78">
                  <c:v>0.17251639197350477</c:v>
                </c:pt>
                <c:pt idx="79">
                  <c:v>0.1140366158005359</c:v>
                </c:pt>
                <c:pt idx="80">
                  <c:v>0.10981865708217613</c:v>
                </c:pt>
                <c:pt idx="81">
                  <c:v>0.16250415025253898</c:v>
                </c:pt>
                <c:pt idx="82">
                  <c:v>0.1407063254691988</c:v>
                </c:pt>
                <c:pt idx="83">
                  <c:v>0.1428516984481556</c:v>
                </c:pt>
                <c:pt idx="84">
                  <c:v>0.11544360950294973</c:v>
                </c:pt>
                <c:pt idx="85">
                  <c:v>0.16249009346971635</c:v>
                </c:pt>
                <c:pt idx="86">
                  <c:v>0.20816064624579753</c:v>
                </c:pt>
                <c:pt idx="87">
                  <c:v>0.23837168053957225</c:v>
                </c:pt>
                <c:pt idx="88">
                  <c:v>0.16320556119590757</c:v>
                </c:pt>
                <c:pt idx="89">
                  <c:v>0.13682672641823454</c:v>
                </c:pt>
                <c:pt idx="90">
                  <c:v>0.16320601699519713</c:v>
                </c:pt>
                <c:pt idx="91">
                  <c:v>0.16210399788438873</c:v>
                </c:pt>
                <c:pt idx="92">
                  <c:v>0.1900114813302045</c:v>
                </c:pt>
                <c:pt idx="93">
                  <c:v>0.16175872867179658</c:v>
                </c:pt>
                <c:pt idx="94">
                  <c:v>0.16687533260632495</c:v>
                </c:pt>
                <c:pt idx="95">
                  <c:v>0.17511255479487906</c:v>
                </c:pt>
                <c:pt idx="96">
                  <c:v>0.19273631029241908</c:v>
                </c:pt>
                <c:pt idx="97">
                  <c:v>0.1921004310244031</c:v>
                </c:pt>
                <c:pt idx="98">
                  <c:v>0.20599531429824475</c:v>
                </c:pt>
                <c:pt idx="99">
                  <c:v>0.21292528114816503</c:v>
                </c:pt>
                <c:pt idx="100">
                  <c:v>0.2292983665908583</c:v>
                </c:pt>
                <c:pt idx="101">
                  <c:v>0.22468330542117493</c:v>
                </c:pt>
                <c:pt idx="102">
                  <c:v>0.20094245386779053</c:v>
                </c:pt>
                <c:pt idx="103">
                  <c:v>0.1985655716016463</c:v>
                </c:pt>
                <c:pt idx="104">
                  <c:v>0.1963077668950312</c:v>
                </c:pt>
              </c:numCache>
            </c:numRef>
          </c:xVal>
          <c:yVal>
            <c:numRef>
              <c:f>Sheet1!$B$2:$B$106</c:f>
              <c:numCache>
                <c:formatCode>General</c:formatCode>
                <c:ptCount val="105"/>
                <c:pt idx="0">
                  <c:v>0.25367032150157964</c:v>
                </c:pt>
                <c:pt idx="1">
                  <c:v>0.2433468651330627</c:v>
                </c:pt>
                <c:pt idx="2">
                  <c:v>0.21720950704225353</c:v>
                </c:pt>
                <c:pt idx="3">
                  <c:v>0.22079706825469536</c:v>
                </c:pt>
                <c:pt idx="4">
                  <c:v>0.22726067356138954</c:v>
                </c:pt>
                <c:pt idx="5">
                  <c:v>0.2217391304347826</c:v>
                </c:pt>
                <c:pt idx="6">
                  <c:v>0.2353734160150984</c:v>
                </c:pt>
                <c:pt idx="7">
                  <c:v>0.24039962535123321</c:v>
                </c:pt>
                <c:pt idx="8">
                  <c:v>0.2343692870201097</c:v>
                </c:pt>
                <c:pt idx="9">
                  <c:v>0.23284768211920528</c:v>
                </c:pt>
                <c:pt idx="10">
                  <c:v>0.24314629771970278</c:v>
                </c:pt>
                <c:pt idx="11">
                  <c:v>0.23532579429186862</c:v>
                </c:pt>
                <c:pt idx="12">
                  <c:v>0.2521674510775328</c:v>
                </c:pt>
                <c:pt idx="13">
                  <c:v>0.25378602833414754</c:v>
                </c:pt>
                <c:pt idx="14">
                  <c:v>0.24549098196392785</c:v>
                </c:pt>
                <c:pt idx="15">
                  <c:v>0.24322830292979547</c:v>
                </c:pt>
                <c:pt idx="16">
                  <c:v>0.25</c:v>
                </c:pt>
                <c:pt idx="17">
                  <c:v>0.21794871794871795</c:v>
                </c:pt>
                <c:pt idx="18">
                  <c:v>0.1989399293286219</c:v>
                </c:pt>
                <c:pt idx="19">
                  <c:v>0.19975589910496339</c:v>
                </c:pt>
                <c:pt idx="20">
                  <c:v>0.21643022104915868</c:v>
                </c:pt>
                <c:pt idx="21">
                  <c:v>0.2366412213740458</c:v>
                </c:pt>
                <c:pt idx="22">
                  <c:v>0.24102773246329526</c:v>
                </c:pt>
                <c:pt idx="23">
                  <c:v>0.23884952063359732</c:v>
                </c:pt>
                <c:pt idx="24">
                  <c:v>0.2479020979020979</c:v>
                </c:pt>
                <c:pt idx="25">
                  <c:v>0.24624373956594323</c:v>
                </c:pt>
                <c:pt idx="26">
                  <c:v>0.23794340374651254</c:v>
                </c:pt>
                <c:pt idx="27">
                  <c:v>0.22885196374622357</c:v>
                </c:pt>
                <c:pt idx="28">
                  <c:v>0.2225767850019944</c:v>
                </c:pt>
                <c:pt idx="29">
                  <c:v>0.2371967654986523</c:v>
                </c:pt>
                <c:pt idx="30">
                  <c:v>0.240905057675244</c:v>
                </c:pt>
                <c:pt idx="31">
                  <c:v>0.2248421052631579</c:v>
                </c:pt>
                <c:pt idx="32">
                  <c:v>0.2426256751142501</c:v>
                </c:pt>
                <c:pt idx="33">
                  <c:v>0.24874118831822759</c:v>
                </c:pt>
                <c:pt idx="34">
                  <c:v>0.24922294433455777</c:v>
                </c:pt>
                <c:pt idx="35">
                  <c:v>0.24914406110086912</c:v>
                </c:pt>
                <c:pt idx="36">
                  <c:v>0.21970260223048327</c:v>
                </c:pt>
                <c:pt idx="37">
                  <c:v>0.19232339730502246</c:v>
                </c:pt>
                <c:pt idx="38">
                  <c:v>0.19131197893813076</c:v>
                </c:pt>
                <c:pt idx="39">
                  <c:v>0.2041343669250646</c:v>
                </c:pt>
                <c:pt idx="40">
                  <c:v>0.1939252336448598</c:v>
                </c:pt>
                <c:pt idx="41">
                  <c:v>0.17964505613908005</c:v>
                </c:pt>
                <c:pt idx="42">
                  <c:v>0.1830574488802337</c:v>
                </c:pt>
                <c:pt idx="43">
                  <c:v>0.18039816232771821</c:v>
                </c:pt>
                <c:pt idx="44">
                  <c:v>0.21171566476524792</c:v>
                </c:pt>
                <c:pt idx="45">
                  <c:v>0.23904524403277522</c:v>
                </c:pt>
                <c:pt idx="46">
                  <c:v>0.24821958456973295</c:v>
                </c:pt>
                <c:pt idx="47">
                  <c:v>0.24769495233630254</c:v>
                </c:pt>
                <c:pt idx="48">
                  <c:v>0.2568750770748551</c:v>
                </c:pt>
                <c:pt idx="49">
                  <c:v>0.2877034200678792</c:v>
                </c:pt>
                <c:pt idx="50">
                  <c:v>0.2583739581695235</c:v>
                </c:pt>
                <c:pt idx="51">
                  <c:v>0.2395104895104895</c:v>
                </c:pt>
                <c:pt idx="52">
                  <c:v>0.23116929698708752</c:v>
                </c:pt>
                <c:pt idx="53">
                  <c:v>0.23082207465079002</c:v>
                </c:pt>
                <c:pt idx="54">
                  <c:v>0.2254283137962128</c:v>
                </c:pt>
                <c:pt idx="55">
                  <c:v>0.22529454195720125</c:v>
                </c:pt>
                <c:pt idx="56">
                  <c:v>0.2271062271062271</c:v>
                </c:pt>
                <c:pt idx="57">
                  <c:v>0.2229179711959925</c:v>
                </c:pt>
                <c:pt idx="58">
                  <c:v>0.2374157748711851</c:v>
                </c:pt>
                <c:pt idx="59">
                  <c:v>0.23564110524681775</c:v>
                </c:pt>
                <c:pt idx="60">
                  <c:v>0.24740271174502554</c:v>
                </c:pt>
                <c:pt idx="61">
                  <c:v>0.23714213326577147</c:v>
                </c:pt>
                <c:pt idx="62">
                  <c:v>0.2287326388888889</c:v>
                </c:pt>
                <c:pt idx="63">
                  <c:v>0.2601887601887602</c:v>
                </c:pt>
                <c:pt idx="64">
                  <c:v>0.2609156422212802</c:v>
                </c:pt>
                <c:pt idx="65">
                  <c:v>0.24475524475524477</c:v>
                </c:pt>
                <c:pt idx="66">
                  <c:v>0.24780751068135823</c:v>
                </c:pt>
                <c:pt idx="67">
                  <c:v>0.2543615676359039</c:v>
                </c:pt>
                <c:pt idx="68">
                  <c:v>0.23849737914967967</c:v>
                </c:pt>
                <c:pt idx="69">
                  <c:v>0.22861250898634075</c:v>
                </c:pt>
                <c:pt idx="70">
                  <c:v>0.20407407407407407</c:v>
                </c:pt>
                <c:pt idx="71">
                  <c:v>0.21949254933548126</c:v>
                </c:pt>
                <c:pt idx="72">
                  <c:v>0.23734290843806105</c:v>
                </c:pt>
                <c:pt idx="73">
                  <c:v>0.2249809014514897</c:v>
                </c:pt>
                <c:pt idx="74">
                  <c:v>0.2413793103448276</c:v>
                </c:pt>
                <c:pt idx="75">
                  <c:v>0.2391304347826087</c:v>
                </c:pt>
                <c:pt idx="76">
                  <c:v>0.2380745880312229</c:v>
                </c:pt>
                <c:pt idx="77">
                  <c:v>0.22383325781603988</c:v>
                </c:pt>
                <c:pt idx="78">
                  <c:v>0.2104779411764706</c:v>
                </c:pt>
                <c:pt idx="79">
                  <c:v>0.31114225648213034</c:v>
                </c:pt>
                <c:pt idx="80">
                  <c:v>0.3053435114503817</c:v>
                </c:pt>
                <c:pt idx="81">
                  <c:v>0.23924894003634162</c:v>
                </c:pt>
                <c:pt idx="82">
                  <c:v>0.26048387096774195</c:v>
                </c:pt>
                <c:pt idx="83">
                  <c:v>0.2116675271037687</c:v>
                </c:pt>
                <c:pt idx="84">
                  <c:v>0.22611980572045332</c:v>
                </c:pt>
                <c:pt idx="85">
                  <c:v>0.2266156462585034</c:v>
                </c:pt>
                <c:pt idx="86">
                  <c:v>0.2104913678618858</c:v>
                </c:pt>
                <c:pt idx="87">
                  <c:v>0.22495606326889278</c:v>
                </c:pt>
                <c:pt idx="88">
                  <c:v>0.22942754919499106</c:v>
                </c:pt>
                <c:pt idx="89">
                  <c:v>0.2218798151001541</c:v>
                </c:pt>
                <c:pt idx="90">
                  <c:v>0.19321018472291562</c:v>
                </c:pt>
                <c:pt idx="91">
                  <c:v>0.20744186046511628</c:v>
                </c:pt>
                <c:pt idx="92">
                  <c:v>0.20076335877862594</c:v>
                </c:pt>
                <c:pt idx="93">
                  <c:v>0.19644238205723125</c:v>
                </c:pt>
                <c:pt idx="94">
                  <c:v>0.21388174807197943</c:v>
                </c:pt>
                <c:pt idx="95">
                  <c:v>0.20550271739130435</c:v>
                </c:pt>
                <c:pt idx="96">
                  <c:v>0.18418560606060605</c:v>
                </c:pt>
                <c:pt idx="97">
                  <c:v>0.20541902961562697</c:v>
                </c:pt>
                <c:pt idx="98">
                  <c:v>0.22132390096008084</c:v>
                </c:pt>
                <c:pt idx="99">
                  <c:v>0.22705314009661837</c:v>
                </c:pt>
                <c:pt idx="100">
                  <c:v>0.24418968212610734</c:v>
                </c:pt>
                <c:pt idx="101">
                  <c:v>0.23750216225566512</c:v>
                </c:pt>
                <c:pt idx="102">
                  <c:v>0.20672147001934235</c:v>
                </c:pt>
                <c:pt idx="103">
                  <c:v>0.21576253838280451</c:v>
                </c:pt>
                <c:pt idx="104">
                  <c:v>0.2142502482621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327074774581021</c:v>
                </c:pt>
                <c:pt idx="1">
                  <c:v>0.2292548722735399</c:v>
                </c:pt>
                <c:pt idx="2">
                  <c:v>0.22331139892834648</c:v>
                </c:pt>
                <c:pt idx="3">
                  <c:v>0.2216451992358501</c:v>
                </c:pt>
                <c:pt idx="4">
                  <c:v>0.2070079739587237</c:v>
                </c:pt>
                <c:pt idx="5">
                  <c:v>0.21765337353938938</c:v>
                </c:pt>
                <c:pt idx="6">
                  <c:v>0.21959277250203968</c:v>
                </c:pt>
                <c:pt idx="7">
                  <c:v>0.19435842471729423</c:v>
                </c:pt>
                <c:pt idx="8">
                  <c:v>0.2482429035468751</c:v>
                </c:pt>
                <c:pt idx="9">
                  <c:v>0.23923400848513562</c:v>
                </c:pt>
                <c:pt idx="10">
                  <c:v>0.2151321269836099</c:v>
                </c:pt>
                <c:pt idx="11">
                  <c:v>0.2096100061080292</c:v>
                </c:pt>
                <c:pt idx="12">
                  <c:v>0.19561463067137308</c:v>
                </c:pt>
                <c:pt idx="13">
                  <c:v>0.21216300464920135</c:v>
                </c:pt>
                <c:pt idx="14">
                  <c:v>0.2071995306965906</c:v>
                </c:pt>
                <c:pt idx="15">
                  <c:v>0.20001069631813245</c:v>
                </c:pt>
                <c:pt idx="16">
                  <c:v>0.1969603961214271</c:v>
                </c:pt>
                <c:pt idx="17">
                  <c:v>0.1896160155467738</c:v>
                </c:pt>
                <c:pt idx="18">
                  <c:v>0.19571750736660906</c:v>
                </c:pt>
                <c:pt idx="19">
                  <c:v>0.22242635630428512</c:v>
                </c:pt>
                <c:pt idx="20">
                  <c:v>0.18582094173665828</c:v>
                </c:pt>
                <c:pt idx="21">
                  <c:v>0.17947504586494648</c:v>
                </c:pt>
                <c:pt idx="22">
                  <c:v>0.1915203498174369</c:v>
                </c:pt>
                <c:pt idx="23">
                  <c:v>0.21030564003230393</c:v>
                </c:pt>
                <c:pt idx="24">
                  <c:v>0.1683070074727063</c:v>
                </c:pt>
                <c:pt idx="25">
                  <c:v>0.16796847421467057</c:v>
                </c:pt>
                <c:pt idx="26">
                  <c:v>0.18280301217786415</c:v>
                </c:pt>
                <c:pt idx="27">
                  <c:v>0.1895232741998239</c:v>
                </c:pt>
                <c:pt idx="28">
                  <c:v>0.1879573151191108</c:v>
                </c:pt>
                <c:pt idx="29">
                  <c:v>0.17927674348708714</c:v>
                </c:pt>
                <c:pt idx="30">
                  <c:v>0.17839708623869374</c:v>
                </c:pt>
                <c:pt idx="31">
                  <c:v>0.18705136373032633</c:v>
                </c:pt>
                <c:pt idx="32">
                  <c:v>0.1812795565075147</c:v>
                </c:pt>
                <c:pt idx="33">
                  <c:v>0.2020557230950273</c:v>
                </c:pt>
                <c:pt idx="34">
                  <c:v>0.22195451692589732</c:v>
                </c:pt>
                <c:pt idx="35">
                  <c:v>0.16931106804918358</c:v>
                </c:pt>
                <c:pt idx="36">
                  <c:v>0.1597674802026198</c:v>
                </c:pt>
                <c:pt idx="37">
                  <c:v>0.164735111047093</c:v>
                </c:pt>
                <c:pt idx="38">
                  <c:v>0.1498307084388307</c:v>
                </c:pt>
                <c:pt idx="39">
                  <c:v>0.17527780735068313</c:v>
                </c:pt>
                <c:pt idx="40">
                  <c:v>0.19036812891194127</c:v>
                </c:pt>
                <c:pt idx="41">
                  <c:v>0.21384949948626933</c:v>
                </c:pt>
                <c:pt idx="42">
                  <c:v>0.19763115737271697</c:v>
                </c:pt>
                <c:pt idx="43">
                  <c:v>0.18292796048477916</c:v>
                </c:pt>
                <c:pt idx="44">
                  <c:v>0.1947219459672523</c:v>
                </c:pt>
                <c:pt idx="45">
                  <c:v>0.18190854102237583</c:v>
                </c:pt>
                <c:pt idx="46">
                  <c:v>0.18115757760314155</c:v>
                </c:pt>
                <c:pt idx="47">
                  <c:v>0.16838857562408224</c:v>
                </c:pt>
                <c:pt idx="48">
                  <c:v>0.16712391068544236</c:v>
                </c:pt>
                <c:pt idx="49">
                  <c:v>0.20007700906088577</c:v>
                </c:pt>
                <c:pt idx="50">
                  <c:v>0.20072535737636818</c:v>
                </c:pt>
                <c:pt idx="51">
                  <c:v>0.1803714125565187</c:v>
                </c:pt>
              </c:numCache>
            </c:numRef>
          </c:xVal>
          <c:yVal>
            <c:numRef>
              <c:f>Sheet1!$B$109:$B$160</c:f>
              <c:numCache>
                <c:formatCode>General</c:formatCode>
                <c:ptCount val="52"/>
                <c:pt idx="0">
                  <c:v>0.20662127259920168</c:v>
                </c:pt>
                <c:pt idx="1">
                  <c:v>0.21898767374770522</c:v>
                </c:pt>
                <c:pt idx="2">
                  <c:v>0.2260258444797098</c:v>
                </c:pt>
                <c:pt idx="3">
                  <c:v>0.23426734037666513</c:v>
                </c:pt>
                <c:pt idx="4">
                  <c:v>0.23141724479682854</c:v>
                </c:pt>
                <c:pt idx="5">
                  <c:v>0.21238283177109027</c:v>
                </c:pt>
                <c:pt idx="6">
                  <c:v>0.21576334298717417</c:v>
                </c:pt>
                <c:pt idx="7">
                  <c:v>0.20796100731112915</c:v>
                </c:pt>
                <c:pt idx="8">
                  <c:v>0.19832109129066108</c:v>
                </c:pt>
                <c:pt idx="9">
                  <c:v>0.2153987167736022</c:v>
                </c:pt>
                <c:pt idx="10">
                  <c:v>0.22548120989917506</c:v>
                </c:pt>
                <c:pt idx="11">
                  <c:v>0.23573543928923987</c:v>
                </c:pt>
                <c:pt idx="12">
                  <c:v>0.24056122448979592</c:v>
                </c:pt>
                <c:pt idx="13">
                  <c:v>0.240434037692747</c:v>
                </c:pt>
                <c:pt idx="14">
                  <c:v>0.24247840333631218</c:v>
                </c:pt>
                <c:pt idx="15">
                  <c:v>0.22679692951849267</c:v>
                </c:pt>
                <c:pt idx="16">
                  <c:v>0.1995893223819302</c:v>
                </c:pt>
                <c:pt idx="17">
                  <c:v>0.19372160264353572</c:v>
                </c:pt>
                <c:pt idx="18">
                  <c:v>0.18047469771607702</c:v>
                </c:pt>
                <c:pt idx="19">
                  <c:v>0.19322873658133774</c:v>
                </c:pt>
                <c:pt idx="20">
                  <c:v>0.18764198091776466</c:v>
                </c:pt>
                <c:pt idx="21">
                  <c:v>0.18831168831168832</c:v>
                </c:pt>
                <c:pt idx="22">
                  <c:v>0.18634423897581792</c:v>
                </c:pt>
                <c:pt idx="23">
                  <c:v>0.19199594731509625</c:v>
                </c:pt>
                <c:pt idx="24">
                  <c:v>0.191958495460441</c:v>
                </c:pt>
                <c:pt idx="25">
                  <c:v>0.19955357142857144</c:v>
                </c:pt>
                <c:pt idx="26">
                  <c:v>0.18213058419243985</c:v>
                </c:pt>
                <c:pt idx="27">
                  <c:v>0.18156645569620253</c:v>
                </c:pt>
                <c:pt idx="28">
                  <c:v>0.19845075617853192</c:v>
                </c:pt>
                <c:pt idx="29">
                  <c:v>0.21172353455818022</c:v>
                </c:pt>
                <c:pt idx="30">
                  <c:v>0.1988555078683834</c:v>
                </c:pt>
                <c:pt idx="31">
                  <c:v>0.1968586387434555</c:v>
                </c:pt>
                <c:pt idx="32">
                  <c:v>0.20222793487574978</c:v>
                </c:pt>
                <c:pt idx="33">
                  <c:v>0.23824027072758036</c:v>
                </c:pt>
                <c:pt idx="34">
                  <c:v>0.25834000533760343</c:v>
                </c:pt>
                <c:pt idx="35">
                  <c:v>0.2542687453600594</c:v>
                </c:pt>
                <c:pt idx="36">
                  <c:v>0.20326797385620915</c:v>
                </c:pt>
                <c:pt idx="37">
                  <c:v>0.17885714285714285</c:v>
                </c:pt>
                <c:pt idx="38">
                  <c:v>0.19004524886877827</c:v>
                </c:pt>
                <c:pt idx="39">
                  <c:v>0.2070365358592693</c:v>
                </c:pt>
                <c:pt idx="40">
                  <c:v>0.18407960199004975</c:v>
                </c:pt>
                <c:pt idx="41">
                  <c:v>0.1929084001688476</c:v>
                </c:pt>
                <c:pt idx="42">
                  <c:v>0.18726765799256506</c:v>
                </c:pt>
                <c:pt idx="43">
                  <c:v>0.17731682837069254</c:v>
                </c:pt>
                <c:pt idx="44">
                  <c:v>0.178732352057675</c:v>
                </c:pt>
                <c:pt idx="45">
                  <c:v>0.19542857142857142</c:v>
                </c:pt>
                <c:pt idx="46">
                  <c:v>0.20067862336403297</c:v>
                </c:pt>
                <c:pt idx="47">
                  <c:v>0.20157007619487416</c:v>
                </c:pt>
                <c:pt idx="48">
                  <c:v>0.1969398907103825</c:v>
                </c:pt>
                <c:pt idx="49">
                  <c:v>0.20123501634580457</c:v>
                </c:pt>
                <c:pt idx="50">
                  <c:v>0.2280789407944042</c:v>
                </c:pt>
                <c:pt idx="51">
                  <c:v>0.2286931818181818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351035351740773</c:v>
                </c:pt>
              </c:numCache>
            </c:numRef>
          </c:xVal>
          <c:yVal>
            <c:numRef>
              <c:f>Sheet1!$B$163:$B$164</c:f>
              <c:numCache>
                <c:formatCode>General</c:formatCode>
                <c:ptCount val="2"/>
                <c:pt idx="0">
                  <c:v>0.24064032295009066</c:v>
                </c:pt>
                <c:pt idx="1">
                  <c:v>0.2406403229500906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351035351740773</c:v>
                </c:pt>
                <c:pt idx="1">
                  <c:v>0.29351035351740773</c:v>
                </c:pt>
              </c:numCache>
            </c:numRef>
          </c:xVal>
          <c:yVal>
            <c:numRef>
              <c:f>Sheet1!$B$167:$B$168</c:f>
              <c:numCache>
                <c:formatCode>General</c:formatCode>
                <c:ptCount val="2"/>
                <c:pt idx="0">
                  <c:v>0.240640322950090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418535084883887</c:v>
                </c:pt>
              </c:numCache>
            </c:numRef>
          </c:xVal>
          <c:yVal>
            <c:numRef>
              <c:f>Sheet1!$B$171:$B$172</c:f>
              <c:numCache>
                <c:formatCode>General</c:formatCode>
                <c:ptCount val="2"/>
                <c:pt idx="0">
                  <c:v>0.21686084992890722</c:v>
                </c:pt>
                <c:pt idx="1">
                  <c:v>0.216860849928907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418535084883887</c:v>
                </c:pt>
                <c:pt idx="1">
                  <c:v>0.22418535084883887</c:v>
                </c:pt>
              </c:numCache>
            </c:numRef>
          </c:xVal>
          <c:yVal>
            <c:numRef>
              <c:f>Sheet1!$B$175:$B$176</c:f>
              <c:numCache>
                <c:formatCode>General</c:formatCode>
                <c:ptCount val="2"/>
                <c:pt idx="0">
                  <c:v>0.216860849928907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053759553755127</c:v>
                </c:pt>
              </c:numCache>
            </c:numRef>
          </c:xVal>
          <c:yVal>
            <c:numRef>
              <c:f>Sheet1!$B$179:$B$180</c:f>
              <c:numCache>
                <c:formatCode>General</c:formatCode>
                <c:ptCount val="2"/>
                <c:pt idx="0">
                  <c:v>0.19845889823810392</c:v>
                </c:pt>
                <c:pt idx="1">
                  <c:v>0.1984588982381039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053759553755127</c:v>
                </c:pt>
                <c:pt idx="1">
                  <c:v>0.17053759553755127</c:v>
                </c:pt>
              </c:numCache>
            </c:numRef>
          </c:xVal>
          <c:yVal>
            <c:numRef>
              <c:f>Sheet1!$B$183:$B$184</c:f>
              <c:numCache>
                <c:formatCode>General</c:formatCode>
                <c:ptCount val="2"/>
                <c:pt idx="0">
                  <c:v>0.198458898238103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327074774581021</c:v>
                </c:pt>
                <c:pt idx="1">
                  <c:v>0.2292548722735399</c:v>
                </c:pt>
                <c:pt idx="2">
                  <c:v>0.22331139892834648</c:v>
                </c:pt>
                <c:pt idx="3">
                  <c:v>0.2216451992358501</c:v>
                </c:pt>
                <c:pt idx="4">
                  <c:v>0.2070079739587237</c:v>
                </c:pt>
                <c:pt idx="5">
                  <c:v>0.21765337353938938</c:v>
                </c:pt>
                <c:pt idx="6">
                  <c:v>0.21959277250203968</c:v>
                </c:pt>
                <c:pt idx="7">
                  <c:v>0.19435842471729423</c:v>
                </c:pt>
                <c:pt idx="8">
                  <c:v>0.2482429035468751</c:v>
                </c:pt>
                <c:pt idx="9">
                  <c:v>0.23923400848513562</c:v>
                </c:pt>
                <c:pt idx="10">
                  <c:v>0.2151321269836099</c:v>
                </c:pt>
                <c:pt idx="11">
                  <c:v>0.2096100061080292</c:v>
                </c:pt>
                <c:pt idx="12">
                  <c:v>0.19561463067137308</c:v>
                </c:pt>
                <c:pt idx="13">
                  <c:v>0.21216300464920135</c:v>
                </c:pt>
                <c:pt idx="14">
                  <c:v>0.2071995306965906</c:v>
                </c:pt>
                <c:pt idx="15">
                  <c:v>0.20001069631813245</c:v>
                </c:pt>
                <c:pt idx="16">
                  <c:v>0.1969603961214271</c:v>
                </c:pt>
                <c:pt idx="17">
                  <c:v>0.1896160155467738</c:v>
                </c:pt>
                <c:pt idx="18">
                  <c:v>0.19571750736660906</c:v>
                </c:pt>
                <c:pt idx="19">
                  <c:v>0.22242635630428512</c:v>
                </c:pt>
                <c:pt idx="20">
                  <c:v>0.18582094173665828</c:v>
                </c:pt>
                <c:pt idx="21">
                  <c:v>0.17947504586494648</c:v>
                </c:pt>
                <c:pt idx="22">
                  <c:v>0.1915203498174369</c:v>
                </c:pt>
                <c:pt idx="23">
                  <c:v>0.21030564003230393</c:v>
                </c:pt>
                <c:pt idx="24">
                  <c:v>0.1683070074727063</c:v>
                </c:pt>
                <c:pt idx="25">
                  <c:v>0.16796847421467057</c:v>
                </c:pt>
                <c:pt idx="26">
                  <c:v>0.18280301217786415</c:v>
                </c:pt>
                <c:pt idx="27">
                  <c:v>0.1895232741998239</c:v>
                </c:pt>
                <c:pt idx="28">
                  <c:v>0.1879573151191108</c:v>
                </c:pt>
                <c:pt idx="29">
                  <c:v>0.17927674348708714</c:v>
                </c:pt>
                <c:pt idx="30">
                  <c:v>0.17839708623869374</c:v>
                </c:pt>
                <c:pt idx="31">
                  <c:v>0.18705136373032633</c:v>
                </c:pt>
                <c:pt idx="32">
                  <c:v>0.1812795565075147</c:v>
                </c:pt>
                <c:pt idx="33">
                  <c:v>0.2020557230950273</c:v>
                </c:pt>
                <c:pt idx="34">
                  <c:v>0.22195451692589732</c:v>
                </c:pt>
                <c:pt idx="35">
                  <c:v>0.16931106804918358</c:v>
                </c:pt>
                <c:pt idx="36">
                  <c:v>0.1597674802026198</c:v>
                </c:pt>
                <c:pt idx="37">
                  <c:v>0.164735111047093</c:v>
                </c:pt>
                <c:pt idx="38">
                  <c:v>0.1498307084388307</c:v>
                </c:pt>
                <c:pt idx="39">
                  <c:v>0.17527780735068313</c:v>
                </c:pt>
                <c:pt idx="40">
                  <c:v>0.19036812891194127</c:v>
                </c:pt>
                <c:pt idx="41">
                  <c:v>0.21384949948626933</c:v>
                </c:pt>
                <c:pt idx="42">
                  <c:v>0.19763115737271697</c:v>
                </c:pt>
                <c:pt idx="43">
                  <c:v>0.18292796048477916</c:v>
                </c:pt>
                <c:pt idx="44">
                  <c:v>0.1947219459672523</c:v>
                </c:pt>
                <c:pt idx="45">
                  <c:v>0.18190854102237583</c:v>
                </c:pt>
                <c:pt idx="46">
                  <c:v>0.18115757760314155</c:v>
                </c:pt>
                <c:pt idx="47">
                  <c:v>0.16838857562408224</c:v>
                </c:pt>
                <c:pt idx="48">
                  <c:v>0.16712391068544236</c:v>
                </c:pt>
                <c:pt idx="49">
                  <c:v>0.20007700906088577</c:v>
                </c:pt>
                <c:pt idx="50">
                  <c:v>0.20072535737636818</c:v>
                </c:pt>
                <c:pt idx="51">
                  <c:v>0.1803714125565187</c:v>
                </c:pt>
                <c:pt idx="52">
                  <c:v>0.22418535084883887</c:v>
                </c:pt>
                <c:pt idx="53">
                  <c:v>0.29351035351740773</c:v>
                </c:pt>
                <c:pt idx="54">
                  <c:v>0.17053759553755127</c:v>
                </c:pt>
              </c:numCache>
            </c:numRef>
          </c:xVal>
          <c:yVal>
            <c:numRef>
              <c:f>Sheet1!$B$187:$B$241</c:f>
              <c:numCache>
                <c:formatCode>General</c:formatCode>
                <c:ptCount val="55"/>
                <c:pt idx="0">
                  <c:v>0.21978406193016642</c:v>
                </c:pt>
                <c:pt idx="1">
                  <c:v>0.2185997686928245</c:v>
                </c:pt>
                <c:pt idx="2">
                  <c:v>0.216561071850073</c:v>
                </c:pt>
                <c:pt idx="3">
                  <c:v>0.215989541390492</c:v>
                </c:pt>
                <c:pt idx="4">
                  <c:v>0.21096876259230785</c:v>
                </c:pt>
                <c:pt idx="5">
                  <c:v>0.21462028776192643</c:v>
                </c:pt>
                <c:pt idx="6">
                  <c:v>0.2152855295006125</c:v>
                </c:pt>
                <c:pt idx="7">
                  <c:v>0.2066297852632369</c:v>
                </c:pt>
                <c:pt idx="8">
                  <c:v>0.22511293652562397</c:v>
                </c:pt>
                <c:pt idx="9">
                  <c:v>0.22202275594394427</c:v>
                </c:pt>
                <c:pt idx="10">
                  <c:v>0.21375546393004663</c:v>
                </c:pt>
                <c:pt idx="11">
                  <c:v>0.21186129704471135</c:v>
                </c:pt>
                <c:pt idx="12">
                  <c:v>0.20706068197357502</c:v>
                </c:pt>
                <c:pt idx="13">
                  <c:v>0.2127370122642716</c:v>
                </c:pt>
                <c:pt idx="14">
                  <c:v>0.21103446930856878</c:v>
                </c:pt>
                <c:pt idx="15">
                  <c:v>0.20856859571930159</c:v>
                </c:pt>
                <c:pt idx="16">
                  <c:v>0.20752229887917245</c:v>
                </c:pt>
                <c:pt idx="17">
                  <c:v>0.20500307070737964</c:v>
                </c:pt>
                <c:pt idx="18">
                  <c:v>0.20709597015972292</c:v>
                </c:pt>
                <c:pt idx="19">
                  <c:v>0.21625748950039636</c:v>
                </c:pt>
                <c:pt idx="20">
                  <c:v>0.2037013058057252</c:v>
                </c:pt>
                <c:pt idx="21">
                  <c:v>0.20152457224830947</c:v>
                </c:pt>
                <c:pt idx="22">
                  <c:v>0.2056562847523764</c:v>
                </c:pt>
                <c:pt idx="23">
                  <c:v>0.21209990948608395</c:v>
                </c:pt>
                <c:pt idx="24">
                  <c:v>0.19769377444917396</c:v>
                </c:pt>
                <c:pt idx="25">
                  <c:v>0.1975776526725226</c:v>
                </c:pt>
                <c:pt idx="26">
                  <c:v>0.20266611255998856</c:v>
                </c:pt>
                <c:pt idx="27">
                  <c:v>0.2049712590914712</c:v>
                </c:pt>
                <c:pt idx="28">
                  <c:v>0.20443411260349886</c:v>
                </c:pt>
                <c:pt idx="29">
                  <c:v>0.20145655168050816</c:v>
                </c:pt>
                <c:pt idx="30">
                  <c:v>0.20115481659214382</c:v>
                </c:pt>
                <c:pt idx="31">
                  <c:v>0.20412335824679012</c:v>
                </c:pt>
                <c:pt idx="32">
                  <c:v>0.2021435453531002</c:v>
                </c:pt>
                <c:pt idx="33">
                  <c:v>0.209270069317525</c:v>
                </c:pt>
                <c:pt idx="34">
                  <c:v>0.21609564180711394</c:v>
                </c:pt>
                <c:pt idx="35">
                  <c:v>0.19803818166837195</c:v>
                </c:pt>
                <c:pt idx="36">
                  <c:v>0.1947645937709776</c:v>
                </c:pt>
                <c:pt idx="37">
                  <c:v>0.19646856260037815</c:v>
                </c:pt>
                <c:pt idx="38">
                  <c:v>0.19135613813478602</c:v>
                </c:pt>
                <c:pt idx="39">
                  <c:v>0.20008485906877216</c:v>
                </c:pt>
                <c:pt idx="40">
                  <c:v>0.2052610564093258</c:v>
                </c:pt>
                <c:pt idx="41">
                  <c:v>0.21331550425034704</c:v>
                </c:pt>
                <c:pt idx="42">
                  <c:v>0.20775237963596607</c:v>
                </c:pt>
                <c:pt idx="43">
                  <c:v>0.20270897162639978</c:v>
                </c:pt>
                <c:pt idx="44">
                  <c:v>0.20675447828052146</c:v>
                </c:pt>
                <c:pt idx="45">
                  <c:v>0.20235929608842132</c:v>
                </c:pt>
                <c:pt idx="46">
                  <c:v>0.20210170483446996</c:v>
                </c:pt>
                <c:pt idx="47">
                  <c:v>0.19772175349829574</c:v>
                </c:pt>
                <c:pt idx="48">
                  <c:v>0.1972879552345871</c:v>
                </c:pt>
                <c:pt idx="49">
                  <c:v>0.20859134194384632</c:v>
                </c:pt>
                <c:pt idx="50">
                  <c:v>0.20881373474129128</c:v>
                </c:pt>
                <c:pt idx="51">
                  <c:v>0.20183203891601711</c:v>
                </c:pt>
                <c:pt idx="52">
                  <c:v>0.21686084992890722</c:v>
                </c:pt>
                <c:pt idx="53">
                  <c:v>0.24064032295009066</c:v>
                </c:pt>
                <c:pt idx="54">
                  <c:v>0.198458898238103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733707077785564"/>
          <c:min val="0.141853462696554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81415927664149</c:v>
                </c:pt>
                <c:pt idx="1">
                  <c:v>2.0234880650006595</c:v>
                </c:pt>
                <c:pt idx="2">
                  <c:v>2.1023362448740257</c:v>
                </c:pt>
                <c:pt idx="3">
                  <c:v>2.386216075156576</c:v>
                </c:pt>
                <c:pt idx="4">
                  <c:v>2.4249975070659513</c:v>
                </c:pt>
                <c:pt idx="5">
                  <c:v>1.8918627037840927</c:v>
                </c:pt>
                <c:pt idx="6">
                  <c:v>1.6303221819516722</c:v>
                </c:pt>
                <c:pt idx="7">
                  <c:v>1.7119236748319953</c:v>
                </c:pt>
                <c:pt idx="8">
                  <c:v>1.6886127035954288</c:v>
                </c:pt>
                <c:pt idx="9">
                  <c:v>1.6572559057640148</c:v>
                </c:pt>
                <c:pt idx="10">
                  <c:v>1.6013642686208542</c:v>
                </c:pt>
                <c:pt idx="11">
                  <c:v>1.6807333080424884</c:v>
                </c:pt>
                <c:pt idx="12">
                  <c:v>1.7318484907759362</c:v>
                </c:pt>
                <c:pt idx="13">
                  <c:v>1.8427899411236401</c:v>
                </c:pt>
                <c:pt idx="14">
                  <c:v>1.7180825457906905</c:v>
                </c:pt>
                <c:pt idx="15">
                  <c:v>1.8296485694776576</c:v>
                </c:pt>
                <c:pt idx="16">
                  <c:v>1.8157489040831007</c:v>
                </c:pt>
                <c:pt idx="17">
                  <c:v>1.8550681116218541</c:v>
                </c:pt>
                <c:pt idx="18">
                  <c:v>1.8707605932203388</c:v>
                </c:pt>
                <c:pt idx="19">
                  <c:v>1.9953016767922236</c:v>
                </c:pt>
                <c:pt idx="20">
                  <c:v>2.6085322621119333</c:v>
                </c:pt>
                <c:pt idx="21">
                  <c:v>2.8102587074932415</c:v>
                </c:pt>
                <c:pt idx="22">
                  <c:v>2.7846567085953877</c:v>
                </c:pt>
                <c:pt idx="23">
                  <c:v>2.558264781962521</c:v>
                </c:pt>
                <c:pt idx="24">
                  <c:v>2.6756502795080657</c:v>
                </c:pt>
                <c:pt idx="25">
                  <c:v>2.56382462992126</c:v>
                </c:pt>
                <c:pt idx="26">
                  <c:v>1.9265560661764705</c:v>
                </c:pt>
                <c:pt idx="27">
                  <c:v>1.789047195013357</c:v>
                </c:pt>
                <c:pt idx="28">
                  <c:v>1.6641314450474898</c:v>
                </c:pt>
                <c:pt idx="29">
                  <c:v>1.9339052751769812</c:v>
                </c:pt>
                <c:pt idx="30">
                  <c:v>1.8720149253731342</c:v>
                </c:pt>
                <c:pt idx="31">
                  <c:v>1.7220935328141187</c:v>
                </c:pt>
                <c:pt idx="32">
                  <c:v>1.6379914700544465</c:v>
                </c:pt>
                <c:pt idx="33">
                  <c:v>1.64703288166215</c:v>
                </c:pt>
                <c:pt idx="34">
                  <c:v>1.7872858692965667</c:v>
                </c:pt>
                <c:pt idx="35">
                  <c:v>1.8902191225440406</c:v>
                </c:pt>
                <c:pt idx="36">
                  <c:v>1.9283685121323262</c:v>
                </c:pt>
                <c:pt idx="37">
                  <c:v>1.9831405811901894</c:v>
                </c:pt>
                <c:pt idx="38">
                  <c:v>2.190284919531095</c:v>
                </c:pt>
                <c:pt idx="39">
                  <c:v>2.098744088482075</c:v>
                </c:pt>
                <c:pt idx="40">
                  <c:v>2.1732497424785993</c:v>
                </c:pt>
                <c:pt idx="41">
                  <c:v>2.1673647081776144</c:v>
                </c:pt>
                <c:pt idx="42">
                  <c:v>2.2361822964806257</c:v>
                </c:pt>
                <c:pt idx="43">
                  <c:v>2.3197583742116326</c:v>
                </c:pt>
                <c:pt idx="44">
                  <c:v>2.1129298393170903</c:v>
                </c:pt>
                <c:pt idx="45">
                  <c:v>2.0994133735311746</c:v>
                </c:pt>
                <c:pt idx="46">
                  <c:v>2.036885974527082</c:v>
                </c:pt>
                <c:pt idx="47">
                  <c:v>2.0752230422542266</c:v>
                </c:pt>
                <c:pt idx="48">
                  <c:v>1.9780326199384806</c:v>
                </c:pt>
                <c:pt idx="49">
                  <c:v>1.930527162811177</c:v>
                </c:pt>
                <c:pt idx="50">
                  <c:v>1.8884463965670522</c:v>
                </c:pt>
                <c:pt idx="51">
                  <c:v>1.9356845192012666</c:v>
                </c:pt>
                <c:pt idx="52">
                  <c:v>1.8906891208424608</c:v>
                </c:pt>
                <c:pt idx="53">
                  <c:v>2.0981500455373405</c:v>
                </c:pt>
                <c:pt idx="54">
                  <c:v>2.1143918274656217</c:v>
                </c:pt>
                <c:pt idx="55">
                  <c:v>2.104498011633076</c:v>
                </c:pt>
                <c:pt idx="56">
                  <c:v>2.2062541092555277</c:v>
                </c:pt>
                <c:pt idx="57">
                  <c:v>2.148852462823705</c:v>
                </c:pt>
                <c:pt idx="58">
                  <c:v>2.149435730927222</c:v>
                </c:pt>
                <c:pt idx="59">
                  <c:v>2.1690132109285223</c:v>
                </c:pt>
                <c:pt idx="60">
                  <c:v>2.155314764367933</c:v>
                </c:pt>
                <c:pt idx="61">
                  <c:v>2.125416212917587</c:v>
                </c:pt>
                <c:pt idx="62">
                  <c:v>2.079845979679087</c:v>
                </c:pt>
                <c:pt idx="63">
                  <c:v>2.1785623651499595</c:v>
                </c:pt>
                <c:pt idx="64">
                  <c:v>2.0446078809790946</c:v>
                </c:pt>
                <c:pt idx="65">
                  <c:v>2.153997859380716</c:v>
                </c:pt>
                <c:pt idx="66">
                  <c:v>2.151033582419936</c:v>
                </c:pt>
                <c:pt idx="67">
                  <c:v>2.2329330626639736</c:v>
                </c:pt>
                <c:pt idx="68">
                  <c:v>2.251621609630719</c:v>
                </c:pt>
                <c:pt idx="69">
                  <c:v>2.4406661279713426</c:v>
                </c:pt>
                <c:pt idx="70">
                  <c:v>2.3381579262452106</c:v>
                </c:pt>
                <c:pt idx="71">
                  <c:v>2.3301754666992074</c:v>
                </c:pt>
                <c:pt idx="72">
                  <c:v>2.53351297814328</c:v>
                </c:pt>
                <c:pt idx="73">
                  <c:v>2.703780659399735</c:v>
                </c:pt>
                <c:pt idx="74">
                  <c:v>2.4713179009138995</c:v>
                </c:pt>
                <c:pt idx="75">
                  <c:v>2.4094938661538694</c:v>
                </c:pt>
                <c:pt idx="76">
                  <c:v>2.469704289062562</c:v>
                </c:pt>
                <c:pt idx="77">
                  <c:v>2.565476136276155</c:v>
                </c:pt>
                <c:pt idx="78">
                  <c:v>2.602634205299027</c:v>
                </c:pt>
                <c:pt idx="79">
                  <c:v>2.465764792487727</c:v>
                </c:pt>
                <c:pt idx="80">
                  <c:v>2.4541508008060298</c:v>
                </c:pt>
                <c:pt idx="81">
                  <c:v>2.484232653061224</c:v>
                </c:pt>
                <c:pt idx="82">
                  <c:v>2.400103842159917</c:v>
                </c:pt>
                <c:pt idx="83">
                  <c:v>2.4862158066987967</c:v>
                </c:pt>
                <c:pt idx="84">
                  <c:v>2.457711589586812</c:v>
                </c:pt>
                <c:pt idx="85">
                  <c:v>2.328793819626339</c:v>
                </c:pt>
                <c:pt idx="86">
                  <c:v>2.3788168626565938</c:v>
                </c:pt>
                <c:pt idx="87">
                  <c:v>2.4213443949356104</c:v>
                </c:pt>
                <c:pt idx="88">
                  <c:v>2.6754320150084423</c:v>
                </c:pt>
                <c:pt idx="89">
                  <c:v>2.3741250340790687</c:v>
                </c:pt>
                <c:pt idx="90">
                  <c:v>2.670014329372284</c:v>
                </c:pt>
                <c:pt idx="91">
                  <c:v>2.552578304761379</c:v>
                </c:pt>
                <c:pt idx="92">
                  <c:v>2.522039877527325</c:v>
                </c:pt>
                <c:pt idx="93">
                  <c:v>2.4008168578327798</c:v>
                </c:pt>
                <c:pt idx="94">
                  <c:v>2.321247441314366</c:v>
                </c:pt>
                <c:pt idx="95">
                  <c:v>2.174574451562968</c:v>
                </c:pt>
                <c:pt idx="96">
                  <c:v>1.9637499321039737</c:v>
                </c:pt>
                <c:pt idx="97">
                  <c:v>1.9066356727706988</c:v>
                </c:pt>
                <c:pt idx="98">
                  <c:v>1.7756837408321167</c:v>
                </c:pt>
                <c:pt idx="99">
                  <c:v>1.71115740777667</c:v>
                </c:pt>
                <c:pt idx="100">
                  <c:v>1.5605639490670267</c:v>
                </c:pt>
                <c:pt idx="101">
                  <c:v>1.7037856922733514</c:v>
                </c:pt>
                <c:pt idx="102">
                  <c:v>1.6474166089467726</c:v>
                </c:pt>
                <c:pt idx="103">
                  <c:v>1.6276223966864958</c:v>
                </c:pt>
                <c:pt idx="104">
                  <c:v>1.6899107570304184</c:v>
                </c:pt>
              </c:numCache>
            </c:numRef>
          </c:xVal>
          <c:yVal>
            <c:numRef>
              <c:f>Sheet1!$B$2:$B$106</c:f>
              <c:numCache>
                <c:formatCode>General</c:formatCode>
                <c:ptCount val="105"/>
                <c:pt idx="0">
                  <c:v>0.3137254901960784</c:v>
                </c:pt>
                <c:pt idx="1">
                  <c:v>0.28415300546448086</c:v>
                </c:pt>
                <c:pt idx="2">
                  <c:v>0.27053140096618356</c:v>
                </c:pt>
                <c:pt idx="3">
                  <c:v>0.2808022922636103</c:v>
                </c:pt>
                <c:pt idx="4">
                  <c:v>0.25</c:v>
                </c:pt>
                <c:pt idx="5">
                  <c:v>0.3315508021390374</c:v>
                </c:pt>
                <c:pt idx="6">
                  <c:v>0.3107476635514019</c:v>
                </c:pt>
                <c:pt idx="7">
                  <c:v>0.33707865168539325</c:v>
                </c:pt>
                <c:pt idx="8">
                  <c:v>0.32158590308370044</c:v>
                </c:pt>
                <c:pt idx="9">
                  <c:v>0.3302919708029197</c:v>
                </c:pt>
                <c:pt idx="10">
                  <c:v>0.32298136645962733</c:v>
                </c:pt>
                <c:pt idx="11">
                  <c:v>0.2768878718535469</c:v>
                </c:pt>
                <c:pt idx="12">
                  <c:v>0.28846153846153844</c:v>
                </c:pt>
                <c:pt idx="13">
                  <c:v>0.2255813953488372</c:v>
                </c:pt>
                <c:pt idx="14">
                  <c:v>0.255</c:v>
                </c:pt>
                <c:pt idx="15">
                  <c:v>0.25625</c:v>
                </c:pt>
                <c:pt idx="16">
                  <c:v>0.2971014492753623</c:v>
                </c:pt>
                <c:pt idx="17">
                  <c:v>0.2784313725490196</c:v>
                </c:pt>
                <c:pt idx="18">
                  <c:v>0.3096085409252669</c:v>
                </c:pt>
                <c:pt idx="19">
                  <c:v>0.34285714285714286</c:v>
                </c:pt>
                <c:pt idx="20">
                  <c:v>0.34146341463414637</c:v>
                </c:pt>
                <c:pt idx="21">
                  <c:v>0.3127962085308057</c:v>
                </c:pt>
                <c:pt idx="22">
                  <c:v>0.2987551867219917</c:v>
                </c:pt>
                <c:pt idx="23">
                  <c:v>0.3300970873786408</c:v>
                </c:pt>
                <c:pt idx="24">
                  <c:v>0.3023255813953488</c:v>
                </c:pt>
                <c:pt idx="25">
                  <c:v>0.2978723404255319</c:v>
                </c:pt>
                <c:pt idx="26">
                  <c:v>0.2471264367816092</c:v>
                </c:pt>
                <c:pt idx="27">
                  <c:v>0.26143790849673204</c:v>
                </c:pt>
                <c:pt idx="28">
                  <c:v>0.48484848484848486</c:v>
                </c:pt>
                <c:pt idx="29">
                  <c:v>0.34265734265734266</c:v>
                </c:pt>
                <c:pt idx="30">
                  <c:v>0.3424657534246575</c:v>
                </c:pt>
                <c:pt idx="31">
                  <c:v>0.3037974683544304</c:v>
                </c:pt>
                <c:pt idx="32">
                  <c:v>0.2556818181818182</c:v>
                </c:pt>
                <c:pt idx="33">
                  <c:v>0.32450331125827814</c:v>
                </c:pt>
                <c:pt idx="34">
                  <c:v>0.3389830508474576</c:v>
                </c:pt>
                <c:pt idx="35">
                  <c:v>0.3046594982078853</c:v>
                </c:pt>
                <c:pt idx="36">
                  <c:v>0.38421052631578945</c:v>
                </c:pt>
                <c:pt idx="37">
                  <c:v>0.3302752293577982</c:v>
                </c:pt>
                <c:pt idx="38">
                  <c:v>0.36</c:v>
                </c:pt>
                <c:pt idx="39">
                  <c:v>0.34959349593495936</c:v>
                </c:pt>
                <c:pt idx="40">
                  <c:v>0.3539325842696629</c:v>
                </c:pt>
                <c:pt idx="41">
                  <c:v>0.3670886075949367</c:v>
                </c:pt>
                <c:pt idx="42">
                  <c:v>0.3128491620111732</c:v>
                </c:pt>
                <c:pt idx="43">
                  <c:v>0.34269662921348315</c:v>
                </c:pt>
                <c:pt idx="44">
                  <c:v>0.2908366533864542</c:v>
                </c:pt>
                <c:pt idx="45">
                  <c:v>0.32697547683923706</c:v>
                </c:pt>
                <c:pt idx="46">
                  <c:v>0.30868761552680224</c:v>
                </c:pt>
                <c:pt idx="47">
                  <c:v>0.305327868852459</c:v>
                </c:pt>
                <c:pt idx="48">
                  <c:v>0.3088235294117647</c:v>
                </c:pt>
                <c:pt idx="49">
                  <c:v>0.28584070796460176</c:v>
                </c:pt>
                <c:pt idx="50">
                  <c:v>0.32971014492753625</c:v>
                </c:pt>
                <c:pt idx="51">
                  <c:v>0.2828054298642534</c:v>
                </c:pt>
                <c:pt idx="52">
                  <c:v>0.2647058823529412</c:v>
                </c:pt>
                <c:pt idx="53">
                  <c:v>0.25722543352601157</c:v>
                </c:pt>
                <c:pt idx="54">
                  <c:v>0.2542372881355932</c:v>
                </c:pt>
                <c:pt idx="55">
                  <c:v>0.27540106951871657</c:v>
                </c:pt>
                <c:pt idx="56">
                  <c:v>0.24874371859296482</c:v>
                </c:pt>
                <c:pt idx="57">
                  <c:v>0.27225130890052357</c:v>
                </c:pt>
                <c:pt idx="58">
                  <c:v>0.27884615384615385</c:v>
                </c:pt>
                <c:pt idx="59">
                  <c:v>0.2688588007736944</c:v>
                </c:pt>
                <c:pt idx="60">
                  <c:v>0.2491349480968858</c:v>
                </c:pt>
                <c:pt idx="61">
                  <c:v>0.2559322033898305</c:v>
                </c:pt>
                <c:pt idx="62">
                  <c:v>0.25226586102719034</c:v>
                </c:pt>
                <c:pt idx="63">
                  <c:v>0.21878862793572312</c:v>
                </c:pt>
                <c:pt idx="64">
                  <c:v>0.24097938144329897</c:v>
                </c:pt>
                <c:pt idx="65">
                  <c:v>0.22932917316692666</c:v>
                </c:pt>
                <c:pt idx="66">
                  <c:v>0.2649310872894334</c:v>
                </c:pt>
                <c:pt idx="67">
                  <c:v>0.2837573385518591</c:v>
                </c:pt>
                <c:pt idx="68">
                  <c:v>0.27932960893854747</c:v>
                </c:pt>
                <c:pt idx="69">
                  <c:v>0.28654970760233917</c:v>
                </c:pt>
                <c:pt idx="70">
                  <c:v>0.2986111111111111</c:v>
                </c:pt>
                <c:pt idx="71">
                  <c:v>0.2798507462686567</c:v>
                </c:pt>
                <c:pt idx="72">
                  <c:v>0.24414715719063546</c:v>
                </c:pt>
                <c:pt idx="73">
                  <c:v>0.24561403508771928</c:v>
                </c:pt>
                <c:pt idx="74">
                  <c:v>0.2215568862275449</c:v>
                </c:pt>
                <c:pt idx="75">
                  <c:v>0.2553191489361702</c:v>
                </c:pt>
                <c:pt idx="76">
                  <c:v>0.2901960784313726</c:v>
                </c:pt>
                <c:pt idx="77">
                  <c:v>0.27419354838709675</c:v>
                </c:pt>
                <c:pt idx="78">
                  <c:v>0.3132530120481928</c:v>
                </c:pt>
                <c:pt idx="79">
                  <c:v>0.33636363636363636</c:v>
                </c:pt>
                <c:pt idx="80">
                  <c:v>0.3333333333333333</c:v>
                </c:pt>
                <c:pt idx="81">
                  <c:v>0.3054393305439331</c:v>
                </c:pt>
                <c:pt idx="82">
                  <c:v>0.3191489361702128</c:v>
                </c:pt>
                <c:pt idx="83">
                  <c:v>0.2832369942196532</c:v>
                </c:pt>
                <c:pt idx="84">
                  <c:v>0.35542168674698793</c:v>
                </c:pt>
                <c:pt idx="85">
                  <c:v>0.34269662921348315</c:v>
                </c:pt>
                <c:pt idx="86">
                  <c:v>0.33755274261603374</c:v>
                </c:pt>
                <c:pt idx="87">
                  <c:v>0.2916666666666667</c:v>
                </c:pt>
                <c:pt idx="88">
                  <c:v>0.26666666666666666</c:v>
                </c:pt>
                <c:pt idx="89">
                  <c:v>0.32941176470588235</c:v>
                </c:pt>
                <c:pt idx="90">
                  <c:v>0.3236994219653179</c:v>
                </c:pt>
                <c:pt idx="91">
                  <c:v>0.2848101265822785</c:v>
                </c:pt>
                <c:pt idx="92">
                  <c:v>0.2972972972972973</c:v>
                </c:pt>
                <c:pt idx="93">
                  <c:v>0.2681564245810056</c:v>
                </c:pt>
                <c:pt idx="94">
                  <c:v>0.2832369942196532</c:v>
                </c:pt>
                <c:pt idx="95">
                  <c:v>0.291044776119403</c:v>
                </c:pt>
                <c:pt idx="96">
                  <c:v>0.28735632183908044</c:v>
                </c:pt>
                <c:pt idx="97">
                  <c:v>0.29194630872483224</c:v>
                </c:pt>
                <c:pt idx="98">
                  <c:v>0.3131868131868132</c:v>
                </c:pt>
                <c:pt idx="99">
                  <c:v>0.3302063789868668</c:v>
                </c:pt>
                <c:pt idx="100">
                  <c:v>0.28289473684210525</c:v>
                </c:pt>
                <c:pt idx="101">
                  <c:v>0.3319838056680162</c:v>
                </c:pt>
                <c:pt idx="102">
                  <c:v>0.3373860182370821</c:v>
                </c:pt>
                <c:pt idx="103">
                  <c:v>0.3213367609254499</c:v>
                </c:pt>
                <c:pt idx="104">
                  <c:v>0.3093922651933701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11267753257631</c:v>
                </c:pt>
                <c:pt idx="1">
                  <c:v>1.8521778373129427</c:v>
                </c:pt>
                <c:pt idx="2">
                  <c:v>1.8787731046954668</c:v>
                </c:pt>
                <c:pt idx="3">
                  <c:v>1.941509141211349</c:v>
                </c:pt>
                <c:pt idx="4">
                  <c:v>2.0413522970308975</c:v>
                </c:pt>
                <c:pt idx="5">
                  <c:v>2.013054744912061</c:v>
                </c:pt>
                <c:pt idx="6">
                  <c:v>1.8796798503634344</c:v>
                </c:pt>
                <c:pt idx="7">
                  <c:v>1.9254467660323993</c:v>
                </c:pt>
                <c:pt idx="8">
                  <c:v>1.9557439247028805</c:v>
                </c:pt>
                <c:pt idx="9">
                  <c:v>1.9241734381993605</c:v>
                </c:pt>
                <c:pt idx="10">
                  <c:v>1.9195320824257585</c:v>
                </c:pt>
                <c:pt idx="11">
                  <c:v>1.8291123460536527</c:v>
                </c:pt>
                <c:pt idx="12">
                  <c:v>1.8191218769942192</c:v>
                </c:pt>
                <c:pt idx="13">
                  <c:v>1.8968714078581919</c:v>
                </c:pt>
                <c:pt idx="14">
                  <c:v>1.86261004949929</c:v>
                </c:pt>
                <c:pt idx="15">
                  <c:v>1.9108648665612127</c:v>
                </c:pt>
                <c:pt idx="16">
                  <c:v>2.0202314180596783</c:v>
                </c:pt>
                <c:pt idx="17">
                  <c:v>1.9136874722879413</c:v>
                </c:pt>
                <c:pt idx="18">
                  <c:v>1.9228463291237012</c:v>
                </c:pt>
                <c:pt idx="19">
                  <c:v>2.093175748935189</c:v>
                </c:pt>
                <c:pt idx="20">
                  <c:v>2.1837145395799675</c:v>
                </c:pt>
                <c:pt idx="21">
                  <c:v>2.0769754837923626</c:v>
                </c:pt>
                <c:pt idx="22">
                  <c:v>1.8498515550315962</c:v>
                </c:pt>
                <c:pt idx="23">
                  <c:v>2.043615835599879</c:v>
                </c:pt>
                <c:pt idx="24">
                  <c:v>2.118666233766234</c:v>
                </c:pt>
                <c:pt idx="25">
                  <c:v>1.952543989035819</c:v>
                </c:pt>
                <c:pt idx="26">
                  <c:v>1.868562498666104</c:v>
                </c:pt>
                <c:pt idx="27">
                  <c:v>1.7398684697508895</c:v>
                </c:pt>
                <c:pt idx="28">
                  <c:v>1.9572271644566546</c:v>
                </c:pt>
                <c:pt idx="29">
                  <c:v>2.026697426654651</c:v>
                </c:pt>
                <c:pt idx="30">
                  <c:v>2.167377654937812</c:v>
                </c:pt>
                <c:pt idx="31">
                  <c:v>2.2231879846529483</c:v>
                </c:pt>
                <c:pt idx="32">
                  <c:v>2.0127857371794873</c:v>
                </c:pt>
                <c:pt idx="33">
                  <c:v>1.9497940839014885</c:v>
                </c:pt>
                <c:pt idx="34">
                  <c:v>2.0586919432268056</c:v>
                </c:pt>
                <c:pt idx="35">
                  <c:v>2.2726365132208977</c:v>
                </c:pt>
                <c:pt idx="36">
                  <c:v>2.1871186726970375</c:v>
                </c:pt>
                <c:pt idx="37">
                  <c:v>2.315152695652174</c:v>
                </c:pt>
                <c:pt idx="38">
                  <c:v>2.3207959649122807</c:v>
                </c:pt>
                <c:pt idx="39">
                  <c:v>2.1853575064929647</c:v>
                </c:pt>
                <c:pt idx="40">
                  <c:v>2.2222046255039256</c:v>
                </c:pt>
                <c:pt idx="41">
                  <c:v>2.323609648416229</c:v>
                </c:pt>
                <c:pt idx="42">
                  <c:v>2.342339438382914</c:v>
                </c:pt>
                <c:pt idx="43">
                  <c:v>2.2200827158943444</c:v>
                </c:pt>
                <c:pt idx="44">
                  <c:v>2.1859399251222063</c:v>
                </c:pt>
                <c:pt idx="45">
                  <c:v>1.9988103877292516</c:v>
                </c:pt>
                <c:pt idx="46">
                  <c:v>2.0207172315128386</c:v>
                </c:pt>
                <c:pt idx="47">
                  <c:v>1.9709242649979886</c:v>
                </c:pt>
                <c:pt idx="48">
                  <c:v>1.9561809709555928</c:v>
                </c:pt>
                <c:pt idx="49">
                  <c:v>1.9243014660159432</c:v>
                </c:pt>
                <c:pt idx="50">
                  <c:v>1.8191610491549923</c:v>
                </c:pt>
                <c:pt idx="51">
                  <c:v>1.8983728205128205</c:v>
                </c:pt>
              </c:numCache>
            </c:numRef>
          </c:xVal>
          <c:yVal>
            <c:numRef>
              <c:f>Sheet1!$B$109:$B$160</c:f>
              <c:numCache>
                <c:formatCode>General</c:formatCode>
                <c:ptCount val="52"/>
                <c:pt idx="0">
                  <c:v>0.3020304568527919</c:v>
                </c:pt>
                <c:pt idx="1">
                  <c:v>0.2966666666666667</c:v>
                </c:pt>
                <c:pt idx="2">
                  <c:v>0.3039772727272727</c:v>
                </c:pt>
                <c:pt idx="3">
                  <c:v>0.2871287128712871</c:v>
                </c:pt>
                <c:pt idx="4">
                  <c:v>0.2689655172413793</c:v>
                </c:pt>
                <c:pt idx="5">
                  <c:v>0.2706422018348624</c:v>
                </c:pt>
                <c:pt idx="6">
                  <c:v>0.2684310018903592</c:v>
                </c:pt>
                <c:pt idx="7">
                  <c:v>0.2425828970331588</c:v>
                </c:pt>
                <c:pt idx="8">
                  <c:v>0.25042301184433163</c:v>
                </c:pt>
                <c:pt idx="9">
                  <c:v>0.26119402985074625</c:v>
                </c:pt>
                <c:pt idx="10">
                  <c:v>0.24473257698541329</c:v>
                </c:pt>
                <c:pt idx="11">
                  <c:v>0.25578231292517006</c:v>
                </c:pt>
                <c:pt idx="12">
                  <c:v>0.23462088698140202</c:v>
                </c:pt>
                <c:pt idx="13">
                  <c:v>0.2608695652173913</c:v>
                </c:pt>
                <c:pt idx="14">
                  <c:v>0.2633663366336634</c:v>
                </c:pt>
                <c:pt idx="15">
                  <c:v>0.27713625866050806</c:v>
                </c:pt>
                <c:pt idx="16">
                  <c:v>0.2905982905982906</c:v>
                </c:pt>
                <c:pt idx="17">
                  <c:v>0.28895184135977336</c:v>
                </c:pt>
                <c:pt idx="18">
                  <c:v>0.2884012539184953</c:v>
                </c:pt>
                <c:pt idx="19">
                  <c:v>0.28076923076923077</c:v>
                </c:pt>
                <c:pt idx="20">
                  <c:v>0.2780487804878049</c:v>
                </c:pt>
                <c:pt idx="21">
                  <c:v>0.2837209302325581</c:v>
                </c:pt>
                <c:pt idx="22">
                  <c:v>0.24714828897338403</c:v>
                </c:pt>
                <c:pt idx="23">
                  <c:v>0.2582781456953642</c:v>
                </c:pt>
                <c:pt idx="24">
                  <c:v>0.21107266435986158</c:v>
                </c:pt>
                <c:pt idx="25">
                  <c:v>0.2723735408560311</c:v>
                </c:pt>
                <c:pt idx="26">
                  <c:v>0.3034825870646766</c:v>
                </c:pt>
                <c:pt idx="27">
                  <c:v>0.32673267326732675</c:v>
                </c:pt>
                <c:pt idx="28">
                  <c:v>0.2751322751322751</c:v>
                </c:pt>
                <c:pt idx="29">
                  <c:v>0.2833333333333333</c:v>
                </c:pt>
                <c:pt idx="30">
                  <c:v>0.26900584795321636</c:v>
                </c:pt>
                <c:pt idx="31">
                  <c:v>0.32592592592592595</c:v>
                </c:pt>
                <c:pt idx="32">
                  <c:v>0.304635761589404</c:v>
                </c:pt>
                <c:pt idx="33">
                  <c:v>0.28708133971291866</c:v>
                </c:pt>
                <c:pt idx="34">
                  <c:v>0.2857142857142857</c:v>
                </c:pt>
                <c:pt idx="35">
                  <c:v>0.26666666666666666</c:v>
                </c:pt>
                <c:pt idx="36">
                  <c:v>0.2716049382716049</c:v>
                </c:pt>
                <c:pt idx="37">
                  <c:v>0.3333333333333333</c:v>
                </c:pt>
                <c:pt idx="38">
                  <c:v>0.26973684210526316</c:v>
                </c:pt>
                <c:pt idx="39">
                  <c:v>0.22624434389140272</c:v>
                </c:pt>
                <c:pt idx="40">
                  <c:v>0.2601626016260163</c:v>
                </c:pt>
                <c:pt idx="41">
                  <c:v>0.271889400921659</c:v>
                </c:pt>
                <c:pt idx="42">
                  <c:v>0.25210084033613445</c:v>
                </c:pt>
                <c:pt idx="43">
                  <c:v>0.26865671641791045</c:v>
                </c:pt>
                <c:pt idx="44">
                  <c:v>0.2627450980392157</c:v>
                </c:pt>
                <c:pt idx="45">
                  <c:v>0.28</c:v>
                </c:pt>
                <c:pt idx="46">
                  <c:v>0.290167865707434</c:v>
                </c:pt>
                <c:pt idx="47">
                  <c:v>0.2889908256880734</c:v>
                </c:pt>
                <c:pt idx="48">
                  <c:v>0.29490022172949004</c:v>
                </c:pt>
                <c:pt idx="49">
                  <c:v>0.3162393162393162</c:v>
                </c:pt>
                <c:pt idx="50">
                  <c:v>0.28297872340425534</c:v>
                </c:pt>
                <c:pt idx="51">
                  <c:v>0.30821917808219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820482024053952</c:v>
                </c:pt>
              </c:numCache>
            </c:numRef>
          </c:xVal>
          <c:yVal>
            <c:numRef>
              <c:f>Sheet1!$B$163:$B$164</c:f>
              <c:numCache>
                <c:formatCode>General</c:formatCode>
                <c:ptCount val="2"/>
                <c:pt idx="0">
                  <c:v>0.3336256421162031</c:v>
                </c:pt>
                <c:pt idx="1">
                  <c:v>0.333625642116203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820482024053952</c:v>
                </c:pt>
                <c:pt idx="1">
                  <c:v>-0.7820482024053952</c:v>
                </c:pt>
              </c:numCache>
            </c:numRef>
          </c:xVal>
          <c:yVal>
            <c:numRef>
              <c:f>Sheet1!$B$167:$B$168</c:f>
              <c:numCache>
                <c:formatCode>General</c:formatCode>
                <c:ptCount val="2"/>
                <c:pt idx="0">
                  <c:v>0.333625642116203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434483525123521</c:v>
                </c:pt>
              </c:numCache>
            </c:numRef>
          </c:xVal>
          <c:yVal>
            <c:numRef>
              <c:f>Sheet1!$B$171:$B$172</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434483525123521</c:v>
                </c:pt>
                <c:pt idx="1">
                  <c:v>0.8434483525123521</c:v>
                </c:pt>
              </c:numCache>
            </c:numRef>
          </c:xVal>
          <c:yVal>
            <c:numRef>
              <c:f>Sheet1!$B$175:$B$176</c:f>
              <c:numCache>
                <c:formatCode>General</c:formatCode>
                <c:ptCount val="2"/>
                <c:pt idx="0">
                  <c:v>0.3005843598638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950173576572183</c:v>
                </c:pt>
              </c:numCache>
            </c:numRef>
          </c:xVal>
          <c:yVal>
            <c:numRef>
              <c:f>Sheet1!$B$179:$B$180</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950173576572183</c:v>
                </c:pt>
                <c:pt idx="1">
                  <c:v>1.9950173576572183</c:v>
                </c:pt>
              </c:numCache>
            </c:numRef>
          </c:xVal>
          <c:yVal>
            <c:numRef>
              <c:f>Sheet1!$B$183:$B$184</c:f>
              <c:numCache>
                <c:formatCode>General</c:formatCode>
                <c:ptCount val="2"/>
                <c:pt idx="0">
                  <c:v>0.277176548621776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11267753257631</c:v>
                </c:pt>
                <c:pt idx="1">
                  <c:v>1.8521778373129427</c:v>
                </c:pt>
                <c:pt idx="2">
                  <c:v>1.8787731046954668</c:v>
                </c:pt>
                <c:pt idx="3">
                  <c:v>1.941509141211349</c:v>
                </c:pt>
                <c:pt idx="4">
                  <c:v>2.0413522970308975</c:v>
                </c:pt>
                <c:pt idx="5">
                  <c:v>2.013054744912061</c:v>
                </c:pt>
                <c:pt idx="6">
                  <c:v>1.8796798503634344</c:v>
                </c:pt>
                <c:pt idx="7">
                  <c:v>1.9254467660323993</c:v>
                </c:pt>
                <c:pt idx="8">
                  <c:v>1.9557439247028805</c:v>
                </c:pt>
                <c:pt idx="9">
                  <c:v>1.9241734381993605</c:v>
                </c:pt>
                <c:pt idx="10">
                  <c:v>1.9195320824257585</c:v>
                </c:pt>
                <c:pt idx="11">
                  <c:v>1.8291123460536527</c:v>
                </c:pt>
                <c:pt idx="12">
                  <c:v>1.8191218769942192</c:v>
                </c:pt>
                <c:pt idx="13">
                  <c:v>1.8968714078581919</c:v>
                </c:pt>
                <c:pt idx="14">
                  <c:v>1.86261004949929</c:v>
                </c:pt>
                <c:pt idx="15">
                  <c:v>1.9108648665612127</c:v>
                </c:pt>
                <c:pt idx="16">
                  <c:v>2.0202314180596783</c:v>
                </c:pt>
                <c:pt idx="17">
                  <c:v>1.9136874722879413</c:v>
                </c:pt>
                <c:pt idx="18">
                  <c:v>1.9228463291237012</c:v>
                </c:pt>
                <c:pt idx="19">
                  <c:v>2.093175748935189</c:v>
                </c:pt>
                <c:pt idx="20">
                  <c:v>2.1837145395799675</c:v>
                </c:pt>
                <c:pt idx="21">
                  <c:v>2.0769754837923626</c:v>
                </c:pt>
                <c:pt idx="22">
                  <c:v>1.8498515550315962</c:v>
                </c:pt>
                <c:pt idx="23">
                  <c:v>2.043615835599879</c:v>
                </c:pt>
                <c:pt idx="24">
                  <c:v>2.118666233766234</c:v>
                </c:pt>
                <c:pt idx="25">
                  <c:v>1.952543989035819</c:v>
                </c:pt>
                <c:pt idx="26">
                  <c:v>1.868562498666104</c:v>
                </c:pt>
                <c:pt idx="27">
                  <c:v>1.7398684697508895</c:v>
                </c:pt>
                <c:pt idx="28">
                  <c:v>1.9572271644566546</c:v>
                </c:pt>
                <c:pt idx="29">
                  <c:v>2.026697426654651</c:v>
                </c:pt>
                <c:pt idx="30">
                  <c:v>2.167377654937812</c:v>
                </c:pt>
                <c:pt idx="31">
                  <c:v>2.2231879846529483</c:v>
                </c:pt>
                <c:pt idx="32">
                  <c:v>2.0127857371794873</c:v>
                </c:pt>
                <c:pt idx="33">
                  <c:v>1.9497940839014885</c:v>
                </c:pt>
                <c:pt idx="34">
                  <c:v>2.0586919432268056</c:v>
                </c:pt>
                <c:pt idx="35">
                  <c:v>2.2726365132208977</c:v>
                </c:pt>
                <c:pt idx="36">
                  <c:v>2.1871186726970375</c:v>
                </c:pt>
                <c:pt idx="37">
                  <c:v>2.315152695652174</c:v>
                </c:pt>
                <c:pt idx="38">
                  <c:v>2.3207959649122807</c:v>
                </c:pt>
                <c:pt idx="39">
                  <c:v>2.1853575064929647</c:v>
                </c:pt>
                <c:pt idx="40">
                  <c:v>2.2222046255039256</c:v>
                </c:pt>
                <c:pt idx="41">
                  <c:v>2.323609648416229</c:v>
                </c:pt>
                <c:pt idx="42">
                  <c:v>2.342339438382914</c:v>
                </c:pt>
                <c:pt idx="43">
                  <c:v>2.2200827158943444</c:v>
                </c:pt>
                <c:pt idx="44">
                  <c:v>2.1859399251222063</c:v>
                </c:pt>
                <c:pt idx="45">
                  <c:v>1.9988103877292516</c:v>
                </c:pt>
                <c:pt idx="46">
                  <c:v>2.0207172315128386</c:v>
                </c:pt>
                <c:pt idx="47">
                  <c:v>1.9709242649979886</c:v>
                </c:pt>
                <c:pt idx="48">
                  <c:v>1.9561809709555928</c:v>
                </c:pt>
                <c:pt idx="49">
                  <c:v>1.9243014660159432</c:v>
                </c:pt>
                <c:pt idx="50">
                  <c:v>1.8191610491549923</c:v>
                </c:pt>
                <c:pt idx="51">
                  <c:v>1.8983728205128205</c:v>
                </c:pt>
                <c:pt idx="52">
                  <c:v>0.8434483525123521</c:v>
                </c:pt>
                <c:pt idx="53">
                  <c:v>-0.7820482024053952</c:v>
                </c:pt>
                <c:pt idx="54">
                  <c:v>1.9950173576572183</c:v>
                </c:pt>
              </c:numCache>
            </c:numRef>
          </c:xVal>
          <c:yVal>
            <c:numRef>
              <c:f>Sheet1!$B$187:$B$241</c:f>
              <c:numCache>
                <c:formatCode>General</c:formatCode>
                <c:ptCount val="55"/>
                <c:pt idx="0">
                  <c:v>0.2829442943236096</c:v>
                </c:pt>
                <c:pt idx="1">
                  <c:v>0.28008003118789654</c:v>
                </c:pt>
                <c:pt idx="2">
                  <c:v>0.2795394322346073</c:v>
                </c:pt>
                <c:pt idx="3">
                  <c:v>0.2782642040074873</c:v>
                </c:pt>
                <c:pt idx="4">
                  <c:v>0.27623470361733116</c:v>
                </c:pt>
                <c:pt idx="5">
                  <c:v>0.276809904717439</c:v>
                </c:pt>
                <c:pt idx="6">
                  <c:v>0.2795210009192928</c:v>
                </c:pt>
                <c:pt idx="7">
                  <c:v>0.27859070206761904</c:v>
                </c:pt>
                <c:pt idx="8">
                  <c:v>0.27797485519421394</c:v>
                </c:pt>
                <c:pt idx="9">
                  <c:v>0.2786165848566068</c:v>
                </c:pt>
                <c:pt idx="10">
                  <c:v>0.27871092916369583</c:v>
                </c:pt>
                <c:pt idx="11">
                  <c:v>0.28054888078630547</c:v>
                </c:pt>
                <c:pt idx="12">
                  <c:v>0.2807519559063528</c:v>
                </c:pt>
                <c:pt idx="13">
                  <c:v>0.2791715500995885</c:v>
                </c:pt>
                <c:pt idx="14">
                  <c:v>0.2798679768059152</c:v>
                </c:pt>
                <c:pt idx="15">
                  <c:v>0.27888710666764466</c:v>
                </c:pt>
                <c:pt idx="16">
                  <c:v>0.27666402530453826</c:v>
                </c:pt>
                <c:pt idx="17">
                  <c:v>0.2788297318843996</c:v>
                </c:pt>
                <c:pt idx="18">
                  <c:v>0.27864356085075204</c:v>
                </c:pt>
                <c:pt idx="19">
                  <c:v>0.2751812942474482</c:v>
                </c:pt>
                <c:pt idx="20">
                  <c:v>0.273340922622277</c:v>
                </c:pt>
                <c:pt idx="21">
                  <c:v>0.27551059518107873</c:v>
                </c:pt>
                <c:pt idx="22">
                  <c:v>0.28012731726132695</c:v>
                </c:pt>
                <c:pt idx="23">
                  <c:v>0.27618869292815396</c:v>
                </c:pt>
                <c:pt idx="24">
                  <c:v>0.2746631520825173</c:v>
                </c:pt>
                <c:pt idx="25">
                  <c:v>0.27803989991992867</c:v>
                </c:pt>
                <c:pt idx="26">
                  <c:v>0.27974698205362325</c:v>
                </c:pt>
                <c:pt idx="27">
                  <c:v>0.2823629308359939</c:v>
                </c:pt>
                <c:pt idx="28">
                  <c:v>0.2779447055496613</c:v>
                </c:pt>
                <c:pt idx="29">
                  <c:v>0.2765325914885843</c:v>
                </c:pt>
                <c:pt idx="30">
                  <c:v>0.2736730006048191</c:v>
                </c:pt>
                <c:pt idx="31">
                  <c:v>0.272538550426418</c:v>
                </c:pt>
                <c:pt idx="32">
                  <c:v>0.2768153728068011</c:v>
                </c:pt>
                <c:pt idx="33">
                  <c:v>0.2780957969265608</c:v>
                </c:pt>
                <c:pt idx="34">
                  <c:v>0.2758822426155639</c:v>
                </c:pt>
                <c:pt idx="35">
                  <c:v>0.27153341585111795</c:v>
                </c:pt>
                <c:pt idx="36">
                  <c:v>0.2732717271983891</c:v>
                </c:pt>
                <c:pt idx="37">
                  <c:v>0.2706691942815576</c:v>
                </c:pt>
                <c:pt idx="38">
                  <c:v>0.2705544841938092</c:v>
                </c:pt>
                <c:pt idx="39">
                  <c:v>0.27330752622205734</c:v>
                </c:pt>
                <c:pt idx="40">
                  <c:v>0.272558539055185</c:v>
                </c:pt>
                <c:pt idx="41">
                  <c:v>0.2704972907715644</c:v>
                </c:pt>
                <c:pt idx="42">
                  <c:v>0.27011657247662557</c:v>
                </c:pt>
                <c:pt idx="43">
                  <c:v>0.2726016708687297</c:v>
                </c:pt>
                <c:pt idx="44">
                  <c:v>0.2732956874653035</c:v>
                </c:pt>
                <c:pt idx="45">
                  <c:v>0.27709944813403814</c:v>
                </c:pt>
                <c:pt idx="46">
                  <c:v>0.2766541502301314</c:v>
                </c:pt>
                <c:pt idx="47">
                  <c:v>0.27766628615611877</c:v>
                </c:pt>
                <c:pt idx="48">
                  <c:v>0.27796597140510376</c:v>
                </c:pt>
                <c:pt idx="49">
                  <c:v>0.27861398244984614</c:v>
                </c:pt>
                <c:pt idx="50">
                  <c:v>0.2807511596583284</c:v>
                </c:pt>
                <c:pt idx="51">
                  <c:v>0.279141031056562</c:v>
                </c:pt>
                <c:pt idx="52">
                  <c:v>0.3005843598638134</c:v>
                </c:pt>
                <c:pt idx="53">
                  <c:v>0.3336256421162031</c:v>
                </c:pt>
                <c:pt idx="54">
                  <c:v>0.277176548621776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8181818181818"/>
          <c:min val="0.168858131487889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0.0391</c:v>
                </c:pt>
                <c:pt idx="1">
                  <c:v>827.0192</c:v>
                </c:pt>
                <c:pt idx="2">
                  <c:v>883.4286</c:v>
                </c:pt>
                <c:pt idx="3">
                  <c:v>914.398</c:v>
                </c:pt>
                <c:pt idx="4">
                  <c:v>919.2472</c:v>
                </c:pt>
                <c:pt idx="5">
                  <c:v>911.8065</c:v>
                </c:pt>
                <c:pt idx="6">
                  <c:v>866.9023</c:v>
                </c:pt>
                <c:pt idx="7">
                  <c:v>899.04</c:v>
                </c:pt>
                <c:pt idx="8">
                  <c:v>889.5274</c:v>
                </c:pt>
                <c:pt idx="9">
                  <c:v>861.4862</c:v>
                </c:pt>
                <c:pt idx="10">
                  <c:v>827.7564</c:v>
                </c:pt>
                <c:pt idx="11">
                  <c:v>886.0826</c:v>
                </c:pt>
                <c:pt idx="12">
                  <c:v>917.25</c:v>
                </c:pt>
                <c:pt idx="13">
                  <c:v>923.3299</c:v>
                </c:pt>
                <c:pt idx="14">
                  <c:v>917.5882</c:v>
                </c:pt>
                <c:pt idx="15">
                  <c:v>928.4634</c:v>
                </c:pt>
                <c:pt idx="16">
                  <c:v>928.6951</c:v>
                </c:pt>
                <c:pt idx="17">
                  <c:v>933.4085</c:v>
                </c:pt>
                <c:pt idx="18">
                  <c:v>971.2989</c:v>
                </c:pt>
                <c:pt idx="19">
                  <c:v>1026.3333</c:v>
                </c:pt>
                <c:pt idx="20">
                  <c:v>1021.8333</c:v>
                </c:pt>
                <c:pt idx="21">
                  <c:v>1063.3485</c:v>
                </c:pt>
                <c:pt idx="22">
                  <c:v>1062.625</c:v>
                </c:pt>
                <c:pt idx="23">
                  <c:v>1032.1176</c:v>
                </c:pt>
                <c:pt idx="24">
                  <c:v>1047.0154</c:v>
                </c:pt>
                <c:pt idx="25">
                  <c:v>1017.5179</c:v>
                </c:pt>
                <c:pt idx="26">
                  <c:v>1048.0465</c:v>
                </c:pt>
                <c:pt idx="27">
                  <c:v>1004.55</c:v>
                </c:pt>
                <c:pt idx="28">
                  <c:v>981.1719</c:v>
                </c:pt>
                <c:pt idx="29">
                  <c:v>1058.5714</c:v>
                </c:pt>
                <c:pt idx="30">
                  <c:v>1003.4</c:v>
                </c:pt>
                <c:pt idx="31">
                  <c:v>956.5</c:v>
                </c:pt>
                <c:pt idx="32">
                  <c:v>902.5333</c:v>
                </c:pt>
                <c:pt idx="33">
                  <c:v>911.6327</c:v>
                </c:pt>
                <c:pt idx="34">
                  <c:v>915.4875</c:v>
                </c:pt>
                <c:pt idx="35">
                  <c:v>943.3647</c:v>
                </c:pt>
                <c:pt idx="36">
                  <c:v>957.6575</c:v>
                </c:pt>
                <c:pt idx="37">
                  <c:v>1011.9306</c:v>
                </c:pt>
                <c:pt idx="38">
                  <c:v>1102.3704</c:v>
                </c:pt>
                <c:pt idx="39">
                  <c:v>1100.5814</c:v>
                </c:pt>
                <c:pt idx="40">
                  <c:v>1113.5397</c:v>
                </c:pt>
                <c:pt idx="41">
                  <c:v>1162.0172</c:v>
                </c:pt>
                <c:pt idx="42">
                  <c:v>1179.4464</c:v>
                </c:pt>
                <c:pt idx="43">
                  <c:v>1241.3607</c:v>
                </c:pt>
                <c:pt idx="44">
                  <c:v>1125.2055</c:v>
                </c:pt>
                <c:pt idx="45">
                  <c:v>1103.5917</c:v>
                </c:pt>
                <c:pt idx="46">
                  <c:v>1081.5449</c:v>
                </c:pt>
                <c:pt idx="47">
                  <c:v>1093.7517</c:v>
                </c:pt>
                <c:pt idx="48">
                  <c:v>1053.1376</c:v>
                </c:pt>
                <c:pt idx="49">
                  <c:v>1006.6842</c:v>
                </c:pt>
                <c:pt idx="50">
                  <c:v>999.4121</c:v>
                </c:pt>
                <c:pt idx="51">
                  <c:v>1018.864</c:v>
                </c:pt>
                <c:pt idx="52">
                  <c:v>995.763</c:v>
                </c:pt>
                <c:pt idx="53">
                  <c:v>1105.809</c:v>
                </c:pt>
                <c:pt idx="54">
                  <c:v>1092.3333</c:v>
                </c:pt>
                <c:pt idx="55">
                  <c:v>1062.4272</c:v>
                </c:pt>
                <c:pt idx="56">
                  <c:v>1133.1919</c:v>
                </c:pt>
                <c:pt idx="57">
                  <c:v>1110.2981</c:v>
                </c:pt>
                <c:pt idx="58">
                  <c:v>1085.1379</c:v>
                </c:pt>
                <c:pt idx="59">
                  <c:v>1087.5827</c:v>
                </c:pt>
                <c:pt idx="60">
                  <c:v>1114.3958</c:v>
                </c:pt>
                <c:pt idx="61">
                  <c:v>1084.5695</c:v>
                </c:pt>
                <c:pt idx="62">
                  <c:v>1057.6647</c:v>
                </c:pt>
                <c:pt idx="63">
                  <c:v>1075.6497</c:v>
                </c:pt>
                <c:pt idx="64">
                  <c:v>1056.7701</c:v>
                </c:pt>
                <c:pt idx="65">
                  <c:v>1094.5986</c:v>
                </c:pt>
                <c:pt idx="66">
                  <c:v>1044.6301</c:v>
                </c:pt>
                <c:pt idx="67">
                  <c:v>1096.9862</c:v>
                </c:pt>
                <c:pt idx="68">
                  <c:v>1131.74</c:v>
                </c:pt>
                <c:pt idx="69">
                  <c:v>1175.8673</c:v>
                </c:pt>
                <c:pt idx="70">
                  <c:v>1171.6977</c:v>
                </c:pt>
                <c:pt idx="71">
                  <c:v>1172.4667</c:v>
                </c:pt>
                <c:pt idx="72">
                  <c:v>1294.0822</c:v>
                </c:pt>
                <c:pt idx="73">
                  <c:v>1289.5571</c:v>
                </c:pt>
                <c:pt idx="74">
                  <c:v>1265.4324</c:v>
                </c:pt>
                <c:pt idx="75">
                  <c:v>1220.6667</c:v>
                </c:pt>
                <c:pt idx="76">
                  <c:v>1214.2027</c:v>
                </c:pt>
                <c:pt idx="77">
                  <c:v>1239.6863</c:v>
                </c:pt>
                <c:pt idx="78">
                  <c:v>1266.6154</c:v>
                </c:pt>
                <c:pt idx="79">
                  <c:v>1223.5946</c:v>
                </c:pt>
                <c:pt idx="80">
                  <c:v>1228.4912</c:v>
                </c:pt>
                <c:pt idx="81">
                  <c:v>1217.274</c:v>
                </c:pt>
                <c:pt idx="82">
                  <c:v>1155.65</c:v>
                </c:pt>
                <c:pt idx="83">
                  <c:v>1191.0816</c:v>
                </c:pt>
                <c:pt idx="84">
                  <c:v>1191.0847</c:v>
                </c:pt>
                <c:pt idx="85">
                  <c:v>1140.0</c:v>
                </c:pt>
                <c:pt idx="86">
                  <c:v>1102.525</c:v>
                </c:pt>
                <c:pt idx="87">
                  <c:v>1111.9351</c:v>
                </c:pt>
                <c:pt idx="88">
                  <c:v>1206.3333</c:v>
                </c:pt>
                <c:pt idx="89">
                  <c:v>1099.8393</c:v>
                </c:pt>
                <c:pt idx="90">
                  <c:v>1203.1429</c:v>
                </c:pt>
                <c:pt idx="91">
                  <c:v>1211.0889</c:v>
                </c:pt>
                <c:pt idx="92">
                  <c:v>1245.5273</c:v>
                </c:pt>
                <c:pt idx="93">
                  <c:v>1272.625</c:v>
                </c:pt>
                <c:pt idx="94">
                  <c:v>1362.9592</c:v>
                </c:pt>
                <c:pt idx="95">
                  <c:v>1281.1538</c:v>
                </c:pt>
                <c:pt idx="96">
                  <c:v>1164.1467</c:v>
                </c:pt>
                <c:pt idx="97">
                  <c:v>1149.046</c:v>
                </c:pt>
                <c:pt idx="98">
                  <c:v>1110.8333</c:v>
                </c:pt>
                <c:pt idx="99">
                  <c:v>1072.6818</c:v>
                </c:pt>
                <c:pt idx="100">
                  <c:v>1048.0078</c:v>
                </c:pt>
                <c:pt idx="101">
                  <c:v>1070.9024</c:v>
                </c:pt>
                <c:pt idx="102">
                  <c:v>1044.6216</c:v>
                </c:pt>
                <c:pt idx="103">
                  <c:v>1029.888</c:v>
                </c:pt>
                <c:pt idx="104">
                  <c:v>1090.0357</c:v>
                </c:pt>
              </c:numCache>
            </c:numRef>
          </c:xVal>
          <c:yVal>
            <c:numRef>
              <c:f>Sheet1!$B$2:$B$106</c:f>
              <c:numCache>
                <c:formatCode>General</c:formatCode>
                <c:ptCount val="105"/>
                <c:pt idx="0">
                  <c:v>0.3137254901960784</c:v>
                </c:pt>
                <c:pt idx="1">
                  <c:v>0.28415300546448086</c:v>
                </c:pt>
                <c:pt idx="2">
                  <c:v>0.27053140096618356</c:v>
                </c:pt>
                <c:pt idx="3">
                  <c:v>0.2808022922636103</c:v>
                </c:pt>
                <c:pt idx="4">
                  <c:v>0.25</c:v>
                </c:pt>
                <c:pt idx="5">
                  <c:v>0.3315508021390374</c:v>
                </c:pt>
                <c:pt idx="6">
                  <c:v>0.3107476635514019</c:v>
                </c:pt>
                <c:pt idx="7">
                  <c:v>0.33707865168539325</c:v>
                </c:pt>
                <c:pt idx="8">
                  <c:v>0.32158590308370044</c:v>
                </c:pt>
                <c:pt idx="9">
                  <c:v>0.3302919708029197</c:v>
                </c:pt>
                <c:pt idx="10">
                  <c:v>0.32298136645962733</c:v>
                </c:pt>
                <c:pt idx="11">
                  <c:v>0.2768878718535469</c:v>
                </c:pt>
                <c:pt idx="12">
                  <c:v>0.28846153846153844</c:v>
                </c:pt>
                <c:pt idx="13">
                  <c:v>0.2255813953488372</c:v>
                </c:pt>
                <c:pt idx="14">
                  <c:v>0.255</c:v>
                </c:pt>
                <c:pt idx="15">
                  <c:v>0.25625</c:v>
                </c:pt>
                <c:pt idx="16">
                  <c:v>0.2971014492753623</c:v>
                </c:pt>
                <c:pt idx="17">
                  <c:v>0.2784313725490196</c:v>
                </c:pt>
                <c:pt idx="18">
                  <c:v>0.3096085409252669</c:v>
                </c:pt>
                <c:pt idx="19">
                  <c:v>0.34285714285714286</c:v>
                </c:pt>
                <c:pt idx="20">
                  <c:v>0.34146341463414637</c:v>
                </c:pt>
                <c:pt idx="21">
                  <c:v>0.3127962085308057</c:v>
                </c:pt>
                <c:pt idx="22">
                  <c:v>0.2987551867219917</c:v>
                </c:pt>
                <c:pt idx="23">
                  <c:v>0.3300970873786408</c:v>
                </c:pt>
                <c:pt idx="24">
                  <c:v>0.3023255813953488</c:v>
                </c:pt>
                <c:pt idx="25">
                  <c:v>0.2978723404255319</c:v>
                </c:pt>
                <c:pt idx="26">
                  <c:v>0.2471264367816092</c:v>
                </c:pt>
                <c:pt idx="27">
                  <c:v>0.26143790849673204</c:v>
                </c:pt>
                <c:pt idx="28">
                  <c:v>0.48484848484848486</c:v>
                </c:pt>
                <c:pt idx="29">
                  <c:v>0.34265734265734266</c:v>
                </c:pt>
                <c:pt idx="30">
                  <c:v>0.3424657534246575</c:v>
                </c:pt>
                <c:pt idx="31">
                  <c:v>0.3037974683544304</c:v>
                </c:pt>
                <c:pt idx="32">
                  <c:v>0.2556818181818182</c:v>
                </c:pt>
                <c:pt idx="33">
                  <c:v>0.32450331125827814</c:v>
                </c:pt>
                <c:pt idx="34">
                  <c:v>0.3389830508474576</c:v>
                </c:pt>
                <c:pt idx="35">
                  <c:v>0.3046594982078853</c:v>
                </c:pt>
                <c:pt idx="36">
                  <c:v>0.38421052631578945</c:v>
                </c:pt>
                <c:pt idx="37">
                  <c:v>0.3302752293577982</c:v>
                </c:pt>
                <c:pt idx="38">
                  <c:v>0.36</c:v>
                </c:pt>
                <c:pt idx="39">
                  <c:v>0.34959349593495936</c:v>
                </c:pt>
                <c:pt idx="40">
                  <c:v>0.3539325842696629</c:v>
                </c:pt>
                <c:pt idx="41">
                  <c:v>0.3670886075949367</c:v>
                </c:pt>
                <c:pt idx="42">
                  <c:v>0.3128491620111732</c:v>
                </c:pt>
                <c:pt idx="43">
                  <c:v>0.34269662921348315</c:v>
                </c:pt>
                <c:pt idx="44">
                  <c:v>0.2908366533864542</c:v>
                </c:pt>
                <c:pt idx="45">
                  <c:v>0.32697547683923706</c:v>
                </c:pt>
                <c:pt idx="46">
                  <c:v>0.30868761552680224</c:v>
                </c:pt>
                <c:pt idx="47">
                  <c:v>0.305327868852459</c:v>
                </c:pt>
                <c:pt idx="48">
                  <c:v>0.3088235294117647</c:v>
                </c:pt>
                <c:pt idx="49">
                  <c:v>0.28584070796460176</c:v>
                </c:pt>
                <c:pt idx="50">
                  <c:v>0.32971014492753625</c:v>
                </c:pt>
                <c:pt idx="51">
                  <c:v>0.2828054298642534</c:v>
                </c:pt>
                <c:pt idx="52">
                  <c:v>0.2647058823529412</c:v>
                </c:pt>
                <c:pt idx="53">
                  <c:v>0.25722543352601157</c:v>
                </c:pt>
                <c:pt idx="54">
                  <c:v>0.2542372881355932</c:v>
                </c:pt>
                <c:pt idx="55">
                  <c:v>0.27540106951871657</c:v>
                </c:pt>
                <c:pt idx="56">
                  <c:v>0.24874371859296482</c:v>
                </c:pt>
                <c:pt idx="57">
                  <c:v>0.27225130890052357</c:v>
                </c:pt>
                <c:pt idx="58">
                  <c:v>0.27884615384615385</c:v>
                </c:pt>
                <c:pt idx="59">
                  <c:v>0.2688588007736944</c:v>
                </c:pt>
                <c:pt idx="60">
                  <c:v>0.2491349480968858</c:v>
                </c:pt>
                <c:pt idx="61">
                  <c:v>0.2559322033898305</c:v>
                </c:pt>
                <c:pt idx="62">
                  <c:v>0.25226586102719034</c:v>
                </c:pt>
                <c:pt idx="63">
                  <c:v>0.21878862793572312</c:v>
                </c:pt>
                <c:pt idx="64">
                  <c:v>0.24097938144329897</c:v>
                </c:pt>
                <c:pt idx="65">
                  <c:v>0.22932917316692666</c:v>
                </c:pt>
                <c:pt idx="66">
                  <c:v>0.2649310872894334</c:v>
                </c:pt>
                <c:pt idx="67">
                  <c:v>0.2837573385518591</c:v>
                </c:pt>
                <c:pt idx="68">
                  <c:v>0.27932960893854747</c:v>
                </c:pt>
                <c:pt idx="69">
                  <c:v>0.28654970760233917</c:v>
                </c:pt>
                <c:pt idx="70">
                  <c:v>0.2986111111111111</c:v>
                </c:pt>
                <c:pt idx="71">
                  <c:v>0.2798507462686567</c:v>
                </c:pt>
                <c:pt idx="72">
                  <c:v>0.24414715719063546</c:v>
                </c:pt>
                <c:pt idx="73">
                  <c:v>0.24561403508771928</c:v>
                </c:pt>
                <c:pt idx="74">
                  <c:v>0.2215568862275449</c:v>
                </c:pt>
                <c:pt idx="75">
                  <c:v>0.2553191489361702</c:v>
                </c:pt>
                <c:pt idx="76">
                  <c:v>0.2901960784313726</c:v>
                </c:pt>
                <c:pt idx="77">
                  <c:v>0.27419354838709675</c:v>
                </c:pt>
                <c:pt idx="78">
                  <c:v>0.3132530120481928</c:v>
                </c:pt>
                <c:pt idx="79">
                  <c:v>0.33636363636363636</c:v>
                </c:pt>
                <c:pt idx="80">
                  <c:v>0.3333333333333333</c:v>
                </c:pt>
                <c:pt idx="81">
                  <c:v>0.3054393305439331</c:v>
                </c:pt>
                <c:pt idx="82">
                  <c:v>0.3191489361702128</c:v>
                </c:pt>
                <c:pt idx="83">
                  <c:v>0.2832369942196532</c:v>
                </c:pt>
                <c:pt idx="84">
                  <c:v>0.35542168674698793</c:v>
                </c:pt>
                <c:pt idx="85">
                  <c:v>0.34269662921348315</c:v>
                </c:pt>
                <c:pt idx="86">
                  <c:v>0.33755274261603374</c:v>
                </c:pt>
                <c:pt idx="87">
                  <c:v>0.2916666666666667</c:v>
                </c:pt>
                <c:pt idx="88">
                  <c:v>0.26666666666666666</c:v>
                </c:pt>
                <c:pt idx="89">
                  <c:v>0.32941176470588235</c:v>
                </c:pt>
                <c:pt idx="90">
                  <c:v>0.3236994219653179</c:v>
                </c:pt>
                <c:pt idx="91">
                  <c:v>0.2848101265822785</c:v>
                </c:pt>
                <c:pt idx="92">
                  <c:v>0.2972972972972973</c:v>
                </c:pt>
                <c:pt idx="93">
                  <c:v>0.2681564245810056</c:v>
                </c:pt>
                <c:pt idx="94">
                  <c:v>0.2832369942196532</c:v>
                </c:pt>
                <c:pt idx="95">
                  <c:v>0.291044776119403</c:v>
                </c:pt>
                <c:pt idx="96">
                  <c:v>0.28735632183908044</c:v>
                </c:pt>
                <c:pt idx="97">
                  <c:v>0.29194630872483224</c:v>
                </c:pt>
                <c:pt idx="98">
                  <c:v>0.3131868131868132</c:v>
                </c:pt>
                <c:pt idx="99">
                  <c:v>0.3302063789868668</c:v>
                </c:pt>
                <c:pt idx="100">
                  <c:v>0.28289473684210525</c:v>
                </c:pt>
                <c:pt idx="101">
                  <c:v>0.3319838056680162</c:v>
                </c:pt>
                <c:pt idx="102">
                  <c:v>0.3373860182370821</c:v>
                </c:pt>
                <c:pt idx="103">
                  <c:v>0.3213367609254499</c:v>
                </c:pt>
                <c:pt idx="104">
                  <c:v>0.3093922651933701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6.5546</c:v>
                </c:pt>
                <c:pt idx="1">
                  <c:v>1163.1236</c:v>
                </c:pt>
                <c:pt idx="2">
                  <c:v>1224.6542</c:v>
                </c:pt>
                <c:pt idx="3">
                  <c:v>1258.819</c:v>
                </c:pt>
                <c:pt idx="4">
                  <c:v>1258.7607</c:v>
                </c:pt>
                <c:pt idx="5">
                  <c:v>1237.4322</c:v>
                </c:pt>
                <c:pt idx="6">
                  <c:v>1159.6901</c:v>
                </c:pt>
                <c:pt idx="7">
                  <c:v>1171.1942</c:v>
                </c:pt>
                <c:pt idx="8">
                  <c:v>1197.0338</c:v>
                </c:pt>
                <c:pt idx="9">
                  <c:v>1159.4286</c:v>
                </c:pt>
                <c:pt idx="10">
                  <c:v>1188.2848</c:v>
                </c:pt>
                <c:pt idx="11">
                  <c:v>1087.9734</c:v>
                </c:pt>
                <c:pt idx="12">
                  <c:v>1127.1341</c:v>
                </c:pt>
                <c:pt idx="13">
                  <c:v>1146.5533</c:v>
                </c:pt>
                <c:pt idx="14">
                  <c:v>1114.2707</c:v>
                </c:pt>
                <c:pt idx="15">
                  <c:v>1144.725</c:v>
                </c:pt>
                <c:pt idx="16">
                  <c:v>1201.0098</c:v>
                </c:pt>
                <c:pt idx="17">
                  <c:v>1130.7941</c:v>
                </c:pt>
                <c:pt idx="18">
                  <c:v>1244.7065</c:v>
                </c:pt>
                <c:pt idx="19">
                  <c:v>1314.3151</c:v>
                </c:pt>
                <c:pt idx="20">
                  <c:v>1351.7193</c:v>
                </c:pt>
                <c:pt idx="21">
                  <c:v>1281.9344</c:v>
                </c:pt>
                <c:pt idx="22">
                  <c:v>1248.7077</c:v>
                </c:pt>
                <c:pt idx="23">
                  <c:v>1267.9359</c:v>
                </c:pt>
                <c:pt idx="24">
                  <c:v>1305.0984</c:v>
                </c:pt>
                <c:pt idx="25">
                  <c:v>1231.4857</c:v>
                </c:pt>
                <c:pt idx="26">
                  <c:v>1181.9508</c:v>
                </c:pt>
                <c:pt idx="27">
                  <c:v>1222.2576</c:v>
                </c:pt>
                <c:pt idx="28">
                  <c:v>1241.3269</c:v>
                </c:pt>
                <c:pt idx="29">
                  <c:v>1265.0392</c:v>
                </c:pt>
                <c:pt idx="30">
                  <c:v>1274.2826</c:v>
                </c:pt>
                <c:pt idx="31">
                  <c:v>1222.5682</c:v>
                </c:pt>
                <c:pt idx="32">
                  <c:v>1255.9783</c:v>
                </c:pt>
                <c:pt idx="33">
                  <c:v>1262.8167</c:v>
                </c:pt>
                <c:pt idx="34">
                  <c:v>1263.4878</c:v>
                </c:pt>
                <c:pt idx="35">
                  <c:v>1323.0333</c:v>
                </c:pt>
                <c:pt idx="36">
                  <c:v>1351.7955</c:v>
                </c:pt>
                <c:pt idx="37">
                  <c:v>1331.2128</c:v>
                </c:pt>
                <c:pt idx="38">
                  <c:v>1322.8537</c:v>
                </c:pt>
                <c:pt idx="39">
                  <c:v>1256.68</c:v>
                </c:pt>
                <c:pt idx="40">
                  <c:v>1309.1563</c:v>
                </c:pt>
                <c:pt idx="41">
                  <c:v>1396.1864</c:v>
                </c:pt>
                <c:pt idx="42">
                  <c:v>1368.3167</c:v>
                </c:pt>
                <c:pt idx="43">
                  <c:v>1325.8889</c:v>
                </c:pt>
                <c:pt idx="44">
                  <c:v>1281.3582</c:v>
                </c:pt>
                <c:pt idx="45">
                  <c:v>1236.978</c:v>
                </c:pt>
                <c:pt idx="46">
                  <c:v>1181.3802</c:v>
                </c:pt>
                <c:pt idx="47">
                  <c:v>1170.3571</c:v>
                </c:pt>
                <c:pt idx="48">
                  <c:v>1184.9398</c:v>
                </c:pt>
                <c:pt idx="49">
                  <c:v>1162.0108</c:v>
                </c:pt>
                <c:pt idx="50">
                  <c:v>1129.0865</c:v>
                </c:pt>
                <c:pt idx="51">
                  <c:v>1110.5481</c:v>
                </c:pt>
              </c:numCache>
            </c:numRef>
          </c:xVal>
          <c:yVal>
            <c:numRef>
              <c:f>Sheet1!$B$109:$B$160</c:f>
              <c:numCache>
                <c:formatCode>General</c:formatCode>
                <c:ptCount val="52"/>
                <c:pt idx="0">
                  <c:v>0.3020304568527919</c:v>
                </c:pt>
                <c:pt idx="1">
                  <c:v>0.2966666666666667</c:v>
                </c:pt>
                <c:pt idx="2">
                  <c:v>0.3039772727272727</c:v>
                </c:pt>
                <c:pt idx="3">
                  <c:v>0.2871287128712871</c:v>
                </c:pt>
                <c:pt idx="4">
                  <c:v>0.2689655172413793</c:v>
                </c:pt>
                <c:pt idx="5">
                  <c:v>0.2706422018348624</c:v>
                </c:pt>
                <c:pt idx="6">
                  <c:v>0.2684310018903592</c:v>
                </c:pt>
                <c:pt idx="7">
                  <c:v>0.2425828970331588</c:v>
                </c:pt>
                <c:pt idx="8">
                  <c:v>0.25042301184433163</c:v>
                </c:pt>
                <c:pt idx="9">
                  <c:v>0.26119402985074625</c:v>
                </c:pt>
                <c:pt idx="10">
                  <c:v>0.24473257698541329</c:v>
                </c:pt>
                <c:pt idx="11">
                  <c:v>0.25578231292517006</c:v>
                </c:pt>
                <c:pt idx="12">
                  <c:v>0.23462088698140202</c:v>
                </c:pt>
                <c:pt idx="13">
                  <c:v>0.2608695652173913</c:v>
                </c:pt>
                <c:pt idx="14">
                  <c:v>0.2633663366336634</c:v>
                </c:pt>
                <c:pt idx="15">
                  <c:v>0.27713625866050806</c:v>
                </c:pt>
                <c:pt idx="16">
                  <c:v>0.2905982905982906</c:v>
                </c:pt>
                <c:pt idx="17">
                  <c:v>0.28895184135977336</c:v>
                </c:pt>
                <c:pt idx="18">
                  <c:v>0.2884012539184953</c:v>
                </c:pt>
                <c:pt idx="19">
                  <c:v>0.28076923076923077</c:v>
                </c:pt>
                <c:pt idx="20">
                  <c:v>0.2780487804878049</c:v>
                </c:pt>
                <c:pt idx="21">
                  <c:v>0.2837209302325581</c:v>
                </c:pt>
                <c:pt idx="22">
                  <c:v>0.24714828897338403</c:v>
                </c:pt>
                <c:pt idx="23">
                  <c:v>0.2582781456953642</c:v>
                </c:pt>
                <c:pt idx="24">
                  <c:v>0.21107266435986158</c:v>
                </c:pt>
                <c:pt idx="25">
                  <c:v>0.2723735408560311</c:v>
                </c:pt>
                <c:pt idx="26">
                  <c:v>0.3034825870646766</c:v>
                </c:pt>
                <c:pt idx="27">
                  <c:v>0.32673267326732675</c:v>
                </c:pt>
                <c:pt idx="28">
                  <c:v>0.2751322751322751</c:v>
                </c:pt>
                <c:pt idx="29">
                  <c:v>0.2833333333333333</c:v>
                </c:pt>
                <c:pt idx="30">
                  <c:v>0.26900584795321636</c:v>
                </c:pt>
                <c:pt idx="31">
                  <c:v>0.32592592592592595</c:v>
                </c:pt>
                <c:pt idx="32">
                  <c:v>0.304635761589404</c:v>
                </c:pt>
                <c:pt idx="33">
                  <c:v>0.28708133971291866</c:v>
                </c:pt>
                <c:pt idx="34">
                  <c:v>0.2857142857142857</c:v>
                </c:pt>
                <c:pt idx="35">
                  <c:v>0.26666666666666666</c:v>
                </c:pt>
                <c:pt idx="36">
                  <c:v>0.2716049382716049</c:v>
                </c:pt>
                <c:pt idx="37">
                  <c:v>0.3333333333333333</c:v>
                </c:pt>
                <c:pt idx="38">
                  <c:v>0.26973684210526316</c:v>
                </c:pt>
                <c:pt idx="39">
                  <c:v>0.22624434389140272</c:v>
                </c:pt>
                <c:pt idx="40">
                  <c:v>0.2601626016260163</c:v>
                </c:pt>
                <c:pt idx="41">
                  <c:v>0.271889400921659</c:v>
                </c:pt>
                <c:pt idx="42">
                  <c:v>0.25210084033613445</c:v>
                </c:pt>
                <c:pt idx="43">
                  <c:v>0.26865671641791045</c:v>
                </c:pt>
                <c:pt idx="44">
                  <c:v>0.2627450980392157</c:v>
                </c:pt>
                <c:pt idx="45">
                  <c:v>0.28</c:v>
                </c:pt>
                <c:pt idx="46">
                  <c:v>0.290167865707434</c:v>
                </c:pt>
                <c:pt idx="47">
                  <c:v>0.2889908256880734</c:v>
                </c:pt>
                <c:pt idx="48">
                  <c:v>0.29490022172949004</c:v>
                </c:pt>
                <c:pt idx="49">
                  <c:v>0.3162393162393162</c:v>
                </c:pt>
                <c:pt idx="50">
                  <c:v>0.28297872340425534</c:v>
                </c:pt>
                <c:pt idx="51">
                  <c:v>0.30821917808219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56.1693327140797</c:v>
                </c:pt>
              </c:numCache>
            </c:numRef>
          </c:xVal>
          <c:yVal>
            <c:numRef>
              <c:f>Sheet1!$B$163:$B$164</c:f>
              <c:numCache>
                <c:formatCode>General</c:formatCode>
                <c:ptCount val="2"/>
                <c:pt idx="0">
                  <c:v>0.3336256421162031</c:v>
                </c:pt>
                <c:pt idx="1">
                  <c:v>0.333625642116203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56.1693327140797</c:v>
                </c:pt>
                <c:pt idx="1">
                  <c:v>-456.1693327140797</c:v>
                </c:pt>
              </c:numCache>
            </c:numRef>
          </c:xVal>
          <c:yVal>
            <c:numRef>
              <c:f>Sheet1!$B$167:$B$168</c:f>
              <c:numCache>
                <c:formatCode>General</c:formatCode>
                <c:ptCount val="2"/>
                <c:pt idx="0">
                  <c:v>0.333625642116203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24.4179029894194</c:v>
                </c:pt>
              </c:numCache>
            </c:numRef>
          </c:xVal>
          <c:yVal>
            <c:numRef>
              <c:f>Sheet1!$B$171:$B$172</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24.4179029894194</c:v>
                </c:pt>
                <c:pt idx="1">
                  <c:v>524.4179029894194</c:v>
                </c:pt>
              </c:numCache>
            </c:numRef>
          </c:xVal>
          <c:yVal>
            <c:numRef>
              <c:f>Sheet1!$B$175:$B$176</c:f>
              <c:numCache>
                <c:formatCode>General</c:formatCode>
                <c:ptCount val="2"/>
                <c:pt idx="0">
                  <c:v>0.3005843598638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9.1064669611671</c:v>
                </c:pt>
              </c:numCache>
            </c:numRef>
          </c:xVal>
          <c:yVal>
            <c:numRef>
              <c:f>Sheet1!$B$179:$B$180</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9.1064669611671</c:v>
                </c:pt>
                <c:pt idx="1">
                  <c:v>1219.1064669611671</c:v>
                </c:pt>
              </c:numCache>
            </c:numRef>
          </c:xVal>
          <c:yVal>
            <c:numRef>
              <c:f>Sheet1!$B$183:$B$184</c:f>
              <c:numCache>
                <c:formatCode>General</c:formatCode>
                <c:ptCount val="2"/>
                <c:pt idx="0">
                  <c:v>0.277176548621776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6.5546</c:v>
                </c:pt>
                <c:pt idx="1">
                  <c:v>1163.1236</c:v>
                </c:pt>
                <c:pt idx="2">
                  <c:v>1224.6542</c:v>
                </c:pt>
                <c:pt idx="3">
                  <c:v>1258.819</c:v>
                </c:pt>
                <c:pt idx="4">
                  <c:v>1258.7607</c:v>
                </c:pt>
                <c:pt idx="5">
                  <c:v>1237.4322</c:v>
                </c:pt>
                <c:pt idx="6">
                  <c:v>1159.6901</c:v>
                </c:pt>
                <c:pt idx="7">
                  <c:v>1171.1942</c:v>
                </c:pt>
                <c:pt idx="8">
                  <c:v>1197.0338</c:v>
                </c:pt>
                <c:pt idx="9">
                  <c:v>1159.4286</c:v>
                </c:pt>
                <c:pt idx="10">
                  <c:v>1188.2848</c:v>
                </c:pt>
                <c:pt idx="11">
                  <c:v>1087.9734</c:v>
                </c:pt>
                <c:pt idx="12">
                  <c:v>1127.1341</c:v>
                </c:pt>
                <c:pt idx="13">
                  <c:v>1146.5533</c:v>
                </c:pt>
                <c:pt idx="14">
                  <c:v>1114.2707</c:v>
                </c:pt>
                <c:pt idx="15">
                  <c:v>1144.725</c:v>
                </c:pt>
                <c:pt idx="16">
                  <c:v>1201.0098</c:v>
                </c:pt>
                <c:pt idx="17">
                  <c:v>1130.7941</c:v>
                </c:pt>
                <c:pt idx="18">
                  <c:v>1244.7065</c:v>
                </c:pt>
                <c:pt idx="19">
                  <c:v>1314.3151</c:v>
                </c:pt>
                <c:pt idx="20">
                  <c:v>1351.7193</c:v>
                </c:pt>
                <c:pt idx="21">
                  <c:v>1281.9344</c:v>
                </c:pt>
                <c:pt idx="22">
                  <c:v>1248.7077</c:v>
                </c:pt>
                <c:pt idx="23">
                  <c:v>1267.9359</c:v>
                </c:pt>
                <c:pt idx="24">
                  <c:v>1305.0984</c:v>
                </c:pt>
                <c:pt idx="25">
                  <c:v>1231.4857</c:v>
                </c:pt>
                <c:pt idx="26">
                  <c:v>1181.9508</c:v>
                </c:pt>
                <c:pt idx="27">
                  <c:v>1222.2576</c:v>
                </c:pt>
                <c:pt idx="28">
                  <c:v>1241.3269</c:v>
                </c:pt>
                <c:pt idx="29">
                  <c:v>1265.0392</c:v>
                </c:pt>
                <c:pt idx="30">
                  <c:v>1274.2826</c:v>
                </c:pt>
                <c:pt idx="31">
                  <c:v>1222.5682</c:v>
                </c:pt>
                <c:pt idx="32">
                  <c:v>1255.9783</c:v>
                </c:pt>
                <c:pt idx="33">
                  <c:v>1262.8167</c:v>
                </c:pt>
                <c:pt idx="34">
                  <c:v>1263.4878</c:v>
                </c:pt>
                <c:pt idx="35">
                  <c:v>1323.0333</c:v>
                </c:pt>
                <c:pt idx="36">
                  <c:v>1351.7955</c:v>
                </c:pt>
                <c:pt idx="37">
                  <c:v>1331.2128</c:v>
                </c:pt>
                <c:pt idx="38">
                  <c:v>1322.8537</c:v>
                </c:pt>
                <c:pt idx="39">
                  <c:v>1256.68</c:v>
                </c:pt>
                <c:pt idx="40">
                  <c:v>1309.1563</c:v>
                </c:pt>
                <c:pt idx="41">
                  <c:v>1396.1864</c:v>
                </c:pt>
                <c:pt idx="42">
                  <c:v>1368.3167</c:v>
                </c:pt>
                <c:pt idx="43">
                  <c:v>1325.8889</c:v>
                </c:pt>
                <c:pt idx="44">
                  <c:v>1281.3582</c:v>
                </c:pt>
                <c:pt idx="45">
                  <c:v>1236.978</c:v>
                </c:pt>
                <c:pt idx="46">
                  <c:v>1181.3802</c:v>
                </c:pt>
                <c:pt idx="47">
                  <c:v>1170.3571</c:v>
                </c:pt>
                <c:pt idx="48">
                  <c:v>1184.9398</c:v>
                </c:pt>
                <c:pt idx="49">
                  <c:v>1162.0108</c:v>
                </c:pt>
                <c:pt idx="50">
                  <c:v>1129.0865</c:v>
                </c:pt>
                <c:pt idx="51">
                  <c:v>1110.5481</c:v>
                </c:pt>
                <c:pt idx="52">
                  <c:v>524.4179029894194</c:v>
                </c:pt>
                <c:pt idx="53">
                  <c:v>-456.1693327140797</c:v>
                </c:pt>
                <c:pt idx="54">
                  <c:v>1219.1064669611671</c:v>
                </c:pt>
              </c:numCache>
            </c:numRef>
          </c:xVal>
          <c:yVal>
            <c:numRef>
              <c:f>Sheet1!$B$187:$B$241</c:f>
              <c:numCache>
                <c:formatCode>General</c:formatCode>
                <c:ptCount val="55"/>
                <c:pt idx="0">
                  <c:v>0.28029512109335886</c:v>
                </c:pt>
                <c:pt idx="1">
                  <c:v>0.27906291389476034</c:v>
                </c:pt>
                <c:pt idx="2">
                  <c:v>0.27698961552034257</c:v>
                </c:pt>
                <c:pt idx="3">
                  <c:v>0.27583841881005033</c:v>
                </c:pt>
                <c:pt idx="4">
                  <c:v>0.2758403832520553</c:v>
                </c:pt>
                <c:pt idx="5">
                  <c:v>0.2765590556586102</c:v>
                </c:pt>
                <c:pt idx="6">
                  <c:v>0.27917860706155156</c:v>
                </c:pt>
                <c:pt idx="7">
                  <c:v>0.2787909717739201</c:v>
                </c:pt>
                <c:pt idx="8">
                  <c:v>0.2779202960341157</c:v>
                </c:pt>
                <c:pt idx="9">
                  <c:v>0.2791874184094811</c:v>
                </c:pt>
                <c:pt idx="10">
                  <c:v>0.2782150971164679</c:v>
                </c:pt>
                <c:pt idx="11">
                  <c:v>0.2815951301822201</c:v>
                </c:pt>
                <c:pt idx="12">
                  <c:v>0.2802755946072206</c:v>
                </c:pt>
                <c:pt idx="13">
                  <c:v>0.27962125683394207</c:v>
                </c:pt>
                <c:pt idx="14">
                  <c:v>0.2807090320563839</c:v>
                </c:pt>
                <c:pt idx="15">
                  <c:v>0.27968286213956156</c:v>
                </c:pt>
                <c:pt idx="16">
                  <c:v>0.2777863231111037</c:v>
                </c:pt>
                <c:pt idx="17">
                  <c:v>0.280152269431611</c:v>
                </c:pt>
                <c:pt idx="18">
                  <c:v>0.2763139451873158</c:v>
                </c:pt>
                <c:pt idx="19">
                  <c:v>0.2739684553460742</c:v>
                </c:pt>
                <c:pt idx="20">
                  <c:v>0.2727081057467465</c:v>
                </c:pt>
                <c:pt idx="21">
                  <c:v>0.2750595360875673</c:v>
                </c:pt>
                <c:pt idx="22">
                  <c:v>0.2761791231401438</c:v>
                </c:pt>
                <c:pt idx="23">
                  <c:v>0.27553122118887113</c:v>
                </c:pt>
                <c:pt idx="24">
                  <c:v>0.27427901576849</c:v>
                </c:pt>
                <c:pt idx="25">
                  <c:v>0.2767594253735728</c:v>
                </c:pt>
                <c:pt idx="26">
                  <c:v>0.27842852380015964</c:v>
                </c:pt>
                <c:pt idx="27">
                  <c:v>0.2770703699235847</c:v>
                </c:pt>
                <c:pt idx="28">
                  <c:v>0.27642782217187606</c:v>
                </c:pt>
                <c:pt idx="29">
                  <c:v>0.27562882666323957</c:v>
                </c:pt>
                <c:pt idx="30">
                  <c:v>0.2753173665735591</c:v>
                </c:pt>
                <c:pt idx="31">
                  <c:v>0.2770599041313595</c:v>
                </c:pt>
                <c:pt idx="32">
                  <c:v>0.27593413734184113</c:v>
                </c:pt>
                <c:pt idx="33">
                  <c:v>0.27570371469678945</c:v>
                </c:pt>
                <c:pt idx="34">
                  <c:v>0.27568110171172067</c:v>
                </c:pt>
                <c:pt idx="35">
                  <c:v>0.27367469208213974</c:v>
                </c:pt>
                <c:pt idx="36">
                  <c:v>0.27270553815702475</c:v>
                </c:pt>
                <c:pt idx="37">
                  <c:v>0.273399080531894</c:v>
                </c:pt>
                <c:pt idx="38">
                  <c:v>0.27368074377654944</c:v>
                </c:pt>
                <c:pt idx="39">
                  <c:v>0.27591049327743533</c:v>
                </c:pt>
                <c:pt idx="40">
                  <c:v>0.2741422831919582</c:v>
                </c:pt>
                <c:pt idx="41">
                  <c:v>0.2712097688843549</c:v>
                </c:pt>
                <c:pt idx="42">
                  <c:v>0.2721488496621388</c:v>
                </c:pt>
                <c:pt idx="43">
                  <c:v>0.2735784714888416</c:v>
                </c:pt>
                <c:pt idx="44">
                  <c:v>0.275078951378875</c:v>
                </c:pt>
                <c:pt idx="45">
                  <c:v>0.27657436011073094</c:v>
                </c:pt>
                <c:pt idx="46">
                  <c:v>0.27844775039720965</c:v>
                </c:pt>
                <c:pt idx="47">
                  <c:v>0.2788191781959154</c:v>
                </c:pt>
                <c:pt idx="48">
                  <c:v>0.2783278082400784</c:v>
                </c:pt>
                <c:pt idx="49">
                  <c:v>0.2791004101394102</c:v>
                </c:pt>
                <c:pt idx="50">
                  <c:v>0.28020980770206755</c:v>
                </c:pt>
                <c:pt idx="51">
                  <c:v>0.28083446656423217</c:v>
                </c:pt>
                <c:pt idx="52">
                  <c:v>0.3005843598638134</c:v>
                </c:pt>
                <c:pt idx="53">
                  <c:v>0.3336256421162031</c:v>
                </c:pt>
                <c:pt idx="54">
                  <c:v>0.277176548621776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8181818181818"/>
          <c:min val="0.168858131487889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356119589141599</c:v>
                </c:pt>
                <c:pt idx="1">
                  <c:v>0.4786683258573289</c:v>
                </c:pt>
                <c:pt idx="2">
                  <c:v>0.7299052252796812</c:v>
                </c:pt>
                <c:pt idx="3">
                  <c:v>0.5012459915033576</c:v>
                </c:pt>
                <c:pt idx="4">
                  <c:v>0.46876450790413055</c:v>
                </c:pt>
                <c:pt idx="5">
                  <c:v>0.5020269786648314</c:v>
                </c:pt>
                <c:pt idx="6">
                  <c:v>0.6227746408045977</c:v>
                </c:pt>
                <c:pt idx="7">
                  <c:v>0.5290960451977401</c:v>
                </c:pt>
                <c:pt idx="8">
                  <c:v>0.7453099287808965</c:v>
                </c:pt>
                <c:pt idx="9">
                  <c:v>0.5160365648461995</c:v>
                </c:pt>
                <c:pt idx="10">
                  <c:v>0.7272362109964118</c:v>
                </c:pt>
                <c:pt idx="11">
                  <c:v>0.6422883223006797</c:v>
                </c:pt>
                <c:pt idx="12">
                  <c:v>0.6554126473740621</c:v>
                </c:pt>
                <c:pt idx="13">
                  <c:v>0.6222598589747245</c:v>
                </c:pt>
                <c:pt idx="14">
                  <c:v>0.5523572945268851</c:v>
                </c:pt>
                <c:pt idx="15">
                  <c:v>0.8168299467205294</c:v>
                </c:pt>
                <c:pt idx="16">
                  <c:v>0.42117691609977326</c:v>
                </c:pt>
                <c:pt idx="17">
                  <c:v>0.6148936100131752</c:v>
                </c:pt>
                <c:pt idx="18">
                  <c:v>0.6551763237774031</c:v>
                </c:pt>
                <c:pt idx="19">
                  <c:v>0.7999480124707716</c:v>
                </c:pt>
                <c:pt idx="20">
                  <c:v>0.9980790193397149</c:v>
                </c:pt>
                <c:pt idx="21">
                  <c:v>0.7884832418804687</c:v>
                </c:pt>
                <c:pt idx="22">
                  <c:v>0.6729734008866372</c:v>
                </c:pt>
                <c:pt idx="23">
                  <c:v>0.5793531293853494</c:v>
                </c:pt>
                <c:pt idx="24">
                  <c:v>0.6337865617433414</c:v>
                </c:pt>
                <c:pt idx="25">
                  <c:v>0.8015107522646712</c:v>
                </c:pt>
                <c:pt idx="26">
                  <c:v>0.6051076789838337</c:v>
                </c:pt>
                <c:pt idx="27">
                  <c:v>0.5749046275258418</c:v>
                </c:pt>
                <c:pt idx="28">
                  <c:v>0.401954895534617</c:v>
                </c:pt>
                <c:pt idx="29">
                  <c:v>0.45964889274858883</c:v>
                </c:pt>
                <c:pt idx="30">
                  <c:v>0.8049739269955877</c:v>
                </c:pt>
                <c:pt idx="31">
                  <c:v>0.9157491622786021</c:v>
                </c:pt>
                <c:pt idx="32">
                  <c:v>0.727849435483871</c:v>
                </c:pt>
                <c:pt idx="33">
                  <c:v>0.8409895756457565</c:v>
                </c:pt>
                <c:pt idx="34">
                  <c:v>0.9687698412698412</c:v>
                </c:pt>
                <c:pt idx="35">
                  <c:v>0.81465</c:v>
                </c:pt>
                <c:pt idx="36">
                  <c:v>0.8856265686074775</c:v>
                </c:pt>
                <c:pt idx="37">
                  <c:v>0.8521520842105264</c:v>
                </c:pt>
                <c:pt idx="38">
                  <c:v>1.332169667673716</c:v>
                </c:pt>
                <c:pt idx="39">
                  <c:v>1.4625666445182726</c:v>
                </c:pt>
                <c:pt idx="40">
                  <c:v>0.8359907657657658</c:v>
                </c:pt>
                <c:pt idx="41">
                  <c:v>0.5119018502202644</c:v>
                </c:pt>
                <c:pt idx="42">
                  <c:v>1.2813105920695276</c:v>
                </c:pt>
                <c:pt idx="43">
                  <c:v>0.7715106898694841</c:v>
                </c:pt>
                <c:pt idx="44">
                  <c:v>0.8628876533742331</c:v>
                </c:pt>
                <c:pt idx="45">
                  <c:v>0.8917912727272727</c:v>
                </c:pt>
                <c:pt idx="46">
                  <c:v>0.8050203944919986</c:v>
                </c:pt>
                <c:pt idx="47">
                  <c:v>0.7206797777140396</c:v>
                </c:pt>
                <c:pt idx="48">
                  <c:v>0.6184014092777451</c:v>
                </c:pt>
                <c:pt idx="49">
                  <c:v>0.6989649019267489</c:v>
                </c:pt>
                <c:pt idx="50">
                  <c:v>0.6795254801971783</c:v>
                </c:pt>
                <c:pt idx="51">
                  <c:v>0.4866797229519943</c:v>
                </c:pt>
                <c:pt idx="52">
                  <c:v>0.9835667720268669</c:v>
                </c:pt>
                <c:pt idx="53">
                  <c:v>0.7352453457446808</c:v>
                </c:pt>
                <c:pt idx="54">
                  <c:v>0.8235737578178879</c:v>
                </c:pt>
                <c:pt idx="55">
                  <c:v>0.728022309913712</c:v>
                </c:pt>
                <c:pt idx="56">
                  <c:v>1.1337587793896948</c:v>
                </c:pt>
                <c:pt idx="57">
                  <c:v>1.110575743935984</c:v>
                </c:pt>
                <c:pt idx="58">
                  <c:v>0.9425736373507058</c:v>
                </c:pt>
                <c:pt idx="59">
                  <c:v>0.6916265182829888</c:v>
                </c:pt>
                <c:pt idx="60">
                  <c:v>0.7081523679696596</c:v>
                </c:pt>
                <c:pt idx="61">
                  <c:v>0.6607588034604606</c:v>
                </c:pt>
                <c:pt idx="62">
                  <c:v>0.7296396024369686</c:v>
                </c:pt>
                <c:pt idx="63">
                  <c:v>0.7741271680460597</c:v>
                </c:pt>
                <c:pt idx="64">
                  <c:v>0.7162600650671004</c:v>
                </c:pt>
                <c:pt idx="65">
                  <c:v>0.6550560143626571</c:v>
                </c:pt>
                <c:pt idx="66">
                  <c:v>0.39810598323170737</c:v>
                </c:pt>
                <c:pt idx="67">
                  <c:v>0.505058103130755</c:v>
                </c:pt>
                <c:pt idx="68">
                  <c:v>0.0</c:v>
                </c:pt>
                <c:pt idx="69">
                  <c:v>0.0</c:v>
                </c:pt>
                <c:pt idx="70">
                  <c:v>0.0</c:v>
                </c:pt>
                <c:pt idx="71">
                  <c:v>0.4739154001616815</c:v>
                </c:pt>
                <c:pt idx="72">
                  <c:v>0.6832535374868004</c:v>
                </c:pt>
                <c:pt idx="73">
                  <c:v>0.0</c:v>
                </c:pt>
                <c:pt idx="74">
                  <c:v>0.0</c:v>
                </c:pt>
                <c:pt idx="75">
                  <c:v>0.0</c:v>
                </c:pt>
                <c:pt idx="76">
                  <c:v>0.5647454418604652</c:v>
                </c:pt>
                <c:pt idx="77">
                  <c:v>0.0</c:v>
                </c:pt>
                <c:pt idx="78">
                  <c:v>0.0</c:v>
                </c:pt>
                <c:pt idx="79">
                  <c:v>0.0</c:v>
                </c:pt>
                <c:pt idx="80">
                  <c:v>0.0</c:v>
                </c:pt>
                <c:pt idx="81">
                  <c:v>0.3802792877225867</c:v>
                </c:pt>
                <c:pt idx="82">
                  <c:v>0.0</c:v>
                </c:pt>
                <c:pt idx="83">
                  <c:v>0.0</c:v>
                </c:pt>
                <c:pt idx="84">
                  <c:v>0.0</c:v>
                </c:pt>
                <c:pt idx="85">
                  <c:v>0.0</c:v>
                </c:pt>
                <c:pt idx="86">
                  <c:v>0.31339539511085845</c:v>
                </c:pt>
                <c:pt idx="87">
                  <c:v>0.0</c:v>
                </c:pt>
                <c:pt idx="88">
                  <c:v>0.0</c:v>
                </c:pt>
                <c:pt idx="89">
                  <c:v>0.0</c:v>
                </c:pt>
                <c:pt idx="90">
                  <c:v>0.0</c:v>
                </c:pt>
                <c:pt idx="91">
                  <c:v>0.0</c:v>
                </c:pt>
                <c:pt idx="92">
                  <c:v>0.0</c:v>
                </c:pt>
                <c:pt idx="93">
                  <c:v>0.0</c:v>
                </c:pt>
                <c:pt idx="94">
                  <c:v>0.0</c:v>
                </c:pt>
                <c:pt idx="95">
                  <c:v>0.3698480946882217</c:v>
                </c:pt>
                <c:pt idx="96">
                  <c:v>0.7628746395806029</c:v>
                </c:pt>
                <c:pt idx="97">
                  <c:v>0.7195028177833438</c:v>
                </c:pt>
                <c:pt idx="98">
                  <c:v>0.8227523916172133</c:v>
                </c:pt>
                <c:pt idx="99">
                  <c:v>0.8755564759017092</c:v>
                </c:pt>
                <c:pt idx="100">
                  <c:v>0.9876452902110002</c:v>
                </c:pt>
                <c:pt idx="101">
                  <c:v>0.9371567328771504</c:v>
                </c:pt>
                <c:pt idx="102">
                  <c:v>0.9189320903346282</c:v>
                </c:pt>
                <c:pt idx="103">
                  <c:v>0.9299214446952595</c:v>
                </c:pt>
                <c:pt idx="104">
                  <c:v>0.9495084494773518</c:v>
                </c:pt>
              </c:numCache>
            </c:numRef>
          </c:xVal>
          <c:yVal>
            <c:numRef>
              <c:f>Sheet1!$B$2:$B$106</c:f>
              <c:numCache>
                <c:formatCode>General</c:formatCode>
                <c:ptCount val="105"/>
                <c:pt idx="0">
                  <c:v>0.3137254901960784</c:v>
                </c:pt>
                <c:pt idx="1">
                  <c:v>0.28415300546448086</c:v>
                </c:pt>
                <c:pt idx="2">
                  <c:v>0.27053140096618356</c:v>
                </c:pt>
                <c:pt idx="3">
                  <c:v>0.2808022922636103</c:v>
                </c:pt>
                <c:pt idx="4">
                  <c:v>0.25</c:v>
                </c:pt>
                <c:pt idx="5">
                  <c:v>0.3315508021390374</c:v>
                </c:pt>
                <c:pt idx="6">
                  <c:v>0.3107476635514019</c:v>
                </c:pt>
                <c:pt idx="7">
                  <c:v>0.33707865168539325</c:v>
                </c:pt>
                <c:pt idx="8">
                  <c:v>0.32158590308370044</c:v>
                </c:pt>
                <c:pt idx="9">
                  <c:v>0.3302919708029197</c:v>
                </c:pt>
                <c:pt idx="10">
                  <c:v>0.32298136645962733</c:v>
                </c:pt>
                <c:pt idx="11">
                  <c:v>0.2768878718535469</c:v>
                </c:pt>
                <c:pt idx="12">
                  <c:v>0.28846153846153844</c:v>
                </c:pt>
                <c:pt idx="13">
                  <c:v>0.2255813953488372</c:v>
                </c:pt>
                <c:pt idx="14">
                  <c:v>0.255</c:v>
                </c:pt>
                <c:pt idx="15">
                  <c:v>0.25625</c:v>
                </c:pt>
                <c:pt idx="16">
                  <c:v>0.2971014492753623</c:v>
                </c:pt>
                <c:pt idx="17">
                  <c:v>0.2784313725490196</c:v>
                </c:pt>
                <c:pt idx="18">
                  <c:v>0.3096085409252669</c:v>
                </c:pt>
                <c:pt idx="19">
                  <c:v>0.34285714285714286</c:v>
                </c:pt>
                <c:pt idx="20">
                  <c:v>0.34146341463414637</c:v>
                </c:pt>
                <c:pt idx="21">
                  <c:v>0.3127962085308057</c:v>
                </c:pt>
                <c:pt idx="22">
                  <c:v>0.2987551867219917</c:v>
                </c:pt>
                <c:pt idx="23">
                  <c:v>0.3300970873786408</c:v>
                </c:pt>
                <c:pt idx="24">
                  <c:v>0.3023255813953488</c:v>
                </c:pt>
                <c:pt idx="25">
                  <c:v>0.2978723404255319</c:v>
                </c:pt>
                <c:pt idx="26">
                  <c:v>0.2471264367816092</c:v>
                </c:pt>
                <c:pt idx="27">
                  <c:v>0.26143790849673204</c:v>
                </c:pt>
                <c:pt idx="28">
                  <c:v>0.48484848484848486</c:v>
                </c:pt>
                <c:pt idx="29">
                  <c:v>0.34265734265734266</c:v>
                </c:pt>
                <c:pt idx="30">
                  <c:v>0.3424657534246575</c:v>
                </c:pt>
                <c:pt idx="31">
                  <c:v>0.3037974683544304</c:v>
                </c:pt>
                <c:pt idx="32">
                  <c:v>0.2556818181818182</c:v>
                </c:pt>
                <c:pt idx="33">
                  <c:v>0.32450331125827814</c:v>
                </c:pt>
                <c:pt idx="34">
                  <c:v>0.3389830508474576</c:v>
                </c:pt>
                <c:pt idx="35">
                  <c:v>0.3046594982078853</c:v>
                </c:pt>
                <c:pt idx="36">
                  <c:v>0.38421052631578945</c:v>
                </c:pt>
                <c:pt idx="37">
                  <c:v>0.3302752293577982</c:v>
                </c:pt>
                <c:pt idx="38">
                  <c:v>0.36</c:v>
                </c:pt>
                <c:pt idx="39">
                  <c:v>0.34959349593495936</c:v>
                </c:pt>
                <c:pt idx="40">
                  <c:v>0.3539325842696629</c:v>
                </c:pt>
                <c:pt idx="41">
                  <c:v>0.3670886075949367</c:v>
                </c:pt>
                <c:pt idx="42">
                  <c:v>0.3128491620111732</c:v>
                </c:pt>
                <c:pt idx="43">
                  <c:v>0.34269662921348315</c:v>
                </c:pt>
                <c:pt idx="44">
                  <c:v>0.2908366533864542</c:v>
                </c:pt>
                <c:pt idx="45">
                  <c:v>0.32697547683923706</c:v>
                </c:pt>
                <c:pt idx="46">
                  <c:v>0.30868761552680224</c:v>
                </c:pt>
                <c:pt idx="47">
                  <c:v>0.305327868852459</c:v>
                </c:pt>
                <c:pt idx="48">
                  <c:v>0.3088235294117647</c:v>
                </c:pt>
                <c:pt idx="49">
                  <c:v>0.28584070796460176</c:v>
                </c:pt>
                <c:pt idx="50">
                  <c:v>0.32971014492753625</c:v>
                </c:pt>
                <c:pt idx="51">
                  <c:v>0.2828054298642534</c:v>
                </c:pt>
                <c:pt idx="52">
                  <c:v>0.2647058823529412</c:v>
                </c:pt>
                <c:pt idx="53">
                  <c:v>0.25722543352601157</c:v>
                </c:pt>
                <c:pt idx="54">
                  <c:v>0.2542372881355932</c:v>
                </c:pt>
                <c:pt idx="55">
                  <c:v>0.27540106951871657</c:v>
                </c:pt>
                <c:pt idx="56">
                  <c:v>0.24874371859296482</c:v>
                </c:pt>
                <c:pt idx="57">
                  <c:v>0.27225130890052357</c:v>
                </c:pt>
                <c:pt idx="58">
                  <c:v>0.27884615384615385</c:v>
                </c:pt>
                <c:pt idx="59">
                  <c:v>0.2688588007736944</c:v>
                </c:pt>
                <c:pt idx="60">
                  <c:v>0.2491349480968858</c:v>
                </c:pt>
                <c:pt idx="61">
                  <c:v>0.2559322033898305</c:v>
                </c:pt>
                <c:pt idx="62">
                  <c:v>0.25226586102719034</c:v>
                </c:pt>
                <c:pt idx="63">
                  <c:v>0.21878862793572312</c:v>
                </c:pt>
                <c:pt idx="64">
                  <c:v>0.24097938144329897</c:v>
                </c:pt>
                <c:pt idx="65">
                  <c:v>0.22932917316692666</c:v>
                </c:pt>
                <c:pt idx="66">
                  <c:v>0.2649310872894334</c:v>
                </c:pt>
                <c:pt idx="67">
                  <c:v>0.2837573385518591</c:v>
                </c:pt>
                <c:pt idx="68">
                  <c:v>0.27932960893854747</c:v>
                </c:pt>
                <c:pt idx="69">
                  <c:v>0.28654970760233917</c:v>
                </c:pt>
                <c:pt idx="70">
                  <c:v>0.2986111111111111</c:v>
                </c:pt>
                <c:pt idx="71">
                  <c:v>0.2798507462686567</c:v>
                </c:pt>
                <c:pt idx="72">
                  <c:v>0.24414715719063546</c:v>
                </c:pt>
                <c:pt idx="73">
                  <c:v>0.24561403508771928</c:v>
                </c:pt>
                <c:pt idx="74">
                  <c:v>0.2215568862275449</c:v>
                </c:pt>
                <c:pt idx="75">
                  <c:v>0.2553191489361702</c:v>
                </c:pt>
                <c:pt idx="76">
                  <c:v>0.2901960784313726</c:v>
                </c:pt>
                <c:pt idx="77">
                  <c:v>0.27419354838709675</c:v>
                </c:pt>
                <c:pt idx="78">
                  <c:v>0.3132530120481928</c:v>
                </c:pt>
                <c:pt idx="79">
                  <c:v>0.33636363636363636</c:v>
                </c:pt>
                <c:pt idx="80">
                  <c:v>0.3333333333333333</c:v>
                </c:pt>
                <c:pt idx="81">
                  <c:v>0.3054393305439331</c:v>
                </c:pt>
                <c:pt idx="82">
                  <c:v>0.3191489361702128</c:v>
                </c:pt>
                <c:pt idx="83">
                  <c:v>0.2832369942196532</c:v>
                </c:pt>
                <c:pt idx="84">
                  <c:v>0.35542168674698793</c:v>
                </c:pt>
                <c:pt idx="85">
                  <c:v>0.34269662921348315</c:v>
                </c:pt>
                <c:pt idx="86">
                  <c:v>0.33755274261603374</c:v>
                </c:pt>
                <c:pt idx="87">
                  <c:v>0.2916666666666667</c:v>
                </c:pt>
                <c:pt idx="88">
                  <c:v>0.26666666666666666</c:v>
                </c:pt>
                <c:pt idx="89">
                  <c:v>0.32941176470588235</c:v>
                </c:pt>
                <c:pt idx="90">
                  <c:v>0.3236994219653179</c:v>
                </c:pt>
                <c:pt idx="91">
                  <c:v>0.2848101265822785</c:v>
                </c:pt>
                <c:pt idx="92">
                  <c:v>0.2972972972972973</c:v>
                </c:pt>
                <c:pt idx="93">
                  <c:v>0.2681564245810056</c:v>
                </c:pt>
                <c:pt idx="94">
                  <c:v>0.2832369942196532</c:v>
                </c:pt>
                <c:pt idx="95">
                  <c:v>0.291044776119403</c:v>
                </c:pt>
                <c:pt idx="96">
                  <c:v>0.28735632183908044</c:v>
                </c:pt>
                <c:pt idx="97">
                  <c:v>0.29194630872483224</c:v>
                </c:pt>
                <c:pt idx="98">
                  <c:v>0.3131868131868132</c:v>
                </c:pt>
                <c:pt idx="99">
                  <c:v>0.3302063789868668</c:v>
                </c:pt>
                <c:pt idx="100">
                  <c:v>0.28289473684210525</c:v>
                </c:pt>
                <c:pt idx="101">
                  <c:v>0.3319838056680162</c:v>
                </c:pt>
                <c:pt idx="102">
                  <c:v>0.3373860182370821</c:v>
                </c:pt>
                <c:pt idx="103">
                  <c:v>0.3213367609254499</c:v>
                </c:pt>
                <c:pt idx="104">
                  <c:v>0.3093922651933701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048818995868441</c:v>
                </c:pt>
                <c:pt idx="1">
                  <c:v>1.1256397948320913</c:v>
                </c:pt>
                <c:pt idx="2">
                  <c:v>1.0171546511627907</c:v>
                </c:pt>
                <c:pt idx="3">
                  <c:v>1.1447277616026748</c:v>
                </c:pt>
                <c:pt idx="4">
                  <c:v>1.2081600572195097</c:v>
                </c:pt>
                <c:pt idx="5">
                  <c:v>1.562414393939394</c:v>
                </c:pt>
                <c:pt idx="6">
                  <c:v>1.5118781945332043</c:v>
                </c:pt>
                <c:pt idx="7">
                  <c:v>1.7470080548926012</c:v>
                </c:pt>
                <c:pt idx="8">
                  <c:v>1.6036934012358406</c:v>
                </c:pt>
                <c:pt idx="9">
                  <c:v>1.5070563044651777</c:v>
                </c:pt>
                <c:pt idx="10">
                  <c:v>1.6121445160947208</c:v>
                </c:pt>
                <c:pt idx="11">
                  <c:v>1.589345689239969</c:v>
                </c:pt>
                <c:pt idx="12">
                  <c:v>1.5725623997209626</c:v>
                </c:pt>
                <c:pt idx="13">
                  <c:v>1.856873830600409</c:v>
                </c:pt>
                <c:pt idx="14">
                  <c:v>1.4464786865633357</c:v>
                </c:pt>
                <c:pt idx="15">
                  <c:v>1.8374398073836276</c:v>
                </c:pt>
                <c:pt idx="16">
                  <c:v>1.5581341463414635</c:v>
                </c:pt>
                <c:pt idx="17">
                  <c:v>1.6233047660063165</c:v>
                </c:pt>
                <c:pt idx="18">
                  <c:v>2.3232335015726124</c:v>
                </c:pt>
                <c:pt idx="19">
                  <c:v>2.2534335190741537</c:v>
                </c:pt>
                <c:pt idx="20">
                  <c:v>2.7328694173291</c:v>
                </c:pt>
                <c:pt idx="21">
                  <c:v>2.8889521896764028</c:v>
                </c:pt>
                <c:pt idx="22">
                  <c:v>2.251191346478873</c:v>
                </c:pt>
                <c:pt idx="23">
                  <c:v>2.400787642059306</c:v>
                </c:pt>
                <c:pt idx="24">
                  <c:v>2.5331878881987575</c:v>
                </c:pt>
                <c:pt idx="25">
                  <c:v>2.3822401403323066</c:v>
                </c:pt>
                <c:pt idx="26">
                  <c:v>1.8455365277642237</c:v>
                </c:pt>
                <c:pt idx="27">
                  <c:v>1.8037630195535697</c:v>
                </c:pt>
                <c:pt idx="28">
                  <c:v>1.685631110755636</c:v>
                </c:pt>
                <c:pt idx="29">
                  <c:v>1.3536035876980612</c:v>
                </c:pt>
                <c:pt idx="30">
                  <c:v>1.4687443522360535</c:v>
                </c:pt>
                <c:pt idx="31">
                  <c:v>1.7277673827020914</c:v>
                </c:pt>
                <c:pt idx="32">
                  <c:v>2.2800888886952477</c:v>
                </c:pt>
                <c:pt idx="33">
                  <c:v>1.5897212561099225</c:v>
                </c:pt>
                <c:pt idx="34">
                  <c:v>2.0724238342031804</c:v>
                </c:pt>
                <c:pt idx="35">
                  <c:v>1.8733724159297498</c:v>
                </c:pt>
                <c:pt idx="36">
                  <c:v>1.9150258631351194</c:v>
                </c:pt>
                <c:pt idx="37">
                  <c:v>2.091129123468426</c:v>
                </c:pt>
                <c:pt idx="38">
                  <c:v>2.4021858131880602</c:v>
                </c:pt>
                <c:pt idx="39">
                  <c:v>2.9499530516431927</c:v>
                </c:pt>
                <c:pt idx="40">
                  <c:v>2.225555094102201</c:v>
                </c:pt>
                <c:pt idx="41">
                  <c:v>1.9886924597169056</c:v>
                </c:pt>
                <c:pt idx="42">
                  <c:v>2.195551923535458</c:v>
                </c:pt>
                <c:pt idx="43">
                  <c:v>2.294383515324686</c:v>
                </c:pt>
                <c:pt idx="44">
                  <c:v>2.464562724917438</c:v>
                </c:pt>
                <c:pt idx="45">
                  <c:v>1.6054224529526282</c:v>
                </c:pt>
                <c:pt idx="46">
                  <c:v>1.9410431531980923</c:v>
                </c:pt>
                <c:pt idx="47">
                  <c:v>1.426568868844466</c:v>
                </c:pt>
                <c:pt idx="48">
                  <c:v>1.5579200329638443</c:v>
                </c:pt>
                <c:pt idx="49">
                  <c:v>1.5820124945150829</c:v>
                </c:pt>
                <c:pt idx="50">
                  <c:v>1.659966297473751</c:v>
                </c:pt>
                <c:pt idx="51">
                  <c:v>1.645649693771267</c:v>
                </c:pt>
              </c:numCache>
            </c:numRef>
          </c:xVal>
          <c:yVal>
            <c:numRef>
              <c:f>Sheet1!$B$109:$B$160</c:f>
              <c:numCache>
                <c:formatCode>General</c:formatCode>
                <c:ptCount val="52"/>
                <c:pt idx="0">
                  <c:v>0.3020304568527919</c:v>
                </c:pt>
                <c:pt idx="1">
                  <c:v>0.2966666666666667</c:v>
                </c:pt>
                <c:pt idx="2">
                  <c:v>0.3039772727272727</c:v>
                </c:pt>
                <c:pt idx="3">
                  <c:v>0.2871287128712871</c:v>
                </c:pt>
                <c:pt idx="4">
                  <c:v>0.2689655172413793</c:v>
                </c:pt>
                <c:pt idx="5">
                  <c:v>0.2706422018348624</c:v>
                </c:pt>
                <c:pt idx="6">
                  <c:v>0.2684310018903592</c:v>
                </c:pt>
                <c:pt idx="7">
                  <c:v>0.2425828970331588</c:v>
                </c:pt>
                <c:pt idx="8">
                  <c:v>0.25042301184433163</c:v>
                </c:pt>
                <c:pt idx="9">
                  <c:v>0.26119402985074625</c:v>
                </c:pt>
                <c:pt idx="10">
                  <c:v>0.24473257698541329</c:v>
                </c:pt>
                <c:pt idx="11">
                  <c:v>0.25578231292517006</c:v>
                </c:pt>
                <c:pt idx="12">
                  <c:v>0.23462088698140202</c:v>
                </c:pt>
                <c:pt idx="13">
                  <c:v>0.2608695652173913</c:v>
                </c:pt>
                <c:pt idx="14">
                  <c:v>0.2633663366336634</c:v>
                </c:pt>
                <c:pt idx="15">
                  <c:v>0.27713625866050806</c:v>
                </c:pt>
                <c:pt idx="16">
                  <c:v>0.2905982905982906</c:v>
                </c:pt>
                <c:pt idx="17">
                  <c:v>0.28895184135977336</c:v>
                </c:pt>
                <c:pt idx="18">
                  <c:v>0.2884012539184953</c:v>
                </c:pt>
                <c:pt idx="19">
                  <c:v>0.28076923076923077</c:v>
                </c:pt>
                <c:pt idx="20">
                  <c:v>0.2780487804878049</c:v>
                </c:pt>
                <c:pt idx="21">
                  <c:v>0.2837209302325581</c:v>
                </c:pt>
                <c:pt idx="22">
                  <c:v>0.24714828897338403</c:v>
                </c:pt>
                <c:pt idx="23">
                  <c:v>0.2582781456953642</c:v>
                </c:pt>
                <c:pt idx="24">
                  <c:v>0.21107266435986158</c:v>
                </c:pt>
                <c:pt idx="25">
                  <c:v>0.2723735408560311</c:v>
                </c:pt>
                <c:pt idx="26">
                  <c:v>0.3034825870646766</c:v>
                </c:pt>
                <c:pt idx="27">
                  <c:v>0.32673267326732675</c:v>
                </c:pt>
                <c:pt idx="28">
                  <c:v>0.2751322751322751</c:v>
                </c:pt>
                <c:pt idx="29">
                  <c:v>0.2833333333333333</c:v>
                </c:pt>
                <c:pt idx="30">
                  <c:v>0.26900584795321636</c:v>
                </c:pt>
                <c:pt idx="31">
                  <c:v>0.32592592592592595</c:v>
                </c:pt>
                <c:pt idx="32">
                  <c:v>0.304635761589404</c:v>
                </c:pt>
                <c:pt idx="33">
                  <c:v>0.28708133971291866</c:v>
                </c:pt>
                <c:pt idx="34">
                  <c:v>0.2857142857142857</c:v>
                </c:pt>
                <c:pt idx="35">
                  <c:v>0.26666666666666666</c:v>
                </c:pt>
                <c:pt idx="36">
                  <c:v>0.2716049382716049</c:v>
                </c:pt>
                <c:pt idx="37">
                  <c:v>0.3333333333333333</c:v>
                </c:pt>
                <c:pt idx="38">
                  <c:v>0.26973684210526316</c:v>
                </c:pt>
                <c:pt idx="39">
                  <c:v>0.22624434389140272</c:v>
                </c:pt>
                <c:pt idx="40">
                  <c:v>0.2601626016260163</c:v>
                </c:pt>
                <c:pt idx="41">
                  <c:v>0.271889400921659</c:v>
                </c:pt>
                <c:pt idx="42">
                  <c:v>0.25210084033613445</c:v>
                </c:pt>
                <c:pt idx="43">
                  <c:v>0.26865671641791045</c:v>
                </c:pt>
                <c:pt idx="44">
                  <c:v>0.2627450980392157</c:v>
                </c:pt>
                <c:pt idx="45">
                  <c:v>0.28</c:v>
                </c:pt>
                <c:pt idx="46">
                  <c:v>0.290167865707434</c:v>
                </c:pt>
                <c:pt idx="47">
                  <c:v>0.2889908256880734</c:v>
                </c:pt>
                <c:pt idx="48">
                  <c:v>0.29490022172949004</c:v>
                </c:pt>
                <c:pt idx="49">
                  <c:v>0.3162393162393162</c:v>
                </c:pt>
                <c:pt idx="50">
                  <c:v>0.28297872340425534</c:v>
                </c:pt>
                <c:pt idx="51">
                  <c:v>0.30821917808219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7610026106111158</c:v>
                </c:pt>
              </c:numCache>
            </c:numRef>
          </c:xVal>
          <c:yVal>
            <c:numRef>
              <c:f>Sheet1!$B$163:$B$164</c:f>
              <c:numCache>
                <c:formatCode>General</c:formatCode>
                <c:ptCount val="2"/>
                <c:pt idx="0">
                  <c:v>0.3336256421162031</c:v>
                </c:pt>
                <c:pt idx="1">
                  <c:v>0.333625642116203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7610026106111158</c:v>
                </c:pt>
                <c:pt idx="1">
                  <c:v>-1.7610026106111158</c:v>
                </c:pt>
              </c:numCache>
            </c:numRef>
          </c:xVal>
          <c:yVal>
            <c:numRef>
              <c:f>Sheet1!$B$167:$B$168</c:f>
              <c:numCache>
                <c:formatCode>General</c:formatCode>
                <c:ptCount val="2"/>
                <c:pt idx="0">
                  <c:v>0.333625642116203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68340032199312</c:v>
                </c:pt>
              </c:numCache>
            </c:numRef>
          </c:xVal>
          <c:yVal>
            <c:numRef>
              <c:f>Sheet1!$B$171:$B$172</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68340032199312</c:v>
                </c:pt>
                <c:pt idx="1">
                  <c:v>0.3368340032199312</c:v>
                </c:pt>
              </c:numCache>
            </c:numRef>
          </c:xVal>
          <c:yVal>
            <c:numRef>
              <c:f>Sheet1!$B$175:$B$176</c:f>
              <c:numCache>
                <c:formatCode>General</c:formatCode>
                <c:ptCount val="2"/>
                <c:pt idx="0">
                  <c:v>0.3005843598638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230282464726566</c:v>
                </c:pt>
              </c:numCache>
            </c:numRef>
          </c:xVal>
          <c:yVal>
            <c:numRef>
              <c:f>Sheet1!$B$179:$B$180</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230282464726566</c:v>
                </c:pt>
                <c:pt idx="1">
                  <c:v>1.8230282464726566</c:v>
                </c:pt>
              </c:numCache>
            </c:numRef>
          </c:xVal>
          <c:yVal>
            <c:numRef>
              <c:f>Sheet1!$B$183:$B$184</c:f>
              <c:numCache>
                <c:formatCode>General</c:formatCode>
                <c:ptCount val="2"/>
                <c:pt idx="0">
                  <c:v>0.277176548621776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048818995868441</c:v>
                </c:pt>
                <c:pt idx="1">
                  <c:v>1.1256397948320913</c:v>
                </c:pt>
                <c:pt idx="2">
                  <c:v>1.0171546511627907</c:v>
                </c:pt>
                <c:pt idx="3">
                  <c:v>1.1447277616026748</c:v>
                </c:pt>
                <c:pt idx="4">
                  <c:v>1.2081600572195097</c:v>
                </c:pt>
                <c:pt idx="5">
                  <c:v>1.562414393939394</c:v>
                </c:pt>
                <c:pt idx="6">
                  <c:v>1.5118781945332043</c:v>
                </c:pt>
                <c:pt idx="7">
                  <c:v>1.7470080548926012</c:v>
                </c:pt>
                <c:pt idx="8">
                  <c:v>1.6036934012358406</c:v>
                </c:pt>
                <c:pt idx="9">
                  <c:v>1.5070563044651777</c:v>
                </c:pt>
                <c:pt idx="10">
                  <c:v>1.6121445160947208</c:v>
                </c:pt>
                <c:pt idx="11">
                  <c:v>1.589345689239969</c:v>
                </c:pt>
                <c:pt idx="12">
                  <c:v>1.5725623997209626</c:v>
                </c:pt>
                <c:pt idx="13">
                  <c:v>1.856873830600409</c:v>
                </c:pt>
                <c:pt idx="14">
                  <c:v>1.4464786865633357</c:v>
                </c:pt>
                <c:pt idx="15">
                  <c:v>1.8374398073836276</c:v>
                </c:pt>
                <c:pt idx="16">
                  <c:v>1.5581341463414635</c:v>
                </c:pt>
                <c:pt idx="17">
                  <c:v>1.6233047660063165</c:v>
                </c:pt>
                <c:pt idx="18">
                  <c:v>2.3232335015726124</c:v>
                </c:pt>
                <c:pt idx="19">
                  <c:v>2.2534335190741537</c:v>
                </c:pt>
                <c:pt idx="20">
                  <c:v>2.7328694173291</c:v>
                </c:pt>
                <c:pt idx="21">
                  <c:v>2.8889521896764028</c:v>
                </c:pt>
                <c:pt idx="22">
                  <c:v>2.251191346478873</c:v>
                </c:pt>
                <c:pt idx="23">
                  <c:v>2.400787642059306</c:v>
                </c:pt>
                <c:pt idx="24">
                  <c:v>2.5331878881987575</c:v>
                </c:pt>
                <c:pt idx="25">
                  <c:v>2.3822401403323066</c:v>
                </c:pt>
                <c:pt idx="26">
                  <c:v>1.8455365277642237</c:v>
                </c:pt>
                <c:pt idx="27">
                  <c:v>1.8037630195535697</c:v>
                </c:pt>
                <c:pt idx="28">
                  <c:v>1.685631110755636</c:v>
                </c:pt>
                <c:pt idx="29">
                  <c:v>1.3536035876980612</c:v>
                </c:pt>
                <c:pt idx="30">
                  <c:v>1.4687443522360535</c:v>
                </c:pt>
                <c:pt idx="31">
                  <c:v>1.7277673827020914</c:v>
                </c:pt>
                <c:pt idx="32">
                  <c:v>2.2800888886952477</c:v>
                </c:pt>
                <c:pt idx="33">
                  <c:v>1.5897212561099225</c:v>
                </c:pt>
                <c:pt idx="34">
                  <c:v>2.0724238342031804</c:v>
                </c:pt>
                <c:pt idx="35">
                  <c:v>1.8733724159297498</c:v>
                </c:pt>
                <c:pt idx="36">
                  <c:v>1.9150258631351194</c:v>
                </c:pt>
                <c:pt idx="37">
                  <c:v>2.091129123468426</c:v>
                </c:pt>
                <c:pt idx="38">
                  <c:v>2.4021858131880602</c:v>
                </c:pt>
                <c:pt idx="39">
                  <c:v>2.9499530516431927</c:v>
                </c:pt>
                <c:pt idx="40">
                  <c:v>2.225555094102201</c:v>
                </c:pt>
                <c:pt idx="41">
                  <c:v>1.9886924597169056</c:v>
                </c:pt>
                <c:pt idx="42">
                  <c:v>2.195551923535458</c:v>
                </c:pt>
                <c:pt idx="43">
                  <c:v>2.294383515324686</c:v>
                </c:pt>
                <c:pt idx="44">
                  <c:v>2.464562724917438</c:v>
                </c:pt>
                <c:pt idx="45">
                  <c:v>1.6054224529526282</c:v>
                </c:pt>
                <c:pt idx="46">
                  <c:v>1.9410431531980923</c:v>
                </c:pt>
                <c:pt idx="47">
                  <c:v>1.426568868844466</c:v>
                </c:pt>
                <c:pt idx="48">
                  <c:v>1.5579200329638443</c:v>
                </c:pt>
                <c:pt idx="49">
                  <c:v>1.5820124945150829</c:v>
                </c:pt>
                <c:pt idx="50">
                  <c:v>1.659966297473751</c:v>
                </c:pt>
                <c:pt idx="51">
                  <c:v>1.645649693771267</c:v>
                </c:pt>
                <c:pt idx="52">
                  <c:v>0.3368340032199312</c:v>
                </c:pt>
                <c:pt idx="53">
                  <c:v>-1.7610026106111158</c:v>
                </c:pt>
                <c:pt idx="54">
                  <c:v>1.8230282464726566</c:v>
                </c:pt>
              </c:numCache>
            </c:numRef>
          </c:xVal>
          <c:yVal>
            <c:numRef>
              <c:f>Sheet1!$B$187:$B$241</c:f>
              <c:numCache>
                <c:formatCode>General</c:formatCode>
                <c:ptCount val="55"/>
                <c:pt idx="0">
                  <c:v>0.28848747531146035</c:v>
                </c:pt>
                <c:pt idx="1">
                  <c:v>0.28816053494287214</c:v>
                </c:pt>
                <c:pt idx="2">
                  <c:v>0.28986919434395986</c:v>
                </c:pt>
                <c:pt idx="3">
                  <c:v>0.28785989623081376</c:v>
                </c:pt>
                <c:pt idx="4">
                  <c:v>0.2868608268230369</c:v>
                </c:pt>
                <c:pt idx="5">
                  <c:v>0.28128126097337847</c:v>
                </c:pt>
                <c:pt idx="6">
                  <c:v>0.28207721467994173</c:v>
                </c:pt>
                <c:pt idx="7">
                  <c:v>0.2783738795246304</c:v>
                </c:pt>
                <c:pt idx="8">
                  <c:v>0.28063110961164317</c:v>
                </c:pt>
                <c:pt idx="9">
                  <c:v>0.2821531602658264</c:v>
                </c:pt>
                <c:pt idx="10">
                  <c:v>0.28049800312014683</c:v>
                </c:pt>
                <c:pt idx="11">
                  <c:v>0.28085708850752383</c:v>
                </c:pt>
                <c:pt idx="12">
                  <c:v>0.28112142816222574</c:v>
                </c:pt>
                <c:pt idx="13">
                  <c:v>0.27664347493491825</c:v>
                </c:pt>
                <c:pt idx="14">
                  <c:v>0.28310726801572256</c:v>
                </c:pt>
                <c:pt idx="15">
                  <c:v>0.276949564094661</c:v>
                </c:pt>
                <c:pt idx="16">
                  <c:v>0.28134867559855037</c:v>
                </c:pt>
                <c:pt idx="17">
                  <c:v>0.2803222272923702</c:v>
                </c:pt>
                <c:pt idx="18">
                  <c:v>0.2692982310688651</c:v>
                </c:pt>
                <c:pt idx="19">
                  <c:v>0.27039759262435425</c:v>
                </c:pt>
                <c:pt idx="20">
                  <c:v>0.26284639596216963</c:v>
                </c:pt>
                <c:pt idx="21">
                  <c:v>0.26038806584157714</c:v>
                </c:pt>
                <c:pt idx="22">
                  <c:v>0.2704329072227795</c:v>
                </c:pt>
                <c:pt idx="23">
                  <c:v>0.26807674021072686</c:v>
                </c:pt>
                <c:pt idx="24">
                  <c:v>0.26599141389211023</c:v>
                </c:pt>
                <c:pt idx="25">
                  <c:v>0.26836886650673963</c:v>
                </c:pt>
                <c:pt idx="26">
                  <c:v>0.2768220393762677</c:v>
                </c:pt>
                <c:pt idx="27">
                  <c:v>0.2774799792112199</c:v>
                </c:pt>
                <c:pt idx="28">
                  <c:v>0.279340576798216</c:v>
                </c:pt>
                <c:pt idx="29">
                  <c:v>0.284570066565235</c:v>
                </c:pt>
                <c:pt idx="30">
                  <c:v>0.2827565800073337</c:v>
                </c:pt>
                <c:pt idx="31">
                  <c:v>0.27867692337293626</c:v>
                </c:pt>
                <c:pt idx="32">
                  <c:v>0.26997776603472107</c:v>
                </c:pt>
                <c:pt idx="33">
                  <c:v>0.2808511732656633</c:v>
                </c:pt>
                <c:pt idx="34">
                  <c:v>0.27324852584232107</c:v>
                </c:pt>
                <c:pt idx="35">
                  <c:v>0.2763836194194611</c:v>
                </c:pt>
                <c:pt idx="36">
                  <c:v>0.2757275705656925</c:v>
                </c:pt>
                <c:pt idx="37">
                  <c:v>0.2729539143658358</c:v>
                </c:pt>
                <c:pt idx="38">
                  <c:v>0.26805471877845816</c:v>
                </c:pt>
                <c:pt idx="39">
                  <c:v>0.2594272919259179</c:v>
                </c:pt>
                <c:pt idx="40">
                  <c:v>0.2708366825430721</c:v>
                </c:pt>
                <c:pt idx="41">
                  <c:v>0.27456730918299754</c:v>
                </c:pt>
                <c:pt idx="42">
                  <c:v>0.27130923756505354</c:v>
                </c:pt>
                <c:pt idx="43">
                  <c:v>0.2697526232423597</c:v>
                </c:pt>
                <c:pt idx="44">
                  <c:v>0.2670722718457969</c:v>
                </c:pt>
                <c:pt idx="45">
                  <c:v>0.2806038767540285</c:v>
                </c:pt>
                <c:pt idx="46">
                  <c:v>0.27531779383725463</c:v>
                </c:pt>
                <c:pt idx="47">
                  <c:v>0.2834208510195207</c:v>
                </c:pt>
                <c:pt idx="48">
                  <c:v>0.2813520479205402</c:v>
                </c:pt>
                <c:pt idx="49">
                  <c:v>0.28097258756742166</c:v>
                </c:pt>
                <c:pt idx="50">
                  <c:v>0.2797448019576068</c:v>
                </c:pt>
                <c:pt idx="51">
                  <c:v>0.27997029089259373</c:v>
                </c:pt>
                <c:pt idx="52">
                  <c:v>0.3005843598638134</c:v>
                </c:pt>
                <c:pt idx="53">
                  <c:v>0.3336256421162031</c:v>
                </c:pt>
                <c:pt idx="54">
                  <c:v>0.277176548621776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8181818181818"/>
          <c:min val="0.168858131487889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0.0391</c:v>
                </c:pt>
                <c:pt idx="1">
                  <c:v>827.0192</c:v>
                </c:pt>
                <c:pt idx="2">
                  <c:v>883.4286</c:v>
                </c:pt>
                <c:pt idx="3">
                  <c:v>914.398</c:v>
                </c:pt>
                <c:pt idx="4">
                  <c:v>919.2472</c:v>
                </c:pt>
                <c:pt idx="5">
                  <c:v>911.8065</c:v>
                </c:pt>
                <c:pt idx="6">
                  <c:v>866.9023</c:v>
                </c:pt>
                <c:pt idx="7">
                  <c:v>899.04</c:v>
                </c:pt>
                <c:pt idx="8">
                  <c:v>889.5274</c:v>
                </c:pt>
                <c:pt idx="9">
                  <c:v>861.4862</c:v>
                </c:pt>
                <c:pt idx="10">
                  <c:v>827.7564</c:v>
                </c:pt>
                <c:pt idx="11">
                  <c:v>886.0826</c:v>
                </c:pt>
                <c:pt idx="12">
                  <c:v>917.25</c:v>
                </c:pt>
                <c:pt idx="13">
                  <c:v>923.3299</c:v>
                </c:pt>
                <c:pt idx="14">
                  <c:v>917.5882</c:v>
                </c:pt>
                <c:pt idx="15">
                  <c:v>928.4634</c:v>
                </c:pt>
                <c:pt idx="16">
                  <c:v>928.6951</c:v>
                </c:pt>
                <c:pt idx="17">
                  <c:v>933.4085</c:v>
                </c:pt>
                <c:pt idx="18">
                  <c:v>971.2989</c:v>
                </c:pt>
                <c:pt idx="19">
                  <c:v>1026.3333</c:v>
                </c:pt>
                <c:pt idx="20">
                  <c:v>1021.8333</c:v>
                </c:pt>
                <c:pt idx="21">
                  <c:v>1063.3485</c:v>
                </c:pt>
                <c:pt idx="22">
                  <c:v>1062.625</c:v>
                </c:pt>
                <c:pt idx="23">
                  <c:v>1032.1176</c:v>
                </c:pt>
                <c:pt idx="24">
                  <c:v>1047.0154</c:v>
                </c:pt>
                <c:pt idx="25">
                  <c:v>1017.5179</c:v>
                </c:pt>
                <c:pt idx="26">
                  <c:v>1048.0465</c:v>
                </c:pt>
                <c:pt idx="27">
                  <c:v>1004.55</c:v>
                </c:pt>
                <c:pt idx="28">
                  <c:v>981.1719</c:v>
                </c:pt>
                <c:pt idx="29">
                  <c:v>1058.5714</c:v>
                </c:pt>
                <c:pt idx="30">
                  <c:v>1003.4</c:v>
                </c:pt>
                <c:pt idx="31">
                  <c:v>956.5</c:v>
                </c:pt>
                <c:pt idx="32">
                  <c:v>902.5333</c:v>
                </c:pt>
                <c:pt idx="33">
                  <c:v>911.6327</c:v>
                </c:pt>
                <c:pt idx="34">
                  <c:v>915.4875</c:v>
                </c:pt>
                <c:pt idx="35">
                  <c:v>943.3647</c:v>
                </c:pt>
                <c:pt idx="36">
                  <c:v>957.6575</c:v>
                </c:pt>
                <c:pt idx="37">
                  <c:v>1011.9306</c:v>
                </c:pt>
                <c:pt idx="38">
                  <c:v>1102.3704</c:v>
                </c:pt>
                <c:pt idx="39">
                  <c:v>1100.5814</c:v>
                </c:pt>
                <c:pt idx="40">
                  <c:v>1113.5397</c:v>
                </c:pt>
                <c:pt idx="41">
                  <c:v>1162.0172</c:v>
                </c:pt>
                <c:pt idx="42">
                  <c:v>1179.4464</c:v>
                </c:pt>
                <c:pt idx="43">
                  <c:v>1241.3607</c:v>
                </c:pt>
                <c:pt idx="44">
                  <c:v>1125.2055</c:v>
                </c:pt>
                <c:pt idx="45">
                  <c:v>1103.5917</c:v>
                </c:pt>
                <c:pt idx="46">
                  <c:v>1081.5449</c:v>
                </c:pt>
                <c:pt idx="47">
                  <c:v>1093.7517</c:v>
                </c:pt>
                <c:pt idx="48">
                  <c:v>1053.1376</c:v>
                </c:pt>
                <c:pt idx="49">
                  <c:v>1006.6842</c:v>
                </c:pt>
                <c:pt idx="50">
                  <c:v>999.4121</c:v>
                </c:pt>
                <c:pt idx="51">
                  <c:v>1018.864</c:v>
                </c:pt>
                <c:pt idx="52">
                  <c:v>995.763</c:v>
                </c:pt>
                <c:pt idx="53">
                  <c:v>1105.809</c:v>
                </c:pt>
                <c:pt idx="54">
                  <c:v>1092.3333</c:v>
                </c:pt>
                <c:pt idx="55">
                  <c:v>1062.4272</c:v>
                </c:pt>
                <c:pt idx="56">
                  <c:v>1133.1919</c:v>
                </c:pt>
                <c:pt idx="57">
                  <c:v>1110.2981</c:v>
                </c:pt>
                <c:pt idx="58">
                  <c:v>1085.1379</c:v>
                </c:pt>
                <c:pt idx="59">
                  <c:v>1087.5827</c:v>
                </c:pt>
                <c:pt idx="60">
                  <c:v>1114.3958</c:v>
                </c:pt>
                <c:pt idx="61">
                  <c:v>1084.5695</c:v>
                </c:pt>
                <c:pt idx="62">
                  <c:v>1057.6647</c:v>
                </c:pt>
                <c:pt idx="63">
                  <c:v>1075.6497</c:v>
                </c:pt>
                <c:pt idx="64">
                  <c:v>1056.7701</c:v>
                </c:pt>
                <c:pt idx="65">
                  <c:v>1094.5986</c:v>
                </c:pt>
                <c:pt idx="66">
                  <c:v>1044.6301</c:v>
                </c:pt>
                <c:pt idx="67">
                  <c:v>1096.9862</c:v>
                </c:pt>
                <c:pt idx="68">
                  <c:v>1131.74</c:v>
                </c:pt>
                <c:pt idx="69">
                  <c:v>1175.8673</c:v>
                </c:pt>
                <c:pt idx="70">
                  <c:v>1171.6977</c:v>
                </c:pt>
                <c:pt idx="71">
                  <c:v>1172.4667</c:v>
                </c:pt>
                <c:pt idx="72">
                  <c:v>1294.0822</c:v>
                </c:pt>
                <c:pt idx="73">
                  <c:v>1289.5571</c:v>
                </c:pt>
                <c:pt idx="74">
                  <c:v>1265.4324</c:v>
                </c:pt>
                <c:pt idx="75">
                  <c:v>1220.6667</c:v>
                </c:pt>
                <c:pt idx="76">
                  <c:v>1214.2027</c:v>
                </c:pt>
                <c:pt idx="77">
                  <c:v>1239.6863</c:v>
                </c:pt>
                <c:pt idx="78">
                  <c:v>1266.6154</c:v>
                </c:pt>
                <c:pt idx="79">
                  <c:v>1223.5946</c:v>
                </c:pt>
                <c:pt idx="80">
                  <c:v>1228.4912</c:v>
                </c:pt>
                <c:pt idx="81">
                  <c:v>1217.274</c:v>
                </c:pt>
                <c:pt idx="82">
                  <c:v>1155.65</c:v>
                </c:pt>
                <c:pt idx="83">
                  <c:v>1191.0816</c:v>
                </c:pt>
                <c:pt idx="84">
                  <c:v>1191.0847</c:v>
                </c:pt>
                <c:pt idx="85">
                  <c:v>1140.0</c:v>
                </c:pt>
                <c:pt idx="86">
                  <c:v>1102.525</c:v>
                </c:pt>
                <c:pt idx="87">
                  <c:v>1111.9351</c:v>
                </c:pt>
                <c:pt idx="88">
                  <c:v>1206.3333</c:v>
                </c:pt>
                <c:pt idx="89">
                  <c:v>1099.8393</c:v>
                </c:pt>
                <c:pt idx="90">
                  <c:v>1203.1429</c:v>
                </c:pt>
                <c:pt idx="91">
                  <c:v>1211.0889</c:v>
                </c:pt>
                <c:pt idx="92">
                  <c:v>1245.5273</c:v>
                </c:pt>
                <c:pt idx="93">
                  <c:v>1272.625</c:v>
                </c:pt>
                <c:pt idx="94">
                  <c:v>1362.9592</c:v>
                </c:pt>
                <c:pt idx="95">
                  <c:v>1281.1538</c:v>
                </c:pt>
                <c:pt idx="96">
                  <c:v>1164.1467</c:v>
                </c:pt>
                <c:pt idx="97">
                  <c:v>1149.046</c:v>
                </c:pt>
                <c:pt idx="98">
                  <c:v>1110.8333</c:v>
                </c:pt>
                <c:pt idx="99">
                  <c:v>1072.6818</c:v>
                </c:pt>
                <c:pt idx="100">
                  <c:v>1048.0078</c:v>
                </c:pt>
                <c:pt idx="101">
                  <c:v>1070.9024</c:v>
                </c:pt>
                <c:pt idx="102">
                  <c:v>1044.6216</c:v>
                </c:pt>
                <c:pt idx="103">
                  <c:v>1029.888</c:v>
                </c:pt>
                <c:pt idx="104">
                  <c:v>1090.0357</c:v>
                </c:pt>
              </c:numCache>
            </c:numRef>
          </c:xVal>
          <c:yVal>
            <c:numRef>
              <c:f>Sheet1!$B$2:$B$106</c:f>
              <c:numCache>
                <c:formatCode>General</c:formatCode>
                <c:ptCount val="105"/>
                <c:pt idx="0">
                  <c:v>0.3137254901960784</c:v>
                </c:pt>
                <c:pt idx="1">
                  <c:v>0.28415300546448086</c:v>
                </c:pt>
                <c:pt idx="2">
                  <c:v>0.27053140096618356</c:v>
                </c:pt>
                <c:pt idx="3">
                  <c:v>0.2808022922636103</c:v>
                </c:pt>
                <c:pt idx="4">
                  <c:v>0.25</c:v>
                </c:pt>
                <c:pt idx="5">
                  <c:v>0.3315508021390374</c:v>
                </c:pt>
                <c:pt idx="6">
                  <c:v>0.3107476635514019</c:v>
                </c:pt>
                <c:pt idx="7">
                  <c:v>0.33707865168539325</c:v>
                </c:pt>
                <c:pt idx="8">
                  <c:v>0.32158590308370044</c:v>
                </c:pt>
                <c:pt idx="9">
                  <c:v>0.3302919708029197</c:v>
                </c:pt>
                <c:pt idx="10">
                  <c:v>0.32298136645962733</c:v>
                </c:pt>
                <c:pt idx="11">
                  <c:v>0.2768878718535469</c:v>
                </c:pt>
                <c:pt idx="12">
                  <c:v>0.28846153846153844</c:v>
                </c:pt>
                <c:pt idx="13">
                  <c:v>0.2255813953488372</c:v>
                </c:pt>
                <c:pt idx="14">
                  <c:v>0.255</c:v>
                </c:pt>
                <c:pt idx="15">
                  <c:v>0.25625</c:v>
                </c:pt>
                <c:pt idx="16">
                  <c:v>0.2971014492753623</c:v>
                </c:pt>
                <c:pt idx="17">
                  <c:v>0.2784313725490196</c:v>
                </c:pt>
                <c:pt idx="18">
                  <c:v>0.3096085409252669</c:v>
                </c:pt>
                <c:pt idx="19">
                  <c:v>0.34285714285714286</c:v>
                </c:pt>
                <c:pt idx="20">
                  <c:v>0.34146341463414637</c:v>
                </c:pt>
                <c:pt idx="21">
                  <c:v>0.3127962085308057</c:v>
                </c:pt>
                <c:pt idx="22">
                  <c:v>0.2987551867219917</c:v>
                </c:pt>
                <c:pt idx="23">
                  <c:v>0.3300970873786408</c:v>
                </c:pt>
                <c:pt idx="24">
                  <c:v>0.3023255813953488</c:v>
                </c:pt>
                <c:pt idx="25">
                  <c:v>0.2978723404255319</c:v>
                </c:pt>
                <c:pt idx="26">
                  <c:v>0.2471264367816092</c:v>
                </c:pt>
                <c:pt idx="27">
                  <c:v>0.26143790849673204</c:v>
                </c:pt>
                <c:pt idx="28">
                  <c:v>0.48484848484848486</c:v>
                </c:pt>
                <c:pt idx="29">
                  <c:v>0.34265734265734266</c:v>
                </c:pt>
                <c:pt idx="30">
                  <c:v>0.3424657534246575</c:v>
                </c:pt>
                <c:pt idx="31">
                  <c:v>0.3037974683544304</c:v>
                </c:pt>
                <c:pt idx="32">
                  <c:v>0.2556818181818182</c:v>
                </c:pt>
                <c:pt idx="33">
                  <c:v>0.32450331125827814</c:v>
                </c:pt>
                <c:pt idx="34">
                  <c:v>0.3389830508474576</c:v>
                </c:pt>
                <c:pt idx="35">
                  <c:v>0.3046594982078853</c:v>
                </c:pt>
                <c:pt idx="36">
                  <c:v>0.38421052631578945</c:v>
                </c:pt>
                <c:pt idx="37">
                  <c:v>0.3302752293577982</c:v>
                </c:pt>
                <c:pt idx="38">
                  <c:v>0.36</c:v>
                </c:pt>
                <c:pt idx="39">
                  <c:v>0.34959349593495936</c:v>
                </c:pt>
                <c:pt idx="40">
                  <c:v>0.3539325842696629</c:v>
                </c:pt>
                <c:pt idx="41">
                  <c:v>0.3670886075949367</c:v>
                </c:pt>
                <c:pt idx="42">
                  <c:v>0.3128491620111732</c:v>
                </c:pt>
                <c:pt idx="43">
                  <c:v>0.34269662921348315</c:v>
                </c:pt>
                <c:pt idx="44">
                  <c:v>0.2908366533864542</c:v>
                </c:pt>
                <c:pt idx="45">
                  <c:v>0.32697547683923706</c:v>
                </c:pt>
                <c:pt idx="46">
                  <c:v>0.30868761552680224</c:v>
                </c:pt>
                <c:pt idx="47">
                  <c:v>0.305327868852459</c:v>
                </c:pt>
                <c:pt idx="48">
                  <c:v>0.3088235294117647</c:v>
                </c:pt>
                <c:pt idx="49">
                  <c:v>0.28584070796460176</c:v>
                </c:pt>
                <c:pt idx="50">
                  <c:v>0.32971014492753625</c:v>
                </c:pt>
                <c:pt idx="51">
                  <c:v>0.2828054298642534</c:v>
                </c:pt>
                <c:pt idx="52">
                  <c:v>0.2647058823529412</c:v>
                </c:pt>
                <c:pt idx="53">
                  <c:v>0.25722543352601157</c:v>
                </c:pt>
                <c:pt idx="54">
                  <c:v>0.2542372881355932</c:v>
                </c:pt>
                <c:pt idx="55">
                  <c:v>0.27540106951871657</c:v>
                </c:pt>
                <c:pt idx="56">
                  <c:v>0.24874371859296482</c:v>
                </c:pt>
                <c:pt idx="57">
                  <c:v>0.27225130890052357</c:v>
                </c:pt>
                <c:pt idx="58">
                  <c:v>0.27884615384615385</c:v>
                </c:pt>
                <c:pt idx="59">
                  <c:v>0.2688588007736944</c:v>
                </c:pt>
                <c:pt idx="60">
                  <c:v>0.2491349480968858</c:v>
                </c:pt>
                <c:pt idx="61">
                  <c:v>0.2559322033898305</c:v>
                </c:pt>
                <c:pt idx="62">
                  <c:v>0.25226586102719034</c:v>
                </c:pt>
                <c:pt idx="63">
                  <c:v>0.21878862793572312</c:v>
                </c:pt>
                <c:pt idx="64">
                  <c:v>0.24097938144329897</c:v>
                </c:pt>
                <c:pt idx="65">
                  <c:v>0.22932917316692666</c:v>
                </c:pt>
                <c:pt idx="66">
                  <c:v>0.2649310872894334</c:v>
                </c:pt>
                <c:pt idx="67">
                  <c:v>0.2837573385518591</c:v>
                </c:pt>
                <c:pt idx="68">
                  <c:v>0.27932960893854747</c:v>
                </c:pt>
                <c:pt idx="69">
                  <c:v>0.28654970760233917</c:v>
                </c:pt>
                <c:pt idx="70">
                  <c:v>0.2986111111111111</c:v>
                </c:pt>
                <c:pt idx="71">
                  <c:v>0.2798507462686567</c:v>
                </c:pt>
                <c:pt idx="72">
                  <c:v>0.24414715719063546</c:v>
                </c:pt>
                <c:pt idx="73">
                  <c:v>0.24561403508771928</c:v>
                </c:pt>
                <c:pt idx="74">
                  <c:v>0.2215568862275449</c:v>
                </c:pt>
                <c:pt idx="75">
                  <c:v>0.2553191489361702</c:v>
                </c:pt>
                <c:pt idx="76">
                  <c:v>0.2901960784313726</c:v>
                </c:pt>
                <c:pt idx="77">
                  <c:v>0.27419354838709675</c:v>
                </c:pt>
                <c:pt idx="78">
                  <c:v>0.3132530120481928</c:v>
                </c:pt>
                <c:pt idx="79">
                  <c:v>0.33636363636363636</c:v>
                </c:pt>
                <c:pt idx="80">
                  <c:v>0.3333333333333333</c:v>
                </c:pt>
                <c:pt idx="81">
                  <c:v>0.3054393305439331</c:v>
                </c:pt>
                <c:pt idx="82">
                  <c:v>0.3191489361702128</c:v>
                </c:pt>
                <c:pt idx="83">
                  <c:v>0.2832369942196532</c:v>
                </c:pt>
                <c:pt idx="84">
                  <c:v>0.35542168674698793</c:v>
                </c:pt>
                <c:pt idx="85">
                  <c:v>0.34269662921348315</c:v>
                </c:pt>
                <c:pt idx="86">
                  <c:v>0.33755274261603374</c:v>
                </c:pt>
                <c:pt idx="87">
                  <c:v>0.2916666666666667</c:v>
                </c:pt>
                <c:pt idx="88">
                  <c:v>0.26666666666666666</c:v>
                </c:pt>
                <c:pt idx="89">
                  <c:v>0.32941176470588235</c:v>
                </c:pt>
                <c:pt idx="90">
                  <c:v>0.3236994219653179</c:v>
                </c:pt>
                <c:pt idx="91">
                  <c:v>0.2848101265822785</c:v>
                </c:pt>
                <c:pt idx="92">
                  <c:v>0.2972972972972973</c:v>
                </c:pt>
                <c:pt idx="93">
                  <c:v>0.2681564245810056</c:v>
                </c:pt>
                <c:pt idx="94">
                  <c:v>0.2832369942196532</c:v>
                </c:pt>
                <c:pt idx="95">
                  <c:v>0.291044776119403</c:v>
                </c:pt>
                <c:pt idx="96">
                  <c:v>0.28735632183908044</c:v>
                </c:pt>
                <c:pt idx="97">
                  <c:v>0.29194630872483224</c:v>
                </c:pt>
                <c:pt idx="98">
                  <c:v>0.3131868131868132</c:v>
                </c:pt>
                <c:pt idx="99">
                  <c:v>0.3302063789868668</c:v>
                </c:pt>
                <c:pt idx="100">
                  <c:v>0.28289473684210525</c:v>
                </c:pt>
                <c:pt idx="101">
                  <c:v>0.3319838056680162</c:v>
                </c:pt>
                <c:pt idx="102">
                  <c:v>0.3373860182370821</c:v>
                </c:pt>
                <c:pt idx="103">
                  <c:v>0.3213367609254499</c:v>
                </c:pt>
                <c:pt idx="104">
                  <c:v>0.3093922651933701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6.5546</c:v>
                </c:pt>
                <c:pt idx="1">
                  <c:v>1163.1236</c:v>
                </c:pt>
                <c:pt idx="2">
                  <c:v>1224.6542</c:v>
                </c:pt>
                <c:pt idx="3">
                  <c:v>1258.819</c:v>
                </c:pt>
                <c:pt idx="4">
                  <c:v>1258.7607</c:v>
                </c:pt>
                <c:pt idx="5">
                  <c:v>1237.4322</c:v>
                </c:pt>
                <c:pt idx="6">
                  <c:v>1159.6901</c:v>
                </c:pt>
                <c:pt idx="7">
                  <c:v>1171.1942</c:v>
                </c:pt>
                <c:pt idx="8">
                  <c:v>1197.0338</c:v>
                </c:pt>
                <c:pt idx="9">
                  <c:v>1159.4286</c:v>
                </c:pt>
                <c:pt idx="10">
                  <c:v>1188.2848</c:v>
                </c:pt>
                <c:pt idx="11">
                  <c:v>1087.9734</c:v>
                </c:pt>
                <c:pt idx="12">
                  <c:v>1127.1341</c:v>
                </c:pt>
                <c:pt idx="13">
                  <c:v>1146.5533</c:v>
                </c:pt>
                <c:pt idx="14">
                  <c:v>1114.2707</c:v>
                </c:pt>
                <c:pt idx="15">
                  <c:v>1144.725</c:v>
                </c:pt>
                <c:pt idx="16">
                  <c:v>1201.0098</c:v>
                </c:pt>
                <c:pt idx="17">
                  <c:v>1130.7941</c:v>
                </c:pt>
                <c:pt idx="18">
                  <c:v>1244.7065</c:v>
                </c:pt>
                <c:pt idx="19">
                  <c:v>1314.3151</c:v>
                </c:pt>
                <c:pt idx="20">
                  <c:v>1351.7193</c:v>
                </c:pt>
                <c:pt idx="21">
                  <c:v>1281.9344</c:v>
                </c:pt>
                <c:pt idx="22">
                  <c:v>1248.7077</c:v>
                </c:pt>
                <c:pt idx="23">
                  <c:v>1267.9359</c:v>
                </c:pt>
                <c:pt idx="24">
                  <c:v>1305.0984</c:v>
                </c:pt>
                <c:pt idx="25">
                  <c:v>1231.4857</c:v>
                </c:pt>
                <c:pt idx="26">
                  <c:v>1181.9508</c:v>
                </c:pt>
                <c:pt idx="27">
                  <c:v>1222.2576</c:v>
                </c:pt>
                <c:pt idx="28">
                  <c:v>1241.3269</c:v>
                </c:pt>
                <c:pt idx="29">
                  <c:v>1265.0392</c:v>
                </c:pt>
                <c:pt idx="30">
                  <c:v>1274.2826</c:v>
                </c:pt>
                <c:pt idx="31">
                  <c:v>1222.5682</c:v>
                </c:pt>
                <c:pt idx="32">
                  <c:v>1255.9783</c:v>
                </c:pt>
                <c:pt idx="33">
                  <c:v>1262.8167</c:v>
                </c:pt>
                <c:pt idx="34">
                  <c:v>1263.4878</c:v>
                </c:pt>
                <c:pt idx="35">
                  <c:v>1323.0333</c:v>
                </c:pt>
                <c:pt idx="36">
                  <c:v>1351.7955</c:v>
                </c:pt>
                <c:pt idx="37">
                  <c:v>1331.2128</c:v>
                </c:pt>
                <c:pt idx="38">
                  <c:v>1322.8537</c:v>
                </c:pt>
                <c:pt idx="39">
                  <c:v>1256.68</c:v>
                </c:pt>
                <c:pt idx="40">
                  <c:v>1309.1563</c:v>
                </c:pt>
                <c:pt idx="41">
                  <c:v>1396.1864</c:v>
                </c:pt>
                <c:pt idx="42">
                  <c:v>1368.3167</c:v>
                </c:pt>
                <c:pt idx="43">
                  <c:v>1325.8889</c:v>
                </c:pt>
                <c:pt idx="44">
                  <c:v>1281.3582</c:v>
                </c:pt>
                <c:pt idx="45">
                  <c:v>1236.978</c:v>
                </c:pt>
                <c:pt idx="46">
                  <c:v>1181.3802</c:v>
                </c:pt>
                <c:pt idx="47">
                  <c:v>1170.3571</c:v>
                </c:pt>
                <c:pt idx="48">
                  <c:v>1184.9398</c:v>
                </c:pt>
                <c:pt idx="49">
                  <c:v>1162.0108</c:v>
                </c:pt>
                <c:pt idx="50">
                  <c:v>1129.0865</c:v>
                </c:pt>
                <c:pt idx="51">
                  <c:v>1110.5481</c:v>
                </c:pt>
              </c:numCache>
            </c:numRef>
          </c:xVal>
          <c:yVal>
            <c:numRef>
              <c:f>Sheet1!$B$109:$B$160</c:f>
              <c:numCache>
                <c:formatCode>General</c:formatCode>
                <c:ptCount val="52"/>
                <c:pt idx="0">
                  <c:v>0.3020304568527919</c:v>
                </c:pt>
                <c:pt idx="1">
                  <c:v>0.2966666666666667</c:v>
                </c:pt>
                <c:pt idx="2">
                  <c:v>0.3039772727272727</c:v>
                </c:pt>
                <c:pt idx="3">
                  <c:v>0.2871287128712871</c:v>
                </c:pt>
                <c:pt idx="4">
                  <c:v>0.2689655172413793</c:v>
                </c:pt>
                <c:pt idx="5">
                  <c:v>0.2706422018348624</c:v>
                </c:pt>
                <c:pt idx="6">
                  <c:v>0.2684310018903592</c:v>
                </c:pt>
                <c:pt idx="7">
                  <c:v>0.2425828970331588</c:v>
                </c:pt>
                <c:pt idx="8">
                  <c:v>0.25042301184433163</c:v>
                </c:pt>
                <c:pt idx="9">
                  <c:v>0.26119402985074625</c:v>
                </c:pt>
                <c:pt idx="10">
                  <c:v>0.24473257698541329</c:v>
                </c:pt>
                <c:pt idx="11">
                  <c:v>0.25578231292517006</c:v>
                </c:pt>
                <c:pt idx="12">
                  <c:v>0.23462088698140202</c:v>
                </c:pt>
                <c:pt idx="13">
                  <c:v>0.2608695652173913</c:v>
                </c:pt>
                <c:pt idx="14">
                  <c:v>0.2633663366336634</c:v>
                </c:pt>
                <c:pt idx="15">
                  <c:v>0.27713625866050806</c:v>
                </c:pt>
                <c:pt idx="16">
                  <c:v>0.2905982905982906</c:v>
                </c:pt>
                <c:pt idx="17">
                  <c:v>0.28895184135977336</c:v>
                </c:pt>
                <c:pt idx="18">
                  <c:v>0.2884012539184953</c:v>
                </c:pt>
                <c:pt idx="19">
                  <c:v>0.28076923076923077</c:v>
                </c:pt>
                <c:pt idx="20">
                  <c:v>0.2780487804878049</c:v>
                </c:pt>
                <c:pt idx="21">
                  <c:v>0.2837209302325581</c:v>
                </c:pt>
                <c:pt idx="22">
                  <c:v>0.24714828897338403</c:v>
                </c:pt>
                <c:pt idx="23">
                  <c:v>0.2582781456953642</c:v>
                </c:pt>
                <c:pt idx="24">
                  <c:v>0.21107266435986158</c:v>
                </c:pt>
                <c:pt idx="25">
                  <c:v>0.2723735408560311</c:v>
                </c:pt>
                <c:pt idx="26">
                  <c:v>0.3034825870646766</c:v>
                </c:pt>
                <c:pt idx="27">
                  <c:v>0.32673267326732675</c:v>
                </c:pt>
                <c:pt idx="28">
                  <c:v>0.2751322751322751</c:v>
                </c:pt>
                <c:pt idx="29">
                  <c:v>0.2833333333333333</c:v>
                </c:pt>
                <c:pt idx="30">
                  <c:v>0.26900584795321636</c:v>
                </c:pt>
                <c:pt idx="31">
                  <c:v>0.32592592592592595</c:v>
                </c:pt>
                <c:pt idx="32">
                  <c:v>0.304635761589404</c:v>
                </c:pt>
                <c:pt idx="33">
                  <c:v>0.28708133971291866</c:v>
                </c:pt>
                <c:pt idx="34">
                  <c:v>0.2857142857142857</c:v>
                </c:pt>
                <c:pt idx="35">
                  <c:v>0.26666666666666666</c:v>
                </c:pt>
                <c:pt idx="36">
                  <c:v>0.2716049382716049</c:v>
                </c:pt>
                <c:pt idx="37">
                  <c:v>0.3333333333333333</c:v>
                </c:pt>
                <c:pt idx="38">
                  <c:v>0.26973684210526316</c:v>
                </c:pt>
                <c:pt idx="39">
                  <c:v>0.22624434389140272</c:v>
                </c:pt>
                <c:pt idx="40">
                  <c:v>0.2601626016260163</c:v>
                </c:pt>
                <c:pt idx="41">
                  <c:v>0.271889400921659</c:v>
                </c:pt>
                <c:pt idx="42">
                  <c:v>0.25210084033613445</c:v>
                </c:pt>
                <c:pt idx="43">
                  <c:v>0.26865671641791045</c:v>
                </c:pt>
                <c:pt idx="44">
                  <c:v>0.2627450980392157</c:v>
                </c:pt>
                <c:pt idx="45">
                  <c:v>0.28</c:v>
                </c:pt>
                <c:pt idx="46">
                  <c:v>0.290167865707434</c:v>
                </c:pt>
                <c:pt idx="47">
                  <c:v>0.2889908256880734</c:v>
                </c:pt>
                <c:pt idx="48">
                  <c:v>0.29490022172949004</c:v>
                </c:pt>
                <c:pt idx="49">
                  <c:v>0.3162393162393162</c:v>
                </c:pt>
                <c:pt idx="50">
                  <c:v>0.28297872340425534</c:v>
                </c:pt>
                <c:pt idx="51">
                  <c:v>0.30821917808219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56.1693327140797</c:v>
                </c:pt>
              </c:numCache>
            </c:numRef>
          </c:xVal>
          <c:yVal>
            <c:numRef>
              <c:f>Sheet1!$B$163:$B$164</c:f>
              <c:numCache>
                <c:formatCode>General</c:formatCode>
                <c:ptCount val="2"/>
                <c:pt idx="0">
                  <c:v>0.3336256421162031</c:v>
                </c:pt>
                <c:pt idx="1">
                  <c:v>0.333625642116203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56.1693327140797</c:v>
                </c:pt>
                <c:pt idx="1">
                  <c:v>-456.1693327140797</c:v>
                </c:pt>
              </c:numCache>
            </c:numRef>
          </c:xVal>
          <c:yVal>
            <c:numRef>
              <c:f>Sheet1!$B$167:$B$168</c:f>
              <c:numCache>
                <c:formatCode>General</c:formatCode>
                <c:ptCount val="2"/>
                <c:pt idx="0">
                  <c:v>0.333625642116203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524.4179029894194</c:v>
                </c:pt>
              </c:numCache>
            </c:numRef>
          </c:xVal>
          <c:yVal>
            <c:numRef>
              <c:f>Sheet1!$B$171:$B$172</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524.4179029894194</c:v>
                </c:pt>
                <c:pt idx="1">
                  <c:v>524.4179029894194</c:v>
                </c:pt>
              </c:numCache>
            </c:numRef>
          </c:xVal>
          <c:yVal>
            <c:numRef>
              <c:f>Sheet1!$B$175:$B$176</c:f>
              <c:numCache>
                <c:formatCode>General</c:formatCode>
                <c:ptCount val="2"/>
                <c:pt idx="0">
                  <c:v>0.3005843598638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9.1064669611671</c:v>
                </c:pt>
              </c:numCache>
            </c:numRef>
          </c:xVal>
          <c:yVal>
            <c:numRef>
              <c:f>Sheet1!$B$179:$B$180</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9.1064669611671</c:v>
                </c:pt>
                <c:pt idx="1">
                  <c:v>1219.1064669611671</c:v>
                </c:pt>
              </c:numCache>
            </c:numRef>
          </c:xVal>
          <c:yVal>
            <c:numRef>
              <c:f>Sheet1!$B$183:$B$184</c:f>
              <c:numCache>
                <c:formatCode>General</c:formatCode>
                <c:ptCount val="2"/>
                <c:pt idx="0">
                  <c:v>0.277176548621776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6.5546</c:v>
                </c:pt>
                <c:pt idx="1">
                  <c:v>1163.1236</c:v>
                </c:pt>
                <c:pt idx="2">
                  <c:v>1224.6542</c:v>
                </c:pt>
                <c:pt idx="3">
                  <c:v>1258.819</c:v>
                </c:pt>
                <c:pt idx="4">
                  <c:v>1258.7607</c:v>
                </c:pt>
                <c:pt idx="5">
                  <c:v>1237.4322</c:v>
                </c:pt>
                <c:pt idx="6">
                  <c:v>1159.6901</c:v>
                </c:pt>
                <c:pt idx="7">
                  <c:v>1171.1942</c:v>
                </c:pt>
                <c:pt idx="8">
                  <c:v>1197.0338</c:v>
                </c:pt>
                <c:pt idx="9">
                  <c:v>1159.4286</c:v>
                </c:pt>
                <c:pt idx="10">
                  <c:v>1188.2848</c:v>
                </c:pt>
                <c:pt idx="11">
                  <c:v>1087.9734</c:v>
                </c:pt>
                <c:pt idx="12">
                  <c:v>1127.1341</c:v>
                </c:pt>
                <c:pt idx="13">
                  <c:v>1146.5533</c:v>
                </c:pt>
                <c:pt idx="14">
                  <c:v>1114.2707</c:v>
                </c:pt>
                <c:pt idx="15">
                  <c:v>1144.725</c:v>
                </c:pt>
                <c:pt idx="16">
                  <c:v>1201.0098</c:v>
                </c:pt>
                <c:pt idx="17">
                  <c:v>1130.7941</c:v>
                </c:pt>
                <c:pt idx="18">
                  <c:v>1244.7065</c:v>
                </c:pt>
                <c:pt idx="19">
                  <c:v>1314.3151</c:v>
                </c:pt>
                <c:pt idx="20">
                  <c:v>1351.7193</c:v>
                </c:pt>
                <c:pt idx="21">
                  <c:v>1281.9344</c:v>
                </c:pt>
                <c:pt idx="22">
                  <c:v>1248.7077</c:v>
                </c:pt>
                <c:pt idx="23">
                  <c:v>1267.9359</c:v>
                </c:pt>
                <c:pt idx="24">
                  <c:v>1305.0984</c:v>
                </c:pt>
                <c:pt idx="25">
                  <c:v>1231.4857</c:v>
                </c:pt>
                <c:pt idx="26">
                  <c:v>1181.9508</c:v>
                </c:pt>
                <c:pt idx="27">
                  <c:v>1222.2576</c:v>
                </c:pt>
                <c:pt idx="28">
                  <c:v>1241.3269</c:v>
                </c:pt>
                <c:pt idx="29">
                  <c:v>1265.0392</c:v>
                </c:pt>
                <c:pt idx="30">
                  <c:v>1274.2826</c:v>
                </c:pt>
                <c:pt idx="31">
                  <c:v>1222.5682</c:v>
                </c:pt>
                <c:pt idx="32">
                  <c:v>1255.9783</c:v>
                </c:pt>
                <c:pt idx="33">
                  <c:v>1262.8167</c:v>
                </c:pt>
                <c:pt idx="34">
                  <c:v>1263.4878</c:v>
                </c:pt>
                <c:pt idx="35">
                  <c:v>1323.0333</c:v>
                </c:pt>
                <c:pt idx="36">
                  <c:v>1351.7955</c:v>
                </c:pt>
                <c:pt idx="37">
                  <c:v>1331.2128</c:v>
                </c:pt>
                <c:pt idx="38">
                  <c:v>1322.8537</c:v>
                </c:pt>
                <c:pt idx="39">
                  <c:v>1256.68</c:v>
                </c:pt>
                <c:pt idx="40">
                  <c:v>1309.1563</c:v>
                </c:pt>
                <c:pt idx="41">
                  <c:v>1396.1864</c:v>
                </c:pt>
                <c:pt idx="42">
                  <c:v>1368.3167</c:v>
                </c:pt>
                <c:pt idx="43">
                  <c:v>1325.8889</c:v>
                </c:pt>
                <c:pt idx="44">
                  <c:v>1281.3582</c:v>
                </c:pt>
                <c:pt idx="45">
                  <c:v>1236.978</c:v>
                </c:pt>
                <c:pt idx="46">
                  <c:v>1181.3802</c:v>
                </c:pt>
                <c:pt idx="47">
                  <c:v>1170.3571</c:v>
                </c:pt>
                <c:pt idx="48">
                  <c:v>1184.9398</c:v>
                </c:pt>
                <c:pt idx="49">
                  <c:v>1162.0108</c:v>
                </c:pt>
                <c:pt idx="50">
                  <c:v>1129.0865</c:v>
                </c:pt>
                <c:pt idx="51">
                  <c:v>1110.5481</c:v>
                </c:pt>
                <c:pt idx="52">
                  <c:v>524.4179029894194</c:v>
                </c:pt>
                <c:pt idx="53">
                  <c:v>-456.1693327140797</c:v>
                </c:pt>
                <c:pt idx="54">
                  <c:v>1219.1064669611671</c:v>
                </c:pt>
              </c:numCache>
            </c:numRef>
          </c:xVal>
          <c:yVal>
            <c:numRef>
              <c:f>Sheet1!$B$187:$B$241</c:f>
              <c:numCache>
                <c:formatCode>General</c:formatCode>
                <c:ptCount val="55"/>
                <c:pt idx="0">
                  <c:v>0.28029512109335886</c:v>
                </c:pt>
                <c:pt idx="1">
                  <c:v>0.27906291389476034</c:v>
                </c:pt>
                <c:pt idx="2">
                  <c:v>0.27698961552034257</c:v>
                </c:pt>
                <c:pt idx="3">
                  <c:v>0.27583841881005033</c:v>
                </c:pt>
                <c:pt idx="4">
                  <c:v>0.2758403832520553</c:v>
                </c:pt>
                <c:pt idx="5">
                  <c:v>0.2765590556586102</c:v>
                </c:pt>
                <c:pt idx="6">
                  <c:v>0.27917860706155156</c:v>
                </c:pt>
                <c:pt idx="7">
                  <c:v>0.2787909717739201</c:v>
                </c:pt>
                <c:pt idx="8">
                  <c:v>0.2779202960341157</c:v>
                </c:pt>
                <c:pt idx="9">
                  <c:v>0.2791874184094811</c:v>
                </c:pt>
                <c:pt idx="10">
                  <c:v>0.2782150971164679</c:v>
                </c:pt>
                <c:pt idx="11">
                  <c:v>0.2815951301822201</c:v>
                </c:pt>
                <c:pt idx="12">
                  <c:v>0.2802755946072206</c:v>
                </c:pt>
                <c:pt idx="13">
                  <c:v>0.27962125683394207</c:v>
                </c:pt>
                <c:pt idx="14">
                  <c:v>0.2807090320563839</c:v>
                </c:pt>
                <c:pt idx="15">
                  <c:v>0.27968286213956156</c:v>
                </c:pt>
                <c:pt idx="16">
                  <c:v>0.2777863231111037</c:v>
                </c:pt>
                <c:pt idx="17">
                  <c:v>0.280152269431611</c:v>
                </c:pt>
                <c:pt idx="18">
                  <c:v>0.2763139451873158</c:v>
                </c:pt>
                <c:pt idx="19">
                  <c:v>0.2739684553460742</c:v>
                </c:pt>
                <c:pt idx="20">
                  <c:v>0.2727081057467465</c:v>
                </c:pt>
                <c:pt idx="21">
                  <c:v>0.2750595360875673</c:v>
                </c:pt>
                <c:pt idx="22">
                  <c:v>0.2761791231401438</c:v>
                </c:pt>
                <c:pt idx="23">
                  <c:v>0.27553122118887113</c:v>
                </c:pt>
                <c:pt idx="24">
                  <c:v>0.27427901576849</c:v>
                </c:pt>
                <c:pt idx="25">
                  <c:v>0.2767594253735728</c:v>
                </c:pt>
                <c:pt idx="26">
                  <c:v>0.27842852380015964</c:v>
                </c:pt>
                <c:pt idx="27">
                  <c:v>0.2770703699235847</c:v>
                </c:pt>
                <c:pt idx="28">
                  <c:v>0.27642782217187606</c:v>
                </c:pt>
                <c:pt idx="29">
                  <c:v>0.27562882666323957</c:v>
                </c:pt>
                <c:pt idx="30">
                  <c:v>0.2753173665735591</c:v>
                </c:pt>
                <c:pt idx="31">
                  <c:v>0.2770599041313595</c:v>
                </c:pt>
                <c:pt idx="32">
                  <c:v>0.27593413734184113</c:v>
                </c:pt>
                <c:pt idx="33">
                  <c:v>0.27570371469678945</c:v>
                </c:pt>
                <c:pt idx="34">
                  <c:v>0.27568110171172067</c:v>
                </c:pt>
                <c:pt idx="35">
                  <c:v>0.27367469208213974</c:v>
                </c:pt>
                <c:pt idx="36">
                  <c:v>0.27270553815702475</c:v>
                </c:pt>
                <c:pt idx="37">
                  <c:v>0.273399080531894</c:v>
                </c:pt>
                <c:pt idx="38">
                  <c:v>0.27368074377654944</c:v>
                </c:pt>
                <c:pt idx="39">
                  <c:v>0.27591049327743533</c:v>
                </c:pt>
                <c:pt idx="40">
                  <c:v>0.2741422831919582</c:v>
                </c:pt>
                <c:pt idx="41">
                  <c:v>0.2712097688843549</c:v>
                </c:pt>
                <c:pt idx="42">
                  <c:v>0.2721488496621388</c:v>
                </c:pt>
                <c:pt idx="43">
                  <c:v>0.2735784714888416</c:v>
                </c:pt>
                <c:pt idx="44">
                  <c:v>0.275078951378875</c:v>
                </c:pt>
                <c:pt idx="45">
                  <c:v>0.27657436011073094</c:v>
                </c:pt>
                <c:pt idx="46">
                  <c:v>0.27844775039720965</c:v>
                </c:pt>
                <c:pt idx="47">
                  <c:v>0.2788191781959154</c:v>
                </c:pt>
                <c:pt idx="48">
                  <c:v>0.2783278082400784</c:v>
                </c:pt>
                <c:pt idx="49">
                  <c:v>0.2791004101394102</c:v>
                </c:pt>
                <c:pt idx="50">
                  <c:v>0.28020980770206755</c:v>
                </c:pt>
                <c:pt idx="51">
                  <c:v>0.28083446656423217</c:v>
                </c:pt>
                <c:pt idx="52">
                  <c:v>0.3005843598638134</c:v>
                </c:pt>
                <c:pt idx="53">
                  <c:v>0.3336256421162031</c:v>
                </c:pt>
                <c:pt idx="54">
                  <c:v>0.277176548621776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818181818181818"/>
          <c:min val="0.168858131487889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numCache>
            </c:numRef>
          </c:xVal>
          <c:yVal>
            <c:numRef>
              <c:f>Sheet1!$B$2:$B$16</c:f>
              <c:numCache>
                <c:formatCode>General</c:formatCode>
                <c:ptCount val="15"/>
                <c:pt idx="0">
                  <c:v>0.3213367609254499</c:v>
                </c:pt>
                <c:pt idx="1">
                  <c:v>0.3020304568527919</c:v>
                </c:pt>
                <c:pt idx="2">
                  <c:v>0.3039772727272727</c:v>
                </c:pt>
                <c:pt idx="3">
                  <c:v>0.2689655172413793</c:v>
                </c:pt>
                <c:pt idx="4">
                  <c:v>0.2425828970331588</c:v>
                </c:pt>
                <c:pt idx="5">
                  <c:v>0.26119402985074625</c:v>
                </c:pt>
                <c:pt idx="6">
                  <c:v>0.27713625866050806</c:v>
                </c:pt>
                <c:pt idx="7">
                  <c:v>0.28895184135977336</c:v>
                </c:pt>
                <c:pt idx="8">
                  <c:v>0.28076923076923077</c:v>
                </c:pt>
                <c:pt idx="9">
                  <c:v>0.24714828897338403</c:v>
                </c:pt>
                <c:pt idx="10">
                  <c:v>0.2582781456953642</c:v>
                </c:pt>
                <c:pt idx="11">
                  <c:v>0.2723735408560311</c:v>
                </c:pt>
                <c:pt idx="12">
                  <c:v>0.3034825870646766</c:v>
                </c:pt>
                <c:pt idx="13">
                  <c:v>0.32673267326732675</c:v>
                </c:pt>
                <c:pt idx="14">
                  <c:v>0.2857142857142857</c:v>
                </c:pt>
              </c:numCache>
            </c:numRef>
          </c:yVal>
          <c:smooth val="0"/>
          <c:extLst>
            <c:ext xmlns:c16="http://schemas.microsoft.com/office/drawing/2014/chart" uri="{C3380CC4-5D6E-409C-BE32-E72D297353CC}">
              <c16:uniqueId val="{00000000-096C-4121-9522-6AB7243CCAAE}"/>
            </c:ext>
          </c:extLst>
        </c:ser>
        <c:ser>
          <c:idx val="1"/>
          <c:order val="1"/>
          <c:tx>
            <c:strRef>
              <c:f>Sheet1!$B$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9:$A$51</c:f>
              <c:numCache>
                <c:formatCode>General</c:formatCode>
                <c:ptCount val="33"/>
                <c:pt idx="0">
                  <c:v>1.0149420593368237</c:v>
                </c:pt>
                <c:pt idx="1">
                  <c:v>0.7064079685746352</c:v>
                </c:pt>
                <c:pt idx="2">
                  <c:v>0.8458183185235817</c:v>
                </c:pt>
                <c:pt idx="3">
                  <c:v>0.848774857142857</c:v>
                </c:pt>
                <c:pt idx="4">
                  <c:v>0.4068711293941661</c:v>
                </c:pt>
                <c:pt idx="5">
                  <c:v>0.6814595525997581</c:v>
                </c:pt>
                <c:pt idx="6">
                  <c:v>0.750362107329843</c:v>
                </c:pt>
                <c:pt idx="7">
                  <c:v>0.7292347513089006</c:v>
                </c:pt>
                <c:pt idx="8">
                  <c:v>0.6711698429319373</c:v>
                </c:pt>
                <c:pt idx="9">
                  <c:v>0.7323784511784512</c:v>
                </c:pt>
                <c:pt idx="10">
                  <c:v>0.8134514416775884</c:v>
                </c:pt>
                <c:pt idx="11">
                  <c:v>0.663714165792235</c:v>
                </c:pt>
                <c:pt idx="12">
                  <c:v>0.5899456481481481</c:v>
                </c:pt>
                <c:pt idx="13">
                  <c:v>0.6010659783677482</c:v>
                </c:pt>
                <c:pt idx="14">
                  <c:v>0.5194285773366418</c:v>
                </c:pt>
                <c:pt idx="15">
                  <c:v>1.3237072327044026</c:v>
                </c:pt>
                <c:pt idx="16">
                  <c:v>0.6125154166666666</c:v>
                </c:pt>
                <c:pt idx="17">
                  <c:v>0.724434887459807</c:v>
                </c:pt>
                <c:pt idx="18">
                  <c:v>0.6276345120226309</c:v>
                </c:pt>
                <c:pt idx="19">
                  <c:v>0.8914108490566037</c:v>
                </c:pt>
                <c:pt idx="20">
                  <c:v>0.6575268956168467</c:v>
                </c:pt>
                <c:pt idx="21">
                  <c:v>0.7504171511696226</c:v>
                </c:pt>
                <c:pt idx="22">
                  <c:v>0.7758746318421784</c:v>
                </c:pt>
                <c:pt idx="23">
                  <c:v>0.9193359872344</c:v>
                </c:pt>
                <c:pt idx="24">
                  <c:v>0.837262503157363</c:v>
                </c:pt>
                <c:pt idx="25">
                  <c:v>0.6953825127463366</c:v>
                </c:pt>
                <c:pt idx="26">
                  <c:v>0.5487923691215617</c:v>
                </c:pt>
                <c:pt idx="27">
                  <c:v>0.5211664902064584</c:v>
                </c:pt>
                <c:pt idx="28">
                  <c:v>0.5790980207817912</c:v>
                </c:pt>
                <c:pt idx="29">
                  <c:v>0.4421417164179105</c:v>
                </c:pt>
                <c:pt idx="30">
                  <c:v>0.5180609897458761</c:v>
                </c:pt>
                <c:pt idx="31">
                  <c:v>0.5957454161720089</c:v>
                </c:pt>
                <c:pt idx="32">
                  <c:v>0.6746950789793439</c:v>
                </c:pt>
              </c:numCache>
            </c:numRef>
          </c:xVal>
          <c:yVal>
            <c:numRef>
              <c:f>Sheet1!$B$19:$B$51</c:f>
              <c:numCache>
                <c:formatCode>General</c:formatCode>
                <c:ptCount val="33"/>
                <c:pt idx="0">
                  <c:v>0.2966666666666667</c:v>
                </c:pt>
                <c:pt idx="1">
                  <c:v>0.2871287128712871</c:v>
                </c:pt>
                <c:pt idx="2">
                  <c:v>0.2706422018348624</c:v>
                </c:pt>
                <c:pt idx="3">
                  <c:v>0.24473257698541329</c:v>
                </c:pt>
                <c:pt idx="4">
                  <c:v>0.25578231292517006</c:v>
                </c:pt>
                <c:pt idx="5">
                  <c:v>0.23462088698140202</c:v>
                </c:pt>
                <c:pt idx="6">
                  <c:v>0.2608695652173913</c:v>
                </c:pt>
                <c:pt idx="7">
                  <c:v>0.2633663366336634</c:v>
                </c:pt>
                <c:pt idx="8">
                  <c:v>0.2837209302325581</c:v>
                </c:pt>
                <c:pt idx="9">
                  <c:v>0.21107266435986158</c:v>
                </c:pt>
                <c:pt idx="10">
                  <c:v>0.2751322751322751</c:v>
                </c:pt>
                <c:pt idx="11">
                  <c:v>0.2833333333333333</c:v>
                </c:pt>
                <c:pt idx="12">
                  <c:v>0.26900584795321636</c:v>
                </c:pt>
                <c:pt idx="13">
                  <c:v>0.32592592592592595</c:v>
                </c:pt>
                <c:pt idx="14">
                  <c:v>0.304635761589404</c:v>
                </c:pt>
                <c:pt idx="15">
                  <c:v>0.28708133971291866</c:v>
                </c:pt>
                <c:pt idx="16">
                  <c:v>0.26666666666666666</c:v>
                </c:pt>
                <c:pt idx="17">
                  <c:v>0.2716049382716049</c:v>
                </c:pt>
                <c:pt idx="18">
                  <c:v>0.3333333333333333</c:v>
                </c:pt>
                <c:pt idx="19">
                  <c:v>0.26973684210526316</c:v>
                </c:pt>
                <c:pt idx="20">
                  <c:v>0.22624434389140272</c:v>
                </c:pt>
                <c:pt idx="21">
                  <c:v>0.2601626016260163</c:v>
                </c:pt>
                <c:pt idx="22">
                  <c:v>0.271889400921659</c:v>
                </c:pt>
                <c:pt idx="23">
                  <c:v>0.25210084033613445</c:v>
                </c:pt>
                <c:pt idx="24">
                  <c:v>0.26865671641791045</c:v>
                </c:pt>
                <c:pt idx="25">
                  <c:v>0.2627450980392157</c:v>
                </c:pt>
                <c:pt idx="26">
                  <c:v>0.28</c:v>
                </c:pt>
                <c:pt idx="27">
                  <c:v>0.290167865707434</c:v>
                </c:pt>
                <c:pt idx="28">
                  <c:v>0.2889908256880734</c:v>
                </c:pt>
                <c:pt idx="29">
                  <c:v>0.29490022172949004</c:v>
                </c:pt>
                <c:pt idx="30">
                  <c:v>0.3162393162393162</c:v>
                </c:pt>
                <c:pt idx="31">
                  <c:v>0.28297872340425534</c:v>
                </c:pt>
                <c:pt idx="32">
                  <c:v>0.3082191780821918</c:v>
                </c:pt>
              </c:numCache>
            </c:numRef>
          </c:yVal>
          <c:smooth val="0"/>
          <c:extLst>
            <c:ext xmlns:c16="http://schemas.microsoft.com/office/drawing/2014/chart" uri="{C3380CC4-5D6E-409C-BE32-E72D297353CC}">
              <c16:uniqueId val="{00000002-096C-4121-9522-6AB7243CCAAE}"/>
            </c:ext>
          </c:extLst>
        </c:ser>
        <c:ser>
          <c:idx val="2"/>
          <c:order val="2"/>
          <c:tx>
            <c:strRef>
              <c:f>Sheet1!$B$5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4:$A$55</c:f>
              <c:numCache>
                <c:formatCode>General</c:formatCode>
                <c:ptCount val="2"/>
                <c:pt idx="0">
                  <c:v>0</c:v>
                </c:pt>
                <c:pt idx="1">
                  <c:v>-0.2278234906209702</c:v>
                </c:pt>
              </c:numCache>
            </c:numRef>
          </c:xVal>
          <c:yVal>
            <c:numRef>
              <c:f>Sheet1!$B$54:$B$55</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5-096C-4121-9522-6AB7243CCAAE}"/>
            </c:ext>
          </c:extLst>
        </c:ser>
        <c:ser>
          <c:idx val="3"/>
          <c:order val="3"/>
          <c:tx>
            <c:strRef>
              <c:f>Sheet1!$B$5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8:$A$59</c:f>
              <c:numCache>
                <c:formatCode>General</c:formatCode>
                <c:ptCount val="2"/>
                <c:pt idx="0">
                  <c:v>-0.2278234906209702</c:v>
                </c:pt>
                <c:pt idx="1">
                  <c:v>-0.2278234906209702</c:v>
                </c:pt>
              </c:numCache>
            </c:numRef>
          </c:xVal>
          <c:yVal>
            <c:numRef>
              <c:f>Sheet1!$B$58:$B$59</c:f>
              <c:numCache>
                <c:formatCode>General</c:formatCode>
                <c:ptCount val="2"/>
                <c:pt idx="0">
                  <c:v>0.30058435986381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2:$A$63</c:f>
              <c:numCache>
                <c:formatCode>General</c:formatCode>
                <c:ptCount val="2"/>
                <c:pt idx="0">
                  <c:v>0</c:v>
                </c:pt>
                <c:pt idx="1">
                  <c:v>-0.2278234906209702</c:v>
                </c:pt>
              </c:numCache>
            </c:numRef>
          </c:xVal>
          <c:yVal>
            <c:numRef>
              <c:f>Sheet1!$B$62:$B$63</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D-096C-4121-9522-6AB7243CCAAE}"/>
            </c:ext>
          </c:extLst>
        </c:ser>
        <c:ser>
          <c:idx val="5"/>
          <c:order val="5"/>
          <c:tx>
            <c:strRef>
              <c:f>Sheet1!$B$6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2278234906209702</c:v>
                </c:pt>
                <c:pt idx="1">
                  <c:v>-0.2278234906209702</c:v>
                </c:pt>
              </c:numCache>
            </c:numRef>
          </c:xVal>
          <c:yVal>
            <c:numRef>
              <c:f>Sheet1!$B$66:$B$67</c:f>
              <c:numCache>
                <c:formatCode>General</c:formatCode>
                <c:ptCount val="2"/>
                <c:pt idx="0">
                  <c:v>0.3005843598638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0:$A$71</c:f>
              <c:numCache>
                <c:formatCode>General</c:formatCode>
                <c:ptCount val="2"/>
                <c:pt idx="0">
                  <c:v>0</c:v>
                </c:pt>
                <c:pt idx="1">
                  <c:v>0.6500704203778565</c:v>
                </c:pt>
              </c:numCache>
            </c:numRef>
          </c:xVal>
          <c:yVal>
            <c:numRef>
              <c:f>Sheet1!$B$70:$B$71</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5-096C-4121-9522-6AB7243CCAAE}"/>
            </c:ext>
          </c:extLst>
        </c:ser>
        <c:ser>
          <c:idx val="7"/>
          <c:order val="7"/>
          <c:tx>
            <c:strRef>
              <c:f>Sheet1!$B$7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6500704203778565</c:v>
                </c:pt>
                <c:pt idx="1">
                  <c:v>0.6500704203778565</c:v>
                </c:pt>
              </c:numCache>
            </c:numRef>
          </c:xVal>
          <c:yVal>
            <c:numRef>
              <c:f>Sheet1!$B$74:$B$75</c:f>
              <c:numCache>
                <c:formatCode>General</c:formatCode>
                <c:ptCount val="2"/>
                <c:pt idx="0">
                  <c:v>0.277176548621776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8:$A$113</c:f>
              <c:numCache>
                <c:formatCode>General</c:formatCode>
                <c:ptCount val="36"/>
                <c:pt idx="0">
                  <c:v>1.0149420593368237</c:v>
                </c:pt>
                <c:pt idx="1">
                  <c:v>0.7064079685746352</c:v>
                </c:pt>
                <c:pt idx="2">
                  <c:v>0.8458183185235817</c:v>
                </c:pt>
                <c:pt idx="3">
                  <c:v>0.848774857142857</c:v>
                </c:pt>
                <c:pt idx="4">
                  <c:v>0.4068711293941661</c:v>
                </c:pt>
                <c:pt idx="5">
                  <c:v>0.6814595525997581</c:v>
                </c:pt>
                <c:pt idx="6">
                  <c:v>0.750362107329843</c:v>
                </c:pt>
                <c:pt idx="7">
                  <c:v>0.7292347513089006</c:v>
                </c:pt>
                <c:pt idx="8">
                  <c:v>0.6711698429319373</c:v>
                </c:pt>
                <c:pt idx="9">
                  <c:v>0.7323784511784512</c:v>
                </c:pt>
                <c:pt idx="10">
                  <c:v>0.8134514416775884</c:v>
                </c:pt>
                <c:pt idx="11">
                  <c:v>0.663714165792235</c:v>
                </c:pt>
                <c:pt idx="12">
                  <c:v>0.5899456481481481</c:v>
                </c:pt>
                <c:pt idx="13">
                  <c:v>0.6010659783677482</c:v>
                </c:pt>
                <c:pt idx="14">
                  <c:v>0.5194285773366418</c:v>
                </c:pt>
                <c:pt idx="15">
                  <c:v>1.3237072327044026</c:v>
                </c:pt>
                <c:pt idx="16">
                  <c:v>0.6125154166666666</c:v>
                </c:pt>
                <c:pt idx="17">
                  <c:v>0.724434887459807</c:v>
                </c:pt>
                <c:pt idx="18">
                  <c:v>0.6276345120226309</c:v>
                </c:pt>
                <c:pt idx="19">
                  <c:v>0.8914108490566037</c:v>
                </c:pt>
                <c:pt idx="20">
                  <c:v>0.6575268956168467</c:v>
                </c:pt>
                <c:pt idx="21">
                  <c:v>0.7504171511696226</c:v>
                </c:pt>
                <c:pt idx="22">
                  <c:v>0.7758746318421784</c:v>
                </c:pt>
                <c:pt idx="23">
                  <c:v>0.9193359872344</c:v>
                </c:pt>
                <c:pt idx="24">
                  <c:v>0.837262503157363</c:v>
                </c:pt>
                <c:pt idx="25">
                  <c:v>0.6953825127463366</c:v>
                </c:pt>
                <c:pt idx="26">
                  <c:v>0.5487923691215617</c:v>
                </c:pt>
                <c:pt idx="27">
                  <c:v>0.5211664902064584</c:v>
                </c:pt>
                <c:pt idx="28">
                  <c:v>0.5790980207817912</c:v>
                </c:pt>
                <c:pt idx="29">
                  <c:v>0.4421417164179105</c:v>
                </c:pt>
                <c:pt idx="30">
                  <c:v>0.5180609897458761</c:v>
                </c:pt>
                <c:pt idx="31">
                  <c:v>0.5957454161720089</c:v>
                </c:pt>
                <c:pt idx="32">
                  <c:v>0.6746950789793439</c:v>
                </c:pt>
                <c:pt idx="33">
                  <c:v>-0.2278234906209702</c:v>
                </c:pt>
                <c:pt idx="34">
                  <c:v>-0.2278234906209702</c:v>
                </c:pt>
                <c:pt idx="35">
                  <c:v>0.6500704203778565</c:v>
                </c:pt>
              </c:numCache>
            </c:numRef>
          </c:xVal>
          <c:yVal>
            <c:numRef>
              <c:f>Sheet1!$B$78:$B$113</c:f>
              <c:numCache>
                <c:formatCode>General</c:formatCode>
                <c:ptCount val="36"/>
                <c:pt idx="0">
                  <c:v>0.26744775753971256</c:v>
                </c:pt>
                <c:pt idx="1">
                  <c:v>0.27567438682579304</c:v>
                </c:pt>
                <c:pt idx="2">
                  <c:v>0.27195720515280664</c:v>
                </c:pt>
                <c:pt idx="3">
                  <c:v>0.2718783731925177</c:v>
                </c:pt>
                <c:pt idx="4">
                  <c:v>0.2836611170032416</c:v>
                </c:pt>
                <c:pt idx="5">
                  <c:v>0.27633960138601626</c:v>
                </c:pt>
                <c:pt idx="6">
                  <c:v>0.27450241129390035</c:v>
                </c:pt>
                <c:pt idx="7">
                  <c:v>0.2750657426436062</c:v>
                </c:pt>
                <c:pt idx="8">
                  <c:v>0.27661396207883127</c:v>
                </c:pt>
                <c:pt idx="9">
                  <c:v>0.27498192029078417</c:v>
                </c:pt>
                <c:pt idx="10">
                  <c:v>0.27282022257918703</c:v>
                </c:pt>
                <c:pt idx="11">
                  <c:v>0.27681275726465177</c:v>
                </c:pt>
                <c:pt idx="12">
                  <c:v>0.2787796914408474</c:v>
                </c:pt>
                <c:pt idx="13">
                  <c:v>0.2784831834146858</c:v>
                </c:pt>
                <c:pt idx="14">
                  <c:v>0.280659930342401</c:v>
                </c:pt>
                <c:pt idx="15">
                  <c:v>0.259214966759697</c:v>
                </c:pt>
                <c:pt idx="16">
                  <c:v>0.2781779001826567</c:v>
                </c:pt>
                <c:pt idx="17">
                  <c:v>0.27519372428872235</c:v>
                </c:pt>
                <c:pt idx="18">
                  <c:v>0.27777477068624623</c:v>
                </c:pt>
                <c:pt idx="19">
                  <c:v>0.2707415441994808</c:v>
                </c:pt>
                <c:pt idx="20">
                  <c:v>0.276977732155757</c:v>
                </c:pt>
                <c:pt idx="21">
                  <c:v>0.27450094362702687</c:v>
                </c:pt>
                <c:pt idx="22">
                  <c:v>0.27382215556981965</c:v>
                </c:pt>
                <c:pt idx="23">
                  <c:v>0.26999695951198716</c:v>
                </c:pt>
                <c:pt idx="24">
                  <c:v>0.27218533398318695</c:v>
                </c:pt>
                <c:pt idx="25">
                  <c:v>0.2759683651592258</c:v>
                </c:pt>
                <c:pt idx="26">
                  <c:v>0.27987698597197036</c:v>
                </c:pt>
                <c:pt idx="27">
                  <c:v>0.28061359133047475</c:v>
                </c:pt>
                <c:pt idx="28">
                  <c:v>0.27906892822747315</c:v>
                </c:pt>
                <c:pt idx="29">
                  <c:v>0.2827206762129549</c:v>
                </c:pt>
                <c:pt idx="30">
                  <c:v>0.2806963951495725</c:v>
                </c:pt>
                <c:pt idx="31">
                  <c:v>0.27862504875173744</c:v>
                </c:pt>
                <c:pt idx="32">
                  <c:v>0.2765199665983438</c:v>
                </c:pt>
                <c:pt idx="33">
                  <c:v>0.3005843598638134</c:v>
                </c:pt>
                <c:pt idx="34">
                  <c:v>0.3005843598638134</c:v>
                </c:pt>
                <c:pt idx="35">
                  <c:v>0.277176548621776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999999999999997"/>
          <c:min val="0.168858131487889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029.888</c:v>
                </c:pt>
              </c:numCache>
            </c:numRef>
          </c:xVal>
          <c:yVal>
            <c:numRef>
              <c:f>Sheet1!$B$2:$B$2</c:f>
              <c:numCache>
                <c:formatCode>General</c:formatCode>
                <c:ptCount val="1"/>
                <c:pt idx="0">
                  <c:v>0.3213367609254499</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51</c:f>
              <c:numCache>
                <c:formatCode>General</c:formatCode>
                <c:ptCount val="47"/>
                <c:pt idx="0">
                  <c:v>1126.5546</c:v>
                </c:pt>
                <c:pt idx="1">
                  <c:v>1163.1236</c:v>
                </c:pt>
                <c:pt idx="2">
                  <c:v>1224.6542</c:v>
                </c:pt>
                <c:pt idx="3">
                  <c:v>1258.819</c:v>
                </c:pt>
                <c:pt idx="4">
                  <c:v>1258.7607</c:v>
                </c:pt>
                <c:pt idx="5">
                  <c:v>1237.4322</c:v>
                </c:pt>
                <c:pt idx="6">
                  <c:v>1171.1942</c:v>
                </c:pt>
                <c:pt idx="7">
                  <c:v>1159.4286</c:v>
                </c:pt>
                <c:pt idx="8">
                  <c:v>1188.2848</c:v>
                </c:pt>
                <c:pt idx="9">
                  <c:v>1087.9734</c:v>
                </c:pt>
                <c:pt idx="10">
                  <c:v>1127.1341</c:v>
                </c:pt>
                <c:pt idx="11">
                  <c:v>1146.5533</c:v>
                </c:pt>
                <c:pt idx="12">
                  <c:v>1114.2707</c:v>
                </c:pt>
                <c:pt idx="13">
                  <c:v>1144.725</c:v>
                </c:pt>
                <c:pt idx="14">
                  <c:v>1130.7941</c:v>
                </c:pt>
                <c:pt idx="15">
                  <c:v>1314.3151</c:v>
                </c:pt>
                <c:pt idx="16">
                  <c:v>1281.9344</c:v>
                </c:pt>
                <c:pt idx="17">
                  <c:v>1248.7077</c:v>
                </c:pt>
                <c:pt idx="18">
                  <c:v>1267.9359</c:v>
                </c:pt>
                <c:pt idx="19">
                  <c:v>1305.0984</c:v>
                </c:pt>
                <c:pt idx="20">
                  <c:v>1231.4857</c:v>
                </c:pt>
                <c:pt idx="21">
                  <c:v>1181.9508</c:v>
                </c:pt>
                <c:pt idx="22">
                  <c:v>1222.2576</c:v>
                </c:pt>
                <c:pt idx="23">
                  <c:v>1241.3269</c:v>
                </c:pt>
                <c:pt idx="24">
                  <c:v>1265.0392</c:v>
                </c:pt>
                <c:pt idx="25">
                  <c:v>1274.2826</c:v>
                </c:pt>
                <c:pt idx="26">
                  <c:v>1222.5682</c:v>
                </c:pt>
                <c:pt idx="27">
                  <c:v>1255.9783</c:v>
                </c:pt>
                <c:pt idx="28">
                  <c:v>1262.8167</c:v>
                </c:pt>
                <c:pt idx="29">
                  <c:v>1263.4878</c:v>
                </c:pt>
                <c:pt idx="30">
                  <c:v>1323.0333</c:v>
                </c:pt>
                <c:pt idx="31">
                  <c:v>1351.7955</c:v>
                </c:pt>
                <c:pt idx="32">
                  <c:v>1331.2128</c:v>
                </c:pt>
                <c:pt idx="33">
                  <c:v>1322.8537</c:v>
                </c:pt>
                <c:pt idx="34">
                  <c:v>1256.68</c:v>
                </c:pt>
                <c:pt idx="35">
                  <c:v>1309.1563</c:v>
                </c:pt>
                <c:pt idx="36">
                  <c:v>1396.1864</c:v>
                </c:pt>
                <c:pt idx="37">
                  <c:v>1368.3167</c:v>
                </c:pt>
                <c:pt idx="38">
                  <c:v>1325.8889</c:v>
                </c:pt>
                <c:pt idx="39">
                  <c:v>1281.3582</c:v>
                </c:pt>
                <c:pt idx="40">
                  <c:v>1236.978</c:v>
                </c:pt>
                <c:pt idx="41">
                  <c:v>1181.3802</c:v>
                </c:pt>
                <c:pt idx="42">
                  <c:v>1170.3571</c:v>
                </c:pt>
                <c:pt idx="43">
                  <c:v>1184.9398</c:v>
                </c:pt>
                <c:pt idx="44">
                  <c:v>1162.0108</c:v>
                </c:pt>
                <c:pt idx="45">
                  <c:v>1129.0865</c:v>
                </c:pt>
                <c:pt idx="46">
                  <c:v>1110.5481</c:v>
                </c:pt>
              </c:numCache>
            </c:numRef>
          </c:xVal>
          <c:yVal>
            <c:numRef>
              <c:f>Sheet1!$B$5:$B$51</c:f>
              <c:numCache>
                <c:formatCode>General</c:formatCode>
                <c:ptCount val="47"/>
                <c:pt idx="0">
                  <c:v>0.3020304568527919</c:v>
                </c:pt>
                <c:pt idx="1">
                  <c:v>0.2966666666666667</c:v>
                </c:pt>
                <c:pt idx="2">
                  <c:v>0.3039772727272727</c:v>
                </c:pt>
                <c:pt idx="3">
                  <c:v>0.2871287128712871</c:v>
                </c:pt>
                <c:pt idx="4">
                  <c:v>0.2689655172413793</c:v>
                </c:pt>
                <c:pt idx="5">
                  <c:v>0.2706422018348624</c:v>
                </c:pt>
                <c:pt idx="6">
                  <c:v>0.2425828970331588</c:v>
                </c:pt>
                <c:pt idx="7">
                  <c:v>0.26119402985074625</c:v>
                </c:pt>
                <c:pt idx="8">
                  <c:v>0.24473257698541329</c:v>
                </c:pt>
                <c:pt idx="9">
                  <c:v>0.25578231292517006</c:v>
                </c:pt>
                <c:pt idx="10">
                  <c:v>0.23462088698140202</c:v>
                </c:pt>
                <c:pt idx="11">
                  <c:v>0.2608695652173913</c:v>
                </c:pt>
                <c:pt idx="12">
                  <c:v>0.2633663366336634</c:v>
                </c:pt>
                <c:pt idx="13">
                  <c:v>0.27713625866050806</c:v>
                </c:pt>
                <c:pt idx="14">
                  <c:v>0.28895184135977336</c:v>
                </c:pt>
                <c:pt idx="15">
                  <c:v>0.28076923076923077</c:v>
                </c:pt>
                <c:pt idx="16">
                  <c:v>0.2837209302325581</c:v>
                </c:pt>
                <c:pt idx="17">
                  <c:v>0.24714828897338403</c:v>
                </c:pt>
                <c:pt idx="18">
                  <c:v>0.2582781456953642</c:v>
                </c:pt>
                <c:pt idx="19">
                  <c:v>0.21107266435986158</c:v>
                </c:pt>
                <c:pt idx="20">
                  <c:v>0.2723735408560311</c:v>
                </c:pt>
                <c:pt idx="21">
                  <c:v>0.3034825870646766</c:v>
                </c:pt>
                <c:pt idx="22">
                  <c:v>0.32673267326732675</c:v>
                </c:pt>
                <c:pt idx="23">
                  <c:v>0.2751322751322751</c:v>
                </c:pt>
                <c:pt idx="24">
                  <c:v>0.2833333333333333</c:v>
                </c:pt>
                <c:pt idx="25">
                  <c:v>0.26900584795321636</c:v>
                </c:pt>
                <c:pt idx="26">
                  <c:v>0.32592592592592595</c:v>
                </c:pt>
                <c:pt idx="27">
                  <c:v>0.304635761589404</c:v>
                </c:pt>
                <c:pt idx="28">
                  <c:v>0.28708133971291866</c:v>
                </c:pt>
                <c:pt idx="29">
                  <c:v>0.2857142857142857</c:v>
                </c:pt>
                <c:pt idx="30">
                  <c:v>0.26666666666666666</c:v>
                </c:pt>
                <c:pt idx="31">
                  <c:v>0.2716049382716049</c:v>
                </c:pt>
                <c:pt idx="32">
                  <c:v>0.3333333333333333</c:v>
                </c:pt>
                <c:pt idx="33">
                  <c:v>0.26973684210526316</c:v>
                </c:pt>
                <c:pt idx="34">
                  <c:v>0.22624434389140272</c:v>
                </c:pt>
                <c:pt idx="35">
                  <c:v>0.2601626016260163</c:v>
                </c:pt>
                <c:pt idx="36">
                  <c:v>0.271889400921659</c:v>
                </c:pt>
                <c:pt idx="37">
                  <c:v>0.25210084033613445</c:v>
                </c:pt>
                <c:pt idx="38">
                  <c:v>0.26865671641791045</c:v>
                </c:pt>
                <c:pt idx="39">
                  <c:v>0.2627450980392157</c:v>
                </c:pt>
                <c:pt idx="40">
                  <c:v>0.28</c:v>
                </c:pt>
                <c:pt idx="41">
                  <c:v>0.290167865707434</c:v>
                </c:pt>
                <c:pt idx="42">
                  <c:v>0.2889908256880734</c:v>
                </c:pt>
                <c:pt idx="43">
                  <c:v>0.29490022172949004</c:v>
                </c:pt>
                <c:pt idx="44">
                  <c:v>0.3162393162393162</c:v>
                </c:pt>
                <c:pt idx="45">
                  <c:v>0.28297872340425534</c:v>
                </c:pt>
                <c:pt idx="46">
                  <c:v>0.3082191780821918</c:v>
                </c:pt>
              </c:numCache>
            </c:numRef>
          </c:yVal>
          <c:smooth val="0"/>
          <c:extLst>
            <c:ext xmlns:c16="http://schemas.microsoft.com/office/drawing/2014/chart" uri="{C3380CC4-5D6E-409C-BE32-E72D297353CC}">
              <c16:uniqueId val="{00000002-F32D-48B7-BC20-E66FC6253BAD}"/>
            </c:ext>
          </c:extLst>
        </c:ser>
        <c:ser>
          <c:idx val="2"/>
          <c:order val="2"/>
          <c:tx>
            <c:strRef>
              <c:f>Sheet1!$B$53</c:f>
              <c:strCache>
                <c:ptCount val="1"/>
                <c:pt idx="0">
                  <c:v>Custom Linep3yQ</c:v>
                </c:pt>
              </c:strCache>
            </c:strRef>
          </c:tx>
          <c:spPr>
            <a:ln w="19050" cap="rnd">
              <a:solidFill>
                <a:srgbClr val="C00000"/>
              </a:solidFill>
              <a:prstDash val="sysDot"/>
              <a:round/>
            </a:ln>
            <a:effectLst/>
          </c:spPr>
          <c:marker>
            <c:symbol val="none"/>
          </c:marker>
          <c:xVal>
            <c:numRef>
              <c:f>Sheet1!$A$54:$A$55</c:f>
              <c:numCache>
                <c:formatCode>General</c:formatCode>
                <c:ptCount val="2"/>
                <c:pt idx="0">
                  <c:v>0</c:v>
                </c:pt>
                <c:pt idx="1">
                  <c:v>663.471271268026</c:v>
                </c:pt>
              </c:numCache>
            </c:numRef>
          </c:xVal>
          <c:yVal>
            <c:numRef>
              <c:f>Sheet1!$B$54:$B$55</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3-F32D-48B7-BC20-E66FC6253BAD}"/>
            </c:ext>
          </c:extLst>
        </c:ser>
        <c:ser>
          <c:idx val="3"/>
          <c:order val="3"/>
          <c:tx>
            <c:strRef>
              <c:f>Sheet1!$B$5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8:$A$59</c:f>
              <c:numCache>
                <c:formatCode>General</c:formatCode>
                <c:ptCount val="2"/>
                <c:pt idx="0">
                  <c:v>663.471271268026</c:v>
                </c:pt>
                <c:pt idx="1">
                  <c:v>663.471271268026</c:v>
                </c:pt>
              </c:numCache>
            </c:numRef>
          </c:xVal>
          <c:yVal>
            <c:numRef>
              <c:f>Sheet1!$B$58:$B$59</c:f>
              <c:numCache>
                <c:formatCode>General</c:formatCode>
                <c:ptCount val="2"/>
                <c:pt idx="0">
                  <c:v>0.30058435986381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2:$A$63</c:f>
              <c:numCache>
                <c:formatCode>General</c:formatCode>
                <c:ptCount val="2"/>
                <c:pt idx="0">
                  <c:v>0</c:v>
                </c:pt>
                <c:pt idx="1">
                  <c:v>663.471271268026</c:v>
                </c:pt>
              </c:numCache>
            </c:numRef>
          </c:xVal>
          <c:yVal>
            <c:numRef>
              <c:f>Sheet1!$B$62:$B$63</c:f>
              <c:numCache>
                <c:formatCode>General</c:formatCode>
                <c:ptCount val="2"/>
                <c:pt idx="0">
                  <c:v>0.3005843598638134</c:v>
                </c:pt>
                <c:pt idx="1">
                  <c:v>0.3005843598638134</c:v>
                </c:pt>
              </c:numCache>
            </c:numRef>
          </c:yVal>
          <c:smooth val="0"/>
          <c:extLst>
            <c:ext xmlns:c16="http://schemas.microsoft.com/office/drawing/2014/chart" uri="{C3380CC4-5D6E-409C-BE32-E72D297353CC}">
              <c16:uniqueId val="{0000000A-F32D-48B7-BC20-E66FC6253BAD}"/>
            </c:ext>
          </c:extLst>
        </c:ser>
        <c:ser>
          <c:idx val="5"/>
          <c:order val="5"/>
          <c:tx>
            <c:strRef>
              <c:f>Sheet1!$B$6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663.471271268026</c:v>
                </c:pt>
                <c:pt idx="1">
                  <c:v>663.471271268026</c:v>
                </c:pt>
              </c:numCache>
            </c:numRef>
          </c:xVal>
          <c:yVal>
            <c:numRef>
              <c:f>Sheet1!$B$66:$B$67</c:f>
              <c:numCache>
                <c:formatCode>General</c:formatCode>
                <c:ptCount val="2"/>
                <c:pt idx="0">
                  <c:v>0.3005843598638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0:$A$71</c:f>
              <c:numCache>
                <c:formatCode>General</c:formatCode>
                <c:ptCount val="2"/>
                <c:pt idx="0">
                  <c:v>0</c:v>
                </c:pt>
                <c:pt idx="1">
                  <c:v>1225.3210284510624</c:v>
                </c:pt>
              </c:numCache>
            </c:numRef>
          </c:xVal>
          <c:yVal>
            <c:numRef>
              <c:f>Sheet1!$B$70:$B$71</c:f>
              <c:numCache>
                <c:formatCode>General</c:formatCode>
                <c:ptCount val="2"/>
                <c:pt idx="0">
                  <c:v>0.27717654862177693</c:v>
                </c:pt>
                <c:pt idx="1">
                  <c:v>0.27717654862177693</c:v>
                </c:pt>
              </c:numCache>
            </c:numRef>
          </c:yVal>
          <c:smooth val="0"/>
          <c:extLst>
            <c:ext xmlns:c16="http://schemas.microsoft.com/office/drawing/2014/chart" uri="{C3380CC4-5D6E-409C-BE32-E72D297353CC}">
              <c16:uniqueId val="{00000011-F32D-48B7-BC20-E66FC6253BAD}"/>
            </c:ext>
          </c:extLst>
        </c:ser>
        <c:ser>
          <c:idx val="7"/>
          <c:order val="7"/>
          <c:tx>
            <c:strRef>
              <c:f>Sheet1!$B$7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1225.3210284510624</c:v>
                </c:pt>
                <c:pt idx="1">
                  <c:v>1225.3210284510624</c:v>
                </c:pt>
              </c:numCache>
            </c:numRef>
          </c:xVal>
          <c:yVal>
            <c:numRef>
              <c:f>Sheet1!$B$74:$B$75</c:f>
              <c:numCache>
                <c:formatCode>General</c:formatCode>
                <c:ptCount val="2"/>
                <c:pt idx="0">
                  <c:v>0.277176548621776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8:$A$127</c:f>
              <c:numCache>
                <c:formatCode>General</c:formatCode>
                <c:ptCount val="50"/>
                <c:pt idx="0">
                  <c:v>1126.5546</c:v>
                </c:pt>
                <c:pt idx="1">
                  <c:v>1163.1236</c:v>
                </c:pt>
                <c:pt idx="2">
                  <c:v>1224.6542</c:v>
                </c:pt>
                <c:pt idx="3">
                  <c:v>1258.819</c:v>
                </c:pt>
                <c:pt idx="4">
                  <c:v>1258.7607</c:v>
                </c:pt>
                <c:pt idx="5">
                  <c:v>1237.4322</c:v>
                </c:pt>
                <c:pt idx="6">
                  <c:v>1171.1942</c:v>
                </c:pt>
                <c:pt idx="7">
                  <c:v>1159.4286</c:v>
                </c:pt>
                <c:pt idx="8">
                  <c:v>1188.2848</c:v>
                </c:pt>
                <c:pt idx="9">
                  <c:v>1087.9734</c:v>
                </c:pt>
                <c:pt idx="10">
                  <c:v>1127.1341</c:v>
                </c:pt>
                <c:pt idx="11">
                  <c:v>1146.5533</c:v>
                </c:pt>
                <c:pt idx="12">
                  <c:v>1114.2707</c:v>
                </c:pt>
                <c:pt idx="13">
                  <c:v>1144.725</c:v>
                </c:pt>
                <c:pt idx="14">
                  <c:v>1130.7941</c:v>
                </c:pt>
                <c:pt idx="15">
                  <c:v>1314.3151</c:v>
                </c:pt>
                <c:pt idx="16">
                  <c:v>1281.9344</c:v>
                </c:pt>
                <c:pt idx="17">
                  <c:v>1248.7077</c:v>
                </c:pt>
                <c:pt idx="18">
                  <c:v>1267.9359</c:v>
                </c:pt>
                <c:pt idx="19">
                  <c:v>1305.0984</c:v>
                </c:pt>
                <c:pt idx="20">
                  <c:v>1231.4857</c:v>
                </c:pt>
                <c:pt idx="21">
                  <c:v>1181.9508</c:v>
                </c:pt>
                <c:pt idx="22">
                  <c:v>1222.2576</c:v>
                </c:pt>
                <c:pt idx="23">
                  <c:v>1241.3269</c:v>
                </c:pt>
                <c:pt idx="24">
                  <c:v>1265.0392</c:v>
                </c:pt>
                <c:pt idx="25">
                  <c:v>1274.2826</c:v>
                </c:pt>
                <c:pt idx="26">
                  <c:v>1222.5682</c:v>
                </c:pt>
                <c:pt idx="27">
                  <c:v>1255.9783</c:v>
                </c:pt>
                <c:pt idx="28">
                  <c:v>1262.8167</c:v>
                </c:pt>
                <c:pt idx="29">
                  <c:v>1263.4878</c:v>
                </c:pt>
                <c:pt idx="30">
                  <c:v>1323.0333</c:v>
                </c:pt>
                <c:pt idx="31">
                  <c:v>1351.7955</c:v>
                </c:pt>
                <c:pt idx="32">
                  <c:v>1331.2128</c:v>
                </c:pt>
                <c:pt idx="33">
                  <c:v>1322.8537</c:v>
                </c:pt>
                <c:pt idx="34">
                  <c:v>1256.68</c:v>
                </c:pt>
                <c:pt idx="35">
                  <c:v>1309.1563</c:v>
                </c:pt>
                <c:pt idx="36">
                  <c:v>1396.1864</c:v>
                </c:pt>
                <c:pt idx="37">
                  <c:v>1368.3167</c:v>
                </c:pt>
                <c:pt idx="38">
                  <c:v>1325.8889</c:v>
                </c:pt>
                <c:pt idx="39">
                  <c:v>1281.3582</c:v>
                </c:pt>
                <c:pt idx="40">
                  <c:v>1236.978</c:v>
                </c:pt>
                <c:pt idx="41">
                  <c:v>1181.3802</c:v>
                </c:pt>
                <c:pt idx="42">
                  <c:v>1170.3571</c:v>
                </c:pt>
                <c:pt idx="43">
                  <c:v>1184.9398</c:v>
                </c:pt>
                <c:pt idx="44">
                  <c:v>1162.0108</c:v>
                </c:pt>
                <c:pt idx="45">
                  <c:v>1129.0865</c:v>
                </c:pt>
                <c:pt idx="46">
                  <c:v>1110.5481</c:v>
                </c:pt>
                <c:pt idx="47">
                  <c:v>663.471271268026</c:v>
                </c:pt>
                <c:pt idx="48">
                  <c:v>663.471271268026</c:v>
                </c:pt>
                <c:pt idx="49">
                  <c:v>1225.3210284510624</c:v>
                </c:pt>
              </c:numCache>
            </c:numRef>
          </c:xVal>
          <c:yVal>
            <c:numRef>
              <c:f>Sheet1!$B$78:$B$127</c:f>
              <c:numCache>
                <c:formatCode>General</c:formatCode>
                <c:ptCount val="50"/>
                <c:pt idx="0">
                  <c:v>0.2812913602501095</c:v>
                </c:pt>
                <c:pt idx="1">
                  <c:v>0.2797678208370077</c:v>
                </c:pt>
                <c:pt idx="2">
                  <c:v>0.27720433006034434</c:v>
                </c:pt>
                <c:pt idx="3">
                  <c:v>0.2757809545417154</c:v>
                </c:pt>
                <c:pt idx="4">
                  <c:v>0.2757833834390816</c:v>
                </c:pt>
                <c:pt idx="5">
                  <c:v>0.2766719724180622</c:v>
                </c:pt>
                <c:pt idx="6">
                  <c:v>0.27943158311687916</c:v>
                </c:pt>
                <c:pt idx="7">
                  <c:v>0.2799217621023256</c:v>
                </c:pt>
                <c:pt idx="8">
                  <c:v>0.27871955372877566</c:v>
                </c:pt>
                <c:pt idx="9">
                  <c:v>0.2828987320350848</c:v>
                </c:pt>
                <c:pt idx="10">
                  <c:v>0.28126721709361374</c:v>
                </c:pt>
                <c:pt idx="11">
                  <c:v>0.28045817346182433</c:v>
                </c:pt>
                <c:pt idx="12">
                  <c:v>0.2818031326747478</c:v>
                </c:pt>
                <c:pt idx="13">
                  <c:v>0.2805343441831723</c:v>
                </c:pt>
                <c:pt idx="14">
                  <c:v>0.28111473399995646</c:v>
                </c:pt>
                <c:pt idx="15">
                  <c:v>0.27346887339037307</c:v>
                </c:pt>
                <c:pt idx="16">
                  <c:v>0.2748179196501512</c:v>
                </c:pt>
                <c:pt idx="17">
                  <c:v>0.27620221200206974</c:v>
                </c:pt>
                <c:pt idx="18">
                  <c:v>0.2754011258213428</c:v>
                </c:pt>
                <c:pt idx="19">
                  <c:v>0.27385285998308095</c:v>
                </c:pt>
                <c:pt idx="20">
                  <c:v>0.27691971578320784</c:v>
                </c:pt>
                <c:pt idx="21">
                  <c:v>0.2789834411373071</c:v>
                </c:pt>
                <c:pt idx="22">
                  <c:v>0.27730417732325663</c:v>
                </c:pt>
                <c:pt idx="23">
                  <c:v>0.27650971124186907</c:v>
                </c:pt>
                <c:pt idx="24">
                  <c:v>0.2755218082741835</c:v>
                </c:pt>
                <c:pt idx="25">
                  <c:v>0.2751367093048087</c:v>
                </c:pt>
                <c:pt idx="26">
                  <c:v>0.2772912370913195</c:v>
                </c:pt>
                <c:pt idx="27">
                  <c:v>0.2758993039198991</c:v>
                </c:pt>
                <c:pt idx="28">
                  <c:v>0.2756144021746352</c:v>
                </c:pt>
                <c:pt idx="29">
                  <c:v>0.27558644277459327</c:v>
                </c:pt>
                <c:pt idx="30">
                  <c:v>0.27310565532831765</c:v>
                </c:pt>
                <c:pt idx="31">
                  <c:v>0.27190736318722775</c:v>
                </c:pt>
                <c:pt idx="32">
                  <c:v>0.2727648806112221</c:v>
                </c:pt>
                <c:pt idx="33">
                  <c:v>0.2731131378320392</c:v>
                </c:pt>
                <c:pt idx="34">
                  <c:v>0.2758700696612053</c:v>
                </c:pt>
                <c:pt idx="35">
                  <c:v>0.2736837995607444</c:v>
                </c:pt>
                <c:pt idx="36">
                  <c:v>0.2700579474051976</c:v>
                </c:pt>
                <c:pt idx="37">
                  <c:v>0.27121905616894076</c:v>
                </c:pt>
                <c:pt idx="38">
                  <c:v>0.272986685185627</c:v>
                </c:pt>
                <c:pt idx="39">
                  <c:v>0.27484192532189033</c:v>
                </c:pt>
                <c:pt idx="40">
                  <c:v>0.2766908953200128</c:v>
                </c:pt>
                <c:pt idx="41">
                  <c:v>0.27900721350158053</c:v>
                </c:pt>
                <c:pt idx="42">
                  <c:v>0.27946645841679735</c:v>
                </c:pt>
                <c:pt idx="43">
                  <c:v>0.27885891327748696</c:v>
                </c:pt>
                <c:pt idx="44">
                  <c:v>0.27981418236340705</c:v>
                </c:pt>
                <c:pt idx="45">
                  <c:v>0.28118587611217755</c:v>
                </c:pt>
                <c:pt idx="46">
                  <c:v>0.2819582238125753</c:v>
                </c:pt>
                <c:pt idx="47">
                  <c:v>0.3005843598638134</c:v>
                </c:pt>
                <c:pt idx="48">
                  <c:v>0.3005843598638134</c:v>
                </c:pt>
                <c:pt idx="49">
                  <c:v>0.277176548621776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5.0"/>
          <c:min val="5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999999999999997"/>
          <c:min val="0.168858131487889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2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3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3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1.xml"/></Relationships>
</file>

<file path=ppt/notesSlides/_rels/notesSlide4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4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3.xml"/></Relationships>
</file>

<file path=ppt/notesSlides/_rels/notesSlide4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6.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4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0.xml"/></Relationships>
</file>

<file path=ppt/notesSlides/_rels/notesSlide4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4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4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4.xml"/></Relationships>
</file>

<file path=ppt/notesSlides/_rels/notesSlide4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7.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4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1.xml"/></Relationships>
</file>

<file path=ppt/notesSlides/_rels/notesSlide4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3.xml"/></Relationships>
</file>

<file path=ppt/notesSlides/_rels/notesSlide4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4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4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4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2.xml"/></Relationships>
</file>

<file path=ppt/notesSlides/_rels/notesSlide4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4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4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4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4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4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3.xml"/></Relationships>
</file>

<file path=ppt/notesSlides/_rels/notesSlide4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5.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4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0.xml"/></Relationships>
</file>

<file path=ppt/notesSlides/_rels/notesSlide4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4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3.xml"/></Relationships>
</file>

<file path=ppt/notesSlides/_rels/notesSlide4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4.xml"/></Relationships>
</file>

<file path=ppt/notesSlides/_rels/notesSlide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6.xml"/></Relationships>
</file>

<file path=ppt/notesSlides/_rels/notesSlide4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9.xml"/></Relationships>
</file>

<file path=ppt/notesSlides/_rels/notesSlide4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1.xml"/></Relationships>
</file>

<file path=ppt/notesSlides/_rels/notesSlide4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4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4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5.xml"/></Relationships>
</file>

<file path=ppt/notesSlides/_rels/notesSlide4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6.xml"/></Relationships>
</file>

<file path=ppt/notesSlides/_rels/notesSlide4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7.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4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2.xml"/></Relationships>
</file>

<file path=ppt/notesSlides/_rels/notesSlide4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4.xml"/></Relationships>
</file>

<file path=ppt/notesSlides/_rels/notesSlide4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5.xml"/></Relationships>
</file>

<file path=ppt/notesSlides/_rels/notesSlide4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4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1.xml"/></Relationships>
</file>

<file path=ppt/notesSlides/_rels/notesSlide4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2.xml"/></Relationships>
</file>

<file path=ppt/notesSlides/_rels/notesSlide4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3.xml"/></Relationships>
</file>

<file path=ppt/notesSlides/_rels/notesSlide4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4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7.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0.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4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4.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8.xml"/></Relationships>
</file>

<file path=ppt/notesSlides/_rels/notesSlide4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9.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5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5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4.xml"/></Relationships>
</file>

<file path=ppt/notesSlides/_rels/notesSlide5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6.xml"/></Relationships>
</file>

<file path=ppt/notesSlides/_rels/notesSlide5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5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0.xml"/></Relationships>
</file>

<file path=ppt/notesSlides/_rels/notesSlide5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2.xml"/></Relationships>
</file>

<file path=ppt/notesSlides/_rels/notesSlide5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3.xml"/></Relationships>
</file>

<file path=ppt/notesSlides/_rels/notesSlide5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5.xml"/></Relationships>
</file>

<file path=ppt/notesSlides/_rels/notesSlide5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7.xml"/></Relationships>
</file>

<file path=ppt/notesSlides/_rels/notesSlide5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5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0.xml"/></Relationships>
</file>

<file path=ppt/notesSlides/_rels/notesSlide5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1.xml"/></Relationships>
</file>

<file path=ppt/notesSlides/_rels/notesSlide5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5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5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6.xml"/></Relationships>
</file>

<file path=ppt/notesSlides/_rels/notesSlide5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7.xml"/></Relationships>
</file>

<file path=ppt/notesSlides/_rels/notesSlide5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8.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5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5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2.xml"/></Relationships>
</file>

<file path=ppt/notesSlides/_rels/notesSlide5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5.xml"/></Relationships>
</file>

<file path=ppt/notesSlides/_rels/notesSlide5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5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5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9.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1.xml"/></Relationships>
</file>

<file path=ppt/notesSlides/_rels/notesSlide5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2.xml"/></Relationships>
</file>

<file path=ppt/notesSlides/_rels/notesSlide5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3.xml"/></Relationships>
</file>

<file path=ppt/notesSlides/_rels/notesSlide5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5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0.xml"/></Relationships>
</file>

<file path=ppt/notesSlides/_rels/notesSlide5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5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5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4.xml"/></Relationships>
</file>

<file path=ppt/notesSlides/_rels/notesSlide5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7.xml"/></Relationships>
</file>

<file path=ppt/notesSlides/_rels/notesSlide5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5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1.xml"/></Relationships>
</file>

<file path=ppt/notesSlides/_rels/notesSlide5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3.xml"/></Relationships>
</file>

<file path=ppt/notesSlides/_rels/notesSlide5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4.xml"/></Relationships>
</file>

<file path=ppt/notesSlides/_rels/notesSlide5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5.xml"/></Relationships>
</file>

<file path=ppt/notesSlides/_rels/notesSlide5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5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8.xml"/></Relationships>
</file>

<file path=ppt/notesSlides/_rels/notesSlide5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0.xml"/></Relationships>
</file>

<file path=ppt/notesSlides/_rels/notesSlide5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1.xml"/></Relationships>
</file>

<file path=ppt/notesSlides/_rels/notesSlide5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2.xml"/></Relationships>
</file>

<file path=ppt/notesSlides/_rels/notesSlide5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4.xml"/></Relationships>
</file>

<file path=ppt/notesSlides/_rels/notesSlide5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5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7.xml"/></Relationships>
</file>

<file path=ppt/notesSlides/_rels/notesSlide5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9.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5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5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3.xml"/></Relationships>
</file>

<file path=ppt/notesSlides/_rels/notesSlide5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5.xml"/></Relationships>
</file>

<file path=ppt/notesSlides/_rels/notesSlide5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5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0.xml"/></Relationships>
</file>

<file path=ppt/notesSlides/_rels/notesSlide5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2.xml"/></Relationships>
</file>

<file path=ppt/notesSlides/_rels/notesSlide5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3.xml"/></Relationships>
</file>

<file path=ppt/notesSlides/_rels/notesSlide5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4.xml"/></Relationships>
</file>

<file path=ppt/notesSlides/_rels/notesSlide5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5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5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9.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2.xml"/></Relationships>
</file>

<file path=ppt/notesSlides/_rels/notesSlide6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4.xml"/></Relationships>
</file>

<file path=ppt/notesSlides/_rels/notesSlide6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6.xml"/></Relationships>
</file>

<file path=ppt/notesSlides/_rels/notesSlide6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8.xml"/></Relationships>
</file>

<file path=ppt/notesSlides/_rels/notesSlide6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9.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0.xml"/></Relationships>
</file>

<file path=ppt/notesSlides/_rels/notesSlide6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6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5.xml"/></Relationships>
</file>

<file path=ppt/notesSlides/_rels/notesSlide6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6.xml"/></Relationships>
</file>

<file path=ppt/notesSlides/_rels/notesSlide6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7.xml"/></Relationships>
</file>

<file path=ppt/notesSlides/_rels/notesSlide6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0.xml"/></Relationships>
</file>

<file path=ppt/notesSlides/_rels/notesSlide6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1.xml"/></Relationships>
</file>

<file path=ppt/notesSlides/_rels/notesSlide6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4.xml"/></Relationships>
</file>

<file path=ppt/notesSlides/_rels/notesSlide6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5.xml"/></Relationships>
</file>

<file path=ppt/notesSlides/_rels/notesSlide6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6.xml"/></Relationships>
</file>

<file path=ppt/notesSlides/_rels/notesSlide6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7.xml"/></Relationships>
</file>

<file path=ppt/notesSlides/_rels/notesSlide6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8.xml"/></Relationships>
</file>

<file path=ppt/notesSlides/_rels/notesSlide6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0.xml"/></Relationships>
</file>

<file path=ppt/notesSlides/_rels/notesSlide6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1.xml"/></Relationships>
</file>

<file path=ppt/notesSlides/_rels/notesSlide6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5.xml"/></Relationships>
</file>

<file path=ppt/notesSlides/_rels/notesSlide6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7.xml"/></Relationships>
</file>

<file path=ppt/notesSlides/_rels/notesSlide6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8.xml"/></Relationships>
</file>

<file path=ppt/notesSlides/_rels/notesSlide6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9.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1.xml"/></Relationships>
</file>

<file path=ppt/notesSlides/_rels/notesSlide6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2.xml"/></Relationships>
</file>

<file path=ppt/notesSlides/_rels/notesSlide6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4.xml"/></Relationships>
</file>

<file path=ppt/notesSlides/_rels/notesSlide6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6.xml"/></Relationships>
</file>

<file path=ppt/notesSlides/_rels/notesSlide6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8.xml"/></Relationships>
</file>

<file path=ppt/notesSlides/_rels/notesSlide6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0.xml"/></Relationships>
</file>

<file path=ppt/notesSlides/_rels/notesSlide6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2.xml"/></Relationships>
</file>

<file path=ppt/notesSlides/_rels/notesSlide6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3.xml"/></Relationships>
</file>

<file path=ppt/notesSlides/_rels/notesSlide6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5.xml"/></Relationships>
</file>

<file path=ppt/notesSlides/_rels/notesSlide6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7.xml"/></Relationships>
</file>

<file path=ppt/notesSlides/_rels/notesSlide6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9.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0.xml"/></Relationships>
</file>

<file path=ppt/notesSlides/_rels/notesSlide6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1.xml"/></Relationships>
</file>

<file path=ppt/notesSlides/_rels/notesSlide6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3.xml"/></Relationships>
</file>

<file path=ppt/notesSlides/_rels/notesSlide6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4.xml"/></Relationships>
</file>

<file path=ppt/notesSlides/_rels/notesSlide6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6.xml"/></Relationships>
</file>

<file path=ppt/notesSlides/_rels/notesSlide6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7.xml"/></Relationships>
</file>

<file path=ppt/notesSlides/_rels/notesSlide6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8.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0.xml"/></Relationships>
</file>

<file path=ppt/notesSlides/_rels/notesSlide6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1.xml"/></Relationships>
</file>

<file path=ppt/notesSlides/_rels/notesSlide6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2.xml"/></Relationships>
</file>

<file path=ppt/notesSlides/_rels/notesSlide6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5.xml"/></Relationships>
</file>

<file path=ppt/notesSlides/_rels/notesSlide6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7.xml"/></Relationships>
</file>

<file path=ppt/notesSlides/_rels/notesSlide6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8.xml"/></Relationships>
</file>

<file path=ppt/notesSlides/_rels/notesSlide6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9.xml"/></Relationships>
</file>

<file path=ppt/notesSlides/_rels/notesSlide6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1.xml"/></Relationships>
</file>

<file path=ppt/notesSlides/_rels/notesSlide6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2.xml"/></Relationships>
</file>

<file path=ppt/notesSlides/_rels/notesSlide6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3.xml"/></Relationships>
</file>

<file path=ppt/notesSlides/_rels/notesSlide6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8.xml"/></Relationships>
</file>

<file path=ppt/notesSlides/_rels/notesSlide6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9.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6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0.xml"/></Relationships>
</file>

<file path=ppt/notesSlides/_rels/notesSlide6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2.xml"/></Relationships>
</file>

<file path=ppt/notesSlides/_rels/notesSlide6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3.xml"/></Relationships>
</file>

<file path=ppt/notesSlides/_rels/notesSlide6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4.xml"/></Relationships>
</file>

<file path=ppt/notesSlides/_rels/notesSlide6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7.xml"/></Relationships>
</file>

<file path=ppt/notesSlides/_rels/notesSlide6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2.xml"/></Relationships>
</file>

<file path=ppt/notesSlides/_rels/notesSlide7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3.xml"/></Relationships>
</file>

<file path=ppt/notesSlides/_rels/notesSlide7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4.xml"/></Relationships>
</file>

<file path=ppt/notesSlides/_rels/notesSlide7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6.xml"/></Relationships>
</file>

<file path=ppt/notesSlides/_rels/notesSlide7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8.xml"/></Relationships>
</file>

<file path=ppt/notesSlides/_rels/notesSlide7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9.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2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2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2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2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 Id="rId7" Type="http://schemas.openxmlformats.org/officeDocument/2006/relationships/chart" Target="../charts/chart214.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 Id="rId7" Type="http://schemas.openxmlformats.org/officeDocument/2006/relationships/chart" Target="../charts/chart216.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 Id="rId7" Type="http://schemas.openxmlformats.org/officeDocument/2006/relationships/chart" Target="../charts/chart224.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 Id="rId7" Type="http://schemas.openxmlformats.org/officeDocument/2006/relationships/chart" Target="../charts/chart228.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 Id="rId7" Type="http://schemas.openxmlformats.org/officeDocument/2006/relationships/chart" Target="../charts/chart232.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 Id="rId7" Type="http://schemas.openxmlformats.org/officeDocument/2006/relationships/chart" Target="../charts/chart236.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 Id="rId7" Type="http://schemas.openxmlformats.org/officeDocument/2006/relationships/chart" Target="../charts/chart238.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 Id="rId7" Type="http://schemas.openxmlformats.org/officeDocument/2006/relationships/chart" Target="../charts/chart240.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 Id="rId7"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 Id="rId7" Type="http://schemas.openxmlformats.org/officeDocument/2006/relationships/chart" Target="../charts/chart248.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 Id="rId7" Type="http://schemas.openxmlformats.org/officeDocument/2006/relationships/chart" Target="../charts/chart252.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 Id="rId7" Type="http://schemas.openxmlformats.org/officeDocument/2006/relationships/chart" Target="../charts/chart260.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 Id="rId7" Type="http://schemas.openxmlformats.org/officeDocument/2006/relationships/chart" Target="../charts/chart268.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 Id="rId7" Type="http://schemas.openxmlformats.org/officeDocument/2006/relationships/chart" Target="../charts/chart27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 Id="rId7"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 Id="rId7" Type="http://schemas.openxmlformats.org/officeDocument/2006/relationships/chart" Target="../charts/chart27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 Id="rId7" Type="http://schemas.openxmlformats.org/officeDocument/2006/relationships/chart" Target="../charts/chart28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 Id="rId7" Type="http://schemas.openxmlformats.org/officeDocument/2006/relationships/chart" Target="../charts/chart286.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 Id="rId7" Type="http://schemas.openxmlformats.org/officeDocument/2006/relationships/chart" Target="../charts/chart294.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 Id="rId7" Type="http://schemas.openxmlformats.org/officeDocument/2006/relationships/chart" Target="../charts/chart296.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 Id="rId7" Type="http://schemas.openxmlformats.org/officeDocument/2006/relationships/chart" Target="../charts/chart304.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 Id="rId7" Type="http://schemas.openxmlformats.org/officeDocument/2006/relationships/chart" Target="../charts/chart308.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 Id="rId7" Type="http://schemas.openxmlformats.org/officeDocument/2006/relationships/chart" Target="../charts/chart312.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 Id="rId7" Type="http://schemas.openxmlformats.org/officeDocument/2006/relationships/chart" Target="../charts/chart31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 Id="rId7" Type="http://schemas.openxmlformats.org/officeDocument/2006/relationships/chart" Target="../charts/chart3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 Id="rId7" Type="http://schemas.openxmlformats.org/officeDocument/2006/relationships/chart" Target="../charts/chart320.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 Id="rId7" Type="http://schemas.openxmlformats.org/officeDocument/2006/relationships/chart" Target="../charts/chart324.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 Id="rId7" Type="http://schemas.openxmlformats.org/officeDocument/2006/relationships/chart" Target="../charts/chart334.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 Id="rId7" Type="http://schemas.openxmlformats.org/officeDocument/2006/relationships/chart" Target="../charts/chart34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 Id="rId7" Type="http://schemas.openxmlformats.org/officeDocument/2006/relationships/chart" Target="../charts/chart342.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 Id="rId7" Type="http://schemas.openxmlformats.org/officeDocument/2006/relationships/chart" Target="../charts/chart348.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 Id="rId7" Type="http://schemas.openxmlformats.org/officeDocument/2006/relationships/chart" Target="../charts/chart352.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 Id="rId7" Type="http://schemas.openxmlformats.org/officeDocument/2006/relationships/chart" Target="../charts/chart35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 Id="rId7" Type="http://schemas.openxmlformats.org/officeDocument/2006/relationships/chart" Target="../charts/chart36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 Id="rId7" Type="http://schemas.openxmlformats.org/officeDocument/2006/relationships/chart" Target="../charts/chart36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 Id="rId7" Type="http://schemas.openxmlformats.org/officeDocument/2006/relationships/chart" Target="../charts/chart370.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 Id="rId7" Type="http://schemas.openxmlformats.org/officeDocument/2006/relationships/chart" Target="../charts/chart378.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 Id="rId7" Type="http://schemas.openxmlformats.org/officeDocument/2006/relationships/chart" Target="../charts/chart382.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 Id="rId7" Type="http://schemas.openxmlformats.org/officeDocument/2006/relationships/chart" Target="../charts/chart384.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 Id="rId7" Type="http://schemas.openxmlformats.org/officeDocument/2006/relationships/chart" Target="../charts/chart3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xml"/><Relationship Id="rId7" Type="http://schemas.openxmlformats.org/officeDocument/2006/relationships/chart" Target="../charts/chart394.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xml"/><Relationship Id="rId7" Type="http://schemas.openxmlformats.org/officeDocument/2006/relationships/chart" Target="../charts/chart402.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3.xml"/><Relationship Id="rId7" Type="http://schemas.openxmlformats.org/officeDocument/2006/relationships/chart" Target="../charts/chart404.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5.xml"/><Relationship Id="rId7" Type="http://schemas.openxmlformats.org/officeDocument/2006/relationships/chart" Target="../charts/chart406.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3.xml"/><Relationship Id="rId7" Type="http://schemas.openxmlformats.org/officeDocument/2006/relationships/chart" Target="../charts/chart414.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5.xml"/><Relationship Id="rId7" Type="http://schemas.openxmlformats.org/officeDocument/2006/relationships/chart" Target="../charts/chart416.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3.xml"/><Relationship Id="rId7"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7.xml"/><Relationship Id="rId7" Type="http://schemas.openxmlformats.org/officeDocument/2006/relationships/chart" Target="../charts/chart428.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1.xml"/><Relationship Id="rId7" Type="http://schemas.openxmlformats.org/officeDocument/2006/relationships/chart" Target="../charts/chart432.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5.xml"/><Relationship Id="rId7"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7.xml"/><Relationship Id="rId7" Type="http://schemas.openxmlformats.org/officeDocument/2006/relationships/chart" Target="../charts/chart43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7.xml"/><Relationship Id="rId7" Type="http://schemas.openxmlformats.org/officeDocument/2006/relationships/chart" Target="../charts/chart448.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9.xml"/><Relationship Id="rId7" Type="http://schemas.openxmlformats.org/officeDocument/2006/relationships/chart" Target="../charts/chart450.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1.xml"/><Relationship Id="rId7" Type="http://schemas.openxmlformats.org/officeDocument/2006/relationships/chart" Target="../charts/chart452.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3.xml"/><Relationship Id="rId7" Type="http://schemas.openxmlformats.org/officeDocument/2006/relationships/chart" Target="../charts/chart454.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9.xml"/><Relationship Id="rId7" Type="http://schemas.openxmlformats.org/officeDocument/2006/relationships/chart" Target="../charts/chart460.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7.xml"/><Relationship Id="rId7"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1.xml"/><Relationship Id="rId7" Type="http://schemas.openxmlformats.org/officeDocument/2006/relationships/chart" Target="../charts/chart472.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3.xml"/><Relationship Id="rId7" Type="http://schemas.openxmlformats.org/officeDocument/2006/relationships/chart" Target="../charts/chart474.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5.xml"/><Relationship Id="rId7" Type="http://schemas.openxmlformats.org/officeDocument/2006/relationships/chart" Target="../charts/chart476.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9.xml"/><Relationship Id="rId7" Type="http://schemas.openxmlformats.org/officeDocument/2006/relationships/chart" Target="../charts/chart490.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5.xml"/><Relationship Id="rId7" Type="http://schemas.openxmlformats.org/officeDocument/2006/relationships/chart" Target="../charts/chart496.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7.xml"/><Relationship Id="rId7" Type="http://schemas.openxmlformats.org/officeDocument/2006/relationships/chart" Target="../charts/chart49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3.xml"/><Relationship Id="rId7" Type="http://schemas.openxmlformats.org/officeDocument/2006/relationships/chart" Target="../charts/chart504.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1.xml"/><Relationship Id="rId7" Type="http://schemas.openxmlformats.org/officeDocument/2006/relationships/chart" Target="../charts/chart512.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5.xml"/><Relationship Id="rId7" Type="http://schemas.openxmlformats.org/officeDocument/2006/relationships/chart" Target="../charts/chart516.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9.xml"/><Relationship Id="rId7" Type="http://schemas.openxmlformats.org/officeDocument/2006/relationships/chart" Target="../charts/chart520.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5.xml"/><Relationship Id="rId7"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7.xml"/><Relationship Id="rId7" Type="http://schemas.openxmlformats.org/officeDocument/2006/relationships/chart" Target="../charts/chart528.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1.xml"/><Relationship Id="rId7" Type="http://schemas.openxmlformats.org/officeDocument/2006/relationships/chart" Target="../charts/chart532.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3.xml"/><Relationship Id="rId7" Type="http://schemas.openxmlformats.org/officeDocument/2006/relationships/chart" Target="../charts/chart534.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7.xml"/><Relationship Id="rId7" Type="http://schemas.openxmlformats.org/officeDocument/2006/relationships/chart" Target="../charts/chart53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9.xml"/><Relationship Id="rId7" Type="http://schemas.openxmlformats.org/officeDocument/2006/relationships/chart" Target="../charts/chart540.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7.xml"/><Relationship Id="rId7" Type="http://schemas.openxmlformats.org/officeDocument/2006/relationships/chart" Target="../charts/chart548.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9.xml"/><Relationship Id="rId7" Type="http://schemas.openxmlformats.org/officeDocument/2006/relationships/chart" Target="../charts/chart550.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5.xml"/><Relationship Id="rId7" Type="http://schemas.openxmlformats.org/officeDocument/2006/relationships/chart" Target="../charts/chart55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9.xml"/><Relationship Id="rId7" Type="http://schemas.openxmlformats.org/officeDocument/2006/relationships/chart" Target="../charts/chart56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1.xml"/><Relationship Id="rId7" Type="http://schemas.openxmlformats.org/officeDocument/2006/relationships/chart" Target="../charts/chart56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9.xml"/><Relationship Id="rId7" Type="http://schemas.openxmlformats.org/officeDocument/2006/relationships/chart" Target="../charts/chart570.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5.xml"/><Relationship Id="rId7" Type="http://schemas.openxmlformats.org/officeDocument/2006/relationships/chart" Target="../charts/chart576.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1.xml"/><Relationship Id="rId7"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3.xml"/><Relationship Id="rId7" Type="http://schemas.openxmlformats.org/officeDocument/2006/relationships/chart" Target="../charts/chart584.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7.xml"/><Relationship Id="rId7" Type="http://schemas.openxmlformats.org/officeDocument/2006/relationships/chart" Target="../charts/chart588.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3.xml"/><Relationship Id="rId7" Type="http://schemas.openxmlformats.org/officeDocument/2006/relationships/chart" Target="../charts/chart594.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7.xml"/><Relationship Id="rId7" Type="http://schemas.openxmlformats.org/officeDocument/2006/relationships/chart" Target="../charts/chart59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3.xml"/><Relationship Id="rId7" Type="http://schemas.openxmlformats.org/officeDocument/2006/relationships/chart" Target="../charts/chart604.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5.xml"/><Relationship Id="rId7" Type="http://schemas.openxmlformats.org/officeDocument/2006/relationships/chart" Target="../charts/chart606.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9.xml"/><Relationship Id="rId7" Type="http://schemas.openxmlformats.org/officeDocument/2006/relationships/chart" Target="../charts/chart610.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5.xml"/><Relationship Id="rId7"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9.xml"/><Relationship Id="rId7" Type="http://schemas.openxmlformats.org/officeDocument/2006/relationships/chart" Target="../charts/chart620.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3.xml"/><Relationship Id="rId7" Type="http://schemas.openxmlformats.org/officeDocument/2006/relationships/chart" Target="../charts/chart624.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7.xml"/><Relationship Id="rId7" Type="http://schemas.openxmlformats.org/officeDocument/2006/relationships/chart" Target="../charts/chart628.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1.xml"/><Relationship Id="rId7" Type="http://schemas.openxmlformats.org/officeDocument/2006/relationships/chart" Target="../charts/chart632.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1.xml"/><Relationship Id="rId7" Type="http://schemas.openxmlformats.org/officeDocument/2006/relationships/chart" Target="../charts/chart64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5.xml"/><Relationship Id="rId7"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7.xml"/><Relationship Id="rId7" Type="http://schemas.openxmlformats.org/officeDocument/2006/relationships/chart" Target="../charts/chart648.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 Id="rId7" Type="http://schemas.openxmlformats.org/officeDocument/2006/relationships/chart" Target="../charts/chart650.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1.xml"/><Relationship Id="rId7" Type="http://schemas.openxmlformats.org/officeDocument/2006/relationships/chart" Target="../charts/chart652.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3.xml"/><Relationship Id="rId7" Type="http://schemas.openxmlformats.org/officeDocument/2006/relationships/chart" Target="../charts/chart65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9.xml"/><Relationship Id="rId7"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3.xml"/><Relationship Id="rId7" Type="http://schemas.openxmlformats.org/officeDocument/2006/relationships/chart" Target="../charts/chart664.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7.xml"/><Relationship Id="rId7" Type="http://schemas.openxmlformats.org/officeDocument/2006/relationships/chart" Target="../charts/chart668.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9.xml"/><Relationship Id="rId7" Type="http://schemas.openxmlformats.org/officeDocument/2006/relationships/chart" Target="../charts/chart670.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1.xml"/><Relationship Id="rId7"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3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1.xml"/><Relationship Id="rId7" Type="http://schemas.openxmlformats.org/officeDocument/2006/relationships/chart" Target="../charts/chart682.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3.xml"/><Relationship Id="rId7" Type="http://schemas.openxmlformats.org/officeDocument/2006/relationships/chart" Target="../charts/chart684.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5.xml"/><Relationship Id="rId7" Type="http://schemas.openxmlformats.org/officeDocument/2006/relationships/chart" Target="../charts/chart686.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9.xml"/><Relationship Id="rId7" Type="http://schemas.openxmlformats.org/officeDocument/2006/relationships/chart" Target="../charts/chart690.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3.xml"/><Relationship Id="rId7" Type="http://schemas.openxmlformats.org/officeDocument/2006/relationships/chart" Target="../charts/chart694.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5.xml"/><Relationship Id="rId7" Type="http://schemas.openxmlformats.org/officeDocument/2006/relationships/chart" Target="../charts/chart696.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9.xml"/><Relationship Id="rId7" Type="http://schemas.openxmlformats.org/officeDocument/2006/relationships/chart" Target="../charts/chart700.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3.xml"/><Relationship Id="rId7"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5.xml"/><Relationship Id="rId7" Type="http://schemas.openxmlformats.org/officeDocument/2006/relationships/chart" Target="../charts/chart706.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7.xml"/><Relationship Id="rId7" Type="http://schemas.openxmlformats.org/officeDocument/2006/relationships/chart" Target="../charts/chart708.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1.xml"/><Relationship Id="rId7" Type="http://schemas.openxmlformats.org/officeDocument/2006/relationships/chart" Target="../charts/chart712.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5.xml"/><Relationship Id="rId7"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7.xml"/><Relationship Id="rId7" Type="http://schemas.openxmlformats.org/officeDocument/2006/relationships/chart" Target="../charts/chart718.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1.xml"/><Relationship Id="rId7" Type="http://schemas.openxmlformats.org/officeDocument/2006/relationships/chart" Target="../charts/chart72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5.xml"/><Relationship Id="rId7" Type="http://schemas.openxmlformats.org/officeDocument/2006/relationships/chart" Target="../charts/chart726.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7.xml"/><Relationship Id="rId7" Type="http://schemas.openxmlformats.org/officeDocument/2006/relationships/chart" Target="../charts/chart728.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9.xml"/><Relationship Id="rId7" Type="http://schemas.openxmlformats.org/officeDocument/2006/relationships/chart" Target="../charts/chart730.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1.xml"/><Relationship Id="rId7" Type="http://schemas.openxmlformats.org/officeDocument/2006/relationships/chart" Target="../charts/chart732.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3.xml"/><Relationship Id="rId7" Type="http://schemas.openxmlformats.org/officeDocument/2006/relationships/chart" Target="../charts/chart734.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7.xml"/><Relationship Id="rId7" Type="http://schemas.openxmlformats.org/officeDocument/2006/relationships/chart" Target="../charts/chart738.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9.xml"/><Relationship Id="rId7" Type="http://schemas.openxmlformats.org/officeDocument/2006/relationships/chart" Target="../charts/chart740.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3.xml"/><Relationship Id="rId7" Type="http://schemas.openxmlformats.org/officeDocument/2006/relationships/chart" Target="../charts/chart744.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3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7.xml"/><Relationship Id="rId7"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3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9.xml"/><Relationship Id="rId7" Type="http://schemas.openxmlformats.org/officeDocument/2006/relationships/chart" Target="../charts/chart750.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3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1.xml"/><Relationship Id="rId7" Type="http://schemas.openxmlformats.org/officeDocument/2006/relationships/chart" Target="../charts/chart752.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3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3.xml"/><Relationship Id="rId7" Type="http://schemas.openxmlformats.org/officeDocument/2006/relationships/chart" Target="../charts/chart754.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3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5.xml"/><Relationship Id="rId7" Type="http://schemas.openxmlformats.org/officeDocument/2006/relationships/chart" Target="../charts/chart756.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 Id="rId7" Type="http://schemas.openxmlformats.org/officeDocument/2006/relationships/chart" Target="../charts/chart76.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3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1.xml"/><Relationship Id="rId7" Type="http://schemas.openxmlformats.org/officeDocument/2006/relationships/chart" Target="../charts/chart76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3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5.xml"/><Relationship Id="rId7" Type="http://schemas.openxmlformats.org/officeDocument/2006/relationships/chart" Target="../charts/chart766.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3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9.xml"/><Relationship Id="rId7" Type="http://schemas.openxmlformats.org/officeDocument/2006/relationships/chart" Target="../charts/chart770.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3.xml"/><Relationship Id="rId7"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5.xml"/><Relationship Id="rId7" Type="http://schemas.openxmlformats.org/officeDocument/2006/relationships/chart" Target="../charts/chart776.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3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7.xml"/><Relationship Id="rId7" Type="http://schemas.openxmlformats.org/officeDocument/2006/relationships/chart" Target="../charts/chart77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 Id="rId7" Type="http://schemas.openxmlformats.org/officeDocument/2006/relationships/chart" Target="../charts/chart78.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3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3.xml"/><Relationship Id="rId7" Type="http://schemas.openxmlformats.org/officeDocument/2006/relationships/chart" Target="../charts/chart784.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3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7.xml"/><Relationship Id="rId7" Type="http://schemas.openxmlformats.org/officeDocument/2006/relationships/chart" Target="../charts/chart788.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notesSlide" Target="../notesSlides/notesSlide3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notesSlide" Target="../notesSlides/notesSlide3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5.xml"/><Relationship Id="rId7" Type="http://schemas.openxmlformats.org/officeDocument/2006/relationships/chart" Target="../charts/chart796.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notesSlide" Target="../notesSlides/notesSlide3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7.xml"/><Relationship Id="rId7" Type="http://schemas.openxmlformats.org/officeDocument/2006/relationships/chart" Target="../charts/chart79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 Id="rId7" Type="http://schemas.openxmlformats.org/officeDocument/2006/relationships/chart" Target="../charts/chart80.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notesSlide" Target="../notesSlides/notesSlide4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1.xml"/><Relationship Id="rId7" Type="http://schemas.openxmlformats.org/officeDocument/2006/relationships/chart" Target="../charts/chart802.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notesSlide" Target="../notesSlides/notesSlide4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3.xml"/><Relationship Id="rId7" Type="http://schemas.openxmlformats.org/officeDocument/2006/relationships/chart" Target="../charts/chart804.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notesSlide" Target="../notesSlides/notesSlide4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5.xml"/><Relationship Id="rId7" Type="http://schemas.openxmlformats.org/officeDocument/2006/relationships/chart" Target="../charts/chart806.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notesSlide" Target="../notesSlides/notesSlide4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1.xml"/><Relationship Id="rId7" Type="http://schemas.openxmlformats.org/officeDocument/2006/relationships/chart" Target="../charts/chart812.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notesSlide" Target="../notesSlides/notesSlide4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5.xml"/><Relationship Id="rId7" Type="http://schemas.openxmlformats.org/officeDocument/2006/relationships/chart" Target="../charts/chart816.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notesSlide" Target="../notesSlides/notesSlide4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7.xml"/><Relationship Id="rId7" Type="http://schemas.openxmlformats.org/officeDocument/2006/relationships/chart" Target="../charts/chart818.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notesSlide" Target="../notesSlides/notesSlide4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9.xml"/><Relationship Id="rId7" Type="http://schemas.openxmlformats.org/officeDocument/2006/relationships/chart" Target="../charts/chart820.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4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3.xml"/><Relationship Id="rId7"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notesSlide" Target="../notesSlides/notesSlide4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5.xml"/><Relationship Id="rId7" Type="http://schemas.openxmlformats.org/officeDocument/2006/relationships/chart" Target="../charts/chart826.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notesSlide" Target="../notesSlides/notesSlide4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7.xml"/><Relationship Id="rId7" Type="http://schemas.openxmlformats.org/officeDocument/2006/relationships/chart" Target="../charts/chart828.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notesSlide" Target="../notesSlides/notesSlide4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3.xml"/><Relationship Id="rId7" Type="http://schemas.openxmlformats.org/officeDocument/2006/relationships/chart" Target="../charts/chart834.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notesSlide" Target="../notesSlides/notesSlide4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7.xml"/><Relationship Id="rId7" Type="http://schemas.openxmlformats.org/officeDocument/2006/relationships/chart" Target="../charts/chart838.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 Id="rId7" Type="http://schemas.openxmlformats.org/officeDocument/2006/relationships/chart" Target="../charts/chart84.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notesSlide" Target="../notesSlides/notesSlide4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9.xml"/><Relationship Id="rId7" Type="http://schemas.openxmlformats.org/officeDocument/2006/relationships/chart" Target="../charts/chart840.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notesSlide" Target="../notesSlides/notesSlide4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1.xml"/><Relationship Id="rId7" Type="http://schemas.openxmlformats.org/officeDocument/2006/relationships/chart" Target="../charts/chart842.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notesSlide" Target="../notesSlides/notesSlide4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5.xml"/><Relationship Id="rId7" Type="http://schemas.openxmlformats.org/officeDocument/2006/relationships/chart" Target="../charts/chart846.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notesSlide" Target="../notesSlides/notesSlide4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7.xml"/><Relationship Id="rId7" Type="http://schemas.openxmlformats.org/officeDocument/2006/relationships/chart" Target="../charts/chart848.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4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1.xml"/><Relationship Id="rId7" Type="http://schemas.openxmlformats.org/officeDocument/2006/relationships/chart" Target="../charts/chart852.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notesSlide" Target="../notesSlides/notesSlide4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5.xml"/><Relationship Id="rId7" Type="http://schemas.openxmlformats.org/officeDocument/2006/relationships/chart" Target="../charts/chart856.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notesSlide" Target="../notesSlides/notesSlide4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9.xml"/><Relationship Id="rId7" Type="http://schemas.openxmlformats.org/officeDocument/2006/relationships/chart" Target="../charts/chart860.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notesSlide" Target="../notesSlides/notesSlide4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1.xml"/><Relationship Id="rId7" Type="http://schemas.openxmlformats.org/officeDocument/2006/relationships/chart" Target="../charts/chart862.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notesSlide" Target="../notesSlides/notesSlide4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3.xml"/><Relationship Id="rId7" Type="http://schemas.openxmlformats.org/officeDocument/2006/relationships/chart" Target="../charts/chart864.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notesSlide" Target="../notesSlides/notesSlide4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7.xml"/><Relationship Id="rId7"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notesSlide" Target="../notesSlides/notesSlide4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9.xml"/><Relationship Id="rId7" Type="http://schemas.openxmlformats.org/officeDocument/2006/relationships/chart" Target="../charts/chart870.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notesSlide" Target="../notesSlides/notesSlide4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3.xml"/><Relationship Id="rId7" Type="http://schemas.openxmlformats.org/officeDocument/2006/relationships/chart" Target="../charts/chart874.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notesSlide" Target="../notesSlides/notesSlide4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7.xml"/><Relationship Id="rId7" Type="http://schemas.openxmlformats.org/officeDocument/2006/relationships/chart" Target="../charts/chart878.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 Id="rId7" Type="http://schemas.openxmlformats.org/officeDocument/2006/relationships/chart" Target="../charts/chart88.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4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1.xml"/><Relationship Id="rId7"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notesSlide" Target="../notesSlides/notesSlide4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3.xml"/><Relationship Id="rId7" Type="http://schemas.openxmlformats.org/officeDocument/2006/relationships/chart" Target="../charts/chart884.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notesSlide" Target="../notesSlides/notesSlide4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5.xml"/><Relationship Id="rId7" Type="http://schemas.openxmlformats.org/officeDocument/2006/relationships/chart" Target="../charts/chart886.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notesSlide" Target="../notesSlides/notesSlide4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9.xml"/><Relationship Id="rId7" Type="http://schemas.openxmlformats.org/officeDocument/2006/relationships/chart" Target="../charts/chart890.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notesSlide" Target="../notesSlides/notesSlide4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5.xml"/><Relationship Id="rId7" Type="http://schemas.openxmlformats.org/officeDocument/2006/relationships/chart" Target="../charts/chart896.xml"/></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notesSlide" Target="../notesSlides/notesSlide4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9.xml"/><Relationship Id="rId7" Type="http://schemas.openxmlformats.org/officeDocument/2006/relationships/chart" Target="../charts/chart900.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notesSlide" Target="../notesSlides/notesSlide4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3.xml"/><Relationship Id="rId7" Type="http://schemas.openxmlformats.org/officeDocument/2006/relationships/chart" Target="../charts/chart904.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notesSlide" Target="../notesSlides/notesSlide4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5.xml"/><Relationship Id="rId7" Type="http://schemas.openxmlformats.org/officeDocument/2006/relationships/chart" Target="../charts/chart906.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notesSlide" Target="../notesSlides/notesSlide4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7.xml"/><Relationship Id="rId7" Type="http://schemas.openxmlformats.org/officeDocument/2006/relationships/chart" Target="../charts/chart908.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notesSlide" Target="../notesSlides/notesSlide4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1.xml"/><Relationship Id="rId7" Type="http://schemas.openxmlformats.org/officeDocument/2006/relationships/chart" Target="../charts/chart912.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notesSlide" Target="../notesSlides/notesSlide4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7.xml"/><Relationship Id="rId7" Type="http://schemas.openxmlformats.org/officeDocument/2006/relationships/chart" Target="../charts/chart918.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notesSlide" Target="../notesSlides/notesSlide4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1.xml"/><Relationship Id="rId7" Type="http://schemas.openxmlformats.org/officeDocument/2006/relationships/chart" Target="../charts/chart922.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notesSlide" Target="../notesSlides/notesSlide4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notesSlide" Target="../notesSlides/notesSlide4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7.xml"/><Relationship Id="rId7" Type="http://schemas.openxmlformats.org/officeDocument/2006/relationships/chart" Target="../charts/chart928.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notesSlide" Target="../notesSlides/notesSlide4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9.xml"/><Relationship Id="rId7" Type="http://schemas.openxmlformats.org/officeDocument/2006/relationships/chart" Target="../charts/chart930.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notesSlide" Target="../notesSlides/notesSlide4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1.xml"/><Relationship Id="rId7" Type="http://schemas.openxmlformats.org/officeDocument/2006/relationships/chart" Target="../charts/chart932.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notesSlide" Target="../notesSlides/notesSlide4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3.xml"/><Relationship Id="rId7" Type="http://schemas.openxmlformats.org/officeDocument/2006/relationships/chart" Target="../charts/chart934.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 Id="rId7" Type="http://schemas.openxmlformats.org/officeDocument/2006/relationships/chart" Target="../charts/chart94.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notesSlide" Target="../notesSlides/notesSlide4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9.xml"/><Relationship Id="rId7"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notesSlide" Target="../notesSlides/notesSlide4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1.xml"/><Relationship Id="rId7" Type="http://schemas.openxmlformats.org/officeDocument/2006/relationships/chart" Target="../charts/chart942.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notesSlide" Target="../notesSlides/notesSlide4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3.xml"/><Relationship Id="rId7" Type="http://schemas.openxmlformats.org/officeDocument/2006/relationships/chart" Target="../charts/chart944.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notesSlide" Target="../notesSlides/notesSlide4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7.xml"/><Relationship Id="rId7" Type="http://schemas.openxmlformats.org/officeDocument/2006/relationships/chart" Target="../charts/chart948.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notesSlide" Target="../notesSlides/notesSlide4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9.xml"/><Relationship Id="rId7" Type="http://schemas.openxmlformats.org/officeDocument/2006/relationships/chart" Target="../charts/chart950.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notesSlide" Target="../notesSlides/notesSlide4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1.xml"/><Relationship Id="rId7"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notesSlide" Target="../notesSlides/notesSlide4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3.xml"/><Relationship Id="rId7" Type="http://schemas.openxmlformats.org/officeDocument/2006/relationships/chart" Target="../charts/chart954.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notesSlide" Target="../notesSlides/notesSlide4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1.xml"/><Relationship Id="rId7" Type="http://schemas.openxmlformats.org/officeDocument/2006/relationships/chart" Target="../charts/chart962.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notesSlide" Target="../notesSlides/notesSlide4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3.xml"/><Relationship Id="rId7" Type="http://schemas.openxmlformats.org/officeDocument/2006/relationships/chart" Target="../charts/chart964.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notesSlide" Target="../notesSlides/notesSlide4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5.xml"/><Relationship Id="rId7" Type="http://schemas.openxmlformats.org/officeDocument/2006/relationships/chart" Target="../charts/chart966.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notesSlide" Target="../notesSlides/notesSlide4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9.xml"/><Relationship Id="rId7" Type="http://schemas.openxmlformats.org/officeDocument/2006/relationships/chart" Target="../charts/chart970.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notesSlide" Target="../notesSlides/notesSlide4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3.xml"/><Relationship Id="rId7" Type="http://schemas.openxmlformats.org/officeDocument/2006/relationships/chart" Target="../charts/chart974.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notesSlide" Target="../notesSlides/notesSlide4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5.xml"/><Relationship Id="rId7" Type="http://schemas.openxmlformats.org/officeDocument/2006/relationships/chart" Target="../charts/chart9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notesSlide" Target="../notesSlides/notesSlide4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9.xml"/><Relationship Id="rId7" Type="http://schemas.openxmlformats.org/officeDocument/2006/relationships/chart" Target="../charts/chart980.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notesSlide" Target="../notesSlides/notesSlide4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3.xml"/><Relationship Id="rId7"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5.xml"/><Relationship Id="rId7" Type="http://schemas.openxmlformats.org/officeDocument/2006/relationships/chart" Target="../charts/chart986.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notesSlide" Target="../notesSlides/notesSlide4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7.xml"/><Relationship Id="rId7" Type="http://schemas.openxmlformats.org/officeDocument/2006/relationships/chart" Target="../charts/chart988.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notesSlide" Target="../notesSlides/notesSlide4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3.xml"/><Relationship Id="rId7" Type="http://schemas.openxmlformats.org/officeDocument/2006/relationships/chart" Target="../charts/chart994.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notesSlide" Target="../notesSlides/notesSlide4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5.xml"/><Relationship Id="rId7" Type="http://schemas.openxmlformats.org/officeDocument/2006/relationships/chart" Target="../charts/chart996.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notesSlide" Target="../notesSlides/notesSlide4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7.xml"/><Relationship Id="rId7" Type="http://schemas.openxmlformats.org/officeDocument/2006/relationships/chart" Target="../charts/chart998.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 Id="rId7" Type="http://schemas.openxmlformats.org/officeDocument/2006/relationships/chart" Target="../charts/chart100.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notesSlide" Target="../notesSlides/notesSlide5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1.xml"/><Relationship Id="rId7"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notesSlide" Target="../notesSlides/notesSlide5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3.xml"/><Relationship Id="rId7" Type="http://schemas.openxmlformats.org/officeDocument/2006/relationships/chart" Target="../charts/chart1004.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notesSlide" Target="../notesSlides/notesSlide5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7.xml"/><Relationship Id="rId7" Type="http://schemas.openxmlformats.org/officeDocument/2006/relationships/chart" Target="../charts/chart1008.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notesSlide" Target="../notesSlides/notesSlide5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1.xml"/><Relationship Id="rId7" Type="http://schemas.openxmlformats.org/officeDocument/2006/relationships/chart" Target="../charts/chart1012.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notesSlide" Target="../notesSlides/notesSlide5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5.xml"/><Relationship Id="rId7"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notesSlide" Target="../notesSlides/notesSlide5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7.xml"/><Relationship Id="rId7" Type="http://schemas.openxmlformats.org/officeDocument/2006/relationships/chart" Target="../charts/chart1018.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 Id="rId7" Type="http://schemas.openxmlformats.org/officeDocument/2006/relationships/chart" Target="../charts/chart102.xml"/></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notesSlide" Target="../notesSlides/notesSlide5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9.xml"/><Relationship Id="rId7" Type="http://schemas.openxmlformats.org/officeDocument/2006/relationships/chart" Target="../charts/chart1020.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notesSlide" Target="../notesSlides/notesSlide5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3.xml"/><Relationship Id="rId7" Type="http://schemas.openxmlformats.org/officeDocument/2006/relationships/chart" Target="../charts/chart1024.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notesSlide" Target="../notesSlides/notesSlide5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5.xml"/><Relationship Id="rId7" Type="http://schemas.openxmlformats.org/officeDocument/2006/relationships/chart" Target="../charts/chart1026.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notesSlide" Target="../notesSlides/notesSlide5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9.xml"/><Relationship Id="rId7" Type="http://schemas.openxmlformats.org/officeDocument/2006/relationships/chart" Target="../charts/chart1030.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notesSlide" Target="../notesSlides/notesSlide5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3.xml"/><Relationship Id="rId7" Type="http://schemas.openxmlformats.org/officeDocument/2006/relationships/chart" Target="../charts/chart1034.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notesSlide" Target="../notesSlides/notesSlide5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7.xml"/><Relationship Id="rId7" Type="http://schemas.openxmlformats.org/officeDocument/2006/relationships/chart" Target="../charts/chart1038.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notesSlide" Target="../notesSlides/notesSlide5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9.xml"/><Relationship Id="rId7" Type="http://schemas.openxmlformats.org/officeDocument/2006/relationships/chart" Target="../charts/chart1040.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notesSlide" Target="../notesSlides/notesSlide5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1.xml"/><Relationship Id="rId7" Type="http://schemas.openxmlformats.org/officeDocument/2006/relationships/chart" Target="../charts/chart1042.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notesSlide" Target="../notesSlides/notesSlide5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5.xml"/><Relationship Id="rId7"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notesSlide" Target="../notesSlides/notesSlide5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7.xml"/><Relationship Id="rId7" Type="http://schemas.openxmlformats.org/officeDocument/2006/relationships/chart" Target="../charts/chart1048.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notesSlide" Target="../notesSlides/notesSlide5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1.xml"/><Relationship Id="rId7" Type="http://schemas.openxmlformats.org/officeDocument/2006/relationships/chart" Target="../charts/chart1052.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notesSlide" Target="../notesSlides/notesSlide5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3.xml"/><Relationship Id="rId7" Type="http://schemas.openxmlformats.org/officeDocument/2006/relationships/chart" Target="../charts/chart1054.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notesSlide" Target="../notesSlides/notesSlide5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5.xml"/><Relationship Id="rId7" Type="http://schemas.openxmlformats.org/officeDocument/2006/relationships/chart" Target="../charts/chart1056.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notesSlide" Target="../notesSlides/notesSlide5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9.xml"/><Relationship Id="rId7"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notesSlide" Target="../notesSlides/notesSlide5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1.xml"/><Relationship Id="rId7" Type="http://schemas.openxmlformats.org/officeDocument/2006/relationships/chart" Target="../charts/chart1062.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notesSlide" Target="../notesSlides/notesSlide5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3.xml"/><Relationship Id="rId7" Type="http://schemas.openxmlformats.org/officeDocument/2006/relationships/chart" Target="../charts/chart1064.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notesSlide" Target="../notesSlides/notesSlide5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9.xml"/><Relationship Id="rId7" Type="http://schemas.openxmlformats.org/officeDocument/2006/relationships/chart" Target="../charts/chart1070.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notesSlide" Target="../notesSlides/notesSlide5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3.xml"/><Relationship Id="rId7"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notesSlide" Target="../notesSlides/notesSlide5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5.xml"/><Relationship Id="rId7" Type="http://schemas.openxmlformats.org/officeDocument/2006/relationships/chart" Target="../charts/chart1076.xml"/></Relationships>
</file>

<file path=ppt/slides/_rels/slide539.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7.xml"/><Relationship Id="rId3" Type="http://schemas.openxmlformats.org/officeDocument/2006/relationships/notesSlide" Target="../notesSlides/notesSlide5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7.xml"/><Relationship Id="rId7" Type="http://schemas.openxmlformats.org/officeDocument/2006/relationships/chart" Target="../charts/chart1078.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 Id="rId7" Type="http://schemas.openxmlformats.org/officeDocument/2006/relationships/chart" Target="../charts/chart108.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notesSlide" Target="../notesSlides/notesSlide5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1.xml"/><Relationship Id="rId7" Type="http://schemas.openxmlformats.org/officeDocument/2006/relationships/chart" Target="../charts/chart1082.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notesSlide" Target="../notesSlides/notesSlide5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3.xml"/><Relationship Id="rId7" Type="http://schemas.openxmlformats.org/officeDocument/2006/relationships/chart" Target="../charts/chart1084.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notesSlide" Target="../notesSlides/notesSlide5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5.xml"/><Relationship Id="rId7" Type="http://schemas.openxmlformats.org/officeDocument/2006/relationships/chart" Target="../charts/chart1086.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notesSlide" Target="../notesSlides/notesSlide5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5.xml"/><Relationship Id="rId7" Type="http://schemas.openxmlformats.org/officeDocument/2006/relationships/chart" Target="../charts/chart1096.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notesSlide" Target="../notesSlides/notesSlide5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7.xml"/><Relationship Id="rId7" Type="http://schemas.openxmlformats.org/officeDocument/2006/relationships/chart" Target="../charts/chart1098.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s>
</file>

<file path=ppt/slides/_rels/slide550.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notesSlide" Target="../notesSlides/notesSlide5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9.xml"/><Relationship Id="rId7" Type="http://schemas.openxmlformats.org/officeDocument/2006/relationships/chart" Target="../charts/chart1100.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notesSlide" Target="../notesSlides/notesSlide5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3.xml"/><Relationship Id="rId7"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notesSlide" Target="../notesSlides/notesSlide5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5.xml"/><Relationship Id="rId7" Type="http://schemas.openxmlformats.org/officeDocument/2006/relationships/chart" Target="../charts/chart1106.xml"/></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notesSlide" Target="../notesSlides/notesSlide5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7.xml"/><Relationship Id="rId7" Type="http://schemas.openxmlformats.org/officeDocument/2006/relationships/chart" Target="../charts/chart1108.xml"/></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notesSlide" Target="../notesSlides/notesSlide5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3.xml"/><Relationship Id="rId7" Type="http://schemas.openxmlformats.org/officeDocument/2006/relationships/chart" Target="../charts/chart1114.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notesSlide" Target="../notesSlides/notesSlide5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7.xml"/><Relationship Id="rId7" Type="http://schemas.openxmlformats.org/officeDocument/2006/relationships/chart" Target="../charts/chart1118.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notesSlide" Target="../notesSlides/notesSlide5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9.xml"/><Relationship Id="rId7" Type="http://schemas.openxmlformats.org/officeDocument/2006/relationships/chart" Target="../charts/chart1120.xml"/></Relationships>
</file>

<file path=ppt/slides/_rels/slide561.xml.rels><?xml version='1.0' encoding='UTF-8' standalone='yes'?>
<Relationships xmlns="http://schemas.openxmlformats.org/package/2006/relationships"><Relationship Id="rId1" Type="http://schemas.openxmlformats.org/officeDocument/2006/relationships/tags" Target="../tags/tag588.xml"/><Relationship Id="rId2" Type="http://schemas.openxmlformats.org/officeDocument/2006/relationships/slideLayout" Target="../slideLayouts/slideLayout7.xml"/><Relationship Id="rId3" Type="http://schemas.openxmlformats.org/officeDocument/2006/relationships/notesSlide" Target="../notesSlides/notesSlide5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1.xml"/><Relationship Id="rId7" Type="http://schemas.openxmlformats.org/officeDocument/2006/relationships/chart" Target="../charts/chart1122.xml"/></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notesSlide" Target="../notesSlides/notesSlide5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5.xml"/><Relationship Id="rId7" Type="http://schemas.openxmlformats.org/officeDocument/2006/relationships/chart" Target="../charts/chart1126.xml"/></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notesSlide" Target="../notesSlides/notesSlide5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7.xml"/><Relationship Id="rId7" Type="http://schemas.openxmlformats.org/officeDocument/2006/relationships/chart" Target="../charts/chart1128.xml"/></Relationships>
</file>

<file path=ppt/slides/_rels/slide565.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notesSlide" Target="../notesSlides/notesSlide5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9.xml"/><Relationship Id="rId7" Type="http://schemas.openxmlformats.org/officeDocument/2006/relationships/chart" Target="../charts/chart113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notesSlide" Target="../notesSlides/notesSlide5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1.xml"/><Relationship Id="rId7" Type="http://schemas.openxmlformats.org/officeDocument/2006/relationships/chart" Target="../charts/chart1132.xml"/></Relationships>
</file>

<file path=ppt/slides/_rels/slide568.xml.rels><?xml version='1.0' encoding='UTF-8' standalone='yes'?>
<Relationships xmlns="http://schemas.openxmlformats.org/package/2006/relationships"><Relationship Id="rId1" Type="http://schemas.openxmlformats.org/officeDocument/2006/relationships/tags" Target="../tags/tag595.xml"/><Relationship Id="rId2" Type="http://schemas.openxmlformats.org/officeDocument/2006/relationships/slideLayout" Target="../slideLayouts/slideLayout7.xml"/><Relationship Id="rId3" Type="http://schemas.openxmlformats.org/officeDocument/2006/relationships/notesSlide" Target="../notesSlides/notesSlide5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5.xml"/><Relationship Id="rId7" Type="http://schemas.openxmlformats.org/officeDocument/2006/relationships/chart" Target="../charts/chart1136.xml"/></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notesSlide" Target="../notesSlides/notesSlide5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9.xml"/><Relationship Id="rId7" Type="http://schemas.openxmlformats.org/officeDocument/2006/relationships/chart" Target="../charts/chart1140.xml"/></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notesSlide" Target="../notesSlides/notesSlide5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1.xml"/><Relationship Id="rId7" Type="http://schemas.openxmlformats.org/officeDocument/2006/relationships/chart" Target="../charts/chart1142.xml"/></Relationships>
</file>

<file path=ppt/slides/_rels/slide572.xml.rels><?xml version='1.0' encoding='UTF-8' standalone='yes'?>
<Relationships xmlns="http://schemas.openxmlformats.org/package/2006/relationships"><Relationship Id="rId1" Type="http://schemas.openxmlformats.org/officeDocument/2006/relationships/tags" Target="../tags/tag599.xml"/><Relationship Id="rId2" Type="http://schemas.openxmlformats.org/officeDocument/2006/relationships/slideLayout" Target="../slideLayouts/slideLayout7.xml"/><Relationship Id="rId3" Type="http://schemas.openxmlformats.org/officeDocument/2006/relationships/notesSlide" Target="../notesSlides/notesSlide5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3.xml"/><Relationship Id="rId7" Type="http://schemas.openxmlformats.org/officeDocument/2006/relationships/chart" Target="../charts/chart1144.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notesSlide" Target="../notesSlides/notesSlide5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7.xml"/><Relationship Id="rId7"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notesSlide" Target="../notesSlides/notesSlide5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9.xml"/><Relationship Id="rId7" Type="http://schemas.openxmlformats.org/officeDocument/2006/relationships/chart" Target="../charts/chart1150.xml"/></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notesSlide" Target="../notesSlides/notesSlide5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3.xml"/><Relationship Id="rId7" Type="http://schemas.openxmlformats.org/officeDocument/2006/relationships/chart" Target="../charts/chart1154.xml"/></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notesSlide" Target="../notesSlides/notesSlide5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7.xml"/><Relationship Id="rId7" Type="http://schemas.openxmlformats.org/officeDocument/2006/relationships/chart" Target="../charts/chart1158.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notesSlide" Target="../notesSlides/notesSlide5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1.xml"/><Relationship Id="rId7"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notesSlide" Target="../notesSlides/notesSlide5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3.xml"/><Relationship Id="rId7" Type="http://schemas.openxmlformats.org/officeDocument/2006/relationships/chart" Target="../charts/chart1164.xml"/></Relationships>
</file>

<file path=ppt/slides/_rels/slide583.xml.rels><?xml version='1.0' encoding='UTF-8' standalone='yes'?>
<Relationships xmlns="http://schemas.openxmlformats.org/package/2006/relationships"><Relationship Id="rId1" Type="http://schemas.openxmlformats.org/officeDocument/2006/relationships/tags" Target="../tags/tag610.xml"/><Relationship Id="rId2" Type="http://schemas.openxmlformats.org/officeDocument/2006/relationships/slideLayout" Target="../slideLayouts/slideLayout7.xml"/><Relationship Id="rId3" Type="http://schemas.openxmlformats.org/officeDocument/2006/relationships/notesSlide" Target="../notesSlides/notesSlide5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5.xml"/><Relationship Id="rId7" Type="http://schemas.openxmlformats.org/officeDocument/2006/relationships/chart" Target="../charts/chart1166.xml"/></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notesSlide" Target="../notesSlides/notesSlide5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9.xml"/><Relationship Id="rId7" Type="http://schemas.openxmlformats.org/officeDocument/2006/relationships/chart" Target="../charts/chart1170.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notesSlide" Target="../notesSlides/notesSlide5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5.xml"/><Relationship Id="rId7" Type="http://schemas.openxmlformats.org/officeDocument/2006/relationships/chart" Target="../charts/chart1176.xml"/></Relationships>
</file>

<file path=ppt/slides/_rels/slide590.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Layout" Target="../slideLayouts/slideLayout7.xml"/><Relationship Id="rId3" Type="http://schemas.openxmlformats.org/officeDocument/2006/relationships/notesSlide" Target="../notesSlides/notesSlide5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9.xml"/><Relationship Id="rId7" Type="http://schemas.openxmlformats.org/officeDocument/2006/relationships/chart" Target="../charts/chart1180.xml"/></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notesSlide" Target="../notesSlides/notesSlide5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3.xml"/><Relationship Id="rId7" Type="http://schemas.openxmlformats.org/officeDocument/2006/relationships/chart" Target="../charts/chart1184.xml"/></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notesSlide" Target="../notesSlides/notesSlide5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5.xml"/><Relationship Id="rId7" Type="http://schemas.openxmlformats.org/officeDocument/2006/relationships/chart" Target="../charts/chart1186.xml"/></Relationships>
</file>

<file path=ppt/slides/_rels/slide594.xml.rels><?xml version='1.0' encoding='UTF-8' standalone='yes'?>
<Relationships xmlns="http://schemas.openxmlformats.org/package/2006/relationships"><Relationship Id="rId1" Type="http://schemas.openxmlformats.org/officeDocument/2006/relationships/tags" Target="../tags/tag621.xml"/><Relationship Id="rId2" Type="http://schemas.openxmlformats.org/officeDocument/2006/relationships/slideLayout" Target="../slideLayouts/slideLayout7.xml"/><Relationship Id="rId3" Type="http://schemas.openxmlformats.org/officeDocument/2006/relationships/notesSlide" Target="../notesSlides/notesSlide5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7.xml"/><Relationship Id="rId7" Type="http://schemas.openxmlformats.org/officeDocument/2006/relationships/chart" Target="../charts/chart1188.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notesSlide" Target="../notesSlides/notesSlide5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3.xml"/><Relationship Id="rId7"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notesSlide" Target="../notesSlides/notesSlide5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5.xml"/><Relationship Id="rId7" Type="http://schemas.openxmlformats.org/officeDocument/2006/relationships/chart" Target="../charts/chart1196.xml"/></Relationships>
</file>

<file path=ppt/slides/_rels/slide599.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notesSlide" Target="../notesSlides/notesSlide5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7.xml"/><Relationship Id="rId7" Type="http://schemas.openxmlformats.org/officeDocument/2006/relationships/chart" Target="../charts/chart1198.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 Id="rId7" Type="http://schemas.openxmlformats.org/officeDocument/2006/relationships/chart" Target="../charts/chart120.xml"/></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notesSlide" Target="../notesSlides/notesSlide6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3.xml"/><Relationship Id="rId7" Type="http://schemas.openxmlformats.org/officeDocument/2006/relationships/chart" Target="../charts/chart1204.xml"/></Relationships>
</file>

<file path=ppt/slides/_rels/slide604.xml.rels><?xml version='1.0' encoding='UTF-8' standalone='yes'?>
<Relationships xmlns="http://schemas.openxmlformats.org/package/2006/relationships"><Relationship Id="rId1" Type="http://schemas.openxmlformats.org/officeDocument/2006/relationships/tags" Target="../tags/tag631.xml"/><Relationship Id="rId2" Type="http://schemas.openxmlformats.org/officeDocument/2006/relationships/slideLayout" Target="../slideLayouts/slideLayout7.xml"/><Relationship Id="rId3" Type="http://schemas.openxmlformats.org/officeDocument/2006/relationships/notesSlide" Target="../notesSlides/notesSlide6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7.xml"/><Relationship Id="rId7" Type="http://schemas.openxmlformats.org/officeDocument/2006/relationships/chart" Target="../charts/chart1208.xml"/></Relationships>
</file>

<file path=ppt/slides/_rels/slide606.xml.rels><?xml version='1.0' encoding='UTF-8' standalone='yes'?>
<Relationships xmlns="http://schemas.openxmlformats.org/package/2006/relationships"><Relationship Id="rId1" Type="http://schemas.openxmlformats.org/officeDocument/2006/relationships/tags" Target="../tags/tag633.xml"/><Relationship Id="rId2" Type="http://schemas.openxmlformats.org/officeDocument/2006/relationships/slideLayout" Target="../slideLayouts/slideLayout7.xml"/><Relationship Id="rId3" Type="http://schemas.openxmlformats.org/officeDocument/2006/relationships/notesSlide" Target="../notesSlides/notesSlide6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1.xml"/><Relationship Id="rId7" Type="http://schemas.openxmlformats.org/officeDocument/2006/relationships/chart" Target="../charts/chart1212.xml"/></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notesSlide" Target="../notesSlides/notesSlide6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5.xml"/><Relationship Id="rId7" Type="http://schemas.openxmlformats.org/officeDocument/2006/relationships/chart" Target="../charts/chart1216.xml"/></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notesSlide" Target="../notesSlides/notesSlide6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7.xml"/><Relationship Id="rId7" Type="http://schemas.openxmlformats.org/officeDocument/2006/relationships/chart" Target="../charts/chart1218.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s>
</file>

<file path=ppt/slides/_rels/slide610.xml.rels><?xml version='1.0' encoding='UTF-8' standalone='yes'?>
<Relationships xmlns="http://schemas.openxmlformats.org/package/2006/relationships"><Relationship Id="rId1" Type="http://schemas.openxmlformats.org/officeDocument/2006/relationships/tags" Target="../tags/tag637.xml"/><Relationship Id="rId2" Type="http://schemas.openxmlformats.org/officeDocument/2006/relationships/slideLayout" Target="../slideLayouts/slideLayout7.xml"/><Relationship Id="rId3" Type="http://schemas.openxmlformats.org/officeDocument/2006/relationships/notesSlide" Target="../notesSlides/notesSlide6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9.xml"/><Relationship Id="rId7" Type="http://schemas.openxmlformats.org/officeDocument/2006/relationships/chart" Target="../charts/chart1220.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notesSlide" Target="../notesSlides/notesSlide6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5.xml"/><Relationship Id="rId7" Type="http://schemas.openxmlformats.org/officeDocument/2006/relationships/chart" Target="../charts/chart1226.xml"/></Relationships>
</file>

<file path=ppt/slides/_rels/slide615.xml.rels><?xml version='1.0' encoding='UTF-8' standalone='yes'?>
<Relationships xmlns="http://schemas.openxmlformats.org/package/2006/relationships"><Relationship Id="rId1" Type="http://schemas.openxmlformats.org/officeDocument/2006/relationships/tags" Target="../tags/tag642.xml"/><Relationship Id="rId2" Type="http://schemas.openxmlformats.org/officeDocument/2006/relationships/slideLayout" Target="../slideLayouts/slideLayout7.xml"/><Relationship Id="rId3" Type="http://schemas.openxmlformats.org/officeDocument/2006/relationships/notesSlide" Target="../notesSlides/notesSlide6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9.xml"/><Relationship Id="rId7" Type="http://schemas.openxmlformats.org/officeDocument/2006/relationships/chart" Target="../charts/chart1230.xml"/></Relationships>
</file>

<file path=ppt/slides/_rels/slide616.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notesSlide" Target="../notesSlides/notesSlide6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1.xml"/><Relationship Id="rId7" Type="http://schemas.openxmlformats.org/officeDocument/2006/relationships/chart" Target="../charts/chart1232.xml"/></Relationships>
</file>

<file path=ppt/slides/_rels/slide617.xml.rels><?xml version='1.0' encoding='UTF-8' standalone='yes'?>
<Relationships xmlns="http://schemas.openxmlformats.org/package/2006/relationships"><Relationship Id="rId1" Type="http://schemas.openxmlformats.org/officeDocument/2006/relationships/tags" Target="../tags/tag644.xml"/><Relationship Id="rId2" Type="http://schemas.openxmlformats.org/officeDocument/2006/relationships/slideLayout" Target="../slideLayouts/slideLayout7.xml"/><Relationship Id="rId3" Type="http://schemas.openxmlformats.org/officeDocument/2006/relationships/notesSlide" Target="../notesSlides/notesSlide6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3.xml"/><Relationship Id="rId7" Type="http://schemas.openxmlformats.org/officeDocument/2006/relationships/chart" Target="../charts/chart1234.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notesSlide" Target="../notesSlides/notesSlide6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7.xml"/><Relationship Id="rId7" Type="http://schemas.openxmlformats.org/officeDocument/2006/relationships/chart" Target="../charts/chart1238.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 Id="rId7" Type="http://schemas.openxmlformats.org/officeDocument/2006/relationships/chart" Target="../charts/chart124.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notesSlide" Target="../notesSlides/notesSlide6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9.xml"/><Relationship Id="rId7" Type="http://schemas.openxmlformats.org/officeDocument/2006/relationships/chart" Target="../charts/chart1240.xml"/></Relationships>
</file>

<file path=ppt/slides/_rels/slide621.xml.rels><?xml version='1.0' encoding='UTF-8' standalone='yes'?>
<Relationships xmlns="http://schemas.openxmlformats.org/package/2006/relationships"><Relationship Id="rId1" Type="http://schemas.openxmlformats.org/officeDocument/2006/relationships/tags" Target="../tags/tag648.xml"/><Relationship Id="rId2" Type="http://schemas.openxmlformats.org/officeDocument/2006/relationships/slideLayout" Target="../slideLayouts/slideLayout7.xml"/><Relationship Id="rId3" Type="http://schemas.openxmlformats.org/officeDocument/2006/relationships/notesSlide" Target="../notesSlides/notesSlide6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1.xml"/><Relationship Id="rId7" Type="http://schemas.openxmlformats.org/officeDocument/2006/relationships/chart" Target="../charts/chart1242.xml"/></Relationships>
</file>

<file path=ppt/slides/_rels/slide624.xml.rels><?xml version='1.0' encoding='UTF-8' standalone='yes'?>
<Relationships xmlns="http://schemas.openxmlformats.org/package/2006/relationships"><Relationship Id="rId1" Type="http://schemas.openxmlformats.org/officeDocument/2006/relationships/tags" Target="../tags/tag651.xml"/><Relationship Id="rId2" Type="http://schemas.openxmlformats.org/officeDocument/2006/relationships/slideLayout" Target="../slideLayouts/slideLayout7.xml"/><Relationship Id="rId3" Type="http://schemas.openxmlformats.org/officeDocument/2006/relationships/notesSlide" Target="../notesSlides/notesSlide6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7.xml"/><Relationship Id="rId7" Type="http://schemas.openxmlformats.org/officeDocument/2006/relationships/chart" Target="../charts/chart1248.xml"/></Relationships>
</file>

<file path=ppt/slides/_rels/slide625.xml.rels><?xml version='1.0' encoding='UTF-8' standalone='yes'?>
<Relationships xmlns="http://schemas.openxmlformats.org/package/2006/relationships"><Relationship Id="rId1" Type="http://schemas.openxmlformats.org/officeDocument/2006/relationships/tags" Target="../tags/tag652.xml"/><Relationship Id="rId2" Type="http://schemas.openxmlformats.org/officeDocument/2006/relationships/slideLayout" Target="../slideLayouts/slideLayout7.xml"/><Relationship Id="rId3" Type="http://schemas.openxmlformats.org/officeDocument/2006/relationships/notesSlide" Target="../notesSlides/notesSlide6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9.xml"/><Relationship Id="rId7" Type="http://schemas.openxmlformats.org/officeDocument/2006/relationships/chart" Target="../charts/chart1250.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notesSlide" Target="../notesSlides/notesSlide6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1.xml"/><Relationship Id="rId7"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notesSlide" Target="../notesSlides/notesSlide6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3.xml"/><Relationship Id="rId7" Type="http://schemas.openxmlformats.org/officeDocument/2006/relationships/chart" Target="../charts/chart1254.xml"/></Relationships>
</file>

<file path=ppt/slides/_rels/slide628.xml.rels><?xml version='1.0' encoding='UTF-8' standalone='yes'?>
<Relationships xmlns="http://schemas.openxmlformats.org/package/2006/relationships"><Relationship Id="rId1" Type="http://schemas.openxmlformats.org/officeDocument/2006/relationships/tags" Target="../tags/tag655.xml"/><Relationship Id="rId2" Type="http://schemas.openxmlformats.org/officeDocument/2006/relationships/slideLayout" Target="../slideLayouts/slideLayout7.xml"/><Relationship Id="rId3" Type="http://schemas.openxmlformats.org/officeDocument/2006/relationships/notesSlide" Target="../notesSlides/notesSlide6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5.xml"/><Relationship Id="rId7" Type="http://schemas.openxmlformats.org/officeDocument/2006/relationships/chart" Target="../charts/chart1256.xml"/></Relationships>
</file>

<file path=ppt/slides/_rels/slide630.xml.rels><?xml version='1.0' encoding='UTF-8' standalone='yes'?>
<Relationships xmlns="http://schemas.openxmlformats.org/package/2006/relationships"><Relationship Id="rId1" Type="http://schemas.openxmlformats.org/officeDocument/2006/relationships/tags" Target="../tags/tag657.xml"/><Relationship Id="rId2" Type="http://schemas.openxmlformats.org/officeDocument/2006/relationships/slideLayout" Target="../slideLayouts/slideLayout7.xml"/><Relationship Id="rId3" Type="http://schemas.openxmlformats.org/officeDocument/2006/relationships/notesSlide" Target="../notesSlides/notesSlide6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9.xml"/><Relationship Id="rId7" Type="http://schemas.openxmlformats.org/officeDocument/2006/relationships/chart" Target="../charts/chart1260.xml"/></Relationships>
</file>

<file path=ppt/slides/_rels/slide631.xml.rels><?xml version='1.0' encoding='UTF-8' standalone='yes'?>
<Relationships xmlns="http://schemas.openxmlformats.org/package/2006/relationships"><Relationship Id="rId1" Type="http://schemas.openxmlformats.org/officeDocument/2006/relationships/tags" Target="../tags/tag658.xml"/><Relationship Id="rId2" Type="http://schemas.openxmlformats.org/officeDocument/2006/relationships/slideLayout" Target="../slideLayouts/slideLayout7.xml"/><Relationship Id="rId3" Type="http://schemas.openxmlformats.org/officeDocument/2006/relationships/notesSlide" Target="../notesSlides/notesSlide6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1.xml"/><Relationship Id="rId7" Type="http://schemas.openxmlformats.org/officeDocument/2006/relationships/chart" Target="../charts/chart1262.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notesSlide" Target="../notesSlides/notesSlide6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9.xml"/><Relationship Id="rId7" Type="http://schemas.openxmlformats.org/officeDocument/2006/relationships/chart" Target="../charts/chart1270.xml"/></Relationships>
</file>

<file path=ppt/slides/_rels/slide637.xml.rels><?xml version='1.0' encoding='UTF-8' standalone='yes'?>
<Relationships xmlns="http://schemas.openxmlformats.org/package/2006/relationships"><Relationship Id="rId1" Type="http://schemas.openxmlformats.org/officeDocument/2006/relationships/tags" Target="../tags/tag664.xml"/><Relationship Id="rId2" Type="http://schemas.openxmlformats.org/officeDocument/2006/relationships/slideLayout" Target="../slideLayouts/slideLayout7.xml"/><Relationship Id="rId3" Type="http://schemas.openxmlformats.org/officeDocument/2006/relationships/notesSlide" Target="../notesSlides/notesSlide6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3.xml"/><Relationship Id="rId7" Type="http://schemas.openxmlformats.org/officeDocument/2006/relationships/chart" Target="../charts/chart1274.xml"/></Relationships>
</file>

<file path=ppt/slides/_rels/slide638.xml.rels><?xml version='1.0' encoding='UTF-8' standalone='yes'?>
<Relationships xmlns="http://schemas.openxmlformats.org/package/2006/relationships"><Relationship Id="rId1" Type="http://schemas.openxmlformats.org/officeDocument/2006/relationships/tags" Target="../tags/tag665.xml"/><Relationship Id="rId2" Type="http://schemas.openxmlformats.org/officeDocument/2006/relationships/slideLayout" Target="../slideLayouts/slideLayout7.xml"/><Relationship Id="rId3" Type="http://schemas.openxmlformats.org/officeDocument/2006/relationships/notesSlide" Target="../notesSlides/notesSlide6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5.xml"/><Relationship Id="rId7" Type="http://schemas.openxmlformats.org/officeDocument/2006/relationships/chart" Target="../charts/chart1276.xml"/></Relationships>
</file>

<file path=ppt/slides/_rels/slide639.xml.rels><?xml version='1.0' encoding='UTF-8' standalone='yes'?>
<Relationships xmlns="http://schemas.openxmlformats.org/package/2006/relationships"><Relationship Id="rId1" Type="http://schemas.openxmlformats.org/officeDocument/2006/relationships/tags" Target="../tags/tag666.xml"/><Relationship Id="rId2" Type="http://schemas.openxmlformats.org/officeDocument/2006/relationships/slideLayout" Target="../slideLayouts/slideLayout7.xml"/><Relationship Id="rId3" Type="http://schemas.openxmlformats.org/officeDocument/2006/relationships/notesSlide" Target="../notesSlides/notesSlide6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7.xml"/><Relationship Id="rId7" Type="http://schemas.openxmlformats.org/officeDocument/2006/relationships/chart" Target="../charts/chart1278.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notesSlide" Target="../notesSlides/notesSlide6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1.xml"/><Relationship Id="rId7"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notesSlide" Target="../notesSlides/notesSlide6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3.xml"/><Relationship Id="rId7" Type="http://schemas.openxmlformats.org/officeDocument/2006/relationships/chart" Target="../charts/chart1284.xml"/></Relationships>
</file>

<file path=ppt/slides/_rels/slide644.xml.rels><?xml version='1.0' encoding='UTF-8' standalone='yes'?>
<Relationships xmlns="http://schemas.openxmlformats.org/package/2006/relationships"><Relationship Id="rId1" Type="http://schemas.openxmlformats.org/officeDocument/2006/relationships/tags" Target="../tags/tag671.xml"/><Relationship Id="rId2" Type="http://schemas.openxmlformats.org/officeDocument/2006/relationships/slideLayout" Target="../slideLayouts/slideLayout7.xml"/><Relationship Id="rId3" Type="http://schemas.openxmlformats.org/officeDocument/2006/relationships/notesSlide" Target="../notesSlides/notesSlide6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7.xml"/><Relationship Id="rId7" Type="http://schemas.openxmlformats.org/officeDocument/2006/relationships/chart" Target="../charts/chart1288.xml"/></Relationships>
</file>

<file path=ppt/slides/_rels/slide646.xml.rels><?xml version='1.0' encoding='UTF-8' standalone='yes'?>
<Relationships xmlns="http://schemas.openxmlformats.org/package/2006/relationships"><Relationship Id="rId1" Type="http://schemas.openxmlformats.org/officeDocument/2006/relationships/tags" Target="../tags/tag673.xml"/><Relationship Id="rId2" Type="http://schemas.openxmlformats.org/officeDocument/2006/relationships/slideLayout" Target="../slideLayouts/slideLayout7.xml"/><Relationship Id="rId3" Type="http://schemas.openxmlformats.org/officeDocument/2006/relationships/notesSlide" Target="../notesSlides/notesSlide6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1.xml"/><Relationship Id="rId7" Type="http://schemas.openxmlformats.org/officeDocument/2006/relationships/chart" Target="../charts/chart1292.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notesSlide" Target="../notesSlides/notesSlide6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5.xml"/><Relationship Id="rId7"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notesSlide" Target="../notesSlides/notesSlide6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7.xml"/><Relationship Id="rId7" Type="http://schemas.openxmlformats.org/officeDocument/2006/relationships/chart" Target="../charts/chart1298.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s>
</file>

<file path=ppt/slides/_rels/slide650.xml.rels><?xml version='1.0' encoding='UTF-8' standalone='yes'?>
<Relationships xmlns="http://schemas.openxmlformats.org/package/2006/relationships"><Relationship Id="rId1" Type="http://schemas.openxmlformats.org/officeDocument/2006/relationships/tags" Target="../tags/tag677.xml"/><Relationship Id="rId2" Type="http://schemas.openxmlformats.org/officeDocument/2006/relationships/slideLayout" Target="../slideLayouts/slideLayout7.xml"/><Relationship Id="rId3" Type="http://schemas.openxmlformats.org/officeDocument/2006/relationships/notesSlide" Target="../notesSlides/notesSlide6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9.xml"/><Relationship Id="rId7" Type="http://schemas.openxmlformats.org/officeDocument/2006/relationships/chart" Target="../charts/chart1300.xml"/></Relationships>
</file>

<file path=ppt/slides/_rels/slide652.xml.rels><?xml version='1.0' encoding='UTF-8' standalone='yes'?>
<Relationships xmlns="http://schemas.openxmlformats.org/package/2006/relationships"><Relationship Id="rId1" Type="http://schemas.openxmlformats.org/officeDocument/2006/relationships/tags" Target="../tags/tag679.xml"/><Relationship Id="rId2" Type="http://schemas.openxmlformats.org/officeDocument/2006/relationships/slideLayout" Target="../slideLayouts/slideLayout7.xml"/><Relationship Id="rId3" Type="http://schemas.openxmlformats.org/officeDocument/2006/relationships/notesSlide" Target="../notesSlides/notesSlide6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3.xml"/><Relationship Id="rId7" Type="http://schemas.openxmlformats.org/officeDocument/2006/relationships/chart" Target="../charts/chart1304.xml"/></Relationships>
</file>

<file path=ppt/slides/_rels/slide653.xml.rels><?xml version='1.0' encoding='UTF-8' standalone='yes'?>
<Relationships xmlns="http://schemas.openxmlformats.org/package/2006/relationships"><Relationship Id="rId1" Type="http://schemas.openxmlformats.org/officeDocument/2006/relationships/tags" Target="../tags/tag680.xml"/><Relationship Id="rId2" Type="http://schemas.openxmlformats.org/officeDocument/2006/relationships/slideLayout" Target="../slideLayouts/slideLayout7.xml"/><Relationship Id="rId3" Type="http://schemas.openxmlformats.org/officeDocument/2006/relationships/notesSlide" Target="../notesSlides/notesSlide6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5.xml"/><Relationship Id="rId7" Type="http://schemas.openxmlformats.org/officeDocument/2006/relationships/chart" Target="../charts/chart1306.xml"/></Relationships>
</file>

<file path=ppt/slides/_rels/slide655.xml.rels><?xml version='1.0' encoding='UTF-8' standalone='yes'?>
<Relationships xmlns="http://schemas.openxmlformats.org/package/2006/relationships"><Relationship Id="rId1" Type="http://schemas.openxmlformats.org/officeDocument/2006/relationships/tags" Target="../tags/tag682.xml"/><Relationship Id="rId2" Type="http://schemas.openxmlformats.org/officeDocument/2006/relationships/slideLayout" Target="../slideLayouts/slideLayout7.xml"/><Relationship Id="rId3" Type="http://schemas.openxmlformats.org/officeDocument/2006/relationships/notesSlide" Target="../notesSlides/notesSlide6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9.xml"/><Relationship Id="rId7" Type="http://schemas.openxmlformats.org/officeDocument/2006/relationships/chart" Target="../charts/chart1310.xml"/></Relationships>
</file>

<file path=ppt/slides/_rels/slide657.xml.rels><?xml version='1.0' encoding='UTF-8' standalone='yes'?>
<Relationships xmlns="http://schemas.openxmlformats.org/package/2006/relationships"><Relationship Id="rId1" Type="http://schemas.openxmlformats.org/officeDocument/2006/relationships/tags" Target="../tags/tag684.xml"/><Relationship Id="rId2" Type="http://schemas.openxmlformats.org/officeDocument/2006/relationships/slideLayout" Target="../slideLayouts/slideLayout7.xml"/><Relationship Id="rId3" Type="http://schemas.openxmlformats.org/officeDocument/2006/relationships/notesSlide" Target="../notesSlides/notesSlide6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3.xml"/><Relationship Id="rId7" Type="http://schemas.openxmlformats.org/officeDocument/2006/relationships/chart" Target="../charts/chart1314.xml"/></Relationships>
</file>

<file path=ppt/slides/_rels/slide659.xml.rels><?xml version='1.0' encoding='UTF-8' standalone='yes'?>
<Relationships xmlns="http://schemas.openxmlformats.org/package/2006/relationships"><Relationship Id="rId1" Type="http://schemas.openxmlformats.org/officeDocument/2006/relationships/tags" Target="../tags/tag686.xml"/><Relationship Id="rId2" Type="http://schemas.openxmlformats.org/officeDocument/2006/relationships/slideLayout" Target="../slideLayouts/slideLayout7.xml"/><Relationship Id="rId3" Type="http://schemas.openxmlformats.org/officeDocument/2006/relationships/notesSlide" Target="../notesSlides/notesSlide6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7.xml"/><Relationship Id="rId7" Type="http://schemas.openxmlformats.org/officeDocument/2006/relationships/chart" Target="../charts/chart131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 Id="rId7" Type="http://schemas.openxmlformats.org/officeDocument/2006/relationships/chart" Target="../charts/chart132.xml"/></Relationships>
</file>

<file path=ppt/slides/_rels/slide660.xml.rels><?xml version='1.0' encoding='UTF-8' standalone='yes'?>
<Relationships xmlns="http://schemas.openxmlformats.org/package/2006/relationships"><Relationship Id="rId1" Type="http://schemas.openxmlformats.org/officeDocument/2006/relationships/tags" Target="../tags/tag687.xml"/><Relationship Id="rId2" Type="http://schemas.openxmlformats.org/officeDocument/2006/relationships/slideLayout" Target="../slideLayouts/slideLayout7.xml"/><Relationship Id="rId3" Type="http://schemas.openxmlformats.org/officeDocument/2006/relationships/notesSlide" Target="../notesSlides/notesSlide6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9.xml"/><Relationship Id="rId7" Type="http://schemas.openxmlformats.org/officeDocument/2006/relationships/chart" Target="../charts/chart1320.xml"/></Relationships>
</file>

<file path=ppt/slides/_rels/slide661.xml.rels><?xml version='1.0' encoding='UTF-8' standalone='yes'?>
<Relationships xmlns="http://schemas.openxmlformats.org/package/2006/relationships"><Relationship Id="rId1" Type="http://schemas.openxmlformats.org/officeDocument/2006/relationships/tags" Target="../tags/tag688.xml"/><Relationship Id="rId2" Type="http://schemas.openxmlformats.org/officeDocument/2006/relationships/slideLayout" Target="../slideLayouts/slideLayout7.xml"/><Relationship Id="rId3" Type="http://schemas.openxmlformats.org/officeDocument/2006/relationships/notesSlide" Target="../notesSlides/notesSlide6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1.xml"/><Relationship Id="rId7" Type="http://schemas.openxmlformats.org/officeDocument/2006/relationships/chart" Target="../charts/chart1322.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notesSlide" Target="../notesSlides/notesSlide6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5.xml"/><Relationship Id="rId7"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notesSlide" Target="../notesSlides/notesSlide6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7.xml"/><Relationship Id="rId7" Type="http://schemas.openxmlformats.org/officeDocument/2006/relationships/chart" Target="../charts/chart1328.xml"/></Relationships>
</file>

<file path=ppt/slides/_rels/slide666.xml.rels><?xml version='1.0' encoding='UTF-8' standalone='yes'?>
<Relationships xmlns="http://schemas.openxmlformats.org/package/2006/relationships"><Relationship Id="rId1" Type="http://schemas.openxmlformats.org/officeDocument/2006/relationships/tags" Target="../tags/tag693.xml"/><Relationship Id="rId2" Type="http://schemas.openxmlformats.org/officeDocument/2006/relationships/slideLayout" Target="../slideLayouts/slideLayout7.xml"/><Relationship Id="rId3" Type="http://schemas.openxmlformats.org/officeDocument/2006/relationships/notesSlide" Target="../notesSlides/notesSlide6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1.xml"/><Relationship Id="rId7" Type="http://schemas.openxmlformats.org/officeDocument/2006/relationships/chart" Target="../charts/chart1332.xml"/></Relationships>
</file>

<file path=ppt/slides/_rels/slide667.xml.rels><?xml version='1.0' encoding='UTF-8' standalone='yes'?>
<Relationships xmlns="http://schemas.openxmlformats.org/package/2006/relationships"><Relationship Id="rId1" Type="http://schemas.openxmlformats.org/officeDocument/2006/relationships/tags" Target="../tags/tag694.xml"/><Relationship Id="rId2" Type="http://schemas.openxmlformats.org/officeDocument/2006/relationships/slideLayout" Target="../slideLayouts/slideLayout7.xml"/><Relationship Id="rId3" Type="http://schemas.openxmlformats.org/officeDocument/2006/relationships/notesSlide" Target="../notesSlides/notesSlide6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3.xml"/><Relationship Id="rId7" Type="http://schemas.openxmlformats.org/officeDocument/2006/relationships/chart" Target="../charts/chart1334.xml"/></Relationships>
</file>

<file path=ppt/slides/_rels/slide668.xml.rels><?xml version='1.0' encoding='UTF-8' standalone='yes'?>
<Relationships xmlns="http://schemas.openxmlformats.org/package/2006/relationships"><Relationship Id="rId1" Type="http://schemas.openxmlformats.org/officeDocument/2006/relationships/tags" Target="../tags/tag695.xml"/><Relationship Id="rId2" Type="http://schemas.openxmlformats.org/officeDocument/2006/relationships/slideLayout" Target="../slideLayouts/slideLayout7.xml"/><Relationship Id="rId3" Type="http://schemas.openxmlformats.org/officeDocument/2006/relationships/notesSlide" Target="../notesSlides/notesSlide6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5.xml"/><Relationship Id="rId7" Type="http://schemas.openxmlformats.org/officeDocument/2006/relationships/chart" Target="../charts/chart133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notesSlide" Target="../notesSlides/notesSlide6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9.xml"/><Relationship Id="rId7"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notesSlide" Target="../notesSlides/notesSlide6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1.xml"/><Relationship Id="rId7" Type="http://schemas.openxmlformats.org/officeDocument/2006/relationships/chart" Target="../charts/chart1342.xml"/></Relationships>
</file>

<file path=ppt/slides/_rels/slide672.xml.rels><?xml version='1.0' encoding='UTF-8' standalone='yes'?>
<Relationships xmlns="http://schemas.openxmlformats.org/package/2006/relationships"><Relationship Id="rId1" Type="http://schemas.openxmlformats.org/officeDocument/2006/relationships/tags" Target="../tags/tag699.xml"/><Relationship Id="rId2" Type="http://schemas.openxmlformats.org/officeDocument/2006/relationships/slideLayout" Target="../slideLayouts/slideLayout7.xml"/><Relationship Id="rId3" Type="http://schemas.openxmlformats.org/officeDocument/2006/relationships/notesSlide" Target="../notesSlides/notesSlide6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3.xml"/><Relationship Id="rId7" Type="http://schemas.openxmlformats.org/officeDocument/2006/relationships/chart" Target="../charts/chart1344.xml"/></Relationships>
</file>

<file path=ppt/slides/_rels/slide675.xml.rels><?xml version='1.0' encoding='UTF-8' standalone='yes'?>
<Relationships xmlns="http://schemas.openxmlformats.org/package/2006/relationships"><Relationship Id="rId1" Type="http://schemas.openxmlformats.org/officeDocument/2006/relationships/tags" Target="../tags/tag702.xml"/><Relationship Id="rId2" Type="http://schemas.openxmlformats.org/officeDocument/2006/relationships/slideLayout" Target="../slideLayouts/slideLayout7.xml"/><Relationship Id="rId3" Type="http://schemas.openxmlformats.org/officeDocument/2006/relationships/notesSlide" Target="../notesSlides/notesSlide6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9.xml"/><Relationship Id="rId7" Type="http://schemas.openxmlformats.org/officeDocument/2006/relationships/chart" Target="../charts/chart1350.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notesSlide" Target="../notesSlides/notesSlide6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3.xml"/><Relationship Id="rId7"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notesSlide" Target="../notesSlides/notesSlide6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5.xml"/><Relationship Id="rId7" Type="http://schemas.openxmlformats.org/officeDocument/2006/relationships/chart" Target="../charts/chart1356.xml"/></Relationships>
</file>

<file path=ppt/slides/_rels/slide679.xml.rels><?xml version='1.0' encoding='UTF-8' standalone='yes'?>
<Relationships xmlns="http://schemas.openxmlformats.org/package/2006/relationships"><Relationship Id="rId1" Type="http://schemas.openxmlformats.org/officeDocument/2006/relationships/tags" Target="../tags/tag706.xml"/><Relationship Id="rId2" Type="http://schemas.openxmlformats.org/officeDocument/2006/relationships/slideLayout" Target="../slideLayouts/slideLayout7.xml"/><Relationship Id="rId3" Type="http://schemas.openxmlformats.org/officeDocument/2006/relationships/notesSlide" Target="../notesSlides/notesSlide6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7.xml"/><Relationship Id="rId7" Type="http://schemas.openxmlformats.org/officeDocument/2006/relationships/chart" Target="../charts/chart1358.xml"/></Relationships>
</file>

<file path=ppt/slides/_rels/slide681.xml.rels><?xml version='1.0' encoding='UTF-8' standalone='yes'?>
<Relationships xmlns="http://schemas.openxmlformats.org/package/2006/relationships"><Relationship Id="rId1" Type="http://schemas.openxmlformats.org/officeDocument/2006/relationships/tags" Target="../tags/tag708.xml"/><Relationship Id="rId2" Type="http://schemas.openxmlformats.org/officeDocument/2006/relationships/slideLayout" Target="../slideLayouts/slideLayout7.xml"/><Relationship Id="rId3" Type="http://schemas.openxmlformats.org/officeDocument/2006/relationships/notesSlide" Target="../notesSlides/notesSlide6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1.xml"/><Relationship Id="rId7" Type="http://schemas.openxmlformats.org/officeDocument/2006/relationships/chart" Target="../charts/chart1362.xml"/></Relationships>
</file>

<file path=ppt/slides/_rels/slide682.xml.rels><?xml version='1.0' encoding='UTF-8' standalone='yes'?>
<Relationships xmlns="http://schemas.openxmlformats.org/package/2006/relationships"><Relationship Id="rId1" Type="http://schemas.openxmlformats.org/officeDocument/2006/relationships/tags" Target="../tags/tag709.xml"/><Relationship Id="rId2" Type="http://schemas.openxmlformats.org/officeDocument/2006/relationships/slideLayout" Target="../slideLayouts/slideLayout7.xml"/><Relationship Id="rId3" Type="http://schemas.openxmlformats.org/officeDocument/2006/relationships/notesSlide" Target="../notesSlides/notesSlide6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3.xml"/><Relationship Id="rId7" Type="http://schemas.openxmlformats.org/officeDocument/2006/relationships/chart" Target="../charts/chart1364.xml"/></Relationships>
</file>

<file path=ppt/slides/_rels/slide683.xml.rels><?xml version='1.0' encoding='UTF-8' standalone='yes'?>
<Relationships xmlns="http://schemas.openxmlformats.org/package/2006/relationships"><Relationship Id="rId1" Type="http://schemas.openxmlformats.org/officeDocument/2006/relationships/tags" Target="../tags/tag710.xml"/><Relationship Id="rId2" Type="http://schemas.openxmlformats.org/officeDocument/2006/relationships/slideLayout" Target="../slideLayouts/slideLayout7.xml"/><Relationship Id="rId3" Type="http://schemas.openxmlformats.org/officeDocument/2006/relationships/notesSlide" Target="../notesSlides/notesSlide6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5.xml"/><Relationship Id="rId7" Type="http://schemas.openxmlformats.org/officeDocument/2006/relationships/chart" Target="../charts/chart1366.xml"/></Relationships>
</file>

<file path=ppt/slides/_rels/slide688.xml.rels><?xml version='1.0' encoding='UTF-8' standalone='yes'?>
<Relationships xmlns="http://schemas.openxmlformats.org/package/2006/relationships"><Relationship Id="rId1" Type="http://schemas.openxmlformats.org/officeDocument/2006/relationships/tags" Target="../tags/tag715.xml"/><Relationship Id="rId2" Type="http://schemas.openxmlformats.org/officeDocument/2006/relationships/slideLayout" Target="../slideLayouts/slideLayout7.xml"/><Relationship Id="rId3" Type="http://schemas.openxmlformats.org/officeDocument/2006/relationships/notesSlide" Target="../notesSlides/notesSlide6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5.xml"/><Relationship Id="rId7" Type="http://schemas.openxmlformats.org/officeDocument/2006/relationships/chart" Target="../charts/chart1376.xml"/></Relationships>
</file>

<file path=ppt/slides/_rels/slide689.xml.rels><?xml version='1.0' encoding='UTF-8' standalone='yes'?>
<Relationships xmlns="http://schemas.openxmlformats.org/package/2006/relationships"><Relationship Id="rId1" Type="http://schemas.openxmlformats.org/officeDocument/2006/relationships/tags" Target="../tags/tag716.xml"/><Relationship Id="rId2" Type="http://schemas.openxmlformats.org/officeDocument/2006/relationships/slideLayout" Target="../slideLayouts/slideLayout7.xml"/><Relationship Id="rId3" Type="http://schemas.openxmlformats.org/officeDocument/2006/relationships/notesSlide" Target="../notesSlides/notesSlide6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7.xml"/><Relationship Id="rId7" Type="http://schemas.openxmlformats.org/officeDocument/2006/relationships/chart" Target="../charts/chart137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s>
</file>

<file path=ppt/slides/_rels/slide690.xml.rels><?xml version='1.0' encoding='UTF-8' standalone='yes'?>
<Relationships xmlns="http://schemas.openxmlformats.org/package/2006/relationships"><Relationship Id="rId1" Type="http://schemas.openxmlformats.org/officeDocument/2006/relationships/tags" Target="../tags/tag717.xml"/><Relationship Id="rId2" Type="http://schemas.openxmlformats.org/officeDocument/2006/relationships/slideLayout" Target="../slideLayouts/slideLayout7.xml"/><Relationship Id="rId3" Type="http://schemas.openxmlformats.org/officeDocument/2006/relationships/notesSlide" Target="../notesSlides/notesSlide6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9.xml"/><Relationship Id="rId7" Type="http://schemas.openxmlformats.org/officeDocument/2006/relationships/chart" Target="../charts/chart1380.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notesSlide" Target="../notesSlides/notesSlide6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3.xml"/><Relationship Id="rId7"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notesSlide" Target="../notesSlides/notesSlide6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5.xml"/><Relationship Id="rId7" Type="http://schemas.openxmlformats.org/officeDocument/2006/relationships/chart" Target="../charts/chart1386.xml"/></Relationships>
</file>

<file path=ppt/slides/_rels/slide694.xml.rels><?xml version='1.0' encoding='UTF-8' standalone='yes'?>
<Relationships xmlns="http://schemas.openxmlformats.org/package/2006/relationships"><Relationship Id="rId1" Type="http://schemas.openxmlformats.org/officeDocument/2006/relationships/tags" Target="../tags/tag721.xml"/><Relationship Id="rId2" Type="http://schemas.openxmlformats.org/officeDocument/2006/relationships/slideLayout" Target="../slideLayouts/slideLayout7.xml"/><Relationship Id="rId3" Type="http://schemas.openxmlformats.org/officeDocument/2006/relationships/notesSlide" Target="../notesSlides/notesSlide6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7.xml"/><Relationship Id="rId7" Type="http://schemas.openxmlformats.org/officeDocument/2006/relationships/chart" Target="../charts/chart1388.xml"/></Relationships>
</file>

<file path=ppt/slides/_rels/slide697.xml.rels><?xml version='1.0' encoding='UTF-8' standalone='yes'?>
<Relationships xmlns="http://schemas.openxmlformats.org/package/2006/relationships"><Relationship Id="rId1" Type="http://schemas.openxmlformats.org/officeDocument/2006/relationships/tags" Target="../tags/tag724.xml"/><Relationship Id="rId2" Type="http://schemas.openxmlformats.org/officeDocument/2006/relationships/slideLayout" Target="../slideLayouts/slideLayout7.xml"/><Relationship Id="rId3" Type="http://schemas.openxmlformats.org/officeDocument/2006/relationships/notesSlide" Target="../notesSlides/notesSlide6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3.xml"/><Relationship Id="rId7" Type="http://schemas.openxmlformats.org/officeDocument/2006/relationships/chart" Target="../charts/chart1394.xml"/></Relationships>
</file>

<file path=ppt/slides/_rels/slide698.xml.rels><?xml version='1.0' encoding='UTF-8' standalone='yes'?>
<Relationships xmlns="http://schemas.openxmlformats.org/package/2006/relationships"><Relationship Id="rId1" Type="http://schemas.openxmlformats.org/officeDocument/2006/relationships/tags" Target="../tags/tag725.xml"/><Relationship Id="rId2" Type="http://schemas.openxmlformats.org/officeDocument/2006/relationships/slideLayout" Target="../slideLayouts/slideLayout7.xml"/><Relationship Id="rId3" Type="http://schemas.openxmlformats.org/officeDocument/2006/relationships/notesSlide" Target="../notesSlides/notesSlide6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5.xml"/><Relationship Id="rId7" Type="http://schemas.openxmlformats.org/officeDocument/2006/relationships/chart" Target="../charts/chart139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notesSlide" Target="../notesSlides/notesSlide7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3.xml"/><Relationship Id="rId7"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notesSlide" Target="../notesSlides/notesSlide7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5.xml"/><Relationship Id="rId7" Type="http://schemas.openxmlformats.org/officeDocument/2006/relationships/chart" Target="../charts/chart1406.xml"/></Relationships>
</file>

<file path=ppt/slides/_rels/slide704.xml.rels><?xml version='1.0' encoding='UTF-8' standalone='yes'?>
<Relationships xmlns="http://schemas.openxmlformats.org/package/2006/relationships"><Relationship Id="rId1" Type="http://schemas.openxmlformats.org/officeDocument/2006/relationships/tags" Target="../tags/tag731.xml"/><Relationship Id="rId2" Type="http://schemas.openxmlformats.org/officeDocument/2006/relationships/slideLayout" Target="../slideLayouts/slideLayout7.xml"/><Relationship Id="rId3" Type="http://schemas.openxmlformats.org/officeDocument/2006/relationships/notesSlide" Target="../notesSlides/notesSlide7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7.xml"/><Relationship Id="rId7" Type="http://schemas.openxmlformats.org/officeDocument/2006/relationships/chart" Target="../charts/chart1408.xml"/></Relationships>
</file>

<file path=ppt/slides/_rels/slide706.xml.rels><?xml version='1.0' encoding='UTF-8' standalone='yes'?>
<Relationships xmlns="http://schemas.openxmlformats.org/package/2006/relationships"><Relationship Id="rId1" Type="http://schemas.openxmlformats.org/officeDocument/2006/relationships/tags" Target="../tags/tag733.xml"/><Relationship Id="rId2" Type="http://schemas.openxmlformats.org/officeDocument/2006/relationships/slideLayout" Target="../slideLayouts/slideLayout7.xml"/><Relationship Id="rId3" Type="http://schemas.openxmlformats.org/officeDocument/2006/relationships/notesSlide" Target="../notesSlides/notesSlide7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1.xml"/><Relationship Id="rId7" Type="http://schemas.openxmlformats.org/officeDocument/2006/relationships/chart" Target="../charts/chart1412.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notesSlide" Target="../notesSlides/notesSlide7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5.xml"/><Relationship Id="rId7"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notesSlide" Target="../notesSlides/notesSlide7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7.xml"/><Relationship Id="rId7" Type="http://schemas.openxmlformats.org/officeDocument/2006/relationships/chart" Target="../charts/chart1418.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 Id="rId7" Type="http://schemas.openxmlformats.org/officeDocument/2006/relationships/chart" Target="../charts/chart142.xml"/></Relationships>
</file>

<file path=ppt/slides/_rels/slide711.xml.rels><?xml version='1.0' encoding='UTF-8' standalone='yes'?>
<Relationships xmlns="http://schemas.openxmlformats.org/package/2006/relationships"><Relationship Id="rId1" Type="http://schemas.openxmlformats.org/officeDocument/2006/relationships/tags" Target="../tags/tag738.xml"/><Relationship Id="rId2" Type="http://schemas.openxmlformats.org/officeDocument/2006/relationships/slideLayout" Target="../slideLayouts/slideLayout7.xml"/><Relationship Id="rId3" Type="http://schemas.openxmlformats.org/officeDocument/2006/relationships/notesSlide" Target="../notesSlides/notesSlide7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1.xml"/><Relationship Id="rId7" Type="http://schemas.openxmlformats.org/officeDocument/2006/relationships/chart" Target="../charts/chart142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 Id="rId7" Type="http://schemas.openxmlformats.org/officeDocument/2006/relationships/chart" Target="../charts/chart14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 Id="rId7" Type="http://schemas.openxmlformats.org/officeDocument/2006/relationships/chart" Target="../charts/chart150.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 Id="rId7" Type="http://schemas.openxmlformats.org/officeDocument/2006/relationships/chart" Target="../charts/chart160.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 Id="rId7" Type="http://schemas.openxmlformats.org/officeDocument/2006/relationships/chart" Target="../charts/chart16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 Id="rId7" Type="http://schemas.openxmlformats.org/officeDocument/2006/relationships/chart" Target="../charts/chart16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 Id="rId7" Type="http://schemas.openxmlformats.org/officeDocument/2006/relationships/chart" Target="../charts/chart168.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 Id="rId7" Type="http://schemas.openxmlformats.org/officeDocument/2006/relationships/chart" Target="../charts/chart172.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 Id="rId7" Type="http://schemas.openxmlformats.org/officeDocument/2006/relationships/chart" Target="../charts/chart18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 Id="rId7" Type="http://schemas.openxmlformats.org/officeDocument/2006/relationships/chart" Target="../charts/chart190.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 Id="rId7" Type="http://schemas.openxmlformats.org/officeDocument/2006/relationships/chart" Target="../charts/chart192.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 Id="rId7" Type="http://schemas.openxmlformats.org/officeDocument/2006/relationships/chart" Target="../charts/chart196.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4656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Sou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226429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70851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52468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470189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erapil | Autos Scanning Sou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179534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55719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48293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607629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338981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5708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16736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043149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526917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876107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935415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230436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563946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Autos Scanning Nor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021296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Nor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646963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Vichy | Autos Scanning Nor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81396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552355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North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62606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Nor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11397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Autos Scanning Nor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54427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Nor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269820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963531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vene | Autos Scanning North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20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435882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Nor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70827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Nor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43866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North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814493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962846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3896784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839679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30043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451639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Southea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336261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ea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110664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28869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907380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08578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648470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671528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231902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662672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515634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8990178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Southea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588001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4845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279939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Southea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972406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Bají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079636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8211241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Bají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085675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Bají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403272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Bají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9317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Sun Care | Autos Scanning Sou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532703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Bajío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780913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Autos Scanning Bajío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467849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Bajío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816161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Bajío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69609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Bajío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041381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Bajío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848396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678808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Bajío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703963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Bajío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949063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Bajío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8999195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Bajío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633557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Bajío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833313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We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2122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97940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Nor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93620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017859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We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49488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295626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West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08102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We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66304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vene | Autos Scanning We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6775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Autos Scanning Nor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5254393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We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918105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Vichy | Autos Scanning West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1079915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499080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0864381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668659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erapil | Autos Scanning West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365436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7466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Nor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244772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014047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4173750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West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436206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448688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Center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998374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629369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1091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Center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445187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Center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229206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Center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458968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Center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079728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Center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12399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clipsol | Autos Scanning Center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334986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Center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731608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65393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16217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Center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02051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Center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000361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8414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Nor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3725703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442107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156842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56851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518610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523472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436799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581637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644068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01335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03657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02022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355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Autos Scanning North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4228512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210207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491367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98695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446424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1021674"/>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0044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Autos Scanning Southea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59259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Sou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1078581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194434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Sou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187069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494296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913937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556713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Sou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719403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Autos Scanning Southea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015204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535028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Autos Scanning Sou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13275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Nor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182729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Nor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079637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Nor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6656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792118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Autos Scanning North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622312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Nor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633895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Nor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2780730"/>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North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018804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Nor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8576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Southea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572948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Nor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782827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Nor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377461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Autos Scanning North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621378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752798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ea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981855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ea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43614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Autos Scanning Southea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2402008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Southea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179903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Southea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932267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656297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ea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9747777"/>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Mustela | Autos Scanning Southea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820533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407065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ea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7015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Sun Care | Autos Scanning Southea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923515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ea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926348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990586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7625020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937048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730680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361266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726723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567798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6910132"/>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Bajío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482736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Bajío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512830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Bajío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826719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Bajío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122194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Bajío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993751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Bajío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8934949"/>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449980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Bajío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560203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531272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543615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6224984"/>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316076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4232746"/>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West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217266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We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516290"/>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080522"/>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We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584355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We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64405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West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2110624"/>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We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437252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799030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08836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Autos Scanning West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932898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5029300"/>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Center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00108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769817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Center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770793"/>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Center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5410260"/>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Center | Sunscreen Adult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5789654"/>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Center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152449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Center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7216515"/>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unscreen Bab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86478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456548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563555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7308369"/>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unscreen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895881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221401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2331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7495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3847413"/>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116024"/>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305005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6511633"/>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453499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7625200"/>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4828721"/>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1888589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0646702"/>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22052848"/>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191167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0347890"/>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39113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991268"/>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4961503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uvel | Autos Scanning Sou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586058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1047835"/>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Sou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760242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839877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8168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375592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613707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8697596"/>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897282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8295853"/>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North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718600"/>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Nor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031993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Heliocare | Autos Scanning Nor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85533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Autos Scanning Bají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8355582"/>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Nor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225474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Heliocare | Autos Scanning North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713139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5134324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5026394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913585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Southea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574603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ea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754478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Southea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948801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Southea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8411575"/>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Southea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380110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9646193"/>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3469396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1245099"/>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06298488"/>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354270"/>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uvel | Autos Scanning Bajío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2476020"/>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Bajío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35985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589624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Bajío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213336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Bajío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147930"/>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Bajío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797953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We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3700566"/>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We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435010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718000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1356580"/>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uvel | Autos Scanning West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474044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We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3111574"/>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9463574"/>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5637483"/>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West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843262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6668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0434306"/>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9454256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Center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638519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105343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Center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2684282"/>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Center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5710180"/>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8905943"/>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Center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84802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280094"/>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656097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Center | Sunscreen Spo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13012148"/>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8578771"/>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6527904"/>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411521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85573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080115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810042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535421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488824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1976817"/>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Eucerin | Autos Scanning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2097786"/>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3048649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0761013"/>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507095"/>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Autos Scanning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659786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817560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633798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108578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48845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527115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178577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8684382"/>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3273829"/>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2167000"/>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Sou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2178848"/>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0599236"/>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03795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Autos Scanning Wes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2342491"/>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Sou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119713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886730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077328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0128729"/>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29226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8062855"/>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Sou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920623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8045430"/>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Autos Scanning Sou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9396441"/>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503002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868091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25157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616492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22777900"/>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4219532"/>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Nor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07194616"/>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Nor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5805249"/>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Nor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998745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49880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North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5968659"/>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etaphil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0877913"/>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0512504"/>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9282814"/>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009097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3117717"/>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Autos Scanning North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866813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Nor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61404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7841522"/>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211175"/>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Nor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2525098"/>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Autos Scanning North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221254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North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207883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Nor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80305341"/>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Nor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9567878"/>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North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9682793"/>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7192745"/>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Southea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45547105"/>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Southea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510211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Southea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8215355"/>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50074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9275199"/>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60859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Southea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9840736"/>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Southea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331082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361950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Southea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9714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3515951"/>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ea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6994106"/>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ea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29468254"/>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east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0083974"/>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Autos Scanning Southeast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267474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ea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5950752"/>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Southea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55516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Sun Care | Autos Scanning Cente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48337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ea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1910491"/>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Southea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2841237"/>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Bajío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960950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Bajío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1822257"/>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91552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Bajío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2501631"/>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Bajío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409348"/>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Bajío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2427330"/>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Bajío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8743243"/>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Bajío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7976098"/>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Bajío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9994948"/>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Bajío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28974785"/>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Bajío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08140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862881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5878907"/>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Bajío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076298"/>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Bajío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7875467"/>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2935329"/>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Bajío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5137520"/>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Bajío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35789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2026472"/>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Bajío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2648154"/>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Bajío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957729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760826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We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0457235"/>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West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679635"/>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71814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4769601"/>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5379712"/>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etaphil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590544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1657044"/>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etaphil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8164934"/>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9068819"/>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etaphil | Autos Scanning West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259912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111549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5134815"/>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Autos Scanning We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26482345"/>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We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9638446"/>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West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7366167"/>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Autos Scanning West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9726190"/>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We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921525"/>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We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0483996"/>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We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3988468"/>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We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9012139"/>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West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1545730"/>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146582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No Spray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9805288"/>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420497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0619167"/>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695575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13029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3936659"/>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etaphil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601744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etaphil | Autos Scanning Center | No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03790"/>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Center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9068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7422262"/>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Autos Scanning Center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4008366"/>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Center | No Spray Ge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057847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Center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775953"/>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Center | No Spray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6564367"/>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Center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5639856"/>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Center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21890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914984"/>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Center | Spray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45157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92199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Autos Scanning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66519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Vichy | Autos Scanning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42242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Vichy | Autos Scanning | Banded Pack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145395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471588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21864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6074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T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794594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98057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After Su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5802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50971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2774832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880503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5399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37440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62814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320694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South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0862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6-22T23:21:03Z</dcterms:modified>
</cp:coreProperties>
</file>